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charts/chart1.xml" ContentType="application/vnd.openxmlformats-officedocument.drawingml.chart+xml"/>
  <Override PartName="/ppt/charts/style2.xml" ContentType="application/vnd.ms-office.chartstyle+xml"/>
  <Override PartName="/ppt/charts/colors2.xml" ContentType="application/vnd.ms-office.chartcolorstyle+xml"/>
  <Override PartName="/ppt/charts/chart2.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3.xml" ContentType="application/vnd.openxmlformats-officedocument.presentationml.notesSlide+xml"/>
  <Override PartName="/ppt/charts/chart3.xml" ContentType="application/vnd.openxmlformats-officedocument.drawingml.chart+xml"/>
  <Override PartName="/ppt/charts/style4.xml" ContentType="application/vnd.ms-office.chartstyle+xml"/>
  <Override PartName="/ppt/charts/colors4.xml" ContentType="application/vnd.ms-office.chartcolorstyle+xml"/>
  <Override PartName="/ppt/charts/chart4.xml" ContentType="application/vnd.openxmlformats-officedocument.drawingml.chart+xml"/>
  <Override PartName="/ppt/charts/style5.xml" ContentType="application/vnd.ms-office.chartstyle+xml"/>
  <Override PartName="/ppt/charts/colors5.xml" ContentType="application/vnd.ms-office.chartcolorstyle+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4.xml" ContentType="application/vnd.openxmlformats-officedocument.presentationml.notesSlide+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5.xml" ContentType="application/vnd.openxmlformats-officedocument.presentationml.notesSlide+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charts/chart9.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xml" ContentType="application/vnd.openxmlformats-officedocument.drawingml.chart+xml"/>
  <Override PartName="/ppt/charts/style11.xml" ContentType="application/vnd.ms-office.chartstyle+xml"/>
  <Override PartName="/ppt/charts/colors11.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286" r:id="rId3"/>
    <p:sldId id="302" r:id="rId4"/>
    <p:sldId id="258" r:id="rId5"/>
    <p:sldId id="297" r:id="rId6"/>
    <p:sldId id="282" r:id="rId7"/>
    <p:sldId id="262" r:id="rId8"/>
    <p:sldId id="299" r:id="rId9"/>
    <p:sldId id="284" r:id="rId10"/>
    <p:sldId id="322" r:id="rId11"/>
    <p:sldId id="323" r:id="rId12"/>
    <p:sldId id="301" r:id="rId13"/>
    <p:sldId id="275" r:id="rId14"/>
    <p:sldId id="303" r:id="rId15"/>
    <p:sldId id="276" r:id="rId16"/>
    <p:sldId id="279" r:id="rId17"/>
    <p:sldId id="280" r:id="rId18"/>
    <p:sldId id="274" r:id="rId19"/>
    <p:sldId id="304" r:id="rId20"/>
    <p:sldId id="305" r:id="rId21"/>
    <p:sldId id="306" r:id="rId22"/>
    <p:sldId id="307" r:id="rId23"/>
    <p:sldId id="308" r:id="rId24"/>
    <p:sldId id="309" r:id="rId25"/>
    <p:sldId id="310" r:id="rId26"/>
    <p:sldId id="311" r:id="rId27"/>
    <p:sldId id="312" r:id="rId28"/>
    <p:sldId id="313" r:id="rId29"/>
    <p:sldId id="314" r:id="rId30"/>
    <p:sldId id="315" r:id="rId31"/>
    <p:sldId id="316" r:id="rId32"/>
    <p:sldId id="317" r:id="rId33"/>
    <p:sldId id="318" r:id="rId34"/>
    <p:sldId id="321" r:id="rId35"/>
    <p:sldId id="319" r:id="rId36"/>
  </p:sldIdLst>
  <p:sldSz cx="16256000" cy="9144000"/>
  <p:notesSz cx="6858000" cy="9144000"/>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00" userDrawn="1">
          <p15:clr>
            <a:srgbClr val="A4A3A4"/>
          </p15:clr>
        </p15:guide>
        <p15:guide id="2" pos="2829"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75B7C"/>
    <a:srgbClr val="232F47"/>
    <a:srgbClr val="232E47"/>
    <a:srgbClr val="BA996A"/>
    <a:srgbClr val="008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ECBF4D4-D385-4EB9-A097-D90B76D727E0}" v="2" dt="2022-04-26T08:54:27.329"/>
  </p1510:revLst>
</p1510:revInfo>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autoAdjust="0"/>
    <p:restoredTop sz="94627" autoAdjust="0"/>
  </p:normalViewPr>
  <p:slideViewPr>
    <p:cSldViewPr snapToGrid="0">
      <p:cViewPr varScale="1">
        <p:scale>
          <a:sx n="78" d="100"/>
          <a:sy n="78" d="100"/>
        </p:scale>
        <p:origin x="276" y="72"/>
      </p:cViewPr>
      <p:guideLst>
        <p:guide orient="horz" pos="2200"/>
        <p:guide pos="2829"/>
      </p:guideLst>
    </p:cSldViewPr>
  </p:slideViewPr>
  <p:outlineViewPr>
    <p:cViewPr>
      <p:scale>
        <a:sx n="33" d="100"/>
        <a:sy n="33" d="100"/>
      </p:scale>
      <p:origin x="0" y="0"/>
    </p:cViewPr>
  </p:outlin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6/11/relationships/changesInfo" Target="changesInfos/changesInfo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黄 奕景" userId="6b33f84741fe8461" providerId="LiveId" clId="{6ECBF4D4-D385-4EB9-A097-D90B76D727E0}"/>
    <pc:docChg chg="modSld">
      <pc:chgData name="黄 奕景" userId="6b33f84741fe8461" providerId="LiveId" clId="{6ECBF4D4-D385-4EB9-A097-D90B76D727E0}" dt="2022-04-26T08:57:10.519" v="4" actId="20577"/>
      <pc:docMkLst>
        <pc:docMk/>
      </pc:docMkLst>
      <pc:sldChg chg="modSp mod">
        <pc:chgData name="黄 奕景" userId="6b33f84741fe8461" providerId="LiveId" clId="{6ECBF4D4-D385-4EB9-A097-D90B76D727E0}" dt="2022-04-26T08:57:10.519" v="4" actId="20577"/>
        <pc:sldMkLst>
          <pc:docMk/>
          <pc:sldMk cId="0" sldId="256"/>
        </pc:sldMkLst>
        <pc:spChg chg="mod">
          <ac:chgData name="黄 奕景" userId="6b33f84741fe8461" providerId="LiveId" clId="{6ECBF4D4-D385-4EB9-A097-D90B76D727E0}" dt="2022-04-26T08:57:10.519" v="4" actId="20577"/>
          <ac:spMkLst>
            <pc:docMk/>
            <pc:sldMk cId="0" sldId="256"/>
            <ac:spMk id="10" creationId="{C73D3FDF-73A7-4C51-87FD-1BEE5DE2F789}"/>
          </ac:spMkLst>
        </pc:spChg>
        <pc:spChg chg="mod">
          <ac:chgData name="黄 奕景" userId="6b33f84741fe8461" providerId="LiveId" clId="{6ECBF4D4-D385-4EB9-A097-D90B76D727E0}" dt="2022-04-26T08:54:27.329" v="1" actId="20578"/>
          <ac:spMkLst>
            <pc:docMk/>
            <pc:sldMk cId="0" sldId="256"/>
            <ac:spMk id="11" creationId="{CD04465C-5853-4698-BAE1-72D76AE9AFC7}"/>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E:\Tencent\WeChat\WeChat%20Files\wxid_ti9qjh14dp8421\FileStorage\File\2022-04\indicators.csv" TargetMode="External"/><Relationship Id="rId2" Type="http://schemas.microsoft.com/office/2011/relationships/chartColorStyle" Target="colors2.xml"/><Relationship Id="rId1" Type="http://schemas.microsoft.com/office/2011/relationships/chartStyle" Target="style2.xml"/></Relationships>
</file>

<file path=ppt/charts/_rels/chart10.xml.rels><?xml version="1.0" encoding="UTF-8" standalone="yes"?>
<Relationships xmlns="http://schemas.openxmlformats.org/package/2006/relationships"><Relationship Id="rId3" Type="http://schemas.openxmlformats.org/officeDocument/2006/relationships/oleObject" Target="file:///C:\Users\86158\Documents\WeChat%20Files\wxid_9hik1xv7ukbj22\FileStorage\File\2022-04\turnover_&#29275;&#29066;.csv" TargetMode="External"/><Relationship Id="rId2" Type="http://schemas.microsoft.com/office/2011/relationships/chartColorStyle" Target="colors11.xml"/><Relationship Id="rId1" Type="http://schemas.microsoft.com/office/2011/relationships/chartStyle" Target="style11.xml"/></Relationships>
</file>

<file path=ppt/charts/_rels/chart2.xml.rels><?xml version="1.0" encoding="UTF-8" standalone="yes"?>
<Relationships xmlns="http://schemas.openxmlformats.org/package/2006/relationships"><Relationship Id="rId3" Type="http://schemas.openxmlformats.org/officeDocument/2006/relationships/oleObject" Target="file:///E:\Tencent\WeChat\WeChat%20Files\wxid_ti9qjh14dp8421\FileStorage\File\2022-04\beta_benchmark.csv" TargetMode="External"/><Relationship Id="rId2" Type="http://schemas.microsoft.com/office/2011/relationships/chartColorStyle" Target="colors3.xml"/><Relationship Id="rId1" Type="http://schemas.microsoft.com/office/2011/relationships/chartStyle" Target="style3.xml"/></Relationships>
</file>

<file path=ppt/charts/_rels/chart3.xml.rels><?xml version="1.0" encoding="UTF-8" standalone="yes"?>
<Relationships xmlns="http://schemas.openxmlformats.org/package/2006/relationships"><Relationship Id="rId3" Type="http://schemas.openxmlformats.org/officeDocument/2006/relationships/oleObject" Target="file:///C:\need\study\5530\Group%20Project\&#30011;&#22270;&#29992;\v60.csv" TargetMode="External"/><Relationship Id="rId2" Type="http://schemas.microsoft.com/office/2011/relationships/chartColorStyle" Target="colors4.xml"/><Relationship Id="rId1" Type="http://schemas.microsoft.com/office/2011/relationships/chartStyle" Target="style4.xml"/></Relationships>
</file>

<file path=ppt/charts/_rels/chart4.xml.rels><?xml version="1.0" encoding="UTF-8" standalone="yes"?>
<Relationships xmlns="http://schemas.openxmlformats.org/package/2006/relationships"><Relationship Id="rId3" Type="http://schemas.openxmlformats.org/officeDocument/2006/relationships/oleObject" Target="file:///C:\need\study\5530\Group%20Project\turnover.csv" TargetMode="External"/><Relationship Id="rId2" Type="http://schemas.microsoft.com/office/2011/relationships/chartColorStyle" Target="colors5.xml"/><Relationship Id="rId1" Type="http://schemas.microsoft.com/office/2011/relationships/chartStyle" Target="style5.xml"/></Relationships>
</file>

<file path=ppt/charts/_rels/chart5.xml.rels><?xml version="1.0" encoding="UTF-8" standalone="yes"?>
<Relationships xmlns="http://schemas.openxmlformats.org/package/2006/relationships"><Relationship Id="rId3" Type="http://schemas.openxmlformats.org/officeDocument/2006/relationships/oleObject" Target="file:///C:\need\study\5530\Group%20Project\&#30011;&#22270;&#29992;\tr_60.csv" TargetMode="External"/><Relationship Id="rId2" Type="http://schemas.microsoft.com/office/2011/relationships/chartColorStyle" Target="colors6.xml"/><Relationship Id="rId1" Type="http://schemas.microsoft.com/office/2011/relationships/chartStyle" Target="style6.xml"/></Relationships>
</file>

<file path=ppt/charts/_rels/chart6.xml.rels><?xml version="1.0" encoding="UTF-8" standalone="yes"?>
<Relationships xmlns="http://schemas.openxmlformats.org/package/2006/relationships"><Relationship Id="rId3" Type="http://schemas.openxmlformats.org/officeDocument/2006/relationships/oleObject" Target="file:///C:\need\study\5530\Group%20Project\&#30011;&#22270;&#29992;\v60.xlsx" TargetMode="External"/><Relationship Id="rId2" Type="http://schemas.microsoft.com/office/2011/relationships/chartColorStyle" Target="colors7.xml"/><Relationship Id="rId1" Type="http://schemas.microsoft.com/office/2011/relationships/chartStyle" Target="style7.xml"/></Relationships>
</file>

<file path=ppt/charts/_rels/chart7.xml.rels><?xml version="1.0" encoding="UTF-8" standalone="yes"?>
<Relationships xmlns="http://schemas.openxmlformats.org/package/2006/relationships"><Relationship Id="rId3" Type="http://schemas.openxmlformats.org/officeDocument/2006/relationships/oleObject" Target="file:///C:\need\study\5530\Group%20Project\&#30011;&#22270;&#29992;\indicators.csv" TargetMode="External"/><Relationship Id="rId2" Type="http://schemas.microsoft.com/office/2011/relationships/chartColorStyle" Target="colors8.xml"/><Relationship Id="rId1" Type="http://schemas.microsoft.com/office/2011/relationships/chartStyle" Target="style8.xml"/></Relationships>
</file>

<file path=ppt/charts/_rels/chart8.xml.rels><?xml version="1.0" encoding="UTF-8" standalone="yes"?>
<Relationships xmlns="http://schemas.openxmlformats.org/package/2006/relationships"><Relationship Id="rId3" Type="http://schemas.openxmlformats.org/officeDocument/2006/relationships/oleObject" Target="file:///C:\need\study\5530\Group%20Project\&#30011;&#22270;&#29992;\indicators.csv" TargetMode="External"/><Relationship Id="rId2" Type="http://schemas.microsoft.com/office/2011/relationships/chartColorStyle" Target="colors9.xml"/><Relationship Id="rId1" Type="http://schemas.microsoft.com/office/2011/relationships/chartStyle" Target="style9.xml"/></Relationships>
</file>

<file path=ppt/charts/_rels/chart9.xml.rels><?xml version="1.0" encoding="UTF-8" standalone="yes"?>
<Relationships xmlns="http://schemas.openxmlformats.org/package/2006/relationships"><Relationship Id="rId3" Type="http://schemas.openxmlformats.org/officeDocument/2006/relationships/oleObject" Target="file:///C:\need\study\5530\Group%20Project\&#30011;&#22270;&#29992;\record_hs300.xlsx" TargetMode="External"/><Relationship Id="rId2" Type="http://schemas.microsoft.com/office/2011/relationships/chartColorStyle" Target="colors10.xml"/><Relationship Id="rId1" Type="http://schemas.microsoft.com/office/2011/relationships/chartStyle" Target="style10.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oleObject" Target="file:///E:\Tencent\WeChat\WeChat%20Files\wxid_ti9qjh14dp8421\FileStorage\File\2022-04\indicators.csv"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7"/>
    </mc:Choice>
    <mc:Fallback>
      <c:style val="7"/>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zh-CN"/>
        </a:p>
      </c:txPr>
    </c:title>
    <c:autoTitleDeleted val="0"/>
    <c:plotArea>
      <c:layout/>
      <c:lineChart>
        <c:grouping val="standard"/>
        <c:varyColors val="0"/>
        <c:ser>
          <c:idx val="0"/>
          <c:order val="0"/>
          <c:tx>
            <c:strRef>
              <c:f>indicators!$B$1</c:f>
              <c:strCache>
                <c:ptCount val="1"/>
                <c:pt idx="0">
                  <c:v>beta</c:v>
                </c:pt>
              </c:strCache>
            </c:strRef>
          </c:tx>
          <c:spPr>
            <a:ln w="28575" cap="rnd">
              <a:solidFill>
                <a:schemeClr val="accent5"/>
              </a:solidFill>
              <a:round/>
            </a:ln>
            <a:effectLst/>
          </c:spPr>
          <c:marker>
            <c:symbol val="none"/>
          </c:marker>
          <c:cat>
            <c:numRef>
              <c:f>indicators!$A$2:$A$3224</c:f>
              <c:numCache>
                <c:formatCode>m/d/yyyy</c:formatCode>
                <c:ptCount val="3223"/>
                <c:pt idx="0">
                  <c:v>39818</c:v>
                </c:pt>
                <c:pt idx="1">
                  <c:v>39819</c:v>
                </c:pt>
                <c:pt idx="2">
                  <c:v>39820</c:v>
                </c:pt>
                <c:pt idx="3">
                  <c:v>39821</c:v>
                </c:pt>
                <c:pt idx="4">
                  <c:v>39822</c:v>
                </c:pt>
                <c:pt idx="5">
                  <c:v>39825</c:v>
                </c:pt>
                <c:pt idx="6">
                  <c:v>39826</c:v>
                </c:pt>
                <c:pt idx="7">
                  <c:v>39827</c:v>
                </c:pt>
                <c:pt idx="8">
                  <c:v>39828</c:v>
                </c:pt>
                <c:pt idx="9">
                  <c:v>39829</c:v>
                </c:pt>
                <c:pt idx="10">
                  <c:v>39832</c:v>
                </c:pt>
                <c:pt idx="11">
                  <c:v>39833</c:v>
                </c:pt>
                <c:pt idx="12">
                  <c:v>39834</c:v>
                </c:pt>
                <c:pt idx="13">
                  <c:v>39835</c:v>
                </c:pt>
                <c:pt idx="14">
                  <c:v>39836</c:v>
                </c:pt>
                <c:pt idx="15">
                  <c:v>39846</c:v>
                </c:pt>
                <c:pt idx="16">
                  <c:v>39847</c:v>
                </c:pt>
                <c:pt idx="17">
                  <c:v>39848</c:v>
                </c:pt>
                <c:pt idx="18">
                  <c:v>39849</c:v>
                </c:pt>
                <c:pt idx="19">
                  <c:v>39850</c:v>
                </c:pt>
                <c:pt idx="20">
                  <c:v>39853</c:v>
                </c:pt>
                <c:pt idx="21">
                  <c:v>39854</c:v>
                </c:pt>
                <c:pt idx="22">
                  <c:v>39855</c:v>
                </c:pt>
                <c:pt idx="23">
                  <c:v>39856</c:v>
                </c:pt>
                <c:pt idx="24">
                  <c:v>39857</c:v>
                </c:pt>
                <c:pt idx="25">
                  <c:v>39860</c:v>
                </c:pt>
                <c:pt idx="26">
                  <c:v>39861</c:v>
                </c:pt>
                <c:pt idx="27">
                  <c:v>39862</c:v>
                </c:pt>
                <c:pt idx="28">
                  <c:v>39863</c:v>
                </c:pt>
                <c:pt idx="29">
                  <c:v>39864</c:v>
                </c:pt>
                <c:pt idx="30">
                  <c:v>39867</c:v>
                </c:pt>
                <c:pt idx="31">
                  <c:v>39868</c:v>
                </c:pt>
                <c:pt idx="32">
                  <c:v>39869</c:v>
                </c:pt>
                <c:pt idx="33">
                  <c:v>39870</c:v>
                </c:pt>
                <c:pt idx="34">
                  <c:v>39871</c:v>
                </c:pt>
                <c:pt idx="35">
                  <c:v>39874</c:v>
                </c:pt>
                <c:pt idx="36">
                  <c:v>39875</c:v>
                </c:pt>
                <c:pt idx="37">
                  <c:v>39876</c:v>
                </c:pt>
                <c:pt idx="38">
                  <c:v>39877</c:v>
                </c:pt>
                <c:pt idx="39">
                  <c:v>39878</c:v>
                </c:pt>
                <c:pt idx="40">
                  <c:v>39881</c:v>
                </c:pt>
                <c:pt idx="41">
                  <c:v>39882</c:v>
                </c:pt>
                <c:pt idx="42">
                  <c:v>39883</c:v>
                </c:pt>
                <c:pt idx="43">
                  <c:v>39884</c:v>
                </c:pt>
                <c:pt idx="44">
                  <c:v>39885</c:v>
                </c:pt>
                <c:pt idx="45">
                  <c:v>39888</c:v>
                </c:pt>
                <c:pt idx="46">
                  <c:v>39889</c:v>
                </c:pt>
                <c:pt idx="47">
                  <c:v>39890</c:v>
                </c:pt>
                <c:pt idx="48">
                  <c:v>39891</c:v>
                </c:pt>
                <c:pt idx="49">
                  <c:v>39892</c:v>
                </c:pt>
                <c:pt idx="50">
                  <c:v>39895</c:v>
                </c:pt>
                <c:pt idx="51">
                  <c:v>39896</c:v>
                </c:pt>
                <c:pt idx="52">
                  <c:v>39897</c:v>
                </c:pt>
                <c:pt idx="53">
                  <c:v>39898</c:v>
                </c:pt>
                <c:pt idx="54">
                  <c:v>39899</c:v>
                </c:pt>
                <c:pt idx="55">
                  <c:v>39902</c:v>
                </c:pt>
                <c:pt idx="56">
                  <c:v>39903</c:v>
                </c:pt>
                <c:pt idx="57">
                  <c:v>39904</c:v>
                </c:pt>
                <c:pt idx="58">
                  <c:v>39905</c:v>
                </c:pt>
                <c:pt idx="59">
                  <c:v>39906</c:v>
                </c:pt>
                <c:pt idx="60">
                  <c:v>39910</c:v>
                </c:pt>
                <c:pt idx="61">
                  <c:v>39911</c:v>
                </c:pt>
                <c:pt idx="62">
                  <c:v>39912</c:v>
                </c:pt>
                <c:pt idx="63">
                  <c:v>39913</c:v>
                </c:pt>
                <c:pt idx="64">
                  <c:v>39916</c:v>
                </c:pt>
                <c:pt idx="65">
                  <c:v>39917</c:v>
                </c:pt>
                <c:pt idx="66">
                  <c:v>39918</c:v>
                </c:pt>
                <c:pt idx="67">
                  <c:v>39919</c:v>
                </c:pt>
                <c:pt idx="68">
                  <c:v>39920</c:v>
                </c:pt>
                <c:pt idx="69">
                  <c:v>39923</c:v>
                </c:pt>
                <c:pt idx="70">
                  <c:v>39924</c:v>
                </c:pt>
                <c:pt idx="71">
                  <c:v>39925</c:v>
                </c:pt>
                <c:pt idx="72">
                  <c:v>39926</c:v>
                </c:pt>
                <c:pt idx="73">
                  <c:v>39927</c:v>
                </c:pt>
                <c:pt idx="74">
                  <c:v>39930</c:v>
                </c:pt>
                <c:pt idx="75">
                  <c:v>39931</c:v>
                </c:pt>
                <c:pt idx="76">
                  <c:v>39932</c:v>
                </c:pt>
                <c:pt idx="77">
                  <c:v>39933</c:v>
                </c:pt>
                <c:pt idx="78">
                  <c:v>39937</c:v>
                </c:pt>
                <c:pt idx="79">
                  <c:v>39938</c:v>
                </c:pt>
                <c:pt idx="80">
                  <c:v>39939</c:v>
                </c:pt>
                <c:pt idx="81">
                  <c:v>39940</c:v>
                </c:pt>
                <c:pt idx="82">
                  <c:v>39941</c:v>
                </c:pt>
                <c:pt idx="83">
                  <c:v>39944</c:v>
                </c:pt>
                <c:pt idx="84">
                  <c:v>39945</c:v>
                </c:pt>
                <c:pt idx="85">
                  <c:v>39946</c:v>
                </c:pt>
                <c:pt idx="86">
                  <c:v>39947</c:v>
                </c:pt>
                <c:pt idx="87">
                  <c:v>39948</c:v>
                </c:pt>
                <c:pt idx="88">
                  <c:v>39951</c:v>
                </c:pt>
                <c:pt idx="89">
                  <c:v>39952</c:v>
                </c:pt>
                <c:pt idx="90">
                  <c:v>39953</c:v>
                </c:pt>
                <c:pt idx="91">
                  <c:v>39954</c:v>
                </c:pt>
                <c:pt idx="92">
                  <c:v>39955</c:v>
                </c:pt>
                <c:pt idx="93">
                  <c:v>39958</c:v>
                </c:pt>
                <c:pt idx="94">
                  <c:v>39959</c:v>
                </c:pt>
                <c:pt idx="95">
                  <c:v>39960</c:v>
                </c:pt>
                <c:pt idx="96">
                  <c:v>39965</c:v>
                </c:pt>
                <c:pt idx="97">
                  <c:v>39966</c:v>
                </c:pt>
                <c:pt idx="98">
                  <c:v>39967</c:v>
                </c:pt>
                <c:pt idx="99">
                  <c:v>39968</c:v>
                </c:pt>
                <c:pt idx="100">
                  <c:v>39969</c:v>
                </c:pt>
                <c:pt idx="101">
                  <c:v>39972</c:v>
                </c:pt>
                <c:pt idx="102">
                  <c:v>39973</c:v>
                </c:pt>
                <c:pt idx="103">
                  <c:v>39974</c:v>
                </c:pt>
                <c:pt idx="104">
                  <c:v>39975</c:v>
                </c:pt>
                <c:pt idx="105">
                  <c:v>39976</c:v>
                </c:pt>
                <c:pt idx="106">
                  <c:v>39979</c:v>
                </c:pt>
                <c:pt idx="107">
                  <c:v>39980</c:v>
                </c:pt>
                <c:pt idx="108">
                  <c:v>39981</c:v>
                </c:pt>
                <c:pt idx="109">
                  <c:v>39982</c:v>
                </c:pt>
                <c:pt idx="110">
                  <c:v>39983</c:v>
                </c:pt>
                <c:pt idx="111">
                  <c:v>39986</c:v>
                </c:pt>
                <c:pt idx="112">
                  <c:v>39987</c:v>
                </c:pt>
                <c:pt idx="113">
                  <c:v>39988</c:v>
                </c:pt>
                <c:pt idx="114">
                  <c:v>39989</c:v>
                </c:pt>
                <c:pt idx="115">
                  <c:v>39990</c:v>
                </c:pt>
                <c:pt idx="116">
                  <c:v>39993</c:v>
                </c:pt>
                <c:pt idx="117">
                  <c:v>39994</c:v>
                </c:pt>
                <c:pt idx="118">
                  <c:v>39995</c:v>
                </c:pt>
                <c:pt idx="119">
                  <c:v>39996</c:v>
                </c:pt>
                <c:pt idx="120">
                  <c:v>39997</c:v>
                </c:pt>
                <c:pt idx="121">
                  <c:v>40000</c:v>
                </c:pt>
                <c:pt idx="122">
                  <c:v>40001</c:v>
                </c:pt>
                <c:pt idx="123">
                  <c:v>40002</c:v>
                </c:pt>
                <c:pt idx="124">
                  <c:v>40003</c:v>
                </c:pt>
                <c:pt idx="125">
                  <c:v>40004</c:v>
                </c:pt>
                <c:pt idx="126">
                  <c:v>40007</c:v>
                </c:pt>
                <c:pt idx="127">
                  <c:v>40008</c:v>
                </c:pt>
                <c:pt idx="128">
                  <c:v>40009</c:v>
                </c:pt>
                <c:pt idx="129">
                  <c:v>40010</c:v>
                </c:pt>
                <c:pt idx="130">
                  <c:v>40011</c:v>
                </c:pt>
                <c:pt idx="131">
                  <c:v>40014</c:v>
                </c:pt>
                <c:pt idx="132">
                  <c:v>40015</c:v>
                </c:pt>
                <c:pt idx="133">
                  <c:v>40016</c:v>
                </c:pt>
                <c:pt idx="134">
                  <c:v>40017</c:v>
                </c:pt>
                <c:pt idx="135">
                  <c:v>40018</c:v>
                </c:pt>
                <c:pt idx="136">
                  <c:v>40021</c:v>
                </c:pt>
                <c:pt idx="137">
                  <c:v>40022</c:v>
                </c:pt>
                <c:pt idx="138">
                  <c:v>40023</c:v>
                </c:pt>
                <c:pt idx="139">
                  <c:v>40024</c:v>
                </c:pt>
                <c:pt idx="140">
                  <c:v>40025</c:v>
                </c:pt>
                <c:pt idx="141">
                  <c:v>40028</c:v>
                </c:pt>
                <c:pt idx="142">
                  <c:v>40029</c:v>
                </c:pt>
                <c:pt idx="143">
                  <c:v>40030</c:v>
                </c:pt>
                <c:pt idx="144">
                  <c:v>40031</c:v>
                </c:pt>
                <c:pt idx="145">
                  <c:v>40032</c:v>
                </c:pt>
                <c:pt idx="146">
                  <c:v>40035</c:v>
                </c:pt>
                <c:pt idx="147">
                  <c:v>40036</c:v>
                </c:pt>
                <c:pt idx="148">
                  <c:v>40037</c:v>
                </c:pt>
                <c:pt idx="149">
                  <c:v>40038</c:v>
                </c:pt>
                <c:pt idx="150">
                  <c:v>40039</c:v>
                </c:pt>
                <c:pt idx="151">
                  <c:v>40042</c:v>
                </c:pt>
                <c:pt idx="152">
                  <c:v>40043</c:v>
                </c:pt>
                <c:pt idx="153">
                  <c:v>40044</c:v>
                </c:pt>
                <c:pt idx="154">
                  <c:v>40045</c:v>
                </c:pt>
                <c:pt idx="155">
                  <c:v>40046</c:v>
                </c:pt>
                <c:pt idx="156">
                  <c:v>40049</c:v>
                </c:pt>
                <c:pt idx="157">
                  <c:v>40050</c:v>
                </c:pt>
                <c:pt idx="158">
                  <c:v>40051</c:v>
                </c:pt>
                <c:pt idx="159">
                  <c:v>40052</c:v>
                </c:pt>
                <c:pt idx="160">
                  <c:v>40053</c:v>
                </c:pt>
                <c:pt idx="161">
                  <c:v>40056</c:v>
                </c:pt>
                <c:pt idx="162">
                  <c:v>40057</c:v>
                </c:pt>
                <c:pt idx="163">
                  <c:v>40058</c:v>
                </c:pt>
                <c:pt idx="164">
                  <c:v>40059</c:v>
                </c:pt>
                <c:pt idx="165">
                  <c:v>40060</c:v>
                </c:pt>
                <c:pt idx="166">
                  <c:v>40063</c:v>
                </c:pt>
                <c:pt idx="167">
                  <c:v>40064</c:v>
                </c:pt>
                <c:pt idx="168">
                  <c:v>40065</c:v>
                </c:pt>
                <c:pt idx="169">
                  <c:v>40066</c:v>
                </c:pt>
                <c:pt idx="170">
                  <c:v>40067</c:v>
                </c:pt>
                <c:pt idx="171">
                  <c:v>40070</c:v>
                </c:pt>
                <c:pt idx="172">
                  <c:v>40071</c:v>
                </c:pt>
                <c:pt idx="173">
                  <c:v>40072</c:v>
                </c:pt>
                <c:pt idx="174">
                  <c:v>40073</c:v>
                </c:pt>
                <c:pt idx="175">
                  <c:v>40074</c:v>
                </c:pt>
                <c:pt idx="176">
                  <c:v>40077</c:v>
                </c:pt>
                <c:pt idx="177">
                  <c:v>40078</c:v>
                </c:pt>
                <c:pt idx="178">
                  <c:v>40079</c:v>
                </c:pt>
                <c:pt idx="179">
                  <c:v>40080</c:v>
                </c:pt>
                <c:pt idx="180">
                  <c:v>40081</c:v>
                </c:pt>
                <c:pt idx="181">
                  <c:v>40084</c:v>
                </c:pt>
                <c:pt idx="182">
                  <c:v>40085</c:v>
                </c:pt>
                <c:pt idx="183">
                  <c:v>40086</c:v>
                </c:pt>
                <c:pt idx="184">
                  <c:v>40095</c:v>
                </c:pt>
                <c:pt idx="185">
                  <c:v>40098</c:v>
                </c:pt>
                <c:pt idx="186">
                  <c:v>40099</c:v>
                </c:pt>
                <c:pt idx="187">
                  <c:v>40100</c:v>
                </c:pt>
                <c:pt idx="188">
                  <c:v>40101</c:v>
                </c:pt>
                <c:pt idx="189">
                  <c:v>40102</c:v>
                </c:pt>
                <c:pt idx="190">
                  <c:v>40105</c:v>
                </c:pt>
                <c:pt idx="191">
                  <c:v>40106</c:v>
                </c:pt>
                <c:pt idx="192">
                  <c:v>40107</c:v>
                </c:pt>
                <c:pt idx="193">
                  <c:v>40108</c:v>
                </c:pt>
                <c:pt idx="194">
                  <c:v>40109</c:v>
                </c:pt>
                <c:pt idx="195">
                  <c:v>40112</c:v>
                </c:pt>
                <c:pt idx="196">
                  <c:v>40113</c:v>
                </c:pt>
                <c:pt idx="197">
                  <c:v>40114</c:v>
                </c:pt>
                <c:pt idx="198">
                  <c:v>40115</c:v>
                </c:pt>
                <c:pt idx="199">
                  <c:v>40116</c:v>
                </c:pt>
                <c:pt idx="200">
                  <c:v>40119</c:v>
                </c:pt>
                <c:pt idx="201">
                  <c:v>40120</c:v>
                </c:pt>
                <c:pt idx="202">
                  <c:v>40121</c:v>
                </c:pt>
                <c:pt idx="203">
                  <c:v>40122</c:v>
                </c:pt>
                <c:pt idx="204">
                  <c:v>40123</c:v>
                </c:pt>
                <c:pt idx="205">
                  <c:v>40126</c:v>
                </c:pt>
                <c:pt idx="206">
                  <c:v>40127</c:v>
                </c:pt>
                <c:pt idx="207">
                  <c:v>40128</c:v>
                </c:pt>
                <c:pt idx="208">
                  <c:v>40129</c:v>
                </c:pt>
                <c:pt idx="209">
                  <c:v>40130</c:v>
                </c:pt>
                <c:pt idx="210">
                  <c:v>40133</c:v>
                </c:pt>
                <c:pt idx="211">
                  <c:v>40134</c:v>
                </c:pt>
                <c:pt idx="212">
                  <c:v>40135</c:v>
                </c:pt>
                <c:pt idx="213">
                  <c:v>40136</c:v>
                </c:pt>
                <c:pt idx="214">
                  <c:v>40137</c:v>
                </c:pt>
                <c:pt idx="215">
                  <c:v>40140</c:v>
                </c:pt>
                <c:pt idx="216">
                  <c:v>40141</c:v>
                </c:pt>
                <c:pt idx="217">
                  <c:v>40142</c:v>
                </c:pt>
                <c:pt idx="218">
                  <c:v>40143</c:v>
                </c:pt>
                <c:pt idx="219">
                  <c:v>40144</c:v>
                </c:pt>
                <c:pt idx="220">
                  <c:v>40147</c:v>
                </c:pt>
                <c:pt idx="221">
                  <c:v>40148</c:v>
                </c:pt>
                <c:pt idx="222">
                  <c:v>40149</c:v>
                </c:pt>
                <c:pt idx="223">
                  <c:v>40150</c:v>
                </c:pt>
                <c:pt idx="224">
                  <c:v>40151</c:v>
                </c:pt>
                <c:pt idx="225">
                  <c:v>40154</c:v>
                </c:pt>
                <c:pt idx="226">
                  <c:v>40155</c:v>
                </c:pt>
                <c:pt idx="227">
                  <c:v>40156</c:v>
                </c:pt>
                <c:pt idx="228">
                  <c:v>40157</c:v>
                </c:pt>
                <c:pt idx="229">
                  <c:v>40158</c:v>
                </c:pt>
                <c:pt idx="230">
                  <c:v>40161</c:v>
                </c:pt>
                <c:pt idx="231">
                  <c:v>40162</c:v>
                </c:pt>
                <c:pt idx="232">
                  <c:v>40163</c:v>
                </c:pt>
                <c:pt idx="233">
                  <c:v>40164</c:v>
                </c:pt>
                <c:pt idx="234">
                  <c:v>40165</c:v>
                </c:pt>
                <c:pt idx="235">
                  <c:v>40168</c:v>
                </c:pt>
                <c:pt idx="236">
                  <c:v>40169</c:v>
                </c:pt>
                <c:pt idx="237">
                  <c:v>40170</c:v>
                </c:pt>
                <c:pt idx="238">
                  <c:v>40171</c:v>
                </c:pt>
                <c:pt idx="239">
                  <c:v>40172</c:v>
                </c:pt>
                <c:pt idx="240">
                  <c:v>40175</c:v>
                </c:pt>
                <c:pt idx="241">
                  <c:v>40176</c:v>
                </c:pt>
                <c:pt idx="242">
                  <c:v>40177</c:v>
                </c:pt>
                <c:pt idx="243">
                  <c:v>40178</c:v>
                </c:pt>
                <c:pt idx="244">
                  <c:v>40182</c:v>
                </c:pt>
                <c:pt idx="245">
                  <c:v>40183</c:v>
                </c:pt>
                <c:pt idx="246">
                  <c:v>40184</c:v>
                </c:pt>
                <c:pt idx="247">
                  <c:v>40185</c:v>
                </c:pt>
                <c:pt idx="248">
                  <c:v>40186</c:v>
                </c:pt>
                <c:pt idx="249">
                  <c:v>40189</c:v>
                </c:pt>
                <c:pt idx="250">
                  <c:v>40190</c:v>
                </c:pt>
                <c:pt idx="251">
                  <c:v>40191</c:v>
                </c:pt>
                <c:pt idx="252">
                  <c:v>40192</c:v>
                </c:pt>
                <c:pt idx="253">
                  <c:v>40193</c:v>
                </c:pt>
                <c:pt idx="254">
                  <c:v>40196</c:v>
                </c:pt>
                <c:pt idx="255">
                  <c:v>40197</c:v>
                </c:pt>
                <c:pt idx="256">
                  <c:v>40198</c:v>
                </c:pt>
                <c:pt idx="257">
                  <c:v>40199</c:v>
                </c:pt>
                <c:pt idx="258">
                  <c:v>40200</c:v>
                </c:pt>
                <c:pt idx="259">
                  <c:v>40203</c:v>
                </c:pt>
                <c:pt idx="260">
                  <c:v>40204</c:v>
                </c:pt>
                <c:pt idx="261">
                  <c:v>40205</c:v>
                </c:pt>
                <c:pt idx="262">
                  <c:v>40206</c:v>
                </c:pt>
                <c:pt idx="263">
                  <c:v>40207</c:v>
                </c:pt>
                <c:pt idx="264">
                  <c:v>40210</c:v>
                </c:pt>
                <c:pt idx="265">
                  <c:v>40211</c:v>
                </c:pt>
                <c:pt idx="266">
                  <c:v>40212</c:v>
                </c:pt>
                <c:pt idx="267">
                  <c:v>40213</c:v>
                </c:pt>
                <c:pt idx="268">
                  <c:v>40214</c:v>
                </c:pt>
                <c:pt idx="269">
                  <c:v>40217</c:v>
                </c:pt>
                <c:pt idx="270">
                  <c:v>40218</c:v>
                </c:pt>
                <c:pt idx="271">
                  <c:v>40219</c:v>
                </c:pt>
                <c:pt idx="272">
                  <c:v>40220</c:v>
                </c:pt>
                <c:pt idx="273">
                  <c:v>40221</c:v>
                </c:pt>
                <c:pt idx="274">
                  <c:v>40231</c:v>
                </c:pt>
                <c:pt idx="275">
                  <c:v>40232</c:v>
                </c:pt>
                <c:pt idx="276">
                  <c:v>40233</c:v>
                </c:pt>
                <c:pt idx="277">
                  <c:v>40234</c:v>
                </c:pt>
                <c:pt idx="278">
                  <c:v>40235</c:v>
                </c:pt>
                <c:pt idx="279">
                  <c:v>40238</c:v>
                </c:pt>
                <c:pt idx="280">
                  <c:v>40239</c:v>
                </c:pt>
                <c:pt idx="281">
                  <c:v>40240</c:v>
                </c:pt>
                <c:pt idx="282">
                  <c:v>40241</c:v>
                </c:pt>
                <c:pt idx="283">
                  <c:v>40242</c:v>
                </c:pt>
                <c:pt idx="284">
                  <c:v>40245</c:v>
                </c:pt>
                <c:pt idx="285">
                  <c:v>40246</c:v>
                </c:pt>
                <c:pt idx="286">
                  <c:v>40247</c:v>
                </c:pt>
                <c:pt idx="287">
                  <c:v>40248</c:v>
                </c:pt>
                <c:pt idx="288">
                  <c:v>40249</c:v>
                </c:pt>
                <c:pt idx="289">
                  <c:v>40252</c:v>
                </c:pt>
                <c:pt idx="290">
                  <c:v>40253</c:v>
                </c:pt>
                <c:pt idx="291">
                  <c:v>40254</c:v>
                </c:pt>
                <c:pt idx="292">
                  <c:v>40255</c:v>
                </c:pt>
                <c:pt idx="293">
                  <c:v>40256</c:v>
                </c:pt>
                <c:pt idx="294">
                  <c:v>40259</c:v>
                </c:pt>
                <c:pt idx="295">
                  <c:v>40260</c:v>
                </c:pt>
                <c:pt idx="296">
                  <c:v>40261</c:v>
                </c:pt>
                <c:pt idx="297">
                  <c:v>40262</c:v>
                </c:pt>
                <c:pt idx="298">
                  <c:v>40263</c:v>
                </c:pt>
                <c:pt idx="299">
                  <c:v>40266</c:v>
                </c:pt>
                <c:pt idx="300">
                  <c:v>40267</c:v>
                </c:pt>
                <c:pt idx="301">
                  <c:v>40268</c:v>
                </c:pt>
                <c:pt idx="302">
                  <c:v>40269</c:v>
                </c:pt>
                <c:pt idx="303">
                  <c:v>40270</c:v>
                </c:pt>
                <c:pt idx="304">
                  <c:v>40274</c:v>
                </c:pt>
                <c:pt idx="305">
                  <c:v>40275</c:v>
                </c:pt>
                <c:pt idx="306">
                  <c:v>40276</c:v>
                </c:pt>
                <c:pt idx="307">
                  <c:v>40277</c:v>
                </c:pt>
                <c:pt idx="308">
                  <c:v>40280</c:v>
                </c:pt>
                <c:pt idx="309">
                  <c:v>40281</c:v>
                </c:pt>
                <c:pt idx="310">
                  <c:v>40282</c:v>
                </c:pt>
                <c:pt idx="311">
                  <c:v>40283</c:v>
                </c:pt>
                <c:pt idx="312">
                  <c:v>40284</c:v>
                </c:pt>
                <c:pt idx="313">
                  <c:v>40287</c:v>
                </c:pt>
                <c:pt idx="314">
                  <c:v>40288</c:v>
                </c:pt>
                <c:pt idx="315">
                  <c:v>40289</c:v>
                </c:pt>
                <c:pt idx="316">
                  <c:v>40290</c:v>
                </c:pt>
                <c:pt idx="317">
                  <c:v>40291</c:v>
                </c:pt>
                <c:pt idx="318">
                  <c:v>40294</c:v>
                </c:pt>
                <c:pt idx="319">
                  <c:v>40295</c:v>
                </c:pt>
                <c:pt idx="320">
                  <c:v>40296</c:v>
                </c:pt>
                <c:pt idx="321">
                  <c:v>40297</c:v>
                </c:pt>
                <c:pt idx="322">
                  <c:v>40298</c:v>
                </c:pt>
                <c:pt idx="323">
                  <c:v>40302</c:v>
                </c:pt>
                <c:pt idx="324">
                  <c:v>40303</c:v>
                </c:pt>
                <c:pt idx="325">
                  <c:v>40304</c:v>
                </c:pt>
                <c:pt idx="326">
                  <c:v>40305</c:v>
                </c:pt>
                <c:pt idx="327">
                  <c:v>40308</c:v>
                </c:pt>
                <c:pt idx="328">
                  <c:v>40309</c:v>
                </c:pt>
                <c:pt idx="329">
                  <c:v>40310</c:v>
                </c:pt>
                <c:pt idx="330">
                  <c:v>40311</c:v>
                </c:pt>
                <c:pt idx="331">
                  <c:v>40312</c:v>
                </c:pt>
                <c:pt idx="332">
                  <c:v>40315</c:v>
                </c:pt>
                <c:pt idx="333">
                  <c:v>40316</c:v>
                </c:pt>
                <c:pt idx="334">
                  <c:v>40317</c:v>
                </c:pt>
                <c:pt idx="335">
                  <c:v>40318</c:v>
                </c:pt>
                <c:pt idx="336">
                  <c:v>40319</c:v>
                </c:pt>
                <c:pt idx="337">
                  <c:v>40322</c:v>
                </c:pt>
                <c:pt idx="338">
                  <c:v>40323</c:v>
                </c:pt>
                <c:pt idx="339">
                  <c:v>40324</c:v>
                </c:pt>
                <c:pt idx="340">
                  <c:v>40325</c:v>
                </c:pt>
                <c:pt idx="341">
                  <c:v>40326</c:v>
                </c:pt>
                <c:pt idx="342">
                  <c:v>40329</c:v>
                </c:pt>
                <c:pt idx="343">
                  <c:v>40330</c:v>
                </c:pt>
                <c:pt idx="344">
                  <c:v>40331</c:v>
                </c:pt>
                <c:pt idx="345">
                  <c:v>40332</c:v>
                </c:pt>
                <c:pt idx="346">
                  <c:v>40333</c:v>
                </c:pt>
                <c:pt idx="347">
                  <c:v>40336</c:v>
                </c:pt>
                <c:pt idx="348">
                  <c:v>40337</c:v>
                </c:pt>
                <c:pt idx="349">
                  <c:v>40338</c:v>
                </c:pt>
                <c:pt idx="350">
                  <c:v>40339</c:v>
                </c:pt>
                <c:pt idx="351">
                  <c:v>40340</c:v>
                </c:pt>
                <c:pt idx="352">
                  <c:v>40346</c:v>
                </c:pt>
                <c:pt idx="353">
                  <c:v>40347</c:v>
                </c:pt>
                <c:pt idx="354">
                  <c:v>40350</c:v>
                </c:pt>
                <c:pt idx="355">
                  <c:v>40351</c:v>
                </c:pt>
                <c:pt idx="356">
                  <c:v>40352</c:v>
                </c:pt>
                <c:pt idx="357">
                  <c:v>40353</c:v>
                </c:pt>
                <c:pt idx="358">
                  <c:v>40354</c:v>
                </c:pt>
                <c:pt idx="359">
                  <c:v>40357</c:v>
                </c:pt>
                <c:pt idx="360">
                  <c:v>40358</c:v>
                </c:pt>
                <c:pt idx="361">
                  <c:v>40359</c:v>
                </c:pt>
                <c:pt idx="362">
                  <c:v>40360</c:v>
                </c:pt>
                <c:pt idx="363">
                  <c:v>40361</c:v>
                </c:pt>
                <c:pt idx="364">
                  <c:v>40364</c:v>
                </c:pt>
                <c:pt idx="365">
                  <c:v>40365</c:v>
                </c:pt>
                <c:pt idx="366">
                  <c:v>40366</c:v>
                </c:pt>
                <c:pt idx="367">
                  <c:v>40367</c:v>
                </c:pt>
                <c:pt idx="368">
                  <c:v>40368</c:v>
                </c:pt>
                <c:pt idx="369">
                  <c:v>40371</c:v>
                </c:pt>
                <c:pt idx="370">
                  <c:v>40372</c:v>
                </c:pt>
                <c:pt idx="371">
                  <c:v>40373</c:v>
                </c:pt>
                <c:pt idx="372">
                  <c:v>40374</c:v>
                </c:pt>
                <c:pt idx="373">
                  <c:v>40375</c:v>
                </c:pt>
                <c:pt idx="374">
                  <c:v>40378</c:v>
                </c:pt>
                <c:pt idx="375">
                  <c:v>40379</c:v>
                </c:pt>
                <c:pt idx="376">
                  <c:v>40380</c:v>
                </c:pt>
                <c:pt idx="377">
                  <c:v>40381</c:v>
                </c:pt>
                <c:pt idx="378">
                  <c:v>40382</c:v>
                </c:pt>
                <c:pt idx="379">
                  <c:v>40385</c:v>
                </c:pt>
                <c:pt idx="380">
                  <c:v>40386</c:v>
                </c:pt>
                <c:pt idx="381">
                  <c:v>40387</c:v>
                </c:pt>
                <c:pt idx="382">
                  <c:v>40388</c:v>
                </c:pt>
                <c:pt idx="383">
                  <c:v>40389</c:v>
                </c:pt>
                <c:pt idx="384">
                  <c:v>40392</c:v>
                </c:pt>
                <c:pt idx="385">
                  <c:v>40393</c:v>
                </c:pt>
                <c:pt idx="386">
                  <c:v>40394</c:v>
                </c:pt>
                <c:pt idx="387">
                  <c:v>40395</c:v>
                </c:pt>
                <c:pt idx="388">
                  <c:v>40396</c:v>
                </c:pt>
                <c:pt idx="389">
                  <c:v>40399</c:v>
                </c:pt>
                <c:pt idx="390">
                  <c:v>40400</c:v>
                </c:pt>
                <c:pt idx="391">
                  <c:v>40401</c:v>
                </c:pt>
                <c:pt idx="392">
                  <c:v>40402</c:v>
                </c:pt>
                <c:pt idx="393">
                  <c:v>40403</c:v>
                </c:pt>
                <c:pt idx="394">
                  <c:v>40406</c:v>
                </c:pt>
                <c:pt idx="395">
                  <c:v>40407</c:v>
                </c:pt>
                <c:pt idx="396">
                  <c:v>40408</c:v>
                </c:pt>
                <c:pt idx="397">
                  <c:v>40409</c:v>
                </c:pt>
                <c:pt idx="398">
                  <c:v>40410</c:v>
                </c:pt>
                <c:pt idx="399">
                  <c:v>40413</c:v>
                </c:pt>
                <c:pt idx="400">
                  <c:v>40414</c:v>
                </c:pt>
                <c:pt idx="401">
                  <c:v>40415</c:v>
                </c:pt>
                <c:pt idx="402">
                  <c:v>40416</c:v>
                </c:pt>
                <c:pt idx="403">
                  <c:v>40417</c:v>
                </c:pt>
                <c:pt idx="404">
                  <c:v>40420</c:v>
                </c:pt>
                <c:pt idx="405">
                  <c:v>40421</c:v>
                </c:pt>
                <c:pt idx="406">
                  <c:v>40422</c:v>
                </c:pt>
                <c:pt idx="407">
                  <c:v>40423</c:v>
                </c:pt>
                <c:pt idx="408">
                  <c:v>40424</c:v>
                </c:pt>
                <c:pt idx="409">
                  <c:v>40427</c:v>
                </c:pt>
                <c:pt idx="410">
                  <c:v>40428</c:v>
                </c:pt>
                <c:pt idx="411">
                  <c:v>40429</c:v>
                </c:pt>
                <c:pt idx="412">
                  <c:v>40430</c:v>
                </c:pt>
                <c:pt idx="413">
                  <c:v>40431</c:v>
                </c:pt>
                <c:pt idx="414">
                  <c:v>40434</c:v>
                </c:pt>
                <c:pt idx="415">
                  <c:v>40435</c:v>
                </c:pt>
                <c:pt idx="416">
                  <c:v>40436</c:v>
                </c:pt>
                <c:pt idx="417">
                  <c:v>40437</c:v>
                </c:pt>
                <c:pt idx="418">
                  <c:v>40438</c:v>
                </c:pt>
                <c:pt idx="419">
                  <c:v>40441</c:v>
                </c:pt>
                <c:pt idx="420">
                  <c:v>40442</c:v>
                </c:pt>
                <c:pt idx="421">
                  <c:v>40448</c:v>
                </c:pt>
                <c:pt idx="422">
                  <c:v>40449</c:v>
                </c:pt>
                <c:pt idx="423">
                  <c:v>40450</c:v>
                </c:pt>
                <c:pt idx="424">
                  <c:v>40451</c:v>
                </c:pt>
                <c:pt idx="425">
                  <c:v>40459</c:v>
                </c:pt>
                <c:pt idx="426">
                  <c:v>40462</c:v>
                </c:pt>
                <c:pt idx="427">
                  <c:v>40463</c:v>
                </c:pt>
                <c:pt idx="428">
                  <c:v>40464</c:v>
                </c:pt>
                <c:pt idx="429">
                  <c:v>40465</c:v>
                </c:pt>
                <c:pt idx="430">
                  <c:v>40466</c:v>
                </c:pt>
                <c:pt idx="431">
                  <c:v>40469</c:v>
                </c:pt>
                <c:pt idx="432">
                  <c:v>40470</c:v>
                </c:pt>
                <c:pt idx="433">
                  <c:v>40471</c:v>
                </c:pt>
                <c:pt idx="434">
                  <c:v>40472</c:v>
                </c:pt>
                <c:pt idx="435">
                  <c:v>40473</c:v>
                </c:pt>
                <c:pt idx="436">
                  <c:v>40476</c:v>
                </c:pt>
                <c:pt idx="437">
                  <c:v>40477</c:v>
                </c:pt>
                <c:pt idx="438">
                  <c:v>40478</c:v>
                </c:pt>
                <c:pt idx="439">
                  <c:v>40479</c:v>
                </c:pt>
                <c:pt idx="440">
                  <c:v>40480</c:v>
                </c:pt>
                <c:pt idx="441">
                  <c:v>40483</c:v>
                </c:pt>
                <c:pt idx="442">
                  <c:v>40484</c:v>
                </c:pt>
                <c:pt idx="443">
                  <c:v>40485</c:v>
                </c:pt>
                <c:pt idx="444">
                  <c:v>40486</c:v>
                </c:pt>
                <c:pt idx="445">
                  <c:v>40487</c:v>
                </c:pt>
                <c:pt idx="446">
                  <c:v>40490</c:v>
                </c:pt>
                <c:pt idx="447">
                  <c:v>40491</c:v>
                </c:pt>
                <c:pt idx="448">
                  <c:v>40492</c:v>
                </c:pt>
                <c:pt idx="449">
                  <c:v>40493</c:v>
                </c:pt>
                <c:pt idx="450">
                  <c:v>40494</c:v>
                </c:pt>
                <c:pt idx="451">
                  <c:v>40497</c:v>
                </c:pt>
                <c:pt idx="452">
                  <c:v>40498</c:v>
                </c:pt>
                <c:pt idx="453">
                  <c:v>40499</c:v>
                </c:pt>
                <c:pt idx="454">
                  <c:v>40500</c:v>
                </c:pt>
                <c:pt idx="455">
                  <c:v>40501</c:v>
                </c:pt>
                <c:pt idx="456">
                  <c:v>40504</c:v>
                </c:pt>
                <c:pt idx="457">
                  <c:v>40505</c:v>
                </c:pt>
                <c:pt idx="458">
                  <c:v>40506</c:v>
                </c:pt>
                <c:pt idx="459">
                  <c:v>40507</c:v>
                </c:pt>
                <c:pt idx="460">
                  <c:v>40508</c:v>
                </c:pt>
                <c:pt idx="461">
                  <c:v>40511</c:v>
                </c:pt>
                <c:pt idx="462">
                  <c:v>40512</c:v>
                </c:pt>
                <c:pt idx="463">
                  <c:v>40513</c:v>
                </c:pt>
                <c:pt idx="464">
                  <c:v>40514</c:v>
                </c:pt>
                <c:pt idx="465">
                  <c:v>40515</c:v>
                </c:pt>
                <c:pt idx="466">
                  <c:v>40518</c:v>
                </c:pt>
                <c:pt idx="467">
                  <c:v>40519</c:v>
                </c:pt>
                <c:pt idx="468">
                  <c:v>40520</c:v>
                </c:pt>
                <c:pt idx="469">
                  <c:v>40521</c:v>
                </c:pt>
                <c:pt idx="470">
                  <c:v>40522</c:v>
                </c:pt>
                <c:pt idx="471">
                  <c:v>40525</c:v>
                </c:pt>
                <c:pt idx="472">
                  <c:v>40526</c:v>
                </c:pt>
                <c:pt idx="473">
                  <c:v>40527</c:v>
                </c:pt>
                <c:pt idx="474">
                  <c:v>40528</c:v>
                </c:pt>
                <c:pt idx="475">
                  <c:v>40529</c:v>
                </c:pt>
                <c:pt idx="476">
                  <c:v>40532</c:v>
                </c:pt>
                <c:pt idx="477">
                  <c:v>40533</c:v>
                </c:pt>
                <c:pt idx="478">
                  <c:v>40534</c:v>
                </c:pt>
                <c:pt idx="479">
                  <c:v>40535</c:v>
                </c:pt>
                <c:pt idx="480">
                  <c:v>40536</c:v>
                </c:pt>
                <c:pt idx="481">
                  <c:v>40539</c:v>
                </c:pt>
                <c:pt idx="482">
                  <c:v>40540</c:v>
                </c:pt>
                <c:pt idx="483">
                  <c:v>40541</c:v>
                </c:pt>
                <c:pt idx="484">
                  <c:v>40542</c:v>
                </c:pt>
                <c:pt idx="485">
                  <c:v>40543</c:v>
                </c:pt>
                <c:pt idx="486">
                  <c:v>40547</c:v>
                </c:pt>
                <c:pt idx="487">
                  <c:v>40548</c:v>
                </c:pt>
                <c:pt idx="488">
                  <c:v>40549</c:v>
                </c:pt>
                <c:pt idx="489">
                  <c:v>40550</c:v>
                </c:pt>
                <c:pt idx="490">
                  <c:v>40553</c:v>
                </c:pt>
                <c:pt idx="491">
                  <c:v>40554</c:v>
                </c:pt>
                <c:pt idx="492">
                  <c:v>40555</c:v>
                </c:pt>
                <c:pt idx="493">
                  <c:v>40556</c:v>
                </c:pt>
                <c:pt idx="494">
                  <c:v>40557</c:v>
                </c:pt>
                <c:pt idx="495">
                  <c:v>40560</c:v>
                </c:pt>
                <c:pt idx="496">
                  <c:v>40561</c:v>
                </c:pt>
                <c:pt idx="497">
                  <c:v>40562</c:v>
                </c:pt>
                <c:pt idx="498">
                  <c:v>40563</c:v>
                </c:pt>
                <c:pt idx="499">
                  <c:v>40564</c:v>
                </c:pt>
                <c:pt idx="500">
                  <c:v>40567</c:v>
                </c:pt>
                <c:pt idx="501">
                  <c:v>40568</c:v>
                </c:pt>
                <c:pt idx="502">
                  <c:v>40569</c:v>
                </c:pt>
                <c:pt idx="503">
                  <c:v>40570</c:v>
                </c:pt>
                <c:pt idx="504">
                  <c:v>40571</c:v>
                </c:pt>
                <c:pt idx="505">
                  <c:v>40574</c:v>
                </c:pt>
                <c:pt idx="506">
                  <c:v>40575</c:v>
                </c:pt>
                <c:pt idx="507">
                  <c:v>40583</c:v>
                </c:pt>
                <c:pt idx="508">
                  <c:v>40584</c:v>
                </c:pt>
                <c:pt idx="509">
                  <c:v>40585</c:v>
                </c:pt>
                <c:pt idx="510">
                  <c:v>40588</c:v>
                </c:pt>
                <c:pt idx="511">
                  <c:v>40589</c:v>
                </c:pt>
                <c:pt idx="512">
                  <c:v>40590</c:v>
                </c:pt>
                <c:pt idx="513">
                  <c:v>40591</c:v>
                </c:pt>
                <c:pt idx="514">
                  <c:v>40592</c:v>
                </c:pt>
                <c:pt idx="515">
                  <c:v>40595</c:v>
                </c:pt>
                <c:pt idx="516">
                  <c:v>40596</c:v>
                </c:pt>
                <c:pt idx="517">
                  <c:v>40597</c:v>
                </c:pt>
                <c:pt idx="518">
                  <c:v>40598</c:v>
                </c:pt>
                <c:pt idx="519">
                  <c:v>40599</c:v>
                </c:pt>
                <c:pt idx="520">
                  <c:v>40602</c:v>
                </c:pt>
                <c:pt idx="521">
                  <c:v>40603</c:v>
                </c:pt>
                <c:pt idx="522">
                  <c:v>40604</c:v>
                </c:pt>
                <c:pt idx="523">
                  <c:v>40605</c:v>
                </c:pt>
                <c:pt idx="524">
                  <c:v>40606</c:v>
                </c:pt>
                <c:pt idx="525">
                  <c:v>40609</c:v>
                </c:pt>
                <c:pt idx="526">
                  <c:v>40610</c:v>
                </c:pt>
                <c:pt idx="527">
                  <c:v>40611</c:v>
                </c:pt>
                <c:pt idx="528">
                  <c:v>40612</c:v>
                </c:pt>
                <c:pt idx="529">
                  <c:v>40613</c:v>
                </c:pt>
                <c:pt idx="530">
                  <c:v>40616</c:v>
                </c:pt>
                <c:pt idx="531">
                  <c:v>40617</c:v>
                </c:pt>
                <c:pt idx="532">
                  <c:v>40618</c:v>
                </c:pt>
                <c:pt idx="533">
                  <c:v>40619</c:v>
                </c:pt>
                <c:pt idx="534">
                  <c:v>40620</c:v>
                </c:pt>
                <c:pt idx="535">
                  <c:v>40623</c:v>
                </c:pt>
                <c:pt idx="536">
                  <c:v>40624</c:v>
                </c:pt>
                <c:pt idx="537">
                  <c:v>40625</c:v>
                </c:pt>
                <c:pt idx="538">
                  <c:v>40626</c:v>
                </c:pt>
                <c:pt idx="539">
                  <c:v>40627</c:v>
                </c:pt>
                <c:pt idx="540">
                  <c:v>40630</c:v>
                </c:pt>
                <c:pt idx="541">
                  <c:v>40631</c:v>
                </c:pt>
                <c:pt idx="542">
                  <c:v>40632</c:v>
                </c:pt>
                <c:pt idx="543">
                  <c:v>40633</c:v>
                </c:pt>
                <c:pt idx="544">
                  <c:v>40634</c:v>
                </c:pt>
                <c:pt idx="545">
                  <c:v>40639</c:v>
                </c:pt>
                <c:pt idx="546">
                  <c:v>40640</c:v>
                </c:pt>
                <c:pt idx="547">
                  <c:v>40641</c:v>
                </c:pt>
                <c:pt idx="548">
                  <c:v>40644</c:v>
                </c:pt>
                <c:pt idx="549">
                  <c:v>40645</c:v>
                </c:pt>
                <c:pt idx="550">
                  <c:v>40646</c:v>
                </c:pt>
                <c:pt idx="551">
                  <c:v>40647</c:v>
                </c:pt>
                <c:pt idx="552">
                  <c:v>40648</c:v>
                </c:pt>
                <c:pt idx="553">
                  <c:v>40651</c:v>
                </c:pt>
                <c:pt idx="554">
                  <c:v>40652</c:v>
                </c:pt>
                <c:pt idx="555">
                  <c:v>40653</c:v>
                </c:pt>
                <c:pt idx="556">
                  <c:v>40654</c:v>
                </c:pt>
                <c:pt idx="557">
                  <c:v>40655</c:v>
                </c:pt>
                <c:pt idx="558">
                  <c:v>40658</c:v>
                </c:pt>
                <c:pt idx="559">
                  <c:v>40659</c:v>
                </c:pt>
                <c:pt idx="560">
                  <c:v>40660</c:v>
                </c:pt>
                <c:pt idx="561">
                  <c:v>40661</c:v>
                </c:pt>
                <c:pt idx="562">
                  <c:v>40662</c:v>
                </c:pt>
                <c:pt idx="563">
                  <c:v>40666</c:v>
                </c:pt>
                <c:pt idx="564">
                  <c:v>40667</c:v>
                </c:pt>
                <c:pt idx="565">
                  <c:v>40668</c:v>
                </c:pt>
                <c:pt idx="566">
                  <c:v>40669</c:v>
                </c:pt>
                <c:pt idx="567">
                  <c:v>40672</c:v>
                </c:pt>
                <c:pt idx="568">
                  <c:v>40673</c:v>
                </c:pt>
                <c:pt idx="569">
                  <c:v>40674</c:v>
                </c:pt>
                <c:pt idx="570">
                  <c:v>40675</c:v>
                </c:pt>
                <c:pt idx="571">
                  <c:v>40676</c:v>
                </c:pt>
                <c:pt idx="572">
                  <c:v>40679</c:v>
                </c:pt>
                <c:pt idx="573">
                  <c:v>40680</c:v>
                </c:pt>
                <c:pt idx="574">
                  <c:v>40681</c:v>
                </c:pt>
                <c:pt idx="575">
                  <c:v>40682</c:v>
                </c:pt>
                <c:pt idx="576">
                  <c:v>40683</c:v>
                </c:pt>
                <c:pt idx="577">
                  <c:v>40686</c:v>
                </c:pt>
                <c:pt idx="578">
                  <c:v>40687</c:v>
                </c:pt>
                <c:pt idx="579">
                  <c:v>40688</c:v>
                </c:pt>
                <c:pt idx="580">
                  <c:v>40689</c:v>
                </c:pt>
                <c:pt idx="581">
                  <c:v>40690</c:v>
                </c:pt>
                <c:pt idx="582">
                  <c:v>40693</c:v>
                </c:pt>
                <c:pt idx="583">
                  <c:v>40694</c:v>
                </c:pt>
                <c:pt idx="584">
                  <c:v>40695</c:v>
                </c:pt>
                <c:pt idx="585">
                  <c:v>40696</c:v>
                </c:pt>
                <c:pt idx="586">
                  <c:v>40697</c:v>
                </c:pt>
                <c:pt idx="587">
                  <c:v>40701</c:v>
                </c:pt>
                <c:pt idx="588">
                  <c:v>40702</c:v>
                </c:pt>
                <c:pt idx="589">
                  <c:v>40703</c:v>
                </c:pt>
                <c:pt idx="590">
                  <c:v>40704</c:v>
                </c:pt>
                <c:pt idx="591">
                  <c:v>40707</c:v>
                </c:pt>
                <c:pt idx="592">
                  <c:v>40708</c:v>
                </c:pt>
                <c:pt idx="593">
                  <c:v>40709</c:v>
                </c:pt>
                <c:pt idx="594">
                  <c:v>40710</c:v>
                </c:pt>
                <c:pt idx="595">
                  <c:v>40711</c:v>
                </c:pt>
                <c:pt idx="596">
                  <c:v>40714</c:v>
                </c:pt>
                <c:pt idx="597">
                  <c:v>40715</c:v>
                </c:pt>
                <c:pt idx="598">
                  <c:v>40716</c:v>
                </c:pt>
                <c:pt idx="599">
                  <c:v>40717</c:v>
                </c:pt>
                <c:pt idx="600">
                  <c:v>40718</c:v>
                </c:pt>
                <c:pt idx="601">
                  <c:v>40721</c:v>
                </c:pt>
                <c:pt idx="602">
                  <c:v>40722</c:v>
                </c:pt>
                <c:pt idx="603">
                  <c:v>40723</c:v>
                </c:pt>
                <c:pt idx="604">
                  <c:v>40724</c:v>
                </c:pt>
                <c:pt idx="605">
                  <c:v>40725</c:v>
                </c:pt>
                <c:pt idx="606">
                  <c:v>40728</c:v>
                </c:pt>
                <c:pt idx="607">
                  <c:v>40729</c:v>
                </c:pt>
                <c:pt idx="608">
                  <c:v>40730</c:v>
                </c:pt>
                <c:pt idx="609">
                  <c:v>40731</c:v>
                </c:pt>
                <c:pt idx="610">
                  <c:v>40732</c:v>
                </c:pt>
                <c:pt idx="611">
                  <c:v>40735</c:v>
                </c:pt>
                <c:pt idx="612">
                  <c:v>40736</c:v>
                </c:pt>
                <c:pt idx="613">
                  <c:v>40737</c:v>
                </c:pt>
                <c:pt idx="614">
                  <c:v>40738</c:v>
                </c:pt>
                <c:pt idx="615">
                  <c:v>40739</c:v>
                </c:pt>
                <c:pt idx="616">
                  <c:v>40742</c:v>
                </c:pt>
                <c:pt idx="617">
                  <c:v>40743</c:v>
                </c:pt>
                <c:pt idx="618">
                  <c:v>40744</c:v>
                </c:pt>
                <c:pt idx="619">
                  <c:v>40745</c:v>
                </c:pt>
                <c:pt idx="620">
                  <c:v>40746</c:v>
                </c:pt>
                <c:pt idx="621">
                  <c:v>40749</c:v>
                </c:pt>
                <c:pt idx="622">
                  <c:v>40750</c:v>
                </c:pt>
                <c:pt idx="623">
                  <c:v>40751</c:v>
                </c:pt>
                <c:pt idx="624">
                  <c:v>40752</c:v>
                </c:pt>
                <c:pt idx="625">
                  <c:v>40753</c:v>
                </c:pt>
                <c:pt idx="626">
                  <c:v>40756</c:v>
                </c:pt>
                <c:pt idx="627">
                  <c:v>40757</c:v>
                </c:pt>
                <c:pt idx="628">
                  <c:v>40758</c:v>
                </c:pt>
                <c:pt idx="629">
                  <c:v>40759</c:v>
                </c:pt>
                <c:pt idx="630">
                  <c:v>40760</c:v>
                </c:pt>
                <c:pt idx="631">
                  <c:v>40763</c:v>
                </c:pt>
                <c:pt idx="632">
                  <c:v>40764</c:v>
                </c:pt>
                <c:pt idx="633">
                  <c:v>40765</c:v>
                </c:pt>
                <c:pt idx="634">
                  <c:v>40766</c:v>
                </c:pt>
                <c:pt idx="635">
                  <c:v>40767</c:v>
                </c:pt>
                <c:pt idx="636">
                  <c:v>40770</c:v>
                </c:pt>
                <c:pt idx="637">
                  <c:v>40771</c:v>
                </c:pt>
                <c:pt idx="638">
                  <c:v>40772</c:v>
                </c:pt>
                <c:pt idx="639">
                  <c:v>40773</c:v>
                </c:pt>
                <c:pt idx="640">
                  <c:v>40774</c:v>
                </c:pt>
                <c:pt idx="641">
                  <c:v>40777</c:v>
                </c:pt>
                <c:pt idx="642">
                  <c:v>40778</c:v>
                </c:pt>
                <c:pt idx="643">
                  <c:v>40779</c:v>
                </c:pt>
                <c:pt idx="644">
                  <c:v>40780</c:v>
                </c:pt>
                <c:pt idx="645">
                  <c:v>40781</c:v>
                </c:pt>
                <c:pt idx="646">
                  <c:v>40784</c:v>
                </c:pt>
                <c:pt idx="647">
                  <c:v>40785</c:v>
                </c:pt>
                <c:pt idx="648">
                  <c:v>40786</c:v>
                </c:pt>
                <c:pt idx="649">
                  <c:v>40787</c:v>
                </c:pt>
                <c:pt idx="650">
                  <c:v>40788</c:v>
                </c:pt>
                <c:pt idx="651">
                  <c:v>40791</c:v>
                </c:pt>
                <c:pt idx="652">
                  <c:v>40792</c:v>
                </c:pt>
                <c:pt idx="653">
                  <c:v>40793</c:v>
                </c:pt>
                <c:pt idx="654">
                  <c:v>40794</c:v>
                </c:pt>
                <c:pt idx="655">
                  <c:v>40795</c:v>
                </c:pt>
                <c:pt idx="656">
                  <c:v>40799</c:v>
                </c:pt>
                <c:pt idx="657">
                  <c:v>40800</c:v>
                </c:pt>
                <c:pt idx="658">
                  <c:v>40801</c:v>
                </c:pt>
                <c:pt idx="659">
                  <c:v>40802</c:v>
                </c:pt>
                <c:pt idx="660">
                  <c:v>40805</c:v>
                </c:pt>
                <c:pt idx="661">
                  <c:v>40806</c:v>
                </c:pt>
                <c:pt idx="662">
                  <c:v>40807</c:v>
                </c:pt>
                <c:pt idx="663">
                  <c:v>40808</c:v>
                </c:pt>
                <c:pt idx="664">
                  <c:v>40809</c:v>
                </c:pt>
                <c:pt idx="665">
                  <c:v>40812</c:v>
                </c:pt>
                <c:pt idx="666">
                  <c:v>40813</c:v>
                </c:pt>
                <c:pt idx="667">
                  <c:v>40814</c:v>
                </c:pt>
                <c:pt idx="668">
                  <c:v>40815</c:v>
                </c:pt>
                <c:pt idx="669">
                  <c:v>40816</c:v>
                </c:pt>
                <c:pt idx="670">
                  <c:v>40826</c:v>
                </c:pt>
                <c:pt idx="671">
                  <c:v>40827</c:v>
                </c:pt>
                <c:pt idx="672">
                  <c:v>40828</c:v>
                </c:pt>
                <c:pt idx="673">
                  <c:v>40829</c:v>
                </c:pt>
                <c:pt idx="674">
                  <c:v>40830</c:v>
                </c:pt>
                <c:pt idx="675">
                  <c:v>40833</c:v>
                </c:pt>
                <c:pt idx="676">
                  <c:v>40834</c:v>
                </c:pt>
                <c:pt idx="677">
                  <c:v>40835</c:v>
                </c:pt>
                <c:pt idx="678">
                  <c:v>40836</c:v>
                </c:pt>
                <c:pt idx="679">
                  <c:v>40837</c:v>
                </c:pt>
                <c:pt idx="680">
                  <c:v>40840</c:v>
                </c:pt>
                <c:pt idx="681">
                  <c:v>40841</c:v>
                </c:pt>
                <c:pt idx="682">
                  <c:v>40842</c:v>
                </c:pt>
                <c:pt idx="683">
                  <c:v>40843</c:v>
                </c:pt>
                <c:pt idx="684">
                  <c:v>40844</c:v>
                </c:pt>
                <c:pt idx="685">
                  <c:v>40847</c:v>
                </c:pt>
                <c:pt idx="686">
                  <c:v>40848</c:v>
                </c:pt>
                <c:pt idx="687">
                  <c:v>40849</c:v>
                </c:pt>
                <c:pt idx="688">
                  <c:v>40850</c:v>
                </c:pt>
                <c:pt idx="689">
                  <c:v>40851</c:v>
                </c:pt>
                <c:pt idx="690">
                  <c:v>40854</c:v>
                </c:pt>
                <c:pt idx="691">
                  <c:v>40855</c:v>
                </c:pt>
                <c:pt idx="692">
                  <c:v>40856</c:v>
                </c:pt>
                <c:pt idx="693">
                  <c:v>40857</c:v>
                </c:pt>
                <c:pt idx="694">
                  <c:v>40858</c:v>
                </c:pt>
                <c:pt idx="695">
                  <c:v>40861</c:v>
                </c:pt>
                <c:pt idx="696">
                  <c:v>40862</c:v>
                </c:pt>
                <c:pt idx="697">
                  <c:v>40863</c:v>
                </c:pt>
                <c:pt idx="698">
                  <c:v>40864</c:v>
                </c:pt>
                <c:pt idx="699">
                  <c:v>40865</c:v>
                </c:pt>
                <c:pt idx="700">
                  <c:v>40868</c:v>
                </c:pt>
                <c:pt idx="701">
                  <c:v>40869</c:v>
                </c:pt>
                <c:pt idx="702">
                  <c:v>40870</c:v>
                </c:pt>
                <c:pt idx="703">
                  <c:v>40871</c:v>
                </c:pt>
                <c:pt idx="704">
                  <c:v>40872</c:v>
                </c:pt>
                <c:pt idx="705">
                  <c:v>40875</c:v>
                </c:pt>
                <c:pt idx="706">
                  <c:v>40876</c:v>
                </c:pt>
                <c:pt idx="707">
                  <c:v>40877</c:v>
                </c:pt>
                <c:pt idx="708">
                  <c:v>40878</c:v>
                </c:pt>
                <c:pt idx="709">
                  <c:v>40879</c:v>
                </c:pt>
                <c:pt idx="710">
                  <c:v>40882</c:v>
                </c:pt>
                <c:pt idx="711">
                  <c:v>40883</c:v>
                </c:pt>
                <c:pt idx="712">
                  <c:v>40884</c:v>
                </c:pt>
                <c:pt idx="713">
                  <c:v>40885</c:v>
                </c:pt>
                <c:pt idx="714">
                  <c:v>40886</c:v>
                </c:pt>
                <c:pt idx="715">
                  <c:v>40889</c:v>
                </c:pt>
                <c:pt idx="716">
                  <c:v>40890</c:v>
                </c:pt>
                <c:pt idx="717">
                  <c:v>40891</c:v>
                </c:pt>
                <c:pt idx="718">
                  <c:v>40892</c:v>
                </c:pt>
                <c:pt idx="719">
                  <c:v>40893</c:v>
                </c:pt>
                <c:pt idx="720">
                  <c:v>40896</c:v>
                </c:pt>
                <c:pt idx="721">
                  <c:v>40897</c:v>
                </c:pt>
                <c:pt idx="722">
                  <c:v>40898</c:v>
                </c:pt>
                <c:pt idx="723">
                  <c:v>40899</c:v>
                </c:pt>
                <c:pt idx="724">
                  <c:v>40900</c:v>
                </c:pt>
                <c:pt idx="725">
                  <c:v>40903</c:v>
                </c:pt>
                <c:pt idx="726">
                  <c:v>40904</c:v>
                </c:pt>
                <c:pt idx="727">
                  <c:v>40905</c:v>
                </c:pt>
                <c:pt idx="728">
                  <c:v>40906</c:v>
                </c:pt>
                <c:pt idx="729">
                  <c:v>40907</c:v>
                </c:pt>
                <c:pt idx="730">
                  <c:v>40912</c:v>
                </c:pt>
                <c:pt idx="731">
                  <c:v>40913</c:v>
                </c:pt>
                <c:pt idx="732">
                  <c:v>40914</c:v>
                </c:pt>
                <c:pt idx="733">
                  <c:v>40917</c:v>
                </c:pt>
                <c:pt idx="734">
                  <c:v>40918</c:v>
                </c:pt>
                <c:pt idx="735">
                  <c:v>40919</c:v>
                </c:pt>
                <c:pt idx="736">
                  <c:v>40920</c:v>
                </c:pt>
                <c:pt idx="737">
                  <c:v>40921</c:v>
                </c:pt>
                <c:pt idx="738">
                  <c:v>40924</c:v>
                </c:pt>
                <c:pt idx="739">
                  <c:v>40925</c:v>
                </c:pt>
                <c:pt idx="740">
                  <c:v>40926</c:v>
                </c:pt>
                <c:pt idx="741">
                  <c:v>40927</c:v>
                </c:pt>
                <c:pt idx="742">
                  <c:v>40928</c:v>
                </c:pt>
                <c:pt idx="743">
                  <c:v>40938</c:v>
                </c:pt>
                <c:pt idx="744">
                  <c:v>40939</c:v>
                </c:pt>
                <c:pt idx="745">
                  <c:v>40940</c:v>
                </c:pt>
                <c:pt idx="746">
                  <c:v>40941</c:v>
                </c:pt>
                <c:pt idx="747">
                  <c:v>40942</c:v>
                </c:pt>
                <c:pt idx="748">
                  <c:v>40945</c:v>
                </c:pt>
                <c:pt idx="749">
                  <c:v>40946</c:v>
                </c:pt>
                <c:pt idx="750">
                  <c:v>40947</c:v>
                </c:pt>
                <c:pt idx="751">
                  <c:v>40948</c:v>
                </c:pt>
                <c:pt idx="752">
                  <c:v>40949</c:v>
                </c:pt>
                <c:pt idx="753">
                  <c:v>40952</c:v>
                </c:pt>
                <c:pt idx="754">
                  <c:v>40953</c:v>
                </c:pt>
                <c:pt idx="755">
                  <c:v>40954</c:v>
                </c:pt>
                <c:pt idx="756">
                  <c:v>40955</c:v>
                </c:pt>
                <c:pt idx="757">
                  <c:v>40956</c:v>
                </c:pt>
                <c:pt idx="758">
                  <c:v>40959</c:v>
                </c:pt>
                <c:pt idx="759">
                  <c:v>40960</c:v>
                </c:pt>
                <c:pt idx="760">
                  <c:v>40961</c:v>
                </c:pt>
                <c:pt idx="761">
                  <c:v>40962</c:v>
                </c:pt>
                <c:pt idx="762">
                  <c:v>40963</c:v>
                </c:pt>
                <c:pt idx="763">
                  <c:v>40966</c:v>
                </c:pt>
                <c:pt idx="764">
                  <c:v>40967</c:v>
                </c:pt>
                <c:pt idx="765">
                  <c:v>40968</c:v>
                </c:pt>
                <c:pt idx="766">
                  <c:v>40969</c:v>
                </c:pt>
                <c:pt idx="767">
                  <c:v>40970</c:v>
                </c:pt>
                <c:pt idx="768">
                  <c:v>40973</c:v>
                </c:pt>
                <c:pt idx="769">
                  <c:v>40974</c:v>
                </c:pt>
                <c:pt idx="770">
                  <c:v>40975</c:v>
                </c:pt>
                <c:pt idx="771">
                  <c:v>40976</c:v>
                </c:pt>
                <c:pt idx="772">
                  <c:v>40977</c:v>
                </c:pt>
                <c:pt idx="773">
                  <c:v>40980</c:v>
                </c:pt>
                <c:pt idx="774">
                  <c:v>40981</c:v>
                </c:pt>
                <c:pt idx="775">
                  <c:v>40982</c:v>
                </c:pt>
                <c:pt idx="776">
                  <c:v>40983</c:v>
                </c:pt>
                <c:pt idx="777">
                  <c:v>40984</c:v>
                </c:pt>
                <c:pt idx="778">
                  <c:v>40987</c:v>
                </c:pt>
                <c:pt idx="779">
                  <c:v>40988</c:v>
                </c:pt>
                <c:pt idx="780">
                  <c:v>40989</c:v>
                </c:pt>
                <c:pt idx="781">
                  <c:v>40990</c:v>
                </c:pt>
                <c:pt idx="782">
                  <c:v>40991</c:v>
                </c:pt>
                <c:pt idx="783">
                  <c:v>40994</c:v>
                </c:pt>
                <c:pt idx="784">
                  <c:v>40995</c:v>
                </c:pt>
                <c:pt idx="785">
                  <c:v>40996</c:v>
                </c:pt>
                <c:pt idx="786">
                  <c:v>40997</c:v>
                </c:pt>
                <c:pt idx="787">
                  <c:v>40998</c:v>
                </c:pt>
                <c:pt idx="788">
                  <c:v>41004</c:v>
                </c:pt>
                <c:pt idx="789">
                  <c:v>41005</c:v>
                </c:pt>
                <c:pt idx="790">
                  <c:v>41008</c:v>
                </c:pt>
                <c:pt idx="791">
                  <c:v>41009</c:v>
                </c:pt>
                <c:pt idx="792">
                  <c:v>41010</c:v>
                </c:pt>
                <c:pt idx="793">
                  <c:v>41011</c:v>
                </c:pt>
                <c:pt idx="794">
                  <c:v>41012</c:v>
                </c:pt>
                <c:pt idx="795">
                  <c:v>41015</c:v>
                </c:pt>
                <c:pt idx="796">
                  <c:v>41016</c:v>
                </c:pt>
                <c:pt idx="797">
                  <c:v>41017</c:v>
                </c:pt>
                <c:pt idx="798">
                  <c:v>41018</c:v>
                </c:pt>
                <c:pt idx="799">
                  <c:v>41019</c:v>
                </c:pt>
                <c:pt idx="800">
                  <c:v>41022</c:v>
                </c:pt>
                <c:pt idx="801">
                  <c:v>41023</c:v>
                </c:pt>
                <c:pt idx="802">
                  <c:v>41024</c:v>
                </c:pt>
                <c:pt idx="803">
                  <c:v>41025</c:v>
                </c:pt>
                <c:pt idx="804">
                  <c:v>41026</c:v>
                </c:pt>
                <c:pt idx="805">
                  <c:v>41031</c:v>
                </c:pt>
                <c:pt idx="806">
                  <c:v>41032</c:v>
                </c:pt>
                <c:pt idx="807">
                  <c:v>41033</c:v>
                </c:pt>
                <c:pt idx="808">
                  <c:v>41036</c:v>
                </c:pt>
                <c:pt idx="809">
                  <c:v>41037</c:v>
                </c:pt>
                <c:pt idx="810">
                  <c:v>41038</c:v>
                </c:pt>
                <c:pt idx="811">
                  <c:v>41039</c:v>
                </c:pt>
                <c:pt idx="812">
                  <c:v>41040</c:v>
                </c:pt>
                <c:pt idx="813">
                  <c:v>41043</c:v>
                </c:pt>
                <c:pt idx="814">
                  <c:v>41044</c:v>
                </c:pt>
                <c:pt idx="815">
                  <c:v>41045</c:v>
                </c:pt>
                <c:pt idx="816">
                  <c:v>41046</c:v>
                </c:pt>
                <c:pt idx="817">
                  <c:v>41047</c:v>
                </c:pt>
                <c:pt idx="818">
                  <c:v>41050</c:v>
                </c:pt>
                <c:pt idx="819">
                  <c:v>41051</c:v>
                </c:pt>
                <c:pt idx="820">
                  <c:v>41052</c:v>
                </c:pt>
                <c:pt idx="821">
                  <c:v>41053</c:v>
                </c:pt>
                <c:pt idx="822">
                  <c:v>41054</c:v>
                </c:pt>
                <c:pt idx="823">
                  <c:v>41057</c:v>
                </c:pt>
                <c:pt idx="824">
                  <c:v>41058</c:v>
                </c:pt>
                <c:pt idx="825">
                  <c:v>41059</c:v>
                </c:pt>
                <c:pt idx="826">
                  <c:v>41060</c:v>
                </c:pt>
                <c:pt idx="827">
                  <c:v>41061</c:v>
                </c:pt>
                <c:pt idx="828">
                  <c:v>41064</c:v>
                </c:pt>
                <c:pt idx="829">
                  <c:v>41065</c:v>
                </c:pt>
                <c:pt idx="830">
                  <c:v>41066</c:v>
                </c:pt>
                <c:pt idx="831">
                  <c:v>41067</c:v>
                </c:pt>
                <c:pt idx="832">
                  <c:v>41068</c:v>
                </c:pt>
                <c:pt idx="833">
                  <c:v>41071</c:v>
                </c:pt>
                <c:pt idx="834">
                  <c:v>41072</c:v>
                </c:pt>
                <c:pt idx="835">
                  <c:v>41073</c:v>
                </c:pt>
                <c:pt idx="836">
                  <c:v>41074</c:v>
                </c:pt>
                <c:pt idx="837">
                  <c:v>41075</c:v>
                </c:pt>
                <c:pt idx="838">
                  <c:v>41078</c:v>
                </c:pt>
                <c:pt idx="839">
                  <c:v>41079</c:v>
                </c:pt>
                <c:pt idx="840">
                  <c:v>41080</c:v>
                </c:pt>
                <c:pt idx="841">
                  <c:v>41081</c:v>
                </c:pt>
                <c:pt idx="842">
                  <c:v>41085</c:v>
                </c:pt>
                <c:pt idx="843">
                  <c:v>41086</c:v>
                </c:pt>
                <c:pt idx="844">
                  <c:v>41087</c:v>
                </c:pt>
                <c:pt idx="845">
                  <c:v>41088</c:v>
                </c:pt>
                <c:pt idx="846">
                  <c:v>41089</c:v>
                </c:pt>
                <c:pt idx="847">
                  <c:v>41092</c:v>
                </c:pt>
                <c:pt idx="848">
                  <c:v>41093</c:v>
                </c:pt>
                <c:pt idx="849">
                  <c:v>41094</c:v>
                </c:pt>
                <c:pt idx="850">
                  <c:v>41095</c:v>
                </c:pt>
                <c:pt idx="851">
                  <c:v>41096</c:v>
                </c:pt>
                <c:pt idx="852">
                  <c:v>41099</c:v>
                </c:pt>
                <c:pt idx="853">
                  <c:v>41100</c:v>
                </c:pt>
                <c:pt idx="854">
                  <c:v>41101</c:v>
                </c:pt>
                <c:pt idx="855">
                  <c:v>41102</c:v>
                </c:pt>
                <c:pt idx="856">
                  <c:v>41103</c:v>
                </c:pt>
                <c:pt idx="857">
                  <c:v>41106</c:v>
                </c:pt>
                <c:pt idx="858">
                  <c:v>41107</c:v>
                </c:pt>
                <c:pt idx="859">
                  <c:v>41108</c:v>
                </c:pt>
                <c:pt idx="860">
                  <c:v>41109</c:v>
                </c:pt>
                <c:pt idx="861">
                  <c:v>41110</c:v>
                </c:pt>
                <c:pt idx="862">
                  <c:v>41113</c:v>
                </c:pt>
                <c:pt idx="863">
                  <c:v>41114</c:v>
                </c:pt>
                <c:pt idx="864">
                  <c:v>41115</c:v>
                </c:pt>
                <c:pt idx="865">
                  <c:v>41116</c:v>
                </c:pt>
                <c:pt idx="866">
                  <c:v>41117</c:v>
                </c:pt>
                <c:pt idx="867">
                  <c:v>41120</c:v>
                </c:pt>
                <c:pt idx="868">
                  <c:v>41121</c:v>
                </c:pt>
                <c:pt idx="869">
                  <c:v>41122</c:v>
                </c:pt>
                <c:pt idx="870">
                  <c:v>41123</c:v>
                </c:pt>
                <c:pt idx="871">
                  <c:v>41124</c:v>
                </c:pt>
                <c:pt idx="872">
                  <c:v>41127</c:v>
                </c:pt>
                <c:pt idx="873">
                  <c:v>41128</c:v>
                </c:pt>
                <c:pt idx="874">
                  <c:v>41129</c:v>
                </c:pt>
                <c:pt idx="875">
                  <c:v>41130</c:v>
                </c:pt>
                <c:pt idx="876">
                  <c:v>41131</c:v>
                </c:pt>
                <c:pt idx="877">
                  <c:v>41134</c:v>
                </c:pt>
                <c:pt idx="878">
                  <c:v>41135</c:v>
                </c:pt>
                <c:pt idx="879">
                  <c:v>41136</c:v>
                </c:pt>
                <c:pt idx="880">
                  <c:v>41137</c:v>
                </c:pt>
                <c:pt idx="881">
                  <c:v>41138</c:v>
                </c:pt>
                <c:pt idx="882">
                  <c:v>41141</c:v>
                </c:pt>
                <c:pt idx="883">
                  <c:v>41142</c:v>
                </c:pt>
                <c:pt idx="884">
                  <c:v>41143</c:v>
                </c:pt>
                <c:pt idx="885">
                  <c:v>41144</c:v>
                </c:pt>
                <c:pt idx="886">
                  <c:v>41145</c:v>
                </c:pt>
                <c:pt idx="887">
                  <c:v>41148</c:v>
                </c:pt>
                <c:pt idx="888">
                  <c:v>41149</c:v>
                </c:pt>
                <c:pt idx="889">
                  <c:v>41150</c:v>
                </c:pt>
                <c:pt idx="890">
                  <c:v>41151</c:v>
                </c:pt>
                <c:pt idx="891">
                  <c:v>41152</c:v>
                </c:pt>
                <c:pt idx="892">
                  <c:v>41155</c:v>
                </c:pt>
                <c:pt idx="893">
                  <c:v>41156</c:v>
                </c:pt>
                <c:pt idx="894">
                  <c:v>41157</c:v>
                </c:pt>
                <c:pt idx="895">
                  <c:v>41158</c:v>
                </c:pt>
                <c:pt idx="896">
                  <c:v>41159</c:v>
                </c:pt>
                <c:pt idx="897">
                  <c:v>41162</c:v>
                </c:pt>
                <c:pt idx="898">
                  <c:v>41163</c:v>
                </c:pt>
                <c:pt idx="899">
                  <c:v>41164</c:v>
                </c:pt>
                <c:pt idx="900">
                  <c:v>41165</c:v>
                </c:pt>
                <c:pt idx="901">
                  <c:v>41166</c:v>
                </c:pt>
                <c:pt idx="902">
                  <c:v>41169</c:v>
                </c:pt>
                <c:pt idx="903">
                  <c:v>41170</c:v>
                </c:pt>
                <c:pt idx="904">
                  <c:v>41171</c:v>
                </c:pt>
                <c:pt idx="905">
                  <c:v>41172</c:v>
                </c:pt>
                <c:pt idx="906">
                  <c:v>41173</c:v>
                </c:pt>
                <c:pt idx="907">
                  <c:v>41176</c:v>
                </c:pt>
                <c:pt idx="908">
                  <c:v>41177</c:v>
                </c:pt>
                <c:pt idx="909">
                  <c:v>41178</c:v>
                </c:pt>
                <c:pt idx="910">
                  <c:v>41179</c:v>
                </c:pt>
                <c:pt idx="911">
                  <c:v>41180</c:v>
                </c:pt>
                <c:pt idx="912">
                  <c:v>41190</c:v>
                </c:pt>
                <c:pt idx="913">
                  <c:v>41191</c:v>
                </c:pt>
                <c:pt idx="914">
                  <c:v>41192</c:v>
                </c:pt>
                <c:pt idx="915">
                  <c:v>41193</c:v>
                </c:pt>
                <c:pt idx="916">
                  <c:v>41194</c:v>
                </c:pt>
                <c:pt idx="917">
                  <c:v>41197</c:v>
                </c:pt>
                <c:pt idx="918">
                  <c:v>41198</c:v>
                </c:pt>
                <c:pt idx="919">
                  <c:v>41199</c:v>
                </c:pt>
                <c:pt idx="920">
                  <c:v>41200</c:v>
                </c:pt>
                <c:pt idx="921">
                  <c:v>41201</c:v>
                </c:pt>
                <c:pt idx="922">
                  <c:v>41204</c:v>
                </c:pt>
                <c:pt idx="923">
                  <c:v>41205</c:v>
                </c:pt>
                <c:pt idx="924">
                  <c:v>41206</c:v>
                </c:pt>
                <c:pt idx="925">
                  <c:v>41207</c:v>
                </c:pt>
                <c:pt idx="926">
                  <c:v>41208</c:v>
                </c:pt>
                <c:pt idx="927">
                  <c:v>41211</c:v>
                </c:pt>
                <c:pt idx="928">
                  <c:v>41212</c:v>
                </c:pt>
                <c:pt idx="929">
                  <c:v>41213</c:v>
                </c:pt>
                <c:pt idx="930">
                  <c:v>41214</c:v>
                </c:pt>
                <c:pt idx="931">
                  <c:v>41215</c:v>
                </c:pt>
                <c:pt idx="932">
                  <c:v>41218</c:v>
                </c:pt>
                <c:pt idx="933">
                  <c:v>41219</c:v>
                </c:pt>
                <c:pt idx="934">
                  <c:v>41220</c:v>
                </c:pt>
                <c:pt idx="935">
                  <c:v>41221</c:v>
                </c:pt>
                <c:pt idx="936">
                  <c:v>41222</c:v>
                </c:pt>
                <c:pt idx="937">
                  <c:v>41225</c:v>
                </c:pt>
                <c:pt idx="938">
                  <c:v>41226</c:v>
                </c:pt>
                <c:pt idx="939">
                  <c:v>41227</c:v>
                </c:pt>
                <c:pt idx="940">
                  <c:v>41228</c:v>
                </c:pt>
                <c:pt idx="941">
                  <c:v>41229</c:v>
                </c:pt>
                <c:pt idx="942">
                  <c:v>41232</c:v>
                </c:pt>
                <c:pt idx="943">
                  <c:v>41233</c:v>
                </c:pt>
                <c:pt idx="944">
                  <c:v>41234</c:v>
                </c:pt>
                <c:pt idx="945">
                  <c:v>41235</c:v>
                </c:pt>
                <c:pt idx="946">
                  <c:v>41236</c:v>
                </c:pt>
                <c:pt idx="947">
                  <c:v>41239</c:v>
                </c:pt>
                <c:pt idx="948">
                  <c:v>41240</c:v>
                </c:pt>
                <c:pt idx="949">
                  <c:v>41241</c:v>
                </c:pt>
                <c:pt idx="950">
                  <c:v>41242</c:v>
                </c:pt>
                <c:pt idx="951">
                  <c:v>41243</c:v>
                </c:pt>
                <c:pt idx="952">
                  <c:v>41246</c:v>
                </c:pt>
                <c:pt idx="953">
                  <c:v>41247</c:v>
                </c:pt>
                <c:pt idx="954">
                  <c:v>41248</c:v>
                </c:pt>
                <c:pt idx="955">
                  <c:v>41249</c:v>
                </c:pt>
                <c:pt idx="956">
                  <c:v>41250</c:v>
                </c:pt>
                <c:pt idx="957">
                  <c:v>41253</c:v>
                </c:pt>
                <c:pt idx="958">
                  <c:v>41254</c:v>
                </c:pt>
                <c:pt idx="959">
                  <c:v>41255</c:v>
                </c:pt>
                <c:pt idx="960">
                  <c:v>41256</c:v>
                </c:pt>
                <c:pt idx="961">
                  <c:v>41257</c:v>
                </c:pt>
                <c:pt idx="962">
                  <c:v>41260</c:v>
                </c:pt>
                <c:pt idx="963">
                  <c:v>41261</c:v>
                </c:pt>
                <c:pt idx="964">
                  <c:v>41262</c:v>
                </c:pt>
                <c:pt idx="965">
                  <c:v>41263</c:v>
                </c:pt>
                <c:pt idx="966">
                  <c:v>41264</c:v>
                </c:pt>
                <c:pt idx="967">
                  <c:v>41267</c:v>
                </c:pt>
                <c:pt idx="968">
                  <c:v>41268</c:v>
                </c:pt>
                <c:pt idx="969">
                  <c:v>41269</c:v>
                </c:pt>
                <c:pt idx="970">
                  <c:v>41270</c:v>
                </c:pt>
                <c:pt idx="971">
                  <c:v>41271</c:v>
                </c:pt>
                <c:pt idx="972">
                  <c:v>41274</c:v>
                </c:pt>
                <c:pt idx="973">
                  <c:v>41278</c:v>
                </c:pt>
                <c:pt idx="974">
                  <c:v>41281</c:v>
                </c:pt>
                <c:pt idx="975">
                  <c:v>41282</c:v>
                </c:pt>
                <c:pt idx="976">
                  <c:v>41283</c:v>
                </c:pt>
                <c:pt idx="977">
                  <c:v>41284</c:v>
                </c:pt>
                <c:pt idx="978">
                  <c:v>41285</c:v>
                </c:pt>
                <c:pt idx="979">
                  <c:v>41288</c:v>
                </c:pt>
                <c:pt idx="980">
                  <c:v>41289</c:v>
                </c:pt>
                <c:pt idx="981">
                  <c:v>41290</c:v>
                </c:pt>
                <c:pt idx="982">
                  <c:v>41291</c:v>
                </c:pt>
                <c:pt idx="983">
                  <c:v>41292</c:v>
                </c:pt>
                <c:pt idx="984">
                  <c:v>41295</c:v>
                </c:pt>
                <c:pt idx="985">
                  <c:v>41296</c:v>
                </c:pt>
                <c:pt idx="986">
                  <c:v>41297</c:v>
                </c:pt>
                <c:pt idx="987">
                  <c:v>41298</c:v>
                </c:pt>
                <c:pt idx="988">
                  <c:v>41299</c:v>
                </c:pt>
                <c:pt idx="989">
                  <c:v>41302</c:v>
                </c:pt>
                <c:pt idx="990">
                  <c:v>41303</c:v>
                </c:pt>
                <c:pt idx="991">
                  <c:v>41304</c:v>
                </c:pt>
                <c:pt idx="992">
                  <c:v>41305</c:v>
                </c:pt>
                <c:pt idx="993">
                  <c:v>41306</c:v>
                </c:pt>
                <c:pt idx="994">
                  <c:v>41309</c:v>
                </c:pt>
                <c:pt idx="995">
                  <c:v>41310</c:v>
                </c:pt>
                <c:pt idx="996">
                  <c:v>41311</c:v>
                </c:pt>
                <c:pt idx="997">
                  <c:v>41312</c:v>
                </c:pt>
                <c:pt idx="998">
                  <c:v>41313</c:v>
                </c:pt>
                <c:pt idx="999">
                  <c:v>41323</c:v>
                </c:pt>
                <c:pt idx="1000">
                  <c:v>41324</c:v>
                </c:pt>
                <c:pt idx="1001">
                  <c:v>41325</c:v>
                </c:pt>
                <c:pt idx="1002">
                  <c:v>41326</c:v>
                </c:pt>
                <c:pt idx="1003">
                  <c:v>41327</c:v>
                </c:pt>
                <c:pt idx="1004">
                  <c:v>41330</c:v>
                </c:pt>
                <c:pt idx="1005">
                  <c:v>41331</c:v>
                </c:pt>
                <c:pt idx="1006">
                  <c:v>41332</c:v>
                </c:pt>
                <c:pt idx="1007">
                  <c:v>41333</c:v>
                </c:pt>
                <c:pt idx="1008">
                  <c:v>41334</c:v>
                </c:pt>
                <c:pt idx="1009">
                  <c:v>41337</c:v>
                </c:pt>
                <c:pt idx="1010">
                  <c:v>41338</c:v>
                </c:pt>
                <c:pt idx="1011">
                  <c:v>41339</c:v>
                </c:pt>
                <c:pt idx="1012">
                  <c:v>41340</c:v>
                </c:pt>
                <c:pt idx="1013">
                  <c:v>41341</c:v>
                </c:pt>
                <c:pt idx="1014">
                  <c:v>41344</c:v>
                </c:pt>
                <c:pt idx="1015">
                  <c:v>41345</c:v>
                </c:pt>
                <c:pt idx="1016">
                  <c:v>41346</c:v>
                </c:pt>
                <c:pt idx="1017">
                  <c:v>41347</c:v>
                </c:pt>
                <c:pt idx="1018">
                  <c:v>41348</c:v>
                </c:pt>
                <c:pt idx="1019">
                  <c:v>41351</c:v>
                </c:pt>
                <c:pt idx="1020">
                  <c:v>41352</c:v>
                </c:pt>
                <c:pt idx="1021">
                  <c:v>41353</c:v>
                </c:pt>
                <c:pt idx="1022">
                  <c:v>41354</c:v>
                </c:pt>
                <c:pt idx="1023">
                  <c:v>41355</c:v>
                </c:pt>
                <c:pt idx="1024">
                  <c:v>41358</c:v>
                </c:pt>
                <c:pt idx="1025">
                  <c:v>41359</c:v>
                </c:pt>
                <c:pt idx="1026">
                  <c:v>41360</c:v>
                </c:pt>
                <c:pt idx="1027">
                  <c:v>41361</c:v>
                </c:pt>
                <c:pt idx="1028">
                  <c:v>41362</c:v>
                </c:pt>
                <c:pt idx="1029">
                  <c:v>41365</c:v>
                </c:pt>
                <c:pt idx="1030">
                  <c:v>41366</c:v>
                </c:pt>
                <c:pt idx="1031">
                  <c:v>41367</c:v>
                </c:pt>
                <c:pt idx="1032">
                  <c:v>41372</c:v>
                </c:pt>
                <c:pt idx="1033">
                  <c:v>41373</c:v>
                </c:pt>
                <c:pt idx="1034">
                  <c:v>41374</c:v>
                </c:pt>
                <c:pt idx="1035">
                  <c:v>41375</c:v>
                </c:pt>
                <c:pt idx="1036">
                  <c:v>41376</c:v>
                </c:pt>
                <c:pt idx="1037">
                  <c:v>41379</c:v>
                </c:pt>
                <c:pt idx="1038">
                  <c:v>41380</c:v>
                </c:pt>
                <c:pt idx="1039">
                  <c:v>41381</c:v>
                </c:pt>
                <c:pt idx="1040">
                  <c:v>41382</c:v>
                </c:pt>
                <c:pt idx="1041">
                  <c:v>41383</c:v>
                </c:pt>
                <c:pt idx="1042">
                  <c:v>41386</c:v>
                </c:pt>
                <c:pt idx="1043">
                  <c:v>41387</c:v>
                </c:pt>
                <c:pt idx="1044">
                  <c:v>41388</c:v>
                </c:pt>
                <c:pt idx="1045">
                  <c:v>41389</c:v>
                </c:pt>
                <c:pt idx="1046">
                  <c:v>41390</c:v>
                </c:pt>
                <c:pt idx="1047">
                  <c:v>41396</c:v>
                </c:pt>
                <c:pt idx="1048">
                  <c:v>41397</c:v>
                </c:pt>
                <c:pt idx="1049">
                  <c:v>41400</c:v>
                </c:pt>
                <c:pt idx="1050">
                  <c:v>41401</c:v>
                </c:pt>
                <c:pt idx="1051">
                  <c:v>41402</c:v>
                </c:pt>
                <c:pt idx="1052">
                  <c:v>41403</c:v>
                </c:pt>
                <c:pt idx="1053">
                  <c:v>41404</c:v>
                </c:pt>
                <c:pt idx="1054">
                  <c:v>41407</c:v>
                </c:pt>
                <c:pt idx="1055">
                  <c:v>41408</c:v>
                </c:pt>
                <c:pt idx="1056">
                  <c:v>41409</c:v>
                </c:pt>
                <c:pt idx="1057">
                  <c:v>41410</c:v>
                </c:pt>
                <c:pt idx="1058">
                  <c:v>41411</c:v>
                </c:pt>
                <c:pt idx="1059">
                  <c:v>41414</c:v>
                </c:pt>
                <c:pt idx="1060">
                  <c:v>41415</c:v>
                </c:pt>
                <c:pt idx="1061">
                  <c:v>41416</c:v>
                </c:pt>
                <c:pt idx="1062">
                  <c:v>41417</c:v>
                </c:pt>
                <c:pt idx="1063">
                  <c:v>41418</c:v>
                </c:pt>
                <c:pt idx="1064">
                  <c:v>41421</c:v>
                </c:pt>
                <c:pt idx="1065">
                  <c:v>41422</c:v>
                </c:pt>
                <c:pt idx="1066">
                  <c:v>41423</c:v>
                </c:pt>
                <c:pt idx="1067">
                  <c:v>41424</c:v>
                </c:pt>
                <c:pt idx="1068">
                  <c:v>41425</c:v>
                </c:pt>
                <c:pt idx="1069">
                  <c:v>41428</c:v>
                </c:pt>
                <c:pt idx="1070">
                  <c:v>41429</c:v>
                </c:pt>
                <c:pt idx="1071">
                  <c:v>41430</c:v>
                </c:pt>
                <c:pt idx="1072">
                  <c:v>41431</c:v>
                </c:pt>
                <c:pt idx="1073">
                  <c:v>41432</c:v>
                </c:pt>
                <c:pt idx="1074">
                  <c:v>41438</c:v>
                </c:pt>
                <c:pt idx="1075">
                  <c:v>41439</c:v>
                </c:pt>
                <c:pt idx="1076">
                  <c:v>41442</c:v>
                </c:pt>
                <c:pt idx="1077">
                  <c:v>41443</c:v>
                </c:pt>
                <c:pt idx="1078">
                  <c:v>41444</c:v>
                </c:pt>
                <c:pt idx="1079">
                  <c:v>41445</c:v>
                </c:pt>
                <c:pt idx="1080">
                  <c:v>41446</c:v>
                </c:pt>
                <c:pt idx="1081">
                  <c:v>41449</c:v>
                </c:pt>
                <c:pt idx="1082">
                  <c:v>41450</c:v>
                </c:pt>
                <c:pt idx="1083">
                  <c:v>41451</c:v>
                </c:pt>
                <c:pt idx="1084">
                  <c:v>41452</c:v>
                </c:pt>
                <c:pt idx="1085">
                  <c:v>41453</c:v>
                </c:pt>
                <c:pt idx="1086">
                  <c:v>41456</c:v>
                </c:pt>
                <c:pt idx="1087">
                  <c:v>41457</c:v>
                </c:pt>
                <c:pt idx="1088">
                  <c:v>41458</c:v>
                </c:pt>
                <c:pt idx="1089">
                  <c:v>41459</c:v>
                </c:pt>
                <c:pt idx="1090">
                  <c:v>41460</c:v>
                </c:pt>
                <c:pt idx="1091">
                  <c:v>41463</c:v>
                </c:pt>
                <c:pt idx="1092">
                  <c:v>41464</c:v>
                </c:pt>
                <c:pt idx="1093">
                  <c:v>41465</c:v>
                </c:pt>
                <c:pt idx="1094">
                  <c:v>41466</c:v>
                </c:pt>
                <c:pt idx="1095">
                  <c:v>41467</c:v>
                </c:pt>
                <c:pt idx="1096">
                  <c:v>41470</c:v>
                </c:pt>
                <c:pt idx="1097">
                  <c:v>41471</c:v>
                </c:pt>
                <c:pt idx="1098">
                  <c:v>41472</c:v>
                </c:pt>
                <c:pt idx="1099">
                  <c:v>41473</c:v>
                </c:pt>
                <c:pt idx="1100">
                  <c:v>41474</c:v>
                </c:pt>
                <c:pt idx="1101">
                  <c:v>41477</c:v>
                </c:pt>
                <c:pt idx="1102">
                  <c:v>41478</c:v>
                </c:pt>
                <c:pt idx="1103">
                  <c:v>41479</c:v>
                </c:pt>
                <c:pt idx="1104">
                  <c:v>41480</c:v>
                </c:pt>
                <c:pt idx="1105">
                  <c:v>41481</c:v>
                </c:pt>
                <c:pt idx="1106">
                  <c:v>41484</c:v>
                </c:pt>
                <c:pt idx="1107">
                  <c:v>41485</c:v>
                </c:pt>
                <c:pt idx="1108">
                  <c:v>41486</c:v>
                </c:pt>
                <c:pt idx="1109">
                  <c:v>41487</c:v>
                </c:pt>
                <c:pt idx="1110">
                  <c:v>41488</c:v>
                </c:pt>
                <c:pt idx="1111">
                  <c:v>41491</c:v>
                </c:pt>
                <c:pt idx="1112">
                  <c:v>41492</c:v>
                </c:pt>
                <c:pt idx="1113">
                  <c:v>41493</c:v>
                </c:pt>
                <c:pt idx="1114">
                  <c:v>41494</c:v>
                </c:pt>
                <c:pt idx="1115">
                  <c:v>41495</c:v>
                </c:pt>
                <c:pt idx="1116">
                  <c:v>41498</c:v>
                </c:pt>
                <c:pt idx="1117">
                  <c:v>41499</c:v>
                </c:pt>
                <c:pt idx="1118">
                  <c:v>41500</c:v>
                </c:pt>
                <c:pt idx="1119">
                  <c:v>41501</c:v>
                </c:pt>
                <c:pt idx="1120">
                  <c:v>41502</c:v>
                </c:pt>
                <c:pt idx="1121">
                  <c:v>41505</c:v>
                </c:pt>
                <c:pt idx="1122">
                  <c:v>41506</c:v>
                </c:pt>
                <c:pt idx="1123">
                  <c:v>41507</c:v>
                </c:pt>
                <c:pt idx="1124">
                  <c:v>41508</c:v>
                </c:pt>
                <c:pt idx="1125">
                  <c:v>41509</c:v>
                </c:pt>
                <c:pt idx="1126">
                  <c:v>41512</c:v>
                </c:pt>
                <c:pt idx="1127">
                  <c:v>41513</c:v>
                </c:pt>
                <c:pt idx="1128">
                  <c:v>41514</c:v>
                </c:pt>
                <c:pt idx="1129">
                  <c:v>41515</c:v>
                </c:pt>
                <c:pt idx="1130">
                  <c:v>41516</c:v>
                </c:pt>
                <c:pt idx="1131">
                  <c:v>41519</c:v>
                </c:pt>
                <c:pt idx="1132">
                  <c:v>41520</c:v>
                </c:pt>
                <c:pt idx="1133">
                  <c:v>41521</c:v>
                </c:pt>
                <c:pt idx="1134">
                  <c:v>41522</c:v>
                </c:pt>
                <c:pt idx="1135">
                  <c:v>41523</c:v>
                </c:pt>
                <c:pt idx="1136">
                  <c:v>41526</c:v>
                </c:pt>
                <c:pt idx="1137">
                  <c:v>41527</c:v>
                </c:pt>
                <c:pt idx="1138">
                  <c:v>41528</c:v>
                </c:pt>
                <c:pt idx="1139">
                  <c:v>41529</c:v>
                </c:pt>
                <c:pt idx="1140">
                  <c:v>41530</c:v>
                </c:pt>
                <c:pt idx="1141">
                  <c:v>41533</c:v>
                </c:pt>
                <c:pt idx="1142">
                  <c:v>41534</c:v>
                </c:pt>
                <c:pt idx="1143">
                  <c:v>41535</c:v>
                </c:pt>
                <c:pt idx="1144">
                  <c:v>41540</c:v>
                </c:pt>
                <c:pt idx="1145">
                  <c:v>41541</c:v>
                </c:pt>
                <c:pt idx="1146">
                  <c:v>41542</c:v>
                </c:pt>
                <c:pt idx="1147">
                  <c:v>41543</c:v>
                </c:pt>
                <c:pt idx="1148">
                  <c:v>41544</c:v>
                </c:pt>
                <c:pt idx="1149">
                  <c:v>41547</c:v>
                </c:pt>
                <c:pt idx="1150">
                  <c:v>41555</c:v>
                </c:pt>
                <c:pt idx="1151">
                  <c:v>41556</c:v>
                </c:pt>
                <c:pt idx="1152">
                  <c:v>41557</c:v>
                </c:pt>
                <c:pt idx="1153">
                  <c:v>41558</c:v>
                </c:pt>
                <c:pt idx="1154">
                  <c:v>41561</c:v>
                </c:pt>
                <c:pt idx="1155">
                  <c:v>41562</c:v>
                </c:pt>
                <c:pt idx="1156">
                  <c:v>41563</c:v>
                </c:pt>
                <c:pt idx="1157">
                  <c:v>41564</c:v>
                </c:pt>
                <c:pt idx="1158">
                  <c:v>41565</c:v>
                </c:pt>
                <c:pt idx="1159">
                  <c:v>41568</c:v>
                </c:pt>
                <c:pt idx="1160">
                  <c:v>41569</c:v>
                </c:pt>
                <c:pt idx="1161">
                  <c:v>41570</c:v>
                </c:pt>
                <c:pt idx="1162">
                  <c:v>41571</c:v>
                </c:pt>
                <c:pt idx="1163">
                  <c:v>41572</c:v>
                </c:pt>
                <c:pt idx="1164">
                  <c:v>41575</c:v>
                </c:pt>
                <c:pt idx="1165">
                  <c:v>41576</c:v>
                </c:pt>
                <c:pt idx="1166">
                  <c:v>41577</c:v>
                </c:pt>
                <c:pt idx="1167">
                  <c:v>41578</c:v>
                </c:pt>
                <c:pt idx="1168">
                  <c:v>41579</c:v>
                </c:pt>
                <c:pt idx="1169">
                  <c:v>41582</c:v>
                </c:pt>
                <c:pt idx="1170">
                  <c:v>41583</c:v>
                </c:pt>
                <c:pt idx="1171">
                  <c:v>41584</c:v>
                </c:pt>
                <c:pt idx="1172">
                  <c:v>41585</c:v>
                </c:pt>
                <c:pt idx="1173">
                  <c:v>41586</c:v>
                </c:pt>
                <c:pt idx="1174">
                  <c:v>41589</c:v>
                </c:pt>
                <c:pt idx="1175">
                  <c:v>41590</c:v>
                </c:pt>
                <c:pt idx="1176">
                  <c:v>41591</c:v>
                </c:pt>
                <c:pt idx="1177">
                  <c:v>41592</c:v>
                </c:pt>
                <c:pt idx="1178">
                  <c:v>41593</c:v>
                </c:pt>
                <c:pt idx="1179">
                  <c:v>41596</c:v>
                </c:pt>
                <c:pt idx="1180">
                  <c:v>41597</c:v>
                </c:pt>
                <c:pt idx="1181">
                  <c:v>41598</c:v>
                </c:pt>
                <c:pt idx="1182">
                  <c:v>41599</c:v>
                </c:pt>
                <c:pt idx="1183">
                  <c:v>41600</c:v>
                </c:pt>
                <c:pt idx="1184">
                  <c:v>41603</c:v>
                </c:pt>
                <c:pt idx="1185">
                  <c:v>41604</c:v>
                </c:pt>
                <c:pt idx="1186">
                  <c:v>41605</c:v>
                </c:pt>
                <c:pt idx="1187">
                  <c:v>41606</c:v>
                </c:pt>
                <c:pt idx="1188">
                  <c:v>41607</c:v>
                </c:pt>
                <c:pt idx="1189">
                  <c:v>41610</c:v>
                </c:pt>
                <c:pt idx="1190">
                  <c:v>41611</c:v>
                </c:pt>
                <c:pt idx="1191">
                  <c:v>41612</c:v>
                </c:pt>
                <c:pt idx="1192">
                  <c:v>41613</c:v>
                </c:pt>
                <c:pt idx="1193">
                  <c:v>41614</c:v>
                </c:pt>
                <c:pt idx="1194">
                  <c:v>41617</c:v>
                </c:pt>
                <c:pt idx="1195">
                  <c:v>41618</c:v>
                </c:pt>
                <c:pt idx="1196">
                  <c:v>41619</c:v>
                </c:pt>
                <c:pt idx="1197">
                  <c:v>41620</c:v>
                </c:pt>
                <c:pt idx="1198">
                  <c:v>41621</c:v>
                </c:pt>
                <c:pt idx="1199">
                  <c:v>41624</c:v>
                </c:pt>
                <c:pt idx="1200">
                  <c:v>41625</c:v>
                </c:pt>
                <c:pt idx="1201">
                  <c:v>41626</c:v>
                </c:pt>
                <c:pt idx="1202">
                  <c:v>41627</c:v>
                </c:pt>
                <c:pt idx="1203">
                  <c:v>41628</c:v>
                </c:pt>
                <c:pt idx="1204">
                  <c:v>41631</c:v>
                </c:pt>
                <c:pt idx="1205">
                  <c:v>41632</c:v>
                </c:pt>
                <c:pt idx="1206">
                  <c:v>41633</c:v>
                </c:pt>
                <c:pt idx="1207">
                  <c:v>41634</c:v>
                </c:pt>
                <c:pt idx="1208">
                  <c:v>41635</c:v>
                </c:pt>
                <c:pt idx="1209">
                  <c:v>41638</c:v>
                </c:pt>
                <c:pt idx="1210">
                  <c:v>41639</c:v>
                </c:pt>
                <c:pt idx="1211">
                  <c:v>41641</c:v>
                </c:pt>
                <c:pt idx="1212">
                  <c:v>41642</c:v>
                </c:pt>
                <c:pt idx="1213">
                  <c:v>41645</c:v>
                </c:pt>
                <c:pt idx="1214">
                  <c:v>41646</c:v>
                </c:pt>
                <c:pt idx="1215">
                  <c:v>41647</c:v>
                </c:pt>
                <c:pt idx="1216">
                  <c:v>41648</c:v>
                </c:pt>
                <c:pt idx="1217">
                  <c:v>41649</c:v>
                </c:pt>
                <c:pt idx="1218">
                  <c:v>41652</c:v>
                </c:pt>
                <c:pt idx="1219">
                  <c:v>41653</c:v>
                </c:pt>
                <c:pt idx="1220">
                  <c:v>41654</c:v>
                </c:pt>
                <c:pt idx="1221">
                  <c:v>41655</c:v>
                </c:pt>
                <c:pt idx="1222">
                  <c:v>41656</c:v>
                </c:pt>
                <c:pt idx="1223">
                  <c:v>41659</c:v>
                </c:pt>
                <c:pt idx="1224">
                  <c:v>41660</c:v>
                </c:pt>
                <c:pt idx="1225">
                  <c:v>41661</c:v>
                </c:pt>
                <c:pt idx="1226">
                  <c:v>41662</c:v>
                </c:pt>
                <c:pt idx="1227">
                  <c:v>41663</c:v>
                </c:pt>
                <c:pt idx="1228">
                  <c:v>41666</c:v>
                </c:pt>
                <c:pt idx="1229">
                  <c:v>41667</c:v>
                </c:pt>
                <c:pt idx="1230">
                  <c:v>41668</c:v>
                </c:pt>
                <c:pt idx="1231">
                  <c:v>41669</c:v>
                </c:pt>
                <c:pt idx="1232">
                  <c:v>41677</c:v>
                </c:pt>
                <c:pt idx="1233">
                  <c:v>41680</c:v>
                </c:pt>
                <c:pt idx="1234">
                  <c:v>41681</c:v>
                </c:pt>
                <c:pt idx="1235">
                  <c:v>41682</c:v>
                </c:pt>
                <c:pt idx="1236">
                  <c:v>41683</c:v>
                </c:pt>
                <c:pt idx="1237">
                  <c:v>41684</c:v>
                </c:pt>
                <c:pt idx="1238">
                  <c:v>41687</c:v>
                </c:pt>
                <c:pt idx="1239">
                  <c:v>41688</c:v>
                </c:pt>
                <c:pt idx="1240">
                  <c:v>41689</c:v>
                </c:pt>
                <c:pt idx="1241">
                  <c:v>41690</c:v>
                </c:pt>
                <c:pt idx="1242">
                  <c:v>41691</c:v>
                </c:pt>
                <c:pt idx="1243">
                  <c:v>41694</c:v>
                </c:pt>
                <c:pt idx="1244">
                  <c:v>41695</c:v>
                </c:pt>
                <c:pt idx="1245">
                  <c:v>41696</c:v>
                </c:pt>
                <c:pt idx="1246">
                  <c:v>41697</c:v>
                </c:pt>
                <c:pt idx="1247">
                  <c:v>41698</c:v>
                </c:pt>
                <c:pt idx="1248">
                  <c:v>41701</c:v>
                </c:pt>
                <c:pt idx="1249">
                  <c:v>41702</c:v>
                </c:pt>
                <c:pt idx="1250">
                  <c:v>41703</c:v>
                </c:pt>
                <c:pt idx="1251">
                  <c:v>41704</c:v>
                </c:pt>
                <c:pt idx="1252">
                  <c:v>41705</c:v>
                </c:pt>
                <c:pt idx="1253">
                  <c:v>41708</c:v>
                </c:pt>
                <c:pt idx="1254">
                  <c:v>41709</c:v>
                </c:pt>
                <c:pt idx="1255">
                  <c:v>41710</c:v>
                </c:pt>
                <c:pt idx="1256">
                  <c:v>41711</c:v>
                </c:pt>
                <c:pt idx="1257">
                  <c:v>41712</c:v>
                </c:pt>
                <c:pt idx="1258">
                  <c:v>41715</c:v>
                </c:pt>
                <c:pt idx="1259">
                  <c:v>41716</c:v>
                </c:pt>
                <c:pt idx="1260">
                  <c:v>41717</c:v>
                </c:pt>
                <c:pt idx="1261">
                  <c:v>41718</c:v>
                </c:pt>
                <c:pt idx="1262">
                  <c:v>41719</c:v>
                </c:pt>
                <c:pt idx="1263">
                  <c:v>41722</c:v>
                </c:pt>
                <c:pt idx="1264">
                  <c:v>41723</c:v>
                </c:pt>
                <c:pt idx="1265">
                  <c:v>41724</c:v>
                </c:pt>
                <c:pt idx="1266">
                  <c:v>41725</c:v>
                </c:pt>
                <c:pt idx="1267">
                  <c:v>41726</c:v>
                </c:pt>
                <c:pt idx="1268">
                  <c:v>41729</c:v>
                </c:pt>
                <c:pt idx="1269">
                  <c:v>41730</c:v>
                </c:pt>
                <c:pt idx="1270">
                  <c:v>41731</c:v>
                </c:pt>
                <c:pt idx="1271">
                  <c:v>41732</c:v>
                </c:pt>
                <c:pt idx="1272">
                  <c:v>41733</c:v>
                </c:pt>
                <c:pt idx="1273">
                  <c:v>41737</c:v>
                </c:pt>
                <c:pt idx="1274">
                  <c:v>41738</c:v>
                </c:pt>
                <c:pt idx="1275">
                  <c:v>41739</c:v>
                </c:pt>
                <c:pt idx="1276">
                  <c:v>41740</c:v>
                </c:pt>
                <c:pt idx="1277">
                  <c:v>41743</c:v>
                </c:pt>
                <c:pt idx="1278">
                  <c:v>41744</c:v>
                </c:pt>
                <c:pt idx="1279">
                  <c:v>41745</c:v>
                </c:pt>
                <c:pt idx="1280">
                  <c:v>41746</c:v>
                </c:pt>
                <c:pt idx="1281">
                  <c:v>41747</c:v>
                </c:pt>
                <c:pt idx="1282">
                  <c:v>41750</c:v>
                </c:pt>
                <c:pt idx="1283">
                  <c:v>41751</c:v>
                </c:pt>
                <c:pt idx="1284">
                  <c:v>41752</c:v>
                </c:pt>
                <c:pt idx="1285">
                  <c:v>41753</c:v>
                </c:pt>
                <c:pt idx="1286">
                  <c:v>41754</c:v>
                </c:pt>
                <c:pt idx="1287">
                  <c:v>41757</c:v>
                </c:pt>
                <c:pt idx="1288">
                  <c:v>41758</c:v>
                </c:pt>
                <c:pt idx="1289">
                  <c:v>41759</c:v>
                </c:pt>
                <c:pt idx="1290">
                  <c:v>41764</c:v>
                </c:pt>
                <c:pt idx="1291">
                  <c:v>41765</c:v>
                </c:pt>
                <c:pt idx="1292">
                  <c:v>41766</c:v>
                </c:pt>
                <c:pt idx="1293">
                  <c:v>41767</c:v>
                </c:pt>
                <c:pt idx="1294">
                  <c:v>41768</c:v>
                </c:pt>
                <c:pt idx="1295">
                  <c:v>41771</c:v>
                </c:pt>
                <c:pt idx="1296">
                  <c:v>41772</c:v>
                </c:pt>
                <c:pt idx="1297">
                  <c:v>41773</c:v>
                </c:pt>
                <c:pt idx="1298">
                  <c:v>41774</c:v>
                </c:pt>
                <c:pt idx="1299">
                  <c:v>41775</c:v>
                </c:pt>
                <c:pt idx="1300">
                  <c:v>41778</c:v>
                </c:pt>
                <c:pt idx="1301">
                  <c:v>41779</c:v>
                </c:pt>
                <c:pt idx="1302">
                  <c:v>41780</c:v>
                </c:pt>
                <c:pt idx="1303">
                  <c:v>41781</c:v>
                </c:pt>
                <c:pt idx="1304">
                  <c:v>41782</c:v>
                </c:pt>
                <c:pt idx="1305">
                  <c:v>41785</c:v>
                </c:pt>
                <c:pt idx="1306">
                  <c:v>41786</c:v>
                </c:pt>
                <c:pt idx="1307">
                  <c:v>41787</c:v>
                </c:pt>
                <c:pt idx="1308">
                  <c:v>41788</c:v>
                </c:pt>
                <c:pt idx="1309">
                  <c:v>41789</c:v>
                </c:pt>
                <c:pt idx="1310">
                  <c:v>41793</c:v>
                </c:pt>
                <c:pt idx="1311">
                  <c:v>41794</c:v>
                </c:pt>
                <c:pt idx="1312">
                  <c:v>41795</c:v>
                </c:pt>
                <c:pt idx="1313">
                  <c:v>41796</c:v>
                </c:pt>
                <c:pt idx="1314">
                  <c:v>41799</c:v>
                </c:pt>
                <c:pt idx="1315">
                  <c:v>41800</c:v>
                </c:pt>
                <c:pt idx="1316">
                  <c:v>41801</c:v>
                </c:pt>
                <c:pt idx="1317">
                  <c:v>41802</c:v>
                </c:pt>
                <c:pt idx="1318">
                  <c:v>41803</c:v>
                </c:pt>
                <c:pt idx="1319">
                  <c:v>41806</c:v>
                </c:pt>
                <c:pt idx="1320">
                  <c:v>41807</c:v>
                </c:pt>
                <c:pt idx="1321">
                  <c:v>41808</c:v>
                </c:pt>
                <c:pt idx="1322">
                  <c:v>41809</c:v>
                </c:pt>
                <c:pt idx="1323">
                  <c:v>41810</c:v>
                </c:pt>
                <c:pt idx="1324">
                  <c:v>41813</c:v>
                </c:pt>
                <c:pt idx="1325">
                  <c:v>41814</c:v>
                </c:pt>
                <c:pt idx="1326">
                  <c:v>41815</c:v>
                </c:pt>
                <c:pt idx="1327">
                  <c:v>41816</c:v>
                </c:pt>
                <c:pt idx="1328">
                  <c:v>41817</c:v>
                </c:pt>
                <c:pt idx="1329">
                  <c:v>41820</c:v>
                </c:pt>
                <c:pt idx="1330">
                  <c:v>41821</c:v>
                </c:pt>
                <c:pt idx="1331">
                  <c:v>41822</c:v>
                </c:pt>
                <c:pt idx="1332">
                  <c:v>41823</c:v>
                </c:pt>
                <c:pt idx="1333">
                  <c:v>41824</c:v>
                </c:pt>
                <c:pt idx="1334">
                  <c:v>41827</c:v>
                </c:pt>
                <c:pt idx="1335">
                  <c:v>41828</c:v>
                </c:pt>
                <c:pt idx="1336">
                  <c:v>41829</c:v>
                </c:pt>
                <c:pt idx="1337">
                  <c:v>41830</c:v>
                </c:pt>
                <c:pt idx="1338">
                  <c:v>41831</c:v>
                </c:pt>
                <c:pt idx="1339">
                  <c:v>41834</c:v>
                </c:pt>
                <c:pt idx="1340">
                  <c:v>41835</c:v>
                </c:pt>
                <c:pt idx="1341">
                  <c:v>41836</c:v>
                </c:pt>
                <c:pt idx="1342">
                  <c:v>41837</c:v>
                </c:pt>
                <c:pt idx="1343">
                  <c:v>41838</c:v>
                </c:pt>
                <c:pt idx="1344">
                  <c:v>41841</c:v>
                </c:pt>
                <c:pt idx="1345">
                  <c:v>41842</c:v>
                </c:pt>
                <c:pt idx="1346">
                  <c:v>41843</c:v>
                </c:pt>
                <c:pt idx="1347">
                  <c:v>41844</c:v>
                </c:pt>
                <c:pt idx="1348">
                  <c:v>41845</c:v>
                </c:pt>
                <c:pt idx="1349">
                  <c:v>41848</c:v>
                </c:pt>
                <c:pt idx="1350">
                  <c:v>41849</c:v>
                </c:pt>
                <c:pt idx="1351">
                  <c:v>41850</c:v>
                </c:pt>
                <c:pt idx="1352">
                  <c:v>41851</c:v>
                </c:pt>
                <c:pt idx="1353">
                  <c:v>41852</c:v>
                </c:pt>
                <c:pt idx="1354">
                  <c:v>41855</c:v>
                </c:pt>
                <c:pt idx="1355">
                  <c:v>41856</c:v>
                </c:pt>
                <c:pt idx="1356">
                  <c:v>41857</c:v>
                </c:pt>
                <c:pt idx="1357">
                  <c:v>41858</c:v>
                </c:pt>
                <c:pt idx="1358">
                  <c:v>41859</c:v>
                </c:pt>
                <c:pt idx="1359">
                  <c:v>41862</c:v>
                </c:pt>
                <c:pt idx="1360">
                  <c:v>41863</c:v>
                </c:pt>
                <c:pt idx="1361">
                  <c:v>41864</c:v>
                </c:pt>
                <c:pt idx="1362">
                  <c:v>41865</c:v>
                </c:pt>
                <c:pt idx="1363">
                  <c:v>41866</c:v>
                </c:pt>
                <c:pt idx="1364">
                  <c:v>41869</c:v>
                </c:pt>
                <c:pt idx="1365">
                  <c:v>41870</c:v>
                </c:pt>
                <c:pt idx="1366">
                  <c:v>41871</c:v>
                </c:pt>
                <c:pt idx="1367">
                  <c:v>41872</c:v>
                </c:pt>
                <c:pt idx="1368">
                  <c:v>41873</c:v>
                </c:pt>
                <c:pt idx="1369">
                  <c:v>41876</c:v>
                </c:pt>
                <c:pt idx="1370">
                  <c:v>41877</c:v>
                </c:pt>
                <c:pt idx="1371">
                  <c:v>41878</c:v>
                </c:pt>
                <c:pt idx="1372">
                  <c:v>41879</c:v>
                </c:pt>
                <c:pt idx="1373">
                  <c:v>41880</c:v>
                </c:pt>
                <c:pt idx="1374">
                  <c:v>41883</c:v>
                </c:pt>
                <c:pt idx="1375">
                  <c:v>41884</c:v>
                </c:pt>
                <c:pt idx="1376">
                  <c:v>41885</c:v>
                </c:pt>
                <c:pt idx="1377">
                  <c:v>41886</c:v>
                </c:pt>
                <c:pt idx="1378">
                  <c:v>41887</c:v>
                </c:pt>
                <c:pt idx="1379">
                  <c:v>41891</c:v>
                </c:pt>
                <c:pt idx="1380">
                  <c:v>41892</c:v>
                </c:pt>
                <c:pt idx="1381">
                  <c:v>41893</c:v>
                </c:pt>
                <c:pt idx="1382">
                  <c:v>41894</c:v>
                </c:pt>
                <c:pt idx="1383">
                  <c:v>41897</c:v>
                </c:pt>
                <c:pt idx="1384">
                  <c:v>41898</c:v>
                </c:pt>
                <c:pt idx="1385">
                  <c:v>41899</c:v>
                </c:pt>
                <c:pt idx="1386">
                  <c:v>41900</c:v>
                </c:pt>
                <c:pt idx="1387">
                  <c:v>41901</c:v>
                </c:pt>
                <c:pt idx="1388">
                  <c:v>41904</c:v>
                </c:pt>
                <c:pt idx="1389">
                  <c:v>41905</c:v>
                </c:pt>
                <c:pt idx="1390">
                  <c:v>41906</c:v>
                </c:pt>
                <c:pt idx="1391">
                  <c:v>41907</c:v>
                </c:pt>
                <c:pt idx="1392">
                  <c:v>41908</c:v>
                </c:pt>
                <c:pt idx="1393">
                  <c:v>41911</c:v>
                </c:pt>
                <c:pt idx="1394">
                  <c:v>41912</c:v>
                </c:pt>
                <c:pt idx="1395">
                  <c:v>41920</c:v>
                </c:pt>
                <c:pt idx="1396">
                  <c:v>41921</c:v>
                </c:pt>
                <c:pt idx="1397">
                  <c:v>41922</c:v>
                </c:pt>
                <c:pt idx="1398">
                  <c:v>41925</c:v>
                </c:pt>
                <c:pt idx="1399">
                  <c:v>41926</c:v>
                </c:pt>
                <c:pt idx="1400">
                  <c:v>41927</c:v>
                </c:pt>
                <c:pt idx="1401">
                  <c:v>41928</c:v>
                </c:pt>
                <c:pt idx="1402">
                  <c:v>41929</c:v>
                </c:pt>
                <c:pt idx="1403">
                  <c:v>41932</c:v>
                </c:pt>
                <c:pt idx="1404">
                  <c:v>41933</c:v>
                </c:pt>
                <c:pt idx="1405">
                  <c:v>41934</c:v>
                </c:pt>
                <c:pt idx="1406">
                  <c:v>41935</c:v>
                </c:pt>
                <c:pt idx="1407">
                  <c:v>41936</c:v>
                </c:pt>
                <c:pt idx="1408">
                  <c:v>41939</c:v>
                </c:pt>
                <c:pt idx="1409">
                  <c:v>41940</c:v>
                </c:pt>
                <c:pt idx="1410">
                  <c:v>41941</c:v>
                </c:pt>
                <c:pt idx="1411">
                  <c:v>41942</c:v>
                </c:pt>
                <c:pt idx="1412">
                  <c:v>41943</c:v>
                </c:pt>
                <c:pt idx="1413">
                  <c:v>41946</c:v>
                </c:pt>
                <c:pt idx="1414">
                  <c:v>41947</c:v>
                </c:pt>
                <c:pt idx="1415">
                  <c:v>41948</c:v>
                </c:pt>
                <c:pt idx="1416">
                  <c:v>41949</c:v>
                </c:pt>
                <c:pt idx="1417">
                  <c:v>41950</c:v>
                </c:pt>
                <c:pt idx="1418">
                  <c:v>41953</c:v>
                </c:pt>
                <c:pt idx="1419">
                  <c:v>41954</c:v>
                </c:pt>
                <c:pt idx="1420">
                  <c:v>41955</c:v>
                </c:pt>
                <c:pt idx="1421">
                  <c:v>41956</c:v>
                </c:pt>
                <c:pt idx="1422">
                  <c:v>41957</c:v>
                </c:pt>
                <c:pt idx="1423">
                  <c:v>41960</c:v>
                </c:pt>
                <c:pt idx="1424">
                  <c:v>41961</c:v>
                </c:pt>
                <c:pt idx="1425">
                  <c:v>41962</c:v>
                </c:pt>
                <c:pt idx="1426">
                  <c:v>41963</c:v>
                </c:pt>
                <c:pt idx="1427">
                  <c:v>41964</c:v>
                </c:pt>
                <c:pt idx="1428">
                  <c:v>41967</c:v>
                </c:pt>
                <c:pt idx="1429">
                  <c:v>41968</c:v>
                </c:pt>
                <c:pt idx="1430">
                  <c:v>41969</c:v>
                </c:pt>
                <c:pt idx="1431">
                  <c:v>41970</c:v>
                </c:pt>
                <c:pt idx="1432">
                  <c:v>41971</c:v>
                </c:pt>
                <c:pt idx="1433">
                  <c:v>41974</c:v>
                </c:pt>
                <c:pt idx="1434">
                  <c:v>41975</c:v>
                </c:pt>
                <c:pt idx="1435">
                  <c:v>41976</c:v>
                </c:pt>
                <c:pt idx="1436">
                  <c:v>41977</c:v>
                </c:pt>
                <c:pt idx="1437">
                  <c:v>41978</c:v>
                </c:pt>
                <c:pt idx="1438">
                  <c:v>41981</c:v>
                </c:pt>
                <c:pt idx="1439">
                  <c:v>41982</c:v>
                </c:pt>
                <c:pt idx="1440">
                  <c:v>41983</c:v>
                </c:pt>
                <c:pt idx="1441">
                  <c:v>41984</c:v>
                </c:pt>
                <c:pt idx="1442">
                  <c:v>41985</c:v>
                </c:pt>
                <c:pt idx="1443">
                  <c:v>41988</c:v>
                </c:pt>
                <c:pt idx="1444">
                  <c:v>41989</c:v>
                </c:pt>
                <c:pt idx="1445">
                  <c:v>41990</c:v>
                </c:pt>
                <c:pt idx="1446">
                  <c:v>41991</c:v>
                </c:pt>
                <c:pt idx="1447">
                  <c:v>41992</c:v>
                </c:pt>
                <c:pt idx="1448">
                  <c:v>41995</c:v>
                </c:pt>
                <c:pt idx="1449">
                  <c:v>41996</c:v>
                </c:pt>
                <c:pt idx="1450">
                  <c:v>41997</c:v>
                </c:pt>
                <c:pt idx="1451">
                  <c:v>41998</c:v>
                </c:pt>
                <c:pt idx="1452">
                  <c:v>41999</c:v>
                </c:pt>
                <c:pt idx="1453">
                  <c:v>42002</c:v>
                </c:pt>
                <c:pt idx="1454">
                  <c:v>42003</c:v>
                </c:pt>
                <c:pt idx="1455">
                  <c:v>42004</c:v>
                </c:pt>
                <c:pt idx="1456">
                  <c:v>42009</c:v>
                </c:pt>
                <c:pt idx="1457">
                  <c:v>42010</c:v>
                </c:pt>
                <c:pt idx="1458">
                  <c:v>42011</c:v>
                </c:pt>
                <c:pt idx="1459">
                  <c:v>42012</c:v>
                </c:pt>
                <c:pt idx="1460">
                  <c:v>42013</c:v>
                </c:pt>
                <c:pt idx="1461">
                  <c:v>42016</c:v>
                </c:pt>
                <c:pt idx="1462">
                  <c:v>42017</c:v>
                </c:pt>
                <c:pt idx="1463">
                  <c:v>42018</c:v>
                </c:pt>
                <c:pt idx="1464">
                  <c:v>42019</c:v>
                </c:pt>
                <c:pt idx="1465">
                  <c:v>42020</c:v>
                </c:pt>
                <c:pt idx="1466">
                  <c:v>42023</c:v>
                </c:pt>
                <c:pt idx="1467">
                  <c:v>42024</c:v>
                </c:pt>
                <c:pt idx="1468">
                  <c:v>42025</c:v>
                </c:pt>
                <c:pt idx="1469">
                  <c:v>42026</c:v>
                </c:pt>
                <c:pt idx="1470">
                  <c:v>42027</c:v>
                </c:pt>
                <c:pt idx="1471">
                  <c:v>42030</c:v>
                </c:pt>
                <c:pt idx="1472">
                  <c:v>42031</c:v>
                </c:pt>
                <c:pt idx="1473">
                  <c:v>42032</c:v>
                </c:pt>
                <c:pt idx="1474">
                  <c:v>42033</c:v>
                </c:pt>
                <c:pt idx="1475">
                  <c:v>42034</c:v>
                </c:pt>
                <c:pt idx="1476">
                  <c:v>42037</c:v>
                </c:pt>
                <c:pt idx="1477">
                  <c:v>42038</c:v>
                </c:pt>
                <c:pt idx="1478">
                  <c:v>42039</c:v>
                </c:pt>
                <c:pt idx="1479">
                  <c:v>42040</c:v>
                </c:pt>
                <c:pt idx="1480">
                  <c:v>42041</c:v>
                </c:pt>
                <c:pt idx="1481">
                  <c:v>42044</c:v>
                </c:pt>
                <c:pt idx="1482">
                  <c:v>42045</c:v>
                </c:pt>
                <c:pt idx="1483">
                  <c:v>42046</c:v>
                </c:pt>
                <c:pt idx="1484">
                  <c:v>42047</c:v>
                </c:pt>
                <c:pt idx="1485">
                  <c:v>42048</c:v>
                </c:pt>
                <c:pt idx="1486">
                  <c:v>42051</c:v>
                </c:pt>
                <c:pt idx="1487">
                  <c:v>42052</c:v>
                </c:pt>
                <c:pt idx="1488">
                  <c:v>42060</c:v>
                </c:pt>
                <c:pt idx="1489">
                  <c:v>42061</c:v>
                </c:pt>
                <c:pt idx="1490">
                  <c:v>42062</c:v>
                </c:pt>
                <c:pt idx="1491">
                  <c:v>42065</c:v>
                </c:pt>
                <c:pt idx="1492">
                  <c:v>42066</c:v>
                </c:pt>
                <c:pt idx="1493">
                  <c:v>42067</c:v>
                </c:pt>
                <c:pt idx="1494">
                  <c:v>42068</c:v>
                </c:pt>
                <c:pt idx="1495">
                  <c:v>42069</c:v>
                </c:pt>
                <c:pt idx="1496">
                  <c:v>42072</c:v>
                </c:pt>
                <c:pt idx="1497">
                  <c:v>42073</c:v>
                </c:pt>
                <c:pt idx="1498">
                  <c:v>42074</c:v>
                </c:pt>
                <c:pt idx="1499">
                  <c:v>42075</c:v>
                </c:pt>
                <c:pt idx="1500">
                  <c:v>42076</c:v>
                </c:pt>
                <c:pt idx="1501">
                  <c:v>42079</c:v>
                </c:pt>
                <c:pt idx="1502">
                  <c:v>42080</c:v>
                </c:pt>
                <c:pt idx="1503">
                  <c:v>42081</c:v>
                </c:pt>
                <c:pt idx="1504">
                  <c:v>42082</c:v>
                </c:pt>
                <c:pt idx="1505">
                  <c:v>42083</c:v>
                </c:pt>
                <c:pt idx="1506">
                  <c:v>42086</c:v>
                </c:pt>
                <c:pt idx="1507">
                  <c:v>42087</c:v>
                </c:pt>
                <c:pt idx="1508">
                  <c:v>42088</c:v>
                </c:pt>
                <c:pt idx="1509">
                  <c:v>42089</c:v>
                </c:pt>
                <c:pt idx="1510">
                  <c:v>42090</c:v>
                </c:pt>
                <c:pt idx="1511">
                  <c:v>42093</c:v>
                </c:pt>
                <c:pt idx="1512">
                  <c:v>42094</c:v>
                </c:pt>
                <c:pt idx="1513">
                  <c:v>42095</c:v>
                </c:pt>
                <c:pt idx="1514">
                  <c:v>42096</c:v>
                </c:pt>
                <c:pt idx="1515">
                  <c:v>42097</c:v>
                </c:pt>
                <c:pt idx="1516">
                  <c:v>42101</c:v>
                </c:pt>
                <c:pt idx="1517">
                  <c:v>42102</c:v>
                </c:pt>
                <c:pt idx="1518">
                  <c:v>42103</c:v>
                </c:pt>
                <c:pt idx="1519">
                  <c:v>42104</c:v>
                </c:pt>
                <c:pt idx="1520">
                  <c:v>42107</c:v>
                </c:pt>
                <c:pt idx="1521">
                  <c:v>42108</c:v>
                </c:pt>
                <c:pt idx="1522">
                  <c:v>42109</c:v>
                </c:pt>
                <c:pt idx="1523">
                  <c:v>42110</c:v>
                </c:pt>
                <c:pt idx="1524">
                  <c:v>42111</c:v>
                </c:pt>
                <c:pt idx="1525">
                  <c:v>42114</c:v>
                </c:pt>
                <c:pt idx="1526">
                  <c:v>42115</c:v>
                </c:pt>
                <c:pt idx="1527">
                  <c:v>42116</c:v>
                </c:pt>
                <c:pt idx="1528">
                  <c:v>42117</c:v>
                </c:pt>
                <c:pt idx="1529">
                  <c:v>42118</c:v>
                </c:pt>
                <c:pt idx="1530">
                  <c:v>42121</c:v>
                </c:pt>
                <c:pt idx="1531">
                  <c:v>42122</c:v>
                </c:pt>
                <c:pt idx="1532">
                  <c:v>42123</c:v>
                </c:pt>
                <c:pt idx="1533">
                  <c:v>42124</c:v>
                </c:pt>
                <c:pt idx="1534">
                  <c:v>42128</c:v>
                </c:pt>
                <c:pt idx="1535">
                  <c:v>42129</c:v>
                </c:pt>
                <c:pt idx="1536">
                  <c:v>42130</c:v>
                </c:pt>
                <c:pt idx="1537">
                  <c:v>42131</c:v>
                </c:pt>
                <c:pt idx="1538">
                  <c:v>42132</c:v>
                </c:pt>
                <c:pt idx="1539">
                  <c:v>42135</c:v>
                </c:pt>
                <c:pt idx="1540">
                  <c:v>42136</c:v>
                </c:pt>
                <c:pt idx="1541">
                  <c:v>42137</c:v>
                </c:pt>
                <c:pt idx="1542">
                  <c:v>42138</c:v>
                </c:pt>
                <c:pt idx="1543">
                  <c:v>42139</c:v>
                </c:pt>
                <c:pt idx="1544">
                  <c:v>42142</c:v>
                </c:pt>
                <c:pt idx="1545">
                  <c:v>42143</c:v>
                </c:pt>
                <c:pt idx="1546">
                  <c:v>42144</c:v>
                </c:pt>
                <c:pt idx="1547">
                  <c:v>42145</c:v>
                </c:pt>
                <c:pt idx="1548">
                  <c:v>42146</c:v>
                </c:pt>
                <c:pt idx="1549">
                  <c:v>42149</c:v>
                </c:pt>
                <c:pt idx="1550">
                  <c:v>42150</c:v>
                </c:pt>
                <c:pt idx="1551">
                  <c:v>42151</c:v>
                </c:pt>
                <c:pt idx="1552">
                  <c:v>42152</c:v>
                </c:pt>
                <c:pt idx="1553">
                  <c:v>42153</c:v>
                </c:pt>
                <c:pt idx="1554">
                  <c:v>42156</c:v>
                </c:pt>
                <c:pt idx="1555">
                  <c:v>42157</c:v>
                </c:pt>
                <c:pt idx="1556">
                  <c:v>42158</c:v>
                </c:pt>
                <c:pt idx="1557">
                  <c:v>42159</c:v>
                </c:pt>
                <c:pt idx="1558">
                  <c:v>42160</c:v>
                </c:pt>
                <c:pt idx="1559">
                  <c:v>42163</c:v>
                </c:pt>
                <c:pt idx="1560">
                  <c:v>42164</c:v>
                </c:pt>
                <c:pt idx="1561">
                  <c:v>42165</c:v>
                </c:pt>
                <c:pt idx="1562">
                  <c:v>42166</c:v>
                </c:pt>
                <c:pt idx="1563">
                  <c:v>42167</c:v>
                </c:pt>
                <c:pt idx="1564">
                  <c:v>42170</c:v>
                </c:pt>
                <c:pt idx="1565">
                  <c:v>42171</c:v>
                </c:pt>
                <c:pt idx="1566">
                  <c:v>42172</c:v>
                </c:pt>
                <c:pt idx="1567">
                  <c:v>42173</c:v>
                </c:pt>
                <c:pt idx="1568">
                  <c:v>42174</c:v>
                </c:pt>
                <c:pt idx="1569">
                  <c:v>42178</c:v>
                </c:pt>
                <c:pt idx="1570">
                  <c:v>42179</c:v>
                </c:pt>
                <c:pt idx="1571">
                  <c:v>42180</c:v>
                </c:pt>
                <c:pt idx="1572">
                  <c:v>42181</c:v>
                </c:pt>
                <c:pt idx="1573">
                  <c:v>42184</c:v>
                </c:pt>
                <c:pt idx="1574">
                  <c:v>42185</c:v>
                </c:pt>
                <c:pt idx="1575">
                  <c:v>42186</c:v>
                </c:pt>
                <c:pt idx="1576">
                  <c:v>42187</c:v>
                </c:pt>
                <c:pt idx="1577">
                  <c:v>42188</c:v>
                </c:pt>
                <c:pt idx="1578">
                  <c:v>42191</c:v>
                </c:pt>
                <c:pt idx="1579">
                  <c:v>42192</c:v>
                </c:pt>
                <c:pt idx="1580">
                  <c:v>42193</c:v>
                </c:pt>
                <c:pt idx="1581">
                  <c:v>42194</c:v>
                </c:pt>
                <c:pt idx="1582">
                  <c:v>42195</c:v>
                </c:pt>
                <c:pt idx="1583">
                  <c:v>42198</c:v>
                </c:pt>
                <c:pt idx="1584">
                  <c:v>42199</c:v>
                </c:pt>
                <c:pt idx="1585">
                  <c:v>42200</c:v>
                </c:pt>
                <c:pt idx="1586">
                  <c:v>42201</c:v>
                </c:pt>
                <c:pt idx="1587">
                  <c:v>42202</c:v>
                </c:pt>
                <c:pt idx="1588">
                  <c:v>42205</c:v>
                </c:pt>
                <c:pt idx="1589">
                  <c:v>42206</c:v>
                </c:pt>
                <c:pt idx="1590">
                  <c:v>42207</c:v>
                </c:pt>
                <c:pt idx="1591">
                  <c:v>42208</c:v>
                </c:pt>
                <c:pt idx="1592">
                  <c:v>42209</c:v>
                </c:pt>
                <c:pt idx="1593">
                  <c:v>42212</c:v>
                </c:pt>
                <c:pt idx="1594">
                  <c:v>42213</c:v>
                </c:pt>
                <c:pt idx="1595">
                  <c:v>42214</c:v>
                </c:pt>
                <c:pt idx="1596">
                  <c:v>42215</c:v>
                </c:pt>
                <c:pt idx="1597">
                  <c:v>42216</c:v>
                </c:pt>
                <c:pt idx="1598">
                  <c:v>42219</c:v>
                </c:pt>
                <c:pt idx="1599">
                  <c:v>42220</c:v>
                </c:pt>
                <c:pt idx="1600">
                  <c:v>42221</c:v>
                </c:pt>
                <c:pt idx="1601">
                  <c:v>42222</c:v>
                </c:pt>
                <c:pt idx="1602">
                  <c:v>42223</c:v>
                </c:pt>
                <c:pt idx="1603">
                  <c:v>42226</c:v>
                </c:pt>
                <c:pt idx="1604">
                  <c:v>42227</c:v>
                </c:pt>
                <c:pt idx="1605">
                  <c:v>42228</c:v>
                </c:pt>
                <c:pt idx="1606">
                  <c:v>42229</c:v>
                </c:pt>
                <c:pt idx="1607">
                  <c:v>42230</c:v>
                </c:pt>
                <c:pt idx="1608">
                  <c:v>42233</c:v>
                </c:pt>
                <c:pt idx="1609">
                  <c:v>42234</c:v>
                </c:pt>
                <c:pt idx="1610">
                  <c:v>42235</c:v>
                </c:pt>
                <c:pt idx="1611">
                  <c:v>42236</c:v>
                </c:pt>
                <c:pt idx="1612">
                  <c:v>42237</c:v>
                </c:pt>
                <c:pt idx="1613">
                  <c:v>42240</c:v>
                </c:pt>
                <c:pt idx="1614">
                  <c:v>42241</c:v>
                </c:pt>
                <c:pt idx="1615">
                  <c:v>42242</c:v>
                </c:pt>
                <c:pt idx="1616">
                  <c:v>42243</c:v>
                </c:pt>
                <c:pt idx="1617">
                  <c:v>42244</c:v>
                </c:pt>
                <c:pt idx="1618">
                  <c:v>42247</c:v>
                </c:pt>
                <c:pt idx="1619">
                  <c:v>42248</c:v>
                </c:pt>
                <c:pt idx="1620">
                  <c:v>42249</c:v>
                </c:pt>
                <c:pt idx="1621">
                  <c:v>42254</c:v>
                </c:pt>
                <c:pt idx="1622">
                  <c:v>42255</c:v>
                </c:pt>
                <c:pt idx="1623">
                  <c:v>42256</c:v>
                </c:pt>
                <c:pt idx="1624">
                  <c:v>42257</c:v>
                </c:pt>
                <c:pt idx="1625">
                  <c:v>42258</c:v>
                </c:pt>
                <c:pt idx="1626">
                  <c:v>42261</c:v>
                </c:pt>
                <c:pt idx="1627">
                  <c:v>42262</c:v>
                </c:pt>
                <c:pt idx="1628">
                  <c:v>42263</c:v>
                </c:pt>
                <c:pt idx="1629">
                  <c:v>42264</c:v>
                </c:pt>
                <c:pt idx="1630">
                  <c:v>42265</c:v>
                </c:pt>
                <c:pt idx="1631">
                  <c:v>42268</c:v>
                </c:pt>
                <c:pt idx="1632">
                  <c:v>42269</c:v>
                </c:pt>
                <c:pt idx="1633">
                  <c:v>42270</c:v>
                </c:pt>
                <c:pt idx="1634">
                  <c:v>42271</c:v>
                </c:pt>
                <c:pt idx="1635">
                  <c:v>42272</c:v>
                </c:pt>
                <c:pt idx="1636">
                  <c:v>42275</c:v>
                </c:pt>
                <c:pt idx="1637">
                  <c:v>42276</c:v>
                </c:pt>
                <c:pt idx="1638">
                  <c:v>42277</c:v>
                </c:pt>
                <c:pt idx="1639">
                  <c:v>42285</c:v>
                </c:pt>
                <c:pt idx="1640">
                  <c:v>42286</c:v>
                </c:pt>
                <c:pt idx="1641">
                  <c:v>42289</c:v>
                </c:pt>
                <c:pt idx="1642">
                  <c:v>42290</c:v>
                </c:pt>
                <c:pt idx="1643">
                  <c:v>42291</c:v>
                </c:pt>
                <c:pt idx="1644">
                  <c:v>42292</c:v>
                </c:pt>
                <c:pt idx="1645">
                  <c:v>42293</c:v>
                </c:pt>
                <c:pt idx="1646">
                  <c:v>42296</c:v>
                </c:pt>
                <c:pt idx="1647">
                  <c:v>42297</c:v>
                </c:pt>
                <c:pt idx="1648">
                  <c:v>42298</c:v>
                </c:pt>
                <c:pt idx="1649">
                  <c:v>42299</c:v>
                </c:pt>
                <c:pt idx="1650">
                  <c:v>42300</c:v>
                </c:pt>
                <c:pt idx="1651">
                  <c:v>42303</c:v>
                </c:pt>
                <c:pt idx="1652">
                  <c:v>42304</c:v>
                </c:pt>
                <c:pt idx="1653">
                  <c:v>42305</c:v>
                </c:pt>
                <c:pt idx="1654">
                  <c:v>42306</c:v>
                </c:pt>
                <c:pt idx="1655">
                  <c:v>42307</c:v>
                </c:pt>
                <c:pt idx="1656">
                  <c:v>42310</c:v>
                </c:pt>
                <c:pt idx="1657">
                  <c:v>42311</c:v>
                </c:pt>
                <c:pt idx="1658">
                  <c:v>42312</c:v>
                </c:pt>
                <c:pt idx="1659">
                  <c:v>42313</c:v>
                </c:pt>
                <c:pt idx="1660">
                  <c:v>42314</c:v>
                </c:pt>
                <c:pt idx="1661">
                  <c:v>42317</c:v>
                </c:pt>
                <c:pt idx="1662">
                  <c:v>42318</c:v>
                </c:pt>
                <c:pt idx="1663">
                  <c:v>42319</c:v>
                </c:pt>
                <c:pt idx="1664">
                  <c:v>42320</c:v>
                </c:pt>
                <c:pt idx="1665">
                  <c:v>42321</c:v>
                </c:pt>
                <c:pt idx="1666">
                  <c:v>42324</c:v>
                </c:pt>
                <c:pt idx="1667">
                  <c:v>42325</c:v>
                </c:pt>
                <c:pt idx="1668">
                  <c:v>42326</c:v>
                </c:pt>
                <c:pt idx="1669">
                  <c:v>42327</c:v>
                </c:pt>
                <c:pt idx="1670">
                  <c:v>42328</c:v>
                </c:pt>
                <c:pt idx="1671">
                  <c:v>42331</c:v>
                </c:pt>
                <c:pt idx="1672">
                  <c:v>42332</c:v>
                </c:pt>
                <c:pt idx="1673">
                  <c:v>42333</c:v>
                </c:pt>
                <c:pt idx="1674">
                  <c:v>42334</c:v>
                </c:pt>
                <c:pt idx="1675">
                  <c:v>42335</c:v>
                </c:pt>
                <c:pt idx="1676">
                  <c:v>42338</c:v>
                </c:pt>
                <c:pt idx="1677">
                  <c:v>42339</c:v>
                </c:pt>
                <c:pt idx="1678">
                  <c:v>42340</c:v>
                </c:pt>
                <c:pt idx="1679">
                  <c:v>42341</c:v>
                </c:pt>
                <c:pt idx="1680">
                  <c:v>42342</c:v>
                </c:pt>
                <c:pt idx="1681">
                  <c:v>42345</c:v>
                </c:pt>
                <c:pt idx="1682">
                  <c:v>42346</c:v>
                </c:pt>
                <c:pt idx="1683">
                  <c:v>42347</c:v>
                </c:pt>
                <c:pt idx="1684">
                  <c:v>42348</c:v>
                </c:pt>
                <c:pt idx="1685">
                  <c:v>42349</c:v>
                </c:pt>
                <c:pt idx="1686">
                  <c:v>42352</c:v>
                </c:pt>
                <c:pt idx="1687">
                  <c:v>42353</c:v>
                </c:pt>
                <c:pt idx="1688">
                  <c:v>42354</c:v>
                </c:pt>
                <c:pt idx="1689">
                  <c:v>42355</c:v>
                </c:pt>
                <c:pt idx="1690">
                  <c:v>42356</c:v>
                </c:pt>
                <c:pt idx="1691">
                  <c:v>42359</c:v>
                </c:pt>
                <c:pt idx="1692">
                  <c:v>42360</c:v>
                </c:pt>
                <c:pt idx="1693">
                  <c:v>42361</c:v>
                </c:pt>
                <c:pt idx="1694">
                  <c:v>42362</c:v>
                </c:pt>
                <c:pt idx="1695">
                  <c:v>42363</c:v>
                </c:pt>
                <c:pt idx="1696">
                  <c:v>42366</c:v>
                </c:pt>
                <c:pt idx="1697">
                  <c:v>42367</c:v>
                </c:pt>
                <c:pt idx="1698">
                  <c:v>42368</c:v>
                </c:pt>
                <c:pt idx="1699">
                  <c:v>42369</c:v>
                </c:pt>
                <c:pt idx="1700">
                  <c:v>42373</c:v>
                </c:pt>
                <c:pt idx="1701">
                  <c:v>42374</c:v>
                </c:pt>
                <c:pt idx="1702">
                  <c:v>42375</c:v>
                </c:pt>
                <c:pt idx="1703">
                  <c:v>42376</c:v>
                </c:pt>
                <c:pt idx="1704">
                  <c:v>42377</c:v>
                </c:pt>
                <c:pt idx="1705">
                  <c:v>42380</c:v>
                </c:pt>
                <c:pt idx="1706">
                  <c:v>42381</c:v>
                </c:pt>
                <c:pt idx="1707">
                  <c:v>42382</c:v>
                </c:pt>
                <c:pt idx="1708">
                  <c:v>42383</c:v>
                </c:pt>
                <c:pt idx="1709">
                  <c:v>42384</c:v>
                </c:pt>
                <c:pt idx="1710">
                  <c:v>42387</c:v>
                </c:pt>
                <c:pt idx="1711">
                  <c:v>42388</c:v>
                </c:pt>
                <c:pt idx="1712">
                  <c:v>42389</c:v>
                </c:pt>
                <c:pt idx="1713">
                  <c:v>42390</c:v>
                </c:pt>
                <c:pt idx="1714">
                  <c:v>42391</c:v>
                </c:pt>
                <c:pt idx="1715">
                  <c:v>42394</c:v>
                </c:pt>
                <c:pt idx="1716">
                  <c:v>42395</c:v>
                </c:pt>
                <c:pt idx="1717">
                  <c:v>42396</c:v>
                </c:pt>
                <c:pt idx="1718">
                  <c:v>42397</c:v>
                </c:pt>
                <c:pt idx="1719">
                  <c:v>42398</c:v>
                </c:pt>
                <c:pt idx="1720">
                  <c:v>42401</c:v>
                </c:pt>
                <c:pt idx="1721">
                  <c:v>42402</c:v>
                </c:pt>
                <c:pt idx="1722">
                  <c:v>42403</c:v>
                </c:pt>
                <c:pt idx="1723">
                  <c:v>42404</c:v>
                </c:pt>
                <c:pt idx="1724">
                  <c:v>42405</c:v>
                </c:pt>
                <c:pt idx="1725">
                  <c:v>42415</c:v>
                </c:pt>
                <c:pt idx="1726">
                  <c:v>42416</c:v>
                </c:pt>
                <c:pt idx="1727">
                  <c:v>42417</c:v>
                </c:pt>
                <c:pt idx="1728">
                  <c:v>42418</c:v>
                </c:pt>
                <c:pt idx="1729">
                  <c:v>42419</c:v>
                </c:pt>
                <c:pt idx="1730">
                  <c:v>42422</c:v>
                </c:pt>
                <c:pt idx="1731">
                  <c:v>42423</c:v>
                </c:pt>
                <c:pt idx="1732">
                  <c:v>42424</c:v>
                </c:pt>
                <c:pt idx="1733">
                  <c:v>42425</c:v>
                </c:pt>
                <c:pt idx="1734">
                  <c:v>42426</c:v>
                </c:pt>
                <c:pt idx="1735">
                  <c:v>42429</c:v>
                </c:pt>
                <c:pt idx="1736">
                  <c:v>42430</c:v>
                </c:pt>
                <c:pt idx="1737">
                  <c:v>42431</c:v>
                </c:pt>
                <c:pt idx="1738">
                  <c:v>42432</c:v>
                </c:pt>
                <c:pt idx="1739">
                  <c:v>42433</c:v>
                </c:pt>
                <c:pt idx="1740">
                  <c:v>42436</c:v>
                </c:pt>
                <c:pt idx="1741">
                  <c:v>42437</c:v>
                </c:pt>
                <c:pt idx="1742">
                  <c:v>42438</c:v>
                </c:pt>
                <c:pt idx="1743">
                  <c:v>42439</c:v>
                </c:pt>
                <c:pt idx="1744">
                  <c:v>42440</c:v>
                </c:pt>
                <c:pt idx="1745">
                  <c:v>42443</c:v>
                </c:pt>
                <c:pt idx="1746">
                  <c:v>42444</c:v>
                </c:pt>
                <c:pt idx="1747">
                  <c:v>42445</c:v>
                </c:pt>
                <c:pt idx="1748">
                  <c:v>42446</c:v>
                </c:pt>
                <c:pt idx="1749">
                  <c:v>42447</c:v>
                </c:pt>
                <c:pt idx="1750">
                  <c:v>42450</c:v>
                </c:pt>
                <c:pt idx="1751">
                  <c:v>42451</c:v>
                </c:pt>
                <c:pt idx="1752">
                  <c:v>42452</c:v>
                </c:pt>
                <c:pt idx="1753">
                  <c:v>42453</c:v>
                </c:pt>
                <c:pt idx="1754">
                  <c:v>42454</c:v>
                </c:pt>
                <c:pt idx="1755">
                  <c:v>42457</c:v>
                </c:pt>
                <c:pt idx="1756">
                  <c:v>42458</c:v>
                </c:pt>
                <c:pt idx="1757">
                  <c:v>42459</c:v>
                </c:pt>
                <c:pt idx="1758">
                  <c:v>42460</c:v>
                </c:pt>
                <c:pt idx="1759">
                  <c:v>42461</c:v>
                </c:pt>
                <c:pt idx="1760">
                  <c:v>42465</c:v>
                </c:pt>
                <c:pt idx="1761">
                  <c:v>42466</c:v>
                </c:pt>
                <c:pt idx="1762">
                  <c:v>42467</c:v>
                </c:pt>
                <c:pt idx="1763">
                  <c:v>42468</c:v>
                </c:pt>
                <c:pt idx="1764">
                  <c:v>42471</c:v>
                </c:pt>
                <c:pt idx="1765">
                  <c:v>42472</c:v>
                </c:pt>
                <c:pt idx="1766">
                  <c:v>42473</c:v>
                </c:pt>
                <c:pt idx="1767">
                  <c:v>42474</c:v>
                </c:pt>
                <c:pt idx="1768">
                  <c:v>42475</c:v>
                </c:pt>
                <c:pt idx="1769">
                  <c:v>42478</c:v>
                </c:pt>
                <c:pt idx="1770">
                  <c:v>42479</c:v>
                </c:pt>
                <c:pt idx="1771">
                  <c:v>42480</c:v>
                </c:pt>
                <c:pt idx="1772">
                  <c:v>42481</c:v>
                </c:pt>
                <c:pt idx="1773">
                  <c:v>42482</c:v>
                </c:pt>
                <c:pt idx="1774">
                  <c:v>42485</c:v>
                </c:pt>
                <c:pt idx="1775">
                  <c:v>42486</c:v>
                </c:pt>
                <c:pt idx="1776">
                  <c:v>42487</c:v>
                </c:pt>
                <c:pt idx="1777">
                  <c:v>42488</c:v>
                </c:pt>
                <c:pt idx="1778">
                  <c:v>42489</c:v>
                </c:pt>
                <c:pt idx="1779">
                  <c:v>42493</c:v>
                </c:pt>
                <c:pt idx="1780">
                  <c:v>42494</c:v>
                </c:pt>
                <c:pt idx="1781">
                  <c:v>42495</c:v>
                </c:pt>
                <c:pt idx="1782">
                  <c:v>42496</c:v>
                </c:pt>
                <c:pt idx="1783">
                  <c:v>42499</c:v>
                </c:pt>
                <c:pt idx="1784">
                  <c:v>42500</c:v>
                </c:pt>
                <c:pt idx="1785">
                  <c:v>42501</c:v>
                </c:pt>
                <c:pt idx="1786">
                  <c:v>42502</c:v>
                </c:pt>
                <c:pt idx="1787">
                  <c:v>42503</c:v>
                </c:pt>
                <c:pt idx="1788">
                  <c:v>42506</c:v>
                </c:pt>
                <c:pt idx="1789">
                  <c:v>42507</c:v>
                </c:pt>
                <c:pt idx="1790">
                  <c:v>42508</c:v>
                </c:pt>
                <c:pt idx="1791">
                  <c:v>42509</c:v>
                </c:pt>
                <c:pt idx="1792">
                  <c:v>42510</c:v>
                </c:pt>
                <c:pt idx="1793">
                  <c:v>42513</c:v>
                </c:pt>
                <c:pt idx="1794">
                  <c:v>42514</c:v>
                </c:pt>
                <c:pt idx="1795">
                  <c:v>42515</c:v>
                </c:pt>
                <c:pt idx="1796">
                  <c:v>42516</c:v>
                </c:pt>
                <c:pt idx="1797">
                  <c:v>42517</c:v>
                </c:pt>
                <c:pt idx="1798">
                  <c:v>42520</c:v>
                </c:pt>
                <c:pt idx="1799">
                  <c:v>42521</c:v>
                </c:pt>
                <c:pt idx="1800">
                  <c:v>42522</c:v>
                </c:pt>
                <c:pt idx="1801">
                  <c:v>42523</c:v>
                </c:pt>
                <c:pt idx="1802">
                  <c:v>42524</c:v>
                </c:pt>
                <c:pt idx="1803">
                  <c:v>42527</c:v>
                </c:pt>
                <c:pt idx="1804">
                  <c:v>42528</c:v>
                </c:pt>
                <c:pt idx="1805">
                  <c:v>42529</c:v>
                </c:pt>
                <c:pt idx="1806">
                  <c:v>42534</c:v>
                </c:pt>
                <c:pt idx="1807">
                  <c:v>42535</c:v>
                </c:pt>
                <c:pt idx="1808">
                  <c:v>42536</c:v>
                </c:pt>
                <c:pt idx="1809">
                  <c:v>42537</c:v>
                </c:pt>
                <c:pt idx="1810">
                  <c:v>42538</c:v>
                </c:pt>
                <c:pt idx="1811">
                  <c:v>42541</c:v>
                </c:pt>
                <c:pt idx="1812">
                  <c:v>42542</c:v>
                </c:pt>
                <c:pt idx="1813">
                  <c:v>42543</c:v>
                </c:pt>
                <c:pt idx="1814">
                  <c:v>42544</c:v>
                </c:pt>
                <c:pt idx="1815">
                  <c:v>42545</c:v>
                </c:pt>
                <c:pt idx="1816">
                  <c:v>42548</c:v>
                </c:pt>
                <c:pt idx="1817">
                  <c:v>42549</c:v>
                </c:pt>
                <c:pt idx="1818">
                  <c:v>42550</c:v>
                </c:pt>
                <c:pt idx="1819">
                  <c:v>42551</c:v>
                </c:pt>
                <c:pt idx="1820">
                  <c:v>42552</c:v>
                </c:pt>
                <c:pt idx="1821">
                  <c:v>42555</c:v>
                </c:pt>
                <c:pt idx="1822">
                  <c:v>42556</c:v>
                </c:pt>
                <c:pt idx="1823">
                  <c:v>42557</c:v>
                </c:pt>
                <c:pt idx="1824">
                  <c:v>42558</c:v>
                </c:pt>
                <c:pt idx="1825">
                  <c:v>42559</c:v>
                </c:pt>
                <c:pt idx="1826">
                  <c:v>42562</c:v>
                </c:pt>
                <c:pt idx="1827">
                  <c:v>42563</c:v>
                </c:pt>
                <c:pt idx="1828">
                  <c:v>42564</c:v>
                </c:pt>
                <c:pt idx="1829">
                  <c:v>42565</c:v>
                </c:pt>
                <c:pt idx="1830">
                  <c:v>42566</c:v>
                </c:pt>
                <c:pt idx="1831">
                  <c:v>42569</c:v>
                </c:pt>
                <c:pt idx="1832">
                  <c:v>42570</c:v>
                </c:pt>
                <c:pt idx="1833">
                  <c:v>42571</c:v>
                </c:pt>
                <c:pt idx="1834">
                  <c:v>42572</c:v>
                </c:pt>
                <c:pt idx="1835">
                  <c:v>42573</c:v>
                </c:pt>
                <c:pt idx="1836">
                  <c:v>42576</c:v>
                </c:pt>
                <c:pt idx="1837">
                  <c:v>42577</c:v>
                </c:pt>
                <c:pt idx="1838">
                  <c:v>42578</c:v>
                </c:pt>
                <c:pt idx="1839">
                  <c:v>42579</c:v>
                </c:pt>
                <c:pt idx="1840">
                  <c:v>42580</c:v>
                </c:pt>
                <c:pt idx="1841">
                  <c:v>42583</c:v>
                </c:pt>
                <c:pt idx="1842">
                  <c:v>42584</c:v>
                </c:pt>
                <c:pt idx="1843">
                  <c:v>42585</c:v>
                </c:pt>
                <c:pt idx="1844">
                  <c:v>42586</c:v>
                </c:pt>
                <c:pt idx="1845">
                  <c:v>42587</c:v>
                </c:pt>
                <c:pt idx="1846">
                  <c:v>42590</c:v>
                </c:pt>
                <c:pt idx="1847">
                  <c:v>42591</c:v>
                </c:pt>
                <c:pt idx="1848">
                  <c:v>42592</c:v>
                </c:pt>
                <c:pt idx="1849">
                  <c:v>42593</c:v>
                </c:pt>
                <c:pt idx="1850">
                  <c:v>42594</c:v>
                </c:pt>
                <c:pt idx="1851">
                  <c:v>42597</c:v>
                </c:pt>
                <c:pt idx="1852">
                  <c:v>42598</c:v>
                </c:pt>
                <c:pt idx="1853">
                  <c:v>42599</c:v>
                </c:pt>
                <c:pt idx="1854">
                  <c:v>42600</c:v>
                </c:pt>
                <c:pt idx="1855">
                  <c:v>42601</c:v>
                </c:pt>
                <c:pt idx="1856">
                  <c:v>42604</c:v>
                </c:pt>
                <c:pt idx="1857">
                  <c:v>42605</c:v>
                </c:pt>
                <c:pt idx="1858">
                  <c:v>42606</c:v>
                </c:pt>
                <c:pt idx="1859">
                  <c:v>42607</c:v>
                </c:pt>
                <c:pt idx="1860">
                  <c:v>42608</c:v>
                </c:pt>
                <c:pt idx="1861">
                  <c:v>42611</c:v>
                </c:pt>
                <c:pt idx="1862">
                  <c:v>42612</c:v>
                </c:pt>
                <c:pt idx="1863">
                  <c:v>42613</c:v>
                </c:pt>
                <c:pt idx="1864">
                  <c:v>42614</c:v>
                </c:pt>
                <c:pt idx="1865">
                  <c:v>42615</c:v>
                </c:pt>
                <c:pt idx="1866">
                  <c:v>42618</c:v>
                </c:pt>
                <c:pt idx="1867">
                  <c:v>42619</c:v>
                </c:pt>
                <c:pt idx="1868">
                  <c:v>42620</c:v>
                </c:pt>
                <c:pt idx="1869">
                  <c:v>42621</c:v>
                </c:pt>
                <c:pt idx="1870">
                  <c:v>42622</c:v>
                </c:pt>
                <c:pt idx="1871">
                  <c:v>42625</c:v>
                </c:pt>
                <c:pt idx="1872">
                  <c:v>42626</c:v>
                </c:pt>
                <c:pt idx="1873">
                  <c:v>42627</c:v>
                </c:pt>
                <c:pt idx="1874">
                  <c:v>42632</c:v>
                </c:pt>
                <c:pt idx="1875">
                  <c:v>42633</c:v>
                </c:pt>
                <c:pt idx="1876">
                  <c:v>42634</c:v>
                </c:pt>
                <c:pt idx="1877">
                  <c:v>42635</c:v>
                </c:pt>
                <c:pt idx="1878">
                  <c:v>42636</c:v>
                </c:pt>
                <c:pt idx="1879">
                  <c:v>42639</c:v>
                </c:pt>
                <c:pt idx="1880">
                  <c:v>42640</c:v>
                </c:pt>
                <c:pt idx="1881">
                  <c:v>42641</c:v>
                </c:pt>
                <c:pt idx="1882">
                  <c:v>42642</c:v>
                </c:pt>
                <c:pt idx="1883">
                  <c:v>42643</c:v>
                </c:pt>
                <c:pt idx="1884">
                  <c:v>42653</c:v>
                </c:pt>
                <c:pt idx="1885">
                  <c:v>42654</c:v>
                </c:pt>
                <c:pt idx="1886">
                  <c:v>42655</c:v>
                </c:pt>
                <c:pt idx="1887">
                  <c:v>42656</c:v>
                </c:pt>
                <c:pt idx="1888">
                  <c:v>42657</c:v>
                </c:pt>
                <c:pt idx="1889">
                  <c:v>42660</c:v>
                </c:pt>
                <c:pt idx="1890">
                  <c:v>42661</c:v>
                </c:pt>
                <c:pt idx="1891">
                  <c:v>42662</c:v>
                </c:pt>
                <c:pt idx="1892">
                  <c:v>42663</c:v>
                </c:pt>
                <c:pt idx="1893">
                  <c:v>42664</c:v>
                </c:pt>
                <c:pt idx="1894">
                  <c:v>42667</c:v>
                </c:pt>
                <c:pt idx="1895">
                  <c:v>42668</c:v>
                </c:pt>
                <c:pt idx="1896">
                  <c:v>42669</c:v>
                </c:pt>
                <c:pt idx="1897">
                  <c:v>42670</c:v>
                </c:pt>
                <c:pt idx="1898">
                  <c:v>42671</c:v>
                </c:pt>
                <c:pt idx="1899">
                  <c:v>42674</c:v>
                </c:pt>
                <c:pt idx="1900">
                  <c:v>42675</c:v>
                </c:pt>
                <c:pt idx="1901">
                  <c:v>42676</c:v>
                </c:pt>
                <c:pt idx="1902">
                  <c:v>42677</c:v>
                </c:pt>
                <c:pt idx="1903">
                  <c:v>42678</c:v>
                </c:pt>
                <c:pt idx="1904">
                  <c:v>42681</c:v>
                </c:pt>
                <c:pt idx="1905">
                  <c:v>42682</c:v>
                </c:pt>
                <c:pt idx="1906">
                  <c:v>42683</c:v>
                </c:pt>
                <c:pt idx="1907">
                  <c:v>42684</c:v>
                </c:pt>
                <c:pt idx="1908">
                  <c:v>42685</c:v>
                </c:pt>
                <c:pt idx="1909">
                  <c:v>42688</c:v>
                </c:pt>
                <c:pt idx="1910">
                  <c:v>42689</c:v>
                </c:pt>
                <c:pt idx="1911">
                  <c:v>42690</c:v>
                </c:pt>
                <c:pt idx="1912">
                  <c:v>42691</c:v>
                </c:pt>
                <c:pt idx="1913">
                  <c:v>42692</c:v>
                </c:pt>
                <c:pt idx="1914">
                  <c:v>42695</c:v>
                </c:pt>
                <c:pt idx="1915">
                  <c:v>42696</c:v>
                </c:pt>
                <c:pt idx="1916">
                  <c:v>42697</c:v>
                </c:pt>
                <c:pt idx="1917">
                  <c:v>42698</c:v>
                </c:pt>
                <c:pt idx="1918">
                  <c:v>42699</c:v>
                </c:pt>
                <c:pt idx="1919">
                  <c:v>42702</c:v>
                </c:pt>
                <c:pt idx="1920">
                  <c:v>42703</c:v>
                </c:pt>
                <c:pt idx="1921">
                  <c:v>42704</c:v>
                </c:pt>
                <c:pt idx="1922">
                  <c:v>42705</c:v>
                </c:pt>
                <c:pt idx="1923">
                  <c:v>42706</c:v>
                </c:pt>
                <c:pt idx="1924">
                  <c:v>42709</c:v>
                </c:pt>
                <c:pt idx="1925">
                  <c:v>42710</c:v>
                </c:pt>
                <c:pt idx="1926">
                  <c:v>42711</c:v>
                </c:pt>
                <c:pt idx="1927">
                  <c:v>42712</c:v>
                </c:pt>
                <c:pt idx="1928">
                  <c:v>42713</c:v>
                </c:pt>
                <c:pt idx="1929">
                  <c:v>42716</c:v>
                </c:pt>
                <c:pt idx="1930">
                  <c:v>42717</c:v>
                </c:pt>
                <c:pt idx="1931">
                  <c:v>42718</c:v>
                </c:pt>
                <c:pt idx="1932">
                  <c:v>42719</c:v>
                </c:pt>
                <c:pt idx="1933">
                  <c:v>42720</c:v>
                </c:pt>
                <c:pt idx="1934">
                  <c:v>42723</c:v>
                </c:pt>
                <c:pt idx="1935">
                  <c:v>42724</c:v>
                </c:pt>
                <c:pt idx="1936">
                  <c:v>42725</c:v>
                </c:pt>
                <c:pt idx="1937">
                  <c:v>42726</c:v>
                </c:pt>
                <c:pt idx="1938">
                  <c:v>42727</c:v>
                </c:pt>
                <c:pt idx="1939">
                  <c:v>42730</c:v>
                </c:pt>
                <c:pt idx="1940">
                  <c:v>42731</c:v>
                </c:pt>
                <c:pt idx="1941">
                  <c:v>42732</c:v>
                </c:pt>
                <c:pt idx="1942">
                  <c:v>42733</c:v>
                </c:pt>
                <c:pt idx="1943">
                  <c:v>42734</c:v>
                </c:pt>
                <c:pt idx="1944">
                  <c:v>42738</c:v>
                </c:pt>
                <c:pt idx="1945">
                  <c:v>42739</c:v>
                </c:pt>
                <c:pt idx="1946">
                  <c:v>42740</c:v>
                </c:pt>
                <c:pt idx="1947">
                  <c:v>42741</c:v>
                </c:pt>
                <c:pt idx="1948">
                  <c:v>42744</c:v>
                </c:pt>
                <c:pt idx="1949">
                  <c:v>42745</c:v>
                </c:pt>
                <c:pt idx="1950">
                  <c:v>42746</c:v>
                </c:pt>
                <c:pt idx="1951">
                  <c:v>42747</c:v>
                </c:pt>
                <c:pt idx="1952">
                  <c:v>42748</c:v>
                </c:pt>
                <c:pt idx="1953">
                  <c:v>42751</c:v>
                </c:pt>
                <c:pt idx="1954">
                  <c:v>42752</c:v>
                </c:pt>
                <c:pt idx="1955">
                  <c:v>42753</c:v>
                </c:pt>
                <c:pt idx="1956">
                  <c:v>42754</c:v>
                </c:pt>
                <c:pt idx="1957">
                  <c:v>42755</c:v>
                </c:pt>
                <c:pt idx="1958">
                  <c:v>42758</c:v>
                </c:pt>
                <c:pt idx="1959">
                  <c:v>42759</c:v>
                </c:pt>
                <c:pt idx="1960">
                  <c:v>42760</c:v>
                </c:pt>
                <c:pt idx="1961">
                  <c:v>42761</c:v>
                </c:pt>
                <c:pt idx="1962">
                  <c:v>42769</c:v>
                </c:pt>
                <c:pt idx="1963">
                  <c:v>42772</c:v>
                </c:pt>
                <c:pt idx="1964">
                  <c:v>42773</c:v>
                </c:pt>
                <c:pt idx="1965">
                  <c:v>42774</c:v>
                </c:pt>
                <c:pt idx="1966">
                  <c:v>42775</c:v>
                </c:pt>
                <c:pt idx="1967">
                  <c:v>42776</c:v>
                </c:pt>
                <c:pt idx="1968">
                  <c:v>42779</c:v>
                </c:pt>
                <c:pt idx="1969">
                  <c:v>42780</c:v>
                </c:pt>
                <c:pt idx="1970">
                  <c:v>42781</c:v>
                </c:pt>
                <c:pt idx="1971">
                  <c:v>42782</c:v>
                </c:pt>
                <c:pt idx="1972">
                  <c:v>42783</c:v>
                </c:pt>
                <c:pt idx="1973">
                  <c:v>42786</c:v>
                </c:pt>
                <c:pt idx="1974">
                  <c:v>42787</c:v>
                </c:pt>
                <c:pt idx="1975">
                  <c:v>42788</c:v>
                </c:pt>
                <c:pt idx="1976">
                  <c:v>42789</c:v>
                </c:pt>
                <c:pt idx="1977">
                  <c:v>42790</c:v>
                </c:pt>
                <c:pt idx="1978">
                  <c:v>42793</c:v>
                </c:pt>
                <c:pt idx="1979">
                  <c:v>42794</c:v>
                </c:pt>
                <c:pt idx="1980">
                  <c:v>42795</c:v>
                </c:pt>
                <c:pt idx="1981">
                  <c:v>42796</c:v>
                </c:pt>
                <c:pt idx="1982">
                  <c:v>42797</c:v>
                </c:pt>
                <c:pt idx="1983">
                  <c:v>42800</c:v>
                </c:pt>
                <c:pt idx="1984">
                  <c:v>42801</c:v>
                </c:pt>
                <c:pt idx="1985">
                  <c:v>42802</c:v>
                </c:pt>
                <c:pt idx="1986">
                  <c:v>42803</c:v>
                </c:pt>
                <c:pt idx="1987">
                  <c:v>42804</c:v>
                </c:pt>
                <c:pt idx="1988">
                  <c:v>42807</c:v>
                </c:pt>
                <c:pt idx="1989">
                  <c:v>42808</c:v>
                </c:pt>
                <c:pt idx="1990">
                  <c:v>42809</c:v>
                </c:pt>
                <c:pt idx="1991">
                  <c:v>42810</c:v>
                </c:pt>
                <c:pt idx="1992">
                  <c:v>42811</c:v>
                </c:pt>
                <c:pt idx="1993">
                  <c:v>42814</c:v>
                </c:pt>
                <c:pt idx="1994">
                  <c:v>42815</c:v>
                </c:pt>
                <c:pt idx="1995">
                  <c:v>42816</c:v>
                </c:pt>
                <c:pt idx="1996">
                  <c:v>42817</c:v>
                </c:pt>
                <c:pt idx="1997">
                  <c:v>42818</c:v>
                </c:pt>
                <c:pt idx="1998">
                  <c:v>42821</c:v>
                </c:pt>
                <c:pt idx="1999">
                  <c:v>42822</c:v>
                </c:pt>
                <c:pt idx="2000">
                  <c:v>42823</c:v>
                </c:pt>
                <c:pt idx="2001">
                  <c:v>42824</c:v>
                </c:pt>
                <c:pt idx="2002">
                  <c:v>42825</c:v>
                </c:pt>
                <c:pt idx="2003">
                  <c:v>42830</c:v>
                </c:pt>
                <c:pt idx="2004">
                  <c:v>42831</c:v>
                </c:pt>
                <c:pt idx="2005">
                  <c:v>42832</c:v>
                </c:pt>
                <c:pt idx="2006">
                  <c:v>42835</c:v>
                </c:pt>
                <c:pt idx="2007">
                  <c:v>42836</c:v>
                </c:pt>
                <c:pt idx="2008">
                  <c:v>42837</c:v>
                </c:pt>
                <c:pt idx="2009">
                  <c:v>42838</c:v>
                </c:pt>
                <c:pt idx="2010">
                  <c:v>42839</c:v>
                </c:pt>
                <c:pt idx="2011">
                  <c:v>42842</c:v>
                </c:pt>
                <c:pt idx="2012">
                  <c:v>42843</c:v>
                </c:pt>
                <c:pt idx="2013">
                  <c:v>42844</c:v>
                </c:pt>
                <c:pt idx="2014">
                  <c:v>42845</c:v>
                </c:pt>
                <c:pt idx="2015">
                  <c:v>42846</c:v>
                </c:pt>
                <c:pt idx="2016">
                  <c:v>42849</c:v>
                </c:pt>
                <c:pt idx="2017">
                  <c:v>42850</c:v>
                </c:pt>
                <c:pt idx="2018">
                  <c:v>42851</c:v>
                </c:pt>
                <c:pt idx="2019">
                  <c:v>42852</c:v>
                </c:pt>
                <c:pt idx="2020">
                  <c:v>42853</c:v>
                </c:pt>
                <c:pt idx="2021">
                  <c:v>42857</c:v>
                </c:pt>
                <c:pt idx="2022">
                  <c:v>42858</c:v>
                </c:pt>
                <c:pt idx="2023">
                  <c:v>42859</c:v>
                </c:pt>
                <c:pt idx="2024">
                  <c:v>42860</c:v>
                </c:pt>
                <c:pt idx="2025">
                  <c:v>42863</c:v>
                </c:pt>
                <c:pt idx="2026">
                  <c:v>42864</c:v>
                </c:pt>
                <c:pt idx="2027">
                  <c:v>42865</c:v>
                </c:pt>
                <c:pt idx="2028">
                  <c:v>42866</c:v>
                </c:pt>
                <c:pt idx="2029">
                  <c:v>42867</c:v>
                </c:pt>
                <c:pt idx="2030">
                  <c:v>42870</c:v>
                </c:pt>
                <c:pt idx="2031">
                  <c:v>42871</c:v>
                </c:pt>
                <c:pt idx="2032">
                  <c:v>42872</c:v>
                </c:pt>
                <c:pt idx="2033">
                  <c:v>42873</c:v>
                </c:pt>
                <c:pt idx="2034">
                  <c:v>42874</c:v>
                </c:pt>
                <c:pt idx="2035">
                  <c:v>42877</c:v>
                </c:pt>
                <c:pt idx="2036">
                  <c:v>42878</c:v>
                </c:pt>
                <c:pt idx="2037">
                  <c:v>42879</c:v>
                </c:pt>
                <c:pt idx="2038">
                  <c:v>42880</c:v>
                </c:pt>
                <c:pt idx="2039">
                  <c:v>42881</c:v>
                </c:pt>
                <c:pt idx="2040">
                  <c:v>42886</c:v>
                </c:pt>
                <c:pt idx="2041">
                  <c:v>42887</c:v>
                </c:pt>
                <c:pt idx="2042">
                  <c:v>42888</c:v>
                </c:pt>
                <c:pt idx="2043">
                  <c:v>42891</c:v>
                </c:pt>
                <c:pt idx="2044">
                  <c:v>42892</c:v>
                </c:pt>
                <c:pt idx="2045">
                  <c:v>42893</c:v>
                </c:pt>
                <c:pt idx="2046">
                  <c:v>42894</c:v>
                </c:pt>
                <c:pt idx="2047">
                  <c:v>42895</c:v>
                </c:pt>
                <c:pt idx="2048">
                  <c:v>42898</c:v>
                </c:pt>
                <c:pt idx="2049">
                  <c:v>42899</c:v>
                </c:pt>
                <c:pt idx="2050">
                  <c:v>42900</c:v>
                </c:pt>
                <c:pt idx="2051">
                  <c:v>42901</c:v>
                </c:pt>
                <c:pt idx="2052">
                  <c:v>42902</c:v>
                </c:pt>
                <c:pt idx="2053">
                  <c:v>42905</c:v>
                </c:pt>
                <c:pt idx="2054">
                  <c:v>42906</c:v>
                </c:pt>
                <c:pt idx="2055">
                  <c:v>42907</c:v>
                </c:pt>
                <c:pt idx="2056">
                  <c:v>42908</c:v>
                </c:pt>
                <c:pt idx="2057">
                  <c:v>42909</c:v>
                </c:pt>
                <c:pt idx="2058">
                  <c:v>42912</c:v>
                </c:pt>
                <c:pt idx="2059">
                  <c:v>42913</c:v>
                </c:pt>
                <c:pt idx="2060">
                  <c:v>42914</c:v>
                </c:pt>
                <c:pt idx="2061">
                  <c:v>42915</c:v>
                </c:pt>
                <c:pt idx="2062">
                  <c:v>42916</c:v>
                </c:pt>
                <c:pt idx="2063">
                  <c:v>42919</c:v>
                </c:pt>
                <c:pt idx="2064">
                  <c:v>42920</c:v>
                </c:pt>
                <c:pt idx="2065">
                  <c:v>42921</c:v>
                </c:pt>
                <c:pt idx="2066">
                  <c:v>42922</c:v>
                </c:pt>
                <c:pt idx="2067">
                  <c:v>42923</c:v>
                </c:pt>
                <c:pt idx="2068">
                  <c:v>42926</c:v>
                </c:pt>
                <c:pt idx="2069">
                  <c:v>42927</c:v>
                </c:pt>
                <c:pt idx="2070">
                  <c:v>42928</c:v>
                </c:pt>
                <c:pt idx="2071">
                  <c:v>42929</c:v>
                </c:pt>
                <c:pt idx="2072">
                  <c:v>42930</c:v>
                </c:pt>
                <c:pt idx="2073">
                  <c:v>42933</c:v>
                </c:pt>
                <c:pt idx="2074">
                  <c:v>42934</c:v>
                </c:pt>
                <c:pt idx="2075">
                  <c:v>42935</c:v>
                </c:pt>
                <c:pt idx="2076">
                  <c:v>42936</c:v>
                </c:pt>
                <c:pt idx="2077">
                  <c:v>42937</c:v>
                </c:pt>
                <c:pt idx="2078">
                  <c:v>42940</c:v>
                </c:pt>
                <c:pt idx="2079">
                  <c:v>42941</c:v>
                </c:pt>
                <c:pt idx="2080">
                  <c:v>42942</c:v>
                </c:pt>
                <c:pt idx="2081">
                  <c:v>42943</c:v>
                </c:pt>
                <c:pt idx="2082">
                  <c:v>42944</c:v>
                </c:pt>
                <c:pt idx="2083">
                  <c:v>42947</c:v>
                </c:pt>
                <c:pt idx="2084">
                  <c:v>42948</c:v>
                </c:pt>
                <c:pt idx="2085">
                  <c:v>42949</c:v>
                </c:pt>
                <c:pt idx="2086">
                  <c:v>42950</c:v>
                </c:pt>
                <c:pt idx="2087">
                  <c:v>42951</c:v>
                </c:pt>
                <c:pt idx="2088">
                  <c:v>42954</c:v>
                </c:pt>
                <c:pt idx="2089">
                  <c:v>42955</c:v>
                </c:pt>
                <c:pt idx="2090">
                  <c:v>42956</c:v>
                </c:pt>
                <c:pt idx="2091">
                  <c:v>42957</c:v>
                </c:pt>
                <c:pt idx="2092">
                  <c:v>42958</c:v>
                </c:pt>
                <c:pt idx="2093">
                  <c:v>42961</c:v>
                </c:pt>
                <c:pt idx="2094">
                  <c:v>42962</c:v>
                </c:pt>
                <c:pt idx="2095">
                  <c:v>42963</c:v>
                </c:pt>
                <c:pt idx="2096">
                  <c:v>42964</c:v>
                </c:pt>
                <c:pt idx="2097">
                  <c:v>42965</c:v>
                </c:pt>
                <c:pt idx="2098">
                  <c:v>42968</c:v>
                </c:pt>
                <c:pt idx="2099">
                  <c:v>42969</c:v>
                </c:pt>
                <c:pt idx="2100">
                  <c:v>42970</c:v>
                </c:pt>
                <c:pt idx="2101">
                  <c:v>42971</c:v>
                </c:pt>
                <c:pt idx="2102">
                  <c:v>42972</c:v>
                </c:pt>
                <c:pt idx="2103">
                  <c:v>42975</c:v>
                </c:pt>
                <c:pt idx="2104">
                  <c:v>42976</c:v>
                </c:pt>
                <c:pt idx="2105">
                  <c:v>42977</c:v>
                </c:pt>
                <c:pt idx="2106">
                  <c:v>42978</c:v>
                </c:pt>
                <c:pt idx="2107">
                  <c:v>42979</c:v>
                </c:pt>
                <c:pt idx="2108">
                  <c:v>42982</c:v>
                </c:pt>
                <c:pt idx="2109">
                  <c:v>42983</c:v>
                </c:pt>
                <c:pt idx="2110">
                  <c:v>42984</c:v>
                </c:pt>
                <c:pt idx="2111">
                  <c:v>42985</c:v>
                </c:pt>
                <c:pt idx="2112">
                  <c:v>42986</c:v>
                </c:pt>
                <c:pt idx="2113">
                  <c:v>42989</c:v>
                </c:pt>
                <c:pt idx="2114">
                  <c:v>42990</c:v>
                </c:pt>
                <c:pt idx="2115">
                  <c:v>42991</c:v>
                </c:pt>
                <c:pt idx="2116">
                  <c:v>42992</c:v>
                </c:pt>
                <c:pt idx="2117">
                  <c:v>42993</c:v>
                </c:pt>
                <c:pt idx="2118">
                  <c:v>42996</c:v>
                </c:pt>
                <c:pt idx="2119">
                  <c:v>42997</c:v>
                </c:pt>
                <c:pt idx="2120">
                  <c:v>42998</c:v>
                </c:pt>
                <c:pt idx="2121">
                  <c:v>42999</c:v>
                </c:pt>
                <c:pt idx="2122">
                  <c:v>43000</c:v>
                </c:pt>
                <c:pt idx="2123">
                  <c:v>43003</c:v>
                </c:pt>
                <c:pt idx="2124">
                  <c:v>43004</c:v>
                </c:pt>
                <c:pt idx="2125">
                  <c:v>43005</c:v>
                </c:pt>
                <c:pt idx="2126">
                  <c:v>43006</c:v>
                </c:pt>
                <c:pt idx="2127">
                  <c:v>43007</c:v>
                </c:pt>
                <c:pt idx="2128">
                  <c:v>43017</c:v>
                </c:pt>
                <c:pt idx="2129">
                  <c:v>43018</c:v>
                </c:pt>
                <c:pt idx="2130">
                  <c:v>43019</c:v>
                </c:pt>
                <c:pt idx="2131">
                  <c:v>43020</c:v>
                </c:pt>
                <c:pt idx="2132">
                  <c:v>43021</c:v>
                </c:pt>
                <c:pt idx="2133">
                  <c:v>43024</c:v>
                </c:pt>
                <c:pt idx="2134">
                  <c:v>43025</c:v>
                </c:pt>
                <c:pt idx="2135">
                  <c:v>43026</c:v>
                </c:pt>
                <c:pt idx="2136">
                  <c:v>43027</c:v>
                </c:pt>
                <c:pt idx="2137">
                  <c:v>43028</c:v>
                </c:pt>
                <c:pt idx="2138">
                  <c:v>43031</c:v>
                </c:pt>
                <c:pt idx="2139">
                  <c:v>43032</c:v>
                </c:pt>
                <c:pt idx="2140">
                  <c:v>43033</c:v>
                </c:pt>
                <c:pt idx="2141">
                  <c:v>43034</c:v>
                </c:pt>
                <c:pt idx="2142">
                  <c:v>43035</c:v>
                </c:pt>
                <c:pt idx="2143">
                  <c:v>43038</c:v>
                </c:pt>
                <c:pt idx="2144">
                  <c:v>43039</c:v>
                </c:pt>
                <c:pt idx="2145">
                  <c:v>43040</c:v>
                </c:pt>
                <c:pt idx="2146">
                  <c:v>43041</c:v>
                </c:pt>
                <c:pt idx="2147">
                  <c:v>43042</c:v>
                </c:pt>
                <c:pt idx="2148">
                  <c:v>43045</c:v>
                </c:pt>
                <c:pt idx="2149">
                  <c:v>43046</c:v>
                </c:pt>
                <c:pt idx="2150">
                  <c:v>43047</c:v>
                </c:pt>
                <c:pt idx="2151">
                  <c:v>43048</c:v>
                </c:pt>
                <c:pt idx="2152">
                  <c:v>43049</c:v>
                </c:pt>
                <c:pt idx="2153">
                  <c:v>43052</c:v>
                </c:pt>
                <c:pt idx="2154">
                  <c:v>43053</c:v>
                </c:pt>
                <c:pt idx="2155">
                  <c:v>43054</c:v>
                </c:pt>
                <c:pt idx="2156">
                  <c:v>43055</c:v>
                </c:pt>
                <c:pt idx="2157">
                  <c:v>43056</c:v>
                </c:pt>
                <c:pt idx="2158">
                  <c:v>43059</c:v>
                </c:pt>
                <c:pt idx="2159">
                  <c:v>43060</c:v>
                </c:pt>
                <c:pt idx="2160">
                  <c:v>43061</c:v>
                </c:pt>
                <c:pt idx="2161">
                  <c:v>43062</c:v>
                </c:pt>
                <c:pt idx="2162">
                  <c:v>43063</c:v>
                </c:pt>
                <c:pt idx="2163">
                  <c:v>43066</c:v>
                </c:pt>
                <c:pt idx="2164">
                  <c:v>43067</c:v>
                </c:pt>
                <c:pt idx="2165">
                  <c:v>43068</c:v>
                </c:pt>
                <c:pt idx="2166">
                  <c:v>43069</c:v>
                </c:pt>
                <c:pt idx="2167">
                  <c:v>43070</c:v>
                </c:pt>
                <c:pt idx="2168">
                  <c:v>43073</c:v>
                </c:pt>
                <c:pt idx="2169">
                  <c:v>43074</c:v>
                </c:pt>
                <c:pt idx="2170">
                  <c:v>43075</c:v>
                </c:pt>
                <c:pt idx="2171">
                  <c:v>43076</c:v>
                </c:pt>
                <c:pt idx="2172">
                  <c:v>43077</c:v>
                </c:pt>
                <c:pt idx="2173">
                  <c:v>43080</c:v>
                </c:pt>
                <c:pt idx="2174">
                  <c:v>43081</c:v>
                </c:pt>
                <c:pt idx="2175">
                  <c:v>43082</c:v>
                </c:pt>
                <c:pt idx="2176">
                  <c:v>43083</c:v>
                </c:pt>
                <c:pt idx="2177">
                  <c:v>43084</c:v>
                </c:pt>
                <c:pt idx="2178">
                  <c:v>43087</c:v>
                </c:pt>
                <c:pt idx="2179">
                  <c:v>43088</c:v>
                </c:pt>
                <c:pt idx="2180">
                  <c:v>43089</c:v>
                </c:pt>
                <c:pt idx="2181">
                  <c:v>43090</c:v>
                </c:pt>
                <c:pt idx="2182">
                  <c:v>43091</c:v>
                </c:pt>
                <c:pt idx="2183">
                  <c:v>43094</c:v>
                </c:pt>
                <c:pt idx="2184">
                  <c:v>43095</c:v>
                </c:pt>
                <c:pt idx="2185">
                  <c:v>43096</c:v>
                </c:pt>
                <c:pt idx="2186">
                  <c:v>43097</c:v>
                </c:pt>
                <c:pt idx="2187">
                  <c:v>43098</c:v>
                </c:pt>
                <c:pt idx="2188">
                  <c:v>43102</c:v>
                </c:pt>
                <c:pt idx="2189">
                  <c:v>43103</c:v>
                </c:pt>
                <c:pt idx="2190">
                  <c:v>43104</c:v>
                </c:pt>
                <c:pt idx="2191">
                  <c:v>43105</c:v>
                </c:pt>
                <c:pt idx="2192">
                  <c:v>43108</c:v>
                </c:pt>
                <c:pt idx="2193">
                  <c:v>43109</c:v>
                </c:pt>
                <c:pt idx="2194">
                  <c:v>43110</c:v>
                </c:pt>
                <c:pt idx="2195">
                  <c:v>43111</c:v>
                </c:pt>
                <c:pt idx="2196">
                  <c:v>43112</c:v>
                </c:pt>
                <c:pt idx="2197">
                  <c:v>43115</c:v>
                </c:pt>
                <c:pt idx="2198">
                  <c:v>43116</c:v>
                </c:pt>
                <c:pt idx="2199">
                  <c:v>43117</c:v>
                </c:pt>
                <c:pt idx="2200">
                  <c:v>43118</c:v>
                </c:pt>
                <c:pt idx="2201">
                  <c:v>43119</c:v>
                </c:pt>
                <c:pt idx="2202">
                  <c:v>43122</c:v>
                </c:pt>
                <c:pt idx="2203">
                  <c:v>43123</c:v>
                </c:pt>
                <c:pt idx="2204">
                  <c:v>43124</c:v>
                </c:pt>
                <c:pt idx="2205">
                  <c:v>43125</c:v>
                </c:pt>
                <c:pt idx="2206">
                  <c:v>43126</c:v>
                </c:pt>
                <c:pt idx="2207">
                  <c:v>43129</c:v>
                </c:pt>
                <c:pt idx="2208">
                  <c:v>43130</c:v>
                </c:pt>
                <c:pt idx="2209">
                  <c:v>43131</c:v>
                </c:pt>
                <c:pt idx="2210">
                  <c:v>43132</c:v>
                </c:pt>
                <c:pt idx="2211">
                  <c:v>43133</c:v>
                </c:pt>
                <c:pt idx="2212">
                  <c:v>43136</c:v>
                </c:pt>
                <c:pt idx="2213">
                  <c:v>43137</c:v>
                </c:pt>
                <c:pt idx="2214">
                  <c:v>43138</c:v>
                </c:pt>
                <c:pt idx="2215">
                  <c:v>43139</c:v>
                </c:pt>
                <c:pt idx="2216">
                  <c:v>43140</c:v>
                </c:pt>
                <c:pt idx="2217">
                  <c:v>43143</c:v>
                </c:pt>
                <c:pt idx="2218">
                  <c:v>43144</c:v>
                </c:pt>
                <c:pt idx="2219">
                  <c:v>43145</c:v>
                </c:pt>
                <c:pt idx="2220">
                  <c:v>43153</c:v>
                </c:pt>
                <c:pt idx="2221">
                  <c:v>43154</c:v>
                </c:pt>
                <c:pt idx="2222">
                  <c:v>43157</c:v>
                </c:pt>
                <c:pt idx="2223">
                  <c:v>43158</c:v>
                </c:pt>
                <c:pt idx="2224">
                  <c:v>43159</c:v>
                </c:pt>
                <c:pt idx="2225">
                  <c:v>43160</c:v>
                </c:pt>
                <c:pt idx="2226">
                  <c:v>43161</c:v>
                </c:pt>
                <c:pt idx="2227">
                  <c:v>43164</c:v>
                </c:pt>
                <c:pt idx="2228">
                  <c:v>43165</c:v>
                </c:pt>
                <c:pt idx="2229">
                  <c:v>43166</c:v>
                </c:pt>
                <c:pt idx="2230">
                  <c:v>43167</c:v>
                </c:pt>
                <c:pt idx="2231">
                  <c:v>43168</c:v>
                </c:pt>
                <c:pt idx="2232">
                  <c:v>43171</c:v>
                </c:pt>
                <c:pt idx="2233">
                  <c:v>43172</c:v>
                </c:pt>
                <c:pt idx="2234">
                  <c:v>43173</c:v>
                </c:pt>
                <c:pt idx="2235">
                  <c:v>43174</c:v>
                </c:pt>
                <c:pt idx="2236">
                  <c:v>43175</c:v>
                </c:pt>
                <c:pt idx="2237">
                  <c:v>43178</c:v>
                </c:pt>
                <c:pt idx="2238">
                  <c:v>43179</c:v>
                </c:pt>
                <c:pt idx="2239">
                  <c:v>43180</c:v>
                </c:pt>
                <c:pt idx="2240">
                  <c:v>43181</c:v>
                </c:pt>
                <c:pt idx="2241">
                  <c:v>43182</c:v>
                </c:pt>
                <c:pt idx="2242">
                  <c:v>43185</c:v>
                </c:pt>
                <c:pt idx="2243">
                  <c:v>43186</c:v>
                </c:pt>
                <c:pt idx="2244">
                  <c:v>43187</c:v>
                </c:pt>
                <c:pt idx="2245">
                  <c:v>43188</c:v>
                </c:pt>
                <c:pt idx="2246">
                  <c:v>43189</c:v>
                </c:pt>
                <c:pt idx="2247">
                  <c:v>43192</c:v>
                </c:pt>
                <c:pt idx="2248">
                  <c:v>43193</c:v>
                </c:pt>
                <c:pt idx="2249">
                  <c:v>43194</c:v>
                </c:pt>
                <c:pt idx="2250">
                  <c:v>43199</c:v>
                </c:pt>
                <c:pt idx="2251">
                  <c:v>43200</c:v>
                </c:pt>
                <c:pt idx="2252">
                  <c:v>43201</c:v>
                </c:pt>
                <c:pt idx="2253">
                  <c:v>43202</c:v>
                </c:pt>
                <c:pt idx="2254">
                  <c:v>43203</c:v>
                </c:pt>
                <c:pt idx="2255">
                  <c:v>43206</c:v>
                </c:pt>
                <c:pt idx="2256">
                  <c:v>43207</c:v>
                </c:pt>
                <c:pt idx="2257">
                  <c:v>43208</c:v>
                </c:pt>
                <c:pt idx="2258">
                  <c:v>43209</c:v>
                </c:pt>
                <c:pt idx="2259">
                  <c:v>43210</c:v>
                </c:pt>
                <c:pt idx="2260">
                  <c:v>43213</c:v>
                </c:pt>
                <c:pt idx="2261">
                  <c:v>43214</c:v>
                </c:pt>
                <c:pt idx="2262">
                  <c:v>43215</c:v>
                </c:pt>
                <c:pt idx="2263">
                  <c:v>43216</c:v>
                </c:pt>
                <c:pt idx="2264">
                  <c:v>43217</c:v>
                </c:pt>
                <c:pt idx="2265">
                  <c:v>43222</c:v>
                </c:pt>
                <c:pt idx="2266">
                  <c:v>43223</c:v>
                </c:pt>
                <c:pt idx="2267">
                  <c:v>43224</c:v>
                </c:pt>
                <c:pt idx="2268">
                  <c:v>43227</c:v>
                </c:pt>
                <c:pt idx="2269">
                  <c:v>43228</c:v>
                </c:pt>
                <c:pt idx="2270">
                  <c:v>43229</c:v>
                </c:pt>
                <c:pt idx="2271">
                  <c:v>43230</c:v>
                </c:pt>
                <c:pt idx="2272">
                  <c:v>43231</c:v>
                </c:pt>
                <c:pt idx="2273">
                  <c:v>43234</c:v>
                </c:pt>
                <c:pt idx="2274">
                  <c:v>43235</c:v>
                </c:pt>
                <c:pt idx="2275">
                  <c:v>43236</c:v>
                </c:pt>
                <c:pt idx="2276">
                  <c:v>43237</c:v>
                </c:pt>
                <c:pt idx="2277">
                  <c:v>43238</c:v>
                </c:pt>
                <c:pt idx="2278">
                  <c:v>43241</c:v>
                </c:pt>
                <c:pt idx="2279">
                  <c:v>43242</c:v>
                </c:pt>
                <c:pt idx="2280">
                  <c:v>43243</c:v>
                </c:pt>
                <c:pt idx="2281">
                  <c:v>43244</c:v>
                </c:pt>
                <c:pt idx="2282">
                  <c:v>43245</c:v>
                </c:pt>
                <c:pt idx="2283">
                  <c:v>43248</c:v>
                </c:pt>
                <c:pt idx="2284">
                  <c:v>43249</c:v>
                </c:pt>
                <c:pt idx="2285">
                  <c:v>43250</c:v>
                </c:pt>
                <c:pt idx="2286">
                  <c:v>43251</c:v>
                </c:pt>
                <c:pt idx="2287">
                  <c:v>43252</c:v>
                </c:pt>
                <c:pt idx="2288">
                  <c:v>43255</c:v>
                </c:pt>
                <c:pt idx="2289">
                  <c:v>43256</c:v>
                </c:pt>
                <c:pt idx="2290">
                  <c:v>43257</c:v>
                </c:pt>
                <c:pt idx="2291">
                  <c:v>43258</c:v>
                </c:pt>
                <c:pt idx="2292">
                  <c:v>43259</c:v>
                </c:pt>
                <c:pt idx="2293">
                  <c:v>43262</c:v>
                </c:pt>
                <c:pt idx="2294">
                  <c:v>43263</c:v>
                </c:pt>
                <c:pt idx="2295">
                  <c:v>43264</c:v>
                </c:pt>
                <c:pt idx="2296">
                  <c:v>43265</c:v>
                </c:pt>
                <c:pt idx="2297">
                  <c:v>43266</c:v>
                </c:pt>
                <c:pt idx="2298">
                  <c:v>43270</c:v>
                </c:pt>
                <c:pt idx="2299">
                  <c:v>43271</c:v>
                </c:pt>
                <c:pt idx="2300">
                  <c:v>43272</c:v>
                </c:pt>
                <c:pt idx="2301">
                  <c:v>43273</c:v>
                </c:pt>
                <c:pt idx="2302">
                  <c:v>43276</c:v>
                </c:pt>
                <c:pt idx="2303">
                  <c:v>43277</c:v>
                </c:pt>
                <c:pt idx="2304">
                  <c:v>43278</c:v>
                </c:pt>
                <c:pt idx="2305">
                  <c:v>43279</c:v>
                </c:pt>
                <c:pt idx="2306">
                  <c:v>43280</c:v>
                </c:pt>
                <c:pt idx="2307">
                  <c:v>43283</c:v>
                </c:pt>
                <c:pt idx="2308">
                  <c:v>43284</c:v>
                </c:pt>
                <c:pt idx="2309">
                  <c:v>43285</c:v>
                </c:pt>
                <c:pt idx="2310">
                  <c:v>43286</c:v>
                </c:pt>
                <c:pt idx="2311">
                  <c:v>43287</c:v>
                </c:pt>
                <c:pt idx="2312">
                  <c:v>43290</c:v>
                </c:pt>
                <c:pt idx="2313">
                  <c:v>43291</c:v>
                </c:pt>
                <c:pt idx="2314">
                  <c:v>43292</c:v>
                </c:pt>
                <c:pt idx="2315">
                  <c:v>43293</c:v>
                </c:pt>
                <c:pt idx="2316">
                  <c:v>43294</c:v>
                </c:pt>
                <c:pt idx="2317">
                  <c:v>43297</c:v>
                </c:pt>
                <c:pt idx="2318">
                  <c:v>43298</c:v>
                </c:pt>
                <c:pt idx="2319">
                  <c:v>43299</c:v>
                </c:pt>
                <c:pt idx="2320">
                  <c:v>43300</c:v>
                </c:pt>
                <c:pt idx="2321">
                  <c:v>43301</c:v>
                </c:pt>
                <c:pt idx="2322">
                  <c:v>43304</c:v>
                </c:pt>
                <c:pt idx="2323">
                  <c:v>43305</c:v>
                </c:pt>
                <c:pt idx="2324">
                  <c:v>43306</c:v>
                </c:pt>
                <c:pt idx="2325">
                  <c:v>43307</c:v>
                </c:pt>
                <c:pt idx="2326">
                  <c:v>43308</c:v>
                </c:pt>
                <c:pt idx="2327">
                  <c:v>43311</c:v>
                </c:pt>
                <c:pt idx="2328">
                  <c:v>43312</c:v>
                </c:pt>
                <c:pt idx="2329">
                  <c:v>43313</c:v>
                </c:pt>
                <c:pt idx="2330">
                  <c:v>43314</c:v>
                </c:pt>
                <c:pt idx="2331">
                  <c:v>43315</c:v>
                </c:pt>
                <c:pt idx="2332">
                  <c:v>43318</c:v>
                </c:pt>
                <c:pt idx="2333">
                  <c:v>43319</c:v>
                </c:pt>
                <c:pt idx="2334">
                  <c:v>43320</c:v>
                </c:pt>
                <c:pt idx="2335">
                  <c:v>43321</c:v>
                </c:pt>
                <c:pt idx="2336">
                  <c:v>43322</c:v>
                </c:pt>
                <c:pt idx="2337">
                  <c:v>43325</c:v>
                </c:pt>
                <c:pt idx="2338">
                  <c:v>43326</c:v>
                </c:pt>
                <c:pt idx="2339">
                  <c:v>43327</c:v>
                </c:pt>
                <c:pt idx="2340">
                  <c:v>43328</c:v>
                </c:pt>
                <c:pt idx="2341">
                  <c:v>43329</c:v>
                </c:pt>
                <c:pt idx="2342">
                  <c:v>43332</c:v>
                </c:pt>
                <c:pt idx="2343">
                  <c:v>43333</c:v>
                </c:pt>
                <c:pt idx="2344">
                  <c:v>43334</c:v>
                </c:pt>
                <c:pt idx="2345">
                  <c:v>43335</c:v>
                </c:pt>
                <c:pt idx="2346">
                  <c:v>43336</c:v>
                </c:pt>
                <c:pt idx="2347">
                  <c:v>43339</c:v>
                </c:pt>
                <c:pt idx="2348">
                  <c:v>43340</c:v>
                </c:pt>
                <c:pt idx="2349">
                  <c:v>43341</c:v>
                </c:pt>
                <c:pt idx="2350">
                  <c:v>43342</c:v>
                </c:pt>
                <c:pt idx="2351">
                  <c:v>43343</c:v>
                </c:pt>
                <c:pt idx="2352">
                  <c:v>43346</c:v>
                </c:pt>
                <c:pt idx="2353">
                  <c:v>43347</c:v>
                </c:pt>
                <c:pt idx="2354">
                  <c:v>43348</c:v>
                </c:pt>
                <c:pt idx="2355">
                  <c:v>43349</c:v>
                </c:pt>
                <c:pt idx="2356">
                  <c:v>43350</c:v>
                </c:pt>
                <c:pt idx="2357">
                  <c:v>43353</c:v>
                </c:pt>
                <c:pt idx="2358">
                  <c:v>43354</c:v>
                </c:pt>
                <c:pt idx="2359">
                  <c:v>43355</c:v>
                </c:pt>
                <c:pt idx="2360">
                  <c:v>43356</c:v>
                </c:pt>
                <c:pt idx="2361">
                  <c:v>43357</c:v>
                </c:pt>
                <c:pt idx="2362">
                  <c:v>43360</c:v>
                </c:pt>
                <c:pt idx="2363">
                  <c:v>43361</c:v>
                </c:pt>
                <c:pt idx="2364">
                  <c:v>43362</c:v>
                </c:pt>
                <c:pt idx="2365">
                  <c:v>43363</c:v>
                </c:pt>
                <c:pt idx="2366">
                  <c:v>43364</c:v>
                </c:pt>
                <c:pt idx="2367">
                  <c:v>43368</c:v>
                </c:pt>
                <c:pt idx="2368">
                  <c:v>43369</c:v>
                </c:pt>
                <c:pt idx="2369">
                  <c:v>43370</c:v>
                </c:pt>
                <c:pt idx="2370">
                  <c:v>43371</c:v>
                </c:pt>
                <c:pt idx="2371">
                  <c:v>43381</c:v>
                </c:pt>
                <c:pt idx="2372">
                  <c:v>43382</c:v>
                </c:pt>
                <c:pt idx="2373">
                  <c:v>43383</c:v>
                </c:pt>
                <c:pt idx="2374">
                  <c:v>43384</c:v>
                </c:pt>
                <c:pt idx="2375">
                  <c:v>43385</c:v>
                </c:pt>
                <c:pt idx="2376">
                  <c:v>43388</c:v>
                </c:pt>
                <c:pt idx="2377">
                  <c:v>43389</c:v>
                </c:pt>
                <c:pt idx="2378">
                  <c:v>43390</c:v>
                </c:pt>
                <c:pt idx="2379">
                  <c:v>43391</c:v>
                </c:pt>
                <c:pt idx="2380">
                  <c:v>43392</c:v>
                </c:pt>
                <c:pt idx="2381">
                  <c:v>43395</c:v>
                </c:pt>
                <c:pt idx="2382">
                  <c:v>43396</c:v>
                </c:pt>
                <c:pt idx="2383">
                  <c:v>43397</c:v>
                </c:pt>
                <c:pt idx="2384">
                  <c:v>43398</c:v>
                </c:pt>
                <c:pt idx="2385">
                  <c:v>43399</c:v>
                </c:pt>
                <c:pt idx="2386">
                  <c:v>43402</c:v>
                </c:pt>
                <c:pt idx="2387">
                  <c:v>43403</c:v>
                </c:pt>
                <c:pt idx="2388">
                  <c:v>43404</c:v>
                </c:pt>
                <c:pt idx="2389">
                  <c:v>43405</c:v>
                </c:pt>
                <c:pt idx="2390">
                  <c:v>43406</c:v>
                </c:pt>
                <c:pt idx="2391">
                  <c:v>43409</c:v>
                </c:pt>
                <c:pt idx="2392">
                  <c:v>43410</c:v>
                </c:pt>
                <c:pt idx="2393">
                  <c:v>43411</c:v>
                </c:pt>
                <c:pt idx="2394">
                  <c:v>43412</c:v>
                </c:pt>
                <c:pt idx="2395">
                  <c:v>43413</c:v>
                </c:pt>
                <c:pt idx="2396">
                  <c:v>43416</c:v>
                </c:pt>
                <c:pt idx="2397">
                  <c:v>43417</c:v>
                </c:pt>
                <c:pt idx="2398">
                  <c:v>43418</c:v>
                </c:pt>
                <c:pt idx="2399">
                  <c:v>43419</c:v>
                </c:pt>
                <c:pt idx="2400">
                  <c:v>43420</c:v>
                </c:pt>
                <c:pt idx="2401">
                  <c:v>43423</c:v>
                </c:pt>
                <c:pt idx="2402">
                  <c:v>43424</c:v>
                </c:pt>
                <c:pt idx="2403">
                  <c:v>43425</c:v>
                </c:pt>
                <c:pt idx="2404">
                  <c:v>43426</c:v>
                </c:pt>
                <c:pt idx="2405">
                  <c:v>43427</c:v>
                </c:pt>
                <c:pt idx="2406">
                  <c:v>43430</c:v>
                </c:pt>
                <c:pt idx="2407">
                  <c:v>43431</c:v>
                </c:pt>
                <c:pt idx="2408">
                  <c:v>43432</c:v>
                </c:pt>
                <c:pt idx="2409">
                  <c:v>43433</c:v>
                </c:pt>
                <c:pt idx="2410">
                  <c:v>43434</c:v>
                </c:pt>
                <c:pt idx="2411">
                  <c:v>43437</c:v>
                </c:pt>
                <c:pt idx="2412">
                  <c:v>43438</c:v>
                </c:pt>
                <c:pt idx="2413">
                  <c:v>43439</c:v>
                </c:pt>
                <c:pt idx="2414">
                  <c:v>43440</c:v>
                </c:pt>
                <c:pt idx="2415">
                  <c:v>43441</c:v>
                </c:pt>
                <c:pt idx="2416">
                  <c:v>43444</c:v>
                </c:pt>
                <c:pt idx="2417">
                  <c:v>43445</c:v>
                </c:pt>
                <c:pt idx="2418">
                  <c:v>43446</c:v>
                </c:pt>
                <c:pt idx="2419">
                  <c:v>43447</c:v>
                </c:pt>
                <c:pt idx="2420">
                  <c:v>43448</c:v>
                </c:pt>
                <c:pt idx="2421">
                  <c:v>43451</c:v>
                </c:pt>
                <c:pt idx="2422">
                  <c:v>43452</c:v>
                </c:pt>
                <c:pt idx="2423">
                  <c:v>43453</c:v>
                </c:pt>
                <c:pt idx="2424">
                  <c:v>43454</c:v>
                </c:pt>
                <c:pt idx="2425">
                  <c:v>43455</c:v>
                </c:pt>
                <c:pt idx="2426">
                  <c:v>43458</c:v>
                </c:pt>
                <c:pt idx="2427">
                  <c:v>43459</c:v>
                </c:pt>
                <c:pt idx="2428">
                  <c:v>43460</c:v>
                </c:pt>
                <c:pt idx="2429">
                  <c:v>43461</c:v>
                </c:pt>
                <c:pt idx="2430">
                  <c:v>43462</c:v>
                </c:pt>
                <c:pt idx="2431">
                  <c:v>43467</c:v>
                </c:pt>
                <c:pt idx="2432">
                  <c:v>43468</c:v>
                </c:pt>
                <c:pt idx="2433">
                  <c:v>43469</c:v>
                </c:pt>
                <c:pt idx="2434">
                  <c:v>43472</c:v>
                </c:pt>
                <c:pt idx="2435">
                  <c:v>43473</c:v>
                </c:pt>
                <c:pt idx="2436">
                  <c:v>43474</c:v>
                </c:pt>
                <c:pt idx="2437">
                  <c:v>43475</c:v>
                </c:pt>
                <c:pt idx="2438">
                  <c:v>43476</c:v>
                </c:pt>
                <c:pt idx="2439">
                  <c:v>43479</c:v>
                </c:pt>
                <c:pt idx="2440">
                  <c:v>43480</c:v>
                </c:pt>
                <c:pt idx="2441">
                  <c:v>43481</c:v>
                </c:pt>
                <c:pt idx="2442">
                  <c:v>43482</c:v>
                </c:pt>
                <c:pt idx="2443">
                  <c:v>43483</c:v>
                </c:pt>
                <c:pt idx="2444">
                  <c:v>43486</c:v>
                </c:pt>
                <c:pt idx="2445">
                  <c:v>43487</c:v>
                </c:pt>
                <c:pt idx="2446">
                  <c:v>43488</c:v>
                </c:pt>
                <c:pt idx="2447">
                  <c:v>43489</c:v>
                </c:pt>
                <c:pt idx="2448">
                  <c:v>43490</c:v>
                </c:pt>
                <c:pt idx="2449">
                  <c:v>43493</c:v>
                </c:pt>
                <c:pt idx="2450">
                  <c:v>43494</c:v>
                </c:pt>
                <c:pt idx="2451">
                  <c:v>43495</c:v>
                </c:pt>
                <c:pt idx="2452">
                  <c:v>43496</c:v>
                </c:pt>
                <c:pt idx="2453">
                  <c:v>43497</c:v>
                </c:pt>
                <c:pt idx="2454">
                  <c:v>43507</c:v>
                </c:pt>
                <c:pt idx="2455">
                  <c:v>43508</c:v>
                </c:pt>
                <c:pt idx="2456">
                  <c:v>43509</c:v>
                </c:pt>
                <c:pt idx="2457">
                  <c:v>43510</c:v>
                </c:pt>
                <c:pt idx="2458">
                  <c:v>43511</c:v>
                </c:pt>
                <c:pt idx="2459">
                  <c:v>43514</c:v>
                </c:pt>
                <c:pt idx="2460">
                  <c:v>43515</c:v>
                </c:pt>
                <c:pt idx="2461">
                  <c:v>43516</c:v>
                </c:pt>
                <c:pt idx="2462">
                  <c:v>43517</c:v>
                </c:pt>
                <c:pt idx="2463">
                  <c:v>43518</c:v>
                </c:pt>
                <c:pt idx="2464">
                  <c:v>43521</c:v>
                </c:pt>
                <c:pt idx="2465">
                  <c:v>43522</c:v>
                </c:pt>
                <c:pt idx="2466">
                  <c:v>43523</c:v>
                </c:pt>
                <c:pt idx="2467">
                  <c:v>43524</c:v>
                </c:pt>
                <c:pt idx="2468">
                  <c:v>43525</c:v>
                </c:pt>
                <c:pt idx="2469">
                  <c:v>43528</c:v>
                </c:pt>
                <c:pt idx="2470">
                  <c:v>43529</c:v>
                </c:pt>
                <c:pt idx="2471">
                  <c:v>43530</c:v>
                </c:pt>
                <c:pt idx="2472">
                  <c:v>43531</c:v>
                </c:pt>
                <c:pt idx="2473">
                  <c:v>43532</c:v>
                </c:pt>
                <c:pt idx="2474">
                  <c:v>43535</c:v>
                </c:pt>
                <c:pt idx="2475">
                  <c:v>43536</c:v>
                </c:pt>
                <c:pt idx="2476">
                  <c:v>43537</c:v>
                </c:pt>
                <c:pt idx="2477">
                  <c:v>43538</c:v>
                </c:pt>
                <c:pt idx="2478">
                  <c:v>43539</c:v>
                </c:pt>
                <c:pt idx="2479">
                  <c:v>43542</c:v>
                </c:pt>
                <c:pt idx="2480">
                  <c:v>43543</c:v>
                </c:pt>
                <c:pt idx="2481">
                  <c:v>43544</c:v>
                </c:pt>
                <c:pt idx="2482">
                  <c:v>43545</c:v>
                </c:pt>
                <c:pt idx="2483">
                  <c:v>43546</c:v>
                </c:pt>
                <c:pt idx="2484">
                  <c:v>43549</c:v>
                </c:pt>
                <c:pt idx="2485">
                  <c:v>43550</c:v>
                </c:pt>
                <c:pt idx="2486">
                  <c:v>43551</c:v>
                </c:pt>
                <c:pt idx="2487">
                  <c:v>43552</c:v>
                </c:pt>
                <c:pt idx="2488">
                  <c:v>43553</c:v>
                </c:pt>
                <c:pt idx="2489">
                  <c:v>43556</c:v>
                </c:pt>
                <c:pt idx="2490">
                  <c:v>43557</c:v>
                </c:pt>
                <c:pt idx="2491">
                  <c:v>43558</c:v>
                </c:pt>
                <c:pt idx="2492">
                  <c:v>43559</c:v>
                </c:pt>
                <c:pt idx="2493">
                  <c:v>43563</c:v>
                </c:pt>
                <c:pt idx="2494">
                  <c:v>43564</c:v>
                </c:pt>
                <c:pt idx="2495">
                  <c:v>43565</c:v>
                </c:pt>
                <c:pt idx="2496">
                  <c:v>43566</c:v>
                </c:pt>
                <c:pt idx="2497">
                  <c:v>43567</c:v>
                </c:pt>
                <c:pt idx="2498">
                  <c:v>43570</c:v>
                </c:pt>
                <c:pt idx="2499">
                  <c:v>43571</c:v>
                </c:pt>
                <c:pt idx="2500">
                  <c:v>43572</c:v>
                </c:pt>
                <c:pt idx="2501">
                  <c:v>43573</c:v>
                </c:pt>
                <c:pt idx="2502">
                  <c:v>43574</c:v>
                </c:pt>
                <c:pt idx="2503">
                  <c:v>43577</c:v>
                </c:pt>
                <c:pt idx="2504">
                  <c:v>43578</c:v>
                </c:pt>
                <c:pt idx="2505">
                  <c:v>43579</c:v>
                </c:pt>
                <c:pt idx="2506">
                  <c:v>43580</c:v>
                </c:pt>
                <c:pt idx="2507">
                  <c:v>43581</c:v>
                </c:pt>
                <c:pt idx="2508">
                  <c:v>43584</c:v>
                </c:pt>
                <c:pt idx="2509">
                  <c:v>43585</c:v>
                </c:pt>
                <c:pt idx="2510">
                  <c:v>43591</c:v>
                </c:pt>
                <c:pt idx="2511">
                  <c:v>43592</c:v>
                </c:pt>
                <c:pt idx="2512">
                  <c:v>43593</c:v>
                </c:pt>
                <c:pt idx="2513">
                  <c:v>43594</c:v>
                </c:pt>
                <c:pt idx="2514">
                  <c:v>43595</c:v>
                </c:pt>
                <c:pt idx="2515">
                  <c:v>43598</c:v>
                </c:pt>
                <c:pt idx="2516">
                  <c:v>43599</c:v>
                </c:pt>
                <c:pt idx="2517">
                  <c:v>43600</c:v>
                </c:pt>
                <c:pt idx="2518">
                  <c:v>43601</c:v>
                </c:pt>
                <c:pt idx="2519">
                  <c:v>43602</c:v>
                </c:pt>
                <c:pt idx="2520">
                  <c:v>43605</c:v>
                </c:pt>
                <c:pt idx="2521">
                  <c:v>43606</c:v>
                </c:pt>
                <c:pt idx="2522">
                  <c:v>43607</c:v>
                </c:pt>
                <c:pt idx="2523">
                  <c:v>43608</c:v>
                </c:pt>
                <c:pt idx="2524">
                  <c:v>43609</c:v>
                </c:pt>
                <c:pt idx="2525">
                  <c:v>43612</c:v>
                </c:pt>
                <c:pt idx="2526">
                  <c:v>43613</c:v>
                </c:pt>
                <c:pt idx="2527">
                  <c:v>43614</c:v>
                </c:pt>
                <c:pt idx="2528">
                  <c:v>43615</c:v>
                </c:pt>
                <c:pt idx="2529">
                  <c:v>43616</c:v>
                </c:pt>
                <c:pt idx="2530">
                  <c:v>43619</c:v>
                </c:pt>
                <c:pt idx="2531">
                  <c:v>43620</c:v>
                </c:pt>
                <c:pt idx="2532">
                  <c:v>43621</c:v>
                </c:pt>
                <c:pt idx="2533">
                  <c:v>43622</c:v>
                </c:pt>
                <c:pt idx="2534">
                  <c:v>43626</c:v>
                </c:pt>
                <c:pt idx="2535">
                  <c:v>43627</c:v>
                </c:pt>
                <c:pt idx="2536">
                  <c:v>43628</c:v>
                </c:pt>
                <c:pt idx="2537">
                  <c:v>43629</c:v>
                </c:pt>
                <c:pt idx="2538">
                  <c:v>43630</c:v>
                </c:pt>
                <c:pt idx="2539">
                  <c:v>43633</c:v>
                </c:pt>
                <c:pt idx="2540">
                  <c:v>43634</c:v>
                </c:pt>
                <c:pt idx="2541">
                  <c:v>43635</c:v>
                </c:pt>
                <c:pt idx="2542">
                  <c:v>43636</c:v>
                </c:pt>
                <c:pt idx="2543">
                  <c:v>43637</c:v>
                </c:pt>
                <c:pt idx="2544">
                  <c:v>43640</c:v>
                </c:pt>
                <c:pt idx="2545">
                  <c:v>43641</c:v>
                </c:pt>
                <c:pt idx="2546">
                  <c:v>43642</c:v>
                </c:pt>
                <c:pt idx="2547">
                  <c:v>43643</c:v>
                </c:pt>
                <c:pt idx="2548">
                  <c:v>43644</c:v>
                </c:pt>
                <c:pt idx="2549">
                  <c:v>43647</c:v>
                </c:pt>
                <c:pt idx="2550">
                  <c:v>43648</c:v>
                </c:pt>
                <c:pt idx="2551">
                  <c:v>43649</c:v>
                </c:pt>
                <c:pt idx="2552">
                  <c:v>43650</c:v>
                </c:pt>
                <c:pt idx="2553">
                  <c:v>43651</c:v>
                </c:pt>
                <c:pt idx="2554">
                  <c:v>43654</c:v>
                </c:pt>
                <c:pt idx="2555">
                  <c:v>43655</c:v>
                </c:pt>
                <c:pt idx="2556">
                  <c:v>43656</c:v>
                </c:pt>
                <c:pt idx="2557">
                  <c:v>43657</c:v>
                </c:pt>
                <c:pt idx="2558">
                  <c:v>43658</c:v>
                </c:pt>
                <c:pt idx="2559">
                  <c:v>43661</c:v>
                </c:pt>
                <c:pt idx="2560">
                  <c:v>43662</c:v>
                </c:pt>
                <c:pt idx="2561">
                  <c:v>43663</c:v>
                </c:pt>
                <c:pt idx="2562">
                  <c:v>43664</c:v>
                </c:pt>
                <c:pt idx="2563">
                  <c:v>43665</c:v>
                </c:pt>
                <c:pt idx="2564">
                  <c:v>43668</c:v>
                </c:pt>
                <c:pt idx="2565">
                  <c:v>43669</c:v>
                </c:pt>
                <c:pt idx="2566">
                  <c:v>43670</c:v>
                </c:pt>
                <c:pt idx="2567">
                  <c:v>43671</c:v>
                </c:pt>
                <c:pt idx="2568">
                  <c:v>43672</c:v>
                </c:pt>
                <c:pt idx="2569">
                  <c:v>43675</c:v>
                </c:pt>
                <c:pt idx="2570">
                  <c:v>43676</c:v>
                </c:pt>
                <c:pt idx="2571">
                  <c:v>43677</c:v>
                </c:pt>
                <c:pt idx="2572">
                  <c:v>43678</c:v>
                </c:pt>
                <c:pt idx="2573">
                  <c:v>43679</c:v>
                </c:pt>
                <c:pt idx="2574">
                  <c:v>43682</c:v>
                </c:pt>
                <c:pt idx="2575">
                  <c:v>43683</c:v>
                </c:pt>
                <c:pt idx="2576">
                  <c:v>43684</c:v>
                </c:pt>
                <c:pt idx="2577">
                  <c:v>43685</c:v>
                </c:pt>
                <c:pt idx="2578">
                  <c:v>43686</c:v>
                </c:pt>
                <c:pt idx="2579">
                  <c:v>43689</c:v>
                </c:pt>
                <c:pt idx="2580">
                  <c:v>43690</c:v>
                </c:pt>
                <c:pt idx="2581">
                  <c:v>43691</c:v>
                </c:pt>
                <c:pt idx="2582">
                  <c:v>43692</c:v>
                </c:pt>
                <c:pt idx="2583">
                  <c:v>43693</c:v>
                </c:pt>
                <c:pt idx="2584">
                  <c:v>43696</c:v>
                </c:pt>
                <c:pt idx="2585">
                  <c:v>43697</c:v>
                </c:pt>
                <c:pt idx="2586">
                  <c:v>43698</c:v>
                </c:pt>
                <c:pt idx="2587">
                  <c:v>43699</c:v>
                </c:pt>
                <c:pt idx="2588">
                  <c:v>43700</c:v>
                </c:pt>
                <c:pt idx="2589">
                  <c:v>43703</c:v>
                </c:pt>
                <c:pt idx="2590">
                  <c:v>43704</c:v>
                </c:pt>
                <c:pt idx="2591">
                  <c:v>43705</c:v>
                </c:pt>
                <c:pt idx="2592">
                  <c:v>43706</c:v>
                </c:pt>
                <c:pt idx="2593">
                  <c:v>43707</c:v>
                </c:pt>
                <c:pt idx="2594">
                  <c:v>43710</c:v>
                </c:pt>
                <c:pt idx="2595">
                  <c:v>43711</c:v>
                </c:pt>
                <c:pt idx="2596">
                  <c:v>43712</c:v>
                </c:pt>
                <c:pt idx="2597">
                  <c:v>43713</c:v>
                </c:pt>
                <c:pt idx="2598">
                  <c:v>43714</c:v>
                </c:pt>
                <c:pt idx="2599">
                  <c:v>43717</c:v>
                </c:pt>
                <c:pt idx="2600">
                  <c:v>43718</c:v>
                </c:pt>
                <c:pt idx="2601">
                  <c:v>43719</c:v>
                </c:pt>
                <c:pt idx="2602">
                  <c:v>43720</c:v>
                </c:pt>
                <c:pt idx="2603">
                  <c:v>43724</c:v>
                </c:pt>
                <c:pt idx="2604">
                  <c:v>43725</c:v>
                </c:pt>
                <c:pt idx="2605">
                  <c:v>43726</c:v>
                </c:pt>
                <c:pt idx="2606">
                  <c:v>43727</c:v>
                </c:pt>
                <c:pt idx="2607">
                  <c:v>43728</c:v>
                </c:pt>
                <c:pt idx="2608">
                  <c:v>43731</c:v>
                </c:pt>
                <c:pt idx="2609">
                  <c:v>43732</c:v>
                </c:pt>
                <c:pt idx="2610">
                  <c:v>43733</c:v>
                </c:pt>
                <c:pt idx="2611">
                  <c:v>43734</c:v>
                </c:pt>
                <c:pt idx="2612">
                  <c:v>43735</c:v>
                </c:pt>
                <c:pt idx="2613">
                  <c:v>43738</c:v>
                </c:pt>
                <c:pt idx="2614">
                  <c:v>43746</c:v>
                </c:pt>
                <c:pt idx="2615">
                  <c:v>43747</c:v>
                </c:pt>
                <c:pt idx="2616">
                  <c:v>43748</c:v>
                </c:pt>
                <c:pt idx="2617">
                  <c:v>43749</c:v>
                </c:pt>
                <c:pt idx="2618">
                  <c:v>43752</c:v>
                </c:pt>
                <c:pt idx="2619">
                  <c:v>43753</c:v>
                </c:pt>
                <c:pt idx="2620">
                  <c:v>43754</c:v>
                </c:pt>
                <c:pt idx="2621">
                  <c:v>43755</c:v>
                </c:pt>
                <c:pt idx="2622">
                  <c:v>43756</c:v>
                </c:pt>
                <c:pt idx="2623">
                  <c:v>43759</c:v>
                </c:pt>
                <c:pt idx="2624">
                  <c:v>43760</c:v>
                </c:pt>
                <c:pt idx="2625">
                  <c:v>43761</c:v>
                </c:pt>
                <c:pt idx="2626">
                  <c:v>43762</c:v>
                </c:pt>
                <c:pt idx="2627">
                  <c:v>43763</c:v>
                </c:pt>
                <c:pt idx="2628">
                  <c:v>43766</c:v>
                </c:pt>
                <c:pt idx="2629">
                  <c:v>43767</c:v>
                </c:pt>
                <c:pt idx="2630">
                  <c:v>43768</c:v>
                </c:pt>
                <c:pt idx="2631">
                  <c:v>43769</c:v>
                </c:pt>
                <c:pt idx="2632">
                  <c:v>43770</c:v>
                </c:pt>
                <c:pt idx="2633">
                  <c:v>43773</c:v>
                </c:pt>
                <c:pt idx="2634">
                  <c:v>43774</c:v>
                </c:pt>
                <c:pt idx="2635">
                  <c:v>43775</c:v>
                </c:pt>
                <c:pt idx="2636">
                  <c:v>43776</c:v>
                </c:pt>
                <c:pt idx="2637">
                  <c:v>43777</c:v>
                </c:pt>
                <c:pt idx="2638">
                  <c:v>43780</c:v>
                </c:pt>
                <c:pt idx="2639">
                  <c:v>43781</c:v>
                </c:pt>
                <c:pt idx="2640">
                  <c:v>43782</c:v>
                </c:pt>
                <c:pt idx="2641">
                  <c:v>43783</c:v>
                </c:pt>
                <c:pt idx="2642">
                  <c:v>43784</c:v>
                </c:pt>
                <c:pt idx="2643">
                  <c:v>43787</c:v>
                </c:pt>
                <c:pt idx="2644">
                  <c:v>43788</c:v>
                </c:pt>
                <c:pt idx="2645">
                  <c:v>43789</c:v>
                </c:pt>
                <c:pt idx="2646">
                  <c:v>43790</c:v>
                </c:pt>
                <c:pt idx="2647">
                  <c:v>43791</c:v>
                </c:pt>
                <c:pt idx="2648">
                  <c:v>43794</c:v>
                </c:pt>
                <c:pt idx="2649">
                  <c:v>43795</c:v>
                </c:pt>
                <c:pt idx="2650">
                  <c:v>43796</c:v>
                </c:pt>
                <c:pt idx="2651">
                  <c:v>43797</c:v>
                </c:pt>
                <c:pt idx="2652">
                  <c:v>43798</c:v>
                </c:pt>
                <c:pt idx="2653">
                  <c:v>43801</c:v>
                </c:pt>
                <c:pt idx="2654">
                  <c:v>43802</c:v>
                </c:pt>
                <c:pt idx="2655">
                  <c:v>43803</c:v>
                </c:pt>
                <c:pt idx="2656">
                  <c:v>43804</c:v>
                </c:pt>
                <c:pt idx="2657">
                  <c:v>43805</c:v>
                </c:pt>
                <c:pt idx="2658">
                  <c:v>43808</c:v>
                </c:pt>
                <c:pt idx="2659">
                  <c:v>43809</c:v>
                </c:pt>
                <c:pt idx="2660">
                  <c:v>43810</c:v>
                </c:pt>
                <c:pt idx="2661">
                  <c:v>43811</c:v>
                </c:pt>
                <c:pt idx="2662">
                  <c:v>43812</c:v>
                </c:pt>
                <c:pt idx="2663">
                  <c:v>43815</c:v>
                </c:pt>
                <c:pt idx="2664">
                  <c:v>43816</c:v>
                </c:pt>
                <c:pt idx="2665">
                  <c:v>43817</c:v>
                </c:pt>
                <c:pt idx="2666">
                  <c:v>43818</c:v>
                </c:pt>
                <c:pt idx="2667">
                  <c:v>43819</c:v>
                </c:pt>
                <c:pt idx="2668">
                  <c:v>43822</c:v>
                </c:pt>
                <c:pt idx="2669">
                  <c:v>43823</c:v>
                </c:pt>
                <c:pt idx="2670">
                  <c:v>43824</c:v>
                </c:pt>
                <c:pt idx="2671">
                  <c:v>43825</c:v>
                </c:pt>
                <c:pt idx="2672">
                  <c:v>43826</c:v>
                </c:pt>
                <c:pt idx="2673">
                  <c:v>43829</c:v>
                </c:pt>
                <c:pt idx="2674">
                  <c:v>43830</c:v>
                </c:pt>
                <c:pt idx="2675">
                  <c:v>43832</c:v>
                </c:pt>
                <c:pt idx="2676">
                  <c:v>43833</c:v>
                </c:pt>
                <c:pt idx="2677">
                  <c:v>43836</c:v>
                </c:pt>
                <c:pt idx="2678">
                  <c:v>43837</c:v>
                </c:pt>
                <c:pt idx="2679">
                  <c:v>43838</c:v>
                </c:pt>
                <c:pt idx="2680">
                  <c:v>43839</c:v>
                </c:pt>
                <c:pt idx="2681">
                  <c:v>43840</c:v>
                </c:pt>
                <c:pt idx="2682">
                  <c:v>43843</c:v>
                </c:pt>
                <c:pt idx="2683">
                  <c:v>43844</c:v>
                </c:pt>
                <c:pt idx="2684">
                  <c:v>43845</c:v>
                </c:pt>
                <c:pt idx="2685">
                  <c:v>43846</c:v>
                </c:pt>
                <c:pt idx="2686">
                  <c:v>43847</c:v>
                </c:pt>
                <c:pt idx="2687">
                  <c:v>43850</c:v>
                </c:pt>
                <c:pt idx="2688">
                  <c:v>43851</c:v>
                </c:pt>
                <c:pt idx="2689">
                  <c:v>43852</c:v>
                </c:pt>
                <c:pt idx="2690">
                  <c:v>43853</c:v>
                </c:pt>
                <c:pt idx="2691">
                  <c:v>43864</c:v>
                </c:pt>
                <c:pt idx="2692">
                  <c:v>43865</c:v>
                </c:pt>
                <c:pt idx="2693">
                  <c:v>43866</c:v>
                </c:pt>
                <c:pt idx="2694">
                  <c:v>43867</c:v>
                </c:pt>
                <c:pt idx="2695">
                  <c:v>43868</c:v>
                </c:pt>
                <c:pt idx="2696">
                  <c:v>43871</c:v>
                </c:pt>
                <c:pt idx="2697">
                  <c:v>43872</c:v>
                </c:pt>
                <c:pt idx="2698">
                  <c:v>43873</c:v>
                </c:pt>
                <c:pt idx="2699">
                  <c:v>43874</c:v>
                </c:pt>
                <c:pt idx="2700">
                  <c:v>43875</c:v>
                </c:pt>
                <c:pt idx="2701">
                  <c:v>43878</c:v>
                </c:pt>
                <c:pt idx="2702">
                  <c:v>43879</c:v>
                </c:pt>
                <c:pt idx="2703">
                  <c:v>43880</c:v>
                </c:pt>
                <c:pt idx="2704">
                  <c:v>43881</c:v>
                </c:pt>
                <c:pt idx="2705">
                  <c:v>43882</c:v>
                </c:pt>
                <c:pt idx="2706">
                  <c:v>43885</c:v>
                </c:pt>
                <c:pt idx="2707">
                  <c:v>43886</c:v>
                </c:pt>
                <c:pt idx="2708">
                  <c:v>43887</c:v>
                </c:pt>
                <c:pt idx="2709">
                  <c:v>43888</c:v>
                </c:pt>
                <c:pt idx="2710">
                  <c:v>43889</c:v>
                </c:pt>
                <c:pt idx="2711">
                  <c:v>43892</c:v>
                </c:pt>
                <c:pt idx="2712">
                  <c:v>43893</c:v>
                </c:pt>
                <c:pt idx="2713">
                  <c:v>43894</c:v>
                </c:pt>
                <c:pt idx="2714">
                  <c:v>43895</c:v>
                </c:pt>
                <c:pt idx="2715">
                  <c:v>43896</c:v>
                </c:pt>
                <c:pt idx="2716">
                  <c:v>43899</c:v>
                </c:pt>
                <c:pt idx="2717">
                  <c:v>43900</c:v>
                </c:pt>
                <c:pt idx="2718">
                  <c:v>43901</c:v>
                </c:pt>
                <c:pt idx="2719">
                  <c:v>43902</c:v>
                </c:pt>
                <c:pt idx="2720">
                  <c:v>43903</c:v>
                </c:pt>
                <c:pt idx="2721">
                  <c:v>43906</c:v>
                </c:pt>
                <c:pt idx="2722">
                  <c:v>43907</c:v>
                </c:pt>
                <c:pt idx="2723">
                  <c:v>43908</c:v>
                </c:pt>
                <c:pt idx="2724">
                  <c:v>43909</c:v>
                </c:pt>
                <c:pt idx="2725">
                  <c:v>43910</c:v>
                </c:pt>
                <c:pt idx="2726">
                  <c:v>43913</c:v>
                </c:pt>
                <c:pt idx="2727">
                  <c:v>43914</c:v>
                </c:pt>
                <c:pt idx="2728">
                  <c:v>43915</c:v>
                </c:pt>
                <c:pt idx="2729">
                  <c:v>43916</c:v>
                </c:pt>
                <c:pt idx="2730">
                  <c:v>43917</c:v>
                </c:pt>
                <c:pt idx="2731">
                  <c:v>43920</c:v>
                </c:pt>
                <c:pt idx="2732">
                  <c:v>43921</c:v>
                </c:pt>
                <c:pt idx="2733">
                  <c:v>43922</c:v>
                </c:pt>
                <c:pt idx="2734">
                  <c:v>43923</c:v>
                </c:pt>
                <c:pt idx="2735">
                  <c:v>43924</c:v>
                </c:pt>
                <c:pt idx="2736">
                  <c:v>43928</c:v>
                </c:pt>
                <c:pt idx="2737">
                  <c:v>43929</c:v>
                </c:pt>
                <c:pt idx="2738">
                  <c:v>43930</c:v>
                </c:pt>
                <c:pt idx="2739">
                  <c:v>43931</c:v>
                </c:pt>
                <c:pt idx="2740">
                  <c:v>43934</c:v>
                </c:pt>
                <c:pt idx="2741">
                  <c:v>43935</c:v>
                </c:pt>
                <c:pt idx="2742">
                  <c:v>43936</c:v>
                </c:pt>
                <c:pt idx="2743">
                  <c:v>43937</c:v>
                </c:pt>
                <c:pt idx="2744">
                  <c:v>43938</c:v>
                </c:pt>
                <c:pt idx="2745">
                  <c:v>43941</c:v>
                </c:pt>
                <c:pt idx="2746">
                  <c:v>43942</c:v>
                </c:pt>
                <c:pt idx="2747">
                  <c:v>43943</c:v>
                </c:pt>
                <c:pt idx="2748">
                  <c:v>43944</c:v>
                </c:pt>
                <c:pt idx="2749">
                  <c:v>43945</c:v>
                </c:pt>
                <c:pt idx="2750">
                  <c:v>43948</c:v>
                </c:pt>
                <c:pt idx="2751">
                  <c:v>43949</c:v>
                </c:pt>
                <c:pt idx="2752">
                  <c:v>43950</c:v>
                </c:pt>
                <c:pt idx="2753">
                  <c:v>43951</c:v>
                </c:pt>
                <c:pt idx="2754">
                  <c:v>43957</c:v>
                </c:pt>
                <c:pt idx="2755">
                  <c:v>43958</c:v>
                </c:pt>
                <c:pt idx="2756">
                  <c:v>43959</c:v>
                </c:pt>
                <c:pt idx="2757">
                  <c:v>43962</c:v>
                </c:pt>
                <c:pt idx="2758">
                  <c:v>43963</c:v>
                </c:pt>
                <c:pt idx="2759">
                  <c:v>43964</c:v>
                </c:pt>
                <c:pt idx="2760">
                  <c:v>43965</c:v>
                </c:pt>
                <c:pt idx="2761">
                  <c:v>43966</c:v>
                </c:pt>
                <c:pt idx="2762">
                  <c:v>43969</c:v>
                </c:pt>
                <c:pt idx="2763">
                  <c:v>43970</c:v>
                </c:pt>
                <c:pt idx="2764">
                  <c:v>43971</c:v>
                </c:pt>
                <c:pt idx="2765">
                  <c:v>43972</c:v>
                </c:pt>
                <c:pt idx="2766">
                  <c:v>43973</c:v>
                </c:pt>
                <c:pt idx="2767">
                  <c:v>43976</c:v>
                </c:pt>
                <c:pt idx="2768">
                  <c:v>43977</c:v>
                </c:pt>
                <c:pt idx="2769">
                  <c:v>43978</c:v>
                </c:pt>
                <c:pt idx="2770">
                  <c:v>43979</c:v>
                </c:pt>
                <c:pt idx="2771">
                  <c:v>43980</c:v>
                </c:pt>
                <c:pt idx="2772">
                  <c:v>43983</c:v>
                </c:pt>
                <c:pt idx="2773">
                  <c:v>43984</c:v>
                </c:pt>
                <c:pt idx="2774">
                  <c:v>43985</c:v>
                </c:pt>
                <c:pt idx="2775">
                  <c:v>43986</c:v>
                </c:pt>
                <c:pt idx="2776">
                  <c:v>43987</c:v>
                </c:pt>
                <c:pt idx="2777">
                  <c:v>43990</c:v>
                </c:pt>
                <c:pt idx="2778">
                  <c:v>43991</c:v>
                </c:pt>
                <c:pt idx="2779">
                  <c:v>43992</c:v>
                </c:pt>
                <c:pt idx="2780">
                  <c:v>43993</c:v>
                </c:pt>
                <c:pt idx="2781">
                  <c:v>43994</c:v>
                </c:pt>
                <c:pt idx="2782">
                  <c:v>43997</c:v>
                </c:pt>
                <c:pt idx="2783">
                  <c:v>43998</c:v>
                </c:pt>
                <c:pt idx="2784">
                  <c:v>43999</c:v>
                </c:pt>
                <c:pt idx="2785">
                  <c:v>44000</c:v>
                </c:pt>
                <c:pt idx="2786">
                  <c:v>44001</c:v>
                </c:pt>
                <c:pt idx="2787">
                  <c:v>44004</c:v>
                </c:pt>
                <c:pt idx="2788">
                  <c:v>44005</c:v>
                </c:pt>
                <c:pt idx="2789">
                  <c:v>44006</c:v>
                </c:pt>
                <c:pt idx="2790">
                  <c:v>44011</c:v>
                </c:pt>
                <c:pt idx="2791">
                  <c:v>44012</c:v>
                </c:pt>
                <c:pt idx="2792">
                  <c:v>44013</c:v>
                </c:pt>
                <c:pt idx="2793">
                  <c:v>44014</c:v>
                </c:pt>
                <c:pt idx="2794">
                  <c:v>44015</c:v>
                </c:pt>
                <c:pt idx="2795">
                  <c:v>44018</c:v>
                </c:pt>
                <c:pt idx="2796">
                  <c:v>44019</c:v>
                </c:pt>
                <c:pt idx="2797">
                  <c:v>44020</c:v>
                </c:pt>
                <c:pt idx="2798">
                  <c:v>44021</c:v>
                </c:pt>
                <c:pt idx="2799">
                  <c:v>44022</c:v>
                </c:pt>
                <c:pt idx="2800">
                  <c:v>44025</c:v>
                </c:pt>
                <c:pt idx="2801">
                  <c:v>44026</c:v>
                </c:pt>
                <c:pt idx="2802">
                  <c:v>44027</c:v>
                </c:pt>
                <c:pt idx="2803">
                  <c:v>44028</c:v>
                </c:pt>
                <c:pt idx="2804">
                  <c:v>44029</c:v>
                </c:pt>
                <c:pt idx="2805">
                  <c:v>44032</c:v>
                </c:pt>
                <c:pt idx="2806">
                  <c:v>44033</c:v>
                </c:pt>
                <c:pt idx="2807">
                  <c:v>44034</c:v>
                </c:pt>
                <c:pt idx="2808">
                  <c:v>44035</c:v>
                </c:pt>
                <c:pt idx="2809">
                  <c:v>44036</c:v>
                </c:pt>
                <c:pt idx="2810">
                  <c:v>44039</c:v>
                </c:pt>
                <c:pt idx="2811">
                  <c:v>44040</c:v>
                </c:pt>
                <c:pt idx="2812">
                  <c:v>44041</c:v>
                </c:pt>
                <c:pt idx="2813">
                  <c:v>44042</c:v>
                </c:pt>
                <c:pt idx="2814">
                  <c:v>44043</c:v>
                </c:pt>
                <c:pt idx="2815">
                  <c:v>44046</c:v>
                </c:pt>
                <c:pt idx="2816">
                  <c:v>44047</c:v>
                </c:pt>
                <c:pt idx="2817">
                  <c:v>44048</c:v>
                </c:pt>
                <c:pt idx="2818">
                  <c:v>44049</c:v>
                </c:pt>
                <c:pt idx="2819">
                  <c:v>44050</c:v>
                </c:pt>
                <c:pt idx="2820">
                  <c:v>44053</c:v>
                </c:pt>
                <c:pt idx="2821">
                  <c:v>44054</c:v>
                </c:pt>
                <c:pt idx="2822">
                  <c:v>44055</c:v>
                </c:pt>
                <c:pt idx="2823">
                  <c:v>44056</c:v>
                </c:pt>
                <c:pt idx="2824">
                  <c:v>44057</c:v>
                </c:pt>
                <c:pt idx="2825">
                  <c:v>44060</c:v>
                </c:pt>
                <c:pt idx="2826">
                  <c:v>44061</c:v>
                </c:pt>
                <c:pt idx="2827">
                  <c:v>44062</c:v>
                </c:pt>
                <c:pt idx="2828">
                  <c:v>44063</c:v>
                </c:pt>
                <c:pt idx="2829">
                  <c:v>44064</c:v>
                </c:pt>
                <c:pt idx="2830">
                  <c:v>44067</c:v>
                </c:pt>
                <c:pt idx="2831">
                  <c:v>44068</c:v>
                </c:pt>
                <c:pt idx="2832">
                  <c:v>44069</c:v>
                </c:pt>
                <c:pt idx="2833">
                  <c:v>44070</c:v>
                </c:pt>
                <c:pt idx="2834">
                  <c:v>44071</c:v>
                </c:pt>
                <c:pt idx="2835">
                  <c:v>44074</c:v>
                </c:pt>
                <c:pt idx="2836">
                  <c:v>44075</c:v>
                </c:pt>
                <c:pt idx="2837">
                  <c:v>44076</c:v>
                </c:pt>
                <c:pt idx="2838">
                  <c:v>44077</c:v>
                </c:pt>
                <c:pt idx="2839">
                  <c:v>44078</c:v>
                </c:pt>
                <c:pt idx="2840">
                  <c:v>44081</c:v>
                </c:pt>
                <c:pt idx="2841">
                  <c:v>44082</c:v>
                </c:pt>
                <c:pt idx="2842">
                  <c:v>44083</c:v>
                </c:pt>
                <c:pt idx="2843">
                  <c:v>44084</c:v>
                </c:pt>
                <c:pt idx="2844">
                  <c:v>44085</c:v>
                </c:pt>
                <c:pt idx="2845">
                  <c:v>44088</c:v>
                </c:pt>
                <c:pt idx="2846">
                  <c:v>44089</c:v>
                </c:pt>
                <c:pt idx="2847">
                  <c:v>44090</c:v>
                </c:pt>
                <c:pt idx="2848">
                  <c:v>44091</c:v>
                </c:pt>
                <c:pt idx="2849">
                  <c:v>44092</c:v>
                </c:pt>
                <c:pt idx="2850">
                  <c:v>44095</c:v>
                </c:pt>
                <c:pt idx="2851">
                  <c:v>44096</c:v>
                </c:pt>
                <c:pt idx="2852">
                  <c:v>44097</c:v>
                </c:pt>
                <c:pt idx="2853">
                  <c:v>44098</c:v>
                </c:pt>
                <c:pt idx="2854">
                  <c:v>44099</c:v>
                </c:pt>
                <c:pt idx="2855">
                  <c:v>44102</c:v>
                </c:pt>
                <c:pt idx="2856">
                  <c:v>44103</c:v>
                </c:pt>
                <c:pt idx="2857">
                  <c:v>44104</c:v>
                </c:pt>
                <c:pt idx="2858">
                  <c:v>44113</c:v>
                </c:pt>
                <c:pt idx="2859">
                  <c:v>44116</c:v>
                </c:pt>
                <c:pt idx="2860">
                  <c:v>44117</c:v>
                </c:pt>
                <c:pt idx="2861">
                  <c:v>44118</c:v>
                </c:pt>
                <c:pt idx="2862">
                  <c:v>44119</c:v>
                </c:pt>
                <c:pt idx="2863">
                  <c:v>44120</c:v>
                </c:pt>
                <c:pt idx="2864">
                  <c:v>44123</c:v>
                </c:pt>
                <c:pt idx="2865">
                  <c:v>44124</c:v>
                </c:pt>
                <c:pt idx="2866">
                  <c:v>44125</c:v>
                </c:pt>
                <c:pt idx="2867">
                  <c:v>44126</c:v>
                </c:pt>
                <c:pt idx="2868">
                  <c:v>44127</c:v>
                </c:pt>
                <c:pt idx="2869">
                  <c:v>44130</c:v>
                </c:pt>
                <c:pt idx="2870">
                  <c:v>44131</c:v>
                </c:pt>
                <c:pt idx="2871">
                  <c:v>44132</c:v>
                </c:pt>
                <c:pt idx="2872">
                  <c:v>44133</c:v>
                </c:pt>
                <c:pt idx="2873">
                  <c:v>44134</c:v>
                </c:pt>
                <c:pt idx="2874">
                  <c:v>44137</c:v>
                </c:pt>
                <c:pt idx="2875">
                  <c:v>44138</c:v>
                </c:pt>
                <c:pt idx="2876">
                  <c:v>44139</c:v>
                </c:pt>
                <c:pt idx="2877">
                  <c:v>44140</c:v>
                </c:pt>
                <c:pt idx="2878">
                  <c:v>44141</c:v>
                </c:pt>
                <c:pt idx="2879">
                  <c:v>44144</c:v>
                </c:pt>
                <c:pt idx="2880">
                  <c:v>44145</c:v>
                </c:pt>
                <c:pt idx="2881">
                  <c:v>44146</c:v>
                </c:pt>
                <c:pt idx="2882">
                  <c:v>44147</c:v>
                </c:pt>
                <c:pt idx="2883">
                  <c:v>44148</c:v>
                </c:pt>
                <c:pt idx="2884">
                  <c:v>44151</c:v>
                </c:pt>
                <c:pt idx="2885">
                  <c:v>44152</c:v>
                </c:pt>
                <c:pt idx="2886">
                  <c:v>44153</c:v>
                </c:pt>
                <c:pt idx="2887">
                  <c:v>44154</c:v>
                </c:pt>
                <c:pt idx="2888">
                  <c:v>44155</c:v>
                </c:pt>
                <c:pt idx="2889">
                  <c:v>44158</c:v>
                </c:pt>
                <c:pt idx="2890">
                  <c:v>44159</c:v>
                </c:pt>
                <c:pt idx="2891">
                  <c:v>44160</c:v>
                </c:pt>
                <c:pt idx="2892">
                  <c:v>44161</c:v>
                </c:pt>
                <c:pt idx="2893">
                  <c:v>44162</c:v>
                </c:pt>
                <c:pt idx="2894">
                  <c:v>44165</c:v>
                </c:pt>
                <c:pt idx="2895">
                  <c:v>44166</c:v>
                </c:pt>
                <c:pt idx="2896">
                  <c:v>44167</c:v>
                </c:pt>
                <c:pt idx="2897">
                  <c:v>44168</c:v>
                </c:pt>
                <c:pt idx="2898">
                  <c:v>44169</c:v>
                </c:pt>
                <c:pt idx="2899">
                  <c:v>44172</c:v>
                </c:pt>
                <c:pt idx="2900">
                  <c:v>44173</c:v>
                </c:pt>
                <c:pt idx="2901">
                  <c:v>44174</c:v>
                </c:pt>
                <c:pt idx="2902">
                  <c:v>44175</c:v>
                </c:pt>
                <c:pt idx="2903">
                  <c:v>44176</c:v>
                </c:pt>
                <c:pt idx="2904">
                  <c:v>44179</c:v>
                </c:pt>
                <c:pt idx="2905">
                  <c:v>44180</c:v>
                </c:pt>
                <c:pt idx="2906">
                  <c:v>44181</c:v>
                </c:pt>
                <c:pt idx="2907">
                  <c:v>44182</c:v>
                </c:pt>
                <c:pt idx="2908">
                  <c:v>44183</c:v>
                </c:pt>
                <c:pt idx="2909">
                  <c:v>44186</c:v>
                </c:pt>
                <c:pt idx="2910">
                  <c:v>44187</c:v>
                </c:pt>
                <c:pt idx="2911">
                  <c:v>44188</c:v>
                </c:pt>
                <c:pt idx="2912">
                  <c:v>44189</c:v>
                </c:pt>
                <c:pt idx="2913">
                  <c:v>44190</c:v>
                </c:pt>
                <c:pt idx="2914">
                  <c:v>44193</c:v>
                </c:pt>
                <c:pt idx="2915">
                  <c:v>44194</c:v>
                </c:pt>
                <c:pt idx="2916">
                  <c:v>44195</c:v>
                </c:pt>
                <c:pt idx="2917">
                  <c:v>44196</c:v>
                </c:pt>
                <c:pt idx="2918">
                  <c:v>44200</c:v>
                </c:pt>
                <c:pt idx="2919">
                  <c:v>44201</c:v>
                </c:pt>
                <c:pt idx="2920">
                  <c:v>44202</c:v>
                </c:pt>
                <c:pt idx="2921">
                  <c:v>44203</c:v>
                </c:pt>
                <c:pt idx="2922">
                  <c:v>44204</c:v>
                </c:pt>
                <c:pt idx="2923">
                  <c:v>44207</c:v>
                </c:pt>
                <c:pt idx="2924">
                  <c:v>44208</c:v>
                </c:pt>
                <c:pt idx="2925">
                  <c:v>44209</c:v>
                </c:pt>
                <c:pt idx="2926">
                  <c:v>44210</c:v>
                </c:pt>
                <c:pt idx="2927">
                  <c:v>44211</c:v>
                </c:pt>
                <c:pt idx="2928">
                  <c:v>44214</c:v>
                </c:pt>
                <c:pt idx="2929">
                  <c:v>44215</c:v>
                </c:pt>
                <c:pt idx="2930">
                  <c:v>44216</c:v>
                </c:pt>
                <c:pt idx="2931">
                  <c:v>44217</c:v>
                </c:pt>
                <c:pt idx="2932">
                  <c:v>44218</c:v>
                </c:pt>
                <c:pt idx="2933">
                  <c:v>44221</c:v>
                </c:pt>
                <c:pt idx="2934">
                  <c:v>44222</c:v>
                </c:pt>
                <c:pt idx="2935">
                  <c:v>44223</c:v>
                </c:pt>
                <c:pt idx="2936">
                  <c:v>44224</c:v>
                </c:pt>
                <c:pt idx="2937">
                  <c:v>44225</c:v>
                </c:pt>
                <c:pt idx="2938">
                  <c:v>44228</c:v>
                </c:pt>
                <c:pt idx="2939">
                  <c:v>44229</c:v>
                </c:pt>
                <c:pt idx="2940">
                  <c:v>44230</c:v>
                </c:pt>
                <c:pt idx="2941">
                  <c:v>44231</c:v>
                </c:pt>
                <c:pt idx="2942">
                  <c:v>44232</c:v>
                </c:pt>
                <c:pt idx="2943">
                  <c:v>44235</c:v>
                </c:pt>
                <c:pt idx="2944">
                  <c:v>44236</c:v>
                </c:pt>
                <c:pt idx="2945">
                  <c:v>44237</c:v>
                </c:pt>
                <c:pt idx="2946">
                  <c:v>44245</c:v>
                </c:pt>
                <c:pt idx="2947">
                  <c:v>44246</c:v>
                </c:pt>
                <c:pt idx="2948">
                  <c:v>44249</c:v>
                </c:pt>
                <c:pt idx="2949">
                  <c:v>44250</c:v>
                </c:pt>
                <c:pt idx="2950">
                  <c:v>44251</c:v>
                </c:pt>
                <c:pt idx="2951">
                  <c:v>44252</c:v>
                </c:pt>
                <c:pt idx="2952">
                  <c:v>44253</c:v>
                </c:pt>
                <c:pt idx="2953">
                  <c:v>44256</c:v>
                </c:pt>
                <c:pt idx="2954">
                  <c:v>44257</c:v>
                </c:pt>
                <c:pt idx="2955">
                  <c:v>44258</c:v>
                </c:pt>
                <c:pt idx="2956">
                  <c:v>44259</c:v>
                </c:pt>
                <c:pt idx="2957">
                  <c:v>44260</c:v>
                </c:pt>
                <c:pt idx="2958">
                  <c:v>44263</c:v>
                </c:pt>
                <c:pt idx="2959">
                  <c:v>44264</c:v>
                </c:pt>
                <c:pt idx="2960">
                  <c:v>44265</c:v>
                </c:pt>
                <c:pt idx="2961">
                  <c:v>44266</c:v>
                </c:pt>
                <c:pt idx="2962">
                  <c:v>44267</c:v>
                </c:pt>
                <c:pt idx="2963">
                  <c:v>44270</c:v>
                </c:pt>
                <c:pt idx="2964">
                  <c:v>44271</c:v>
                </c:pt>
                <c:pt idx="2965">
                  <c:v>44272</c:v>
                </c:pt>
                <c:pt idx="2966">
                  <c:v>44273</c:v>
                </c:pt>
                <c:pt idx="2967">
                  <c:v>44274</c:v>
                </c:pt>
                <c:pt idx="2968">
                  <c:v>44277</c:v>
                </c:pt>
                <c:pt idx="2969">
                  <c:v>44278</c:v>
                </c:pt>
                <c:pt idx="2970">
                  <c:v>44279</c:v>
                </c:pt>
                <c:pt idx="2971">
                  <c:v>44280</c:v>
                </c:pt>
                <c:pt idx="2972">
                  <c:v>44281</c:v>
                </c:pt>
                <c:pt idx="2973">
                  <c:v>44284</c:v>
                </c:pt>
                <c:pt idx="2974">
                  <c:v>44285</c:v>
                </c:pt>
                <c:pt idx="2975">
                  <c:v>44286</c:v>
                </c:pt>
                <c:pt idx="2976">
                  <c:v>44287</c:v>
                </c:pt>
                <c:pt idx="2977">
                  <c:v>44288</c:v>
                </c:pt>
                <c:pt idx="2978">
                  <c:v>44292</c:v>
                </c:pt>
                <c:pt idx="2979">
                  <c:v>44293</c:v>
                </c:pt>
                <c:pt idx="2980">
                  <c:v>44294</c:v>
                </c:pt>
                <c:pt idx="2981">
                  <c:v>44295</c:v>
                </c:pt>
                <c:pt idx="2982">
                  <c:v>44298</c:v>
                </c:pt>
                <c:pt idx="2983">
                  <c:v>44299</c:v>
                </c:pt>
                <c:pt idx="2984">
                  <c:v>44300</c:v>
                </c:pt>
                <c:pt idx="2985">
                  <c:v>44301</c:v>
                </c:pt>
                <c:pt idx="2986">
                  <c:v>44302</c:v>
                </c:pt>
                <c:pt idx="2987">
                  <c:v>44305</c:v>
                </c:pt>
                <c:pt idx="2988">
                  <c:v>44306</c:v>
                </c:pt>
                <c:pt idx="2989">
                  <c:v>44307</c:v>
                </c:pt>
                <c:pt idx="2990">
                  <c:v>44308</c:v>
                </c:pt>
                <c:pt idx="2991">
                  <c:v>44309</c:v>
                </c:pt>
                <c:pt idx="2992">
                  <c:v>44312</c:v>
                </c:pt>
                <c:pt idx="2993">
                  <c:v>44313</c:v>
                </c:pt>
                <c:pt idx="2994">
                  <c:v>44314</c:v>
                </c:pt>
                <c:pt idx="2995">
                  <c:v>44315</c:v>
                </c:pt>
                <c:pt idx="2996">
                  <c:v>44316</c:v>
                </c:pt>
                <c:pt idx="2997">
                  <c:v>44322</c:v>
                </c:pt>
                <c:pt idx="2998">
                  <c:v>44323</c:v>
                </c:pt>
                <c:pt idx="2999">
                  <c:v>44326</c:v>
                </c:pt>
                <c:pt idx="3000">
                  <c:v>44327</c:v>
                </c:pt>
                <c:pt idx="3001">
                  <c:v>44328</c:v>
                </c:pt>
                <c:pt idx="3002">
                  <c:v>44329</c:v>
                </c:pt>
                <c:pt idx="3003">
                  <c:v>44330</c:v>
                </c:pt>
                <c:pt idx="3004">
                  <c:v>44333</c:v>
                </c:pt>
                <c:pt idx="3005">
                  <c:v>44334</c:v>
                </c:pt>
                <c:pt idx="3006">
                  <c:v>44335</c:v>
                </c:pt>
                <c:pt idx="3007">
                  <c:v>44336</c:v>
                </c:pt>
                <c:pt idx="3008">
                  <c:v>44337</c:v>
                </c:pt>
                <c:pt idx="3009">
                  <c:v>44340</c:v>
                </c:pt>
                <c:pt idx="3010">
                  <c:v>44341</c:v>
                </c:pt>
                <c:pt idx="3011">
                  <c:v>44342</c:v>
                </c:pt>
                <c:pt idx="3012">
                  <c:v>44343</c:v>
                </c:pt>
                <c:pt idx="3013">
                  <c:v>44344</c:v>
                </c:pt>
                <c:pt idx="3014">
                  <c:v>44347</c:v>
                </c:pt>
                <c:pt idx="3015">
                  <c:v>44348</c:v>
                </c:pt>
                <c:pt idx="3016">
                  <c:v>44349</c:v>
                </c:pt>
                <c:pt idx="3017">
                  <c:v>44350</c:v>
                </c:pt>
                <c:pt idx="3018">
                  <c:v>44351</c:v>
                </c:pt>
                <c:pt idx="3019">
                  <c:v>44354</c:v>
                </c:pt>
                <c:pt idx="3020">
                  <c:v>44355</c:v>
                </c:pt>
                <c:pt idx="3021">
                  <c:v>44356</c:v>
                </c:pt>
                <c:pt idx="3022">
                  <c:v>44357</c:v>
                </c:pt>
                <c:pt idx="3023">
                  <c:v>44358</c:v>
                </c:pt>
                <c:pt idx="3024">
                  <c:v>44362</c:v>
                </c:pt>
                <c:pt idx="3025">
                  <c:v>44363</c:v>
                </c:pt>
                <c:pt idx="3026">
                  <c:v>44364</c:v>
                </c:pt>
                <c:pt idx="3027">
                  <c:v>44365</c:v>
                </c:pt>
                <c:pt idx="3028">
                  <c:v>44368</c:v>
                </c:pt>
                <c:pt idx="3029">
                  <c:v>44369</c:v>
                </c:pt>
                <c:pt idx="3030">
                  <c:v>44370</c:v>
                </c:pt>
                <c:pt idx="3031">
                  <c:v>44371</c:v>
                </c:pt>
                <c:pt idx="3032">
                  <c:v>44372</c:v>
                </c:pt>
                <c:pt idx="3033">
                  <c:v>44375</c:v>
                </c:pt>
                <c:pt idx="3034">
                  <c:v>44376</c:v>
                </c:pt>
                <c:pt idx="3035">
                  <c:v>44377</c:v>
                </c:pt>
                <c:pt idx="3036">
                  <c:v>44378</c:v>
                </c:pt>
                <c:pt idx="3037">
                  <c:v>44379</c:v>
                </c:pt>
                <c:pt idx="3038">
                  <c:v>44382</c:v>
                </c:pt>
                <c:pt idx="3039">
                  <c:v>44383</c:v>
                </c:pt>
                <c:pt idx="3040">
                  <c:v>44384</c:v>
                </c:pt>
                <c:pt idx="3041">
                  <c:v>44385</c:v>
                </c:pt>
                <c:pt idx="3042">
                  <c:v>44386</c:v>
                </c:pt>
                <c:pt idx="3043">
                  <c:v>44389</c:v>
                </c:pt>
                <c:pt idx="3044">
                  <c:v>44390</c:v>
                </c:pt>
                <c:pt idx="3045">
                  <c:v>44391</c:v>
                </c:pt>
                <c:pt idx="3046">
                  <c:v>44392</c:v>
                </c:pt>
                <c:pt idx="3047">
                  <c:v>44393</c:v>
                </c:pt>
                <c:pt idx="3048">
                  <c:v>44396</c:v>
                </c:pt>
                <c:pt idx="3049">
                  <c:v>44397</c:v>
                </c:pt>
                <c:pt idx="3050">
                  <c:v>44398</c:v>
                </c:pt>
                <c:pt idx="3051">
                  <c:v>44399</c:v>
                </c:pt>
                <c:pt idx="3052">
                  <c:v>44400</c:v>
                </c:pt>
                <c:pt idx="3053">
                  <c:v>44403</c:v>
                </c:pt>
                <c:pt idx="3054">
                  <c:v>44404</c:v>
                </c:pt>
                <c:pt idx="3055">
                  <c:v>44405</c:v>
                </c:pt>
                <c:pt idx="3056">
                  <c:v>44406</c:v>
                </c:pt>
                <c:pt idx="3057">
                  <c:v>44407</c:v>
                </c:pt>
                <c:pt idx="3058">
                  <c:v>44410</c:v>
                </c:pt>
                <c:pt idx="3059">
                  <c:v>44411</c:v>
                </c:pt>
                <c:pt idx="3060">
                  <c:v>44412</c:v>
                </c:pt>
                <c:pt idx="3061">
                  <c:v>44413</c:v>
                </c:pt>
                <c:pt idx="3062">
                  <c:v>44414</c:v>
                </c:pt>
                <c:pt idx="3063">
                  <c:v>44417</c:v>
                </c:pt>
                <c:pt idx="3064">
                  <c:v>44418</c:v>
                </c:pt>
                <c:pt idx="3065">
                  <c:v>44419</c:v>
                </c:pt>
                <c:pt idx="3066">
                  <c:v>44420</c:v>
                </c:pt>
                <c:pt idx="3067">
                  <c:v>44421</c:v>
                </c:pt>
                <c:pt idx="3068">
                  <c:v>44424</c:v>
                </c:pt>
                <c:pt idx="3069">
                  <c:v>44425</c:v>
                </c:pt>
                <c:pt idx="3070">
                  <c:v>44426</c:v>
                </c:pt>
                <c:pt idx="3071">
                  <c:v>44427</c:v>
                </c:pt>
                <c:pt idx="3072">
                  <c:v>44428</c:v>
                </c:pt>
                <c:pt idx="3073">
                  <c:v>44431</c:v>
                </c:pt>
                <c:pt idx="3074">
                  <c:v>44432</c:v>
                </c:pt>
                <c:pt idx="3075">
                  <c:v>44433</c:v>
                </c:pt>
                <c:pt idx="3076">
                  <c:v>44434</c:v>
                </c:pt>
                <c:pt idx="3077">
                  <c:v>44435</c:v>
                </c:pt>
                <c:pt idx="3078">
                  <c:v>44438</c:v>
                </c:pt>
                <c:pt idx="3079">
                  <c:v>44439</c:v>
                </c:pt>
                <c:pt idx="3080">
                  <c:v>44440</c:v>
                </c:pt>
                <c:pt idx="3081">
                  <c:v>44441</c:v>
                </c:pt>
                <c:pt idx="3082">
                  <c:v>44442</c:v>
                </c:pt>
                <c:pt idx="3083">
                  <c:v>44445</c:v>
                </c:pt>
                <c:pt idx="3084">
                  <c:v>44446</c:v>
                </c:pt>
                <c:pt idx="3085">
                  <c:v>44447</c:v>
                </c:pt>
                <c:pt idx="3086">
                  <c:v>44448</c:v>
                </c:pt>
                <c:pt idx="3087">
                  <c:v>44449</c:v>
                </c:pt>
                <c:pt idx="3088">
                  <c:v>44452</c:v>
                </c:pt>
                <c:pt idx="3089">
                  <c:v>44453</c:v>
                </c:pt>
                <c:pt idx="3090">
                  <c:v>44454</c:v>
                </c:pt>
                <c:pt idx="3091">
                  <c:v>44455</c:v>
                </c:pt>
                <c:pt idx="3092">
                  <c:v>44456</c:v>
                </c:pt>
                <c:pt idx="3093">
                  <c:v>44461</c:v>
                </c:pt>
                <c:pt idx="3094">
                  <c:v>44462</c:v>
                </c:pt>
                <c:pt idx="3095">
                  <c:v>44463</c:v>
                </c:pt>
                <c:pt idx="3096">
                  <c:v>44466</c:v>
                </c:pt>
                <c:pt idx="3097">
                  <c:v>44467</c:v>
                </c:pt>
                <c:pt idx="3098">
                  <c:v>44468</c:v>
                </c:pt>
                <c:pt idx="3099">
                  <c:v>44469</c:v>
                </c:pt>
                <c:pt idx="3100">
                  <c:v>44477</c:v>
                </c:pt>
                <c:pt idx="3101">
                  <c:v>44480</c:v>
                </c:pt>
                <c:pt idx="3102">
                  <c:v>44481</c:v>
                </c:pt>
                <c:pt idx="3103">
                  <c:v>44482</c:v>
                </c:pt>
                <c:pt idx="3104">
                  <c:v>44483</c:v>
                </c:pt>
                <c:pt idx="3105">
                  <c:v>44484</c:v>
                </c:pt>
                <c:pt idx="3106">
                  <c:v>44487</c:v>
                </c:pt>
                <c:pt idx="3107">
                  <c:v>44488</c:v>
                </c:pt>
                <c:pt idx="3108">
                  <c:v>44489</c:v>
                </c:pt>
                <c:pt idx="3109">
                  <c:v>44490</c:v>
                </c:pt>
                <c:pt idx="3110">
                  <c:v>44491</c:v>
                </c:pt>
                <c:pt idx="3111">
                  <c:v>44494</c:v>
                </c:pt>
                <c:pt idx="3112">
                  <c:v>44495</c:v>
                </c:pt>
                <c:pt idx="3113">
                  <c:v>44496</c:v>
                </c:pt>
                <c:pt idx="3114">
                  <c:v>44497</c:v>
                </c:pt>
                <c:pt idx="3115">
                  <c:v>44498</c:v>
                </c:pt>
                <c:pt idx="3116">
                  <c:v>44501</c:v>
                </c:pt>
                <c:pt idx="3117">
                  <c:v>44502</c:v>
                </c:pt>
                <c:pt idx="3118">
                  <c:v>44503</c:v>
                </c:pt>
                <c:pt idx="3119">
                  <c:v>44504</c:v>
                </c:pt>
                <c:pt idx="3120">
                  <c:v>44505</c:v>
                </c:pt>
                <c:pt idx="3121">
                  <c:v>44508</c:v>
                </c:pt>
                <c:pt idx="3122">
                  <c:v>44509</c:v>
                </c:pt>
                <c:pt idx="3123">
                  <c:v>44510</c:v>
                </c:pt>
                <c:pt idx="3124">
                  <c:v>44511</c:v>
                </c:pt>
                <c:pt idx="3125">
                  <c:v>44512</c:v>
                </c:pt>
                <c:pt idx="3126">
                  <c:v>44515</c:v>
                </c:pt>
                <c:pt idx="3127">
                  <c:v>44516</c:v>
                </c:pt>
                <c:pt idx="3128">
                  <c:v>44517</c:v>
                </c:pt>
                <c:pt idx="3129">
                  <c:v>44518</c:v>
                </c:pt>
                <c:pt idx="3130">
                  <c:v>44519</c:v>
                </c:pt>
                <c:pt idx="3131">
                  <c:v>44522</c:v>
                </c:pt>
                <c:pt idx="3132">
                  <c:v>44523</c:v>
                </c:pt>
                <c:pt idx="3133">
                  <c:v>44524</c:v>
                </c:pt>
                <c:pt idx="3134">
                  <c:v>44525</c:v>
                </c:pt>
                <c:pt idx="3135">
                  <c:v>44526</c:v>
                </c:pt>
                <c:pt idx="3136">
                  <c:v>44529</c:v>
                </c:pt>
                <c:pt idx="3137">
                  <c:v>44530</c:v>
                </c:pt>
                <c:pt idx="3138">
                  <c:v>44531</c:v>
                </c:pt>
                <c:pt idx="3139">
                  <c:v>44532</c:v>
                </c:pt>
                <c:pt idx="3140">
                  <c:v>44533</c:v>
                </c:pt>
                <c:pt idx="3141">
                  <c:v>44536</c:v>
                </c:pt>
                <c:pt idx="3142">
                  <c:v>44537</c:v>
                </c:pt>
                <c:pt idx="3143">
                  <c:v>44538</c:v>
                </c:pt>
                <c:pt idx="3144">
                  <c:v>44539</c:v>
                </c:pt>
                <c:pt idx="3145">
                  <c:v>44540</c:v>
                </c:pt>
                <c:pt idx="3146">
                  <c:v>44543</c:v>
                </c:pt>
                <c:pt idx="3147">
                  <c:v>44544</c:v>
                </c:pt>
                <c:pt idx="3148">
                  <c:v>44545</c:v>
                </c:pt>
                <c:pt idx="3149">
                  <c:v>44546</c:v>
                </c:pt>
                <c:pt idx="3150">
                  <c:v>44547</c:v>
                </c:pt>
                <c:pt idx="3151">
                  <c:v>44550</c:v>
                </c:pt>
                <c:pt idx="3152">
                  <c:v>44551</c:v>
                </c:pt>
                <c:pt idx="3153">
                  <c:v>44552</c:v>
                </c:pt>
                <c:pt idx="3154">
                  <c:v>44553</c:v>
                </c:pt>
                <c:pt idx="3155">
                  <c:v>44554</c:v>
                </c:pt>
                <c:pt idx="3156">
                  <c:v>44557</c:v>
                </c:pt>
                <c:pt idx="3157">
                  <c:v>44558</c:v>
                </c:pt>
                <c:pt idx="3158">
                  <c:v>44559</c:v>
                </c:pt>
                <c:pt idx="3159">
                  <c:v>44560</c:v>
                </c:pt>
                <c:pt idx="3160">
                  <c:v>44561</c:v>
                </c:pt>
                <c:pt idx="3161">
                  <c:v>44565</c:v>
                </c:pt>
                <c:pt idx="3162">
                  <c:v>44566</c:v>
                </c:pt>
                <c:pt idx="3163">
                  <c:v>44567</c:v>
                </c:pt>
                <c:pt idx="3164">
                  <c:v>44568</c:v>
                </c:pt>
                <c:pt idx="3165">
                  <c:v>44571</c:v>
                </c:pt>
                <c:pt idx="3166">
                  <c:v>44572</c:v>
                </c:pt>
                <c:pt idx="3167">
                  <c:v>44573</c:v>
                </c:pt>
                <c:pt idx="3168">
                  <c:v>44574</c:v>
                </c:pt>
                <c:pt idx="3169">
                  <c:v>44575</c:v>
                </c:pt>
                <c:pt idx="3170">
                  <c:v>44578</c:v>
                </c:pt>
                <c:pt idx="3171">
                  <c:v>44579</c:v>
                </c:pt>
                <c:pt idx="3172">
                  <c:v>44580</c:v>
                </c:pt>
                <c:pt idx="3173">
                  <c:v>44581</c:v>
                </c:pt>
                <c:pt idx="3174">
                  <c:v>44582</c:v>
                </c:pt>
                <c:pt idx="3175">
                  <c:v>44585</c:v>
                </c:pt>
                <c:pt idx="3176">
                  <c:v>44586</c:v>
                </c:pt>
                <c:pt idx="3177">
                  <c:v>44587</c:v>
                </c:pt>
                <c:pt idx="3178">
                  <c:v>44588</c:v>
                </c:pt>
                <c:pt idx="3179">
                  <c:v>44589</c:v>
                </c:pt>
                <c:pt idx="3180">
                  <c:v>44599</c:v>
                </c:pt>
                <c:pt idx="3181">
                  <c:v>44600</c:v>
                </c:pt>
                <c:pt idx="3182">
                  <c:v>44601</c:v>
                </c:pt>
                <c:pt idx="3183">
                  <c:v>44602</c:v>
                </c:pt>
                <c:pt idx="3184">
                  <c:v>44603</c:v>
                </c:pt>
                <c:pt idx="3185">
                  <c:v>44606</c:v>
                </c:pt>
                <c:pt idx="3186">
                  <c:v>44607</c:v>
                </c:pt>
                <c:pt idx="3187">
                  <c:v>44608</c:v>
                </c:pt>
                <c:pt idx="3188">
                  <c:v>44609</c:v>
                </c:pt>
                <c:pt idx="3189">
                  <c:v>44610</c:v>
                </c:pt>
                <c:pt idx="3190">
                  <c:v>44613</c:v>
                </c:pt>
                <c:pt idx="3191">
                  <c:v>44614</c:v>
                </c:pt>
                <c:pt idx="3192">
                  <c:v>44615</c:v>
                </c:pt>
                <c:pt idx="3193">
                  <c:v>44616</c:v>
                </c:pt>
                <c:pt idx="3194">
                  <c:v>44617</c:v>
                </c:pt>
                <c:pt idx="3195">
                  <c:v>44620</c:v>
                </c:pt>
                <c:pt idx="3196">
                  <c:v>44621</c:v>
                </c:pt>
                <c:pt idx="3197">
                  <c:v>44622</c:v>
                </c:pt>
                <c:pt idx="3198">
                  <c:v>44623</c:v>
                </c:pt>
                <c:pt idx="3199">
                  <c:v>44624</c:v>
                </c:pt>
                <c:pt idx="3200">
                  <c:v>44627</c:v>
                </c:pt>
                <c:pt idx="3201">
                  <c:v>44628</c:v>
                </c:pt>
                <c:pt idx="3202">
                  <c:v>44629</c:v>
                </c:pt>
                <c:pt idx="3203">
                  <c:v>44630</c:v>
                </c:pt>
                <c:pt idx="3204">
                  <c:v>44631</c:v>
                </c:pt>
                <c:pt idx="3205">
                  <c:v>44634</c:v>
                </c:pt>
                <c:pt idx="3206">
                  <c:v>44635</c:v>
                </c:pt>
                <c:pt idx="3207">
                  <c:v>44636</c:v>
                </c:pt>
                <c:pt idx="3208">
                  <c:v>44637</c:v>
                </c:pt>
                <c:pt idx="3209">
                  <c:v>44638</c:v>
                </c:pt>
                <c:pt idx="3210">
                  <c:v>44641</c:v>
                </c:pt>
                <c:pt idx="3211">
                  <c:v>44642</c:v>
                </c:pt>
                <c:pt idx="3212">
                  <c:v>44643</c:v>
                </c:pt>
                <c:pt idx="3213">
                  <c:v>44644</c:v>
                </c:pt>
                <c:pt idx="3214">
                  <c:v>44645</c:v>
                </c:pt>
                <c:pt idx="3215">
                  <c:v>44648</c:v>
                </c:pt>
                <c:pt idx="3216">
                  <c:v>44649</c:v>
                </c:pt>
                <c:pt idx="3217">
                  <c:v>44650</c:v>
                </c:pt>
                <c:pt idx="3218">
                  <c:v>44651</c:v>
                </c:pt>
                <c:pt idx="3219">
                  <c:v>44652</c:v>
                </c:pt>
                <c:pt idx="3220">
                  <c:v>44657</c:v>
                </c:pt>
                <c:pt idx="3221">
                  <c:v>44658</c:v>
                </c:pt>
                <c:pt idx="3222">
                  <c:v>44659</c:v>
                </c:pt>
              </c:numCache>
            </c:numRef>
          </c:cat>
          <c:val>
            <c:numRef>
              <c:f>indicators!$B$2:$B$3224</c:f>
              <c:numCache>
                <c:formatCode>General</c:formatCode>
                <c:ptCount val="3223"/>
                <c:pt idx="0">
                  <c:v>1.0933155417382801</c:v>
                </c:pt>
                <c:pt idx="1">
                  <c:v>1.10320650154682</c:v>
                </c:pt>
                <c:pt idx="2">
                  <c:v>1.0938841864968101</c:v>
                </c:pt>
                <c:pt idx="3">
                  <c:v>1.0726246693132799</c:v>
                </c:pt>
                <c:pt idx="4">
                  <c:v>1.08428635739403</c:v>
                </c:pt>
                <c:pt idx="5">
                  <c:v>1.0661633496085701</c:v>
                </c:pt>
                <c:pt idx="6">
                  <c:v>1.0583950003570299</c:v>
                </c:pt>
                <c:pt idx="7">
                  <c:v>1.0545341745362999</c:v>
                </c:pt>
                <c:pt idx="8">
                  <c:v>1.07365260827803</c:v>
                </c:pt>
                <c:pt idx="9">
                  <c:v>1.05723927255516</c:v>
                </c:pt>
                <c:pt idx="10">
                  <c:v>1.12405409838032</c:v>
                </c:pt>
                <c:pt idx="11">
                  <c:v>1.1139799027692401</c:v>
                </c:pt>
                <c:pt idx="12">
                  <c:v>1.04326577212536</c:v>
                </c:pt>
                <c:pt idx="13">
                  <c:v>1.0554691868769599</c:v>
                </c:pt>
                <c:pt idx="14">
                  <c:v>1.0359115580768099</c:v>
                </c:pt>
                <c:pt idx="15">
                  <c:v>0.99768347560739501</c:v>
                </c:pt>
                <c:pt idx="16">
                  <c:v>0.97760850653639497</c:v>
                </c:pt>
                <c:pt idx="17">
                  <c:v>0.99468840533487501</c:v>
                </c:pt>
                <c:pt idx="18">
                  <c:v>0.98110204868841999</c:v>
                </c:pt>
                <c:pt idx="19">
                  <c:v>1.02319827357282</c:v>
                </c:pt>
                <c:pt idx="20">
                  <c:v>1.0838276642923299</c:v>
                </c:pt>
                <c:pt idx="21">
                  <c:v>1.0519280166632601</c:v>
                </c:pt>
                <c:pt idx="22">
                  <c:v>1.0435020893964799</c:v>
                </c:pt>
                <c:pt idx="23">
                  <c:v>1.0735047295948399</c:v>
                </c:pt>
                <c:pt idx="24">
                  <c:v>1.08743612632205</c:v>
                </c:pt>
                <c:pt idx="25">
                  <c:v>1.0924144323316101</c:v>
                </c:pt>
                <c:pt idx="26">
                  <c:v>1.10028960089009</c:v>
                </c:pt>
                <c:pt idx="27">
                  <c:v>1.10170438526961</c:v>
                </c:pt>
                <c:pt idx="28">
                  <c:v>1.11749425646486</c:v>
                </c:pt>
                <c:pt idx="29">
                  <c:v>1.12161104061249</c:v>
                </c:pt>
                <c:pt idx="30">
                  <c:v>1.1164046588396199</c:v>
                </c:pt>
                <c:pt idx="31">
                  <c:v>1.1416191011405801</c:v>
                </c:pt>
                <c:pt idx="32">
                  <c:v>1.14632065706387</c:v>
                </c:pt>
                <c:pt idx="33">
                  <c:v>1.1245682036768401</c:v>
                </c:pt>
                <c:pt idx="34">
                  <c:v>1.0335977131556</c:v>
                </c:pt>
                <c:pt idx="35">
                  <c:v>1.0115112421251</c:v>
                </c:pt>
                <c:pt idx="36">
                  <c:v>0.99475628529920901</c:v>
                </c:pt>
                <c:pt idx="37">
                  <c:v>1.0079273840073799</c:v>
                </c:pt>
                <c:pt idx="38">
                  <c:v>0.96397737310734899</c:v>
                </c:pt>
                <c:pt idx="39">
                  <c:v>0.96662858021924503</c:v>
                </c:pt>
                <c:pt idx="40">
                  <c:v>0.96783368969514305</c:v>
                </c:pt>
                <c:pt idx="41">
                  <c:v>0.95019081645275605</c:v>
                </c:pt>
                <c:pt idx="42">
                  <c:v>0.96276491408503995</c:v>
                </c:pt>
                <c:pt idx="43">
                  <c:v>0.96174073479605604</c:v>
                </c:pt>
                <c:pt idx="44">
                  <c:v>1.01624459199675</c:v>
                </c:pt>
                <c:pt idx="45">
                  <c:v>1.04148703794008</c:v>
                </c:pt>
                <c:pt idx="46">
                  <c:v>1.0444720306739199</c:v>
                </c:pt>
                <c:pt idx="47">
                  <c:v>1.0666930223067399</c:v>
                </c:pt>
                <c:pt idx="48">
                  <c:v>1.00014368385414</c:v>
                </c:pt>
                <c:pt idx="49">
                  <c:v>0.92064068660896203</c:v>
                </c:pt>
                <c:pt idx="50">
                  <c:v>0.85527043109642598</c:v>
                </c:pt>
                <c:pt idx="51">
                  <c:v>0.87333665248513503</c:v>
                </c:pt>
                <c:pt idx="52">
                  <c:v>0.895107475543515</c:v>
                </c:pt>
                <c:pt idx="53">
                  <c:v>0.899116048963856</c:v>
                </c:pt>
                <c:pt idx="54">
                  <c:v>0.90837080402554005</c:v>
                </c:pt>
                <c:pt idx="55">
                  <c:v>0.86526087878318403</c:v>
                </c:pt>
                <c:pt idx="56">
                  <c:v>0.89468070454872195</c:v>
                </c:pt>
                <c:pt idx="57">
                  <c:v>0.913444459426202</c:v>
                </c:pt>
                <c:pt idx="58">
                  <c:v>0.90738578287319405</c:v>
                </c:pt>
                <c:pt idx="59">
                  <c:v>0.93474122147403005</c:v>
                </c:pt>
                <c:pt idx="60">
                  <c:v>0.94095465701488401</c:v>
                </c:pt>
                <c:pt idx="61">
                  <c:v>0.94900637604428795</c:v>
                </c:pt>
                <c:pt idx="62">
                  <c:v>0.95464767449030197</c:v>
                </c:pt>
                <c:pt idx="63">
                  <c:v>0.93176848204737905</c:v>
                </c:pt>
                <c:pt idx="64">
                  <c:v>0.92040221597031702</c:v>
                </c:pt>
                <c:pt idx="65">
                  <c:v>0.94532763029788702</c:v>
                </c:pt>
                <c:pt idx="66">
                  <c:v>0.91528484788146702</c:v>
                </c:pt>
                <c:pt idx="67">
                  <c:v>0.91276534113408403</c:v>
                </c:pt>
                <c:pt idx="68">
                  <c:v>0.907006730128598</c:v>
                </c:pt>
                <c:pt idx="69">
                  <c:v>0.92104431465903303</c:v>
                </c:pt>
                <c:pt idx="70">
                  <c:v>0.91906416006206904</c:v>
                </c:pt>
                <c:pt idx="71">
                  <c:v>0.92706151949898896</c:v>
                </c:pt>
                <c:pt idx="72">
                  <c:v>0.98745942989952595</c:v>
                </c:pt>
                <c:pt idx="73">
                  <c:v>0.96071068979631102</c:v>
                </c:pt>
                <c:pt idx="74">
                  <c:v>0.92032551480274605</c:v>
                </c:pt>
                <c:pt idx="75">
                  <c:v>0.93210638297233495</c:v>
                </c:pt>
                <c:pt idx="76">
                  <c:v>0.94737546800064298</c:v>
                </c:pt>
                <c:pt idx="77">
                  <c:v>0.91860793254991302</c:v>
                </c:pt>
                <c:pt idx="78">
                  <c:v>0.90106590140199805</c:v>
                </c:pt>
                <c:pt idx="79">
                  <c:v>0.91350006818547103</c:v>
                </c:pt>
                <c:pt idx="80">
                  <c:v>0.908000007749314</c:v>
                </c:pt>
                <c:pt idx="81">
                  <c:v>0.88309427279792396</c:v>
                </c:pt>
                <c:pt idx="82">
                  <c:v>0.89806364777358305</c:v>
                </c:pt>
                <c:pt idx="83">
                  <c:v>0.91490514684049395</c:v>
                </c:pt>
                <c:pt idx="84">
                  <c:v>0.97077524147432004</c:v>
                </c:pt>
                <c:pt idx="85">
                  <c:v>0.98415732170567005</c:v>
                </c:pt>
                <c:pt idx="86">
                  <c:v>0.96224406270432195</c:v>
                </c:pt>
                <c:pt idx="87">
                  <c:v>0.94735526803308101</c:v>
                </c:pt>
                <c:pt idx="88">
                  <c:v>0.93221909176145401</c:v>
                </c:pt>
                <c:pt idx="89">
                  <c:v>0.93706273855040001</c:v>
                </c:pt>
                <c:pt idx="90">
                  <c:v>0.95446057991632005</c:v>
                </c:pt>
                <c:pt idx="91">
                  <c:v>0.93719950808164498</c:v>
                </c:pt>
                <c:pt idx="92">
                  <c:v>0.92191921781647701</c:v>
                </c:pt>
                <c:pt idx="93">
                  <c:v>0.91988574223194597</c:v>
                </c:pt>
                <c:pt idx="94">
                  <c:v>0.83009806895587601</c:v>
                </c:pt>
                <c:pt idx="95">
                  <c:v>0.85357137650478698</c:v>
                </c:pt>
                <c:pt idx="96">
                  <c:v>0.70161778322178303</c:v>
                </c:pt>
                <c:pt idx="97">
                  <c:v>0.72255974421566105</c:v>
                </c:pt>
                <c:pt idx="98">
                  <c:v>0.72017168503378803</c:v>
                </c:pt>
                <c:pt idx="99">
                  <c:v>0.81281507845755097</c:v>
                </c:pt>
                <c:pt idx="100">
                  <c:v>0.86774292034813005</c:v>
                </c:pt>
                <c:pt idx="101">
                  <c:v>0.86929253291181896</c:v>
                </c:pt>
                <c:pt idx="102">
                  <c:v>0.92863666861500205</c:v>
                </c:pt>
                <c:pt idx="103">
                  <c:v>0.971507574819789</c:v>
                </c:pt>
                <c:pt idx="104">
                  <c:v>0.94419379409606896</c:v>
                </c:pt>
                <c:pt idx="105">
                  <c:v>0.94321609851711496</c:v>
                </c:pt>
                <c:pt idx="106">
                  <c:v>0.95431110525292995</c:v>
                </c:pt>
                <c:pt idx="107">
                  <c:v>0.96937516591898998</c:v>
                </c:pt>
                <c:pt idx="108">
                  <c:v>0.96341385584653805</c:v>
                </c:pt>
                <c:pt idx="109">
                  <c:v>0.97532378320452895</c:v>
                </c:pt>
                <c:pt idx="110">
                  <c:v>0.97424720273597498</c:v>
                </c:pt>
                <c:pt idx="111">
                  <c:v>0.94146678283905205</c:v>
                </c:pt>
                <c:pt idx="112">
                  <c:v>0.95931913748049502</c:v>
                </c:pt>
                <c:pt idx="113">
                  <c:v>0.96797933971882899</c:v>
                </c:pt>
                <c:pt idx="114">
                  <c:v>0.93580252360434002</c:v>
                </c:pt>
                <c:pt idx="115">
                  <c:v>0.91396979987453197</c:v>
                </c:pt>
                <c:pt idx="116">
                  <c:v>0.86182336736116605</c:v>
                </c:pt>
                <c:pt idx="117">
                  <c:v>0.89085879891044495</c:v>
                </c:pt>
                <c:pt idx="118">
                  <c:v>0.88517922180340003</c:v>
                </c:pt>
                <c:pt idx="119">
                  <c:v>0.91787058767441798</c:v>
                </c:pt>
                <c:pt idx="120">
                  <c:v>0.91597914569188499</c:v>
                </c:pt>
                <c:pt idx="121">
                  <c:v>0.95355088869778204</c:v>
                </c:pt>
                <c:pt idx="122">
                  <c:v>0.942217674828562</c:v>
                </c:pt>
                <c:pt idx="123">
                  <c:v>0.95203717683542799</c:v>
                </c:pt>
                <c:pt idx="124">
                  <c:v>0.99922178951942298</c:v>
                </c:pt>
                <c:pt idx="125">
                  <c:v>1.00860217717891</c:v>
                </c:pt>
                <c:pt idx="126">
                  <c:v>0.99608878255660804</c:v>
                </c:pt>
                <c:pt idx="127">
                  <c:v>1.01351063984997</c:v>
                </c:pt>
                <c:pt idx="128">
                  <c:v>1.0206189903602501</c:v>
                </c:pt>
                <c:pt idx="129">
                  <c:v>0.98336727419249104</c:v>
                </c:pt>
                <c:pt idx="130">
                  <c:v>0.97345845399730802</c:v>
                </c:pt>
                <c:pt idx="131">
                  <c:v>0.99619665705990601</c:v>
                </c:pt>
                <c:pt idx="132">
                  <c:v>1.00999404991998</c:v>
                </c:pt>
                <c:pt idx="133">
                  <c:v>1.0088973126778</c:v>
                </c:pt>
                <c:pt idx="134">
                  <c:v>0.99353673034093004</c:v>
                </c:pt>
                <c:pt idx="135">
                  <c:v>0.98864218613321697</c:v>
                </c:pt>
                <c:pt idx="136">
                  <c:v>0.98891284563038995</c:v>
                </c:pt>
                <c:pt idx="137">
                  <c:v>1.01960845001197</c:v>
                </c:pt>
                <c:pt idx="138">
                  <c:v>0.98966492990306698</c:v>
                </c:pt>
                <c:pt idx="139">
                  <c:v>0.98659165297060303</c:v>
                </c:pt>
                <c:pt idx="140">
                  <c:v>0.97586540178936998</c:v>
                </c:pt>
                <c:pt idx="141">
                  <c:v>0.97303148138282103</c:v>
                </c:pt>
                <c:pt idx="142">
                  <c:v>0.98416529772572903</c:v>
                </c:pt>
                <c:pt idx="143">
                  <c:v>0.96907207801587003</c:v>
                </c:pt>
                <c:pt idx="144">
                  <c:v>0.94707539773416505</c:v>
                </c:pt>
                <c:pt idx="145">
                  <c:v>0.89195983410631097</c:v>
                </c:pt>
                <c:pt idx="146">
                  <c:v>0.82468113905445295</c:v>
                </c:pt>
                <c:pt idx="147">
                  <c:v>0.74051154738526304</c:v>
                </c:pt>
                <c:pt idx="148">
                  <c:v>0.72305042195267999</c:v>
                </c:pt>
                <c:pt idx="149">
                  <c:v>0.671125380487407</c:v>
                </c:pt>
                <c:pt idx="150">
                  <c:v>0.74342371877024005</c:v>
                </c:pt>
                <c:pt idx="151">
                  <c:v>0.782389126918418</c:v>
                </c:pt>
                <c:pt idx="152">
                  <c:v>0.80243194279200403</c:v>
                </c:pt>
                <c:pt idx="153">
                  <c:v>0.88194074980758497</c:v>
                </c:pt>
                <c:pt idx="154">
                  <c:v>0.874083168539461</c:v>
                </c:pt>
                <c:pt idx="155">
                  <c:v>0.90493081250242702</c:v>
                </c:pt>
                <c:pt idx="156">
                  <c:v>0.935921841568646</c:v>
                </c:pt>
                <c:pt idx="157">
                  <c:v>0.94144399499990605</c:v>
                </c:pt>
                <c:pt idx="158">
                  <c:v>0.922145829998126</c:v>
                </c:pt>
                <c:pt idx="159">
                  <c:v>0.92367880290626503</c:v>
                </c:pt>
                <c:pt idx="160">
                  <c:v>0.94002730568899495</c:v>
                </c:pt>
                <c:pt idx="161">
                  <c:v>0.94575580519615798</c:v>
                </c:pt>
                <c:pt idx="162">
                  <c:v>0.93785066922709004</c:v>
                </c:pt>
                <c:pt idx="163">
                  <c:v>0.94563136250727398</c:v>
                </c:pt>
                <c:pt idx="164">
                  <c:v>0.94934656403625095</c:v>
                </c:pt>
                <c:pt idx="165">
                  <c:v>0.93060403940271497</c:v>
                </c:pt>
                <c:pt idx="166">
                  <c:v>0.97004166356783095</c:v>
                </c:pt>
                <c:pt idx="167">
                  <c:v>0.93517564916780405</c:v>
                </c:pt>
                <c:pt idx="168">
                  <c:v>0.93147593601846201</c:v>
                </c:pt>
                <c:pt idx="169">
                  <c:v>0.88224353709889503</c:v>
                </c:pt>
                <c:pt idx="170">
                  <c:v>0.81693009165694397</c:v>
                </c:pt>
                <c:pt idx="171">
                  <c:v>0.82174332010156903</c:v>
                </c:pt>
                <c:pt idx="172">
                  <c:v>0.82426155062023498</c:v>
                </c:pt>
                <c:pt idx="173">
                  <c:v>0.82105951789381404</c:v>
                </c:pt>
                <c:pt idx="174">
                  <c:v>0.82271339431634105</c:v>
                </c:pt>
                <c:pt idx="175">
                  <c:v>0.82285031958422195</c:v>
                </c:pt>
                <c:pt idx="176">
                  <c:v>0.85278087861498497</c:v>
                </c:pt>
                <c:pt idx="177">
                  <c:v>0.85452045773470597</c:v>
                </c:pt>
                <c:pt idx="178">
                  <c:v>0.85640394285005705</c:v>
                </c:pt>
                <c:pt idx="179">
                  <c:v>0.85881953526866495</c:v>
                </c:pt>
                <c:pt idx="180">
                  <c:v>0.88591695409066096</c:v>
                </c:pt>
                <c:pt idx="181">
                  <c:v>0.86913242462162199</c:v>
                </c:pt>
                <c:pt idx="182">
                  <c:v>0.79624258505050105</c:v>
                </c:pt>
                <c:pt idx="183">
                  <c:v>0.88883547484391501</c:v>
                </c:pt>
                <c:pt idx="184">
                  <c:v>0.91163233776778896</c:v>
                </c:pt>
                <c:pt idx="185">
                  <c:v>0.90928218267395799</c:v>
                </c:pt>
                <c:pt idx="186">
                  <c:v>0.90876935543604798</c:v>
                </c:pt>
                <c:pt idx="187">
                  <c:v>0.90838143127013105</c:v>
                </c:pt>
                <c:pt idx="188">
                  <c:v>0.91127411324699203</c:v>
                </c:pt>
                <c:pt idx="189">
                  <c:v>0.89951721243202898</c:v>
                </c:pt>
                <c:pt idx="190">
                  <c:v>0.90948761884790197</c:v>
                </c:pt>
                <c:pt idx="191">
                  <c:v>0.93395268876464199</c:v>
                </c:pt>
                <c:pt idx="192">
                  <c:v>0.89734355093590901</c:v>
                </c:pt>
                <c:pt idx="193">
                  <c:v>0.90152641216423901</c:v>
                </c:pt>
                <c:pt idx="194">
                  <c:v>0.87525659114587195</c:v>
                </c:pt>
                <c:pt idx="195">
                  <c:v>0.89876125021098296</c:v>
                </c:pt>
                <c:pt idx="196">
                  <c:v>0.89780658991350804</c:v>
                </c:pt>
                <c:pt idx="197">
                  <c:v>0.91499269207883804</c:v>
                </c:pt>
                <c:pt idx="198">
                  <c:v>0.94221979844094805</c:v>
                </c:pt>
                <c:pt idx="199">
                  <c:v>0.932460419013459</c:v>
                </c:pt>
                <c:pt idx="200">
                  <c:v>0.97092766180446</c:v>
                </c:pt>
                <c:pt idx="201">
                  <c:v>0.94748471477770702</c:v>
                </c:pt>
                <c:pt idx="202">
                  <c:v>0.86501210212781598</c:v>
                </c:pt>
                <c:pt idx="203">
                  <c:v>0.870967659298165</c:v>
                </c:pt>
                <c:pt idx="204">
                  <c:v>0.81302188233186601</c:v>
                </c:pt>
                <c:pt idx="205">
                  <c:v>0.75848866385907998</c:v>
                </c:pt>
                <c:pt idx="206">
                  <c:v>0.74782726109722397</c:v>
                </c:pt>
                <c:pt idx="207">
                  <c:v>0.73399402306788297</c:v>
                </c:pt>
                <c:pt idx="208">
                  <c:v>0.71590514689665297</c:v>
                </c:pt>
                <c:pt idx="209">
                  <c:v>0.73006324686750301</c:v>
                </c:pt>
                <c:pt idx="210">
                  <c:v>0.73884316097173097</c:v>
                </c:pt>
                <c:pt idx="211">
                  <c:v>0.79794715691497597</c:v>
                </c:pt>
                <c:pt idx="212">
                  <c:v>0.80226080862474203</c:v>
                </c:pt>
                <c:pt idx="213">
                  <c:v>0.81956754217350603</c:v>
                </c:pt>
                <c:pt idx="214">
                  <c:v>0.83096588329490195</c:v>
                </c:pt>
                <c:pt idx="215">
                  <c:v>0.84529316662993204</c:v>
                </c:pt>
                <c:pt idx="216">
                  <c:v>0.84274688543968801</c:v>
                </c:pt>
                <c:pt idx="217">
                  <c:v>0.82783354386858199</c:v>
                </c:pt>
                <c:pt idx="218">
                  <c:v>0.77920117308402503</c:v>
                </c:pt>
                <c:pt idx="219">
                  <c:v>0.94934634183709599</c:v>
                </c:pt>
                <c:pt idx="220">
                  <c:v>0.86983391580591596</c:v>
                </c:pt>
                <c:pt idx="221">
                  <c:v>0.83724927360874002</c:v>
                </c:pt>
                <c:pt idx="222">
                  <c:v>0.79939872590014704</c:v>
                </c:pt>
                <c:pt idx="223">
                  <c:v>0.76496013386130302</c:v>
                </c:pt>
                <c:pt idx="224">
                  <c:v>0.72712027554305003</c:v>
                </c:pt>
                <c:pt idx="225">
                  <c:v>0.71753500033738704</c:v>
                </c:pt>
                <c:pt idx="226">
                  <c:v>0.67818840926783697</c:v>
                </c:pt>
                <c:pt idx="227">
                  <c:v>0.662038941298843</c:v>
                </c:pt>
                <c:pt idx="228">
                  <c:v>0.62078374555802296</c:v>
                </c:pt>
                <c:pt idx="229">
                  <c:v>0.62104763117981998</c:v>
                </c:pt>
                <c:pt idx="230">
                  <c:v>0.63225713373425296</c:v>
                </c:pt>
                <c:pt idx="231">
                  <c:v>0.62924162573263498</c:v>
                </c:pt>
                <c:pt idx="232">
                  <c:v>0.62302636009661305</c:v>
                </c:pt>
                <c:pt idx="233">
                  <c:v>0.61788318037680501</c:v>
                </c:pt>
                <c:pt idx="234">
                  <c:v>0.62954894537153305</c:v>
                </c:pt>
                <c:pt idx="235">
                  <c:v>0.71264965656556101</c:v>
                </c:pt>
                <c:pt idx="236">
                  <c:v>0.81833288581635</c:v>
                </c:pt>
                <c:pt idx="237">
                  <c:v>0.84296299500803296</c:v>
                </c:pt>
                <c:pt idx="238">
                  <c:v>0.92252780105051302</c:v>
                </c:pt>
                <c:pt idx="239">
                  <c:v>0.911756558319605</c:v>
                </c:pt>
                <c:pt idx="240">
                  <c:v>0.92905874185868598</c:v>
                </c:pt>
                <c:pt idx="241">
                  <c:v>0.94478676290128505</c:v>
                </c:pt>
                <c:pt idx="242">
                  <c:v>0.95295717157291004</c:v>
                </c:pt>
                <c:pt idx="243">
                  <c:v>0.93587876020537797</c:v>
                </c:pt>
                <c:pt idx="244">
                  <c:v>0.941374964802561</c:v>
                </c:pt>
                <c:pt idx="245">
                  <c:v>0.92343410354876698</c:v>
                </c:pt>
                <c:pt idx="246">
                  <c:v>0.92740124350089304</c:v>
                </c:pt>
                <c:pt idx="247">
                  <c:v>0.92237362956274305</c:v>
                </c:pt>
                <c:pt idx="248">
                  <c:v>0.93239247600307995</c:v>
                </c:pt>
                <c:pt idx="249">
                  <c:v>0.91276399978061296</c:v>
                </c:pt>
                <c:pt idx="250">
                  <c:v>0.94066729689352901</c:v>
                </c:pt>
                <c:pt idx="251">
                  <c:v>0.94550274982785998</c:v>
                </c:pt>
                <c:pt idx="252">
                  <c:v>0.92936851051425196</c:v>
                </c:pt>
                <c:pt idx="253">
                  <c:v>0.92936062316994805</c:v>
                </c:pt>
                <c:pt idx="254">
                  <c:v>0.90383691327820703</c:v>
                </c:pt>
                <c:pt idx="255">
                  <c:v>0.95244495441592303</c:v>
                </c:pt>
                <c:pt idx="256">
                  <c:v>0.83281520217446603</c:v>
                </c:pt>
                <c:pt idx="257">
                  <c:v>0.80206850669299301</c:v>
                </c:pt>
                <c:pt idx="258">
                  <c:v>0.80659372407614505</c:v>
                </c:pt>
                <c:pt idx="259">
                  <c:v>0.808778797791042</c:v>
                </c:pt>
                <c:pt idx="260">
                  <c:v>0.87779367796320096</c:v>
                </c:pt>
                <c:pt idx="261">
                  <c:v>0.84350581932598301</c:v>
                </c:pt>
                <c:pt idx="262">
                  <c:v>0.91267435419401199</c:v>
                </c:pt>
                <c:pt idx="263">
                  <c:v>0.96281715952636004</c:v>
                </c:pt>
                <c:pt idx="264">
                  <c:v>0.96656014074543695</c:v>
                </c:pt>
                <c:pt idx="265">
                  <c:v>0.98369824416672902</c:v>
                </c:pt>
                <c:pt idx="266">
                  <c:v>0.97741224555387696</c:v>
                </c:pt>
                <c:pt idx="267">
                  <c:v>0.94498605644951195</c:v>
                </c:pt>
                <c:pt idx="268">
                  <c:v>0.92428561841433599</c:v>
                </c:pt>
                <c:pt idx="269">
                  <c:v>0.92615893642452196</c:v>
                </c:pt>
                <c:pt idx="270">
                  <c:v>0.93847275168097199</c:v>
                </c:pt>
                <c:pt idx="271">
                  <c:v>0.95469187970930403</c:v>
                </c:pt>
                <c:pt idx="272">
                  <c:v>0.969320191495605</c:v>
                </c:pt>
                <c:pt idx="273">
                  <c:v>0.99180149541642804</c:v>
                </c:pt>
                <c:pt idx="274">
                  <c:v>1.06193548069931</c:v>
                </c:pt>
                <c:pt idx="275">
                  <c:v>0.94000798079076997</c:v>
                </c:pt>
                <c:pt idx="276">
                  <c:v>0.90682607789199099</c:v>
                </c:pt>
                <c:pt idx="277">
                  <c:v>0.79341567032066995</c:v>
                </c:pt>
                <c:pt idx="278">
                  <c:v>0.71218878027503296</c:v>
                </c:pt>
                <c:pt idx="279">
                  <c:v>0.61671003051453999</c:v>
                </c:pt>
                <c:pt idx="280">
                  <c:v>0.67867025407299497</c:v>
                </c:pt>
                <c:pt idx="281">
                  <c:v>0.71864325599977397</c:v>
                </c:pt>
                <c:pt idx="282">
                  <c:v>0.74677701699603805</c:v>
                </c:pt>
                <c:pt idx="283">
                  <c:v>0.79764443780876504</c:v>
                </c:pt>
                <c:pt idx="284">
                  <c:v>0.79789704951589102</c:v>
                </c:pt>
                <c:pt idx="285">
                  <c:v>0.93767587941703701</c:v>
                </c:pt>
                <c:pt idx="286">
                  <c:v>0.95592965820242404</c:v>
                </c:pt>
                <c:pt idx="287">
                  <c:v>0.95868537182179703</c:v>
                </c:pt>
                <c:pt idx="288">
                  <c:v>0.93030373187126802</c:v>
                </c:pt>
                <c:pt idx="289">
                  <c:v>0.86729673493064396</c:v>
                </c:pt>
                <c:pt idx="290">
                  <c:v>0.80964384077322504</c:v>
                </c:pt>
                <c:pt idx="291">
                  <c:v>0.843334044782036</c:v>
                </c:pt>
                <c:pt idx="292">
                  <c:v>0.82763442362119299</c:v>
                </c:pt>
                <c:pt idx="293">
                  <c:v>0.81910278073700205</c:v>
                </c:pt>
                <c:pt idx="294">
                  <c:v>0.83159384299952999</c:v>
                </c:pt>
                <c:pt idx="295">
                  <c:v>0.85710833426140598</c:v>
                </c:pt>
                <c:pt idx="296">
                  <c:v>0.848810952793152</c:v>
                </c:pt>
                <c:pt idx="297">
                  <c:v>0.85041940868664201</c:v>
                </c:pt>
                <c:pt idx="298">
                  <c:v>0.854368769153942</c:v>
                </c:pt>
                <c:pt idx="299">
                  <c:v>0.84099204821701101</c:v>
                </c:pt>
                <c:pt idx="300">
                  <c:v>0.91047516415179897</c:v>
                </c:pt>
                <c:pt idx="301">
                  <c:v>0.85405039206705402</c:v>
                </c:pt>
                <c:pt idx="302">
                  <c:v>0.84468982599971298</c:v>
                </c:pt>
                <c:pt idx="303">
                  <c:v>0.86557076110064302</c:v>
                </c:pt>
                <c:pt idx="304">
                  <c:v>0.85236837725552195</c:v>
                </c:pt>
                <c:pt idx="305">
                  <c:v>0.88667272672749298</c:v>
                </c:pt>
                <c:pt idx="306">
                  <c:v>0.89106585114625403</c:v>
                </c:pt>
                <c:pt idx="307">
                  <c:v>0.89838324616813903</c:v>
                </c:pt>
                <c:pt idx="308">
                  <c:v>0.91317604098651095</c:v>
                </c:pt>
                <c:pt idx="309">
                  <c:v>0.88479145661018199</c:v>
                </c:pt>
                <c:pt idx="310">
                  <c:v>0.92267699668676595</c:v>
                </c:pt>
                <c:pt idx="311">
                  <c:v>0.89809737541344203</c:v>
                </c:pt>
                <c:pt idx="312">
                  <c:v>0.89998060912331701</c:v>
                </c:pt>
                <c:pt idx="313">
                  <c:v>0.88155169058689198</c:v>
                </c:pt>
                <c:pt idx="314">
                  <c:v>0.69741735209117095</c:v>
                </c:pt>
                <c:pt idx="315">
                  <c:v>0.75870073315468101</c:v>
                </c:pt>
                <c:pt idx="316">
                  <c:v>0.75745240962217997</c:v>
                </c:pt>
                <c:pt idx="317">
                  <c:v>0.78365555545022003</c:v>
                </c:pt>
                <c:pt idx="318">
                  <c:v>0.81203674747643295</c:v>
                </c:pt>
                <c:pt idx="319">
                  <c:v>0.84978138813599102</c:v>
                </c:pt>
                <c:pt idx="320">
                  <c:v>0.83738404129870103</c:v>
                </c:pt>
                <c:pt idx="321">
                  <c:v>0.86405972031808997</c:v>
                </c:pt>
                <c:pt idx="322">
                  <c:v>0.88496668728335204</c:v>
                </c:pt>
                <c:pt idx="323">
                  <c:v>0.90533665594148105</c:v>
                </c:pt>
                <c:pt idx="324">
                  <c:v>0.92547733979957902</c:v>
                </c:pt>
                <c:pt idx="325">
                  <c:v>0.91940292257322298</c:v>
                </c:pt>
                <c:pt idx="326">
                  <c:v>0.90418499364745497</c:v>
                </c:pt>
                <c:pt idx="327">
                  <c:v>0.91671345471700405</c:v>
                </c:pt>
                <c:pt idx="328">
                  <c:v>0.919056352302829</c:v>
                </c:pt>
                <c:pt idx="329">
                  <c:v>0.91065504977810996</c:v>
                </c:pt>
                <c:pt idx="330">
                  <c:v>0.92677261910129904</c:v>
                </c:pt>
                <c:pt idx="331">
                  <c:v>0.94675727947828503</c:v>
                </c:pt>
                <c:pt idx="332">
                  <c:v>0.92872987991141598</c:v>
                </c:pt>
                <c:pt idx="333">
                  <c:v>0.9136066365369</c:v>
                </c:pt>
                <c:pt idx="334">
                  <c:v>0.908435444656299</c:v>
                </c:pt>
                <c:pt idx="335">
                  <c:v>0.91562107519968405</c:v>
                </c:pt>
                <c:pt idx="336">
                  <c:v>0.92803504759916799</c:v>
                </c:pt>
                <c:pt idx="337">
                  <c:v>0.93151139135791405</c:v>
                </c:pt>
                <c:pt idx="338">
                  <c:v>0.90458477793405101</c:v>
                </c:pt>
                <c:pt idx="339">
                  <c:v>0.91056325534972304</c:v>
                </c:pt>
                <c:pt idx="340">
                  <c:v>0.90145869440521897</c:v>
                </c:pt>
                <c:pt idx="341">
                  <c:v>0.91339466989591001</c:v>
                </c:pt>
                <c:pt idx="342">
                  <c:v>0.915322226111419</c:v>
                </c:pt>
                <c:pt idx="343">
                  <c:v>0.85563106288856605</c:v>
                </c:pt>
                <c:pt idx="344">
                  <c:v>0.74510886031451096</c:v>
                </c:pt>
                <c:pt idx="345">
                  <c:v>0.78353957275258601</c:v>
                </c:pt>
                <c:pt idx="346">
                  <c:v>0.79552100248598601</c:v>
                </c:pt>
                <c:pt idx="347">
                  <c:v>0.78991985461797398</c:v>
                </c:pt>
                <c:pt idx="348">
                  <c:v>0.85094135801837401</c:v>
                </c:pt>
                <c:pt idx="349">
                  <c:v>0.87542108912359295</c:v>
                </c:pt>
                <c:pt idx="350">
                  <c:v>0.89974798024684799</c:v>
                </c:pt>
                <c:pt idx="351">
                  <c:v>0.90452292931769895</c:v>
                </c:pt>
                <c:pt idx="352">
                  <c:v>0.90998320511214303</c:v>
                </c:pt>
                <c:pt idx="353">
                  <c:v>0.91155119336392099</c:v>
                </c:pt>
                <c:pt idx="354">
                  <c:v>0.91241113393788997</c:v>
                </c:pt>
                <c:pt idx="355">
                  <c:v>0.98520657361109298</c:v>
                </c:pt>
                <c:pt idx="356">
                  <c:v>0.91085842280500695</c:v>
                </c:pt>
                <c:pt idx="357">
                  <c:v>0.90144039905922502</c:v>
                </c:pt>
                <c:pt idx="358">
                  <c:v>0.91872489994949702</c:v>
                </c:pt>
                <c:pt idx="359">
                  <c:v>0.86064684860308005</c:v>
                </c:pt>
                <c:pt idx="360">
                  <c:v>0.73880995127485605</c:v>
                </c:pt>
                <c:pt idx="361">
                  <c:v>0.45102261072863598</c:v>
                </c:pt>
                <c:pt idx="362">
                  <c:v>0.78456680454998196</c:v>
                </c:pt>
                <c:pt idx="363">
                  <c:v>0.86986359416191195</c:v>
                </c:pt>
                <c:pt idx="364">
                  <c:v>0.87395895151318603</c:v>
                </c:pt>
                <c:pt idx="365">
                  <c:v>0.90993758907893496</c:v>
                </c:pt>
                <c:pt idx="366">
                  <c:v>0.91945454340498101</c:v>
                </c:pt>
                <c:pt idx="367">
                  <c:v>0.93706102569624194</c:v>
                </c:pt>
                <c:pt idx="368">
                  <c:v>0.93464983177008198</c:v>
                </c:pt>
                <c:pt idx="369">
                  <c:v>0.92703973727904199</c:v>
                </c:pt>
                <c:pt idx="370">
                  <c:v>0.94314340709238997</c:v>
                </c:pt>
                <c:pt idx="371">
                  <c:v>0.950000596100115</c:v>
                </c:pt>
                <c:pt idx="372">
                  <c:v>0.94069308847575095</c:v>
                </c:pt>
                <c:pt idx="373">
                  <c:v>0.91680225763713796</c:v>
                </c:pt>
                <c:pt idx="374">
                  <c:v>0.93643745682300705</c:v>
                </c:pt>
                <c:pt idx="375">
                  <c:v>0.92526510886716795</c:v>
                </c:pt>
                <c:pt idx="376">
                  <c:v>0.94184552479244099</c:v>
                </c:pt>
                <c:pt idx="377">
                  <c:v>0.92464476947758101</c:v>
                </c:pt>
                <c:pt idx="378">
                  <c:v>0.93605516864838101</c:v>
                </c:pt>
                <c:pt idx="379">
                  <c:v>0.92593462030190099</c:v>
                </c:pt>
                <c:pt idx="380">
                  <c:v>0.90876822084011399</c:v>
                </c:pt>
                <c:pt idx="381">
                  <c:v>0.89038717987708604</c:v>
                </c:pt>
                <c:pt idx="382">
                  <c:v>0.93679840061490904</c:v>
                </c:pt>
                <c:pt idx="383">
                  <c:v>0.92065979942971898</c:v>
                </c:pt>
                <c:pt idx="384">
                  <c:v>0.90901803342778698</c:v>
                </c:pt>
                <c:pt idx="385">
                  <c:v>0.90184540246999201</c:v>
                </c:pt>
                <c:pt idx="386">
                  <c:v>0.90042996402329101</c:v>
                </c:pt>
                <c:pt idx="387">
                  <c:v>0.94251695802433999</c:v>
                </c:pt>
                <c:pt idx="388">
                  <c:v>0.93915744185672001</c:v>
                </c:pt>
                <c:pt idx="389">
                  <c:v>0.92919182691346902</c:v>
                </c:pt>
                <c:pt idx="390">
                  <c:v>0.908571931624227</c:v>
                </c:pt>
                <c:pt idx="391">
                  <c:v>0.931969743366036</c:v>
                </c:pt>
                <c:pt idx="392">
                  <c:v>0.88065043579612401</c:v>
                </c:pt>
                <c:pt idx="393">
                  <c:v>1.0111240615963799</c:v>
                </c:pt>
                <c:pt idx="394">
                  <c:v>1.0537287341808801</c:v>
                </c:pt>
                <c:pt idx="395">
                  <c:v>1.03891986460381</c:v>
                </c:pt>
                <c:pt idx="396">
                  <c:v>0.95308464722956099</c:v>
                </c:pt>
                <c:pt idx="397">
                  <c:v>0.88687861228065601</c:v>
                </c:pt>
                <c:pt idx="398">
                  <c:v>0.85037494786972201</c:v>
                </c:pt>
                <c:pt idx="399">
                  <c:v>0.79233997437662795</c:v>
                </c:pt>
                <c:pt idx="400">
                  <c:v>0.81369250584708896</c:v>
                </c:pt>
                <c:pt idx="401">
                  <c:v>0.81386958070417703</c:v>
                </c:pt>
                <c:pt idx="402">
                  <c:v>0.79770594581631804</c:v>
                </c:pt>
                <c:pt idx="403">
                  <c:v>0.81765975775046096</c:v>
                </c:pt>
                <c:pt idx="404">
                  <c:v>0.83738103160310096</c:v>
                </c:pt>
                <c:pt idx="405">
                  <c:v>0.83690233829911598</c:v>
                </c:pt>
                <c:pt idx="406">
                  <c:v>0.79768459839626804</c:v>
                </c:pt>
                <c:pt idx="407">
                  <c:v>0.82524975132239298</c:v>
                </c:pt>
                <c:pt idx="408">
                  <c:v>0.81399919616263505</c:v>
                </c:pt>
                <c:pt idx="409">
                  <c:v>0.85865482829009399</c:v>
                </c:pt>
                <c:pt idx="410">
                  <c:v>0.85387087255530003</c:v>
                </c:pt>
                <c:pt idx="411">
                  <c:v>0.83264118913350205</c:v>
                </c:pt>
                <c:pt idx="412">
                  <c:v>0.81129816034051605</c:v>
                </c:pt>
                <c:pt idx="413">
                  <c:v>0.90392919143849804</c:v>
                </c:pt>
                <c:pt idx="414">
                  <c:v>0.91159908203733397</c:v>
                </c:pt>
                <c:pt idx="415">
                  <c:v>0.92878694304241904</c:v>
                </c:pt>
                <c:pt idx="416">
                  <c:v>0.90017041332227898</c:v>
                </c:pt>
                <c:pt idx="417">
                  <c:v>0.90796132918462402</c:v>
                </c:pt>
                <c:pt idx="418">
                  <c:v>0.84072800850376095</c:v>
                </c:pt>
                <c:pt idx="419">
                  <c:v>0.88645195936225496</c:v>
                </c:pt>
                <c:pt idx="420">
                  <c:v>0.92098012725941103</c:v>
                </c:pt>
                <c:pt idx="421">
                  <c:v>0.927221140530054</c:v>
                </c:pt>
                <c:pt idx="422">
                  <c:v>0.89165245388897796</c:v>
                </c:pt>
                <c:pt idx="423">
                  <c:v>0.90558895450853605</c:v>
                </c:pt>
                <c:pt idx="424">
                  <c:v>0.90640836860278395</c:v>
                </c:pt>
                <c:pt idx="425">
                  <c:v>0.89884223715629097</c:v>
                </c:pt>
                <c:pt idx="426">
                  <c:v>1.0071130446866401</c:v>
                </c:pt>
                <c:pt idx="427">
                  <c:v>1.09708561192342</c:v>
                </c:pt>
                <c:pt idx="428">
                  <c:v>1.09470728783355</c:v>
                </c:pt>
                <c:pt idx="429">
                  <c:v>1.0709589104642101</c:v>
                </c:pt>
                <c:pt idx="430">
                  <c:v>1.06949131596602</c:v>
                </c:pt>
                <c:pt idx="431">
                  <c:v>1.11527212677065</c:v>
                </c:pt>
                <c:pt idx="432">
                  <c:v>1.1182808089623699</c:v>
                </c:pt>
                <c:pt idx="433">
                  <c:v>1.1168214359794899</c:v>
                </c:pt>
                <c:pt idx="434">
                  <c:v>1.1330621841086901</c:v>
                </c:pt>
                <c:pt idx="435">
                  <c:v>1.1149812679359501</c:v>
                </c:pt>
                <c:pt idx="436">
                  <c:v>1.1101199881636901</c:v>
                </c:pt>
                <c:pt idx="437">
                  <c:v>1.10925088643932</c:v>
                </c:pt>
                <c:pt idx="438">
                  <c:v>1.0880879253798801</c:v>
                </c:pt>
                <c:pt idx="439">
                  <c:v>1.0743009435428601</c:v>
                </c:pt>
                <c:pt idx="440">
                  <c:v>1.0533171555806999</c:v>
                </c:pt>
                <c:pt idx="441">
                  <c:v>1.0209102886136401</c:v>
                </c:pt>
                <c:pt idx="442">
                  <c:v>0.99227076161539596</c:v>
                </c:pt>
                <c:pt idx="443">
                  <c:v>0.97538644846887201</c:v>
                </c:pt>
                <c:pt idx="444">
                  <c:v>0.96496847261740504</c:v>
                </c:pt>
                <c:pt idx="445">
                  <c:v>0.94888477370417301</c:v>
                </c:pt>
                <c:pt idx="446">
                  <c:v>0.892243895877875</c:v>
                </c:pt>
                <c:pt idx="447">
                  <c:v>0.80278181127805603</c:v>
                </c:pt>
                <c:pt idx="448">
                  <c:v>0.74584178009503999</c:v>
                </c:pt>
                <c:pt idx="449">
                  <c:v>0.74212588232941201</c:v>
                </c:pt>
                <c:pt idx="450">
                  <c:v>0.766413085110765</c:v>
                </c:pt>
                <c:pt idx="451">
                  <c:v>0.5842711812493</c:v>
                </c:pt>
                <c:pt idx="452">
                  <c:v>0.71753553156146399</c:v>
                </c:pt>
                <c:pt idx="453">
                  <c:v>0.69318455677204305</c:v>
                </c:pt>
                <c:pt idx="454">
                  <c:v>0.79961233680489496</c:v>
                </c:pt>
                <c:pt idx="455">
                  <c:v>0.86277085396631403</c:v>
                </c:pt>
                <c:pt idx="456">
                  <c:v>0.87292842123009695</c:v>
                </c:pt>
                <c:pt idx="457">
                  <c:v>0.888933081645637</c:v>
                </c:pt>
                <c:pt idx="458">
                  <c:v>0.89791951290720595</c:v>
                </c:pt>
                <c:pt idx="459">
                  <c:v>0.90571886883608399</c:v>
                </c:pt>
                <c:pt idx="460">
                  <c:v>0.91204676947157504</c:v>
                </c:pt>
                <c:pt idx="461">
                  <c:v>0.91666851144266104</c:v>
                </c:pt>
                <c:pt idx="462">
                  <c:v>0.92806022196440696</c:v>
                </c:pt>
                <c:pt idx="463">
                  <c:v>0.91189444305227996</c:v>
                </c:pt>
                <c:pt idx="464">
                  <c:v>0.92712954012391002</c:v>
                </c:pt>
                <c:pt idx="465">
                  <c:v>0.94804061878073698</c:v>
                </c:pt>
                <c:pt idx="466">
                  <c:v>0.97683321589710304</c:v>
                </c:pt>
                <c:pt idx="467">
                  <c:v>1.0482536689009501</c:v>
                </c:pt>
                <c:pt idx="468">
                  <c:v>1.1845812461388301</c:v>
                </c:pt>
                <c:pt idx="469">
                  <c:v>0.71913278283192295</c:v>
                </c:pt>
                <c:pt idx="470">
                  <c:v>0.542603506819887</c:v>
                </c:pt>
                <c:pt idx="471">
                  <c:v>0.399826766159745</c:v>
                </c:pt>
                <c:pt idx="472">
                  <c:v>0.4944101531442</c:v>
                </c:pt>
                <c:pt idx="473">
                  <c:v>0.54354443782184603</c:v>
                </c:pt>
                <c:pt idx="474">
                  <c:v>0.60873019132251405</c:v>
                </c:pt>
                <c:pt idx="475">
                  <c:v>0.61285655015968998</c:v>
                </c:pt>
                <c:pt idx="476">
                  <c:v>0.59430934848976003</c:v>
                </c:pt>
                <c:pt idx="477">
                  <c:v>0.54896650841511896</c:v>
                </c:pt>
                <c:pt idx="478">
                  <c:v>0.55574515450370798</c:v>
                </c:pt>
                <c:pt idx="479">
                  <c:v>0.57458390859435504</c:v>
                </c:pt>
                <c:pt idx="480">
                  <c:v>0.57587409413494395</c:v>
                </c:pt>
                <c:pt idx="481">
                  <c:v>0.70436786598803203</c:v>
                </c:pt>
                <c:pt idx="482">
                  <c:v>0.57300414809816302</c:v>
                </c:pt>
                <c:pt idx="483">
                  <c:v>0.69980557402332</c:v>
                </c:pt>
                <c:pt idx="484">
                  <c:v>0.808090298962716</c:v>
                </c:pt>
                <c:pt idx="485">
                  <c:v>0.85425289255821801</c:v>
                </c:pt>
                <c:pt idx="486">
                  <c:v>0.87595970476665797</c:v>
                </c:pt>
                <c:pt idx="487">
                  <c:v>0.87832417715212896</c:v>
                </c:pt>
                <c:pt idx="488">
                  <c:v>0.87169409889113603</c:v>
                </c:pt>
                <c:pt idx="489">
                  <c:v>0.87372876954162504</c:v>
                </c:pt>
                <c:pt idx="490">
                  <c:v>0.862161318766417</c:v>
                </c:pt>
                <c:pt idx="491">
                  <c:v>0.88143479900993005</c:v>
                </c:pt>
                <c:pt idx="492">
                  <c:v>0.90785642984527903</c:v>
                </c:pt>
                <c:pt idx="493">
                  <c:v>0.94466119655927605</c:v>
                </c:pt>
                <c:pt idx="494">
                  <c:v>1.0138577626512899</c:v>
                </c:pt>
                <c:pt idx="495">
                  <c:v>1.0170240901354901</c:v>
                </c:pt>
                <c:pt idx="496">
                  <c:v>0.87339993975101204</c:v>
                </c:pt>
                <c:pt idx="497">
                  <c:v>0.93044925849037796</c:v>
                </c:pt>
                <c:pt idx="498">
                  <c:v>0.90828845167667105</c:v>
                </c:pt>
                <c:pt idx="499">
                  <c:v>0.88180300138018297</c:v>
                </c:pt>
                <c:pt idx="500">
                  <c:v>0.83601727106328205</c:v>
                </c:pt>
                <c:pt idx="501">
                  <c:v>0.85698342227899105</c:v>
                </c:pt>
                <c:pt idx="502">
                  <c:v>0.88917032462134604</c:v>
                </c:pt>
                <c:pt idx="503">
                  <c:v>0.90906179194635495</c:v>
                </c:pt>
                <c:pt idx="504">
                  <c:v>0.88653444980881402</c:v>
                </c:pt>
                <c:pt idx="505">
                  <c:v>0.88820440849833604</c:v>
                </c:pt>
                <c:pt idx="506">
                  <c:v>0.89956832629848105</c:v>
                </c:pt>
                <c:pt idx="507">
                  <c:v>0.88731586959426201</c:v>
                </c:pt>
                <c:pt idx="508">
                  <c:v>0.85094427182267496</c:v>
                </c:pt>
                <c:pt idx="509">
                  <c:v>0.81222406354904397</c:v>
                </c:pt>
                <c:pt idx="510">
                  <c:v>0.80750377845225396</c:v>
                </c:pt>
                <c:pt idx="511">
                  <c:v>0.88944765982376195</c:v>
                </c:pt>
                <c:pt idx="512">
                  <c:v>0.91863957185397604</c:v>
                </c:pt>
                <c:pt idx="513">
                  <c:v>0.93095353313710905</c:v>
                </c:pt>
                <c:pt idx="514">
                  <c:v>0.94308540721433498</c:v>
                </c:pt>
                <c:pt idx="515">
                  <c:v>0.920764764135654</c:v>
                </c:pt>
                <c:pt idx="516">
                  <c:v>0.939002528114942</c:v>
                </c:pt>
                <c:pt idx="517">
                  <c:v>0.98047596101428702</c:v>
                </c:pt>
                <c:pt idx="518">
                  <c:v>0.997623842287093</c:v>
                </c:pt>
                <c:pt idx="519">
                  <c:v>0.98889851562889197</c:v>
                </c:pt>
                <c:pt idx="520">
                  <c:v>0.96751520713701</c:v>
                </c:pt>
                <c:pt idx="521">
                  <c:v>0.94338271278434405</c:v>
                </c:pt>
                <c:pt idx="522">
                  <c:v>1.00097425229499</c:v>
                </c:pt>
                <c:pt idx="523">
                  <c:v>0.97149055289519703</c:v>
                </c:pt>
                <c:pt idx="524">
                  <c:v>0.944907986798182</c:v>
                </c:pt>
                <c:pt idx="525">
                  <c:v>0.89176740514282105</c:v>
                </c:pt>
                <c:pt idx="526">
                  <c:v>0.86314435345212204</c:v>
                </c:pt>
                <c:pt idx="527">
                  <c:v>0.85420922578076697</c:v>
                </c:pt>
                <c:pt idx="528">
                  <c:v>0.78355383592354499</c:v>
                </c:pt>
                <c:pt idx="529">
                  <c:v>0.86406977875250202</c:v>
                </c:pt>
                <c:pt idx="530">
                  <c:v>0.86501521972560103</c:v>
                </c:pt>
                <c:pt idx="531">
                  <c:v>0.86132103023898199</c:v>
                </c:pt>
                <c:pt idx="532">
                  <c:v>0.805769802361883</c:v>
                </c:pt>
                <c:pt idx="533">
                  <c:v>0.80360966503845899</c:v>
                </c:pt>
                <c:pt idx="534">
                  <c:v>0.81103265169170802</c:v>
                </c:pt>
                <c:pt idx="535">
                  <c:v>0.86676539865443203</c:v>
                </c:pt>
                <c:pt idx="536">
                  <c:v>0.83533077423027302</c:v>
                </c:pt>
                <c:pt idx="537">
                  <c:v>0.80770881763302205</c:v>
                </c:pt>
                <c:pt idx="538">
                  <c:v>0.79433179730672598</c:v>
                </c:pt>
                <c:pt idx="539">
                  <c:v>0.78700508424211602</c:v>
                </c:pt>
                <c:pt idx="540">
                  <c:v>0.79303238222500605</c:v>
                </c:pt>
                <c:pt idx="541">
                  <c:v>0.79966003350200998</c:v>
                </c:pt>
                <c:pt idx="542">
                  <c:v>0.80447242300375199</c:v>
                </c:pt>
                <c:pt idx="543">
                  <c:v>0.80768658965750495</c:v>
                </c:pt>
                <c:pt idx="544">
                  <c:v>0.78766331966294101</c:v>
                </c:pt>
                <c:pt idx="545">
                  <c:v>0.78583804506078303</c:v>
                </c:pt>
                <c:pt idx="546">
                  <c:v>0.77909631231043597</c:v>
                </c:pt>
                <c:pt idx="547">
                  <c:v>0.74021816888269198</c:v>
                </c:pt>
                <c:pt idx="548">
                  <c:v>0.77481240516961902</c:v>
                </c:pt>
                <c:pt idx="549">
                  <c:v>0.82708454748887195</c:v>
                </c:pt>
                <c:pt idx="550">
                  <c:v>0.93617980281763802</c:v>
                </c:pt>
                <c:pt idx="551">
                  <c:v>0.97665328287370201</c:v>
                </c:pt>
                <c:pt idx="552">
                  <c:v>0.96370091415928805</c:v>
                </c:pt>
                <c:pt idx="553">
                  <c:v>0.96265389486474695</c:v>
                </c:pt>
                <c:pt idx="554">
                  <c:v>0.94127382231881096</c:v>
                </c:pt>
                <c:pt idx="555">
                  <c:v>0.94242561266297098</c:v>
                </c:pt>
                <c:pt idx="556">
                  <c:v>0.94706824531300704</c:v>
                </c:pt>
                <c:pt idx="557">
                  <c:v>0.90726823193830697</c:v>
                </c:pt>
                <c:pt idx="558">
                  <c:v>0.90912356728080801</c:v>
                </c:pt>
                <c:pt idx="559">
                  <c:v>0.91273867447478496</c:v>
                </c:pt>
                <c:pt idx="560">
                  <c:v>0.93689538813025997</c:v>
                </c:pt>
                <c:pt idx="561">
                  <c:v>0.88567273364885202</c:v>
                </c:pt>
                <c:pt idx="562">
                  <c:v>0.84218420860458598</c:v>
                </c:pt>
                <c:pt idx="563">
                  <c:v>0.88194942209209504</c:v>
                </c:pt>
                <c:pt idx="564">
                  <c:v>0.89837554248290397</c:v>
                </c:pt>
                <c:pt idx="565">
                  <c:v>0.88702861505379305</c:v>
                </c:pt>
                <c:pt idx="566">
                  <c:v>0.93263785355859197</c:v>
                </c:pt>
                <c:pt idx="567">
                  <c:v>0.92773211334908101</c:v>
                </c:pt>
                <c:pt idx="568">
                  <c:v>0.94727252720465305</c:v>
                </c:pt>
                <c:pt idx="569">
                  <c:v>0.94209003383022605</c:v>
                </c:pt>
                <c:pt idx="570">
                  <c:v>0.95689634092825004</c:v>
                </c:pt>
                <c:pt idx="571">
                  <c:v>0.946186759840285</c:v>
                </c:pt>
                <c:pt idx="572">
                  <c:v>0.94705399630268206</c:v>
                </c:pt>
                <c:pt idx="573">
                  <c:v>0.94725969533309096</c:v>
                </c:pt>
                <c:pt idx="574">
                  <c:v>0.95168875643973805</c:v>
                </c:pt>
                <c:pt idx="575">
                  <c:v>0.98569325156584697</c:v>
                </c:pt>
                <c:pt idx="576">
                  <c:v>1.0362513306905099</c:v>
                </c:pt>
                <c:pt idx="577">
                  <c:v>1.0826920861410501</c:v>
                </c:pt>
                <c:pt idx="578">
                  <c:v>0.91577664029102701</c:v>
                </c:pt>
                <c:pt idx="579">
                  <c:v>0.943550409561554</c:v>
                </c:pt>
                <c:pt idx="580">
                  <c:v>0.91426171047268801</c:v>
                </c:pt>
                <c:pt idx="581">
                  <c:v>0.93114222380382705</c:v>
                </c:pt>
                <c:pt idx="582">
                  <c:v>0.95568129531883295</c:v>
                </c:pt>
                <c:pt idx="583">
                  <c:v>0.94650087559804497</c:v>
                </c:pt>
                <c:pt idx="584">
                  <c:v>0.94219697510993805</c:v>
                </c:pt>
                <c:pt idx="585">
                  <c:v>0.95619891142668201</c:v>
                </c:pt>
                <c:pt idx="586">
                  <c:v>0.94338905211664503</c:v>
                </c:pt>
                <c:pt idx="587">
                  <c:v>0.955061593053814</c:v>
                </c:pt>
                <c:pt idx="588">
                  <c:v>0.965709098075068</c:v>
                </c:pt>
                <c:pt idx="589">
                  <c:v>0.96397113579458904</c:v>
                </c:pt>
                <c:pt idx="590">
                  <c:v>0.95251128174492306</c:v>
                </c:pt>
                <c:pt idx="591">
                  <c:v>0.96293847703342395</c:v>
                </c:pt>
                <c:pt idx="592">
                  <c:v>0.94938280392603902</c:v>
                </c:pt>
                <c:pt idx="593">
                  <c:v>0.93554386869190698</c:v>
                </c:pt>
                <c:pt idx="594">
                  <c:v>0.92945278141847298</c:v>
                </c:pt>
                <c:pt idx="595">
                  <c:v>1.12192682952366</c:v>
                </c:pt>
                <c:pt idx="596">
                  <c:v>0.88130708928271495</c:v>
                </c:pt>
                <c:pt idx="597">
                  <c:v>0.97892951326000099</c:v>
                </c:pt>
                <c:pt idx="598">
                  <c:v>1.0044894364660599</c:v>
                </c:pt>
                <c:pt idx="599">
                  <c:v>1.0259103363378701</c:v>
                </c:pt>
                <c:pt idx="600">
                  <c:v>0.96141993310936302</c:v>
                </c:pt>
                <c:pt idx="601">
                  <c:v>1.00588221058563</c:v>
                </c:pt>
                <c:pt idx="602">
                  <c:v>0.97246724136517004</c:v>
                </c:pt>
                <c:pt idx="603">
                  <c:v>0.983750015771786</c:v>
                </c:pt>
                <c:pt idx="604">
                  <c:v>0.98951179774019304</c:v>
                </c:pt>
                <c:pt idx="605">
                  <c:v>1.00738521478132</c:v>
                </c:pt>
                <c:pt idx="606">
                  <c:v>0.99891816895367402</c:v>
                </c:pt>
                <c:pt idx="607">
                  <c:v>1.0252039467452301</c:v>
                </c:pt>
                <c:pt idx="608">
                  <c:v>0.97876877826283604</c:v>
                </c:pt>
                <c:pt idx="609">
                  <c:v>0.96253711384804597</c:v>
                </c:pt>
                <c:pt idx="610">
                  <c:v>0.95683484620605597</c:v>
                </c:pt>
                <c:pt idx="611">
                  <c:v>0.95317574754465495</c:v>
                </c:pt>
                <c:pt idx="612">
                  <c:v>0.94863977256947496</c:v>
                </c:pt>
                <c:pt idx="613">
                  <c:v>0.93611341045020302</c:v>
                </c:pt>
                <c:pt idx="614">
                  <c:v>0.932402546561093</c:v>
                </c:pt>
                <c:pt idx="615">
                  <c:v>0.896769634422799</c:v>
                </c:pt>
                <c:pt idx="616">
                  <c:v>0.84281635533544597</c:v>
                </c:pt>
                <c:pt idx="617">
                  <c:v>0.74039644404249205</c:v>
                </c:pt>
                <c:pt idx="618">
                  <c:v>0.69997109024923898</c:v>
                </c:pt>
                <c:pt idx="619">
                  <c:v>0.85656353619712999</c:v>
                </c:pt>
                <c:pt idx="620">
                  <c:v>0.83879946182566201</c:v>
                </c:pt>
                <c:pt idx="621">
                  <c:v>0.80615792601088199</c:v>
                </c:pt>
                <c:pt idx="622">
                  <c:v>0.64373287673735002</c:v>
                </c:pt>
                <c:pt idx="623">
                  <c:v>0.81110405898454196</c:v>
                </c:pt>
                <c:pt idx="624">
                  <c:v>0.82708878825229104</c:v>
                </c:pt>
                <c:pt idx="625">
                  <c:v>0.87486556348905498</c:v>
                </c:pt>
                <c:pt idx="626">
                  <c:v>0.88509355435060899</c:v>
                </c:pt>
                <c:pt idx="627">
                  <c:v>0.90564830313969902</c:v>
                </c:pt>
                <c:pt idx="628">
                  <c:v>0.91339553981496102</c:v>
                </c:pt>
                <c:pt idx="629">
                  <c:v>0.92065931532936796</c:v>
                </c:pt>
                <c:pt idx="630">
                  <c:v>0.92944965062003804</c:v>
                </c:pt>
                <c:pt idx="631">
                  <c:v>0.93046867112665299</c:v>
                </c:pt>
                <c:pt idx="632">
                  <c:v>0.79533769862094805</c:v>
                </c:pt>
                <c:pt idx="633">
                  <c:v>0.77356657648608496</c:v>
                </c:pt>
                <c:pt idx="634">
                  <c:v>0.78874641612567298</c:v>
                </c:pt>
                <c:pt idx="635">
                  <c:v>0.77679989248944903</c:v>
                </c:pt>
                <c:pt idx="636">
                  <c:v>0.78352777585667199</c:v>
                </c:pt>
                <c:pt idx="637">
                  <c:v>0.75784822032543397</c:v>
                </c:pt>
                <c:pt idx="638">
                  <c:v>0.72898891477690597</c:v>
                </c:pt>
                <c:pt idx="639">
                  <c:v>0.70666927493100296</c:v>
                </c:pt>
                <c:pt idx="640">
                  <c:v>0.666281984713467</c:v>
                </c:pt>
                <c:pt idx="641">
                  <c:v>0.71118315895317297</c:v>
                </c:pt>
                <c:pt idx="642">
                  <c:v>0.70866218589435404</c:v>
                </c:pt>
                <c:pt idx="643">
                  <c:v>0.72823821414469503</c:v>
                </c:pt>
                <c:pt idx="644">
                  <c:v>0.71396850539142998</c:v>
                </c:pt>
                <c:pt idx="645">
                  <c:v>0.68799066006831899</c:v>
                </c:pt>
                <c:pt idx="646">
                  <c:v>0.66827837424657099</c:v>
                </c:pt>
                <c:pt idx="647">
                  <c:v>0.63306529247221899</c:v>
                </c:pt>
                <c:pt idx="648">
                  <c:v>0.57786903863557104</c:v>
                </c:pt>
                <c:pt idx="649">
                  <c:v>0.56206671337738501</c:v>
                </c:pt>
                <c:pt idx="650">
                  <c:v>0.65963800031744702</c:v>
                </c:pt>
                <c:pt idx="651">
                  <c:v>0.79588852234471996</c:v>
                </c:pt>
                <c:pt idx="652">
                  <c:v>0.85989070678611401</c:v>
                </c:pt>
                <c:pt idx="653">
                  <c:v>0.96678250189959902</c:v>
                </c:pt>
                <c:pt idx="654">
                  <c:v>0.98240444169365404</c:v>
                </c:pt>
                <c:pt idx="655">
                  <c:v>0.99049661218275498</c:v>
                </c:pt>
                <c:pt idx="656">
                  <c:v>0.973048702193824</c:v>
                </c:pt>
                <c:pt idx="657">
                  <c:v>1.04352752782231</c:v>
                </c:pt>
                <c:pt idx="658">
                  <c:v>0.99296904661395702</c:v>
                </c:pt>
                <c:pt idx="659">
                  <c:v>1.0119299385699101</c:v>
                </c:pt>
                <c:pt idx="660">
                  <c:v>1.0267949049374201</c:v>
                </c:pt>
                <c:pt idx="661">
                  <c:v>1.0273655898395799</c:v>
                </c:pt>
                <c:pt idx="662">
                  <c:v>1.0308066082807701</c:v>
                </c:pt>
                <c:pt idx="663">
                  <c:v>0.93152973713794596</c:v>
                </c:pt>
                <c:pt idx="664">
                  <c:v>0.91925105058655998</c:v>
                </c:pt>
                <c:pt idx="665">
                  <c:v>0.94222170058854904</c:v>
                </c:pt>
                <c:pt idx="666">
                  <c:v>0.85290484200528205</c:v>
                </c:pt>
                <c:pt idx="667">
                  <c:v>0.888631722818087</c:v>
                </c:pt>
                <c:pt idx="668">
                  <c:v>0.86612545973291599</c:v>
                </c:pt>
                <c:pt idx="669">
                  <c:v>0.89446907112448604</c:v>
                </c:pt>
                <c:pt idx="670">
                  <c:v>0.93988915338978396</c:v>
                </c:pt>
                <c:pt idx="671">
                  <c:v>0.96649115439389899</c:v>
                </c:pt>
                <c:pt idx="672">
                  <c:v>0.875815509495522</c:v>
                </c:pt>
                <c:pt idx="673">
                  <c:v>0.80460873341720596</c:v>
                </c:pt>
                <c:pt idx="674">
                  <c:v>0.77457903124247895</c:v>
                </c:pt>
                <c:pt idx="675">
                  <c:v>0.78793187606820703</c:v>
                </c:pt>
                <c:pt idx="676">
                  <c:v>0.769890409763334</c:v>
                </c:pt>
                <c:pt idx="677">
                  <c:v>0.78228733005170703</c:v>
                </c:pt>
                <c:pt idx="678">
                  <c:v>0.81869156507251795</c:v>
                </c:pt>
                <c:pt idx="679">
                  <c:v>0.84353618380165696</c:v>
                </c:pt>
                <c:pt idx="680">
                  <c:v>0.92665599793099596</c:v>
                </c:pt>
                <c:pt idx="681">
                  <c:v>0.81460928824291301</c:v>
                </c:pt>
                <c:pt idx="682">
                  <c:v>0.72386115911162896</c:v>
                </c:pt>
                <c:pt idx="683">
                  <c:v>0.73260958572797996</c:v>
                </c:pt>
                <c:pt idx="684">
                  <c:v>0.69399738602369798</c:v>
                </c:pt>
                <c:pt idx="685">
                  <c:v>0.73445074833539303</c:v>
                </c:pt>
                <c:pt idx="686">
                  <c:v>0.73080180375735804</c:v>
                </c:pt>
                <c:pt idx="687">
                  <c:v>0.75604029399681905</c:v>
                </c:pt>
                <c:pt idx="688">
                  <c:v>0.78844309018407099</c:v>
                </c:pt>
                <c:pt idx="689">
                  <c:v>0.79061478520764805</c:v>
                </c:pt>
                <c:pt idx="690">
                  <c:v>0.82732177093352299</c:v>
                </c:pt>
                <c:pt idx="691">
                  <c:v>0.88339990630815501</c:v>
                </c:pt>
                <c:pt idx="692">
                  <c:v>0.87867622386493605</c:v>
                </c:pt>
                <c:pt idx="693">
                  <c:v>0.88151213223666403</c:v>
                </c:pt>
                <c:pt idx="694">
                  <c:v>0.87782866759827305</c:v>
                </c:pt>
                <c:pt idx="695">
                  <c:v>0.87658619758766598</c:v>
                </c:pt>
                <c:pt idx="696">
                  <c:v>0.86444341154583004</c:v>
                </c:pt>
                <c:pt idx="697">
                  <c:v>0.85720331859433196</c:v>
                </c:pt>
                <c:pt idx="698">
                  <c:v>0.76617559916446198</c:v>
                </c:pt>
                <c:pt idx="699">
                  <c:v>0.74037231228674905</c:v>
                </c:pt>
                <c:pt idx="700">
                  <c:v>0.78590106118201297</c:v>
                </c:pt>
                <c:pt idx="701">
                  <c:v>0.91136904130052498</c:v>
                </c:pt>
                <c:pt idx="702">
                  <c:v>0.940818650876454</c:v>
                </c:pt>
                <c:pt idx="703">
                  <c:v>0.95499202817933104</c:v>
                </c:pt>
                <c:pt idx="704">
                  <c:v>0.95624546293128598</c:v>
                </c:pt>
                <c:pt idx="705">
                  <c:v>0.96965737538340602</c:v>
                </c:pt>
                <c:pt idx="706">
                  <c:v>0.98997343852897601</c:v>
                </c:pt>
                <c:pt idx="707">
                  <c:v>0.99519294535198299</c:v>
                </c:pt>
                <c:pt idx="708">
                  <c:v>0.91872421337893495</c:v>
                </c:pt>
                <c:pt idx="709">
                  <c:v>0.90863521613216003</c:v>
                </c:pt>
                <c:pt idx="710">
                  <c:v>0.92295572725777897</c:v>
                </c:pt>
                <c:pt idx="711">
                  <c:v>0.91209188019426202</c:v>
                </c:pt>
                <c:pt idx="712">
                  <c:v>0.94248046958184895</c:v>
                </c:pt>
                <c:pt idx="713">
                  <c:v>0.97089085358318605</c:v>
                </c:pt>
                <c:pt idx="714">
                  <c:v>0.95598383634567796</c:v>
                </c:pt>
                <c:pt idx="715">
                  <c:v>1.0320250449057899</c:v>
                </c:pt>
                <c:pt idx="716">
                  <c:v>0.93653984769985699</c:v>
                </c:pt>
                <c:pt idx="717">
                  <c:v>0.92688510269236002</c:v>
                </c:pt>
                <c:pt idx="718">
                  <c:v>0.93448251558028095</c:v>
                </c:pt>
                <c:pt idx="719">
                  <c:v>0.95964277560778799</c:v>
                </c:pt>
                <c:pt idx="720">
                  <c:v>0.948857645082538</c:v>
                </c:pt>
                <c:pt idx="721">
                  <c:v>0.92845758823728297</c:v>
                </c:pt>
                <c:pt idx="722">
                  <c:v>0.93263346821397197</c:v>
                </c:pt>
                <c:pt idx="723">
                  <c:v>0.92100851527712002</c:v>
                </c:pt>
                <c:pt idx="724">
                  <c:v>0.92291495629740095</c:v>
                </c:pt>
                <c:pt idx="725">
                  <c:v>0.93452267417830504</c:v>
                </c:pt>
                <c:pt idx="726">
                  <c:v>0.91562906158232904</c:v>
                </c:pt>
                <c:pt idx="727">
                  <c:v>0.89626318732559296</c:v>
                </c:pt>
                <c:pt idx="728">
                  <c:v>0.91002664899359298</c:v>
                </c:pt>
                <c:pt idx="729">
                  <c:v>0.91526672041460899</c:v>
                </c:pt>
                <c:pt idx="730">
                  <c:v>0.93438495542830502</c:v>
                </c:pt>
                <c:pt idx="731">
                  <c:v>0.94010341017515298</c:v>
                </c:pt>
                <c:pt idx="732">
                  <c:v>0.91405500110580795</c:v>
                </c:pt>
                <c:pt idx="733">
                  <c:v>0.95378686615308395</c:v>
                </c:pt>
                <c:pt idx="734">
                  <c:v>0.951029818237629</c:v>
                </c:pt>
                <c:pt idx="735">
                  <c:v>0.98975147256041196</c:v>
                </c:pt>
                <c:pt idx="736">
                  <c:v>0.94042858063567503</c:v>
                </c:pt>
                <c:pt idx="737">
                  <c:v>0.93171815851262396</c:v>
                </c:pt>
                <c:pt idx="738">
                  <c:v>0.95692533245907696</c:v>
                </c:pt>
                <c:pt idx="739">
                  <c:v>0.95726386615673997</c:v>
                </c:pt>
                <c:pt idx="740">
                  <c:v>0.980548276530395</c:v>
                </c:pt>
                <c:pt idx="741">
                  <c:v>1.00672360354475</c:v>
                </c:pt>
                <c:pt idx="742">
                  <c:v>1.02321631395402</c:v>
                </c:pt>
                <c:pt idx="743">
                  <c:v>1.00093879834723</c:v>
                </c:pt>
                <c:pt idx="744">
                  <c:v>0.98550925892972896</c:v>
                </c:pt>
                <c:pt idx="745">
                  <c:v>0.944812470916919</c:v>
                </c:pt>
                <c:pt idx="746">
                  <c:v>0.92576585100830999</c:v>
                </c:pt>
                <c:pt idx="747">
                  <c:v>0.89571307966825198</c:v>
                </c:pt>
                <c:pt idx="748">
                  <c:v>0.86580501014594902</c:v>
                </c:pt>
                <c:pt idx="749">
                  <c:v>0.84771124288640398</c:v>
                </c:pt>
                <c:pt idx="750">
                  <c:v>0.79127074423195098</c:v>
                </c:pt>
                <c:pt idx="751">
                  <c:v>0.66400856731773195</c:v>
                </c:pt>
                <c:pt idx="752">
                  <c:v>0.635471164911249</c:v>
                </c:pt>
                <c:pt idx="753">
                  <c:v>0.68146383205695404</c:v>
                </c:pt>
                <c:pt idx="754">
                  <c:v>0.69904381801597404</c:v>
                </c:pt>
                <c:pt idx="755">
                  <c:v>0.68033726162529895</c:v>
                </c:pt>
                <c:pt idx="756">
                  <c:v>0.69224739419015502</c:v>
                </c:pt>
                <c:pt idx="757">
                  <c:v>0.59704497111989696</c:v>
                </c:pt>
                <c:pt idx="758">
                  <c:v>0.76141142254606398</c:v>
                </c:pt>
                <c:pt idx="759">
                  <c:v>0.79245139103449003</c:v>
                </c:pt>
                <c:pt idx="760">
                  <c:v>0.81889067120206505</c:v>
                </c:pt>
                <c:pt idx="761">
                  <c:v>0.83748221210756102</c:v>
                </c:pt>
                <c:pt idx="762">
                  <c:v>0.82733855321606398</c:v>
                </c:pt>
                <c:pt idx="763">
                  <c:v>0.838412136757964</c:v>
                </c:pt>
                <c:pt idx="764">
                  <c:v>0.88397240700932</c:v>
                </c:pt>
                <c:pt idx="765">
                  <c:v>0.893395046745597</c:v>
                </c:pt>
                <c:pt idx="766">
                  <c:v>0.89615911783505098</c:v>
                </c:pt>
                <c:pt idx="767">
                  <c:v>0.87753570393164504</c:v>
                </c:pt>
                <c:pt idx="768">
                  <c:v>0.88274886357266302</c:v>
                </c:pt>
                <c:pt idx="769">
                  <c:v>0.95160442426263303</c:v>
                </c:pt>
                <c:pt idx="770">
                  <c:v>0.94904154181534095</c:v>
                </c:pt>
                <c:pt idx="771">
                  <c:v>0.94663278452517596</c:v>
                </c:pt>
                <c:pt idx="772">
                  <c:v>0.97307890776941797</c:v>
                </c:pt>
                <c:pt idx="773">
                  <c:v>0.94841823023321603</c:v>
                </c:pt>
                <c:pt idx="774">
                  <c:v>0.96729444765482997</c:v>
                </c:pt>
                <c:pt idx="775">
                  <c:v>0.97103408270539004</c:v>
                </c:pt>
                <c:pt idx="776">
                  <c:v>0.91916768060753695</c:v>
                </c:pt>
                <c:pt idx="777">
                  <c:v>0.884760737325338</c:v>
                </c:pt>
                <c:pt idx="778">
                  <c:v>0.82378066947862305</c:v>
                </c:pt>
                <c:pt idx="779">
                  <c:v>0.78679048801024598</c:v>
                </c:pt>
                <c:pt idx="780">
                  <c:v>0.76167155855264501</c:v>
                </c:pt>
                <c:pt idx="781">
                  <c:v>0.78824933570602895</c:v>
                </c:pt>
                <c:pt idx="782">
                  <c:v>0.83062447032782705</c:v>
                </c:pt>
                <c:pt idx="783">
                  <c:v>0.89853793360762002</c:v>
                </c:pt>
                <c:pt idx="784">
                  <c:v>0.97362739531728903</c:v>
                </c:pt>
                <c:pt idx="785">
                  <c:v>1.0178722036885901</c:v>
                </c:pt>
                <c:pt idx="786">
                  <c:v>0.90984675108064605</c:v>
                </c:pt>
                <c:pt idx="787">
                  <c:v>0.93432163910315402</c:v>
                </c:pt>
                <c:pt idx="788">
                  <c:v>0.98277617137672102</c:v>
                </c:pt>
                <c:pt idx="789">
                  <c:v>0.93756824718086795</c:v>
                </c:pt>
                <c:pt idx="790">
                  <c:v>0.95623514564303003</c:v>
                </c:pt>
                <c:pt idx="791">
                  <c:v>0.97540368234401398</c:v>
                </c:pt>
                <c:pt idx="792">
                  <c:v>0.97267121792309197</c:v>
                </c:pt>
                <c:pt idx="793">
                  <c:v>0.98669080634568795</c:v>
                </c:pt>
                <c:pt idx="794">
                  <c:v>0.88925637419615899</c:v>
                </c:pt>
                <c:pt idx="795">
                  <c:v>0.86903364908837999</c:v>
                </c:pt>
                <c:pt idx="796">
                  <c:v>0.84486881167162897</c:v>
                </c:pt>
                <c:pt idx="797">
                  <c:v>0.83523197183222397</c:v>
                </c:pt>
                <c:pt idx="798">
                  <c:v>0.83476290514873797</c:v>
                </c:pt>
                <c:pt idx="799">
                  <c:v>0.80561599335600897</c:v>
                </c:pt>
                <c:pt idx="800">
                  <c:v>0.82750217736097997</c:v>
                </c:pt>
                <c:pt idx="801">
                  <c:v>0.840041381793461</c:v>
                </c:pt>
                <c:pt idx="802">
                  <c:v>0.883575581712289</c:v>
                </c:pt>
                <c:pt idx="803">
                  <c:v>0.89338651127139002</c:v>
                </c:pt>
                <c:pt idx="804">
                  <c:v>0.902861025653792</c:v>
                </c:pt>
                <c:pt idx="805">
                  <c:v>0.86950366284866798</c:v>
                </c:pt>
                <c:pt idx="806">
                  <c:v>0.857003608292219</c:v>
                </c:pt>
                <c:pt idx="807">
                  <c:v>0.887671903623798</c:v>
                </c:pt>
                <c:pt idx="808">
                  <c:v>0.884545688724243</c:v>
                </c:pt>
                <c:pt idx="809">
                  <c:v>0.85266071838438595</c:v>
                </c:pt>
                <c:pt idx="810">
                  <c:v>0.87394072605232997</c:v>
                </c:pt>
                <c:pt idx="811">
                  <c:v>0.87566134150561103</c:v>
                </c:pt>
                <c:pt idx="812">
                  <c:v>0.88134835205941098</c:v>
                </c:pt>
                <c:pt idx="813">
                  <c:v>0.862350963653431</c:v>
                </c:pt>
                <c:pt idx="814">
                  <c:v>0.83433218480262505</c:v>
                </c:pt>
                <c:pt idx="815">
                  <c:v>0.81892512512537596</c:v>
                </c:pt>
                <c:pt idx="816">
                  <c:v>0.84888845191455697</c:v>
                </c:pt>
                <c:pt idx="817">
                  <c:v>0.81278251125886503</c:v>
                </c:pt>
                <c:pt idx="818">
                  <c:v>0.82667353095496299</c:v>
                </c:pt>
                <c:pt idx="819">
                  <c:v>0.83123931133768902</c:v>
                </c:pt>
                <c:pt idx="820">
                  <c:v>0.91130777300893995</c:v>
                </c:pt>
                <c:pt idx="821">
                  <c:v>0.91188998867884197</c:v>
                </c:pt>
                <c:pt idx="822">
                  <c:v>0.90397705710006704</c:v>
                </c:pt>
                <c:pt idx="823">
                  <c:v>0.91014602344617601</c:v>
                </c:pt>
                <c:pt idx="824">
                  <c:v>0.84489984027647003</c:v>
                </c:pt>
                <c:pt idx="825">
                  <c:v>0.86024498051717602</c:v>
                </c:pt>
                <c:pt idx="826">
                  <c:v>0.82249235714126001</c:v>
                </c:pt>
                <c:pt idx="827">
                  <c:v>0.808629992283457</c:v>
                </c:pt>
                <c:pt idx="828">
                  <c:v>0.74347632361918603</c:v>
                </c:pt>
                <c:pt idx="829">
                  <c:v>0.70740136424397404</c:v>
                </c:pt>
                <c:pt idx="830">
                  <c:v>0.79213414217061495</c:v>
                </c:pt>
                <c:pt idx="831">
                  <c:v>0.83813553818106501</c:v>
                </c:pt>
                <c:pt idx="832">
                  <c:v>0.80727062722213605</c:v>
                </c:pt>
                <c:pt idx="833">
                  <c:v>0.84751588272169198</c:v>
                </c:pt>
                <c:pt idx="834">
                  <c:v>0.85881123302531803</c:v>
                </c:pt>
                <c:pt idx="835">
                  <c:v>0.89704686152222801</c:v>
                </c:pt>
                <c:pt idx="836">
                  <c:v>0.89544740476086504</c:v>
                </c:pt>
                <c:pt idx="837">
                  <c:v>0.90172125906682299</c:v>
                </c:pt>
                <c:pt idx="838">
                  <c:v>0.90469391859174497</c:v>
                </c:pt>
                <c:pt idx="839">
                  <c:v>0.89360767414587094</c:v>
                </c:pt>
                <c:pt idx="840">
                  <c:v>0.88883004270422405</c:v>
                </c:pt>
                <c:pt idx="841">
                  <c:v>0.89741625810403203</c:v>
                </c:pt>
                <c:pt idx="842">
                  <c:v>0.90689850665692495</c:v>
                </c:pt>
                <c:pt idx="843">
                  <c:v>0.86205201613945104</c:v>
                </c:pt>
                <c:pt idx="844">
                  <c:v>0.92334819528114798</c:v>
                </c:pt>
                <c:pt idx="845">
                  <c:v>0.95526327597354499</c:v>
                </c:pt>
                <c:pt idx="846">
                  <c:v>0.96254363368092999</c:v>
                </c:pt>
                <c:pt idx="847">
                  <c:v>0.92783253316011505</c:v>
                </c:pt>
                <c:pt idx="848">
                  <c:v>0.95214410174284902</c:v>
                </c:pt>
                <c:pt idx="849">
                  <c:v>0.95930297117420504</c:v>
                </c:pt>
                <c:pt idx="850">
                  <c:v>0.95472758146588099</c:v>
                </c:pt>
                <c:pt idx="851">
                  <c:v>0.95805410830011495</c:v>
                </c:pt>
                <c:pt idx="852">
                  <c:v>0.92418562730778697</c:v>
                </c:pt>
                <c:pt idx="853">
                  <c:v>0.90978158191591596</c:v>
                </c:pt>
                <c:pt idx="854">
                  <c:v>0.91538744771738501</c:v>
                </c:pt>
                <c:pt idx="855">
                  <c:v>0.93070112306979302</c:v>
                </c:pt>
                <c:pt idx="856">
                  <c:v>0.88992815125770897</c:v>
                </c:pt>
                <c:pt idx="857">
                  <c:v>0.89537627926547203</c:v>
                </c:pt>
                <c:pt idx="858">
                  <c:v>0.88471903355525205</c:v>
                </c:pt>
                <c:pt idx="859">
                  <c:v>0.94069862900131496</c:v>
                </c:pt>
                <c:pt idx="860">
                  <c:v>0.81760007051298</c:v>
                </c:pt>
                <c:pt idx="861">
                  <c:v>0.76032138223113899</c:v>
                </c:pt>
                <c:pt idx="862">
                  <c:v>0.79568553501574701</c:v>
                </c:pt>
                <c:pt idx="863">
                  <c:v>0.92751157565096898</c:v>
                </c:pt>
                <c:pt idx="864">
                  <c:v>0.93550864979189596</c:v>
                </c:pt>
                <c:pt idx="865">
                  <c:v>0.97452076029661305</c:v>
                </c:pt>
                <c:pt idx="866">
                  <c:v>1.0353032235544899</c:v>
                </c:pt>
                <c:pt idx="867">
                  <c:v>1.0855638607687099</c:v>
                </c:pt>
                <c:pt idx="868">
                  <c:v>1.14628018008638</c:v>
                </c:pt>
                <c:pt idx="869">
                  <c:v>1.1912175675535099</c:v>
                </c:pt>
                <c:pt idx="870">
                  <c:v>1.12903016303292</c:v>
                </c:pt>
                <c:pt idx="871">
                  <c:v>1.08308337480633</c:v>
                </c:pt>
                <c:pt idx="872">
                  <c:v>1.11589725608562</c:v>
                </c:pt>
                <c:pt idx="873">
                  <c:v>1.1328139087334199</c:v>
                </c:pt>
                <c:pt idx="874">
                  <c:v>1.0691266233003101</c:v>
                </c:pt>
                <c:pt idx="875">
                  <c:v>1.10320434633875</c:v>
                </c:pt>
                <c:pt idx="876">
                  <c:v>1.03423654625484</c:v>
                </c:pt>
                <c:pt idx="877">
                  <c:v>0.98765197026191298</c:v>
                </c:pt>
                <c:pt idx="878">
                  <c:v>0.951879723157946</c:v>
                </c:pt>
                <c:pt idx="879">
                  <c:v>0.867494696859618</c:v>
                </c:pt>
                <c:pt idx="880">
                  <c:v>0.85641583690411505</c:v>
                </c:pt>
                <c:pt idx="881">
                  <c:v>0.91131087204924499</c:v>
                </c:pt>
                <c:pt idx="882">
                  <c:v>0.92405066930456303</c:v>
                </c:pt>
                <c:pt idx="883">
                  <c:v>0.94677069597510599</c:v>
                </c:pt>
                <c:pt idx="884">
                  <c:v>0.94361884859152501</c:v>
                </c:pt>
                <c:pt idx="885">
                  <c:v>0.94258842950383004</c:v>
                </c:pt>
                <c:pt idx="886">
                  <c:v>0.952050267021193</c:v>
                </c:pt>
                <c:pt idx="887">
                  <c:v>0.96498511464273795</c:v>
                </c:pt>
                <c:pt idx="888">
                  <c:v>0.93764291680565304</c:v>
                </c:pt>
                <c:pt idx="889">
                  <c:v>0.94918740435010096</c:v>
                </c:pt>
                <c:pt idx="890">
                  <c:v>0.96356570692397703</c:v>
                </c:pt>
                <c:pt idx="891">
                  <c:v>0.950220506173999</c:v>
                </c:pt>
                <c:pt idx="892">
                  <c:v>0.98847584220620699</c:v>
                </c:pt>
                <c:pt idx="893">
                  <c:v>0.98271527165368799</c:v>
                </c:pt>
                <c:pt idx="894">
                  <c:v>0.96586110631308997</c:v>
                </c:pt>
                <c:pt idx="895">
                  <c:v>0.99816685420203</c:v>
                </c:pt>
                <c:pt idx="896">
                  <c:v>0.977850589567555</c:v>
                </c:pt>
                <c:pt idx="897">
                  <c:v>0.93885918147925296</c:v>
                </c:pt>
                <c:pt idx="898">
                  <c:v>0.94206847047360298</c:v>
                </c:pt>
                <c:pt idx="899">
                  <c:v>0.95131649803338103</c:v>
                </c:pt>
                <c:pt idx="900">
                  <c:v>0.96871595727045701</c:v>
                </c:pt>
                <c:pt idx="901">
                  <c:v>0.96695934308523301</c:v>
                </c:pt>
                <c:pt idx="902">
                  <c:v>0.97107119216495796</c:v>
                </c:pt>
                <c:pt idx="903">
                  <c:v>0.98094385552311603</c:v>
                </c:pt>
                <c:pt idx="904">
                  <c:v>0.99435363563973</c:v>
                </c:pt>
                <c:pt idx="905">
                  <c:v>1.0089169529214901</c:v>
                </c:pt>
                <c:pt idx="906">
                  <c:v>1.0000919658340801</c:v>
                </c:pt>
                <c:pt idx="907">
                  <c:v>1.0023509666030599</c:v>
                </c:pt>
                <c:pt idx="908">
                  <c:v>0.97015326967403803</c:v>
                </c:pt>
                <c:pt idx="909">
                  <c:v>0.97812412101587498</c:v>
                </c:pt>
                <c:pt idx="910">
                  <c:v>0.96446159577861601</c:v>
                </c:pt>
                <c:pt idx="911">
                  <c:v>0.91858714599485003</c:v>
                </c:pt>
                <c:pt idx="912">
                  <c:v>0.91446630196449297</c:v>
                </c:pt>
                <c:pt idx="913">
                  <c:v>0.89148993205652904</c:v>
                </c:pt>
                <c:pt idx="914">
                  <c:v>0.87242613364169896</c:v>
                </c:pt>
                <c:pt idx="915">
                  <c:v>0.87090413313567705</c:v>
                </c:pt>
                <c:pt idx="916">
                  <c:v>0.87056685730486005</c:v>
                </c:pt>
                <c:pt idx="917">
                  <c:v>0.89634915637122003</c:v>
                </c:pt>
                <c:pt idx="918">
                  <c:v>0.88311322982456297</c:v>
                </c:pt>
                <c:pt idx="919">
                  <c:v>0.88396602009087499</c:v>
                </c:pt>
                <c:pt idx="920">
                  <c:v>0.87858429324306997</c:v>
                </c:pt>
                <c:pt idx="921">
                  <c:v>0.87822998148334197</c:v>
                </c:pt>
                <c:pt idx="922">
                  <c:v>0.84782177983833495</c:v>
                </c:pt>
                <c:pt idx="923">
                  <c:v>0.84364232957350005</c:v>
                </c:pt>
                <c:pt idx="924">
                  <c:v>0.84214820870400398</c:v>
                </c:pt>
                <c:pt idx="925">
                  <c:v>0.79864145250280305</c:v>
                </c:pt>
                <c:pt idx="926">
                  <c:v>0.79123827785498402</c:v>
                </c:pt>
                <c:pt idx="927">
                  <c:v>0.70606757377987694</c:v>
                </c:pt>
                <c:pt idx="928">
                  <c:v>0.64947186395654299</c:v>
                </c:pt>
                <c:pt idx="929">
                  <c:v>0.79703841684467402</c:v>
                </c:pt>
                <c:pt idx="930">
                  <c:v>0.91303444764191</c:v>
                </c:pt>
                <c:pt idx="931">
                  <c:v>0.90862864215036498</c:v>
                </c:pt>
                <c:pt idx="932">
                  <c:v>0.90681466467987704</c:v>
                </c:pt>
                <c:pt idx="933">
                  <c:v>0.91645525845335196</c:v>
                </c:pt>
                <c:pt idx="934">
                  <c:v>0.91612450297667503</c:v>
                </c:pt>
                <c:pt idx="935">
                  <c:v>0.90807692866287104</c:v>
                </c:pt>
                <c:pt idx="936">
                  <c:v>0.91490602266744703</c:v>
                </c:pt>
                <c:pt idx="937">
                  <c:v>0.952108026523107</c:v>
                </c:pt>
                <c:pt idx="938">
                  <c:v>0.97056056621867703</c:v>
                </c:pt>
                <c:pt idx="939">
                  <c:v>0.93003030559458499</c:v>
                </c:pt>
                <c:pt idx="940">
                  <c:v>1.01020750401366</c:v>
                </c:pt>
                <c:pt idx="941">
                  <c:v>1.01287395701565</c:v>
                </c:pt>
                <c:pt idx="942">
                  <c:v>1.0024671886827701</c:v>
                </c:pt>
                <c:pt idx="943">
                  <c:v>1.0367175037783101</c:v>
                </c:pt>
                <c:pt idx="944">
                  <c:v>1.04714725326103</c:v>
                </c:pt>
                <c:pt idx="945">
                  <c:v>0.99733060293508502</c:v>
                </c:pt>
                <c:pt idx="946">
                  <c:v>1.01691546920975</c:v>
                </c:pt>
                <c:pt idx="947">
                  <c:v>1.0228694404356999</c:v>
                </c:pt>
                <c:pt idx="948">
                  <c:v>1.0345294684555799</c:v>
                </c:pt>
                <c:pt idx="949">
                  <c:v>1.0146098925704199</c:v>
                </c:pt>
                <c:pt idx="950">
                  <c:v>1.03289660876052</c:v>
                </c:pt>
                <c:pt idx="951">
                  <c:v>1.0305081355916801</c:v>
                </c:pt>
                <c:pt idx="952">
                  <c:v>0.97998709230126702</c:v>
                </c:pt>
                <c:pt idx="953">
                  <c:v>0.94406658222693995</c:v>
                </c:pt>
                <c:pt idx="954">
                  <c:v>0.91708098834762097</c:v>
                </c:pt>
                <c:pt idx="955">
                  <c:v>0.85292255916322401</c:v>
                </c:pt>
                <c:pt idx="956">
                  <c:v>0.84463663144938195</c:v>
                </c:pt>
                <c:pt idx="957">
                  <c:v>0.85401193965656397</c:v>
                </c:pt>
                <c:pt idx="958">
                  <c:v>0.89370360705396201</c:v>
                </c:pt>
                <c:pt idx="959">
                  <c:v>0.89112896727526902</c:v>
                </c:pt>
                <c:pt idx="960">
                  <c:v>0.89694689386863802</c:v>
                </c:pt>
                <c:pt idx="961">
                  <c:v>0.89481861927617701</c:v>
                </c:pt>
                <c:pt idx="962">
                  <c:v>1.0142711596563501</c:v>
                </c:pt>
                <c:pt idx="963">
                  <c:v>0.97996445591048398</c:v>
                </c:pt>
                <c:pt idx="964">
                  <c:v>1.00273866082133</c:v>
                </c:pt>
                <c:pt idx="965">
                  <c:v>0.98971429656864496</c:v>
                </c:pt>
                <c:pt idx="966">
                  <c:v>0.99230610508903705</c:v>
                </c:pt>
                <c:pt idx="967">
                  <c:v>0.99399557915732095</c:v>
                </c:pt>
                <c:pt idx="968">
                  <c:v>0.971260298807472</c:v>
                </c:pt>
                <c:pt idx="969">
                  <c:v>0.99334592362451302</c:v>
                </c:pt>
                <c:pt idx="970">
                  <c:v>0.95445819955941102</c:v>
                </c:pt>
                <c:pt idx="971">
                  <c:v>0.94661867661851495</c:v>
                </c:pt>
                <c:pt idx="972">
                  <c:v>0.92006104007137002</c:v>
                </c:pt>
                <c:pt idx="973">
                  <c:v>0.97820254562863196</c:v>
                </c:pt>
                <c:pt idx="974">
                  <c:v>0.98237091045770097</c:v>
                </c:pt>
                <c:pt idx="975">
                  <c:v>0.98534091320093398</c:v>
                </c:pt>
                <c:pt idx="976">
                  <c:v>0.96835331862068297</c:v>
                </c:pt>
                <c:pt idx="977">
                  <c:v>0.93640156566442001</c:v>
                </c:pt>
                <c:pt idx="978">
                  <c:v>0.90706089000441104</c:v>
                </c:pt>
                <c:pt idx="979">
                  <c:v>0.86187398728299702</c:v>
                </c:pt>
                <c:pt idx="980">
                  <c:v>1.0079954937492099</c:v>
                </c:pt>
                <c:pt idx="981">
                  <c:v>0.95521748669859097</c:v>
                </c:pt>
                <c:pt idx="982">
                  <c:v>0.97444096390916002</c:v>
                </c:pt>
                <c:pt idx="983">
                  <c:v>0.93798735729809002</c:v>
                </c:pt>
                <c:pt idx="984">
                  <c:v>0.93430809788873104</c:v>
                </c:pt>
                <c:pt idx="985">
                  <c:v>0.90591086393369602</c:v>
                </c:pt>
                <c:pt idx="986">
                  <c:v>0.84166944550265099</c:v>
                </c:pt>
                <c:pt idx="987">
                  <c:v>0.93720021824330102</c:v>
                </c:pt>
                <c:pt idx="988">
                  <c:v>0.93924696419915799</c:v>
                </c:pt>
                <c:pt idx="989">
                  <c:v>0.86704993682800002</c:v>
                </c:pt>
                <c:pt idx="990">
                  <c:v>0.84798152515125902</c:v>
                </c:pt>
                <c:pt idx="991">
                  <c:v>0.83437925737007101</c:v>
                </c:pt>
                <c:pt idx="992">
                  <c:v>0.830876124608524</c:v>
                </c:pt>
                <c:pt idx="993">
                  <c:v>0.807806838946731</c:v>
                </c:pt>
                <c:pt idx="994">
                  <c:v>0.85930049521527896</c:v>
                </c:pt>
                <c:pt idx="995">
                  <c:v>0.85013924355845305</c:v>
                </c:pt>
                <c:pt idx="996">
                  <c:v>0.86795619288129899</c:v>
                </c:pt>
                <c:pt idx="997">
                  <c:v>0.85726392054673095</c:v>
                </c:pt>
                <c:pt idx="998">
                  <c:v>0.945475312423814</c:v>
                </c:pt>
                <c:pt idx="999">
                  <c:v>0.94010219606250101</c:v>
                </c:pt>
                <c:pt idx="1000">
                  <c:v>0.96134436874920304</c:v>
                </c:pt>
                <c:pt idx="1001">
                  <c:v>0.948679023091062</c:v>
                </c:pt>
                <c:pt idx="1002">
                  <c:v>0.94970529615833499</c:v>
                </c:pt>
                <c:pt idx="1003">
                  <c:v>0.89247144759165797</c:v>
                </c:pt>
                <c:pt idx="1004">
                  <c:v>0.90097183717245</c:v>
                </c:pt>
                <c:pt idx="1005">
                  <c:v>0.89294745851524104</c:v>
                </c:pt>
                <c:pt idx="1006">
                  <c:v>0.93355530278038301</c:v>
                </c:pt>
                <c:pt idx="1007">
                  <c:v>0.90714851315956002</c:v>
                </c:pt>
                <c:pt idx="1008">
                  <c:v>0.90525886576440895</c:v>
                </c:pt>
                <c:pt idx="1009">
                  <c:v>0.90248563074840604</c:v>
                </c:pt>
                <c:pt idx="1010">
                  <c:v>0.86669163798056004</c:v>
                </c:pt>
                <c:pt idx="1011">
                  <c:v>0.85973956321183698</c:v>
                </c:pt>
                <c:pt idx="1012">
                  <c:v>0.85921861036844904</c:v>
                </c:pt>
                <c:pt idx="1013">
                  <c:v>0.86200751654238095</c:v>
                </c:pt>
                <c:pt idx="1014">
                  <c:v>0.85929831301154402</c:v>
                </c:pt>
                <c:pt idx="1015">
                  <c:v>0.90343716570060795</c:v>
                </c:pt>
                <c:pt idx="1016">
                  <c:v>0.86097309911670705</c:v>
                </c:pt>
                <c:pt idx="1017">
                  <c:v>0.88996819988931997</c:v>
                </c:pt>
                <c:pt idx="1018">
                  <c:v>0.89762968024408796</c:v>
                </c:pt>
                <c:pt idx="1019">
                  <c:v>0.77062577930353604</c:v>
                </c:pt>
                <c:pt idx="1020">
                  <c:v>0.83533595886296697</c:v>
                </c:pt>
                <c:pt idx="1021">
                  <c:v>0.86804322133004796</c:v>
                </c:pt>
                <c:pt idx="1022">
                  <c:v>0.87437741238519595</c:v>
                </c:pt>
                <c:pt idx="1023">
                  <c:v>0.85858803559356001</c:v>
                </c:pt>
                <c:pt idx="1024">
                  <c:v>0.81781242352876404</c:v>
                </c:pt>
                <c:pt idx="1025">
                  <c:v>0.80350483838525799</c:v>
                </c:pt>
                <c:pt idx="1026">
                  <c:v>0.77126641832958698</c:v>
                </c:pt>
                <c:pt idx="1027">
                  <c:v>0.72990676049798398</c:v>
                </c:pt>
                <c:pt idx="1028">
                  <c:v>0.79994097046133195</c:v>
                </c:pt>
                <c:pt idx="1029">
                  <c:v>0.87134900722752495</c:v>
                </c:pt>
                <c:pt idx="1030">
                  <c:v>0.92232918208760395</c:v>
                </c:pt>
                <c:pt idx="1031">
                  <c:v>0.88840280595052001</c:v>
                </c:pt>
                <c:pt idx="1032">
                  <c:v>0.93393288175465805</c:v>
                </c:pt>
                <c:pt idx="1033">
                  <c:v>0.95849764556105299</c:v>
                </c:pt>
                <c:pt idx="1034">
                  <c:v>0.96279817773699505</c:v>
                </c:pt>
                <c:pt idx="1035">
                  <c:v>0.97865727008570302</c:v>
                </c:pt>
                <c:pt idx="1036">
                  <c:v>0.98712429039927696</c:v>
                </c:pt>
                <c:pt idx="1037">
                  <c:v>1.0061455169468401</c:v>
                </c:pt>
                <c:pt idx="1038">
                  <c:v>1.0152138359559899</c:v>
                </c:pt>
                <c:pt idx="1039">
                  <c:v>1.0042888415069899</c:v>
                </c:pt>
                <c:pt idx="1040">
                  <c:v>0.99167635820710198</c:v>
                </c:pt>
                <c:pt idx="1041">
                  <c:v>0.99471974490056803</c:v>
                </c:pt>
                <c:pt idx="1042">
                  <c:v>1.02147377591123</c:v>
                </c:pt>
                <c:pt idx="1043">
                  <c:v>1.0262584513137101</c:v>
                </c:pt>
                <c:pt idx="1044">
                  <c:v>0.930305189268127</c:v>
                </c:pt>
                <c:pt idx="1045">
                  <c:v>0.78422041844123402</c:v>
                </c:pt>
                <c:pt idx="1046">
                  <c:v>0.75697245606877595</c:v>
                </c:pt>
                <c:pt idx="1047">
                  <c:v>0.77202141076323005</c:v>
                </c:pt>
                <c:pt idx="1048">
                  <c:v>0.85930047573836499</c:v>
                </c:pt>
                <c:pt idx="1049">
                  <c:v>0.84719463992661503</c:v>
                </c:pt>
                <c:pt idx="1050">
                  <c:v>0.85018980155519797</c:v>
                </c:pt>
                <c:pt idx="1051">
                  <c:v>0.83044810034879402</c:v>
                </c:pt>
                <c:pt idx="1052">
                  <c:v>0.84129675675910698</c:v>
                </c:pt>
                <c:pt idx="1053">
                  <c:v>0.84242438200627201</c:v>
                </c:pt>
                <c:pt idx="1054">
                  <c:v>0.83941221745435202</c:v>
                </c:pt>
                <c:pt idx="1055">
                  <c:v>0.82605416909659801</c:v>
                </c:pt>
                <c:pt idx="1056">
                  <c:v>0.79442017767242901</c:v>
                </c:pt>
                <c:pt idx="1057">
                  <c:v>0.74434598452807399</c:v>
                </c:pt>
                <c:pt idx="1058">
                  <c:v>0.70091301913318305</c:v>
                </c:pt>
                <c:pt idx="1059">
                  <c:v>0.74592461162786405</c:v>
                </c:pt>
                <c:pt idx="1060">
                  <c:v>0.82520362933959401</c:v>
                </c:pt>
                <c:pt idx="1061">
                  <c:v>0.82996561834750004</c:v>
                </c:pt>
                <c:pt idx="1062">
                  <c:v>0.87239865922054205</c:v>
                </c:pt>
                <c:pt idx="1063">
                  <c:v>0.91556061467299399</c:v>
                </c:pt>
                <c:pt idx="1064">
                  <c:v>0.92478021006106204</c:v>
                </c:pt>
                <c:pt idx="1065">
                  <c:v>0.92014382818592999</c:v>
                </c:pt>
                <c:pt idx="1066">
                  <c:v>0.91235185080036996</c:v>
                </c:pt>
                <c:pt idx="1067">
                  <c:v>0.93430470463795201</c:v>
                </c:pt>
                <c:pt idx="1068">
                  <c:v>0.91683012630570504</c:v>
                </c:pt>
                <c:pt idx="1069">
                  <c:v>0.91877476291006499</c:v>
                </c:pt>
                <c:pt idx="1070">
                  <c:v>0.91153606442127999</c:v>
                </c:pt>
                <c:pt idx="1071">
                  <c:v>0.90256544589709897</c:v>
                </c:pt>
                <c:pt idx="1072">
                  <c:v>0.89767717761986698</c:v>
                </c:pt>
                <c:pt idx="1073">
                  <c:v>0.89264775668799601</c:v>
                </c:pt>
                <c:pt idx="1074">
                  <c:v>0.85236340952276302</c:v>
                </c:pt>
                <c:pt idx="1075">
                  <c:v>0.79644485592736503</c:v>
                </c:pt>
                <c:pt idx="1076">
                  <c:v>0.892715233334898</c:v>
                </c:pt>
                <c:pt idx="1077">
                  <c:v>0.92180104965285004</c:v>
                </c:pt>
                <c:pt idx="1078">
                  <c:v>0.939013244741292</c:v>
                </c:pt>
                <c:pt idx="1079">
                  <c:v>0.94797539288977095</c:v>
                </c:pt>
                <c:pt idx="1080">
                  <c:v>0.93330129226161795</c:v>
                </c:pt>
                <c:pt idx="1081">
                  <c:v>0.921937662911825</c:v>
                </c:pt>
                <c:pt idx="1082">
                  <c:v>0.84843669396626298</c:v>
                </c:pt>
                <c:pt idx="1083">
                  <c:v>0.82306310788523795</c:v>
                </c:pt>
                <c:pt idx="1084">
                  <c:v>0.84264482767619298</c:v>
                </c:pt>
                <c:pt idx="1085">
                  <c:v>0.86049696737334103</c:v>
                </c:pt>
                <c:pt idx="1086">
                  <c:v>0.85919952630908603</c:v>
                </c:pt>
                <c:pt idx="1087">
                  <c:v>0.86189896413577605</c:v>
                </c:pt>
                <c:pt idx="1088">
                  <c:v>0.86838939432565898</c:v>
                </c:pt>
                <c:pt idx="1089">
                  <c:v>0.86673015516611496</c:v>
                </c:pt>
                <c:pt idx="1090">
                  <c:v>0.86721321725898104</c:v>
                </c:pt>
                <c:pt idx="1091">
                  <c:v>0.86542970714698497</c:v>
                </c:pt>
                <c:pt idx="1092">
                  <c:v>0.83896703005071604</c:v>
                </c:pt>
                <c:pt idx="1093">
                  <c:v>0.82823109387235105</c:v>
                </c:pt>
                <c:pt idx="1094">
                  <c:v>0.83170498572289897</c:v>
                </c:pt>
                <c:pt idx="1095">
                  <c:v>0.83938705026923</c:v>
                </c:pt>
                <c:pt idx="1096">
                  <c:v>0.84766818899946395</c:v>
                </c:pt>
                <c:pt idx="1097">
                  <c:v>0.85021675953737397</c:v>
                </c:pt>
                <c:pt idx="1098">
                  <c:v>0.79237364034517799</c:v>
                </c:pt>
                <c:pt idx="1099">
                  <c:v>0.775128991730199</c:v>
                </c:pt>
                <c:pt idx="1100">
                  <c:v>0.793672075872208</c:v>
                </c:pt>
                <c:pt idx="1101">
                  <c:v>0.99193809864449101</c:v>
                </c:pt>
                <c:pt idx="1102">
                  <c:v>0.99400433618913997</c:v>
                </c:pt>
                <c:pt idx="1103">
                  <c:v>0.98660436878329405</c:v>
                </c:pt>
                <c:pt idx="1104">
                  <c:v>1.04589360246875</c:v>
                </c:pt>
                <c:pt idx="1105">
                  <c:v>1.0364826095117099</c:v>
                </c:pt>
                <c:pt idx="1106">
                  <c:v>1.0282598968808601</c:v>
                </c:pt>
                <c:pt idx="1107">
                  <c:v>1.03564299044523</c:v>
                </c:pt>
                <c:pt idx="1108">
                  <c:v>1.0432437411161699</c:v>
                </c:pt>
                <c:pt idx="1109">
                  <c:v>1.05420234678178</c:v>
                </c:pt>
                <c:pt idx="1110">
                  <c:v>1.0469797783321599</c:v>
                </c:pt>
                <c:pt idx="1111">
                  <c:v>0.973467054115286</c:v>
                </c:pt>
                <c:pt idx="1112">
                  <c:v>0.99050840318974898</c:v>
                </c:pt>
                <c:pt idx="1113">
                  <c:v>0.96503416452888102</c:v>
                </c:pt>
                <c:pt idx="1114">
                  <c:v>0.92805031166809104</c:v>
                </c:pt>
                <c:pt idx="1115">
                  <c:v>0.87412443626832803</c:v>
                </c:pt>
                <c:pt idx="1116">
                  <c:v>0.88075724486293905</c:v>
                </c:pt>
                <c:pt idx="1117">
                  <c:v>0.92478756029831199</c:v>
                </c:pt>
                <c:pt idx="1118">
                  <c:v>0.88104692164134601</c:v>
                </c:pt>
                <c:pt idx="1119">
                  <c:v>0.93242478791680505</c:v>
                </c:pt>
                <c:pt idx="1120">
                  <c:v>0.93249508154157201</c:v>
                </c:pt>
                <c:pt idx="1121">
                  <c:v>1.0329136981412499</c:v>
                </c:pt>
                <c:pt idx="1122">
                  <c:v>1.0411916188494099</c:v>
                </c:pt>
                <c:pt idx="1123">
                  <c:v>1.04005454375551</c:v>
                </c:pt>
                <c:pt idx="1124">
                  <c:v>1.01293899972169</c:v>
                </c:pt>
                <c:pt idx="1125">
                  <c:v>0.97957851620163305</c:v>
                </c:pt>
                <c:pt idx="1126">
                  <c:v>0.99961745229418897</c:v>
                </c:pt>
                <c:pt idx="1127">
                  <c:v>1.0041571443384301</c:v>
                </c:pt>
                <c:pt idx="1128">
                  <c:v>0.93934102921865703</c:v>
                </c:pt>
                <c:pt idx="1129">
                  <c:v>0.87230656425918895</c:v>
                </c:pt>
                <c:pt idx="1130">
                  <c:v>0.78619121483254195</c:v>
                </c:pt>
                <c:pt idx="1131">
                  <c:v>0.74439172750767102</c:v>
                </c:pt>
                <c:pt idx="1132">
                  <c:v>0.71625495559399199</c:v>
                </c:pt>
                <c:pt idx="1133">
                  <c:v>0.61950019741861995</c:v>
                </c:pt>
                <c:pt idx="1134">
                  <c:v>0.46396347872133398</c:v>
                </c:pt>
                <c:pt idx="1135">
                  <c:v>0.44060155469106799</c:v>
                </c:pt>
                <c:pt idx="1136">
                  <c:v>0.44945484519291901</c:v>
                </c:pt>
                <c:pt idx="1137">
                  <c:v>0.74860657572439304</c:v>
                </c:pt>
                <c:pt idx="1138">
                  <c:v>0.86881161410345298</c:v>
                </c:pt>
                <c:pt idx="1139">
                  <c:v>0.95068212418134002</c:v>
                </c:pt>
                <c:pt idx="1140">
                  <c:v>1.01764402477787</c:v>
                </c:pt>
                <c:pt idx="1141">
                  <c:v>1.01409573463384</c:v>
                </c:pt>
                <c:pt idx="1142">
                  <c:v>1.00752433685692</c:v>
                </c:pt>
                <c:pt idx="1143">
                  <c:v>1.0156551056791201</c:v>
                </c:pt>
                <c:pt idx="1144">
                  <c:v>1.0595441141050601</c:v>
                </c:pt>
                <c:pt idx="1145">
                  <c:v>1.0727988772970101</c:v>
                </c:pt>
                <c:pt idx="1146">
                  <c:v>1.07069058991952</c:v>
                </c:pt>
                <c:pt idx="1147">
                  <c:v>1.0749383136636199</c:v>
                </c:pt>
                <c:pt idx="1148">
                  <c:v>1.07890963370598</c:v>
                </c:pt>
                <c:pt idx="1149">
                  <c:v>1.08551804319251</c:v>
                </c:pt>
                <c:pt idx="1150">
                  <c:v>1.1003349094828001</c:v>
                </c:pt>
                <c:pt idx="1151">
                  <c:v>1.10557857415459</c:v>
                </c:pt>
                <c:pt idx="1152">
                  <c:v>1.0697676939062</c:v>
                </c:pt>
                <c:pt idx="1153">
                  <c:v>1.01095544003641</c:v>
                </c:pt>
                <c:pt idx="1154">
                  <c:v>0.94245364132110698</c:v>
                </c:pt>
                <c:pt idx="1155">
                  <c:v>1.0280722529130799</c:v>
                </c:pt>
                <c:pt idx="1156">
                  <c:v>1.0194798274294301</c:v>
                </c:pt>
                <c:pt idx="1157">
                  <c:v>1.0139429883117901</c:v>
                </c:pt>
                <c:pt idx="1158">
                  <c:v>0.95103989344595896</c:v>
                </c:pt>
                <c:pt idx="1159">
                  <c:v>0.95034290238178698</c:v>
                </c:pt>
                <c:pt idx="1160">
                  <c:v>0.93620104377801305</c:v>
                </c:pt>
                <c:pt idx="1161">
                  <c:v>0.90835810617730595</c:v>
                </c:pt>
                <c:pt idx="1162">
                  <c:v>0.884626852141848</c:v>
                </c:pt>
                <c:pt idx="1163">
                  <c:v>0.91184190850320901</c:v>
                </c:pt>
                <c:pt idx="1164">
                  <c:v>0.813723785534611</c:v>
                </c:pt>
                <c:pt idx="1165">
                  <c:v>0.89609396230604599</c:v>
                </c:pt>
                <c:pt idx="1166">
                  <c:v>0.76297112003763001</c:v>
                </c:pt>
                <c:pt idx="1167">
                  <c:v>0.74745489022413203</c:v>
                </c:pt>
                <c:pt idx="1168">
                  <c:v>0.76926381606579997</c:v>
                </c:pt>
                <c:pt idx="1169">
                  <c:v>0.80150619424871195</c:v>
                </c:pt>
                <c:pt idx="1170">
                  <c:v>0.82003206233446702</c:v>
                </c:pt>
                <c:pt idx="1171">
                  <c:v>0.83199180633667402</c:v>
                </c:pt>
                <c:pt idx="1172">
                  <c:v>0.85236238493711902</c:v>
                </c:pt>
                <c:pt idx="1173">
                  <c:v>0.921389739031932</c:v>
                </c:pt>
                <c:pt idx="1174">
                  <c:v>0.95816884632988497</c:v>
                </c:pt>
                <c:pt idx="1175">
                  <c:v>0.97365882908996704</c:v>
                </c:pt>
                <c:pt idx="1176">
                  <c:v>1.00229917888526</c:v>
                </c:pt>
                <c:pt idx="1177">
                  <c:v>1.0240808983057701</c:v>
                </c:pt>
                <c:pt idx="1178">
                  <c:v>1.0247140305539399</c:v>
                </c:pt>
                <c:pt idx="1179">
                  <c:v>1.01382145578419</c:v>
                </c:pt>
                <c:pt idx="1180">
                  <c:v>0.96530709904318202</c:v>
                </c:pt>
                <c:pt idx="1181">
                  <c:v>0.94624090001849803</c:v>
                </c:pt>
                <c:pt idx="1182">
                  <c:v>0.91698812137568197</c:v>
                </c:pt>
                <c:pt idx="1183">
                  <c:v>0.91774778172210003</c:v>
                </c:pt>
                <c:pt idx="1184">
                  <c:v>0.93053537210542403</c:v>
                </c:pt>
                <c:pt idx="1185">
                  <c:v>0.93130927749356995</c:v>
                </c:pt>
                <c:pt idx="1186">
                  <c:v>0.91975231410871205</c:v>
                </c:pt>
                <c:pt idx="1187">
                  <c:v>0.92980281388369601</c:v>
                </c:pt>
                <c:pt idx="1188">
                  <c:v>0.95814678881489201</c:v>
                </c:pt>
                <c:pt idx="1189">
                  <c:v>0.92496047360522504</c:v>
                </c:pt>
                <c:pt idx="1190">
                  <c:v>0.95771997027781297</c:v>
                </c:pt>
                <c:pt idx="1191">
                  <c:v>0.95747581317047403</c:v>
                </c:pt>
                <c:pt idx="1192">
                  <c:v>0.97930718427185404</c:v>
                </c:pt>
                <c:pt idx="1193">
                  <c:v>0.93441593930845002</c:v>
                </c:pt>
                <c:pt idx="1194">
                  <c:v>0.89876910196076698</c:v>
                </c:pt>
                <c:pt idx="1195">
                  <c:v>0.85883769184070102</c:v>
                </c:pt>
                <c:pt idx="1196">
                  <c:v>0.70612178612145005</c:v>
                </c:pt>
                <c:pt idx="1197">
                  <c:v>0.74580374860159604</c:v>
                </c:pt>
                <c:pt idx="1198">
                  <c:v>0.85771098473783802</c:v>
                </c:pt>
                <c:pt idx="1199">
                  <c:v>0.86449409654877696</c:v>
                </c:pt>
                <c:pt idx="1200">
                  <c:v>0.84237591138323797</c:v>
                </c:pt>
                <c:pt idx="1201">
                  <c:v>0.90539144998863996</c:v>
                </c:pt>
                <c:pt idx="1202">
                  <c:v>0.95718111458538202</c:v>
                </c:pt>
                <c:pt idx="1203">
                  <c:v>0.94865864997294302</c:v>
                </c:pt>
                <c:pt idx="1204">
                  <c:v>0.874197899908428</c:v>
                </c:pt>
                <c:pt idx="1205">
                  <c:v>0.91118876372907298</c:v>
                </c:pt>
                <c:pt idx="1206">
                  <c:v>0.90959744217845495</c:v>
                </c:pt>
                <c:pt idx="1207">
                  <c:v>0.94644365799702501</c:v>
                </c:pt>
                <c:pt idx="1208">
                  <c:v>0.93791489482776802</c:v>
                </c:pt>
                <c:pt idx="1209">
                  <c:v>0.920969044920802</c:v>
                </c:pt>
                <c:pt idx="1210">
                  <c:v>0.90896006930835604</c:v>
                </c:pt>
                <c:pt idx="1211">
                  <c:v>0.90507223578939699</c:v>
                </c:pt>
                <c:pt idx="1212">
                  <c:v>0.90935917933372401</c:v>
                </c:pt>
                <c:pt idx="1213">
                  <c:v>0.91182524049197999</c:v>
                </c:pt>
                <c:pt idx="1214">
                  <c:v>0.88836332880128599</c:v>
                </c:pt>
                <c:pt idx="1215">
                  <c:v>0.890178871554405</c:v>
                </c:pt>
                <c:pt idx="1216">
                  <c:v>0.91323144892136798</c:v>
                </c:pt>
                <c:pt idx="1217">
                  <c:v>0.91261904166670405</c:v>
                </c:pt>
                <c:pt idx="1218">
                  <c:v>0.90793416122718895</c:v>
                </c:pt>
                <c:pt idx="1219">
                  <c:v>0.93437232205925203</c:v>
                </c:pt>
                <c:pt idx="1220">
                  <c:v>0.98831370920364703</c:v>
                </c:pt>
                <c:pt idx="1221">
                  <c:v>1.0057057107276</c:v>
                </c:pt>
                <c:pt idx="1222">
                  <c:v>0.98958870483346195</c:v>
                </c:pt>
                <c:pt idx="1223">
                  <c:v>0.99641460185139896</c:v>
                </c:pt>
                <c:pt idx="1224">
                  <c:v>1.00267429385912</c:v>
                </c:pt>
                <c:pt idx="1225">
                  <c:v>1.0196661482296101</c:v>
                </c:pt>
                <c:pt idx="1226">
                  <c:v>0.99377462352081802</c:v>
                </c:pt>
                <c:pt idx="1227">
                  <c:v>0.96944691650206305</c:v>
                </c:pt>
                <c:pt idx="1228">
                  <c:v>0.99387548546036697</c:v>
                </c:pt>
                <c:pt idx="1229">
                  <c:v>0.95266286114775001</c:v>
                </c:pt>
                <c:pt idx="1230">
                  <c:v>1.0380245557430701</c:v>
                </c:pt>
                <c:pt idx="1231">
                  <c:v>1.0082465046346301</c:v>
                </c:pt>
                <c:pt idx="1232">
                  <c:v>0.91286119372395602</c:v>
                </c:pt>
                <c:pt idx="1233">
                  <c:v>0.90102053389412595</c:v>
                </c:pt>
                <c:pt idx="1234">
                  <c:v>0.93816450771753301</c:v>
                </c:pt>
                <c:pt idx="1235">
                  <c:v>0.96309088817952304</c:v>
                </c:pt>
                <c:pt idx="1236">
                  <c:v>0.92016868233178395</c:v>
                </c:pt>
                <c:pt idx="1237">
                  <c:v>0.94542098621355797</c:v>
                </c:pt>
                <c:pt idx="1238">
                  <c:v>0.93901242289754605</c:v>
                </c:pt>
                <c:pt idx="1239">
                  <c:v>0.92732371356473098</c:v>
                </c:pt>
                <c:pt idx="1240">
                  <c:v>0.93979676100489995</c:v>
                </c:pt>
                <c:pt idx="1241">
                  <c:v>0.96052984327884605</c:v>
                </c:pt>
                <c:pt idx="1242">
                  <c:v>0.97221949312962297</c:v>
                </c:pt>
                <c:pt idx="1243">
                  <c:v>0.96423946797590598</c:v>
                </c:pt>
                <c:pt idx="1244">
                  <c:v>0.97897799490986104</c:v>
                </c:pt>
                <c:pt idx="1245">
                  <c:v>0.85592402049425498</c:v>
                </c:pt>
                <c:pt idx="1246">
                  <c:v>0.90567003279046099</c:v>
                </c:pt>
                <c:pt idx="1247">
                  <c:v>0.92022415364021104</c:v>
                </c:pt>
                <c:pt idx="1248">
                  <c:v>0.90871321605650901</c:v>
                </c:pt>
                <c:pt idx="1249">
                  <c:v>0.92123103504313797</c:v>
                </c:pt>
                <c:pt idx="1250">
                  <c:v>0.92970623436646505</c:v>
                </c:pt>
                <c:pt idx="1251">
                  <c:v>0.93759799491163098</c:v>
                </c:pt>
                <c:pt idx="1252">
                  <c:v>0.932032986713205</c:v>
                </c:pt>
                <c:pt idx="1253">
                  <c:v>0.93886054921358397</c:v>
                </c:pt>
                <c:pt idx="1254">
                  <c:v>0.93597328531039703</c:v>
                </c:pt>
                <c:pt idx="1255">
                  <c:v>0.95779256109980604</c:v>
                </c:pt>
                <c:pt idx="1256">
                  <c:v>0.97491287264769</c:v>
                </c:pt>
                <c:pt idx="1257">
                  <c:v>1.00494935837467</c:v>
                </c:pt>
                <c:pt idx="1258">
                  <c:v>1.0228076515625899</c:v>
                </c:pt>
                <c:pt idx="1259">
                  <c:v>1.0279785693438901</c:v>
                </c:pt>
                <c:pt idx="1260">
                  <c:v>1.0130984552425799</c:v>
                </c:pt>
                <c:pt idx="1261">
                  <c:v>1.03061577985556</c:v>
                </c:pt>
                <c:pt idx="1262">
                  <c:v>0.91264178692403297</c:v>
                </c:pt>
                <c:pt idx="1263">
                  <c:v>0.69794740431966795</c:v>
                </c:pt>
                <c:pt idx="1264">
                  <c:v>0.71505614133023998</c:v>
                </c:pt>
                <c:pt idx="1265">
                  <c:v>0.71793554149592398</c:v>
                </c:pt>
                <c:pt idx="1266">
                  <c:v>0.70358682587460097</c:v>
                </c:pt>
                <c:pt idx="1267">
                  <c:v>0.70899109818492401</c:v>
                </c:pt>
                <c:pt idx="1268">
                  <c:v>0.70251355285560402</c:v>
                </c:pt>
                <c:pt idx="1269">
                  <c:v>0.69121680445878497</c:v>
                </c:pt>
                <c:pt idx="1270">
                  <c:v>0.67794613376893198</c:v>
                </c:pt>
                <c:pt idx="1271">
                  <c:v>0.65575712192560798</c:v>
                </c:pt>
                <c:pt idx="1272">
                  <c:v>0.70703883744347396</c:v>
                </c:pt>
                <c:pt idx="1273">
                  <c:v>0.67067970868295101</c:v>
                </c:pt>
                <c:pt idx="1274">
                  <c:v>0.78951392778253704</c:v>
                </c:pt>
                <c:pt idx="1275">
                  <c:v>0.79137767230137901</c:v>
                </c:pt>
                <c:pt idx="1276">
                  <c:v>0.90931976191119601</c:v>
                </c:pt>
                <c:pt idx="1277">
                  <c:v>0.87904198587604698</c:v>
                </c:pt>
                <c:pt idx="1278">
                  <c:v>0.85939373096294203</c:v>
                </c:pt>
                <c:pt idx="1279">
                  <c:v>0.84759841793329405</c:v>
                </c:pt>
                <c:pt idx="1280">
                  <c:v>0.84146615793143997</c:v>
                </c:pt>
                <c:pt idx="1281">
                  <c:v>0.95557118647299999</c:v>
                </c:pt>
                <c:pt idx="1282">
                  <c:v>0.95746086205672298</c:v>
                </c:pt>
                <c:pt idx="1283">
                  <c:v>0.95145146907440903</c:v>
                </c:pt>
                <c:pt idx="1284">
                  <c:v>0.94194873597825901</c:v>
                </c:pt>
                <c:pt idx="1285">
                  <c:v>0.95363085144561599</c:v>
                </c:pt>
                <c:pt idx="1286">
                  <c:v>0.94595674412421504</c:v>
                </c:pt>
                <c:pt idx="1287">
                  <c:v>0.93431986146159995</c:v>
                </c:pt>
                <c:pt idx="1288">
                  <c:v>0.91039534315134396</c:v>
                </c:pt>
                <c:pt idx="1289">
                  <c:v>0.91527607306014003</c:v>
                </c:pt>
                <c:pt idx="1290">
                  <c:v>0.95425340835824901</c:v>
                </c:pt>
                <c:pt idx="1291">
                  <c:v>0.95870473133076395</c:v>
                </c:pt>
                <c:pt idx="1292">
                  <c:v>0.98440221614169698</c:v>
                </c:pt>
                <c:pt idx="1293">
                  <c:v>1.0173989622749899</c:v>
                </c:pt>
                <c:pt idx="1294">
                  <c:v>0.94690222581619099</c:v>
                </c:pt>
                <c:pt idx="1295">
                  <c:v>0.97252801704213099</c:v>
                </c:pt>
                <c:pt idx="1296">
                  <c:v>0.96971957049882096</c:v>
                </c:pt>
                <c:pt idx="1297">
                  <c:v>0.93385569307455196</c:v>
                </c:pt>
                <c:pt idx="1298">
                  <c:v>0.92344891238764704</c:v>
                </c:pt>
                <c:pt idx="1299">
                  <c:v>0.93809223339570302</c:v>
                </c:pt>
                <c:pt idx="1300">
                  <c:v>0.95485993457027596</c:v>
                </c:pt>
                <c:pt idx="1301">
                  <c:v>0.84451478645667799</c:v>
                </c:pt>
                <c:pt idx="1302">
                  <c:v>0.86529748542017504</c:v>
                </c:pt>
                <c:pt idx="1303">
                  <c:v>0.840671403502255</c:v>
                </c:pt>
                <c:pt idx="1304">
                  <c:v>0.81332364534915202</c:v>
                </c:pt>
                <c:pt idx="1305">
                  <c:v>0.75091519904092696</c:v>
                </c:pt>
                <c:pt idx="1306">
                  <c:v>0.743474148171271</c:v>
                </c:pt>
                <c:pt idx="1307">
                  <c:v>0.73061823466343601</c:v>
                </c:pt>
                <c:pt idx="1308">
                  <c:v>0.76484787076332705</c:v>
                </c:pt>
                <c:pt idx="1309">
                  <c:v>0.77399120871976301</c:v>
                </c:pt>
                <c:pt idx="1310">
                  <c:v>0.76712971130581298</c:v>
                </c:pt>
                <c:pt idx="1311">
                  <c:v>0.76324786852090598</c:v>
                </c:pt>
                <c:pt idx="1312">
                  <c:v>0.77095843597845104</c:v>
                </c:pt>
                <c:pt idx="1313">
                  <c:v>0.75469295361654298</c:v>
                </c:pt>
                <c:pt idx="1314">
                  <c:v>0.74576433198125702</c:v>
                </c:pt>
                <c:pt idx="1315">
                  <c:v>0.736827904224298</c:v>
                </c:pt>
                <c:pt idx="1316">
                  <c:v>0.73885000549828805</c:v>
                </c:pt>
                <c:pt idx="1317">
                  <c:v>0.68674332467617005</c:v>
                </c:pt>
                <c:pt idx="1318">
                  <c:v>0.66527802540063796</c:v>
                </c:pt>
                <c:pt idx="1319">
                  <c:v>0.72043695047353096</c:v>
                </c:pt>
                <c:pt idx="1320">
                  <c:v>0.72821293349843996</c:v>
                </c:pt>
                <c:pt idx="1321">
                  <c:v>0.77824888348881405</c:v>
                </c:pt>
                <c:pt idx="1322">
                  <c:v>0.78101382423918697</c:v>
                </c:pt>
                <c:pt idx="1323">
                  <c:v>0.66166482929965298</c:v>
                </c:pt>
                <c:pt idx="1324">
                  <c:v>0.72909304725615198</c:v>
                </c:pt>
                <c:pt idx="1325">
                  <c:v>0.75563262853419899</c:v>
                </c:pt>
                <c:pt idx="1326">
                  <c:v>0.77605443237027805</c:v>
                </c:pt>
                <c:pt idx="1327">
                  <c:v>0.79023048074354996</c:v>
                </c:pt>
                <c:pt idx="1328">
                  <c:v>0.79493472539594801</c:v>
                </c:pt>
                <c:pt idx="1329">
                  <c:v>0.794789450073212</c:v>
                </c:pt>
                <c:pt idx="1330">
                  <c:v>0.81401679486698997</c:v>
                </c:pt>
                <c:pt idx="1331">
                  <c:v>0.81338233456459896</c:v>
                </c:pt>
                <c:pt idx="1332">
                  <c:v>0.81705326336613104</c:v>
                </c:pt>
                <c:pt idx="1333">
                  <c:v>0.85179853630681202</c:v>
                </c:pt>
                <c:pt idx="1334">
                  <c:v>0.84637602348781205</c:v>
                </c:pt>
                <c:pt idx="1335">
                  <c:v>0.85108359944074896</c:v>
                </c:pt>
                <c:pt idx="1336">
                  <c:v>0.85209661161946904</c:v>
                </c:pt>
                <c:pt idx="1337">
                  <c:v>0.84715742222952695</c:v>
                </c:pt>
                <c:pt idx="1338">
                  <c:v>0.82354737676251999</c:v>
                </c:pt>
                <c:pt idx="1339">
                  <c:v>0.81218632635152599</c:v>
                </c:pt>
                <c:pt idx="1340">
                  <c:v>0.81802287509300298</c:v>
                </c:pt>
                <c:pt idx="1341">
                  <c:v>0.94664653950709798</c:v>
                </c:pt>
                <c:pt idx="1342">
                  <c:v>0.93221097072296499</c:v>
                </c:pt>
                <c:pt idx="1343">
                  <c:v>0.91228469420652303</c:v>
                </c:pt>
                <c:pt idx="1344">
                  <c:v>0.86000395424891596</c:v>
                </c:pt>
                <c:pt idx="1345">
                  <c:v>0.78708171469761901</c:v>
                </c:pt>
                <c:pt idx="1346">
                  <c:v>0.79579637777488299</c:v>
                </c:pt>
                <c:pt idx="1347">
                  <c:v>0.86569883370964995</c:v>
                </c:pt>
                <c:pt idx="1348">
                  <c:v>1.07760261257971</c:v>
                </c:pt>
                <c:pt idx="1349">
                  <c:v>1.0399885666358699</c:v>
                </c:pt>
                <c:pt idx="1350">
                  <c:v>1.1978672970833399</c:v>
                </c:pt>
                <c:pt idx="1351">
                  <c:v>1.1126450748512999</c:v>
                </c:pt>
                <c:pt idx="1352">
                  <c:v>1.0743237590294401</c:v>
                </c:pt>
                <c:pt idx="1353">
                  <c:v>1.07167985239216</c:v>
                </c:pt>
                <c:pt idx="1354">
                  <c:v>1.07965455079243</c:v>
                </c:pt>
                <c:pt idx="1355">
                  <c:v>1.09277590178308</c:v>
                </c:pt>
                <c:pt idx="1356">
                  <c:v>1.0708311311563501</c:v>
                </c:pt>
                <c:pt idx="1357">
                  <c:v>1.07031947990363</c:v>
                </c:pt>
                <c:pt idx="1358">
                  <c:v>1.0793481595886401</c:v>
                </c:pt>
                <c:pt idx="1359">
                  <c:v>1.05894286146895</c:v>
                </c:pt>
                <c:pt idx="1360">
                  <c:v>1.0464088088461101</c:v>
                </c:pt>
                <c:pt idx="1361">
                  <c:v>1.0239800157775401</c:v>
                </c:pt>
                <c:pt idx="1362">
                  <c:v>1.03056728203365</c:v>
                </c:pt>
                <c:pt idx="1363">
                  <c:v>0.99393728195701803</c:v>
                </c:pt>
                <c:pt idx="1364">
                  <c:v>1.0026626380593999</c:v>
                </c:pt>
                <c:pt idx="1365">
                  <c:v>0.92521745319052995</c:v>
                </c:pt>
                <c:pt idx="1366">
                  <c:v>0.89712629882033301</c:v>
                </c:pt>
                <c:pt idx="1367">
                  <c:v>0.62484619825888299</c:v>
                </c:pt>
                <c:pt idx="1368">
                  <c:v>0.71990354029965298</c:v>
                </c:pt>
                <c:pt idx="1369">
                  <c:v>0.64203742964323296</c:v>
                </c:pt>
                <c:pt idx="1370">
                  <c:v>0.54152715232968995</c:v>
                </c:pt>
                <c:pt idx="1371">
                  <c:v>0.54387205420095597</c:v>
                </c:pt>
                <c:pt idx="1372">
                  <c:v>0.68028434016626205</c:v>
                </c:pt>
                <c:pt idx="1373">
                  <c:v>0.76839463830952703</c:v>
                </c:pt>
                <c:pt idx="1374">
                  <c:v>0.78475781437647196</c:v>
                </c:pt>
                <c:pt idx="1375">
                  <c:v>0.78046733810881197</c:v>
                </c:pt>
                <c:pt idx="1376">
                  <c:v>0.86544988923993704</c:v>
                </c:pt>
                <c:pt idx="1377">
                  <c:v>0.89041681844255505</c:v>
                </c:pt>
                <c:pt idx="1378">
                  <c:v>0.921036743025612</c:v>
                </c:pt>
                <c:pt idx="1379">
                  <c:v>0.93864703795988502</c:v>
                </c:pt>
                <c:pt idx="1380">
                  <c:v>0.93802704792085301</c:v>
                </c:pt>
                <c:pt idx="1381">
                  <c:v>0.92800048782170996</c:v>
                </c:pt>
                <c:pt idx="1382">
                  <c:v>0.980334867373021</c:v>
                </c:pt>
                <c:pt idx="1383">
                  <c:v>0.98287067720710297</c:v>
                </c:pt>
                <c:pt idx="1384">
                  <c:v>0.97671199051300195</c:v>
                </c:pt>
                <c:pt idx="1385">
                  <c:v>0.98741446805087096</c:v>
                </c:pt>
                <c:pt idx="1386">
                  <c:v>0.99572456055085101</c:v>
                </c:pt>
                <c:pt idx="1387">
                  <c:v>0.98829985888023097</c:v>
                </c:pt>
                <c:pt idx="1388">
                  <c:v>0.99158339254414096</c:v>
                </c:pt>
                <c:pt idx="1389">
                  <c:v>0.99957236346251499</c:v>
                </c:pt>
                <c:pt idx="1390">
                  <c:v>0.96483124359666805</c:v>
                </c:pt>
                <c:pt idx="1391">
                  <c:v>0.94115340210999698</c:v>
                </c:pt>
                <c:pt idx="1392">
                  <c:v>0.89813708606930198</c:v>
                </c:pt>
                <c:pt idx="1393">
                  <c:v>0.75253418897403002</c:v>
                </c:pt>
                <c:pt idx="1394">
                  <c:v>0.69791215996928702</c:v>
                </c:pt>
                <c:pt idx="1395">
                  <c:v>0.646622000507453</c:v>
                </c:pt>
                <c:pt idx="1396">
                  <c:v>0.702332120162244</c:v>
                </c:pt>
                <c:pt idx="1397">
                  <c:v>0.756307017937632</c:v>
                </c:pt>
                <c:pt idx="1398">
                  <c:v>0.78596105031086905</c:v>
                </c:pt>
                <c:pt idx="1399">
                  <c:v>0.79793154715300596</c:v>
                </c:pt>
                <c:pt idx="1400">
                  <c:v>0.80491428994227798</c:v>
                </c:pt>
                <c:pt idx="1401">
                  <c:v>0.81106553486168598</c:v>
                </c:pt>
                <c:pt idx="1402">
                  <c:v>0.83243435474794103</c:v>
                </c:pt>
                <c:pt idx="1403">
                  <c:v>0.87076974113877803</c:v>
                </c:pt>
                <c:pt idx="1404">
                  <c:v>0.81595602654209298</c:v>
                </c:pt>
                <c:pt idx="1405">
                  <c:v>0.779545062352346</c:v>
                </c:pt>
                <c:pt idx="1406">
                  <c:v>0.76425814141388804</c:v>
                </c:pt>
                <c:pt idx="1407">
                  <c:v>0.80462816186266495</c:v>
                </c:pt>
                <c:pt idx="1408">
                  <c:v>0.80543614650852502</c:v>
                </c:pt>
                <c:pt idx="1409">
                  <c:v>1.03127872571832</c:v>
                </c:pt>
                <c:pt idx="1410">
                  <c:v>0.96075401776065705</c:v>
                </c:pt>
                <c:pt idx="1411">
                  <c:v>0.94960173123303204</c:v>
                </c:pt>
                <c:pt idx="1412">
                  <c:v>0.96245788075804795</c:v>
                </c:pt>
                <c:pt idx="1413">
                  <c:v>1.03364091221259</c:v>
                </c:pt>
                <c:pt idx="1414">
                  <c:v>0.98968419857571399</c:v>
                </c:pt>
                <c:pt idx="1415">
                  <c:v>0.96240517690828398</c:v>
                </c:pt>
                <c:pt idx="1416">
                  <c:v>0.94865638558554299</c:v>
                </c:pt>
                <c:pt idx="1417">
                  <c:v>0.94908447229833903</c:v>
                </c:pt>
                <c:pt idx="1418">
                  <c:v>0.98680461636901196</c:v>
                </c:pt>
                <c:pt idx="1419">
                  <c:v>1.02577097169739</c:v>
                </c:pt>
                <c:pt idx="1420">
                  <c:v>1.0905377997857999</c:v>
                </c:pt>
                <c:pt idx="1421">
                  <c:v>1.1232165136107</c:v>
                </c:pt>
                <c:pt idx="1422">
                  <c:v>1.10396595125385</c:v>
                </c:pt>
                <c:pt idx="1423">
                  <c:v>1.0741716106804899</c:v>
                </c:pt>
                <c:pt idx="1424">
                  <c:v>1.0785519648742901</c:v>
                </c:pt>
                <c:pt idx="1425">
                  <c:v>1.0769553829774601</c:v>
                </c:pt>
                <c:pt idx="1426">
                  <c:v>1.0471218425058799</c:v>
                </c:pt>
                <c:pt idx="1427">
                  <c:v>0.99411244353316597</c:v>
                </c:pt>
                <c:pt idx="1428">
                  <c:v>1.0332032590685301</c:v>
                </c:pt>
                <c:pt idx="1429">
                  <c:v>1.15197123246744</c:v>
                </c:pt>
                <c:pt idx="1430">
                  <c:v>1.10833057688425</c:v>
                </c:pt>
                <c:pt idx="1431">
                  <c:v>1.0602637743461301</c:v>
                </c:pt>
                <c:pt idx="1432">
                  <c:v>1.0209837004704201</c:v>
                </c:pt>
                <c:pt idx="1433">
                  <c:v>1.0494441645488899</c:v>
                </c:pt>
                <c:pt idx="1434">
                  <c:v>1.0270470680813799</c:v>
                </c:pt>
                <c:pt idx="1435">
                  <c:v>1.11788656371244</c:v>
                </c:pt>
                <c:pt idx="1436">
                  <c:v>1.15989036780731</c:v>
                </c:pt>
                <c:pt idx="1437">
                  <c:v>1.19180715728028</c:v>
                </c:pt>
                <c:pt idx="1438">
                  <c:v>1.2457957598674001</c:v>
                </c:pt>
                <c:pt idx="1439">
                  <c:v>1.2748051261711799</c:v>
                </c:pt>
                <c:pt idx="1440">
                  <c:v>1.34801884759465</c:v>
                </c:pt>
                <c:pt idx="1441">
                  <c:v>1.3363589657949699</c:v>
                </c:pt>
                <c:pt idx="1442">
                  <c:v>1.2835650497422799</c:v>
                </c:pt>
                <c:pt idx="1443">
                  <c:v>1.23624184113422</c:v>
                </c:pt>
                <c:pt idx="1444">
                  <c:v>1.20248558909882</c:v>
                </c:pt>
                <c:pt idx="1445">
                  <c:v>1.1681501247191699</c:v>
                </c:pt>
                <c:pt idx="1446">
                  <c:v>1.1406277934142901</c:v>
                </c:pt>
                <c:pt idx="1447">
                  <c:v>1.1019839771253099</c:v>
                </c:pt>
                <c:pt idx="1448">
                  <c:v>1.0752053816812499</c:v>
                </c:pt>
                <c:pt idx="1449">
                  <c:v>1.02602123271696</c:v>
                </c:pt>
                <c:pt idx="1450">
                  <c:v>0.97715443756297005</c:v>
                </c:pt>
                <c:pt idx="1451">
                  <c:v>0.93357772829312102</c:v>
                </c:pt>
                <c:pt idx="1452">
                  <c:v>0.84497285872231798</c:v>
                </c:pt>
                <c:pt idx="1453">
                  <c:v>0.80178029967391995</c:v>
                </c:pt>
                <c:pt idx="1454">
                  <c:v>0.76042076358939603</c:v>
                </c:pt>
                <c:pt idx="1455">
                  <c:v>0.70733507583232802</c:v>
                </c:pt>
                <c:pt idx="1456">
                  <c:v>0.72790490026441501</c:v>
                </c:pt>
                <c:pt idx="1457">
                  <c:v>0.81752834952037201</c:v>
                </c:pt>
                <c:pt idx="1458">
                  <c:v>0.952531492927437</c:v>
                </c:pt>
                <c:pt idx="1459">
                  <c:v>0.97880949984888699</c:v>
                </c:pt>
                <c:pt idx="1460">
                  <c:v>0.98256547322533605</c:v>
                </c:pt>
                <c:pt idx="1461">
                  <c:v>0.98996166675328201</c:v>
                </c:pt>
                <c:pt idx="1462">
                  <c:v>0.96996643270786498</c:v>
                </c:pt>
                <c:pt idx="1463">
                  <c:v>0.94494612656281995</c:v>
                </c:pt>
                <c:pt idx="1464">
                  <c:v>0.930608964134646</c:v>
                </c:pt>
                <c:pt idx="1465">
                  <c:v>0.92012422437794505</c:v>
                </c:pt>
                <c:pt idx="1466">
                  <c:v>0.90203545101875904</c:v>
                </c:pt>
                <c:pt idx="1467">
                  <c:v>0.874489571979157</c:v>
                </c:pt>
                <c:pt idx="1468">
                  <c:v>0.88362514103503798</c:v>
                </c:pt>
                <c:pt idx="1469">
                  <c:v>0.89836304082978902</c:v>
                </c:pt>
                <c:pt idx="1470">
                  <c:v>0.85231594220926699</c:v>
                </c:pt>
                <c:pt idx="1471">
                  <c:v>0.84261083230584399</c:v>
                </c:pt>
                <c:pt idx="1472">
                  <c:v>0.82875078617014197</c:v>
                </c:pt>
                <c:pt idx="1473">
                  <c:v>0.80396769589441597</c:v>
                </c:pt>
                <c:pt idx="1474">
                  <c:v>0.79439956062251904</c:v>
                </c:pt>
                <c:pt idx="1475">
                  <c:v>0.80079918602029498</c:v>
                </c:pt>
                <c:pt idx="1476">
                  <c:v>0.79359094428232602</c:v>
                </c:pt>
                <c:pt idx="1477">
                  <c:v>0.86351442156627201</c:v>
                </c:pt>
                <c:pt idx="1478">
                  <c:v>0.86604094275113397</c:v>
                </c:pt>
                <c:pt idx="1479">
                  <c:v>0.824879566575906</c:v>
                </c:pt>
                <c:pt idx="1480">
                  <c:v>0.80969137863780805</c:v>
                </c:pt>
                <c:pt idx="1481">
                  <c:v>0.85090032089344603</c:v>
                </c:pt>
                <c:pt idx="1482">
                  <c:v>0.87896532840659602</c:v>
                </c:pt>
                <c:pt idx="1483">
                  <c:v>0.88067407455055902</c:v>
                </c:pt>
                <c:pt idx="1484">
                  <c:v>0.88544495614739505</c:v>
                </c:pt>
                <c:pt idx="1485">
                  <c:v>0.93841889571632697</c:v>
                </c:pt>
                <c:pt idx="1486">
                  <c:v>0.94265737945138295</c:v>
                </c:pt>
                <c:pt idx="1487">
                  <c:v>0.94082708826450501</c:v>
                </c:pt>
                <c:pt idx="1488">
                  <c:v>0.91824306914831799</c:v>
                </c:pt>
                <c:pt idx="1489">
                  <c:v>0.89178214135115996</c:v>
                </c:pt>
                <c:pt idx="1490">
                  <c:v>0.91579331384640195</c:v>
                </c:pt>
                <c:pt idx="1491">
                  <c:v>0.83840199849170605</c:v>
                </c:pt>
                <c:pt idx="1492">
                  <c:v>0.821543787495573</c:v>
                </c:pt>
                <c:pt idx="1493">
                  <c:v>0.84115065248977905</c:v>
                </c:pt>
                <c:pt idx="1494">
                  <c:v>0.834322465630712</c:v>
                </c:pt>
                <c:pt idx="1495">
                  <c:v>0.81903786109224097</c:v>
                </c:pt>
                <c:pt idx="1496">
                  <c:v>0.818631974992442</c:v>
                </c:pt>
                <c:pt idx="1497">
                  <c:v>0.80785237363305396</c:v>
                </c:pt>
                <c:pt idx="1498">
                  <c:v>0.83439031548726506</c:v>
                </c:pt>
                <c:pt idx="1499">
                  <c:v>0.84240401015387301</c:v>
                </c:pt>
                <c:pt idx="1500">
                  <c:v>0.84744779450651297</c:v>
                </c:pt>
                <c:pt idx="1501">
                  <c:v>0.832663062787249</c:v>
                </c:pt>
                <c:pt idx="1502">
                  <c:v>0.88367478161045299</c:v>
                </c:pt>
                <c:pt idx="1503">
                  <c:v>0.88271258045647905</c:v>
                </c:pt>
                <c:pt idx="1504">
                  <c:v>0.96248538433563102</c:v>
                </c:pt>
                <c:pt idx="1505">
                  <c:v>0.95129545240977598</c:v>
                </c:pt>
                <c:pt idx="1506">
                  <c:v>0.97834473925258703</c:v>
                </c:pt>
                <c:pt idx="1507">
                  <c:v>0.97256833456221004</c:v>
                </c:pt>
                <c:pt idx="1508">
                  <c:v>1.02165940484871</c:v>
                </c:pt>
                <c:pt idx="1509">
                  <c:v>1.0159663054080801</c:v>
                </c:pt>
                <c:pt idx="1510">
                  <c:v>1.02533227915906</c:v>
                </c:pt>
                <c:pt idx="1511">
                  <c:v>1.0226406888388999</c:v>
                </c:pt>
                <c:pt idx="1512">
                  <c:v>1.02914021196911</c:v>
                </c:pt>
                <c:pt idx="1513">
                  <c:v>1.0448731610903299</c:v>
                </c:pt>
                <c:pt idx="1514">
                  <c:v>1.0382837953002699</c:v>
                </c:pt>
                <c:pt idx="1515">
                  <c:v>1.0806948791859201</c:v>
                </c:pt>
                <c:pt idx="1516">
                  <c:v>1.06562140246274</c:v>
                </c:pt>
                <c:pt idx="1517">
                  <c:v>1.0459195450216401</c:v>
                </c:pt>
                <c:pt idx="1518">
                  <c:v>1.05371911530814</c:v>
                </c:pt>
                <c:pt idx="1519">
                  <c:v>1.05546391124358</c:v>
                </c:pt>
                <c:pt idx="1520">
                  <c:v>1.08401177071073</c:v>
                </c:pt>
                <c:pt idx="1521">
                  <c:v>1.04045813051308</c:v>
                </c:pt>
                <c:pt idx="1522">
                  <c:v>1.0355786424615101</c:v>
                </c:pt>
                <c:pt idx="1523">
                  <c:v>1.01974155911094</c:v>
                </c:pt>
                <c:pt idx="1524">
                  <c:v>1.05407815599683</c:v>
                </c:pt>
                <c:pt idx="1525">
                  <c:v>1.0165403221040401</c:v>
                </c:pt>
                <c:pt idx="1526">
                  <c:v>1.0570072353234601</c:v>
                </c:pt>
                <c:pt idx="1527">
                  <c:v>1.0477468276236199</c:v>
                </c:pt>
                <c:pt idx="1528">
                  <c:v>1.04608598030441</c:v>
                </c:pt>
                <c:pt idx="1529">
                  <c:v>1.01473708218963</c:v>
                </c:pt>
                <c:pt idx="1530">
                  <c:v>1.0163970714549599</c:v>
                </c:pt>
                <c:pt idx="1531">
                  <c:v>1.01130470615309</c:v>
                </c:pt>
                <c:pt idx="1532">
                  <c:v>1.0190663872939301</c:v>
                </c:pt>
                <c:pt idx="1533">
                  <c:v>1.01076969856157</c:v>
                </c:pt>
                <c:pt idx="1534">
                  <c:v>0.98098611091994403</c:v>
                </c:pt>
                <c:pt idx="1535">
                  <c:v>0.95566243832106801</c:v>
                </c:pt>
                <c:pt idx="1536">
                  <c:v>0.95129373121396599</c:v>
                </c:pt>
                <c:pt idx="1537">
                  <c:v>0.937351359283076</c:v>
                </c:pt>
                <c:pt idx="1538">
                  <c:v>0.93287259273140599</c:v>
                </c:pt>
                <c:pt idx="1539">
                  <c:v>0.89671956573304301</c:v>
                </c:pt>
                <c:pt idx="1540">
                  <c:v>0.85767283315530196</c:v>
                </c:pt>
                <c:pt idx="1541">
                  <c:v>0.80318289334048398</c:v>
                </c:pt>
                <c:pt idx="1542">
                  <c:v>0.80529277530429499</c:v>
                </c:pt>
                <c:pt idx="1543">
                  <c:v>0.77446809890888102</c:v>
                </c:pt>
                <c:pt idx="1544">
                  <c:v>0.80916019780600501</c:v>
                </c:pt>
                <c:pt idx="1545">
                  <c:v>0.82098516121780296</c:v>
                </c:pt>
                <c:pt idx="1546">
                  <c:v>0.80650734604614804</c:v>
                </c:pt>
                <c:pt idx="1547">
                  <c:v>0.81964507097957995</c:v>
                </c:pt>
                <c:pt idx="1548">
                  <c:v>0.82463625241452698</c:v>
                </c:pt>
                <c:pt idx="1549">
                  <c:v>0.84717295306695595</c:v>
                </c:pt>
                <c:pt idx="1550">
                  <c:v>0.92818707908415399</c:v>
                </c:pt>
                <c:pt idx="1551">
                  <c:v>0.97500016374959098</c:v>
                </c:pt>
                <c:pt idx="1552">
                  <c:v>0.97767534046848403</c:v>
                </c:pt>
                <c:pt idx="1553">
                  <c:v>1.0303159581974699</c:v>
                </c:pt>
                <c:pt idx="1554">
                  <c:v>1.0397381464456801</c:v>
                </c:pt>
                <c:pt idx="1555">
                  <c:v>1.0800486575602199</c:v>
                </c:pt>
                <c:pt idx="1556">
                  <c:v>1.04313998711864</c:v>
                </c:pt>
                <c:pt idx="1557">
                  <c:v>1.0269083256623599</c:v>
                </c:pt>
                <c:pt idx="1558">
                  <c:v>1.05737392204308</c:v>
                </c:pt>
                <c:pt idx="1559">
                  <c:v>1.05105848396594</c:v>
                </c:pt>
                <c:pt idx="1560">
                  <c:v>1.0316943714279601</c:v>
                </c:pt>
                <c:pt idx="1561">
                  <c:v>0.98897401388647199</c:v>
                </c:pt>
                <c:pt idx="1562">
                  <c:v>0.96293392416013901</c:v>
                </c:pt>
                <c:pt idx="1563">
                  <c:v>0.86938685653553505</c:v>
                </c:pt>
                <c:pt idx="1564">
                  <c:v>0.80928839300019095</c:v>
                </c:pt>
                <c:pt idx="1565">
                  <c:v>0.76585020581039898</c:v>
                </c:pt>
                <c:pt idx="1566">
                  <c:v>0.68832534098462905</c:v>
                </c:pt>
                <c:pt idx="1567">
                  <c:v>0.63634653763351801</c:v>
                </c:pt>
                <c:pt idx="1568">
                  <c:v>0.63064842063790905</c:v>
                </c:pt>
                <c:pt idx="1569">
                  <c:v>0.66567841797562299</c:v>
                </c:pt>
                <c:pt idx="1570">
                  <c:v>0.69898427762294701</c:v>
                </c:pt>
                <c:pt idx="1571">
                  <c:v>0.75126954024181902</c:v>
                </c:pt>
                <c:pt idx="1572">
                  <c:v>0.75324636515397403</c:v>
                </c:pt>
                <c:pt idx="1573">
                  <c:v>0.74986037114577797</c:v>
                </c:pt>
                <c:pt idx="1574">
                  <c:v>0.74634414321925402</c:v>
                </c:pt>
                <c:pt idx="1575">
                  <c:v>0.74281697498002297</c:v>
                </c:pt>
                <c:pt idx="1576">
                  <c:v>0.757011518887865</c:v>
                </c:pt>
                <c:pt idx="1577">
                  <c:v>0.77588453253330403</c:v>
                </c:pt>
                <c:pt idx="1578">
                  <c:v>0.78560502796449805</c:v>
                </c:pt>
                <c:pt idx="1579">
                  <c:v>0.79082067653055499</c:v>
                </c:pt>
                <c:pt idx="1580">
                  <c:v>0.82041687733508595</c:v>
                </c:pt>
                <c:pt idx="1581">
                  <c:v>0.873525496948106</c:v>
                </c:pt>
                <c:pt idx="1582">
                  <c:v>0.88964862698315095</c:v>
                </c:pt>
                <c:pt idx="1583">
                  <c:v>0.90119796034340605</c:v>
                </c:pt>
                <c:pt idx="1584">
                  <c:v>0.91169405372218404</c:v>
                </c:pt>
                <c:pt idx="1585">
                  <c:v>0.92012106557264095</c:v>
                </c:pt>
                <c:pt idx="1586">
                  <c:v>0.94270042144384802</c:v>
                </c:pt>
                <c:pt idx="1587">
                  <c:v>0.94830744610579398</c:v>
                </c:pt>
                <c:pt idx="1588">
                  <c:v>0.93295056878462101</c:v>
                </c:pt>
                <c:pt idx="1589">
                  <c:v>0.97886770975881698</c:v>
                </c:pt>
                <c:pt idx="1590">
                  <c:v>0.96281107252143205</c:v>
                </c:pt>
                <c:pt idx="1591">
                  <c:v>0.84598712802780696</c:v>
                </c:pt>
                <c:pt idx="1592">
                  <c:v>0.78793883241285101</c:v>
                </c:pt>
                <c:pt idx="1593">
                  <c:v>0.74783453951947698</c:v>
                </c:pt>
                <c:pt idx="1594">
                  <c:v>0.65651319799778296</c:v>
                </c:pt>
                <c:pt idx="1595">
                  <c:v>0.67214918972692295</c:v>
                </c:pt>
                <c:pt idx="1596">
                  <c:v>0.71533753327750305</c:v>
                </c:pt>
                <c:pt idx="1597">
                  <c:v>0.74376762918077699</c:v>
                </c:pt>
                <c:pt idx="1598">
                  <c:v>0.76761783269098505</c:v>
                </c:pt>
                <c:pt idx="1599">
                  <c:v>0.75283917607557405</c:v>
                </c:pt>
                <c:pt idx="1600">
                  <c:v>0.86590125128311801</c:v>
                </c:pt>
                <c:pt idx="1601">
                  <c:v>0.88665826423030203</c:v>
                </c:pt>
                <c:pt idx="1602">
                  <c:v>0.88784157817425302</c:v>
                </c:pt>
                <c:pt idx="1603">
                  <c:v>0.87619152760215702</c:v>
                </c:pt>
                <c:pt idx="1604">
                  <c:v>0.87790262698968102</c:v>
                </c:pt>
                <c:pt idx="1605">
                  <c:v>0.86588061113058401</c:v>
                </c:pt>
                <c:pt idx="1606">
                  <c:v>0.83895959213305105</c:v>
                </c:pt>
                <c:pt idx="1607">
                  <c:v>0.83022478072668404</c:v>
                </c:pt>
                <c:pt idx="1608">
                  <c:v>0.80349927081642103</c:v>
                </c:pt>
                <c:pt idx="1609">
                  <c:v>0.79235448371612305</c:v>
                </c:pt>
                <c:pt idx="1610">
                  <c:v>0.73392992256743095</c:v>
                </c:pt>
                <c:pt idx="1611">
                  <c:v>0.62179305954131203</c:v>
                </c:pt>
                <c:pt idx="1612">
                  <c:v>0.66091273696359498</c:v>
                </c:pt>
                <c:pt idx="1613">
                  <c:v>0.73515569952059301</c:v>
                </c:pt>
                <c:pt idx="1614">
                  <c:v>0.807006478496613</c:v>
                </c:pt>
                <c:pt idx="1615">
                  <c:v>0.86974910620909596</c:v>
                </c:pt>
                <c:pt idx="1616">
                  <c:v>0.86861820213920005</c:v>
                </c:pt>
                <c:pt idx="1617">
                  <c:v>0.88435888971634602</c:v>
                </c:pt>
                <c:pt idx="1618">
                  <c:v>0.89495239200124299</c:v>
                </c:pt>
                <c:pt idx="1619">
                  <c:v>0.90062891680163104</c:v>
                </c:pt>
                <c:pt idx="1620">
                  <c:v>0.90414408077962705</c:v>
                </c:pt>
                <c:pt idx="1621">
                  <c:v>0.911534345464872</c:v>
                </c:pt>
                <c:pt idx="1622">
                  <c:v>0.90452702670526697</c:v>
                </c:pt>
                <c:pt idx="1623">
                  <c:v>0.91526655156268699</c:v>
                </c:pt>
                <c:pt idx="1624">
                  <c:v>0.93232793865811503</c:v>
                </c:pt>
                <c:pt idx="1625">
                  <c:v>0.94113022170337601</c:v>
                </c:pt>
                <c:pt idx="1626">
                  <c:v>0.97476214840668596</c:v>
                </c:pt>
                <c:pt idx="1627">
                  <c:v>1.0222528168440099</c:v>
                </c:pt>
                <c:pt idx="1628">
                  <c:v>0.95671860773330497</c:v>
                </c:pt>
                <c:pt idx="1629">
                  <c:v>0.88605719623021495</c:v>
                </c:pt>
                <c:pt idx="1630">
                  <c:v>0.84668884743598705</c:v>
                </c:pt>
                <c:pt idx="1631">
                  <c:v>0.66463956525563295</c:v>
                </c:pt>
                <c:pt idx="1632">
                  <c:v>0.62524403290598995</c:v>
                </c:pt>
                <c:pt idx="1633">
                  <c:v>0.57614163976140098</c:v>
                </c:pt>
                <c:pt idx="1634">
                  <c:v>0.54855405194412599</c:v>
                </c:pt>
                <c:pt idx="1635">
                  <c:v>0.406279004499906</c:v>
                </c:pt>
                <c:pt idx="1636">
                  <c:v>0.42881531688070501</c:v>
                </c:pt>
                <c:pt idx="1637">
                  <c:v>0.49472857046219498</c:v>
                </c:pt>
                <c:pt idx="1638">
                  <c:v>0.61946837568657098</c:v>
                </c:pt>
                <c:pt idx="1639">
                  <c:v>0.67779650605720398</c:v>
                </c:pt>
                <c:pt idx="1640">
                  <c:v>0.63495704651682106</c:v>
                </c:pt>
                <c:pt idx="1641">
                  <c:v>0.67895278212137899</c:v>
                </c:pt>
                <c:pt idx="1642">
                  <c:v>0.757100225154133</c:v>
                </c:pt>
                <c:pt idx="1643">
                  <c:v>0.74852839458167297</c:v>
                </c:pt>
                <c:pt idx="1644">
                  <c:v>0.762267395033282</c:v>
                </c:pt>
                <c:pt idx="1645">
                  <c:v>0.84591614835465501</c:v>
                </c:pt>
                <c:pt idx="1646">
                  <c:v>0.86259073342834303</c:v>
                </c:pt>
                <c:pt idx="1647">
                  <c:v>0.99504422746361998</c:v>
                </c:pt>
                <c:pt idx="1648">
                  <c:v>1.01230680230098</c:v>
                </c:pt>
                <c:pt idx="1649">
                  <c:v>1.05595070142842</c:v>
                </c:pt>
                <c:pt idx="1650">
                  <c:v>1.0794680007128701</c:v>
                </c:pt>
                <c:pt idx="1651">
                  <c:v>1.0662309916178401</c:v>
                </c:pt>
                <c:pt idx="1652">
                  <c:v>1.04729655073422</c:v>
                </c:pt>
                <c:pt idx="1653">
                  <c:v>1.05246237926098</c:v>
                </c:pt>
                <c:pt idx="1654">
                  <c:v>1.0683897216363001</c:v>
                </c:pt>
                <c:pt idx="1655">
                  <c:v>1.0561865592637301</c:v>
                </c:pt>
                <c:pt idx="1656">
                  <c:v>1.03744693576192</c:v>
                </c:pt>
                <c:pt idx="1657">
                  <c:v>0.95930881807012902</c:v>
                </c:pt>
                <c:pt idx="1658">
                  <c:v>0.87407489748589395</c:v>
                </c:pt>
                <c:pt idx="1659">
                  <c:v>0.74636080625617696</c:v>
                </c:pt>
                <c:pt idx="1660">
                  <c:v>1.0961276889087701</c:v>
                </c:pt>
                <c:pt idx="1661">
                  <c:v>1.0651452941893</c:v>
                </c:pt>
                <c:pt idx="1662">
                  <c:v>1.0258311378943701</c:v>
                </c:pt>
                <c:pt idx="1663">
                  <c:v>1.0008874043000799</c:v>
                </c:pt>
                <c:pt idx="1664">
                  <c:v>0.96660519142523404</c:v>
                </c:pt>
                <c:pt idx="1665">
                  <c:v>0.95453293342568102</c:v>
                </c:pt>
                <c:pt idx="1666">
                  <c:v>0.94071103701860403</c:v>
                </c:pt>
                <c:pt idx="1667">
                  <c:v>0.99189331889634502</c:v>
                </c:pt>
                <c:pt idx="1668">
                  <c:v>1.0018885439798499</c:v>
                </c:pt>
                <c:pt idx="1669">
                  <c:v>0.98861672269043799</c:v>
                </c:pt>
                <c:pt idx="1670">
                  <c:v>0.97495946882053597</c:v>
                </c:pt>
                <c:pt idx="1671">
                  <c:v>0.97258878431057805</c:v>
                </c:pt>
                <c:pt idx="1672">
                  <c:v>0.96439959577404299</c:v>
                </c:pt>
                <c:pt idx="1673">
                  <c:v>0.93865022765273398</c:v>
                </c:pt>
                <c:pt idx="1674">
                  <c:v>0.91864811577396199</c:v>
                </c:pt>
                <c:pt idx="1675">
                  <c:v>0.87215494814045902</c:v>
                </c:pt>
                <c:pt idx="1676">
                  <c:v>0.59691418217426695</c:v>
                </c:pt>
                <c:pt idx="1677">
                  <c:v>0.65225331795814001</c:v>
                </c:pt>
                <c:pt idx="1678">
                  <c:v>0.73829589210233204</c:v>
                </c:pt>
                <c:pt idx="1679">
                  <c:v>0.71201551567115895</c:v>
                </c:pt>
                <c:pt idx="1680">
                  <c:v>0.68504575466536399</c:v>
                </c:pt>
                <c:pt idx="1681">
                  <c:v>0.66497291628824395</c:v>
                </c:pt>
                <c:pt idx="1682">
                  <c:v>0.66037794542260897</c:v>
                </c:pt>
                <c:pt idx="1683">
                  <c:v>0.65833877492825799</c:v>
                </c:pt>
                <c:pt idx="1684">
                  <c:v>0.67416888101384698</c:v>
                </c:pt>
                <c:pt idx="1685">
                  <c:v>0.68095498379185504</c:v>
                </c:pt>
                <c:pt idx="1686">
                  <c:v>0.662634063286062</c:v>
                </c:pt>
                <c:pt idx="1687">
                  <c:v>0.63418507953950098</c:v>
                </c:pt>
                <c:pt idx="1688">
                  <c:v>0.61992172468803097</c:v>
                </c:pt>
                <c:pt idx="1689">
                  <c:v>0.60423957935211103</c:v>
                </c:pt>
                <c:pt idx="1690">
                  <c:v>0.586083222103577</c:v>
                </c:pt>
                <c:pt idx="1691">
                  <c:v>0.61556152659820396</c:v>
                </c:pt>
                <c:pt idx="1692">
                  <c:v>0.69905386715888596</c:v>
                </c:pt>
                <c:pt idx="1693">
                  <c:v>0.72241095984841697</c:v>
                </c:pt>
                <c:pt idx="1694">
                  <c:v>0.84108682503682197</c:v>
                </c:pt>
                <c:pt idx="1695">
                  <c:v>0.90446226863788604</c:v>
                </c:pt>
                <c:pt idx="1696">
                  <c:v>0.88553666584468604</c:v>
                </c:pt>
                <c:pt idx="1697">
                  <c:v>0.969187856869133</c:v>
                </c:pt>
                <c:pt idx="1698">
                  <c:v>0.96838804546892499</c:v>
                </c:pt>
                <c:pt idx="1699">
                  <c:v>0.96267877680384695</c:v>
                </c:pt>
                <c:pt idx="1700">
                  <c:v>0.95074009653518099</c:v>
                </c:pt>
                <c:pt idx="1701">
                  <c:v>0.70239596068885701</c:v>
                </c:pt>
                <c:pt idx="1702">
                  <c:v>0.72083521403273598</c:v>
                </c:pt>
                <c:pt idx="1703">
                  <c:v>0.75797602819759902</c:v>
                </c:pt>
                <c:pt idx="1704">
                  <c:v>0.73141170319540105</c:v>
                </c:pt>
                <c:pt idx="1705">
                  <c:v>0.74942557771881602</c:v>
                </c:pt>
                <c:pt idx="1706">
                  <c:v>0.78144567149247901</c:v>
                </c:pt>
                <c:pt idx="1707">
                  <c:v>0.83894380526904699</c:v>
                </c:pt>
                <c:pt idx="1708">
                  <c:v>0.86550310040318501</c:v>
                </c:pt>
                <c:pt idx="1709">
                  <c:v>0.87258548075361198</c:v>
                </c:pt>
                <c:pt idx="1710">
                  <c:v>0.87664547329522302</c:v>
                </c:pt>
                <c:pt idx="1711">
                  <c:v>0.89886227303671595</c:v>
                </c:pt>
                <c:pt idx="1712">
                  <c:v>0.90735491660309697</c:v>
                </c:pt>
                <c:pt idx="1713">
                  <c:v>0.91707718472227595</c:v>
                </c:pt>
                <c:pt idx="1714">
                  <c:v>0.93869425019124697</c:v>
                </c:pt>
                <c:pt idx="1715">
                  <c:v>0.93667784969290802</c:v>
                </c:pt>
                <c:pt idx="1716">
                  <c:v>0.97285007061822504</c:v>
                </c:pt>
                <c:pt idx="1717">
                  <c:v>1.0016823466398199</c:v>
                </c:pt>
                <c:pt idx="1718">
                  <c:v>1.09430309224157</c:v>
                </c:pt>
                <c:pt idx="1719">
                  <c:v>1.0113890340396401</c:v>
                </c:pt>
                <c:pt idx="1720">
                  <c:v>0.99920073895573203</c:v>
                </c:pt>
                <c:pt idx="1721">
                  <c:v>1.0715976814775801</c:v>
                </c:pt>
                <c:pt idx="1722">
                  <c:v>1.0336620552072899</c:v>
                </c:pt>
                <c:pt idx="1723">
                  <c:v>1.0061063323818</c:v>
                </c:pt>
                <c:pt idx="1724">
                  <c:v>0.98274476595637195</c:v>
                </c:pt>
                <c:pt idx="1725">
                  <c:v>1.01370308761663</c:v>
                </c:pt>
                <c:pt idx="1726">
                  <c:v>1.01486231976305</c:v>
                </c:pt>
                <c:pt idx="1727">
                  <c:v>0.98518376834233501</c:v>
                </c:pt>
                <c:pt idx="1728">
                  <c:v>0.949345018487738</c:v>
                </c:pt>
                <c:pt idx="1729">
                  <c:v>0.922980767907297</c:v>
                </c:pt>
                <c:pt idx="1730">
                  <c:v>0.86747078407044598</c:v>
                </c:pt>
                <c:pt idx="1731">
                  <c:v>0.83377211238832105</c:v>
                </c:pt>
                <c:pt idx="1732">
                  <c:v>0.77286119023178701</c:v>
                </c:pt>
                <c:pt idx="1733">
                  <c:v>0.75635295791026502</c:v>
                </c:pt>
                <c:pt idx="1734">
                  <c:v>0.69504763042928497</c:v>
                </c:pt>
                <c:pt idx="1735">
                  <c:v>0.719700029089551</c:v>
                </c:pt>
                <c:pt idx="1736">
                  <c:v>0.727936823644733</c:v>
                </c:pt>
                <c:pt idx="1737">
                  <c:v>0.73326755460961601</c:v>
                </c:pt>
                <c:pt idx="1738">
                  <c:v>0.73803426223839397</c:v>
                </c:pt>
                <c:pt idx="1739">
                  <c:v>0.71322871254376896</c:v>
                </c:pt>
                <c:pt idx="1740">
                  <c:v>0.71409759660042804</c:v>
                </c:pt>
                <c:pt idx="1741">
                  <c:v>0.69692644839420104</c:v>
                </c:pt>
                <c:pt idx="1742">
                  <c:v>0.69705099609471599</c:v>
                </c:pt>
                <c:pt idx="1743">
                  <c:v>0.68299958539363104</c:v>
                </c:pt>
                <c:pt idx="1744">
                  <c:v>0.64918155915631404</c:v>
                </c:pt>
                <c:pt idx="1745">
                  <c:v>0.65169484809266898</c:v>
                </c:pt>
                <c:pt idx="1746">
                  <c:v>0.66453217620266802</c:v>
                </c:pt>
                <c:pt idx="1747">
                  <c:v>0.66620979884348097</c:v>
                </c:pt>
                <c:pt idx="1748">
                  <c:v>0.66650573439534599</c:v>
                </c:pt>
                <c:pt idx="1749">
                  <c:v>0.67935593875635703</c:v>
                </c:pt>
                <c:pt idx="1750">
                  <c:v>0.71751405941357405</c:v>
                </c:pt>
                <c:pt idx="1751">
                  <c:v>0.78250089187771199</c:v>
                </c:pt>
                <c:pt idx="1752">
                  <c:v>0.84972072490766504</c:v>
                </c:pt>
                <c:pt idx="1753">
                  <c:v>0.83183635665535505</c:v>
                </c:pt>
                <c:pt idx="1754">
                  <c:v>0.85478273475969602</c:v>
                </c:pt>
                <c:pt idx="1755">
                  <c:v>0.83819839746785996</c:v>
                </c:pt>
                <c:pt idx="1756">
                  <c:v>0.91223019866447697</c:v>
                </c:pt>
                <c:pt idx="1757">
                  <c:v>0.90156489689527697</c:v>
                </c:pt>
                <c:pt idx="1758">
                  <c:v>0.90936535748288605</c:v>
                </c:pt>
                <c:pt idx="1759">
                  <c:v>0.89628054775299704</c:v>
                </c:pt>
                <c:pt idx="1760">
                  <c:v>0.94672360260688704</c:v>
                </c:pt>
                <c:pt idx="1761">
                  <c:v>0.95686301409521402</c:v>
                </c:pt>
                <c:pt idx="1762">
                  <c:v>0.94575929188749897</c:v>
                </c:pt>
                <c:pt idx="1763">
                  <c:v>0.92001997470146402</c:v>
                </c:pt>
                <c:pt idx="1764">
                  <c:v>0.94552499336934803</c:v>
                </c:pt>
                <c:pt idx="1765">
                  <c:v>0.90440391179290702</c:v>
                </c:pt>
                <c:pt idx="1766">
                  <c:v>0.79328689285000098</c:v>
                </c:pt>
                <c:pt idx="1767">
                  <c:v>0.853068234074008</c:v>
                </c:pt>
                <c:pt idx="1768">
                  <c:v>0.87547555517887199</c:v>
                </c:pt>
                <c:pt idx="1769">
                  <c:v>0.82792966487865605</c:v>
                </c:pt>
                <c:pt idx="1770">
                  <c:v>0.82727431601499501</c:v>
                </c:pt>
                <c:pt idx="1771">
                  <c:v>0.81762490566373902</c:v>
                </c:pt>
                <c:pt idx="1772">
                  <c:v>0.58338460064498998</c:v>
                </c:pt>
                <c:pt idx="1773">
                  <c:v>0.59294155017865702</c:v>
                </c:pt>
                <c:pt idx="1774">
                  <c:v>0.65371345489727095</c:v>
                </c:pt>
                <c:pt idx="1775">
                  <c:v>0.67252500928732795</c:v>
                </c:pt>
                <c:pt idx="1776">
                  <c:v>0.70944397968484596</c:v>
                </c:pt>
                <c:pt idx="1777">
                  <c:v>0.73700181315076196</c:v>
                </c:pt>
                <c:pt idx="1778">
                  <c:v>0.77037591207558298</c:v>
                </c:pt>
                <c:pt idx="1779">
                  <c:v>0.78762650522656197</c:v>
                </c:pt>
                <c:pt idx="1780">
                  <c:v>0.77224451725787002</c:v>
                </c:pt>
                <c:pt idx="1781">
                  <c:v>0.74513934372051505</c:v>
                </c:pt>
                <c:pt idx="1782">
                  <c:v>0.73203729911159798</c:v>
                </c:pt>
                <c:pt idx="1783">
                  <c:v>0.68542834110981699</c:v>
                </c:pt>
                <c:pt idx="1784">
                  <c:v>0.737635159477251</c:v>
                </c:pt>
                <c:pt idx="1785">
                  <c:v>0.77860545256832603</c:v>
                </c:pt>
                <c:pt idx="1786">
                  <c:v>0.79731974820051099</c:v>
                </c:pt>
                <c:pt idx="1787">
                  <c:v>0.80959623557445504</c:v>
                </c:pt>
                <c:pt idx="1788">
                  <c:v>0.83444617419079303</c:v>
                </c:pt>
                <c:pt idx="1789">
                  <c:v>0.86281562409463497</c:v>
                </c:pt>
                <c:pt idx="1790">
                  <c:v>0.90117251192857095</c:v>
                </c:pt>
                <c:pt idx="1791">
                  <c:v>0.91498975008361005</c:v>
                </c:pt>
                <c:pt idx="1792">
                  <c:v>0.92980589295609095</c:v>
                </c:pt>
                <c:pt idx="1793">
                  <c:v>0.93926084708852697</c:v>
                </c:pt>
                <c:pt idx="1794">
                  <c:v>0.95288129537907496</c:v>
                </c:pt>
                <c:pt idx="1795">
                  <c:v>0.97575542808064697</c:v>
                </c:pt>
                <c:pt idx="1796">
                  <c:v>0.97920473629693805</c:v>
                </c:pt>
                <c:pt idx="1797">
                  <c:v>0.99822821658597605</c:v>
                </c:pt>
                <c:pt idx="1798">
                  <c:v>0.95943135814358405</c:v>
                </c:pt>
                <c:pt idx="1799">
                  <c:v>1.0038147676392899</c:v>
                </c:pt>
                <c:pt idx="1800">
                  <c:v>1.3867001457927</c:v>
                </c:pt>
                <c:pt idx="1801">
                  <c:v>0.860828682490695</c:v>
                </c:pt>
                <c:pt idx="1802">
                  <c:v>0.83260995312557595</c:v>
                </c:pt>
                <c:pt idx="1803">
                  <c:v>0.88360015149764304</c:v>
                </c:pt>
                <c:pt idx="1804">
                  <c:v>0.88875236111495604</c:v>
                </c:pt>
                <c:pt idx="1805">
                  <c:v>0.89229922722758104</c:v>
                </c:pt>
                <c:pt idx="1806">
                  <c:v>0.89108259492015096</c:v>
                </c:pt>
                <c:pt idx="1807">
                  <c:v>0.87267454988806004</c:v>
                </c:pt>
                <c:pt idx="1808">
                  <c:v>0.882501588837867</c:v>
                </c:pt>
                <c:pt idx="1809">
                  <c:v>0.83066123361001598</c:v>
                </c:pt>
                <c:pt idx="1810">
                  <c:v>0.82053491782811605</c:v>
                </c:pt>
                <c:pt idx="1811">
                  <c:v>0.80838119046015799</c:v>
                </c:pt>
                <c:pt idx="1812">
                  <c:v>0.80160690997386497</c:v>
                </c:pt>
                <c:pt idx="1813">
                  <c:v>0.785375346369653</c:v>
                </c:pt>
                <c:pt idx="1814">
                  <c:v>0.76926168917070303</c:v>
                </c:pt>
                <c:pt idx="1815">
                  <c:v>0.74393427152877301</c:v>
                </c:pt>
                <c:pt idx="1816">
                  <c:v>0.631911480056077</c:v>
                </c:pt>
                <c:pt idx="1817">
                  <c:v>0.57743862078861097</c:v>
                </c:pt>
                <c:pt idx="1818">
                  <c:v>0.62519532104676401</c:v>
                </c:pt>
                <c:pt idx="1819">
                  <c:v>0.61250583945036297</c:v>
                </c:pt>
                <c:pt idx="1820">
                  <c:v>0.60826214660979805</c:v>
                </c:pt>
                <c:pt idx="1821">
                  <c:v>0.56361091864984503</c:v>
                </c:pt>
                <c:pt idx="1822">
                  <c:v>0.58180234914592099</c:v>
                </c:pt>
                <c:pt idx="1823">
                  <c:v>0.62390330534724003</c:v>
                </c:pt>
                <c:pt idx="1824">
                  <c:v>0.67028795467116997</c:v>
                </c:pt>
                <c:pt idx="1825">
                  <c:v>0.72696374442142697</c:v>
                </c:pt>
                <c:pt idx="1826">
                  <c:v>0.67837300281847801</c:v>
                </c:pt>
                <c:pt idx="1827">
                  <c:v>0.76352967613920797</c:v>
                </c:pt>
                <c:pt idx="1828">
                  <c:v>0.81988311650154999</c:v>
                </c:pt>
                <c:pt idx="1829">
                  <c:v>0.83968823298089201</c:v>
                </c:pt>
                <c:pt idx="1830">
                  <c:v>0.82387826050995705</c:v>
                </c:pt>
                <c:pt idx="1831">
                  <c:v>0.83050396900710299</c:v>
                </c:pt>
                <c:pt idx="1832">
                  <c:v>0.82741329125761298</c:v>
                </c:pt>
                <c:pt idx="1833">
                  <c:v>0.81314611173644802</c:v>
                </c:pt>
                <c:pt idx="1834">
                  <c:v>0.895163419169968</c:v>
                </c:pt>
                <c:pt idx="1835">
                  <c:v>0.92749676149354998</c:v>
                </c:pt>
                <c:pt idx="1836">
                  <c:v>0.92898005917404003</c:v>
                </c:pt>
                <c:pt idx="1837">
                  <c:v>0.88321771010563199</c:v>
                </c:pt>
                <c:pt idx="1838">
                  <c:v>0.82577307277029399</c:v>
                </c:pt>
                <c:pt idx="1839">
                  <c:v>0.577674541558859</c:v>
                </c:pt>
                <c:pt idx="1840">
                  <c:v>0.60310384512303405</c:v>
                </c:pt>
                <c:pt idx="1841">
                  <c:v>0.59285217390533496</c:v>
                </c:pt>
                <c:pt idx="1842">
                  <c:v>0.62192321474568701</c:v>
                </c:pt>
                <c:pt idx="1843">
                  <c:v>0.67924681738562998</c:v>
                </c:pt>
                <c:pt idx="1844">
                  <c:v>0.69305096126771804</c:v>
                </c:pt>
                <c:pt idx="1845">
                  <c:v>0.72608118305958602</c:v>
                </c:pt>
                <c:pt idx="1846">
                  <c:v>0.75106831777556304</c:v>
                </c:pt>
                <c:pt idx="1847">
                  <c:v>0.71872654578019501</c:v>
                </c:pt>
                <c:pt idx="1848">
                  <c:v>0.71316623569799797</c:v>
                </c:pt>
                <c:pt idx="1849">
                  <c:v>0.69650915713756401</c:v>
                </c:pt>
                <c:pt idx="1850">
                  <c:v>0.69791086155077697</c:v>
                </c:pt>
                <c:pt idx="1851">
                  <c:v>0.74724781911921101</c:v>
                </c:pt>
                <c:pt idx="1852">
                  <c:v>1.1613544689520201</c:v>
                </c:pt>
                <c:pt idx="1853">
                  <c:v>1.09299754383985</c:v>
                </c:pt>
                <c:pt idx="1854">
                  <c:v>1.0526730162967199</c:v>
                </c:pt>
                <c:pt idx="1855">
                  <c:v>1.0407816703200199</c:v>
                </c:pt>
                <c:pt idx="1856">
                  <c:v>1.02100808992117</c:v>
                </c:pt>
                <c:pt idx="1857">
                  <c:v>1.0812435869924399</c:v>
                </c:pt>
                <c:pt idx="1858">
                  <c:v>1.0744680595599101</c:v>
                </c:pt>
                <c:pt idx="1859">
                  <c:v>1.0550131616407801</c:v>
                </c:pt>
                <c:pt idx="1860">
                  <c:v>1.06481022805952</c:v>
                </c:pt>
                <c:pt idx="1861">
                  <c:v>1.0460524285230199</c:v>
                </c:pt>
                <c:pt idx="1862">
                  <c:v>1.0219950176510699</c:v>
                </c:pt>
                <c:pt idx="1863">
                  <c:v>1.0030233165807201</c:v>
                </c:pt>
                <c:pt idx="1864">
                  <c:v>0.98535034698630497</c:v>
                </c:pt>
                <c:pt idx="1865">
                  <c:v>1.0082828191127</c:v>
                </c:pt>
                <c:pt idx="1866">
                  <c:v>0.98733015384535305</c:v>
                </c:pt>
                <c:pt idx="1867">
                  <c:v>0.928708211386152</c:v>
                </c:pt>
                <c:pt idx="1868">
                  <c:v>0.91195666673130504</c:v>
                </c:pt>
                <c:pt idx="1869">
                  <c:v>1.0272458995896301</c:v>
                </c:pt>
                <c:pt idx="1870">
                  <c:v>1.15158742347404</c:v>
                </c:pt>
                <c:pt idx="1871">
                  <c:v>1.0907115275107699</c:v>
                </c:pt>
                <c:pt idx="1872">
                  <c:v>0.94493037210508501</c:v>
                </c:pt>
                <c:pt idx="1873">
                  <c:v>0.93193544185881805</c:v>
                </c:pt>
                <c:pt idx="1874">
                  <c:v>0.95264394359443105</c:v>
                </c:pt>
                <c:pt idx="1875">
                  <c:v>0.95041075799745101</c:v>
                </c:pt>
                <c:pt idx="1876">
                  <c:v>0.96530752230625705</c:v>
                </c:pt>
                <c:pt idx="1877">
                  <c:v>0.98292920331800504</c:v>
                </c:pt>
                <c:pt idx="1878">
                  <c:v>0.98608084883329805</c:v>
                </c:pt>
                <c:pt idx="1879">
                  <c:v>0.98660763040525501</c:v>
                </c:pt>
                <c:pt idx="1880">
                  <c:v>0.93253077908362003</c:v>
                </c:pt>
                <c:pt idx="1881">
                  <c:v>0.94638235945917604</c:v>
                </c:pt>
                <c:pt idx="1882">
                  <c:v>0.96152504765917401</c:v>
                </c:pt>
                <c:pt idx="1883">
                  <c:v>0.96146231598084198</c:v>
                </c:pt>
                <c:pt idx="1884">
                  <c:v>0.96495026018369001</c:v>
                </c:pt>
                <c:pt idx="1885">
                  <c:v>0.96309068748675997</c:v>
                </c:pt>
                <c:pt idx="1886">
                  <c:v>0.91024780253829196</c:v>
                </c:pt>
                <c:pt idx="1887">
                  <c:v>0.88387273141108502</c:v>
                </c:pt>
                <c:pt idx="1888">
                  <c:v>0.87338281430959797</c:v>
                </c:pt>
                <c:pt idx="1889">
                  <c:v>0.81331403437863103</c:v>
                </c:pt>
                <c:pt idx="1890">
                  <c:v>0.86684131508205198</c:v>
                </c:pt>
                <c:pt idx="1891">
                  <c:v>0.90283235729571498</c:v>
                </c:pt>
                <c:pt idx="1892">
                  <c:v>0.90761494402806897</c:v>
                </c:pt>
                <c:pt idx="1893">
                  <c:v>0.87998608624786701</c:v>
                </c:pt>
                <c:pt idx="1894">
                  <c:v>0.90093566656880597</c:v>
                </c:pt>
                <c:pt idx="1895">
                  <c:v>0.98821402456964602</c:v>
                </c:pt>
                <c:pt idx="1896">
                  <c:v>0.96260886057360495</c:v>
                </c:pt>
                <c:pt idx="1897">
                  <c:v>0.94912405201749195</c:v>
                </c:pt>
                <c:pt idx="1898">
                  <c:v>0.97964129782657805</c:v>
                </c:pt>
                <c:pt idx="1899">
                  <c:v>0.99599208380884496</c:v>
                </c:pt>
                <c:pt idx="1900">
                  <c:v>0.96194254030756499</c:v>
                </c:pt>
                <c:pt idx="1901">
                  <c:v>0.94329392976496196</c:v>
                </c:pt>
                <c:pt idx="1902">
                  <c:v>0.90562426240585103</c:v>
                </c:pt>
                <c:pt idx="1903">
                  <c:v>0.96039422658162499</c:v>
                </c:pt>
                <c:pt idx="1904">
                  <c:v>0.94386983983614603</c:v>
                </c:pt>
                <c:pt idx="1905">
                  <c:v>0.88851446628282604</c:v>
                </c:pt>
                <c:pt idx="1906">
                  <c:v>0.843691712250909</c:v>
                </c:pt>
                <c:pt idx="1907">
                  <c:v>0.78346749686403006</c:v>
                </c:pt>
                <c:pt idx="1908">
                  <c:v>0.79378589755302298</c:v>
                </c:pt>
                <c:pt idx="1909">
                  <c:v>0.97039085190634899</c:v>
                </c:pt>
                <c:pt idx="1910">
                  <c:v>1.0476800521363201</c:v>
                </c:pt>
                <c:pt idx="1911">
                  <c:v>0.94209233876382503</c:v>
                </c:pt>
                <c:pt idx="1912">
                  <c:v>0.90330590926325305</c:v>
                </c:pt>
                <c:pt idx="1913">
                  <c:v>0.93265326043571795</c:v>
                </c:pt>
                <c:pt idx="1914">
                  <c:v>0.94082550781307195</c:v>
                </c:pt>
                <c:pt idx="1915">
                  <c:v>0.97885487636492197</c:v>
                </c:pt>
                <c:pt idx="1916">
                  <c:v>0.95270602705077401</c:v>
                </c:pt>
                <c:pt idx="1917">
                  <c:v>0.95383917477301206</c:v>
                </c:pt>
                <c:pt idx="1918">
                  <c:v>0.96339534521721903</c:v>
                </c:pt>
                <c:pt idx="1919">
                  <c:v>0.99791574953274398</c:v>
                </c:pt>
                <c:pt idx="1920">
                  <c:v>0.96506302953078305</c:v>
                </c:pt>
                <c:pt idx="1921">
                  <c:v>1.0553525719261001</c:v>
                </c:pt>
                <c:pt idx="1922">
                  <c:v>1.0533836065573099</c:v>
                </c:pt>
                <c:pt idx="1923">
                  <c:v>1.0259692470060799</c:v>
                </c:pt>
                <c:pt idx="1924">
                  <c:v>1.02078084577676</c:v>
                </c:pt>
                <c:pt idx="1925">
                  <c:v>1.06626915781922</c:v>
                </c:pt>
                <c:pt idx="1926">
                  <c:v>1.06143463572749</c:v>
                </c:pt>
                <c:pt idx="1927">
                  <c:v>1.08248672507458</c:v>
                </c:pt>
                <c:pt idx="1928">
                  <c:v>1.10535300757726</c:v>
                </c:pt>
                <c:pt idx="1929">
                  <c:v>1.0867431509548999</c:v>
                </c:pt>
                <c:pt idx="1930">
                  <c:v>0.93463141144512796</c:v>
                </c:pt>
                <c:pt idx="1931">
                  <c:v>0.91121546606459403</c:v>
                </c:pt>
                <c:pt idx="1932">
                  <c:v>0.92146828158064298</c:v>
                </c:pt>
                <c:pt idx="1933">
                  <c:v>0.92774893914992496</c:v>
                </c:pt>
                <c:pt idx="1934">
                  <c:v>0.965426356331753</c:v>
                </c:pt>
                <c:pt idx="1935">
                  <c:v>1.0024922458875001</c:v>
                </c:pt>
                <c:pt idx="1936">
                  <c:v>1.0027676778303001</c:v>
                </c:pt>
                <c:pt idx="1937">
                  <c:v>1.0078901364736099</c:v>
                </c:pt>
                <c:pt idx="1938">
                  <c:v>1.0371508400672</c:v>
                </c:pt>
                <c:pt idx="1939">
                  <c:v>1.0175207986469601</c:v>
                </c:pt>
                <c:pt idx="1940">
                  <c:v>0.99522078340994102</c:v>
                </c:pt>
                <c:pt idx="1941">
                  <c:v>1.0172063308579999</c:v>
                </c:pt>
                <c:pt idx="1942">
                  <c:v>1.0113964010151</c:v>
                </c:pt>
                <c:pt idx="1943">
                  <c:v>1.01696804403434</c:v>
                </c:pt>
                <c:pt idx="1944">
                  <c:v>1.05570451097178</c:v>
                </c:pt>
                <c:pt idx="1945">
                  <c:v>1.0766704639306801</c:v>
                </c:pt>
                <c:pt idx="1946">
                  <c:v>1.17280288022933</c:v>
                </c:pt>
                <c:pt idx="1947">
                  <c:v>1.2009303798931801</c:v>
                </c:pt>
                <c:pt idx="1948">
                  <c:v>0.93614931158056103</c:v>
                </c:pt>
                <c:pt idx="1949">
                  <c:v>0.85200950463605996</c:v>
                </c:pt>
                <c:pt idx="1950">
                  <c:v>0.75296259257200404</c:v>
                </c:pt>
                <c:pt idx="1951">
                  <c:v>0.74607044242341203</c:v>
                </c:pt>
                <c:pt idx="1952">
                  <c:v>0.74310759133725102</c:v>
                </c:pt>
                <c:pt idx="1953">
                  <c:v>0.74618484565701104</c:v>
                </c:pt>
                <c:pt idx="1954">
                  <c:v>0.68668915103469597</c:v>
                </c:pt>
                <c:pt idx="1955">
                  <c:v>0.68667020210148</c:v>
                </c:pt>
                <c:pt idx="1956">
                  <c:v>0.69350960095248004</c:v>
                </c:pt>
                <c:pt idx="1957">
                  <c:v>0.69197451851335701</c:v>
                </c:pt>
                <c:pt idx="1958">
                  <c:v>0.75333770266783395</c:v>
                </c:pt>
                <c:pt idx="1959">
                  <c:v>0.76192657278406895</c:v>
                </c:pt>
                <c:pt idx="1960">
                  <c:v>0.73618164927644503</c:v>
                </c:pt>
                <c:pt idx="1961">
                  <c:v>0.69768616845726295</c:v>
                </c:pt>
                <c:pt idx="1962">
                  <c:v>0.66657645218700901</c:v>
                </c:pt>
                <c:pt idx="1963">
                  <c:v>0.69055253592501498</c:v>
                </c:pt>
                <c:pt idx="1964">
                  <c:v>0.69518905098550299</c:v>
                </c:pt>
                <c:pt idx="1965">
                  <c:v>0.70902701613324004</c:v>
                </c:pt>
                <c:pt idx="1966">
                  <c:v>0.72045571747593795</c:v>
                </c:pt>
                <c:pt idx="1967">
                  <c:v>0.75270612400854597</c:v>
                </c:pt>
                <c:pt idx="1968">
                  <c:v>0.79293427806789096</c:v>
                </c:pt>
                <c:pt idx="1969">
                  <c:v>0.82526665013384404</c:v>
                </c:pt>
                <c:pt idx="1970">
                  <c:v>0.82521431370296106</c:v>
                </c:pt>
                <c:pt idx="1971">
                  <c:v>0.84704109262685801</c:v>
                </c:pt>
                <c:pt idx="1972">
                  <c:v>0.93025892463424797</c:v>
                </c:pt>
                <c:pt idx="1973">
                  <c:v>0.98727019729468901</c:v>
                </c:pt>
                <c:pt idx="1974">
                  <c:v>1.0584693111538099</c:v>
                </c:pt>
                <c:pt idx="1975">
                  <c:v>1.0078095162935199</c:v>
                </c:pt>
                <c:pt idx="1976">
                  <c:v>0.99448825643819305</c:v>
                </c:pt>
                <c:pt idx="1977">
                  <c:v>1.0069656312941899</c:v>
                </c:pt>
                <c:pt idx="1978">
                  <c:v>0.97747896172090099</c:v>
                </c:pt>
                <c:pt idx="1979">
                  <c:v>0.969348269924446</c:v>
                </c:pt>
                <c:pt idx="1980">
                  <c:v>0.95028555021468397</c:v>
                </c:pt>
                <c:pt idx="1981">
                  <c:v>0.95011751112507903</c:v>
                </c:pt>
                <c:pt idx="1982">
                  <c:v>0.93422368704054304</c:v>
                </c:pt>
                <c:pt idx="1983">
                  <c:v>0.90370249532676505</c:v>
                </c:pt>
                <c:pt idx="1984">
                  <c:v>0.921390505270411</c:v>
                </c:pt>
                <c:pt idx="1985">
                  <c:v>0.89038327716631704</c:v>
                </c:pt>
                <c:pt idx="1986">
                  <c:v>0.85349816308034798</c:v>
                </c:pt>
                <c:pt idx="1987">
                  <c:v>0.83633263799309598</c:v>
                </c:pt>
                <c:pt idx="1988">
                  <c:v>0.84535939302332297</c:v>
                </c:pt>
                <c:pt idx="1989">
                  <c:v>0.79270979035776301</c:v>
                </c:pt>
                <c:pt idx="1990">
                  <c:v>0.75983607231794503</c:v>
                </c:pt>
                <c:pt idx="1991">
                  <c:v>0.78277267075191004</c:v>
                </c:pt>
                <c:pt idx="1992">
                  <c:v>0.86795205793877195</c:v>
                </c:pt>
                <c:pt idx="1993">
                  <c:v>0.87391181000144802</c:v>
                </c:pt>
                <c:pt idx="1994">
                  <c:v>0.90373395912883503</c:v>
                </c:pt>
                <c:pt idx="1995">
                  <c:v>0.841275945260473</c:v>
                </c:pt>
                <c:pt idx="1996">
                  <c:v>0.84892165159209398</c:v>
                </c:pt>
                <c:pt idx="1997">
                  <c:v>0.83710249357501898</c:v>
                </c:pt>
                <c:pt idx="1998">
                  <c:v>0.93810120125410601</c:v>
                </c:pt>
                <c:pt idx="1999">
                  <c:v>0.99242829598883198</c:v>
                </c:pt>
                <c:pt idx="2000">
                  <c:v>0.98199762449185801</c:v>
                </c:pt>
                <c:pt idx="2001">
                  <c:v>0.93339273102009801</c:v>
                </c:pt>
                <c:pt idx="2002">
                  <c:v>0.85886696503191595</c:v>
                </c:pt>
                <c:pt idx="2003">
                  <c:v>0.86150848390404799</c:v>
                </c:pt>
                <c:pt idx="2004">
                  <c:v>0.88557585599209798</c:v>
                </c:pt>
                <c:pt idx="2005">
                  <c:v>0.86659688974611104</c:v>
                </c:pt>
                <c:pt idx="2006">
                  <c:v>0.81374210486109699</c:v>
                </c:pt>
                <c:pt idx="2007">
                  <c:v>0.85516201284706095</c:v>
                </c:pt>
                <c:pt idx="2008">
                  <c:v>0.86331869262806304</c:v>
                </c:pt>
                <c:pt idx="2009">
                  <c:v>0.84924876126355497</c:v>
                </c:pt>
                <c:pt idx="2010">
                  <c:v>0.84822583687958597</c:v>
                </c:pt>
                <c:pt idx="2011">
                  <c:v>0.88468905921254704</c:v>
                </c:pt>
                <c:pt idx="2012">
                  <c:v>0.86001136661164701</c:v>
                </c:pt>
                <c:pt idx="2013">
                  <c:v>0.83974046546376002</c:v>
                </c:pt>
                <c:pt idx="2014">
                  <c:v>0.81658043757773302</c:v>
                </c:pt>
                <c:pt idx="2015">
                  <c:v>0.83555052702848498</c:v>
                </c:pt>
                <c:pt idx="2016">
                  <c:v>0.84720659444818203</c:v>
                </c:pt>
                <c:pt idx="2017">
                  <c:v>0.78931662338411401</c:v>
                </c:pt>
                <c:pt idx="2018">
                  <c:v>0.81548638068602297</c:v>
                </c:pt>
                <c:pt idx="2019">
                  <c:v>0.82283652000074903</c:v>
                </c:pt>
                <c:pt idx="2020">
                  <c:v>0.81224024805557304</c:v>
                </c:pt>
                <c:pt idx="2021">
                  <c:v>0.82935997328564504</c:v>
                </c:pt>
                <c:pt idx="2022">
                  <c:v>0.859942173959791</c:v>
                </c:pt>
                <c:pt idx="2023">
                  <c:v>0.88247797232288905</c:v>
                </c:pt>
                <c:pt idx="2024">
                  <c:v>0.91101161176196799</c:v>
                </c:pt>
                <c:pt idx="2025">
                  <c:v>0.95468124575484503</c:v>
                </c:pt>
                <c:pt idx="2026">
                  <c:v>0.92902050969910999</c:v>
                </c:pt>
                <c:pt idx="2027">
                  <c:v>0.95085239735478999</c:v>
                </c:pt>
                <c:pt idx="2028">
                  <c:v>0.96903063369995401</c:v>
                </c:pt>
                <c:pt idx="2029">
                  <c:v>0.91632173959457497</c:v>
                </c:pt>
                <c:pt idx="2030">
                  <c:v>0.91521660188961595</c:v>
                </c:pt>
                <c:pt idx="2031">
                  <c:v>0.91560619513531905</c:v>
                </c:pt>
                <c:pt idx="2032">
                  <c:v>0.89327347225435205</c:v>
                </c:pt>
                <c:pt idx="2033">
                  <c:v>0.89400900056257404</c:v>
                </c:pt>
                <c:pt idx="2034">
                  <c:v>0.89403112163299503</c:v>
                </c:pt>
                <c:pt idx="2035">
                  <c:v>0.86187385167806296</c:v>
                </c:pt>
                <c:pt idx="2036">
                  <c:v>0.85968191639527003</c:v>
                </c:pt>
                <c:pt idx="2037">
                  <c:v>0.85025224227305596</c:v>
                </c:pt>
                <c:pt idx="2038">
                  <c:v>0.82574568822670102</c:v>
                </c:pt>
                <c:pt idx="2039">
                  <c:v>0.94255166636339305</c:v>
                </c:pt>
                <c:pt idx="2040">
                  <c:v>0.95304283576361204</c:v>
                </c:pt>
                <c:pt idx="2041">
                  <c:v>0.98468553666146896</c:v>
                </c:pt>
                <c:pt idx="2042">
                  <c:v>0.96317193599030804</c:v>
                </c:pt>
                <c:pt idx="2043">
                  <c:v>0.95346509186395401</c:v>
                </c:pt>
                <c:pt idx="2044">
                  <c:v>0.937998398444439</c:v>
                </c:pt>
                <c:pt idx="2045">
                  <c:v>0.92641594161420604</c:v>
                </c:pt>
                <c:pt idx="2046">
                  <c:v>0.94643170834696499</c:v>
                </c:pt>
                <c:pt idx="2047">
                  <c:v>0.97710516106247602</c:v>
                </c:pt>
                <c:pt idx="2048">
                  <c:v>0.98025650704646605</c:v>
                </c:pt>
                <c:pt idx="2049">
                  <c:v>0.97470905568936095</c:v>
                </c:pt>
                <c:pt idx="2050">
                  <c:v>0.98935610817750796</c:v>
                </c:pt>
                <c:pt idx="2051">
                  <c:v>0.99065969378928898</c:v>
                </c:pt>
                <c:pt idx="2052">
                  <c:v>0.97797512495895</c:v>
                </c:pt>
                <c:pt idx="2053">
                  <c:v>0.93522253968291802</c:v>
                </c:pt>
                <c:pt idx="2054">
                  <c:v>0.92178693575803194</c:v>
                </c:pt>
                <c:pt idx="2055">
                  <c:v>0.89624199722758202</c:v>
                </c:pt>
                <c:pt idx="2056">
                  <c:v>0.89130183588438405</c:v>
                </c:pt>
                <c:pt idx="2057">
                  <c:v>1.08966178020515</c:v>
                </c:pt>
                <c:pt idx="2058">
                  <c:v>1.1116283430096601</c:v>
                </c:pt>
                <c:pt idx="2059">
                  <c:v>1.12270923645772</c:v>
                </c:pt>
                <c:pt idx="2060">
                  <c:v>1.0618547847903099</c:v>
                </c:pt>
                <c:pt idx="2061">
                  <c:v>1.0309639825831201</c:v>
                </c:pt>
                <c:pt idx="2062">
                  <c:v>0.98683367214055695</c:v>
                </c:pt>
                <c:pt idx="2063">
                  <c:v>0.95942755777076205</c:v>
                </c:pt>
                <c:pt idx="2064">
                  <c:v>0.97680345890708198</c:v>
                </c:pt>
                <c:pt idx="2065">
                  <c:v>0.976610441010899</c:v>
                </c:pt>
                <c:pt idx="2066">
                  <c:v>0.98471895773882101</c:v>
                </c:pt>
                <c:pt idx="2067">
                  <c:v>0.98815060693659595</c:v>
                </c:pt>
                <c:pt idx="2068">
                  <c:v>0.97234379293693396</c:v>
                </c:pt>
                <c:pt idx="2069">
                  <c:v>0.97067846364584298</c:v>
                </c:pt>
                <c:pt idx="2070">
                  <c:v>0.98533050963578594</c:v>
                </c:pt>
                <c:pt idx="2071">
                  <c:v>0.95046706475679998</c:v>
                </c:pt>
                <c:pt idx="2072">
                  <c:v>0.92260902530719302</c:v>
                </c:pt>
                <c:pt idx="2073">
                  <c:v>0.81800654163448505</c:v>
                </c:pt>
                <c:pt idx="2074">
                  <c:v>0.687779116085798</c:v>
                </c:pt>
                <c:pt idx="2075">
                  <c:v>0.67238755113618698</c:v>
                </c:pt>
                <c:pt idx="2076">
                  <c:v>0.74657068590731901</c:v>
                </c:pt>
                <c:pt idx="2077">
                  <c:v>0.80070723083955198</c:v>
                </c:pt>
                <c:pt idx="2078">
                  <c:v>0.82348674336596095</c:v>
                </c:pt>
                <c:pt idx="2079">
                  <c:v>0.842952271327856</c:v>
                </c:pt>
                <c:pt idx="2080">
                  <c:v>0.853136167637777</c:v>
                </c:pt>
                <c:pt idx="2081">
                  <c:v>0.862029844233691</c:v>
                </c:pt>
                <c:pt idx="2082">
                  <c:v>0.85046317197861598</c:v>
                </c:pt>
                <c:pt idx="2083">
                  <c:v>0.80279383575494001</c:v>
                </c:pt>
                <c:pt idx="2084">
                  <c:v>0.79057800651473198</c:v>
                </c:pt>
                <c:pt idx="2085">
                  <c:v>0.77627142780965797</c:v>
                </c:pt>
                <c:pt idx="2086">
                  <c:v>0.73230590778799898</c:v>
                </c:pt>
                <c:pt idx="2087">
                  <c:v>0.70477987228019601</c:v>
                </c:pt>
                <c:pt idx="2088">
                  <c:v>0.70005977132979302</c:v>
                </c:pt>
                <c:pt idx="2089">
                  <c:v>0.68644280026040805</c:v>
                </c:pt>
                <c:pt idx="2090">
                  <c:v>0.63992125040988701</c:v>
                </c:pt>
                <c:pt idx="2091">
                  <c:v>0.61154757382800995</c:v>
                </c:pt>
                <c:pt idx="2092">
                  <c:v>0.71970639997235297</c:v>
                </c:pt>
                <c:pt idx="2093">
                  <c:v>0.61913192884575796</c:v>
                </c:pt>
                <c:pt idx="2094">
                  <c:v>0.71894842731521102</c:v>
                </c:pt>
                <c:pt idx="2095">
                  <c:v>0.73684735644122001</c:v>
                </c:pt>
                <c:pt idx="2096">
                  <c:v>0.76504019717821203</c:v>
                </c:pt>
                <c:pt idx="2097">
                  <c:v>0.75386526202330895</c:v>
                </c:pt>
                <c:pt idx="2098">
                  <c:v>0.746719519916071</c:v>
                </c:pt>
                <c:pt idx="2099">
                  <c:v>0.73873072314139199</c:v>
                </c:pt>
                <c:pt idx="2100">
                  <c:v>0.74209450033139202</c:v>
                </c:pt>
                <c:pt idx="2101">
                  <c:v>0.75556667865136595</c:v>
                </c:pt>
                <c:pt idx="2102">
                  <c:v>0.76756244975708998</c:v>
                </c:pt>
                <c:pt idx="2103">
                  <c:v>0.81580686516921497</c:v>
                </c:pt>
                <c:pt idx="2104">
                  <c:v>1.00790696473096</c:v>
                </c:pt>
                <c:pt idx="2105">
                  <c:v>0.95896016448124999</c:v>
                </c:pt>
                <c:pt idx="2106">
                  <c:v>0.94918018520235403</c:v>
                </c:pt>
                <c:pt idx="2107">
                  <c:v>0.96429825793865598</c:v>
                </c:pt>
                <c:pt idx="2108">
                  <c:v>0.95084031990906304</c:v>
                </c:pt>
                <c:pt idx="2109">
                  <c:v>0.94885368196674702</c:v>
                </c:pt>
                <c:pt idx="2110">
                  <c:v>0.95705887730697903</c:v>
                </c:pt>
                <c:pt idx="2111">
                  <c:v>0.98423476154762202</c:v>
                </c:pt>
                <c:pt idx="2112">
                  <c:v>1.0104876556140301</c:v>
                </c:pt>
                <c:pt idx="2113">
                  <c:v>1.00308190463989</c:v>
                </c:pt>
                <c:pt idx="2114">
                  <c:v>0.99587979267418703</c:v>
                </c:pt>
                <c:pt idx="2115">
                  <c:v>0.96030871869060797</c:v>
                </c:pt>
                <c:pt idx="2116">
                  <c:v>0.94638241769678</c:v>
                </c:pt>
                <c:pt idx="2117">
                  <c:v>0.89006924886430006</c:v>
                </c:pt>
                <c:pt idx="2118">
                  <c:v>0.82635440776597902</c:v>
                </c:pt>
                <c:pt idx="2119">
                  <c:v>0.76900626982673104</c:v>
                </c:pt>
                <c:pt idx="2120">
                  <c:v>0.615361967286016</c:v>
                </c:pt>
                <c:pt idx="2121">
                  <c:v>0.39361079732797399</c:v>
                </c:pt>
                <c:pt idx="2122">
                  <c:v>0.65114289032414296</c:v>
                </c:pt>
                <c:pt idx="2123">
                  <c:v>0.68148668794880796</c:v>
                </c:pt>
                <c:pt idx="2124">
                  <c:v>0.73487600358969796</c:v>
                </c:pt>
                <c:pt idx="2125">
                  <c:v>0.99567117186432197</c:v>
                </c:pt>
                <c:pt idx="2126">
                  <c:v>1.0246925867830301</c:v>
                </c:pt>
                <c:pt idx="2127">
                  <c:v>1.14731525405191</c:v>
                </c:pt>
                <c:pt idx="2128">
                  <c:v>1.2470556206957699</c:v>
                </c:pt>
                <c:pt idx="2129">
                  <c:v>1.3009643436384599</c:v>
                </c:pt>
                <c:pt idx="2130">
                  <c:v>1.3592163377173301</c:v>
                </c:pt>
                <c:pt idx="2131">
                  <c:v>1.21980882778204</c:v>
                </c:pt>
                <c:pt idx="2132">
                  <c:v>1.113658199541</c:v>
                </c:pt>
                <c:pt idx="2133">
                  <c:v>1.0471681646053399</c:v>
                </c:pt>
                <c:pt idx="2134">
                  <c:v>1.0612665484286199</c:v>
                </c:pt>
                <c:pt idx="2135">
                  <c:v>1.0594697022177799</c:v>
                </c:pt>
                <c:pt idx="2136">
                  <c:v>1.0595250827682301</c:v>
                </c:pt>
                <c:pt idx="2137">
                  <c:v>1.04236688827102</c:v>
                </c:pt>
                <c:pt idx="2138">
                  <c:v>1.04655266437678</c:v>
                </c:pt>
                <c:pt idx="2139">
                  <c:v>1.02840674298349</c:v>
                </c:pt>
                <c:pt idx="2140">
                  <c:v>1.0446151150727501</c:v>
                </c:pt>
                <c:pt idx="2141">
                  <c:v>1.04065560587648</c:v>
                </c:pt>
                <c:pt idx="2142">
                  <c:v>1.0688182050232999</c:v>
                </c:pt>
                <c:pt idx="2143">
                  <c:v>1.0539230044458501</c:v>
                </c:pt>
                <c:pt idx="2144">
                  <c:v>1.0930498522710299</c:v>
                </c:pt>
                <c:pt idx="2145">
                  <c:v>1.04450378998094</c:v>
                </c:pt>
                <c:pt idx="2146">
                  <c:v>1.0613545284377</c:v>
                </c:pt>
                <c:pt idx="2147">
                  <c:v>1.08163064070252</c:v>
                </c:pt>
                <c:pt idx="2148">
                  <c:v>1.1668526713516301</c:v>
                </c:pt>
                <c:pt idx="2149">
                  <c:v>1.2011305990594101</c:v>
                </c:pt>
                <c:pt idx="2150">
                  <c:v>1.1815156784082399</c:v>
                </c:pt>
                <c:pt idx="2151">
                  <c:v>1.1675175303885701</c:v>
                </c:pt>
                <c:pt idx="2152">
                  <c:v>1.15587516300773</c:v>
                </c:pt>
                <c:pt idx="2153">
                  <c:v>1.15033689610479</c:v>
                </c:pt>
                <c:pt idx="2154">
                  <c:v>1.0633169218170699</c:v>
                </c:pt>
                <c:pt idx="2155">
                  <c:v>1.0567706960596901</c:v>
                </c:pt>
                <c:pt idx="2156">
                  <c:v>1.0396545347775401</c:v>
                </c:pt>
                <c:pt idx="2157">
                  <c:v>1.00768013404377</c:v>
                </c:pt>
                <c:pt idx="2158">
                  <c:v>1.0032221029897199</c:v>
                </c:pt>
                <c:pt idx="2159">
                  <c:v>1.01358452302562</c:v>
                </c:pt>
                <c:pt idx="2160">
                  <c:v>1.10017033713551</c:v>
                </c:pt>
                <c:pt idx="2161">
                  <c:v>1.1080975994646201</c:v>
                </c:pt>
                <c:pt idx="2162">
                  <c:v>1.1982097112093899</c:v>
                </c:pt>
                <c:pt idx="2163">
                  <c:v>1.18343524684723</c:v>
                </c:pt>
                <c:pt idx="2164">
                  <c:v>1.1821124227689399</c:v>
                </c:pt>
                <c:pt idx="2165">
                  <c:v>1.1624259521945901</c:v>
                </c:pt>
                <c:pt idx="2166">
                  <c:v>1.13041237688647</c:v>
                </c:pt>
                <c:pt idx="2167">
                  <c:v>1.0993574334017899</c:v>
                </c:pt>
                <c:pt idx="2168">
                  <c:v>1.10207260513148</c:v>
                </c:pt>
                <c:pt idx="2169">
                  <c:v>1.09810928022984</c:v>
                </c:pt>
                <c:pt idx="2170">
                  <c:v>1.10472951531843</c:v>
                </c:pt>
                <c:pt idx="2171">
                  <c:v>1.0811443871258</c:v>
                </c:pt>
                <c:pt idx="2172">
                  <c:v>1.1155753899546701</c:v>
                </c:pt>
                <c:pt idx="2173">
                  <c:v>1.1219896797334501</c:v>
                </c:pt>
                <c:pt idx="2174">
                  <c:v>1.1258286993378599</c:v>
                </c:pt>
                <c:pt idx="2175">
                  <c:v>1.13754293583218</c:v>
                </c:pt>
                <c:pt idx="2176">
                  <c:v>1.16694726762294</c:v>
                </c:pt>
                <c:pt idx="2177">
                  <c:v>1.1606942551147299</c:v>
                </c:pt>
                <c:pt idx="2178">
                  <c:v>1.1412960934301599</c:v>
                </c:pt>
                <c:pt idx="2179">
                  <c:v>1.2965259857762299</c:v>
                </c:pt>
                <c:pt idx="2180">
                  <c:v>0.97620417850428498</c:v>
                </c:pt>
                <c:pt idx="2181">
                  <c:v>0.864121255567744</c:v>
                </c:pt>
                <c:pt idx="2182">
                  <c:v>0.87893862065123296</c:v>
                </c:pt>
                <c:pt idx="2183">
                  <c:v>0.79588173553338504</c:v>
                </c:pt>
                <c:pt idx="2184">
                  <c:v>0.82710634729596499</c:v>
                </c:pt>
                <c:pt idx="2185">
                  <c:v>0.82714952536314901</c:v>
                </c:pt>
                <c:pt idx="2186">
                  <c:v>0.80928213110867697</c:v>
                </c:pt>
                <c:pt idx="2187">
                  <c:v>0.80218815805604904</c:v>
                </c:pt>
                <c:pt idx="2188">
                  <c:v>0.78644804548555103</c:v>
                </c:pt>
                <c:pt idx="2189">
                  <c:v>0.82284748422946596</c:v>
                </c:pt>
                <c:pt idx="2190">
                  <c:v>0.91964140490161295</c:v>
                </c:pt>
                <c:pt idx="2191">
                  <c:v>0.90109086245478898</c:v>
                </c:pt>
                <c:pt idx="2192">
                  <c:v>0.88460121599073205</c:v>
                </c:pt>
                <c:pt idx="2193">
                  <c:v>0.90123963059733703</c:v>
                </c:pt>
                <c:pt idx="2194">
                  <c:v>0.91418976788970496</c:v>
                </c:pt>
                <c:pt idx="2195">
                  <c:v>0.92066282200971705</c:v>
                </c:pt>
                <c:pt idx="2196">
                  <c:v>0.91350554776568604</c:v>
                </c:pt>
                <c:pt idx="2197">
                  <c:v>0.90005325157996297</c:v>
                </c:pt>
                <c:pt idx="2198">
                  <c:v>0.92480096018965796</c:v>
                </c:pt>
                <c:pt idx="2199">
                  <c:v>0.92869454837868304</c:v>
                </c:pt>
                <c:pt idx="2200">
                  <c:v>0.96270535608051599</c:v>
                </c:pt>
                <c:pt idx="2201">
                  <c:v>0.96377482299638495</c:v>
                </c:pt>
                <c:pt idx="2202">
                  <c:v>0.98343947640435703</c:v>
                </c:pt>
                <c:pt idx="2203">
                  <c:v>1.00145181011788</c:v>
                </c:pt>
                <c:pt idx="2204">
                  <c:v>1.0146986285945501</c:v>
                </c:pt>
                <c:pt idx="2205">
                  <c:v>1.0437077882294199</c:v>
                </c:pt>
                <c:pt idx="2206">
                  <c:v>1.04688800301899</c:v>
                </c:pt>
                <c:pt idx="2207">
                  <c:v>1.05955464691041</c:v>
                </c:pt>
                <c:pt idx="2208">
                  <c:v>1.11068171790466</c:v>
                </c:pt>
                <c:pt idx="2209">
                  <c:v>1.1108129495044801</c:v>
                </c:pt>
                <c:pt idx="2210">
                  <c:v>1.0988707185361399</c:v>
                </c:pt>
                <c:pt idx="2211">
                  <c:v>1.0864427303192901</c:v>
                </c:pt>
                <c:pt idx="2212">
                  <c:v>1.02593188194148</c:v>
                </c:pt>
                <c:pt idx="2213">
                  <c:v>0.98359311831072505</c:v>
                </c:pt>
                <c:pt idx="2214">
                  <c:v>0.91629541192877695</c:v>
                </c:pt>
                <c:pt idx="2215">
                  <c:v>0.73742147965376603</c:v>
                </c:pt>
                <c:pt idx="2216">
                  <c:v>0.79445215554640602</c:v>
                </c:pt>
                <c:pt idx="2217">
                  <c:v>0.81126668991414597</c:v>
                </c:pt>
                <c:pt idx="2218">
                  <c:v>0.85861870116112404</c:v>
                </c:pt>
                <c:pt idx="2219">
                  <c:v>0.88329670931119597</c:v>
                </c:pt>
                <c:pt idx="2220">
                  <c:v>0.90785819398307699</c:v>
                </c:pt>
                <c:pt idx="2221">
                  <c:v>0.91672541396060703</c:v>
                </c:pt>
                <c:pt idx="2222">
                  <c:v>0.93059993882217296</c:v>
                </c:pt>
                <c:pt idx="2223">
                  <c:v>0.936975243635777</c:v>
                </c:pt>
                <c:pt idx="2224">
                  <c:v>0.94247589419553401</c:v>
                </c:pt>
                <c:pt idx="2225">
                  <c:v>0.95675320501711802</c:v>
                </c:pt>
                <c:pt idx="2226">
                  <c:v>0.93012384743099696</c:v>
                </c:pt>
                <c:pt idx="2227">
                  <c:v>0.93934246188757198</c:v>
                </c:pt>
                <c:pt idx="2228">
                  <c:v>0.95135579552493099</c:v>
                </c:pt>
                <c:pt idx="2229">
                  <c:v>0.94569514902729501</c:v>
                </c:pt>
                <c:pt idx="2230">
                  <c:v>0.91785136625545205</c:v>
                </c:pt>
                <c:pt idx="2231">
                  <c:v>0.88331375178369398</c:v>
                </c:pt>
                <c:pt idx="2232">
                  <c:v>0.82905541887700596</c:v>
                </c:pt>
                <c:pt idx="2233">
                  <c:v>0.75577679560800204</c:v>
                </c:pt>
                <c:pt idx="2234">
                  <c:v>0.76262937823614196</c:v>
                </c:pt>
                <c:pt idx="2235">
                  <c:v>0.86384012422613399</c:v>
                </c:pt>
                <c:pt idx="2236">
                  <c:v>0.86502951090750801</c:v>
                </c:pt>
                <c:pt idx="2237">
                  <c:v>0.860591815423978</c:v>
                </c:pt>
                <c:pt idx="2238">
                  <c:v>0.76822085208616897</c:v>
                </c:pt>
                <c:pt idx="2239">
                  <c:v>0.75644017899430405</c:v>
                </c:pt>
                <c:pt idx="2240">
                  <c:v>0.76113884463084303</c:v>
                </c:pt>
                <c:pt idx="2241">
                  <c:v>0.72981817379647096</c:v>
                </c:pt>
                <c:pt idx="2242">
                  <c:v>0.75508322194750399</c:v>
                </c:pt>
                <c:pt idx="2243">
                  <c:v>0.84357135865215105</c:v>
                </c:pt>
                <c:pt idx="2244">
                  <c:v>0.867175009985239</c:v>
                </c:pt>
                <c:pt idx="2245">
                  <c:v>0.86982256020262105</c:v>
                </c:pt>
                <c:pt idx="2246">
                  <c:v>0.82589696076454799</c:v>
                </c:pt>
                <c:pt idx="2247">
                  <c:v>0.845766710596073</c:v>
                </c:pt>
                <c:pt idx="2248">
                  <c:v>0.849037509366802</c:v>
                </c:pt>
                <c:pt idx="2249">
                  <c:v>0.86909630946192995</c:v>
                </c:pt>
                <c:pt idx="2250">
                  <c:v>0.881890570860551</c:v>
                </c:pt>
                <c:pt idx="2251">
                  <c:v>0.90324541213098797</c:v>
                </c:pt>
                <c:pt idx="2252">
                  <c:v>0.89560091648405404</c:v>
                </c:pt>
                <c:pt idx="2253">
                  <c:v>0.91273699386193496</c:v>
                </c:pt>
                <c:pt idx="2254">
                  <c:v>0.91902771455505705</c:v>
                </c:pt>
                <c:pt idx="2255">
                  <c:v>0.90486871281005199</c:v>
                </c:pt>
                <c:pt idx="2256">
                  <c:v>0.89949378110633704</c:v>
                </c:pt>
                <c:pt idx="2257">
                  <c:v>0.90280009098719105</c:v>
                </c:pt>
                <c:pt idx="2258">
                  <c:v>0.842147324455917</c:v>
                </c:pt>
                <c:pt idx="2259">
                  <c:v>0.76743447686880994</c:v>
                </c:pt>
                <c:pt idx="2260">
                  <c:v>0.78630382293177503</c:v>
                </c:pt>
                <c:pt idx="2261">
                  <c:v>0.82454942859321101</c:v>
                </c:pt>
                <c:pt idx="2262">
                  <c:v>0.80970696168610001</c:v>
                </c:pt>
                <c:pt idx="2263">
                  <c:v>0.80571987525282596</c:v>
                </c:pt>
                <c:pt idx="2264">
                  <c:v>0.81107616402178495</c:v>
                </c:pt>
                <c:pt idx="2265">
                  <c:v>0.83693000691901698</c:v>
                </c:pt>
                <c:pt idx="2266">
                  <c:v>0.84656999047014103</c:v>
                </c:pt>
                <c:pt idx="2267">
                  <c:v>0.85816858780280203</c:v>
                </c:pt>
                <c:pt idx="2268">
                  <c:v>0.87021955746841095</c:v>
                </c:pt>
                <c:pt idx="2269">
                  <c:v>0.87719544266415805</c:v>
                </c:pt>
                <c:pt idx="2270">
                  <c:v>0.85507874951499996</c:v>
                </c:pt>
                <c:pt idx="2271">
                  <c:v>0.82938845344505896</c:v>
                </c:pt>
                <c:pt idx="2272">
                  <c:v>0.78720581161395498</c:v>
                </c:pt>
                <c:pt idx="2273">
                  <c:v>0.72466214133183204</c:v>
                </c:pt>
                <c:pt idx="2274">
                  <c:v>0.73420836415588597</c:v>
                </c:pt>
                <c:pt idx="2275">
                  <c:v>0.75597922372250603</c:v>
                </c:pt>
                <c:pt idx="2276">
                  <c:v>0.78121123613496601</c:v>
                </c:pt>
                <c:pt idx="2277">
                  <c:v>0.78601083287812101</c:v>
                </c:pt>
                <c:pt idx="2278">
                  <c:v>0.80204701993637295</c:v>
                </c:pt>
                <c:pt idx="2279">
                  <c:v>0.78644284681710996</c:v>
                </c:pt>
                <c:pt idx="2280">
                  <c:v>0.81425884916284397</c:v>
                </c:pt>
                <c:pt idx="2281">
                  <c:v>0.81237772302432498</c:v>
                </c:pt>
                <c:pt idx="2282">
                  <c:v>0.84859201505370296</c:v>
                </c:pt>
                <c:pt idx="2283">
                  <c:v>0.86300778095608799</c:v>
                </c:pt>
                <c:pt idx="2284">
                  <c:v>0.83722151111714704</c:v>
                </c:pt>
                <c:pt idx="2285">
                  <c:v>0.87325898658152901</c:v>
                </c:pt>
                <c:pt idx="2286">
                  <c:v>0.86724680594011805</c:v>
                </c:pt>
                <c:pt idx="2287">
                  <c:v>0.86131041864069702</c:v>
                </c:pt>
                <c:pt idx="2288">
                  <c:v>0.86713570650064098</c:v>
                </c:pt>
                <c:pt idx="2289">
                  <c:v>0.88316010777054499</c:v>
                </c:pt>
                <c:pt idx="2290">
                  <c:v>0.88866927778694804</c:v>
                </c:pt>
                <c:pt idx="2291">
                  <c:v>0.89065749572161201</c:v>
                </c:pt>
                <c:pt idx="2292">
                  <c:v>0.89124381359049898</c:v>
                </c:pt>
                <c:pt idx="2293">
                  <c:v>0.87718984027299496</c:v>
                </c:pt>
                <c:pt idx="2294">
                  <c:v>0.88938671204534803</c:v>
                </c:pt>
                <c:pt idx="2295">
                  <c:v>0.86720022363206295</c:v>
                </c:pt>
                <c:pt idx="2296">
                  <c:v>0.84828772875929104</c:v>
                </c:pt>
                <c:pt idx="2297">
                  <c:v>0.84940014675571796</c:v>
                </c:pt>
                <c:pt idx="2298">
                  <c:v>0.83109257917357104</c:v>
                </c:pt>
                <c:pt idx="2299">
                  <c:v>0.63001152399404303</c:v>
                </c:pt>
                <c:pt idx="2300">
                  <c:v>0.72350945076791295</c:v>
                </c:pt>
                <c:pt idx="2301">
                  <c:v>0.74011353850913797</c:v>
                </c:pt>
                <c:pt idx="2302">
                  <c:v>0.78647829108137102</c:v>
                </c:pt>
                <c:pt idx="2303">
                  <c:v>0.80263277996760996</c:v>
                </c:pt>
                <c:pt idx="2304">
                  <c:v>0.84426781868031298</c:v>
                </c:pt>
                <c:pt idx="2305">
                  <c:v>0.842648008918085</c:v>
                </c:pt>
                <c:pt idx="2306">
                  <c:v>0.87258167348566795</c:v>
                </c:pt>
                <c:pt idx="2307">
                  <c:v>0.87695577609361297</c:v>
                </c:pt>
                <c:pt idx="2308">
                  <c:v>0.85895386468891899</c:v>
                </c:pt>
                <c:pt idx="2309">
                  <c:v>0.87332999175287696</c:v>
                </c:pt>
                <c:pt idx="2310">
                  <c:v>0.89916161995484201</c:v>
                </c:pt>
                <c:pt idx="2311">
                  <c:v>0.90972605433916098</c:v>
                </c:pt>
                <c:pt idx="2312">
                  <c:v>0.91658745850041001</c:v>
                </c:pt>
                <c:pt idx="2313">
                  <c:v>0.91267405126691303</c:v>
                </c:pt>
                <c:pt idx="2314">
                  <c:v>0.93529920045952597</c:v>
                </c:pt>
                <c:pt idx="2315">
                  <c:v>0.95945376529428805</c:v>
                </c:pt>
                <c:pt idx="2316">
                  <c:v>1.00072243744954</c:v>
                </c:pt>
                <c:pt idx="2317">
                  <c:v>0.92855591299384499</c:v>
                </c:pt>
                <c:pt idx="2318">
                  <c:v>0.91163378791455396</c:v>
                </c:pt>
                <c:pt idx="2319">
                  <c:v>0.85944564300496595</c:v>
                </c:pt>
                <c:pt idx="2320">
                  <c:v>0.828819109442681</c:v>
                </c:pt>
                <c:pt idx="2321">
                  <c:v>0.72995943406516695</c:v>
                </c:pt>
                <c:pt idx="2322">
                  <c:v>0.70062500396965999</c:v>
                </c:pt>
                <c:pt idx="2323">
                  <c:v>0.68080060970108003</c:v>
                </c:pt>
                <c:pt idx="2324">
                  <c:v>0.76262329834396503</c:v>
                </c:pt>
                <c:pt idx="2325">
                  <c:v>0.74469514127932601</c:v>
                </c:pt>
                <c:pt idx="2326">
                  <c:v>0.79692082081708004</c:v>
                </c:pt>
                <c:pt idx="2327">
                  <c:v>0.81004633637910195</c:v>
                </c:pt>
                <c:pt idx="2328">
                  <c:v>0.80453970778170802</c:v>
                </c:pt>
                <c:pt idx="2329">
                  <c:v>0.77650716941269404</c:v>
                </c:pt>
                <c:pt idx="2330">
                  <c:v>0.79627427204628698</c:v>
                </c:pt>
                <c:pt idx="2331">
                  <c:v>0.74766667278207799</c:v>
                </c:pt>
                <c:pt idx="2332">
                  <c:v>0.78969839618047999</c:v>
                </c:pt>
                <c:pt idx="2333">
                  <c:v>0.79889035287822097</c:v>
                </c:pt>
                <c:pt idx="2334">
                  <c:v>0.79558269228271505</c:v>
                </c:pt>
                <c:pt idx="2335">
                  <c:v>0.82881160089942596</c:v>
                </c:pt>
                <c:pt idx="2336">
                  <c:v>0.81628153643545098</c:v>
                </c:pt>
                <c:pt idx="2337">
                  <c:v>0.82338255482209699</c:v>
                </c:pt>
                <c:pt idx="2338">
                  <c:v>0.83468646003684799</c:v>
                </c:pt>
                <c:pt idx="2339">
                  <c:v>0.84772476414885201</c:v>
                </c:pt>
                <c:pt idx="2340">
                  <c:v>0.848814176809912</c:v>
                </c:pt>
                <c:pt idx="2341">
                  <c:v>0.85254102916061403</c:v>
                </c:pt>
                <c:pt idx="2342">
                  <c:v>0.84003217073565495</c:v>
                </c:pt>
                <c:pt idx="2343">
                  <c:v>0.88359994142798604</c:v>
                </c:pt>
                <c:pt idx="2344">
                  <c:v>0.87188166210524198</c:v>
                </c:pt>
                <c:pt idx="2345">
                  <c:v>0.90433173038733095</c:v>
                </c:pt>
                <c:pt idx="2346">
                  <c:v>0.89756828262698996</c:v>
                </c:pt>
                <c:pt idx="2347">
                  <c:v>0.95480331458727996</c:v>
                </c:pt>
                <c:pt idx="2348">
                  <c:v>0.81476169840948498</c:v>
                </c:pt>
                <c:pt idx="2349">
                  <c:v>0.73677644497502803</c:v>
                </c:pt>
                <c:pt idx="2350">
                  <c:v>0.70048795716118895</c:v>
                </c:pt>
                <c:pt idx="2351">
                  <c:v>0.71561803246398803</c:v>
                </c:pt>
                <c:pt idx="2352">
                  <c:v>0.74555539234698598</c:v>
                </c:pt>
                <c:pt idx="2353">
                  <c:v>0.75455763334752202</c:v>
                </c:pt>
                <c:pt idx="2354">
                  <c:v>0.76317007361012401</c:v>
                </c:pt>
                <c:pt idx="2355">
                  <c:v>0.75030085217873399</c:v>
                </c:pt>
                <c:pt idx="2356">
                  <c:v>0.747691411586765</c:v>
                </c:pt>
                <c:pt idx="2357">
                  <c:v>0.75715676275931598</c:v>
                </c:pt>
                <c:pt idx="2358">
                  <c:v>0.78683394673436402</c:v>
                </c:pt>
                <c:pt idx="2359">
                  <c:v>0.86344199688848899</c:v>
                </c:pt>
                <c:pt idx="2360">
                  <c:v>0.95344162302979396</c:v>
                </c:pt>
                <c:pt idx="2361">
                  <c:v>0.95287682525899797</c:v>
                </c:pt>
                <c:pt idx="2362">
                  <c:v>0.97891273212150098</c:v>
                </c:pt>
                <c:pt idx="2363">
                  <c:v>1.0052689534700101</c:v>
                </c:pt>
                <c:pt idx="2364">
                  <c:v>0.97070448825008404</c:v>
                </c:pt>
                <c:pt idx="2365">
                  <c:v>0.96139209176840401</c:v>
                </c:pt>
                <c:pt idx="2366">
                  <c:v>0.93002118859884697</c:v>
                </c:pt>
                <c:pt idx="2367">
                  <c:v>1.00062392661372</c:v>
                </c:pt>
                <c:pt idx="2368">
                  <c:v>1.0176309693777199</c:v>
                </c:pt>
                <c:pt idx="2369">
                  <c:v>1.04050557846188</c:v>
                </c:pt>
                <c:pt idx="2370">
                  <c:v>0.99751509256547299</c:v>
                </c:pt>
                <c:pt idx="2371">
                  <c:v>0.986041624489569</c:v>
                </c:pt>
                <c:pt idx="2372">
                  <c:v>0.98466983128596397</c:v>
                </c:pt>
                <c:pt idx="2373">
                  <c:v>0.98304034311225497</c:v>
                </c:pt>
                <c:pt idx="2374">
                  <c:v>0.98296251574124305</c:v>
                </c:pt>
                <c:pt idx="2375">
                  <c:v>0.90387374160317802</c:v>
                </c:pt>
                <c:pt idx="2376">
                  <c:v>0.880563733490207</c:v>
                </c:pt>
                <c:pt idx="2377">
                  <c:v>0.88131681374981996</c:v>
                </c:pt>
                <c:pt idx="2378">
                  <c:v>0.87161456223033096</c:v>
                </c:pt>
                <c:pt idx="2379">
                  <c:v>0.866974510012683</c:v>
                </c:pt>
                <c:pt idx="2380">
                  <c:v>0.891286087072649</c:v>
                </c:pt>
                <c:pt idx="2381">
                  <c:v>0.85958630536831904</c:v>
                </c:pt>
                <c:pt idx="2382">
                  <c:v>0.84808923810261305</c:v>
                </c:pt>
                <c:pt idx="2383">
                  <c:v>0.84090989459902998</c:v>
                </c:pt>
                <c:pt idx="2384">
                  <c:v>0.85098836201081296</c:v>
                </c:pt>
                <c:pt idx="2385">
                  <c:v>0.83281227634547805</c:v>
                </c:pt>
                <c:pt idx="2386">
                  <c:v>0.848848482078991</c:v>
                </c:pt>
                <c:pt idx="2387">
                  <c:v>0.832102585222947</c:v>
                </c:pt>
                <c:pt idx="2388">
                  <c:v>0.85077600723059499</c:v>
                </c:pt>
                <c:pt idx="2389">
                  <c:v>0.86789155827065601</c:v>
                </c:pt>
                <c:pt idx="2390">
                  <c:v>0.81762697639550896</c:v>
                </c:pt>
                <c:pt idx="2391">
                  <c:v>0.86978203987225899</c:v>
                </c:pt>
                <c:pt idx="2392">
                  <c:v>0.84981513646435503</c:v>
                </c:pt>
                <c:pt idx="2393">
                  <c:v>0.82145242426245002</c:v>
                </c:pt>
                <c:pt idx="2394">
                  <c:v>0.81018566811716697</c:v>
                </c:pt>
                <c:pt idx="2395">
                  <c:v>0.79179537229593799</c:v>
                </c:pt>
                <c:pt idx="2396">
                  <c:v>0.77134454874448699</c:v>
                </c:pt>
                <c:pt idx="2397">
                  <c:v>0.76335156445795904</c:v>
                </c:pt>
                <c:pt idx="2398">
                  <c:v>0.69890935526398201</c:v>
                </c:pt>
                <c:pt idx="2399">
                  <c:v>0.71506506727559505</c:v>
                </c:pt>
                <c:pt idx="2400">
                  <c:v>0.70896849423887998</c:v>
                </c:pt>
                <c:pt idx="2401">
                  <c:v>0.72416211043965295</c:v>
                </c:pt>
                <c:pt idx="2402">
                  <c:v>0.73284189096903696</c:v>
                </c:pt>
                <c:pt idx="2403">
                  <c:v>0.769683145778153</c:v>
                </c:pt>
                <c:pt idx="2404">
                  <c:v>0.76958388299079294</c:v>
                </c:pt>
                <c:pt idx="2405">
                  <c:v>0.80306545935020401</c:v>
                </c:pt>
                <c:pt idx="2406">
                  <c:v>0.87591722352807</c:v>
                </c:pt>
                <c:pt idx="2407">
                  <c:v>0.94782932808721099</c:v>
                </c:pt>
                <c:pt idx="2408">
                  <c:v>0.99520204635782505</c:v>
                </c:pt>
                <c:pt idx="2409">
                  <c:v>0.96551869420508996</c:v>
                </c:pt>
                <c:pt idx="2410">
                  <c:v>0.93575694782762497</c:v>
                </c:pt>
                <c:pt idx="2411">
                  <c:v>0.96457091069784195</c:v>
                </c:pt>
                <c:pt idx="2412">
                  <c:v>0.95343466655179798</c:v>
                </c:pt>
                <c:pt idx="2413">
                  <c:v>0.907781116028195</c:v>
                </c:pt>
                <c:pt idx="2414">
                  <c:v>0.89848202994056703</c:v>
                </c:pt>
                <c:pt idx="2415">
                  <c:v>0.90008766616056701</c:v>
                </c:pt>
                <c:pt idx="2416">
                  <c:v>0.93951560588753602</c:v>
                </c:pt>
                <c:pt idx="2417">
                  <c:v>0.96056897280397102</c:v>
                </c:pt>
                <c:pt idx="2418">
                  <c:v>0.98965232348281096</c:v>
                </c:pt>
                <c:pt idx="2419">
                  <c:v>0.97494739288113397</c:v>
                </c:pt>
                <c:pt idx="2420">
                  <c:v>0.96298372292698398</c:v>
                </c:pt>
                <c:pt idx="2421">
                  <c:v>0.91461869443910704</c:v>
                </c:pt>
                <c:pt idx="2422">
                  <c:v>0.92455056869570296</c:v>
                </c:pt>
                <c:pt idx="2423">
                  <c:v>0.91868730219901396</c:v>
                </c:pt>
                <c:pt idx="2424">
                  <c:v>0.92988497927712599</c:v>
                </c:pt>
                <c:pt idx="2425">
                  <c:v>0.91481527108856597</c:v>
                </c:pt>
                <c:pt idx="2426">
                  <c:v>0.92159654795059598</c:v>
                </c:pt>
                <c:pt idx="2427">
                  <c:v>0.95682205159766998</c:v>
                </c:pt>
                <c:pt idx="2428">
                  <c:v>0.92912419364341003</c:v>
                </c:pt>
                <c:pt idx="2429">
                  <c:v>0.94719571738146602</c:v>
                </c:pt>
                <c:pt idx="2430">
                  <c:v>0.92852341756342005</c:v>
                </c:pt>
                <c:pt idx="2431">
                  <c:v>0.947480818083971</c:v>
                </c:pt>
                <c:pt idx="2432">
                  <c:v>0.92200337186716497</c:v>
                </c:pt>
                <c:pt idx="2433">
                  <c:v>0.91887341528465005</c:v>
                </c:pt>
                <c:pt idx="2434">
                  <c:v>0.89025901583300604</c:v>
                </c:pt>
                <c:pt idx="2435">
                  <c:v>0.89493989501402205</c:v>
                </c:pt>
                <c:pt idx="2436">
                  <c:v>0.91420302209609305</c:v>
                </c:pt>
                <c:pt idx="2437">
                  <c:v>0.93780156813920501</c:v>
                </c:pt>
                <c:pt idx="2438">
                  <c:v>0.88358428335329098</c:v>
                </c:pt>
                <c:pt idx="2439">
                  <c:v>0.83976424248477499</c:v>
                </c:pt>
                <c:pt idx="2440">
                  <c:v>0.82163919057429102</c:v>
                </c:pt>
                <c:pt idx="2441">
                  <c:v>0.80015755608580696</c:v>
                </c:pt>
                <c:pt idx="2442">
                  <c:v>0.75148252861225995</c:v>
                </c:pt>
                <c:pt idx="2443">
                  <c:v>0.76092074981699598</c:v>
                </c:pt>
                <c:pt idx="2444">
                  <c:v>0.80922453057645505</c:v>
                </c:pt>
                <c:pt idx="2445">
                  <c:v>0.82213862240508795</c:v>
                </c:pt>
                <c:pt idx="2446">
                  <c:v>0.85317187891516899</c:v>
                </c:pt>
                <c:pt idx="2447">
                  <c:v>0.83557029667510196</c:v>
                </c:pt>
                <c:pt idx="2448">
                  <c:v>0.84589316719395702</c:v>
                </c:pt>
                <c:pt idx="2449">
                  <c:v>0.844835374591829</c:v>
                </c:pt>
                <c:pt idx="2450">
                  <c:v>0.87924644016333198</c:v>
                </c:pt>
                <c:pt idx="2451">
                  <c:v>0.87240596882014898</c:v>
                </c:pt>
                <c:pt idx="2452">
                  <c:v>1.0553409096262401</c:v>
                </c:pt>
                <c:pt idx="2453">
                  <c:v>1.03172104333487</c:v>
                </c:pt>
                <c:pt idx="2454">
                  <c:v>0.98263093664877299</c:v>
                </c:pt>
                <c:pt idx="2455">
                  <c:v>1.0767164871878001</c:v>
                </c:pt>
                <c:pt idx="2456">
                  <c:v>1.03084593670533</c:v>
                </c:pt>
                <c:pt idx="2457">
                  <c:v>1.0830366707853001</c:v>
                </c:pt>
                <c:pt idx="2458">
                  <c:v>1.03272698521813</c:v>
                </c:pt>
                <c:pt idx="2459">
                  <c:v>1.0723926642358399</c:v>
                </c:pt>
                <c:pt idx="2460">
                  <c:v>1.08613240944441</c:v>
                </c:pt>
                <c:pt idx="2461">
                  <c:v>1.07892491254195</c:v>
                </c:pt>
                <c:pt idx="2462">
                  <c:v>1.06693154337713</c:v>
                </c:pt>
                <c:pt idx="2463">
                  <c:v>1.0679388501482501</c:v>
                </c:pt>
                <c:pt idx="2464">
                  <c:v>1.0980450986588499</c:v>
                </c:pt>
                <c:pt idx="2465">
                  <c:v>1.1613305757430601</c:v>
                </c:pt>
                <c:pt idx="2466">
                  <c:v>1.1302340953422101</c:v>
                </c:pt>
                <c:pt idx="2467">
                  <c:v>1.12717429809908</c:v>
                </c:pt>
                <c:pt idx="2468">
                  <c:v>1.09965498869284</c:v>
                </c:pt>
                <c:pt idx="2469">
                  <c:v>1.09871706885537</c:v>
                </c:pt>
                <c:pt idx="2470">
                  <c:v>1.1067468074355</c:v>
                </c:pt>
                <c:pt idx="2471">
                  <c:v>1.0712336053867599</c:v>
                </c:pt>
                <c:pt idx="2472">
                  <c:v>1.0507624236825901</c:v>
                </c:pt>
                <c:pt idx="2473">
                  <c:v>1.04554588184421</c:v>
                </c:pt>
                <c:pt idx="2474">
                  <c:v>1.0394823200358301</c:v>
                </c:pt>
                <c:pt idx="2475">
                  <c:v>1.04363683935354</c:v>
                </c:pt>
                <c:pt idx="2476">
                  <c:v>1.02345325905342</c:v>
                </c:pt>
                <c:pt idx="2477">
                  <c:v>1.0029564133683999</c:v>
                </c:pt>
                <c:pt idx="2478">
                  <c:v>1.00134099240014</c:v>
                </c:pt>
                <c:pt idx="2479">
                  <c:v>0.98011137796330605</c:v>
                </c:pt>
                <c:pt idx="2480">
                  <c:v>0.93687369580542301</c:v>
                </c:pt>
                <c:pt idx="2481">
                  <c:v>0.86118232034532205</c:v>
                </c:pt>
                <c:pt idx="2482">
                  <c:v>0.77660163622952805</c:v>
                </c:pt>
                <c:pt idx="2483">
                  <c:v>0.85017103881679801</c:v>
                </c:pt>
                <c:pt idx="2484">
                  <c:v>0.84415530350580004</c:v>
                </c:pt>
                <c:pt idx="2485">
                  <c:v>0.86161806791693296</c:v>
                </c:pt>
                <c:pt idx="2486">
                  <c:v>0.79169556151470399</c:v>
                </c:pt>
                <c:pt idx="2487">
                  <c:v>0.80608712773179003</c:v>
                </c:pt>
                <c:pt idx="2488">
                  <c:v>0.79234672819921903</c:v>
                </c:pt>
                <c:pt idx="2489">
                  <c:v>0.81200619139507102</c:v>
                </c:pt>
                <c:pt idx="2490">
                  <c:v>0.89822677080787605</c:v>
                </c:pt>
                <c:pt idx="2491">
                  <c:v>0.86176040168889501</c:v>
                </c:pt>
                <c:pt idx="2492">
                  <c:v>0.93952365662774495</c:v>
                </c:pt>
                <c:pt idx="2493">
                  <c:v>0.935813916819488</c:v>
                </c:pt>
                <c:pt idx="2494">
                  <c:v>0.98712949532650895</c:v>
                </c:pt>
                <c:pt idx="2495">
                  <c:v>0.96233378780641199</c:v>
                </c:pt>
                <c:pt idx="2496">
                  <c:v>0.97393202724235695</c:v>
                </c:pt>
                <c:pt idx="2497">
                  <c:v>0.99037414714773597</c:v>
                </c:pt>
                <c:pt idx="2498">
                  <c:v>1.0038712569699999</c:v>
                </c:pt>
                <c:pt idx="2499">
                  <c:v>1.01488147847111</c:v>
                </c:pt>
                <c:pt idx="2500">
                  <c:v>1.0271099632960901</c:v>
                </c:pt>
                <c:pt idx="2501">
                  <c:v>1.0019963679591399</c:v>
                </c:pt>
                <c:pt idx="2502">
                  <c:v>0.97692972488385099</c:v>
                </c:pt>
                <c:pt idx="2503">
                  <c:v>0.96887215908989799</c:v>
                </c:pt>
                <c:pt idx="2504">
                  <c:v>0.97963499012829103</c:v>
                </c:pt>
                <c:pt idx="2505">
                  <c:v>0.918670320989453</c:v>
                </c:pt>
                <c:pt idx="2506">
                  <c:v>0.76879697347426501</c:v>
                </c:pt>
                <c:pt idx="2507">
                  <c:v>0.78563229607488905</c:v>
                </c:pt>
                <c:pt idx="2508">
                  <c:v>0.86482452925299302</c:v>
                </c:pt>
                <c:pt idx="2509">
                  <c:v>0.86419018136056103</c:v>
                </c:pt>
                <c:pt idx="2510">
                  <c:v>0.95516481127855901</c:v>
                </c:pt>
                <c:pt idx="2511">
                  <c:v>0.85826904138160198</c:v>
                </c:pt>
                <c:pt idx="2512">
                  <c:v>0.91095106383831703</c:v>
                </c:pt>
                <c:pt idx="2513">
                  <c:v>0.94151666172736503</c:v>
                </c:pt>
                <c:pt idx="2514">
                  <c:v>0.96058858884311304</c:v>
                </c:pt>
                <c:pt idx="2515">
                  <c:v>0.92215508672904001</c:v>
                </c:pt>
                <c:pt idx="2516">
                  <c:v>0.94883043702908598</c:v>
                </c:pt>
                <c:pt idx="2517">
                  <c:v>0.95538643935319001</c:v>
                </c:pt>
                <c:pt idx="2518">
                  <c:v>0.945889068070348</c:v>
                </c:pt>
                <c:pt idx="2519">
                  <c:v>0.960097907862417</c:v>
                </c:pt>
                <c:pt idx="2520">
                  <c:v>0.96654698204760403</c:v>
                </c:pt>
                <c:pt idx="2521">
                  <c:v>0.97177427168146502</c:v>
                </c:pt>
                <c:pt idx="2522">
                  <c:v>0.94023004506730501</c:v>
                </c:pt>
                <c:pt idx="2523">
                  <c:v>0.95236735170577802</c:v>
                </c:pt>
                <c:pt idx="2524">
                  <c:v>0.948277985648597</c:v>
                </c:pt>
                <c:pt idx="2525">
                  <c:v>0.93067267909721996</c:v>
                </c:pt>
                <c:pt idx="2526">
                  <c:v>0.91997522947410904</c:v>
                </c:pt>
                <c:pt idx="2527">
                  <c:v>0.86247051841562705</c:v>
                </c:pt>
                <c:pt idx="2528">
                  <c:v>0.84978029252534204</c:v>
                </c:pt>
                <c:pt idx="2529">
                  <c:v>0.79754991640619699</c:v>
                </c:pt>
                <c:pt idx="2530">
                  <c:v>0.77046666643695905</c:v>
                </c:pt>
                <c:pt idx="2531">
                  <c:v>0.75250892703967698</c:v>
                </c:pt>
                <c:pt idx="2532">
                  <c:v>0.78181925473814895</c:v>
                </c:pt>
                <c:pt idx="2533">
                  <c:v>0.90461463596665803</c:v>
                </c:pt>
                <c:pt idx="2534">
                  <c:v>0.95996741094230797</c:v>
                </c:pt>
                <c:pt idx="2535">
                  <c:v>0.96725352609572102</c:v>
                </c:pt>
                <c:pt idx="2536">
                  <c:v>0.95621204949775596</c:v>
                </c:pt>
                <c:pt idx="2537">
                  <c:v>0.93561695893540697</c:v>
                </c:pt>
                <c:pt idx="2538">
                  <c:v>0.82894417148742405</c:v>
                </c:pt>
                <c:pt idx="2539">
                  <c:v>0.85230489747559401</c:v>
                </c:pt>
                <c:pt idx="2540">
                  <c:v>0.83736004948726195</c:v>
                </c:pt>
                <c:pt idx="2541">
                  <c:v>0.82852532197442097</c:v>
                </c:pt>
                <c:pt idx="2542">
                  <c:v>0.88799443784876098</c:v>
                </c:pt>
                <c:pt idx="2543">
                  <c:v>1.0761556305016</c:v>
                </c:pt>
                <c:pt idx="2544">
                  <c:v>1.04077687996184</c:v>
                </c:pt>
                <c:pt idx="2545">
                  <c:v>0.992153040881251</c:v>
                </c:pt>
                <c:pt idx="2546">
                  <c:v>1.0212151562152201</c:v>
                </c:pt>
                <c:pt idx="2547">
                  <c:v>0.996318184378576</c:v>
                </c:pt>
                <c:pt idx="2548">
                  <c:v>0.98500164187415196</c:v>
                </c:pt>
                <c:pt idx="2549">
                  <c:v>0.9696875791331</c:v>
                </c:pt>
                <c:pt idx="2550">
                  <c:v>0.96864755460281504</c:v>
                </c:pt>
                <c:pt idx="2551">
                  <c:v>0.93327681138998397</c:v>
                </c:pt>
                <c:pt idx="2552">
                  <c:v>0.91817945332466999</c:v>
                </c:pt>
                <c:pt idx="2553">
                  <c:v>0.90993868835228597</c:v>
                </c:pt>
                <c:pt idx="2554">
                  <c:v>0.952726560634923</c:v>
                </c:pt>
                <c:pt idx="2555">
                  <c:v>0.93533713499085802</c:v>
                </c:pt>
                <c:pt idx="2556">
                  <c:v>0.91767741453354801</c:v>
                </c:pt>
                <c:pt idx="2557">
                  <c:v>0.913870921171689</c:v>
                </c:pt>
                <c:pt idx="2558">
                  <c:v>0.86491408972205497</c:v>
                </c:pt>
                <c:pt idx="2559">
                  <c:v>0.75909730914696305</c:v>
                </c:pt>
                <c:pt idx="2560">
                  <c:v>0.68803678074394503</c:v>
                </c:pt>
                <c:pt idx="2561">
                  <c:v>0.79685383912529795</c:v>
                </c:pt>
                <c:pt idx="2562">
                  <c:v>0.80952779700677902</c:v>
                </c:pt>
                <c:pt idx="2563">
                  <c:v>0.84118567919037102</c:v>
                </c:pt>
                <c:pt idx="2564">
                  <c:v>0.87985353811564704</c:v>
                </c:pt>
                <c:pt idx="2565">
                  <c:v>0.86945504157771603</c:v>
                </c:pt>
                <c:pt idx="2566">
                  <c:v>0.89307650334306499</c:v>
                </c:pt>
                <c:pt idx="2567">
                  <c:v>0.89272611203099295</c:v>
                </c:pt>
                <c:pt idx="2568">
                  <c:v>0.86130593273058198</c:v>
                </c:pt>
                <c:pt idx="2569">
                  <c:v>0.87538475515859604</c:v>
                </c:pt>
                <c:pt idx="2570">
                  <c:v>0.76464066776619499</c:v>
                </c:pt>
                <c:pt idx="2571">
                  <c:v>0.69868401661103996</c:v>
                </c:pt>
                <c:pt idx="2572">
                  <c:v>0.61433601136549798</c:v>
                </c:pt>
                <c:pt idx="2573">
                  <c:v>0.67575500357668306</c:v>
                </c:pt>
                <c:pt idx="2574">
                  <c:v>0.76402088353951803</c:v>
                </c:pt>
                <c:pt idx="2575">
                  <c:v>0.76859821056003297</c:v>
                </c:pt>
                <c:pt idx="2576">
                  <c:v>0.80736239768089002</c:v>
                </c:pt>
                <c:pt idx="2577">
                  <c:v>0.855945853734152</c:v>
                </c:pt>
                <c:pt idx="2578">
                  <c:v>0.89347288459553298</c:v>
                </c:pt>
                <c:pt idx="2579">
                  <c:v>0.88511894766840304</c:v>
                </c:pt>
                <c:pt idx="2580">
                  <c:v>0.88222638148752697</c:v>
                </c:pt>
                <c:pt idx="2581">
                  <c:v>0.89688705319232898</c:v>
                </c:pt>
                <c:pt idx="2582">
                  <c:v>0.89777144454310698</c:v>
                </c:pt>
                <c:pt idx="2583">
                  <c:v>0.871685214399324</c:v>
                </c:pt>
                <c:pt idx="2584">
                  <c:v>0.87454351254815099</c:v>
                </c:pt>
                <c:pt idx="2585">
                  <c:v>0.87334094385788397</c:v>
                </c:pt>
                <c:pt idx="2586">
                  <c:v>0.861481078171496</c:v>
                </c:pt>
                <c:pt idx="2587">
                  <c:v>0.84818629343545404</c:v>
                </c:pt>
                <c:pt idx="2588">
                  <c:v>0.84683718077810799</c:v>
                </c:pt>
                <c:pt idx="2589">
                  <c:v>0.84013802564336504</c:v>
                </c:pt>
                <c:pt idx="2590">
                  <c:v>0.827607616646998</c:v>
                </c:pt>
                <c:pt idx="2591">
                  <c:v>0.84838695712435197</c:v>
                </c:pt>
                <c:pt idx="2592">
                  <c:v>0.85160776177771302</c:v>
                </c:pt>
                <c:pt idx="2593">
                  <c:v>0.85663239807546199</c:v>
                </c:pt>
                <c:pt idx="2594">
                  <c:v>0.89187168749692702</c:v>
                </c:pt>
                <c:pt idx="2595">
                  <c:v>0.89358652563818197</c:v>
                </c:pt>
                <c:pt idx="2596">
                  <c:v>0.85603027777382301</c:v>
                </c:pt>
                <c:pt idx="2597">
                  <c:v>0.87643198939415901</c:v>
                </c:pt>
                <c:pt idx="2598">
                  <c:v>0.94397639015685697</c:v>
                </c:pt>
                <c:pt idx="2599">
                  <c:v>0.90945207508546499</c:v>
                </c:pt>
                <c:pt idx="2600">
                  <c:v>0.90231717270197498</c:v>
                </c:pt>
                <c:pt idx="2601">
                  <c:v>0.96515857818793405</c:v>
                </c:pt>
                <c:pt idx="2602">
                  <c:v>0.99163181635799003</c:v>
                </c:pt>
                <c:pt idx="2603">
                  <c:v>1.0375251819837601</c:v>
                </c:pt>
                <c:pt idx="2604">
                  <c:v>1.0250892339300099</c:v>
                </c:pt>
                <c:pt idx="2605">
                  <c:v>1.0175118488131401</c:v>
                </c:pt>
                <c:pt idx="2606">
                  <c:v>0.99258519024818903</c:v>
                </c:pt>
                <c:pt idx="2607">
                  <c:v>0.98743824346956</c:v>
                </c:pt>
                <c:pt idx="2608">
                  <c:v>0.94766913456129498</c:v>
                </c:pt>
                <c:pt idx="2609">
                  <c:v>0.96362558880402405</c:v>
                </c:pt>
                <c:pt idx="2610">
                  <c:v>0.94551525467085196</c:v>
                </c:pt>
                <c:pt idx="2611">
                  <c:v>0.92246133560758303</c:v>
                </c:pt>
                <c:pt idx="2612">
                  <c:v>0.91777429252913001</c:v>
                </c:pt>
                <c:pt idx="2613">
                  <c:v>0.98927491532272605</c:v>
                </c:pt>
                <c:pt idx="2614">
                  <c:v>0.944431946520921</c:v>
                </c:pt>
                <c:pt idx="2615">
                  <c:v>0.94190991639338195</c:v>
                </c:pt>
                <c:pt idx="2616">
                  <c:v>0.93685659107126995</c:v>
                </c:pt>
                <c:pt idx="2617">
                  <c:v>0.93904574583496003</c:v>
                </c:pt>
                <c:pt idx="2618">
                  <c:v>0.94623619992176999</c:v>
                </c:pt>
                <c:pt idx="2619">
                  <c:v>0.96432466185963805</c:v>
                </c:pt>
                <c:pt idx="2620">
                  <c:v>0.93140859694951506</c:v>
                </c:pt>
                <c:pt idx="2621">
                  <c:v>0.930630577710159</c:v>
                </c:pt>
                <c:pt idx="2622">
                  <c:v>0.90214895133461603</c:v>
                </c:pt>
                <c:pt idx="2623">
                  <c:v>0.88659851970474302</c:v>
                </c:pt>
                <c:pt idx="2624">
                  <c:v>0.909521479403123</c:v>
                </c:pt>
                <c:pt idx="2625">
                  <c:v>0.91872605088926595</c:v>
                </c:pt>
                <c:pt idx="2626">
                  <c:v>0.95076974176725104</c:v>
                </c:pt>
                <c:pt idx="2627">
                  <c:v>0.95041780888416905</c:v>
                </c:pt>
                <c:pt idx="2628">
                  <c:v>0.94336138239607303</c:v>
                </c:pt>
                <c:pt idx="2629">
                  <c:v>0.93478023104594399</c:v>
                </c:pt>
                <c:pt idx="2630">
                  <c:v>0.91938882884663198</c:v>
                </c:pt>
                <c:pt idx="2631">
                  <c:v>0.89194008916672696</c:v>
                </c:pt>
                <c:pt idx="2632">
                  <c:v>0.88581553971483895</c:v>
                </c:pt>
                <c:pt idx="2633">
                  <c:v>0.87811186846375799</c:v>
                </c:pt>
                <c:pt idx="2634">
                  <c:v>0.81249982901699402</c:v>
                </c:pt>
                <c:pt idx="2635">
                  <c:v>0.92257141858137304</c:v>
                </c:pt>
                <c:pt idx="2636">
                  <c:v>0.93502800872967295</c:v>
                </c:pt>
                <c:pt idx="2637">
                  <c:v>0.91389157026157197</c:v>
                </c:pt>
                <c:pt idx="2638">
                  <c:v>0.95379071138052196</c:v>
                </c:pt>
                <c:pt idx="2639">
                  <c:v>0.94916952107694297</c:v>
                </c:pt>
                <c:pt idx="2640">
                  <c:v>0.95706676894905296</c:v>
                </c:pt>
                <c:pt idx="2641">
                  <c:v>1.0003936896969301</c:v>
                </c:pt>
                <c:pt idx="2642">
                  <c:v>0.99223096201105399</c:v>
                </c:pt>
                <c:pt idx="2643">
                  <c:v>0.98086920743169304</c:v>
                </c:pt>
                <c:pt idx="2644">
                  <c:v>0.97461664297407202</c:v>
                </c:pt>
                <c:pt idx="2645">
                  <c:v>0.96986551229263196</c:v>
                </c:pt>
                <c:pt idx="2646">
                  <c:v>0.99305530922663299</c:v>
                </c:pt>
                <c:pt idx="2647">
                  <c:v>1.0046911391015101</c:v>
                </c:pt>
                <c:pt idx="2648">
                  <c:v>0.90287489488273698</c:v>
                </c:pt>
                <c:pt idx="2649">
                  <c:v>0.90812327510937196</c:v>
                </c:pt>
                <c:pt idx="2650">
                  <c:v>0.91173167593142801</c:v>
                </c:pt>
                <c:pt idx="2651">
                  <c:v>0.95400933322109605</c:v>
                </c:pt>
                <c:pt idx="2652">
                  <c:v>0.98902569140519203</c:v>
                </c:pt>
                <c:pt idx="2653">
                  <c:v>0.90920865646746796</c:v>
                </c:pt>
                <c:pt idx="2654">
                  <c:v>0.93413386681716004</c:v>
                </c:pt>
                <c:pt idx="2655">
                  <c:v>0.95697092109884596</c:v>
                </c:pt>
                <c:pt idx="2656">
                  <c:v>0.89283431276391401</c:v>
                </c:pt>
                <c:pt idx="2657">
                  <c:v>0.85016014003902796</c:v>
                </c:pt>
                <c:pt idx="2658">
                  <c:v>0.83323738551550397</c:v>
                </c:pt>
                <c:pt idx="2659">
                  <c:v>0.83408013967769201</c:v>
                </c:pt>
                <c:pt idx="2660">
                  <c:v>0.83365730705015495</c:v>
                </c:pt>
                <c:pt idx="2661">
                  <c:v>0.80357400465422102</c:v>
                </c:pt>
                <c:pt idx="2662">
                  <c:v>0.78577160124644296</c:v>
                </c:pt>
                <c:pt idx="2663">
                  <c:v>0.82718189528461505</c:v>
                </c:pt>
                <c:pt idx="2664">
                  <c:v>0.86413830669678904</c:v>
                </c:pt>
                <c:pt idx="2665">
                  <c:v>1.0615856861083199</c:v>
                </c:pt>
                <c:pt idx="2666">
                  <c:v>1.0704885549887</c:v>
                </c:pt>
                <c:pt idx="2667">
                  <c:v>1.0437406256678099</c:v>
                </c:pt>
                <c:pt idx="2668">
                  <c:v>1.03464303054762</c:v>
                </c:pt>
                <c:pt idx="2669">
                  <c:v>1.0546103543652501</c:v>
                </c:pt>
                <c:pt idx="2670">
                  <c:v>1.0526691214209001</c:v>
                </c:pt>
                <c:pt idx="2671">
                  <c:v>1.08348808085447</c:v>
                </c:pt>
                <c:pt idx="2672">
                  <c:v>1.0781753578206399</c:v>
                </c:pt>
                <c:pt idx="2673">
                  <c:v>1.1164148395467099</c:v>
                </c:pt>
                <c:pt idx="2674">
                  <c:v>1.15598829341481</c:v>
                </c:pt>
                <c:pt idx="2675">
                  <c:v>1.1099842946159599</c:v>
                </c:pt>
                <c:pt idx="2676">
                  <c:v>1.0972092134212601</c:v>
                </c:pt>
                <c:pt idx="2677">
                  <c:v>1.0577221335662499</c:v>
                </c:pt>
                <c:pt idx="2678">
                  <c:v>1.0643144868955401</c:v>
                </c:pt>
                <c:pt idx="2679">
                  <c:v>1.00802049160472</c:v>
                </c:pt>
                <c:pt idx="2680">
                  <c:v>0.97676214733541999</c:v>
                </c:pt>
                <c:pt idx="2681">
                  <c:v>0.94742708996421898</c:v>
                </c:pt>
                <c:pt idx="2682">
                  <c:v>0.92554313901757501</c:v>
                </c:pt>
                <c:pt idx="2683">
                  <c:v>0.98040782252185299</c:v>
                </c:pt>
                <c:pt idx="2684">
                  <c:v>0.97232050207819598</c:v>
                </c:pt>
                <c:pt idx="2685">
                  <c:v>0.96349533833437895</c:v>
                </c:pt>
                <c:pt idx="2686">
                  <c:v>0.95052616556459102</c:v>
                </c:pt>
                <c:pt idx="2687">
                  <c:v>0.97809047346973499</c:v>
                </c:pt>
                <c:pt idx="2688">
                  <c:v>0.95095393183715604</c:v>
                </c:pt>
                <c:pt idx="2689">
                  <c:v>0.89211234895883396</c:v>
                </c:pt>
                <c:pt idx="2690">
                  <c:v>0.75458933109734605</c:v>
                </c:pt>
                <c:pt idx="2691">
                  <c:v>0.58459340437544205</c:v>
                </c:pt>
                <c:pt idx="2692">
                  <c:v>0.85125723346297399</c:v>
                </c:pt>
                <c:pt idx="2693">
                  <c:v>0.83378579899727201</c:v>
                </c:pt>
                <c:pt idx="2694">
                  <c:v>0.84386238635986499</c:v>
                </c:pt>
                <c:pt idx="2695">
                  <c:v>0.84170475634041597</c:v>
                </c:pt>
                <c:pt idx="2696">
                  <c:v>0.85122687946353603</c:v>
                </c:pt>
                <c:pt idx="2697">
                  <c:v>0.86157574672836601</c:v>
                </c:pt>
                <c:pt idx="2698">
                  <c:v>0.86468998625425697</c:v>
                </c:pt>
                <c:pt idx="2699">
                  <c:v>0.87286999342261296</c:v>
                </c:pt>
                <c:pt idx="2700">
                  <c:v>0.87744980444518295</c:v>
                </c:pt>
                <c:pt idx="2701">
                  <c:v>0.87343082294480701</c:v>
                </c:pt>
                <c:pt idx="2702">
                  <c:v>0.87615172979675904</c:v>
                </c:pt>
                <c:pt idx="2703">
                  <c:v>0.87415454014000904</c:v>
                </c:pt>
                <c:pt idx="2704">
                  <c:v>0.87587805338949398</c:v>
                </c:pt>
                <c:pt idx="2705">
                  <c:v>0.894431330184282</c:v>
                </c:pt>
                <c:pt idx="2706">
                  <c:v>0.90433904343013904</c:v>
                </c:pt>
                <c:pt idx="2707">
                  <c:v>0.90382934184028796</c:v>
                </c:pt>
                <c:pt idx="2708">
                  <c:v>0.903732874158793</c:v>
                </c:pt>
                <c:pt idx="2709">
                  <c:v>0.900629012737996</c:v>
                </c:pt>
                <c:pt idx="2710">
                  <c:v>0.88622523223907201</c:v>
                </c:pt>
                <c:pt idx="2711">
                  <c:v>0.93788441176678805</c:v>
                </c:pt>
                <c:pt idx="2712">
                  <c:v>0.94197127101608402</c:v>
                </c:pt>
                <c:pt idx="2713">
                  <c:v>1.0045407468690499</c:v>
                </c:pt>
                <c:pt idx="2714">
                  <c:v>0.96891201421589002</c:v>
                </c:pt>
                <c:pt idx="2715">
                  <c:v>0.97759945905728396</c:v>
                </c:pt>
                <c:pt idx="2716">
                  <c:v>0.92537155207678701</c:v>
                </c:pt>
                <c:pt idx="2717">
                  <c:v>0.882260831655728</c:v>
                </c:pt>
                <c:pt idx="2718">
                  <c:v>0.76850261046969304</c:v>
                </c:pt>
                <c:pt idx="2719">
                  <c:v>0.70300120483248996</c:v>
                </c:pt>
                <c:pt idx="2720">
                  <c:v>0.77417193774162296</c:v>
                </c:pt>
                <c:pt idx="2721">
                  <c:v>0.70922958643967504</c:v>
                </c:pt>
                <c:pt idx="2722">
                  <c:v>0.702076692767997</c:v>
                </c:pt>
                <c:pt idx="2723">
                  <c:v>0.73376911834049996</c:v>
                </c:pt>
                <c:pt idx="2724">
                  <c:v>0.76555191147550306</c:v>
                </c:pt>
                <c:pt idx="2725">
                  <c:v>0.80912067821367994</c:v>
                </c:pt>
                <c:pt idx="2726">
                  <c:v>0.84526593265752303</c:v>
                </c:pt>
                <c:pt idx="2727">
                  <c:v>0.88791935829844604</c:v>
                </c:pt>
                <c:pt idx="2728">
                  <c:v>0.91616797568666697</c:v>
                </c:pt>
                <c:pt idx="2729">
                  <c:v>0.926369919757839</c:v>
                </c:pt>
                <c:pt idx="2730">
                  <c:v>0.92815705895793799</c:v>
                </c:pt>
                <c:pt idx="2731">
                  <c:v>0.932690011623176</c:v>
                </c:pt>
                <c:pt idx="2732">
                  <c:v>0.950266114309673</c:v>
                </c:pt>
                <c:pt idx="2733">
                  <c:v>0.94833971400446104</c:v>
                </c:pt>
                <c:pt idx="2734">
                  <c:v>0.97597394003671001</c:v>
                </c:pt>
                <c:pt idx="2735">
                  <c:v>0.99215881979669096</c:v>
                </c:pt>
                <c:pt idx="2736">
                  <c:v>0.94313713083280903</c:v>
                </c:pt>
                <c:pt idx="2737">
                  <c:v>0.92171185924381804</c:v>
                </c:pt>
                <c:pt idx="2738">
                  <c:v>0.87998885547091299</c:v>
                </c:pt>
                <c:pt idx="2739">
                  <c:v>0.72795704984517495</c:v>
                </c:pt>
                <c:pt idx="2740">
                  <c:v>0.682921306128214</c:v>
                </c:pt>
                <c:pt idx="2741">
                  <c:v>0.70985797871071799</c:v>
                </c:pt>
                <c:pt idx="2742">
                  <c:v>0.74985681730817599</c:v>
                </c:pt>
                <c:pt idx="2743">
                  <c:v>0.83583790980176798</c:v>
                </c:pt>
                <c:pt idx="2744">
                  <c:v>0.84113956635393206</c:v>
                </c:pt>
                <c:pt idx="2745">
                  <c:v>0.82200040588777601</c:v>
                </c:pt>
                <c:pt idx="2746">
                  <c:v>0.82766000596140399</c:v>
                </c:pt>
                <c:pt idx="2747">
                  <c:v>0.83774748026732904</c:v>
                </c:pt>
                <c:pt idx="2748">
                  <c:v>0.85160654727227103</c:v>
                </c:pt>
                <c:pt idx="2749">
                  <c:v>0.848829782177144</c:v>
                </c:pt>
                <c:pt idx="2750">
                  <c:v>0.82967738887902698</c:v>
                </c:pt>
                <c:pt idx="2751">
                  <c:v>0.79925314649308898</c:v>
                </c:pt>
                <c:pt idx="2752">
                  <c:v>0.78719600336046003</c:v>
                </c:pt>
                <c:pt idx="2753">
                  <c:v>0.90698636955338596</c:v>
                </c:pt>
                <c:pt idx="2754">
                  <c:v>0.88711522290535505</c:v>
                </c:pt>
                <c:pt idx="2755">
                  <c:v>0.97559281250855601</c:v>
                </c:pt>
                <c:pt idx="2756">
                  <c:v>0.90214094454448102</c:v>
                </c:pt>
                <c:pt idx="2757">
                  <c:v>0.91059026284519595</c:v>
                </c:pt>
                <c:pt idx="2758">
                  <c:v>0.95932372165957402</c:v>
                </c:pt>
                <c:pt idx="2759">
                  <c:v>0.92726464089927596</c:v>
                </c:pt>
                <c:pt idx="2760">
                  <c:v>0.93763726485011401</c:v>
                </c:pt>
                <c:pt idx="2761">
                  <c:v>0.91465331818687601</c:v>
                </c:pt>
                <c:pt idx="2762">
                  <c:v>0.88895944876025201</c:v>
                </c:pt>
                <c:pt idx="2763">
                  <c:v>0.88776005961125304</c:v>
                </c:pt>
                <c:pt idx="2764">
                  <c:v>0.85902514145436604</c:v>
                </c:pt>
                <c:pt idx="2765">
                  <c:v>0.85404435810442503</c:v>
                </c:pt>
                <c:pt idx="2766">
                  <c:v>0.85358059839200195</c:v>
                </c:pt>
                <c:pt idx="2767">
                  <c:v>0.79178025511019701</c:v>
                </c:pt>
                <c:pt idx="2768">
                  <c:v>0.78839984940588703</c:v>
                </c:pt>
                <c:pt idx="2769">
                  <c:v>0.77805949788293804</c:v>
                </c:pt>
                <c:pt idx="2770">
                  <c:v>0.87328996432890005</c:v>
                </c:pt>
                <c:pt idx="2771">
                  <c:v>0.84091192719451802</c:v>
                </c:pt>
                <c:pt idx="2772">
                  <c:v>0.85564039923063495</c:v>
                </c:pt>
                <c:pt idx="2773">
                  <c:v>0.87915252784543196</c:v>
                </c:pt>
                <c:pt idx="2774">
                  <c:v>0.88304734502501003</c:v>
                </c:pt>
                <c:pt idx="2775">
                  <c:v>0.88302072217448802</c:v>
                </c:pt>
                <c:pt idx="2776">
                  <c:v>0.86411230787870696</c:v>
                </c:pt>
                <c:pt idx="2777">
                  <c:v>0.86364708769770104</c:v>
                </c:pt>
                <c:pt idx="2778">
                  <c:v>0.87532477111239504</c:v>
                </c:pt>
                <c:pt idx="2779">
                  <c:v>0.887994204146069</c:v>
                </c:pt>
                <c:pt idx="2780">
                  <c:v>0.87911812894304497</c:v>
                </c:pt>
                <c:pt idx="2781">
                  <c:v>0.89820700417958999</c:v>
                </c:pt>
                <c:pt idx="2782">
                  <c:v>0.906569841994885</c:v>
                </c:pt>
                <c:pt idx="2783">
                  <c:v>0.91060169413233905</c:v>
                </c:pt>
                <c:pt idx="2784">
                  <c:v>0.90148893129534502</c:v>
                </c:pt>
                <c:pt idx="2785">
                  <c:v>0.93378141471862997</c:v>
                </c:pt>
                <c:pt idx="2786">
                  <c:v>0.91154536970731204</c:v>
                </c:pt>
                <c:pt idx="2787">
                  <c:v>0.91609703893609595</c:v>
                </c:pt>
                <c:pt idx="2788">
                  <c:v>0.88983354836253203</c:v>
                </c:pt>
                <c:pt idx="2789">
                  <c:v>0.92025483241952799</c:v>
                </c:pt>
                <c:pt idx="2790">
                  <c:v>0.84974400139735096</c:v>
                </c:pt>
                <c:pt idx="2791">
                  <c:v>0.91204118240771803</c:v>
                </c:pt>
                <c:pt idx="2792">
                  <c:v>0.92416774664606105</c:v>
                </c:pt>
                <c:pt idx="2793">
                  <c:v>1.01013609581089</c:v>
                </c:pt>
                <c:pt idx="2794">
                  <c:v>1.09647160271796</c:v>
                </c:pt>
                <c:pt idx="2795">
                  <c:v>1.08321407772703</c:v>
                </c:pt>
                <c:pt idx="2796">
                  <c:v>1.2241753693009301</c:v>
                </c:pt>
                <c:pt idx="2797">
                  <c:v>1.1503235975761701</c:v>
                </c:pt>
                <c:pt idx="2798">
                  <c:v>1.1390858537516</c:v>
                </c:pt>
                <c:pt idx="2799">
                  <c:v>1.1170372137451201</c:v>
                </c:pt>
                <c:pt idx="2800">
                  <c:v>1.11106541472395</c:v>
                </c:pt>
                <c:pt idx="2801">
                  <c:v>1.11687103235298</c:v>
                </c:pt>
                <c:pt idx="2802">
                  <c:v>1.1143035563465999</c:v>
                </c:pt>
                <c:pt idx="2803">
                  <c:v>1.10717152132906</c:v>
                </c:pt>
                <c:pt idx="2804">
                  <c:v>1.1188951169541299</c:v>
                </c:pt>
                <c:pt idx="2805">
                  <c:v>1.12211761116637</c:v>
                </c:pt>
                <c:pt idx="2806">
                  <c:v>1.11716071096375</c:v>
                </c:pt>
                <c:pt idx="2807">
                  <c:v>1.09560246691494</c:v>
                </c:pt>
                <c:pt idx="2808">
                  <c:v>1.0705959845825901</c:v>
                </c:pt>
                <c:pt idx="2809">
                  <c:v>1.0460054504201599</c:v>
                </c:pt>
                <c:pt idx="2810">
                  <c:v>0.98590578971600895</c:v>
                </c:pt>
                <c:pt idx="2811">
                  <c:v>0.94554737539696199</c:v>
                </c:pt>
                <c:pt idx="2812">
                  <c:v>0.90195177754746503</c:v>
                </c:pt>
                <c:pt idx="2813">
                  <c:v>0.79319795197732401</c:v>
                </c:pt>
                <c:pt idx="2814">
                  <c:v>0.83303995281202903</c:v>
                </c:pt>
                <c:pt idx="2815">
                  <c:v>0.83312839573404696</c:v>
                </c:pt>
                <c:pt idx="2816">
                  <c:v>0.79789017107178895</c:v>
                </c:pt>
                <c:pt idx="2817">
                  <c:v>0.76821883695640103</c:v>
                </c:pt>
                <c:pt idx="2818">
                  <c:v>0.75903174983283905</c:v>
                </c:pt>
                <c:pt idx="2819">
                  <c:v>0.71931712947341797</c:v>
                </c:pt>
                <c:pt idx="2820">
                  <c:v>0.678314079821982</c:v>
                </c:pt>
                <c:pt idx="2821">
                  <c:v>0.64686612607920002</c:v>
                </c:pt>
                <c:pt idx="2822">
                  <c:v>0.75693589320217602</c:v>
                </c:pt>
                <c:pt idx="2823">
                  <c:v>0.73404563665949696</c:v>
                </c:pt>
                <c:pt idx="2824">
                  <c:v>0.75528900433971802</c:v>
                </c:pt>
                <c:pt idx="2825">
                  <c:v>0.768457008944883</c:v>
                </c:pt>
                <c:pt idx="2826">
                  <c:v>0.79156905077801198</c:v>
                </c:pt>
                <c:pt idx="2827">
                  <c:v>0.76439511711372399</c:v>
                </c:pt>
                <c:pt idx="2828">
                  <c:v>0.89032082793450396</c:v>
                </c:pt>
                <c:pt idx="2829">
                  <c:v>0.82888230394967799</c:v>
                </c:pt>
                <c:pt idx="2830">
                  <c:v>0.71819521728945002</c:v>
                </c:pt>
                <c:pt idx="2831">
                  <c:v>0.73739512151618103</c:v>
                </c:pt>
                <c:pt idx="2832">
                  <c:v>0.70989046769168695</c:v>
                </c:pt>
                <c:pt idx="2833">
                  <c:v>0.73795929062308596</c:v>
                </c:pt>
                <c:pt idx="2834">
                  <c:v>0.75457994816224505</c:v>
                </c:pt>
                <c:pt idx="2835">
                  <c:v>0.80445509208144805</c:v>
                </c:pt>
                <c:pt idx="2836">
                  <c:v>0.859856581235662</c:v>
                </c:pt>
                <c:pt idx="2837">
                  <c:v>0.83635489092153803</c:v>
                </c:pt>
                <c:pt idx="2838">
                  <c:v>0.85629842800926903</c:v>
                </c:pt>
                <c:pt idx="2839">
                  <c:v>0.88898359224762402</c:v>
                </c:pt>
                <c:pt idx="2840">
                  <c:v>0.90411088770765402</c:v>
                </c:pt>
                <c:pt idx="2841">
                  <c:v>0.91618288041062601</c:v>
                </c:pt>
                <c:pt idx="2842">
                  <c:v>0.87553133706196995</c:v>
                </c:pt>
                <c:pt idx="2843">
                  <c:v>0.89597982433753098</c:v>
                </c:pt>
                <c:pt idx="2844">
                  <c:v>0.911745194244718</c:v>
                </c:pt>
                <c:pt idx="2845">
                  <c:v>0.95776080959643595</c:v>
                </c:pt>
                <c:pt idx="2846">
                  <c:v>0.97954904427280198</c:v>
                </c:pt>
                <c:pt idx="2847">
                  <c:v>0.98277350151993004</c:v>
                </c:pt>
                <c:pt idx="2848">
                  <c:v>0.99127095247300501</c:v>
                </c:pt>
                <c:pt idx="2849">
                  <c:v>1.00338139194482</c:v>
                </c:pt>
                <c:pt idx="2850">
                  <c:v>1.0020153745532301</c:v>
                </c:pt>
                <c:pt idx="2851">
                  <c:v>0.99793027629130204</c:v>
                </c:pt>
                <c:pt idx="2852">
                  <c:v>0.99547226641733</c:v>
                </c:pt>
                <c:pt idx="2853">
                  <c:v>0.98277337044791402</c:v>
                </c:pt>
                <c:pt idx="2854">
                  <c:v>0.95967982407030406</c:v>
                </c:pt>
                <c:pt idx="2855">
                  <c:v>1.0089827557483599</c:v>
                </c:pt>
                <c:pt idx="2856">
                  <c:v>1.0427271684972601</c:v>
                </c:pt>
                <c:pt idx="2857">
                  <c:v>1.06405646318583</c:v>
                </c:pt>
                <c:pt idx="2858">
                  <c:v>1.1478336520082399</c:v>
                </c:pt>
                <c:pt idx="2859">
                  <c:v>0.97237530549750795</c:v>
                </c:pt>
                <c:pt idx="2860">
                  <c:v>1.1280591569910701</c:v>
                </c:pt>
                <c:pt idx="2861">
                  <c:v>1.05449276859151</c:v>
                </c:pt>
                <c:pt idx="2862">
                  <c:v>0.99762551477476002</c:v>
                </c:pt>
                <c:pt idx="2863">
                  <c:v>0.97250603015798298</c:v>
                </c:pt>
                <c:pt idx="2864">
                  <c:v>0.97204479400789601</c:v>
                </c:pt>
                <c:pt idx="2865">
                  <c:v>1.00262605185041</c:v>
                </c:pt>
                <c:pt idx="2866">
                  <c:v>0.99610205398665197</c:v>
                </c:pt>
                <c:pt idx="2867">
                  <c:v>0.98504244110260497</c:v>
                </c:pt>
                <c:pt idx="2868">
                  <c:v>1.0032230435027201</c:v>
                </c:pt>
                <c:pt idx="2869">
                  <c:v>1.0096896507100199</c:v>
                </c:pt>
                <c:pt idx="2870">
                  <c:v>1.0161758430014201</c:v>
                </c:pt>
                <c:pt idx="2871">
                  <c:v>1.01103422637758</c:v>
                </c:pt>
                <c:pt idx="2872">
                  <c:v>1.0242265853033301</c:v>
                </c:pt>
                <c:pt idx="2873">
                  <c:v>0.99383581905375795</c:v>
                </c:pt>
                <c:pt idx="2874">
                  <c:v>0.94755691665877595</c:v>
                </c:pt>
                <c:pt idx="2875">
                  <c:v>0.87048559862140495</c:v>
                </c:pt>
                <c:pt idx="2876">
                  <c:v>0.81075074713215001</c:v>
                </c:pt>
                <c:pt idx="2877">
                  <c:v>0.73350536038669001</c:v>
                </c:pt>
                <c:pt idx="2878">
                  <c:v>0.78344414735977197</c:v>
                </c:pt>
                <c:pt idx="2879">
                  <c:v>0.80763499279874396</c:v>
                </c:pt>
                <c:pt idx="2880">
                  <c:v>0.92170145636156797</c:v>
                </c:pt>
                <c:pt idx="2881">
                  <c:v>0.95429412071171704</c:v>
                </c:pt>
                <c:pt idx="2882">
                  <c:v>0.94993802722663201</c:v>
                </c:pt>
                <c:pt idx="2883">
                  <c:v>0.93391498616283297</c:v>
                </c:pt>
                <c:pt idx="2884">
                  <c:v>0.93213708229440095</c:v>
                </c:pt>
                <c:pt idx="2885">
                  <c:v>0.92824112413987703</c:v>
                </c:pt>
                <c:pt idx="2886">
                  <c:v>0.92067047209439601</c:v>
                </c:pt>
                <c:pt idx="2887">
                  <c:v>0.92113378233662402</c:v>
                </c:pt>
                <c:pt idx="2888">
                  <c:v>0.929286828893373</c:v>
                </c:pt>
                <c:pt idx="2889">
                  <c:v>0.87187353571349002</c:v>
                </c:pt>
                <c:pt idx="2890">
                  <c:v>0.89811434284773495</c:v>
                </c:pt>
                <c:pt idx="2891">
                  <c:v>0.96099407117562696</c:v>
                </c:pt>
                <c:pt idx="2892">
                  <c:v>1.04958386242081</c:v>
                </c:pt>
                <c:pt idx="2893">
                  <c:v>1.03318176706898</c:v>
                </c:pt>
                <c:pt idx="2894">
                  <c:v>1.06437379651277</c:v>
                </c:pt>
                <c:pt idx="2895">
                  <c:v>1.15918035400089</c:v>
                </c:pt>
                <c:pt idx="2896">
                  <c:v>1.23238862725526</c:v>
                </c:pt>
                <c:pt idx="2897">
                  <c:v>1.0939751031789899</c:v>
                </c:pt>
                <c:pt idx="2898">
                  <c:v>1.0244894879772699</c:v>
                </c:pt>
                <c:pt idx="2899">
                  <c:v>1.0125590910623901</c:v>
                </c:pt>
                <c:pt idx="2900">
                  <c:v>1.00272534952385</c:v>
                </c:pt>
                <c:pt idx="2901">
                  <c:v>0.97650675843983503</c:v>
                </c:pt>
                <c:pt idx="2902">
                  <c:v>0.97439671867274902</c:v>
                </c:pt>
                <c:pt idx="2903">
                  <c:v>0.96863487064354903</c:v>
                </c:pt>
                <c:pt idx="2904">
                  <c:v>0.87328879681211002</c:v>
                </c:pt>
                <c:pt idx="2905">
                  <c:v>0.85227627643264303</c:v>
                </c:pt>
                <c:pt idx="2906">
                  <c:v>0.85985535983352301</c:v>
                </c:pt>
                <c:pt idx="2907">
                  <c:v>0.84597067200739995</c:v>
                </c:pt>
                <c:pt idx="2908">
                  <c:v>0.84989376417305496</c:v>
                </c:pt>
                <c:pt idx="2909">
                  <c:v>0.84867935625063595</c:v>
                </c:pt>
                <c:pt idx="2910">
                  <c:v>0.87368111900766299</c:v>
                </c:pt>
                <c:pt idx="2911">
                  <c:v>0.84301288579257305</c:v>
                </c:pt>
                <c:pt idx="2912">
                  <c:v>0.83444703737807802</c:v>
                </c:pt>
                <c:pt idx="2913">
                  <c:v>0.83275245217484795</c:v>
                </c:pt>
                <c:pt idx="2914">
                  <c:v>0.83440233669125397</c:v>
                </c:pt>
                <c:pt idx="2915">
                  <c:v>0.84005159586820299</c:v>
                </c:pt>
                <c:pt idx="2916">
                  <c:v>0.84765875810817004</c:v>
                </c:pt>
                <c:pt idx="2917">
                  <c:v>0.88901142259924903</c:v>
                </c:pt>
                <c:pt idx="2918">
                  <c:v>1.00096867532633</c:v>
                </c:pt>
                <c:pt idx="2919">
                  <c:v>1.0579902324899799</c:v>
                </c:pt>
                <c:pt idx="2920">
                  <c:v>1.1386391022781399</c:v>
                </c:pt>
                <c:pt idx="2921">
                  <c:v>1.10357780012502</c:v>
                </c:pt>
                <c:pt idx="2922">
                  <c:v>1.1202325598245899</c:v>
                </c:pt>
                <c:pt idx="2923">
                  <c:v>1.1091254372447701</c:v>
                </c:pt>
                <c:pt idx="2924">
                  <c:v>1.1245592076640001</c:v>
                </c:pt>
                <c:pt idx="2925">
                  <c:v>1.14341528163668</c:v>
                </c:pt>
                <c:pt idx="2926">
                  <c:v>1.12816160533736</c:v>
                </c:pt>
                <c:pt idx="2927">
                  <c:v>1.1167819067857001</c:v>
                </c:pt>
                <c:pt idx="2928">
                  <c:v>1.1192598056394401</c:v>
                </c:pt>
                <c:pt idx="2929">
                  <c:v>1.1345846612197401</c:v>
                </c:pt>
                <c:pt idx="2930">
                  <c:v>1.1337316496571499</c:v>
                </c:pt>
                <c:pt idx="2931">
                  <c:v>1.11674423264932</c:v>
                </c:pt>
                <c:pt idx="2932">
                  <c:v>1.1122619292873299</c:v>
                </c:pt>
                <c:pt idx="2933">
                  <c:v>1.0718300804329199</c:v>
                </c:pt>
                <c:pt idx="2934">
                  <c:v>1.03089313870808</c:v>
                </c:pt>
                <c:pt idx="2935">
                  <c:v>0.991420814612476</c:v>
                </c:pt>
                <c:pt idx="2936">
                  <c:v>0.95053759586173903</c:v>
                </c:pt>
                <c:pt idx="2937">
                  <c:v>0.891771724656236</c:v>
                </c:pt>
                <c:pt idx="2938">
                  <c:v>0.86851995888376399</c:v>
                </c:pt>
                <c:pt idx="2939">
                  <c:v>0.88230610639917195</c:v>
                </c:pt>
                <c:pt idx="2940">
                  <c:v>0.88515542535084801</c:v>
                </c:pt>
                <c:pt idx="2941">
                  <c:v>0.86459574149954099</c:v>
                </c:pt>
                <c:pt idx="2942">
                  <c:v>0.87803366319583198</c:v>
                </c:pt>
                <c:pt idx="2943">
                  <c:v>0.88592098932747498</c:v>
                </c:pt>
                <c:pt idx="2944">
                  <c:v>0.85626296218472397</c:v>
                </c:pt>
                <c:pt idx="2945">
                  <c:v>0.92221821392890402</c:v>
                </c:pt>
                <c:pt idx="2946">
                  <c:v>0.99212753477859394</c:v>
                </c:pt>
                <c:pt idx="2947">
                  <c:v>1.10820668704508</c:v>
                </c:pt>
                <c:pt idx="2948">
                  <c:v>1.1144985733931201</c:v>
                </c:pt>
                <c:pt idx="2949">
                  <c:v>1.1356145670259301</c:v>
                </c:pt>
                <c:pt idx="2950">
                  <c:v>1.1340659247807201</c:v>
                </c:pt>
                <c:pt idx="2951">
                  <c:v>1.0821533723532499</c:v>
                </c:pt>
                <c:pt idx="2952">
                  <c:v>1.0886994551531</c:v>
                </c:pt>
                <c:pt idx="2953">
                  <c:v>1.0917229242529001</c:v>
                </c:pt>
                <c:pt idx="2954">
                  <c:v>1.1006496607393099</c:v>
                </c:pt>
                <c:pt idx="2955">
                  <c:v>1.07386483860537</c:v>
                </c:pt>
                <c:pt idx="2956">
                  <c:v>1.08128870885233</c:v>
                </c:pt>
                <c:pt idx="2957">
                  <c:v>1.0485899027949801</c:v>
                </c:pt>
                <c:pt idx="2958">
                  <c:v>1.0279194430487599</c:v>
                </c:pt>
                <c:pt idx="2959">
                  <c:v>0.94802824239225203</c:v>
                </c:pt>
                <c:pt idx="2960">
                  <c:v>0.93821193173016004</c:v>
                </c:pt>
                <c:pt idx="2961">
                  <c:v>0.98066672469827998</c:v>
                </c:pt>
                <c:pt idx="2962">
                  <c:v>0.99322750053762598</c:v>
                </c:pt>
                <c:pt idx="2963">
                  <c:v>1.01039830734363</c:v>
                </c:pt>
                <c:pt idx="2964">
                  <c:v>1.0203190866034899</c:v>
                </c:pt>
                <c:pt idx="2965">
                  <c:v>1.01327147976448</c:v>
                </c:pt>
                <c:pt idx="2966">
                  <c:v>1.0283577308074701</c:v>
                </c:pt>
                <c:pt idx="2967">
                  <c:v>1.0027541805961799</c:v>
                </c:pt>
                <c:pt idx="2968">
                  <c:v>1.0217639022459599</c:v>
                </c:pt>
                <c:pt idx="2969">
                  <c:v>0.98157778406502305</c:v>
                </c:pt>
                <c:pt idx="2970">
                  <c:v>1.01202013014419</c:v>
                </c:pt>
                <c:pt idx="2971">
                  <c:v>1.0291639827338199</c:v>
                </c:pt>
                <c:pt idx="2972">
                  <c:v>1.1007616821967301</c:v>
                </c:pt>
                <c:pt idx="2973">
                  <c:v>1.0900234550033101</c:v>
                </c:pt>
                <c:pt idx="2974">
                  <c:v>1.0921435807250499</c:v>
                </c:pt>
                <c:pt idx="2975">
                  <c:v>1.0583031873504201</c:v>
                </c:pt>
                <c:pt idx="2976">
                  <c:v>0.98963486136331202</c:v>
                </c:pt>
                <c:pt idx="2977">
                  <c:v>0.73088490894549596</c:v>
                </c:pt>
                <c:pt idx="2978">
                  <c:v>0.81877289325577096</c:v>
                </c:pt>
                <c:pt idx="2979">
                  <c:v>0.80284702268350405</c:v>
                </c:pt>
                <c:pt idx="2980">
                  <c:v>0.80454511762733405</c:v>
                </c:pt>
                <c:pt idx="2981">
                  <c:v>0.80163510504538704</c:v>
                </c:pt>
                <c:pt idx="2982">
                  <c:v>0.81792786255405903</c:v>
                </c:pt>
                <c:pt idx="2983">
                  <c:v>0.79705829860880895</c:v>
                </c:pt>
                <c:pt idx="2984">
                  <c:v>0.820880191784504</c:v>
                </c:pt>
                <c:pt idx="2985">
                  <c:v>0.86674318967860298</c:v>
                </c:pt>
                <c:pt idx="2986">
                  <c:v>0.89408937352257201</c:v>
                </c:pt>
                <c:pt idx="2987">
                  <c:v>0.91114228266303898</c:v>
                </c:pt>
                <c:pt idx="2988">
                  <c:v>0.88124354977733999</c:v>
                </c:pt>
                <c:pt idx="2989">
                  <c:v>0.89180516746423599</c:v>
                </c:pt>
                <c:pt idx="2990">
                  <c:v>0.85934816297747796</c:v>
                </c:pt>
                <c:pt idx="2991">
                  <c:v>0.86117979602627104</c:v>
                </c:pt>
                <c:pt idx="2992">
                  <c:v>0.86293593370131905</c:v>
                </c:pt>
                <c:pt idx="2993">
                  <c:v>0.88836306965743905</c:v>
                </c:pt>
                <c:pt idx="2994">
                  <c:v>0.88417347871172702</c:v>
                </c:pt>
                <c:pt idx="2995">
                  <c:v>0.88471580999458699</c:v>
                </c:pt>
                <c:pt idx="2996">
                  <c:v>0.88812596256116705</c:v>
                </c:pt>
                <c:pt idx="2997">
                  <c:v>0.89783823380624295</c:v>
                </c:pt>
                <c:pt idx="2998">
                  <c:v>0.89893043898861902</c:v>
                </c:pt>
                <c:pt idx="2999">
                  <c:v>0.89574663699526802</c:v>
                </c:pt>
                <c:pt idx="3000">
                  <c:v>0.90622001562741294</c:v>
                </c:pt>
                <c:pt idx="3001">
                  <c:v>0.90925522553825899</c:v>
                </c:pt>
                <c:pt idx="3002">
                  <c:v>0.90011838100214203</c:v>
                </c:pt>
                <c:pt idx="3003">
                  <c:v>0.88226264173476798</c:v>
                </c:pt>
                <c:pt idx="3004">
                  <c:v>0.81462183145457201</c:v>
                </c:pt>
                <c:pt idx="3005">
                  <c:v>0.79164035418094403</c:v>
                </c:pt>
                <c:pt idx="3006">
                  <c:v>0.85600963573318201</c:v>
                </c:pt>
                <c:pt idx="3007">
                  <c:v>0.83555145962395205</c:v>
                </c:pt>
                <c:pt idx="3008">
                  <c:v>0.82810183343167698</c:v>
                </c:pt>
                <c:pt idx="3009">
                  <c:v>0.85422051026964896</c:v>
                </c:pt>
                <c:pt idx="3010">
                  <c:v>0.85402961206017303</c:v>
                </c:pt>
                <c:pt idx="3011">
                  <c:v>0.952786488852715</c:v>
                </c:pt>
                <c:pt idx="3012">
                  <c:v>0.90319496077339601</c:v>
                </c:pt>
                <c:pt idx="3013">
                  <c:v>0.93688470302907201</c:v>
                </c:pt>
                <c:pt idx="3014">
                  <c:v>0.94315896585801895</c:v>
                </c:pt>
                <c:pt idx="3015">
                  <c:v>0.93068027757961902</c:v>
                </c:pt>
                <c:pt idx="3016">
                  <c:v>0.93867812483497204</c:v>
                </c:pt>
                <c:pt idx="3017">
                  <c:v>0.95375520665139502</c:v>
                </c:pt>
                <c:pt idx="3018">
                  <c:v>0.93488365816294805</c:v>
                </c:pt>
                <c:pt idx="3019">
                  <c:v>0.965885022166447</c:v>
                </c:pt>
                <c:pt idx="3020">
                  <c:v>0.92805484243660596</c:v>
                </c:pt>
                <c:pt idx="3021">
                  <c:v>0.854187779108187</c:v>
                </c:pt>
                <c:pt idx="3022">
                  <c:v>0.912956535351231</c:v>
                </c:pt>
                <c:pt idx="3023">
                  <c:v>0.92603072084939098</c:v>
                </c:pt>
                <c:pt idx="3024">
                  <c:v>0.89618150457378198</c:v>
                </c:pt>
                <c:pt idx="3025">
                  <c:v>0.85061927851102404</c:v>
                </c:pt>
                <c:pt idx="3026">
                  <c:v>0.838128520356896</c:v>
                </c:pt>
                <c:pt idx="3027">
                  <c:v>0.91309851984882495</c:v>
                </c:pt>
                <c:pt idx="3028">
                  <c:v>0.92283077056030405</c:v>
                </c:pt>
                <c:pt idx="3029">
                  <c:v>0.97915965673730299</c:v>
                </c:pt>
                <c:pt idx="3030">
                  <c:v>1.0389332747330899</c:v>
                </c:pt>
                <c:pt idx="3031">
                  <c:v>1.0271751299645699</c:v>
                </c:pt>
                <c:pt idx="3032">
                  <c:v>1.04055925514144</c:v>
                </c:pt>
                <c:pt idx="3033">
                  <c:v>1.06331482026145</c:v>
                </c:pt>
                <c:pt idx="3034">
                  <c:v>1.0388073086554499</c:v>
                </c:pt>
                <c:pt idx="3035">
                  <c:v>1.0190421102666301</c:v>
                </c:pt>
                <c:pt idx="3036">
                  <c:v>1.0218143919529501</c:v>
                </c:pt>
                <c:pt idx="3037">
                  <c:v>0.97423518692151001</c:v>
                </c:pt>
                <c:pt idx="3038">
                  <c:v>0.94803851718888699</c:v>
                </c:pt>
                <c:pt idx="3039">
                  <c:v>0.92471682435272695</c:v>
                </c:pt>
                <c:pt idx="3040">
                  <c:v>0.95662627027384795</c:v>
                </c:pt>
                <c:pt idx="3041">
                  <c:v>0.89832613392874905</c:v>
                </c:pt>
                <c:pt idx="3042">
                  <c:v>0.88595646209955303</c:v>
                </c:pt>
                <c:pt idx="3043">
                  <c:v>0.87727602808199701</c:v>
                </c:pt>
                <c:pt idx="3044">
                  <c:v>0.87568956953462596</c:v>
                </c:pt>
                <c:pt idx="3045">
                  <c:v>0.86257569838633796</c:v>
                </c:pt>
                <c:pt idx="3046">
                  <c:v>0.86400067559258598</c:v>
                </c:pt>
                <c:pt idx="3047">
                  <c:v>0.85095788334685796</c:v>
                </c:pt>
                <c:pt idx="3048">
                  <c:v>0.84666770011325398</c:v>
                </c:pt>
                <c:pt idx="3049">
                  <c:v>0.84906141099237797</c:v>
                </c:pt>
                <c:pt idx="3050">
                  <c:v>0.86859534731933896</c:v>
                </c:pt>
                <c:pt idx="3051">
                  <c:v>0.82610400789591598</c:v>
                </c:pt>
                <c:pt idx="3052">
                  <c:v>0.82413952650430899</c:v>
                </c:pt>
                <c:pt idx="3053">
                  <c:v>0.78355457501249604</c:v>
                </c:pt>
                <c:pt idx="3054">
                  <c:v>0.52337673631510195</c:v>
                </c:pt>
                <c:pt idx="3055">
                  <c:v>0.542427633542228</c:v>
                </c:pt>
                <c:pt idx="3056">
                  <c:v>0.69946657612401297</c:v>
                </c:pt>
                <c:pt idx="3057">
                  <c:v>0.75857718718332001</c:v>
                </c:pt>
                <c:pt idx="3058">
                  <c:v>0.80561538823744305</c:v>
                </c:pt>
                <c:pt idx="3059">
                  <c:v>0.77440624685904103</c:v>
                </c:pt>
                <c:pt idx="3060">
                  <c:v>0.77851870532464296</c:v>
                </c:pt>
                <c:pt idx="3061">
                  <c:v>0.78208016218296905</c:v>
                </c:pt>
                <c:pt idx="3062">
                  <c:v>0.77515130164652501</c:v>
                </c:pt>
                <c:pt idx="3063">
                  <c:v>0.78436004416737803</c:v>
                </c:pt>
                <c:pt idx="3064">
                  <c:v>0.78154079060270398</c:v>
                </c:pt>
                <c:pt idx="3065">
                  <c:v>0.77060668379166197</c:v>
                </c:pt>
                <c:pt idx="3066">
                  <c:v>0.76523186032336699</c:v>
                </c:pt>
                <c:pt idx="3067">
                  <c:v>0.75476742211158998</c:v>
                </c:pt>
                <c:pt idx="3068">
                  <c:v>0.756084859768694</c:v>
                </c:pt>
                <c:pt idx="3069">
                  <c:v>0.74768743353868194</c:v>
                </c:pt>
                <c:pt idx="3070">
                  <c:v>0.728827638288846</c:v>
                </c:pt>
                <c:pt idx="3071">
                  <c:v>0.69519701981410598</c:v>
                </c:pt>
                <c:pt idx="3072">
                  <c:v>0.70386005797490503</c:v>
                </c:pt>
                <c:pt idx="3073">
                  <c:v>0.77313526269352095</c:v>
                </c:pt>
                <c:pt idx="3074">
                  <c:v>0.78421044571412601</c:v>
                </c:pt>
                <c:pt idx="3075">
                  <c:v>0.76611451182743695</c:v>
                </c:pt>
                <c:pt idx="3076">
                  <c:v>0.72105273306776996</c:v>
                </c:pt>
                <c:pt idx="3077">
                  <c:v>0.80991621180885398</c:v>
                </c:pt>
                <c:pt idx="3078">
                  <c:v>0.828325253705399</c:v>
                </c:pt>
                <c:pt idx="3079">
                  <c:v>0.85413691784738599</c:v>
                </c:pt>
                <c:pt idx="3080">
                  <c:v>0.86243899060407703</c:v>
                </c:pt>
                <c:pt idx="3081">
                  <c:v>0.83126690724209595</c:v>
                </c:pt>
                <c:pt idx="3082">
                  <c:v>0.81441614033718701</c:v>
                </c:pt>
                <c:pt idx="3083">
                  <c:v>0.77213205806461405</c:v>
                </c:pt>
                <c:pt idx="3084">
                  <c:v>0.74036012360860903</c:v>
                </c:pt>
                <c:pt idx="3085">
                  <c:v>0.76978991667438201</c:v>
                </c:pt>
                <c:pt idx="3086">
                  <c:v>0.76493330302120999</c:v>
                </c:pt>
                <c:pt idx="3087">
                  <c:v>0.76192043994522096</c:v>
                </c:pt>
                <c:pt idx="3088">
                  <c:v>0.82020475843533003</c:v>
                </c:pt>
                <c:pt idx="3089">
                  <c:v>0.83807533134245504</c:v>
                </c:pt>
                <c:pt idx="3090">
                  <c:v>0.85425855683676399</c:v>
                </c:pt>
                <c:pt idx="3091">
                  <c:v>0.88495278942151201</c:v>
                </c:pt>
                <c:pt idx="3092">
                  <c:v>0.88380215816640595</c:v>
                </c:pt>
                <c:pt idx="3093">
                  <c:v>0.88977258376848301</c:v>
                </c:pt>
                <c:pt idx="3094">
                  <c:v>0.91303515741447505</c:v>
                </c:pt>
                <c:pt idx="3095">
                  <c:v>0.92484913601846597</c:v>
                </c:pt>
                <c:pt idx="3096">
                  <c:v>0.92250257796623802</c:v>
                </c:pt>
                <c:pt idx="3097">
                  <c:v>0.91062441872355204</c:v>
                </c:pt>
                <c:pt idx="3098">
                  <c:v>0.91155249191889098</c:v>
                </c:pt>
                <c:pt idx="3099">
                  <c:v>1.0163872559013101</c:v>
                </c:pt>
                <c:pt idx="3100">
                  <c:v>1.02110918263893</c:v>
                </c:pt>
                <c:pt idx="3101">
                  <c:v>1.0084099456259299</c:v>
                </c:pt>
                <c:pt idx="3102">
                  <c:v>1.0175660675162299</c:v>
                </c:pt>
                <c:pt idx="3103">
                  <c:v>0.98836773198233796</c:v>
                </c:pt>
                <c:pt idx="3104">
                  <c:v>0.995916111843834</c:v>
                </c:pt>
                <c:pt idx="3105">
                  <c:v>1.0151611103237199</c:v>
                </c:pt>
                <c:pt idx="3106">
                  <c:v>0.97642245275297401</c:v>
                </c:pt>
                <c:pt idx="3107">
                  <c:v>0.95790667509023697</c:v>
                </c:pt>
                <c:pt idx="3108">
                  <c:v>0.88750528276040697</c:v>
                </c:pt>
                <c:pt idx="3109">
                  <c:v>0.87157198384858103</c:v>
                </c:pt>
                <c:pt idx="3110">
                  <c:v>0.87914504958816198</c:v>
                </c:pt>
                <c:pt idx="3111">
                  <c:v>0.90060766646614898</c:v>
                </c:pt>
                <c:pt idx="3112">
                  <c:v>0.88731364273302005</c:v>
                </c:pt>
                <c:pt idx="3113">
                  <c:v>0.85672037557009195</c:v>
                </c:pt>
                <c:pt idx="3114">
                  <c:v>0.84861611050835495</c:v>
                </c:pt>
                <c:pt idx="3115">
                  <c:v>0.87096749827358899</c:v>
                </c:pt>
                <c:pt idx="3116">
                  <c:v>0.86891960221154896</c:v>
                </c:pt>
                <c:pt idx="3117">
                  <c:v>0.88216491979426703</c:v>
                </c:pt>
                <c:pt idx="3118">
                  <c:v>0.69153084666671205</c:v>
                </c:pt>
                <c:pt idx="3119">
                  <c:v>0.76743111313870005</c:v>
                </c:pt>
                <c:pt idx="3120">
                  <c:v>0.79990588841890198</c:v>
                </c:pt>
                <c:pt idx="3121">
                  <c:v>0.83708176487907704</c:v>
                </c:pt>
                <c:pt idx="3122">
                  <c:v>0.87327461201521395</c:v>
                </c:pt>
                <c:pt idx="3123">
                  <c:v>0.88950383523545795</c:v>
                </c:pt>
                <c:pt idx="3124">
                  <c:v>0.86381858527796496</c:v>
                </c:pt>
                <c:pt idx="3125">
                  <c:v>0.84278309478942504</c:v>
                </c:pt>
                <c:pt idx="3126">
                  <c:v>0.83348718319145998</c:v>
                </c:pt>
                <c:pt idx="3127">
                  <c:v>0.83501097323941198</c:v>
                </c:pt>
                <c:pt idx="3128">
                  <c:v>0.82576833531642202</c:v>
                </c:pt>
                <c:pt idx="3129">
                  <c:v>0.78512029324954602</c:v>
                </c:pt>
                <c:pt idx="3130">
                  <c:v>0.75270390181200297</c:v>
                </c:pt>
                <c:pt idx="3131">
                  <c:v>0.60935417710015305</c:v>
                </c:pt>
                <c:pt idx="3132">
                  <c:v>0.52043820846721101</c:v>
                </c:pt>
                <c:pt idx="3133">
                  <c:v>0.53590543560658199</c:v>
                </c:pt>
                <c:pt idx="3134">
                  <c:v>0.55814128934049501</c:v>
                </c:pt>
                <c:pt idx="3135">
                  <c:v>0.556604427972333</c:v>
                </c:pt>
                <c:pt idx="3136">
                  <c:v>0.64064571484515498</c:v>
                </c:pt>
                <c:pt idx="3137">
                  <c:v>0.64859789058226602</c:v>
                </c:pt>
                <c:pt idx="3138">
                  <c:v>0.63870066258254998</c:v>
                </c:pt>
                <c:pt idx="3139">
                  <c:v>0.667094550444705</c:v>
                </c:pt>
                <c:pt idx="3140">
                  <c:v>0.66655142904322795</c:v>
                </c:pt>
                <c:pt idx="3141">
                  <c:v>0.66710808547934397</c:v>
                </c:pt>
                <c:pt idx="3142">
                  <c:v>0.74062330980452395</c:v>
                </c:pt>
                <c:pt idx="3143">
                  <c:v>0.87082525345704598</c:v>
                </c:pt>
                <c:pt idx="3144">
                  <c:v>1.0094260718022701</c:v>
                </c:pt>
                <c:pt idx="3145">
                  <c:v>1.2659580448383101</c:v>
                </c:pt>
                <c:pt idx="3146">
                  <c:v>1.1007952238458401</c:v>
                </c:pt>
                <c:pt idx="3147">
                  <c:v>1.09447894892214</c:v>
                </c:pt>
                <c:pt idx="3148">
                  <c:v>1.0653361741706699</c:v>
                </c:pt>
                <c:pt idx="3149">
                  <c:v>1.0828226151812701</c:v>
                </c:pt>
                <c:pt idx="3150">
                  <c:v>1.07619714836428</c:v>
                </c:pt>
                <c:pt idx="3151">
                  <c:v>1.0778422336756599</c:v>
                </c:pt>
                <c:pt idx="3152">
                  <c:v>1.0561124561938799</c:v>
                </c:pt>
                <c:pt idx="3153">
                  <c:v>1.05351412616619</c:v>
                </c:pt>
                <c:pt idx="3154">
                  <c:v>1.0482549889458399</c:v>
                </c:pt>
                <c:pt idx="3155">
                  <c:v>1.04150034930599</c:v>
                </c:pt>
                <c:pt idx="3156">
                  <c:v>1.0547190202154799</c:v>
                </c:pt>
                <c:pt idx="3157">
                  <c:v>1.0228831980958699</c:v>
                </c:pt>
                <c:pt idx="3158">
                  <c:v>1.0027770200678201</c:v>
                </c:pt>
                <c:pt idx="3159">
                  <c:v>0.97743656406559998</c:v>
                </c:pt>
                <c:pt idx="3160">
                  <c:v>0.97268679129344804</c:v>
                </c:pt>
                <c:pt idx="3161">
                  <c:v>0.96789995498410297</c:v>
                </c:pt>
                <c:pt idx="3162">
                  <c:v>0.95091897168377304</c:v>
                </c:pt>
                <c:pt idx="3163">
                  <c:v>0.89641913091164505</c:v>
                </c:pt>
                <c:pt idx="3164">
                  <c:v>0.92074615601423004</c:v>
                </c:pt>
                <c:pt idx="3165">
                  <c:v>0.90247497933896303</c:v>
                </c:pt>
                <c:pt idx="3166">
                  <c:v>0.92548824241691596</c:v>
                </c:pt>
                <c:pt idx="3167">
                  <c:v>0.91553282265941605</c:v>
                </c:pt>
                <c:pt idx="3168">
                  <c:v>0.94446129032878801</c:v>
                </c:pt>
                <c:pt idx="3169">
                  <c:v>0.86021176080875195</c:v>
                </c:pt>
                <c:pt idx="3170">
                  <c:v>0.91861395063344398</c:v>
                </c:pt>
                <c:pt idx="3171">
                  <c:v>0.94701980769713501</c:v>
                </c:pt>
                <c:pt idx="3172">
                  <c:v>0.94365948776778297</c:v>
                </c:pt>
                <c:pt idx="3173">
                  <c:v>0.94616789045975302</c:v>
                </c:pt>
                <c:pt idx="3174">
                  <c:v>0.938006781929556</c:v>
                </c:pt>
                <c:pt idx="3175">
                  <c:v>0.95485988542380396</c:v>
                </c:pt>
                <c:pt idx="3176">
                  <c:v>0.98176654951132702</c:v>
                </c:pt>
                <c:pt idx="3177">
                  <c:v>0.89050826603357502</c:v>
                </c:pt>
                <c:pt idx="3178">
                  <c:v>0.89003571578166596</c:v>
                </c:pt>
                <c:pt idx="3179">
                  <c:v>0.91057723297162496</c:v>
                </c:pt>
                <c:pt idx="3180">
                  <c:v>0.835123020651104</c:v>
                </c:pt>
                <c:pt idx="3181">
                  <c:v>0.85185585678113596</c:v>
                </c:pt>
                <c:pt idx="3182">
                  <c:v>0.834972797176051</c:v>
                </c:pt>
                <c:pt idx="3183">
                  <c:v>0.86638221405929405</c:v>
                </c:pt>
                <c:pt idx="3184">
                  <c:v>0.88510246488015698</c:v>
                </c:pt>
                <c:pt idx="3185">
                  <c:v>0.89320156947486595</c:v>
                </c:pt>
                <c:pt idx="3186">
                  <c:v>0.93246294833658705</c:v>
                </c:pt>
                <c:pt idx="3187">
                  <c:v>0.93418594571835001</c:v>
                </c:pt>
                <c:pt idx="3188">
                  <c:v>0.96031143549768205</c:v>
                </c:pt>
                <c:pt idx="3189">
                  <c:v>0.97998502371377805</c:v>
                </c:pt>
                <c:pt idx="3190">
                  <c:v>0.97207782749831595</c:v>
                </c:pt>
                <c:pt idx="3191">
                  <c:v>0.96287860151820104</c:v>
                </c:pt>
                <c:pt idx="3192">
                  <c:v>0.95739722726353105</c:v>
                </c:pt>
                <c:pt idx="3193">
                  <c:v>0.971853754712382</c:v>
                </c:pt>
                <c:pt idx="3194">
                  <c:v>0.84143771963291303</c:v>
                </c:pt>
                <c:pt idx="3195">
                  <c:v>0.67886404764948305</c:v>
                </c:pt>
                <c:pt idx="3196">
                  <c:v>0.645040328645891</c:v>
                </c:pt>
                <c:pt idx="3197">
                  <c:v>0.55164686411298502</c:v>
                </c:pt>
                <c:pt idx="3198">
                  <c:v>0.58772138737672996</c:v>
                </c:pt>
                <c:pt idx="3199">
                  <c:v>0.561523077159507</c:v>
                </c:pt>
                <c:pt idx="3200">
                  <c:v>0.71759222385291099</c:v>
                </c:pt>
                <c:pt idx="3201">
                  <c:v>0.68907583712857701</c:v>
                </c:pt>
                <c:pt idx="3202">
                  <c:v>0.718871055170623</c:v>
                </c:pt>
                <c:pt idx="3203">
                  <c:v>0.65767349569156797</c:v>
                </c:pt>
                <c:pt idx="3204">
                  <c:v>0.707352515449167</c:v>
                </c:pt>
                <c:pt idx="3205">
                  <c:v>0.72110699585915705</c:v>
                </c:pt>
                <c:pt idx="3206">
                  <c:v>0.74723020147642505</c:v>
                </c:pt>
                <c:pt idx="3207">
                  <c:v>0.75536979148663597</c:v>
                </c:pt>
                <c:pt idx="3208">
                  <c:v>0.739479526694935</c:v>
                </c:pt>
                <c:pt idx="3209">
                  <c:v>0.74804917219172595</c:v>
                </c:pt>
                <c:pt idx="3210">
                  <c:v>0.75598336094276197</c:v>
                </c:pt>
                <c:pt idx="3211">
                  <c:v>0.761605114791291</c:v>
                </c:pt>
                <c:pt idx="3212">
                  <c:v>0.75108326452270802</c:v>
                </c:pt>
                <c:pt idx="3213">
                  <c:v>0.74713721314822701</c:v>
                </c:pt>
                <c:pt idx="3214">
                  <c:v>0.743815322159043</c:v>
                </c:pt>
                <c:pt idx="3215">
                  <c:v>0.731801715626616</c:v>
                </c:pt>
                <c:pt idx="3216">
                  <c:v>0.73148313370319695</c:v>
                </c:pt>
                <c:pt idx="3217">
                  <c:v>0.69492181113623896</c:v>
                </c:pt>
                <c:pt idx="3218">
                  <c:v>0.61728129523393405</c:v>
                </c:pt>
                <c:pt idx="3219">
                  <c:v>0.49997704170392199</c:v>
                </c:pt>
                <c:pt idx="3220">
                  <c:v>0.45367149406941099</c:v>
                </c:pt>
                <c:pt idx="3221">
                  <c:v>0.51310847880134303</c:v>
                </c:pt>
                <c:pt idx="3222">
                  <c:v>0.496615756119199</c:v>
                </c:pt>
              </c:numCache>
            </c:numRef>
          </c:val>
          <c:smooth val="0"/>
          <c:extLst>
            <c:ext xmlns:c16="http://schemas.microsoft.com/office/drawing/2014/chart" uri="{C3380CC4-5D6E-409C-BE32-E72D297353CC}">
              <c16:uniqueId val="{00000000-F800-4244-B3B0-D74FB5739200}"/>
            </c:ext>
          </c:extLst>
        </c:ser>
        <c:dLbls>
          <c:showLegendKey val="0"/>
          <c:showVal val="0"/>
          <c:showCatName val="0"/>
          <c:showSerName val="0"/>
          <c:showPercent val="0"/>
          <c:showBubbleSize val="0"/>
        </c:dLbls>
        <c:smooth val="0"/>
        <c:axId val="1458858432"/>
        <c:axId val="1458851360"/>
      </c:lineChart>
      <c:dateAx>
        <c:axId val="1458858432"/>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1458851360"/>
        <c:crosses val="autoZero"/>
        <c:auto val="1"/>
        <c:lblOffset val="100"/>
        <c:baseTimeUnit val="days"/>
      </c:dateAx>
      <c:valAx>
        <c:axId val="145885136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14588584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turnover_牛熊!$C$1</c:f>
              <c:strCache>
                <c:ptCount val="1"/>
                <c:pt idx="0">
                  <c:v>hs300</c:v>
                </c:pt>
              </c:strCache>
            </c:strRef>
          </c:tx>
          <c:spPr>
            <a:ln w="28575" cap="rnd">
              <a:solidFill>
                <a:schemeClr val="accent1"/>
              </a:solidFill>
              <a:round/>
            </a:ln>
            <a:effectLst/>
          </c:spPr>
          <c:marker>
            <c:symbol val="none"/>
          </c:marker>
          <c:cat>
            <c:numRef>
              <c:f>turnover_牛熊!$B$2:$B$3224</c:f>
              <c:numCache>
                <c:formatCode>yyyy\-mm\-dd;@</c:formatCode>
                <c:ptCount val="3223"/>
                <c:pt idx="0">
                  <c:v>39818</c:v>
                </c:pt>
                <c:pt idx="1">
                  <c:v>39819</c:v>
                </c:pt>
                <c:pt idx="2">
                  <c:v>39820</c:v>
                </c:pt>
                <c:pt idx="3">
                  <c:v>39821</c:v>
                </c:pt>
                <c:pt idx="4">
                  <c:v>39822</c:v>
                </c:pt>
                <c:pt idx="5">
                  <c:v>39825</c:v>
                </c:pt>
                <c:pt idx="6">
                  <c:v>39826</c:v>
                </c:pt>
                <c:pt idx="7">
                  <c:v>39827</c:v>
                </c:pt>
                <c:pt idx="8">
                  <c:v>39828</c:v>
                </c:pt>
                <c:pt idx="9">
                  <c:v>39829</c:v>
                </c:pt>
                <c:pt idx="10">
                  <c:v>39832</c:v>
                </c:pt>
                <c:pt idx="11">
                  <c:v>39833</c:v>
                </c:pt>
                <c:pt idx="12">
                  <c:v>39834</c:v>
                </c:pt>
                <c:pt idx="13">
                  <c:v>39835</c:v>
                </c:pt>
                <c:pt idx="14">
                  <c:v>39836</c:v>
                </c:pt>
                <c:pt idx="15">
                  <c:v>39846</c:v>
                </c:pt>
                <c:pt idx="16">
                  <c:v>39847</c:v>
                </c:pt>
                <c:pt idx="17">
                  <c:v>39848</c:v>
                </c:pt>
                <c:pt idx="18">
                  <c:v>39849</c:v>
                </c:pt>
                <c:pt idx="19">
                  <c:v>39850</c:v>
                </c:pt>
                <c:pt idx="20">
                  <c:v>39853</c:v>
                </c:pt>
                <c:pt idx="21">
                  <c:v>39854</c:v>
                </c:pt>
                <c:pt idx="22">
                  <c:v>39855</c:v>
                </c:pt>
                <c:pt idx="23">
                  <c:v>39856</c:v>
                </c:pt>
                <c:pt idx="24">
                  <c:v>39857</c:v>
                </c:pt>
                <c:pt idx="25">
                  <c:v>39860</c:v>
                </c:pt>
                <c:pt idx="26">
                  <c:v>39861</c:v>
                </c:pt>
                <c:pt idx="27">
                  <c:v>39862</c:v>
                </c:pt>
                <c:pt idx="28">
                  <c:v>39863</c:v>
                </c:pt>
                <c:pt idx="29">
                  <c:v>39864</c:v>
                </c:pt>
                <c:pt idx="30">
                  <c:v>39867</c:v>
                </c:pt>
                <c:pt idx="31">
                  <c:v>39868</c:v>
                </c:pt>
                <c:pt idx="32">
                  <c:v>39869</c:v>
                </c:pt>
                <c:pt idx="33">
                  <c:v>39870</c:v>
                </c:pt>
                <c:pt idx="34">
                  <c:v>39871</c:v>
                </c:pt>
                <c:pt idx="35">
                  <c:v>39874</c:v>
                </c:pt>
                <c:pt idx="36">
                  <c:v>39875</c:v>
                </c:pt>
                <c:pt idx="37">
                  <c:v>39876</c:v>
                </c:pt>
                <c:pt idx="38">
                  <c:v>39877</c:v>
                </c:pt>
                <c:pt idx="39">
                  <c:v>39878</c:v>
                </c:pt>
                <c:pt idx="40">
                  <c:v>39881</c:v>
                </c:pt>
                <c:pt idx="41">
                  <c:v>39882</c:v>
                </c:pt>
                <c:pt idx="42">
                  <c:v>39883</c:v>
                </c:pt>
                <c:pt idx="43">
                  <c:v>39884</c:v>
                </c:pt>
                <c:pt idx="44">
                  <c:v>39885</c:v>
                </c:pt>
                <c:pt idx="45">
                  <c:v>39888</c:v>
                </c:pt>
                <c:pt idx="46">
                  <c:v>39889</c:v>
                </c:pt>
                <c:pt idx="47">
                  <c:v>39890</c:v>
                </c:pt>
                <c:pt idx="48">
                  <c:v>39891</c:v>
                </c:pt>
                <c:pt idx="49">
                  <c:v>39892</c:v>
                </c:pt>
                <c:pt idx="50">
                  <c:v>39895</c:v>
                </c:pt>
                <c:pt idx="51">
                  <c:v>39896</c:v>
                </c:pt>
                <c:pt idx="52">
                  <c:v>39897</c:v>
                </c:pt>
                <c:pt idx="53">
                  <c:v>39898</c:v>
                </c:pt>
                <c:pt idx="54">
                  <c:v>39899</c:v>
                </c:pt>
                <c:pt idx="55">
                  <c:v>39902</c:v>
                </c:pt>
                <c:pt idx="56">
                  <c:v>39903</c:v>
                </c:pt>
                <c:pt idx="57">
                  <c:v>39904</c:v>
                </c:pt>
                <c:pt idx="58">
                  <c:v>39905</c:v>
                </c:pt>
                <c:pt idx="59">
                  <c:v>39906</c:v>
                </c:pt>
                <c:pt idx="60">
                  <c:v>39910</c:v>
                </c:pt>
                <c:pt idx="61">
                  <c:v>39911</c:v>
                </c:pt>
                <c:pt idx="62">
                  <c:v>39912</c:v>
                </c:pt>
                <c:pt idx="63">
                  <c:v>39913</c:v>
                </c:pt>
                <c:pt idx="64">
                  <c:v>39916</c:v>
                </c:pt>
                <c:pt idx="65">
                  <c:v>39917</c:v>
                </c:pt>
                <c:pt idx="66">
                  <c:v>39918</c:v>
                </c:pt>
                <c:pt idx="67">
                  <c:v>39919</c:v>
                </c:pt>
                <c:pt idx="68">
                  <c:v>39920</c:v>
                </c:pt>
                <c:pt idx="69">
                  <c:v>39923</c:v>
                </c:pt>
                <c:pt idx="70">
                  <c:v>39924</c:v>
                </c:pt>
                <c:pt idx="71">
                  <c:v>39925</c:v>
                </c:pt>
                <c:pt idx="72">
                  <c:v>39926</c:v>
                </c:pt>
                <c:pt idx="73">
                  <c:v>39927</c:v>
                </c:pt>
                <c:pt idx="74">
                  <c:v>39930</c:v>
                </c:pt>
                <c:pt idx="75">
                  <c:v>39931</c:v>
                </c:pt>
                <c:pt idx="76">
                  <c:v>39932</c:v>
                </c:pt>
                <c:pt idx="77">
                  <c:v>39933</c:v>
                </c:pt>
                <c:pt idx="78">
                  <c:v>39937</c:v>
                </c:pt>
                <c:pt idx="79">
                  <c:v>39938</c:v>
                </c:pt>
                <c:pt idx="80">
                  <c:v>39939</c:v>
                </c:pt>
                <c:pt idx="81">
                  <c:v>39940</c:v>
                </c:pt>
                <c:pt idx="82">
                  <c:v>39941</c:v>
                </c:pt>
                <c:pt idx="83">
                  <c:v>39944</c:v>
                </c:pt>
                <c:pt idx="84">
                  <c:v>39945</c:v>
                </c:pt>
                <c:pt idx="85">
                  <c:v>39946</c:v>
                </c:pt>
                <c:pt idx="86">
                  <c:v>39947</c:v>
                </c:pt>
                <c:pt idx="87">
                  <c:v>39948</c:v>
                </c:pt>
                <c:pt idx="88">
                  <c:v>39951</c:v>
                </c:pt>
                <c:pt idx="89">
                  <c:v>39952</c:v>
                </c:pt>
                <c:pt idx="90">
                  <c:v>39953</c:v>
                </c:pt>
                <c:pt idx="91">
                  <c:v>39954</c:v>
                </c:pt>
                <c:pt idx="92">
                  <c:v>39955</c:v>
                </c:pt>
                <c:pt idx="93">
                  <c:v>39958</c:v>
                </c:pt>
                <c:pt idx="94">
                  <c:v>39959</c:v>
                </c:pt>
                <c:pt idx="95">
                  <c:v>39960</c:v>
                </c:pt>
                <c:pt idx="96">
                  <c:v>39965</c:v>
                </c:pt>
                <c:pt idx="97">
                  <c:v>39966</c:v>
                </c:pt>
                <c:pt idx="98">
                  <c:v>39967</c:v>
                </c:pt>
                <c:pt idx="99">
                  <c:v>39968</c:v>
                </c:pt>
                <c:pt idx="100">
                  <c:v>39969</c:v>
                </c:pt>
                <c:pt idx="101">
                  <c:v>39972</c:v>
                </c:pt>
                <c:pt idx="102">
                  <c:v>39973</c:v>
                </c:pt>
                <c:pt idx="103">
                  <c:v>39974</c:v>
                </c:pt>
                <c:pt idx="104">
                  <c:v>39975</c:v>
                </c:pt>
                <c:pt idx="105">
                  <c:v>39976</c:v>
                </c:pt>
                <c:pt idx="106">
                  <c:v>39979</c:v>
                </c:pt>
                <c:pt idx="107">
                  <c:v>39980</c:v>
                </c:pt>
                <c:pt idx="108">
                  <c:v>39981</c:v>
                </c:pt>
                <c:pt idx="109">
                  <c:v>39982</c:v>
                </c:pt>
                <c:pt idx="110">
                  <c:v>39983</c:v>
                </c:pt>
                <c:pt idx="111">
                  <c:v>39986</c:v>
                </c:pt>
                <c:pt idx="112">
                  <c:v>39987</c:v>
                </c:pt>
                <c:pt idx="113">
                  <c:v>39988</c:v>
                </c:pt>
                <c:pt idx="114">
                  <c:v>39989</c:v>
                </c:pt>
                <c:pt idx="115">
                  <c:v>39990</c:v>
                </c:pt>
                <c:pt idx="116">
                  <c:v>39993</c:v>
                </c:pt>
                <c:pt idx="117">
                  <c:v>39994</c:v>
                </c:pt>
                <c:pt idx="118">
                  <c:v>39995</c:v>
                </c:pt>
                <c:pt idx="119">
                  <c:v>39996</c:v>
                </c:pt>
                <c:pt idx="120">
                  <c:v>39997</c:v>
                </c:pt>
                <c:pt idx="121">
                  <c:v>40000</c:v>
                </c:pt>
                <c:pt idx="122">
                  <c:v>40001</c:v>
                </c:pt>
                <c:pt idx="123">
                  <c:v>40002</c:v>
                </c:pt>
                <c:pt idx="124">
                  <c:v>40003</c:v>
                </c:pt>
                <c:pt idx="125">
                  <c:v>40004</c:v>
                </c:pt>
                <c:pt idx="126">
                  <c:v>40007</c:v>
                </c:pt>
                <c:pt idx="127">
                  <c:v>40008</c:v>
                </c:pt>
                <c:pt idx="128">
                  <c:v>40009</c:v>
                </c:pt>
                <c:pt idx="129">
                  <c:v>40010</c:v>
                </c:pt>
                <c:pt idx="130">
                  <c:v>40011</c:v>
                </c:pt>
                <c:pt idx="131">
                  <c:v>40014</c:v>
                </c:pt>
                <c:pt idx="132">
                  <c:v>40015</c:v>
                </c:pt>
                <c:pt idx="133">
                  <c:v>40016</c:v>
                </c:pt>
                <c:pt idx="134">
                  <c:v>40017</c:v>
                </c:pt>
                <c:pt idx="135">
                  <c:v>40018</c:v>
                </c:pt>
                <c:pt idx="136">
                  <c:v>40021</c:v>
                </c:pt>
                <c:pt idx="137">
                  <c:v>40022</c:v>
                </c:pt>
                <c:pt idx="138">
                  <c:v>40023</c:v>
                </c:pt>
                <c:pt idx="139">
                  <c:v>40024</c:v>
                </c:pt>
                <c:pt idx="140">
                  <c:v>40025</c:v>
                </c:pt>
                <c:pt idx="141">
                  <c:v>40028</c:v>
                </c:pt>
                <c:pt idx="142">
                  <c:v>40029</c:v>
                </c:pt>
                <c:pt idx="143">
                  <c:v>40030</c:v>
                </c:pt>
                <c:pt idx="144">
                  <c:v>40031</c:v>
                </c:pt>
                <c:pt idx="145">
                  <c:v>40032</c:v>
                </c:pt>
                <c:pt idx="146">
                  <c:v>40035</c:v>
                </c:pt>
                <c:pt idx="147">
                  <c:v>40036</c:v>
                </c:pt>
                <c:pt idx="148">
                  <c:v>40037</c:v>
                </c:pt>
                <c:pt idx="149">
                  <c:v>40038</c:v>
                </c:pt>
                <c:pt idx="150">
                  <c:v>40039</c:v>
                </c:pt>
                <c:pt idx="151">
                  <c:v>40042</c:v>
                </c:pt>
                <c:pt idx="152">
                  <c:v>40043</c:v>
                </c:pt>
                <c:pt idx="153">
                  <c:v>40044</c:v>
                </c:pt>
                <c:pt idx="154">
                  <c:v>40045</c:v>
                </c:pt>
                <c:pt idx="155">
                  <c:v>40046</c:v>
                </c:pt>
                <c:pt idx="156">
                  <c:v>40049</c:v>
                </c:pt>
                <c:pt idx="157">
                  <c:v>40050</c:v>
                </c:pt>
                <c:pt idx="158">
                  <c:v>40051</c:v>
                </c:pt>
                <c:pt idx="159">
                  <c:v>40052</c:v>
                </c:pt>
                <c:pt idx="160">
                  <c:v>40053</c:v>
                </c:pt>
                <c:pt idx="161">
                  <c:v>40056</c:v>
                </c:pt>
                <c:pt idx="162">
                  <c:v>40057</c:v>
                </c:pt>
                <c:pt idx="163">
                  <c:v>40058</c:v>
                </c:pt>
                <c:pt idx="164">
                  <c:v>40059</c:v>
                </c:pt>
                <c:pt idx="165">
                  <c:v>40060</c:v>
                </c:pt>
                <c:pt idx="166">
                  <c:v>40063</c:v>
                </c:pt>
                <c:pt idx="167">
                  <c:v>40064</c:v>
                </c:pt>
                <c:pt idx="168">
                  <c:v>40065</c:v>
                </c:pt>
                <c:pt idx="169">
                  <c:v>40066</c:v>
                </c:pt>
                <c:pt idx="170">
                  <c:v>40067</c:v>
                </c:pt>
                <c:pt idx="171">
                  <c:v>40070</c:v>
                </c:pt>
                <c:pt idx="172">
                  <c:v>40071</c:v>
                </c:pt>
                <c:pt idx="173">
                  <c:v>40072</c:v>
                </c:pt>
                <c:pt idx="174">
                  <c:v>40073</c:v>
                </c:pt>
                <c:pt idx="175">
                  <c:v>40074</c:v>
                </c:pt>
                <c:pt idx="176">
                  <c:v>40077</c:v>
                </c:pt>
                <c:pt idx="177">
                  <c:v>40078</c:v>
                </c:pt>
                <c:pt idx="178">
                  <c:v>40079</c:v>
                </c:pt>
                <c:pt idx="179">
                  <c:v>40080</c:v>
                </c:pt>
                <c:pt idx="180">
                  <c:v>40081</c:v>
                </c:pt>
                <c:pt idx="181">
                  <c:v>40084</c:v>
                </c:pt>
                <c:pt idx="182">
                  <c:v>40085</c:v>
                </c:pt>
                <c:pt idx="183">
                  <c:v>40086</c:v>
                </c:pt>
                <c:pt idx="184">
                  <c:v>40095</c:v>
                </c:pt>
                <c:pt idx="185">
                  <c:v>40098</c:v>
                </c:pt>
                <c:pt idx="186">
                  <c:v>40099</c:v>
                </c:pt>
                <c:pt idx="187">
                  <c:v>40100</c:v>
                </c:pt>
                <c:pt idx="188">
                  <c:v>40101</c:v>
                </c:pt>
                <c:pt idx="189">
                  <c:v>40102</c:v>
                </c:pt>
                <c:pt idx="190">
                  <c:v>40105</c:v>
                </c:pt>
                <c:pt idx="191">
                  <c:v>40106</c:v>
                </c:pt>
                <c:pt idx="192">
                  <c:v>40107</c:v>
                </c:pt>
                <c:pt idx="193">
                  <c:v>40108</c:v>
                </c:pt>
                <c:pt idx="194">
                  <c:v>40109</c:v>
                </c:pt>
                <c:pt idx="195">
                  <c:v>40112</c:v>
                </c:pt>
                <c:pt idx="196">
                  <c:v>40113</c:v>
                </c:pt>
                <c:pt idx="197">
                  <c:v>40114</c:v>
                </c:pt>
                <c:pt idx="198">
                  <c:v>40115</c:v>
                </c:pt>
                <c:pt idx="199">
                  <c:v>40116</c:v>
                </c:pt>
                <c:pt idx="200">
                  <c:v>40119</c:v>
                </c:pt>
                <c:pt idx="201">
                  <c:v>40120</c:v>
                </c:pt>
                <c:pt idx="202">
                  <c:v>40121</c:v>
                </c:pt>
                <c:pt idx="203">
                  <c:v>40122</c:v>
                </c:pt>
                <c:pt idx="204">
                  <c:v>40123</c:v>
                </c:pt>
                <c:pt idx="205">
                  <c:v>40126</c:v>
                </c:pt>
                <c:pt idx="206">
                  <c:v>40127</c:v>
                </c:pt>
                <c:pt idx="207">
                  <c:v>40128</c:v>
                </c:pt>
                <c:pt idx="208">
                  <c:v>40129</c:v>
                </c:pt>
                <c:pt idx="209">
                  <c:v>40130</c:v>
                </c:pt>
                <c:pt idx="210">
                  <c:v>40133</c:v>
                </c:pt>
                <c:pt idx="211">
                  <c:v>40134</c:v>
                </c:pt>
                <c:pt idx="212">
                  <c:v>40135</c:v>
                </c:pt>
                <c:pt idx="213">
                  <c:v>40136</c:v>
                </c:pt>
                <c:pt idx="214">
                  <c:v>40137</c:v>
                </c:pt>
                <c:pt idx="215">
                  <c:v>40140</c:v>
                </c:pt>
                <c:pt idx="216">
                  <c:v>40141</c:v>
                </c:pt>
                <c:pt idx="217">
                  <c:v>40142</c:v>
                </c:pt>
                <c:pt idx="218">
                  <c:v>40143</c:v>
                </c:pt>
                <c:pt idx="219">
                  <c:v>40144</c:v>
                </c:pt>
                <c:pt idx="220">
                  <c:v>40147</c:v>
                </c:pt>
                <c:pt idx="221">
                  <c:v>40148</c:v>
                </c:pt>
                <c:pt idx="222">
                  <c:v>40149</c:v>
                </c:pt>
                <c:pt idx="223">
                  <c:v>40150</c:v>
                </c:pt>
                <c:pt idx="224">
                  <c:v>40151</c:v>
                </c:pt>
                <c:pt idx="225">
                  <c:v>40154</c:v>
                </c:pt>
                <c:pt idx="226">
                  <c:v>40155</c:v>
                </c:pt>
                <c:pt idx="227">
                  <c:v>40156</c:v>
                </c:pt>
                <c:pt idx="228">
                  <c:v>40157</c:v>
                </c:pt>
                <c:pt idx="229">
                  <c:v>40158</c:v>
                </c:pt>
                <c:pt idx="230">
                  <c:v>40161</c:v>
                </c:pt>
                <c:pt idx="231">
                  <c:v>40162</c:v>
                </c:pt>
                <c:pt idx="232">
                  <c:v>40163</c:v>
                </c:pt>
                <c:pt idx="233">
                  <c:v>40164</c:v>
                </c:pt>
                <c:pt idx="234">
                  <c:v>40165</c:v>
                </c:pt>
                <c:pt idx="235">
                  <c:v>40168</c:v>
                </c:pt>
                <c:pt idx="236">
                  <c:v>40169</c:v>
                </c:pt>
                <c:pt idx="237">
                  <c:v>40170</c:v>
                </c:pt>
                <c:pt idx="238">
                  <c:v>40171</c:v>
                </c:pt>
                <c:pt idx="239">
                  <c:v>40172</c:v>
                </c:pt>
                <c:pt idx="240">
                  <c:v>40175</c:v>
                </c:pt>
                <c:pt idx="241">
                  <c:v>40176</c:v>
                </c:pt>
                <c:pt idx="242">
                  <c:v>40177</c:v>
                </c:pt>
                <c:pt idx="243">
                  <c:v>40178</c:v>
                </c:pt>
                <c:pt idx="244">
                  <c:v>40182</c:v>
                </c:pt>
                <c:pt idx="245">
                  <c:v>40183</c:v>
                </c:pt>
                <c:pt idx="246">
                  <c:v>40184</c:v>
                </c:pt>
                <c:pt idx="247">
                  <c:v>40185</c:v>
                </c:pt>
                <c:pt idx="248">
                  <c:v>40186</c:v>
                </c:pt>
                <c:pt idx="249">
                  <c:v>40189</c:v>
                </c:pt>
                <c:pt idx="250">
                  <c:v>40190</c:v>
                </c:pt>
                <c:pt idx="251">
                  <c:v>40191</c:v>
                </c:pt>
                <c:pt idx="252">
                  <c:v>40192</c:v>
                </c:pt>
                <c:pt idx="253">
                  <c:v>40193</c:v>
                </c:pt>
                <c:pt idx="254">
                  <c:v>40196</c:v>
                </c:pt>
                <c:pt idx="255">
                  <c:v>40197</c:v>
                </c:pt>
                <c:pt idx="256">
                  <c:v>40198</c:v>
                </c:pt>
                <c:pt idx="257">
                  <c:v>40199</c:v>
                </c:pt>
                <c:pt idx="258">
                  <c:v>40200</c:v>
                </c:pt>
                <c:pt idx="259">
                  <c:v>40203</c:v>
                </c:pt>
                <c:pt idx="260">
                  <c:v>40204</c:v>
                </c:pt>
                <c:pt idx="261">
                  <c:v>40205</c:v>
                </c:pt>
                <c:pt idx="262">
                  <c:v>40206</c:v>
                </c:pt>
                <c:pt idx="263">
                  <c:v>40207</c:v>
                </c:pt>
                <c:pt idx="264">
                  <c:v>40210</c:v>
                </c:pt>
                <c:pt idx="265">
                  <c:v>40211</c:v>
                </c:pt>
                <c:pt idx="266">
                  <c:v>40212</c:v>
                </c:pt>
                <c:pt idx="267">
                  <c:v>40213</c:v>
                </c:pt>
                <c:pt idx="268">
                  <c:v>40214</c:v>
                </c:pt>
                <c:pt idx="269">
                  <c:v>40217</c:v>
                </c:pt>
                <c:pt idx="270">
                  <c:v>40218</c:v>
                </c:pt>
                <c:pt idx="271">
                  <c:v>40219</c:v>
                </c:pt>
                <c:pt idx="272">
                  <c:v>40220</c:v>
                </c:pt>
                <c:pt idx="273">
                  <c:v>40221</c:v>
                </c:pt>
                <c:pt idx="274">
                  <c:v>40231</c:v>
                </c:pt>
                <c:pt idx="275">
                  <c:v>40232</c:v>
                </c:pt>
                <c:pt idx="276">
                  <c:v>40233</c:v>
                </c:pt>
                <c:pt idx="277">
                  <c:v>40234</c:v>
                </c:pt>
                <c:pt idx="278">
                  <c:v>40235</c:v>
                </c:pt>
                <c:pt idx="279">
                  <c:v>40238</c:v>
                </c:pt>
                <c:pt idx="280">
                  <c:v>40239</c:v>
                </c:pt>
                <c:pt idx="281">
                  <c:v>40240</c:v>
                </c:pt>
                <c:pt idx="282">
                  <c:v>40241</c:v>
                </c:pt>
                <c:pt idx="283">
                  <c:v>40242</c:v>
                </c:pt>
                <c:pt idx="284">
                  <c:v>40245</c:v>
                </c:pt>
                <c:pt idx="285">
                  <c:v>40246</c:v>
                </c:pt>
                <c:pt idx="286">
                  <c:v>40247</c:v>
                </c:pt>
                <c:pt idx="287">
                  <c:v>40248</c:v>
                </c:pt>
                <c:pt idx="288">
                  <c:v>40249</c:v>
                </c:pt>
                <c:pt idx="289">
                  <c:v>40252</c:v>
                </c:pt>
                <c:pt idx="290">
                  <c:v>40253</c:v>
                </c:pt>
                <c:pt idx="291">
                  <c:v>40254</c:v>
                </c:pt>
                <c:pt idx="292">
                  <c:v>40255</c:v>
                </c:pt>
                <c:pt idx="293">
                  <c:v>40256</c:v>
                </c:pt>
                <c:pt idx="294">
                  <c:v>40259</c:v>
                </c:pt>
                <c:pt idx="295">
                  <c:v>40260</c:v>
                </c:pt>
                <c:pt idx="296">
                  <c:v>40261</c:v>
                </c:pt>
                <c:pt idx="297">
                  <c:v>40262</c:v>
                </c:pt>
                <c:pt idx="298">
                  <c:v>40263</c:v>
                </c:pt>
                <c:pt idx="299">
                  <c:v>40266</c:v>
                </c:pt>
                <c:pt idx="300">
                  <c:v>40267</c:v>
                </c:pt>
                <c:pt idx="301">
                  <c:v>40268</c:v>
                </c:pt>
                <c:pt idx="302">
                  <c:v>40269</c:v>
                </c:pt>
                <c:pt idx="303">
                  <c:v>40270</c:v>
                </c:pt>
                <c:pt idx="304">
                  <c:v>40274</c:v>
                </c:pt>
                <c:pt idx="305">
                  <c:v>40275</c:v>
                </c:pt>
                <c:pt idx="306">
                  <c:v>40276</c:v>
                </c:pt>
                <c:pt idx="307">
                  <c:v>40277</c:v>
                </c:pt>
                <c:pt idx="308">
                  <c:v>40280</c:v>
                </c:pt>
                <c:pt idx="309">
                  <c:v>40281</c:v>
                </c:pt>
                <c:pt idx="310">
                  <c:v>40282</c:v>
                </c:pt>
                <c:pt idx="311">
                  <c:v>40283</c:v>
                </c:pt>
                <c:pt idx="312">
                  <c:v>40284</c:v>
                </c:pt>
                <c:pt idx="313">
                  <c:v>40287</c:v>
                </c:pt>
                <c:pt idx="314">
                  <c:v>40288</c:v>
                </c:pt>
                <c:pt idx="315">
                  <c:v>40289</c:v>
                </c:pt>
                <c:pt idx="316">
                  <c:v>40290</c:v>
                </c:pt>
                <c:pt idx="317">
                  <c:v>40291</c:v>
                </c:pt>
                <c:pt idx="318">
                  <c:v>40294</c:v>
                </c:pt>
                <c:pt idx="319">
                  <c:v>40295</c:v>
                </c:pt>
                <c:pt idx="320">
                  <c:v>40296</c:v>
                </c:pt>
                <c:pt idx="321">
                  <c:v>40297</c:v>
                </c:pt>
                <c:pt idx="322">
                  <c:v>40298</c:v>
                </c:pt>
                <c:pt idx="323">
                  <c:v>40302</c:v>
                </c:pt>
                <c:pt idx="324">
                  <c:v>40303</c:v>
                </c:pt>
                <c:pt idx="325">
                  <c:v>40304</c:v>
                </c:pt>
                <c:pt idx="326">
                  <c:v>40305</c:v>
                </c:pt>
                <c:pt idx="327">
                  <c:v>40308</c:v>
                </c:pt>
                <c:pt idx="328">
                  <c:v>40309</c:v>
                </c:pt>
                <c:pt idx="329">
                  <c:v>40310</c:v>
                </c:pt>
                <c:pt idx="330">
                  <c:v>40311</c:v>
                </c:pt>
                <c:pt idx="331">
                  <c:v>40312</c:v>
                </c:pt>
                <c:pt idx="332">
                  <c:v>40315</c:v>
                </c:pt>
                <c:pt idx="333">
                  <c:v>40316</c:v>
                </c:pt>
                <c:pt idx="334">
                  <c:v>40317</c:v>
                </c:pt>
                <c:pt idx="335">
                  <c:v>40318</c:v>
                </c:pt>
                <c:pt idx="336">
                  <c:v>40319</c:v>
                </c:pt>
                <c:pt idx="337">
                  <c:v>40322</c:v>
                </c:pt>
                <c:pt idx="338">
                  <c:v>40323</c:v>
                </c:pt>
                <c:pt idx="339">
                  <c:v>40324</c:v>
                </c:pt>
                <c:pt idx="340">
                  <c:v>40325</c:v>
                </c:pt>
                <c:pt idx="341">
                  <c:v>40326</c:v>
                </c:pt>
                <c:pt idx="342">
                  <c:v>40329</c:v>
                </c:pt>
                <c:pt idx="343">
                  <c:v>40330</c:v>
                </c:pt>
                <c:pt idx="344">
                  <c:v>40331</c:v>
                </c:pt>
                <c:pt idx="345">
                  <c:v>40332</c:v>
                </c:pt>
                <c:pt idx="346">
                  <c:v>40333</c:v>
                </c:pt>
                <c:pt idx="347">
                  <c:v>40336</c:v>
                </c:pt>
                <c:pt idx="348">
                  <c:v>40337</c:v>
                </c:pt>
                <c:pt idx="349">
                  <c:v>40338</c:v>
                </c:pt>
                <c:pt idx="350">
                  <c:v>40339</c:v>
                </c:pt>
                <c:pt idx="351">
                  <c:v>40340</c:v>
                </c:pt>
                <c:pt idx="352">
                  <c:v>40346</c:v>
                </c:pt>
                <c:pt idx="353">
                  <c:v>40347</c:v>
                </c:pt>
                <c:pt idx="354">
                  <c:v>40350</c:v>
                </c:pt>
                <c:pt idx="355">
                  <c:v>40351</c:v>
                </c:pt>
                <c:pt idx="356">
                  <c:v>40352</c:v>
                </c:pt>
                <c:pt idx="357">
                  <c:v>40353</c:v>
                </c:pt>
                <c:pt idx="358">
                  <c:v>40354</c:v>
                </c:pt>
                <c:pt idx="359">
                  <c:v>40357</c:v>
                </c:pt>
                <c:pt idx="360">
                  <c:v>40358</c:v>
                </c:pt>
                <c:pt idx="361">
                  <c:v>40359</c:v>
                </c:pt>
                <c:pt idx="362">
                  <c:v>40360</c:v>
                </c:pt>
                <c:pt idx="363">
                  <c:v>40361</c:v>
                </c:pt>
                <c:pt idx="364">
                  <c:v>40364</c:v>
                </c:pt>
                <c:pt idx="365">
                  <c:v>40365</c:v>
                </c:pt>
                <c:pt idx="366">
                  <c:v>40366</c:v>
                </c:pt>
                <c:pt idx="367">
                  <c:v>40367</c:v>
                </c:pt>
                <c:pt idx="368">
                  <c:v>40368</c:v>
                </c:pt>
                <c:pt idx="369">
                  <c:v>40371</c:v>
                </c:pt>
                <c:pt idx="370">
                  <c:v>40372</c:v>
                </c:pt>
                <c:pt idx="371">
                  <c:v>40373</c:v>
                </c:pt>
                <c:pt idx="372">
                  <c:v>40374</c:v>
                </c:pt>
                <c:pt idx="373">
                  <c:v>40375</c:v>
                </c:pt>
                <c:pt idx="374">
                  <c:v>40378</c:v>
                </c:pt>
                <c:pt idx="375">
                  <c:v>40379</c:v>
                </c:pt>
                <c:pt idx="376">
                  <c:v>40380</c:v>
                </c:pt>
                <c:pt idx="377">
                  <c:v>40381</c:v>
                </c:pt>
                <c:pt idx="378">
                  <c:v>40382</c:v>
                </c:pt>
                <c:pt idx="379">
                  <c:v>40385</c:v>
                </c:pt>
                <c:pt idx="380">
                  <c:v>40386</c:v>
                </c:pt>
                <c:pt idx="381">
                  <c:v>40387</c:v>
                </c:pt>
                <c:pt idx="382">
                  <c:v>40388</c:v>
                </c:pt>
                <c:pt idx="383">
                  <c:v>40389</c:v>
                </c:pt>
                <c:pt idx="384">
                  <c:v>40392</c:v>
                </c:pt>
                <c:pt idx="385">
                  <c:v>40393</c:v>
                </c:pt>
                <c:pt idx="386">
                  <c:v>40394</c:v>
                </c:pt>
                <c:pt idx="387">
                  <c:v>40395</c:v>
                </c:pt>
                <c:pt idx="388">
                  <c:v>40396</c:v>
                </c:pt>
                <c:pt idx="389">
                  <c:v>40399</c:v>
                </c:pt>
                <c:pt idx="390">
                  <c:v>40400</c:v>
                </c:pt>
                <c:pt idx="391">
                  <c:v>40401</c:v>
                </c:pt>
                <c:pt idx="392">
                  <c:v>40402</c:v>
                </c:pt>
                <c:pt idx="393">
                  <c:v>40403</c:v>
                </c:pt>
                <c:pt idx="394">
                  <c:v>40406</c:v>
                </c:pt>
                <c:pt idx="395">
                  <c:v>40407</c:v>
                </c:pt>
                <c:pt idx="396">
                  <c:v>40408</c:v>
                </c:pt>
                <c:pt idx="397">
                  <c:v>40409</c:v>
                </c:pt>
                <c:pt idx="398">
                  <c:v>40410</c:v>
                </c:pt>
                <c:pt idx="399">
                  <c:v>40413</c:v>
                </c:pt>
                <c:pt idx="400">
                  <c:v>40414</c:v>
                </c:pt>
                <c:pt idx="401">
                  <c:v>40415</c:v>
                </c:pt>
                <c:pt idx="402">
                  <c:v>40416</c:v>
                </c:pt>
                <c:pt idx="403">
                  <c:v>40417</c:v>
                </c:pt>
                <c:pt idx="404">
                  <c:v>40420</c:v>
                </c:pt>
                <c:pt idx="405">
                  <c:v>40421</c:v>
                </c:pt>
                <c:pt idx="406">
                  <c:v>40422</c:v>
                </c:pt>
                <c:pt idx="407">
                  <c:v>40423</c:v>
                </c:pt>
                <c:pt idx="408">
                  <c:v>40424</c:v>
                </c:pt>
                <c:pt idx="409">
                  <c:v>40427</c:v>
                </c:pt>
                <c:pt idx="410">
                  <c:v>40428</c:v>
                </c:pt>
                <c:pt idx="411">
                  <c:v>40429</c:v>
                </c:pt>
                <c:pt idx="412">
                  <c:v>40430</c:v>
                </c:pt>
                <c:pt idx="413">
                  <c:v>40431</c:v>
                </c:pt>
                <c:pt idx="414">
                  <c:v>40434</c:v>
                </c:pt>
                <c:pt idx="415">
                  <c:v>40435</c:v>
                </c:pt>
                <c:pt idx="416">
                  <c:v>40436</c:v>
                </c:pt>
                <c:pt idx="417">
                  <c:v>40437</c:v>
                </c:pt>
                <c:pt idx="418">
                  <c:v>40438</c:v>
                </c:pt>
                <c:pt idx="419">
                  <c:v>40441</c:v>
                </c:pt>
                <c:pt idx="420">
                  <c:v>40442</c:v>
                </c:pt>
                <c:pt idx="421">
                  <c:v>40448</c:v>
                </c:pt>
                <c:pt idx="422">
                  <c:v>40449</c:v>
                </c:pt>
                <c:pt idx="423">
                  <c:v>40450</c:v>
                </c:pt>
                <c:pt idx="424">
                  <c:v>40451</c:v>
                </c:pt>
                <c:pt idx="425">
                  <c:v>40459</c:v>
                </c:pt>
                <c:pt idx="426">
                  <c:v>40462</c:v>
                </c:pt>
                <c:pt idx="427">
                  <c:v>40463</c:v>
                </c:pt>
                <c:pt idx="428">
                  <c:v>40464</c:v>
                </c:pt>
                <c:pt idx="429">
                  <c:v>40465</c:v>
                </c:pt>
                <c:pt idx="430">
                  <c:v>40466</c:v>
                </c:pt>
                <c:pt idx="431">
                  <c:v>40469</c:v>
                </c:pt>
                <c:pt idx="432">
                  <c:v>40470</c:v>
                </c:pt>
                <c:pt idx="433">
                  <c:v>40471</c:v>
                </c:pt>
                <c:pt idx="434">
                  <c:v>40472</c:v>
                </c:pt>
                <c:pt idx="435">
                  <c:v>40473</c:v>
                </c:pt>
                <c:pt idx="436">
                  <c:v>40476</c:v>
                </c:pt>
                <c:pt idx="437">
                  <c:v>40477</c:v>
                </c:pt>
                <c:pt idx="438">
                  <c:v>40478</c:v>
                </c:pt>
                <c:pt idx="439">
                  <c:v>40479</c:v>
                </c:pt>
                <c:pt idx="440">
                  <c:v>40480</c:v>
                </c:pt>
                <c:pt idx="441">
                  <c:v>40483</c:v>
                </c:pt>
                <c:pt idx="442">
                  <c:v>40484</c:v>
                </c:pt>
                <c:pt idx="443">
                  <c:v>40485</c:v>
                </c:pt>
                <c:pt idx="444">
                  <c:v>40486</c:v>
                </c:pt>
                <c:pt idx="445">
                  <c:v>40487</c:v>
                </c:pt>
                <c:pt idx="446">
                  <c:v>40490</c:v>
                </c:pt>
                <c:pt idx="447">
                  <c:v>40491</c:v>
                </c:pt>
                <c:pt idx="448">
                  <c:v>40492</c:v>
                </c:pt>
                <c:pt idx="449">
                  <c:v>40493</c:v>
                </c:pt>
                <c:pt idx="450">
                  <c:v>40494</c:v>
                </c:pt>
                <c:pt idx="451">
                  <c:v>40497</c:v>
                </c:pt>
                <c:pt idx="452">
                  <c:v>40498</c:v>
                </c:pt>
                <c:pt idx="453">
                  <c:v>40499</c:v>
                </c:pt>
                <c:pt idx="454">
                  <c:v>40500</c:v>
                </c:pt>
                <c:pt idx="455">
                  <c:v>40501</c:v>
                </c:pt>
                <c:pt idx="456">
                  <c:v>40504</c:v>
                </c:pt>
                <c:pt idx="457">
                  <c:v>40505</c:v>
                </c:pt>
                <c:pt idx="458">
                  <c:v>40506</c:v>
                </c:pt>
                <c:pt idx="459">
                  <c:v>40507</c:v>
                </c:pt>
                <c:pt idx="460">
                  <c:v>40508</c:v>
                </c:pt>
                <c:pt idx="461">
                  <c:v>40511</c:v>
                </c:pt>
                <c:pt idx="462">
                  <c:v>40512</c:v>
                </c:pt>
                <c:pt idx="463">
                  <c:v>40513</c:v>
                </c:pt>
                <c:pt idx="464">
                  <c:v>40514</c:v>
                </c:pt>
                <c:pt idx="465">
                  <c:v>40515</c:v>
                </c:pt>
                <c:pt idx="466">
                  <c:v>40518</c:v>
                </c:pt>
                <c:pt idx="467">
                  <c:v>40519</c:v>
                </c:pt>
                <c:pt idx="468">
                  <c:v>40520</c:v>
                </c:pt>
                <c:pt idx="469">
                  <c:v>40521</c:v>
                </c:pt>
                <c:pt idx="470">
                  <c:v>40522</c:v>
                </c:pt>
                <c:pt idx="471">
                  <c:v>40525</c:v>
                </c:pt>
                <c:pt idx="472">
                  <c:v>40526</c:v>
                </c:pt>
                <c:pt idx="473">
                  <c:v>40527</c:v>
                </c:pt>
                <c:pt idx="474">
                  <c:v>40528</c:v>
                </c:pt>
                <c:pt idx="475">
                  <c:v>40529</c:v>
                </c:pt>
                <c:pt idx="476">
                  <c:v>40532</c:v>
                </c:pt>
                <c:pt idx="477">
                  <c:v>40533</c:v>
                </c:pt>
                <c:pt idx="478">
                  <c:v>40534</c:v>
                </c:pt>
                <c:pt idx="479">
                  <c:v>40535</c:v>
                </c:pt>
                <c:pt idx="480">
                  <c:v>40536</c:v>
                </c:pt>
                <c:pt idx="481">
                  <c:v>40539</c:v>
                </c:pt>
                <c:pt idx="482">
                  <c:v>40540</c:v>
                </c:pt>
                <c:pt idx="483">
                  <c:v>40541</c:v>
                </c:pt>
                <c:pt idx="484">
                  <c:v>40542</c:v>
                </c:pt>
                <c:pt idx="485">
                  <c:v>40543</c:v>
                </c:pt>
                <c:pt idx="486">
                  <c:v>40547</c:v>
                </c:pt>
                <c:pt idx="487">
                  <c:v>40548</c:v>
                </c:pt>
                <c:pt idx="488">
                  <c:v>40549</c:v>
                </c:pt>
                <c:pt idx="489">
                  <c:v>40550</c:v>
                </c:pt>
                <c:pt idx="490">
                  <c:v>40553</c:v>
                </c:pt>
                <c:pt idx="491">
                  <c:v>40554</c:v>
                </c:pt>
                <c:pt idx="492">
                  <c:v>40555</c:v>
                </c:pt>
                <c:pt idx="493">
                  <c:v>40556</c:v>
                </c:pt>
                <c:pt idx="494">
                  <c:v>40557</c:v>
                </c:pt>
                <c:pt idx="495">
                  <c:v>40560</c:v>
                </c:pt>
                <c:pt idx="496">
                  <c:v>40561</c:v>
                </c:pt>
                <c:pt idx="497">
                  <c:v>40562</c:v>
                </c:pt>
                <c:pt idx="498">
                  <c:v>40563</c:v>
                </c:pt>
                <c:pt idx="499">
                  <c:v>40564</c:v>
                </c:pt>
                <c:pt idx="500">
                  <c:v>40567</c:v>
                </c:pt>
                <c:pt idx="501">
                  <c:v>40568</c:v>
                </c:pt>
                <c:pt idx="502">
                  <c:v>40569</c:v>
                </c:pt>
                <c:pt idx="503">
                  <c:v>40570</c:v>
                </c:pt>
                <c:pt idx="504">
                  <c:v>40571</c:v>
                </c:pt>
                <c:pt idx="505">
                  <c:v>40574</c:v>
                </c:pt>
                <c:pt idx="506">
                  <c:v>40575</c:v>
                </c:pt>
                <c:pt idx="507">
                  <c:v>40583</c:v>
                </c:pt>
                <c:pt idx="508">
                  <c:v>40584</c:v>
                </c:pt>
                <c:pt idx="509">
                  <c:v>40585</c:v>
                </c:pt>
                <c:pt idx="510">
                  <c:v>40588</c:v>
                </c:pt>
                <c:pt idx="511">
                  <c:v>40589</c:v>
                </c:pt>
                <c:pt idx="512">
                  <c:v>40590</c:v>
                </c:pt>
                <c:pt idx="513">
                  <c:v>40591</c:v>
                </c:pt>
                <c:pt idx="514">
                  <c:v>40592</c:v>
                </c:pt>
                <c:pt idx="515">
                  <c:v>40595</c:v>
                </c:pt>
                <c:pt idx="516">
                  <c:v>40596</c:v>
                </c:pt>
                <c:pt idx="517">
                  <c:v>40597</c:v>
                </c:pt>
                <c:pt idx="518">
                  <c:v>40598</c:v>
                </c:pt>
                <c:pt idx="519">
                  <c:v>40599</c:v>
                </c:pt>
                <c:pt idx="520">
                  <c:v>40602</c:v>
                </c:pt>
                <c:pt idx="521">
                  <c:v>40603</c:v>
                </c:pt>
                <c:pt idx="522">
                  <c:v>40604</c:v>
                </c:pt>
                <c:pt idx="523">
                  <c:v>40605</c:v>
                </c:pt>
                <c:pt idx="524">
                  <c:v>40606</c:v>
                </c:pt>
                <c:pt idx="525">
                  <c:v>40609</c:v>
                </c:pt>
                <c:pt idx="526">
                  <c:v>40610</c:v>
                </c:pt>
                <c:pt idx="527">
                  <c:v>40611</c:v>
                </c:pt>
                <c:pt idx="528">
                  <c:v>40612</c:v>
                </c:pt>
                <c:pt idx="529">
                  <c:v>40613</c:v>
                </c:pt>
                <c:pt idx="530">
                  <c:v>40616</c:v>
                </c:pt>
                <c:pt idx="531">
                  <c:v>40617</c:v>
                </c:pt>
                <c:pt idx="532">
                  <c:v>40618</c:v>
                </c:pt>
                <c:pt idx="533">
                  <c:v>40619</c:v>
                </c:pt>
                <c:pt idx="534">
                  <c:v>40620</c:v>
                </c:pt>
                <c:pt idx="535">
                  <c:v>40623</c:v>
                </c:pt>
                <c:pt idx="536">
                  <c:v>40624</c:v>
                </c:pt>
                <c:pt idx="537">
                  <c:v>40625</c:v>
                </c:pt>
                <c:pt idx="538">
                  <c:v>40626</c:v>
                </c:pt>
                <c:pt idx="539">
                  <c:v>40627</c:v>
                </c:pt>
                <c:pt idx="540">
                  <c:v>40630</c:v>
                </c:pt>
                <c:pt idx="541">
                  <c:v>40631</c:v>
                </c:pt>
                <c:pt idx="542">
                  <c:v>40632</c:v>
                </c:pt>
                <c:pt idx="543">
                  <c:v>40633</c:v>
                </c:pt>
                <c:pt idx="544">
                  <c:v>40634</c:v>
                </c:pt>
                <c:pt idx="545">
                  <c:v>40639</c:v>
                </c:pt>
                <c:pt idx="546">
                  <c:v>40640</c:v>
                </c:pt>
                <c:pt idx="547">
                  <c:v>40641</c:v>
                </c:pt>
                <c:pt idx="548">
                  <c:v>40644</c:v>
                </c:pt>
                <c:pt idx="549">
                  <c:v>40645</c:v>
                </c:pt>
                <c:pt idx="550">
                  <c:v>40646</c:v>
                </c:pt>
                <c:pt idx="551">
                  <c:v>40647</c:v>
                </c:pt>
                <c:pt idx="552">
                  <c:v>40648</c:v>
                </c:pt>
                <c:pt idx="553">
                  <c:v>40651</c:v>
                </c:pt>
                <c:pt idx="554">
                  <c:v>40652</c:v>
                </c:pt>
                <c:pt idx="555">
                  <c:v>40653</c:v>
                </c:pt>
                <c:pt idx="556">
                  <c:v>40654</c:v>
                </c:pt>
                <c:pt idx="557">
                  <c:v>40655</c:v>
                </c:pt>
                <c:pt idx="558">
                  <c:v>40658</c:v>
                </c:pt>
                <c:pt idx="559">
                  <c:v>40659</c:v>
                </c:pt>
                <c:pt idx="560">
                  <c:v>40660</c:v>
                </c:pt>
                <c:pt idx="561">
                  <c:v>40661</c:v>
                </c:pt>
                <c:pt idx="562">
                  <c:v>40662</c:v>
                </c:pt>
                <c:pt idx="563">
                  <c:v>40666</c:v>
                </c:pt>
                <c:pt idx="564">
                  <c:v>40667</c:v>
                </c:pt>
                <c:pt idx="565">
                  <c:v>40668</c:v>
                </c:pt>
                <c:pt idx="566">
                  <c:v>40669</c:v>
                </c:pt>
                <c:pt idx="567">
                  <c:v>40672</c:v>
                </c:pt>
                <c:pt idx="568">
                  <c:v>40673</c:v>
                </c:pt>
                <c:pt idx="569">
                  <c:v>40674</c:v>
                </c:pt>
                <c:pt idx="570">
                  <c:v>40675</c:v>
                </c:pt>
                <c:pt idx="571">
                  <c:v>40676</c:v>
                </c:pt>
                <c:pt idx="572">
                  <c:v>40679</c:v>
                </c:pt>
                <c:pt idx="573">
                  <c:v>40680</c:v>
                </c:pt>
                <c:pt idx="574">
                  <c:v>40681</c:v>
                </c:pt>
                <c:pt idx="575">
                  <c:v>40682</c:v>
                </c:pt>
                <c:pt idx="576">
                  <c:v>40683</c:v>
                </c:pt>
                <c:pt idx="577">
                  <c:v>40686</c:v>
                </c:pt>
                <c:pt idx="578">
                  <c:v>40687</c:v>
                </c:pt>
                <c:pt idx="579">
                  <c:v>40688</c:v>
                </c:pt>
                <c:pt idx="580">
                  <c:v>40689</c:v>
                </c:pt>
                <c:pt idx="581">
                  <c:v>40690</c:v>
                </c:pt>
                <c:pt idx="582">
                  <c:v>40693</c:v>
                </c:pt>
                <c:pt idx="583">
                  <c:v>40694</c:v>
                </c:pt>
                <c:pt idx="584">
                  <c:v>40695</c:v>
                </c:pt>
                <c:pt idx="585">
                  <c:v>40696</c:v>
                </c:pt>
                <c:pt idx="586">
                  <c:v>40697</c:v>
                </c:pt>
                <c:pt idx="587">
                  <c:v>40701</c:v>
                </c:pt>
                <c:pt idx="588">
                  <c:v>40702</c:v>
                </c:pt>
                <c:pt idx="589">
                  <c:v>40703</c:v>
                </c:pt>
                <c:pt idx="590">
                  <c:v>40704</c:v>
                </c:pt>
                <c:pt idx="591">
                  <c:v>40707</c:v>
                </c:pt>
                <c:pt idx="592">
                  <c:v>40708</c:v>
                </c:pt>
                <c:pt idx="593">
                  <c:v>40709</c:v>
                </c:pt>
                <c:pt idx="594">
                  <c:v>40710</c:v>
                </c:pt>
                <c:pt idx="595">
                  <c:v>40711</c:v>
                </c:pt>
                <c:pt idx="596">
                  <c:v>40714</c:v>
                </c:pt>
                <c:pt idx="597">
                  <c:v>40715</c:v>
                </c:pt>
                <c:pt idx="598">
                  <c:v>40716</c:v>
                </c:pt>
                <c:pt idx="599">
                  <c:v>40717</c:v>
                </c:pt>
                <c:pt idx="600">
                  <c:v>40718</c:v>
                </c:pt>
                <c:pt idx="601">
                  <c:v>40721</c:v>
                </c:pt>
                <c:pt idx="602">
                  <c:v>40722</c:v>
                </c:pt>
                <c:pt idx="603">
                  <c:v>40723</c:v>
                </c:pt>
                <c:pt idx="604">
                  <c:v>40724</c:v>
                </c:pt>
                <c:pt idx="605">
                  <c:v>40725</c:v>
                </c:pt>
                <c:pt idx="606">
                  <c:v>40728</c:v>
                </c:pt>
                <c:pt idx="607">
                  <c:v>40729</c:v>
                </c:pt>
                <c:pt idx="608">
                  <c:v>40730</c:v>
                </c:pt>
                <c:pt idx="609">
                  <c:v>40731</c:v>
                </c:pt>
                <c:pt idx="610">
                  <c:v>40732</c:v>
                </c:pt>
                <c:pt idx="611">
                  <c:v>40735</c:v>
                </c:pt>
                <c:pt idx="612">
                  <c:v>40736</c:v>
                </c:pt>
                <c:pt idx="613">
                  <c:v>40737</c:v>
                </c:pt>
                <c:pt idx="614">
                  <c:v>40738</c:v>
                </c:pt>
                <c:pt idx="615">
                  <c:v>40739</c:v>
                </c:pt>
                <c:pt idx="616">
                  <c:v>40742</c:v>
                </c:pt>
                <c:pt idx="617">
                  <c:v>40743</c:v>
                </c:pt>
                <c:pt idx="618">
                  <c:v>40744</c:v>
                </c:pt>
                <c:pt idx="619">
                  <c:v>40745</c:v>
                </c:pt>
                <c:pt idx="620">
                  <c:v>40746</c:v>
                </c:pt>
                <c:pt idx="621">
                  <c:v>40749</c:v>
                </c:pt>
                <c:pt idx="622">
                  <c:v>40750</c:v>
                </c:pt>
                <c:pt idx="623">
                  <c:v>40751</c:v>
                </c:pt>
                <c:pt idx="624">
                  <c:v>40752</c:v>
                </c:pt>
                <c:pt idx="625">
                  <c:v>40753</c:v>
                </c:pt>
                <c:pt idx="626">
                  <c:v>40756</c:v>
                </c:pt>
                <c:pt idx="627">
                  <c:v>40757</c:v>
                </c:pt>
                <c:pt idx="628">
                  <c:v>40758</c:v>
                </c:pt>
                <c:pt idx="629">
                  <c:v>40759</c:v>
                </c:pt>
                <c:pt idx="630">
                  <c:v>40760</c:v>
                </c:pt>
                <c:pt idx="631">
                  <c:v>40763</c:v>
                </c:pt>
                <c:pt idx="632">
                  <c:v>40764</c:v>
                </c:pt>
                <c:pt idx="633">
                  <c:v>40765</c:v>
                </c:pt>
                <c:pt idx="634">
                  <c:v>40766</c:v>
                </c:pt>
                <c:pt idx="635">
                  <c:v>40767</c:v>
                </c:pt>
                <c:pt idx="636">
                  <c:v>40770</c:v>
                </c:pt>
                <c:pt idx="637">
                  <c:v>40771</c:v>
                </c:pt>
                <c:pt idx="638">
                  <c:v>40772</c:v>
                </c:pt>
                <c:pt idx="639">
                  <c:v>40773</c:v>
                </c:pt>
                <c:pt idx="640">
                  <c:v>40774</c:v>
                </c:pt>
                <c:pt idx="641">
                  <c:v>40777</c:v>
                </c:pt>
                <c:pt idx="642">
                  <c:v>40778</c:v>
                </c:pt>
                <c:pt idx="643">
                  <c:v>40779</c:v>
                </c:pt>
                <c:pt idx="644">
                  <c:v>40780</c:v>
                </c:pt>
                <c:pt idx="645">
                  <c:v>40781</c:v>
                </c:pt>
                <c:pt idx="646">
                  <c:v>40784</c:v>
                </c:pt>
                <c:pt idx="647">
                  <c:v>40785</c:v>
                </c:pt>
                <c:pt idx="648">
                  <c:v>40786</c:v>
                </c:pt>
                <c:pt idx="649">
                  <c:v>40787</c:v>
                </c:pt>
                <c:pt idx="650">
                  <c:v>40788</c:v>
                </c:pt>
                <c:pt idx="651">
                  <c:v>40791</c:v>
                </c:pt>
                <c:pt idx="652">
                  <c:v>40792</c:v>
                </c:pt>
                <c:pt idx="653">
                  <c:v>40793</c:v>
                </c:pt>
                <c:pt idx="654">
                  <c:v>40794</c:v>
                </c:pt>
                <c:pt idx="655">
                  <c:v>40795</c:v>
                </c:pt>
                <c:pt idx="656">
                  <c:v>40799</c:v>
                </c:pt>
                <c:pt idx="657">
                  <c:v>40800</c:v>
                </c:pt>
                <c:pt idx="658">
                  <c:v>40801</c:v>
                </c:pt>
                <c:pt idx="659">
                  <c:v>40802</c:v>
                </c:pt>
                <c:pt idx="660">
                  <c:v>40805</c:v>
                </c:pt>
                <c:pt idx="661">
                  <c:v>40806</c:v>
                </c:pt>
                <c:pt idx="662">
                  <c:v>40807</c:v>
                </c:pt>
                <c:pt idx="663">
                  <c:v>40808</c:v>
                </c:pt>
                <c:pt idx="664">
                  <c:v>40809</c:v>
                </c:pt>
                <c:pt idx="665">
                  <c:v>40812</c:v>
                </c:pt>
                <c:pt idx="666">
                  <c:v>40813</c:v>
                </c:pt>
                <c:pt idx="667">
                  <c:v>40814</c:v>
                </c:pt>
                <c:pt idx="668">
                  <c:v>40815</c:v>
                </c:pt>
                <c:pt idx="669">
                  <c:v>40816</c:v>
                </c:pt>
                <c:pt idx="670">
                  <c:v>40826</c:v>
                </c:pt>
                <c:pt idx="671">
                  <c:v>40827</c:v>
                </c:pt>
                <c:pt idx="672">
                  <c:v>40828</c:v>
                </c:pt>
                <c:pt idx="673">
                  <c:v>40829</c:v>
                </c:pt>
                <c:pt idx="674">
                  <c:v>40830</c:v>
                </c:pt>
                <c:pt idx="675">
                  <c:v>40833</c:v>
                </c:pt>
                <c:pt idx="676">
                  <c:v>40834</c:v>
                </c:pt>
                <c:pt idx="677">
                  <c:v>40835</c:v>
                </c:pt>
                <c:pt idx="678">
                  <c:v>40836</c:v>
                </c:pt>
                <c:pt idx="679">
                  <c:v>40837</c:v>
                </c:pt>
                <c:pt idx="680">
                  <c:v>40840</c:v>
                </c:pt>
                <c:pt idx="681">
                  <c:v>40841</c:v>
                </c:pt>
                <c:pt idx="682">
                  <c:v>40842</c:v>
                </c:pt>
                <c:pt idx="683">
                  <c:v>40843</c:v>
                </c:pt>
                <c:pt idx="684">
                  <c:v>40844</c:v>
                </c:pt>
                <c:pt idx="685">
                  <c:v>40847</c:v>
                </c:pt>
                <c:pt idx="686">
                  <c:v>40848</c:v>
                </c:pt>
                <c:pt idx="687">
                  <c:v>40849</c:v>
                </c:pt>
                <c:pt idx="688">
                  <c:v>40850</c:v>
                </c:pt>
                <c:pt idx="689">
                  <c:v>40851</c:v>
                </c:pt>
                <c:pt idx="690">
                  <c:v>40854</c:v>
                </c:pt>
                <c:pt idx="691">
                  <c:v>40855</c:v>
                </c:pt>
                <c:pt idx="692">
                  <c:v>40856</c:v>
                </c:pt>
                <c:pt idx="693">
                  <c:v>40857</c:v>
                </c:pt>
                <c:pt idx="694">
                  <c:v>40858</c:v>
                </c:pt>
                <c:pt idx="695">
                  <c:v>40861</c:v>
                </c:pt>
                <c:pt idx="696">
                  <c:v>40862</c:v>
                </c:pt>
                <c:pt idx="697">
                  <c:v>40863</c:v>
                </c:pt>
                <c:pt idx="698">
                  <c:v>40864</c:v>
                </c:pt>
                <c:pt idx="699">
                  <c:v>40865</c:v>
                </c:pt>
                <c:pt idx="700">
                  <c:v>40868</c:v>
                </c:pt>
                <c:pt idx="701">
                  <c:v>40869</c:v>
                </c:pt>
                <c:pt idx="702">
                  <c:v>40870</c:v>
                </c:pt>
                <c:pt idx="703">
                  <c:v>40871</c:v>
                </c:pt>
                <c:pt idx="704">
                  <c:v>40872</c:v>
                </c:pt>
                <c:pt idx="705">
                  <c:v>40875</c:v>
                </c:pt>
                <c:pt idx="706">
                  <c:v>40876</c:v>
                </c:pt>
                <c:pt idx="707">
                  <c:v>40877</c:v>
                </c:pt>
                <c:pt idx="708">
                  <c:v>40878</c:v>
                </c:pt>
                <c:pt idx="709">
                  <c:v>40879</c:v>
                </c:pt>
                <c:pt idx="710">
                  <c:v>40882</c:v>
                </c:pt>
                <c:pt idx="711">
                  <c:v>40883</c:v>
                </c:pt>
                <c:pt idx="712">
                  <c:v>40884</c:v>
                </c:pt>
                <c:pt idx="713">
                  <c:v>40885</c:v>
                </c:pt>
                <c:pt idx="714">
                  <c:v>40886</c:v>
                </c:pt>
                <c:pt idx="715">
                  <c:v>40889</c:v>
                </c:pt>
                <c:pt idx="716">
                  <c:v>40890</c:v>
                </c:pt>
                <c:pt idx="717">
                  <c:v>40891</c:v>
                </c:pt>
                <c:pt idx="718">
                  <c:v>40892</c:v>
                </c:pt>
                <c:pt idx="719">
                  <c:v>40893</c:v>
                </c:pt>
                <c:pt idx="720">
                  <c:v>40896</c:v>
                </c:pt>
                <c:pt idx="721">
                  <c:v>40897</c:v>
                </c:pt>
                <c:pt idx="722">
                  <c:v>40898</c:v>
                </c:pt>
                <c:pt idx="723">
                  <c:v>40899</c:v>
                </c:pt>
                <c:pt idx="724">
                  <c:v>40900</c:v>
                </c:pt>
                <c:pt idx="725">
                  <c:v>40903</c:v>
                </c:pt>
                <c:pt idx="726">
                  <c:v>40904</c:v>
                </c:pt>
                <c:pt idx="727">
                  <c:v>40905</c:v>
                </c:pt>
                <c:pt idx="728">
                  <c:v>40906</c:v>
                </c:pt>
                <c:pt idx="729">
                  <c:v>40907</c:v>
                </c:pt>
                <c:pt idx="730">
                  <c:v>40912</c:v>
                </c:pt>
                <c:pt idx="731">
                  <c:v>40913</c:v>
                </c:pt>
                <c:pt idx="732">
                  <c:v>40914</c:v>
                </c:pt>
                <c:pt idx="733">
                  <c:v>40917</c:v>
                </c:pt>
                <c:pt idx="734">
                  <c:v>40918</c:v>
                </c:pt>
                <c:pt idx="735">
                  <c:v>40919</c:v>
                </c:pt>
                <c:pt idx="736">
                  <c:v>40920</c:v>
                </c:pt>
                <c:pt idx="737">
                  <c:v>40921</c:v>
                </c:pt>
                <c:pt idx="738">
                  <c:v>40924</c:v>
                </c:pt>
                <c:pt idx="739">
                  <c:v>40925</c:v>
                </c:pt>
                <c:pt idx="740">
                  <c:v>40926</c:v>
                </c:pt>
                <c:pt idx="741">
                  <c:v>40927</c:v>
                </c:pt>
                <c:pt idx="742">
                  <c:v>40928</c:v>
                </c:pt>
                <c:pt idx="743">
                  <c:v>40938</c:v>
                </c:pt>
                <c:pt idx="744">
                  <c:v>40939</c:v>
                </c:pt>
                <c:pt idx="745">
                  <c:v>40940</c:v>
                </c:pt>
                <c:pt idx="746">
                  <c:v>40941</c:v>
                </c:pt>
                <c:pt idx="747">
                  <c:v>40942</c:v>
                </c:pt>
                <c:pt idx="748">
                  <c:v>40945</c:v>
                </c:pt>
                <c:pt idx="749">
                  <c:v>40946</c:v>
                </c:pt>
                <c:pt idx="750">
                  <c:v>40947</c:v>
                </c:pt>
                <c:pt idx="751">
                  <c:v>40948</c:v>
                </c:pt>
                <c:pt idx="752">
                  <c:v>40949</c:v>
                </c:pt>
                <c:pt idx="753">
                  <c:v>40952</c:v>
                </c:pt>
                <c:pt idx="754">
                  <c:v>40953</c:v>
                </c:pt>
                <c:pt idx="755">
                  <c:v>40954</c:v>
                </c:pt>
                <c:pt idx="756">
                  <c:v>40955</c:v>
                </c:pt>
                <c:pt idx="757">
                  <c:v>40956</c:v>
                </c:pt>
                <c:pt idx="758">
                  <c:v>40959</c:v>
                </c:pt>
                <c:pt idx="759">
                  <c:v>40960</c:v>
                </c:pt>
                <c:pt idx="760">
                  <c:v>40961</c:v>
                </c:pt>
                <c:pt idx="761">
                  <c:v>40962</c:v>
                </c:pt>
                <c:pt idx="762">
                  <c:v>40963</c:v>
                </c:pt>
                <c:pt idx="763">
                  <c:v>40966</c:v>
                </c:pt>
                <c:pt idx="764">
                  <c:v>40967</c:v>
                </c:pt>
                <c:pt idx="765">
                  <c:v>40968</c:v>
                </c:pt>
                <c:pt idx="766">
                  <c:v>40969</c:v>
                </c:pt>
                <c:pt idx="767">
                  <c:v>40970</c:v>
                </c:pt>
                <c:pt idx="768">
                  <c:v>40973</c:v>
                </c:pt>
                <c:pt idx="769">
                  <c:v>40974</c:v>
                </c:pt>
                <c:pt idx="770">
                  <c:v>40975</c:v>
                </c:pt>
                <c:pt idx="771">
                  <c:v>40976</c:v>
                </c:pt>
                <c:pt idx="772">
                  <c:v>40977</c:v>
                </c:pt>
                <c:pt idx="773">
                  <c:v>40980</c:v>
                </c:pt>
                <c:pt idx="774">
                  <c:v>40981</c:v>
                </c:pt>
                <c:pt idx="775">
                  <c:v>40982</c:v>
                </c:pt>
                <c:pt idx="776">
                  <c:v>40983</c:v>
                </c:pt>
                <c:pt idx="777">
                  <c:v>40984</c:v>
                </c:pt>
                <c:pt idx="778">
                  <c:v>40987</c:v>
                </c:pt>
                <c:pt idx="779">
                  <c:v>40988</c:v>
                </c:pt>
                <c:pt idx="780">
                  <c:v>40989</c:v>
                </c:pt>
                <c:pt idx="781">
                  <c:v>40990</c:v>
                </c:pt>
                <c:pt idx="782">
                  <c:v>40991</c:v>
                </c:pt>
                <c:pt idx="783">
                  <c:v>40994</c:v>
                </c:pt>
                <c:pt idx="784">
                  <c:v>40995</c:v>
                </c:pt>
                <c:pt idx="785">
                  <c:v>40996</c:v>
                </c:pt>
                <c:pt idx="786">
                  <c:v>40997</c:v>
                </c:pt>
                <c:pt idx="787">
                  <c:v>40998</c:v>
                </c:pt>
                <c:pt idx="788">
                  <c:v>41004</c:v>
                </c:pt>
                <c:pt idx="789">
                  <c:v>41005</c:v>
                </c:pt>
                <c:pt idx="790">
                  <c:v>41008</c:v>
                </c:pt>
                <c:pt idx="791">
                  <c:v>41009</c:v>
                </c:pt>
                <c:pt idx="792">
                  <c:v>41010</c:v>
                </c:pt>
                <c:pt idx="793">
                  <c:v>41011</c:v>
                </c:pt>
                <c:pt idx="794">
                  <c:v>41012</c:v>
                </c:pt>
                <c:pt idx="795">
                  <c:v>41015</c:v>
                </c:pt>
                <c:pt idx="796">
                  <c:v>41016</c:v>
                </c:pt>
                <c:pt idx="797">
                  <c:v>41017</c:v>
                </c:pt>
                <c:pt idx="798">
                  <c:v>41018</c:v>
                </c:pt>
                <c:pt idx="799">
                  <c:v>41019</c:v>
                </c:pt>
                <c:pt idx="800">
                  <c:v>41022</c:v>
                </c:pt>
                <c:pt idx="801">
                  <c:v>41023</c:v>
                </c:pt>
                <c:pt idx="802">
                  <c:v>41024</c:v>
                </c:pt>
                <c:pt idx="803">
                  <c:v>41025</c:v>
                </c:pt>
                <c:pt idx="804">
                  <c:v>41026</c:v>
                </c:pt>
                <c:pt idx="805">
                  <c:v>41031</c:v>
                </c:pt>
                <c:pt idx="806">
                  <c:v>41032</c:v>
                </c:pt>
                <c:pt idx="807">
                  <c:v>41033</c:v>
                </c:pt>
                <c:pt idx="808">
                  <c:v>41036</c:v>
                </c:pt>
                <c:pt idx="809">
                  <c:v>41037</c:v>
                </c:pt>
                <c:pt idx="810">
                  <c:v>41038</c:v>
                </c:pt>
                <c:pt idx="811">
                  <c:v>41039</c:v>
                </c:pt>
                <c:pt idx="812">
                  <c:v>41040</c:v>
                </c:pt>
                <c:pt idx="813">
                  <c:v>41043</c:v>
                </c:pt>
                <c:pt idx="814">
                  <c:v>41044</c:v>
                </c:pt>
                <c:pt idx="815">
                  <c:v>41045</c:v>
                </c:pt>
                <c:pt idx="816">
                  <c:v>41046</c:v>
                </c:pt>
                <c:pt idx="817">
                  <c:v>41047</c:v>
                </c:pt>
                <c:pt idx="818">
                  <c:v>41050</c:v>
                </c:pt>
                <c:pt idx="819">
                  <c:v>41051</c:v>
                </c:pt>
                <c:pt idx="820">
                  <c:v>41052</c:v>
                </c:pt>
                <c:pt idx="821">
                  <c:v>41053</c:v>
                </c:pt>
                <c:pt idx="822">
                  <c:v>41054</c:v>
                </c:pt>
                <c:pt idx="823">
                  <c:v>41057</c:v>
                </c:pt>
                <c:pt idx="824">
                  <c:v>41058</c:v>
                </c:pt>
                <c:pt idx="825">
                  <c:v>41059</c:v>
                </c:pt>
                <c:pt idx="826">
                  <c:v>41060</c:v>
                </c:pt>
                <c:pt idx="827">
                  <c:v>41061</c:v>
                </c:pt>
                <c:pt idx="828">
                  <c:v>41064</c:v>
                </c:pt>
                <c:pt idx="829">
                  <c:v>41065</c:v>
                </c:pt>
                <c:pt idx="830">
                  <c:v>41066</c:v>
                </c:pt>
                <c:pt idx="831">
                  <c:v>41067</c:v>
                </c:pt>
                <c:pt idx="832">
                  <c:v>41068</c:v>
                </c:pt>
                <c:pt idx="833">
                  <c:v>41071</c:v>
                </c:pt>
                <c:pt idx="834">
                  <c:v>41072</c:v>
                </c:pt>
                <c:pt idx="835">
                  <c:v>41073</c:v>
                </c:pt>
                <c:pt idx="836">
                  <c:v>41074</c:v>
                </c:pt>
                <c:pt idx="837">
                  <c:v>41075</c:v>
                </c:pt>
                <c:pt idx="838">
                  <c:v>41078</c:v>
                </c:pt>
                <c:pt idx="839">
                  <c:v>41079</c:v>
                </c:pt>
                <c:pt idx="840">
                  <c:v>41080</c:v>
                </c:pt>
                <c:pt idx="841">
                  <c:v>41081</c:v>
                </c:pt>
                <c:pt idx="842">
                  <c:v>41085</c:v>
                </c:pt>
                <c:pt idx="843">
                  <c:v>41086</c:v>
                </c:pt>
                <c:pt idx="844">
                  <c:v>41087</c:v>
                </c:pt>
                <c:pt idx="845">
                  <c:v>41088</c:v>
                </c:pt>
                <c:pt idx="846">
                  <c:v>41089</c:v>
                </c:pt>
                <c:pt idx="847">
                  <c:v>41092</c:v>
                </c:pt>
                <c:pt idx="848">
                  <c:v>41093</c:v>
                </c:pt>
                <c:pt idx="849">
                  <c:v>41094</c:v>
                </c:pt>
                <c:pt idx="850">
                  <c:v>41095</c:v>
                </c:pt>
                <c:pt idx="851">
                  <c:v>41096</c:v>
                </c:pt>
                <c:pt idx="852">
                  <c:v>41099</c:v>
                </c:pt>
                <c:pt idx="853">
                  <c:v>41100</c:v>
                </c:pt>
                <c:pt idx="854">
                  <c:v>41101</c:v>
                </c:pt>
                <c:pt idx="855">
                  <c:v>41102</c:v>
                </c:pt>
                <c:pt idx="856">
                  <c:v>41103</c:v>
                </c:pt>
                <c:pt idx="857">
                  <c:v>41106</c:v>
                </c:pt>
                <c:pt idx="858">
                  <c:v>41107</c:v>
                </c:pt>
                <c:pt idx="859">
                  <c:v>41108</c:v>
                </c:pt>
                <c:pt idx="860">
                  <c:v>41109</c:v>
                </c:pt>
                <c:pt idx="861">
                  <c:v>41110</c:v>
                </c:pt>
                <c:pt idx="862">
                  <c:v>41113</c:v>
                </c:pt>
                <c:pt idx="863">
                  <c:v>41114</c:v>
                </c:pt>
                <c:pt idx="864">
                  <c:v>41115</c:v>
                </c:pt>
                <c:pt idx="865">
                  <c:v>41116</c:v>
                </c:pt>
                <c:pt idx="866">
                  <c:v>41117</c:v>
                </c:pt>
                <c:pt idx="867">
                  <c:v>41120</c:v>
                </c:pt>
                <c:pt idx="868">
                  <c:v>41121</c:v>
                </c:pt>
                <c:pt idx="869">
                  <c:v>41122</c:v>
                </c:pt>
                <c:pt idx="870">
                  <c:v>41123</c:v>
                </c:pt>
                <c:pt idx="871">
                  <c:v>41124</c:v>
                </c:pt>
                <c:pt idx="872">
                  <c:v>41127</c:v>
                </c:pt>
                <c:pt idx="873">
                  <c:v>41128</c:v>
                </c:pt>
                <c:pt idx="874">
                  <c:v>41129</c:v>
                </c:pt>
                <c:pt idx="875">
                  <c:v>41130</c:v>
                </c:pt>
                <c:pt idx="876">
                  <c:v>41131</c:v>
                </c:pt>
                <c:pt idx="877">
                  <c:v>41134</c:v>
                </c:pt>
                <c:pt idx="878">
                  <c:v>41135</c:v>
                </c:pt>
                <c:pt idx="879">
                  <c:v>41136</c:v>
                </c:pt>
                <c:pt idx="880">
                  <c:v>41137</c:v>
                </c:pt>
                <c:pt idx="881">
                  <c:v>41138</c:v>
                </c:pt>
                <c:pt idx="882">
                  <c:v>41141</c:v>
                </c:pt>
                <c:pt idx="883">
                  <c:v>41142</c:v>
                </c:pt>
                <c:pt idx="884">
                  <c:v>41143</c:v>
                </c:pt>
                <c:pt idx="885">
                  <c:v>41144</c:v>
                </c:pt>
                <c:pt idx="886">
                  <c:v>41145</c:v>
                </c:pt>
                <c:pt idx="887">
                  <c:v>41148</c:v>
                </c:pt>
                <c:pt idx="888">
                  <c:v>41149</c:v>
                </c:pt>
                <c:pt idx="889">
                  <c:v>41150</c:v>
                </c:pt>
                <c:pt idx="890">
                  <c:v>41151</c:v>
                </c:pt>
                <c:pt idx="891">
                  <c:v>41152</c:v>
                </c:pt>
                <c:pt idx="892">
                  <c:v>41155</c:v>
                </c:pt>
                <c:pt idx="893">
                  <c:v>41156</c:v>
                </c:pt>
                <c:pt idx="894">
                  <c:v>41157</c:v>
                </c:pt>
                <c:pt idx="895">
                  <c:v>41158</c:v>
                </c:pt>
                <c:pt idx="896">
                  <c:v>41159</c:v>
                </c:pt>
                <c:pt idx="897">
                  <c:v>41162</c:v>
                </c:pt>
                <c:pt idx="898">
                  <c:v>41163</c:v>
                </c:pt>
                <c:pt idx="899">
                  <c:v>41164</c:v>
                </c:pt>
                <c:pt idx="900">
                  <c:v>41165</c:v>
                </c:pt>
                <c:pt idx="901">
                  <c:v>41166</c:v>
                </c:pt>
                <c:pt idx="902">
                  <c:v>41169</c:v>
                </c:pt>
                <c:pt idx="903">
                  <c:v>41170</c:v>
                </c:pt>
                <c:pt idx="904">
                  <c:v>41171</c:v>
                </c:pt>
                <c:pt idx="905">
                  <c:v>41172</c:v>
                </c:pt>
                <c:pt idx="906">
                  <c:v>41173</c:v>
                </c:pt>
                <c:pt idx="907">
                  <c:v>41176</c:v>
                </c:pt>
                <c:pt idx="908">
                  <c:v>41177</c:v>
                </c:pt>
                <c:pt idx="909">
                  <c:v>41178</c:v>
                </c:pt>
                <c:pt idx="910">
                  <c:v>41179</c:v>
                </c:pt>
                <c:pt idx="911">
                  <c:v>41180</c:v>
                </c:pt>
                <c:pt idx="912">
                  <c:v>41190</c:v>
                </c:pt>
                <c:pt idx="913">
                  <c:v>41191</c:v>
                </c:pt>
                <c:pt idx="914">
                  <c:v>41192</c:v>
                </c:pt>
                <c:pt idx="915">
                  <c:v>41193</c:v>
                </c:pt>
                <c:pt idx="916">
                  <c:v>41194</c:v>
                </c:pt>
                <c:pt idx="917">
                  <c:v>41197</c:v>
                </c:pt>
                <c:pt idx="918">
                  <c:v>41198</c:v>
                </c:pt>
                <c:pt idx="919">
                  <c:v>41199</c:v>
                </c:pt>
                <c:pt idx="920">
                  <c:v>41200</c:v>
                </c:pt>
                <c:pt idx="921">
                  <c:v>41201</c:v>
                </c:pt>
                <c:pt idx="922">
                  <c:v>41204</c:v>
                </c:pt>
                <c:pt idx="923">
                  <c:v>41205</c:v>
                </c:pt>
                <c:pt idx="924">
                  <c:v>41206</c:v>
                </c:pt>
                <c:pt idx="925">
                  <c:v>41207</c:v>
                </c:pt>
                <c:pt idx="926">
                  <c:v>41208</c:v>
                </c:pt>
                <c:pt idx="927">
                  <c:v>41211</c:v>
                </c:pt>
                <c:pt idx="928">
                  <c:v>41212</c:v>
                </c:pt>
                <c:pt idx="929">
                  <c:v>41213</c:v>
                </c:pt>
                <c:pt idx="930">
                  <c:v>41214</c:v>
                </c:pt>
                <c:pt idx="931">
                  <c:v>41215</c:v>
                </c:pt>
                <c:pt idx="932">
                  <c:v>41218</c:v>
                </c:pt>
                <c:pt idx="933">
                  <c:v>41219</c:v>
                </c:pt>
                <c:pt idx="934">
                  <c:v>41220</c:v>
                </c:pt>
                <c:pt idx="935">
                  <c:v>41221</c:v>
                </c:pt>
                <c:pt idx="936">
                  <c:v>41222</c:v>
                </c:pt>
                <c:pt idx="937">
                  <c:v>41225</c:v>
                </c:pt>
                <c:pt idx="938">
                  <c:v>41226</c:v>
                </c:pt>
                <c:pt idx="939">
                  <c:v>41227</c:v>
                </c:pt>
                <c:pt idx="940">
                  <c:v>41228</c:v>
                </c:pt>
                <c:pt idx="941">
                  <c:v>41229</c:v>
                </c:pt>
                <c:pt idx="942">
                  <c:v>41232</c:v>
                </c:pt>
                <c:pt idx="943">
                  <c:v>41233</c:v>
                </c:pt>
                <c:pt idx="944">
                  <c:v>41234</c:v>
                </c:pt>
                <c:pt idx="945">
                  <c:v>41235</c:v>
                </c:pt>
                <c:pt idx="946">
                  <c:v>41236</c:v>
                </c:pt>
                <c:pt idx="947">
                  <c:v>41239</c:v>
                </c:pt>
                <c:pt idx="948">
                  <c:v>41240</c:v>
                </c:pt>
                <c:pt idx="949">
                  <c:v>41241</c:v>
                </c:pt>
                <c:pt idx="950">
                  <c:v>41242</c:v>
                </c:pt>
                <c:pt idx="951">
                  <c:v>41243</c:v>
                </c:pt>
                <c:pt idx="952">
                  <c:v>41246</c:v>
                </c:pt>
                <c:pt idx="953">
                  <c:v>41247</c:v>
                </c:pt>
                <c:pt idx="954">
                  <c:v>41248</c:v>
                </c:pt>
                <c:pt idx="955">
                  <c:v>41249</c:v>
                </c:pt>
                <c:pt idx="956">
                  <c:v>41250</c:v>
                </c:pt>
                <c:pt idx="957">
                  <c:v>41253</c:v>
                </c:pt>
                <c:pt idx="958">
                  <c:v>41254</c:v>
                </c:pt>
                <c:pt idx="959">
                  <c:v>41255</c:v>
                </c:pt>
                <c:pt idx="960">
                  <c:v>41256</c:v>
                </c:pt>
                <c:pt idx="961">
                  <c:v>41257</c:v>
                </c:pt>
                <c:pt idx="962">
                  <c:v>41260</c:v>
                </c:pt>
                <c:pt idx="963">
                  <c:v>41261</c:v>
                </c:pt>
                <c:pt idx="964">
                  <c:v>41262</c:v>
                </c:pt>
                <c:pt idx="965">
                  <c:v>41263</c:v>
                </c:pt>
                <c:pt idx="966">
                  <c:v>41264</c:v>
                </c:pt>
                <c:pt idx="967">
                  <c:v>41267</c:v>
                </c:pt>
                <c:pt idx="968">
                  <c:v>41268</c:v>
                </c:pt>
                <c:pt idx="969">
                  <c:v>41269</c:v>
                </c:pt>
                <c:pt idx="970">
                  <c:v>41270</c:v>
                </c:pt>
                <c:pt idx="971">
                  <c:v>41271</c:v>
                </c:pt>
                <c:pt idx="972">
                  <c:v>41274</c:v>
                </c:pt>
                <c:pt idx="973">
                  <c:v>41278</c:v>
                </c:pt>
                <c:pt idx="974">
                  <c:v>41281</c:v>
                </c:pt>
                <c:pt idx="975">
                  <c:v>41282</c:v>
                </c:pt>
                <c:pt idx="976">
                  <c:v>41283</c:v>
                </c:pt>
                <c:pt idx="977">
                  <c:v>41284</c:v>
                </c:pt>
                <c:pt idx="978">
                  <c:v>41285</c:v>
                </c:pt>
                <c:pt idx="979">
                  <c:v>41288</c:v>
                </c:pt>
                <c:pt idx="980">
                  <c:v>41289</c:v>
                </c:pt>
                <c:pt idx="981">
                  <c:v>41290</c:v>
                </c:pt>
                <c:pt idx="982">
                  <c:v>41291</c:v>
                </c:pt>
                <c:pt idx="983">
                  <c:v>41292</c:v>
                </c:pt>
                <c:pt idx="984">
                  <c:v>41295</c:v>
                </c:pt>
                <c:pt idx="985">
                  <c:v>41296</c:v>
                </c:pt>
                <c:pt idx="986">
                  <c:v>41297</c:v>
                </c:pt>
                <c:pt idx="987">
                  <c:v>41298</c:v>
                </c:pt>
                <c:pt idx="988">
                  <c:v>41299</c:v>
                </c:pt>
                <c:pt idx="989">
                  <c:v>41302</c:v>
                </c:pt>
                <c:pt idx="990">
                  <c:v>41303</c:v>
                </c:pt>
                <c:pt idx="991">
                  <c:v>41304</c:v>
                </c:pt>
                <c:pt idx="992">
                  <c:v>41305</c:v>
                </c:pt>
                <c:pt idx="993">
                  <c:v>41306</c:v>
                </c:pt>
                <c:pt idx="994">
                  <c:v>41309</c:v>
                </c:pt>
                <c:pt idx="995">
                  <c:v>41310</c:v>
                </c:pt>
                <c:pt idx="996">
                  <c:v>41311</c:v>
                </c:pt>
                <c:pt idx="997">
                  <c:v>41312</c:v>
                </c:pt>
                <c:pt idx="998">
                  <c:v>41313</c:v>
                </c:pt>
                <c:pt idx="999">
                  <c:v>41323</c:v>
                </c:pt>
                <c:pt idx="1000">
                  <c:v>41324</c:v>
                </c:pt>
                <c:pt idx="1001">
                  <c:v>41325</c:v>
                </c:pt>
                <c:pt idx="1002">
                  <c:v>41326</c:v>
                </c:pt>
                <c:pt idx="1003">
                  <c:v>41327</c:v>
                </c:pt>
                <c:pt idx="1004">
                  <c:v>41330</c:v>
                </c:pt>
                <c:pt idx="1005">
                  <c:v>41331</c:v>
                </c:pt>
                <c:pt idx="1006">
                  <c:v>41332</c:v>
                </c:pt>
                <c:pt idx="1007">
                  <c:v>41333</c:v>
                </c:pt>
                <c:pt idx="1008">
                  <c:v>41334</c:v>
                </c:pt>
                <c:pt idx="1009">
                  <c:v>41337</c:v>
                </c:pt>
                <c:pt idx="1010">
                  <c:v>41338</c:v>
                </c:pt>
                <c:pt idx="1011">
                  <c:v>41339</c:v>
                </c:pt>
                <c:pt idx="1012">
                  <c:v>41340</c:v>
                </c:pt>
                <c:pt idx="1013">
                  <c:v>41341</c:v>
                </c:pt>
                <c:pt idx="1014">
                  <c:v>41344</c:v>
                </c:pt>
                <c:pt idx="1015">
                  <c:v>41345</c:v>
                </c:pt>
                <c:pt idx="1016">
                  <c:v>41346</c:v>
                </c:pt>
                <c:pt idx="1017">
                  <c:v>41347</c:v>
                </c:pt>
                <c:pt idx="1018">
                  <c:v>41348</c:v>
                </c:pt>
                <c:pt idx="1019">
                  <c:v>41351</c:v>
                </c:pt>
                <c:pt idx="1020">
                  <c:v>41352</c:v>
                </c:pt>
                <c:pt idx="1021">
                  <c:v>41353</c:v>
                </c:pt>
                <c:pt idx="1022">
                  <c:v>41354</c:v>
                </c:pt>
                <c:pt idx="1023">
                  <c:v>41355</c:v>
                </c:pt>
                <c:pt idx="1024">
                  <c:v>41358</c:v>
                </c:pt>
                <c:pt idx="1025">
                  <c:v>41359</c:v>
                </c:pt>
                <c:pt idx="1026">
                  <c:v>41360</c:v>
                </c:pt>
                <c:pt idx="1027">
                  <c:v>41361</c:v>
                </c:pt>
                <c:pt idx="1028">
                  <c:v>41362</c:v>
                </c:pt>
                <c:pt idx="1029">
                  <c:v>41365</c:v>
                </c:pt>
                <c:pt idx="1030">
                  <c:v>41366</c:v>
                </c:pt>
                <c:pt idx="1031">
                  <c:v>41367</c:v>
                </c:pt>
                <c:pt idx="1032">
                  <c:v>41372</c:v>
                </c:pt>
                <c:pt idx="1033">
                  <c:v>41373</c:v>
                </c:pt>
                <c:pt idx="1034">
                  <c:v>41374</c:v>
                </c:pt>
                <c:pt idx="1035">
                  <c:v>41375</c:v>
                </c:pt>
                <c:pt idx="1036">
                  <c:v>41376</c:v>
                </c:pt>
                <c:pt idx="1037">
                  <c:v>41379</c:v>
                </c:pt>
                <c:pt idx="1038">
                  <c:v>41380</c:v>
                </c:pt>
                <c:pt idx="1039">
                  <c:v>41381</c:v>
                </c:pt>
                <c:pt idx="1040">
                  <c:v>41382</c:v>
                </c:pt>
                <c:pt idx="1041">
                  <c:v>41383</c:v>
                </c:pt>
                <c:pt idx="1042">
                  <c:v>41386</c:v>
                </c:pt>
                <c:pt idx="1043">
                  <c:v>41387</c:v>
                </c:pt>
                <c:pt idx="1044">
                  <c:v>41388</c:v>
                </c:pt>
                <c:pt idx="1045">
                  <c:v>41389</c:v>
                </c:pt>
                <c:pt idx="1046">
                  <c:v>41390</c:v>
                </c:pt>
                <c:pt idx="1047">
                  <c:v>41396</c:v>
                </c:pt>
                <c:pt idx="1048">
                  <c:v>41397</c:v>
                </c:pt>
                <c:pt idx="1049">
                  <c:v>41400</c:v>
                </c:pt>
                <c:pt idx="1050">
                  <c:v>41401</c:v>
                </c:pt>
                <c:pt idx="1051">
                  <c:v>41402</c:v>
                </c:pt>
                <c:pt idx="1052">
                  <c:v>41403</c:v>
                </c:pt>
                <c:pt idx="1053">
                  <c:v>41404</c:v>
                </c:pt>
                <c:pt idx="1054">
                  <c:v>41407</c:v>
                </c:pt>
                <c:pt idx="1055">
                  <c:v>41408</c:v>
                </c:pt>
                <c:pt idx="1056">
                  <c:v>41409</c:v>
                </c:pt>
                <c:pt idx="1057">
                  <c:v>41410</c:v>
                </c:pt>
                <c:pt idx="1058">
                  <c:v>41411</c:v>
                </c:pt>
                <c:pt idx="1059">
                  <c:v>41414</c:v>
                </c:pt>
                <c:pt idx="1060">
                  <c:v>41415</c:v>
                </c:pt>
                <c:pt idx="1061">
                  <c:v>41416</c:v>
                </c:pt>
                <c:pt idx="1062">
                  <c:v>41417</c:v>
                </c:pt>
                <c:pt idx="1063">
                  <c:v>41418</c:v>
                </c:pt>
                <c:pt idx="1064">
                  <c:v>41421</c:v>
                </c:pt>
                <c:pt idx="1065">
                  <c:v>41422</c:v>
                </c:pt>
                <c:pt idx="1066">
                  <c:v>41423</c:v>
                </c:pt>
                <c:pt idx="1067">
                  <c:v>41424</c:v>
                </c:pt>
                <c:pt idx="1068">
                  <c:v>41425</c:v>
                </c:pt>
                <c:pt idx="1069">
                  <c:v>41428</c:v>
                </c:pt>
                <c:pt idx="1070">
                  <c:v>41429</c:v>
                </c:pt>
                <c:pt idx="1071">
                  <c:v>41430</c:v>
                </c:pt>
                <c:pt idx="1072">
                  <c:v>41431</c:v>
                </c:pt>
                <c:pt idx="1073">
                  <c:v>41432</c:v>
                </c:pt>
                <c:pt idx="1074">
                  <c:v>41438</c:v>
                </c:pt>
                <c:pt idx="1075">
                  <c:v>41439</c:v>
                </c:pt>
                <c:pt idx="1076">
                  <c:v>41442</c:v>
                </c:pt>
                <c:pt idx="1077">
                  <c:v>41443</c:v>
                </c:pt>
                <c:pt idx="1078">
                  <c:v>41444</c:v>
                </c:pt>
                <c:pt idx="1079">
                  <c:v>41445</c:v>
                </c:pt>
                <c:pt idx="1080">
                  <c:v>41446</c:v>
                </c:pt>
                <c:pt idx="1081">
                  <c:v>41449</c:v>
                </c:pt>
                <c:pt idx="1082">
                  <c:v>41450</c:v>
                </c:pt>
                <c:pt idx="1083">
                  <c:v>41451</c:v>
                </c:pt>
                <c:pt idx="1084">
                  <c:v>41452</c:v>
                </c:pt>
                <c:pt idx="1085">
                  <c:v>41453</c:v>
                </c:pt>
                <c:pt idx="1086">
                  <c:v>41456</c:v>
                </c:pt>
                <c:pt idx="1087">
                  <c:v>41457</c:v>
                </c:pt>
                <c:pt idx="1088">
                  <c:v>41458</c:v>
                </c:pt>
                <c:pt idx="1089">
                  <c:v>41459</c:v>
                </c:pt>
                <c:pt idx="1090">
                  <c:v>41460</c:v>
                </c:pt>
                <c:pt idx="1091">
                  <c:v>41463</c:v>
                </c:pt>
                <c:pt idx="1092">
                  <c:v>41464</c:v>
                </c:pt>
                <c:pt idx="1093">
                  <c:v>41465</c:v>
                </c:pt>
                <c:pt idx="1094">
                  <c:v>41466</c:v>
                </c:pt>
                <c:pt idx="1095">
                  <c:v>41467</c:v>
                </c:pt>
                <c:pt idx="1096">
                  <c:v>41470</c:v>
                </c:pt>
                <c:pt idx="1097">
                  <c:v>41471</c:v>
                </c:pt>
                <c:pt idx="1098">
                  <c:v>41472</c:v>
                </c:pt>
                <c:pt idx="1099">
                  <c:v>41473</c:v>
                </c:pt>
                <c:pt idx="1100">
                  <c:v>41474</c:v>
                </c:pt>
                <c:pt idx="1101">
                  <c:v>41477</c:v>
                </c:pt>
                <c:pt idx="1102">
                  <c:v>41478</c:v>
                </c:pt>
                <c:pt idx="1103">
                  <c:v>41479</c:v>
                </c:pt>
                <c:pt idx="1104">
                  <c:v>41480</c:v>
                </c:pt>
                <c:pt idx="1105">
                  <c:v>41481</c:v>
                </c:pt>
                <c:pt idx="1106">
                  <c:v>41484</c:v>
                </c:pt>
                <c:pt idx="1107">
                  <c:v>41485</c:v>
                </c:pt>
                <c:pt idx="1108">
                  <c:v>41486</c:v>
                </c:pt>
                <c:pt idx="1109">
                  <c:v>41487</c:v>
                </c:pt>
                <c:pt idx="1110">
                  <c:v>41488</c:v>
                </c:pt>
                <c:pt idx="1111">
                  <c:v>41491</c:v>
                </c:pt>
                <c:pt idx="1112">
                  <c:v>41492</c:v>
                </c:pt>
                <c:pt idx="1113">
                  <c:v>41493</c:v>
                </c:pt>
                <c:pt idx="1114">
                  <c:v>41494</c:v>
                </c:pt>
                <c:pt idx="1115">
                  <c:v>41495</c:v>
                </c:pt>
                <c:pt idx="1116">
                  <c:v>41498</c:v>
                </c:pt>
                <c:pt idx="1117">
                  <c:v>41499</c:v>
                </c:pt>
                <c:pt idx="1118">
                  <c:v>41500</c:v>
                </c:pt>
                <c:pt idx="1119">
                  <c:v>41501</c:v>
                </c:pt>
                <c:pt idx="1120">
                  <c:v>41502</c:v>
                </c:pt>
                <c:pt idx="1121">
                  <c:v>41505</c:v>
                </c:pt>
                <c:pt idx="1122">
                  <c:v>41506</c:v>
                </c:pt>
                <c:pt idx="1123">
                  <c:v>41507</c:v>
                </c:pt>
                <c:pt idx="1124">
                  <c:v>41508</c:v>
                </c:pt>
                <c:pt idx="1125">
                  <c:v>41509</c:v>
                </c:pt>
                <c:pt idx="1126">
                  <c:v>41512</c:v>
                </c:pt>
                <c:pt idx="1127">
                  <c:v>41513</c:v>
                </c:pt>
                <c:pt idx="1128">
                  <c:v>41514</c:v>
                </c:pt>
                <c:pt idx="1129">
                  <c:v>41515</c:v>
                </c:pt>
                <c:pt idx="1130">
                  <c:v>41516</c:v>
                </c:pt>
                <c:pt idx="1131">
                  <c:v>41519</c:v>
                </c:pt>
                <c:pt idx="1132">
                  <c:v>41520</c:v>
                </c:pt>
                <c:pt idx="1133">
                  <c:v>41521</c:v>
                </c:pt>
                <c:pt idx="1134">
                  <c:v>41522</c:v>
                </c:pt>
                <c:pt idx="1135">
                  <c:v>41523</c:v>
                </c:pt>
                <c:pt idx="1136">
                  <c:v>41526</c:v>
                </c:pt>
                <c:pt idx="1137">
                  <c:v>41527</c:v>
                </c:pt>
                <c:pt idx="1138">
                  <c:v>41528</c:v>
                </c:pt>
                <c:pt idx="1139">
                  <c:v>41529</c:v>
                </c:pt>
                <c:pt idx="1140">
                  <c:v>41530</c:v>
                </c:pt>
                <c:pt idx="1141">
                  <c:v>41533</c:v>
                </c:pt>
                <c:pt idx="1142">
                  <c:v>41534</c:v>
                </c:pt>
                <c:pt idx="1143">
                  <c:v>41535</c:v>
                </c:pt>
                <c:pt idx="1144">
                  <c:v>41540</c:v>
                </c:pt>
                <c:pt idx="1145">
                  <c:v>41541</c:v>
                </c:pt>
                <c:pt idx="1146">
                  <c:v>41542</c:v>
                </c:pt>
                <c:pt idx="1147">
                  <c:v>41543</c:v>
                </c:pt>
                <c:pt idx="1148">
                  <c:v>41544</c:v>
                </c:pt>
                <c:pt idx="1149">
                  <c:v>41547</c:v>
                </c:pt>
                <c:pt idx="1150">
                  <c:v>41555</c:v>
                </c:pt>
                <c:pt idx="1151">
                  <c:v>41556</c:v>
                </c:pt>
                <c:pt idx="1152">
                  <c:v>41557</c:v>
                </c:pt>
                <c:pt idx="1153">
                  <c:v>41558</c:v>
                </c:pt>
                <c:pt idx="1154">
                  <c:v>41561</c:v>
                </c:pt>
                <c:pt idx="1155">
                  <c:v>41562</c:v>
                </c:pt>
                <c:pt idx="1156">
                  <c:v>41563</c:v>
                </c:pt>
                <c:pt idx="1157">
                  <c:v>41564</c:v>
                </c:pt>
                <c:pt idx="1158">
                  <c:v>41565</c:v>
                </c:pt>
                <c:pt idx="1159">
                  <c:v>41568</c:v>
                </c:pt>
                <c:pt idx="1160">
                  <c:v>41569</c:v>
                </c:pt>
                <c:pt idx="1161">
                  <c:v>41570</c:v>
                </c:pt>
                <c:pt idx="1162">
                  <c:v>41571</c:v>
                </c:pt>
                <c:pt idx="1163">
                  <c:v>41572</c:v>
                </c:pt>
                <c:pt idx="1164">
                  <c:v>41575</c:v>
                </c:pt>
                <c:pt idx="1165">
                  <c:v>41576</c:v>
                </c:pt>
                <c:pt idx="1166">
                  <c:v>41577</c:v>
                </c:pt>
                <c:pt idx="1167">
                  <c:v>41578</c:v>
                </c:pt>
                <c:pt idx="1168">
                  <c:v>41579</c:v>
                </c:pt>
                <c:pt idx="1169">
                  <c:v>41582</c:v>
                </c:pt>
                <c:pt idx="1170">
                  <c:v>41583</c:v>
                </c:pt>
                <c:pt idx="1171">
                  <c:v>41584</c:v>
                </c:pt>
                <c:pt idx="1172">
                  <c:v>41585</c:v>
                </c:pt>
                <c:pt idx="1173">
                  <c:v>41586</c:v>
                </c:pt>
                <c:pt idx="1174">
                  <c:v>41589</c:v>
                </c:pt>
                <c:pt idx="1175">
                  <c:v>41590</c:v>
                </c:pt>
                <c:pt idx="1176">
                  <c:v>41591</c:v>
                </c:pt>
                <c:pt idx="1177">
                  <c:v>41592</c:v>
                </c:pt>
                <c:pt idx="1178">
                  <c:v>41593</c:v>
                </c:pt>
                <c:pt idx="1179">
                  <c:v>41596</c:v>
                </c:pt>
                <c:pt idx="1180">
                  <c:v>41597</c:v>
                </c:pt>
                <c:pt idx="1181">
                  <c:v>41598</c:v>
                </c:pt>
                <c:pt idx="1182">
                  <c:v>41599</c:v>
                </c:pt>
                <c:pt idx="1183">
                  <c:v>41600</c:v>
                </c:pt>
                <c:pt idx="1184">
                  <c:v>41603</c:v>
                </c:pt>
                <c:pt idx="1185">
                  <c:v>41604</c:v>
                </c:pt>
                <c:pt idx="1186">
                  <c:v>41605</c:v>
                </c:pt>
                <c:pt idx="1187">
                  <c:v>41606</c:v>
                </c:pt>
                <c:pt idx="1188">
                  <c:v>41607</c:v>
                </c:pt>
                <c:pt idx="1189">
                  <c:v>41610</c:v>
                </c:pt>
                <c:pt idx="1190">
                  <c:v>41611</c:v>
                </c:pt>
                <c:pt idx="1191">
                  <c:v>41612</c:v>
                </c:pt>
                <c:pt idx="1192">
                  <c:v>41613</c:v>
                </c:pt>
                <c:pt idx="1193">
                  <c:v>41614</c:v>
                </c:pt>
                <c:pt idx="1194">
                  <c:v>41617</c:v>
                </c:pt>
                <c:pt idx="1195">
                  <c:v>41618</c:v>
                </c:pt>
                <c:pt idx="1196">
                  <c:v>41619</c:v>
                </c:pt>
                <c:pt idx="1197">
                  <c:v>41620</c:v>
                </c:pt>
                <c:pt idx="1198">
                  <c:v>41621</c:v>
                </c:pt>
                <c:pt idx="1199">
                  <c:v>41624</c:v>
                </c:pt>
                <c:pt idx="1200">
                  <c:v>41625</c:v>
                </c:pt>
                <c:pt idx="1201">
                  <c:v>41626</c:v>
                </c:pt>
                <c:pt idx="1202">
                  <c:v>41627</c:v>
                </c:pt>
                <c:pt idx="1203">
                  <c:v>41628</c:v>
                </c:pt>
                <c:pt idx="1204">
                  <c:v>41631</c:v>
                </c:pt>
                <c:pt idx="1205">
                  <c:v>41632</c:v>
                </c:pt>
                <c:pt idx="1206">
                  <c:v>41633</c:v>
                </c:pt>
                <c:pt idx="1207">
                  <c:v>41634</c:v>
                </c:pt>
                <c:pt idx="1208">
                  <c:v>41635</c:v>
                </c:pt>
                <c:pt idx="1209">
                  <c:v>41638</c:v>
                </c:pt>
                <c:pt idx="1210">
                  <c:v>41639</c:v>
                </c:pt>
                <c:pt idx="1211">
                  <c:v>41641</c:v>
                </c:pt>
                <c:pt idx="1212">
                  <c:v>41642</c:v>
                </c:pt>
                <c:pt idx="1213">
                  <c:v>41645</c:v>
                </c:pt>
                <c:pt idx="1214">
                  <c:v>41646</c:v>
                </c:pt>
                <c:pt idx="1215">
                  <c:v>41647</c:v>
                </c:pt>
                <c:pt idx="1216">
                  <c:v>41648</c:v>
                </c:pt>
                <c:pt idx="1217">
                  <c:v>41649</c:v>
                </c:pt>
                <c:pt idx="1218">
                  <c:v>41652</c:v>
                </c:pt>
                <c:pt idx="1219">
                  <c:v>41653</c:v>
                </c:pt>
                <c:pt idx="1220">
                  <c:v>41654</c:v>
                </c:pt>
                <c:pt idx="1221">
                  <c:v>41655</c:v>
                </c:pt>
                <c:pt idx="1222">
                  <c:v>41656</c:v>
                </c:pt>
                <c:pt idx="1223">
                  <c:v>41659</c:v>
                </c:pt>
                <c:pt idx="1224">
                  <c:v>41660</c:v>
                </c:pt>
                <c:pt idx="1225">
                  <c:v>41661</c:v>
                </c:pt>
                <c:pt idx="1226">
                  <c:v>41662</c:v>
                </c:pt>
                <c:pt idx="1227">
                  <c:v>41663</c:v>
                </c:pt>
                <c:pt idx="1228">
                  <c:v>41666</c:v>
                </c:pt>
                <c:pt idx="1229">
                  <c:v>41667</c:v>
                </c:pt>
                <c:pt idx="1230">
                  <c:v>41668</c:v>
                </c:pt>
                <c:pt idx="1231">
                  <c:v>41669</c:v>
                </c:pt>
                <c:pt idx="1232">
                  <c:v>41677</c:v>
                </c:pt>
                <c:pt idx="1233">
                  <c:v>41680</c:v>
                </c:pt>
                <c:pt idx="1234">
                  <c:v>41681</c:v>
                </c:pt>
                <c:pt idx="1235">
                  <c:v>41682</c:v>
                </c:pt>
                <c:pt idx="1236">
                  <c:v>41683</c:v>
                </c:pt>
                <c:pt idx="1237">
                  <c:v>41684</c:v>
                </c:pt>
                <c:pt idx="1238">
                  <c:v>41687</c:v>
                </c:pt>
                <c:pt idx="1239">
                  <c:v>41688</c:v>
                </c:pt>
                <c:pt idx="1240">
                  <c:v>41689</c:v>
                </c:pt>
                <c:pt idx="1241">
                  <c:v>41690</c:v>
                </c:pt>
                <c:pt idx="1242">
                  <c:v>41691</c:v>
                </c:pt>
                <c:pt idx="1243">
                  <c:v>41694</c:v>
                </c:pt>
                <c:pt idx="1244">
                  <c:v>41695</c:v>
                </c:pt>
                <c:pt idx="1245">
                  <c:v>41696</c:v>
                </c:pt>
                <c:pt idx="1246">
                  <c:v>41697</c:v>
                </c:pt>
                <c:pt idx="1247">
                  <c:v>41698</c:v>
                </c:pt>
                <c:pt idx="1248">
                  <c:v>41701</c:v>
                </c:pt>
                <c:pt idx="1249">
                  <c:v>41702</c:v>
                </c:pt>
                <c:pt idx="1250">
                  <c:v>41703</c:v>
                </c:pt>
                <c:pt idx="1251">
                  <c:v>41704</c:v>
                </c:pt>
                <c:pt idx="1252">
                  <c:v>41705</c:v>
                </c:pt>
                <c:pt idx="1253">
                  <c:v>41708</c:v>
                </c:pt>
                <c:pt idx="1254">
                  <c:v>41709</c:v>
                </c:pt>
                <c:pt idx="1255">
                  <c:v>41710</c:v>
                </c:pt>
                <c:pt idx="1256">
                  <c:v>41711</c:v>
                </c:pt>
                <c:pt idx="1257">
                  <c:v>41712</c:v>
                </c:pt>
                <c:pt idx="1258">
                  <c:v>41715</c:v>
                </c:pt>
                <c:pt idx="1259">
                  <c:v>41716</c:v>
                </c:pt>
                <c:pt idx="1260">
                  <c:v>41717</c:v>
                </c:pt>
                <c:pt idx="1261">
                  <c:v>41718</c:v>
                </c:pt>
                <c:pt idx="1262">
                  <c:v>41719</c:v>
                </c:pt>
                <c:pt idx="1263">
                  <c:v>41722</c:v>
                </c:pt>
                <c:pt idx="1264">
                  <c:v>41723</c:v>
                </c:pt>
                <c:pt idx="1265">
                  <c:v>41724</c:v>
                </c:pt>
                <c:pt idx="1266">
                  <c:v>41725</c:v>
                </c:pt>
                <c:pt idx="1267">
                  <c:v>41726</c:v>
                </c:pt>
                <c:pt idx="1268">
                  <c:v>41729</c:v>
                </c:pt>
                <c:pt idx="1269">
                  <c:v>41730</c:v>
                </c:pt>
                <c:pt idx="1270">
                  <c:v>41731</c:v>
                </c:pt>
                <c:pt idx="1271">
                  <c:v>41732</c:v>
                </c:pt>
                <c:pt idx="1272">
                  <c:v>41733</c:v>
                </c:pt>
                <c:pt idx="1273">
                  <c:v>41737</c:v>
                </c:pt>
                <c:pt idx="1274">
                  <c:v>41738</c:v>
                </c:pt>
                <c:pt idx="1275">
                  <c:v>41739</c:v>
                </c:pt>
                <c:pt idx="1276">
                  <c:v>41740</c:v>
                </c:pt>
                <c:pt idx="1277">
                  <c:v>41743</c:v>
                </c:pt>
                <c:pt idx="1278">
                  <c:v>41744</c:v>
                </c:pt>
                <c:pt idx="1279">
                  <c:v>41745</c:v>
                </c:pt>
                <c:pt idx="1280">
                  <c:v>41746</c:v>
                </c:pt>
                <c:pt idx="1281">
                  <c:v>41747</c:v>
                </c:pt>
                <c:pt idx="1282">
                  <c:v>41750</c:v>
                </c:pt>
                <c:pt idx="1283">
                  <c:v>41751</c:v>
                </c:pt>
                <c:pt idx="1284">
                  <c:v>41752</c:v>
                </c:pt>
                <c:pt idx="1285">
                  <c:v>41753</c:v>
                </c:pt>
                <c:pt idx="1286">
                  <c:v>41754</c:v>
                </c:pt>
                <c:pt idx="1287">
                  <c:v>41757</c:v>
                </c:pt>
                <c:pt idx="1288">
                  <c:v>41758</c:v>
                </c:pt>
                <c:pt idx="1289">
                  <c:v>41759</c:v>
                </c:pt>
                <c:pt idx="1290">
                  <c:v>41764</c:v>
                </c:pt>
                <c:pt idx="1291">
                  <c:v>41765</c:v>
                </c:pt>
                <c:pt idx="1292">
                  <c:v>41766</c:v>
                </c:pt>
                <c:pt idx="1293">
                  <c:v>41767</c:v>
                </c:pt>
                <c:pt idx="1294">
                  <c:v>41768</c:v>
                </c:pt>
                <c:pt idx="1295">
                  <c:v>41771</c:v>
                </c:pt>
                <c:pt idx="1296">
                  <c:v>41772</c:v>
                </c:pt>
                <c:pt idx="1297">
                  <c:v>41773</c:v>
                </c:pt>
                <c:pt idx="1298">
                  <c:v>41774</c:v>
                </c:pt>
                <c:pt idx="1299">
                  <c:v>41775</c:v>
                </c:pt>
                <c:pt idx="1300">
                  <c:v>41778</c:v>
                </c:pt>
                <c:pt idx="1301">
                  <c:v>41779</c:v>
                </c:pt>
                <c:pt idx="1302">
                  <c:v>41780</c:v>
                </c:pt>
                <c:pt idx="1303">
                  <c:v>41781</c:v>
                </c:pt>
                <c:pt idx="1304">
                  <c:v>41782</c:v>
                </c:pt>
                <c:pt idx="1305">
                  <c:v>41785</c:v>
                </c:pt>
                <c:pt idx="1306">
                  <c:v>41786</c:v>
                </c:pt>
                <c:pt idx="1307">
                  <c:v>41787</c:v>
                </c:pt>
                <c:pt idx="1308">
                  <c:v>41788</c:v>
                </c:pt>
                <c:pt idx="1309">
                  <c:v>41789</c:v>
                </c:pt>
                <c:pt idx="1310">
                  <c:v>41793</c:v>
                </c:pt>
                <c:pt idx="1311">
                  <c:v>41794</c:v>
                </c:pt>
                <c:pt idx="1312">
                  <c:v>41795</c:v>
                </c:pt>
                <c:pt idx="1313">
                  <c:v>41796</c:v>
                </c:pt>
                <c:pt idx="1314">
                  <c:v>41799</c:v>
                </c:pt>
                <c:pt idx="1315">
                  <c:v>41800</c:v>
                </c:pt>
                <c:pt idx="1316">
                  <c:v>41801</c:v>
                </c:pt>
                <c:pt idx="1317">
                  <c:v>41802</c:v>
                </c:pt>
                <c:pt idx="1318">
                  <c:v>41803</c:v>
                </c:pt>
                <c:pt idx="1319">
                  <c:v>41806</c:v>
                </c:pt>
                <c:pt idx="1320">
                  <c:v>41807</c:v>
                </c:pt>
                <c:pt idx="1321">
                  <c:v>41808</c:v>
                </c:pt>
                <c:pt idx="1322">
                  <c:v>41809</c:v>
                </c:pt>
                <c:pt idx="1323">
                  <c:v>41810</c:v>
                </c:pt>
                <c:pt idx="1324">
                  <c:v>41813</c:v>
                </c:pt>
                <c:pt idx="1325">
                  <c:v>41814</c:v>
                </c:pt>
                <c:pt idx="1326">
                  <c:v>41815</c:v>
                </c:pt>
                <c:pt idx="1327">
                  <c:v>41816</c:v>
                </c:pt>
                <c:pt idx="1328">
                  <c:v>41817</c:v>
                </c:pt>
                <c:pt idx="1329">
                  <c:v>41820</c:v>
                </c:pt>
                <c:pt idx="1330">
                  <c:v>41821</c:v>
                </c:pt>
                <c:pt idx="1331">
                  <c:v>41822</c:v>
                </c:pt>
                <c:pt idx="1332">
                  <c:v>41823</c:v>
                </c:pt>
                <c:pt idx="1333">
                  <c:v>41824</c:v>
                </c:pt>
                <c:pt idx="1334">
                  <c:v>41827</c:v>
                </c:pt>
                <c:pt idx="1335">
                  <c:v>41828</c:v>
                </c:pt>
                <c:pt idx="1336">
                  <c:v>41829</c:v>
                </c:pt>
                <c:pt idx="1337">
                  <c:v>41830</c:v>
                </c:pt>
                <c:pt idx="1338">
                  <c:v>41831</c:v>
                </c:pt>
                <c:pt idx="1339">
                  <c:v>41834</c:v>
                </c:pt>
                <c:pt idx="1340">
                  <c:v>41835</c:v>
                </c:pt>
                <c:pt idx="1341">
                  <c:v>41836</c:v>
                </c:pt>
                <c:pt idx="1342">
                  <c:v>41837</c:v>
                </c:pt>
                <c:pt idx="1343">
                  <c:v>41838</c:v>
                </c:pt>
                <c:pt idx="1344">
                  <c:v>41841</c:v>
                </c:pt>
                <c:pt idx="1345">
                  <c:v>41842</c:v>
                </c:pt>
                <c:pt idx="1346">
                  <c:v>41843</c:v>
                </c:pt>
                <c:pt idx="1347">
                  <c:v>41844</c:v>
                </c:pt>
                <c:pt idx="1348">
                  <c:v>41845</c:v>
                </c:pt>
                <c:pt idx="1349">
                  <c:v>41848</c:v>
                </c:pt>
                <c:pt idx="1350">
                  <c:v>41849</c:v>
                </c:pt>
                <c:pt idx="1351">
                  <c:v>41850</c:v>
                </c:pt>
                <c:pt idx="1352">
                  <c:v>41851</c:v>
                </c:pt>
                <c:pt idx="1353">
                  <c:v>41852</c:v>
                </c:pt>
                <c:pt idx="1354">
                  <c:v>41855</c:v>
                </c:pt>
                <c:pt idx="1355">
                  <c:v>41856</c:v>
                </c:pt>
                <c:pt idx="1356">
                  <c:v>41857</c:v>
                </c:pt>
                <c:pt idx="1357">
                  <c:v>41858</c:v>
                </c:pt>
                <c:pt idx="1358">
                  <c:v>41859</c:v>
                </c:pt>
                <c:pt idx="1359">
                  <c:v>41862</c:v>
                </c:pt>
                <c:pt idx="1360">
                  <c:v>41863</c:v>
                </c:pt>
                <c:pt idx="1361">
                  <c:v>41864</c:v>
                </c:pt>
                <c:pt idx="1362">
                  <c:v>41865</c:v>
                </c:pt>
                <c:pt idx="1363">
                  <c:v>41866</c:v>
                </c:pt>
                <c:pt idx="1364">
                  <c:v>41869</c:v>
                </c:pt>
                <c:pt idx="1365">
                  <c:v>41870</c:v>
                </c:pt>
                <c:pt idx="1366">
                  <c:v>41871</c:v>
                </c:pt>
                <c:pt idx="1367">
                  <c:v>41872</c:v>
                </c:pt>
                <c:pt idx="1368">
                  <c:v>41873</c:v>
                </c:pt>
                <c:pt idx="1369">
                  <c:v>41876</c:v>
                </c:pt>
                <c:pt idx="1370">
                  <c:v>41877</c:v>
                </c:pt>
                <c:pt idx="1371">
                  <c:v>41878</c:v>
                </c:pt>
                <c:pt idx="1372">
                  <c:v>41879</c:v>
                </c:pt>
                <c:pt idx="1373">
                  <c:v>41880</c:v>
                </c:pt>
                <c:pt idx="1374">
                  <c:v>41883</c:v>
                </c:pt>
                <c:pt idx="1375">
                  <c:v>41884</c:v>
                </c:pt>
                <c:pt idx="1376">
                  <c:v>41885</c:v>
                </c:pt>
                <c:pt idx="1377">
                  <c:v>41886</c:v>
                </c:pt>
                <c:pt idx="1378">
                  <c:v>41887</c:v>
                </c:pt>
                <c:pt idx="1379">
                  <c:v>41891</c:v>
                </c:pt>
                <c:pt idx="1380">
                  <c:v>41892</c:v>
                </c:pt>
                <c:pt idx="1381">
                  <c:v>41893</c:v>
                </c:pt>
                <c:pt idx="1382">
                  <c:v>41894</c:v>
                </c:pt>
                <c:pt idx="1383">
                  <c:v>41897</c:v>
                </c:pt>
                <c:pt idx="1384">
                  <c:v>41898</c:v>
                </c:pt>
                <c:pt idx="1385">
                  <c:v>41899</c:v>
                </c:pt>
                <c:pt idx="1386">
                  <c:v>41900</c:v>
                </c:pt>
                <c:pt idx="1387">
                  <c:v>41901</c:v>
                </c:pt>
                <c:pt idx="1388">
                  <c:v>41904</c:v>
                </c:pt>
                <c:pt idx="1389">
                  <c:v>41905</c:v>
                </c:pt>
                <c:pt idx="1390">
                  <c:v>41906</c:v>
                </c:pt>
                <c:pt idx="1391">
                  <c:v>41907</c:v>
                </c:pt>
                <c:pt idx="1392">
                  <c:v>41908</c:v>
                </c:pt>
                <c:pt idx="1393">
                  <c:v>41911</c:v>
                </c:pt>
                <c:pt idx="1394">
                  <c:v>41912</c:v>
                </c:pt>
                <c:pt idx="1395">
                  <c:v>41920</c:v>
                </c:pt>
                <c:pt idx="1396">
                  <c:v>41921</c:v>
                </c:pt>
                <c:pt idx="1397">
                  <c:v>41922</c:v>
                </c:pt>
                <c:pt idx="1398">
                  <c:v>41925</c:v>
                </c:pt>
                <c:pt idx="1399">
                  <c:v>41926</c:v>
                </c:pt>
                <c:pt idx="1400">
                  <c:v>41927</c:v>
                </c:pt>
                <c:pt idx="1401">
                  <c:v>41928</c:v>
                </c:pt>
                <c:pt idx="1402">
                  <c:v>41929</c:v>
                </c:pt>
                <c:pt idx="1403">
                  <c:v>41932</c:v>
                </c:pt>
                <c:pt idx="1404">
                  <c:v>41933</c:v>
                </c:pt>
                <c:pt idx="1405">
                  <c:v>41934</c:v>
                </c:pt>
                <c:pt idx="1406">
                  <c:v>41935</c:v>
                </c:pt>
                <c:pt idx="1407">
                  <c:v>41936</c:v>
                </c:pt>
                <c:pt idx="1408">
                  <c:v>41939</c:v>
                </c:pt>
                <c:pt idx="1409">
                  <c:v>41940</c:v>
                </c:pt>
                <c:pt idx="1410">
                  <c:v>41941</c:v>
                </c:pt>
                <c:pt idx="1411">
                  <c:v>41942</c:v>
                </c:pt>
                <c:pt idx="1412">
                  <c:v>41943</c:v>
                </c:pt>
                <c:pt idx="1413">
                  <c:v>41946</c:v>
                </c:pt>
                <c:pt idx="1414">
                  <c:v>41947</c:v>
                </c:pt>
                <c:pt idx="1415">
                  <c:v>41948</c:v>
                </c:pt>
                <c:pt idx="1416">
                  <c:v>41949</c:v>
                </c:pt>
                <c:pt idx="1417">
                  <c:v>41950</c:v>
                </c:pt>
                <c:pt idx="1418">
                  <c:v>41953</c:v>
                </c:pt>
                <c:pt idx="1419">
                  <c:v>41954</c:v>
                </c:pt>
                <c:pt idx="1420">
                  <c:v>41955</c:v>
                </c:pt>
                <c:pt idx="1421">
                  <c:v>41956</c:v>
                </c:pt>
                <c:pt idx="1422">
                  <c:v>41957</c:v>
                </c:pt>
                <c:pt idx="1423">
                  <c:v>41960</c:v>
                </c:pt>
                <c:pt idx="1424">
                  <c:v>41961</c:v>
                </c:pt>
                <c:pt idx="1425">
                  <c:v>41962</c:v>
                </c:pt>
                <c:pt idx="1426">
                  <c:v>41963</c:v>
                </c:pt>
                <c:pt idx="1427">
                  <c:v>41964</c:v>
                </c:pt>
                <c:pt idx="1428">
                  <c:v>41967</c:v>
                </c:pt>
                <c:pt idx="1429">
                  <c:v>41968</c:v>
                </c:pt>
                <c:pt idx="1430">
                  <c:v>41969</c:v>
                </c:pt>
                <c:pt idx="1431">
                  <c:v>41970</c:v>
                </c:pt>
                <c:pt idx="1432">
                  <c:v>41971</c:v>
                </c:pt>
                <c:pt idx="1433">
                  <c:v>41974</c:v>
                </c:pt>
                <c:pt idx="1434">
                  <c:v>41975</c:v>
                </c:pt>
                <c:pt idx="1435">
                  <c:v>41976</c:v>
                </c:pt>
                <c:pt idx="1436">
                  <c:v>41977</c:v>
                </c:pt>
                <c:pt idx="1437">
                  <c:v>41978</c:v>
                </c:pt>
                <c:pt idx="1438">
                  <c:v>41981</c:v>
                </c:pt>
                <c:pt idx="1439">
                  <c:v>41982</c:v>
                </c:pt>
                <c:pt idx="1440">
                  <c:v>41983</c:v>
                </c:pt>
                <c:pt idx="1441">
                  <c:v>41984</c:v>
                </c:pt>
                <c:pt idx="1442">
                  <c:v>41985</c:v>
                </c:pt>
                <c:pt idx="1443">
                  <c:v>41988</c:v>
                </c:pt>
                <c:pt idx="1444">
                  <c:v>41989</c:v>
                </c:pt>
                <c:pt idx="1445">
                  <c:v>41990</c:v>
                </c:pt>
                <c:pt idx="1446">
                  <c:v>41991</c:v>
                </c:pt>
                <c:pt idx="1447">
                  <c:v>41992</c:v>
                </c:pt>
                <c:pt idx="1448">
                  <c:v>41995</c:v>
                </c:pt>
                <c:pt idx="1449">
                  <c:v>41996</c:v>
                </c:pt>
                <c:pt idx="1450">
                  <c:v>41997</c:v>
                </c:pt>
                <c:pt idx="1451">
                  <c:v>41998</c:v>
                </c:pt>
                <c:pt idx="1452">
                  <c:v>41999</c:v>
                </c:pt>
                <c:pt idx="1453">
                  <c:v>42002</c:v>
                </c:pt>
                <c:pt idx="1454">
                  <c:v>42003</c:v>
                </c:pt>
                <c:pt idx="1455">
                  <c:v>42004</c:v>
                </c:pt>
                <c:pt idx="1456">
                  <c:v>42009</c:v>
                </c:pt>
                <c:pt idx="1457">
                  <c:v>42010</c:v>
                </c:pt>
                <c:pt idx="1458">
                  <c:v>42011</c:v>
                </c:pt>
                <c:pt idx="1459">
                  <c:v>42012</c:v>
                </c:pt>
                <c:pt idx="1460">
                  <c:v>42013</c:v>
                </c:pt>
                <c:pt idx="1461">
                  <c:v>42016</c:v>
                </c:pt>
                <c:pt idx="1462">
                  <c:v>42017</c:v>
                </c:pt>
                <c:pt idx="1463">
                  <c:v>42018</c:v>
                </c:pt>
                <c:pt idx="1464">
                  <c:v>42019</c:v>
                </c:pt>
                <c:pt idx="1465">
                  <c:v>42020</c:v>
                </c:pt>
                <c:pt idx="1466">
                  <c:v>42023</c:v>
                </c:pt>
                <c:pt idx="1467">
                  <c:v>42024</c:v>
                </c:pt>
                <c:pt idx="1468">
                  <c:v>42025</c:v>
                </c:pt>
                <c:pt idx="1469">
                  <c:v>42026</c:v>
                </c:pt>
                <c:pt idx="1470">
                  <c:v>42027</c:v>
                </c:pt>
                <c:pt idx="1471">
                  <c:v>42030</c:v>
                </c:pt>
                <c:pt idx="1472">
                  <c:v>42031</c:v>
                </c:pt>
                <c:pt idx="1473">
                  <c:v>42032</c:v>
                </c:pt>
                <c:pt idx="1474">
                  <c:v>42033</c:v>
                </c:pt>
                <c:pt idx="1475">
                  <c:v>42034</c:v>
                </c:pt>
                <c:pt idx="1476">
                  <c:v>42037</c:v>
                </c:pt>
                <c:pt idx="1477">
                  <c:v>42038</c:v>
                </c:pt>
                <c:pt idx="1478">
                  <c:v>42039</c:v>
                </c:pt>
                <c:pt idx="1479">
                  <c:v>42040</c:v>
                </c:pt>
                <c:pt idx="1480">
                  <c:v>42041</c:v>
                </c:pt>
                <c:pt idx="1481">
                  <c:v>42044</c:v>
                </c:pt>
                <c:pt idx="1482">
                  <c:v>42045</c:v>
                </c:pt>
                <c:pt idx="1483">
                  <c:v>42046</c:v>
                </c:pt>
                <c:pt idx="1484">
                  <c:v>42047</c:v>
                </c:pt>
                <c:pt idx="1485">
                  <c:v>42048</c:v>
                </c:pt>
                <c:pt idx="1486">
                  <c:v>42051</c:v>
                </c:pt>
                <c:pt idx="1487">
                  <c:v>42052</c:v>
                </c:pt>
                <c:pt idx="1488">
                  <c:v>42060</c:v>
                </c:pt>
                <c:pt idx="1489">
                  <c:v>42061</c:v>
                </c:pt>
                <c:pt idx="1490">
                  <c:v>42062</c:v>
                </c:pt>
                <c:pt idx="1491">
                  <c:v>42065</c:v>
                </c:pt>
                <c:pt idx="1492">
                  <c:v>42066</c:v>
                </c:pt>
                <c:pt idx="1493">
                  <c:v>42067</c:v>
                </c:pt>
                <c:pt idx="1494">
                  <c:v>42068</c:v>
                </c:pt>
                <c:pt idx="1495">
                  <c:v>42069</c:v>
                </c:pt>
                <c:pt idx="1496">
                  <c:v>42072</c:v>
                </c:pt>
                <c:pt idx="1497">
                  <c:v>42073</c:v>
                </c:pt>
                <c:pt idx="1498">
                  <c:v>42074</c:v>
                </c:pt>
                <c:pt idx="1499">
                  <c:v>42075</c:v>
                </c:pt>
                <c:pt idx="1500">
                  <c:v>42076</c:v>
                </c:pt>
                <c:pt idx="1501">
                  <c:v>42079</c:v>
                </c:pt>
                <c:pt idx="1502">
                  <c:v>42080</c:v>
                </c:pt>
                <c:pt idx="1503">
                  <c:v>42081</c:v>
                </c:pt>
                <c:pt idx="1504">
                  <c:v>42082</c:v>
                </c:pt>
                <c:pt idx="1505">
                  <c:v>42083</c:v>
                </c:pt>
                <c:pt idx="1506">
                  <c:v>42086</c:v>
                </c:pt>
                <c:pt idx="1507">
                  <c:v>42087</c:v>
                </c:pt>
                <c:pt idx="1508">
                  <c:v>42088</c:v>
                </c:pt>
                <c:pt idx="1509">
                  <c:v>42089</c:v>
                </c:pt>
                <c:pt idx="1510">
                  <c:v>42090</c:v>
                </c:pt>
                <c:pt idx="1511">
                  <c:v>42093</c:v>
                </c:pt>
                <c:pt idx="1512">
                  <c:v>42094</c:v>
                </c:pt>
                <c:pt idx="1513">
                  <c:v>42095</c:v>
                </c:pt>
                <c:pt idx="1514">
                  <c:v>42096</c:v>
                </c:pt>
                <c:pt idx="1515">
                  <c:v>42097</c:v>
                </c:pt>
                <c:pt idx="1516">
                  <c:v>42101</c:v>
                </c:pt>
                <c:pt idx="1517">
                  <c:v>42102</c:v>
                </c:pt>
                <c:pt idx="1518">
                  <c:v>42103</c:v>
                </c:pt>
                <c:pt idx="1519">
                  <c:v>42104</c:v>
                </c:pt>
                <c:pt idx="1520">
                  <c:v>42107</c:v>
                </c:pt>
                <c:pt idx="1521">
                  <c:v>42108</c:v>
                </c:pt>
                <c:pt idx="1522">
                  <c:v>42109</c:v>
                </c:pt>
                <c:pt idx="1523">
                  <c:v>42110</c:v>
                </c:pt>
                <c:pt idx="1524">
                  <c:v>42111</c:v>
                </c:pt>
                <c:pt idx="1525">
                  <c:v>42114</c:v>
                </c:pt>
                <c:pt idx="1526">
                  <c:v>42115</c:v>
                </c:pt>
                <c:pt idx="1527">
                  <c:v>42116</c:v>
                </c:pt>
                <c:pt idx="1528">
                  <c:v>42117</c:v>
                </c:pt>
                <c:pt idx="1529">
                  <c:v>42118</c:v>
                </c:pt>
                <c:pt idx="1530">
                  <c:v>42121</c:v>
                </c:pt>
                <c:pt idx="1531">
                  <c:v>42122</c:v>
                </c:pt>
                <c:pt idx="1532">
                  <c:v>42123</c:v>
                </c:pt>
                <c:pt idx="1533">
                  <c:v>42124</c:v>
                </c:pt>
                <c:pt idx="1534">
                  <c:v>42128</c:v>
                </c:pt>
                <c:pt idx="1535">
                  <c:v>42129</c:v>
                </c:pt>
                <c:pt idx="1536">
                  <c:v>42130</c:v>
                </c:pt>
                <c:pt idx="1537">
                  <c:v>42131</c:v>
                </c:pt>
                <c:pt idx="1538">
                  <c:v>42132</c:v>
                </c:pt>
                <c:pt idx="1539">
                  <c:v>42135</c:v>
                </c:pt>
                <c:pt idx="1540">
                  <c:v>42136</c:v>
                </c:pt>
                <c:pt idx="1541">
                  <c:v>42137</c:v>
                </c:pt>
                <c:pt idx="1542">
                  <c:v>42138</c:v>
                </c:pt>
                <c:pt idx="1543">
                  <c:v>42139</c:v>
                </c:pt>
                <c:pt idx="1544">
                  <c:v>42142</c:v>
                </c:pt>
                <c:pt idx="1545">
                  <c:v>42143</c:v>
                </c:pt>
                <c:pt idx="1546">
                  <c:v>42144</c:v>
                </c:pt>
                <c:pt idx="1547">
                  <c:v>42145</c:v>
                </c:pt>
                <c:pt idx="1548">
                  <c:v>42146</c:v>
                </c:pt>
                <c:pt idx="1549">
                  <c:v>42149</c:v>
                </c:pt>
                <c:pt idx="1550">
                  <c:v>42150</c:v>
                </c:pt>
                <c:pt idx="1551">
                  <c:v>42151</c:v>
                </c:pt>
                <c:pt idx="1552">
                  <c:v>42152</c:v>
                </c:pt>
                <c:pt idx="1553">
                  <c:v>42153</c:v>
                </c:pt>
                <c:pt idx="1554">
                  <c:v>42156</c:v>
                </c:pt>
                <c:pt idx="1555">
                  <c:v>42157</c:v>
                </c:pt>
                <c:pt idx="1556">
                  <c:v>42158</c:v>
                </c:pt>
                <c:pt idx="1557">
                  <c:v>42159</c:v>
                </c:pt>
                <c:pt idx="1558">
                  <c:v>42160</c:v>
                </c:pt>
                <c:pt idx="1559">
                  <c:v>42163</c:v>
                </c:pt>
                <c:pt idx="1560">
                  <c:v>42164</c:v>
                </c:pt>
                <c:pt idx="1561">
                  <c:v>42165</c:v>
                </c:pt>
                <c:pt idx="1562">
                  <c:v>42166</c:v>
                </c:pt>
                <c:pt idx="1563">
                  <c:v>42167</c:v>
                </c:pt>
                <c:pt idx="1564">
                  <c:v>42170</c:v>
                </c:pt>
                <c:pt idx="1565">
                  <c:v>42171</c:v>
                </c:pt>
                <c:pt idx="1566">
                  <c:v>42172</c:v>
                </c:pt>
                <c:pt idx="1567">
                  <c:v>42173</c:v>
                </c:pt>
                <c:pt idx="1568">
                  <c:v>42174</c:v>
                </c:pt>
                <c:pt idx="1569">
                  <c:v>42178</c:v>
                </c:pt>
                <c:pt idx="1570">
                  <c:v>42179</c:v>
                </c:pt>
                <c:pt idx="1571">
                  <c:v>42180</c:v>
                </c:pt>
                <c:pt idx="1572">
                  <c:v>42181</c:v>
                </c:pt>
                <c:pt idx="1573">
                  <c:v>42184</c:v>
                </c:pt>
                <c:pt idx="1574">
                  <c:v>42185</c:v>
                </c:pt>
                <c:pt idx="1575">
                  <c:v>42186</c:v>
                </c:pt>
                <c:pt idx="1576">
                  <c:v>42187</c:v>
                </c:pt>
                <c:pt idx="1577">
                  <c:v>42188</c:v>
                </c:pt>
                <c:pt idx="1578">
                  <c:v>42191</c:v>
                </c:pt>
                <c:pt idx="1579">
                  <c:v>42192</c:v>
                </c:pt>
                <c:pt idx="1580">
                  <c:v>42193</c:v>
                </c:pt>
                <c:pt idx="1581">
                  <c:v>42194</c:v>
                </c:pt>
                <c:pt idx="1582">
                  <c:v>42195</c:v>
                </c:pt>
                <c:pt idx="1583">
                  <c:v>42198</c:v>
                </c:pt>
                <c:pt idx="1584">
                  <c:v>42199</c:v>
                </c:pt>
                <c:pt idx="1585">
                  <c:v>42200</c:v>
                </c:pt>
                <c:pt idx="1586">
                  <c:v>42201</c:v>
                </c:pt>
                <c:pt idx="1587">
                  <c:v>42202</c:v>
                </c:pt>
                <c:pt idx="1588">
                  <c:v>42205</c:v>
                </c:pt>
                <c:pt idx="1589">
                  <c:v>42206</c:v>
                </c:pt>
                <c:pt idx="1590">
                  <c:v>42207</c:v>
                </c:pt>
                <c:pt idx="1591">
                  <c:v>42208</c:v>
                </c:pt>
                <c:pt idx="1592">
                  <c:v>42209</c:v>
                </c:pt>
                <c:pt idx="1593">
                  <c:v>42212</c:v>
                </c:pt>
                <c:pt idx="1594">
                  <c:v>42213</c:v>
                </c:pt>
                <c:pt idx="1595">
                  <c:v>42214</c:v>
                </c:pt>
                <c:pt idx="1596">
                  <c:v>42215</c:v>
                </c:pt>
                <c:pt idx="1597">
                  <c:v>42216</c:v>
                </c:pt>
                <c:pt idx="1598">
                  <c:v>42219</c:v>
                </c:pt>
                <c:pt idx="1599">
                  <c:v>42220</c:v>
                </c:pt>
                <c:pt idx="1600">
                  <c:v>42221</c:v>
                </c:pt>
                <c:pt idx="1601">
                  <c:v>42222</c:v>
                </c:pt>
                <c:pt idx="1602">
                  <c:v>42223</c:v>
                </c:pt>
                <c:pt idx="1603">
                  <c:v>42226</c:v>
                </c:pt>
                <c:pt idx="1604">
                  <c:v>42227</c:v>
                </c:pt>
                <c:pt idx="1605">
                  <c:v>42228</c:v>
                </c:pt>
                <c:pt idx="1606">
                  <c:v>42229</c:v>
                </c:pt>
                <c:pt idx="1607">
                  <c:v>42230</c:v>
                </c:pt>
                <c:pt idx="1608">
                  <c:v>42233</c:v>
                </c:pt>
                <c:pt idx="1609">
                  <c:v>42234</c:v>
                </c:pt>
                <c:pt idx="1610">
                  <c:v>42235</c:v>
                </c:pt>
                <c:pt idx="1611">
                  <c:v>42236</c:v>
                </c:pt>
                <c:pt idx="1612">
                  <c:v>42237</c:v>
                </c:pt>
                <c:pt idx="1613">
                  <c:v>42240</c:v>
                </c:pt>
                <c:pt idx="1614">
                  <c:v>42241</c:v>
                </c:pt>
                <c:pt idx="1615">
                  <c:v>42242</c:v>
                </c:pt>
                <c:pt idx="1616">
                  <c:v>42243</c:v>
                </c:pt>
                <c:pt idx="1617">
                  <c:v>42244</c:v>
                </c:pt>
                <c:pt idx="1618">
                  <c:v>42247</c:v>
                </c:pt>
                <c:pt idx="1619">
                  <c:v>42248</c:v>
                </c:pt>
                <c:pt idx="1620">
                  <c:v>42249</c:v>
                </c:pt>
                <c:pt idx="1621">
                  <c:v>42254</c:v>
                </c:pt>
                <c:pt idx="1622">
                  <c:v>42255</c:v>
                </c:pt>
                <c:pt idx="1623">
                  <c:v>42256</c:v>
                </c:pt>
                <c:pt idx="1624">
                  <c:v>42257</c:v>
                </c:pt>
                <c:pt idx="1625">
                  <c:v>42258</c:v>
                </c:pt>
                <c:pt idx="1626">
                  <c:v>42261</c:v>
                </c:pt>
                <c:pt idx="1627">
                  <c:v>42262</c:v>
                </c:pt>
                <c:pt idx="1628">
                  <c:v>42263</c:v>
                </c:pt>
                <c:pt idx="1629">
                  <c:v>42264</c:v>
                </c:pt>
                <c:pt idx="1630">
                  <c:v>42265</c:v>
                </c:pt>
                <c:pt idx="1631">
                  <c:v>42268</c:v>
                </c:pt>
                <c:pt idx="1632">
                  <c:v>42269</c:v>
                </c:pt>
                <c:pt idx="1633">
                  <c:v>42270</c:v>
                </c:pt>
                <c:pt idx="1634">
                  <c:v>42271</c:v>
                </c:pt>
                <c:pt idx="1635">
                  <c:v>42272</c:v>
                </c:pt>
                <c:pt idx="1636">
                  <c:v>42275</c:v>
                </c:pt>
                <c:pt idx="1637">
                  <c:v>42276</c:v>
                </c:pt>
                <c:pt idx="1638">
                  <c:v>42277</c:v>
                </c:pt>
                <c:pt idx="1639">
                  <c:v>42285</c:v>
                </c:pt>
                <c:pt idx="1640">
                  <c:v>42286</c:v>
                </c:pt>
                <c:pt idx="1641">
                  <c:v>42289</c:v>
                </c:pt>
                <c:pt idx="1642">
                  <c:v>42290</c:v>
                </c:pt>
                <c:pt idx="1643">
                  <c:v>42291</c:v>
                </c:pt>
                <c:pt idx="1644">
                  <c:v>42292</c:v>
                </c:pt>
                <c:pt idx="1645">
                  <c:v>42293</c:v>
                </c:pt>
                <c:pt idx="1646">
                  <c:v>42296</c:v>
                </c:pt>
                <c:pt idx="1647">
                  <c:v>42297</c:v>
                </c:pt>
                <c:pt idx="1648">
                  <c:v>42298</c:v>
                </c:pt>
                <c:pt idx="1649">
                  <c:v>42299</c:v>
                </c:pt>
                <c:pt idx="1650">
                  <c:v>42300</c:v>
                </c:pt>
                <c:pt idx="1651">
                  <c:v>42303</c:v>
                </c:pt>
                <c:pt idx="1652">
                  <c:v>42304</c:v>
                </c:pt>
                <c:pt idx="1653">
                  <c:v>42305</c:v>
                </c:pt>
                <c:pt idx="1654">
                  <c:v>42306</c:v>
                </c:pt>
                <c:pt idx="1655">
                  <c:v>42307</c:v>
                </c:pt>
                <c:pt idx="1656">
                  <c:v>42310</c:v>
                </c:pt>
                <c:pt idx="1657">
                  <c:v>42311</c:v>
                </c:pt>
                <c:pt idx="1658">
                  <c:v>42312</c:v>
                </c:pt>
                <c:pt idx="1659">
                  <c:v>42313</c:v>
                </c:pt>
                <c:pt idx="1660">
                  <c:v>42314</c:v>
                </c:pt>
                <c:pt idx="1661">
                  <c:v>42317</c:v>
                </c:pt>
                <c:pt idx="1662">
                  <c:v>42318</c:v>
                </c:pt>
                <c:pt idx="1663">
                  <c:v>42319</c:v>
                </c:pt>
                <c:pt idx="1664">
                  <c:v>42320</c:v>
                </c:pt>
                <c:pt idx="1665">
                  <c:v>42321</c:v>
                </c:pt>
                <c:pt idx="1666">
                  <c:v>42324</c:v>
                </c:pt>
                <c:pt idx="1667">
                  <c:v>42325</c:v>
                </c:pt>
                <c:pt idx="1668">
                  <c:v>42326</c:v>
                </c:pt>
                <c:pt idx="1669">
                  <c:v>42327</c:v>
                </c:pt>
                <c:pt idx="1670">
                  <c:v>42328</c:v>
                </c:pt>
                <c:pt idx="1671">
                  <c:v>42331</c:v>
                </c:pt>
                <c:pt idx="1672">
                  <c:v>42332</c:v>
                </c:pt>
                <c:pt idx="1673">
                  <c:v>42333</c:v>
                </c:pt>
                <c:pt idx="1674">
                  <c:v>42334</c:v>
                </c:pt>
                <c:pt idx="1675">
                  <c:v>42335</c:v>
                </c:pt>
                <c:pt idx="1676">
                  <c:v>42338</c:v>
                </c:pt>
                <c:pt idx="1677">
                  <c:v>42339</c:v>
                </c:pt>
                <c:pt idx="1678">
                  <c:v>42340</c:v>
                </c:pt>
                <c:pt idx="1679">
                  <c:v>42341</c:v>
                </c:pt>
                <c:pt idx="1680">
                  <c:v>42342</c:v>
                </c:pt>
                <c:pt idx="1681">
                  <c:v>42345</c:v>
                </c:pt>
                <c:pt idx="1682">
                  <c:v>42346</c:v>
                </c:pt>
                <c:pt idx="1683">
                  <c:v>42347</c:v>
                </c:pt>
                <c:pt idx="1684">
                  <c:v>42348</c:v>
                </c:pt>
                <c:pt idx="1685">
                  <c:v>42349</c:v>
                </c:pt>
                <c:pt idx="1686">
                  <c:v>42352</c:v>
                </c:pt>
                <c:pt idx="1687">
                  <c:v>42353</c:v>
                </c:pt>
                <c:pt idx="1688">
                  <c:v>42354</c:v>
                </c:pt>
                <c:pt idx="1689">
                  <c:v>42355</c:v>
                </c:pt>
                <c:pt idx="1690">
                  <c:v>42356</c:v>
                </c:pt>
                <c:pt idx="1691">
                  <c:v>42359</c:v>
                </c:pt>
                <c:pt idx="1692">
                  <c:v>42360</c:v>
                </c:pt>
                <c:pt idx="1693">
                  <c:v>42361</c:v>
                </c:pt>
                <c:pt idx="1694">
                  <c:v>42362</c:v>
                </c:pt>
                <c:pt idx="1695">
                  <c:v>42363</c:v>
                </c:pt>
                <c:pt idx="1696">
                  <c:v>42366</c:v>
                </c:pt>
                <c:pt idx="1697">
                  <c:v>42367</c:v>
                </c:pt>
                <c:pt idx="1698">
                  <c:v>42368</c:v>
                </c:pt>
                <c:pt idx="1699">
                  <c:v>42369</c:v>
                </c:pt>
                <c:pt idx="1700">
                  <c:v>42373</c:v>
                </c:pt>
                <c:pt idx="1701">
                  <c:v>42374</c:v>
                </c:pt>
                <c:pt idx="1702">
                  <c:v>42375</c:v>
                </c:pt>
                <c:pt idx="1703">
                  <c:v>42376</c:v>
                </c:pt>
                <c:pt idx="1704">
                  <c:v>42377</c:v>
                </c:pt>
                <c:pt idx="1705">
                  <c:v>42380</c:v>
                </c:pt>
                <c:pt idx="1706">
                  <c:v>42381</c:v>
                </c:pt>
                <c:pt idx="1707">
                  <c:v>42382</c:v>
                </c:pt>
                <c:pt idx="1708">
                  <c:v>42383</c:v>
                </c:pt>
                <c:pt idx="1709">
                  <c:v>42384</c:v>
                </c:pt>
                <c:pt idx="1710">
                  <c:v>42387</c:v>
                </c:pt>
                <c:pt idx="1711">
                  <c:v>42388</c:v>
                </c:pt>
                <c:pt idx="1712">
                  <c:v>42389</c:v>
                </c:pt>
                <c:pt idx="1713">
                  <c:v>42390</c:v>
                </c:pt>
                <c:pt idx="1714">
                  <c:v>42391</c:v>
                </c:pt>
                <c:pt idx="1715">
                  <c:v>42394</c:v>
                </c:pt>
                <c:pt idx="1716">
                  <c:v>42395</c:v>
                </c:pt>
                <c:pt idx="1717">
                  <c:v>42396</c:v>
                </c:pt>
                <c:pt idx="1718">
                  <c:v>42397</c:v>
                </c:pt>
                <c:pt idx="1719">
                  <c:v>42398</c:v>
                </c:pt>
                <c:pt idx="1720">
                  <c:v>42401</c:v>
                </c:pt>
                <c:pt idx="1721">
                  <c:v>42402</c:v>
                </c:pt>
                <c:pt idx="1722">
                  <c:v>42403</c:v>
                </c:pt>
                <c:pt idx="1723">
                  <c:v>42404</c:v>
                </c:pt>
                <c:pt idx="1724">
                  <c:v>42405</c:v>
                </c:pt>
                <c:pt idx="1725">
                  <c:v>42415</c:v>
                </c:pt>
                <c:pt idx="1726">
                  <c:v>42416</c:v>
                </c:pt>
                <c:pt idx="1727">
                  <c:v>42417</c:v>
                </c:pt>
                <c:pt idx="1728">
                  <c:v>42418</c:v>
                </c:pt>
                <c:pt idx="1729">
                  <c:v>42419</c:v>
                </c:pt>
                <c:pt idx="1730">
                  <c:v>42422</c:v>
                </c:pt>
                <c:pt idx="1731">
                  <c:v>42423</c:v>
                </c:pt>
                <c:pt idx="1732">
                  <c:v>42424</c:v>
                </c:pt>
                <c:pt idx="1733">
                  <c:v>42425</c:v>
                </c:pt>
                <c:pt idx="1734">
                  <c:v>42426</c:v>
                </c:pt>
                <c:pt idx="1735">
                  <c:v>42429</c:v>
                </c:pt>
                <c:pt idx="1736">
                  <c:v>42430</c:v>
                </c:pt>
                <c:pt idx="1737">
                  <c:v>42431</c:v>
                </c:pt>
                <c:pt idx="1738">
                  <c:v>42432</c:v>
                </c:pt>
                <c:pt idx="1739">
                  <c:v>42433</c:v>
                </c:pt>
                <c:pt idx="1740">
                  <c:v>42436</c:v>
                </c:pt>
                <c:pt idx="1741">
                  <c:v>42437</c:v>
                </c:pt>
                <c:pt idx="1742">
                  <c:v>42438</c:v>
                </c:pt>
                <c:pt idx="1743">
                  <c:v>42439</c:v>
                </c:pt>
                <c:pt idx="1744">
                  <c:v>42440</c:v>
                </c:pt>
                <c:pt idx="1745">
                  <c:v>42443</c:v>
                </c:pt>
                <c:pt idx="1746">
                  <c:v>42444</c:v>
                </c:pt>
                <c:pt idx="1747">
                  <c:v>42445</c:v>
                </c:pt>
                <c:pt idx="1748">
                  <c:v>42446</c:v>
                </c:pt>
                <c:pt idx="1749">
                  <c:v>42447</c:v>
                </c:pt>
                <c:pt idx="1750">
                  <c:v>42450</c:v>
                </c:pt>
                <c:pt idx="1751">
                  <c:v>42451</c:v>
                </c:pt>
                <c:pt idx="1752">
                  <c:v>42452</c:v>
                </c:pt>
                <c:pt idx="1753">
                  <c:v>42453</c:v>
                </c:pt>
                <c:pt idx="1754">
                  <c:v>42454</c:v>
                </c:pt>
                <c:pt idx="1755">
                  <c:v>42457</c:v>
                </c:pt>
                <c:pt idx="1756">
                  <c:v>42458</c:v>
                </c:pt>
                <c:pt idx="1757">
                  <c:v>42459</c:v>
                </c:pt>
                <c:pt idx="1758">
                  <c:v>42460</c:v>
                </c:pt>
                <c:pt idx="1759">
                  <c:v>42461</c:v>
                </c:pt>
                <c:pt idx="1760">
                  <c:v>42465</c:v>
                </c:pt>
                <c:pt idx="1761">
                  <c:v>42466</c:v>
                </c:pt>
                <c:pt idx="1762">
                  <c:v>42467</c:v>
                </c:pt>
                <c:pt idx="1763">
                  <c:v>42468</c:v>
                </c:pt>
                <c:pt idx="1764">
                  <c:v>42471</c:v>
                </c:pt>
                <c:pt idx="1765">
                  <c:v>42472</c:v>
                </c:pt>
                <c:pt idx="1766">
                  <c:v>42473</c:v>
                </c:pt>
                <c:pt idx="1767">
                  <c:v>42474</c:v>
                </c:pt>
                <c:pt idx="1768">
                  <c:v>42475</c:v>
                </c:pt>
                <c:pt idx="1769">
                  <c:v>42478</c:v>
                </c:pt>
                <c:pt idx="1770">
                  <c:v>42479</c:v>
                </c:pt>
                <c:pt idx="1771">
                  <c:v>42480</c:v>
                </c:pt>
                <c:pt idx="1772">
                  <c:v>42481</c:v>
                </c:pt>
                <c:pt idx="1773">
                  <c:v>42482</c:v>
                </c:pt>
                <c:pt idx="1774">
                  <c:v>42485</c:v>
                </c:pt>
                <c:pt idx="1775">
                  <c:v>42486</c:v>
                </c:pt>
                <c:pt idx="1776">
                  <c:v>42487</c:v>
                </c:pt>
                <c:pt idx="1777">
                  <c:v>42488</c:v>
                </c:pt>
                <c:pt idx="1778">
                  <c:v>42489</c:v>
                </c:pt>
                <c:pt idx="1779">
                  <c:v>42493</c:v>
                </c:pt>
                <c:pt idx="1780">
                  <c:v>42494</c:v>
                </c:pt>
                <c:pt idx="1781">
                  <c:v>42495</c:v>
                </c:pt>
                <c:pt idx="1782">
                  <c:v>42496</c:v>
                </c:pt>
                <c:pt idx="1783">
                  <c:v>42499</c:v>
                </c:pt>
                <c:pt idx="1784">
                  <c:v>42500</c:v>
                </c:pt>
                <c:pt idx="1785">
                  <c:v>42501</c:v>
                </c:pt>
                <c:pt idx="1786">
                  <c:v>42502</c:v>
                </c:pt>
                <c:pt idx="1787">
                  <c:v>42503</c:v>
                </c:pt>
                <c:pt idx="1788">
                  <c:v>42506</c:v>
                </c:pt>
                <c:pt idx="1789">
                  <c:v>42507</c:v>
                </c:pt>
                <c:pt idx="1790">
                  <c:v>42508</c:v>
                </c:pt>
                <c:pt idx="1791">
                  <c:v>42509</c:v>
                </c:pt>
                <c:pt idx="1792">
                  <c:v>42510</c:v>
                </c:pt>
                <c:pt idx="1793">
                  <c:v>42513</c:v>
                </c:pt>
                <c:pt idx="1794">
                  <c:v>42514</c:v>
                </c:pt>
                <c:pt idx="1795">
                  <c:v>42515</c:v>
                </c:pt>
                <c:pt idx="1796">
                  <c:v>42516</c:v>
                </c:pt>
                <c:pt idx="1797">
                  <c:v>42517</c:v>
                </c:pt>
                <c:pt idx="1798">
                  <c:v>42520</c:v>
                </c:pt>
                <c:pt idx="1799">
                  <c:v>42521</c:v>
                </c:pt>
                <c:pt idx="1800">
                  <c:v>42522</c:v>
                </c:pt>
                <c:pt idx="1801">
                  <c:v>42523</c:v>
                </c:pt>
                <c:pt idx="1802">
                  <c:v>42524</c:v>
                </c:pt>
                <c:pt idx="1803">
                  <c:v>42527</c:v>
                </c:pt>
                <c:pt idx="1804">
                  <c:v>42528</c:v>
                </c:pt>
                <c:pt idx="1805">
                  <c:v>42529</c:v>
                </c:pt>
                <c:pt idx="1806">
                  <c:v>42534</c:v>
                </c:pt>
                <c:pt idx="1807">
                  <c:v>42535</c:v>
                </c:pt>
                <c:pt idx="1808">
                  <c:v>42536</c:v>
                </c:pt>
                <c:pt idx="1809">
                  <c:v>42537</c:v>
                </c:pt>
                <c:pt idx="1810">
                  <c:v>42538</c:v>
                </c:pt>
                <c:pt idx="1811">
                  <c:v>42541</c:v>
                </c:pt>
                <c:pt idx="1812">
                  <c:v>42542</c:v>
                </c:pt>
                <c:pt idx="1813">
                  <c:v>42543</c:v>
                </c:pt>
                <c:pt idx="1814">
                  <c:v>42544</c:v>
                </c:pt>
                <c:pt idx="1815">
                  <c:v>42545</c:v>
                </c:pt>
                <c:pt idx="1816">
                  <c:v>42548</c:v>
                </c:pt>
                <c:pt idx="1817">
                  <c:v>42549</c:v>
                </c:pt>
                <c:pt idx="1818">
                  <c:v>42550</c:v>
                </c:pt>
                <c:pt idx="1819">
                  <c:v>42551</c:v>
                </c:pt>
                <c:pt idx="1820">
                  <c:v>42552</c:v>
                </c:pt>
                <c:pt idx="1821">
                  <c:v>42555</c:v>
                </c:pt>
                <c:pt idx="1822">
                  <c:v>42556</c:v>
                </c:pt>
                <c:pt idx="1823">
                  <c:v>42557</c:v>
                </c:pt>
                <c:pt idx="1824">
                  <c:v>42558</c:v>
                </c:pt>
                <c:pt idx="1825">
                  <c:v>42559</c:v>
                </c:pt>
                <c:pt idx="1826">
                  <c:v>42562</c:v>
                </c:pt>
                <c:pt idx="1827">
                  <c:v>42563</c:v>
                </c:pt>
                <c:pt idx="1828">
                  <c:v>42564</c:v>
                </c:pt>
                <c:pt idx="1829">
                  <c:v>42565</c:v>
                </c:pt>
                <c:pt idx="1830">
                  <c:v>42566</c:v>
                </c:pt>
                <c:pt idx="1831">
                  <c:v>42569</c:v>
                </c:pt>
                <c:pt idx="1832">
                  <c:v>42570</c:v>
                </c:pt>
                <c:pt idx="1833">
                  <c:v>42571</c:v>
                </c:pt>
                <c:pt idx="1834">
                  <c:v>42572</c:v>
                </c:pt>
                <c:pt idx="1835">
                  <c:v>42573</c:v>
                </c:pt>
                <c:pt idx="1836">
                  <c:v>42576</c:v>
                </c:pt>
                <c:pt idx="1837">
                  <c:v>42577</c:v>
                </c:pt>
                <c:pt idx="1838">
                  <c:v>42578</c:v>
                </c:pt>
                <c:pt idx="1839">
                  <c:v>42579</c:v>
                </c:pt>
                <c:pt idx="1840">
                  <c:v>42580</c:v>
                </c:pt>
                <c:pt idx="1841">
                  <c:v>42583</c:v>
                </c:pt>
                <c:pt idx="1842">
                  <c:v>42584</c:v>
                </c:pt>
                <c:pt idx="1843">
                  <c:v>42585</c:v>
                </c:pt>
                <c:pt idx="1844">
                  <c:v>42586</c:v>
                </c:pt>
                <c:pt idx="1845">
                  <c:v>42587</c:v>
                </c:pt>
                <c:pt idx="1846">
                  <c:v>42590</c:v>
                </c:pt>
                <c:pt idx="1847">
                  <c:v>42591</c:v>
                </c:pt>
                <c:pt idx="1848">
                  <c:v>42592</c:v>
                </c:pt>
                <c:pt idx="1849">
                  <c:v>42593</c:v>
                </c:pt>
                <c:pt idx="1850">
                  <c:v>42594</c:v>
                </c:pt>
                <c:pt idx="1851">
                  <c:v>42597</c:v>
                </c:pt>
                <c:pt idx="1852">
                  <c:v>42598</c:v>
                </c:pt>
                <c:pt idx="1853">
                  <c:v>42599</c:v>
                </c:pt>
                <c:pt idx="1854">
                  <c:v>42600</c:v>
                </c:pt>
                <c:pt idx="1855">
                  <c:v>42601</c:v>
                </c:pt>
                <c:pt idx="1856">
                  <c:v>42604</c:v>
                </c:pt>
                <c:pt idx="1857">
                  <c:v>42605</c:v>
                </c:pt>
                <c:pt idx="1858">
                  <c:v>42606</c:v>
                </c:pt>
                <c:pt idx="1859">
                  <c:v>42607</c:v>
                </c:pt>
                <c:pt idx="1860">
                  <c:v>42608</c:v>
                </c:pt>
                <c:pt idx="1861">
                  <c:v>42611</c:v>
                </c:pt>
                <c:pt idx="1862">
                  <c:v>42612</c:v>
                </c:pt>
                <c:pt idx="1863">
                  <c:v>42613</c:v>
                </c:pt>
                <c:pt idx="1864">
                  <c:v>42614</c:v>
                </c:pt>
                <c:pt idx="1865">
                  <c:v>42615</c:v>
                </c:pt>
                <c:pt idx="1866">
                  <c:v>42618</c:v>
                </c:pt>
                <c:pt idx="1867">
                  <c:v>42619</c:v>
                </c:pt>
                <c:pt idx="1868">
                  <c:v>42620</c:v>
                </c:pt>
                <c:pt idx="1869">
                  <c:v>42621</c:v>
                </c:pt>
                <c:pt idx="1870">
                  <c:v>42622</c:v>
                </c:pt>
                <c:pt idx="1871">
                  <c:v>42625</c:v>
                </c:pt>
                <c:pt idx="1872">
                  <c:v>42626</c:v>
                </c:pt>
                <c:pt idx="1873">
                  <c:v>42627</c:v>
                </c:pt>
                <c:pt idx="1874">
                  <c:v>42632</c:v>
                </c:pt>
                <c:pt idx="1875">
                  <c:v>42633</c:v>
                </c:pt>
                <c:pt idx="1876">
                  <c:v>42634</c:v>
                </c:pt>
                <c:pt idx="1877">
                  <c:v>42635</c:v>
                </c:pt>
                <c:pt idx="1878">
                  <c:v>42636</c:v>
                </c:pt>
                <c:pt idx="1879">
                  <c:v>42639</c:v>
                </c:pt>
                <c:pt idx="1880">
                  <c:v>42640</c:v>
                </c:pt>
                <c:pt idx="1881">
                  <c:v>42641</c:v>
                </c:pt>
                <c:pt idx="1882">
                  <c:v>42642</c:v>
                </c:pt>
                <c:pt idx="1883">
                  <c:v>42643</c:v>
                </c:pt>
                <c:pt idx="1884">
                  <c:v>42653</c:v>
                </c:pt>
                <c:pt idx="1885">
                  <c:v>42654</c:v>
                </c:pt>
                <c:pt idx="1886">
                  <c:v>42655</c:v>
                </c:pt>
                <c:pt idx="1887">
                  <c:v>42656</c:v>
                </c:pt>
                <c:pt idx="1888">
                  <c:v>42657</c:v>
                </c:pt>
                <c:pt idx="1889">
                  <c:v>42660</c:v>
                </c:pt>
                <c:pt idx="1890">
                  <c:v>42661</c:v>
                </c:pt>
                <c:pt idx="1891">
                  <c:v>42662</c:v>
                </c:pt>
                <c:pt idx="1892">
                  <c:v>42663</c:v>
                </c:pt>
                <c:pt idx="1893">
                  <c:v>42664</c:v>
                </c:pt>
                <c:pt idx="1894">
                  <c:v>42667</c:v>
                </c:pt>
                <c:pt idx="1895">
                  <c:v>42668</c:v>
                </c:pt>
                <c:pt idx="1896">
                  <c:v>42669</c:v>
                </c:pt>
                <c:pt idx="1897">
                  <c:v>42670</c:v>
                </c:pt>
                <c:pt idx="1898">
                  <c:v>42671</c:v>
                </c:pt>
                <c:pt idx="1899">
                  <c:v>42674</c:v>
                </c:pt>
                <c:pt idx="1900">
                  <c:v>42675</c:v>
                </c:pt>
                <c:pt idx="1901">
                  <c:v>42676</c:v>
                </c:pt>
                <c:pt idx="1902">
                  <c:v>42677</c:v>
                </c:pt>
                <c:pt idx="1903">
                  <c:v>42678</c:v>
                </c:pt>
                <c:pt idx="1904">
                  <c:v>42681</c:v>
                </c:pt>
                <c:pt idx="1905">
                  <c:v>42682</c:v>
                </c:pt>
                <c:pt idx="1906">
                  <c:v>42683</c:v>
                </c:pt>
                <c:pt idx="1907">
                  <c:v>42684</c:v>
                </c:pt>
                <c:pt idx="1908">
                  <c:v>42685</c:v>
                </c:pt>
                <c:pt idx="1909">
                  <c:v>42688</c:v>
                </c:pt>
                <c:pt idx="1910">
                  <c:v>42689</c:v>
                </c:pt>
                <c:pt idx="1911">
                  <c:v>42690</c:v>
                </c:pt>
                <c:pt idx="1912">
                  <c:v>42691</c:v>
                </c:pt>
                <c:pt idx="1913">
                  <c:v>42692</c:v>
                </c:pt>
                <c:pt idx="1914">
                  <c:v>42695</c:v>
                </c:pt>
                <c:pt idx="1915">
                  <c:v>42696</c:v>
                </c:pt>
                <c:pt idx="1916">
                  <c:v>42697</c:v>
                </c:pt>
                <c:pt idx="1917">
                  <c:v>42698</c:v>
                </c:pt>
                <c:pt idx="1918">
                  <c:v>42699</c:v>
                </c:pt>
                <c:pt idx="1919">
                  <c:v>42702</c:v>
                </c:pt>
                <c:pt idx="1920">
                  <c:v>42703</c:v>
                </c:pt>
                <c:pt idx="1921">
                  <c:v>42704</c:v>
                </c:pt>
                <c:pt idx="1922">
                  <c:v>42705</c:v>
                </c:pt>
                <c:pt idx="1923">
                  <c:v>42706</c:v>
                </c:pt>
                <c:pt idx="1924">
                  <c:v>42709</c:v>
                </c:pt>
                <c:pt idx="1925">
                  <c:v>42710</c:v>
                </c:pt>
                <c:pt idx="1926">
                  <c:v>42711</c:v>
                </c:pt>
                <c:pt idx="1927">
                  <c:v>42712</c:v>
                </c:pt>
                <c:pt idx="1928">
                  <c:v>42713</c:v>
                </c:pt>
                <c:pt idx="1929">
                  <c:v>42716</c:v>
                </c:pt>
                <c:pt idx="1930">
                  <c:v>42717</c:v>
                </c:pt>
                <c:pt idx="1931">
                  <c:v>42718</c:v>
                </c:pt>
                <c:pt idx="1932">
                  <c:v>42719</c:v>
                </c:pt>
                <c:pt idx="1933">
                  <c:v>42720</c:v>
                </c:pt>
                <c:pt idx="1934">
                  <c:v>42723</c:v>
                </c:pt>
                <c:pt idx="1935">
                  <c:v>42724</c:v>
                </c:pt>
                <c:pt idx="1936">
                  <c:v>42725</c:v>
                </c:pt>
                <c:pt idx="1937">
                  <c:v>42726</c:v>
                </c:pt>
                <c:pt idx="1938">
                  <c:v>42727</c:v>
                </c:pt>
                <c:pt idx="1939">
                  <c:v>42730</c:v>
                </c:pt>
                <c:pt idx="1940">
                  <c:v>42731</c:v>
                </c:pt>
                <c:pt idx="1941">
                  <c:v>42732</c:v>
                </c:pt>
                <c:pt idx="1942">
                  <c:v>42733</c:v>
                </c:pt>
                <c:pt idx="1943">
                  <c:v>42734</c:v>
                </c:pt>
                <c:pt idx="1944">
                  <c:v>42738</c:v>
                </c:pt>
                <c:pt idx="1945">
                  <c:v>42739</c:v>
                </c:pt>
                <c:pt idx="1946">
                  <c:v>42740</c:v>
                </c:pt>
                <c:pt idx="1947">
                  <c:v>42741</c:v>
                </c:pt>
                <c:pt idx="1948">
                  <c:v>42744</c:v>
                </c:pt>
                <c:pt idx="1949">
                  <c:v>42745</c:v>
                </c:pt>
                <c:pt idx="1950">
                  <c:v>42746</c:v>
                </c:pt>
                <c:pt idx="1951">
                  <c:v>42747</c:v>
                </c:pt>
                <c:pt idx="1952">
                  <c:v>42748</c:v>
                </c:pt>
                <c:pt idx="1953">
                  <c:v>42751</c:v>
                </c:pt>
                <c:pt idx="1954">
                  <c:v>42752</c:v>
                </c:pt>
                <c:pt idx="1955">
                  <c:v>42753</c:v>
                </c:pt>
                <c:pt idx="1956">
                  <c:v>42754</c:v>
                </c:pt>
                <c:pt idx="1957">
                  <c:v>42755</c:v>
                </c:pt>
                <c:pt idx="1958">
                  <c:v>42758</c:v>
                </c:pt>
                <c:pt idx="1959">
                  <c:v>42759</c:v>
                </c:pt>
                <c:pt idx="1960">
                  <c:v>42760</c:v>
                </c:pt>
                <c:pt idx="1961">
                  <c:v>42761</c:v>
                </c:pt>
                <c:pt idx="1962">
                  <c:v>42769</c:v>
                </c:pt>
                <c:pt idx="1963">
                  <c:v>42772</c:v>
                </c:pt>
                <c:pt idx="1964">
                  <c:v>42773</c:v>
                </c:pt>
                <c:pt idx="1965">
                  <c:v>42774</c:v>
                </c:pt>
                <c:pt idx="1966">
                  <c:v>42775</c:v>
                </c:pt>
                <c:pt idx="1967">
                  <c:v>42776</c:v>
                </c:pt>
                <c:pt idx="1968">
                  <c:v>42779</c:v>
                </c:pt>
                <c:pt idx="1969">
                  <c:v>42780</c:v>
                </c:pt>
                <c:pt idx="1970">
                  <c:v>42781</c:v>
                </c:pt>
                <c:pt idx="1971">
                  <c:v>42782</c:v>
                </c:pt>
                <c:pt idx="1972">
                  <c:v>42783</c:v>
                </c:pt>
                <c:pt idx="1973">
                  <c:v>42786</c:v>
                </c:pt>
                <c:pt idx="1974">
                  <c:v>42787</c:v>
                </c:pt>
                <c:pt idx="1975">
                  <c:v>42788</c:v>
                </c:pt>
                <c:pt idx="1976">
                  <c:v>42789</c:v>
                </c:pt>
                <c:pt idx="1977">
                  <c:v>42790</c:v>
                </c:pt>
                <c:pt idx="1978">
                  <c:v>42793</c:v>
                </c:pt>
                <c:pt idx="1979">
                  <c:v>42794</c:v>
                </c:pt>
                <c:pt idx="1980">
                  <c:v>42795</c:v>
                </c:pt>
                <c:pt idx="1981">
                  <c:v>42796</c:v>
                </c:pt>
                <c:pt idx="1982">
                  <c:v>42797</c:v>
                </c:pt>
                <c:pt idx="1983">
                  <c:v>42800</c:v>
                </c:pt>
                <c:pt idx="1984">
                  <c:v>42801</c:v>
                </c:pt>
                <c:pt idx="1985">
                  <c:v>42802</c:v>
                </c:pt>
                <c:pt idx="1986">
                  <c:v>42803</c:v>
                </c:pt>
                <c:pt idx="1987">
                  <c:v>42804</c:v>
                </c:pt>
                <c:pt idx="1988">
                  <c:v>42807</c:v>
                </c:pt>
                <c:pt idx="1989">
                  <c:v>42808</c:v>
                </c:pt>
                <c:pt idx="1990">
                  <c:v>42809</c:v>
                </c:pt>
                <c:pt idx="1991">
                  <c:v>42810</c:v>
                </c:pt>
                <c:pt idx="1992">
                  <c:v>42811</c:v>
                </c:pt>
                <c:pt idx="1993">
                  <c:v>42814</c:v>
                </c:pt>
                <c:pt idx="1994">
                  <c:v>42815</c:v>
                </c:pt>
                <c:pt idx="1995">
                  <c:v>42816</c:v>
                </c:pt>
                <c:pt idx="1996">
                  <c:v>42817</c:v>
                </c:pt>
                <c:pt idx="1997">
                  <c:v>42818</c:v>
                </c:pt>
                <c:pt idx="1998">
                  <c:v>42821</c:v>
                </c:pt>
                <c:pt idx="1999">
                  <c:v>42822</c:v>
                </c:pt>
                <c:pt idx="2000">
                  <c:v>42823</c:v>
                </c:pt>
                <c:pt idx="2001">
                  <c:v>42824</c:v>
                </c:pt>
                <c:pt idx="2002">
                  <c:v>42825</c:v>
                </c:pt>
                <c:pt idx="2003">
                  <c:v>42830</c:v>
                </c:pt>
                <c:pt idx="2004">
                  <c:v>42831</c:v>
                </c:pt>
                <c:pt idx="2005">
                  <c:v>42832</c:v>
                </c:pt>
                <c:pt idx="2006">
                  <c:v>42835</c:v>
                </c:pt>
                <c:pt idx="2007">
                  <c:v>42836</c:v>
                </c:pt>
                <c:pt idx="2008">
                  <c:v>42837</c:v>
                </c:pt>
                <c:pt idx="2009">
                  <c:v>42838</c:v>
                </c:pt>
                <c:pt idx="2010">
                  <c:v>42839</c:v>
                </c:pt>
                <c:pt idx="2011">
                  <c:v>42842</c:v>
                </c:pt>
                <c:pt idx="2012">
                  <c:v>42843</c:v>
                </c:pt>
                <c:pt idx="2013">
                  <c:v>42844</c:v>
                </c:pt>
                <c:pt idx="2014">
                  <c:v>42845</c:v>
                </c:pt>
                <c:pt idx="2015">
                  <c:v>42846</c:v>
                </c:pt>
                <c:pt idx="2016">
                  <c:v>42849</c:v>
                </c:pt>
                <c:pt idx="2017">
                  <c:v>42850</c:v>
                </c:pt>
                <c:pt idx="2018">
                  <c:v>42851</c:v>
                </c:pt>
                <c:pt idx="2019">
                  <c:v>42852</c:v>
                </c:pt>
                <c:pt idx="2020">
                  <c:v>42853</c:v>
                </c:pt>
                <c:pt idx="2021">
                  <c:v>42857</c:v>
                </c:pt>
                <c:pt idx="2022">
                  <c:v>42858</c:v>
                </c:pt>
                <c:pt idx="2023">
                  <c:v>42859</c:v>
                </c:pt>
                <c:pt idx="2024">
                  <c:v>42860</c:v>
                </c:pt>
                <c:pt idx="2025">
                  <c:v>42863</c:v>
                </c:pt>
                <c:pt idx="2026">
                  <c:v>42864</c:v>
                </c:pt>
                <c:pt idx="2027">
                  <c:v>42865</c:v>
                </c:pt>
                <c:pt idx="2028">
                  <c:v>42866</c:v>
                </c:pt>
                <c:pt idx="2029">
                  <c:v>42867</c:v>
                </c:pt>
                <c:pt idx="2030">
                  <c:v>42870</c:v>
                </c:pt>
                <c:pt idx="2031">
                  <c:v>42871</c:v>
                </c:pt>
                <c:pt idx="2032">
                  <c:v>42872</c:v>
                </c:pt>
                <c:pt idx="2033">
                  <c:v>42873</c:v>
                </c:pt>
                <c:pt idx="2034">
                  <c:v>42874</c:v>
                </c:pt>
                <c:pt idx="2035">
                  <c:v>42877</c:v>
                </c:pt>
                <c:pt idx="2036">
                  <c:v>42878</c:v>
                </c:pt>
                <c:pt idx="2037">
                  <c:v>42879</c:v>
                </c:pt>
                <c:pt idx="2038">
                  <c:v>42880</c:v>
                </c:pt>
                <c:pt idx="2039">
                  <c:v>42881</c:v>
                </c:pt>
                <c:pt idx="2040">
                  <c:v>42886</c:v>
                </c:pt>
                <c:pt idx="2041">
                  <c:v>42887</c:v>
                </c:pt>
                <c:pt idx="2042">
                  <c:v>42888</c:v>
                </c:pt>
                <c:pt idx="2043">
                  <c:v>42891</c:v>
                </c:pt>
                <c:pt idx="2044">
                  <c:v>42892</c:v>
                </c:pt>
                <c:pt idx="2045">
                  <c:v>42893</c:v>
                </c:pt>
                <c:pt idx="2046">
                  <c:v>42894</c:v>
                </c:pt>
                <c:pt idx="2047">
                  <c:v>42895</c:v>
                </c:pt>
                <c:pt idx="2048">
                  <c:v>42898</c:v>
                </c:pt>
                <c:pt idx="2049">
                  <c:v>42899</c:v>
                </c:pt>
                <c:pt idx="2050">
                  <c:v>42900</c:v>
                </c:pt>
                <c:pt idx="2051">
                  <c:v>42901</c:v>
                </c:pt>
                <c:pt idx="2052">
                  <c:v>42902</c:v>
                </c:pt>
                <c:pt idx="2053">
                  <c:v>42905</c:v>
                </c:pt>
                <c:pt idx="2054">
                  <c:v>42906</c:v>
                </c:pt>
                <c:pt idx="2055">
                  <c:v>42907</c:v>
                </c:pt>
                <c:pt idx="2056">
                  <c:v>42908</c:v>
                </c:pt>
                <c:pt idx="2057">
                  <c:v>42909</c:v>
                </c:pt>
                <c:pt idx="2058">
                  <c:v>42912</c:v>
                </c:pt>
                <c:pt idx="2059">
                  <c:v>42913</c:v>
                </c:pt>
                <c:pt idx="2060">
                  <c:v>42914</c:v>
                </c:pt>
                <c:pt idx="2061">
                  <c:v>42915</c:v>
                </c:pt>
                <c:pt idx="2062">
                  <c:v>42916</c:v>
                </c:pt>
                <c:pt idx="2063">
                  <c:v>42919</c:v>
                </c:pt>
                <c:pt idx="2064">
                  <c:v>42920</c:v>
                </c:pt>
                <c:pt idx="2065">
                  <c:v>42921</c:v>
                </c:pt>
                <c:pt idx="2066">
                  <c:v>42922</c:v>
                </c:pt>
                <c:pt idx="2067">
                  <c:v>42923</c:v>
                </c:pt>
                <c:pt idx="2068">
                  <c:v>42926</c:v>
                </c:pt>
                <c:pt idx="2069">
                  <c:v>42927</c:v>
                </c:pt>
                <c:pt idx="2070">
                  <c:v>42928</c:v>
                </c:pt>
                <c:pt idx="2071">
                  <c:v>42929</c:v>
                </c:pt>
                <c:pt idx="2072">
                  <c:v>42930</c:v>
                </c:pt>
                <c:pt idx="2073">
                  <c:v>42933</c:v>
                </c:pt>
                <c:pt idx="2074">
                  <c:v>42934</c:v>
                </c:pt>
                <c:pt idx="2075">
                  <c:v>42935</c:v>
                </c:pt>
                <c:pt idx="2076">
                  <c:v>42936</c:v>
                </c:pt>
                <c:pt idx="2077">
                  <c:v>42937</c:v>
                </c:pt>
                <c:pt idx="2078">
                  <c:v>42940</c:v>
                </c:pt>
                <c:pt idx="2079">
                  <c:v>42941</c:v>
                </c:pt>
                <c:pt idx="2080">
                  <c:v>42942</c:v>
                </c:pt>
                <c:pt idx="2081">
                  <c:v>42943</c:v>
                </c:pt>
                <c:pt idx="2082">
                  <c:v>42944</c:v>
                </c:pt>
                <c:pt idx="2083">
                  <c:v>42947</c:v>
                </c:pt>
                <c:pt idx="2084">
                  <c:v>42948</c:v>
                </c:pt>
                <c:pt idx="2085">
                  <c:v>42949</c:v>
                </c:pt>
                <c:pt idx="2086">
                  <c:v>42950</c:v>
                </c:pt>
                <c:pt idx="2087">
                  <c:v>42951</c:v>
                </c:pt>
                <c:pt idx="2088">
                  <c:v>42954</c:v>
                </c:pt>
                <c:pt idx="2089">
                  <c:v>42955</c:v>
                </c:pt>
                <c:pt idx="2090">
                  <c:v>42956</c:v>
                </c:pt>
                <c:pt idx="2091">
                  <c:v>42957</c:v>
                </c:pt>
                <c:pt idx="2092">
                  <c:v>42958</c:v>
                </c:pt>
                <c:pt idx="2093">
                  <c:v>42961</c:v>
                </c:pt>
                <c:pt idx="2094">
                  <c:v>42962</c:v>
                </c:pt>
                <c:pt idx="2095">
                  <c:v>42963</c:v>
                </c:pt>
                <c:pt idx="2096">
                  <c:v>42964</c:v>
                </c:pt>
                <c:pt idx="2097">
                  <c:v>42965</c:v>
                </c:pt>
                <c:pt idx="2098">
                  <c:v>42968</c:v>
                </c:pt>
                <c:pt idx="2099">
                  <c:v>42969</c:v>
                </c:pt>
                <c:pt idx="2100">
                  <c:v>42970</c:v>
                </c:pt>
                <c:pt idx="2101">
                  <c:v>42971</c:v>
                </c:pt>
                <c:pt idx="2102">
                  <c:v>42972</c:v>
                </c:pt>
                <c:pt idx="2103">
                  <c:v>42975</c:v>
                </c:pt>
                <c:pt idx="2104">
                  <c:v>42976</c:v>
                </c:pt>
                <c:pt idx="2105">
                  <c:v>42977</c:v>
                </c:pt>
                <c:pt idx="2106">
                  <c:v>42978</c:v>
                </c:pt>
                <c:pt idx="2107">
                  <c:v>42979</c:v>
                </c:pt>
                <c:pt idx="2108">
                  <c:v>42982</c:v>
                </c:pt>
                <c:pt idx="2109">
                  <c:v>42983</c:v>
                </c:pt>
                <c:pt idx="2110">
                  <c:v>42984</c:v>
                </c:pt>
                <c:pt idx="2111">
                  <c:v>42985</c:v>
                </c:pt>
                <c:pt idx="2112">
                  <c:v>42986</c:v>
                </c:pt>
                <c:pt idx="2113">
                  <c:v>42989</c:v>
                </c:pt>
                <c:pt idx="2114">
                  <c:v>42990</c:v>
                </c:pt>
                <c:pt idx="2115">
                  <c:v>42991</c:v>
                </c:pt>
                <c:pt idx="2116">
                  <c:v>42992</c:v>
                </c:pt>
                <c:pt idx="2117">
                  <c:v>42993</c:v>
                </c:pt>
                <c:pt idx="2118">
                  <c:v>42996</c:v>
                </c:pt>
                <c:pt idx="2119">
                  <c:v>42997</c:v>
                </c:pt>
                <c:pt idx="2120">
                  <c:v>42998</c:v>
                </c:pt>
                <c:pt idx="2121">
                  <c:v>42999</c:v>
                </c:pt>
                <c:pt idx="2122">
                  <c:v>43000</c:v>
                </c:pt>
                <c:pt idx="2123">
                  <c:v>43003</c:v>
                </c:pt>
                <c:pt idx="2124">
                  <c:v>43004</c:v>
                </c:pt>
                <c:pt idx="2125">
                  <c:v>43005</c:v>
                </c:pt>
                <c:pt idx="2126">
                  <c:v>43006</c:v>
                </c:pt>
                <c:pt idx="2127">
                  <c:v>43007</c:v>
                </c:pt>
                <c:pt idx="2128">
                  <c:v>43017</c:v>
                </c:pt>
                <c:pt idx="2129">
                  <c:v>43018</c:v>
                </c:pt>
                <c:pt idx="2130">
                  <c:v>43019</c:v>
                </c:pt>
                <c:pt idx="2131">
                  <c:v>43020</c:v>
                </c:pt>
                <c:pt idx="2132">
                  <c:v>43021</c:v>
                </c:pt>
                <c:pt idx="2133">
                  <c:v>43024</c:v>
                </c:pt>
                <c:pt idx="2134">
                  <c:v>43025</c:v>
                </c:pt>
                <c:pt idx="2135">
                  <c:v>43026</c:v>
                </c:pt>
                <c:pt idx="2136">
                  <c:v>43027</c:v>
                </c:pt>
                <c:pt idx="2137">
                  <c:v>43028</c:v>
                </c:pt>
                <c:pt idx="2138">
                  <c:v>43031</c:v>
                </c:pt>
                <c:pt idx="2139">
                  <c:v>43032</c:v>
                </c:pt>
                <c:pt idx="2140">
                  <c:v>43033</c:v>
                </c:pt>
                <c:pt idx="2141">
                  <c:v>43034</c:v>
                </c:pt>
                <c:pt idx="2142">
                  <c:v>43035</c:v>
                </c:pt>
                <c:pt idx="2143">
                  <c:v>43038</c:v>
                </c:pt>
                <c:pt idx="2144">
                  <c:v>43039</c:v>
                </c:pt>
                <c:pt idx="2145">
                  <c:v>43040</c:v>
                </c:pt>
                <c:pt idx="2146">
                  <c:v>43041</c:v>
                </c:pt>
                <c:pt idx="2147">
                  <c:v>43042</c:v>
                </c:pt>
                <c:pt idx="2148">
                  <c:v>43045</c:v>
                </c:pt>
                <c:pt idx="2149">
                  <c:v>43046</c:v>
                </c:pt>
                <c:pt idx="2150">
                  <c:v>43047</c:v>
                </c:pt>
                <c:pt idx="2151">
                  <c:v>43048</c:v>
                </c:pt>
                <c:pt idx="2152">
                  <c:v>43049</c:v>
                </c:pt>
                <c:pt idx="2153">
                  <c:v>43052</c:v>
                </c:pt>
                <c:pt idx="2154">
                  <c:v>43053</c:v>
                </c:pt>
                <c:pt idx="2155">
                  <c:v>43054</c:v>
                </c:pt>
                <c:pt idx="2156">
                  <c:v>43055</c:v>
                </c:pt>
                <c:pt idx="2157">
                  <c:v>43056</c:v>
                </c:pt>
                <c:pt idx="2158">
                  <c:v>43059</c:v>
                </c:pt>
                <c:pt idx="2159">
                  <c:v>43060</c:v>
                </c:pt>
                <c:pt idx="2160">
                  <c:v>43061</c:v>
                </c:pt>
                <c:pt idx="2161">
                  <c:v>43062</c:v>
                </c:pt>
                <c:pt idx="2162">
                  <c:v>43063</c:v>
                </c:pt>
                <c:pt idx="2163">
                  <c:v>43066</c:v>
                </c:pt>
                <c:pt idx="2164">
                  <c:v>43067</c:v>
                </c:pt>
                <c:pt idx="2165">
                  <c:v>43068</c:v>
                </c:pt>
                <c:pt idx="2166">
                  <c:v>43069</c:v>
                </c:pt>
                <c:pt idx="2167">
                  <c:v>43070</c:v>
                </c:pt>
                <c:pt idx="2168">
                  <c:v>43073</c:v>
                </c:pt>
                <c:pt idx="2169">
                  <c:v>43074</c:v>
                </c:pt>
                <c:pt idx="2170">
                  <c:v>43075</c:v>
                </c:pt>
                <c:pt idx="2171">
                  <c:v>43076</c:v>
                </c:pt>
                <c:pt idx="2172">
                  <c:v>43077</c:v>
                </c:pt>
                <c:pt idx="2173">
                  <c:v>43080</c:v>
                </c:pt>
                <c:pt idx="2174">
                  <c:v>43081</c:v>
                </c:pt>
                <c:pt idx="2175">
                  <c:v>43082</c:v>
                </c:pt>
                <c:pt idx="2176">
                  <c:v>43083</c:v>
                </c:pt>
                <c:pt idx="2177">
                  <c:v>43084</c:v>
                </c:pt>
                <c:pt idx="2178">
                  <c:v>43087</c:v>
                </c:pt>
                <c:pt idx="2179">
                  <c:v>43088</c:v>
                </c:pt>
                <c:pt idx="2180">
                  <c:v>43089</c:v>
                </c:pt>
                <c:pt idx="2181">
                  <c:v>43090</c:v>
                </c:pt>
                <c:pt idx="2182">
                  <c:v>43091</c:v>
                </c:pt>
                <c:pt idx="2183">
                  <c:v>43094</c:v>
                </c:pt>
                <c:pt idx="2184">
                  <c:v>43095</c:v>
                </c:pt>
                <c:pt idx="2185">
                  <c:v>43096</c:v>
                </c:pt>
                <c:pt idx="2186">
                  <c:v>43097</c:v>
                </c:pt>
                <c:pt idx="2187">
                  <c:v>43098</c:v>
                </c:pt>
                <c:pt idx="2188">
                  <c:v>43102</c:v>
                </c:pt>
                <c:pt idx="2189">
                  <c:v>43103</c:v>
                </c:pt>
                <c:pt idx="2190">
                  <c:v>43104</c:v>
                </c:pt>
                <c:pt idx="2191">
                  <c:v>43105</c:v>
                </c:pt>
                <c:pt idx="2192">
                  <c:v>43108</c:v>
                </c:pt>
                <c:pt idx="2193">
                  <c:v>43109</c:v>
                </c:pt>
                <c:pt idx="2194">
                  <c:v>43110</c:v>
                </c:pt>
                <c:pt idx="2195">
                  <c:v>43111</c:v>
                </c:pt>
                <c:pt idx="2196">
                  <c:v>43112</c:v>
                </c:pt>
                <c:pt idx="2197">
                  <c:v>43115</c:v>
                </c:pt>
                <c:pt idx="2198">
                  <c:v>43116</c:v>
                </c:pt>
                <c:pt idx="2199">
                  <c:v>43117</c:v>
                </c:pt>
                <c:pt idx="2200">
                  <c:v>43118</c:v>
                </c:pt>
                <c:pt idx="2201">
                  <c:v>43119</c:v>
                </c:pt>
                <c:pt idx="2202">
                  <c:v>43122</c:v>
                </c:pt>
                <c:pt idx="2203">
                  <c:v>43123</c:v>
                </c:pt>
                <c:pt idx="2204">
                  <c:v>43124</c:v>
                </c:pt>
                <c:pt idx="2205">
                  <c:v>43125</c:v>
                </c:pt>
                <c:pt idx="2206">
                  <c:v>43126</c:v>
                </c:pt>
                <c:pt idx="2207">
                  <c:v>43129</c:v>
                </c:pt>
                <c:pt idx="2208">
                  <c:v>43130</c:v>
                </c:pt>
                <c:pt idx="2209">
                  <c:v>43131</c:v>
                </c:pt>
                <c:pt idx="2210">
                  <c:v>43132</c:v>
                </c:pt>
                <c:pt idx="2211">
                  <c:v>43133</c:v>
                </c:pt>
                <c:pt idx="2212">
                  <c:v>43136</c:v>
                </c:pt>
                <c:pt idx="2213">
                  <c:v>43137</c:v>
                </c:pt>
                <c:pt idx="2214">
                  <c:v>43138</c:v>
                </c:pt>
                <c:pt idx="2215">
                  <c:v>43139</c:v>
                </c:pt>
                <c:pt idx="2216">
                  <c:v>43140</c:v>
                </c:pt>
                <c:pt idx="2217">
                  <c:v>43143</c:v>
                </c:pt>
                <c:pt idx="2218">
                  <c:v>43144</c:v>
                </c:pt>
                <c:pt idx="2219">
                  <c:v>43145</c:v>
                </c:pt>
                <c:pt idx="2220">
                  <c:v>43153</c:v>
                </c:pt>
                <c:pt idx="2221">
                  <c:v>43154</c:v>
                </c:pt>
                <c:pt idx="2222">
                  <c:v>43157</c:v>
                </c:pt>
                <c:pt idx="2223">
                  <c:v>43158</c:v>
                </c:pt>
                <c:pt idx="2224">
                  <c:v>43159</c:v>
                </c:pt>
                <c:pt idx="2225">
                  <c:v>43160</c:v>
                </c:pt>
                <c:pt idx="2226">
                  <c:v>43161</c:v>
                </c:pt>
                <c:pt idx="2227">
                  <c:v>43164</c:v>
                </c:pt>
                <c:pt idx="2228">
                  <c:v>43165</c:v>
                </c:pt>
                <c:pt idx="2229">
                  <c:v>43166</c:v>
                </c:pt>
                <c:pt idx="2230">
                  <c:v>43167</c:v>
                </c:pt>
                <c:pt idx="2231">
                  <c:v>43168</c:v>
                </c:pt>
                <c:pt idx="2232">
                  <c:v>43171</c:v>
                </c:pt>
                <c:pt idx="2233">
                  <c:v>43172</c:v>
                </c:pt>
                <c:pt idx="2234">
                  <c:v>43173</c:v>
                </c:pt>
                <c:pt idx="2235">
                  <c:v>43174</c:v>
                </c:pt>
                <c:pt idx="2236">
                  <c:v>43175</c:v>
                </c:pt>
                <c:pt idx="2237">
                  <c:v>43178</c:v>
                </c:pt>
                <c:pt idx="2238">
                  <c:v>43179</c:v>
                </c:pt>
                <c:pt idx="2239">
                  <c:v>43180</c:v>
                </c:pt>
                <c:pt idx="2240">
                  <c:v>43181</c:v>
                </c:pt>
                <c:pt idx="2241">
                  <c:v>43182</c:v>
                </c:pt>
                <c:pt idx="2242">
                  <c:v>43185</c:v>
                </c:pt>
                <c:pt idx="2243">
                  <c:v>43186</c:v>
                </c:pt>
                <c:pt idx="2244">
                  <c:v>43187</c:v>
                </c:pt>
                <c:pt idx="2245">
                  <c:v>43188</c:v>
                </c:pt>
                <c:pt idx="2246">
                  <c:v>43189</c:v>
                </c:pt>
                <c:pt idx="2247">
                  <c:v>43192</c:v>
                </c:pt>
                <c:pt idx="2248">
                  <c:v>43193</c:v>
                </c:pt>
                <c:pt idx="2249">
                  <c:v>43194</c:v>
                </c:pt>
                <c:pt idx="2250">
                  <c:v>43199</c:v>
                </c:pt>
                <c:pt idx="2251">
                  <c:v>43200</c:v>
                </c:pt>
                <c:pt idx="2252">
                  <c:v>43201</c:v>
                </c:pt>
                <c:pt idx="2253">
                  <c:v>43202</c:v>
                </c:pt>
                <c:pt idx="2254">
                  <c:v>43203</c:v>
                </c:pt>
                <c:pt idx="2255">
                  <c:v>43206</c:v>
                </c:pt>
                <c:pt idx="2256">
                  <c:v>43207</c:v>
                </c:pt>
                <c:pt idx="2257">
                  <c:v>43208</c:v>
                </c:pt>
                <c:pt idx="2258">
                  <c:v>43209</c:v>
                </c:pt>
                <c:pt idx="2259">
                  <c:v>43210</c:v>
                </c:pt>
                <c:pt idx="2260">
                  <c:v>43213</c:v>
                </c:pt>
                <c:pt idx="2261">
                  <c:v>43214</c:v>
                </c:pt>
                <c:pt idx="2262">
                  <c:v>43215</c:v>
                </c:pt>
                <c:pt idx="2263">
                  <c:v>43216</c:v>
                </c:pt>
                <c:pt idx="2264">
                  <c:v>43217</c:v>
                </c:pt>
                <c:pt idx="2265">
                  <c:v>43222</c:v>
                </c:pt>
                <c:pt idx="2266">
                  <c:v>43223</c:v>
                </c:pt>
                <c:pt idx="2267">
                  <c:v>43224</c:v>
                </c:pt>
                <c:pt idx="2268">
                  <c:v>43227</c:v>
                </c:pt>
                <c:pt idx="2269">
                  <c:v>43228</c:v>
                </c:pt>
                <c:pt idx="2270">
                  <c:v>43229</c:v>
                </c:pt>
                <c:pt idx="2271">
                  <c:v>43230</c:v>
                </c:pt>
                <c:pt idx="2272">
                  <c:v>43231</c:v>
                </c:pt>
                <c:pt idx="2273">
                  <c:v>43234</c:v>
                </c:pt>
                <c:pt idx="2274">
                  <c:v>43235</c:v>
                </c:pt>
                <c:pt idx="2275">
                  <c:v>43236</c:v>
                </c:pt>
                <c:pt idx="2276">
                  <c:v>43237</c:v>
                </c:pt>
                <c:pt idx="2277">
                  <c:v>43238</c:v>
                </c:pt>
                <c:pt idx="2278">
                  <c:v>43241</c:v>
                </c:pt>
                <c:pt idx="2279">
                  <c:v>43242</c:v>
                </c:pt>
                <c:pt idx="2280">
                  <c:v>43243</c:v>
                </c:pt>
                <c:pt idx="2281">
                  <c:v>43244</c:v>
                </c:pt>
                <c:pt idx="2282">
                  <c:v>43245</c:v>
                </c:pt>
                <c:pt idx="2283">
                  <c:v>43248</c:v>
                </c:pt>
                <c:pt idx="2284">
                  <c:v>43249</c:v>
                </c:pt>
                <c:pt idx="2285">
                  <c:v>43250</c:v>
                </c:pt>
                <c:pt idx="2286">
                  <c:v>43251</c:v>
                </c:pt>
                <c:pt idx="2287">
                  <c:v>43252</c:v>
                </c:pt>
                <c:pt idx="2288">
                  <c:v>43255</c:v>
                </c:pt>
                <c:pt idx="2289">
                  <c:v>43256</c:v>
                </c:pt>
                <c:pt idx="2290">
                  <c:v>43257</c:v>
                </c:pt>
                <c:pt idx="2291">
                  <c:v>43258</c:v>
                </c:pt>
                <c:pt idx="2292">
                  <c:v>43259</c:v>
                </c:pt>
                <c:pt idx="2293">
                  <c:v>43262</c:v>
                </c:pt>
                <c:pt idx="2294">
                  <c:v>43263</c:v>
                </c:pt>
                <c:pt idx="2295">
                  <c:v>43264</c:v>
                </c:pt>
                <c:pt idx="2296">
                  <c:v>43265</c:v>
                </c:pt>
                <c:pt idx="2297">
                  <c:v>43266</c:v>
                </c:pt>
                <c:pt idx="2298">
                  <c:v>43270</c:v>
                </c:pt>
                <c:pt idx="2299">
                  <c:v>43271</c:v>
                </c:pt>
                <c:pt idx="2300">
                  <c:v>43272</c:v>
                </c:pt>
                <c:pt idx="2301">
                  <c:v>43273</c:v>
                </c:pt>
                <c:pt idx="2302">
                  <c:v>43276</c:v>
                </c:pt>
                <c:pt idx="2303">
                  <c:v>43277</c:v>
                </c:pt>
                <c:pt idx="2304">
                  <c:v>43278</c:v>
                </c:pt>
                <c:pt idx="2305">
                  <c:v>43279</c:v>
                </c:pt>
                <c:pt idx="2306">
                  <c:v>43280</c:v>
                </c:pt>
                <c:pt idx="2307">
                  <c:v>43283</c:v>
                </c:pt>
                <c:pt idx="2308">
                  <c:v>43284</c:v>
                </c:pt>
                <c:pt idx="2309">
                  <c:v>43285</c:v>
                </c:pt>
                <c:pt idx="2310">
                  <c:v>43286</c:v>
                </c:pt>
                <c:pt idx="2311">
                  <c:v>43287</c:v>
                </c:pt>
                <c:pt idx="2312">
                  <c:v>43290</c:v>
                </c:pt>
                <c:pt idx="2313">
                  <c:v>43291</c:v>
                </c:pt>
                <c:pt idx="2314">
                  <c:v>43292</c:v>
                </c:pt>
                <c:pt idx="2315">
                  <c:v>43293</c:v>
                </c:pt>
                <c:pt idx="2316">
                  <c:v>43294</c:v>
                </c:pt>
                <c:pt idx="2317">
                  <c:v>43297</c:v>
                </c:pt>
                <c:pt idx="2318">
                  <c:v>43298</c:v>
                </c:pt>
                <c:pt idx="2319">
                  <c:v>43299</c:v>
                </c:pt>
                <c:pt idx="2320">
                  <c:v>43300</c:v>
                </c:pt>
                <c:pt idx="2321">
                  <c:v>43301</c:v>
                </c:pt>
                <c:pt idx="2322">
                  <c:v>43304</c:v>
                </c:pt>
                <c:pt idx="2323">
                  <c:v>43305</c:v>
                </c:pt>
                <c:pt idx="2324">
                  <c:v>43306</c:v>
                </c:pt>
                <c:pt idx="2325">
                  <c:v>43307</c:v>
                </c:pt>
                <c:pt idx="2326">
                  <c:v>43308</c:v>
                </c:pt>
                <c:pt idx="2327">
                  <c:v>43311</c:v>
                </c:pt>
                <c:pt idx="2328">
                  <c:v>43312</c:v>
                </c:pt>
                <c:pt idx="2329">
                  <c:v>43313</c:v>
                </c:pt>
                <c:pt idx="2330">
                  <c:v>43314</c:v>
                </c:pt>
                <c:pt idx="2331">
                  <c:v>43315</c:v>
                </c:pt>
                <c:pt idx="2332">
                  <c:v>43318</c:v>
                </c:pt>
                <c:pt idx="2333">
                  <c:v>43319</c:v>
                </c:pt>
                <c:pt idx="2334">
                  <c:v>43320</c:v>
                </c:pt>
                <c:pt idx="2335">
                  <c:v>43321</c:v>
                </c:pt>
                <c:pt idx="2336">
                  <c:v>43322</c:v>
                </c:pt>
                <c:pt idx="2337">
                  <c:v>43325</c:v>
                </c:pt>
                <c:pt idx="2338">
                  <c:v>43326</c:v>
                </c:pt>
                <c:pt idx="2339">
                  <c:v>43327</c:v>
                </c:pt>
                <c:pt idx="2340">
                  <c:v>43328</c:v>
                </c:pt>
                <c:pt idx="2341">
                  <c:v>43329</c:v>
                </c:pt>
                <c:pt idx="2342">
                  <c:v>43332</c:v>
                </c:pt>
                <c:pt idx="2343">
                  <c:v>43333</c:v>
                </c:pt>
                <c:pt idx="2344">
                  <c:v>43334</c:v>
                </c:pt>
                <c:pt idx="2345">
                  <c:v>43335</c:v>
                </c:pt>
                <c:pt idx="2346">
                  <c:v>43336</c:v>
                </c:pt>
                <c:pt idx="2347">
                  <c:v>43339</c:v>
                </c:pt>
                <c:pt idx="2348">
                  <c:v>43340</c:v>
                </c:pt>
                <c:pt idx="2349">
                  <c:v>43341</c:v>
                </c:pt>
                <c:pt idx="2350">
                  <c:v>43342</c:v>
                </c:pt>
                <c:pt idx="2351">
                  <c:v>43343</c:v>
                </c:pt>
                <c:pt idx="2352">
                  <c:v>43346</c:v>
                </c:pt>
                <c:pt idx="2353">
                  <c:v>43347</c:v>
                </c:pt>
                <c:pt idx="2354">
                  <c:v>43348</c:v>
                </c:pt>
                <c:pt idx="2355">
                  <c:v>43349</c:v>
                </c:pt>
                <c:pt idx="2356">
                  <c:v>43350</c:v>
                </c:pt>
                <c:pt idx="2357">
                  <c:v>43353</c:v>
                </c:pt>
                <c:pt idx="2358">
                  <c:v>43354</c:v>
                </c:pt>
                <c:pt idx="2359">
                  <c:v>43355</c:v>
                </c:pt>
                <c:pt idx="2360">
                  <c:v>43356</c:v>
                </c:pt>
                <c:pt idx="2361">
                  <c:v>43357</c:v>
                </c:pt>
                <c:pt idx="2362">
                  <c:v>43360</c:v>
                </c:pt>
                <c:pt idx="2363">
                  <c:v>43361</c:v>
                </c:pt>
                <c:pt idx="2364">
                  <c:v>43362</c:v>
                </c:pt>
                <c:pt idx="2365">
                  <c:v>43363</c:v>
                </c:pt>
                <c:pt idx="2366">
                  <c:v>43364</c:v>
                </c:pt>
                <c:pt idx="2367">
                  <c:v>43368</c:v>
                </c:pt>
                <c:pt idx="2368">
                  <c:v>43369</c:v>
                </c:pt>
                <c:pt idx="2369">
                  <c:v>43370</c:v>
                </c:pt>
                <c:pt idx="2370">
                  <c:v>43371</c:v>
                </c:pt>
                <c:pt idx="2371">
                  <c:v>43381</c:v>
                </c:pt>
                <c:pt idx="2372">
                  <c:v>43382</c:v>
                </c:pt>
                <c:pt idx="2373">
                  <c:v>43383</c:v>
                </c:pt>
                <c:pt idx="2374">
                  <c:v>43384</c:v>
                </c:pt>
                <c:pt idx="2375">
                  <c:v>43385</c:v>
                </c:pt>
                <c:pt idx="2376">
                  <c:v>43388</c:v>
                </c:pt>
                <c:pt idx="2377">
                  <c:v>43389</c:v>
                </c:pt>
                <c:pt idx="2378">
                  <c:v>43390</c:v>
                </c:pt>
                <c:pt idx="2379">
                  <c:v>43391</c:v>
                </c:pt>
                <c:pt idx="2380">
                  <c:v>43392</c:v>
                </c:pt>
                <c:pt idx="2381">
                  <c:v>43395</c:v>
                </c:pt>
                <c:pt idx="2382">
                  <c:v>43396</c:v>
                </c:pt>
                <c:pt idx="2383">
                  <c:v>43397</c:v>
                </c:pt>
                <c:pt idx="2384">
                  <c:v>43398</c:v>
                </c:pt>
                <c:pt idx="2385">
                  <c:v>43399</c:v>
                </c:pt>
                <c:pt idx="2386">
                  <c:v>43402</c:v>
                </c:pt>
                <c:pt idx="2387">
                  <c:v>43403</c:v>
                </c:pt>
                <c:pt idx="2388">
                  <c:v>43404</c:v>
                </c:pt>
                <c:pt idx="2389">
                  <c:v>43405</c:v>
                </c:pt>
                <c:pt idx="2390">
                  <c:v>43406</c:v>
                </c:pt>
                <c:pt idx="2391">
                  <c:v>43409</c:v>
                </c:pt>
                <c:pt idx="2392">
                  <c:v>43410</c:v>
                </c:pt>
                <c:pt idx="2393">
                  <c:v>43411</c:v>
                </c:pt>
                <c:pt idx="2394">
                  <c:v>43412</c:v>
                </c:pt>
                <c:pt idx="2395">
                  <c:v>43413</c:v>
                </c:pt>
                <c:pt idx="2396">
                  <c:v>43416</c:v>
                </c:pt>
                <c:pt idx="2397">
                  <c:v>43417</c:v>
                </c:pt>
                <c:pt idx="2398">
                  <c:v>43418</c:v>
                </c:pt>
                <c:pt idx="2399">
                  <c:v>43419</c:v>
                </c:pt>
                <c:pt idx="2400">
                  <c:v>43420</c:v>
                </c:pt>
                <c:pt idx="2401">
                  <c:v>43423</c:v>
                </c:pt>
                <c:pt idx="2402">
                  <c:v>43424</c:v>
                </c:pt>
                <c:pt idx="2403">
                  <c:v>43425</c:v>
                </c:pt>
                <c:pt idx="2404">
                  <c:v>43426</c:v>
                </c:pt>
                <c:pt idx="2405">
                  <c:v>43427</c:v>
                </c:pt>
                <c:pt idx="2406">
                  <c:v>43430</c:v>
                </c:pt>
                <c:pt idx="2407">
                  <c:v>43431</c:v>
                </c:pt>
                <c:pt idx="2408">
                  <c:v>43432</c:v>
                </c:pt>
                <c:pt idx="2409">
                  <c:v>43433</c:v>
                </c:pt>
                <c:pt idx="2410">
                  <c:v>43434</c:v>
                </c:pt>
                <c:pt idx="2411">
                  <c:v>43437</c:v>
                </c:pt>
                <c:pt idx="2412">
                  <c:v>43438</c:v>
                </c:pt>
                <c:pt idx="2413">
                  <c:v>43439</c:v>
                </c:pt>
                <c:pt idx="2414">
                  <c:v>43440</c:v>
                </c:pt>
                <c:pt idx="2415">
                  <c:v>43441</c:v>
                </c:pt>
                <c:pt idx="2416">
                  <c:v>43444</c:v>
                </c:pt>
                <c:pt idx="2417">
                  <c:v>43445</c:v>
                </c:pt>
                <c:pt idx="2418">
                  <c:v>43446</c:v>
                </c:pt>
                <c:pt idx="2419">
                  <c:v>43447</c:v>
                </c:pt>
                <c:pt idx="2420">
                  <c:v>43448</c:v>
                </c:pt>
                <c:pt idx="2421">
                  <c:v>43451</c:v>
                </c:pt>
                <c:pt idx="2422">
                  <c:v>43452</c:v>
                </c:pt>
                <c:pt idx="2423">
                  <c:v>43453</c:v>
                </c:pt>
                <c:pt idx="2424">
                  <c:v>43454</c:v>
                </c:pt>
                <c:pt idx="2425">
                  <c:v>43455</c:v>
                </c:pt>
                <c:pt idx="2426">
                  <c:v>43458</c:v>
                </c:pt>
                <c:pt idx="2427">
                  <c:v>43459</c:v>
                </c:pt>
                <c:pt idx="2428">
                  <c:v>43460</c:v>
                </c:pt>
                <c:pt idx="2429">
                  <c:v>43461</c:v>
                </c:pt>
                <c:pt idx="2430">
                  <c:v>43462</c:v>
                </c:pt>
                <c:pt idx="2431">
                  <c:v>43467</c:v>
                </c:pt>
                <c:pt idx="2432">
                  <c:v>43468</c:v>
                </c:pt>
                <c:pt idx="2433">
                  <c:v>43469</c:v>
                </c:pt>
                <c:pt idx="2434">
                  <c:v>43472</c:v>
                </c:pt>
                <c:pt idx="2435">
                  <c:v>43473</c:v>
                </c:pt>
                <c:pt idx="2436">
                  <c:v>43474</c:v>
                </c:pt>
                <c:pt idx="2437">
                  <c:v>43475</c:v>
                </c:pt>
                <c:pt idx="2438">
                  <c:v>43476</c:v>
                </c:pt>
                <c:pt idx="2439">
                  <c:v>43479</c:v>
                </c:pt>
                <c:pt idx="2440">
                  <c:v>43480</c:v>
                </c:pt>
                <c:pt idx="2441">
                  <c:v>43481</c:v>
                </c:pt>
                <c:pt idx="2442">
                  <c:v>43482</c:v>
                </c:pt>
                <c:pt idx="2443">
                  <c:v>43483</c:v>
                </c:pt>
                <c:pt idx="2444">
                  <c:v>43486</c:v>
                </c:pt>
                <c:pt idx="2445">
                  <c:v>43487</c:v>
                </c:pt>
                <c:pt idx="2446">
                  <c:v>43488</c:v>
                </c:pt>
                <c:pt idx="2447">
                  <c:v>43489</c:v>
                </c:pt>
                <c:pt idx="2448">
                  <c:v>43490</c:v>
                </c:pt>
                <c:pt idx="2449">
                  <c:v>43493</c:v>
                </c:pt>
                <c:pt idx="2450">
                  <c:v>43494</c:v>
                </c:pt>
                <c:pt idx="2451">
                  <c:v>43495</c:v>
                </c:pt>
                <c:pt idx="2452">
                  <c:v>43496</c:v>
                </c:pt>
                <c:pt idx="2453">
                  <c:v>43497</c:v>
                </c:pt>
                <c:pt idx="2454">
                  <c:v>43507</c:v>
                </c:pt>
                <c:pt idx="2455">
                  <c:v>43508</c:v>
                </c:pt>
                <c:pt idx="2456">
                  <c:v>43509</c:v>
                </c:pt>
                <c:pt idx="2457">
                  <c:v>43510</c:v>
                </c:pt>
                <c:pt idx="2458">
                  <c:v>43511</c:v>
                </c:pt>
                <c:pt idx="2459">
                  <c:v>43514</c:v>
                </c:pt>
                <c:pt idx="2460">
                  <c:v>43515</c:v>
                </c:pt>
                <c:pt idx="2461">
                  <c:v>43516</c:v>
                </c:pt>
                <c:pt idx="2462">
                  <c:v>43517</c:v>
                </c:pt>
                <c:pt idx="2463">
                  <c:v>43518</c:v>
                </c:pt>
                <c:pt idx="2464">
                  <c:v>43521</c:v>
                </c:pt>
                <c:pt idx="2465">
                  <c:v>43522</c:v>
                </c:pt>
                <c:pt idx="2466">
                  <c:v>43523</c:v>
                </c:pt>
                <c:pt idx="2467">
                  <c:v>43524</c:v>
                </c:pt>
                <c:pt idx="2468">
                  <c:v>43525</c:v>
                </c:pt>
                <c:pt idx="2469">
                  <c:v>43528</c:v>
                </c:pt>
                <c:pt idx="2470">
                  <c:v>43529</c:v>
                </c:pt>
                <c:pt idx="2471">
                  <c:v>43530</c:v>
                </c:pt>
                <c:pt idx="2472">
                  <c:v>43531</c:v>
                </c:pt>
                <c:pt idx="2473">
                  <c:v>43532</c:v>
                </c:pt>
                <c:pt idx="2474">
                  <c:v>43535</c:v>
                </c:pt>
                <c:pt idx="2475">
                  <c:v>43536</c:v>
                </c:pt>
                <c:pt idx="2476">
                  <c:v>43537</c:v>
                </c:pt>
                <c:pt idx="2477">
                  <c:v>43538</c:v>
                </c:pt>
                <c:pt idx="2478">
                  <c:v>43539</c:v>
                </c:pt>
                <c:pt idx="2479">
                  <c:v>43542</c:v>
                </c:pt>
                <c:pt idx="2480">
                  <c:v>43543</c:v>
                </c:pt>
                <c:pt idx="2481">
                  <c:v>43544</c:v>
                </c:pt>
                <c:pt idx="2482">
                  <c:v>43545</c:v>
                </c:pt>
                <c:pt idx="2483">
                  <c:v>43546</c:v>
                </c:pt>
                <c:pt idx="2484">
                  <c:v>43549</c:v>
                </c:pt>
                <c:pt idx="2485">
                  <c:v>43550</c:v>
                </c:pt>
                <c:pt idx="2486">
                  <c:v>43551</c:v>
                </c:pt>
                <c:pt idx="2487">
                  <c:v>43552</c:v>
                </c:pt>
                <c:pt idx="2488">
                  <c:v>43553</c:v>
                </c:pt>
                <c:pt idx="2489">
                  <c:v>43556</c:v>
                </c:pt>
                <c:pt idx="2490">
                  <c:v>43557</c:v>
                </c:pt>
                <c:pt idx="2491">
                  <c:v>43558</c:v>
                </c:pt>
                <c:pt idx="2492">
                  <c:v>43559</c:v>
                </c:pt>
                <c:pt idx="2493">
                  <c:v>43563</c:v>
                </c:pt>
                <c:pt idx="2494">
                  <c:v>43564</c:v>
                </c:pt>
                <c:pt idx="2495">
                  <c:v>43565</c:v>
                </c:pt>
                <c:pt idx="2496">
                  <c:v>43566</c:v>
                </c:pt>
                <c:pt idx="2497">
                  <c:v>43567</c:v>
                </c:pt>
                <c:pt idx="2498">
                  <c:v>43570</c:v>
                </c:pt>
                <c:pt idx="2499">
                  <c:v>43571</c:v>
                </c:pt>
                <c:pt idx="2500">
                  <c:v>43572</c:v>
                </c:pt>
                <c:pt idx="2501">
                  <c:v>43573</c:v>
                </c:pt>
                <c:pt idx="2502">
                  <c:v>43574</c:v>
                </c:pt>
                <c:pt idx="2503">
                  <c:v>43577</c:v>
                </c:pt>
                <c:pt idx="2504">
                  <c:v>43578</c:v>
                </c:pt>
                <c:pt idx="2505">
                  <c:v>43579</c:v>
                </c:pt>
                <c:pt idx="2506">
                  <c:v>43580</c:v>
                </c:pt>
                <c:pt idx="2507">
                  <c:v>43581</c:v>
                </c:pt>
                <c:pt idx="2508">
                  <c:v>43584</c:v>
                </c:pt>
                <c:pt idx="2509">
                  <c:v>43585</c:v>
                </c:pt>
                <c:pt idx="2510">
                  <c:v>43591</c:v>
                </c:pt>
                <c:pt idx="2511">
                  <c:v>43592</c:v>
                </c:pt>
                <c:pt idx="2512">
                  <c:v>43593</c:v>
                </c:pt>
                <c:pt idx="2513">
                  <c:v>43594</c:v>
                </c:pt>
                <c:pt idx="2514">
                  <c:v>43595</c:v>
                </c:pt>
                <c:pt idx="2515">
                  <c:v>43598</c:v>
                </c:pt>
                <c:pt idx="2516">
                  <c:v>43599</c:v>
                </c:pt>
                <c:pt idx="2517">
                  <c:v>43600</c:v>
                </c:pt>
                <c:pt idx="2518">
                  <c:v>43601</c:v>
                </c:pt>
                <c:pt idx="2519">
                  <c:v>43602</c:v>
                </c:pt>
                <c:pt idx="2520">
                  <c:v>43605</c:v>
                </c:pt>
                <c:pt idx="2521">
                  <c:v>43606</c:v>
                </c:pt>
                <c:pt idx="2522">
                  <c:v>43607</c:v>
                </c:pt>
                <c:pt idx="2523">
                  <c:v>43608</c:v>
                </c:pt>
                <c:pt idx="2524">
                  <c:v>43609</c:v>
                </c:pt>
                <c:pt idx="2525">
                  <c:v>43612</c:v>
                </c:pt>
                <c:pt idx="2526">
                  <c:v>43613</c:v>
                </c:pt>
                <c:pt idx="2527">
                  <c:v>43614</c:v>
                </c:pt>
                <c:pt idx="2528">
                  <c:v>43615</c:v>
                </c:pt>
                <c:pt idx="2529">
                  <c:v>43616</c:v>
                </c:pt>
                <c:pt idx="2530">
                  <c:v>43619</c:v>
                </c:pt>
                <c:pt idx="2531">
                  <c:v>43620</c:v>
                </c:pt>
                <c:pt idx="2532">
                  <c:v>43621</c:v>
                </c:pt>
                <c:pt idx="2533">
                  <c:v>43622</c:v>
                </c:pt>
                <c:pt idx="2534">
                  <c:v>43626</c:v>
                </c:pt>
                <c:pt idx="2535">
                  <c:v>43627</c:v>
                </c:pt>
                <c:pt idx="2536">
                  <c:v>43628</c:v>
                </c:pt>
                <c:pt idx="2537">
                  <c:v>43629</c:v>
                </c:pt>
                <c:pt idx="2538">
                  <c:v>43630</c:v>
                </c:pt>
                <c:pt idx="2539">
                  <c:v>43633</c:v>
                </c:pt>
                <c:pt idx="2540">
                  <c:v>43634</c:v>
                </c:pt>
                <c:pt idx="2541">
                  <c:v>43635</c:v>
                </c:pt>
                <c:pt idx="2542">
                  <c:v>43636</c:v>
                </c:pt>
                <c:pt idx="2543">
                  <c:v>43637</c:v>
                </c:pt>
                <c:pt idx="2544">
                  <c:v>43640</c:v>
                </c:pt>
                <c:pt idx="2545">
                  <c:v>43641</c:v>
                </c:pt>
                <c:pt idx="2546">
                  <c:v>43642</c:v>
                </c:pt>
                <c:pt idx="2547">
                  <c:v>43643</c:v>
                </c:pt>
                <c:pt idx="2548">
                  <c:v>43644</c:v>
                </c:pt>
                <c:pt idx="2549">
                  <c:v>43647</c:v>
                </c:pt>
                <c:pt idx="2550">
                  <c:v>43648</c:v>
                </c:pt>
                <c:pt idx="2551">
                  <c:v>43649</c:v>
                </c:pt>
                <c:pt idx="2552">
                  <c:v>43650</c:v>
                </c:pt>
                <c:pt idx="2553">
                  <c:v>43651</c:v>
                </c:pt>
                <c:pt idx="2554">
                  <c:v>43654</c:v>
                </c:pt>
                <c:pt idx="2555">
                  <c:v>43655</c:v>
                </c:pt>
                <c:pt idx="2556">
                  <c:v>43656</c:v>
                </c:pt>
                <c:pt idx="2557">
                  <c:v>43657</c:v>
                </c:pt>
                <c:pt idx="2558">
                  <c:v>43658</c:v>
                </c:pt>
                <c:pt idx="2559">
                  <c:v>43661</c:v>
                </c:pt>
                <c:pt idx="2560">
                  <c:v>43662</c:v>
                </c:pt>
                <c:pt idx="2561">
                  <c:v>43663</c:v>
                </c:pt>
                <c:pt idx="2562">
                  <c:v>43664</c:v>
                </c:pt>
                <c:pt idx="2563">
                  <c:v>43665</c:v>
                </c:pt>
                <c:pt idx="2564">
                  <c:v>43668</c:v>
                </c:pt>
                <c:pt idx="2565">
                  <c:v>43669</c:v>
                </c:pt>
                <c:pt idx="2566">
                  <c:v>43670</c:v>
                </c:pt>
                <c:pt idx="2567">
                  <c:v>43671</c:v>
                </c:pt>
                <c:pt idx="2568">
                  <c:v>43672</c:v>
                </c:pt>
                <c:pt idx="2569">
                  <c:v>43675</c:v>
                </c:pt>
                <c:pt idx="2570">
                  <c:v>43676</c:v>
                </c:pt>
                <c:pt idx="2571">
                  <c:v>43677</c:v>
                </c:pt>
                <c:pt idx="2572">
                  <c:v>43678</c:v>
                </c:pt>
                <c:pt idx="2573">
                  <c:v>43679</c:v>
                </c:pt>
                <c:pt idx="2574">
                  <c:v>43682</c:v>
                </c:pt>
                <c:pt idx="2575">
                  <c:v>43683</c:v>
                </c:pt>
                <c:pt idx="2576">
                  <c:v>43684</c:v>
                </c:pt>
                <c:pt idx="2577">
                  <c:v>43685</c:v>
                </c:pt>
                <c:pt idx="2578">
                  <c:v>43686</c:v>
                </c:pt>
                <c:pt idx="2579">
                  <c:v>43689</c:v>
                </c:pt>
                <c:pt idx="2580">
                  <c:v>43690</c:v>
                </c:pt>
                <c:pt idx="2581">
                  <c:v>43691</c:v>
                </c:pt>
                <c:pt idx="2582">
                  <c:v>43692</c:v>
                </c:pt>
                <c:pt idx="2583">
                  <c:v>43693</c:v>
                </c:pt>
                <c:pt idx="2584">
                  <c:v>43696</c:v>
                </c:pt>
                <c:pt idx="2585">
                  <c:v>43697</c:v>
                </c:pt>
                <c:pt idx="2586">
                  <c:v>43698</c:v>
                </c:pt>
                <c:pt idx="2587">
                  <c:v>43699</c:v>
                </c:pt>
                <c:pt idx="2588">
                  <c:v>43700</c:v>
                </c:pt>
                <c:pt idx="2589">
                  <c:v>43703</c:v>
                </c:pt>
                <c:pt idx="2590">
                  <c:v>43704</c:v>
                </c:pt>
                <c:pt idx="2591">
                  <c:v>43705</c:v>
                </c:pt>
                <c:pt idx="2592">
                  <c:v>43706</c:v>
                </c:pt>
                <c:pt idx="2593">
                  <c:v>43707</c:v>
                </c:pt>
                <c:pt idx="2594">
                  <c:v>43710</c:v>
                </c:pt>
                <c:pt idx="2595">
                  <c:v>43711</c:v>
                </c:pt>
                <c:pt idx="2596">
                  <c:v>43712</c:v>
                </c:pt>
                <c:pt idx="2597">
                  <c:v>43713</c:v>
                </c:pt>
                <c:pt idx="2598">
                  <c:v>43714</c:v>
                </c:pt>
                <c:pt idx="2599">
                  <c:v>43717</c:v>
                </c:pt>
                <c:pt idx="2600">
                  <c:v>43718</c:v>
                </c:pt>
                <c:pt idx="2601">
                  <c:v>43719</c:v>
                </c:pt>
                <c:pt idx="2602">
                  <c:v>43720</c:v>
                </c:pt>
                <c:pt idx="2603">
                  <c:v>43724</c:v>
                </c:pt>
                <c:pt idx="2604">
                  <c:v>43725</c:v>
                </c:pt>
                <c:pt idx="2605">
                  <c:v>43726</c:v>
                </c:pt>
                <c:pt idx="2606">
                  <c:v>43727</c:v>
                </c:pt>
                <c:pt idx="2607">
                  <c:v>43728</c:v>
                </c:pt>
                <c:pt idx="2608">
                  <c:v>43731</c:v>
                </c:pt>
                <c:pt idx="2609">
                  <c:v>43732</c:v>
                </c:pt>
                <c:pt idx="2610">
                  <c:v>43733</c:v>
                </c:pt>
                <c:pt idx="2611">
                  <c:v>43734</c:v>
                </c:pt>
                <c:pt idx="2612">
                  <c:v>43735</c:v>
                </c:pt>
                <c:pt idx="2613">
                  <c:v>43738</c:v>
                </c:pt>
                <c:pt idx="2614">
                  <c:v>43746</c:v>
                </c:pt>
                <c:pt idx="2615">
                  <c:v>43747</c:v>
                </c:pt>
                <c:pt idx="2616">
                  <c:v>43748</c:v>
                </c:pt>
                <c:pt idx="2617">
                  <c:v>43749</c:v>
                </c:pt>
                <c:pt idx="2618">
                  <c:v>43752</c:v>
                </c:pt>
                <c:pt idx="2619">
                  <c:v>43753</c:v>
                </c:pt>
                <c:pt idx="2620">
                  <c:v>43754</c:v>
                </c:pt>
                <c:pt idx="2621">
                  <c:v>43755</c:v>
                </c:pt>
                <c:pt idx="2622">
                  <c:v>43756</c:v>
                </c:pt>
                <c:pt idx="2623">
                  <c:v>43759</c:v>
                </c:pt>
                <c:pt idx="2624">
                  <c:v>43760</c:v>
                </c:pt>
                <c:pt idx="2625">
                  <c:v>43761</c:v>
                </c:pt>
                <c:pt idx="2626">
                  <c:v>43762</c:v>
                </c:pt>
                <c:pt idx="2627">
                  <c:v>43763</c:v>
                </c:pt>
                <c:pt idx="2628">
                  <c:v>43766</c:v>
                </c:pt>
                <c:pt idx="2629">
                  <c:v>43767</c:v>
                </c:pt>
                <c:pt idx="2630">
                  <c:v>43768</c:v>
                </c:pt>
                <c:pt idx="2631">
                  <c:v>43769</c:v>
                </c:pt>
                <c:pt idx="2632">
                  <c:v>43770</c:v>
                </c:pt>
                <c:pt idx="2633">
                  <c:v>43773</c:v>
                </c:pt>
                <c:pt idx="2634">
                  <c:v>43774</c:v>
                </c:pt>
                <c:pt idx="2635">
                  <c:v>43775</c:v>
                </c:pt>
                <c:pt idx="2636">
                  <c:v>43776</c:v>
                </c:pt>
                <c:pt idx="2637">
                  <c:v>43777</c:v>
                </c:pt>
                <c:pt idx="2638">
                  <c:v>43780</c:v>
                </c:pt>
                <c:pt idx="2639">
                  <c:v>43781</c:v>
                </c:pt>
                <c:pt idx="2640">
                  <c:v>43782</c:v>
                </c:pt>
                <c:pt idx="2641">
                  <c:v>43783</c:v>
                </c:pt>
                <c:pt idx="2642">
                  <c:v>43784</c:v>
                </c:pt>
                <c:pt idx="2643">
                  <c:v>43787</c:v>
                </c:pt>
                <c:pt idx="2644">
                  <c:v>43788</c:v>
                </c:pt>
                <c:pt idx="2645">
                  <c:v>43789</c:v>
                </c:pt>
                <c:pt idx="2646">
                  <c:v>43790</c:v>
                </c:pt>
                <c:pt idx="2647">
                  <c:v>43791</c:v>
                </c:pt>
                <c:pt idx="2648">
                  <c:v>43794</c:v>
                </c:pt>
                <c:pt idx="2649">
                  <c:v>43795</c:v>
                </c:pt>
                <c:pt idx="2650">
                  <c:v>43796</c:v>
                </c:pt>
                <c:pt idx="2651">
                  <c:v>43797</c:v>
                </c:pt>
                <c:pt idx="2652">
                  <c:v>43798</c:v>
                </c:pt>
                <c:pt idx="2653">
                  <c:v>43801</c:v>
                </c:pt>
                <c:pt idx="2654">
                  <c:v>43802</c:v>
                </c:pt>
                <c:pt idx="2655">
                  <c:v>43803</c:v>
                </c:pt>
                <c:pt idx="2656">
                  <c:v>43804</c:v>
                </c:pt>
                <c:pt idx="2657">
                  <c:v>43805</c:v>
                </c:pt>
                <c:pt idx="2658">
                  <c:v>43808</c:v>
                </c:pt>
                <c:pt idx="2659">
                  <c:v>43809</c:v>
                </c:pt>
                <c:pt idx="2660">
                  <c:v>43810</c:v>
                </c:pt>
                <c:pt idx="2661">
                  <c:v>43811</c:v>
                </c:pt>
                <c:pt idx="2662">
                  <c:v>43812</c:v>
                </c:pt>
                <c:pt idx="2663">
                  <c:v>43815</c:v>
                </c:pt>
                <c:pt idx="2664">
                  <c:v>43816</c:v>
                </c:pt>
                <c:pt idx="2665">
                  <c:v>43817</c:v>
                </c:pt>
                <c:pt idx="2666">
                  <c:v>43818</c:v>
                </c:pt>
                <c:pt idx="2667">
                  <c:v>43819</c:v>
                </c:pt>
                <c:pt idx="2668">
                  <c:v>43822</c:v>
                </c:pt>
                <c:pt idx="2669">
                  <c:v>43823</c:v>
                </c:pt>
                <c:pt idx="2670">
                  <c:v>43824</c:v>
                </c:pt>
                <c:pt idx="2671">
                  <c:v>43825</c:v>
                </c:pt>
                <c:pt idx="2672">
                  <c:v>43826</c:v>
                </c:pt>
                <c:pt idx="2673">
                  <c:v>43829</c:v>
                </c:pt>
                <c:pt idx="2674">
                  <c:v>43830</c:v>
                </c:pt>
                <c:pt idx="2675">
                  <c:v>43832</c:v>
                </c:pt>
                <c:pt idx="2676">
                  <c:v>43833</c:v>
                </c:pt>
                <c:pt idx="2677">
                  <c:v>43836</c:v>
                </c:pt>
                <c:pt idx="2678">
                  <c:v>43837</c:v>
                </c:pt>
                <c:pt idx="2679">
                  <c:v>43838</c:v>
                </c:pt>
                <c:pt idx="2680">
                  <c:v>43839</c:v>
                </c:pt>
                <c:pt idx="2681">
                  <c:v>43840</c:v>
                </c:pt>
                <c:pt idx="2682">
                  <c:v>43843</c:v>
                </c:pt>
                <c:pt idx="2683">
                  <c:v>43844</c:v>
                </c:pt>
                <c:pt idx="2684">
                  <c:v>43845</c:v>
                </c:pt>
                <c:pt idx="2685">
                  <c:v>43846</c:v>
                </c:pt>
                <c:pt idx="2686">
                  <c:v>43847</c:v>
                </c:pt>
                <c:pt idx="2687">
                  <c:v>43850</c:v>
                </c:pt>
                <c:pt idx="2688">
                  <c:v>43851</c:v>
                </c:pt>
                <c:pt idx="2689">
                  <c:v>43852</c:v>
                </c:pt>
                <c:pt idx="2690">
                  <c:v>43853</c:v>
                </c:pt>
                <c:pt idx="2691">
                  <c:v>43864</c:v>
                </c:pt>
                <c:pt idx="2692">
                  <c:v>43865</c:v>
                </c:pt>
                <c:pt idx="2693">
                  <c:v>43866</c:v>
                </c:pt>
                <c:pt idx="2694">
                  <c:v>43867</c:v>
                </c:pt>
                <c:pt idx="2695">
                  <c:v>43868</c:v>
                </c:pt>
                <c:pt idx="2696">
                  <c:v>43871</c:v>
                </c:pt>
                <c:pt idx="2697">
                  <c:v>43872</c:v>
                </c:pt>
                <c:pt idx="2698">
                  <c:v>43873</c:v>
                </c:pt>
                <c:pt idx="2699">
                  <c:v>43874</c:v>
                </c:pt>
                <c:pt idx="2700">
                  <c:v>43875</c:v>
                </c:pt>
                <c:pt idx="2701">
                  <c:v>43878</c:v>
                </c:pt>
                <c:pt idx="2702">
                  <c:v>43879</c:v>
                </c:pt>
                <c:pt idx="2703">
                  <c:v>43880</c:v>
                </c:pt>
                <c:pt idx="2704">
                  <c:v>43881</c:v>
                </c:pt>
                <c:pt idx="2705">
                  <c:v>43882</c:v>
                </c:pt>
                <c:pt idx="2706">
                  <c:v>43885</c:v>
                </c:pt>
                <c:pt idx="2707">
                  <c:v>43886</c:v>
                </c:pt>
                <c:pt idx="2708">
                  <c:v>43887</c:v>
                </c:pt>
                <c:pt idx="2709">
                  <c:v>43888</c:v>
                </c:pt>
                <c:pt idx="2710">
                  <c:v>43889</c:v>
                </c:pt>
                <c:pt idx="2711">
                  <c:v>43892</c:v>
                </c:pt>
                <c:pt idx="2712">
                  <c:v>43893</c:v>
                </c:pt>
                <c:pt idx="2713">
                  <c:v>43894</c:v>
                </c:pt>
                <c:pt idx="2714">
                  <c:v>43895</c:v>
                </c:pt>
                <c:pt idx="2715">
                  <c:v>43896</c:v>
                </c:pt>
                <c:pt idx="2716">
                  <c:v>43899</c:v>
                </c:pt>
                <c:pt idx="2717">
                  <c:v>43900</c:v>
                </c:pt>
                <c:pt idx="2718">
                  <c:v>43901</c:v>
                </c:pt>
                <c:pt idx="2719">
                  <c:v>43902</c:v>
                </c:pt>
                <c:pt idx="2720">
                  <c:v>43903</c:v>
                </c:pt>
                <c:pt idx="2721">
                  <c:v>43906</c:v>
                </c:pt>
                <c:pt idx="2722">
                  <c:v>43907</c:v>
                </c:pt>
                <c:pt idx="2723">
                  <c:v>43908</c:v>
                </c:pt>
                <c:pt idx="2724">
                  <c:v>43909</c:v>
                </c:pt>
                <c:pt idx="2725">
                  <c:v>43910</c:v>
                </c:pt>
                <c:pt idx="2726">
                  <c:v>43913</c:v>
                </c:pt>
                <c:pt idx="2727">
                  <c:v>43914</c:v>
                </c:pt>
                <c:pt idx="2728">
                  <c:v>43915</c:v>
                </c:pt>
                <c:pt idx="2729">
                  <c:v>43916</c:v>
                </c:pt>
                <c:pt idx="2730">
                  <c:v>43917</c:v>
                </c:pt>
                <c:pt idx="2731">
                  <c:v>43920</c:v>
                </c:pt>
                <c:pt idx="2732">
                  <c:v>43921</c:v>
                </c:pt>
                <c:pt idx="2733">
                  <c:v>43922</c:v>
                </c:pt>
                <c:pt idx="2734">
                  <c:v>43923</c:v>
                </c:pt>
                <c:pt idx="2735">
                  <c:v>43924</c:v>
                </c:pt>
                <c:pt idx="2736">
                  <c:v>43928</c:v>
                </c:pt>
                <c:pt idx="2737">
                  <c:v>43929</c:v>
                </c:pt>
                <c:pt idx="2738">
                  <c:v>43930</c:v>
                </c:pt>
                <c:pt idx="2739">
                  <c:v>43931</c:v>
                </c:pt>
                <c:pt idx="2740">
                  <c:v>43934</c:v>
                </c:pt>
                <c:pt idx="2741">
                  <c:v>43935</c:v>
                </c:pt>
                <c:pt idx="2742">
                  <c:v>43936</c:v>
                </c:pt>
                <c:pt idx="2743">
                  <c:v>43937</c:v>
                </c:pt>
                <c:pt idx="2744">
                  <c:v>43938</c:v>
                </c:pt>
                <c:pt idx="2745">
                  <c:v>43941</c:v>
                </c:pt>
                <c:pt idx="2746">
                  <c:v>43942</c:v>
                </c:pt>
                <c:pt idx="2747">
                  <c:v>43943</c:v>
                </c:pt>
                <c:pt idx="2748">
                  <c:v>43944</c:v>
                </c:pt>
                <c:pt idx="2749">
                  <c:v>43945</c:v>
                </c:pt>
                <c:pt idx="2750">
                  <c:v>43948</c:v>
                </c:pt>
                <c:pt idx="2751">
                  <c:v>43949</c:v>
                </c:pt>
                <c:pt idx="2752">
                  <c:v>43950</c:v>
                </c:pt>
                <c:pt idx="2753">
                  <c:v>43951</c:v>
                </c:pt>
                <c:pt idx="2754">
                  <c:v>43957</c:v>
                </c:pt>
                <c:pt idx="2755">
                  <c:v>43958</c:v>
                </c:pt>
                <c:pt idx="2756">
                  <c:v>43959</c:v>
                </c:pt>
                <c:pt idx="2757">
                  <c:v>43962</c:v>
                </c:pt>
                <c:pt idx="2758">
                  <c:v>43963</c:v>
                </c:pt>
                <c:pt idx="2759">
                  <c:v>43964</c:v>
                </c:pt>
                <c:pt idx="2760">
                  <c:v>43965</c:v>
                </c:pt>
                <c:pt idx="2761">
                  <c:v>43966</c:v>
                </c:pt>
                <c:pt idx="2762">
                  <c:v>43969</c:v>
                </c:pt>
                <c:pt idx="2763">
                  <c:v>43970</c:v>
                </c:pt>
                <c:pt idx="2764">
                  <c:v>43971</c:v>
                </c:pt>
                <c:pt idx="2765">
                  <c:v>43972</c:v>
                </c:pt>
                <c:pt idx="2766">
                  <c:v>43973</c:v>
                </c:pt>
                <c:pt idx="2767">
                  <c:v>43976</c:v>
                </c:pt>
                <c:pt idx="2768">
                  <c:v>43977</c:v>
                </c:pt>
                <c:pt idx="2769">
                  <c:v>43978</c:v>
                </c:pt>
                <c:pt idx="2770">
                  <c:v>43979</c:v>
                </c:pt>
                <c:pt idx="2771">
                  <c:v>43980</c:v>
                </c:pt>
                <c:pt idx="2772">
                  <c:v>43983</c:v>
                </c:pt>
                <c:pt idx="2773">
                  <c:v>43984</c:v>
                </c:pt>
                <c:pt idx="2774">
                  <c:v>43985</c:v>
                </c:pt>
                <c:pt idx="2775">
                  <c:v>43986</c:v>
                </c:pt>
                <c:pt idx="2776">
                  <c:v>43987</c:v>
                </c:pt>
                <c:pt idx="2777">
                  <c:v>43990</c:v>
                </c:pt>
                <c:pt idx="2778">
                  <c:v>43991</c:v>
                </c:pt>
                <c:pt idx="2779">
                  <c:v>43992</c:v>
                </c:pt>
                <c:pt idx="2780">
                  <c:v>43993</c:v>
                </c:pt>
                <c:pt idx="2781">
                  <c:v>43994</c:v>
                </c:pt>
                <c:pt idx="2782">
                  <c:v>43997</c:v>
                </c:pt>
                <c:pt idx="2783">
                  <c:v>43998</c:v>
                </c:pt>
                <c:pt idx="2784">
                  <c:v>43999</c:v>
                </c:pt>
                <c:pt idx="2785">
                  <c:v>44000</c:v>
                </c:pt>
                <c:pt idx="2786">
                  <c:v>44001</c:v>
                </c:pt>
                <c:pt idx="2787">
                  <c:v>44004</c:v>
                </c:pt>
                <c:pt idx="2788">
                  <c:v>44005</c:v>
                </c:pt>
                <c:pt idx="2789">
                  <c:v>44006</c:v>
                </c:pt>
                <c:pt idx="2790">
                  <c:v>44011</c:v>
                </c:pt>
                <c:pt idx="2791">
                  <c:v>44012</c:v>
                </c:pt>
                <c:pt idx="2792">
                  <c:v>44013</c:v>
                </c:pt>
                <c:pt idx="2793">
                  <c:v>44014</c:v>
                </c:pt>
                <c:pt idx="2794">
                  <c:v>44015</c:v>
                </c:pt>
                <c:pt idx="2795">
                  <c:v>44018</c:v>
                </c:pt>
                <c:pt idx="2796">
                  <c:v>44019</c:v>
                </c:pt>
                <c:pt idx="2797">
                  <c:v>44020</c:v>
                </c:pt>
                <c:pt idx="2798">
                  <c:v>44021</c:v>
                </c:pt>
                <c:pt idx="2799">
                  <c:v>44022</c:v>
                </c:pt>
                <c:pt idx="2800">
                  <c:v>44025</c:v>
                </c:pt>
                <c:pt idx="2801">
                  <c:v>44026</c:v>
                </c:pt>
                <c:pt idx="2802">
                  <c:v>44027</c:v>
                </c:pt>
                <c:pt idx="2803">
                  <c:v>44028</c:v>
                </c:pt>
                <c:pt idx="2804">
                  <c:v>44029</c:v>
                </c:pt>
                <c:pt idx="2805">
                  <c:v>44032</c:v>
                </c:pt>
                <c:pt idx="2806">
                  <c:v>44033</c:v>
                </c:pt>
                <c:pt idx="2807">
                  <c:v>44034</c:v>
                </c:pt>
                <c:pt idx="2808">
                  <c:v>44035</c:v>
                </c:pt>
                <c:pt idx="2809">
                  <c:v>44036</c:v>
                </c:pt>
                <c:pt idx="2810">
                  <c:v>44039</c:v>
                </c:pt>
                <c:pt idx="2811">
                  <c:v>44040</c:v>
                </c:pt>
                <c:pt idx="2812">
                  <c:v>44041</c:v>
                </c:pt>
                <c:pt idx="2813">
                  <c:v>44042</c:v>
                </c:pt>
                <c:pt idx="2814">
                  <c:v>44043</c:v>
                </c:pt>
                <c:pt idx="2815">
                  <c:v>44046</c:v>
                </c:pt>
                <c:pt idx="2816">
                  <c:v>44047</c:v>
                </c:pt>
                <c:pt idx="2817">
                  <c:v>44048</c:v>
                </c:pt>
                <c:pt idx="2818">
                  <c:v>44049</c:v>
                </c:pt>
                <c:pt idx="2819">
                  <c:v>44050</c:v>
                </c:pt>
                <c:pt idx="2820">
                  <c:v>44053</c:v>
                </c:pt>
                <c:pt idx="2821">
                  <c:v>44054</c:v>
                </c:pt>
                <c:pt idx="2822">
                  <c:v>44055</c:v>
                </c:pt>
                <c:pt idx="2823">
                  <c:v>44056</c:v>
                </c:pt>
                <c:pt idx="2824">
                  <c:v>44057</c:v>
                </c:pt>
                <c:pt idx="2825">
                  <c:v>44060</c:v>
                </c:pt>
                <c:pt idx="2826">
                  <c:v>44061</c:v>
                </c:pt>
                <c:pt idx="2827">
                  <c:v>44062</c:v>
                </c:pt>
                <c:pt idx="2828">
                  <c:v>44063</c:v>
                </c:pt>
                <c:pt idx="2829">
                  <c:v>44064</c:v>
                </c:pt>
                <c:pt idx="2830">
                  <c:v>44067</c:v>
                </c:pt>
                <c:pt idx="2831">
                  <c:v>44068</c:v>
                </c:pt>
                <c:pt idx="2832">
                  <c:v>44069</c:v>
                </c:pt>
                <c:pt idx="2833">
                  <c:v>44070</c:v>
                </c:pt>
                <c:pt idx="2834">
                  <c:v>44071</c:v>
                </c:pt>
                <c:pt idx="2835">
                  <c:v>44074</c:v>
                </c:pt>
                <c:pt idx="2836">
                  <c:v>44075</c:v>
                </c:pt>
                <c:pt idx="2837">
                  <c:v>44076</c:v>
                </c:pt>
                <c:pt idx="2838">
                  <c:v>44077</c:v>
                </c:pt>
                <c:pt idx="2839">
                  <c:v>44078</c:v>
                </c:pt>
                <c:pt idx="2840">
                  <c:v>44081</c:v>
                </c:pt>
                <c:pt idx="2841">
                  <c:v>44082</c:v>
                </c:pt>
                <c:pt idx="2842">
                  <c:v>44083</c:v>
                </c:pt>
                <c:pt idx="2843">
                  <c:v>44084</c:v>
                </c:pt>
                <c:pt idx="2844">
                  <c:v>44085</c:v>
                </c:pt>
                <c:pt idx="2845">
                  <c:v>44088</c:v>
                </c:pt>
                <c:pt idx="2846">
                  <c:v>44089</c:v>
                </c:pt>
                <c:pt idx="2847">
                  <c:v>44090</c:v>
                </c:pt>
                <c:pt idx="2848">
                  <c:v>44091</c:v>
                </c:pt>
                <c:pt idx="2849">
                  <c:v>44092</c:v>
                </c:pt>
                <c:pt idx="2850">
                  <c:v>44095</c:v>
                </c:pt>
                <c:pt idx="2851">
                  <c:v>44096</c:v>
                </c:pt>
                <c:pt idx="2852">
                  <c:v>44097</c:v>
                </c:pt>
                <c:pt idx="2853">
                  <c:v>44098</c:v>
                </c:pt>
                <c:pt idx="2854">
                  <c:v>44099</c:v>
                </c:pt>
                <c:pt idx="2855">
                  <c:v>44102</c:v>
                </c:pt>
                <c:pt idx="2856">
                  <c:v>44103</c:v>
                </c:pt>
                <c:pt idx="2857">
                  <c:v>44104</c:v>
                </c:pt>
                <c:pt idx="2858">
                  <c:v>44113</c:v>
                </c:pt>
                <c:pt idx="2859">
                  <c:v>44116</c:v>
                </c:pt>
                <c:pt idx="2860">
                  <c:v>44117</c:v>
                </c:pt>
                <c:pt idx="2861">
                  <c:v>44118</c:v>
                </c:pt>
                <c:pt idx="2862">
                  <c:v>44119</c:v>
                </c:pt>
                <c:pt idx="2863">
                  <c:v>44120</c:v>
                </c:pt>
                <c:pt idx="2864">
                  <c:v>44123</c:v>
                </c:pt>
                <c:pt idx="2865">
                  <c:v>44124</c:v>
                </c:pt>
                <c:pt idx="2866">
                  <c:v>44125</c:v>
                </c:pt>
                <c:pt idx="2867">
                  <c:v>44126</c:v>
                </c:pt>
                <c:pt idx="2868">
                  <c:v>44127</c:v>
                </c:pt>
                <c:pt idx="2869">
                  <c:v>44130</c:v>
                </c:pt>
                <c:pt idx="2870">
                  <c:v>44131</c:v>
                </c:pt>
                <c:pt idx="2871">
                  <c:v>44132</c:v>
                </c:pt>
                <c:pt idx="2872">
                  <c:v>44133</c:v>
                </c:pt>
                <c:pt idx="2873">
                  <c:v>44134</c:v>
                </c:pt>
                <c:pt idx="2874">
                  <c:v>44137</c:v>
                </c:pt>
                <c:pt idx="2875">
                  <c:v>44138</c:v>
                </c:pt>
                <c:pt idx="2876">
                  <c:v>44139</c:v>
                </c:pt>
                <c:pt idx="2877">
                  <c:v>44140</c:v>
                </c:pt>
                <c:pt idx="2878">
                  <c:v>44141</c:v>
                </c:pt>
                <c:pt idx="2879">
                  <c:v>44144</c:v>
                </c:pt>
                <c:pt idx="2880">
                  <c:v>44145</c:v>
                </c:pt>
                <c:pt idx="2881">
                  <c:v>44146</c:v>
                </c:pt>
                <c:pt idx="2882">
                  <c:v>44147</c:v>
                </c:pt>
                <c:pt idx="2883">
                  <c:v>44148</c:v>
                </c:pt>
                <c:pt idx="2884">
                  <c:v>44151</c:v>
                </c:pt>
                <c:pt idx="2885">
                  <c:v>44152</c:v>
                </c:pt>
                <c:pt idx="2886">
                  <c:v>44153</c:v>
                </c:pt>
                <c:pt idx="2887">
                  <c:v>44154</c:v>
                </c:pt>
                <c:pt idx="2888">
                  <c:v>44155</c:v>
                </c:pt>
                <c:pt idx="2889">
                  <c:v>44158</c:v>
                </c:pt>
                <c:pt idx="2890">
                  <c:v>44159</c:v>
                </c:pt>
                <c:pt idx="2891">
                  <c:v>44160</c:v>
                </c:pt>
                <c:pt idx="2892">
                  <c:v>44161</c:v>
                </c:pt>
                <c:pt idx="2893">
                  <c:v>44162</c:v>
                </c:pt>
                <c:pt idx="2894">
                  <c:v>44165</c:v>
                </c:pt>
                <c:pt idx="2895">
                  <c:v>44166</c:v>
                </c:pt>
                <c:pt idx="2896">
                  <c:v>44167</c:v>
                </c:pt>
                <c:pt idx="2897">
                  <c:v>44168</c:v>
                </c:pt>
                <c:pt idx="2898">
                  <c:v>44169</c:v>
                </c:pt>
                <c:pt idx="2899">
                  <c:v>44172</c:v>
                </c:pt>
                <c:pt idx="2900">
                  <c:v>44173</c:v>
                </c:pt>
                <c:pt idx="2901">
                  <c:v>44174</c:v>
                </c:pt>
                <c:pt idx="2902">
                  <c:v>44175</c:v>
                </c:pt>
                <c:pt idx="2903">
                  <c:v>44176</c:v>
                </c:pt>
                <c:pt idx="2904">
                  <c:v>44179</c:v>
                </c:pt>
                <c:pt idx="2905">
                  <c:v>44180</c:v>
                </c:pt>
                <c:pt idx="2906">
                  <c:v>44181</c:v>
                </c:pt>
                <c:pt idx="2907">
                  <c:v>44182</c:v>
                </c:pt>
                <c:pt idx="2908">
                  <c:v>44183</c:v>
                </c:pt>
                <c:pt idx="2909">
                  <c:v>44186</c:v>
                </c:pt>
                <c:pt idx="2910">
                  <c:v>44187</c:v>
                </c:pt>
                <c:pt idx="2911">
                  <c:v>44188</c:v>
                </c:pt>
                <c:pt idx="2912">
                  <c:v>44189</c:v>
                </c:pt>
                <c:pt idx="2913">
                  <c:v>44190</c:v>
                </c:pt>
                <c:pt idx="2914">
                  <c:v>44193</c:v>
                </c:pt>
                <c:pt idx="2915">
                  <c:v>44194</c:v>
                </c:pt>
                <c:pt idx="2916">
                  <c:v>44195</c:v>
                </c:pt>
                <c:pt idx="2917">
                  <c:v>44196</c:v>
                </c:pt>
                <c:pt idx="2918">
                  <c:v>44200</c:v>
                </c:pt>
                <c:pt idx="2919">
                  <c:v>44201</c:v>
                </c:pt>
                <c:pt idx="2920">
                  <c:v>44202</c:v>
                </c:pt>
                <c:pt idx="2921">
                  <c:v>44203</c:v>
                </c:pt>
                <c:pt idx="2922">
                  <c:v>44204</c:v>
                </c:pt>
                <c:pt idx="2923">
                  <c:v>44207</c:v>
                </c:pt>
                <c:pt idx="2924">
                  <c:v>44208</c:v>
                </c:pt>
                <c:pt idx="2925">
                  <c:v>44209</c:v>
                </c:pt>
                <c:pt idx="2926">
                  <c:v>44210</c:v>
                </c:pt>
                <c:pt idx="2927">
                  <c:v>44211</c:v>
                </c:pt>
                <c:pt idx="2928">
                  <c:v>44214</c:v>
                </c:pt>
                <c:pt idx="2929">
                  <c:v>44215</c:v>
                </c:pt>
                <c:pt idx="2930">
                  <c:v>44216</c:v>
                </c:pt>
                <c:pt idx="2931">
                  <c:v>44217</c:v>
                </c:pt>
                <c:pt idx="2932">
                  <c:v>44218</c:v>
                </c:pt>
                <c:pt idx="2933">
                  <c:v>44221</c:v>
                </c:pt>
                <c:pt idx="2934">
                  <c:v>44222</c:v>
                </c:pt>
                <c:pt idx="2935">
                  <c:v>44223</c:v>
                </c:pt>
                <c:pt idx="2936">
                  <c:v>44224</c:v>
                </c:pt>
                <c:pt idx="2937">
                  <c:v>44225</c:v>
                </c:pt>
                <c:pt idx="2938">
                  <c:v>44228</c:v>
                </c:pt>
                <c:pt idx="2939">
                  <c:v>44229</c:v>
                </c:pt>
                <c:pt idx="2940">
                  <c:v>44230</c:v>
                </c:pt>
                <c:pt idx="2941">
                  <c:v>44231</c:v>
                </c:pt>
                <c:pt idx="2942">
                  <c:v>44232</c:v>
                </c:pt>
                <c:pt idx="2943">
                  <c:v>44235</c:v>
                </c:pt>
                <c:pt idx="2944">
                  <c:v>44236</c:v>
                </c:pt>
                <c:pt idx="2945">
                  <c:v>44237</c:v>
                </c:pt>
                <c:pt idx="2946">
                  <c:v>44245</c:v>
                </c:pt>
                <c:pt idx="2947">
                  <c:v>44246</c:v>
                </c:pt>
                <c:pt idx="2948">
                  <c:v>44249</c:v>
                </c:pt>
                <c:pt idx="2949">
                  <c:v>44250</c:v>
                </c:pt>
                <c:pt idx="2950">
                  <c:v>44251</c:v>
                </c:pt>
                <c:pt idx="2951">
                  <c:v>44252</c:v>
                </c:pt>
                <c:pt idx="2952">
                  <c:v>44253</c:v>
                </c:pt>
                <c:pt idx="2953">
                  <c:v>44256</c:v>
                </c:pt>
                <c:pt idx="2954">
                  <c:v>44257</c:v>
                </c:pt>
                <c:pt idx="2955">
                  <c:v>44258</c:v>
                </c:pt>
                <c:pt idx="2956">
                  <c:v>44259</c:v>
                </c:pt>
                <c:pt idx="2957">
                  <c:v>44260</c:v>
                </c:pt>
                <c:pt idx="2958">
                  <c:v>44263</c:v>
                </c:pt>
                <c:pt idx="2959">
                  <c:v>44264</c:v>
                </c:pt>
                <c:pt idx="2960">
                  <c:v>44265</c:v>
                </c:pt>
                <c:pt idx="2961">
                  <c:v>44266</c:v>
                </c:pt>
                <c:pt idx="2962">
                  <c:v>44267</c:v>
                </c:pt>
                <c:pt idx="2963">
                  <c:v>44270</c:v>
                </c:pt>
                <c:pt idx="2964">
                  <c:v>44271</c:v>
                </c:pt>
                <c:pt idx="2965">
                  <c:v>44272</c:v>
                </c:pt>
                <c:pt idx="2966">
                  <c:v>44273</c:v>
                </c:pt>
                <c:pt idx="2967">
                  <c:v>44274</c:v>
                </c:pt>
                <c:pt idx="2968">
                  <c:v>44277</c:v>
                </c:pt>
                <c:pt idx="2969">
                  <c:v>44278</c:v>
                </c:pt>
                <c:pt idx="2970">
                  <c:v>44279</c:v>
                </c:pt>
                <c:pt idx="2971">
                  <c:v>44280</c:v>
                </c:pt>
                <c:pt idx="2972">
                  <c:v>44281</c:v>
                </c:pt>
                <c:pt idx="2973">
                  <c:v>44284</c:v>
                </c:pt>
                <c:pt idx="2974">
                  <c:v>44285</c:v>
                </c:pt>
                <c:pt idx="2975">
                  <c:v>44286</c:v>
                </c:pt>
                <c:pt idx="2976">
                  <c:v>44287</c:v>
                </c:pt>
                <c:pt idx="2977">
                  <c:v>44288</c:v>
                </c:pt>
                <c:pt idx="2978">
                  <c:v>44292</c:v>
                </c:pt>
                <c:pt idx="2979">
                  <c:v>44293</c:v>
                </c:pt>
                <c:pt idx="2980">
                  <c:v>44294</c:v>
                </c:pt>
                <c:pt idx="2981">
                  <c:v>44295</c:v>
                </c:pt>
                <c:pt idx="2982">
                  <c:v>44298</c:v>
                </c:pt>
                <c:pt idx="2983">
                  <c:v>44299</c:v>
                </c:pt>
                <c:pt idx="2984">
                  <c:v>44300</c:v>
                </c:pt>
                <c:pt idx="2985">
                  <c:v>44301</c:v>
                </c:pt>
                <c:pt idx="2986">
                  <c:v>44302</c:v>
                </c:pt>
                <c:pt idx="2987">
                  <c:v>44305</c:v>
                </c:pt>
                <c:pt idx="2988">
                  <c:v>44306</c:v>
                </c:pt>
                <c:pt idx="2989">
                  <c:v>44307</c:v>
                </c:pt>
                <c:pt idx="2990">
                  <c:v>44308</c:v>
                </c:pt>
                <c:pt idx="2991">
                  <c:v>44309</c:v>
                </c:pt>
                <c:pt idx="2992">
                  <c:v>44312</c:v>
                </c:pt>
                <c:pt idx="2993">
                  <c:v>44313</c:v>
                </c:pt>
                <c:pt idx="2994">
                  <c:v>44314</c:v>
                </c:pt>
                <c:pt idx="2995">
                  <c:v>44315</c:v>
                </c:pt>
                <c:pt idx="2996">
                  <c:v>44316</c:v>
                </c:pt>
                <c:pt idx="2997">
                  <c:v>44322</c:v>
                </c:pt>
                <c:pt idx="2998">
                  <c:v>44323</c:v>
                </c:pt>
                <c:pt idx="2999">
                  <c:v>44326</c:v>
                </c:pt>
                <c:pt idx="3000">
                  <c:v>44327</c:v>
                </c:pt>
                <c:pt idx="3001">
                  <c:v>44328</c:v>
                </c:pt>
                <c:pt idx="3002">
                  <c:v>44329</c:v>
                </c:pt>
                <c:pt idx="3003">
                  <c:v>44330</c:v>
                </c:pt>
                <c:pt idx="3004">
                  <c:v>44333</c:v>
                </c:pt>
                <c:pt idx="3005">
                  <c:v>44334</c:v>
                </c:pt>
                <c:pt idx="3006">
                  <c:v>44335</c:v>
                </c:pt>
                <c:pt idx="3007">
                  <c:v>44336</c:v>
                </c:pt>
                <c:pt idx="3008">
                  <c:v>44337</c:v>
                </c:pt>
                <c:pt idx="3009">
                  <c:v>44340</c:v>
                </c:pt>
                <c:pt idx="3010">
                  <c:v>44341</c:v>
                </c:pt>
                <c:pt idx="3011">
                  <c:v>44342</c:v>
                </c:pt>
                <c:pt idx="3012">
                  <c:v>44343</c:v>
                </c:pt>
                <c:pt idx="3013">
                  <c:v>44344</c:v>
                </c:pt>
                <c:pt idx="3014">
                  <c:v>44347</c:v>
                </c:pt>
                <c:pt idx="3015">
                  <c:v>44348</c:v>
                </c:pt>
                <c:pt idx="3016">
                  <c:v>44349</c:v>
                </c:pt>
                <c:pt idx="3017">
                  <c:v>44350</c:v>
                </c:pt>
                <c:pt idx="3018">
                  <c:v>44351</c:v>
                </c:pt>
                <c:pt idx="3019">
                  <c:v>44354</c:v>
                </c:pt>
                <c:pt idx="3020">
                  <c:v>44355</c:v>
                </c:pt>
                <c:pt idx="3021">
                  <c:v>44356</c:v>
                </c:pt>
                <c:pt idx="3022">
                  <c:v>44357</c:v>
                </c:pt>
                <c:pt idx="3023">
                  <c:v>44358</c:v>
                </c:pt>
                <c:pt idx="3024">
                  <c:v>44362</c:v>
                </c:pt>
                <c:pt idx="3025">
                  <c:v>44363</c:v>
                </c:pt>
                <c:pt idx="3026">
                  <c:v>44364</c:v>
                </c:pt>
                <c:pt idx="3027">
                  <c:v>44365</c:v>
                </c:pt>
                <c:pt idx="3028">
                  <c:v>44368</c:v>
                </c:pt>
                <c:pt idx="3029">
                  <c:v>44369</c:v>
                </c:pt>
                <c:pt idx="3030">
                  <c:v>44370</c:v>
                </c:pt>
                <c:pt idx="3031">
                  <c:v>44371</c:v>
                </c:pt>
                <c:pt idx="3032">
                  <c:v>44372</c:v>
                </c:pt>
                <c:pt idx="3033">
                  <c:v>44375</c:v>
                </c:pt>
                <c:pt idx="3034">
                  <c:v>44376</c:v>
                </c:pt>
                <c:pt idx="3035">
                  <c:v>44377</c:v>
                </c:pt>
                <c:pt idx="3036">
                  <c:v>44378</c:v>
                </c:pt>
                <c:pt idx="3037">
                  <c:v>44379</c:v>
                </c:pt>
                <c:pt idx="3038">
                  <c:v>44382</c:v>
                </c:pt>
                <c:pt idx="3039">
                  <c:v>44383</c:v>
                </c:pt>
                <c:pt idx="3040">
                  <c:v>44384</c:v>
                </c:pt>
                <c:pt idx="3041">
                  <c:v>44385</c:v>
                </c:pt>
                <c:pt idx="3042">
                  <c:v>44386</c:v>
                </c:pt>
                <c:pt idx="3043">
                  <c:v>44389</c:v>
                </c:pt>
                <c:pt idx="3044">
                  <c:v>44390</c:v>
                </c:pt>
                <c:pt idx="3045">
                  <c:v>44391</c:v>
                </c:pt>
                <c:pt idx="3046">
                  <c:v>44392</c:v>
                </c:pt>
                <c:pt idx="3047">
                  <c:v>44393</c:v>
                </c:pt>
                <c:pt idx="3048">
                  <c:v>44396</c:v>
                </c:pt>
                <c:pt idx="3049">
                  <c:v>44397</c:v>
                </c:pt>
                <c:pt idx="3050">
                  <c:v>44398</c:v>
                </c:pt>
                <c:pt idx="3051">
                  <c:v>44399</c:v>
                </c:pt>
                <c:pt idx="3052">
                  <c:v>44400</c:v>
                </c:pt>
                <c:pt idx="3053">
                  <c:v>44403</c:v>
                </c:pt>
                <c:pt idx="3054">
                  <c:v>44404</c:v>
                </c:pt>
                <c:pt idx="3055">
                  <c:v>44405</c:v>
                </c:pt>
                <c:pt idx="3056">
                  <c:v>44406</c:v>
                </c:pt>
                <c:pt idx="3057">
                  <c:v>44407</c:v>
                </c:pt>
                <c:pt idx="3058">
                  <c:v>44410</c:v>
                </c:pt>
                <c:pt idx="3059">
                  <c:v>44411</c:v>
                </c:pt>
                <c:pt idx="3060">
                  <c:v>44412</c:v>
                </c:pt>
                <c:pt idx="3061">
                  <c:v>44413</c:v>
                </c:pt>
                <c:pt idx="3062">
                  <c:v>44414</c:v>
                </c:pt>
                <c:pt idx="3063">
                  <c:v>44417</c:v>
                </c:pt>
                <c:pt idx="3064">
                  <c:v>44418</c:v>
                </c:pt>
                <c:pt idx="3065">
                  <c:v>44419</c:v>
                </c:pt>
                <c:pt idx="3066">
                  <c:v>44420</c:v>
                </c:pt>
                <c:pt idx="3067">
                  <c:v>44421</c:v>
                </c:pt>
                <c:pt idx="3068">
                  <c:v>44424</c:v>
                </c:pt>
                <c:pt idx="3069">
                  <c:v>44425</c:v>
                </c:pt>
                <c:pt idx="3070">
                  <c:v>44426</c:v>
                </c:pt>
                <c:pt idx="3071">
                  <c:v>44427</c:v>
                </c:pt>
                <c:pt idx="3072">
                  <c:v>44428</c:v>
                </c:pt>
                <c:pt idx="3073">
                  <c:v>44431</c:v>
                </c:pt>
                <c:pt idx="3074">
                  <c:v>44432</c:v>
                </c:pt>
                <c:pt idx="3075">
                  <c:v>44433</c:v>
                </c:pt>
                <c:pt idx="3076">
                  <c:v>44434</c:v>
                </c:pt>
                <c:pt idx="3077">
                  <c:v>44435</c:v>
                </c:pt>
                <c:pt idx="3078">
                  <c:v>44438</c:v>
                </c:pt>
                <c:pt idx="3079">
                  <c:v>44439</c:v>
                </c:pt>
                <c:pt idx="3080">
                  <c:v>44440</c:v>
                </c:pt>
                <c:pt idx="3081">
                  <c:v>44441</c:v>
                </c:pt>
                <c:pt idx="3082">
                  <c:v>44442</c:v>
                </c:pt>
                <c:pt idx="3083">
                  <c:v>44445</c:v>
                </c:pt>
                <c:pt idx="3084">
                  <c:v>44446</c:v>
                </c:pt>
                <c:pt idx="3085">
                  <c:v>44447</c:v>
                </c:pt>
                <c:pt idx="3086">
                  <c:v>44448</c:v>
                </c:pt>
                <c:pt idx="3087">
                  <c:v>44449</c:v>
                </c:pt>
                <c:pt idx="3088">
                  <c:v>44452</c:v>
                </c:pt>
                <c:pt idx="3089">
                  <c:v>44453</c:v>
                </c:pt>
                <c:pt idx="3090">
                  <c:v>44454</c:v>
                </c:pt>
                <c:pt idx="3091">
                  <c:v>44455</c:v>
                </c:pt>
                <c:pt idx="3092">
                  <c:v>44456</c:v>
                </c:pt>
                <c:pt idx="3093">
                  <c:v>44461</c:v>
                </c:pt>
                <c:pt idx="3094">
                  <c:v>44462</c:v>
                </c:pt>
                <c:pt idx="3095">
                  <c:v>44463</c:v>
                </c:pt>
                <c:pt idx="3096">
                  <c:v>44466</c:v>
                </c:pt>
                <c:pt idx="3097">
                  <c:v>44467</c:v>
                </c:pt>
                <c:pt idx="3098">
                  <c:v>44468</c:v>
                </c:pt>
                <c:pt idx="3099">
                  <c:v>44469</c:v>
                </c:pt>
                <c:pt idx="3100">
                  <c:v>44477</c:v>
                </c:pt>
                <c:pt idx="3101">
                  <c:v>44480</c:v>
                </c:pt>
                <c:pt idx="3102">
                  <c:v>44481</c:v>
                </c:pt>
                <c:pt idx="3103">
                  <c:v>44482</c:v>
                </c:pt>
                <c:pt idx="3104">
                  <c:v>44483</c:v>
                </c:pt>
                <c:pt idx="3105">
                  <c:v>44484</c:v>
                </c:pt>
                <c:pt idx="3106">
                  <c:v>44487</c:v>
                </c:pt>
                <c:pt idx="3107">
                  <c:v>44488</c:v>
                </c:pt>
                <c:pt idx="3108">
                  <c:v>44489</c:v>
                </c:pt>
                <c:pt idx="3109">
                  <c:v>44490</c:v>
                </c:pt>
                <c:pt idx="3110">
                  <c:v>44491</c:v>
                </c:pt>
                <c:pt idx="3111">
                  <c:v>44494</c:v>
                </c:pt>
                <c:pt idx="3112">
                  <c:v>44495</c:v>
                </c:pt>
                <c:pt idx="3113">
                  <c:v>44496</c:v>
                </c:pt>
                <c:pt idx="3114">
                  <c:v>44497</c:v>
                </c:pt>
                <c:pt idx="3115">
                  <c:v>44498</c:v>
                </c:pt>
                <c:pt idx="3116">
                  <c:v>44501</c:v>
                </c:pt>
                <c:pt idx="3117">
                  <c:v>44502</c:v>
                </c:pt>
                <c:pt idx="3118">
                  <c:v>44503</c:v>
                </c:pt>
                <c:pt idx="3119">
                  <c:v>44504</c:v>
                </c:pt>
                <c:pt idx="3120">
                  <c:v>44505</c:v>
                </c:pt>
                <c:pt idx="3121">
                  <c:v>44508</c:v>
                </c:pt>
                <c:pt idx="3122">
                  <c:v>44509</c:v>
                </c:pt>
                <c:pt idx="3123">
                  <c:v>44510</c:v>
                </c:pt>
                <c:pt idx="3124">
                  <c:v>44511</c:v>
                </c:pt>
                <c:pt idx="3125">
                  <c:v>44512</c:v>
                </c:pt>
                <c:pt idx="3126">
                  <c:v>44515</c:v>
                </c:pt>
                <c:pt idx="3127">
                  <c:v>44516</c:v>
                </c:pt>
                <c:pt idx="3128">
                  <c:v>44517</c:v>
                </c:pt>
                <c:pt idx="3129">
                  <c:v>44518</c:v>
                </c:pt>
                <c:pt idx="3130">
                  <c:v>44519</c:v>
                </c:pt>
                <c:pt idx="3131">
                  <c:v>44522</c:v>
                </c:pt>
                <c:pt idx="3132">
                  <c:v>44523</c:v>
                </c:pt>
                <c:pt idx="3133">
                  <c:v>44524</c:v>
                </c:pt>
                <c:pt idx="3134">
                  <c:v>44525</c:v>
                </c:pt>
                <c:pt idx="3135">
                  <c:v>44526</c:v>
                </c:pt>
                <c:pt idx="3136">
                  <c:v>44529</c:v>
                </c:pt>
                <c:pt idx="3137">
                  <c:v>44530</c:v>
                </c:pt>
                <c:pt idx="3138">
                  <c:v>44531</c:v>
                </c:pt>
                <c:pt idx="3139">
                  <c:v>44532</c:v>
                </c:pt>
                <c:pt idx="3140">
                  <c:v>44533</c:v>
                </c:pt>
                <c:pt idx="3141">
                  <c:v>44536</c:v>
                </c:pt>
                <c:pt idx="3142">
                  <c:v>44537</c:v>
                </c:pt>
                <c:pt idx="3143">
                  <c:v>44538</c:v>
                </c:pt>
                <c:pt idx="3144">
                  <c:v>44539</c:v>
                </c:pt>
                <c:pt idx="3145">
                  <c:v>44540</c:v>
                </c:pt>
                <c:pt idx="3146">
                  <c:v>44543</c:v>
                </c:pt>
                <c:pt idx="3147">
                  <c:v>44544</c:v>
                </c:pt>
                <c:pt idx="3148">
                  <c:v>44545</c:v>
                </c:pt>
                <c:pt idx="3149">
                  <c:v>44546</c:v>
                </c:pt>
                <c:pt idx="3150">
                  <c:v>44547</c:v>
                </c:pt>
                <c:pt idx="3151">
                  <c:v>44550</c:v>
                </c:pt>
                <c:pt idx="3152">
                  <c:v>44551</c:v>
                </c:pt>
                <c:pt idx="3153">
                  <c:v>44552</c:v>
                </c:pt>
                <c:pt idx="3154">
                  <c:v>44553</c:v>
                </c:pt>
                <c:pt idx="3155">
                  <c:v>44554</c:v>
                </c:pt>
                <c:pt idx="3156">
                  <c:v>44557</c:v>
                </c:pt>
                <c:pt idx="3157">
                  <c:v>44558</c:v>
                </c:pt>
                <c:pt idx="3158">
                  <c:v>44559</c:v>
                </c:pt>
                <c:pt idx="3159">
                  <c:v>44560</c:v>
                </c:pt>
                <c:pt idx="3160">
                  <c:v>44561</c:v>
                </c:pt>
                <c:pt idx="3161">
                  <c:v>44565</c:v>
                </c:pt>
                <c:pt idx="3162">
                  <c:v>44566</c:v>
                </c:pt>
                <c:pt idx="3163">
                  <c:v>44567</c:v>
                </c:pt>
                <c:pt idx="3164">
                  <c:v>44568</c:v>
                </c:pt>
                <c:pt idx="3165">
                  <c:v>44571</c:v>
                </c:pt>
                <c:pt idx="3166">
                  <c:v>44572</c:v>
                </c:pt>
                <c:pt idx="3167">
                  <c:v>44573</c:v>
                </c:pt>
                <c:pt idx="3168">
                  <c:v>44574</c:v>
                </c:pt>
                <c:pt idx="3169">
                  <c:v>44575</c:v>
                </c:pt>
                <c:pt idx="3170">
                  <c:v>44578</c:v>
                </c:pt>
                <c:pt idx="3171">
                  <c:v>44579</c:v>
                </c:pt>
                <c:pt idx="3172">
                  <c:v>44580</c:v>
                </c:pt>
                <c:pt idx="3173">
                  <c:v>44581</c:v>
                </c:pt>
                <c:pt idx="3174">
                  <c:v>44582</c:v>
                </c:pt>
                <c:pt idx="3175">
                  <c:v>44585</c:v>
                </c:pt>
                <c:pt idx="3176">
                  <c:v>44586</c:v>
                </c:pt>
                <c:pt idx="3177">
                  <c:v>44587</c:v>
                </c:pt>
                <c:pt idx="3178">
                  <c:v>44588</c:v>
                </c:pt>
                <c:pt idx="3179">
                  <c:v>44589</c:v>
                </c:pt>
                <c:pt idx="3180">
                  <c:v>44599</c:v>
                </c:pt>
                <c:pt idx="3181">
                  <c:v>44600</c:v>
                </c:pt>
                <c:pt idx="3182">
                  <c:v>44601</c:v>
                </c:pt>
                <c:pt idx="3183">
                  <c:v>44602</c:v>
                </c:pt>
                <c:pt idx="3184">
                  <c:v>44603</c:v>
                </c:pt>
                <c:pt idx="3185">
                  <c:v>44606</c:v>
                </c:pt>
                <c:pt idx="3186">
                  <c:v>44607</c:v>
                </c:pt>
                <c:pt idx="3187">
                  <c:v>44608</c:v>
                </c:pt>
                <c:pt idx="3188">
                  <c:v>44609</c:v>
                </c:pt>
                <c:pt idx="3189">
                  <c:v>44610</c:v>
                </c:pt>
                <c:pt idx="3190">
                  <c:v>44613</c:v>
                </c:pt>
                <c:pt idx="3191">
                  <c:v>44614</c:v>
                </c:pt>
                <c:pt idx="3192">
                  <c:v>44615</c:v>
                </c:pt>
                <c:pt idx="3193">
                  <c:v>44616</c:v>
                </c:pt>
                <c:pt idx="3194">
                  <c:v>44617</c:v>
                </c:pt>
                <c:pt idx="3195">
                  <c:v>44620</c:v>
                </c:pt>
                <c:pt idx="3196">
                  <c:v>44621</c:v>
                </c:pt>
                <c:pt idx="3197">
                  <c:v>44622</c:v>
                </c:pt>
                <c:pt idx="3198">
                  <c:v>44623</c:v>
                </c:pt>
                <c:pt idx="3199">
                  <c:v>44624</c:v>
                </c:pt>
                <c:pt idx="3200">
                  <c:v>44627</c:v>
                </c:pt>
                <c:pt idx="3201">
                  <c:v>44628</c:v>
                </c:pt>
                <c:pt idx="3202">
                  <c:v>44629</c:v>
                </c:pt>
                <c:pt idx="3203">
                  <c:v>44630</c:v>
                </c:pt>
                <c:pt idx="3204">
                  <c:v>44631</c:v>
                </c:pt>
                <c:pt idx="3205">
                  <c:v>44634</c:v>
                </c:pt>
                <c:pt idx="3206">
                  <c:v>44635</c:v>
                </c:pt>
                <c:pt idx="3207">
                  <c:v>44636</c:v>
                </c:pt>
                <c:pt idx="3208">
                  <c:v>44637</c:v>
                </c:pt>
                <c:pt idx="3209">
                  <c:v>44638</c:v>
                </c:pt>
                <c:pt idx="3210">
                  <c:v>44641</c:v>
                </c:pt>
                <c:pt idx="3211">
                  <c:v>44642</c:v>
                </c:pt>
                <c:pt idx="3212">
                  <c:v>44643</c:v>
                </c:pt>
                <c:pt idx="3213">
                  <c:v>44644</c:v>
                </c:pt>
                <c:pt idx="3214">
                  <c:v>44645</c:v>
                </c:pt>
                <c:pt idx="3215">
                  <c:v>44648</c:v>
                </c:pt>
                <c:pt idx="3216">
                  <c:v>44649</c:v>
                </c:pt>
                <c:pt idx="3217">
                  <c:v>44650</c:v>
                </c:pt>
                <c:pt idx="3218">
                  <c:v>44651</c:v>
                </c:pt>
                <c:pt idx="3219">
                  <c:v>44652</c:v>
                </c:pt>
                <c:pt idx="3220">
                  <c:v>44657</c:v>
                </c:pt>
                <c:pt idx="3221">
                  <c:v>44658</c:v>
                </c:pt>
                <c:pt idx="3222">
                  <c:v>44659</c:v>
                </c:pt>
              </c:numCache>
            </c:numRef>
          </c:cat>
          <c:val>
            <c:numRef>
              <c:f>turnover_牛熊!$C$2:$C$3224</c:f>
              <c:numCache>
                <c:formatCode>General</c:formatCode>
                <c:ptCount val="3223"/>
                <c:pt idx="0">
                  <c:v>1000000</c:v>
                </c:pt>
                <c:pt idx="1">
                  <c:v>1031779.751</c:v>
                </c:pt>
                <c:pt idx="2">
                  <c:v>1025608.616</c:v>
                </c:pt>
                <c:pt idx="3">
                  <c:v>1002671.326</c:v>
                </c:pt>
                <c:pt idx="4">
                  <c:v>1018805.498</c:v>
                </c:pt>
                <c:pt idx="5">
                  <c:v>1020037.6</c:v>
                </c:pt>
                <c:pt idx="6">
                  <c:v>996404.59699999995</c:v>
                </c:pt>
                <c:pt idx="7">
                  <c:v>1038386.37</c:v>
                </c:pt>
                <c:pt idx="8">
                  <c:v>1038189.871</c:v>
                </c:pt>
                <c:pt idx="9">
                  <c:v>1056958.193</c:v>
                </c:pt>
                <c:pt idx="10">
                  <c:v>1068780.0060000001</c:v>
                </c:pt>
                <c:pt idx="11">
                  <c:v>1075535.327</c:v>
                </c:pt>
                <c:pt idx="12">
                  <c:v>1073687.173</c:v>
                </c:pt>
                <c:pt idx="13">
                  <c:v>1085817.0120000001</c:v>
                </c:pt>
                <c:pt idx="14">
                  <c:v>1079513.1070000001</c:v>
                </c:pt>
                <c:pt idx="15">
                  <c:v>1092460.8060000001</c:v>
                </c:pt>
                <c:pt idx="16">
                  <c:v>1119997.2379999999</c:v>
                </c:pt>
                <c:pt idx="17">
                  <c:v>1150534.2649999999</c:v>
                </c:pt>
                <c:pt idx="18">
                  <c:v>1142334.4099999999</c:v>
                </c:pt>
                <c:pt idx="19">
                  <c:v>1188171.8149999999</c:v>
                </c:pt>
                <c:pt idx="20">
                  <c:v>1219712.58</c:v>
                </c:pt>
                <c:pt idx="21">
                  <c:v>1235692.7390000001</c:v>
                </c:pt>
                <c:pt idx="22">
                  <c:v>1238018.8640000001</c:v>
                </c:pt>
                <c:pt idx="23">
                  <c:v>1231221.0560000001</c:v>
                </c:pt>
                <c:pt idx="24">
                  <c:v>1274095.0419999999</c:v>
                </c:pt>
                <c:pt idx="25">
                  <c:v>1307648.5959999999</c:v>
                </c:pt>
                <c:pt idx="26">
                  <c:v>1266776.777</c:v>
                </c:pt>
                <c:pt idx="27">
                  <c:v>1208650.21</c:v>
                </c:pt>
                <c:pt idx="28">
                  <c:v>1220636.6569999999</c:v>
                </c:pt>
                <c:pt idx="29">
                  <c:v>1245018.4820000001</c:v>
                </c:pt>
                <c:pt idx="30">
                  <c:v>1280154.6499999999</c:v>
                </c:pt>
                <c:pt idx="31">
                  <c:v>1222463.568</c:v>
                </c:pt>
                <c:pt idx="32">
                  <c:v>1223738.1569999999</c:v>
                </c:pt>
                <c:pt idx="33">
                  <c:v>1163163.317</c:v>
                </c:pt>
                <c:pt idx="34">
                  <c:v>1136768.7050000001</c:v>
                </c:pt>
                <c:pt idx="35">
                  <c:v>1149610.1880000001</c:v>
                </c:pt>
                <c:pt idx="36">
                  <c:v>1137650.2949999999</c:v>
                </c:pt>
                <c:pt idx="37">
                  <c:v>1213594.5530000001</c:v>
                </c:pt>
                <c:pt idx="38">
                  <c:v>1224093.98</c:v>
                </c:pt>
                <c:pt idx="39">
                  <c:v>1214353.996</c:v>
                </c:pt>
                <c:pt idx="40">
                  <c:v>1169716.8289999999</c:v>
                </c:pt>
                <c:pt idx="41">
                  <c:v>1190030.5900000001</c:v>
                </c:pt>
                <c:pt idx="42">
                  <c:v>1179196.584</c:v>
                </c:pt>
                <c:pt idx="43">
                  <c:v>1176711.1359999999</c:v>
                </c:pt>
                <c:pt idx="44">
                  <c:v>1171251.6459999999</c:v>
                </c:pt>
                <c:pt idx="45">
                  <c:v>1190471.385</c:v>
                </c:pt>
                <c:pt idx="46">
                  <c:v>1233377.236</c:v>
                </c:pt>
                <c:pt idx="47">
                  <c:v>1238820.7930000001</c:v>
                </c:pt>
                <c:pt idx="48">
                  <c:v>1265326.932</c:v>
                </c:pt>
                <c:pt idx="49">
                  <c:v>1263882.398</c:v>
                </c:pt>
                <c:pt idx="50">
                  <c:v>1295513.4469999999</c:v>
                </c:pt>
                <c:pt idx="51">
                  <c:v>1302088.202</c:v>
                </c:pt>
                <c:pt idx="52">
                  <c:v>1275295.28</c:v>
                </c:pt>
                <c:pt idx="53">
                  <c:v>1316963.7169999999</c:v>
                </c:pt>
                <c:pt idx="54">
                  <c:v>1327128.564</c:v>
                </c:pt>
                <c:pt idx="55">
                  <c:v>1319459.787</c:v>
                </c:pt>
                <c:pt idx="56">
                  <c:v>1331833.9210000001</c:v>
                </c:pt>
                <c:pt idx="57">
                  <c:v>1353305.4339999999</c:v>
                </c:pt>
                <c:pt idx="58">
                  <c:v>1368271.233</c:v>
                </c:pt>
                <c:pt idx="59">
                  <c:v>1365137.868</c:v>
                </c:pt>
                <c:pt idx="60">
                  <c:v>1368563.3259999999</c:v>
                </c:pt>
                <c:pt idx="61">
                  <c:v>1316730.0419999999</c:v>
                </c:pt>
                <c:pt idx="62">
                  <c:v>1337080.9790000001</c:v>
                </c:pt>
                <c:pt idx="63">
                  <c:v>1378430.7690000001</c:v>
                </c:pt>
                <c:pt idx="64">
                  <c:v>1410821.26</c:v>
                </c:pt>
                <c:pt idx="65">
                  <c:v>1421628.7120000001</c:v>
                </c:pt>
                <c:pt idx="66">
                  <c:v>1427003.2290000001</c:v>
                </c:pt>
                <c:pt idx="67">
                  <c:v>1427066.9580000001</c:v>
                </c:pt>
                <c:pt idx="68">
                  <c:v>1407725.071</c:v>
                </c:pt>
                <c:pt idx="69">
                  <c:v>1437985.9369999999</c:v>
                </c:pt>
                <c:pt idx="70">
                  <c:v>1420869.27</c:v>
                </c:pt>
                <c:pt idx="71">
                  <c:v>1368207.503</c:v>
                </c:pt>
                <c:pt idx="72">
                  <c:v>1377384.5430000001</c:v>
                </c:pt>
                <c:pt idx="73">
                  <c:v>1366407.1459999999</c:v>
                </c:pt>
                <c:pt idx="74">
                  <c:v>1334754.8540000001</c:v>
                </c:pt>
                <c:pt idx="75">
                  <c:v>1337537.7069999999</c:v>
                </c:pt>
                <c:pt idx="76">
                  <c:v>1383656.5830000001</c:v>
                </c:pt>
                <c:pt idx="77">
                  <c:v>1392982.3259999999</c:v>
                </c:pt>
                <c:pt idx="78">
                  <c:v>1441506.9890000001</c:v>
                </c:pt>
                <c:pt idx="79">
                  <c:v>1448257</c:v>
                </c:pt>
                <c:pt idx="80">
                  <c:v>1468422.0589999999</c:v>
                </c:pt>
                <c:pt idx="81">
                  <c:v>1469537.324</c:v>
                </c:pt>
                <c:pt idx="82">
                  <c:v>1481295.4069999999</c:v>
                </c:pt>
                <c:pt idx="83">
                  <c:v>1447359.477</c:v>
                </c:pt>
                <c:pt idx="84">
                  <c:v>1480944.895</c:v>
                </c:pt>
                <c:pt idx="85">
                  <c:v>1494460.8489999999</c:v>
                </c:pt>
                <c:pt idx="86">
                  <c:v>1483090.453</c:v>
                </c:pt>
                <c:pt idx="87">
                  <c:v>1484959.85</c:v>
                </c:pt>
                <c:pt idx="88">
                  <c:v>1492633.9380000001</c:v>
                </c:pt>
                <c:pt idx="89">
                  <c:v>1508306.071</c:v>
                </c:pt>
                <c:pt idx="90">
                  <c:v>1493855.419</c:v>
                </c:pt>
                <c:pt idx="91">
                  <c:v>1460471.81</c:v>
                </c:pt>
                <c:pt idx="92">
                  <c:v>1455516.8459999999</c:v>
                </c:pt>
                <c:pt idx="93">
                  <c:v>1461911.034</c:v>
                </c:pt>
                <c:pt idx="94">
                  <c:v>1444406.679</c:v>
                </c:pt>
                <c:pt idx="95">
                  <c:v>1465623.274</c:v>
                </c:pt>
                <c:pt idx="96">
                  <c:v>1518003.5689999999</c:v>
                </c:pt>
                <c:pt idx="97">
                  <c:v>1521593.6610000001</c:v>
                </c:pt>
                <c:pt idx="98">
                  <c:v>1561047.5</c:v>
                </c:pt>
                <c:pt idx="99">
                  <c:v>1568673.79</c:v>
                </c:pt>
                <c:pt idx="100">
                  <c:v>1561005.013</c:v>
                </c:pt>
                <c:pt idx="101">
                  <c:v>1565875.0049999999</c:v>
                </c:pt>
                <c:pt idx="102">
                  <c:v>1572290.436</c:v>
                </c:pt>
                <c:pt idx="103">
                  <c:v>1587712.963</c:v>
                </c:pt>
                <c:pt idx="104">
                  <c:v>1572858.6910000001</c:v>
                </c:pt>
                <c:pt idx="105">
                  <c:v>1543468.794</c:v>
                </c:pt>
                <c:pt idx="106">
                  <c:v>1575280.41</c:v>
                </c:pt>
                <c:pt idx="107">
                  <c:v>1572640.9480000001</c:v>
                </c:pt>
                <c:pt idx="108">
                  <c:v>1598860.3049999999</c:v>
                </c:pt>
                <c:pt idx="109">
                  <c:v>1623736.0330000001</c:v>
                </c:pt>
                <c:pt idx="110">
                  <c:v>1635722.48</c:v>
                </c:pt>
                <c:pt idx="111">
                  <c:v>1637082.041</c:v>
                </c:pt>
                <c:pt idx="112">
                  <c:v>1637793.6869999999</c:v>
                </c:pt>
                <c:pt idx="113">
                  <c:v>1657353.3160000001</c:v>
                </c:pt>
                <c:pt idx="114">
                  <c:v>1655860.9850000001</c:v>
                </c:pt>
                <c:pt idx="115">
                  <c:v>1661437.311</c:v>
                </c:pt>
                <c:pt idx="116">
                  <c:v>1688814.42</c:v>
                </c:pt>
                <c:pt idx="117">
                  <c:v>1681644.8570000001</c:v>
                </c:pt>
                <c:pt idx="118">
                  <c:v>1719579.811</c:v>
                </c:pt>
                <c:pt idx="119">
                  <c:v>1743191.571</c:v>
                </c:pt>
                <c:pt idx="120">
                  <c:v>1766973.2760000001</c:v>
                </c:pt>
                <c:pt idx="121">
                  <c:v>1792257.9339999999</c:v>
                </c:pt>
                <c:pt idx="122">
                  <c:v>1774063.1769999999</c:v>
                </c:pt>
                <c:pt idx="123">
                  <c:v>1780319.2849999999</c:v>
                </c:pt>
                <c:pt idx="124">
                  <c:v>1803702.6810000001</c:v>
                </c:pt>
                <c:pt idx="125">
                  <c:v>1804770.149</c:v>
                </c:pt>
                <c:pt idx="126">
                  <c:v>1784960.9129999999</c:v>
                </c:pt>
                <c:pt idx="127">
                  <c:v>1834744.2320000001</c:v>
                </c:pt>
                <c:pt idx="128">
                  <c:v>1855222.628</c:v>
                </c:pt>
                <c:pt idx="129">
                  <c:v>1859434.0830000001</c:v>
                </c:pt>
                <c:pt idx="130">
                  <c:v>1869296.2139999999</c:v>
                </c:pt>
                <c:pt idx="131">
                  <c:v>1907167.439</c:v>
                </c:pt>
                <c:pt idx="132">
                  <c:v>1879928.4110000001</c:v>
                </c:pt>
                <c:pt idx="133">
                  <c:v>1915558.4820000001</c:v>
                </c:pt>
                <c:pt idx="134">
                  <c:v>1939483.5789999999</c:v>
                </c:pt>
                <c:pt idx="135">
                  <c:v>1947763.0959999999</c:v>
                </c:pt>
                <c:pt idx="136">
                  <c:v>1988162.2549999999</c:v>
                </c:pt>
                <c:pt idx="137">
                  <c:v>1994636.105</c:v>
                </c:pt>
                <c:pt idx="138">
                  <c:v>1889848.9609999999</c:v>
                </c:pt>
                <c:pt idx="139">
                  <c:v>1930375.5789999999</c:v>
                </c:pt>
                <c:pt idx="140">
                  <c:v>1983377.236</c:v>
                </c:pt>
                <c:pt idx="141">
                  <c:v>2011211.0719999999</c:v>
                </c:pt>
                <c:pt idx="142">
                  <c:v>2010993.33</c:v>
                </c:pt>
                <c:pt idx="143">
                  <c:v>1986733.6529999999</c:v>
                </c:pt>
                <c:pt idx="144">
                  <c:v>1945405.1070000001</c:v>
                </c:pt>
                <c:pt idx="145">
                  <c:v>1888037.983</c:v>
                </c:pt>
                <c:pt idx="146">
                  <c:v>1882429.791</c:v>
                </c:pt>
                <c:pt idx="147">
                  <c:v>1888717.764</c:v>
                </c:pt>
                <c:pt idx="148">
                  <c:v>1804286.8670000001</c:v>
                </c:pt>
                <c:pt idx="149">
                  <c:v>1827346.3060000001</c:v>
                </c:pt>
                <c:pt idx="150">
                  <c:v>1776171.56</c:v>
                </c:pt>
                <c:pt idx="151">
                  <c:v>1667730.594</c:v>
                </c:pt>
                <c:pt idx="152">
                  <c:v>1684576.412</c:v>
                </c:pt>
                <c:pt idx="153">
                  <c:v>1600973.9979999999</c:v>
                </c:pt>
                <c:pt idx="154">
                  <c:v>1669918.639</c:v>
                </c:pt>
                <c:pt idx="155">
                  <c:v>1701374.432</c:v>
                </c:pt>
                <c:pt idx="156">
                  <c:v>1715171.8570000001</c:v>
                </c:pt>
                <c:pt idx="157">
                  <c:v>1651564.558</c:v>
                </c:pt>
                <c:pt idx="158">
                  <c:v>1684788.8430000001</c:v>
                </c:pt>
                <c:pt idx="159">
                  <c:v>1676243.7860000001</c:v>
                </c:pt>
                <c:pt idx="160">
                  <c:v>1618080.044</c:v>
                </c:pt>
                <c:pt idx="161">
                  <c:v>1503096.189</c:v>
                </c:pt>
                <c:pt idx="162">
                  <c:v>1510228.5759999999</c:v>
                </c:pt>
                <c:pt idx="163">
                  <c:v>1535311.425</c:v>
                </c:pt>
                <c:pt idx="164">
                  <c:v>1620831.0319999999</c:v>
                </c:pt>
                <c:pt idx="165">
                  <c:v>1634203.594</c:v>
                </c:pt>
                <c:pt idx="166">
                  <c:v>1648579.895</c:v>
                </c:pt>
                <c:pt idx="167">
                  <c:v>1684034.7109999999</c:v>
                </c:pt>
                <c:pt idx="168">
                  <c:v>1696748.736</c:v>
                </c:pt>
                <c:pt idx="169">
                  <c:v>1679754.2169999999</c:v>
                </c:pt>
                <c:pt idx="170">
                  <c:v>1719701.959</c:v>
                </c:pt>
                <c:pt idx="171">
                  <c:v>1749049.3689999999</c:v>
                </c:pt>
                <c:pt idx="172">
                  <c:v>1753961.8470000001</c:v>
                </c:pt>
                <c:pt idx="173">
                  <c:v>1730381.952</c:v>
                </c:pt>
                <c:pt idx="174">
                  <c:v>1763234.4820000001</c:v>
                </c:pt>
                <c:pt idx="175">
                  <c:v>1699287.2919999999</c:v>
                </c:pt>
                <c:pt idx="176">
                  <c:v>1704019.2039999999</c:v>
                </c:pt>
                <c:pt idx="177">
                  <c:v>1662823.4269999999</c:v>
                </c:pt>
                <c:pt idx="178">
                  <c:v>1625138.08</c:v>
                </c:pt>
                <c:pt idx="179">
                  <c:v>1636216.3829999999</c:v>
                </c:pt>
                <c:pt idx="180">
                  <c:v>1624320.219</c:v>
                </c:pt>
                <c:pt idx="181">
                  <c:v>1578705.8670000001</c:v>
                </c:pt>
                <c:pt idx="182">
                  <c:v>1578519.99</c:v>
                </c:pt>
                <c:pt idx="183">
                  <c:v>1595790.67</c:v>
                </c:pt>
                <c:pt idx="184">
                  <c:v>1680179.08</c:v>
                </c:pt>
                <c:pt idx="185">
                  <c:v>1673763.649</c:v>
                </c:pt>
                <c:pt idx="186">
                  <c:v>1698665.93</c:v>
                </c:pt>
                <c:pt idx="187">
                  <c:v>1714003.4839999999</c:v>
                </c:pt>
                <c:pt idx="188">
                  <c:v>1720503.8870000001</c:v>
                </c:pt>
                <c:pt idx="189">
                  <c:v>1721603.22</c:v>
                </c:pt>
                <c:pt idx="190">
                  <c:v>1768046.0549999999</c:v>
                </c:pt>
                <c:pt idx="191">
                  <c:v>1793755.5759999999</c:v>
                </c:pt>
                <c:pt idx="192">
                  <c:v>1789358.2439999999</c:v>
                </c:pt>
                <c:pt idx="193">
                  <c:v>1777690.4450000001</c:v>
                </c:pt>
                <c:pt idx="194">
                  <c:v>1812704.4650000001</c:v>
                </c:pt>
                <c:pt idx="195">
                  <c:v>1813230.233</c:v>
                </c:pt>
                <c:pt idx="196">
                  <c:v>1760377.2779999999</c:v>
                </c:pt>
                <c:pt idx="197">
                  <c:v>1768136.3389999999</c:v>
                </c:pt>
                <c:pt idx="198">
                  <c:v>1724439.1810000001</c:v>
                </c:pt>
                <c:pt idx="199">
                  <c:v>1742134.7239999999</c:v>
                </c:pt>
                <c:pt idx="200">
                  <c:v>1801843.905</c:v>
                </c:pt>
                <c:pt idx="201">
                  <c:v>1824483.791</c:v>
                </c:pt>
                <c:pt idx="202">
                  <c:v>1834287.5049999999</c:v>
                </c:pt>
                <c:pt idx="203">
                  <c:v>1839826.656</c:v>
                </c:pt>
                <c:pt idx="204">
                  <c:v>1849757.828</c:v>
                </c:pt>
                <c:pt idx="205">
                  <c:v>1856539.703</c:v>
                </c:pt>
                <c:pt idx="206">
                  <c:v>1860783.0220000001</c:v>
                </c:pt>
                <c:pt idx="207">
                  <c:v>1856475.9739999999</c:v>
                </c:pt>
                <c:pt idx="208">
                  <c:v>1858770.2339999999</c:v>
                </c:pt>
                <c:pt idx="209">
                  <c:v>1868717.3389999999</c:v>
                </c:pt>
                <c:pt idx="210">
                  <c:v>1925585.2490000001</c:v>
                </c:pt>
                <c:pt idx="211">
                  <c:v>1926939.5</c:v>
                </c:pt>
                <c:pt idx="212">
                  <c:v>1927937.9280000001</c:v>
                </c:pt>
                <c:pt idx="213">
                  <c:v>1934422.399</c:v>
                </c:pt>
                <c:pt idx="214">
                  <c:v>1928352.169</c:v>
                </c:pt>
                <c:pt idx="215">
                  <c:v>1946674.385</c:v>
                </c:pt>
                <c:pt idx="216">
                  <c:v>1884309.81</c:v>
                </c:pt>
                <c:pt idx="217">
                  <c:v>1927619.28</c:v>
                </c:pt>
                <c:pt idx="218">
                  <c:v>1851218.2949999999</c:v>
                </c:pt>
                <c:pt idx="219">
                  <c:v>1796379.105</c:v>
                </c:pt>
                <c:pt idx="220">
                  <c:v>1864973.2339999999</c:v>
                </c:pt>
                <c:pt idx="221">
                  <c:v>1891081.064</c:v>
                </c:pt>
                <c:pt idx="222">
                  <c:v>1910465.4369999999</c:v>
                </c:pt>
                <c:pt idx="223">
                  <c:v>1907039.98</c:v>
                </c:pt>
                <c:pt idx="224">
                  <c:v>1934980.031</c:v>
                </c:pt>
                <c:pt idx="225">
                  <c:v>1948437.5660000001</c:v>
                </c:pt>
                <c:pt idx="226">
                  <c:v>1924639.929</c:v>
                </c:pt>
                <c:pt idx="227">
                  <c:v>1887708.7139999999</c:v>
                </c:pt>
                <c:pt idx="228">
                  <c:v>1899796.0660000001</c:v>
                </c:pt>
                <c:pt idx="229">
                  <c:v>1898617.071</c:v>
                </c:pt>
                <c:pt idx="230">
                  <c:v>1918654.6710000001</c:v>
                </c:pt>
                <c:pt idx="231">
                  <c:v>1903035.6459999999</c:v>
                </c:pt>
                <c:pt idx="232">
                  <c:v>1891022.645</c:v>
                </c:pt>
                <c:pt idx="233">
                  <c:v>1848233.632</c:v>
                </c:pt>
                <c:pt idx="234">
                  <c:v>1801280.9620000001</c:v>
                </c:pt>
                <c:pt idx="235">
                  <c:v>1803872.6259999999</c:v>
                </c:pt>
                <c:pt idx="236">
                  <c:v>1755501.976</c:v>
                </c:pt>
                <c:pt idx="237">
                  <c:v>1771933.551</c:v>
                </c:pt>
                <c:pt idx="238">
                  <c:v>1826284.148</c:v>
                </c:pt>
                <c:pt idx="239">
                  <c:v>1818827.8030000001</c:v>
                </c:pt>
                <c:pt idx="240">
                  <c:v>1847320.1769999999</c:v>
                </c:pt>
                <c:pt idx="241">
                  <c:v>1859168.5430000001</c:v>
                </c:pt>
                <c:pt idx="242">
                  <c:v>1890034.8389999999</c:v>
                </c:pt>
                <c:pt idx="243">
                  <c:v>1898967.5830000001</c:v>
                </c:pt>
                <c:pt idx="244">
                  <c:v>1877485.4480000001</c:v>
                </c:pt>
                <c:pt idx="245">
                  <c:v>1892785.827</c:v>
                </c:pt>
                <c:pt idx="246">
                  <c:v>1880937.46</c:v>
                </c:pt>
                <c:pt idx="247">
                  <c:v>1843618.558</c:v>
                </c:pt>
                <c:pt idx="248">
                  <c:v>1848223.0109999999</c:v>
                </c:pt>
                <c:pt idx="249">
                  <c:v>1849242.682</c:v>
                </c:pt>
                <c:pt idx="250">
                  <c:v>1877320.814</c:v>
                </c:pt>
                <c:pt idx="251">
                  <c:v>1816894.676</c:v>
                </c:pt>
                <c:pt idx="252">
                  <c:v>1842338.6580000001</c:v>
                </c:pt>
                <c:pt idx="253">
                  <c:v>1849609.1259999999</c:v>
                </c:pt>
                <c:pt idx="254">
                  <c:v>1859136.6780000001</c:v>
                </c:pt>
                <c:pt idx="255">
                  <c:v>1862748.014</c:v>
                </c:pt>
                <c:pt idx="256">
                  <c:v>1802709.564</c:v>
                </c:pt>
                <c:pt idx="257">
                  <c:v>1810219.017</c:v>
                </c:pt>
                <c:pt idx="258">
                  <c:v>1787717.2109999999</c:v>
                </c:pt>
                <c:pt idx="259">
                  <c:v>1767435.3149999999</c:v>
                </c:pt>
                <c:pt idx="260">
                  <c:v>1722182.0959999999</c:v>
                </c:pt>
                <c:pt idx="261">
                  <c:v>1698692.4839999999</c:v>
                </c:pt>
                <c:pt idx="262">
                  <c:v>1702941.1140000001</c:v>
                </c:pt>
                <c:pt idx="263">
                  <c:v>1701661.2139999999</c:v>
                </c:pt>
                <c:pt idx="264">
                  <c:v>1674337.2139999999</c:v>
                </c:pt>
                <c:pt idx="265">
                  <c:v>1670874.58</c:v>
                </c:pt>
                <c:pt idx="266">
                  <c:v>1715766.665</c:v>
                </c:pt>
                <c:pt idx="267">
                  <c:v>1709436.2069999999</c:v>
                </c:pt>
                <c:pt idx="268">
                  <c:v>1674539.024</c:v>
                </c:pt>
                <c:pt idx="269">
                  <c:v>1673423.7579999999</c:v>
                </c:pt>
                <c:pt idx="270">
                  <c:v>1683089.3910000001</c:v>
                </c:pt>
                <c:pt idx="271">
                  <c:v>1706956.0689999999</c:v>
                </c:pt>
                <c:pt idx="272">
                  <c:v>1710285.933</c:v>
                </c:pt>
                <c:pt idx="273">
                  <c:v>1726685.6440000001</c:v>
                </c:pt>
                <c:pt idx="274">
                  <c:v>1717163.402</c:v>
                </c:pt>
                <c:pt idx="275">
                  <c:v>1698724.3489999999</c:v>
                </c:pt>
                <c:pt idx="276">
                  <c:v>1723074.3089999999</c:v>
                </c:pt>
                <c:pt idx="277">
                  <c:v>1748380.21</c:v>
                </c:pt>
                <c:pt idx="278">
                  <c:v>1742825.1259999999</c:v>
                </c:pt>
                <c:pt idx="279">
                  <c:v>1765528.7420000001</c:v>
                </c:pt>
                <c:pt idx="280">
                  <c:v>1758529.1240000001</c:v>
                </c:pt>
                <c:pt idx="281">
                  <c:v>1771190.041</c:v>
                </c:pt>
                <c:pt idx="282">
                  <c:v>1726308.578</c:v>
                </c:pt>
                <c:pt idx="283">
                  <c:v>1731189.1910000001</c:v>
                </c:pt>
                <c:pt idx="284">
                  <c:v>1745220.291</c:v>
                </c:pt>
                <c:pt idx="285">
                  <c:v>1755671.9210000001</c:v>
                </c:pt>
                <c:pt idx="286">
                  <c:v>1741773.591</c:v>
                </c:pt>
                <c:pt idx="287">
                  <c:v>1740190.976</c:v>
                </c:pt>
                <c:pt idx="288">
                  <c:v>1717046.5649999999</c:v>
                </c:pt>
                <c:pt idx="289">
                  <c:v>1690519.183</c:v>
                </c:pt>
                <c:pt idx="290">
                  <c:v>1701560.3089999999</c:v>
                </c:pt>
                <c:pt idx="291">
                  <c:v>1738709.2660000001</c:v>
                </c:pt>
                <c:pt idx="292">
                  <c:v>1735331.6059999999</c:v>
                </c:pt>
                <c:pt idx="293">
                  <c:v>1749304.287</c:v>
                </c:pt>
                <c:pt idx="294">
                  <c:v>1753956.537</c:v>
                </c:pt>
                <c:pt idx="295">
                  <c:v>1739585.5460000001</c:v>
                </c:pt>
                <c:pt idx="296">
                  <c:v>1740169.733</c:v>
                </c:pt>
                <c:pt idx="297">
                  <c:v>1714922.25</c:v>
                </c:pt>
                <c:pt idx="298">
                  <c:v>1739282.831</c:v>
                </c:pt>
                <c:pt idx="299">
                  <c:v>1783649.148</c:v>
                </c:pt>
                <c:pt idx="300">
                  <c:v>1787988.061</c:v>
                </c:pt>
                <c:pt idx="301">
                  <c:v>1776782.3</c:v>
                </c:pt>
                <c:pt idx="302">
                  <c:v>1801387.1780000001</c:v>
                </c:pt>
                <c:pt idx="303">
                  <c:v>1809571.101</c:v>
                </c:pt>
                <c:pt idx="304">
                  <c:v>1808402.7279999999</c:v>
                </c:pt>
                <c:pt idx="305">
                  <c:v>1798737.095</c:v>
                </c:pt>
                <c:pt idx="306">
                  <c:v>1777382.419</c:v>
                </c:pt>
                <c:pt idx="307">
                  <c:v>1794605.3019999999</c:v>
                </c:pt>
                <c:pt idx="308">
                  <c:v>1779899.7320000001</c:v>
                </c:pt>
                <c:pt idx="309">
                  <c:v>1801270.34</c:v>
                </c:pt>
                <c:pt idx="310">
                  <c:v>1807637.9739999999</c:v>
                </c:pt>
                <c:pt idx="311">
                  <c:v>1802783.915</c:v>
                </c:pt>
                <c:pt idx="312">
                  <c:v>1782475.4639999999</c:v>
                </c:pt>
                <c:pt idx="313">
                  <c:v>1686929.09</c:v>
                </c:pt>
                <c:pt idx="314">
                  <c:v>1685309.3</c:v>
                </c:pt>
                <c:pt idx="315">
                  <c:v>1718931.8940000001</c:v>
                </c:pt>
                <c:pt idx="316">
                  <c:v>1700269.7879999999</c:v>
                </c:pt>
                <c:pt idx="317">
                  <c:v>1694141.139</c:v>
                </c:pt>
                <c:pt idx="318">
                  <c:v>1684581.7220000001</c:v>
                </c:pt>
                <c:pt idx="319">
                  <c:v>1650810.426</c:v>
                </c:pt>
                <c:pt idx="320">
                  <c:v>1644936.6950000001</c:v>
                </c:pt>
                <c:pt idx="321">
                  <c:v>1625132.77</c:v>
                </c:pt>
                <c:pt idx="322">
                  <c:v>1629014.9550000001</c:v>
                </c:pt>
                <c:pt idx="323">
                  <c:v>1603565.6629999999</c:v>
                </c:pt>
                <c:pt idx="324">
                  <c:v>1612562.1359999999</c:v>
                </c:pt>
                <c:pt idx="325">
                  <c:v>1538460.7209999999</c:v>
                </c:pt>
                <c:pt idx="326">
                  <c:v>1506558.8219999999</c:v>
                </c:pt>
                <c:pt idx="327">
                  <c:v>1517945.15</c:v>
                </c:pt>
                <c:pt idx="328">
                  <c:v>1487455.92</c:v>
                </c:pt>
                <c:pt idx="329">
                  <c:v>1496664.8259999999</c:v>
                </c:pt>
                <c:pt idx="330">
                  <c:v>1533176.4879999999</c:v>
                </c:pt>
                <c:pt idx="331">
                  <c:v>1523144.4110000001</c:v>
                </c:pt>
                <c:pt idx="332">
                  <c:v>1441730.0419999999</c:v>
                </c:pt>
                <c:pt idx="333">
                  <c:v>1471805.03</c:v>
                </c:pt>
                <c:pt idx="334">
                  <c:v>1466929.7279999999</c:v>
                </c:pt>
                <c:pt idx="335">
                  <c:v>1447731.2320000001</c:v>
                </c:pt>
                <c:pt idx="336">
                  <c:v>1470445.469</c:v>
                </c:pt>
                <c:pt idx="337">
                  <c:v>1526038.79</c:v>
                </c:pt>
                <c:pt idx="338">
                  <c:v>1494423.673</c:v>
                </c:pt>
                <c:pt idx="339">
                  <c:v>1494423.673</c:v>
                </c:pt>
                <c:pt idx="340">
                  <c:v>1518874.5379999999</c:v>
                </c:pt>
                <c:pt idx="341">
                  <c:v>1513733.696</c:v>
                </c:pt>
                <c:pt idx="342">
                  <c:v>1472819.3910000001</c:v>
                </c:pt>
                <c:pt idx="343">
                  <c:v>1457365</c:v>
                </c:pt>
                <c:pt idx="344">
                  <c:v>1464465.5220000001</c:v>
                </c:pt>
                <c:pt idx="345">
                  <c:v>1453073.8840000001</c:v>
                </c:pt>
                <c:pt idx="346">
                  <c:v>1457487.148</c:v>
                </c:pt>
                <c:pt idx="347">
                  <c:v>1431639.5460000001</c:v>
                </c:pt>
                <c:pt idx="348">
                  <c:v>1433562.051</c:v>
                </c:pt>
                <c:pt idx="349">
                  <c:v>1477530.0589999999</c:v>
                </c:pt>
                <c:pt idx="350">
                  <c:v>1460477.121</c:v>
                </c:pt>
                <c:pt idx="351">
                  <c:v>1465177.1680000001</c:v>
                </c:pt>
                <c:pt idx="352">
                  <c:v>1456605.557</c:v>
                </c:pt>
                <c:pt idx="353">
                  <c:v>1431878.5319999999</c:v>
                </c:pt>
                <c:pt idx="354">
                  <c:v>1476749.3729999999</c:v>
                </c:pt>
                <c:pt idx="355">
                  <c:v>1478374.4739999999</c:v>
                </c:pt>
                <c:pt idx="356">
                  <c:v>1464980.669</c:v>
                </c:pt>
                <c:pt idx="357">
                  <c:v>1464449.59</c:v>
                </c:pt>
                <c:pt idx="358">
                  <c:v>1453185.41</c:v>
                </c:pt>
                <c:pt idx="359">
                  <c:v>1442824.064</c:v>
                </c:pt>
                <c:pt idx="360">
                  <c:v>1376566.682</c:v>
                </c:pt>
                <c:pt idx="361">
                  <c:v>1361191.953</c:v>
                </c:pt>
                <c:pt idx="362">
                  <c:v>1341542.04</c:v>
                </c:pt>
                <c:pt idx="363">
                  <c:v>1345811.9129999999</c:v>
                </c:pt>
                <c:pt idx="364">
                  <c:v>1334414.9639999999</c:v>
                </c:pt>
                <c:pt idx="365">
                  <c:v>1361101.67</c:v>
                </c:pt>
                <c:pt idx="366">
                  <c:v>1370438.034</c:v>
                </c:pt>
                <c:pt idx="367">
                  <c:v>1368016.3149999999</c:v>
                </c:pt>
                <c:pt idx="368">
                  <c:v>1405818.4990000001</c:v>
                </c:pt>
                <c:pt idx="369">
                  <c:v>1421283.5109999999</c:v>
                </c:pt>
                <c:pt idx="370">
                  <c:v>1399174.7039999999</c:v>
                </c:pt>
                <c:pt idx="371">
                  <c:v>1409275.821</c:v>
                </c:pt>
                <c:pt idx="372">
                  <c:v>1385329.4809999999</c:v>
                </c:pt>
                <c:pt idx="373">
                  <c:v>1389370.99</c:v>
                </c:pt>
                <c:pt idx="374">
                  <c:v>1424602.753</c:v>
                </c:pt>
                <c:pt idx="375">
                  <c:v>1455952.33</c:v>
                </c:pt>
                <c:pt idx="376">
                  <c:v>1459053.83</c:v>
                </c:pt>
                <c:pt idx="377">
                  <c:v>1477083.953</c:v>
                </c:pt>
                <c:pt idx="378">
                  <c:v>1483345.371</c:v>
                </c:pt>
                <c:pt idx="379">
                  <c:v>1492894.1669999999</c:v>
                </c:pt>
                <c:pt idx="380">
                  <c:v>1484747.419</c:v>
                </c:pt>
                <c:pt idx="381">
                  <c:v>1520860.7720000001</c:v>
                </c:pt>
                <c:pt idx="382">
                  <c:v>1528433.9550000001</c:v>
                </c:pt>
                <c:pt idx="383">
                  <c:v>1523585.206</c:v>
                </c:pt>
                <c:pt idx="384">
                  <c:v>1549305.3489999999</c:v>
                </c:pt>
                <c:pt idx="385">
                  <c:v>1522055.7</c:v>
                </c:pt>
                <c:pt idx="386">
                  <c:v>1527610.7830000001</c:v>
                </c:pt>
                <c:pt idx="387">
                  <c:v>1514015.1680000001</c:v>
                </c:pt>
                <c:pt idx="388">
                  <c:v>1538885.584</c:v>
                </c:pt>
                <c:pt idx="389">
                  <c:v>1549815.1850000001</c:v>
                </c:pt>
                <c:pt idx="390">
                  <c:v>1504354.8459999999</c:v>
                </c:pt>
                <c:pt idx="391">
                  <c:v>1513685.899</c:v>
                </c:pt>
                <c:pt idx="392">
                  <c:v>1495724.8160000001</c:v>
                </c:pt>
                <c:pt idx="393">
                  <c:v>1516521.8589999999</c:v>
                </c:pt>
                <c:pt idx="394">
                  <c:v>1551854.527</c:v>
                </c:pt>
                <c:pt idx="395">
                  <c:v>1562587.628</c:v>
                </c:pt>
                <c:pt idx="396">
                  <c:v>1559969.41</c:v>
                </c:pt>
                <c:pt idx="397">
                  <c:v>1569550.07</c:v>
                </c:pt>
                <c:pt idx="398">
                  <c:v>1539241.4069999999</c:v>
                </c:pt>
                <c:pt idx="399">
                  <c:v>1538104.899</c:v>
                </c:pt>
                <c:pt idx="400">
                  <c:v>1546410.97</c:v>
                </c:pt>
                <c:pt idx="401">
                  <c:v>1509867.443</c:v>
                </c:pt>
                <c:pt idx="402">
                  <c:v>1513622.169</c:v>
                </c:pt>
                <c:pt idx="403">
                  <c:v>1518125.7169999999</c:v>
                </c:pt>
                <c:pt idx="404">
                  <c:v>1548099.8</c:v>
                </c:pt>
                <c:pt idx="405">
                  <c:v>1541822.45</c:v>
                </c:pt>
                <c:pt idx="406">
                  <c:v>1531652.2919999999</c:v>
                </c:pt>
                <c:pt idx="407">
                  <c:v>1551488.0830000001</c:v>
                </c:pt>
                <c:pt idx="408">
                  <c:v>1550861.41</c:v>
                </c:pt>
                <c:pt idx="409">
                  <c:v>1580007.01</c:v>
                </c:pt>
                <c:pt idx="410">
                  <c:v>1584266.2620000001</c:v>
                </c:pt>
                <c:pt idx="411">
                  <c:v>1583129.753</c:v>
                </c:pt>
                <c:pt idx="412">
                  <c:v>1554180.652</c:v>
                </c:pt>
                <c:pt idx="413">
                  <c:v>1557414.9210000001</c:v>
                </c:pt>
                <c:pt idx="414">
                  <c:v>1573225.135</c:v>
                </c:pt>
                <c:pt idx="415">
                  <c:v>1574653.737</c:v>
                </c:pt>
                <c:pt idx="416">
                  <c:v>1547133.237</c:v>
                </c:pt>
                <c:pt idx="417">
                  <c:v>1517711.476</c:v>
                </c:pt>
                <c:pt idx="418">
                  <c:v>1519612.737</c:v>
                </c:pt>
                <c:pt idx="419">
                  <c:v>1513484.0889999999</c:v>
                </c:pt>
                <c:pt idx="420">
                  <c:v>1517546.841</c:v>
                </c:pt>
                <c:pt idx="421">
                  <c:v>1542799.635</c:v>
                </c:pt>
                <c:pt idx="422">
                  <c:v>1529990.0160000001</c:v>
                </c:pt>
                <c:pt idx="423">
                  <c:v>1526750.4350000001</c:v>
                </c:pt>
                <c:pt idx="424">
                  <c:v>1559018.7790000001</c:v>
                </c:pt>
                <c:pt idx="425">
                  <c:v>1616725.7930000001</c:v>
                </c:pt>
                <c:pt idx="426">
                  <c:v>1663816.544</c:v>
                </c:pt>
                <c:pt idx="427">
                  <c:v>1684969.41</c:v>
                </c:pt>
                <c:pt idx="428">
                  <c:v>1708788.291</c:v>
                </c:pt>
                <c:pt idx="429">
                  <c:v>1712272.1669999999</c:v>
                </c:pt>
                <c:pt idx="430">
                  <c:v>1767260.0589999999</c:v>
                </c:pt>
                <c:pt idx="431">
                  <c:v>1755831.2439999999</c:v>
                </c:pt>
                <c:pt idx="432">
                  <c:v>1792746.527</c:v>
                </c:pt>
                <c:pt idx="433">
                  <c:v>1804010.7069999999</c:v>
                </c:pt>
                <c:pt idx="434">
                  <c:v>1792226.07</c:v>
                </c:pt>
                <c:pt idx="435">
                  <c:v>1794334.452</c:v>
                </c:pt>
                <c:pt idx="436">
                  <c:v>1848727.5349999999</c:v>
                </c:pt>
                <c:pt idx="437">
                  <c:v>1840761.3540000001</c:v>
                </c:pt>
                <c:pt idx="438">
                  <c:v>1807722.9469999999</c:v>
                </c:pt>
                <c:pt idx="439">
                  <c:v>1804440.88</c:v>
                </c:pt>
                <c:pt idx="440">
                  <c:v>1795035.476</c:v>
                </c:pt>
                <c:pt idx="441">
                  <c:v>1844436.419</c:v>
                </c:pt>
                <c:pt idx="442">
                  <c:v>1839194.672</c:v>
                </c:pt>
                <c:pt idx="443">
                  <c:v>1816469.8130000001</c:v>
                </c:pt>
                <c:pt idx="444">
                  <c:v>1848424.82</c:v>
                </c:pt>
                <c:pt idx="445">
                  <c:v>1869821.9820000001</c:v>
                </c:pt>
                <c:pt idx="446">
                  <c:v>1884570.0390000001</c:v>
                </c:pt>
                <c:pt idx="447">
                  <c:v>1871494.88</c:v>
                </c:pt>
                <c:pt idx="448">
                  <c:v>1858302.885</c:v>
                </c:pt>
                <c:pt idx="449">
                  <c:v>1864075.7109999999</c:v>
                </c:pt>
                <c:pt idx="450">
                  <c:v>1748220.8859999999</c:v>
                </c:pt>
                <c:pt idx="451">
                  <c:v>1760467.5619999999</c:v>
                </c:pt>
                <c:pt idx="452">
                  <c:v>1683275.2690000001</c:v>
                </c:pt>
                <c:pt idx="453">
                  <c:v>1648420.5719999999</c:v>
                </c:pt>
                <c:pt idx="454">
                  <c:v>1671814.59</c:v>
                </c:pt>
                <c:pt idx="455">
                  <c:v>1688219.612</c:v>
                </c:pt>
                <c:pt idx="456">
                  <c:v>1684549.858</c:v>
                </c:pt>
                <c:pt idx="457">
                  <c:v>1650157.199</c:v>
                </c:pt>
                <c:pt idx="458">
                  <c:v>1687258.3589999999</c:v>
                </c:pt>
                <c:pt idx="459">
                  <c:v>1711921.655</c:v>
                </c:pt>
                <c:pt idx="460">
                  <c:v>1696716.871</c:v>
                </c:pt>
                <c:pt idx="461">
                  <c:v>1694167.693</c:v>
                </c:pt>
                <c:pt idx="462">
                  <c:v>1665988.656</c:v>
                </c:pt>
                <c:pt idx="463">
                  <c:v>1665473.51</c:v>
                </c:pt>
                <c:pt idx="464">
                  <c:v>1675585.2490000001</c:v>
                </c:pt>
                <c:pt idx="465">
                  <c:v>1677231.5930000001</c:v>
                </c:pt>
                <c:pt idx="466">
                  <c:v>1681166.8859999999</c:v>
                </c:pt>
                <c:pt idx="467">
                  <c:v>1699632.4939999999</c:v>
                </c:pt>
                <c:pt idx="468">
                  <c:v>1684517.993</c:v>
                </c:pt>
                <c:pt idx="469">
                  <c:v>1658755.3640000001</c:v>
                </c:pt>
                <c:pt idx="470">
                  <c:v>1679260.314</c:v>
                </c:pt>
                <c:pt idx="471">
                  <c:v>1731879.594</c:v>
                </c:pt>
                <c:pt idx="472">
                  <c:v>1736345.966</c:v>
                </c:pt>
                <c:pt idx="473">
                  <c:v>1724752.517</c:v>
                </c:pt>
                <c:pt idx="474">
                  <c:v>1715740.111</c:v>
                </c:pt>
                <c:pt idx="475">
                  <c:v>1713079.4069999999</c:v>
                </c:pt>
                <c:pt idx="476">
                  <c:v>1688118.7069999999</c:v>
                </c:pt>
                <c:pt idx="477">
                  <c:v>1725745.635</c:v>
                </c:pt>
                <c:pt idx="478">
                  <c:v>1707657.0930000001</c:v>
                </c:pt>
                <c:pt idx="479">
                  <c:v>1693402.94</c:v>
                </c:pt>
                <c:pt idx="480">
                  <c:v>1679780.7709999999</c:v>
                </c:pt>
                <c:pt idx="481">
                  <c:v>1646190.041</c:v>
                </c:pt>
                <c:pt idx="482">
                  <c:v>1617097.5490000001</c:v>
                </c:pt>
                <c:pt idx="483">
                  <c:v>1626072.7790000001</c:v>
                </c:pt>
                <c:pt idx="484">
                  <c:v>1627278.328</c:v>
                </c:pt>
                <c:pt idx="485">
                  <c:v>1661352.3389999999</c:v>
                </c:pt>
                <c:pt idx="486">
                  <c:v>1693971.1939999999</c:v>
                </c:pt>
                <c:pt idx="487">
                  <c:v>1686525.4709999999</c:v>
                </c:pt>
                <c:pt idx="488">
                  <c:v>1678017.5889999999</c:v>
                </c:pt>
                <c:pt idx="489">
                  <c:v>1681724.5190000001</c:v>
                </c:pt>
                <c:pt idx="490">
                  <c:v>1650693.5889999999</c:v>
                </c:pt>
                <c:pt idx="491">
                  <c:v>1659578.5360000001</c:v>
                </c:pt>
                <c:pt idx="492">
                  <c:v>1668829.9269999999</c:v>
                </c:pt>
                <c:pt idx="493">
                  <c:v>1668266.9839999999</c:v>
                </c:pt>
                <c:pt idx="494">
                  <c:v>1642021.0730000001</c:v>
                </c:pt>
                <c:pt idx="495">
                  <c:v>1579614.0120000001</c:v>
                </c:pt>
                <c:pt idx="496">
                  <c:v>1581366.5719999999</c:v>
                </c:pt>
                <c:pt idx="497">
                  <c:v>1617055.0619999999</c:v>
                </c:pt>
                <c:pt idx="498">
                  <c:v>1563872.8389999999</c:v>
                </c:pt>
                <c:pt idx="499">
                  <c:v>1584452.139</c:v>
                </c:pt>
                <c:pt idx="500">
                  <c:v>1568928.7080000001</c:v>
                </c:pt>
                <c:pt idx="501">
                  <c:v>1560654.5009999999</c:v>
                </c:pt>
                <c:pt idx="502">
                  <c:v>1581780.8130000001</c:v>
                </c:pt>
                <c:pt idx="503">
                  <c:v>1607293.835</c:v>
                </c:pt>
                <c:pt idx="504">
                  <c:v>1612748.014</c:v>
                </c:pt>
                <c:pt idx="505">
                  <c:v>1633869.0149999999</c:v>
                </c:pt>
                <c:pt idx="506">
                  <c:v>1634277.9450000001</c:v>
                </c:pt>
                <c:pt idx="507">
                  <c:v>1614983.855</c:v>
                </c:pt>
                <c:pt idx="508">
                  <c:v>1648553.3419999999</c:v>
                </c:pt>
                <c:pt idx="509">
                  <c:v>1657475.4639999999</c:v>
                </c:pt>
                <c:pt idx="510">
                  <c:v>1709616.774</c:v>
                </c:pt>
                <c:pt idx="511">
                  <c:v>1708836.088</c:v>
                </c:pt>
                <c:pt idx="512">
                  <c:v>1725225.1769999999</c:v>
                </c:pt>
                <c:pt idx="513">
                  <c:v>1723833.7509999999</c:v>
                </c:pt>
                <c:pt idx="514">
                  <c:v>1705761.142</c:v>
                </c:pt>
                <c:pt idx="515">
                  <c:v>1730206.696</c:v>
                </c:pt>
                <c:pt idx="516">
                  <c:v>1680110.04</c:v>
                </c:pt>
                <c:pt idx="517">
                  <c:v>1686036.878</c:v>
                </c:pt>
                <c:pt idx="518">
                  <c:v>1694640.3529999999</c:v>
                </c:pt>
                <c:pt idx="519">
                  <c:v>1698187.959</c:v>
                </c:pt>
                <c:pt idx="520">
                  <c:v>1720461.4010000001</c:v>
                </c:pt>
                <c:pt idx="521">
                  <c:v>1728602.838</c:v>
                </c:pt>
                <c:pt idx="522">
                  <c:v>1722447.6359999999</c:v>
                </c:pt>
                <c:pt idx="523">
                  <c:v>1710986.9569999999</c:v>
                </c:pt>
                <c:pt idx="524">
                  <c:v>1736983.26</c:v>
                </c:pt>
                <c:pt idx="525">
                  <c:v>1770887.3259999999</c:v>
                </c:pt>
                <c:pt idx="526">
                  <c:v>1772454.0090000001</c:v>
                </c:pt>
                <c:pt idx="527">
                  <c:v>1773197.5190000001</c:v>
                </c:pt>
                <c:pt idx="528">
                  <c:v>1742076.3049999999</c:v>
                </c:pt>
                <c:pt idx="529">
                  <c:v>1724614.4369999999</c:v>
                </c:pt>
                <c:pt idx="530">
                  <c:v>1732867.4</c:v>
                </c:pt>
                <c:pt idx="531">
                  <c:v>1701554.9990000001</c:v>
                </c:pt>
                <c:pt idx="532">
                  <c:v>1725049.9210000001</c:v>
                </c:pt>
                <c:pt idx="533">
                  <c:v>1697911.798</c:v>
                </c:pt>
                <c:pt idx="534">
                  <c:v>1707784.5519999999</c:v>
                </c:pt>
                <c:pt idx="535">
                  <c:v>1703227.8970000001</c:v>
                </c:pt>
                <c:pt idx="536">
                  <c:v>1711645.4939999999</c:v>
                </c:pt>
                <c:pt idx="537">
                  <c:v>1733934.8689999999</c:v>
                </c:pt>
                <c:pt idx="538">
                  <c:v>1726728.13</c:v>
                </c:pt>
                <c:pt idx="539">
                  <c:v>1749628.2450000001</c:v>
                </c:pt>
                <c:pt idx="540">
                  <c:v>1747551.727</c:v>
                </c:pt>
                <c:pt idx="541">
                  <c:v>1730243.871</c:v>
                </c:pt>
                <c:pt idx="542">
                  <c:v>1729234.8219999999</c:v>
                </c:pt>
                <c:pt idx="543">
                  <c:v>1711820.75</c:v>
                </c:pt>
                <c:pt idx="544">
                  <c:v>1738077.2830000001</c:v>
                </c:pt>
                <c:pt idx="545">
                  <c:v>1758438.841</c:v>
                </c:pt>
                <c:pt idx="546">
                  <c:v>1765528.7420000001</c:v>
                </c:pt>
                <c:pt idx="547">
                  <c:v>1780898.16</c:v>
                </c:pt>
                <c:pt idx="548">
                  <c:v>1770313.7609999999</c:v>
                </c:pt>
                <c:pt idx="549">
                  <c:v>1766776.777</c:v>
                </c:pt>
                <c:pt idx="550">
                  <c:v>1790813.4</c:v>
                </c:pt>
                <c:pt idx="551">
                  <c:v>1781004.3759999999</c:v>
                </c:pt>
                <c:pt idx="552">
                  <c:v>1783861.58</c:v>
                </c:pt>
                <c:pt idx="553">
                  <c:v>1784127.1189999999</c:v>
                </c:pt>
                <c:pt idx="554">
                  <c:v>1750334.58</c:v>
                </c:pt>
                <c:pt idx="555">
                  <c:v>1750308.0260000001</c:v>
                </c:pt>
                <c:pt idx="556">
                  <c:v>1761784.6370000001</c:v>
                </c:pt>
                <c:pt idx="557">
                  <c:v>1752527.9350000001</c:v>
                </c:pt>
                <c:pt idx="558">
                  <c:v>1725777.4990000001</c:v>
                </c:pt>
                <c:pt idx="559">
                  <c:v>1715894.1240000001</c:v>
                </c:pt>
                <c:pt idx="560">
                  <c:v>1704497.175</c:v>
                </c:pt>
                <c:pt idx="561">
                  <c:v>1679154.098</c:v>
                </c:pt>
                <c:pt idx="562">
                  <c:v>1695585.6740000001</c:v>
                </c:pt>
                <c:pt idx="563">
                  <c:v>1705362.8330000001</c:v>
                </c:pt>
                <c:pt idx="564">
                  <c:v>1661761.2690000001</c:v>
                </c:pt>
                <c:pt idx="565">
                  <c:v>1660215.83</c:v>
                </c:pt>
                <c:pt idx="566">
                  <c:v>1657709.139</c:v>
                </c:pt>
                <c:pt idx="567">
                  <c:v>1662148.9569999999</c:v>
                </c:pt>
                <c:pt idx="568">
                  <c:v>1674608.064</c:v>
                </c:pt>
                <c:pt idx="569">
                  <c:v>1670290.3940000001</c:v>
                </c:pt>
                <c:pt idx="570">
                  <c:v>1647193.78</c:v>
                </c:pt>
                <c:pt idx="571">
                  <c:v>1661262.0549999999</c:v>
                </c:pt>
                <c:pt idx="572">
                  <c:v>1646588.35</c:v>
                </c:pt>
                <c:pt idx="573">
                  <c:v>1654857.246</c:v>
                </c:pt>
                <c:pt idx="574">
                  <c:v>1667257.9339999999</c:v>
                </c:pt>
                <c:pt idx="575">
                  <c:v>1657305.5190000001</c:v>
                </c:pt>
                <c:pt idx="576">
                  <c:v>1657815.355</c:v>
                </c:pt>
                <c:pt idx="577">
                  <c:v>1605440.37</c:v>
                </c:pt>
                <c:pt idx="578">
                  <c:v>1607161.0660000001</c:v>
                </c:pt>
                <c:pt idx="579">
                  <c:v>1588105.9609999999</c:v>
                </c:pt>
                <c:pt idx="580">
                  <c:v>1581754.2590000001</c:v>
                </c:pt>
                <c:pt idx="581">
                  <c:v>1573750.9029999999</c:v>
                </c:pt>
                <c:pt idx="582">
                  <c:v>1569077.41</c:v>
                </c:pt>
                <c:pt idx="583">
                  <c:v>1594064.6640000001</c:v>
                </c:pt>
                <c:pt idx="584">
                  <c:v>1595450.78</c:v>
                </c:pt>
                <c:pt idx="585">
                  <c:v>1569714.7050000001</c:v>
                </c:pt>
                <c:pt idx="586">
                  <c:v>1585986.9569999999</c:v>
                </c:pt>
                <c:pt idx="587">
                  <c:v>1595498.577</c:v>
                </c:pt>
                <c:pt idx="588">
                  <c:v>1597830.0120000001</c:v>
                </c:pt>
                <c:pt idx="589">
                  <c:v>1567685.9839999999</c:v>
                </c:pt>
                <c:pt idx="590">
                  <c:v>1573018.014</c:v>
                </c:pt>
                <c:pt idx="591">
                  <c:v>1566868.1229999999</c:v>
                </c:pt>
                <c:pt idx="592">
                  <c:v>1589816.034</c:v>
                </c:pt>
                <c:pt idx="593">
                  <c:v>1573649.9979999999</c:v>
                </c:pt>
                <c:pt idx="594">
                  <c:v>1549464.673</c:v>
                </c:pt>
                <c:pt idx="595">
                  <c:v>1535964.6510000001</c:v>
                </c:pt>
                <c:pt idx="596">
                  <c:v>1526798.233</c:v>
                </c:pt>
                <c:pt idx="597">
                  <c:v>1544945.193</c:v>
                </c:pt>
                <c:pt idx="598">
                  <c:v>1544684.9639999999</c:v>
                </c:pt>
                <c:pt idx="599">
                  <c:v>1570734.3759999999</c:v>
                </c:pt>
                <c:pt idx="600">
                  <c:v>1607824.9140000001</c:v>
                </c:pt>
                <c:pt idx="601">
                  <c:v>1612615.2439999999</c:v>
                </c:pt>
                <c:pt idx="602">
                  <c:v>1615398.0970000001</c:v>
                </c:pt>
                <c:pt idx="603">
                  <c:v>1593326.4650000001</c:v>
                </c:pt>
                <c:pt idx="604">
                  <c:v>1616651.442</c:v>
                </c:pt>
                <c:pt idx="605">
                  <c:v>1619657.348</c:v>
                </c:pt>
                <c:pt idx="606">
                  <c:v>1658017.1640000001</c:v>
                </c:pt>
                <c:pt idx="607">
                  <c:v>1658293.325</c:v>
                </c:pt>
                <c:pt idx="608">
                  <c:v>1653625.1429999999</c:v>
                </c:pt>
                <c:pt idx="609">
                  <c:v>1647236.2660000001</c:v>
                </c:pt>
                <c:pt idx="610">
                  <c:v>1651219.3570000001</c:v>
                </c:pt>
                <c:pt idx="611">
                  <c:v>1653359.6040000001</c:v>
                </c:pt>
                <c:pt idx="612">
                  <c:v>1623459.872</c:v>
                </c:pt>
                <c:pt idx="613">
                  <c:v>1649663.2960000001</c:v>
                </c:pt>
                <c:pt idx="614">
                  <c:v>1654708.544</c:v>
                </c:pt>
                <c:pt idx="615">
                  <c:v>1661686.9180000001</c:v>
                </c:pt>
                <c:pt idx="616">
                  <c:v>1658346.433</c:v>
                </c:pt>
                <c:pt idx="617">
                  <c:v>1643757.7009999999</c:v>
                </c:pt>
                <c:pt idx="618">
                  <c:v>1641867.06</c:v>
                </c:pt>
                <c:pt idx="619">
                  <c:v>1624644.1769999999</c:v>
                </c:pt>
                <c:pt idx="620">
                  <c:v>1629344.2239999999</c:v>
                </c:pt>
                <c:pt idx="621">
                  <c:v>1576395.675</c:v>
                </c:pt>
                <c:pt idx="622">
                  <c:v>1581430.301</c:v>
                </c:pt>
                <c:pt idx="623">
                  <c:v>1593262.7350000001</c:v>
                </c:pt>
                <c:pt idx="624">
                  <c:v>1583145.686</c:v>
                </c:pt>
                <c:pt idx="625">
                  <c:v>1578408.463</c:v>
                </c:pt>
                <c:pt idx="626">
                  <c:v>1581403.747</c:v>
                </c:pt>
                <c:pt idx="627">
                  <c:v>1570070.527</c:v>
                </c:pt>
                <c:pt idx="628">
                  <c:v>1569268.598</c:v>
                </c:pt>
                <c:pt idx="629">
                  <c:v>1572157.6669999999</c:v>
                </c:pt>
                <c:pt idx="630">
                  <c:v>1538758.1259999999</c:v>
                </c:pt>
                <c:pt idx="631">
                  <c:v>1483780.8559999999</c:v>
                </c:pt>
                <c:pt idx="632">
                  <c:v>1486059.183</c:v>
                </c:pt>
                <c:pt idx="633">
                  <c:v>1499830.0549999999</c:v>
                </c:pt>
                <c:pt idx="634">
                  <c:v>1522560.2239999999</c:v>
                </c:pt>
                <c:pt idx="635">
                  <c:v>1527047.84</c:v>
                </c:pt>
                <c:pt idx="636">
                  <c:v>1549623.996</c:v>
                </c:pt>
                <c:pt idx="637">
                  <c:v>1538843.098</c:v>
                </c:pt>
                <c:pt idx="638">
                  <c:v>1532698.517</c:v>
                </c:pt>
                <c:pt idx="639">
                  <c:v>1505209.882</c:v>
                </c:pt>
                <c:pt idx="640">
                  <c:v>1491088.4990000001</c:v>
                </c:pt>
                <c:pt idx="641">
                  <c:v>1475225.1769999999</c:v>
                </c:pt>
                <c:pt idx="642">
                  <c:v>1498173.0889999999</c:v>
                </c:pt>
                <c:pt idx="643">
                  <c:v>1492341.845</c:v>
                </c:pt>
                <c:pt idx="644">
                  <c:v>1542167.6510000001</c:v>
                </c:pt>
                <c:pt idx="645">
                  <c:v>1540776.2250000001</c:v>
                </c:pt>
                <c:pt idx="646">
                  <c:v>1515066.703</c:v>
                </c:pt>
                <c:pt idx="647">
                  <c:v>1509187.662</c:v>
                </c:pt>
                <c:pt idx="648">
                  <c:v>1511864.2990000001</c:v>
                </c:pt>
                <c:pt idx="649">
                  <c:v>1505363.895</c:v>
                </c:pt>
                <c:pt idx="650">
                  <c:v>1489065.0889999999</c:v>
                </c:pt>
                <c:pt idx="651">
                  <c:v>1457184.433</c:v>
                </c:pt>
                <c:pt idx="652">
                  <c:v>1446286.6980000001</c:v>
                </c:pt>
                <c:pt idx="653">
                  <c:v>1475915.58</c:v>
                </c:pt>
                <c:pt idx="654">
                  <c:v>1463711.3910000001</c:v>
                </c:pt>
                <c:pt idx="655">
                  <c:v>1461050.686</c:v>
                </c:pt>
                <c:pt idx="656">
                  <c:v>1444682.84</c:v>
                </c:pt>
                <c:pt idx="657">
                  <c:v>1451496.58</c:v>
                </c:pt>
                <c:pt idx="658">
                  <c:v>1449340.4</c:v>
                </c:pt>
                <c:pt idx="659">
                  <c:v>1451963.929</c:v>
                </c:pt>
                <c:pt idx="660">
                  <c:v>1422903.301</c:v>
                </c:pt>
                <c:pt idx="661">
                  <c:v>1428522.1140000001</c:v>
                </c:pt>
                <c:pt idx="662">
                  <c:v>1471624.4639999999</c:v>
                </c:pt>
                <c:pt idx="663">
                  <c:v>1426312.827</c:v>
                </c:pt>
                <c:pt idx="664">
                  <c:v>1417704.04</c:v>
                </c:pt>
                <c:pt idx="665">
                  <c:v>1386604.07</c:v>
                </c:pt>
                <c:pt idx="666">
                  <c:v>1400921.953</c:v>
                </c:pt>
                <c:pt idx="667">
                  <c:v>1386428.814</c:v>
                </c:pt>
                <c:pt idx="668">
                  <c:v>1374532.6510000001</c:v>
                </c:pt>
                <c:pt idx="669">
                  <c:v>1370900.0719999999</c:v>
                </c:pt>
                <c:pt idx="670">
                  <c:v>1358010.7919999999</c:v>
                </c:pt>
                <c:pt idx="671">
                  <c:v>1355307.601</c:v>
                </c:pt>
                <c:pt idx="672">
                  <c:v>1404575.774</c:v>
                </c:pt>
                <c:pt idx="673">
                  <c:v>1414050.219</c:v>
                </c:pt>
                <c:pt idx="674">
                  <c:v>1409366.1040000001</c:v>
                </c:pt>
                <c:pt idx="675">
                  <c:v>1416360.4110000001</c:v>
                </c:pt>
                <c:pt idx="676">
                  <c:v>1376667.5870000001</c:v>
                </c:pt>
                <c:pt idx="677">
                  <c:v>1371818.838</c:v>
                </c:pt>
                <c:pt idx="678">
                  <c:v>1338599.8640000001</c:v>
                </c:pt>
                <c:pt idx="679">
                  <c:v>1331881.7180000001</c:v>
                </c:pt>
                <c:pt idx="680">
                  <c:v>1368414.6240000001</c:v>
                </c:pt>
                <c:pt idx="681">
                  <c:v>1394310.023</c:v>
                </c:pt>
                <c:pt idx="682">
                  <c:v>1408234.9069999999</c:v>
                </c:pt>
                <c:pt idx="683">
                  <c:v>1411331.0959999999</c:v>
                </c:pt>
                <c:pt idx="684">
                  <c:v>1438702.8929999999</c:v>
                </c:pt>
                <c:pt idx="685">
                  <c:v>1431421.804</c:v>
                </c:pt>
                <c:pt idx="686">
                  <c:v>1432600.7990000001</c:v>
                </c:pt>
                <c:pt idx="687">
                  <c:v>1456424.99</c:v>
                </c:pt>
                <c:pt idx="688">
                  <c:v>1457439.351</c:v>
                </c:pt>
                <c:pt idx="689">
                  <c:v>1467768.8319999999</c:v>
                </c:pt>
                <c:pt idx="690">
                  <c:v>1453164.1669999999</c:v>
                </c:pt>
                <c:pt idx="691">
                  <c:v>1448628.7549999999</c:v>
                </c:pt>
                <c:pt idx="692">
                  <c:v>1461342.7790000001</c:v>
                </c:pt>
                <c:pt idx="693">
                  <c:v>1433694.821</c:v>
                </c:pt>
                <c:pt idx="694">
                  <c:v>1431257.17</c:v>
                </c:pt>
                <c:pt idx="695">
                  <c:v>1460572.7150000001</c:v>
                </c:pt>
                <c:pt idx="696">
                  <c:v>1457641.1610000001</c:v>
                </c:pt>
                <c:pt idx="697">
                  <c:v>1418043.9310000001</c:v>
                </c:pt>
                <c:pt idx="698">
                  <c:v>1413742.193</c:v>
                </c:pt>
                <c:pt idx="699">
                  <c:v>1384256.702</c:v>
                </c:pt>
                <c:pt idx="700">
                  <c:v>1385950.8430000001</c:v>
                </c:pt>
                <c:pt idx="701">
                  <c:v>1385839.317</c:v>
                </c:pt>
                <c:pt idx="702">
                  <c:v>1372312.7420000001</c:v>
                </c:pt>
                <c:pt idx="703">
                  <c:v>1374920.338</c:v>
                </c:pt>
                <c:pt idx="704">
                  <c:v>1364856.3959999999</c:v>
                </c:pt>
                <c:pt idx="705">
                  <c:v>1366635.51</c:v>
                </c:pt>
                <c:pt idx="706">
                  <c:v>1385356.0349999999</c:v>
                </c:pt>
                <c:pt idx="707">
                  <c:v>1339125.632</c:v>
                </c:pt>
                <c:pt idx="708">
                  <c:v>1372100.31</c:v>
                </c:pt>
                <c:pt idx="709">
                  <c:v>1358132.94</c:v>
                </c:pt>
                <c:pt idx="710">
                  <c:v>1339056.5919999999</c:v>
                </c:pt>
                <c:pt idx="711">
                  <c:v>1336374.6440000001</c:v>
                </c:pt>
                <c:pt idx="712">
                  <c:v>1342689.17</c:v>
                </c:pt>
                <c:pt idx="713">
                  <c:v>1340973.7860000001</c:v>
                </c:pt>
                <c:pt idx="714">
                  <c:v>1329534.3500000001</c:v>
                </c:pt>
                <c:pt idx="715">
                  <c:v>1315848.4509999999</c:v>
                </c:pt>
                <c:pt idx="716">
                  <c:v>1286235.5020000001</c:v>
                </c:pt>
                <c:pt idx="717">
                  <c:v>1273250.6270000001</c:v>
                </c:pt>
                <c:pt idx="718">
                  <c:v>1243143.774</c:v>
                </c:pt>
                <c:pt idx="719">
                  <c:v>1269347.1980000001</c:v>
                </c:pt>
                <c:pt idx="720">
                  <c:v>1266309.4280000001</c:v>
                </c:pt>
                <c:pt idx="721">
                  <c:v>1262411.31</c:v>
                </c:pt>
                <c:pt idx="722">
                  <c:v>1242251.561</c:v>
                </c:pt>
                <c:pt idx="723">
                  <c:v>1243435.8670000001</c:v>
                </c:pt>
                <c:pt idx="724">
                  <c:v>1252899.69</c:v>
                </c:pt>
                <c:pt idx="725">
                  <c:v>1240440.5830000001</c:v>
                </c:pt>
                <c:pt idx="726">
                  <c:v>1224157.709</c:v>
                </c:pt>
                <c:pt idx="727">
                  <c:v>1225692.527</c:v>
                </c:pt>
                <c:pt idx="728">
                  <c:v>1227514.1270000001</c:v>
                </c:pt>
                <c:pt idx="729">
                  <c:v>1245772.6129999999</c:v>
                </c:pt>
                <c:pt idx="730">
                  <c:v>1220817.2239999999</c:v>
                </c:pt>
                <c:pt idx="731">
                  <c:v>1208942.304</c:v>
                </c:pt>
                <c:pt idx="732">
                  <c:v>1216488.932</c:v>
                </c:pt>
                <c:pt idx="733">
                  <c:v>1257897.1410000001</c:v>
                </c:pt>
                <c:pt idx="734">
                  <c:v>1299735.523</c:v>
                </c:pt>
                <c:pt idx="735">
                  <c:v>1293500.659</c:v>
                </c:pt>
                <c:pt idx="736">
                  <c:v>1293293.5379999999</c:v>
                </c:pt>
                <c:pt idx="737">
                  <c:v>1271577.7290000001</c:v>
                </c:pt>
                <c:pt idx="738">
                  <c:v>1245724.8160000001</c:v>
                </c:pt>
                <c:pt idx="739">
                  <c:v>1306772.3160000001</c:v>
                </c:pt>
                <c:pt idx="740">
                  <c:v>1286373.5819999999</c:v>
                </c:pt>
                <c:pt idx="741">
                  <c:v>1310888.176</c:v>
                </c:pt>
                <c:pt idx="742">
                  <c:v>1329868.93</c:v>
                </c:pt>
                <c:pt idx="743">
                  <c:v>1306836.0449999999</c:v>
                </c:pt>
                <c:pt idx="744">
                  <c:v>1308716.064</c:v>
                </c:pt>
                <c:pt idx="745">
                  <c:v>1289984.9169999999</c:v>
                </c:pt>
                <c:pt idx="746">
                  <c:v>1320389.1740000001</c:v>
                </c:pt>
                <c:pt idx="747">
                  <c:v>1330931.0870000001</c:v>
                </c:pt>
                <c:pt idx="748">
                  <c:v>1329991.078</c:v>
                </c:pt>
                <c:pt idx="749">
                  <c:v>1305364.9569999999</c:v>
                </c:pt>
                <c:pt idx="750">
                  <c:v>1342694.4809999999</c:v>
                </c:pt>
                <c:pt idx="751">
                  <c:v>1343220.2490000001</c:v>
                </c:pt>
                <c:pt idx="752">
                  <c:v>1345551.6850000001</c:v>
                </c:pt>
                <c:pt idx="753">
                  <c:v>1344680.7150000001</c:v>
                </c:pt>
                <c:pt idx="754">
                  <c:v>1339438.9680000001</c:v>
                </c:pt>
                <c:pt idx="755">
                  <c:v>1354043.6329999999</c:v>
                </c:pt>
                <c:pt idx="756">
                  <c:v>1346852.827</c:v>
                </c:pt>
                <c:pt idx="757">
                  <c:v>1347394.5279999999</c:v>
                </c:pt>
                <c:pt idx="758">
                  <c:v>1349317.0330000001</c:v>
                </c:pt>
                <c:pt idx="759">
                  <c:v>1360862.6839999999</c:v>
                </c:pt>
                <c:pt idx="760">
                  <c:v>1379466.372</c:v>
                </c:pt>
                <c:pt idx="761">
                  <c:v>1384129.243</c:v>
                </c:pt>
                <c:pt idx="762">
                  <c:v>1406307.091</c:v>
                </c:pt>
                <c:pt idx="763">
                  <c:v>1410847.814</c:v>
                </c:pt>
                <c:pt idx="764">
                  <c:v>1413975.868</c:v>
                </c:pt>
                <c:pt idx="765">
                  <c:v>1398935.7180000001</c:v>
                </c:pt>
                <c:pt idx="766">
                  <c:v>1398516.166</c:v>
                </c:pt>
                <c:pt idx="767">
                  <c:v>1423253.8130000001</c:v>
                </c:pt>
                <c:pt idx="768">
                  <c:v>1414103.327</c:v>
                </c:pt>
                <c:pt idx="769">
                  <c:v>1391983.898</c:v>
                </c:pt>
                <c:pt idx="770">
                  <c:v>1382403.237</c:v>
                </c:pt>
                <c:pt idx="771">
                  <c:v>1399811.9979999999</c:v>
                </c:pt>
                <c:pt idx="772">
                  <c:v>1414953.0530000001</c:v>
                </c:pt>
                <c:pt idx="773">
                  <c:v>1409695.3729999999</c:v>
                </c:pt>
                <c:pt idx="774">
                  <c:v>1423859.243</c:v>
                </c:pt>
                <c:pt idx="775">
                  <c:v>1383518.503</c:v>
                </c:pt>
                <c:pt idx="776">
                  <c:v>1373130.6029999999</c:v>
                </c:pt>
                <c:pt idx="777">
                  <c:v>1393295.662</c:v>
                </c:pt>
                <c:pt idx="778">
                  <c:v>1396742.3629999999</c:v>
                </c:pt>
                <c:pt idx="779">
                  <c:v>1372546.416</c:v>
                </c:pt>
                <c:pt idx="780">
                  <c:v>1374320.219</c:v>
                </c:pt>
                <c:pt idx="781">
                  <c:v>1372174.6610000001</c:v>
                </c:pt>
                <c:pt idx="782">
                  <c:v>1355812.1259999999</c:v>
                </c:pt>
                <c:pt idx="783">
                  <c:v>1357139.8219999999</c:v>
                </c:pt>
                <c:pt idx="784">
                  <c:v>1352731.8689999999</c:v>
                </c:pt>
                <c:pt idx="785">
                  <c:v>1314366.7420000001</c:v>
                </c:pt>
                <c:pt idx="786">
                  <c:v>1297489.06</c:v>
                </c:pt>
                <c:pt idx="787">
                  <c:v>1303745.1669999999</c:v>
                </c:pt>
                <c:pt idx="788">
                  <c:v>1334510.558</c:v>
                </c:pt>
                <c:pt idx="789">
                  <c:v>1338228.1089999999</c:v>
                </c:pt>
                <c:pt idx="790">
                  <c:v>1325121.0859999999</c:v>
                </c:pt>
                <c:pt idx="791">
                  <c:v>1338206.8659999999</c:v>
                </c:pt>
                <c:pt idx="792">
                  <c:v>1338339.635</c:v>
                </c:pt>
                <c:pt idx="793">
                  <c:v>1365106.003</c:v>
                </c:pt>
                <c:pt idx="794">
                  <c:v>1370422.101</c:v>
                </c:pt>
                <c:pt idx="795">
                  <c:v>1367017.8870000001</c:v>
                </c:pt>
                <c:pt idx="796">
                  <c:v>1349938.395</c:v>
                </c:pt>
                <c:pt idx="797">
                  <c:v>1380756.8929999999</c:v>
                </c:pt>
                <c:pt idx="798">
                  <c:v>1378712.24</c:v>
                </c:pt>
                <c:pt idx="799">
                  <c:v>1395058.844</c:v>
                </c:pt>
                <c:pt idx="800">
                  <c:v>1384012.406</c:v>
                </c:pt>
                <c:pt idx="801">
                  <c:v>1383391.044</c:v>
                </c:pt>
                <c:pt idx="802">
                  <c:v>1394607.4269999999</c:v>
                </c:pt>
                <c:pt idx="803">
                  <c:v>1397528.36</c:v>
                </c:pt>
                <c:pt idx="804">
                  <c:v>1394697.71</c:v>
                </c:pt>
                <c:pt idx="805">
                  <c:v>1425144.453</c:v>
                </c:pt>
                <c:pt idx="806">
                  <c:v>1429409.0160000001</c:v>
                </c:pt>
                <c:pt idx="807">
                  <c:v>1442346.0930000001</c:v>
                </c:pt>
                <c:pt idx="808">
                  <c:v>1443355.1429999999</c:v>
                </c:pt>
                <c:pt idx="809">
                  <c:v>1438756.0009999999</c:v>
                </c:pt>
                <c:pt idx="810">
                  <c:v>1411347.0279999999</c:v>
                </c:pt>
                <c:pt idx="811">
                  <c:v>1411187.7039999999</c:v>
                </c:pt>
                <c:pt idx="812">
                  <c:v>1400412.1170000001</c:v>
                </c:pt>
                <c:pt idx="813">
                  <c:v>1389052.3430000001</c:v>
                </c:pt>
                <c:pt idx="814">
                  <c:v>1390029.5279999999</c:v>
                </c:pt>
                <c:pt idx="815">
                  <c:v>1367341.845</c:v>
                </c:pt>
                <c:pt idx="816">
                  <c:v>1388207.9280000001</c:v>
                </c:pt>
                <c:pt idx="817">
                  <c:v>1366986.0220000001</c:v>
                </c:pt>
                <c:pt idx="818">
                  <c:v>1374022.8149999999</c:v>
                </c:pt>
                <c:pt idx="819">
                  <c:v>1395425.2879999999</c:v>
                </c:pt>
                <c:pt idx="820">
                  <c:v>1389763.9890000001</c:v>
                </c:pt>
                <c:pt idx="821">
                  <c:v>1378287.3770000001</c:v>
                </c:pt>
                <c:pt idx="822">
                  <c:v>1366518.673</c:v>
                </c:pt>
                <c:pt idx="823">
                  <c:v>1388606.237</c:v>
                </c:pt>
                <c:pt idx="824">
                  <c:v>1407810.044</c:v>
                </c:pt>
                <c:pt idx="825">
                  <c:v>1403248.077</c:v>
                </c:pt>
                <c:pt idx="826">
                  <c:v>1397820.453</c:v>
                </c:pt>
                <c:pt idx="827">
                  <c:v>1398330.2879999999</c:v>
                </c:pt>
                <c:pt idx="828">
                  <c:v>1359046.395</c:v>
                </c:pt>
                <c:pt idx="829">
                  <c:v>1358945.49</c:v>
                </c:pt>
                <c:pt idx="830">
                  <c:v>1358180.737</c:v>
                </c:pt>
                <c:pt idx="831">
                  <c:v>1350097.7180000001</c:v>
                </c:pt>
                <c:pt idx="832">
                  <c:v>1340617.963</c:v>
                </c:pt>
                <c:pt idx="833">
                  <c:v>1358642.7749999999</c:v>
                </c:pt>
                <c:pt idx="834">
                  <c:v>1349035.561</c:v>
                </c:pt>
                <c:pt idx="835">
                  <c:v>1370523.0060000001</c:v>
                </c:pt>
                <c:pt idx="836">
                  <c:v>1359784.594</c:v>
                </c:pt>
                <c:pt idx="837">
                  <c:v>1363836.7250000001</c:v>
                </c:pt>
                <c:pt idx="838">
                  <c:v>1370825.7209999999</c:v>
                </c:pt>
                <c:pt idx="839">
                  <c:v>1358828.6529999999</c:v>
                </c:pt>
                <c:pt idx="840">
                  <c:v>1355636.87</c:v>
                </c:pt>
                <c:pt idx="841">
                  <c:v>1334170.6669999999</c:v>
                </c:pt>
                <c:pt idx="842">
                  <c:v>1304605.5149999999</c:v>
                </c:pt>
                <c:pt idx="843">
                  <c:v>1303755.7890000001</c:v>
                </c:pt>
                <c:pt idx="844">
                  <c:v>1299655.861</c:v>
                </c:pt>
                <c:pt idx="845">
                  <c:v>1288253.601</c:v>
                </c:pt>
                <c:pt idx="846">
                  <c:v>1307308.7050000001</c:v>
                </c:pt>
                <c:pt idx="847">
                  <c:v>1309236.5209999999</c:v>
                </c:pt>
                <c:pt idx="848">
                  <c:v>1311084.675</c:v>
                </c:pt>
                <c:pt idx="849">
                  <c:v>1309066.5759999999</c:v>
                </c:pt>
                <c:pt idx="850">
                  <c:v>1290717.8060000001</c:v>
                </c:pt>
                <c:pt idx="851">
                  <c:v>1313150.571</c:v>
                </c:pt>
                <c:pt idx="852">
                  <c:v>1283107.4480000001</c:v>
                </c:pt>
                <c:pt idx="853">
                  <c:v>1278152.483</c:v>
                </c:pt>
                <c:pt idx="854">
                  <c:v>1288168.628</c:v>
                </c:pt>
                <c:pt idx="855">
                  <c:v>1300707.3970000001</c:v>
                </c:pt>
                <c:pt idx="856">
                  <c:v>1301477.4609999999</c:v>
                </c:pt>
                <c:pt idx="857">
                  <c:v>1274445.554</c:v>
                </c:pt>
                <c:pt idx="858">
                  <c:v>1282130.263</c:v>
                </c:pt>
                <c:pt idx="859">
                  <c:v>1282204.6140000001</c:v>
                </c:pt>
                <c:pt idx="860">
                  <c:v>1287504.78</c:v>
                </c:pt>
                <c:pt idx="861">
                  <c:v>1273771.084</c:v>
                </c:pt>
                <c:pt idx="862">
                  <c:v>1256229.5530000001</c:v>
                </c:pt>
                <c:pt idx="863">
                  <c:v>1261837.7450000001</c:v>
                </c:pt>
                <c:pt idx="864">
                  <c:v>1253388.2819999999</c:v>
                </c:pt>
                <c:pt idx="865">
                  <c:v>1246702.0009999999</c:v>
                </c:pt>
                <c:pt idx="866">
                  <c:v>1247562.3489999999</c:v>
                </c:pt>
                <c:pt idx="867">
                  <c:v>1240488.3799999999</c:v>
                </c:pt>
                <c:pt idx="868">
                  <c:v>1238964.1839999999</c:v>
                </c:pt>
                <c:pt idx="869">
                  <c:v>1252628.8400000001</c:v>
                </c:pt>
                <c:pt idx="870">
                  <c:v>1240005.098</c:v>
                </c:pt>
                <c:pt idx="871">
                  <c:v>1250021.243</c:v>
                </c:pt>
                <c:pt idx="872">
                  <c:v>1266946.7220000001</c:v>
                </c:pt>
                <c:pt idx="873">
                  <c:v>1268678.0390000001</c:v>
                </c:pt>
                <c:pt idx="874">
                  <c:v>1269171.942</c:v>
                </c:pt>
                <c:pt idx="875">
                  <c:v>1280802.5660000001</c:v>
                </c:pt>
                <c:pt idx="876">
                  <c:v>1274456.175</c:v>
                </c:pt>
                <c:pt idx="877">
                  <c:v>1249059.9909999999</c:v>
                </c:pt>
                <c:pt idx="878">
                  <c:v>1251763.1810000001</c:v>
                </c:pt>
                <c:pt idx="879">
                  <c:v>1238268.4709999999</c:v>
                </c:pt>
                <c:pt idx="880">
                  <c:v>1231927.3910000001</c:v>
                </c:pt>
                <c:pt idx="881">
                  <c:v>1228640.014</c:v>
                </c:pt>
                <c:pt idx="882">
                  <c:v>1222431.703</c:v>
                </c:pt>
                <c:pt idx="883">
                  <c:v>1228756.851</c:v>
                </c:pt>
                <c:pt idx="884">
                  <c:v>1219139.0149999999</c:v>
                </c:pt>
                <c:pt idx="885">
                  <c:v>1222649.446</c:v>
                </c:pt>
                <c:pt idx="886">
                  <c:v>1208565.2379999999</c:v>
                </c:pt>
                <c:pt idx="887">
                  <c:v>1183349.6200000001</c:v>
                </c:pt>
                <c:pt idx="888">
                  <c:v>1188771.9339999999</c:v>
                </c:pt>
                <c:pt idx="889">
                  <c:v>1176238.476</c:v>
                </c:pt>
                <c:pt idx="890">
                  <c:v>1174411.5649999999</c:v>
                </c:pt>
                <c:pt idx="891">
                  <c:v>1170959.5530000001</c:v>
                </c:pt>
                <c:pt idx="892">
                  <c:v>1183439.9029999999</c:v>
                </c:pt>
                <c:pt idx="893">
                  <c:v>1170715.257</c:v>
                </c:pt>
                <c:pt idx="894">
                  <c:v>1168309.47</c:v>
                </c:pt>
                <c:pt idx="895">
                  <c:v>1177837.023</c:v>
                </c:pt>
                <c:pt idx="896">
                  <c:v>1230605.0049999999</c:v>
                </c:pt>
                <c:pt idx="897">
                  <c:v>1235644.942</c:v>
                </c:pt>
                <c:pt idx="898">
                  <c:v>1227795.598</c:v>
                </c:pt>
                <c:pt idx="899">
                  <c:v>1232139.8219999999</c:v>
                </c:pt>
                <c:pt idx="900">
                  <c:v>1220663.2109999999</c:v>
                </c:pt>
                <c:pt idx="901">
                  <c:v>1229734.0360000001</c:v>
                </c:pt>
                <c:pt idx="902">
                  <c:v>1199552.8319999999</c:v>
                </c:pt>
                <c:pt idx="903">
                  <c:v>1187088.4140000001</c:v>
                </c:pt>
                <c:pt idx="904">
                  <c:v>1192930.28</c:v>
                </c:pt>
                <c:pt idx="905">
                  <c:v>1166222.331</c:v>
                </c:pt>
                <c:pt idx="906">
                  <c:v>1167873.986</c:v>
                </c:pt>
                <c:pt idx="907">
                  <c:v>1176615.541</c:v>
                </c:pt>
                <c:pt idx="908">
                  <c:v>1173763.649</c:v>
                </c:pt>
                <c:pt idx="909">
                  <c:v>1160348.6000000001</c:v>
                </c:pt>
                <c:pt idx="910">
                  <c:v>1195840.591</c:v>
                </c:pt>
                <c:pt idx="911">
                  <c:v>1217821.94</c:v>
                </c:pt>
                <c:pt idx="912">
                  <c:v>1205575.264</c:v>
                </c:pt>
                <c:pt idx="913">
                  <c:v>1232187.6189999999</c:v>
                </c:pt>
                <c:pt idx="914">
                  <c:v>1234290.6910000001</c:v>
                </c:pt>
                <c:pt idx="915">
                  <c:v>1222824.702</c:v>
                </c:pt>
                <c:pt idx="916">
                  <c:v>1223886.8589999999</c:v>
                </c:pt>
                <c:pt idx="917">
                  <c:v>1218751.328</c:v>
                </c:pt>
                <c:pt idx="918">
                  <c:v>1220503.8870000001</c:v>
                </c:pt>
                <c:pt idx="919">
                  <c:v>1221905.9350000001</c:v>
                </c:pt>
                <c:pt idx="920">
                  <c:v>1240642.3929999999</c:v>
                </c:pt>
                <c:pt idx="921">
                  <c:v>1238725.199</c:v>
                </c:pt>
                <c:pt idx="922">
                  <c:v>1243568.6370000001</c:v>
                </c:pt>
                <c:pt idx="923">
                  <c:v>1227896.503</c:v>
                </c:pt>
                <c:pt idx="924">
                  <c:v>1225612.865</c:v>
                </c:pt>
                <c:pt idx="925">
                  <c:v>1216828.8230000001</c:v>
                </c:pt>
                <c:pt idx="926">
                  <c:v>1193817.1810000001</c:v>
                </c:pt>
                <c:pt idx="927">
                  <c:v>1187412.372</c:v>
                </c:pt>
                <c:pt idx="928">
                  <c:v>1189552.6189999999</c:v>
                </c:pt>
                <c:pt idx="929">
                  <c:v>1197486.9350000001</c:v>
                </c:pt>
                <c:pt idx="930">
                  <c:v>1220355.1850000001</c:v>
                </c:pt>
                <c:pt idx="931">
                  <c:v>1225076.4750000001</c:v>
                </c:pt>
                <c:pt idx="932">
                  <c:v>1222479.5</c:v>
                </c:pt>
                <c:pt idx="933">
                  <c:v>1217343.969</c:v>
                </c:pt>
                <c:pt idx="934">
                  <c:v>1214847.899</c:v>
                </c:pt>
                <c:pt idx="935">
                  <c:v>1192489.4850000001</c:v>
                </c:pt>
                <c:pt idx="936">
                  <c:v>1190104.9410000001</c:v>
                </c:pt>
                <c:pt idx="937">
                  <c:v>1195909.632</c:v>
                </c:pt>
                <c:pt idx="938">
                  <c:v>1174979.8189999999</c:v>
                </c:pt>
                <c:pt idx="939">
                  <c:v>1180646.429</c:v>
                </c:pt>
                <c:pt idx="940">
                  <c:v>1164984.9169999999</c:v>
                </c:pt>
                <c:pt idx="941">
                  <c:v>1156285.848</c:v>
                </c:pt>
                <c:pt idx="942">
                  <c:v>1155090.9210000001</c:v>
                </c:pt>
                <c:pt idx="943">
                  <c:v>1149721.7150000001</c:v>
                </c:pt>
                <c:pt idx="944">
                  <c:v>1165664.6980000001</c:v>
                </c:pt>
                <c:pt idx="945">
                  <c:v>1156450.4820000001</c:v>
                </c:pt>
                <c:pt idx="946">
                  <c:v>1164485.703</c:v>
                </c:pt>
                <c:pt idx="947">
                  <c:v>1155414.879</c:v>
                </c:pt>
                <c:pt idx="948">
                  <c:v>1142159.1540000001</c:v>
                </c:pt>
                <c:pt idx="949">
                  <c:v>1130751.5830000001</c:v>
                </c:pt>
                <c:pt idx="950">
                  <c:v>1123592.6410000001</c:v>
                </c:pt>
                <c:pt idx="951">
                  <c:v>1136327.909</c:v>
                </c:pt>
                <c:pt idx="952">
                  <c:v>1119965.3740000001</c:v>
                </c:pt>
                <c:pt idx="953">
                  <c:v>1131978.3740000001</c:v>
                </c:pt>
                <c:pt idx="954">
                  <c:v>1172558.1000000001</c:v>
                </c:pt>
                <c:pt idx="955">
                  <c:v>1170285.0830000001</c:v>
                </c:pt>
                <c:pt idx="956">
                  <c:v>1193206.4410000001</c:v>
                </c:pt>
                <c:pt idx="957">
                  <c:v>1206106.3430000001</c:v>
                </c:pt>
                <c:pt idx="958">
                  <c:v>1199441.3049999999</c:v>
                </c:pt>
                <c:pt idx="959">
                  <c:v>1204364.405</c:v>
                </c:pt>
                <c:pt idx="960">
                  <c:v>1191018.3970000001</c:v>
                </c:pt>
                <c:pt idx="961">
                  <c:v>1251147.1299999999</c:v>
                </c:pt>
                <c:pt idx="962">
                  <c:v>1256904.023</c:v>
                </c:pt>
                <c:pt idx="963">
                  <c:v>1257658.155</c:v>
                </c:pt>
                <c:pt idx="964">
                  <c:v>1259246.081</c:v>
                </c:pt>
                <c:pt idx="965">
                  <c:v>1266527.17</c:v>
                </c:pt>
                <c:pt idx="966">
                  <c:v>1259718.7409999999</c:v>
                </c:pt>
                <c:pt idx="967">
                  <c:v>1264615.287</c:v>
                </c:pt>
                <c:pt idx="968">
                  <c:v>1300293.155</c:v>
                </c:pt>
                <c:pt idx="969">
                  <c:v>1305189.7009999999</c:v>
                </c:pt>
                <c:pt idx="970">
                  <c:v>1298269.746</c:v>
                </c:pt>
                <c:pt idx="971">
                  <c:v>1317101.797</c:v>
                </c:pt>
                <c:pt idx="972">
                  <c:v>1339885.075</c:v>
                </c:pt>
                <c:pt idx="973">
                  <c:v>1340660.45</c:v>
                </c:pt>
                <c:pt idx="974">
                  <c:v>1346810.341</c:v>
                </c:pt>
                <c:pt idx="975">
                  <c:v>1341149.0419999999</c:v>
                </c:pt>
                <c:pt idx="976">
                  <c:v>1341573.905</c:v>
                </c:pt>
                <c:pt idx="977">
                  <c:v>1343931.8940000001</c:v>
                </c:pt>
                <c:pt idx="978">
                  <c:v>1318790.628</c:v>
                </c:pt>
                <c:pt idx="979">
                  <c:v>1368977.567</c:v>
                </c:pt>
                <c:pt idx="980">
                  <c:v>1378606.0249999999</c:v>
                </c:pt>
                <c:pt idx="981">
                  <c:v>1368637.6769999999</c:v>
                </c:pt>
                <c:pt idx="982">
                  <c:v>1355716.531</c:v>
                </c:pt>
                <c:pt idx="983">
                  <c:v>1378382.9709999999</c:v>
                </c:pt>
                <c:pt idx="984">
                  <c:v>1386593.449</c:v>
                </c:pt>
                <c:pt idx="985">
                  <c:v>1379158.3459999999</c:v>
                </c:pt>
                <c:pt idx="986">
                  <c:v>1384766.5379999999</c:v>
                </c:pt>
                <c:pt idx="987">
                  <c:v>1371648.8929999999</c:v>
                </c:pt>
                <c:pt idx="988">
                  <c:v>1365759.23</c:v>
                </c:pt>
                <c:pt idx="989">
                  <c:v>1408346.433</c:v>
                </c:pt>
                <c:pt idx="990">
                  <c:v>1421097.6340000001</c:v>
                </c:pt>
                <c:pt idx="991">
                  <c:v>1427916.6839999999</c:v>
                </c:pt>
                <c:pt idx="992">
                  <c:v>1426944.81</c:v>
                </c:pt>
                <c:pt idx="993">
                  <c:v>1456918.8940000001</c:v>
                </c:pt>
                <c:pt idx="994">
                  <c:v>1459420.274</c:v>
                </c:pt>
                <c:pt idx="995">
                  <c:v>1471980.2860000001</c:v>
                </c:pt>
                <c:pt idx="996">
                  <c:v>1474189.574</c:v>
                </c:pt>
                <c:pt idx="997">
                  <c:v>1465708.247</c:v>
                </c:pt>
                <c:pt idx="998">
                  <c:v>1472006.84</c:v>
                </c:pt>
                <c:pt idx="999">
                  <c:v>1453812.0830000001</c:v>
                </c:pt>
                <c:pt idx="1000">
                  <c:v>1426270.34</c:v>
                </c:pt>
                <c:pt idx="1001">
                  <c:v>1435314.611</c:v>
                </c:pt>
                <c:pt idx="1002">
                  <c:v>1386407.571</c:v>
                </c:pt>
                <c:pt idx="1003">
                  <c:v>1378999.023</c:v>
                </c:pt>
                <c:pt idx="1004">
                  <c:v>1383438.841</c:v>
                </c:pt>
                <c:pt idx="1005">
                  <c:v>1363592.429</c:v>
                </c:pt>
                <c:pt idx="1006">
                  <c:v>1377979.352</c:v>
                </c:pt>
                <c:pt idx="1007">
                  <c:v>1419748.6939999999</c:v>
                </c:pt>
                <c:pt idx="1008">
                  <c:v>1417364.15</c:v>
                </c:pt>
                <c:pt idx="1009">
                  <c:v>1351977.737</c:v>
                </c:pt>
                <c:pt idx="1010">
                  <c:v>1392918.5959999999</c:v>
                </c:pt>
                <c:pt idx="1011">
                  <c:v>1407464.8430000001</c:v>
                </c:pt>
                <c:pt idx="1012">
                  <c:v>1391150.1040000001</c:v>
                </c:pt>
                <c:pt idx="1013">
                  <c:v>1384485.0660000001</c:v>
                </c:pt>
                <c:pt idx="1014">
                  <c:v>1376752.56</c:v>
                </c:pt>
                <c:pt idx="1015">
                  <c:v>1357230.1059999999</c:v>
                </c:pt>
                <c:pt idx="1016">
                  <c:v>1342296.172</c:v>
                </c:pt>
                <c:pt idx="1017">
                  <c:v>1345896.8859999999</c:v>
                </c:pt>
                <c:pt idx="1018">
                  <c:v>1348870.9269999999</c:v>
                </c:pt>
                <c:pt idx="1019">
                  <c:v>1329019.2039999999</c:v>
                </c:pt>
                <c:pt idx="1020">
                  <c:v>1341026.8940000001</c:v>
                </c:pt>
                <c:pt idx="1021">
                  <c:v>1386205.7609999999</c:v>
                </c:pt>
                <c:pt idx="1022">
                  <c:v>1388765.561</c:v>
                </c:pt>
                <c:pt idx="1023">
                  <c:v>1390528.7420000001</c:v>
                </c:pt>
                <c:pt idx="1024">
                  <c:v>1387761.8219999999</c:v>
                </c:pt>
                <c:pt idx="1025">
                  <c:v>1367554.2760000001</c:v>
                </c:pt>
                <c:pt idx="1026">
                  <c:v>1372057.824</c:v>
                </c:pt>
                <c:pt idx="1027">
                  <c:v>1327325.0630000001</c:v>
                </c:pt>
                <c:pt idx="1028">
                  <c:v>1325083.9099999999</c:v>
                </c:pt>
                <c:pt idx="1029">
                  <c:v>1324080.172</c:v>
                </c:pt>
                <c:pt idx="1030">
                  <c:v>1320468.8359999999</c:v>
                </c:pt>
                <c:pt idx="1031">
                  <c:v>1318960.5730000001</c:v>
                </c:pt>
                <c:pt idx="1032">
                  <c:v>1312985.9369999999</c:v>
                </c:pt>
                <c:pt idx="1033">
                  <c:v>1322083.3160000001</c:v>
                </c:pt>
                <c:pt idx="1034">
                  <c:v>1319895.2709999999</c:v>
                </c:pt>
                <c:pt idx="1035">
                  <c:v>1315949.3559999999</c:v>
                </c:pt>
                <c:pt idx="1036">
                  <c:v>1307574.2450000001</c:v>
                </c:pt>
                <c:pt idx="1037">
                  <c:v>1294143.264</c:v>
                </c:pt>
                <c:pt idx="1038">
                  <c:v>1306235.926</c:v>
                </c:pt>
                <c:pt idx="1039">
                  <c:v>1305641.118</c:v>
                </c:pt>
                <c:pt idx="1040">
                  <c:v>1309029.4010000001</c:v>
                </c:pt>
                <c:pt idx="1041">
                  <c:v>1345663.2109999999</c:v>
                </c:pt>
                <c:pt idx="1042">
                  <c:v>1343985.0020000001</c:v>
                </c:pt>
                <c:pt idx="1043">
                  <c:v>1300861.4099999999</c:v>
                </c:pt>
                <c:pt idx="1044">
                  <c:v>1325349.45</c:v>
                </c:pt>
                <c:pt idx="1045">
                  <c:v>1310638.5689999999</c:v>
                </c:pt>
                <c:pt idx="1046">
                  <c:v>1299714.28</c:v>
                </c:pt>
                <c:pt idx="1047">
                  <c:v>1300951.693</c:v>
                </c:pt>
                <c:pt idx="1048">
                  <c:v>1323931.47</c:v>
                </c:pt>
                <c:pt idx="1049">
                  <c:v>1341494.243</c:v>
                </c:pt>
                <c:pt idx="1050">
                  <c:v>1343597.3149999999</c:v>
                </c:pt>
                <c:pt idx="1051">
                  <c:v>1350426.987</c:v>
                </c:pt>
                <c:pt idx="1052">
                  <c:v>1342455.496</c:v>
                </c:pt>
                <c:pt idx="1053">
                  <c:v>1349386.0730000001</c:v>
                </c:pt>
                <c:pt idx="1054">
                  <c:v>1344038.11</c:v>
                </c:pt>
                <c:pt idx="1055">
                  <c:v>1324159.8330000001</c:v>
                </c:pt>
                <c:pt idx="1056">
                  <c:v>1331377.193</c:v>
                </c:pt>
                <c:pt idx="1057">
                  <c:v>1355689.977</c:v>
                </c:pt>
                <c:pt idx="1058">
                  <c:v>1376582.615</c:v>
                </c:pt>
                <c:pt idx="1059">
                  <c:v>1385908.3570000001</c:v>
                </c:pt>
                <c:pt idx="1060">
                  <c:v>1388691.21</c:v>
                </c:pt>
                <c:pt idx="1061">
                  <c:v>1390380.04</c:v>
                </c:pt>
                <c:pt idx="1062">
                  <c:v>1371696.69</c:v>
                </c:pt>
                <c:pt idx="1063">
                  <c:v>1379333.602</c:v>
                </c:pt>
                <c:pt idx="1064">
                  <c:v>1380586.9480000001</c:v>
                </c:pt>
                <c:pt idx="1065">
                  <c:v>1404363.3430000001</c:v>
                </c:pt>
                <c:pt idx="1066">
                  <c:v>1403407.4010000001</c:v>
                </c:pt>
                <c:pt idx="1067">
                  <c:v>1399031.3119999999</c:v>
                </c:pt>
                <c:pt idx="1068">
                  <c:v>1384219.527</c:v>
                </c:pt>
                <c:pt idx="1069">
                  <c:v>1382196.1170000001</c:v>
                </c:pt>
                <c:pt idx="1070">
                  <c:v>1362572.7579999999</c:v>
                </c:pt>
                <c:pt idx="1071">
                  <c:v>1359848.324</c:v>
                </c:pt>
                <c:pt idx="1072">
                  <c:v>1342482.05</c:v>
                </c:pt>
                <c:pt idx="1073">
                  <c:v>1319284.531</c:v>
                </c:pt>
                <c:pt idx="1074">
                  <c:v>1274557.08</c:v>
                </c:pt>
                <c:pt idx="1075">
                  <c:v>1283495.135</c:v>
                </c:pt>
                <c:pt idx="1076">
                  <c:v>1276628.287</c:v>
                </c:pt>
                <c:pt idx="1077">
                  <c:v>1284546.6710000001</c:v>
                </c:pt>
                <c:pt idx="1078">
                  <c:v>1274997.8759999999</c:v>
                </c:pt>
                <c:pt idx="1079">
                  <c:v>1232883.3330000001</c:v>
                </c:pt>
                <c:pt idx="1080">
                  <c:v>1230716.531</c:v>
                </c:pt>
                <c:pt idx="1081">
                  <c:v>1153083.443</c:v>
                </c:pt>
                <c:pt idx="1082">
                  <c:v>1150008.497</c:v>
                </c:pt>
                <c:pt idx="1083">
                  <c:v>1151538.004</c:v>
                </c:pt>
                <c:pt idx="1084">
                  <c:v>1147523.0490000001</c:v>
                </c:pt>
                <c:pt idx="1085">
                  <c:v>1168713.0900000001</c:v>
                </c:pt>
                <c:pt idx="1086">
                  <c:v>1175447.1680000001</c:v>
                </c:pt>
                <c:pt idx="1087">
                  <c:v>1180046.31</c:v>
                </c:pt>
                <c:pt idx="1088">
                  <c:v>1170407.2309999999</c:v>
                </c:pt>
                <c:pt idx="1089">
                  <c:v>1180046.31</c:v>
                </c:pt>
                <c:pt idx="1090">
                  <c:v>1182632.6629999999</c:v>
                </c:pt>
                <c:pt idx="1091">
                  <c:v>1149052.5560000001</c:v>
                </c:pt>
                <c:pt idx="1092">
                  <c:v>1148548.031</c:v>
                </c:pt>
                <c:pt idx="1093">
                  <c:v>1181156.2649999999</c:v>
                </c:pt>
                <c:pt idx="1094">
                  <c:v>1235655.564</c:v>
                </c:pt>
                <c:pt idx="1095">
                  <c:v>1208400.6029999999</c:v>
                </c:pt>
                <c:pt idx="1096">
                  <c:v>1225357.9469999999</c:v>
                </c:pt>
                <c:pt idx="1097">
                  <c:v>1230960.828</c:v>
                </c:pt>
                <c:pt idx="1098">
                  <c:v>1212367.7609999999</c:v>
                </c:pt>
                <c:pt idx="1099">
                  <c:v>1192446.9979999999</c:v>
                </c:pt>
                <c:pt idx="1100">
                  <c:v>1163317.33</c:v>
                </c:pt>
                <c:pt idx="1101">
                  <c:v>1169536.2620000001</c:v>
                </c:pt>
                <c:pt idx="1102">
                  <c:v>1203339.423</c:v>
                </c:pt>
                <c:pt idx="1103">
                  <c:v>1194475.719</c:v>
                </c:pt>
                <c:pt idx="1104">
                  <c:v>1188384.246</c:v>
                </c:pt>
                <c:pt idx="1105">
                  <c:v>1181124.3999999999</c:v>
                </c:pt>
                <c:pt idx="1106">
                  <c:v>1155611.378</c:v>
                </c:pt>
                <c:pt idx="1107">
                  <c:v>1162738.4539999999</c:v>
                </c:pt>
                <c:pt idx="1108">
                  <c:v>1164666.27</c:v>
                </c:pt>
                <c:pt idx="1109">
                  <c:v>1192462.9310000001</c:v>
                </c:pt>
                <c:pt idx="1110">
                  <c:v>1193471.98</c:v>
                </c:pt>
                <c:pt idx="1111">
                  <c:v>1209972.5959999999</c:v>
                </c:pt>
                <c:pt idx="1112">
                  <c:v>1218103.412</c:v>
                </c:pt>
                <c:pt idx="1113">
                  <c:v>1211188.767</c:v>
                </c:pt>
                <c:pt idx="1114">
                  <c:v>1209149.4240000001</c:v>
                </c:pt>
                <c:pt idx="1115">
                  <c:v>1214051.281</c:v>
                </c:pt>
                <c:pt idx="1116">
                  <c:v>1249516.7180000001</c:v>
                </c:pt>
                <c:pt idx="1117">
                  <c:v>1252851.8929999999</c:v>
                </c:pt>
                <c:pt idx="1118">
                  <c:v>1247546.416</c:v>
                </c:pt>
                <c:pt idx="1119">
                  <c:v>1232941.7509999999</c:v>
                </c:pt>
                <c:pt idx="1120">
                  <c:v>1223679.7379999999</c:v>
                </c:pt>
                <c:pt idx="1121">
                  <c:v>1238172.8770000001</c:v>
                </c:pt>
                <c:pt idx="1122">
                  <c:v>1228103.6240000001</c:v>
                </c:pt>
                <c:pt idx="1123">
                  <c:v>1226043.0390000001</c:v>
                </c:pt>
                <c:pt idx="1124">
                  <c:v>1223568.2120000001</c:v>
                </c:pt>
                <c:pt idx="1125">
                  <c:v>1214539.8729999999</c:v>
                </c:pt>
                <c:pt idx="1126">
                  <c:v>1240398.0970000001</c:v>
                </c:pt>
                <c:pt idx="1127">
                  <c:v>1243191.571</c:v>
                </c:pt>
                <c:pt idx="1128">
                  <c:v>1236383.1410000001</c:v>
                </c:pt>
                <c:pt idx="1129">
                  <c:v>1231205.1240000001</c:v>
                </c:pt>
                <c:pt idx="1130">
                  <c:v>1228868.3770000001</c:v>
                </c:pt>
                <c:pt idx="1131">
                  <c:v>1232283.2139999999</c:v>
                </c:pt>
                <c:pt idx="1132">
                  <c:v>1250424.8629999999</c:v>
                </c:pt>
                <c:pt idx="1133">
                  <c:v>1248406.764</c:v>
                </c:pt>
                <c:pt idx="1134">
                  <c:v>1243648.298</c:v>
                </c:pt>
                <c:pt idx="1135">
                  <c:v>1252166.801</c:v>
                </c:pt>
                <c:pt idx="1136">
                  <c:v>1296156.0519999999</c:v>
                </c:pt>
                <c:pt idx="1137">
                  <c:v>1314361.4310000001</c:v>
                </c:pt>
                <c:pt idx="1138">
                  <c:v>1318610.061</c:v>
                </c:pt>
                <c:pt idx="1139">
                  <c:v>1331658.665</c:v>
                </c:pt>
                <c:pt idx="1140">
                  <c:v>1321801.844</c:v>
                </c:pt>
                <c:pt idx="1141">
                  <c:v>1316220.206</c:v>
                </c:pt>
                <c:pt idx="1142">
                  <c:v>1289098.0160000001</c:v>
                </c:pt>
                <c:pt idx="1143">
                  <c:v>1291854.314</c:v>
                </c:pt>
                <c:pt idx="1144">
                  <c:v>1312980.6259999999</c:v>
                </c:pt>
                <c:pt idx="1145">
                  <c:v>1297897.99</c:v>
                </c:pt>
                <c:pt idx="1146">
                  <c:v>1290006.1610000001</c:v>
                </c:pt>
                <c:pt idx="1147">
                  <c:v>1266325.3600000001</c:v>
                </c:pt>
                <c:pt idx="1148">
                  <c:v>1271917.6189999999</c:v>
                </c:pt>
                <c:pt idx="1149">
                  <c:v>1279389.8970000001</c:v>
                </c:pt>
                <c:pt idx="1150">
                  <c:v>1296793.3470000001</c:v>
                </c:pt>
                <c:pt idx="1151">
                  <c:v>1303044.1429999999</c:v>
                </c:pt>
                <c:pt idx="1152">
                  <c:v>1290160.173</c:v>
                </c:pt>
                <c:pt idx="1153">
                  <c:v>1310973.149</c:v>
                </c:pt>
                <c:pt idx="1154">
                  <c:v>1313113.3959999999</c:v>
                </c:pt>
                <c:pt idx="1155">
                  <c:v>1310447.3810000001</c:v>
                </c:pt>
                <c:pt idx="1156">
                  <c:v>1285938.0970000001</c:v>
                </c:pt>
                <c:pt idx="1157">
                  <c:v>1281668.2239999999</c:v>
                </c:pt>
                <c:pt idx="1158">
                  <c:v>1288423.5460000001</c:v>
                </c:pt>
                <c:pt idx="1159">
                  <c:v>1312465.48</c:v>
                </c:pt>
                <c:pt idx="1160">
                  <c:v>1298960.148</c:v>
                </c:pt>
                <c:pt idx="1161">
                  <c:v>1284408.591</c:v>
                </c:pt>
                <c:pt idx="1162">
                  <c:v>1274859.7949999999</c:v>
                </c:pt>
                <c:pt idx="1163">
                  <c:v>1257891.83</c:v>
                </c:pt>
                <c:pt idx="1164">
                  <c:v>1256505.7139999999</c:v>
                </c:pt>
                <c:pt idx="1165">
                  <c:v>1259745.2949999999</c:v>
                </c:pt>
                <c:pt idx="1166">
                  <c:v>1278556.1029999999</c:v>
                </c:pt>
                <c:pt idx="1167">
                  <c:v>1260632.196</c:v>
                </c:pt>
                <c:pt idx="1168">
                  <c:v>1266601.5209999999</c:v>
                </c:pt>
                <c:pt idx="1169">
                  <c:v>1264206.3559999999</c:v>
                </c:pt>
                <c:pt idx="1170">
                  <c:v>1265969.537</c:v>
                </c:pt>
                <c:pt idx="1171">
                  <c:v>1249930.96</c:v>
                </c:pt>
                <c:pt idx="1172">
                  <c:v>1243016.3149999999</c:v>
                </c:pt>
                <c:pt idx="1173">
                  <c:v>1225703.148</c:v>
                </c:pt>
                <c:pt idx="1174">
                  <c:v>1229919.9129999999</c:v>
                </c:pt>
                <c:pt idx="1175">
                  <c:v>1242724.2209999999</c:v>
                </c:pt>
                <c:pt idx="1176">
                  <c:v>1215171.8570000001</c:v>
                </c:pt>
                <c:pt idx="1177">
                  <c:v>1223870.9269999999</c:v>
                </c:pt>
                <c:pt idx="1178">
                  <c:v>1248422.696</c:v>
                </c:pt>
                <c:pt idx="1179">
                  <c:v>1289937.1200000001</c:v>
                </c:pt>
                <c:pt idx="1180">
                  <c:v>1281046.862</c:v>
                </c:pt>
                <c:pt idx="1181">
                  <c:v>1287786.2509999999</c:v>
                </c:pt>
                <c:pt idx="1182">
                  <c:v>1279894.422</c:v>
                </c:pt>
                <c:pt idx="1183">
                  <c:v>1273505.544</c:v>
                </c:pt>
                <c:pt idx="1184">
                  <c:v>1268550.58</c:v>
                </c:pt>
                <c:pt idx="1185">
                  <c:v>1267907.9750000001</c:v>
                </c:pt>
                <c:pt idx="1186">
                  <c:v>1282278.9650000001</c:v>
                </c:pt>
                <c:pt idx="1187">
                  <c:v>1295582.487</c:v>
                </c:pt>
                <c:pt idx="1188">
                  <c:v>1295269.1510000001</c:v>
                </c:pt>
                <c:pt idx="1189">
                  <c:v>1284567.9140000001</c:v>
                </c:pt>
                <c:pt idx="1190">
                  <c:v>1297308.493</c:v>
                </c:pt>
                <c:pt idx="1191">
                  <c:v>1314494.2009999999</c:v>
                </c:pt>
                <c:pt idx="1192">
                  <c:v>1310808.514</c:v>
                </c:pt>
                <c:pt idx="1193">
                  <c:v>1302359.0519999999</c:v>
                </c:pt>
                <c:pt idx="1194">
                  <c:v>1301604.92</c:v>
                </c:pt>
                <c:pt idx="1195">
                  <c:v>1302906.0630000001</c:v>
                </c:pt>
                <c:pt idx="1196">
                  <c:v>1281365.51</c:v>
                </c:pt>
                <c:pt idx="1197">
                  <c:v>1279910.3540000001</c:v>
                </c:pt>
                <c:pt idx="1198">
                  <c:v>1278115.308</c:v>
                </c:pt>
                <c:pt idx="1199">
                  <c:v>1257551.939</c:v>
                </c:pt>
                <c:pt idx="1200">
                  <c:v>1251423.291</c:v>
                </c:pt>
                <c:pt idx="1201">
                  <c:v>1251874.7080000001</c:v>
                </c:pt>
                <c:pt idx="1202">
                  <c:v>1238693.334</c:v>
                </c:pt>
                <c:pt idx="1203">
                  <c:v>1209871.6910000001</c:v>
                </c:pt>
                <c:pt idx="1204">
                  <c:v>1213302.46</c:v>
                </c:pt>
                <c:pt idx="1205">
                  <c:v>1215240.8970000001</c:v>
                </c:pt>
                <c:pt idx="1206">
                  <c:v>1224194.885</c:v>
                </c:pt>
                <c:pt idx="1207">
                  <c:v>1203068.5730000001</c:v>
                </c:pt>
                <c:pt idx="1208">
                  <c:v>1223329.226</c:v>
                </c:pt>
                <c:pt idx="1209">
                  <c:v>1221194.29</c:v>
                </c:pt>
                <c:pt idx="1210">
                  <c:v>1237429.3670000001</c:v>
                </c:pt>
                <c:pt idx="1211">
                  <c:v>1233154.183</c:v>
                </c:pt>
                <c:pt idx="1212">
                  <c:v>1216584.5260000001</c:v>
                </c:pt>
                <c:pt idx="1213">
                  <c:v>1188894.0819999999</c:v>
                </c:pt>
                <c:pt idx="1214">
                  <c:v>1188554.1910000001</c:v>
                </c:pt>
                <c:pt idx="1215">
                  <c:v>1190630.709</c:v>
                </c:pt>
                <c:pt idx="1216">
                  <c:v>1180173.7690000001</c:v>
                </c:pt>
                <c:pt idx="1217">
                  <c:v>1170948.9310000001</c:v>
                </c:pt>
                <c:pt idx="1218">
                  <c:v>1165016.7819999999</c:v>
                </c:pt>
                <c:pt idx="1219">
                  <c:v>1175197.561</c:v>
                </c:pt>
                <c:pt idx="1220">
                  <c:v>1173121.0430000001</c:v>
                </c:pt>
                <c:pt idx="1221">
                  <c:v>1174661.172</c:v>
                </c:pt>
                <c:pt idx="1222">
                  <c:v>1156949.696</c:v>
                </c:pt>
                <c:pt idx="1223">
                  <c:v>1150311.2120000001</c:v>
                </c:pt>
                <c:pt idx="1224">
                  <c:v>1161686.9180000001</c:v>
                </c:pt>
                <c:pt idx="1225">
                  <c:v>1191634.4480000001</c:v>
                </c:pt>
                <c:pt idx="1226">
                  <c:v>1185309.3</c:v>
                </c:pt>
                <c:pt idx="1227">
                  <c:v>1192632.8759999999</c:v>
                </c:pt>
                <c:pt idx="1228">
                  <c:v>1176827.973</c:v>
                </c:pt>
                <c:pt idx="1229">
                  <c:v>1178920.423</c:v>
                </c:pt>
                <c:pt idx="1230">
                  <c:v>1183126.567</c:v>
                </c:pt>
                <c:pt idx="1231">
                  <c:v>1169674.3430000001</c:v>
                </c:pt>
                <c:pt idx="1232">
                  <c:v>1175001.0619999999</c:v>
                </c:pt>
                <c:pt idx="1233">
                  <c:v>1204236.946</c:v>
                </c:pt>
                <c:pt idx="1234">
                  <c:v>1213812.2960000001</c:v>
                </c:pt>
                <c:pt idx="1235">
                  <c:v>1216834.1329999999</c:v>
                </c:pt>
                <c:pt idx="1236">
                  <c:v>1210620.5120000001</c:v>
                </c:pt>
                <c:pt idx="1237">
                  <c:v>1219128.3940000001</c:v>
                </c:pt>
                <c:pt idx="1238">
                  <c:v>1227668.1399999999</c:v>
                </c:pt>
                <c:pt idx="1239">
                  <c:v>1212155.33</c:v>
                </c:pt>
                <c:pt idx="1240">
                  <c:v>1226080.2139999999</c:v>
                </c:pt>
                <c:pt idx="1241">
                  <c:v>1214810.7239999999</c:v>
                </c:pt>
                <c:pt idx="1242">
                  <c:v>1202516.2509999999</c:v>
                </c:pt>
                <c:pt idx="1243">
                  <c:v>1176079.152</c:v>
                </c:pt>
                <c:pt idx="1244">
                  <c:v>1146020.0959999999</c:v>
                </c:pt>
                <c:pt idx="1245">
                  <c:v>1148941.0290000001</c:v>
                </c:pt>
                <c:pt idx="1246">
                  <c:v>1144001.997</c:v>
                </c:pt>
                <c:pt idx="1247">
                  <c:v>1157204.6140000001</c:v>
                </c:pt>
                <c:pt idx="1248">
                  <c:v>1163258.912</c:v>
                </c:pt>
                <c:pt idx="1249">
                  <c:v>1160019.331</c:v>
                </c:pt>
                <c:pt idx="1250">
                  <c:v>1149243.7439999999</c:v>
                </c:pt>
                <c:pt idx="1251">
                  <c:v>1154368.6540000001</c:v>
                </c:pt>
                <c:pt idx="1252">
                  <c:v>1151569.8689999999</c:v>
                </c:pt>
                <c:pt idx="1253">
                  <c:v>1114091.6429999999</c:v>
                </c:pt>
                <c:pt idx="1254">
                  <c:v>1119864.469</c:v>
                </c:pt>
                <c:pt idx="1255">
                  <c:v>1122769.469</c:v>
                </c:pt>
                <c:pt idx="1256">
                  <c:v>1136683.7320000001</c:v>
                </c:pt>
                <c:pt idx="1257">
                  <c:v>1127395.165</c:v>
                </c:pt>
                <c:pt idx="1258">
                  <c:v>1138122.9550000001</c:v>
                </c:pt>
                <c:pt idx="1259">
                  <c:v>1135515.3589999999</c:v>
                </c:pt>
                <c:pt idx="1260">
                  <c:v>1126348.94</c:v>
                </c:pt>
                <c:pt idx="1261">
                  <c:v>1108345.371</c:v>
                </c:pt>
                <c:pt idx="1262">
                  <c:v>1146492.7560000001</c:v>
                </c:pt>
                <c:pt idx="1263">
                  <c:v>1155919.4029999999</c:v>
                </c:pt>
                <c:pt idx="1264">
                  <c:v>1154798.827</c:v>
                </c:pt>
                <c:pt idx="1265">
                  <c:v>1152998.47</c:v>
                </c:pt>
                <c:pt idx="1266">
                  <c:v>1144851.723</c:v>
                </c:pt>
                <c:pt idx="1267">
                  <c:v>1142865.4879999999</c:v>
                </c:pt>
                <c:pt idx="1268">
                  <c:v>1139854.2720000001</c:v>
                </c:pt>
                <c:pt idx="1269">
                  <c:v>1148781.7050000001</c:v>
                </c:pt>
                <c:pt idx="1270">
                  <c:v>1158139.3130000001</c:v>
                </c:pt>
                <c:pt idx="1271">
                  <c:v>1149790.7549999999</c:v>
                </c:pt>
                <c:pt idx="1272">
                  <c:v>1160656.6259999999</c:v>
                </c:pt>
                <c:pt idx="1273">
                  <c:v>1188193.058</c:v>
                </c:pt>
                <c:pt idx="1274">
                  <c:v>1188883.46</c:v>
                </c:pt>
                <c:pt idx="1275">
                  <c:v>1207545.567</c:v>
                </c:pt>
                <c:pt idx="1276">
                  <c:v>1205904.5330000001</c:v>
                </c:pt>
                <c:pt idx="1277">
                  <c:v>1204810.5109999999</c:v>
                </c:pt>
                <c:pt idx="1278">
                  <c:v>1184018.7790000001</c:v>
                </c:pt>
                <c:pt idx="1279">
                  <c:v>1185649.1910000001</c:v>
                </c:pt>
                <c:pt idx="1280">
                  <c:v>1181543.952</c:v>
                </c:pt>
                <c:pt idx="1281">
                  <c:v>1181374.007</c:v>
                </c:pt>
                <c:pt idx="1282">
                  <c:v>1161601.946</c:v>
                </c:pt>
                <c:pt idx="1283">
                  <c:v>1166673.7479999999</c:v>
                </c:pt>
                <c:pt idx="1284">
                  <c:v>1165542.55</c:v>
                </c:pt>
                <c:pt idx="1285">
                  <c:v>1163312.0190000001</c:v>
                </c:pt>
                <c:pt idx="1286">
                  <c:v>1151288.3970000001</c:v>
                </c:pt>
                <c:pt idx="1287">
                  <c:v>1133837.1499999999</c:v>
                </c:pt>
                <c:pt idx="1288">
                  <c:v>1146317.5</c:v>
                </c:pt>
                <c:pt idx="1289">
                  <c:v>1146418.405</c:v>
                </c:pt>
                <c:pt idx="1290">
                  <c:v>1145255.3430000001</c:v>
                </c:pt>
                <c:pt idx="1291">
                  <c:v>1145712.07</c:v>
                </c:pt>
                <c:pt idx="1292">
                  <c:v>1135085.1850000001</c:v>
                </c:pt>
                <c:pt idx="1293">
                  <c:v>1134118.622</c:v>
                </c:pt>
                <c:pt idx="1294">
                  <c:v>1133274.2069999999</c:v>
                </c:pt>
                <c:pt idx="1295">
                  <c:v>1157778.179</c:v>
                </c:pt>
                <c:pt idx="1296">
                  <c:v>1155016.57</c:v>
                </c:pt>
                <c:pt idx="1297">
                  <c:v>1153699.4939999999</c:v>
                </c:pt>
                <c:pt idx="1298">
                  <c:v>1138675.277</c:v>
                </c:pt>
                <c:pt idx="1299">
                  <c:v>1139668.3940000001</c:v>
                </c:pt>
                <c:pt idx="1300">
                  <c:v>1123305.8589999999</c:v>
                </c:pt>
                <c:pt idx="1301">
                  <c:v>1123640.4380000001</c:v>
                </c:pt>
                <c:pt idx="1302">
                  <c:v>1134336.3640000001</c:v>
                </c:pt>
                <c:pt idx="1303">
                  <c:v>1131659.727</c:v>
                </c:pt>
                <c:pt idx="1304">
                  <c:v>1140974.848</c:v>
                </c:pt>
                <c:pt idx="1305">
                  <c:v>1144995.1140000001</c:v>
                </c:pt>
                <c:pt idx="1306">
                  <c:v>1140374.7290000001</c:v>
                </c:pt>
                <c:pt idx="1307">
                  <c:v>1152095.6370000001</c:v>
                </c:pt>
                <c:pt idx="1308">
                  <c:v>1144559.6299999999</c:v>
                </c:pt>
                <c:pt idx="1309">
                  <c:v>1145250.0319999999</c:v>
                </c:pt>
                <c:pt idx="1310">
                  <c:v>1141776.777</c:v>
                </c:pt>
                <c:pt idx="1311">
                  <c:v>1130278.923</c:v>
                </c:pt>
                <c:pt idx="1312">
                  <c:v>1142137.9110000001</c:v>
                </c:pt>
                <c:pt idx="1313">
                  <c:v>1133704.3799999999</c:v>
                </c:pt>
                <c:pt idx="1314">
                  <c:v>1133470.706</c:v>
                </c:pt>
                <c:pt idx="1315">
                  <c:v>1147804.5209999999</c:v>
                </c:pt>
                <c:pt idx="1316">
                  <c:v>1147538.9809999999</c:v>
                </c:pt>
                <c:pt idx="1317">
                  <c:v>1143630.2420000001</c:v>
                </c:pt>
                <c:pt idx="1318">
                  <c:v>1155754.7690000001</c:v>
                </c:pt>
                <c:pt idx="1319">
                  <c:v>1164050.219</c:v>
                </c:pt>
                <c:pt idx="1320">
                  <c:v>1152265.5819999999</c:v>
                </c:pt>
                <c:pt idx="1321">
                  <c:v>1147257.5090000001</c:v>
                </c:pt>
                <c:pt idx="1322">
                  <c:v>1129556.655</c:v>
                </c:pt>
                <c:pt idx="1323">
                  <c:v>1134771.8489999999</c:v>
                </c:pt>
                <c:pt idx="1324">
                  <c:v>1133380.422</c:v>
                </c:pt>
                <c:pt idx="1325">
                  <c:v>1139068.2749999999</c:v>
                </c:pt>
                <c:pt idx="1326">
                  <c:v>1132987.4240000001</c:v>
                </c:pt>
                <c:pt idx="1327">
                  <c:v>1141330.6710000001</c:v>
                </c:pt>
                <c:pt idx="1328">
                  <c:v>1141957.344</c:v>
                </c:pt>
                <c:pt idx="1329">
                  <c:v>1149849.1740000001</c:v>
                </c:pt>
                <c:pt idx="1330">
                  <c:v>1149551.77</c:v>
                </c:pt>
                <c:pt idx="1331">
                  <c:v>1152902.8759999999</c:v>
                </c:pt>
                <c:pt idx="1332">
                  <c:v>1157852.53</c:v>
                </c:pt>
                <c:pt idx="1333">
                  <c:v>1157061.223</c:v>
                </c:pt>
                <c:pt idx="1334">
                  <c:v>1155781.3230000001</c:v>
                </c:pt>
                <c:pt idx="1335">
                  <c:v>1158001.2320000001</c:v>
                </c:pt>
                <c:pt idx="1336">
                  <c:v>1141134.172</c:v>
                </c:pt>
                <c:pt idx="1337">
                  <c:v>1138022.05</c:v>
                </c:pt>
                <c:pt idx="1338">
                  <c:v>1140762.4169999999</c:v>
                </c:pt>
                <c:pt idx="1339">
                  <c:v>1153375.5360000001</c:v>
                </c:pt>
                <c:pt idx="1340">
                  <c:v>1155085.6100000001</c:v>
                </c:pt>
                <c:pt idx="1341">
                  <c:v>1152902.8759999999</c:v>
                </c:pt>
                <c:pt idx="1342">
                  <c:v>1145573.99</c:v>
                </c:pt>
                <c:pt idx="1343">
                  <c:v>1149328.716</c:v>
                </c:pt>
                <c:pt idx="1344">
                  <c:v>1150475.8470000001</c:v>
                </c:pt>
                <c:pt idx="1345">
                  <c:v>1164496.325</c:v>
                </c:pt>
                <c:pt idx="1346">
                  <c:v>1167220.7590000001</c:v>
                </c:pt>
                <c:pt idx="1347">
                  <c:v>1188033.7339999999</c:v>
                </c:pt>
                <c:pt idx="1348">
                  <c:v>1200476.909</c:v>
                </c:pt>
                <c:pt idx="1349">
                  <c:v>1234173.8540000001</c:v>
                </c:pt>
                <c:pt idx="1350">
                  <c:v>1238141.0120000001</c:v>
                </c:pt>
                <c:pt idx="1351">
                  <c:v>1233170.115</c:v>
                </c:pt>
                <c:pt idx="1352">
                  <c:v>1248167.7779999999</c:v>
                </c:pt>
                <c:pt idx="1353">
                  <c:v>1237094.787</c:v>
                </c:pt>
                <c:pt idx="1354">
                  <c:v>1261641.246</c:v>
                </c:pt>
                <c:pt idx="1355">
                  <c:v>1258311.382</c:v>
                </c:pt>
                <c:pt idx="1356">
                  <c:v>1255055.8689999999</c:v>
                </c:pt>
                <c:pt idx="1357">
                  <c:v>1236064.4939999999</c:v>
                </c:pt>
                <c:pt idx="1358">
                  <c:v>1238013.5530000001</c:v>
                </c:pt>
                <c:pt idx="1359">
                  <c:v>1256187.067</c:v>
                </c:pt>
                <c:pt idx="1360">
                  <c:v>1251779.1140000001</c:v>
                </c:pt>
                <c:pt idx="1361">
                  <c:v>1252761.6089999999</c:v>
                </c:pt>
                <c:pt idx="1362">
                  <c:v>1240573.3529999999</c:v>
                </c:pt>
                <c:pt idx="1363">
                  <c:v>1253685.686</c:v>
                </c:pt>
                <c:pt idx="1364">
                  <c:v>1261078.3019999999</c:v>
                </c:pt>
                <c:pt idx="1365">
                  <c:v>1261189.8289999999</c:v>
                </c:pt>
                <c:pt idx="1366">
                  <c:v>1256606.6189999999</c:v>
                </c:pt>
                <c:pt idx="1367">
                  <c:v>1250286.7830000001</c:v>
                </c:pt>
                <c:pt idx="1368">
                  <c:v>1256192.378</c:v>
                </c:pt>
                <c:pt idx="1369">
                  <c:v>1244243.1070000001</c:v>
                </c:pt>
                <c:pt idx="1370">
                  <c:v>1234274.7590000001</c:v>
                </c:pt>
                <c:pt idx="1371">
                  <c:v>1236133.534</c:v>
                </c:pt>
                <c:pt idx="1372">
                  <c:v>1227471.6399999999</c:v>
                </c:pt>
                <c:pt idx="1373">
                  <c:v>1241816.077</c:v>
                </c:pt>
                <c:pt idx="1374">
                  <c:v>1250860.348</c:v>
                </c:pt>
                <c:pt idx="1375">
                  <c:v>1267398.139</c:v>
                </c:pt>
                <c:pt idx="1376">
                  <c:v>1279283.6810000001</c:v>
                </c:pt>
                <c:pt idx="1377">
                  <c:v>1288513.8289999999</c:v>
                </c:pt>
                <c:pt idx="1378">
                  <c:v>1300749.8829999999</c:v>
                </c:pt>
                <c:pt idx="1379">
                  <c:v>1298604.325</c:v>
                </c:pt>
                <c:pt idx="1380">
                  <c:v>1291811.828</c:v>
                </c:pt>
                <c:pt idx="1381">
                  <c:v>1287042.7409999999</c:v>
                </c:pt>
                <c:pt idx="1382">
                  <c:v>1294961.125</c:v>
                </c:pt>
                <c:pt idx="1383">
                  <c:v>1294339.763</c:v>
                </c:pt>
                <c:pt idx="1384">
                  <c:v>1268624.9310000001</c:v>
                </c:pt>
                <c:pt idx="1385">
                  <c:v>1275295.28</c:v>
                </c:pt>
                <c:pt idx="1386">
                  <c:v>1279188.0870000001</c:v>
                </c:pt>
                <c:pt idx="1387">
                  <c:v>1287977.44</c:v>
                </c:pt>
                <c:pt idx="1388">
                  <c:v>1263393.8049999999</c:v>
                </c:pt>
                <c:pt idx="1389">
                  <c:v>1274302.1629999999</c:v>
                </c:pt>
                <c:pt idx="1390">
                  <c:v>1296819.9010000001</c:v>
                </c:pt>
                <c:pt idx="1391">
                  <c:v>1294222.926</c:v>
                </c:pt>
                <c:pt idx="1392">
                  <c:v>1294345.074</c:v>
                </c:pt>
                <c:pt idx="1393">
                  <c:v>1299974.5079999999</c:v>
                </c:pt>
                <c:pt idx="1394">
                  <c:v>1301668.649</c:v>
                </c:pt>
                <c:pt idx="1395">
                  <c:v>1316214.8959999999</c:v>
                </c:pt>
                <c:pt idx="1396">
                  <c:v>1318116.1580000001</c:v>
                </c:pt>
                <c:pt idx="1397">
                  <c:v>1310059.693</c:v>
                </c:pt>
                <c:pt idx="1398">
                  <c:v>1303771.7209999999</c:v>
                </c:pt>
                <c:pt idx="1399">
                  <c:v>1299315.9709999999</c:v>
                </c:pt>
                <c:pt idx="1400">
                  <c:v>1308508.943</c:v>
                </c:pt>
                <c:pt idx="1401">
                  <c:v>1298168.841</c:v>
                </c:pt>
                <c:pt idx="1402">
                  <c:v>1296750.8600000001</c:v>
                </c:pt>
                <c:pt idx="1403">
                  <c:v>1303644.2620000001</c:v>
                </c:pt>
                <c:pt idx="1404">
                  <c:v>1292321.6640000001</c:v>
                </c:pt>
                <c:pt idx="1405">
                  <c:v>1284488.253</c:v>
                </c:pt>
                <c:pt idx="1406">
                  <c:v>1272432.7649999999</c:v>
                </c:pt>
                <c:pt idx="1407">
                  <c:v>1269655.2239999999</c:v>
                </c:pt>
                <c:pt idx="1408">
                  <c:v>1258035.2209999999</c:v>
                </c:pt>
                <c:pt idx="1409">
                  <c:v>1283431.406</c:v>
                </c:pt>
                <c:pt idx="1410">
                  <c:v>1301875.77</c:v>
                </c:pt>
                <c:pt idx="1411">
                  <c:v>1311196.202</c:v>
                </c:pt>
                <c:pt idx="1412">
                  <c:v>1332115.3929999999</c:v>
                </c:pt>
                <c:pt idx="1413">
                  <c:v>1334361.8559999999</c:v>
                </c:pt>
                <c:pt idx="1414">
                  <c:v>1334691.125</c:v>
                </c:pt>
                <c:pt idx="1415">
                  <c:v>1329529.0390000001</c:v>
                </c:pt>
                <c:pt idx="1416">
                  <c:v>1330920.466</c:v>
                </c:pt>
                <c:pt idx="1417">
                  <c:v>1328838.6370000001</c:v>
                </c:pt>
                <c:pt idx="1418">
                  <c:v>1362604.6229999999</c:v>
                </c:pt>
                <c:pt idx="1419">
                  <c:v>1358823.3419999999</c:v>
                </c:pt>
                <c:pt idx="1420">
                  <c:v>1377788.1629999999</c:v>
                </c:pt>
                <c:pt idx="1421">
                  <c:v>1370050.3459999999</c:v>
                </c:pt>
                <c:pt idx="1422">
                  <c:v>1370761.9920000001</c:v>
                </c:pt>
                <c:pt idx="1423">
                  <c:v>1363332.2</c:v>
                </c:pt>
                <c:pt idx="1424">
                  <c:v>1349694.0989999999</c:v>
                </c:pt>
                <c:pt idx="1425">
                  <c:v>1347463.568</c:v>
                </c:pt>
                <c:pt idx="1426">
                  <c:v>1347399.8389999999</c:v>
                </c:pt>
                <c:pt idx="1427">
                  <c:v>1372020.648</c:v>
                </c:pt>
                <c:pt idx="1428">
                  <c:v>1406965.629</c:v>
                </c:pt>
                <c:pt idx="1429">
                  <c:v>1426243.7860000001</c:v>
                </c:pt>
                <c:pt idx="1430">
                  <c:v>1446137.9950000001</c:v>
                </c:pt>
                <c:pt idx="1431">
                  <c:v>1462851.0430000001</c:v>
                </c:pt>
                <c:pt idx="1432">
                  <c:v>1491704.55</c:v>
                </c:pt>
                <c:pt idx="1433">
                  <c:v>1497541.105</c:v>
                </c:pt>
                <c:pt idx="1434">
                  <c:v>1552842.3330000001</c:v>
                </c:pt>
                <c:pt idx="1435">
                  <c:v>1576002.6769999999</c:v>
                </c:pt>
                <c:pt idx="1436">
                  <c:v>1648654.247</c:v>
                </c:pt>
                <c:pt idx="1437">
                  <c:v>1659562.6040000001</c:v>
                </c:pt>
                <c:pt idx="1438">
                  <c:v>1727535.37</c:v>
                </c:pt>
                <c:pt idx="1439">
                  <c:v>1650013.808</c:v>
                </c:pt>
                <c:pt idx="1440">
                  <c:v>1710896.673</c:v>
                </c:pt>
                <c:pt idx="1441">
                  <c:v>1690428.899</c:v>
                </c:pt>
                <c:pt idx="1442">
                  <c:v>1695856.524</c:v>
                </c:pt>
                <c:pt idx="1443">
                  <c:v>1708602.4129999999</c:v>
                </c:pt>
                <c:pt idx="1444">
                  <c:v>1754365.4669999999</c:v>
                </c:pt>
                <c:pt idx="1445">
                  <c:v>1784743.17</c:v>
                </c:pt>
                <c:pt idx="1446">
                  <c:v>1776952.2450000001</c:v>
                </c:pt>
                <c:pt idx="1447">
                  <c:v>1796729.6170000001</c:v>
                </c:pt>
                <c:pt idx="1448">
                  <c:v>1802736.118</c:v>
                </c:pt>
                <c:pt idx="1449">
                  <c:v>1765794.281</c:v>
                </c:pt>
                <c:pt idx="1450">
                  <c:v>1715591.409</c:v>
                </c:pt>
                <c:pt idx="1451">
                  <c:v>1771370.608</c:v>
                </c:pt>
                <c:pt idx="1452">
                  <c:v>1830012.321</c:v>
                </c:pt>
                <c:pt idx="1453">
                  <c:v>1835121.298</c:v>
                </c:pt>
                <c:pt idx="1454">
                  <c:v>1836231.253</c:v>
                </c:pt>
                <c:pt idx="1455">
                  <c:v>1876678.209</c:v>
                </c:pt>
                <c:pt idx="1456">
                  <c:v>1933944.4280000001</c:v>
                </c:pt>
                <c:pt idx="1457">
                  <c:v>1933689.51</c:v>
                </c:pt>
                <c:pt idx="1458">
                  <c:v>1935139.355</c:v>
                </c:pt>
                <c:pt idx="1459">
                  <c:v>1890247.27</c:v>
                </c:pt>
                <c:pt idx="1460">
                  <c:v>1883587.5430000001</c:v>
                </c:pt>
                <c:pt idx="1461">
                  <c:v>1865987.594</c:v>
                </c:pt>
                <c:pt idx="1462">
                  <c:v>1866231.89</c:v>
                </c:pt>
                <c:pt idx="1463">
                  <c:v>1860060.7549999999</c:v>
                </c:pt>
                <c:pt idx="1464">
                  <c:v>1914071.4620000001</c:v>
                </c:pt>
                <c:pt idx="1465">
                  <c:v>1930550.835</c:v>
                </c:pt>
                <c:pt idx="1466">
                  <c:v>1781854.102</c:v>
                </c:pt>
                <c:pt idx="1467">
                  <c:v>1803660.1950000001</c:v>
                </c:pt>
                <c:pt idx="1468">
                  <c:v>1884739.9839999999</c:v>
                </c:pt>
                <c:pt idx="1469">
                  <c:v>1894681.7779999999</c:v>
                </c:pt>
                <c:pt idx="1470">
                  <c:v>1896869.8219999999</c:v>
                </c:pt>
                <c:pt idx="1471">
                  <c:v>1916126.737</c:v>
                </c:pt>
                <c:pt idx="1472">
                  <c:v>1898569.274</c:v>
                </c:pt>
                <c:pt idx="1473">
                  <c:v>1872222.4580000001</c:v>
                </c:pt>
                <c:pt idx="1474">
                  <c:v>1849109.912</c:v>
                </c:pt>
                <c:pt idx="1475">
                  <c:v>1823931.47</c:v>
                </c:pt>
                <c:pt idx="1476">
                  <c:v>1781216.808</c:v>
                </c:pt>
                <c:pt idx="1477">
                  <c:v>1825556.571</c:v>
                </c:pt>
                <c:pt idx="1478">
                  <c:v>1806607.682</c:v>
                </c:pt>
                <c:pt idx="1479">
                  <c:v>1788115.52</c:v>
                </c:pt>
                <c:pt idx="1480">
                  <c:v>1759155.797</c:v>
                </c:pt>
                <c:pt idx="1481">
                  <c:v>1776946.9350000001</c:v>
                </c:pt>
                <c:pt idx="1482">
                  <c:v>1809353.3589999999</c:v>
                </c:pt>
                <c:pt idx="1483">
                  <c:v>1823788.078</c:v>
                </c:pt>
                <c:pt idx="1484">
                  <c:v>1828435.017</c:v>
                </c:pt>
                <c:pt idx="1485">
                  <c:v>1842752.9</c:v>
                </c:pt>
                <c:pt idx="1486">
                  <c:v>1858499.3840000001</c:v>
                </c:pt>
                <c:pt idx="1487">
                  <c:v>1870629.2220000001</c:v>
                </c:pt>
                <c:pt idx="1488">
                  <c:v>1847479.5</c:v>
                </c:pt>
                <c:pt idx="1489">
                  <c:v>1893986.064</c:v>
                </c:pt>
                <c:pt idx="1490">
                  <c:v>1897459.3189999999</c:v>
                </c:pt>
                <c:pt idx="1491">
                  <c:v>1912557.888</c:v>
                </c:pt>
                <c:pt idx="1492">
                  <c:v>1862971.067</c:v>
                </c:pt>
                <c:pt idx="1493">
                  <c:v>1875143.3910000001</c:v>
                </c:pt>
                <c:pt idx="1494">
                  <c:v>1856831.797</c:v>
                </c:pt>
                <c:pt idx="1495">
                  <c:v>1847367.9739999999</c:v>
                </c:pt>
                <c:pt idx="1496">
                  <c:v>1878823.767</c:v>
                </c:pt>
                <c:pt idx="1497">
                  <c:v>1869721.077</c:v>
                </c:pt>
                <c:pt idx="1498">
                  <c:v>1871866.6359999999</c:v>
                </c:pt>
                <c:pt idx="1499">
                  <c:v>1908080.8940000001</c:v>
                </c:pt>
                <c:pt idx="1500">
                  <c:v>1921262.2679999999</c:v>
                </c:pt>
                <c:pt idx="1501">
                  <c:v>1968002.507</c:v>
                </c:pt>
                <c:pt idx="1502">
                  <c:v>1995326.507</c:v>
                </c:pt>
                <c:pt idx="1503">
                  <c:v>2042560.649</c:v>
                </c:pt>
                <c:pt idx="1504">
                  <c:v>2039204.2320000001</c:v>
                </c:pt>
                <c:pt idx="1505">
                  <c:v>2067261.121</c:v>
                </c:pt>
                <c:pt idx="1506">
                  <c:v>2109476.5690000001</c:v>
                </c:pt>
                <c:pt idx="1507">
                  <c:v>2110002.3369999998</c:v>
                </c:pt>
                <c:pt idx="1508">
                  <c:v>2092667.9269999999</c:v>
                </c:pt>
                <c:pt idx="1509">
                  <c:v>2097760.9720000001</c:v>
                </c:pt>
                <c:pt idx="1510">
                  <c:v>2109285.38</c:v>
                </c:pt>
                <c:pt idx="1511">
                  <c:v>2171145.4309999999</c:v>
                </c:pt>
                <c:pt idx="1512">
                  <c:v>2151506.139</c:v>
                </c:pt>
                <c:pt idx="1513">
                  <c:v>2190115.5630000001</c:v>
                </c:pt>
                <c:pt idx="1514">
                  <c:v>2190582.912</c:v>
                </c:pt>
                <c:pt idx="1515">
                  <c:v>2214885.0750000002</c:v>
                </c:pt>
                <c:pt idx="1516">
                  <c:v>2262416.6209999998</c:v>
                </c:pt>
                <c:pt idx="1517">
                  <c:v>2281407.9959999998</c:v>
                </c:pt>
                <c:pt idx="1518">
                  <c:v>2263531.8859999999</c:v>
                </c:pt>
                <c:pt idx="1519">
                  <c:v>2307229.0440000002</c:v>
                </c:pt>
                <c:pt idx="1520">
                  <c:v>2347936.2280000001</c:v>
                </c:pt>
                <c:pt idx="1521">
                  <c:v>2357022.9849999999</c:v>
                </c:pt>
                <c:pt idx="1522">
                  <c:v>2326395.6749999998</c:v>
                </c:pt>
                <c:pt idx="1523">
                  <c:v>2397050.389</c:v>
                </c:pt>
                <c:pt idx="1524">
                  <c:v>2440912.1809999999</c:v>
                </c:pt>
                <c:pt idx="1525">
                  <c:v>2401495.5180000002</c:v>
                </c:pt>
                <c:pt idx="1526">
                  <c:v>2453137.6129999999</c:v>
                </c:pt>
                <c:pt idx="1527">
                  <c:v>2517212.2620000001</c:v>
                </c:pt>
                <c:pt idx="1528">
                  <c:v>2517785.827</c:v>
                </c:pt>
                <c:pt idx="1529">
                  <c:v>2497472.0649999999</c:v>
                </c:pt>
                <c:pt idx="1530">
                  <c:v>2553208.7779999999</c:v>
                </c:pt>
                <c:pt idx="1531">
                  <c:v>2518300.9730000002</c:v>
                </c:pt>
                <c:pt idx="1532">
                  <c:v>2535545.0989999999</c:v>
                </c:pt>
                <c:pt idx="1533">
                  <c:v>2522565.5350000001</c:v>
                </c:pt>
                <c:pt idx="1534">
                  <c:v>2542666.8650000002</c:v>
                </c:pt>
                <c:pt idx="1535">
                  <c:v>2441283.9360000002</c:v>
                </c:pt>
                <c:pt idx="1536">
                  <c:v>2418176.7009999999</c:v>
                </c:pt>
                <c:pt idx="1537">
                  <c:v>2373969.7069999999</c:v>
                </c:pt>
                <c:pt idx="1538">
                  <c:v>2420869.27</c:v>
                </c:pt>
                <c:pt idx="1539">
                  <c:v>2491040.702</c:v>
                </c:pt>
                <c:pt idx="1540">
                  <c:v>2521253.7710000002</c:v>
                </c:pt>
                <c:pt idx="1541">
                  <c:v>2505863.1090000002</c:v>
                </c:pt>
                <c:pt idx="1542">
                  <c:v>2496484.2590000001</c:v>
                </c:pt>
                <c:pt idx="1543">
                  <c:v>2452240.09</c:v>
                </c:pt>
                <c:pt idx="1544">
                  <c:v>2429759.5279999999</c:v>
                </c:pt>
                <c:pt idx="1545">
                  <c:v>2512650.2949999999</c:v>
                </c:pt>
                <c:pt idx="1546">
                  <c:v>2525236.861</c:v>
                </c:pt>
                <c:pt idx="1547">
                  <c:v>2570941.4959999998</c:v>
                </c:pt>
                <c:pt idx="1548">
                  <c:v>2629551.3450000002</c:v>
                </c:pt>
                <c:pt idx="1549">
                  <c:v>2708235.969</c:v>
                </c:pt>
                <c:pt idx="1550">
                  <c:v>2761035.8160000001</c:v>
                </c:pt>
                <c:pt idx="1551">
                  <c:v>2751747.2489999998</c:v>
                </c:pt>
                <c:pt idx="1552">
                  <c:v>2567239.878</c:v>
                </c:pt>
                <c:pt idx="1553">
                  <c:v>2570861.835</c:v>
                </c:pt>
                <c:pt idx="1554">
                  <c:v>2695851.213</c:v>
                </c:pt>
                <c:pt idx="1555">
                  <c:v>2741359.3489999999</c:v>
                </c:pt>
                <c:pt idx="1556">
                  <c:v>2731651.23</c:v>
                </c:pt>
                <c:pt idx="1557">
                  <c:v>2751741.9380000001</c:v>
                </c:pt>
                <c:pt idx="1558">
                  <c:v>2777833.8360000001</c:v>
                </c:pt>
                <c:pt idx="1559">
                  <c:v>2843262.7349999999</c:v>
                </c:pt>
                <c:pt idx="1560">
                  <c:v>2823989.8879999998</c:v>
                </c:pt>
                <c:pt idx="1561">
                  <c:v>2819555.3810000001</c:v>
                </c:pt>
                <c:pt idx="1562">
                  <c:v>2818217.0619999999</c:v>
                </c:pt>
                <c:pt idx="1563">
                  <c:v>2833368.7390000001</c:v>
                </c:pt>
                <c:pt idx="1564">
                  <c:v>2772852.318</c:v>
                </c:pt>
                <c:pt idx="1565">
                  <c:v>2689818.159</c:v>
                </c:pt>
                <c:pt idx="1566">
                  <c:v>2729123.2949999999</c:v>
                </c:pt>
                <c:pt idx="1567">
                  <c:v>2618510.2179999999</c:v>
                </c:pt>
                <c:pt idx="1568">
                  <c:v>2462638.6120000002</c:v>
                </c:pt>
                <c:pt idx="1569">
                  <c:v>2541790.585</c:v>
                </c:pt>
                <c:pt idx="1570">
                  <c:v>2591733.2289999998</c:v>
                </c:pt>
                <c:pt idx="1571">
                  <c:v>2499532.6510000001</c:v>
                </c:pt>
                <c:pt idx="1572">
                  <c:v>2302858.2659999998</c:v>
                </c:pt>
                <c:pt idx="1573">
                  <c:v>2226043.0389999999</c:v>
                </c:pt>
                <c:pt idx="1574">
                  <c:v>2375515.1460000002</c:v>
                </c:pt>
                <c:pt idx="1575">
                  <c:v>2258688.4479999999</c:v>
                </c:pt>
                <c:pt idx="1576">
                  <c:v>2181671.4109999998</c:v>
                </c:pt>
                <c:pt idx="1577">
                  <c:v>2063729.4469999999</c:v>
                </c:pt>
                <c:pt idx="1578">
                  <c:v>2123539.534</c:v>
                </c:pt>
                <c:pt idx="1579">
                  <c:v>2086077.24</c:v>
                </c:pt>
                <c:pt idx="1580">
                  <c:v>1945362.621</c:v>
                </c:pt>
                <c:pt idx="1581">
                  <c:v>2069948.379</c:v>
                </c:pt>
                <c:pt idx="1582">
                  <c:v>2180906.6579999998</c:v>
                </c:pt>
                <c:pt idx="1583">
                  <c:v>2236802.6940000001</c:v>
                </c:pt>
                <c:pt idx="1584">
                  <c:v>2183875.3879999998</c:v>
                </c:pt>
                <c:pt idx="1585">
                  <c:v>2106661.852</c:v>
                </c:pt>
                <c:pt idx="1586">
                  <c:v>2122912.861</c:v>
                </c:pt>
                <c:pt idx="1587">
                  <c:v>2204773.3360000001</c:v>
                </c:pt>
                <c:pt idx="1588">
                  <c:v>2209611.463</c:v>
                </c:pt>
                <c:pt idx="1589">
                  <c:v>2212479.2880000002</c:v>
                </c:pt>
                <c:pt idx="1590">
                  <c:v>2207779.2409999999</c:v>
                </c:pt>
                <c:pt idx="1591">
                  <c:v>2257514.764</c:v>
                </c:pt>
                <c:pt idx="1592">
                  <c:v>2217933.466</c:v>
                </c:pt>
                <c:pt idx="1593">
                  <c:v>2028046.2679999999</c:v>
                </c:pt>
                <c:pt idx="1594">
                  <c:v>2023988.8259999999</c:v>
                </c:pt>
                <c:pt idx="1595">
                  <c:v>2087341.2069999999</c:v>
                </c:pt>
                <c:pt idx="1596">
                  <c:v>2026283.0859999999</c:v>
                </c:pt>
                <c:pt idx="1597">
                  <c:v>2026968.1780000001</c:v>
                </c:pt>
                <c:pt idx="1598">
                  <c:v>2033627.905</c:v>
                </c:pt>
                <c:pt idx="1599">
                  <c:v>2096783.787</c:v>
                </c:pt>
                <c:pt idx="1600">
                  <c:v>2053628.33</c:v>
                </c:pt>
                <c:pt idx="1601">
                  <c:v>2035014.02</c:v>
                </c:pt>
                <c:pt idx="1602">
                  <c:v>2074892.7220000001</c:v>
                </c:pt>
                <c:pt idx="1603">
                  <c:v>2169116.71</c:v>
                </c:pt>
                <c:pt idx="1604">
                  <c:v>2159721.9270000001</c:v>
                </c:pt>
                <c:pt idx="1605">
                  <c:v>2132881.2080000001</c:v>
                </c:pt>
                <c:pt idx="1606">
                  <c:v>2164390.1090000002</c:v>
                </c:pt>
                <c:pt idx="1607">
                  <c:v>2163370.4380000001</c:v>
                </c:pt>
                <c:pt idx="1608">
                  <c:v>2165670.0090000001</c:v>
                </c:pt>
                <c:pt idx="1609">
                  <c:v>2031593.8729999999</c:v>
                </c:pt>
                <c:pt idx="1610">
                  <c:v>2063846.2849999999</c:v>
                </c:pt>
                <c:pt idx="1611">
                  <c:v>1997626.078</c:v>
                </c:pt>
                <c:pt idx="1612">
                  <c:v>1906328.334</c:v>
                </c:pt>
                <c:pt idx="1613">
                  <c:v>1739564.3030000001</c:v>
                </c:pt>
                <c:pt idx="1614">
                  <c:v>1616035.3910000001</c:v>
                </c:pt>
                <c:pt idx="1615">
                  <c:v>1606879.594</c:v>
                </c:pt>
                <c:pt idx="1616">
                  <c:v>1702447.2109999999</c:v>
                </c:pt>
                <c:pt idx="1617">
                  <c:v>1775019.1189999999</c:v>
                </c:pt>
                <c:pt idx="1618">
                  <c:v>1787897.7779999999</c:v>
                </c:pt>
                <c:pt idx="1619">
                  <c:v>1785529.1669999999</c:v>
                </c:pt>
                <c:pt idx="1620">
                  <c:v>1787520.7120000001</c:v>
                </c:pt>
                <c:pt idx="1621">
                  <c:v>1726266.0919999999</c:v>
                </c:pt>
                <c:pt idx="1622">
                  <c:v>1770627.098</c:v>
                </c:pt>
                <c:pt idx="1623">
                  <c:v>1805301.2279999999</c:v>
                </c:pt>
                <c:pt idx="1624">
                  <c:v>1783128.6910000001</c:v>
                </c:pt>
                <c:pt idx="1625">
                  <c:v>1777621.405</c:v>
                </c:pt>
                <c:pt idx="1626">
                  <c:v>1742538.344</c:v>
                </c:pt>
                <c:pt idx="1627">
                  <c:v>1674082.2960000001</c:v>
                </c:pt>
                <c:pt idx="1628">
                  <c:v>1757472.2779999999</c:v>
                </c:pt>
                <c:pt idx="1629">
                  <c:v>1719101.84</c:v>
                </c:pt>
                <c:pt idx="1630">
                  <c:v>1726680.3330000001</c:v>
                </c:pt>
                <c:pt idx="1631">
                  <c:v>1756941.199</c:v>
                </c:pt>
                <c:pt idx="1632">
                  <c:v>1773287.8019999999</c:v>
                </c:pt>
                <c:pt idx="1633">
                  <c:v>1732925.8189999999</c:v>
                </c:pt>
                <c:pt idx="1634">
                  <c:v>1744593.6189999999</c:v>
                </c:pt>
                <c:pt idx="1635">
                  <c:v>1716419.892</c:v>
                </c:pt>
                <c:pt idx="1636">
                  <c:v>1722155.5419999999</c:v>
                </c:pt>
                <c:pt idx="1637">
                  <c:v>1688219.612</c:v>
                </c:pt>
                <c:pt idx="1638">
                  <c:v>1701018.6089999999</c:v>
                </c:pt>
                <c:pt idx="1639">
                  <c:v>1750690.402</c:v>
                </c:pt>
                <c:pt idx="1640">
                  <c:v>1773866.6780000001</c:v>
                </c:pt>
                <c:pt idx="1641">
                  <c:v>1830994.817</c:v>
                </c:pt>
                <c:pt idx="1642">
                  <c:v>1829587.4580000001</c:v>
                </c:pt>
                <c:pt idx="1643">
                  <c:v>1808912.5630000001</c:v>
                </c:pt>
                <c:pt idx="1644">
                  <c:v>1851775.9269999999</c:v>
                </c:pt>
                <c:pt idx="1645">
                  <c:v>1876869.3970000001</c:v>
                </c:pt>
                <c:pt idx="1646">
                  <c:v>1876927.8160000001</c:v>
                </c:pt>
                <c:pt idx="1647">
                  <c:v>1900040.362</c:v>
                </c:pt>
                <c:pt idx="1648">
                  <c:v>1844569.189</c:v>
                </c:pt>
                <c:pt idx="1649">
                  <c:v>1871802.906</c:v>
                </c:pt>
                <c:pt idx="1650">
                  <c:v>1896609.5930000001</c:v>
                </c:pt>
                <c:pt idx="1651">
                  <c:v>1906179.632</c:v>
                </c:pt>
                <c:pt idx="1652">
                  <c:v>1908102.1370000001</c:v>
                </c:pt>
                <c:pt idx="1653">
                  <c:v>1872010.027</c:v>
                </c:pt>
                <c:pt idx="1654">
                  <c:v>1876465.777</c:v>
                </c:pt>
                <c:pt idx="1655">
                  <c:v>1876874.7080000001</c:v>
                </c:pt>
                <c:pt idx="1656">
                  <c:v>1846008.412</c:v>
                </c:pt>
                <c:pt idx="1657">
                  <c:v>1840448.0179999999</c:v>
                </c:pt>
                <c:pt idx="1658">
                  <c:v>1927040.4040000001</c:v>
                </c:pt>
                <c:pt idx="1659">
                  <c:v>1968161.83</c:v>
                </c:pt>
                <c:pt idx="1660">
                  <c:v>2014578.111</c:v>
                </c:pt>
                <c:pt idx="1661">
                  <c:v>2039528.19</c:v>
                </c:pt>
                <c:pt idx="1662">
                  <c:v>2035752.22</c:v>
                </c:pt>
                <c:pt idx="1663">
                  <c:v>2035969.9620000001</c:v>
                </c:pt>
                <c:pt idx="1664">
                  <c:v>2015613.7150000001</c:v>
                </c:pt>
                <c:pt idx="1665">
                  <c:v>1989548.371</c:v>
                </c:pt>
                <c:pt idx="1666">
                  <c:v>1999049.3689999999</c:v>
                </c:pt>
                <c:pt idx="1667">
                  <c:v>1996000.977</c:v>
                </c:pt>
                <c:pt idx="1668">
                  <c:v>1973265.497</c:v>
                </c:pt>
                <c:pt idx="1669">
                  <c:v>2004806.2620000001</c:v>
                </c:pt>
                <c:pt idx="1670">
                  <c:v>2004492.926</c:v>
                </c:pt>
                <c:pt idx="1671">
                  <c:v>1993319.03</c:v>
                </c:pt>
                <c:pt idx="1672">
                  <c:v>1993611.1229999999</c:v>
                </c:pt>
                <c:pt idx="1673">
                  <c:v>2008332.625</c:v>
                </c:pt>
                <c:pt idx="1674">
                  <c:v>1996553.2990000001</c:v>
                </c:pt>
                <c:pt idx="1675">
                  <c:v>1889041.7220000001</c:v>
                </c:pt>
                <c:pt idx="1676">
                  <c:v>1894044.483</c:v>
                </c:pt>
                <c:pt idx="1677">
                  <c:v>1907475.4639999999</c:v>
                </c:pt>
                <c:pt idx="1678">
                  <c:v>1976648.4680000001</c:v>
                </c:pt>
                <c:pt idx="1679">
                  <c:v>1991173.4720000001</c:v>
                </c:pt>
                <c:pt idx="1680">
                  <c:v>1953089.8160000001</c:v>
                </c:pt>
                <c:pt idx="1681">
                  <c:v>1958411.2250000001</c:v>
                </c:pt>
                <c:pt idx="1682">
                  <c:v>1924108.85</c:v>
                </c:pt>
                <c:pt idx="1683">
                  <c:v>1930970.3870000001</c:v>
                </c:pt>
                <c:pt idx="1684">
                  <c:v>1924140.7150000001</c:v>
                </c:pt>
                <c:pt idx="1685">
                  <c:v>1916163.912</c:v>
                </c:pt>
                <c:pt idx="1686">
                  <c:v>1971003.101</c:v>
                </c:pt>
                <c:pt idx="1687">
                  <c:v>1962011.939</c:v>
                </c:pt>
                <c:pt idx="1688">
                  <c:v>1957258.784</c:v>
                </c:pt>
                <c:pt idx="1689">
                  <c:v>1994673.28</c:v>
                </c:pt>
                <c:pt idx="1690">
                  <c:v>2001056.8470000001</c:v>
                </c:pt>
                <c:pt idx="1691">
                  <c:v>2053134.4269999999</c:v>
                </c:pt>
                <c:pt idx="1692">
                  <c:v>2058848.834</c:v>
                </c:pt>
                <c:pt idx="1693">
                  <c:v>2053352.169</c:v>
                </c:pt>
                <c:pt idx="1694">
                  <c:v>2033712.878</c:v>
                </c:pt>
                <c:pt idx="1695">
                  <c:v>2038386.37</c:v>
                </c:pt>
                <c:pt idx="1696">
                  <c:v>1979664.996</c:v>
                </c:pt>
                <c:pt idx="1697">
                  <c:v>1997849.1310000001</c:v>
                </c:pt>
                <c:pt idx="1698">
                  <c:v>1999607.0020000001</c:v>
                </c:pt>
                <c:pt idx="1699">
                  <c:v>1981454.7309999999</c:v>
                </c:pt>
                <c:pt idx="1700">
                  <c:v>1842349.28</c:v>
                </c:pt>
                <c:pt idx="1701">
                  <c:v>1847506.054</c:v>
                </c:pt>
                <c:pt idx="1702">
                  <c:v>1879917.7890000001</c:v>
                </c:pt>
                <c:pt idx="1703">
                  <c:v>1749575.1370000001</c:v>
                </c:pt>
                <c:pt idx="1704">
                  <c:v>1785253.0060000001</c:v>
                </c:pt>
                <c:pt idx="1705">
                  <c:v>1695442.2819999999</c:v>
                </c:pt>
                <c:pt idx="1706">
                  <c:v>1707795.1740000001</c:v>
                </c:pt>
                <c:pt idx="1707">
                  <c:v>1676020.733</c:v>
                </c:pt>
                <c:pt idx="1708">
                  <c:v>1710907.2949999999</c:v>
                </c:pt>
                <c:pt idx="1709">
                  <c:v>1656291.159</c:v>
                </c:pt>
                <c:pt idx="1710">
                  <c:v>1662664.1029999999</c:v>
                </c:pt>
                <c:pt idx="1711">
                  <c:v>1711735.7779999999</c:v>
                </c:pt>
                <c:pt idx="1712">
                  <c:v>1685845.69</c:v>
                </c:pt>
                <c:pt idx="1713">
                  <c:v>1636439.436</c:v>
                </c:pt>
                <c:pt idx="1714">
                  <c:v>1653492.3740000001</c:v>
                </c:pt>
                <c:pt idx="1715">
                  <c:v>1661686.9180000001</c:v>
                </c:pt>
                <c:pt idx="1716">
                  <c:v>1561642.308</c:v>
                </c:pt>
                <c:pt idx="1717">
                  <c:v>1556246.548</c:v>
                </c:pt>
                <c:pt idx="1718">
                  <c:v>1515571.2279999999</c:v>
                </c:pt>
                <c:pt idx="1719">
                  <c:v>1564605.727</c:v>
                </c:pt>
                <c:pt idx="1720">
                  <c:v>1540685.9410000001</c:v>
                </c:pt>
                <c:pt idx="1721">
                  <c:v>1572699.3670000001</c:v>
                </c:pt>
                <c:pt idx="1722">
                  <c:v>1565959.9779999999</c:v>
                </c:pt>
                <c:pt idx="1723">
                  <c:v>1585142.5419999999</c:v>
                </c:pt>
                <c:pt idx="1724">
                  <c:v>1574005.821</c:v>
                </c:pt>
                <c:pt idx="1725">
                  <c:v>1564934.996</c:v>
                </c:pt>
                <c:pt idx="1726">
                  <c:v>1612907.3370000001</c:v>
                </c:pt>
                <c:pt idx="1727">
                  <c:v>1626864.0859999999</c:v>
                </c:pt>
                <c:pt idx="1728">
                  <c:v>1621755.1089999999</c:v>
                </c:pt>
                <c:pt idx="1729">
                  <c:v>1620634.5330000001</c:v>
                </c:pt>
                <c:pt idx="1730">
                  <c:v>1656365.51</c:v>
                </c:pt>
                <c:pt idx="1731">
                  <c:v>1640693.3759999999</c:v>
                </c:pt>
                <c:pt idx="1732">
                  <c:v>1651415.8559999999</c:v>
                </c:pt>
                <c:pt idx="1733">
                  <c:v>1550086.0349999999</c:v>
                </c:pt>
                <c:pt idx="1734">
                  <c:v>1565636.02</c:v>
                </c:pt>
                <c:pt idx="1735">
                  <c:v>1528163.105</c:v>
                </c:pt>
                <c:pt idx="1736">
                  <c:v>1556427.115</c:v>
                </c:pt>
                <c:pt idx="1737">
                  <c:v>1620496.452</c:v>
                </c:pt>
                <c:pt idx="1738">
                  <c:v>1624261.801</c:v>
                </c:pt>
                <c:pt idx="1739">
                  <c:v>1643099.1629999999</c:v>
                </c:pt>
                <c:pt idx="1740">
                  <c:v>1648914.4750000001</c:v>
                </c:pt>
                <c:pt idx="1741">
                  <c:v>1650417.4280000001</c:v>
                </c:pt>
                <c:pt idx="1742">
                  <c:v>1631426.0530000001</c:v>
                </c:pt>
                <c:pt idx="1743">
                  <c:v>1600219.8670000001</c:v>
                </c:pt>
                <c:pt idx="1744">
                  <c:v>1602944.3</c:v>
                </c:pt>
                <c:pt idx="1745">
                  <c:v>1628122.743</c:v>
                </c:pt>
                <c:pt idx="1746">
                  <c:v>1632950.2490000001</c:v>
                </c:pt>
                <c:pt idx="1747">
                  <c:v>1641049.199</c:v>
                </c:pt>
                <c:pt idx="1748">
                  <c:v>1659196.159</c:v>
                </c:pt>
                <c:pt idx="1749">
                  <c:v>1684560.4790000001</c:v>
                </c:pt>
                <c:pt idx="1750">
                  <c:v>1725708.459</c:v>
                </c:pt>
                <c:pt idx="1751">
                  <c:v>1713148.4469999999</c:v>
                </c:pt>
                <c:pt idx="1752">
                  <c:v>1718618.558</c:v>
                </c:pt>
                <c:pt idx="1753">
                  <c:v>1689812.848</c:v>
                </c:pt>
                <c:pt idx="1754">
                  <c:v>1698294.175</c:v>
                </c:pt>
                <c:pt idx="1755">
                  <c:v>1683376.1740000001</c:v>
                </c:pt>
                <c:pt idx="1756">
                  <c:v>1665149.5519999999</c:v>
                </c:pt>
                <c:pt idx="1757">
                  <c:v>1708097.888</c:v>
                </c:pt>
                <c:pt idx="1758">
                  <c:v>1709059.1410000001</c:v>
                </c:pt>
                <c:pt idx="1759">
                  <c:v>1711077.24</c:v>
                </c:pt>
                <c:pt idx="1760">
                  <c:v>1733701.1939999999</c:v>
                </c:pt>
                <c:pt idx="1761">
                  <c:v>1730004.8859999999</c:v>
                </c:pt>
                <c:pt idx="1762">
                  <c:v>1704385.648</c:v>
                </c:pt>
                <c:pt idx="1763">
                  <c:v>1691873.433</c:v>
                </c:pt>
                <c:pt idx="1764">
                  <c:v>1715437.3959999999</c:v>
                </c:pt>
                <c:pt idx="1765">
                  <c:v>1709250.3289999999</c:v>
                </c:pt>
                <c:pt idx="1766">
                  <c:v>1732049.5390000001</c:v>
                </c:pt>
                <c:pt idx="1767">
                  <c:v>1739723.6270000001</c:v>
                </c:pt>
                <c:pt idx="1768">
                  <c:v>1737801.122</c:v>
                </c:pt>
                <c:pt idx="1769">
                  <c:v>1714561.1170000001</c:v>
                </c:pt>
                <c:pt idx="1770">
                  <c:v>1719792.2420000001</c:v>
                </c:pt>
                <c:pt idx="1771">
                  <c:v>1689377.3629999999</c:v>
                </c:pt>
                <c:pt idx="1772">
                  <c:v>1678527.425</c:v>
                </c:pt>
                <c:pt idx="1773">
                  <c:v>1686121.851</c:v>
                </c:pt>
                <c:pt idx="1774">
                  <c:v>1679286.8670000001</c:v>
                </c:pt>
                <c:pt idx="1775">
                  <c:v>1688384.246</c:v>
                </c:pt>
                <c:pt idx="1776">
                  <c:v>1681352.764</c:v>
                </c:pt>
                <c:pt idx="1777">
                  <c:v>1678516.8030000001</c:v>
                </c:pt>
                <c:pt idx="1778">
                  <c:v>1676482.7720000001</c:v>
                </c:pt>
                <c:pt idx="1779">
                  <c:v>1706642.733</c:v>
                </c:pt>
                <c:pt idx="1780">
                  <c:v>1704475.932</c:v>
                </c:pt>
                <c:pt idx="1781">
                  <c:v>1706844.5430000001</c:v>
                </c:pt>
                <c:pt idx="1782">
                  <c:v>1662462.2930000001</c:v>
                </c:pt>
                <c:pt idx="1783">
                  <c:v>1628085.567</c:v>
                </c:pt>
                <c:pt idx="1784">
                  <c:v>1629939.0319999999</c:v>
                </c:pt>
                <c:pt idx="1785">
                  <c:v>1637214.811</c:v>
                </c:pt>
                <c:pt idx="1786">
                  <c:v>1641107.618</c:v>
                </c:pt>
                <c:pt idx="1787">
                  <c:v>1633035.2209999999</c:v>
                </c:pt>
                <c:pt idx="1788">
                  <c:v>1643853.2949999999</c:v>
                </c:pt>
                <c:pt idx="1789">
                  <c:v>1638919.5730000001</c:v>
                </c:pt>
                <c:pt idx="1790">
                  <c:v>1629370.7779999999</c:v>
                </c:pt>
                <c:pt idx="1791">
                  <c:v>1626428.602</c:v>
                </c:pt>
                <c:pt idx="1792">
                  <c:v>1634777.159</c:v>
                </c:pt>
                <c:pt idx="1793">
                  <c:v>1639556.868</c:v>
                </c:pt>
                <c:pt idx="1794">
                  <c:v>1626991.5449999999</c:v>
                </c:pt>
                <c:pt idx="1795">
                  <c:v>1624691.9739999999</c:v>
                </c:pt>
                <c:pt idx="1796">
                  <c:v>1627336.746</c:v>
                </c:pt>
                <c:pt idx="1797">
                  <c:v>1626428.602</c:v>
                </c:pt>
                <c:pt idx="1798">
                  <c:v>1628664.443</c:v>
                </c:pt>
                <c:pt idx="1799">
                  <c:v>1683285.89</c:v>
                </c:pt>
                <c:pt idx="1800">
                  <c:v>1678500.871</c:v>
                </c:pt>
                <c:pt idx="1801">
                  <c:v>1681979.4369999999</c:v>
                </c:pt>
                <c:pt idx="1802">
                  <c:v>1693785.317</c:v>
                </c:pt>
                <c:pt idx="1803">
                  <c:v>1688187.747</c:v>
                </c:pt>
                <c:pt idx="1804">
                  <c:v>1687263.67</c:v>
                </c:pt>
                <c:pt idx="1805">
                  <c:v>1680327.7819999999</c:v>
                </c:pt>
                <c:pt idx="1806">
                  <c:v>1628467.9439999999</c:v>
                </c:pt>
                <c:pt idx="1807">
                  <c:v>1633587.5430000001</c:v>
                </c:pt>
                <c:pt idx="1808">
                  <c:v>1655037.8130000001</c:v>
                </c:pt>
                <c:pt idx="1809">
                  <c:v>1643513.4040000001</c:v>
                </c:pt>
                <c:pt idx="1810">
                  <c:v>1651846.03</c:v>
                </c:pt>
                <c:pt idx="1811">
                  <c:v>1653072.8219999999</c:v>
                </c:pt>
                <c:pt idx="1812">
                  <c:v>1649700.4720000001</c:v>
                </c:pt>
                <c:pt idx="1813">
                  <c:v>1664379.4879999999</c:v>
                </c:pt>
                <c:pt idx="1814">
                  <c:v>1655542.338</c:v>
                </c:pt>
                <c:pt idx="1815">
                  <c:v>1634214.216</c:v>
                </c:pt>
                <c:pt idx="1816">
                  <c:v>1657252.4110000001</c:v>
                </c:pt>
                <c:pt idx="1817">
                  <c:v>1665675.32</c:v>
                </c:pt>
                <c:pt idx="1818">
                  <c:v>1673636.19</c:v>
                </c:pt>
                <c:pt idx="1819">
                  <c:v>1674979.8189999999</c:v>
                </c:pt>
                <c:pt idx="1820">
                  <c:v>1675128.5209999999</c:v>
                </c:pt>
                <c:pt idx="1821">
                  <c:v>1701947.997</c:v>
                </c:pt>
                <c:pt idx="1822">
                  <c:v>1703371.2879999999</c:v>
                </c:pt>
                <c:pt idx="1823">
                  <c:v>1708374.0490000001</c:v>
                </c:pt>
                <c:pt idx="1824">
                  <c:v>1704736.16</c:v>
                </c:pt>
                <c:pt idx="1825">
                  <c:v>1695351.9990000001</c:v>
                </c:pt>
                <c:pt idx="1826">
                  <c:v>1701220.419</c:v>
                </c:pt>
                <c:pt idx="1827">
                  <c:v>1738316.2679999999</c:v>
                </c:pt>
                <c:pt idx="1828">
                  <c:v>1743462.4210000001</c:v>
                </c:pt>
                <c:pt idx="1829">
                  <c:v>1740217.53</c:v>
                </c:pt>
                <c:pt idx="1830">
                  <c:v>1739962.612</c:v>
                </c:pt>
                <c:pt idx="1831">
                  <c:v>1732389.429</c:v>
                </c:pt>
                <c:pt idx="1832">
                  <c:v>1725065.8540000001</c:v>
                </c:pt>
                <c:pt idx="1833">
                  <c:v>1719425.798</c:v>
                </c:pt>
                <c:pt idx="1834">
                  <c:v>1727344.182</c:v>
                </c:pt>
                <c:pt idx="1835">
                  <c:v>1712813.868</c:v>
                </c:pt>
                <c:pt idx="1836">
                  <c:v>1715856.949</c:v>
                </c:pt>
                <c:pt idx="1837">
                  <c:v>1736409.6950000001</c:v>
                </c:pt>
                <c:pt idx="1838">
                  <c:v>1709138.8030000001</c:v>
                </c:pt>
                <c:pt idx="1839">
                  <c:v>1710678.9310000001</c:v>
                </c:pt>
                <c:pt idx="1840">
                  <c:v>1701539.0660000001</c:v>
                </c:pt>
                <c:pt idx="1841">
                  <c:v>1687136.2109999999</c:v>
                </c:pt>
                <c:pt idx="1842">
                  <c:v>1693636.615</c:v>
                </c:pt>
                <c:pt idx="1843">
                  <c:v>1696005.226</c:v>
                </c:pt>
                <c:pt idx="1844">
                  <c:v>1700137.0179999999</c:v>
                </c:pt>
                <c:pt idx="1845">
                  <c:v>1702165.7390000001</c:v>
                </c:pt>
                <c:pt idx="1846">
                  <c:v>1717604.1980000001</c:v>
                </c:pt>
                <c:pt idx="1847">
                  <c:v>1729712.7930000001</c:v>
                </c:pt>
                <c:pt idx="1848">
                  <c:v>1722468.879</c:v>
                </c:pt>
                <c:pt idx="1849">
                  <c:v>1717168.713</c:v>
                </c:pt>
                <c:pt idx="1850">
                  <c:v>1749495.4750000001</c:v>
                </c:pt>
                <c:pt idx="1851">
                  <c:v>1802173.1740000001</c:v>
                </c:pt>
                <c:pt idx="1852">
                  <c:v>1794116.71</c:v>
                </c:pt>
                <c:pt idx="1853">
                  <c:v>1791355.1</c:v>
                </c:pt>
                <c:pt idx="1854">
                  <c:v>1786809.067</c:v>
                </c:pt>
                <c:pt idx="1855">
                  <c:v>1787090.5379999999</c:v>
                </c:pt>
                <c:pt idx="1856">
                  <c:v>1772098.186</c:v>
                </c:pt>
                <c:pt idx="1857">
                  <c:v>1774774.8230000001</c:v>
                </c:pt>
                <c:pt idx="1858">
                  <c:v>1768417.81</c:v>
                </c:pt>
                <c:pt idx="1859">
                  <c:v>1757323.5759999999</c:v>
                </c:pt>
                <c:pt idx="1860">
                  <c:v>1756325.148</c:v>
                </c:pt>
                <c:pt idx="1861">
                  <c:v>1756691.5919999999</c:v>
                </c:pt>
                <c:pt idx="1862">
                  <c:v>1758927.433</c:v>
                </c:pt>
                <c:pt idx="1863">
                  <c:v>1767318.477</c:v>
                </c:pt>
                <c:pt idx="1864">
                  <c:v>1753398.9040000001</c:v>
                </c:pt>
                <c:pt idx="1865">
                  <c:v>1760053.32</c:v>
                </c:pt>
                <c:pt idx="1866">
                  <c:v>1763011.429</c:v>
                </c:pt>
                <c:pt idx="1867">
                  <c:v>1775199.686</c:v>
                </c:pt>
                <c:pt idx="1868">
                  <c:v>1774238.433</c:v>
                </c:pt>
                <c:pt idx="1869">
                  <c:v>1773569.274</c:v>
                </c:pt>
                <c:pt idx="1870">
                  <c:v>1762140.46</c:v>
                </c:pt>
                <c:pt idx="1871">
                  <c:v>1732697.4550000001</c:v>
                </c:pt>
                <c:pt idx="1872">
                  <c:v>1731491.906</c:v>
                </c:pt>
                <c:pt idx="1873">
                  <c:v>1720020.6059999999</c:v>
                </c:pt>
                <c:pt idx="1874">
                  <c:v>1732973.6159999999</c:v>
                </c:pt>
                <c:pt idx="1875">
                  <c:v>1729935.8459999999</c:v>
                </c:pt>
                <c:pt idx="1876">
                  <c:v>1734843.013</c:v>
                </c:pt>
                <c:pt idx="1877">
                  <c:v>1747843.82</c:v>
                </c:pt>
                <c:pt idx="1878">
                  <c:v>1739638.6540000001</c:v>
                </c:pt>
                <c:pt idx="1879">
                  <c:v>1710222.203</c:v>
                </c:pt>
                <c:pt idx="1880">
                  <c:v>1721093.385</c:v>
                </c:pt>
                <c:pt idx="1881">
                  <c:v>1715856.949</c:v>
                </c:pt>
                <c:pt idx="1882">
                  <c:v>1723026.5109999999</c:v>
                </c:pt>
                <c:pt idx="1883">
                  <c:v>1727747.801</c:v>
                </c:pt>
                <c:pt idx="1884">
                  <c:v>1749304.287</c:v>
                </c:pt>
                <c:pt idx="1885">
                  <c:v>1756043.676</c:v>
                </c:pt>
                <c:pt idx="1886">
                  <c:v>1752565.11</c:v>
                </c:pt>
                <c:pt idx="1887">
                  <c:v>1753967.1580000001</c:v>
                </c:pt>
                <c:pt idx="1888">
                  <c:v>1755666.61</c:v>
                </c:pt>
                <c:pt idx="1889">
                  <c:v>1740812.338</c:v>
                </c:pt>
                <c:pt idx="1890">
                  <c:v>1763887.709</c:v>
                </c:pt>
                <c:pt idx="1891">
                  <c:v>1761184.5179999999</c:v>
                </c:pt>
                <c:pt idx="1892">
                  <c:v>1762437.8640000001</c:v>
                </c:pt>
                <c:pt idx="1893">
                  <c:v>1767291.923</c:v>
                </c:pt>
                <c:pt idx="1894">
                  <c:v>1788450.1</c:v>
                </c:pt>
                <c:pt idx="1895">
                  <c:v>1788381.06</c:v>
                </c:pt>
                <c:pt idx="1896">
                  <c:v>1781662.9140000001</c:v>
                </c:pt>
                <c:pt idx="1897">
                  <c:v>1776830.0970000001</c:v>
                </c:pt>
                <c:pt idx="1898">
                  <c:v>1773871.9890000001</c:v>
                </c:pt>
                <c:pt idx="1899">
                  <c:v>1771827.3359999999</c:v>
                </c:pt>
                <c:pt idx="1900">
                  <c:v>1783919.9979999999</c:v>
                </c:pt>
                <c:pt idx="1901">
                  <c:v>1770271.2749999999</c:v>
                </c:pt>
                <c:pt idx="1902">
                  <c:v>1787127.7139999999</c:v>
                </c:pt>
                <c:pt idx="1903">
                  <c:v>1781328.334</c:v>
                </c:pt>
                <c:pt idx="1904">
                  <c:v>1782613.5449999999</c:v>
                </c:pt>
                <c:pt idx="1905">
                  <c:v>1790330.1189999999</c:v>
                </c:pt>
                <c:pt idx="1906">
                  <c:v>1780733.5260000001</c:v>
                </c:pt>
                <c:pt idx="1907">
                  <c:v>1800680.8430000001</c:v>
                </c:pt>
                <c:pt idx="1908">
                  <c:v>1814812.848</c:v>
                </c:pt>
                <c:pt idx="1909">
                  <c:v>1821732.804</c:v>
                </c:pt>
                <c:pt idx="1910">
                  <c:v>1821530.9939999999</c:v>
                </c:pt>
                <c:pt idx="1911">
                  <c:v>1821382.2919999999</c:v>
                </c:pt>
                <c:pt idx="1912">
                  <c:v>1825073.2890000001</c:v>
                </c:pt>
                <c:pt idx="1913">
                  <c:v>1814940.307</c:v>
                </c:pt>
                <c:pt idx="1914">
                  <c:v>1827500.3189999999</c:v>
                </c:pt>
                <c:pt idx="1915">
                  <c:v>1841972.2139999999</c:v>
                </c:pt>
                <c:pt idx="1916">
                  <c:v>1845355.1850000001</c:v>
                </c:pt>
                <c:pt idx="1917">
                  <c:v>1852795.598</c:v>
                </c:pt>
                <c:pt idx="1918">
                  <c:v>1870087.5220000001</c:v>
                </c:pt>
                <c:pt idx="1919">
                  <c:v>1877405.787</c:v>
                </c:pt>
                <c:pt idx="1920">
                  <c:v>1892785.827</c:v>
                </c:pt>
                <c:pt idx="1921">
                  <c:v>1878956.537</c:v>
                </c:pt>
                <c:pt idx="1922">
                  <c:v>1893316.905</c:v>
                </c:pt>
                <c:pt idx="1923">
                  <c:v>1874150.274</c:v>
                </c:pt>
                <c:pt idx="1924">
                  <c:v>1842529.8470000001</c:v>
                </c:pt>
                <c:pt idx="1925">
                  <c:v>1837080.9790000001</c:v>
                </c:pt>
                <c:pt idx="1926">
                  <c:v>1845896.8859999999</c:v>
                </c:pt>
                <c:pt idx="1927">
                  <c:v>1842917.534</c:v>
                </c:pt>
                <c:pt idx="1928">
                  <c:v>1855429.7490000001</c:v>
                </c:pt>
                <c:pt idx="1929">
                  <c:v>1810542.9750000001</c:v>
                </c:pt>
                <c:pt idx="1930">
                  <c:v>1808344.3089999999</c:v>
                </c:pt>
                <c:pt idx="1931">
                  <c:v>1794488.4650000001</c:v>
                </c:pt>
                <c:pt idx="1932">
                  <c:v>1774031.3119999999</c:v>
                </c:pt>
                <c:pt idx="1933">
                  <c:v>1777005.3529999999</c:v>
                </c:pt>
                <c:pt idx="1934">
                  <c:v>1767950.4609999999</c:v>
                </c:pt>
                <c:pt idx="1935">
                  <c:v>1757371.3729999999</c:v>
                </c:pt>
                <c:pt idx="1936">
                  <c:v>1773027.574</c:v>
                </c:pt>
                <c:pt idx="1937">
                  <c:v>1771503.378</c:v>
                </c:pt>
                <c:pt idx="1938">
                  <c:v>1756595.9979999999</c:v>
                </c:pt>
                <c:pt idx="1939">
                  <c:v>1764455.963</c:v>
                </c:pt>
                <c:pt idx="1940">
                  <c:v>1761264.18</c:v>
                </c:pt>
                <c:pt idx="1941">
                  <c:v>1753563.5379999999</c:v>
                </c:pt>
                <c:pt idx="1942">
                  <c:v>1751370.183</c:v>
                </c:pt>
                <c:pt idx="1943">
                  <c:v>1757913.0730000001</c:v>
                </c:pt>
                <c:pt idx="1944">
                  <c:v>1774987.254</c:v>
                </c:pt>
                <c:pt idx="1945">
                  <c:v>1788837.787</c:v>
                </c:pt>
                <c:pt idx="1946">
                  <c:v>1788561.6259999999</c:v>
                </c:pt>
                <c:pt idx="1947">
                  <c:v>1777876.3219999999</c:v>
                </c:pt>
                <c:pt idx="1948">
                  <c:v>1786495.73</c:v>
                </c:pt>
                <c:pt idx="1949">
                  <c:v>1783505.757</c:v>
                </c:pt>
                <c:pt idx="1950">
                  <c:v>1770882.0160000001</c:v>
                </c:pt>
                <c:pt idx="1951">
                  <c:v>1761917.4069999999</c:v>
                </c:pt>
                <c:pt idx="1952">
                  <c:v>1763133.577</c:v>
                </c:pt>
                <c:pt idx="1953">
                  <c:v>1762889.281</c:v>
                </c:pt>
                <c:pt idx="1954">
                  <c:v>1766559.0349999999</c:v>
                </c:pt>
                <c:pt idx="1955">
                  <c:v>1773468.3689999999</c:v>
                </c:pt>
                <c:pt idx="1956">
                  <c:v>1768115.095</c:v>
                </c:pt>
                <c:pt idx="1957">
                  <c:v>1781710.7109999999</c:v>
                </c:pt>
                <c:pt idx="1958">
                  <c:v>1786591.324</c:v>
                </c:pt>
                <c:pt idx="1959">
                  <c:v>1786787.8230000001</c:v>
                </c:pt>
                <c:pt idx="1960">
                  <c:v>1792868.675</c:v>
                </c:pt>
                <c:pt idx="1961">
                  <c:v>1799273.4839999999</c:v>
                </c:pt>
                <c:pt idx="1962">
                  <c:v>1786809.067</c:v>
                </c:pt>
                <c:pt idx="1963">
                  <c:v>1791440.0730000001</c:v>
                </c:pt>
                <c:pt idx="1964">
                  <c:v>1787441.05</c:v>
                </c:pt>
                <c:pt idx="1965">
                  <c:v>1796793.3470000001</c:v>
                </c:pt>
                <c:pt idx="1966">
                  <c:v>1803697.37</c:v>
                </c:pt>
                <c:pt idx="1967">
                  <c:v>1812831.9240000001</c:v>
                </c:pt>
                <c:pt idx="1968">
                  <c:v>1824935.2080000001</c:v>
                </c:pt>
                <c:pt idx="1969">
                  <c:v>1824680.291</c:v>
                </c:pt>
                <c:pt idx="1970">
                  <c:v>1817197.3910000001</c:v>
                </c:pt>
                <c:pt idx="1971">
                  <c:v>1827404.7239999999</c:v>
                </c:pt>
                <c:pt idx="1972">
                  <c:v>1817054</c:v>
                </c:pt>
                <c:pt idx="1973">
                  <c:v>1843581.3829999999</c:v>
                </c:pt>
                <c:pt idx="1974">
                  <c:v>1849651.612</c:v>
                </c:pt>
                <c:pt idx="1975">
                  <c:v>1853337.2990000001</c:v>
                </c:pt>
                <c:pt idx="1976">
                  <c:v>1844606.3640000001</c:v>
                </c:pt>
                <c:pt idx="1977">
                  <c:v>1844887.8359999999</c:v>
                </c:pt>
                <c:pt idx="1978">
                  <c:v>1830214.1310000001</c:v>
                </c:pt>
                <c:pt idx="1979">
                  <c:v>1833713.94</c:v>
                </c:pt>
                <c:pt idx="1980">
                  <c:v>1836703.9129999999</c:v>
                </c:pt>
                <c:pt idx="1981">
                  <c:v>1824308.5349999999</c:v>
                </c:pt>
                <c:pt idx="1982">
                  <c:v>1820463.5260000001</c:v>
                </c:pt>
                <c:pt idx="1983">
                  <c:v>1830352.2109999999</c:v>
                </c:pt>
                <c:pt idx="1984">
                  <c:v>1834324.68</c:v>
                </c:pt>
                <c:pt idx="1985">
                  <c:v>1831547.139</c:v>
                </c:pt>
                <c:pt idx="1986">
                  <c:v>1819974.933</c:v>
                </c:pt>
                <c:pt idx="1987">
                  <c:v>1820479.4580000001</c:v>
                </c:pt>
                <c:pt idx="1988">
                  <c:v>1836523.3459999999</c:v>
                </c:pt>
                <c:pt idx="1989">
                  <c:v>1835774.5249999999</c:v>
                </c:pt>
                <c:pt idx="1990">
                  <c:v>1839465.5220000001</c:v>
                </c:pt>
                <c:pt idx="1991">
                  <c:v>1848955.899</c:v>
                </c:pt>
                <c:pt idx="1992">
                  <c:v>1829996.389</c:v>
                </c:pt>
                <c:pt idx="1993">
                  <c:v>1832014.4879999999</c:v>
                </c:pt>
                <c:pt idx="1994">
                  <c:v>1840904.746</c:v>
                </c:pt>
                <c:pt idx="1995">
                  <c:v>1832248.162</c:v>
                </c:pt>
                <c:pt idx="1996">
                  <c:v>1838583.932</c:v>
                </c:pt>
                <c:pt idx="1997">
                  <c:v>1853252.3259999999</c:v>
                </c:pt>
                <c:pt idx="1998">
                  <c:v>1847113.0560000001</c:v>
                </c:pt>
                <c:pt idx="1999">
                  <c:v>1842742.2779999999</c:v>
                </c:pt>
                <c:pt idx="2000">
                  <c:v>1840288.6939999999</c:v>
                </c:pt>
                <c:pt idx="2001">
                  <c:v>1825190.1259999999</c:v>
                </c:pt>
                <c:pt idx="2002">
                  <c:v>1835434.635</c:v>
                </c:pt>
                <c:pt idx="2003">
                  <c:v>1860841.4410000001</c:v>
                </c:pt>
                <c:pt idx="2004">
                  <c:v>1866237.2009999999</c:v>
                </c:pt>
                <c:pt idx="2005">
                  <c:v>1868048.179</c:v>
                </c:pt>
                <c:pt idx="2006">
                  <c:v>1861505.29</c:v>
                </c:pt>
                <c:pt idx="2007">
                  <c:v>1867979.139</c:v>
                </c:pt>
                <c:pt idx="2008">
                  <c:v>1863788.9280000001</c:v>
                </c:pt>
                <c:pt idx="2009">
                  <c:v>1866513.362</c:v>
                </c:pt>
                <c:pt idx="2010">
                  <c:v>1851605.9820000001</c:v>
                </c:pt>
                <c:pt idx="2011">
                  <c:v>1848122.1059999999</c:v>
                </c:pt>
                <c:pt idx="2012">
                  <c:v>1838987.5519999999</c:v>
                </c:pt>
                <c:pt idx="2013">
                  <c:v>1830033.564</c:v>
                </c:pt>
                <c:pt idx="2014">
                  <c:v>1838355.568</c:v>
                </c:pt>
                <c:pt idx="2015">
                  <c:v>1841138.42</c:v>
                </c:pt>
                <c:pt idx="2016">
                  <c:v>1822269.193</c:v>
                </c:pt>
                <c:pt idx="2017">
                  <c:v>1827425.9680000001</c:v>
                </c:pt>
                <c:pt idx="2018">
                  <c:v>1829661.8089999999</c:v>
                </c:pt>
                <c:pt idx="2019">
                  <c:v>1830479.67</c:v>
                </c:pt>
                <c:pt idx="2020">
                  <c:v>1826778.0519999999</c:v>
                </c:pt>
                <c:pt idx="2021">
                  <c:v>1819783.7450000001</c:v>
                </c:pt>
                <c:pt idx="2022">
                  <c:v>1812640.736</c:v>
                </c:pt>
                <c:pt idx="2023">
                  <c:v>1807999.108</c:v>
                </c:pt>
                <c:pt idx="2024">
                  <c:v>1796400.348</c:v>
                </c:pt>
                <c:pt idx="2025">
                  <c:v>1783792.5390000001</c:v>
                </c:pt>
                <c:pt idx="2026">
                  <c:v>1780457.365</c:v>
                </c:pt>
                <c:pt idx="2027">
                  <c:v>1772581.4669999999</c:v>
                </c:pt>
                <c:pt idx="2028">
                  <c:v>1782645.409</c:v>
                </c:pt>
                <c:pt idx="2029">
                  <c:v>1797903.301</c:v>
                </c:pt>
                <c:pt idx="2030">
                  <c:v>1805237.4979999999</c:v>
                </c:pt>
                <c:pt idx="2031">
                  <c:v>1820883.078</c:v>
                </c:pt>
                <c:pt idx="2032">
                  <c:v>1810962.527</c:v>
                </c:pt>
                <c:pt idx="2033">
                  <c:v>1804663.933</c:v>
                </c:pt>
                <c:pt idx="2034">
                  <c:v>1807712.325</c:v>
                </c:pt>
                <c:pt idx="2035">
                  <c:v>1811636.997</c:v>
                </c:pt>
                <c:pt idx="2036">
                  <c:v>1818514.4669999999</c:v>
                </c:pt>
                <c:pt idx="2037">
                  <c:v>1818503.845</c:v>
                </c:pt>
                <c:pt idx="2038">
                  <c:v>1851159.8759999999</c:v>
                </c:pt>
                <c:pt idx="2039">
                  <c:v>1848382.334</c:v>
                </c:pt>
                <c:pt idx="2040">
                  <c:v>1854994.264</c:v>
                </c:pt>
                <c:pt idx="2041">
                  <c:v>1857575.307</c:v>
                </c:pt>
                <c:pt idx="2042">
                  <c:v>1851611.2930000001</c:v>
                </c:pt>
                <c:pt idx="2043">
                  <c:v>1842179.335</c:v>
                </c:pt>
                <c:pt idx="2044">
                  <c:v>1854994.264</c:v>
                </c:pt>
                <c:pt idx="2045">
                  <c:v>1876763.1810000001</c:v>
                </c:pt>
                <c:pt idx="2046">
                  <c:v>1891160.726</c:v>
                </c:pt>
                <c:pt idx="2047">
                  <c:v>1899227.8119999999</c:v>
                </c:pt>
                <c:pt idx="2048">
                  <c:v>1898282.4909999999</c:v>
                </c:pt>
                <c:pt idx="2049">
                  <c:v>1902467.392</c:v>
                </c:pt>
                <c:pt idx="2050">
                  <c:v>1877522.6240000001</c:v>
                </c:pt>
                <c:pt idx="2051">
                  <c:v>1874065.301</c:v>
                </c:pt>
                <c:pt idx="2052">
                  <c:v>1868738.5819999999</c:v>
                </c:pt>
                <c:pt idx="2053">
                  <c:v>1887278.54</c:v>
                </c:pt>
                <c:pt idx="2054">
                  <c:v>1883465.395</c:v>
                </c:pt>
                <c:pt idx="2055">
                  <c:v>1905489.23</c:v>
                </c:pt>
                <c:pt idx="2056">
                  <c:v>1906753.1969999999</c:v>
                </c:pt>
                <c:pt idx="2057">
                  <c:v>1924034.4990000001</c:v>
                </c:pt>
                <c:pt idx="2058">
                  <c:v>1948044.568</c:v>
                </c:pt>
                <c:pt idx="2059">
                  <c:v>1951565.62</c:v>
                </c:pt>
                <c:pt idx="2060">
                  <c:v>1936403.3219999999</c:v>
                </c:pt>
                <c:pt idx="2061">
                  <c:v>1948437.5660000001</c:v>
                </c:pt>
                <c:pt idx="2062">
                  <c:v>1947359.477</c:v>
                </c:pt>
                <c:pt idx="2063">
                  <c:v>1938888.7709999999</c:v>
                </c:pt>
                <c:pt idx="2064">
                  <c:v>1922494.371</c:v>
                </c:pt>
                <c:pt idx="2065">
                  <c:v>1943578.196</c:v>
                </c:pt>
                <c:pt idx="2066">
                  <c:v>1943801.2490000001</c:v>
                </c:pt>
                <c:pt idx="2067">
                  <c:v>1941586.6510000001</c:v>
                </c:pt>
                <c:pt idx="2068">
                  <c:v>1940397.034</c:v>
                </c:pt>
                <c:pt idx="2069">
                  <c:v>1949489.102</c:v>
                </c:pt>
                <c:pt idx="2070">
                  <c:v>1943121.4680000001</c:v>
                </c:pt>
                <c:pt idx="2071">
                  <c:v>1958044.781</c:v>
                </c:pt>
                <c:pt idx="2072">
                  <c:v>1966632.324</c:v>
                </c:pt>
                <c:pt idx="2073">
                  <c:v>1945638.781</c:v>
                </c:pt>
                <c:pt idx="2074">
                  <c:v>1947561.2860000001</c:v>
                </c:pt>
                <c:pt idx="2075">
                  <c:v>1980790.882</c:v>
                </c:pt>
                <c:pt idx="2076">
                  <c:v>1990419.34</c:v>
                </c:pt>
                <c:pt idx="2077">
                  <c:v>1980180.142</c:v>
                </c:pt>
                <c:pt idx="2078">
                  <c:v>1988077.2830000001</c:v>
                </c:pt>
                <c:pt idx="2079">
                  <c:v>1975379.19</c:v>
                </c:pt>
                <c:pt idx="2080">
                  <c:v>1967853.8049999999</c:v>
                </c:pt>
                <c:pt idx="2081">
                  <c:v>1971465.14</c:v>
                </c:pt>
                <c:pt idx="2082">
                  <c:v>1976616.6040000001</c:v>
                </c:pt>
                <c:pt idx="2083">
                  <c:v>1985103.2420000001</c:v>
                </c:pt>
                <c:pt idx="2084">
                  <c:v>2002368.611</c:v>
                </c:pt>
                <c:pt idx="2085">
                  <c:v>1997307.4310000001</c:v>
                </c:pt>
                <c:pt idx="2086">
                  <c:v>1979771.2109999999</c:v>
                </c:pt>
                <c:pt idx="2087">
                  <c:v>1969016.8670000001</c:v>
                </c:pt>
                <c:pt idx="2088">
                  <c:v>1979218.889</c:v>
                </c:pt>
                <c:pt idx="2089">
                  <c:v>1982097.3359999999</c:v>
                </c:pt>
                <c:pt idx="2090">
                  <c:v>1981475.9739999999</c:v>
                </c:pt>
                <c:pt idx="2091">
                  <c:v>1973446.064</c:v>
                </c:pt>
                <c:pt idx="2092">
                  <c:v>1937029.9950000001</c:v>
                </c:pt>
                <c:pt idx="2093">
                  <c:v>1962165.9509999999</c:v>
                </c:pt>
                <c:pt idx="2094">
                  <c:v>1968209.6270000001</c:v>
                </c:pt>
                <c:pt idx="2095">
                  <c:v>1965745.422</c:v>
                </c:pt>
                <c:pt idx="2096">
                  <c:v>1976292.6459999999</c:v>
                </c:pt>
                <c:pt idx="2097">
                  <c:v>1978093.003</c:v>
                </c:pt>
                <c:pt idx="2098">
                  <c:v>1986760.2069999999</c:v>
                </c:pt>
                <c:pt idx="2099">
                  <c:v>1992766.7080000001</c:v>
                </c:pt>
                <c:pt idx="2100">
                  <c:v>1994779.496</c:v>
                </c:pt>
                <c:pt idx="2101">
                  <c:v>1983393.1680000001</c:v>
                </c:pt>
                <c:pt idx="2102">
                  <c:v>2015842.078</c:v>
                </c:pt>
                <c:pt idx="2103">
                  <c:v>2040781.5349999999</c:v>
                </c:pt>
                <c:pt idx="2104">
                  <c:v>2036442.622</c:v>
                </c:pt>
                <c:pt idx="2105">
                  <c:v>2036315.1629999999</c:v>
                </c:pt>
                <c:pt idx="2106">
                  <c:v>2029830.692</c:v>
                </c:pt>
                <c:pt idx="2107">
                  <c:v>2034318.307</c:v>
                </c:pt>
                <c:pt idx="2108">
                  <c:v>2042326.9750000001</c:v>
                </c:pt>
                <c:pt idx="2109">
                  <c:v>2048397.2039999999</c:v>
                </c:pt>
                <c:pt idx="2110">
                  <c:v>2044361.0060000001</c:v>
                </c:pt>
                <c:pt idx="2111">
                  <c:v>2033962.4850000001</c:v>
                </c:pt>
                <c:pt idx="2112">
                  <c:v>2031901.899</c:v>
                </c:pt>
                <c:pt idx="2113">
                  <c:v>2031721.3319999999</c:v>
                </c:pt>
                <c:pt idx="2114">
                  <c:v>2038242.9790000001</c:v>
                </c:pt>
                <c:pt idx="2115">
                  <c:v>2040728.4280000001</c:v>
                </c:pt>
                <c:pt idx="2116">
                  <c:v>2034010.2819999999</c:v>
                </c:pt>
                <c:pt idx="2117">
                  <c:v>2034721.9269999999</c:v>
                </c:pt>
                <c:pt idx="2118">
                  <c:v>2041009.899</c:v>
                </c:pt>
                <c:pt idx="2119">
                  <c:v>2035157.412</c:v>
                </c:pt>
                <c:pt idx="2120">
                  <c:v>2040638.1440000001</c:v>
                </c:pt>
                <c:pt idx="2121">
                  <c:v>2038184.56</c:v>
                </c:pt>
                <c:pt idx="2122">
                  <c:v>2038136.763</c:v>
                </c:pt>
                <c:pt idx="2123">
                  <c:v>2027547.054</c:v>
                </c:pt>
                <c:pt idx="2124">
                  <c:v>2029134.9790000001</c:v>
                </c:pt>
                <c:pt idx="2125">
                  <c:v>2029358.0319999999</c:v>
                </c:pt>
                <c:pt idx="2126">
                  <c:v>2030069.6780000001</c:v>
                </c:pt>
                <c:pt idx="2127">
                  <c:v>2037483.537</c:v>
                </c:pt>
                <c:pt idx="2128">
                  <c:v>2061759.145</c:v>
                </c:pt>
                <c:pt idx="2129">
                  <c:v>2065821.8970000001</c:v>
                </c:pt>
                <c:pt idx="2130">
                  <c:v>2072635.638</c:v>
                </c:pt>
                <c:pt idx="2131">
                  <c:v>2078084.5049999999</c:v>
                </c:pt>
                <c:pt idx="2132">
                  <c:v>2082359.689</c:v>
                </c:pt>
                <c:pt idx="2133">
                  <c:v>2078350.0449999999</c:v>
                </c:pt>
                <c:pt idx="2134">
                  <c:v>2078148.2350000001</c:v>
                </c:pt>
                <c:pt idx="2135">
                  <c:v>2094659.4720000001</c:v>
                </c:pt>
                <c:pt idx="2136">
                  <c:v>2087803.246</c:v>
                </c:pt>
                <c:pt idx="2137">
                  <c:v>2085466.5</c:v>
                </c:pt>
                <c:pt idx="2138">
                  <c:v>2087564.2609999999</c:v>
                </c:pt>
                <c:pt idx="2139">
                  <c:v>2102753.1120000002</c:v>
                </c:pt>
                <c:pt idx="2140">
                  <c:v>2112073.5440000002</c:v>
                </c:pt>
                <c:pt idx="2141">
                  <c:v>2120905.3829999999</c:v>
                </c:pt>
                <c:pt idx="2142">
                  <c:v>2135982.7080000001</c:v>
                </c:pt>
                <c:pt idx="2143">
                  <c:v>2129476.9939999999</c:v>
                </c:pt>
                <c:pt idx="2144">
                  <c:v>2127883.7570000002</c:v>
                </c:pt>
                <c:pt idx="2145">
                  <c:v>2122519.8620000002</c:v>
                </c:pt>
                <c:pt idx="2146">
                  <c:v>2122790.7119999998</c:v>
                </c:pt>
                <c:pt idx="2147">
                  <c:v>2120438.034</c:v>
                </c:pt>
                <c:pt idx="2148">
                  <c:v>2135409.1430000002</c:v>
                </c:pt>
                <c:pt idx="2149">
                  <c:v>2153125.929</c:v>
                </c:pt>
                <c:pt idx="2150">
                  <c:v>2149811.9980000001</c:v>
                </c:pt>
                <c:pt idx="2151">
                  <c:v>2164623.784</c:v>
                </c:pt>
                <c:pt idx="2152">
                  <c:v>2183747.929</c:v>
                </c:pt>
                <c:pt idx="2153">
                  <c:v>2192330.1609999998</c:v>
                </c:pt>
                <c:pt idx="2154">
                  <c:v>2177077.58</c:v>
                </c:pt>
                <c:pt idx="2155">
                  <c:v>2163439.4780000001</c:v>
                </c:pt>
                <c:pt idx="2156">
                  <c:v>2180083.486</c:v>
                </c:pt>
                <c:pt idx="2157">
                  <c:v>2188495.773</c:v>
                </c:pt>
                <c:pt idx="2158">
                  <c:v>2200699.9619999998</c:v>
                </c:pt>
                <c:pt idx="2159">
                  <c:v>2239930.747</c:v>
                </c:pt>
                <c:pt idx="2160">
                  <c:v>2245172.4939999999</c:v>
                </c:pt>
                <c:pt idx="2161">
                  <c:v>2178697.37</c:v>
                </c:pt>
                <c:pt idx="2162">
                  <c:v>2179653.3119999999</c:v>
                </c:pt>
                <c:pt idx="2163">
                  <c:v>2150842.2910000002</c:v>
                </c:pt>
                <c:pt idx="2164">
                  <c:v>2153959.7230000002</c:v>
                </c:pt>
                <c:pt idx="2165">
                  <c:v>2152860.39</c:v>
                </c:pt>
                <c:pt idx="2166">
                  <c:v>2127554.4890000001</c:v>
                </c:pt>
                <c:pt idx="2167">
                  <c:v>2123327.102</c:v>
                </c:pt>
                <c:pt idx="2168">
                  <c:v>2134331.0529999998</c:v>
                </c:pt>
                <c:pt idx="2169">
                  <c:v>2145648.341</c:v>
                </c:pt>
                <c:pt idx="2170">
                  <c:v>2132716.574</c:v>
                </c:pt>
                <c:pt idx="2171">
                  <c:v>2108945.4900000002</c:v>
                </c:pt>
                <c:pt idx="2172">
                  <c:v>2126109.9550000001</c:v>
                </c:pt>
                <c:pt idx="2173">
                  <c:v>2161224.88</c:v>
                </c:pt>
                <c:pt idx="2174">
                  <c:v>2132822.79</c:v>
                </c:pt>
                <c:pt idx="2175">
                  <c:v>2150916.642</c:v>
                </c:pt>
                <c:pt idx="2176">
                  <c:v>2138202.6170000001</c:v>
                </c:pt>
                <c:pt idx="2177">
                  <c:v>2114150.0619999999</c:v>
                </c:pt>
                <c:pt idx="2178">
                  <c:v>2116502.7400000002</c:v>
                </c:pt>
                <c:pt idx="2179">
                  <c:v>2143077.92</c:v>
                </c:pt>
                <c:pt idx="2180">
                  <c:v>2140507.4989999998</c:v>
                </c:pt>
                <c:pt idx="2181">
                  <c:v>2160348.6</c:v>
                </c:pt>
                <c:pt idx="2182">
                  <c:v>2153311.807</c:v>
                </c:pt>
                <c:pt idx="2183">
                  <c:v>2146375.9190000002</c:v>
                </c:pt>
                <c:pt idx="2184">
                  <c:v>2152791.35</c:v>
                </c:pt>
                <c:pt idx="2185">
                  <c:v>2119646.7259999998</c:v>
                </c:pt>
                <c:pt idx="2186">
                  <c:v>2134352.2960000001</c:v>
                </c:pt>
                <c:pt idx="2187">
                  <c:v>2140698.6869999999</c:v>
                </c:pt>
                <c:pt idx="2188">
                  <c:v>2170731.1889999998</c:v>
                </c:pt>
                <c:pt idx="2189">
                  <c:v>2183471.7680000002</c:v>
                </c:pt>
                <c:pt idx="2190">
                  <c:v>2192723.159</c:v>
                </c:pt>
                <c:pt idx="2191">
                  <c:v>2198002.0819999999</c:v>
                </c:pt>
                <c:pt idx="2192">
                  <c:v>2209372.477</c:v>
                </c:pt>
                <c:pt idx="2193">
                  <c:v>2224848.111</c:v>
                </c:pt>
                <c:pt idx="2194">
                  <c:v>2234678.3790000002</c:v>
                </c:pt>
                <c:pt idx="2195">
                  <c:v>2233499.3840000001</c:v>
                </c:pt>
                <c:pt idx="2196">
                  <c:v>2243807.622</c:v>
                </c:pt>
                <c:pt idx="2197">
                  <c:v>2243935.0809999998</c:v>
                </c:pt>
                <c:pt idx="2198">
                  <c:v>2261582.827</c:v>
                </c:pt>
                <c:pt idx="2199">
                  <c:v>2256086.162</c:v>
                </c:pt>
                <c:pt idx="2200">
                  <c:v>2268460.2969999998</c:v>
                </c:pt>
                <c:pt idx="2201">
                  <c:v>2275884.7769999998</c:v>
                </c:pt>
                <c:pt idx="2202">
                  <c:v>2303076.0079999999</c:v>
                </c:pt>
                <c:pt idx="2203">
                  <c:v>2327510.94</c:v>
                </c:pt>
                <c:pt idx="2204">
                  <c:v>2331377.193</c:v>
                </c:pt>
                <c:pt idx="2205">
                  <c:v>2318201.13</c:v>
                </c:pt>
                <c:pt idx="2206">
                  <c:v>2326815.227</c:v>
                </c:pt>
                <c:pt idx="2207">
                  <c:v>2284711.3059999999</c:v>
                </c:pt>
                <c:pt idx="2208">
                  <c:v>2260324.17</c:v>
                </c:pt>
                <c:pt idx="2209">
                  <c:v>2270839.5290000001</c:v>
                </c:pt>
                <c:pt idx="2210">
                  <c:v>2254907.1669999999</c:v>
                </c:pt>
                <c:pt idx="2211">
                  <c:v>2268359.392</c:v>
                </c:pt>
                <c:pt idx="2212">
                  <c:v>2269910.1409999998</c:v>
                </c:pt>
                <c:pt idx="2213">
                  <c:v>2203387.2200000002</c:v>
                </c:pt>
                <c:pt idx="2214">
                  <c:v>2151134.3840000001</c:v>
                </c:pt>
                <c:pt idx="2215">
                  <c:v>2130714.4070000001</c:v>
                </c:pt>
                <c:pt idx="2216">
                  <c:v>2039687.513</c:v>
                </c:pt>
                <c:pt idx="2217">
                  <c:v>2065949.3559999999</c:v>
                </c:pt>
                <c:pt idx="2218">
                  <c:v>2090129.371</c:v>
                </c:pt>
                <c:pt idx="2219">
                  <c:v>2106768.0669999998</c:v>
                </c:pt>
                <c:pt idx="2220">
                  <c:v>2152318.69</c:v>
                </c:pt>
                <c:pt idx="2221">
                  <c:v>2162069.2949999999</c:v>
                </c:pt>
                <c:pt idx="2222">
                  <c:v>2187205.2510000002</c:v>
                </c:pt>
                <c:pt idx="2223">
                  <c:v>2155637.932</c:v>
                </c:pt>
                <c:pt idx="2224">
                  <c:v>2136869.61</c:v>
                </c:pt>
                <c:pt idx="2225">
                  <c:v>2150385.5630000001</c:v>
                </c:pt>
                <c:pt idx="2226">
                  <c:v>2133056.4640000002</c:v>
                </c:pt>
                <c:pt idx="2227">
                  <c:v>2133927.4330000002</c:v>
                </c:pt>
                <c:pt idx="2228">
                  <c:v>2159663.5090000001</c:v>
                </c:pt>
                <c:pt idx="2229">
                  <c:v>2143778.9440000001</c:v>
                </c:pt>
                <c:pt idx="2230">
                  <c:v>2165526.6179999998</c:v>
                </c:pt>
                <c:pt idx="2231">
                  <c:v>2182133.449</c:v>
                </c:pt>
                <c:pt idx="2232">
                  <c:v>2192117.73</c:v>
                </c:pt>
                <c:pt idx="2233">
                  <c:v>2172775.8420000002</c:v>
                </c:pt>
                <c:pt idx="2234">
                  <c:v>2163264.2220000001</c:v>
                </c:pt>
                <c:pt idx="2235">
                  <c:v>2175383.4389999998</c:v>
                </c:pt>
                <c:pt idx="2236">
                  <c:v>2154278.37</c:v>
                </c:pt>
                <c:pt idx="2237">
                  <c:v>2163747.5040000002</c:v>
                </c:pt>
                <c:pt idx="2238">
                  <c:v>2165579.7259999998</c:v>
                </c:pt>
                <c:pt idx="2239">
                  <c:v>2156737.2650000001</c:v>
                </c:pt>
                <c:pt idx="2240">
                  <c:v>2135122.361</c:v>
                </c:pt>
                <c:pt idx="2241">
                  <c:v>2073830.5649999999</c:v>
                </c:pt>
                <c:pt idx="2242">
                  <c:v>2060527.0430000001</c:v>
                </c:pt>
                <c:pt idx="2243">
                  <c:v>2078254.45</c:v>
                </c:pt>
                <c:pt idx="2244">
                  <c:v>2040786.8459999999</c:v>
                </c:pt>
                <c:pt idx="2245">
                  <c:v>2068047.1170000001</c:v>
                </c:pt>
                <c:pt idx="2246">
                  <c:v>2070410.4180000001</c:v>
                </c:pt>
                <c:pt idx="2247">
                  <c:v>2064260.5260000001</c:v>
                </c:pt>
                <c:pt idx="2248">
                  <c:v>2051280.9620000001</c:v>
                </c:pt>
                <c:pt idx="2249">
                  <c:v>2047234.142</c:v>
                </c:pt>
                <c:pt idx="2250">
                  <c:v>2046209.16</c:v>
                </c:pt>
                <c:pt idx="2251">
                  <c:v>2085636.4450000001</c:v>
                </c:pt>
                <c:pt idx="2252">
                  <c:v>2091568.594</c:v>
                </c:pt>
                <c:pt idx="2253">
                  <c:v>2070484.7690000001</c:v>
                </c:pt>
                <c:pt idx="2254">
                  <c:v>2055880.1040000001</c:v>
                </c:pt>
                <c:pt idx="2255">
                  <c:v>2022804.5209999999</c:v>
                </c:pt>
                <c:pt idx="2256">
                  <c:v>1990822.96</c:v>
                </c:pt>
                <c:pt idx="2257">
                  <c:v>2000191.1880000001</c:v>
                </c:pt>
                <c:pt idx="2258">
                  <c:v>2024387.135</c:v>
                </c:pt>
                <c:pt idx="2259">
                  <c:v>1997307.4310000001</c:v>
                </c:pt>
                <c:pt idx="2260">
                  <c:v>2000217.7420000001</c:v>
                </c:pt>
                <c:pt idx="2261">
                  <c:v>2041195.777</c:v>
                </c:pt>
                <c:pt idx="2262">
                  <c:v>2033341.122</c:v>
                </c:pt>
                <c:pt idx="2263">
                  <c:v>1994460.8489999999</c:v>
                </c:pt>
                <c:pt idx="2264">
                  <c:v>1995199.048</c:v>
                </c:pt>
                <c:pt idx="2265">
                  <c:v>1998794.4509999999</c:v>
                </c:pt>
                <c:pt idx="2266">
                  <c:v>2014381.612</c:v>
                </c:pt>
                <c:pt idx="2267">
                  <c:v>2004609.763</c:v>
                </c:pt>
                <c:pt idx="2268">
                  <c:v>2036256.7450000001</c:v>
                </c:pt>
                <c:pt idx="2269">
                  <c:v>2059884.4369999999</c:v>
                </c:pt>
                <c:pt idx="2270">
                  <c:v>2056135.0209999999</c:v>
                </c:pt>
                <c:pt idx="2271">
                  <c:v>2067521.3489999999</c:v>
                </c:pt>
                <c:pt idx="2272">
                  <c:v>2056782.9380000001</c:v>
                </c:pt>
                <c:pt idx="2273">
                  <c:v>2076140.757</c:v>
                </c:pt>
                <c:pt idx="2274">
                  <c:v>2084006.0330000001</c:v>
                </c:pt>
                <c:pt idx="2275">
                  <c:v>2067404.5120000001</c:v>
                </c:pt>
                <c:pt idx="2276">
                  <c:v>2052114.7549999999</c:v>
                </c:pt>
                <c:pt idx="2277">
                  <c:v>2072832.1370000001</c:v>
                </c:pt>
                <c:pt idx="2278">
                  <c:v>2082487.148</c:v>
                </c:pt>
                <c:pt idx="2279">
                  <c:v>2074505.0349999999</c:v>
                </c:pt>
                <c:pt idx="2280">
                  <c:v>2047085.44</c:v>
                </c:pt>
                <c:pt idx="2281">
                  <c:v>2032555.1259999999</c:v>
                </c:pt>
                <c:pt idx="2282">
                  <c:v>2026861.9620000001</c:v>
                </c:pt>
                <c:pt idx="2283">
                  <c:v>2035762.841</c:v>
                </c:pt>
                <c:pt idx="2284">
                  <c:v>2020228.7890000001</c:v>
                </c:pt>
                <c:pt idx="2285">
                  <c:v>1977402.6</c:v>
                </c:pt>
                <c:pt idx="2286">
                  <c:v>2019363.13</c:v>
                </c:pt>
                <c:pt idx="2287">
                  <c:v>2002480.138</c:v>
                </c:pt>
                <c:pt idx="2288">
                  <c:v>2022124.74</c:v>
                </c:pt>
                <c:pt idx="2289">
                  <c:v>2042167.6510000001</c:v>
                </c:pt>
                <c:pt idx="2290">
                  <c:v>2037934.953</c:v>
                </c:pt>
                <c:pt idx="2291">
                  <c:v>2034567.9140000001</c:v>
                </c:pt>
                <c:pt idx="2292">
                  <c:v>2007275.7790000001</c:v>
                </c:pt>
                <c:pt idx="2293">
                  <c:v>2007466.9669999999</c:v>
                </c:pt>
                <c:pt idx="2294">
                  <c:v>2031880.656</c:v>
                </c:pt>
                <c:pt idx="2295">
                  <c:v>2011906.7849999999</c:v>
                </c:pt>
                <c:pt idx="2296">
                  <c:v>2003956.537</c:v>
                </c:pt>
                <c:pt idx="2297">
                  <c:v>1993366.827</c:v>
                </c:pt>
                <c:pt idx="2298">
                  <c:v>1923099.8</c:v>
                </c:pt>
                <c:pt idx="2299">
                  <c:v>1930704.848</c:v>
                </c:pt>
                <c:pt idx="2300">
                  <c:v>1908149.9339999999</c:v>
                </c:pt>
                <c:pt idx="2301">
                  <c:v>1916610.0179999999</c:v>
                </c:pt>
                <c:pt idx="2302">
                  <c:v>1890895.186</c:v>
                </c:pt>
                <c:pt idx="2303">
                  <c:v>1875297.4040000001</c:v>
                </c:pt>
                <c:pt idx="2304">
                  <c:v>1837139.398</c:v>
                </c:pt>
                <c:pt idx="2305">
                  <c:v>1818163.9550000001</c:v>
                </c:pt>
                <c:pt idx="2306">
                  <c:v>1864606.7890000001</c:v>
                </c:pt>
                <c:pt idx="2307">
                  <c:v>1809895.0589999999</c:v>
                </c:pt>
                <c:pt idx="2308">
                  <c:v>1810596.0830000001</c:v>
                </c:pt>
                <c:pt idx="2309">
                  <c:v>1786416.068</c:v>
                </c:pt>
                <c:pt idx="2310">
                  <c:v>1775098.781</c:v>
                </c:pt>
                <c:pt idx="2311">
                  <c:v>1787143.6459999999</c:v>
                </c:pt>
                <c:pt idx="2312">
                  <c:v>1837096.9110000001</c:v>
                </c:pt>
                <c:pt idx="2313">
                  <c:v>1841526.108</c:v>
                </c:pt>
                <c:pt idx="2314">
                  <c:v>1809666.6950000001</c:v>
                </c:pt>
                <c:pt idx="2315">
                  <c:v>1848716.9140000001</c:v>
                </c:pt>
                <c:pt idx="2316">
                  <c:v>1854893.3589999999</c:v>
                </c:pt>
                <c:pt idx="2317">
                  <c:v>1843953.138</c:v>
                </c:pt>
                <c:pt idx="2318">
                  <c:v>1831892.34</c:v>
                </c:pt>
                <c:pt idx="2319">
                  <c:v>1822301.058</c:v>
                </c:pt>
                <c:pt idx="2320">
                  <c:v>1820718.443</c:v>
                </c:pt>
                <c:pt idx="2321">
                  <c:v>1854999.575</c:v>
                </c:pt>
                <c:pt idx="2322">
                  <c:v>1872450.8219999999</c:v>
                </c:pt>
                <c:pt idx="2323">
                  <c:v>1902169.9879999999</c:v>
                </c:pt>
                <c:pt idx="2324">
                  <c:v>1900066.916</c:v>
                </c:pt>
                <c:pt idx="2325">
                  <c:v>1878027.149</c:v>
                </c:pt>
                <c:pt idx="2326">
                  <c:v>1870050.3459999999</c:v>
                </c:pt>
                <c:pt idx="2327">
                  <c:v>1866784.2120000001</c:v>
                </c:pt>
                <c:pt idx="2328">
                  <c:v>1868154.395</c:v>
                </c:pt>
                <c:pt idx="2329">
                  <c:v>1830835.493</c:v>
                </c:pt>
                <c:pt idx="2330">
                  <c:v>1790245.1459999999</c:v>
                </c:pt>
                <c:pt idx="2331">
                  <c:v>1760674.682</c:v>
                </c:pt>
                <c:pt idx="2332">
                  <c:v>1738364.0649999999</c:v>
                </c:pt>
                <c:pt idx="2333">
                  <c:v>1789135.1910000001</c:v>
                </c:pt>
                <c:pt idx="2334">
                  <c:v>1760265.7520000001</c:v>
                </c:pt>
                <c:pt idx="2335">
                  <c:v>1804355.9080000001</c:v>
                </c:pt>
                <c:pt idx="2336">
                  <c:v>1808333.6869999999</c:v>
                </c:pt>
                <c:pt idx="2337">
                  <c:v>1800537.452</c:v>
                </c:pt>
                <c:pt idx="2338">
                  <c:v>1791280.7490000001</c:v>
                </c:pt>
                <c:pt idx="2339">
                  <c:v>1748300.548</c:v>
                </c:pt>
                <c:pt idx="2340">
                  <c:v>1740201.5970000001</c:v>
                </c:pt>
                <c:pt idx="2341">
                  <c:v>1715182.4790000001</c:v>
                </c:pt>
                <c:pt idx="2342">
                  <c:v>1735166.9709999999</c:v>
                </c:pt>
                <c:pt idx="2343">
                  <c:v>1766713.048</c:v>
                </c:pt>
                <c:pt idx="2344">
                  <c:v>1756781.875</c:v>
                </c:pt>
                <c:pt idx="2345">
                  <c:v>1763197.3060000001</c:v>
                </c:pt>
                <c:pt idx="2346">
                  <c:v>1766012.024</c:v>
                </c:pt>
                <c:pt idx="2347">
                  <c:v>1809156.8589999999</c:v>
                </c:pt>
                <c:pt idx="2348">
                  <c:v>1805757.956</c:v>
                </c:pt>
                <c:pt idx="2349">
                  <c:v>1798535.2849999999</c:v>
                </c:pt>
                <c:pt idx="2350">
                  <c:v>1779692.612</c:v>
                </c:pt>
                <c:pt idx="2351">
                  <c:v>1770882.0160000001</c:v>
                </c:pt>
                <c:pt idx="2352">
                  <c:v>1764147.9369999999</c:v>
                </c:pt>
                <c:pt idx="2353">
                  <c:v>1786495.73</c:v>
                </c:pt>
                <c:pt idx="2354">
                  <c:v>1751571.993</c:v>
                </c:pt>
                <c:pt idx="2355">
                  <c:v>1732846.1569999999</c:v>
                </c:pt>
                <c:pt idx="2356">
                  <c:v>1740684.879</c:v>
                </c:pt>
                <c:pt idx="2357">
                  <c:v>1715421.4639999999</c:v>
                </c:pt>
                <c:pt idx="2358">
                  <c:v>1712309.3430000001</c:v>
                </c:pt>
                <c:pt idx="2359">
                  <c:v>1700524.706</c:v>
                </c:pt>
                <c:pt idx="2360">
                  <c:v>1718873.476</c:v>
                </c:pt>
                <c:pt idx="2361">
                  <c:v>1721805.03</c:v>
                </c:pt>
                <c:pt idx="2362">
                  <c:v>1702064.834</c:v>
                </c:pt>
                <c:pt idx="2363">
                  <c:v>1736324.723</c:v>
                </c:pt>
                <c:pt idx="2364">
                  <c:v>1759187.662</c:v>
                </c:pt>
                <c:pt idx="2365">
                  <c:v>1757939.6270000001</c:v>
                </c:pt>
                <c:pt idx="2366">
                  <c:v>1811238.6880000001</c:v>
                </c:pt>
                <c:pt idx="2367">
                  <c:v>1794939.882</c:v>
                </c:pt>
                <c:pt idx="2368">
                  <c:v>1814823.469</c:v>
                </c:pt>
                <c:pt idx="2369">
                  <c:v>1807574.2450000001</c:v>
                </c:pt>
                <c:pt idx="2370">
                  <c:v>1826305.392</c:v>
                </c:pt>
                <c:pt idx="2371">
                  <c:v>1747726.983</c:v>
                </c:pt>
                <c:pt idx="2372">
                  <c:v>1746553.2990000001</c:v>
                </c:pt>
                <c:pt idx="2373">
                  <c:v>1742787.9509999999</c:v>
                </c:pt>
                <c:pt idx="2374">
                  <c:v>1659148.362</c:v>
                </c:pt>
                <c:pt idx="2375">
                  <c:v>1683907.2520000001</c:v>
                </c:pt>
                <c:pt idx="2376">
                  <c:v>1660391.0859999999</c:v>
                </c:pt>
                <c:pt idx="2377">
                  <c:v>1646859.2</c:v>
                </c:pt>
                <c:pt idx="2378">
                  <c:v>1656036.2409999999</c:v>
                </c:pt>
                <c:pt idx="2379">
                  <c:v>1616810.7660000001</c:v>
                </c:pt>
                <c:pt idx="2380">
                  <c:v>1664905.2560000001</c:v>
                </c:pt>
                <c:pt idx="2381">
                  <c:v>1736770.8289999999</c:v>
                </c:pt>
                <c:pt idx="2382">
                  <c:v>1690651.952</c:v>
                </c:pt>
                <c:pt idx="2383">
                  <c:v>1693185.1980000001</c:v>
                </c:pt>
                <c:pt idx="2384">
                  <c:v>1696430.0889999999</c:v>
                </c:pt>
                <c:pt idx="2385">
                  <c:v>1685452.692</c:v>
                </c:pt>
                <c:pt idx="2386">
                  <c:v>1634070.825</c:v>
                </c:pt>
                <c:pt idx="2387">
                  <c:v>1651792.922</c:v>
                </c:pt>
                <c:pt idx="2388">
                  <c:v>1674926.7109999999</c:v>
                </c:pt>
                <c:pt idx="2389">
                  <c:v>1687253.048</c:v>
                </c:pt>
                <c:pt idx="2390">
                  <c:v>1747381.7819999999</c:v>
                </c:pt>
                <c:pt idx="2391">
                  <c:v>1732824.9140000001</c:v>
                </c:pt>
                <c:pt idx="2392">
                  <c:v>1722367.9739999999</c:v>
                </c:pt>
                <c:pt idx="2393">
                  <c:v>1711087.862</c:v>
                </c:pt>
                <c:pt idx="2394">
                  <c:v>1706233.8019999999</c:v>
                </c:pt>
                <c:pt idx="2395">
                  <c:v>1682160.003</c:v>
                </c:pt>
                <c:pt idx="2396">
                  <c:v>1702181.6710000001</c:v>
                </c:pt>
                <c:pt idx="2397">
                  <c:v>1719303.65</c:v>
                </c:pt>
                <c:pt idx="2398">
                  <c:v>1702075.456</c:v>
                </c:pt>
                <c:pt idx="2399">
                  <c:v>1721953.7320000001</c:v>
                </c:pt>
                <c:pt idx="2400">
                  <c:v>1730079.237</c:v>
                </c:pt>
                <c:pt idx="2401">
                  <c:v>1749691.9739999999</c:v>
                </c:pt>
                <c:pt idx="2402">
                  <c:v>1709229.0859999999</c:v>
                </c:pt>
                <c:pt idx="2403">
                  <c:v>1713520.202</c:v>
                </c:pt>
                <c:pt idx="2404">
                  <c:v>1707115.3929999999</c:v>
                </c:pt>
                <c:pt idx="2405">
                  <c:v>1669435.3570000001</c:v>
                </c:pt>
                <c:pt idx="2406">
                  <c:v>1668245.7409999999</c:v>
                </c:pt>
                <c:pt idx="2407">
                  <c:v>1666121.426</c:v>
                </c:pt>
                <c:pt idx="2408">
                  <c:v>1688262.098</c:v>
                </c:pt>
                <c:pt idx="2409">
                  <c:v>1666339.1680000001</c:v>
                </c:pt>
                <c:pt idx="2410">
                  <c:v>1684948.1669999999</c:v>
                </c:pt>
                <c:pt idx="2411">
                  <c:v>1731821.175</c:v>
                </c:pt>
                <c:pt idx="2412">
                  <c:v>1735411.267</c:v>
                </c:pt>
                <c:pt idx="2413">
                  <c:v>1727068.0209999999</c:v>
                </c:pt>
                <c:pt idx="2414">
                  <c:v>1689717.254</c:v>
                </c:pt>
                <c:pt idx="2415">
                  <c:v>1689658.835</c:v>
                </c:pt>
                <c:pt idx="2416">
                  <c:v>1670115.138</c:v>
                </c:pt>
                <c:pt idx="2417">
                  <c:v>1678113.183</c:v>
                </c:pt>
                <c:pt idx="2418">
                  <c:v>1683843.523</c:v>
                </c:pt>
                <c:pt idx="2419">
                  <c:v>1709908.8670000001</c:v>
                </c:pt>
                <c:pt idx="2420">
                  <c:v>1681347.453</c:v>
                </c:pt>
                <c:pt idx="2421">
                  <c:v>1678846.0719999999</c:v>
                </c:pt>
                <c:pt idx="2422">
                  <c:v>1661442.622</c:v>
                </c:pt>
                <c:pt idx="2423">
                  <c:v>1641633.3859999999</c:v>
                </c:pt>
                <c:pt idx="2424">
                  <c:v>1629041.5090000001</c:v>
                </c:pt>
                <c:pt idx="2425">
                  <c:v>1608849.8959999999</c:v>
                </c:pt>
                <c:pt idx="2426">
                  <c:v>1613523.389</c:v>
                </c:pt>
                <c:pt idx="2427">
                  <c:v>1602413.2220000001</c:v>
                </c:pt>
                <c:pt idx="2428">
                  <c:v>1594314.2709999999</c:v>
                </c:pt>
                <c:pt idx="2429">
                  <c:v>1588196.2439999999</c:v>
                </c:pt>
                <c:pt idx="2430">
                  <c:v>1598892.17</c:v>
                </c:pt>
                <c:pt idx="2431">
                  <c:v>1577059.523</c:v>
                </c:pt>
                <c:pt idx="2432">
                  <c:v>1574563.453</c:v>
                </c:pt>
                <c:pt idx="2433">
                  <c:v>1612285.9750000001</c:v>
                </c:pt>
                <c:pt idx="2434">
                  <c:v>1622073.7560000001</c:v>
                </c:pt>
                <c:pt idx="2435">
                  <c:v>1618568.6370000001</c:v>
                </c:pt>
                <c:pt idx="2436">
                  <c:v>1634915.24</c:v>
                </c:pt>
                <c:pt idx="2437">
                  <c:v>1631840.294</c:v>
                </c:pt>
                <c:pt idx="2438">
                  <c:v>1643571.8230000001</c:v>
                </c:pt>
                <c:pt idx="2439">
                  <c:v>1629232.6969999999</c:v>
                </c:pt>
                <c:pt idx="2440">
                  <c:v>1661208.9480000001</c:v>
                </c:pt>
                <c:pt idx="2441">
                  <c:v>1661559.46</c:v>
                </c:pt>
                <c:pt idx="2442">
                  <c:v>1652408.973</c:v>
                </c:pt>
                <c:pt idx="2443">
                  <c:v>1682547.6910000001</c:v>
                </c:pt>
                <c:pt idx="2444">
                  <c:v>1691825.6359999999</c:v>
                </c:pt>
                <c:pt idx="2445">
                  <c:v>1669350.385</c:v>
                </c:pt>
                <c:pt idx="2446">
                  <c:v>1668144.8359999999</c:v>
                </c:pt>
                <c:pt idx="2447">
                  <c:v>1677560.862</c:v>
                </c:pt>
                <c:pt idx="2448">
                  <c:v>1691204.274</c:v>
                </c:pt>
                <c:pt idx="2449">
                  <c:v>1690837.83</c:v>
                </c:pt>
                <c:pt idx="2450">
                  <c:v>1696249.5220000001</c:v>
                </c:pt>
                <c:pt idx="2451">
                  <c:v>1682712.325</c:v>
                </c:pt>
                <c:pt idx="2452">
                  <c:v>1700317.585</c:v>
                </c:pt>
                <c:pt idx="2453">
                  <c:v>1724625.058</c:v>
                </c:pt>
                <c:pt idx="2454">
                  <c:v>1755995.879</c:v>
                </c:pt>
                <c:pt idx="2455">
                  <c:v>1768672.7279999999</c:v>
                </c:pt>
                <c:pt idx="2456">
                  <c:v>1804090.368</c:v>
                </c:pt>
                <c:pt idx="2457">
                  <c:v>1806804.1810000001</c:v>
                </c:pt>
                <c:pt idx="2458">
                  <c:v>1773112.5460000001</c:v>
                </c:pt>
                <c:pt idx="2459">
                  <c:v>1829959.213</c:v>
                </c:pt>
                <c:pt idx="2460">
                  <c:v>1826703.7009999999</c:v>
                </c:pt>
                <c:pt idx="2461">
                  <c:v>1833246.59</c:v>
                </c:pt>
                <c:pt idx="2462">
                  <c:v>1828350.0449999999</c:v>
                </c:pt>
                <c:pt idx="2463">
                  <c:v>1869460.8489999999</c:v>
                </c:pt>
                <c:pt idx="2464">
                  <c:v>1980647.4909999999</c:v>
                </c:pt>
                <c:pt idx="2465">
                  <c:v>1956860.4750000001</c:v>
                </c:pt>
                <c:pt idx="2466">
                  <c:v>1953514.679</c:v>
                </c:pt>
                <c:pt idx="2467">
                  <c:v>1948724.3489999999</c:v>
                </c:pt>
                <c:pt idx="2468">
                  <c:v>1991391.2139999999</c:v>
                </c:pt>
                <c:pt idx="2469">
                  <c:v>2014965.7990000001</c:v>
                </c:pt>
                <c:pt idx="2470">
                  <c:v>2026601.733</c:v>
                </c:pt>
                <c:pt idx="2471">
                  <c:v>2043638.7390000001</c:v>
                </c:pt>
                <c:pt idx="2472">
                  <c:v>2022799.21</c:v>
                </c:pt>
                <c:pt idx="2473">
                  <c:v>1942462.9310000001</c:v>
                </c:pt>
                <c:pt idx="2474">
                  <c:v>1980897.098</c:v>
                </c:pt>
                <c:pt idx="2475">
                  <c:v>1994386.4979999999</c:v>
                </c:pt>
                <c:pt idx="2476">
                  <c:v>1977838.085</c:v>
                </c:pt>
                <c:pt idx="2477">
                  <c:v>1964189.361</c:v>
                </c:pt>
                <c:pt idx="2478">
                  <c:v>1988895.1440000001</c:v>
                </c:pt>
                <c:pt idx="2479">
                  <c:v>2045582.487</c:v>
                </c:pt>
                <c:pt idx="2480">
                  <c:v>2036134.5970000001</c:v>
                </c:pt>
                <c:pt idx="2481">
                  <c:v>2036920.5930000001</c:v>
                </c:pt>
                <c:pt idx="2482">
                  <c:v>2037690.6569999999</c:v>
                </c:pt>
                <c:pt idx="2483">
                  <c:v>2036049.6240000001</c:v>
                </c:pt>
                <c:pt idx="2484">
                  <c:v>1987737.392</c:v>
                </c:pt>
                <c:pt idx="2485">
                  <c:v>1965224.9650000001</c:v>
                </c:pt>
                <c:pt idx="2486">
                  <c:v>1988034.7960000001</c:v>
                </c:pt>
                <c:pt idx="2487">
                  <c:v>1980073.926</c:v>
                </c:pt>
                <c:pt idx="2488">
                  <c:v>2056517.398</c:v>
                </c:pt>
                <c:pt idx="2489">
                  <c:v>2110469.6860000002</c:v>
                </c:pt>
                <c:pt idx="2490">
                  <c:v>2109067.6379999998</c:v>
                </c:pt>
                <c:pt idx="2491">
                  <c:v>2136083.6129999999</c:v>
                </c:pt>
                <c:pt idx="2492">
                  <c:v>2157363.9380000001</c:v>
                </c:pt>
                <c:pt idx="2493">
                  <c:v>2154708.5440000002</c:v>
                </c:pt>
                <c:pt idx="2494">
                  <c:v>2164374.1770000001</c:v>
                </c:pt>
                <c:pt idx="2495">
                  <c:v>2169908.017</c:v>
                </c:pt>
                <c:pt idx="2496">
                  <c:v>2123029.6979999999</c:v>
                </c:pt>
                <c:pt idx="2497">
                  <c:v>2118271.233</c:v>
                </c:pt>
                <c:pt idx="2498">
                  <c:v>2111314.1009999998</c:v>
                </c:pt>
                <c:pt idx="2499">
                  <c:v>2169876.1519999998</c:v>
                </c:pt>
                <c:pt idx="2500">
                  <c:v>2170646.2170000002</c:v>
                </c:pt>
                <c:pt idx="2501">
                  <c:v>2162595.0630000001</c:v>
                </c:pt>
                <c:pt idx="2502">
                  <c:v>2188368.3139999998</c:v>
                </c:pt>
                <c:pt idx="2503">
                  <c:v>2137915.835</c:v>
                </c:pt>
                <c:pt idx="2504">
                  <c:v>2134410.7149999999</c:v>
                </c:pt>
                <c:pt idx="2505">
                  <c:v>2140295.0669999998</c:v>
                </c:pt>
                <c:pt idx="2506">
                  <c:v>2093416.7479999999</c:v>
                </c:pt>
                <c:pt idx="2507">
                  <c:v>2065508.561</c:v>
                </c:pt>
                <c:pt idx="2508">
                  <c:v>2071382.2919999999</c:v>
                </c:pt>
                <c:pt idx="2509">
                  <c:v>2078222.5859999999</c:v>
                </c:pt>
                <c:pt idx="2510">
                  <c:v>1956823.2990000001</c:v>
                </c:pt>
                <c:pt idx="2511">
                  <c:v>1975968.6880000001</c:v>
                </c:pt>
                <c:pt idx="2512">
                  <c:v>1947709.9890000001</c:v>
                </c:pt>
                <c:pt idx="2513">
                  <c:v>1911724.094</c:v>
                </c:pt>
                <c:pt idx="2514">
                  <c:v>1981162.638</c:v>
                </c:pt>
                <c:pt idx="2515">
                  <c:v>1948384.459</c:v>
                </c:pt>
                <c:pt idx="2516">
                  <c:v>1935861.622</c:v>
                </c:pt>
                <c:pt idx="2517">
                  <c:v>1979378.213</c:v>
                </c:pt>
                <c:pt idx="2518">
                  <c:v>1988337.5109999999</c:v>
                </c:pt>
                <c:pt idx="2519">
                  <c:v>1937778.8160000001</c:v>
                </c:pt>
                <c:pt idx="2520">
                  <c:v>1921331.308</c:v>
                </c:pt>
                <c:pt idx="2521">
                  <c:v>1947348.855</c:v>
                </c:pt>
                <c:pt idx="2522">
                  <c:v>1938108.085</c:v>
                </c:pt>
                <c:pt idx="2523">
                  <c:v>1903364.915</c:v>
                </c:pt>
                <c:pt idx="2524">
                  <c:v>1908649.148</c:v>
                </c:pt>
                <c:pt idx="2525">
                  <c:v>1931639.5460000001</c:v>
                </c:pt>
                <c:pt idx="2526">
                  <c:v>1950259.166</c:v>
                </c:pt>
                <c:pt idx="2527">
                  <c:v>1945824.659</c:v>
                </c:pt>
                <c:pt idx="2528">
                  <c:v>1933753.24</c:v>
                </c:pt>
                <c:pt idx="2529">
                  <c:v>1927704.253</c:v>
                </c:pt>
                <c:pt idx="2530">
                  <c:v>1928883.2479999999</c:v>
                </c:pt>
                <c:pt idx="2531">
                  <c:v>1911070.8670000001</c:v>
                </c:pt>
                <c:pt idx="2532">
                  <c:v>1910348.6</c:v>
                </c:pt>
                <c:pt idx="2533">
                  <c:v>1893125.7169999999</c:v>
                </c:pt>
                <c:pt idx="2534">
                  <c:v>1917587.203</c:v>
                </c:pt>
                <c:pt idx="2535">
                  <c:v>1975230.4879999999</c:v>
                </c:pt>
                <c:pt idx="2536">
                  <c:v>1960264.69</c:v>
                </c:pt>
                <c:pt idx="2537">
                  <c:v>1957232.23</c:v>
                </c:pt>
                <c:pt idx="2538">
                  <c:v>1941029.0179999999</c:v>
                </c:pt>
                <c:pt idx="2539">
                  <c:v>1940997.1529999999</c:v>
                </c:pt>
                <c:pt idx="2540">
                  <c:v>1947794.9609999999</c:v>
                </c:pt>
                <c:pt idx="2541">
                  <c:v>1973456.6850000001</c:v>
                </c:pt>
                <c:pt idx="2542">
                  <c:v>2033245.5279999999</c:v>
                </c:pt>
                <c:pt idx="2543">
                  <c:v>2036123.9750000001</c:v>
                </c:pt>
                <c:pt idx="2544">
                  <c:v>2040016.7819999999</c:v>
                </c:pt>
                <c:pt idx="2545">
                  <c:v>2018794.8759999999</c:v>
                </c:pt>
                <c:pt idx="2546">
                  <c:v>2015087.9469999999</c:v>
                </c:pt>
                <c:pt idx="2547">
                  <c:v>2036591.324</c:v>
                </c:pt>
                <c:pt idx="2548">
                  <c:v>2031689.4680000001</c:v>
                </c:pt>
                <c:pt idx="2549">
                  <c:v>2090224.9650000001</c:v>
                </c:pt>
                <c:pt idx="2550">
                  <c:v>2090947.2320000001</c:v>
                </c:pt>
                <c:pt idx="2551">
                  <c:v>2067770.956</c:v>
                </c:pt>
                <c:pt idx="2552">
                  <c:v>2056921.0179999999</c:v>
                </c:pt>
                <c:pt idx="2553">
                  <c:v>2067595.7</c:v>
                </c:pt>
                <c:pt idx="2554">
                  <c:v>2019580.8729999999</c:v>
                </c:pt>
                <c:pt idx="2555">
                  <c:v>2014450.652</c:v>
                </c:pt>
                <c:pt idx="2556">
                  <c:v>2011057.0589999999</c:v>
                </c:pt>
                <c:pt idx="2557">
                  <c:v>2010249.8189999999</c:v>
                </c:pt>
                <c:pt idx="2558">
                  <c:v>2022735.48</c:v>
                </c:pt>
                <c:pt idx="2559">
                  <c:v>2030945.9569999999</c:v>
                </c:pt>
                <c:pt idx="2560">
                  <c:v>2021731.7420000001</c:v>
                </c:pt>
                <c:pt idx="2561">
                  <c:v>2020563.368</c:v>
                </c:pt>
                <c:pt idx="2562">
                  <c:v>2001317.075</c:v>
                </c:pt>
                <c:pt idx="2563">
                  <c:v>2022326.55</c:v>
                </c:pt>
                <c:pt idx="2564">
                  <c:v>2008369.801</c:v>
                </c:pt>
                <c:pt idx="2565">
                  <c:v>2012740.5789999999</c:v>
                </c:pt>
                <c:pt idx="2566">
                  <c:v>2028630.4539999999</c:v>
                </c:pt>
                <c:pt idx="2567">
                  <c:v>2045221.3540000001</c:v>
                </c:pt>
                <c:pt idx="2568">
                  <c:v>2049204.4439999999</c:v>
                </c:pt>
                <c:pt idx="2569">
                  <c:v>2046920.8060000001</c:v>
                </c:pt>
                <c:pt idx="2570">
                  <c:v>2055444.6189999999</c:v>
                </c:pt>
                <c:pt idx="2571">
                  <c:v>2036878.1070000001</c:v>
                </c:pt>
                <c:pt idx="2572">
                  <c:v>2019942.0060000001</c:v>
                </c:pt>
                <c:pt idx="2573">
                  <c:v>1990185.665</c:v>
                </c:pt>
                <c:pt idx="2574">
                  <c:v>1952080.7660000001</c:v>
                </c:pt>
                <c:pt idx="2575">
                  <c:v>1931177.5079999999</c:v>
                </c:pt>
                <c:pt idx="2576">
                  <c:v>1923264.4350000001</c:v>
                </c:pt>
                <c:pt idx="2577">
                  <c:v>1948681.8629999999</c:v>
                </c:pt>
                <c:pt idx="2578">
                  <c:v>1929690.487</c:v>
                </c:pt>
                <c:pt idx="2579">
                  <c:v>1964513.3189999999</c:v>
                </c:pt>
                <c:pt idx="2580">
                  <c:v>1946801.844</c:v>
                </c:pt>
                <c:pt idx="2581">
                  <c:v>1955644.3049999999</c:v>
                </c:pt>
                <c:pt idx="2582">
                  <c:v>1961804.818</c:v>
                </c:pt>
                <c:pt idx="2583">
                  <c:v>1970588.86</c:v>
                </c:pt>
                <c:pt idx="2584">
                  <c:v>2013367.2520000001</c:v>
                </c:pt>
                <c:pt idx="2585">
                  <c:v>2011582.827</c:v>
                </c:pt>
                <c:pt idx="2586">
                  <c:v>2008412.287</c:v>
                </c:pt>
                <c:pt idx="2587">
                  <c:v>2014652.4620000001</c:v>
                </c:pt>
                <c:pt idx="2588">
                  <c:v>2029177.4650000001</c:v>
                </c:pt>
                <c:pt idx="2589">
                  <c:v>1999994.689</c:v>
                </c:pt>
                <c:pt idx="2590">
                  <c:v>2027100.9469999999</c:v>
                </c:pt>
                <c:pt idx="2591">
                  <c:v>2019469.3459999999</c:v>
                </c:pt>
                <c:pt idx="2592">
                  <c:v>2012889.281</c:v>
                </c:pt>
                <c:pt idx="2593">
                  <c:v>2017881.4210000001</c:v>
                </c:pt>
                <c:pt idx="2594">
                  <c:v>2043760.8870000001</c:v>
                </c:pt>
                <c:pt idx="2595">
                  <c:v>2046570.294</c:v>
                </c:pt>
                <c:pt idx="2596">
                  <c:v>2063771.9339999999</c:v>
                </c:pt>
                <c:pt idx="2597">
                  <c:v>2084653.949</c:v>
                </c:pt>
                <c:pt idx="2598">
                  <c:v>2096969.665</c:v>
                </c:pt>
                <c:pt idx="2599">
                  <c:v>2109949.2289999998</c:v>
                </c:pt>
                <c:pt idx="2600">
                  <c:v>2102684.0720000002</c:v>
                </c:pt>
                <c:pt idx="2601">
                  <c:v>2087192.5049999999</c:v>
                </c:pt>
                <c:pt idx="2602">
                  <c:v>2109646.514</c:v>
                </c:pt>
                <c:pt idx="2603">
                  <c:v>2101860.9</c:v>
                </c:pt>
                <c:pt idx="2604">
                  <c:v>2066544.165</c:v>
                </c:pt>
                <c:pt idx="2605">
                  <c:v>2076560.3089999999</c:v>
                </c:pt>
                <c:pt idx="2606">
                  <c:v>2084154.7350000001</c:v>
                </c:pt>
                <c:pt idx="2607">
                  <c:v>2090139.9920000001</c:v>
                </c:pt>
                <c:pt idx="2608">
                  <c:v>2066246.76</c:v>
                </c:pt>
                <c:pt idx="2609">
                  <c:v>2071780.601</c:v>
                </c:pt>
                <c:pt idx="2610">
                  <c:v>2055795.1310000001</c:v>
                </c:pt>
                <c:pt idx="2611">
                  <c:v>2039947.7420000001</c:v>
                </c:pt>
                <c:pt idx="2612">
                  <c:v>2046060.4580000001</c:v>
                </c:pt>
                <c:pt idx="2613">
                  <c:v>2025815.737</c:v>
                </c:pt>
                <c:pt idx="2614">
                  <c:v>2038110.209</c:v>
                </c:pt>
                <c:pt idx="2615">
                  <c:v>2041063.007</c:v>
                </c:pt>
                <c:pt idx="2616">
                  <c:v>2057738.879</c:v>
                </c:pt>
                <c:pt idx="2617">
                  <c:v>2077436.5889999999</c:v>
                </c:pt>
                <c:pt idx="2618">
                  <c:v>2099481.6669999999</c:v>
                </c:pt>
                <c:pt idx="2619">
                  <c:v>2090458.64</c:v>
                </c:pt>
                <c:pt idx="2620">
                  <c:v>2083257.2120000001</c:v>
                </c:pt>
                <c:pt idx="2621">
                  <c:v>2084600.841</c:v>
                </c:pt>
                <c:pt idx="2622">
                  <c:v>2054945.405</c:v>
                </c:pt>
                <c:pt idx="2623">
                  <c:v>2061031.567</c:v>
                </c:pt>
                <c:pt idx="2624">
                  <c:v>2069018.9909999999</c:v>
                </c:pt>
                <c:pt idx="2625">
                  <c:v>2055848.2390000001</c:v>
                </c:pt>
                <c:pt idx="2626">
                  <c:v>2055630.497</c:v>
                </c:pt>
                <c:pt idx="2627">
                  <c:v>2069502.273</c:v>
                </c:pt>
                <c:pt idx="2628">
                  <c:v>2085328.419</c:v>
                </c:pt>
                <c:pt idx="2629">
                  <c:v>2076639.9709999999</c:v>
                </c:pt>
                <c:pt idx="2630">
                  <c:v>2066549.4750000001</c:v>
                </c:pt>
                <c:pt idx="2631">
                  <c:v>2064170.243</c:v>
                </c:pt>
                <c:pt idx="2632">
                  <c:v>2099030.25</c:v>
                </c:pt>
                <c:pt idx="2633">
                  <c:v>2112694.906</c:v>
                </c:pt>
                <c:pt idx="2634">
                  <c:v>2125807.2400000002</c:v>
                </c:pt>
                <c:pt idx="2635">
                  <c:v>2116284.9980000001</c:v>
                </c:pt>
                <c:pt idx="2636">
                  <c:v>2119997.2379999999</c:v>
                </c:pt>
                <c:pt idx="2637">
                  <c:v>2109981.094</c:v>
                </c:pt>
                <c:pt idx="2638">
                  <c:v>2072789.65</c:v>
                </c:pt>
                <c:pt idx="2639">
                  <c:v>2073166.716</c:v>
                </c:pt>
                <c:pt idx="2640">
                  <c:v>2071196.4140000001</c:v>
                </c:pt>
                <c:pt idx="2641">
                  <c:v>2074319.1569999999</c:v>
                </c:pt>
                <c:pt idx="2642">
                  <c:v>2059040.0220000001</c:v>
                </c:pt>
                <c:pt idx="2643">
                  <c:v>2075418.49</c:v>
                </c:pt>
                <c:pt idx="2644">
                  <c:v>2096188.9790000001</c:v>
                </c:pt>
                <c:pt idx="2645">
                  <c:v>2075381.3149999999</c:v>
                </c:pt>
                <c:pt idx="2646">
                  <c:v>2065683.817</c:v>
                </c:pt>
                <c:pt idx="2647">
                  <c:v>2044647.7890000001</c:v>
                </c:pt>
                <c:pt idx="2648">
                  <c:v>2059634.83</c:v>
                </c:pt>
                <c:pt idx="2649">
                  <c:v>2066772.5279999999</c:v>
                </c:pt>
                <c:pt idx="2650">
                  <c:v>2058259.3359999999</c:v>
                </c:pt>
                <c:pt idx="2651">
                  <c:v>2051185.368</c:v>
                </c:pt>
                <c:pt idx="2652">
                  <c:v>2033325.19</c:v>
                </c:pt>
                <c:pt idx="2653">
                  <c:v>2037249.862</c:v>
                </c:pt>
                <c:pt idx="2654">
                  <c:v>2045231.9750000001</c:v>
                </c:pt>
                <c:pt idx="2655">
                  <c:v>2044557.5049999999</c:v>
                </c:pt>
                <c:pt idx="2656">
                  <c:v>2060245.571</c:v>
                </c:pt>
                <c:pt idx="2657">
                  <c:v>2072476.314</c:v>
                </c:pt>
                <c:pt idx="2658">
                  <c:v>2068790.628</c:v>
                </c:pt>
                <c:pt idx="2659">
                  <c:v>2071408.8459999999</c:v>
                </c:pt>
                <c:pt idx="2660">
                  <c:v>2072667.5020000001</c:v>
                </c:pt>
                <c:pt idx="2661">
                  <c:v>2066437.949</c:v>
                </c:pt>
                <c:pt idx="2662">
                  <c:v>2107437.2259999998</c:v>
                </c:pt>
                <c:pt idx="2663">
                  <c:v>2117702.9780000001</c:v>
                </c:pt>
                <c:pt idx="2664">
                  <c:v>2146513.9989999998</c:v>
                </c:pt>
                <c:pt idx="2665">
                  <c:v>2141723.6690000002</c:v>
                </c:pt>
                <c:pt idx="2666">
                  <c:v>2138733.696</c:v>
                </c:pt>
                <c:pt idx="2667">
                  <c:v>2133476.0159999998</c:v>
                </c:pt>
                <c:pt idx="2668">
                  <c:v>2106842.4180000001</c:v>
                </c:pt>
                <c:pt idx="2669">
                  <c:v>2120576.1140000001</c:v>
                </c:pt>
                <c:pt idx="2670">
                  <c:v>2119466.16</c:v>
                </c:pt>
                <c:pt idx="2671">
                  <c:v>2138117.645</c:v>
                </c:pt>
                <c:pt idx="2672">
                  <c:v>2136014.5729999999</c:v>
                </c:pt>
                <c:pt idx="2673">
                  <c:v>2167666.8650000002</c:v>
                </c:pt>
                <c:pt idx="2674">
                  <c:v>2175606.4920000001</c:v>
                </c:pt>
                <c:pt idx="2675">
                  <c:v>2205166.3339999998</c:v>
                </c:pt>
                <c:pt idx="2676">
                  <c:v>2201300.0809999998</c:v>
                </c:pt>
                <c:pt idx="2677">
                  <c:v>2192983.3879999998</c:v>
                </c:pt>
                <c:pt idx="2678">
                  <c:v>2209409.6529999999</c:v>
                </c:pt>
                <c:pt idx="2679">
                  <c:v>2183965.6710000001</c:v>
                </c:pt>
                <c:pt idx="2680">
                  <c:v>2211608.3190000001</c:v>
                </c:pt>
                <c:pt idx="2681">
                  <c:v>2210976.335</c:v>
                </c:pt>
                <c:pt idx="2682">
                  <c:v>2232649.6579999998</c:v>
                </c:pt>
                <c:pt idx="2683">
                  <c:v>2225161.4479999999</c:v>
                </c:pt>
                <c:pt idx="2684">
                  <c:v>2212861.665</c:v>
                </c:pt>
                <c:pt idx="2685">
                  <c:v>2203466.8820000002</c:v>
                </c:pt>
                <c:pt idx="2686">
                  <c:v>2206552.449</c:v>
                </c:pt>
                <c:pt idx="2687">
                  <c:v>2223005.2680000002</c:v>
                </c:pt>
                <c:pt idx="2688">
                  <c:v>2185022.5180000002</c:v>
                </c:pt>
                <c:pt idx="2689">
                  <c:v>2194380.125</c:v>
                </c:pt>
                <c:pt idx="2690">
                  <c:v>2126386.1150000002</c:v>
                </c:pt>
                <c:pt idx="2691">
                  <c:v>1958809.534</c:v>
                </c:pt>
                <c:pt idx="2692">
                  <c:v>2010472.872</c:v>
                </c:pt>
                <c:pt idx="2693">
                  <c:v>2033250.8389999999</c:v>
                </c:pt>
                <c:pt idx="2694">
                  <c:v>2071090.1980000001</c:v>
                </c:pt>
                <c:pt idx="2695">
                  <c:v>2071137.9950000001</c:v>
                </c:pt>
                <c:pt idx="2696">
                  <c:v>2079709.6059999999</c:v>
                </c:pt>
                <c:pt idx="2697">
                  <c:v>2099067.426</c:v>
                </c:pt>
                <c:pt idx="2698">
                  <c:v>2116046.0129999998</c:v>
                </c:pt>
                <c:pt idx="2699">
                  <c:v>2103029.273</c:v>
                </c:pt>
                <c:pt idx="2700">
                  <c:v>2117798.5720000002</c:v>
                </c:pt>
                <c:pt idx="2701">
                  <c:v>2165431.023</c:v>
                </c:pt>
                <c:pt idx="2702">
                  <c:v>2154857.2459999998</c:v>
                </c:pt>
                <c:pt idx="2703">
                  <c:v>2151564.5580000002</c:v>
                </c:pt>
                <c:pt idx="2704">
                  <c:v>2201140.7570000002</c:v>
                </c:pt>
                <c:pt idx="2705">
                  <c:v>2203705.8670000001</c:v>
                </c:pt>
                <c:pt idx="2706">
                  <c:v>2194863.4070000001</c:v>
                </c:pt>
                <c:pt idx="2707">
                  <c:v>2190089.0090000001</c:v>
                </c:pt>
                <c:pt idx="2708">
                  <c:v>2163094.2769999998</c:v>
                </c:pt>
                <c:pt idx="2709">
                  <c:v>2169392.8709999998</c:v>
                </c:pt>
                <c:pt idx="2710">
                  <c:v>2092476.7390000001</c:v>
                </c:pt>
                <c:pt idx="2711">
                  <c:v>2161315.1630000002</c:v>
                </c:pt>
                <c:pt idx="2712">
                  <c:v>2172834.2609999999</c:v>
                </c:pt>
                <c:pt idx="2713">
                  <c:v>2185415.5159999998</c:v>
                </c:pt>
                <c:pt idx="2714">
                  <c:v>2234104.8139999998</c:v>
                </c:pt>
                <c:pt idx="2715">
                  <c:v>2197874.6230000001</c:v>
                </c:pt>
                <c:pt idx="2716">
                  <c:v>2122790.7119999998</c:v>
                </c:pt>
                <c:pt idx="2717">
                  <c:v>2168251.0520000001</c:v>
                </c:pt>
                <c:pt idx="2718">
                  <c:v>2139413.477</c:v>
                </c:pt>
                <c:pt idx="2719">
                  <c:v>2098244.2540000002</c:v>
                </c:pt>
                <c:pt idx="2720">
                  <c:v>2068716.277</c:v>
                </c:pt>
                <c:pt idx="2721">
                  <c:v>1979776.5220000001</c:v>
                </c:pt>
                <c:pt idx="2722">
                  <c:v>1970132.132</c:v>
                </c:pt>
                <c:pt idx="2723">
                  <c:v>1931140.3319999999</c:v>
                </c:pt>
                <c:pt idx="2724">
                  <c:v>1906089.3489999999</c:v>
                </c:pt>
                <c:pt idx="2725">
                  <c:v>1940147.4269999999</c:v>
                </c:pt>
                <c:pt idx="2726">
                  <c:v>1874872.541</c:v>
                </c:pt>
                <c:pt idx="2727">
                  <c:v>1925218.804</c:v>
                </c:pt>
                <c:pt idx="2728">
                  <c:v>1976951.183</c:v>
                </c:pt>
                <c:pt idx="2729">
                  <c:v>1963955.6869999999</c:v>
                </c:pt>
                <c:pt idx="2730">
                  <c:v>1970333.942</c:v>
                </c:pt>
                <c:pt idx="2731">
                  <c:v>1951241.662</c:v>
                </c:pt>
                <c:pt idx="2732">
                  <c:v>1957641.1610000001</c:v>
                </c:pt>
                <c:pt idx="2733">
                  <c:v>1951756.808</c:v>
                </c:pt>
                <c:pt idx="2734">
                  <c:v>1983329.439</c:v>
                </c:pt>
                <c:pt idx="2735">
                  <c:v>1972012.1510000001</c:v>
                </c:pt>
                <c:pt idx="2736">
                  <c:v>2017047.6270000001</c:v>
                </c:pt>
                <c:pt idx="2737">
                  <c:v>2007658.155</c:v>
                </c:pt>
                <c:pt idx="2738">
                  <c:v>2014280.7069999999</c:v>
                </c:pt>
                <c:pt idx="2739">
                  <c:v>2001731.317</c:v>
                </c:pt>
                <c:pt idx="2740">
                  <c:v>1993276.5430000001</c:v>
                </c:pt>
                <c:pt idx="2741">
                  <c:v>2031747.8859999999</c:v>
                </c:pt>
                <c:pt idx="2742">
                  <c:v>2016697.115</c:v>
                </c:pt>
                <c:pt idx="2743">
                  <c:v>2019363.13</c:v>
                </c:pt>
                <c:pt idx="2744">
                  <c:v>2039071.4620000001</c:v>
                </c:pt>
                <c:pt idx="2745">
                  <c:v>2046490.632</c:v>
                </c:pt>
                <c:pt idx="2746">
                  <c:v>2022374.3470000001</c:v>
                </c:pt>
                <c:pt idx="2747">
                  <c:v>2039013.0430000001</c:v>
                </c:pt>
                <c:pt idx="2748">
                  <c:v>2033898.7549999999</c:v>
                </c:pt>
                <c:pt idx="2749">
                  <c:v>2016489.9939999999</c:v>
                </c:pt>
                <c:pt idx="2750">
                  <c:v>2030191.8259999999</c:v>
                </c:pt>
                <c:pt idx="2751">
                  <c:v>2044201.682</c:v>
                </c:pt>
                <c:pt idx="2752">
                  <c:v>2053697.37</c:v>
                </c:pt>
                <c:pt idx="2753">
                  <c:v>2077888.0060000001</c:v>
                </c:pt>
                <c:pt idx="2754">
                  <c:v>2090458.64</c:v>
                </c:pt>
                <c:pt idx="2755">
                  <c:v>2084425.585</c:v>
                </c:pt>
                <c:pt idx="2756">
                  <c:v>2104994.264</c:v>
                </c:pt>
                <c:pt idx="2757">
                  <c:v>2103167.3539999998</c:v>
                </c:pt>
                <c:pt idx="2758">
                  <c:v>2103199.2179999999</c:v>
                </c:pt>
                <c:pt idx="2759">
                  <c:v>2107453.159</c:v>
                </c:pt>
                <c:pt idx="2760">
                  <c:v>2084600.841</c:v>
                </c:pt>
                <c:pt idx="2761">
                  <c:v>2078015.4650000001</c:v>
                </c:pt>
                <c:pt idx="2762">
                  <c:v>2083374.0490000001</c:v>
                </c:pt>
                <c:pt idx="2763">
                  <c:v>2101080.2140000002</c:v>
                </c:pt>
                <c:pt idx="2764">
                  <c:v>2089911.628</c:v>
                </c:pt>
                <c:pt idx="2765">
                  <c:v>2078530.611</c:v>
                </c:pt>
                <c:pt idx="2766">
                  <c:v>2030876.9169999999</c:v>
                </c:pt>
                <c:pt idx="2767">
                  <c:v>2033670.3910000001</c:v>
                </c:pt>
                <c:pt idx="2768">
                  <c:v>2056745.7620000001</c:v>
                </c:pt>
                <c:pt idx="2769">
                  <c:v>2042321.6640000001</c:v>
                </c:pt>
                <c:pt idx="2770">
                  <c:v>2048174.1510000001</c:v>
                </c:pt>
                <c:pt idx="2771">
                  <c:v>2053692.0589999999</c:v>
                </c:pt>
                <c:pt idx="2772">
                  <c:v>2109094.1919999998</c:v>
                </c:pt>
                <c:pt idx="2773">
                  <c:v>2115589.2850000001</c:v>
                </c:pt>
                <c:pt idx="2774">
                  <c:v>2115631.7710000002</c:v>
                </c:pt>
                <c:pt idx="2775">
                  <c:v>2114856.3960000002</c:v>
                </c:pt>
                <c:pt idx="2776">
                  <c:v>2124978.7570000002</c:v>
                </c:pt>
                <c:pt idx="2777">
                  <c:v>2135972.0869999998</c:v>
                </c:pt>
                <c:pt idx="2778">
                  <c:v>2149291.5410000002</c:v>
                </c:pt>
                <c:pt idx="2779">
                  <c:v>2145404.0449999999</c:v>
                </c:pt>
                <c:pt idx="2780">
                  <c:v>2122126.8640000001</c:v>
                </c:pt>
                <c:pt idx="2781">
                  <c:v>2125950.6310000001</c:v>
                </c:pt>
                <c:pt idx="2782">
                  <c:v>2100411.0550000002</c:v>
                </c:pt>
                <c:pt idx="2783">
                  <c:v>2132052.7250000001</c:v>
                </c:pt>
                <c:pt idx="2784">
                  <c:v>2133656.5830000001</c:v>
                </c:pt>
                <c:pt idx="2785">
                  <c:v>2147884.182</c:v>
                </c:pt>
                <c:pt idx="2786">
                  <c:v>2176737.69</c:v>
                </c:pt>
                <c:pt idx="2787">
                  <c:v>2178511.4929999998</c:v>
                </c:pt>
                <c:pt idx="2788">
                  <c:v>2188994.9870000002</c:v>
                </c:pt>
                <c:pt idx="2789">
                  <c:v>2198129.5410000002</c:v>
                </c:pt>
                <c:pt idx="2790">
                  <c:v>2182584.8659999999</c:v>
                </c:pt>
                <c:pt idx="2791">
                  <c:v>2211390.577</c:v>
                </c:pt>
                <c:pt idx="2792">
                  <c:v>2255905.5950000002</c:v>
                </c:pt>
                <c:pt idx="2793">
                  <c:v>2302672.3879999998</c:v>
                </c:pt>
                <c:pt idx="2794">
                  <c:v>2347155.5419999999</c:v>
                </c:pt>
                <c:pt idx="2795">
                  <c:v>2480185.4530000002</c:v>
                </c:pt>
                <c:pt idx="2796">
                  <c:v>2495076.9</c:v>
                </c:pt>
                <c:pt idx="2797">
                  <c:v>2535369.8429999999</c:v>
                </c:pt>
                <c:pt idx="2798">
                  <c:v>2570829.9700000002</c:v>
                </c:pt>
                <c:pt idx="2799">
                  <c:v>2524286.23</c:v>
                </c:pt>
                <c:pt idx="2800">
                  <c:v>2577303.8199999998</c:v>
                </c:pt>
                <c:pt idx="2801">
                  <c:v>2552730.807</c:v>
                </c:pt>
                <c:pt idx="2802">
                  <c:v>2519687.088</c:v>
                </c:pt>
                <c:pt idx="2803">
                  <c:v>2398484.301</c:v>
                </c:pt>
                <c:pt idx="2804">
                  <c:v>2413593.4909999999</c:v>
                </c:pt>
                <c:pt idx="2805">
                  <c:v>2485607.7659999998</c:v>
                </c:pt>
                <c:pt idx="2806">
                  <c:v>2491311.5520000001</c:v>
                </c:pt>
                <c:pt idx="2807">
                  <c:v>2503744.105</c:v>
                </c:pt>
                <c:pt idx="2808">
                  <c:v>2502676.6370000001</c:v>
                </c:pt>
                <c:pt idx="2809">
                  <c:v>2392823.0019999999</c:v>
                </c:pt>
                <c:pt idx="2810">
                  <c:v>2404963.4619999998</c:v>
                </c:pt>
                <c:pt idx="2811">
                  <c:v>2426105.7059999998</c:v>
                </c:pt>
                <c:pt idx="2812">
                  <c:v>2484922.6749999998</c:v>
                </c:pt>
                <c:pt idx="2813">
                  <c:v>2472782.2149999999</c:v>
                </c:pt>
                <c:pt idx="2814">
                  <c:v>2493441.1779999998</c:v>
                </c:pt>
                <c:pt idx="2815">
                  <c:v>2533941.2409999999</c:v>
                </c:pt>
                <c:pt idx="2816">
                  <c:v>2536325.7850000001</c:v>
                </c:pt>
                <c:pt idx="2817">
                  <c:v>2537021.4980000001</c:v>
                </c:pt>
                <c:pt idx="2818">
                  <c:v>2529400.5180000002</c:v>
                </c:pt>
                <c:pt idx="2819">
                  <c:v>2500281.4720000001</c:v>
                </c:pt>
                <c:pt idx="2820">
                  <c:v>2509277.9449999998</c:v>
                </c:pt>
                <c:pt idx="2821">
                  <c:v>2486393.7629999998</c:v>
                </c:pt>
                <c:pt idx="2822">
                  <c:v>2468262.7349999999</c:v>
                </c:pt>
                <c:pt idx="2823">
                  <c:v>2461926.966</c:v>
                </c:pt>
                <c:pt idx="2824">
                  <c:v>2498528.912</c:v>
                </c:pt>
                <c:pt idx="2825">
                  <c:v>2557266.219</c:v>
                </c:pt>
                <c:pt idx="2826">
                  <c:v>2555954.4550000001</c:v>
                </c:pt>
                <c:pt idx="2827">
                  <c:v>2517674.2999999998</c:v>
                </c:pt>
                <c:pt idx="2828">
                  <c:v>2484997.0260000001</c:v>
                </c:pt>
                <c:pt idx="2829">
                  <c:v>2506075.5410000002</c:v>
                </c:pt>
                <c:pt idx="2830">
                  <c:v>2525730.764</c:v>
                </c:pt>
                <c:pt idx="2831">
                  <c:v>2528970.3450000002</c:v>
                </c:pt>
                <c:pt idx="2832">
                  <c:v>2499325.5299999998</c:v>
                </c:pt>
                <c:pt idx="2833">
                  <c:v>2512719.3360000001</c:v>
                </c:pt>
                <c:pt idx="2834">
                  <c:v>2572688.7450000001</c:v>
                </c:pt>
                <c:pt idx="2835">
                  <c:v>2557791.9870000002</c:v>
                </c:pt>
                <c:pt idx="2836">
                  <c:v>2571546.926</c:v>
                </c:pt>
                <c:pt idx="2837">
                  <c:v>2572486.9350000001</c:v>
                </c:pt>
                <c:pt idx="2838">
                  <c:v>2558259.3360000001</c:v>
                </c:pt>
                <c:pt idx="2839">
                  <c:v>2533362.3659999999</c:v>
                </c:pt>
                <c:pt idx="2840">
                  <c:v>2479803.0759999999</c:v>
                </c:pt>
                <c:pt idx="2841">
                  <c:v>2493090.6660000002</c:v>
                </c:pt>
                <c:pt idx="2842">
                  <c:v>2434778.2220000001</c:v>
                </c:pt>
                <c:pt idx="2843">
                  <c:v>2433392.1060000001</c:v>
                </c:pt>
                <c:pt idx="2844">
                  <c:v>2457449.9720000001</c:v>
                </c:pt>
                <c:pt idx="2845">
                  <c:v>2470073.7140000002</c:v>
                </c:pt>
                <c:pt idx="2846">
                  <c:v>2489951.9900000002</c:v>
                </c:pt>
                <c:pt idx="2847">
                  <c:v>2473424.8199999998</c:v>
                </c:pt>
                <c:pt idx="2848">
                  <c:v>2460333.73</c:v>
                </c:pt>
                <c:pt idx="2849">
                  <c:v>2515767.727</c:v>
                </c:pt>
                <c:pt idx="2850">
                  <c:v>2491518.673</c:v>
                </c:pt>
                <c:pt idx="2851">
                  <c:v>2461953.52</c:v>
                </c:pt>
                <c:pt idx="2852">
                  <c:v>2470753.4939999999</c:v>
                </c:pt>
                <c:pt idx="2853">
                  <c:v>2423349.4070000001</c:v>
                </c:pt>
                <c:pt idx="2854">
                  <c:v>2427040.4040000001</c:v>
                </c:pt>
                <c:pt idx="2855">
                  <c:v>2433354.9309999999</c:v>
                </c:pt>
                <c:pt idx="2856">
                  <c:v>2438607.2990000001</c:v>
                </c:pt>
                <c:pt idx="2857">
                  <c:v>2436270.5529999998</c:v>
                </c:pt>
                <c:pt idx="2858">
                  <c:v>2486053.8730000001</c:v>
                </c:pt>
                <c:pt idx="2859">
                  <c:v>2561477.673</c:v>
                </c:pt>
                <c:pt idx="2860">
                  <c:v>2569996.176</c:v>
                </c:pt>
                <c:pt idx="2861">
                  <c:v>2552948.5490000001</c:v>
                </c:pt>
                <c:pt idx="2862">
                  <c:v>2548508.7310000001</c:v>
                </c:pt>
                <c:pt idx="2863">
                  <c:v>2544759.3149999999</c:v>
                </c:pt>
                <c:pt idx="2864">
                  <c:v>2525539.5759999999</c:v>
                </c:pt>
                <c:pt idx="2865">
                  <c:v>2545709.946</c:v>
                </c:pt>
                <c:pt idx="2866">
                  <c:v>2545370.0559999999</c:v>
                </c:pt>
                <c:pt idx="2867">
                  <c:v>2537483.537</c:v>
                </c:pt>
                <c:pt idx="2868">
                  <c:v>2505889.6630000002</c:v>
                </c:pt>
                <c:pt idx="2869">
                  <c:v>2491417.7680000002</c:v>
                </c:pt>
                <c:pt idx="2870">
                  <c:v>2495687.6409999998</c:v>
                </c:pt>
                <c:pt idx="2871">
                  <c:v>2515863.3220000002</c:v>
                </c:pt>
                <c:pt idx="2872">
                  <c:v>2534796.2779999999</c:v>
                </c:pt>
                <c:pt idx="2873">
                  <c:v>2493589.88</c:v>
                </c:pt>
                <c:pt idx="2874">
                  <c:v>2507132.3870000001</c:v>
                </c:pt>
                <c:pt idx="2875">
                  <c:v>2537260.483</c:v>
                </c:pt>
                <c:pt idx="2876">
                  <c:v>2556432.426</c:v>
                </c:pt>
                <c:pt idx="2877">
                  <c:v>2594378.0010000002</c:v>
                </c:pt>
                <c:pt idx="2878">
                  <c:v>2594701.9589999998</c:v>
                </c:pt>
                <c:pt idx="2879">
                  <c:v>2645489.017</c:v>
                </c:pt>
                <c:pt idx="2880">
                  <c:v>2630900.2850000001</c:v>
                </c:pt>
                <c:pt idx="2881">
                  <c:v>2604888.0490000001</c:v>
                </c:pt>
                <c:pt idx="2882">
                  <c:v>2606778.6889999998</c:v>
                </c:pt>
                <c:pt idx="2883">
                  <c:v>2579369.716</c:v>
                </c:pt>
                <c:pt idx="2884">
                  <c:v>2604500.361</c:v>
                </c:pt>
                <c:pt idx="2885">
                  <c:v>2599518.8429999999</c:v>
                </c:pt>
                <c:pt idx="2886">
                  <c:v>2597861.8769999999</c:v>
                </c:pt>
                <c:pt idx="2887">
                  <c:v>2617150.656</c:v>
                </c:pt>
                <c:pt idx="2888">
                  <c:v>2625276.1609999998</c:v>
                </c:pt>
                <c:pt idx="2889">
                  <c:v>2658064.9619999998</c:v>
                </c:pt>
                <c:pt idx="2890">
                  <c:v>2641739.6009999998</c:v>
                </c:pt>
                <c:pt idx="2891">
                  <c:v>2607968.3050000002</c:v>
                </c:pt>
                <c:pt idx="2892">
                  <c:v>2612689.5950000002</c:v>
                </c:pt>
                <c:pt idx="2893">
                  <c:v>2645180.9920000001</c:v>
                </c:pt>
                <c:pt idx="2894">
                  <c:v>2634283.2560000001</c:v>
                </c:pt>
                <c:pt idx="2895">
                  <c:v>2691029.0180000002</c:v>
                </c:pt>
                <c:pt idx="2896">
                  <c:v>2691050.2609999999</c:v>
                </c:pt>
                <c:pt idx="2897">
                  <c:v>2685696.9879999999</c:v>
                </c:pt>
                <c:pt idx="2898">
                  <c:v>2690402.3450000002</c:v>
                </c:pt>
                <c:pt idx="2899">
                  <c:v>2667204.8259999999</c:v>
                </c:pt>
                <c:pt idx="2900">
                  <c:v>2660640.693</c:v>
                </c:pt>
                <c:pt idx="2901">
                  <c:v>2624962.824</c:v>
                </c:pt>
                <c:pt idx="2902">
                  <c:v>2623805.0729999999</c:v>
                </c:pt>
                <c:pt idx="2903">
                  <c:v>2596778.4759999998</c:v>
                </c:pt>
                <c:pt idx="2904">
                  <c:v>2620788.5460000001</c:v>
                </c:pt>
                <c:pt idx="2905">
                  <c:v>2626237.4130000002</c:v>
                </c:pt>
                <c:pt idx="2906">
                  <c:v>2630894.9739999999</c:v>
                </c:pt>
                <c:pt idx="2907">
                  <c:v>2664676.892</c:v>
                </c:pt>
                <c:pt idx="2908">
                  <c:v>2655377.7030000002</c:v>
                </c:pt>
                <c:pt idx="2909">
                  <c:v>2680269.3629999999</c:v>
                </c:pt>
                <c:pt idx="2910">
                  <c:v>2636683.7319999998</c:v>
                </c:pt>
                <c:pt idx="2911">
                  <c:v>2659174.9160000002</c:v>
                </c:pt>
                <c:pt idx="2912">
                  <c:v>2655404.2570000002</c:v>
                </c:pt>
                <c:pt idx="2913">
                  <c:v>2677704.253</c:v>
                </c:pt>
                <c:pt idx="2914">
                  <c:v>2689600.4160000002</c:v>
                </c:pt>
                <c:pt idx="2915">
                  <c:v>2678198.156</c:v>
                </c:pt>
                <c:pt idx="2916">
                  <c:v>2715782.5980000002</c:v>
                </c:pt>
                <c:pt idx="2917">
                  <c:v>2767605.26</c:v>
                </c:pt>
                <c:pt idx="2918">
                  <c:v>2797574.0320000001</c:v>
                </c:pt>
                <c:pt idx="2919">
                  <c:v>2851096.1460000002</c:v>
                </c:pt>
                <c:pt idx="2920">
                  <c:v>2877209.2880000002</c:v>
                </c:pt>
                <c:pt idx="2921">
                  <c:v>2928187.5350000001</c:v>
                </c:pt>
                <c:pt idx="2922">
                  <c:v>2918505.969</c:v>
                </c:pt>
                <c:pt idx="2923">
                  <c:v>2889684.327</c:v>
                </c:pt>
                <c:pt idx="2924">
                  <c:v>2972102.4339999999</c:v>
                </c:pt>
                <c:pt idx="2925">
                  <c:v>2962341.2069999999</c:v>
                </c:pt>
                <c:pt idx="2926">
                  <c:v>2905244.9339999999</c:v>
                </c:pt>
                <c:pt idx="2927">
                  <c:v>2898670.179</c:v>
                </c:pt>
                <c:pt idx="2928">
                  <c:v>2930768.577</c:v>
                </c:pt>
                <c:pt idx="2929">
                  <c:v>2887751.2</c:v>
                </c:pt>
                <c:pt idx="2930">
                  <c:v>2908415.4739999999</c:v>
                </c:pt>
                <c:pt idx="2931">
                  <c:v>2955437.1839999999</c:v>
                </c:pt>
                <c:pt idx="2932">
                  <c:v>2957991.673</c:v>
                </c:pt>
                <c:pt idx="2933">
                  <c:v>2987806.432</c:v>
                </c:pt>
                <c:pt idx="2934">
                  <c:v>2927821.09</c:v>
                </c:pt>
                <c:pt idx="2935">
                  <c:v>2935803.2030000002</c:v>
                </c:pt>
                <c:pt idx="2936">
                  <c:v>2855684.6669999999</c:v>
                </c:pt>
                <c:pt idx="2937">
                  <c:v>2842312.1039999998</c:v>
                </c:pt>
                <c:pt idx="2938">
                  <c:v>2877198.6660000002</c:v>
                </c:pt>
                <c:pt idx="2939">
                  <c:v>2921511.875</c:v>
                </c:pt>
                <c:pt idx="2940">
                  <c:v>2913073.034</c:v>
                </c:pt>
                <c:pt idx="2941">
                  <c:v>2907098.398</c:v>
                </c:pt>
                <c:pt idx="2942">
                  <c:v>2912122.4029999999</c:v>
                </c:pt>
                <c:pt idx="2943">
                  <c:v>2955219.4419999998</c:v>
                </c:pt>
                <c:pt idx="2944">
                  <c:v>3019846.412</c:v>
                </c:pt>
                <c:pt idx="2945">
                  <c:v>3084356.5449999999</c:v>
                </c:pt>
                <c:pt idx="2946">
                  <c:v>3063463.9079999998</c:v>
                </c:pt>
                <c:pt idx="2947">
                  <c:v>3069018.9909999999</c:v>
                </c:pt>
                <c:pt idx="2948">
                  <c:v>2972622.892</c:v>
                </c:pt>
                <c:pt idx="2949">
                  <c:v>2963244.0410000002</c:v>
                </c:pt>
                <c:pt idx="2950">
                  <c:v>2887777.7540000002</c:v>
                </c:pt>
                <c:pt idx="2951">
                  <c:v>2904766.963</c:v>
                </c:pt>
                <c:pt idx="2952">
                  <c:v>2834239.7080000001</c:v>
                </c:pt>
                <c:pt idx="2953">
                  <c:v>2877798.7850000001</c:v>
                </c:pt>
                <c:pt idx="2954">
                  <c:v>2841074.6910000001</c:v>
                </c:pt>
                <c:pt idx="2955">
                  <c:v>2895552.747</c:v>
                </c:pt>
                <c:pt idx="2956">
                  <c:v>2804472.7450000001</c:v>
                </c:pt>
                <c:pt idx="2957">
                  <c:v>2794961.125</c:v>
                </c:pt>
                <c:pt idx="2958">
                  <c:v>2697890.5550000002</c:v>
                </c:pt>
                <c:pt idx="2959">
                  <c:v>2639992.352</c:v>
                </c:pt>
                <c:pt idx="2960">
                  <c:v>2657310.83</c:v>
                </c:pt>
                <c:pt idx="2961">
                  <c:v>2723488.55</c:v>
                </c:pt>
                <c:pt idx="2962">
                  <c:v>2733132.94</c:v>
                </c:pt>
                <c:pt idx="2963">
                  <c:v>2674268.1740000001</c:v>
                </c:pt>
                <c:pt idx="2964">
                  <c:v>2697540.0430000001</c:v>
                </c:pt>
                <c:pt idx="2965">
                  <c:v>2708958.236</c:v>
                </c:pt>
                <c:pt idx="2966">
                  <c:v>2730684.6669999999</c:v>
                </c:pt>
                <c:pt idx="2967">
                  <c:v>2659158.9840000002</c:v>
                </c:pt>
                <c:pt idx="2968">
                  <c:v>2685744.7850000001</c:v>
                </c:pt>
                <c:pt idx="2969">
                  <c:v>2660306.1140000001</c:v>
                </c:pt>
                <c:pt idx="2970">
                  <c:v>2617522.412</c:v>
                </c:pt>
                <c:pt idx="2971">
                  <c:v>2616279.6869999999</c:v>
                </c:pt>
                <c:pt idx="2972">
                  <c:v>2675569.3160000001</c:v>
                </c:pt>
                <c:pt idx="2973">
                  <c:v>2680290.6060000001</c:v>
                </c:pt>
                <c:pt idx="2974">
                  <c:v>2705702.7230000002</c:v>
                </c:pt>
                <c:pt idx="2975">
                  <c:v>2681076.6030000001</c:v>
                </c:pt>
                <c:pt idx="2976">
                  <c:v>2714226.537</c:v>
                </c:pt>
                <c:pt idx="2977">
                  <c:v>2741194.7149999999</c:v>
                </c:pt>
                <c:pt idx="2978">
                  <c:v>2729925.2239999999</c:v>
                </c:pt>
                <c:pt idx="2979">
                  <c:v>2710487.7429999998</c:v>
                </c:pt>
                <c:pt idx="2980">
                  <c:v>2714985.98</c:v>
                </c:pt>
                <c:pt idx="2981">
                  <c:v>2674161.9580000001</c:v>
                </c:pt>
                <c:pt idx="2982">
                  <c:v>2627644.7719999999</c:v>
                </c:pt>
                <c:pt idx="2983">
                  <c:v>2623337.7239999999</c:v>
                </c:pt>
                <c:pt idx="2984">
                  <c:v>2645106.6409999998</c:v>
                </c:pt>
                <c:pt idx="2985">
                  <c:v>2628292.6880000001</c:v>
                </c:pt>
                <c:pt idx="2986">
                  <c:v>2637432.5529999998</c:v>
                </c:pt>
                <c:pt idx="2987">
                  <c:v>2701608.1060000001</c:v>
                </c:pt>
                <c:pt idx="2988">
                  <c:v>2699669.6690000002</c:v>
                </c:pt>
                <c:pt idx="2989">
                  <c:v>2707832.3489999999</c:v>
                </c:pt>
                <c:pt idx="2990">
                  <c:v>2702787.1009999998</c:v>
                </c:pt>
                <c:pt idx="2991">
                  <c:v>2727328.2489999998</c:v>
                </c:pt>
                <c:pt idx="2992">
                  <c:v>2696414.156</c:v>
                </c:pt>
                <c:pt idx="2993">
                  <c:v>2703466.8820000002</c:v>
                </c:pt>
                <c:pt idx="2994">
                  <c:v>2718719.463</c:v>
                </c:pt>
                <c:pt idx="2995">
                  <c:v>2742580.83</c:v>
                </c:pt>
                <c:pt idx="2996">
                  <c:v>2720976.548</c:v>
                </c:pt>
                <c:pt idx="2997">
                  <c:v>2687853.1669999999</c:v>
                </c:pt>
                <c:pt idx="2998">
                  <c:v>2653295.875</c:v>
                </c:pt>
                <c:pt idx="2999">
                  <c:v>2651368.0589999999</c:v>
                </c:pt>
                <c:pt idx="3000">
                  <c:v>2667640.3110000002</c:v>
                </c:pt>
                <c:pt idx="3001">
                  <c:v>2679053.193</c:v>
                </c:pt>
                <c:pt idx="3002">
                  <c:v>2651660.1519999998</c:v>
                </c:pt>
                <c:pt idx="3003">
                  <c:v>2714125.6320000002</c:v>
                </c:pt>
                <c:pt idx="3004">
                  <c:v>2753637.889</c:v>
                </c:pt>
                <c:pt idx="3005">
                  <c:v>2755024.0049999999</c:v>
                </c:pt>
                <c:pt idx="3006">
                  <c:v>2746882.568</c:v>
                </c:pt>
                <c:pt idx="3007">
                  <c:v>2754392.0210000002</c:v>
                </c:pt>
                <c:pt idx="3008">
                  <c:v>2726637.8470000001</c:v>
                </c:pt>
                <c:pt idx="3009">
                  <c:v>2738024.1749999998</c:v>
                </c:pt>
                <c:pt idx="3010">
                  <c:v>2824531.5890000002</c:v>
                </c:pt>
                <c:pt idx="3011">
                  <c:v>2825652.165</c:v>
                </c:pt>
                <c:pt idx="3012">
                  <c:v>2835020.3930000002</c:v>
                </c:pt>
                <c:pt idx="3013">
                  <c:v>2825917.7039999999</c:v>
                </c:pt>
                <c:pt idx="3014">
                  <c:v>2831483.409</c:v>
                </c:pt>
                <c:pt idx="3015">
                  <c:v>2836852.6150000002</c:v>
                </c:pt>
                <c:pt idx="3016">
                  <c:v>2809390.534</c:v>
                </c:pt>
                <c:pt idx="3017">
                  <c:v>2790972.7239999999</c:v>
                </c:pt>
                <c:pt idx="3018">
                  <c:v>2805306.5389999999</c:v>
                </c:pt>
                <c:pt idx="3019">
                  <c:v>2802837.023</c:v>
                </c:pt>
                <c:pt idx="3020">
                  <c:v>2778667.63</c:v>
                </c:pt>
                <c:pt idx="3021">
                  <c:v>2780967.2009999999</c:v>
                </c:pt>
                <c:pt idx="3022">
                  <c:v>2799565.5780000002</c:v>
                </c:pt>
                <c:pt idx="3023">
                  <c:v>2774727.0260000001</c:v>
                </c:pt>
                <c:pt idx="3024">
                  <c:v>2743850.108</c:v>
                </c:pt>
                <c:pt idx="3025">
                  <c:v>2698140.162</c:v>
                </c:pt>
                <c:pt idx="3026">
                  <c:v>2709505.247</c:v>
                </c:pt>
                <c:pt idx="3027">
                  <c:v>2709813.273</c:v>
                </c:pt>
                <c:pt idx="3028">
                  <c:v>2703397.8420000002</c:v>
                </c:pt>
                <c:pt idx="3029">
                  <c:v>2720270.213</c:v>
                </c:pt>
                <c:pt idx="3030">
                  <c:v>2733669.3289999999</c:v>
                </c:pt>
                <c:pt idx="3031">
                  <c:v>2738225.9849999999</c:v>
                </c:pt>
                <c:pt idx="3032">
                  <c:v>2782836.5980000002</c:v>
                </c:pt>
                <c:pt idx="3033">
                  <c:v>2789098.0159999998</c:v>
                </c:pt>
                <c:pt idx="3034">
                  <c:v>2756585.3760000002</c:v>
                </c:pt>
                <c:pt idx="3035">
                  <c:v>2774376.514</c:v>
                </c:pt>
                <c:pt idx="3036">
                  <c:v>2777361.176</c:v>
                </c:pt>
                <c:pt idx="3037">
                  <c:v>2698474.7420000001</c:v>
                </c:pt>
                <c:pt idx="3038">
                  <c:v>2700954.88</c:v>
                </c:pt>
                <c:pt idx="3039">
                  <c:v>2699526.2779999999</c:v>
                </c:pt>
                <c:pt idx="3040">
                  <c:v>2730004.8859999999</c:v>
                </c:pt>
                <c:pt idx="3041">
                  <c:v>2702266.6439999999</c:v>
                </c:pt>
                <c:pt idx="3042">
                  <c:v>2692271.7420000001</c:v>
                </c:pt>
                <c:pt idx="3043">
                  <c:v>2725873.0929999999</c:v>
                </c:pt>
                <c:pt idx="3044">
                  <c:v>2730859.923</c:v>
                </c:pt>
                <c:pt idx="3045">
                  <c:v>2699515.656</c:v>
                </c:pt>
                <c:pt idx="3046">
                  <c:v>2735830.82</c:v>
                </c:pt>
                <c:pt idx="3047">
                  <c:v>2705723.9670000002</c:v>
                </c:pt>
                <c:pt idx="3048">
                  <c:v>2715665.76</c:v>
                </c:pt>
                <c:pt idx="3049">
                  <c:v>2713275.906</c:v>
                </c:pt>
                <c:pt idx="3050">
                  <c:v>2731890.2149999999</c:v>
                </c:pt>
                <c:pt idx="3051">
                  <c:v>2735984.8319999999</c:v>
                </c:pt>
                <c:pt idx="3052">
                  <c:v>2702781.79</c:v>
                </c:pt>
                <c:pt idx="3053">
                  <c:v>2615722.0550000002</c:v>
                </c:pt>
                <c:pt idx="3054">
                  <c:v>2523319.6669999999</c:v>
                </c:pt>
                <c:pt idx="3055">
                  <c:v>2528189.659</c:v>
                </c:pt>
                <c:pt idx="3056">
                  <c:v>2575875.2179999999</c:v>
                </c:pt>
                <c:pt idx="3057">
                  <c:v>2555110.04</c:v>
                </c:pt>
                <c:pt idx="3058">
                  <c:v>2620204.3590000002</c:v>
                </c:pt>
                <c:pt idx="3059">
                  <c:v>2620586.736</c:v>
                </c:pt>
                <c:pt idx="3060">
                  <c:v>2644161.3199999998</c:v>
                </c:pt>
                <c:pt idx="3061">
                  <c:v>2628133.3640000001</c:v>
                </c:pt>
                <c:pt idx="3062">
                  <c:v>2613735.8199999998</c:v>
                </c:pt>
                <c:pt idx="3063">
                  <c:v>2647724.8590000002</c:v>
                </c:pt>
                <c:pt idx="3064">
                  <c:v>2678309.6830000002</c:v>
                </c:pt>
                <c:pt idx="3065">
                  <c:v>2663540.3829999999</c:v>
                </c:pt>
                <c:pt idx="3066">
                  <c:v>2641240.3870000001</c:v>
                </c:pt>
                <c:pt idx="3067">
                  <c:v>2626704.7629999998</c:v>
                </c:pt>
                <c:pt idx="3068">
                  <c:v>2624097.1660000002</c:v>
                </c:pt>
                <c:pt idx="3069">
                  <c:v>2569040.2349999999</c:v>
                </c:pt>
                <c:pt idx="3070">
                  <c:v>2599226.7489999998</c:v>
                </c:pt>
                <c:pt idx="3071">
                  <c:v>2582179.122</c:v>
                </c:pt>
                <c:pt idx="3072">
                  <c:v>2532857.841</c:v>
                </c:pt>
                <c:pt idx="3073">
                  <c:v>2568232.9950000001</c:v>
                </c:pt>
                <c:pt idx="3074">
                  <c:v>2596119.9389999998</c:v>
                </c:pt>
                <c:pt idx="3075">
                  <c:v>2601308.5780000002</c:v>
                </c:pt>
                <c:pt idx="3076">
                  <c:v>2550032.9270000001</c:v>
                </c:pt>
                <c:pt idx="3077">
                  <c:v>2563538.2590000001</c:v>
                </c:pt>
                <c:pt idx="3078">
                  <c:v>2556225.3050000002</c:v>
                </c:pt>
                <c:pt idx="3079">
                  <c:v>2552157.2420000001</c:v>
                </c:pt>
                <c:pt idx="3080">
                  <c:v>2586066.6189999999</c:v>
                </c:pt>
                <c:pt idx="3081">
                  <c:v>2586040.0649999999</c:v>
                </c:pt>
                <c:pt idx="3082">
                  <c:v>2572046.14</c:v>
                </c:pt>
                <c:pt idx="3083">
                  <c:v>2620199.048</c:v>
                </c:pt>
                <c:pt idx="3084">
                  <c:v>2651585.801</c:v>
                </c:pt>
                <c:pt idx="3085">
                  <c:v>2640592.4709999999</c:v>
                </c:pt>
                <c:pt idx="3086">
                  <c:v>2639466.585</c:v>
                </c:pt>
                <c:pt idx="3087">
                  <c:v>2662573.8199999998</c:v>
                </c:pt>
                <c:pt idx="3088">
                  <c:v>2650964.4389999998</c:v>
                </c:pt>
                <c:pt idx="3089">
                  <c:v>2611399.074</c:v>
                </c:pt>
                <c:pt idx="3090">
                  <c:v>2584930.11</c:v>
                </c:pt>
                <c:pt idx="3091">
                  <c:v>2553267.196</c:v>
                </c:pt>
                <c:pt idx="3092">
                  <c:v>2578886.4339999999</c:v>
                </c:pt>
                <c:pt idx="3093">
                  <c:v>2560739.4739999999</c:v>
                </c:pt>
                <c:pt idx="3094">
                  <c:v>2577431.2779999999</c:v>
                </c:pt>
                <c:pt idx="3095">
                  <c:v>2575429.1120000002</c:v>
                </c:pt>
                <c:pt idx="3096">
                  <c:v>2590267.4509999999</c:v>
                </c:pt>
                <c:pt idx="3097">
                  <c:v>2593698.2200000002</c:v>
                </c:pt>
                <c:pt idx="3098">
                  <c:v>2567197.3909999998</c:v>
                </c:pt>
                <c:pt idx="3099">
                  <c:v>2584430.8960000002</c:v>
                </c:pt>
                <c:pt idx="3100">
                  <c:v>2618186.2599999998</c:v>
                </c:pt>
                <c:pt idx="3101">
                  <c:v>2621505.5019999999</c:v>
                </c:pt>
                <c:pt idx="3102">
                  <c:v>2593703.531</c:v>
                </c:pt>
                <c:pt idx="3103">
                  <c:v>2623587.3309999998</c:v>
                </c:pt>
                <c:pt idx="3104">
                  <c:v>2609513.7439999999</c:v>
                </c:pt>
                <c:pt idx="3105">
                  <c:v>2619338.7009999999</c:v>
                </c:pt>
                <c:pt idx="3106">
                  <c:v>2588891.9569999999</c:v>
                </c:pt>
                <c:pt idx="3107">
                  <c:v>2614351.872</c:v>
                </c:pt>
                <c:pt idx="3108">
                  <c:v>2607692.1439999999</c:v>
                </c:pt>
                <c:pt idx="3109">
                  <c:v>2617166.5890000002</c:v>
                </c:pt>
                <c:pt idx="3110">
                  <c:v>2634007.0950000002</c:v>
                </c:pt>
                <c:pt idx="3111">
                  <c:v>2644517.1430000002</c:v>
                </c:pt>
                <c:pt idx="3112">
                  <c:v>2635796.8309999998</c:v>
                </c:pt>
                <c:pt idx="3113">
                  <c:v>2601308.5780000002</c:v>
                </c:pt>
                <c:pt idx="3114">
                  <c:v>2583241.2799999998</c:v>
                </c:pt>
                <c:pt idx="3115">
                  <c:v>2606943.3229999999</c:v>
                </c:pt>
                <c:pt idx="3116">
                  <c:v>2597341.42</c:v>
                </c:pt>
                <c:pt idx="3117">
                  <c:v>2570341.3769999999</c:v>
                </c:pt>
                <c:pt idx="3118">
                  <c:v>2560388.9619999998</c:v>
                </c:pt>
                <c:pt idx="3119">
                  <c:v>2585684.2420000001</c:v>
                </c:pt>
                <c:pt idx="3120">
                  <c:v>2571669.074</c:v>
                </c:pt>
                <c:pt idx="3121">
                  <c:v>2574765.2629999998</c:v>
                </c:pt>
                <c:pt idx="3122">
                  <c:v>2574000.5099999998</c:v>
                </c:pt>
                <c:pt idx="3123">
                  <c:v>2560431.4479999999</c:v>
                </c:pt>
                <c:pt idx="3124">
                  <c:v>2601568.807</c:v>
                </c:pt>
                <c:pt idx="3125">
                  <c:v>2596109.3169999998</c:v>
                </c:pt>
                <c:pt idx="3126">
                  <c:v>2592928.156</c:v>
                </c:pt>
                <c:pt idx="3127">
                  <c:v>2593427.37</c:v>
                </c:pt>
                <c:pt idx="3128">
                  <c:v>2594717.8909999998</c:v>
                </c:pt>
                <c:pt idx="3129">
                  <c:v>2569157.0720000002</c:v>
                </c:pt>
                <c:pt idx="3130">
                  <c:v>2597006.84</c:v>
                </c:pt>
                <c:pt idx="3131">
                  <c:v>2608871.139</c:v>
                </c:pt>
                <c:pt idx="3132">
                  <c:v>2609375.6639999999</c:v>
                </c:pt>
                <c:pt idx="3133">
                  <c:v>2611133.534</c:v>
                </c:pt>
                <c:pt idx="3134">
                  <c:v>2600395.1230000001</c:v>
                </c:pt>
                <c:pt idx="3135">
                  <c:v>2581111.6540000001</c:v>
                </c:pt>
                <c:pt idx="3136">
                  <c:v>2576485.9580000001</c:v>
                </c:pt>
                <c:pt idx="3137">
                  <c:v>2566188.3420000002</c:v>
                </c:pt>
                <c:pt idx="3138">
                  <c:v>2572465.6919999998</c:v>
                </c:pt>
                <c:pt idx="3139">
                  <c:v>2579003.2710000002</c:v>
                </c:pt>
                <c:pt idx="3140">
                  <c:v>2602827.463</c:v>
                </c:pt>
                <c:pt idx="3141">
                  <c:v>2598366.4019999998</c:v>
                </c:pt>
                <c:pt idx="3142">
                  <c:v>2614022.6030000001</c:v>
                </c:pt>
                <c:pt idx="3143">
                  <c:v>2653232.145</c:v>
                </c:pt>
                <c:pt idx="3144">
                  <c:v>2697184.2209999999</c:v>
                </c:pt>
                <c:pt idx="3145">
                  <c:v>2684666.6949999998</c:v>
                </c:pt>
                <c:pt idx="3146">
                  <c:v>2699898.0329999998</c:v>
                </c:pt>
                <c:pt idx="3147">
                  <c:v>2681788.2480000001</c:v>
                </c:pt>
                <c:pt idx="3148">
                  <c:v>2658527</c:v>
                </c:pt>
                <c:pt idx="3149">
                  <c:v>2673838</c:v>
                </c:pt>
                <c:pt idx="3150">
                  <c:v>2631367.6340000001</c:v>
                </c:pt>
                <c:pt idx="3151">
                  <c:v>2591887.2409999999</c:v>
                </c:pt>
                <c:pt idx="3152">
                  <c:v>2609450.0150000001</c:v>
                </c:pt>
                <c:pt idx="3153">
                  <c:v>2609959.85</c:v>
                </c:pt>
                <c:pt idx="3154">
                  <c:v>2628170.54</c:v>
                </c:pt>
                <c:pt idx="3155">
                  <c:v>2613618.983</c:v>
                </c:pt>
                <c:pt idx="3156">
                  <c:v>2612546.2039999999</c:v>
                </c:pt>
                <c:pt idx="3157">
                  <c:v>2632004.9279999998</c:v>
                </c:pt>
                <c:pt idx="3158">
                  <c:v>2593512.3420000002</c:v>
                </c:pt>
                <c:pt idx="3159">
                  <c:v>2613709.2659999998</c:v>
                </c:pt>
                <c:pt idx="3160">
                  <c:v>2623725.4109999998</c:v>
                </c:pt>
                <c:pt idx="3161">
                  <c:v>2611723.0320000001</c:v>
                </c:pt>
                <c:pt idx="3162">
                  <c:v>2585354.9730000002</c:v>
                </c:pt>
                <c:pt idx="3163">
                  <c:v>2558859.4550000001</c:v>
                </c:pt>
                <c:pt idx="3164">
                  <c:v>2561058.1209999998</c:v>
                </c:pt>
                <c:pt idx="3165">
                  <c:v>2572571.9079999998</c:v>
                </c:pt>
                <c:pt idx="3166">
                  <c:v>2547993.585</c:v>
                </c:pt>
                <c:pt idx="3167">
                  <c:v>2573384.4589999998</c:v>
                </c:pt>
                <c:pt idx="3168">
                  <c:v>2531078.727</c:v>
                </c:pt>
                <c:pt idx="3169">
                  <c:v>2510265.7519999999</c:v>
                </c:pt>
                <c:pt idx="3170">
                  <c:v>2531800.9939999999</c:v>
                </c:pt>
                <c:pt idx="3171">
                  <c:v>2556267.7910000002</c:v>
                </c:pt>
                <c:pt idx="3172">
                  <c:v>2538758.1260000002</c:v>
                </c:pt>
                <c:pt idx="3173">
                  <c:v>2561663.551</c:v>
                </c:pt>
                <c:pt idx="3174">
                  <c:v>2538189.8709999998</c:v>
                </c:pt>
                <c:pt idx="3175">
                  <c:v>2542135.7859999998</c:v>
                </c:pt>
                <c:pt idx="3176">
                  <c:v>2484625.2710000002</c:v>
                </c:pt>
                <c:pt idx="3177">
                  <c:v>2502607.5970000001</c:v>
                </c:pt>
                <c:pt idx="3178">
                  <c:v>2453519.9900000002</c:v>
                </c:pt>
                <c:pt idx="3179">
                  <c:v>2423721.162</c:v>
                </c:pt>
                <c:pt idx="3180">
                  <c:v>2461066.6189999999</c:v>
                </c:pt>
                <c:pt idx="3181">
                  <c:v>2447619.7050000001</c:v>
                </c:pt>
                <c:pt idx="3182">
                  <c:v>2470610.1030000001</c:v>
                </c:pt>
                <c:pt idx="3183">
                  <c:v>2464130.943</c:v>
                </c:pt>
                <c:pt idx="3184">
                  <c:v>2443705.6549999998</c:v>
                </c:pt>
                <c:pt idx="3185">
                  <c:v>2417305.7310000001</c:v>
                </c:pt>
                <c:pt idx="3186">
                  <c:v>2443015.253</c:v>
                </c:pt>
                <c:pt idx="3187">
                  <c:v>2452516.2510000002</c:v>
                </c:pt>
                <c:pt idx="3188">
                  <c:v>2458448.4</c:v>
                </c:pt>
                <c:pt idx="3189">
                  <c:v>2470174.6189999999</c:v>
                </c:pt>
                <c:pt idx="3190">
                  <c:v>2461183.4559999998</c:v>
                </c:pt>
                <c:pt idx="3191">
                  <c:v>2429233.7599999998</c:v>
                </c:pt>
                <c:pt idx="3192">
                  <c:v>2455203.5090000001</c:v>
                </c:pt>
                <c:pt idx="3193">
                  <c:v>2405425.5</c:v>
                </c:pt>
                <c:pt idx="3194">
                  <c:v>2428846.0720000002</c:v>
                </c:pt>
                <c:pt idx="3195">
                  <c:v>2433216.85</c:v>
                </c:pt>
                <c:pt idx="3196">
                  <c:v>2453419.085</c:v>
                </c:pt>
                <c:pt idx="3197">
                  <c:v>2431597.06</c:v>
                </c:pt>
                <c:pt idx="3198">
                  <c:v>2417273.8670000001</c:v>
                </c:pt>
                <c:pt idx="3199">
                  <c:v>2387958.321</c:v>
                </c:pt>
                <c:pt idx="3200">
                  <c:v>2311668.8620000002</c:v>
                </c:pt>
                <c:pt idx="3201">
                  <c:v>2265257.892</c:v>
                </c:pt>
                <c:pt idx="3202">
                  <c:v>2244524.5780000002</c:v>
                </c:pt>
                <c:pt idx="3203">
                  <c:v>2279836.003</c:v>
                </c:pt>
                <c:pt idx="3204">
                  <c:v>2287101.16</c:v>
                </c:pt>
                <c:pt idx="3205">
                  <c:v>2217126.227</c:v>
                </c:pt>
                <c:pt idx="3206">
                  <c:v>2115716.7439999999</c:v>
                </c:pt>
                <c:pt idx="3207">
                  <c:v>2207205.676</c:v>
                </c:pt>
                <c:pt idx="3208">
                  <c:v>2250552.3220000002</c:v>
                </c:pt>
                <c:pt idx="3209">
                  <c:v>2265528.7420000001</c:v>
                </c:pt>
                <c:pt idx="3210">
                  <c:v>2261731.5290000001</c:v>
                </c:pt>
                <c:pt idx="3211">
                  <c:v>2259899.307</c:v>
                </c:pt>
                <c:pt idx="3212">
                  <c:v>2271168.798</c:v>
                </c:pt>
                <c:pt idx="3213">
                  <c:v>2257780.3029999998</c:v>
                </c:pt>
                <c:pt idx="3214">
                  <c:v>2217025.3220000002</c:v>
                </c:pt>
                <c:pt idx="3215">
                  <c:v>2203164.1669999999</c:v>
                </c:pt>
                <c:pt idx="3216">
                  <c:v>2195553.8089999999</c:v>
                </c:pt>
                <c:pt idx="3217">
                  <c:v>2259262.0129999998</c:v>
                </c:pt>
                <c:pt idx="3218">
                  <c:v>2242533.0329999998</c:v>
                </c:pt>
                <c:pt idx="3219">
                  <c:v>2270977.61</c:v>
                </c:pt>
                <c:pt idx="3220">
                  <c:v>2264434.7200000002</c:v>
                </c:pt>
                <c:pt idx="3221">
                  <c:v>2235363.4700000002</c:v>
                </c:pt>
                <c:pt idx="3222">
                  <c:v>2246871.946</c:v>
                </c:pt>
              </c:numCache>
            </c:numRef>
          </c:val>
          <c:smooth val="0"/>
          <c:extLst>
            <c:ext xmlns:c16="http://schemas.microsoft.com/office/drawing/2014/chart" uri="{C3380CC4-5D6E-409C-BE32-E72D297353CC}">
              <c16:uniqueId val="{00000000-AD3B-41BE-96AE-C0728EE915FA}"/>
            </c:ext>
          </c:extLst>
        </c:ser>
        <c:ser>
          <c:idx val="1"/>
          <c:order val="1"/>
          <c:tx>
            <c:strRef>
              <c:f>turnover_牛熊!$D$1</c:f>
              <c:strCache>
                <c:ptCount val="1"/>
                <c:pt idx="0">
                  <c:v>RSRS</c:v>
                </c:pt>
              </c:strCache>
            </c:strRef>
          </c:tx>
          <c:spPr>
            <a:ln w="28575" cap="rnd">
              <a:solidFill>
                <a:schemeClr val="accent2"/>
              </a:solidFill>
              <a:round/>
            </a:ln>
            <a:effectLst/>
          </c:spPr>
          <c:marker>
            <c:symbol val="none"/>
          </c:marker>
          <c:cat>
            <c:numRef>
              <c:f>turnover_牛熊!$B$2:$B$3224</c:f>
              <c:numCache>
                <c:formatCode>yyyy\-mm\-dd;@</c:formatCode>
                <c:ptCount val="3223"/>
                <c:pt idx="0">
                  <c:v>39818</c:v>
                </c:pt>
                <c:pt idx="1">
                  <c:v>39819</c:v>
                </c:pt>
                <c:pt idx="2">
                  <c:v>39820</c:v>
                </c:pt>
                <c:pt idx="3">
                  <c:v>39821</c:v>
                </c:pt>
                <c:pt idx="4">
                  <c:v>39822</c:v>
                </c:pt>
                <c:pt idx="5">
                  <c:v>39825</c:v>
                </c:pt>
                <c:pt idx="6">
                  <c:v>39826</c:v>
                </c:pt>
                <c:pt idx="7">
                  <c:v>39827</c:v>
                </c:pt>
                <c:pt idx="8">
                  <c:v>39828</c:v>
                </c:pt>
                <c:pt idx="9">
                  <c:v>39829</c:v>
                </c:pt>
                <c:pt idx="10">
                  <c:v>39832</c:v>
                </c:pt>
                <c:pt idx="11">
                  <c:v>39833</c:v>
                </c:pt>
                <c:pt idx="12">
                  <c:v>39834</c:v>
                </c:pt>
                <c:pt idx="13">
                  <c:v>39835</c:v>
                </c:pt>
                <c:pt idx="14">
                  <c:v>39836</c:v>
                </c:pt>
                <c:pt idx="15">
                  <c:v>39846</c:v>
                </c:pt>
                <c:pt idx="16">
                  <c:v>39847</c:v>
                </c:pt>
                <c:pt idx="17">
                  <c:v>39848</c:v>
                </c:pt>
                <c:pt idx="18">
                  <c:v>39849</c:v>
                </c:pt>
                <c:pt idx="19">
                  <c:v>39850</c:v>
                </c:pt>
                <c:pt idx="20">
                  <c:v>39853</c:v>
                </c:pt>
                <c:pt idx="21">
                  <c:v>39854</c:v>
                </c:pt>
                <c:pt idx="22">
                  <c:v>39855</c:v>
                </c:pt>
                <c:pt idx="23">
                  <c:v>39856</c:v>
                </c:pt>
                <c:pt idx="24">
                  <c:v>39857</c:v>
                </c:pt>
                <c:pt idx="25">
                  <c:v>39860</c:v>
                </c:pt>
                <c:pt idx="26">
                  <c:v>39861</c:v>
                </c:pt>
                <c:pt idx="27">
                  <c:v>39862</c:v>
                </c:pt>
                <c:pt idx="28">
                  <c:v>39863</c:v>
                </c:pt>
                <c:pt idx="29">
                  <c:v>39864</c:v>
                </c:pt>
                <c:pt idx="30">
                  <c:v>39867</c:v>
                </c:pt>
                <c:pt idx="31">
                  <c:v>39868</c:v>
                </c:pt>
                <c:pt idx="32">
                  <c:v>39869</c:v>
                </c:pt>
                <c:pt idx="33">
                  <c:v>39870</c:v>
                </c:pt>
                <c:pt idx="34">
                  <c:v>39871</c:v>
                </c:pt>
                <c:pt idx="35">
                  <c:v>39874</c:v>
                </c:pt>
                <c:pt idx="36">
                  <c:v>39875</c:v>
                </c:pt>
                <c:pt idx="37">
                  <c:v>39876</c:v>
                </c:pt>
                <c:pt idx="38">
                  <c:v>39877</c:v>
                </c:pt>
                <c:pt idx="39">
                  <c:v>39878</c:v>
                </c:pt>
                <c:pt idx="40">
                  <c:v>39881</c:v>
                </c:pt>
                <c:pt idx="41">
                  <c:v>39882</c:v>
                </c:pt>
                <c:pt idx="42">
                  <c:v>39883</c:v>
                </c:pt>
                <c:pt idx="43">
                  <c:v>39884</c:v>
                </c:pt>
                <c:pt idx="44">
                  <c:v>39885</c:v>
                </c:pt>
                <c:pt idx="45">
                  <c:v>39888</c:v>
                </c:pt>
                <c:pt idx="46">
                  <c:v>39889</c:v>
                </c:pt>
                <c:pt idx="47">
                  <c:v>39890</c:v>
                </c:pt>
                <c:pt idx="48">
                  <c:v>39891</c:v>
                </c:pt>
                <c:pt idx="49">
                  <c:v>39892</c:v>
                </c:pt>
                <c:pt idx="50">
                  <c:v>39895</c:v>
                </c:pt>
                <c:pt idx="51">
                  <c:v>39896</c:v>
                </c:pt>
                <c:pt idx="52">
                  <c:v>39897</c:v>
                </c:pt>
                <c:pt idx="53">
                  <c:v>39898</c:v>
                </c:pt>
                <c:pt idx="54">
                  <c:v>39899</c:v>
                </c:pt>
                <c:pt idx="55">
                  <c:v>39902</c:v>
                </c:pt>
                <c:pt idx="56">
                  <c:v>39903</c:v>
                </c:pt>
                <c:pt idx="57">
                  <c:v>39904</c:v>
                </c:pt>
                <c:pt idx="58">
                  <c:v>39905</c:v>
                </c:pt>
                <c:pt idx="59">
                  <c:v>39906</c:v>
                </c:pt>
                <c:pt idx="60">
                  <c:v>39910</c:v>
                </c:pt>
                <c:pt idx="61">
                  <c:v>39911</c:v>
                </c:pt>
                <c:pt idx="62">
                  <c:v>39912</c:v>
                </c:pt>
                <c:pt idx="63">
                  <c:v>39913</c:v>
                </c:pt>
                <c:pt idx="64">
                  <c:v>39916</c:v>
                </c:pt>
                <c:pt idx="65">
                  <c:v>39917</c:v>
                </c:pt>
                <c:pt idx="66">
                  <c:v>39918</c:v>
                </c:pt>
                <c:pt idx="67">
                  <c:v>39919</c:v>
                </c:pt>
                <c:pt idx="68">
                  <c:v>39920</c:v>
                </c:pt>
                <c:pt idx="69">
                  <c:v>39923</c:v>
                </c:pt>
                <c:pt idx="70">
                  <c:v>39924</c:v>
                </c:pt>
                <c:pt idx="71">
                  <c:v>39925</c:v>
                </c:pt>
                <c:pt idx="72">
                  <c:v>39926</c:v>
                </c:pt>
                <c:pt idx="73">
                  <c:v>39927</c:v>
                </c:pt>
                <c:pt idx="74">
                  <c:v>39930</c:v>
                </c:pt>
                <c:pt idx="75">
                  <c:v>39931</c:v>
                </c:pt>
                <c:pt idx="76">
                  <c:v>39932</c:v>
                </c:pt>
                <c:pt idx="77">
                  <c:v>39933</c:v>
                </c:pt>
                <c:pt idx="78">
                  <c:v>39937</c:v>
                </c:pt>
                <c:pt idx="79">
                  <c:v>39938</c:v>
                </c:pt>
                <c:pt idx="80">
                  <c:v>39939</c:v>
                </c:pt>
                <c:pt idx="81">
                  <c:v>39940</c:v>
                </c:pt>
                <c:pt idx="82">
                  <c:v>39941</c:v>
                </c:pt>
                <c:pt idx="83">
                  <c:v>39944</c:v>
                </c:pt>
                <c:pt idx="84">
                  <c:v>39945</c:v>
                </c:pt>
                <c:pt idx="85">
                  <c:v>39946</c:v>
                </c:pt>
                <c:pt idx="86">
                  <c:v>39947</c:v>
                </c:pt>
                <c:pt idx="87">
                  <c:v>39948</c:v>
                </c:pt>
                <c:pt idx="88">
                  <c:v>39951</c:v>
                </c:pt>
                <c:pt idx="89">
                  <c:v>39952</c:v>
                </c:pt>
                <c:pt idx="90">
                  <c:v>39953</c:v>
                </c:pt>
                <c:pt idx="91">
                  <c:v>39954</c:v>
                </c:pt>
                <c:pt idx="92">
                  <c:v>39955</c:v>
                </c:pt>
                <c:pt idx="93">
                  <c:v>39958</c:v>
                </c:pt>
                <c:pt idx="94">
                  <c:v>39959</c:v>
                </c:pt>
                <c:pt idx="95">
                  <c:v>39960</c:v>
                </c:pt>
                <c:pt idx="96">
                  <c:v>39965</c:v>
                </c:pt>
                <c:pt idx="97">
                  <c:v>39966</c:v>
                </c:pt>
                <c:pt idx="98">
                  <c:v>39967</c:v>
                </c:pt>
                <c:pt idx="99">
                  <c:v>39968</c:v>
                </c:pt>
                <c:pt idx="100">
                  <c:v>39969</c:v>
                </c:pt>
                <c:pt idx="101">
                  <c:v>39972</c:v>
                </c:pt>
                <c:pt idx="102">
                  <c:v>39973</c:v>
                </c:pt>
                <c:pt idx="103">
                  <c:v>39974</c:v>
                </c:pt>
                <c:pt idx="104">
                  <c:v>39975</c:v>
                </c:pt>
                <c:pt idx="105">
                  <c:v>39976</c:v>
                </c:pt>
                <c:pt idx="106">
                  <c:v>39979</c:v>
                </c:pt>
                <c:pt idx="107">
                  <c:v>39980</c:v>
                </c:pt>
                <c:pt idx="108">
                  <c:v>39981</c:v>
                </c:pt>
                <c:pt idx="109">
                  <c:v>39982</c:v>
                </c:pt>
                <c:pt idx="110">
                  <c:v>39983</c:v>
                </c:pt>
                <c:pt idx="111">
                  <c:v>39986</c:v>
                </c:pt>
                <c:pt idx="112">
                  <c:v>39987</c:v>
                </c:pt>
                <c:pt idx="113">
                  <c:v>39988</c:v>
                </c:pt>
                <c:pt idx="114">
                  <c:v>39989</c:v>
                </c:pt>
                <c:pt idx="115">
                  <c:v>39990</c:v>
                </c:pt>
                <c:pt idx="116">
                  <c:v>39993</c:v>
                </c:pt>
                <c:pt idx="117">
                  <c:v>39994</c:v>
                </c:pt>
                <c:pt idx="118">
                  <c:v>39995</c:v>
                </c:pt>
                <c:pt idx="119">
                  <c:v>39996</c:v>
                </c:pt>
                <c:pt idx="120">
                  <c:v>39997</c:v>
                </c:pt>
                <c:pt idx="121">
                  <c:v>40000</c:v>
                </c:pt>
                <c:pt idx="122">
                  <c:v>40001</c:v>
                </c:pt>
                <c:pt idx="123">
                  <c:v>40002</c:v>
                </c:pt>
                <c:pt idx="124">
                  <c:v>40003</c:v>
                </c:pt>
                <c:pt idx="125">
                  <c:v>40004</c:v>
                </c:pt>
                <c:pt idx="126">
                  <c:v>40007</c:v>
                </c:pt>
                <c:pt idx="127">
                  <c:v>40008</c:v>
                </c:pt>
                <c:pt idx="128">
                  <c:v>40009</c:v>
                </c:pt>
                <c:pt idx="129">
                  <c:v>40010</c:v>
                </c:pt>
                <c:pt idx="130">
                  <c:v>40011</c:v>
                </c:pt>
                <c:pt idx="131">
                  <c:v>40014</c:v>
                </c:pt>
                <c:pt idx="132">
                  <c:v>40015</c:v>
                </c:pt>
                <c:pt idx="133">
                  <c:v>40016</c:v>
                </c:pt>
                <c:pt idx="134">
                  <c:v>40017</c:v>
                </c:pt>
                <c:pt idx="135">
                  <c:v>40018</c:v>
                </c:pt>
                <c:pt idx="136">
                  <c:v>40021</c:v>
                </c:pt>
                <c:pt idx="137">
                  <c:v>40022</c:v>
                </c:pt>
                <c:pt idx="138">
                  <c:v>40023</c:v>
                </c:pt>
                <c:pt idx="139">
                  <c:v>40024</c:v>
                </c:pt>
                <c:pt idx="140">
                  <c:v>40025</c:v>
                </c:pt>
                <c:pt idx="141">
                  <c:v>40028</c:v>
                </c:pt>
                <c:pt idx="142">
                  <c:v>40029</c:v>
                </c:pt>
                <c:pt idx="143">
                  <c:v>40030</c:v>
                </c:pt>
                <c:pt idx="144">
                  <c:v>40031</c:v>
                </c:pt>
                <c:pt idx="145">
                  <c:v>40032</c:v>
                </c:pt>
                <c:pt idx="146">
                  <c:v>40035</c:v>
                </c:pt>
                <c:pt idx="147">
                  <c:v>40036</c:v>
                </c:pt>
                <c:pt idx="148">
                  <c:v>40037</c:v>
                </c:pt>
                <c:pt idx="149">
                  <c:v>40038</c:v>
                </c:pt>
                <c:pt idx="150">
                  <c:v>40039</c:v>
                </c:pt>
                <c:pt idx="151">
                  <c:v>40042</c:v>
                </c:pt>
                <c:pt idx="152">
                  <c:v>40043</c:v>
                </c:pt>
                <c:pt idx="153">
                  <c:v>40044</c:v>
                </c:pt>
                <c:pt idx="154">
                  <c:v>40045</c:v>
                </c:pt>
                <c:pt idx="155">
                  <c:v>40046</c:v>
                </c:pt>
                <c:pt idx="156">
                  <c:v>40049</c:v>
                </c:pt>
                <c:pt idx="157">
                  <c:v>40050</c:v>
                </c:pt>
                <c:pt idx="158">
                  <c:v>40051</c:v>
                </c:pt>
                <c:pt idx="159">
                  <c:v>40052</c:v>
                </c:pt>
                <c:pt idx="160">
                  <c:v>40053</c:v>
                </c:pt>
                <c:pt idx="161">
                  <c:v>40056</c:v>
                </c:pt>
                <c:pt idx="162">
                  <c:v>40057</c:v>
                </c:pt>
                <c:pt idx="163">
                  <c:v>40058</c:v>
                </c:pt>
                <c:pt idx="164">
                  <c:v>40059</c:v>
                </c:pt>
                <c:pt idx="165">
                  <c:v>40060</c:v>
                </c:pt>
                <c:pt idx="166">
                  <c:v>40063</c:v>
                </c:pt>
                <c:pt idx="167">
                  <c:v>40064</c:v>
                </c:pt>
                <c:pt idx="168">
                  <c:v>40065</c:v>
                </c:pt>
                <c:pt idx="169">
                  <c:v>40066</c:v>
                </c:pt>
                <c:pt idx="170">
                  <c:v>40067</c:v>
                </c:pt>
                <c:pt idx="171">
                  <c:v>40070</c:v>
                </c:pt>
                <c:pt idx="172">
                  <c:v>40071</c:v>
                </c:pt>
                <c:pt idx="173">
                  <c:v>40072</c:v>
                </c:pt>
                <c:pt idx="174">
                  <c:v>40073</c:v>
                </c:pt>
                <c:pt idx="175">
                  <c:v>40074</c:v>
                </c:pt>
                <c:pt idx="176">
                  <c:v>40077</c:v>
                </c:pt>
                <c:pt idx="177">
                  <c:v>40078</c:v>
                </c:pt>
                <c:pt idx="178">
                  <c:v>40079</c:v>
                </c:pt>
                <c:pt idx="179">
                  <c:v>40080</c:v>
                </c:pt>
                <c:pt idx="180">
                  <c:v>40081</c:v>
                </c:pt>
                <c:pt idx="181">
                  <c:v>40084</c:v>
                </c:pt>
                <c:pt idx="182">
                  <c:v>40085</c:v>
                </c:pt>
                <c:pt idx="183">
                  <c:v>40086</c:v>
                </c:pt>
                <c:pt idx="184">
                  <c:v>40095</c:v>
                </c:pt>
                <c:pt idx="185">
                  <c:v>40098</c:v>
                </c:pt>
                <c:pt idx="186">
                  <c:v>40099</c:v>
                </c:pt>
                <c:pt idx="187">
                  <c:v>40100</c:v>
                </c:pt>
                <c:pt idx="188">
                  <c:v>40101</c:v>
                </c:pt>
                <c:pt idx="189">
                  <c:v>40102</c:v>
                </c:pt>
                <c:pt idx="190">
                  <c:v>40105</c:v>
                </c:pt>
                <c:pt idx="191">
                  <c:v>40106</c:v>
                </c:pt>
                <c:pt idx="192">
                  <c:v>40107</c:v>
                </c:pt>
                <c:pt idx="193">
                  <c:v>40108</c:v>
                </c:pt>
                <c:pt idx="194">
                  <c:v>40109</c:v>
                </c:pt>
                <c:pt idx="195">
                  <c:v>40112</c:v>
                </c:pt>
                <c:pt idx="196">
                  <c:v>40113</c:v>
                </c:pt>
                <c:pt idx="197">
                  <c:v>40114</c:v>
                </c:pt>
                <c:pt idx="198">
                  <c:v>40115</c:v>
                </c:pt>
                <c:pt idx="199">
                  <c:v>40116</c:v>
                </c:pt>
                <c:pt idx="200">
                  <c:v>40119</c:v>
                </c:pt>
                <c:pt idx="201">
                  <c:v>40120</c:v>
                </c:pt>
                <c:pt idx="202">
                  <c:v>40121</c:v>
                </c:pt>
                <c:pt idx="203">
                  <c:v>40122</c:v>
                </c:pt>
                <c:pt idx="204">
                  <c:v>40123</c:v>
                </c:pt>
                <c:pt idx="205">
                  <c:v>40126</c:v>
                </c:pt>
                <c:pt idx="206">
                  <c:v>40127</c:v>
                </c:pt>
                <c:pt idx="207">
                  <c:v>40128</c:v>
                </c:pt>
                <c:pt idx="208">
                  <c:v>40129</c:v>
                </c:pt>
                <c:pt idx="209">
                  <c:v>40130</c:v>
                </c:pt>
                <c:pt idx="210">
                  <c:v>40133</c:v>
                </c:pt>
                <c:pt idx="211">
                  <c:v>40134</c:v>
                </c:pt>
                <c:pt idx="212">
                  <c:v>40135</c:v>
                </c:pt>
                <c:pt idx="213">
                  <c:v>40136</c:v>
                </c:pt>
                <c:pt idx="214">
                  <c:v>40137</c:v>
                </c:pt>
                <c:pt idx="215">
                  <c:v>40140</c:v>
                </c:pt>
                <c:pt idx="216">
                  <c:v>40141</c:v>
                </c:pt>
                <c:pt idx="217">
                  <c:v>40142</c:v>
                </c:pt>
                <c:pt idx="218">
                  <c:v>40143</c:v>
                </c:pt>
                <c:pt idx="219">
                  <c:v>40144</c:v>
                </c:pt>
                <c:pt idx="220">
                  <c:v>40147</c:v>
                </c:pt>
                <c:pt idx="221">
                  <c:v>40148</c:v>
                </c:pt>
                <c:pt idx="222">
                  <c:v>40149</c:v>
                </c:pt>
                <c:pt idx="223">
                  <c:v>40150</c:v>
                </c:pt>
                <c:pt idx="224">
                  <c:v>40151</c:v>
                </c:pt>
                <c:pt idx="225">
                  <c:v>40154</c:v>
                </c:pt>
                <c:pt idx="226">
                  <c:v>40155</c:v>
                </c:pt>
                <c:pt idx="227">
                  <c:v>40156</c:v>
                </c:pt>
                <c:pt idx="228">
                  <c:v>40157</c:v>
                </c:pt>
                <c:pt idx="229">
                  <c:v>40158</c:v>
                </c:pt>
                <c:pt idx="230">
                  <c:v>40161</c:v>
                </c:pt>
                <c:pt idx="231">
                  <c:v>40162</c:v>
                </c:pt>
                <c:pt idx="232">
                  <c:v>40163</c:v>
                </c:pt>
                <c:pt idx="233">
                  <c:v>40164</c:v>
                </c:pt>
                <c:pt idx="234">
                  <c:v>40165</c:v>
                </c:pt>
                <c:pt idx="235">
                  <c:v>40168</c:v>
                </c:pt>
                <c:pt idx="236">
                  <c:v>40169</c:v>
                </c:pt>
                <c:pt idx="237">
                  <c:v>40170</c:v>
                </c:pt>
                <c:pt idx="238">
                  <c:v>40171</c:v>
                </c:pt>
                <c:pt idx="239">
                  <c:v>40172</c:v>
                </c:pt>
                <c:pt idx="240">
                  <c:v>40175</c:v>
                </c:pt>
                <c:pt idx="241">
                  <c:v>40176</c:v>
                </c:pt>
                <c:pt idx="242">
                  <c:v>40177</c:v>
                </c:pt>
                <c:pt idx="243">
                  <c:v>40178</c:v>
                </c:pt>
                <c:pt idx="244">
                  <c:v>40182</c:v>
                </c:pt>
                <c:pt idx="245">
                  <c:v>40183</c:v>
                </c:pt>
                <c:pt idx="246">
                  <c:v>40184</c:v>
                </c:pt>
                <c:pt idx="247">
                  <c:v>40185</c:v>
                </c:pt>
                <c:pt idx="248">
                  <c:v>40186</c:v>
                </c:pt>
                <c:pt idx="249">
                  <c:v>40189</c:v>
                </c:pt>
                <c:pt idx="250">
                  <c:v>40190</c:v>
                </c:pt>
                <c:pt idx="251">
                  <c:v>40191</c:v>
                </c:pt>
                <c:pt idx="252">
                  <c:v>40192</c:v>
                </c:pt>
                <c:pt idx="253">
                  <c:v>40193</c:v>
                </c:pt>
                <c:pt idx="254">
                  <c:v>40196</c:v>
                </c:pt>
                <c:pt idx="255">
                  <c:v>40197</c:v>
                </c:pt>
                <c:pt idx="256">
                  <c:v>40198</c:v>
                </c:pt>
                <c:pt idx="257">
                  <c:v>40199</c:v>
                </c:pt>
                <c:pt idx="258">
                  <c:v>40200</c:v>
                </c:pt>
                <c:pt idx="259">
                  <c:v>40203</c:v>
                </c:pt>
                <c:pt idx="260">
                  <c:v>40204</c:v>
                </c:pt>
                <c:pt idx="261">
                  <c:v>40205</c:v>
                </c:pt>
                <c:pt idx="262">
                  <c:v>40206</c:v>
                </c:pt>
                <c:pt idx="263">
                  <c:v>40207</c:v>
                </c:pt>
                <c:pt idx="264">
                  <c:v>40210</c:v>
                </c:pt>
                <c:pt idx="265">
                  <c:v>40211</c:v>
                </c:pt>
                <c:pt idx="266">
                  <c:v>40212</c:v>
                </c:pt>
                <c:pt idx="267">
                  <c:v>40213</c:v>
                </c:pt>
                <c:pt idx="268">
                  <c:v>40214</c:v>
                </c:pt>
                <c:pt idx="269">
                  <c:v>40217</c:v>
                </c:pt>
                <c:pt idx="270">
                  <c:v>40218</c:v>
                </c:pt>
                <c:pt idx="271">
                  <c:v>40219</c:v>
                </c:pt>
                <c:pt idx="272">
                  <c:v>40220</c:v>
                </c:pt>
                <c:pt idx="273">
                  <c:v>40221</c:v>
                </c:pt>
                <c:pt idx="274">
                  <c:v>40231</c:v>
                </c:pt>
                <c:pt idx="275">
                  <c:v>40232</c:v>
                </c:pt>
                <c:pt idx="276">
                  <c:v>40233</c:v>
                </c:pt>
                <c:pt idx="277">
                  <c:v>40234</c:v>
                </c:pt>
                <c:pt idx="278">
                  <c:v>40235</c:v>
                </c:pt>
                <c:pt idx="279">
                  <c:v>40238</c:v>
                </c:pt>
                <c:pt idx="280">
                  <c:v>40239</c:v>
                </c:pt>
                <c:pt idx="281">
                  <c:v>40240</c:v>
                </c:pt>
                <c:pt idx="282">
                  <c:v>40241</c:v>
                </c:pt>
                <c:pt idx="283">
                  <c:v>40242</c:v>
                </c:pt>
                <c:pt idx="284">
                  <c:v>40245</c:v>
                </c:pt>
                <c:pt idx="285">
                  <c:v>40246</c:v>
                </c:pt>
                <c:pt idx="286">
                  <c:v>40247</c:v>
                </c:pt>
                <c:pt idx="287">
                  <c:v>40248</c:v>
                </c:pt>
                <c:pt idx="288">
                  <c:v>40249</c:v>
                </c:pt>
                <c:pt idx="289">
                  <c:v>40252</c:v>
                </c:pt>
                <c:pt idx="290">
                  <c:v>40253</c:v>
                </c:pt>
                <c:pt idx="291">
                  <c:v>40254</c:v>
                </c:pt>
                <c:pt idx="292">
                  <c:v>40255</c:v>
                </c:pt>
                <c:pt idx="293">
                  <c:v>40256</c:v>
                </c:pt>
                <c:pt idx="294">
                  <c:v>40259</c:v>
                </c:pt>
                <c:pt idx="295">
                  <c:v>40260</c:v>
                </c:pt>
                <c:pt idx="296">
                  <c:v>40261</c:v>
                </c:pt>
                <c:pt idx="297">
                  <c:v>40262</c:v>
                </c:pt>
                <c:pt idx="298">
                  <c:v>40263</c:v>
                </c:pt>
                <c:pt idx="299">
                  <c:v>40266</c:v>
                </c:pt>
                <c:pt idx="300">
                  <c:v>40267</c:v>
                </c:pt>
                <c:pt idx="301">
                  <c:v>40268</c:v>
                </c:pt>
                <c:pt idx="302">
                  <c:v>40269</c:v>
                </c:pt>
                <c:pt idx="303">
                  <c:v>40270</c:v>
                </c:pt>
                <c:pt idx="304">
                  <c:v>40274</c:v>
                </c:pt>
                <c:pt idx="305">
                  <c:v>40275</c:v>
                </c:pt>
                <c:pt idx="306">
                  <c:v>40276</c:v>
                </c:pt>
                <c:pt idx="307">
                  <c:v>40277</c:v>
                </c:pt>
                <c:pt idx="308">
                  <c:v>40280</c:v>
                </c:pt>
                <c:pt idx="309">
                  <c:v>40281</c:v>
                </c:pt>
                <c:pt idx="310">
                  <c:v>40282</c:v>
                </c:pt>
                <c:pt idx="311">
                  <c:v>40283</c:v>
                </c:pt>
                <c:pt idx="312">
                  <c:v>40284</c:v>
                </c:pt>
                <c:pt idx="313">
                  <c:v>40287</c:v>
                </c:pt>
                <c:pt idx="314">
                  <c:v>40288</c:v>
                </c:pt>
                <c:pt idx="315">
                  <c:v>40289</c:v>
                </c:pt>
                <c:pt idx="316">
                  <c:v>40290</c:v>
                </c:pt>
                <c:pt idx="317">
                  <c:v>40291</c:v>
                </c:pt>
                <c:pt idx="318">
                  <c:v>40294</c:v>
                </c:pt>
                <c:pt idx="319">
                  <c:v>40295</c:v>
                </c:pt>
                <c:pt idx="320">
                  <c:v>40296</c:v>
                </c:pt>
                <c:pt idx="321">
                  <c:v>40297</c:v>
                </c:pt>
                <c:pt idx="322">
                  <c:v>40298</c:v>
                </c:pt>
                <c:pt idx="323">
                  <c:v>40302</c:v>
                </c:pt>
                <c:pt idx="324">
                  <c:v>40303</c:v>
                </c:pt>
                <c:pt idx="325">
                  <c:v>40304</c:v>
                </c:pt>
                <c:pt idx="326">
                  <c:v>40305</c:v>
                </c:pt>
                <c:pt idx="327">
                  <c:v>40308</c:v>
                </c:pt>
                <c:pt idx="328">
                  <c:v>40309</c:v>
                </c:pt>
                <c:pt idx="329">
                  <c:v>40310</c:v>
                </c:pt>
                <c:pt idx="330">
                  <c:v>40311</c:v>
                </c:pt>
                <c:pt idx="331">
                  <c:v>40312</c:v>
                </c:pt>
                <c:pt idx="332">
                  <c:v>40315</c:v>
                </c:pt>
                <c:pt idx="333">
                  <c:v>40316</c:v>
                </c:pt>
                <c:pt idx="334">
                  <c:v>40317</c:v>
                </c:pt>
                <c:pt idx="335">
                  <c:v>40318</c:v>
                </c:pt>
                <c:pt idx="336">
                  <c:v>40319</c:v>
                </c:pt>
                <c:pt idx="337">
                  <c:v>40322</c:v>
                </c:pt>
                <c:pt idx="338">
                  <c:v>40323</c:v>
                </c:pt>
                <c:pt idx="339">
                  <c:v>40324</c:v>
                </c:pt>
                <c:pt idx="340">
                  <c:v>40325</c:v>
                </c:pt>
                <c:pt idx="341">
                  <c:v>40326</c:v>
                </c:pt>
                <c:pt idx="342">
                  <c:v>40329</c:v>
                </c:pt>
                <c:pt idx="343">
                  <c:v>40330</c:v>
                </c:pt>
                <c:pt idx="344">
                  <c:v>40331</c:v>
                </c:pt>
                <c:pt idx="345">
                  <c:v>40332</c:v>
                </c:pt>
                <c:pt idx="346">
                  <c:v>40333</c:v>
                </c:pt>
                <c:pt idx="347">
                  <c:v>40336</c:v>
                </c:pt>
                <c:pt idx="348">
                  <c:v>40337</c:v>
                </c:pt>
                <c:pt idx="349">
                  <c:v>40338</c:v>
                </c:pt>
                <c:pt idx="350">
                  <c:v>40339</c:v>
                </c:pt>
                <c:pt idx="351">
                  <c:v>40340</c:v>
                </c:pt>
                <c:pt idx="352">
                  <c:v>40346</c:v>
                </c:pt>
                <c:pt idx="353">
                  <c:v>40347</c:v>
                </c:pt>
                <c:pt idx="354">
                  <c:v>40350</c:v>
                </c:pt>
                <c:pt idx="355">
                  <c:v>40351</c:v>
                </c:pt>
                <c:pt idx="356">
                  <c:v>40352</c:v>
                </c:pt>
                <c:pt idx="357">
                  <c:v>40353</c:v>
                </c:pt>
                <c:pt idx="358">
                  <c:v>40354</c:v>
                </c:pt>
                <c:pt idx="359">
                  <c:v>40357</c:v>
                </c:pt>
                <c:pt idx="360">
                  <c:v>40358</c:v>
                </c:pt>
                <c:pt idx="361">
                  <c:v>40359</c:v>
                </c:pt>
                <c:pt idx="362">
                  <c:v>40360</c:v>
                </c:pt>
                <c:pt idx="363">
                  <c:v>40361</c:v>
                </c:pt>
                <c:pt idx="364">
                  <c:v>40364</c:v>
                </c:pt>
                <c:pt idx="365">
                  <c:v>40365</c:v>
                </c:pt>
                <c:pt idx="366">
                  <c:v>40366</c:v>
                </c:pt>
                <c:pt idx="367">
                  <c:v>40367</c:v>
                </c:pt>
                <c:pt idx="368">
                  <c:v>40368</c:v>
                </c:pt>
                <c:pt idx="369">
                  <c:v>40371</c:v>
                </c:pt>
                <c:pt idx="370">
                  <c:v>40372</c:v>
                </c:pt>
                <c:pt idx="371">
                  <c:v>40373</c:v>
                </c:pt>
                <c:pt idx="372">
                  <c:v>40374</c:v>
                </c:pt>
                <c:pt idx="373">
                  <c:v>40375</c:v>
                </c:pt>
                <c:pt idx="374">
                  <c:v>40378</c:v>
                </c:pt>
                <c:pt idx="375">
                  <c:v>40379</c:v>
                </c:pt>
                <c:pt idx="376">
                  <c:v>40380</c:v>
                </c:pt>
                <c:pt idx="377">
                  <c:v>40381</c:v>
                </c:pt>
                <c:pt idx="378">
                  <c:v>40382</c:v>
                </c:pt>
                <c:pt idx="379">
                  <c:v>40385</c:v>
                </c:pt>
                <c:pt idx="380">
                  <c:v>40386</c:v>
                </c:pt>
                <c:pt idx="381">
                  <c:v>40387</c:v>
                </c:pt>
                <c:pt idx="382">
                  <c:v>40388</c:v>
                </c:pt>
                <c:pt idx="383">
                  <c:v>40389</c:v>
                </c:pt>
                <c:pt idx="384">
                  <c:v>40392</c:v>
                </c:pt>
                <c:pt idx="385">
                  <c:v>40393</c:v>
                </c:pt>
                <c:pt idx="386">
                  <c:v>40394</c:v>
                </c:pt>
                <c:pt idx="387">
                  <c:v>40395</c:v>
                </c:pt>
                <c:pt idx="388">
                  <c:v>40396</c:v>
                </c:pt>
                <c:pt idx="389">
                  <c:v>40399</c:v>
                </c:pt>
                <c:pt idx="390">
                  <c:v>40400</c:v>
                </c:pt>
                <c:pt idx="391">
                  <c:v>40401</c:v>
                </c:pt>
                <c:pt idx="392">
                  <c:v>40402</c:v>
                </c:pt>
                <c:pt idx="393">
                  <c:v>40403</c:v>
                </c:pt>
                <c:pt idx="394">
                  <c:v>40406</c:v>
                </c:pt>
                <c:pt idx="395">
                  <c:v>40407</c:v>
                </c:pt>
                <c:pt idx="396">
                  <c:v>40408</c:v>
                </c:pt>
                <c:pt idx="397">
                  <c:v>40409</c:v>
                </c:pt>
                <c:pt idx="398">
                  <c:v>40410</c:v>
                </c:pt>
                <c:pt idx="399">
                  <c:v>40413</c:v>
                </c:pt>
                <c:pt idx="400">
                  <c:v>40414</c:v>
                </c:pt>
                <c:pt idx="401">
                  <c:v>40415</c:v>
                </c:pt>
                <c:pt idx="402">
                  <c:v>40416</c:v>
                </c:pt>
                <c:pt idx="403">
                  <c:v>40417</c:v>
                </c:pt>
                <c:pt idx="404">
                  <c:v>40420</c:v>
                </c:pt>
                <c:pt idx="405">
                  <c:v>40421</c:v>
                </c:pt>
                <c:pt idx="406">
                  <c:v>40422</c:v>
                </c:pt>
                <c:pt idx="407">
                  <c:v>40423</c:v>
                </c:pt>
                <c:pt idx="408">
                  <c:v>40424</c:v>
                </c:pt>
                <c:pt idx="409">
                  <c:v>40427</c:v>
                </c:pt>
                <c:pt idx="410">
                  <c:v>40428</c:v>
                </c:pt>
                <c:pt idx="411">
                  <c:v>40429</c:v>
                </c:pt>
                <c:pt idx="412">
                  <c:v>40430</c:v>
                </c:pt>
                <c:pt idx="413">
                  <c:v>40431</c:v>
                </c:pt>
                <c:pt idx="414">
                  <c:v>40434</c:v>
                </c:pt>
                <c:pt idx="415">
                  <c:v>40435</c:v>
                </c:pt>
                <c:pt idx="416">
                  <c:v>40436</c:v>
                </c:pt>
                <c:pt idx="417">
                  <c:v>40437</c:v>
                </c:pt>
                <c:pt idx="418">
                  <c:v>40438</c:v>
                </c:pt>
                <c:pt idx="419">
                  <c:v>40441</c:v>
                </c:pt>
                <c:pt idx="420">
                  <c:v>40442</c:v>
                </c:pt>
                <c:pt idx="421">
                  <c:v>40448</c:v>
                </c:pt>
                <c:pt idx="422">
                  <c:v>40449</c:v>
                </c:pt>
                <c:pt idx="423">
                  <c:v>40450</c:v>
                </c:pt>
                <c:pt idx="424">
                  <c:v>40451</c:v>
                </c:pt>
                <c:pt idx="425">
                  <c:v>40459</c:v>
                </c:pt>
                <c:pt idx="426">
                  <c:v>40462</c:v>
                </c:pt>
                <c:pt idx="427">
                  <c:v>40463</c:v>
                </c:pt>
                <c:pt idx="428">
                  <c:v>40464</c:v>
                </c:pt>
                <c:pt idx="429">
                  <c:v>40465</c:v>
                </c:pt>
                <c:pt idx="430">
                  <c:v>40466</c:v>
                </c:pt>
                <c:pt idx="431">
                  <c:v>40469</c:v>
                </c:pt>
                <c:pt idx="432">
                  <c:v>40470</c:v>
                </c:pt>
                <c:pt idx="433">
                  <c:v>40471</c:v>
                </c:pt>
                <c:pt idx="434">
                  <c:v>40472</c:v>
                </c:pt>
                <c:pt idx="435">
                  <c:v>40473</c:v>
                </c:pt>
                <c:pt idx="436">
                  <c:v>40476</c:v>
                </c:pt>
                <c:pt idx="437">
                  <c:v>40477</c:v>
                </c:pt>
                <c:pt idx="438">
                  <c:v>40478</c:v>
                </c:pt>
                <c:pt idx="439">
                  <c:v>40479</c:v>
                </c:pt>
                <c:pt idx="440">
                  <c:v>40480</c:v>
                </c:pt>
                <c:pt idx="441">
                  <c:v>40483</c:v>
                </c:pt>
                <c:pt idx="442">
                  <c:v>40484</c:v>
                </c:pt>
                <c:pt idx="443">
                  <c:v>40485</c:v>
                </c:pt>
                <c:pt idx="444">
                  <c:v>40486</c:v>
                </c:pt>
                <c:pt idx="445">
                  <c:v>40487</c:v>
                </c:pt>
                <c:pt idx="446">
                  <c:v>40490</c:v>
                </c:pt>
                <c:pt idx="447">
                  <c:v>40491</c:v>
                </c:pt>
                <c:pt idx="448">
                  <c:v>40492</c:v>
                </c:pt>
                <c:pt idx="449">
                  <c:v>40493</c:v>
                </c:pt>
                <c:pt idx="450">
                  <c:v>40494</c:v>
                </c:pt>
                <c:pt idx="451">
                  <c:v>40497</c:v>
                </c:pt>
                <c:pt idx="452">
                  <c:v>40498</c:v>
                </c:pt>
                <c:pt idx="453">
                  <c:v>40499</c:v>
                </c:pt>
                <c:pt idx="454">
                  <c:v>40500</c:v>
                </c:pt>
                <c:pt idx="455">
                  <c:v>40501</c:v>
                </c:pt>
                <c:pt idx="456">
                  <c:v>40504</c:v>
                </c:pt>
                <c:pt idx="457">
                  <c:v>40505</c:v>
                </c:pt>
                <c:pt idx="458">
                  <c:v>40506</c:v>
                </c:pt>
                <c:pt idx="459">
                  <c:v>40507</c:v>
                </c:pt>
                <c:pt idx="460">
                  <c:v>40508</c:v>
                </c:pt>
                <c:pt idx="461">
                  <c:v>40511</c:v>
                </c:pt>
                <c:pt idx="462">
                  <c:v>40512</c:v>
                </c:pt>
                <c:pt idx="463">
                  <c:v>40513</c:v>
                </c:pt>
                <c:pt idx="464">
                  <c:v>40514</c:v>
                </c:pt>
                <c:pt idx="465">
                  <c:v>40515</c:v>
                </c:pt>
                <c:pt idx="466">
                  <c:v>40518</c:v>
                </c:pt>
                <c:pt idx="467">
                  <c:v>40519</c:v>
                </c:pt>
                <c:pt idx="468">
                  <c:v>40520</c:v>
                </c:pt>
                <c:pt idx="469">
                  <c:v>40521</c:v>
                </c:pt>
                <c:pt idx="470">
                  <c:v>40522</c:v>
                </c:pt>
                <c:pt idx="471">
                  <c:v>40525</c:v>
                </c:pt>
                <c:pt idx="472">
                  <c:v>40526</c:v>
                </c:pt>
                <c:pt idx="473">
                  <c:v>40527</c:v>
                </c:pt>
                <c:pt idx="474">
                  <c:v>40528</c:v>
                </c:pt>
                <c:pt idx="475">
                  <c:v>40529</c:v>
                </c:pt>
                <c:pt idx="476">
                  <c:v>40532</c:v>
                </c:pt>
                <c:pt idx="477">
                  <c:v>40533</c:v>
                </c:pt>
                <c:pt idx="478">
                  <c:v>40534</c:v>
                </c:pt>
                <c:pt idx="479">
                  <c:v>40535</c:v>
                </c:pt>
                <c:pt idx="480">
                  <c:v>40536</c:v>
                </c:pt>
                <c:pt idx="481">
                  <c:v>40539</c:v>
                </c:pt>
                <c:pt idx="482">
                  <c:v>40540</c:v>
                </c:pt>
                <c:pt idx="483">
                  <c:v>40541</c:v>
                </c:pt>
                <c:pt idx="484">
                  <c:v>40542</c:v>
                </c:pt>
                <c:pt idx="485">
                  <c:v>40543</c:v>
                </c:pt>
                <c:pt idx="486">
                  <c:v>40547</c:v>
                </c:pt>
                <c:pt idx="487">
                  <c:v>40548</c:v>
                </c:pt>
                <c:pt idx="488">
                  <c:v>40549</c:v>
                </c:pt>
                <c:pt idx="489">
                  <c:v>40550</c:v>
                </c:pt>
                <c:pt idx="490">
                  <c:v>40553</c:v>
                </c:pt>
                <c:pt idx="491">
                  <c:v>40554</c:v>
                </c:pt>
                <c:pt idx="492">
                  <c:v>40555</c:v>
                </c:pt>
                <c:pt idx="493">
                  <c:v>40556</c:v>
                </c:pt>
                <c:pt idx="494">
                  <c:v>40557</c:v>
                </c:pt>
                <c:pt idx="495">
                  <c:v>40560</c:v>
                </c:pt>
                <c:pt idx="496">
                  <c:v>40561</c:v>
                </c:pt>
                <c:pt idx="497">
                  <c:v>40562</c:v>
                </c:pt>
                <c:pt idx="498">
                  <c:v>40563</c:v>
                </c:pt>
                <c:pt idx="499">
                  <c:v>40564</c:v>
                </c:pt>
                <c:pt idx="500">
                  <c:v>40567</c:v>
                </c:pt>
                <c:pt idx="501">
                  <c:v>40568</c:v>
                </c:pt>
                <c:pt idx="502">
                  <c:v>40569</c:v>
                </c:pt>
                <c:pt idx="503">
                  <c:v>40570</c:v>
                </c:pt>
                <c:pt idx="504">
                  <c:v>40571</c:v>
                </c:pt>
                <c:pt idx="505">
                  <c:v>40574</c:v>
                </c:pt>
                <c:pt idx="506">
                  <c:v>40575</c:v>
                </c:pt>
                <c:pt idx="507">
                  <c:v>40583</c:v>
                </c:pt>
                <c:pt idx="508">
                  <c:v>40584</c:v>
                </c:pt>
                <c:pt idx="509">
                  <c:v>40585</c:v>
                </c:pt>
                <c:pt idx="510">
                  <c:v>40588</c:v>
                </c:pt>
                <c:pt idx="511">
                  <c:v>40589</c:v>
                </c:pt>
                <c:pt idx="512">
                  <c:v>40590</c:v>
                </c:pt>
                <c:pt idx="513">
                  <c:v>40591</c:v>
                </c:pt>
                <c:pt idx="514">
                  <c:v>40592</c:v>
                </c:pt>
                <c:pt idx="515">
                  <c:v>40595</c:v>
                </c:pt>
                <c:pt idx="516">
                  <c:v>40596</c:v>
                </c:pt>
                <c:pt idx="517">
                  <c:v>40597</c:v>
                </c:pt>
                <c:pt idx="518">
                  <c:v>40598</c:v>
                </c:pt>
                <c:pt idx="519">
                  <c:v>40599</c:v>
                </c:pt>
                <c:pt idx="520">
                  <c:v>40602</c:v>
                </c:pt>
                <c:pt idx="521">
                  <c:v>40603</c:v>
                </c:pt>
                <c:pt idx="522">
                  <c:v>40604</c:v>
                </c:pt>
                <c:pt idx="523">
                  <c:v>40605</c:v>
                </c:pt>
                <c:pt idx="524">
                  <c:v>40606</c:v>
                </c:pt>
                <c:pt idx="525">
                  <c:v>40609</c:v>
                </c:pt>
                <c:pt idx="526">
                  <c:v>40610</c:v>
                </c:pt>
                <c:pt idx="527">
                  <c:v>40611</c:v>
                </c:pt>
                <c:pt idx="528">
                  <c:v>40612</c:v>
                </c:pt>
                <c:pt idx="529">
                  <c:v>40613</c:v>
                </c:pt>
                <c:pt idx="530">
                  <c:v>40616</c:v>
                </c:pt>
                <c:pt idx="531">
                  <c:v>40617</c:v>
                </c:pt>
                <c:pt idx="532">
                  <c:v>40618</c:v>
                </c:pt>
                <c:pt idx="533">
                  <c:v>40619</c:v>
                </c:pt>
                <c:pt idx="534">
                  <c:v>40620</c:v>
                </c:pt>
                <c:pt idx="535">
                  <c:v>40623</c:v>
                </c:pt>
                <c:pt idx="536">
                  <c:v>40624</c:v>
                </c:pt>
                <c:pt idx="537">
                  <c:v>40625</c:v>
                </c:pt>
                <c:pt idx="538">
                  <c:v>40626</c:v>
                </c:pt>
                <c:pt idx="539">
                  <c:v>40627</c:v>
                </c:pt>
                <c:pt idx="540">
                  <c:v>40630</c:v>
                </c:pt>
                <c:pt idx="541">
                  <c:v>40631</c:v>
                </c:pt>
                <c:pt idx="542">
                  <c:v>40632</c:v>
                </c:pt>
                <c:pt idx="543">
                  <c:v>40633</c:v>
                </c:pt>
                <c:pt idx="544">
                  <c:v>40634</c:v>
                </c:pt>
                <c:pt idx="545">
                  <c:v>40639</c:v>
                </c:pt>
                <c:pt idx="546">
                  <c:v>40640</c:v>
                </c:pt>
                <c:pt idx="547">
                  <c:v>40641</c:v>
                </c:pt>
                <c:pt idx="548">
                  <c:v>40644</c:v>
                </c:pt>
                <c:pt idx="549">
                  <c:v>40645</c:v>
                </c:pt>
                <c:pt idx="550">
                  <c:v>40646</c:v>
                </c:pt>
                <c:pt idx="551">
                  <c:v>40647</c:v>
                </c:pt>
                <c:pt idx="552">
                  <c:v>40648</c:v>
                </c:pt>
                <c:pt idx="553">
                  <c:v>40651</c:v>
                </c:pt>
                <c:pt idx="554">
                  <c:v>40652</c:v>
                </c:pt>
                <c:pt idx="555">
                  <c:v>40653</c:v>
                </c:pt>
                <c:pt idx="556">
                  <c:v>40654</c:v>
                </c:pt>
                <c:pt idx="557">
                  <c:v>40655</c:v>
                </c:pt>
                <c:pt idx="558">
                  <c:v>40658</c:v>
                </c:pt>
                <c:pt idx="559">
                  <c:v>40659</c:v>
                </c:pt>
                <c:pt idx="560">
                  <c:v>40660</c:v>
                </c:pt>
                <c:pt idx="561">
                  <c:v>40661</c:v>
                </c:pt>
                <c:pt idx="562">
                  <c:v>40662</c:v>
                </c:pt>
                <c:pt idx="563">
                  <c:v>40666</c:v>
                </c:pt>
                <c:pt idx="564">
                  <c:v>40667</c:v>
                </c:pt>
                <c:pt idx="565">
                  <c:v>40668</c:v>
                </c:pt>
                <c:pt idx="566">
                  <c:v>40669</c:v>
                </c:pt>
                <c:pt idx="567">
                  <c:v>40672</c:v>
                </c:pt>
                <c:pt idx="568">
                  <c:v>40673</c:v>
                </c:pt>
                <c:pt idx="569">
                  <c:v>40674</c:v>
                </c:pt>
                <c:pt idx="570">
                  <c:v>40675</c:v>
                </c:pt>
                <c:pt idx="571">
                  <c:v>40676</c:v>
                </c:pt>
                <c:pt idx="572">
                  <c:v>40679</c:v>
                </c:pt>
                <c:pt idx="573">
                  <c:v>40680</c:v>
                </c:pt>
                <c:pt idx="574">
                  <c:v>40681</c:v>
                </c:pt>
                <c:pt idx="575">
                  <c:v>40682</c:v>
                </c:pt>
                <c:pt idx="576">
                  <c:v>40683</c:v>
                </c:pt>
                <c:pt idx="577">
                  <c:v>40686</c:v>
                </c:pt>
                <c:pt idx="578">
                  <c:v>40687</c:v>
                </c:pt>
                <c:pt idx="579">
                  <c:v>40688</c:v>
                </c:pt>
                <c:pt idx="580">
                  <c:v>40689</c:v>
                </c:pt>
                <c:pt idx="581">
                  <c:v>40690</c:v>
                </c:pt>
                <c:pt idx="582">
                  <c:v>40693</c:v>
                </c:pt>
                <c:pt idx="583">
                  <c:v>40694</c:v>
                </c:pt>
                <c:pt idx="584">
                  <c:v>40695</c:v>
                </c:pt>
                <c:pt idx="585">
                  <c:v>40696</c:v>
                </c:pt>
                <c:pt idx="586">
                  <c:v>40697</c:v>
                </c:pt>
                <c:pt idx="587">
                  <c:v>40701</c:v>
                </c:pt>
                <c:pt idx="588">
                  <c:v>40702</c:v>
                </c:pt>
                <c:pt idx="589">
                  <c:v>40703</c:v>
                </c:pt>
                <c:pt idx="590">
                  <c:v>40704</c:v>
                </c:pt>
                <c:pt idx="591">
                  <c:v>40707</c:v>
                </c:pt>
                <c:pt idx="592">
                  <c:v>40708</c:v>
                </c:pt>
                <c:pt idx="593">
                  <c:v>40709</c:v>
                </c:pt>
                <c:pt idx="594">
                  <c:v>40710</c:v>
                </c:pt>
                <c:pt idx="595">
                  <c:v>40711</c:v>
                </c:pt>
                <c:pt idx="596">
                  <c:v>40714</c:v>
                </c:pt>
                <c:pt idx="597">
                  <c:v>40715</c:v>
                </c:pt>
                <c:pt idx="598">
                  <c:v>40716</c:v>
                </c:pt>
                <c:pt idx="599">
                  <c:v>40717</c:v>
                </c:pt>
                <c:pt idx="600">
                  <c:v>40718</c:v>
                </c:pt>
                <c:pt idx="601">
                  <c:v>40721</c:v>
                </c:pt>
                <c:pt idx="602">
                  <c:v>40722</c:v>
                </c:pt>
                <c:pt idx="603">
                  <c:v>40723</c:v>
                </c:pt>
                <c:pt idx="604">
                  <c:v>40724</c:v>
                </c:pt>
                <c:pt idx="605">
                  <c:v>40725</c:v>
                </c:pt>
                <c:pt idx="606">
                  <c:v>40728</c:v>
                </c:pt>
                <c:pt idx="607">
                  <c:v>40729</c:v>
                </c:pt>
                <c:pt idx="608">
                  <c:v>40730</c:v>
                </c:pt>
                <c:pt idx="609">
                  <c:v>40731</c:v>
                </c:pt>
                <c:pt idx="610">
                  <c:v>40732</c:v>
                </c:pt>
                <c:pt idx="611">
                  <c:v>40735</c:v>
                </c:pt>
                <c:pt idx="612">
                  <c:v>40736</c:v>
                </c:pt>
                <c:pt idx="613">
                  <c:v>40737</c:v>
                </c:pt>
                <c:pt idx="614">
                  <c:v>40738</c:v>
                </c:pt>
                <c:pt idx="615">
                  <c:v>40739</c:v>
                </c:pt>
                <c:pt idx="616">
                  <c:v>40742</c:v>
                </c:pt>
                <c:pt idx="617">
                  <c:v>40743</c:v>
                </c:pt>
                <c:pt idx="618">
                  <c:v>40744</c:v>
                </c:pt>
                <c:pt idx="619">
                  <c:v>40745</c:v>
                </c:pt>
                <c:pt idx="620">
                  <c:v>40746</c:v>
                </c:pt>
                <c:pt idx="621">
                  <c:v>40749</c:v>
                </c:pt>
                <c:pt idx="622">
                  <c:v>40750</c:v>
                </c:pt>
                <c:pt idx="623">
                  <c:v>40751</c:v>
                </c:pt>
                <c:pt idx="624">
                  <c:v>40752</c:v>
                </c:pt>
                <c:pt idx="625">
                  <c:v>40753</c:v>
                </c:pt>
                <c:pt idx="626">
                  <c:v>40756</c:v>
                </c:pt>
                <c:pt idx="627">
                  <c:v>40757</c:v>
                </c:pt>
                <c:pt idx="628">
                  <c:v>40758</c:v>
                </c:pt>
                <c:pt idx="629">
                  <c:v>40759</c:v>
                </c:pt>
                <c:pt idx="630">
                  <c:v>40760</c:v>
                </c:pt>
                <c:pt idx="631">
                  <c:v>40763</c:v>
                </c:pt>
                <c:pt idx="632">
                  <c:v>40764</c:v>
                </c:pt>
                <c:pt idx="633">
                  <c:v>40765</c:v>
                </c:pt>
                <c:pt idx="634">
                  <c:v>40766</c:v>
                </c:pt>
                <c:pt idx="635">
                  <c:v>40767</c:v>
                </c:pt>
                <c:pt idx="636">
                  <c:v>40770</c:v>
                </c:pt>
                <c:pt idx="637">
                  <c:v>40771</c:v>
                </c:pt>
                <c:pt idx="638">
                  <c:v>40772</c:v>
                </c:pt>
                <c:pt idx="639">
                  <c:v>40773</c:v>
                </c:pt>
                <c:pt idx="640">
                  <c:v>40774</c:v>
                </c:pt>
                <c:pt idx="641">
                  <c:v>40777</c:v>
                </c:pt>
                <c:pt idx="642">
                  <c:v>40778</c:v>
                </c:pt>
                <c:pt idx="643">
                  <c:v>40779</c:v>
                </c:pt>
                <c:pt idx="644">
                  <c:v>40780</c:v>
                </c:pt>
                <c:pt idx="645">
                  <c:v>40781</c:v>
                </c:pt>
                <c:pt idx="646">
                  <c:v>40784</c:v>
                </c:pt>
                <c:pt idx="647">
                  <c:v>40785</c:v>
                </c:pt>
                <c:pt idx="648">
                  <c:v>40786</c:v>
                </c:pt>
                <c:pt idx="649">
                  <c:v>40787</c:v>
                </c:pt>
                <c:pt idx="650">
                  <c:v>40788</c:v>
                </c:pt>
                <c:pt idx="651">
                  <c:v>40791</c:v>
                </c:pt>
                <c:pt idx="652">
                  <c:v>40792</c:v>
                </c:pt>
                <c:pt idx="653">
                  <c:v>40793</c:v>
                </c:pt>
                <c:pt idx="654">
                  <c:v>40794</c:v>
                </c:pt>
                <c:pt idx="655">
                  <c:v>40795</c:v>
                </c:pt>
                <c:pt idx="656">
                  <c:v>40799</c:v>
                </c:pt>
                <c:pt idx="657">
                  <c:v>40800</c:v>
                </c:pt>
                <c:pt idx="658">
                  <c:v>40801</c:v>
                </c:pt>
                <c:pt idx="659">
                  <c:v>40802</c:v>
                </c:pt>
                <c:pt idx="660">
                  <c:v>40805</c:v>
                </c:pt>
                <c:pt idx="661">
                  <c:v>40806</c:v>
                </c:pt>
                <c:pt idx="662">
                  <c:v>40807</c:v>
                </c:pt>
                <c:pt idx="663">
                  <c:v>40808</c:v>
                </c:pt>
                <c:pt idx="664">
                  <c:v>40809</c:v>
                </c:pt>
                <c:pt idx="665">
                  <c:v>40812</c:v>
                </c:pt>
                <c:pt idx="666">
                  <c:v>40813</c:v>
                </c:pt>
                <c:pt idx="667">
                  <c:v>40814</c:v>
                </c:pt>
                <c:pt idx="668">
                  <c:v>40815</c:v>
                </c:pt>
                <c:pt idx="669">
                  <c:v>40816</c:v>
                </c:pt>
                <c:pt idx="670">
                  <c:v>40826</c:v>
                </c:pt>
                <c:pt idx="671">
                  <c:v>40827</c:v>
                </c:pt>
                <c:pt idx="672">
                  <c:v>40828</c:v>
                </c:pt>
                <c:pt idx="673">
                  <c:v>40829</c:v>
                </c:pt>
                <c:pt idx="674">
                  <c:v>40830</c:v>
                </c:pt>
                <c:pt idx="675">
                  <c:v>40833</c:v>
                </c:pt>
                <c:pt idx="676">
                  <c:v>40834</c:v>
                </c:pt>
                <c:pt idx="677">
                  <c:v>40835</c:v>
                </c:pt>
                <c:pt idx="678">
                  <c:v>40836</c:v>
                </c:pt>
                <c:pt idx="679">
                  <c:v>40837</c:v>
                </c:pt>
                <c:pt idx="680">
                  <c:v>40840</c:v>
                </c:pt>
                <c:pt idx="681">
                  <c:v>40841</c:v>
                </c:pt>
                <c:pt idx="682">
                  <c:v>40842</c:v>
                </c:pt>
                <c:pt idx="683">
                  <c:v>40843</c:v>
                </c:pt>
                <c:pt idx="684">
                  <c:v>40844</c:v>
                </c:pt>
                <c:pt idx="685">
                  <c:v>40847</c:v>
                </c:pt>
                <c:pt idx="686">
                  <c:v>40848</c:v>
                </c:pt>
                <c:pt idx="687">
                  <c:v>40849</c:v>
                </c:pt>
                <c:pt idx="688">
                  <c:v>40850</c:v>
                </c:pt>
                <c:pt idx="689">
                  <c:v>40851</c:v>
                </c:pt>
                <c:pt idx="690">
                  <c:v>40854</c:v>
                </c:pt>
                <c:pt idx="691">
                  <c:v>40855</c:v>
                </c:pt>
                <c:pt idx="692">
                  <c:v>40856</c:v>
                </c:pt>
                <c:pt idx="693">
                  <c:v>40857</c:v>
                </c:pt>
                <c:pt idx="694">
                  <c:v>40858</c:v>
                </c:pt>
                <c:pt idx="695">
                  <c:v>40861</c:v>
                </c:pt>
                <c:pt idx="696">
                  <c:v>40862</c:v>
                </c:pt>
                <c:pt idx="697">
                  <c:v>40863</c:v>
                </c:pt>
                <c:pt idx="698">
                  <c:v>40864</c:v>
                </c:pt>
                <c:pt idx="699">
                  <c:v>40865</c:v>
                </c:pt>
                <c:pt idx="700">
                  <c:v>40868</c:v>
                </c:pt>
                <c:pt idx="701">
                  <c:v>40869</c:v>
                </c:pt>
                <c:pt idx="702">
                  <c:v>40870</c:v>
                </c:pt>
                <c:pt idx="703">
                  <c:v>40871</c:v>
                </c:pt>
                <c:pt idx="704">
                  <c:v>40872</c:v>
                </c:pt>
                <c:pt idx="705">
                  <c:v>40875</c:v>
                </c:pt>
                <c:pt idx="706">
                  <c:v>40876</c:v>
                </c:pt>
                <c:pt idx="707">
                  <c:v>40877</c:v>
                </c:pt>
                <c:pt idx="708">
                  <c:v>40878</c:v>
                </c:pt>
                <c:pt idx="709">
                  <c:v>40879</c:v>
                </c:pt>
                <c:pt idx="710">
                  <c:v>40882</c:v>
                </c:pt>
                <c:pt idx="711">
                  <c:v>40883</c:v>
                </c:pt>
                <c:pt idx="712">
                  <c:v>40884</c:v>
                </c:pt>
                <c:pt idx="713">
                  <c:v>40885</c:v>
                </c:pt>
                <c:pt idx="714">
                  <c:v>40886</c:v>
                </c:pt>
                <c:pt idx="715">
                  <c:v>40889</c:v>
                </c:pt>
                <c:pt idx="716">
                  <c:v>40890</c:v>
                </c:pt>
                <c:pt idx="717">
                  <c:v>40891</c:v>
                </c:pt>
                <c:pt idx="718">
                  <c:v>40892</c:v>
                </c:pt>
                <c:pt idx="719">
                  <c:v>40893</c:v>
                </c:pt>
                <c:pt idx="720">
                  <c:v>40896</c:v>
                </c:pt>
                <c:pt idx="721">
                  <c:v>40897</c:v>
                </c:pt>
                <c:pt idx="722">
                  <c:v>40898</c:v>
                </c:pt>
                <c:pt idx="723">
                  <c:v>40899</c:v>
                </c:pt>
                <c:pt idx="724">
                  <c:v>40900</c:v>
                </c:pt>
                <c:pt idx="725">
                  <c:v>40903</c:v>
                </c:pt>
                <c:pt idx="726">
                  <c:v>40904</c:v>
                </c:pt>
                <c:pt idx="727">
                  <c:v>40905</c:v>
                </c:pt>
                <c:pt idx="728">
                  <c:v>40906</c:v>
                </c:pt>
                <c:pt idx="729">
                  <c:v>40907</c:v>
                </c:pt>
                <c:pt idx="730">
                  <c:v>40912</c:v>
                </c:pt>
                <c:pt idx="731">
                  <c:v>40913</c:v>
                </c:pt>
                <c:pt idx="732">
                  <c:v>40914</c:v>
                </c:pt>
                <c:pt idx="733">
                  <c:v>40917</c:v>
                </c:pt>
                <c:pt idx="734">
                  <c:v>40918</c:v>
                </c:pt>
                <c:pt idx="735">
                  <c:v>40919</c:v>
                </c:pt>
                <c:pt idx="736">
                  <c:v>40920</c:v>
                </c:pt>
                <c:pt idx="737">
                  <c:v>40921</c:v>
                </c:pt>
                <c:pt idx="738">
                  <c:v>40924</c:v>
                </c:pt>
                <c:pt idx="739">
                  <c:v>40925</c:v>
                </c:pt>
                <c:pt idx="740">
                  <c:v>40926</c:v>
                </c:pt>
                <c:pt idx="741">
                  <c:v>40927</c:v>
                </c:pt>
                <c:pt idx="742">
                  <c:v>40928</c:v>
                </c:pt>
                <c:pt idx="743">
                  <c:v>40938</c:v>
                </c:pt>
                <c:pt idx="744">
                  <c:v>40939</c:v>
                </c:pt>
                <c:pt idx="745">
                  <c:v>40940</c:v>
                </c:pt>
                <c:pt idx="746">
                  <c:v>40941</c:v>
                </c:pt>
                <c:pt idx="747">
                  <c:v>40942</c:v>
                </c:pt>
                <c:pt idx="748">
                  <c:v>40945</c:v>
                </c:pt>
                <c:pt idx="749">
                  <c:v>40946</c:v>
                </c:pt>
                <c:pt idx="750">
                  <c:v>40947</c:v>
                </c:pt>
                <c:pt idx="751">
                  <c:v>40948</c:v>
                </c:pt>
                <c:pt idx="752">
                  <c:v>40949</c:v>
                </c:pt>
                <c:pt idx="753">
                  <c:v>40952</c:v>
                </c:pt>
                <c:pt idx="754">
                  <c:v>40953</c:v>
                </c:pt>
                <c:pt idx="755">
                  <c:v>40954</c:v>
                </c:pt>
                <c:pt idx="756">
                  <c:v>40955</c:v>
                </c:pt>
                <c:pt idx="757">
                  <c:v>40956</c:v>
                </c:pt>
                <c:pt idx="758">
                  <c:v>40959</c:v>
                </c:pt>
                <c:pt idx="759">
                  <c:v>40960</c:v>
                </c:pt>
                <c:pt idx="760">
                  <c:v>40961</c:v>
                </c:pt>
                <c:pt idx="761">
                  <c:v>40962</c:v>
                </c:pt>
                <c:pt idx="762">
                  <c:v>40963</c:v>
                </c:pt>
                <c:pt idx="763">
                  <c:v>40966</c:v>
                </c:pt>
                <c:pt idx="764">
                  <c:v>40967</c:v>
                </c:pt>
                <c:pt idx="765">
                  <c:v>40968</c:v>
                </c:pt>
                <c:pt idx="766">
                  <c:v>40969</c:v>
                </c:pt>
                <c:pt idx="767">
                  <c:v>40970</c:v>
                </c:pt>
                <c:pt idx="768">
                  <c:v>40973</c:v>
                </c:pt>
                <c:pt idx="769">
                  <c:v>40974</c:v>
                </c:pt>
                <c:pt idx="770">
                  <c:v>40975</c:v>
                </c:pt>
                <c:pt idx="771">
                  <c:v>40976</c:v>
                </c:pt>
                <c:pt idx="772">
                  <c:v>40977</c:v>
                </c:pt>
                <c:pt idx="773">
                  <c:v>40980</c:v>
                </c:pt>
                <c:pt idx="774">
                  <c:v>40981</c:v>
                </c:pt>
                <c:pt idx="775">
                  <c:v>40982</c:v>
                </c:pt>
                <c:pt idx="776">
                  <c:v>40983</c:v>
                </c:pt>
                <c:pt idx="777">
                  <c:v>40984</c:v>
                </c:pt>
                <c:pt idx="778">
                  <c:v>40987</c:v>
                </c:pt>
                <c:pt idx="779">
                  <c:v>40988</c:v>
                </c:pt>
                <c:pt idx="780">
                  <c:v>40989</c:v>
                </c:pt>
                <c:pt idx="781">
                  <c:v>40990</c:v>
                </c:pt>
                <c:pt idx="782">
                  <c:v>40991</c:v>
                </c:pt>
                <c:pt idx="783">
                  <c:v>40994</c:v>
                </c:pt>
                <c:pt idx="784">
                  <c:v>40995</c:v>
                </c:pt>
                <c:pt idx="785">
                  <c:v>40996</c:v>
                </c:pt>
                <c:pt idx="786">
                  <c:v>40997</c:v>
                </c:pt>
                <c:pt idx="787">
                  <c:v>40998</c:v>
                </c:pt>
                <c:pt idx="788">
                  <c:v>41004</c:v>
                </c:pt>
                <c:pt idx="789">
                  <c:v>41005</c:v>
                </c:pt>
                <c:pt idx="790">
                  <c:v>41008</c:v>
                </c:pt>
                <c:pt idx="791">
                  <c:v>41009</c:v>
                </c:pt>
                <c:pt idx="792">
                  <c:v>41010</c:v>
                </c:pt>
                <c:pt idx="793">
                  <c:v>41011</c:v>
                </c:pt>
                <c:pt idx="794">
                  <c:v>41012</c:v>
                </c:pt>
                <c:pt idx="795">
                  <c:v>41015</c:v>
                </c:pt>
                <c:pt idx="796">
                  <c:v>41016</c:v>
                </c:pt>
                <c:pt idx="797">
                  <c:v>41017</c:v>
                </c:pt>
                <c:pt idx="798">
                  <c:v>41018</c:v>
                </c:pt>
                <c:pt idx="799">
                  <c:v>41019</c:v>
                </c:pt>
                <c:pt idx="800">
                  <c:v>41022</c:v>
                </c:pt>
                <c:pt idx="801">
                  <c:v>41023</c:v>
                </c:pt>
                <c:pt idx="802">
                  <c:v>41024</c:v>
                </c:pt>
                <c:pt idx="803">
                  <c:v>41025</c:v>
                </c:pt>
                <c:pt idx="804">
                  <c:v>41026</c:v>
                </c:pt>
                <c:pt idx="805">
                  <c:v>41031</c:v>
                </c:pt>
                <c:pt idx="806">
                  <c:v>41032</c:v>
                </c:pt>
                <c:pt idx="807">
                  <c:v>41033</c:v>
                </c:pt>
                <c:pt idx="808">
                  <c:v>41036</c:v>
                </c:pt>
                <c:pt idx="809">
                  <c:v>41037</c:v>
                </c:pt>
                <c:pt idx="810">
                  <c:v>41038</c:v>
                </c:pt>
                <c:pt idx="811">
                  <c:v>41039</c:v>
                </c:pt>
                <c:pt idx="812">
                  <c:v>41040</c:v>
                </c:pt>
                <c:pt idx="813">
                  <c:v>41043</c:v>
                </c:pt>
                <c:pt idx="814">
                  <c:v>41044</c:v>
                </c:pt>
                <c:pt idx="815">
                  <c:v>41045</c:v>
                </c:pt>
                <c:pt idx="816">
                  <c:v>41046</c:v>
                </c:pt>
                <c:pt idx="817">
                  <c:v>41047</c:v>
                </c:pt>
                <c:pt idx="818">
                  <c:v>41050</c:v>
                </c:pt>
                <c:pt idx="819">
                  <c:v>41051</c:v>
                </c:pt>
                <c:pt idx="820">
                  <c:v>41052</c:v>
                </c:pt>
                <c:pt idx="821">
                  <c:v>41053</c:v>
                </c:pt>
                <c:pt idx="822">
                  <c:v>41054</c:v>
                </c:pt>
                <c:pt idx="823">
                  <c:v>41057</c:v>
                </c:pt>
                <c:pt idx="824">
                  <c:v>41058</c:v>
                </c:pt>
                <c:pt idx="825">
                  <c:v>41059</c:v>
                </c:pt>
                <c:pt idx="826">
                  <c:v>41060</c:v>
                </c:pt>
                <c:pt idx="827">
                  <c:v>41061</c:v>
                </c:pt>
                <c:pt idx="828">
                  <c:v>41064</c:v>
                </c:pt>
                <c:pt idx="829">
                  <c:v>41065</c:v>
                </c:pt>
                <c:pt idx="830">
                  <c:v>41066</c:v>
                </c:pt>
                <c:pt idx="831">
                  <c:v>41067</c:v>
                </c:pt>
                <c:pt idx="832">
                  <c:v>41068</c:v>
                </c:pt>
                <c:pt idx="833">
                  <c:v>41071</c:v>
                </c:pt>
                <c:pt idx="834">
                  <c:v>41072</c:v>
                </c:pt>
                <c:pt idx="835">
                  <c:v>41073</c:v>
                </c:pt>
                <c:pt idx="836">
                  <c:v>41074</c:v>
                </c:pt>
                <c:pt idx="837">
                  <c:v>41075</c:v>
                </c:pt>
                <c:pt idx="838">
                  <c:v>41078</c:v>
                </c:pt>
                <c:pt idx="839">
                  <c:v>41079</c:v>
                </c:pt>
                <c:pt idx="840">
                  <c:v>41080</c:v>
                </c:pt>
                <c:pt idx="841">
                  <c:v>41081</c:v>
                </c:pt>
                <c:pt idx="842">
                  <c:v>41085</c:v>
                </c:pt>
                <c:pt idx="843">
                  <c:v>41086</c:v>
                </c:pt>
                <c:pt idx="844">
                  <c:v>41087</c:v>
                </c:pt>
                <c:pt idx="845">
                  <c:v>41088</c:v>
                </c:pt>
                <c:pt idx="846">
                  <c:v>41089</c:v>
                </c:pt>
                <c:pt idx="847">
                  <c:v>41092</c:v>
                </c:pt>
                <c:pt idx="848">
                  <c:v>41093</c:v>
                </c:pt>
                <c:pt idx="849">
                  <c:v>41094</c:v>
                </c:pt>
                <c:pt idx="850">
                  <c:v>41095</c:v>
                </c:pt>
                <c:pt idx="851">
                  <c:v>41096</c:v>
                </c:pt>
                <c:pt idx="852">
                  <c:v>41099</c:v>
                </c:pt>
                <c:pt idx="853">
                  <c:v>41100</c:v>
                </c:pt>
                <c:pt idx="854">
                  <c:v>41101</c:v>
                </c:pt>
                <c:pt idx="855">
                  <c:v>41102</c:v>
                </c:pt>
                <c:pt idx="856">
                  <c:v>41103</c:v>
                </c:pt>
                <c:pt idx="857">
                  <c:v>41106</c:v>
                </c:pt>
                <c:pt idx="858">
                  <c:v>41107</c:v>
                </c:pt>
                <c:pt idx="859">
                  <c:v>41108</c:v>
                </c:pt>
                <c:pt idx="860">
                  <c:v>41109</c:v>
                </c:pt>
                <c:pt idx="861">
                  <c:v>41110</c:v>
                </c:pt>
                <c:pt idx="862">
                  <c:v>41113</c:v>
                </c:pt>
                <c:pt idx="863">
                  <c:v>41114</c:v>
                </c:pt>
                <c:pt idx="864">
                  <c:v>41115</c:v>
                </c:pt>
                <c:pt idx="865">
                  <c:v>41116</c:v>
                </c:pt>
                <c:pt idx="866">
                  <c:v>41117</c:v>
                </c:pt>
                <c:pt idx="867">
                  <c:v>41120</c:v>
                </c:pt>
                <c:pt idx="868">
                  <c:v>41121</c:v>
                </c:pt>
                <c:pt idx="869">
                  <c:v>41122</c:v>
                </c:pt>
                <c:pt idx="870">
                  <c:v>41123</c:v>
                </c:pt>
                <c:pt idx="871">
                  <c:v>41124</c:v>
                </c:pt>
                <c:pt idx="872">
                  <c:v>41127</c:v>
                </c:pt>
                <c:pt idx="873">
                  <c:v>41128</c:v>
                </c:pt>
                <c:pt idx="874">
                  <c:v>41129</c:v>
                </c:pt>
                <c:pt idx="875">
                  <c:v>41130</c:v>
                </c:pt>
                <c:pt idx="876">
                  <c:v>41131</c:v>
                </c:pt>
                <c:pt idx="877">
                  <c:v>41134</c:v>
                </c:pt>
                <c:pt idx="878">
                  <c:v>41135</c:v>
                </c:pt>
                <c:pt idx="879">
                  <c:v>41136</c:v>
                </c:pt>
                <c:pt idx="880">
                  <c:v>41137</c:v>
                </c:pt>
                <c:pt idx="881">
                  <c:v>41138</c:v>
                </c:pt>
                <c:pt idx="882">
                  <c:v>41141</c:v>
                </c:pt>
                <c:pt idx="883">
                  <c:v>41142</c:v>
                </c:pt>
                <c:pt idx="884">
                  <c:v>41143</c:v>
                </c:pt>
                <c:pt idx="885">
                  <c:v>41144</c:v>
                </c:pt>
                <c:pt idx="886">
                  <c:v>41145</c:v>
                </c:pt>
                <c:pt idx="887">
                  <c:v>41148</c:v>
                </c:pt>
                <c:pt idx="888">
                  <c:v>41149</c:v>
                </c:pt>
                <c:pt idx="889">
                  <c:v>41150</c:v>
                </c:pt>
                <c:pt idx="890">
                  <c:v>41151</c:v>
                </c:pt>
                <c:pt idx="891">
                  <c:v>41152</c:v>
                </c:pt>
                <c:pt idx="892">
                  <c:v>41155</c:v>
                </c:pt>
                <c:pt idx="893">
                  <c:v>41156</c:v>
                </c:pt>
                <c:pt idx="894">
                  <c:v>41157</c:v>
                </c:pt>
                <c:pt idx="895">
                  <c:v>41158</c:v>
                </c:pt>
                <c:pt idx="896">
                  <c:v>41159</c:v>
                </c:pt>
                <c:pt idx="897">
                  <c:v>41162</c:v>
                </c:pt>
                <c:pt idx="898">
                  <c:v>41163</c:v>
                </c:pt>
                <c:pt idx="899">
                  <c:v>41164</c:v>
                </c:pt>
                <c:pt idx="900">
                  <c:v>41165</c:v>
                </c:pt>
                <c:pt idx="901">
                  <c:v>41166</c:v>
                </c:pt>
                <c:pt idx="902">
                  <c:v>41169</c:v>
                </c:pt>
                <c:pt idx="903">
                  <c:v>41170</c:v>
                </c:pt>
                <c:pt idx="904">
                  <c:v>41171</c:v>
                </c:pt>
                <c:pt idx="905">
                  <c:v>41172</c:v>
                </c:pt>
                <c:pt idx="906">
                  <c:v>41173</c:v>
                </c:pt>
                <c:pt idx="907">
                  <c:v>41176</c:v>
                </c:pt>
                <c:pt idx="908">
                  <c:v>41177</c:v>
                </c:pt>
                <c:pt idx="909">
                  <c:v>41178</c:v>
                </c:pt>
                <c:pt idx="910">
                  <c:v>41179</c:v>
                </c:pt>
                <c:pt idx="911">
                  <c:v>41180</c:v>
                </c:pt>
                <c:pt idx="912">
                  <c:v>41190</c:v>
                </c:pt>
                <c:pt idx="913">
                  <c:v>41191</c:v>
                </c:pt>
                <c:pt idx="914">
                  <c:v>41192</c:v>
                </c:pt>
                <c:pt idx="915">
                  <c:v>41193</c:v>
                </c:pt>
                <c:pt idx="916">
                  <c:v>41194</c:v>
                </c:pt>
                <c:pt idx="917">
                  <c:v>41197</c:v>
                </c:pt>
                <c:pt idx="918">
                  <c:v>41198</c:v>
                </c:pt>
                <c:pt idx="919">
                  <c:v>41199</c:v>
                </c:pt>
                <c:pt idx="920">
                  <c:v>41200</c:v>
                </c:pt>
                <c:pt idx="921">
                  <c:v>41201</c:v>
                </c:pt>
                <c:pt idx="922">
                  <c:v>41204</c:v>
                </c:pt>
                <c:pt idx="923">
                  <c:v>41205</c:v>
                </c:pt>
                <c:pt idx="924">
                  <c:v>41206</c:v>
                </c:pt>
                <c:pt idx="925">
                  <c:v>41207</c:v>
                </c:pt>
                <c:pt idx="926">
                  <c:v>41208</c:v>
                </c:pt>
                <c:pt idx="927">
                  <c:v>41211</c:v>
                </c:pt>
                <c:pt idx="928">
                  <c:v>41212</c:v>
                </c:pt>
                <c:pt idx="929">
                  <c:v>41213</c:v>
                </c:pt>
                <c:pt idx="930">
                  <c:v>41214</c:v>
                </c:pt>
                <c:pt idx="931">
                  <c:v>41215</c:v>
                </c:pt>
                <c:pt idx="932">
                  <c:v>41218</c:v>
                </c:pt>
                <c:pt idx="933">
                  <c:v>41219</c:v>
                </c:pt>
                <c:pt idx="934">
                  <c:v>41220</c:v>
                </c:pt>
                <c:pt idx="935">
                  <c:v>41221</c:v>
                </c:pt>
                <c:pt idx="936">
                  <c:v>41222</c:v>
                </c:pt>
                <c:pt idx="937">
                  <c:v>41225</c:v>
                </c:pt>
                <c:pt idx="938">
                  <c:v>41226</c:v>
                </c:pt>
                <c:pt idx="939">
                  <c:v>41227</c:v>
                </c:pt>
                <c:pt idx="940">
                  <c:v>41228</c:v>
                </c:pt>
                <c:pt idx="941">
                  <c:v>41229</c:v>
                </c:pt>
                <c:pt idx="942">
                  <c:v>41232</c:v>
                </c:pt>
                <c:pt idx="943">
                  <c:v>41233</c:v>
                </c:pt>
                <c:pt idx="944">
                  <c:v>41234</c:v>
                </c:pt>
                <c:pt idx="945">
                  <c:v>41235</c:v>
                </c:pt>
                <c:pt idx="946">
                  <c:v>41236</c:v>
                </c:pt>
                <c:pt idx="947">
                  <c:v>41239</c:v>
                </c:pt>
                <c:pt idx="948">
                  <c:v>41240</c:v>
                </c:pt>
                <c:pt idx="949">
                  <c:v>41241</c:v>
                </c:pt>
                <c:pt idx="950">
                  <c:v>41242</c:v>
                </c:pt>
                <c:pt idx="951">
                  <c:v>41243</c:v>
                </c:pt>
                <c:pt idx="952">
                  <c:v>41246</c:v>
                </c:pt>
                <c:pt idx="953">
                  <c:v>41247</c:v>
                </c:pt>
                <c:pt idx="954">
                  <c:v>41248</c:v>
                </c:pt>
                <c:pt idx="955">
                  <c:v>41249</c:v>
                </c:pt>
                <c:pt idx="956">
                  <c:v>41250</c:v>
                </c:pt>
                <c:pt idx="957">
                  <c:v>41253</c:v>
                </c:pt>
                <c:pt idx="958">
                  <c:v>41254</c:v>
                </c:pt>
                <c:pt idx="959">
                  <c:v>41255</c:v>
                </c:pt>
                <c:pt idx="960">
                  <c:v>41256</c:v>
                </c:pt>
                <c:pt idx="961">
                  <c:v>41257</c:v>
                </c:pt>
                <c:pt idx="962">
                  <c:v>41260</c:v>
                </c:pt>
                <c:pt idx="963">
                  <c:v>41261</c:v>
                </c:pt>
                <c:pt idx="964">
                  <c:v>41262</c:v>
                </c:pt>
                <c:pt idx="965">
                  <c:v>41263</c:v>
                </c:pt>
                <c:pt idx="966">
                  <c:v>41264</c:v>
                </c:pt>
                <c:pt idx="967">
                  <c:v>41267</c:v>
                </c:pt>
                <c:pt idx="968">
                  <c:v>41268</c:v>
                </c:pt>
                <c:pt idx="969">
                  <c:v>41269</c:v>
                </c:pt>
                <c:pt idx="970">
                  <c:v>41270</c:v>
                </c:pt>
                <c:pt idx="971">
                  <c:v>41271</c:v>
                </c:pt>
                <c:pt idx="972">
                  <c:v>41274</c:v>
                </c:pt>
                <c:pt idx="973">
                  <c:v>41278</c:v>
                </c:pt>
                <c:pt idx="974">
                  <c:v>41281</c:v>
                </c:pt>
                <c:pt idx="975">
                  <c:v>41282</c:v>
                </c:pt>
                <c:pt idx="976">
                  <c:v>41283</c:v>
                </c:pt>
                <c:pt idx="977">
                  <c:v>41284</c:v>
                </c:pt>
                <c:pt idx="978">
                  <c:v>41285</c:v>
                </c:pt>
                <c:pt idx="979">
                  <c:v>41288</c:v>
                </c:pt>
                <c:pt idx="980">
                  <c:v>41289</c:v>
                </c:pt>
                <c:pt idx="981">
                  <c:v>41290</c:v>
                </c:pt>
                <c:pt idx="982">
                  <c:v>41291</c:v>
                </c:pt>
                <c:pt idx="983">
                  <c:v>41292</c:v>
                </c:pt>
                <c:pt idx="984">
                  <c:v>41295</c:v>
                </c:pt>
                <c:pt idx="985">
                  <c:v>41296</c:v>
                </c:pt>
                <c:pt idx="986">
                  <c:v>41297</c:v>
                </c:pt>
                <c:pt idx="987">
                  <c:v>41298</c:v>
                </c:pt>
                <c:pt idx="988">
                  <c:v>41299</c:v>
                </c:pt>
                <c:pt idx="989">
                  <c:v>41302</c:v>
                </c:pt>
                <c:pt idx="990">
                  <c:v>41303</c:v>
                </c:pt>
                <c:pt idx="991">
                  <c:v>41304</c:v>
                </c:pt>
                <c:pt idx="992">
                  <c:v>41305</c:v>
                </c:pt>
                <c:pt idx="993">
                  <c:v>41306</c:v>
                </c:pt>
                <c:pt idx="994">
                  <c:v>41309</c:v>
                </c:pt>
                <c:pt idx="995">
                  <c:v>41310</c:v>
                </c:pt>
                <c:pt idx="996">
                  <c:v>41311</c:v>
                </c:pt>
                <c:pt idx="997">
                  <c:v>41312</c:v>
                </c:pt>
                <c:pt idx="998">
                  <c:v>41313</c:v>
                </c:pt>
                <c:pt idx="999">
                  <c:v>41323</c:v>
                </c:pt>
                <c:pt idx="1000">
                  <c:v>41324</c:v>
                </c:pt>
                <c:pt idx="1001">
                  <c:v>41325</c:v>
                </c:pt>
                <c:pt idx="1002">
                  <c:v>41326</c:v>
                </c:pt>
                <c:pt idx="1003">
                  <c:v>41327</c:v>
                </c:pt>
                <c:pt idx="1004">
                  <c:v>41330</c:v>
                </c:pt>
                <c:pt idx="1005">
                  <c:v>41331</c:v>
                </c:pt>
                <c:pt idx="1006">
                  <c:v>41332</c:v>
                </c:pt>
                <c:pt idx="1007">
                  <c:v>41333</c:v>
                </c:pt>
                <c:pt idx="1008">
                  <c:v>41334</c:v>
                </c:pt>
                <c:pt idx="1009">
                  <c:v>41337</c:v>
                </c:pt>
                <c:pt idx="1010">
                  <c:v>41338</c:v>
                </c:pt>
                <c:pt idx="1011">
                  <c:v>41339</c:v>
                </c:pt>
                <c:pt idx="1012">
                  <c:v>41340</c:v>
                </c:pt>
                <c:pt idx="1013">
                  <c:v>41341</c:v>
                </c:pt>
                <c:pt idx="1014">
                  <c:v>41344</c:v>
                </c:pt>
                <c:pt idx="1015">
                  <c:v>41345</c:v>
                </c:pt>
                <c:pt idx="1016">
                  <c:v>41346</c:v>
                </c:pt>
                <c:pt idx="1017">
                  <c:v>41347</c:v>
                </c:pt>
                <c:pt idx="1018">
                  <c:v>41348</c:v>
                </c:pt>
                <c:pt idx="1019">
                  <c:v>41351</c:v>
                </c:pt>
                <c:pt idx="1020">
                  <c:v>41352</c:v>
                </c:pt>
                <c:pt idx="1021">
                  <c:v>41353</c:v>
                </c:pt>
                <c:pt idx="1022">
                  <c:v>41354</c:v>
                </c:pt>
                <c:pt idx="1023">
                  <c:v>41355</c:v>
                </c:pt>
                <c:pt idx="1024">
                  <c:v>41358</c:v>
                </c:pt>
                <c:pt idx="1025">
                  <c:v>41359</c:v>
                </c:pt>
                <c:pt idx="1026">
                  <c:v>41360</c:v>
                </c:pt>
                <c:pt idx="1027">
                  <c:v>41361</c:v>
                </c:pt>
                <c:pt idx="1028">
                  <c:v>41362</c:v>
                </c:pt>
                <c:pt idx="1029">
                  <c:v>41365</c:v>
                </c:pt>
                <c:pt idx="1030">
                  <c:v>41366</c:v>
                </c:pt>
                <c:pt idx="1031">
                  <c:v>41367</c:v>
                </c:pt>
                <c:pt idx="1032">
                  <c:v>41372</c:v>
                </c:pt>
                <c:pt idx="1033">
                  <c:v>41373</c:v>
                </c:pt>
                <c:pt idx="1034">
                  <c:v>41374</c:v>
                </c:pt>
                <c:pt idx="1035">
                  <c:v>41375</c:v>
                </c:pt>
                <c:pt idx="1036">
                  <c:v>41376</c:v>
                </c:pt>
                <c:pt idx="1037">
                  <c:v>41379</c:v>
                </c:pt>
                <c:pt idx="1038">
                  <c:v>41380</c:v>
                </c:pt>
                <c:pt idx="1039">
                  <c:v>41381</c:v>
                </c:pt>
                <c:pt idx="1040">
                  <c:v>41382</c:v>
                </c:pt>
                <c:pt idx="1041">
                  <c:v>41383</c:v>
                </c:pt>
                <c:pt idx="1042">
                  <c:v>41386</c:v>
                </c:pt>
                <c:pt idx="1043">
                  <c:v>41387</c:v>
                </c:pt>
                <c:pt idx="1044">
                  <c:v>41388</c:v>
                </c:pt>
                <c:pt idx="1045">
                  <c:v>41389</c:v>
                </c:pt>
                <c:pt idx="1046">
                  <c:v>41390</c:v>
                </c:pt>
                <c:pt idx="1047">
                  <c:v>41396</c:v>
                </c:pt>
                <c:pt idx="1048">
                  <c:v>41397</c:v>
                </c:pt>
                <c:pt idx="1049">
                  <c:v>41400</c:v>
                </c:pt>
                <c:pt idx="1050">
                  <c:v>41401</c:v>
                </c:pt>
                <c:pt idx="1051">
                  <c:v>41402</c:v>
                </c:pt>
                <c:pt idx="1052">
                  <c:v>41403</c:v>
                </c:pt>
                <c:pt idx="1053">
                  <c:v>41404</c:v>
                </c:pt>
                <c:pt idx="1054">
                  <c:v>41407</c:v>
                </c:pt>
                <c:pt idx="1055">
                  <c:v>41408</c:v>
                </c:pt>
                <c:pt idx="1056">
                  <c:v>41409</c:v>
                </c:pt>
                <c:pt idx="1057">
                  <c:v>41410</c:v>
                </c:pt>
                <c:pt idx="1058">
                  <c:v>41411</c:v>
                </c:pt>
                <c:pt idx="1059">
                  <c:v>41414</c:v>
                </c:pt>
                <c:pt idx="1060">
                  <c:v>41415</c:v>
                </c:pt>
                <c:pt idx="1061">
                  <c:v>41416</c:v>
                </c:pt>
                <c:pt idx="1062">
                  <c:v>41417</c:v>
                </c:pt>
                <c:pt idx="1063">
                  <c:v>41418</c:v>
                </c:pt>
                <c:pt idx="1064">
                  <c:v>41421</c:v>
                </c:pt>
                <c:pt idx="1065">
                  <c:v>41422</c:v>
                </c:pt>
                <c:pt idx="1066">
                  <c:v>41423</c:v>
                </c:pt>
                <c:pt idx="1067">
                  <c:v>41424</c:v>
                </c:pt>
                <c:pt idx="1068">
                  <c:v>41425</c:v>
                </c:pt>
                <c:pt idx="1069">
                  <c:v>41428</c:v>
                </c:pt>
                <c:pt idx="1070">
                  <c:v>41429</c:v>
                </c:pt>
                <c:pt idx="1071">
                  <c:v>41430</c:v>
                </c:pt>
                <c:pt idx="1072">
                  <c:v>41431</c:v>
                </c:pt>
                <c:pt idx="1073">
                  <c:v>41432</c:v>
                </c:pt>
                <c:pt idx="1074">
                  <c:v>41438</c:v>
                </c:pt>
                <c:pt idx="1075">
                  <c:v>41439</c:v>
                </c:pt>
                <c:pt idx="1076">
                  <c:v>41442</c:v>
                </c:pt>
                <c:pt idx="1077">
                  <c:v>41443</c:v>
                </c:pt>
                <c:pt idx="1078">
                  <c:v>41444</c:v>
                </c:pt>
                <c:pt idx="1079">
                  <c:v>41445</c:v>
                </c:pt>
                <c:pt idx="1080">
                  <c:v>41446</c:v>
                </c:pt>
                <c:pt idx="1081">
                  <c:v>41449</c:v>
                </c:pt>
                <c:pt idx="1082">
                  <c:v>41450</c:v>
                </c:pt>
                <c:pt idx="1083">
                  <c:v>41451</c:v>
                </c:pt>
                <c:pt idx="1084">
                  <c:v>41452</c:v>
                </c:pt>
                <c:pt idx="1085">
                  <c:v>41453</c:v>
                </c:pt>
                <c:pt idx="1086">
                  <c:v>41456</c:v>
                </c:pt>
                <c:pt idx="1087">
                  <c:v>41457</c:v>
                </c:pt>
                <c:pt idx="1088">
                  <c:v>41458</c:v>
                </c:pt>
                <c:pt idx="1089">
                  <c:v>41459</c:v>
                </c:pt>
                <c:pt idx="1090">
                  <c:v>41460</c:v>
                </c:pt>
                <c:pt idx="1091">
                  <c:v>41463</c:v>
                </c:pt>
                <c:pt idx="1092">
                  <c:v>41464</c:v>
                </c:pt>
                <c:pt idx="1093">
                  <c:v>41465</c:v>
                </c:pt>
                <c:pt idx="1094">
                  <c:v>41466</c:v>
                </c:pt>
                <c:pt idx="1095">
                  <c:v>41467</c:v>
                </c:pt>
                <c:pt idx="1096">
                  <c:v>41470</c:v>
                </c:pt>
                <c:pt idx="1097">
                  <c:v>41471</c:v>
                </c:pt>
                <c:pt idx="1098">
                  <c:v>41472</c:v>
                </c:pt>
                <c:pt idx="1099">
                  <c:v>41473</c:v>
                </c:pt>
                <c:pt idx="1100">
                  <c:v>41474</c:v>
                </c:pt>
                <c:pt idx="1101">
                  <c:v>41477</c:v>
                </c:pt>
                <c:pt idx="1102">
                  <c:v>41478</c:v>
                </c:pt>
                <c:pt idx="1103">
                  <c:v>41479</c:v>
                </c:pt>
                <c:pt idx="1104">
                  <c:v>41480</c:v>
                </c:pt>
                <c:pt idx="1105">
                  <c:v>41481</c:v>
                </c:pt>
                <c:pt idx="1106">
                  <c:v>41484</c:v>
                </c:pt>
                <c:pt idx="1107">
                  <c:v>41485</c:v>
                </c:pt>
                <c:pt idx="1108">
                  <c:v>41486</c:v>
                </c:pt>
                <c:pt idx="1109">
                  <c:v>41487</c:v>
                </c:pt>
                <c:pt idx="1110">
                  <c:v>41488</c:v>
                </c:pt>
                <c:pt idx="1111">
                  <c:v>41491</c:v>
                </c:pt>
                <c:pt idx="1112">
                  <c:v>41492</c:v>
                </c:pt>
                <c:pt idx="1113">
                  <c:v>41493</c:v>
                </c:pt>
                <c:pt idx="1114">
                  <c:v>41494</c:v>
                </c:pt>
                <c:pt idx="1115">
                  <c:v>41495</c:v>
                </c:pt>
                <c:pt idx="1116">
                  <c:v>41498</c:v>
                </c:pt>
                <c:pt idx="1117">
                  <c:v>41499</c:v>
                </c:pt>
                <c:pt idx="1118">
                  <c:v>41500</c:v>
                </c:pt>
                <c:pt idx="1119">
                  <c:v>41501</c:v>
                </c:pt>
                <c:pt idx="1120">
                  <c:v>41502</c:v>
                </c:pt>
                <c:pt idx="1121">
                  <c:v>41505</c:v>
                </c:pt>
                <c:pt idx="1122">
                  <c:v>41506</c:v>
                </c:pt>
                <c:pt idx="1123">
                  <c:v>41507</c:v>
                </c:pt>
                <c:pt idx="1124">
                  <c:v>41508</c:v>
                </c:pt>
                <c:pt idx="1125">
                  <c:v>41509</c:v>
                </c:pt>
                <c:pt idx="1126">
                  <c:v>41512</c:v>
                </c:pt>
                <c:pt idx="1127">
                  <c:v>41513</c:v>
                </c:pt>
                <c:pt idx="1128">
                  <c:v>41514</c:v>
                </c:pt>
                <c:pt idx="1129">
                  <c:v>41515</c:v>
                </c:pt>
                <c:pt idx="1130">
                  <c:v>41516</c:v>
                </c:pt>
                <c:pt idx="1131">
                  <c:v>41519</c:v>
                </c:pt>
                <c:pt idx="1132">
                  <c:v>41520</c:v>
                </c:pt>
                <c:pt idx="1133">
                  <c:v>41521</c:v>
                </c:pt>
                <c:pt idx="1134">
                  <c:v>41522</c:v>
                </c:pt>
                <c:pt idx="1135">
                  <c:v>41523</c:v>
                </c:pt>
                <c:pt idx="1136">
                  <c:v>41526</c:v>
                </c:pt>
                <c:pt idx="1137">
                  <c:v>41527</c:v>
                </c:pt>
                <c:pt idx="1138">
                  <c:v>41528</c:v>
                </c:pt>
                <c:pt idx="1139">
                  <c:v>41529</c:v>
                </c:pt>
                <c:pt idx="1140">
                  <c:v>41530</c:v>
                </c:pt>
                <c:pt idx="1141">
                  <c:v>41533</c:v>
                </c:pt>
                <c:pt idx="1142">
                  <c:v>41534</c:v>
                </c:pt>
                <c:pt idx="1143">
                  <c:v>41535</c:v>
                </c:pt>
                <c:pt idx="1144">
                  <c:v>41540</c:v>
                </c:pt>
                <c:pt idx="1145">
                  <c:v>41541</c:v>
                </c:pt>
                <c:pt idx="1146">
                  <c:v>41542</c:v>
                </c:pt>
                <c:pt idx="1147">
                  <c:v>41543</c:v>
                </c:pt>
                <c:pt idx="1148">
                  <c:v>41544</c:v>
                </c:pt>
                <c:pt idx="1149">
                  <c:v>41547</c:v>
                </c:pt>
                <c:pt idx="1150">
                  <c:v>41555</c:v>
                </c:pt>
                <c:pt idx="1151">
                  <c:v>41556</c:v>
                </c:pt>
                <c:pt idx="1152">
                  <c:v>41557</c:v>
                </c:pt>
                <c:pt idx="1153">
                  <c:v>41558</c:v>
                </c:pt>
                <c:pt idx="1154">
                  <c:v>41561</c:v>
                </c:pt>
                <c:pt idx="1155">
                  <c:v>41562</c:v>
                </c:pt>
                <c:pt idx="1156">
                  <c:v>41563</c:v>
                </c:pt>
                <c:pt idx="1157">
                  <c:v>41564</c:v>
                </c:pt>
                <c:pt idx="1158">
                  <c:v>41565</c:v>
                </c:pt>
                <c:pt idx="1159">
                  <c:v>41568</c:v>
                </c:pt>
                <c:pt idx="1160">
                  <c:v>41569</c:v>
                </c:pt>
                <c:pt idx="1161">
                  <c:v>41570</c:v>
                </c:pt>
                <c:pt idx="1162">
                  <c:v>41571</c:v>
                </c:pt>
                <c:pt idx="1163">
                  <c:v>41572</c:v>
                </c:pt>
                <c:pt idx="1164">
                  <c:v>41575</c:v>
                </c:pt>
                <c:pt idx="1165">
                  <c:v>41576</c:v>
                </c:pt>
                <c:pt idx="1166">
                  <c:v>41577</c:v>
                </c:pt>
                <c:pt idx="1167">
                  <c:v>41578</c:v>
                </c:pt>
                <c:pt idx="1168">
                  <c:v>41579</c:v>
                </c:pt>
                <c:pt idx="1169">
                  <c:v>41582</c:v>
                </c:pt>
                <c:pt idx="1170">
                  <c:v>41583</c:v>
                </c:pt>
                <c:pt idx="1171">
                  <c:v>41584</c:v>
                </c:pt>
                <c:pt idx="1172">
                  <c:v>41585</c:v>
                </c:pt>
                <c:pt idx="1173">
                  <c:v>41586</c:v>
                </c:pt>
                <c:pt idx="1174">
                  <c:v>41589</c:v>
                </c:pt>
                <c:pt idx="1175">
                  <c:v>41590</c:v>
                </c:pt>
                <c:pt idx="1176">
                  <c:v>41591</c:v>
                </c:pt>
                <c:pt idx="1177">
                  <c:v>41592</c:v>
                </c:pt>
                <c:pt idx="1178">
                  <c:v>41593</c:v>
                </c:pt>
                <c:pt idx="1179">
                  <c:v>41596</c:v>
                </c:pt>
                <c:pt idx="1180">
                  <c:v>41597</c:v>
                </c:pt>
                <c:pt idx="1181">
                  <c:v>41598</c:v>
                </c:pt>
                <c:pt idx="1182">
                  <c:v>41599</c:v>
                </c:pt>
                <c:pt idx="1183">
                  <c:v>41600</c:v>
                </c:pt>
                <c:pt idx="1184">
                  <c:v>41603</c:v>
                </c:pt>
                <c:pt idx="1185">
                  <c:v>41604</c:v>
                </c:pt>
                <c:pt idx="1186">
                  <c:v>41605</c:v>
                </c:pt>
                <c:pt idx="1187">
                  <c:v>41606</c:v>
                </c:pt>
                <c:pt idx="1188">
                  <c:v>41607</c:v>
                </c:pt>
                <c:pt idx="1189">
                  <c:v>41610</c:v>
                </c:pt>
                <c:pt idx="1190">
                  <c:v>41611</c:v>
                </c:pt>
                <c:pt idx="1191">
                  <c:v>41612</c:v>
                </c:pt>
                <c:pt idx="1192">
                  <c:v>41613</c:v>
                </c:pt>
                <c:pt idx="1193">
                  <c:v>41614</c:v>
                </c:pt>
                <c:pt idx="1194">
                  <c:v>41617</c:v>
                </c:pt>
                <c:pt idx="1195">
                  <c:v>41618</c:v>
                </c:pt>
                <c:pt idx="1196">
                  <c:v>41619</c:v>
                </c:pt>
                <c:pt idx="1197">
                  <c:v>41620</c:v>
                </c:pt>
                <c:pt idx="1198">
                  <c:v>41621</c:v>
                </c:pt>
                <c:pt idx="1199">
                  <c:v>41624</c:v>
                </c:pt>
                <c:pt idx="1200">
                  <c:v>41625</c:v>
                </c:pt>
                <c:pt idx="1201">
                  <c:v>41626</c:v>
                </c:pt>
                <c:pt idx="1202">
                  <c:v>41627</c:v>
                </c:pt>
                <c:pt idx="1203">
                  <c:v>41628</c:v>
                </c:pt>
                <c:pt idx="1204">
                  <c:v>41631</c:v>
                </c:pt>
                <c:pt idx="1205">
                  <c:v>41632</c:v>
                </c:pt>
                <c:pt idx="1206">
                  <c:v>41633</c:v>
                </c:pt>
                <c:pt idx="1207">
                  <c:v>41634</c:v>
                </c:pt>
                <c:pt idx="1208">
                  <c:v>41635</c:v>
                </c:pt>
                <c:pt idx="1209">
                  <c:v>41638</c:v>
                </c:pt>
                <c:pt idx="1210">
                  <c:v>41639</c:v>
                </c:pt>
                <c:pt idx="1211">
                  <c:v>41641</c:v>
                </c:pt>
                <c:pt idx="1212">
                  <c:v>41642</c:v>
                </c:pt>
                <c:pt idx="1213">
                  <c:v>41645</c:v>
                </c:pt>
                <c:pt idx="1214">
                  <c:v>41646</c:v>
                </c:pt>
                <c:pt idx="1215">
                  <c:v>41647</c:v>
                </c:pt>
                <c:pt idx="1216">
                  <c:v>41648</c:v>
                </c:pt>
                <c:pt idx="1217">
                  <c:v>41649</c:v>
                </c:pt>
                <c:pt idx="1218">
                  <c:v>41652</c:v>
                </c:pt>
                <c:pt idx="1219">
                  <c:v>41653</c:v>
                </c:pt>
                <c:pt idx="1220">
                  <c:v>41654</c:v>
                </c:pt>
                <c:pt idx="1221">
                  <c:v>41655</c:v>
                </c:pt>
                <c:pt idx="1222">
                  <c:v>41656</c:v>
                </c:pt>
                <c:pt idx="1223">
                  <c:v>41659</c:v>
                </c:pt>
                <c:pt idx="1224">
                  <c:v>41660</c:v>
                </c:pt>
                <c:pt idx="1225">
                  <c:v>41661</c:v>
                </c:pt>
                <c:pt idx="1226">
                  <c:v>41662</c:v>
                </c:pt>
                <c:pt idx="1227">
                  <c:v>41663</c:v>
                </c:pt>
                <c:pt idx="1228">
                  <c:v>41666</c:v>
                </c:pt>
                <c:pt idx="1229">
                  <c:v>41667</c:v>
                </c:pt>
                <c:pt idx="1230">
                  <c:v>41668</c:v>
                </c:pt>
                <c:pt idx="1231">
                  <c:v>41669</c:v>
                </c:pt>
                <c:pt idx="1232">
                  <c:v>41677</c:v>
                </c:pt>
                <c:pt idx="1233">
                  <c:v>41680</c:v>
                </c:pt>
                <c:pt idx="1234">
                  <c:v>41681</c:v>
                </c:pt>
                <c:pt idx="1235">
                  <c:v>41682</c:v>
                </c:pt>
                <c:pt idx="1236">
                  <c:v>41683</c:v>
                </c:pt>
                <c:pt idx="1237">
                  <c:v>41684</c:v>
                </c:pt>
                <c:pt idx="1238">
                  <c:v>41687</c:v>
                </c:pt>
                <c:pt idx="1239">
                  <c:v>41688</c:v>
                </c:pt>
                <c:pt idx="1240">
                  <c:v>41689</c:v>
                </c:pt>
                <c:pt idx="1241">
                  <c:v>41690</c:v>
                </c:pt>
                <c:pt idx="1242">
                  <c:v>41691</c:v>
                </c:pt>
                <c:pt idx="1243">
                  <c:v>41694</c:v>
                </c:pt>
                <c:pt idx="1244">
                  <c:v>41695</c:v>
                </c:pt>
                <c:pt idx="1245">
                  <c:v>41696</c:v>
                </c:pt>
                <c:pt idx="1246">
                  <c:v>41697</c:v>
                </c:pt>
                <c:pt idx="1247">
                  <c:v>41698</c:v>
                </c:pt>
                <c:pt idx="1248">
                  <c:v>41701</c:v>
                </c:pt>
                <c:pt idx="1249">
                  <c:v>41702</c:v>
                </c:pt>
                <c:pt idx="1250">
                  <c:v>41703</c:v>
                </c:pt>
                <c:pt idx="1251">
                  <c:v>41704</c:v>
                </c:pt>
                <c:pt idx="1252">
                  <c:v>41705</c:v>
                </c:pt>
                <c:pt idx="1253">
                  <c:v>41708</c:v>
                </c:pt>
                <c:pt idx="1254">
                  <c:v>41709</c:v>
                </c:pt>
                <c:pt idx="1255">
                  <c:v>41710</c:v>
                </c:pt>
                <c:pt idx="1256">
                  <c:v>41711</c:v>
                </c:pt>
                <c:pt idx="1257">
                  <c:v>41712</c:v>
                </c:pt>
                <c:pt idx="1258">
                  <c:v>41715</c:v>
                </c:pt>
                <c:pt idx="1259">
                  <c:v>41716</c:v>
                </c:pt>
                <c:pt idx="1260">
                  <c:v>41717</c:v>
                </c:pt>
                <c:pt idx="1261">
                  <c:v>41718</c:v>
                </c:pt>
                <c:pt idx="1262">
                  <c:v>41719</c:v>
                </c:pt>
                <c:pt idx="1263">
                  <c:v>41722</c:v>
                </c:pt>
                <c:pt idx="1264">
                  <c:v>41723</c:v>
                </c:pt>
                <c:pt idx="1265">
                  <c:v>41724</c:v>
                </c:pt>
                <c:pt idx="1266">
                  <c:v>41725</c:v>
                </c:pt>
                <c:pt idx="1267">
                  <c:v>41726</c:v>
                </c:pt>
                <c:pt idx="1268">
                  <c:v>41729</c:v>
                </c:pt>
                <c:pt idx="1269">
                  <c:v>41730</c:v>
                </c:pt>
                <c:pt idx="1270">
                  <c:v>41731</c:v>
                </c:pt>
                <c:pt idx="1271">
                  <c:v>41732</c:v>
                </c:pt>
                <c:pt idx="1272">
                  <c:v>41733</c:v>
                </c:pt>
                <c:pt idx="1273">
                  <c:v>41737</c:v>
                </c:pt>
                <c:pt idx="1274">
                  <c:v>41738</c:v>
                </c:pt>
                <c:pt idx="1275">
                  <c:v>41739</c:v>
                </c:pt>
                <c:pt idx="1276">
                  <c:v>41740</c:v>
                </c:pt>
                <c:pt idx="1277">
                  <c:v>41743</c:v>
                </c:pt>
                <c:pt idx="1278">
                  <c:v>41744</c:v>
                </c:pt>
                <c:pt idx="1279">
                  <c:v>41745</c:v>
                </c:pt>
                <c:pt idx="1280">
                  <c:v>41746</c:v>
                </c:pt>
                <c:pt idx="1281">
                  <c:v>41747</c:v>
                </c:pt>
                <c:pt idx="1282">
                  <c:v>41750</c:v>
                </c:pt>
                <c:pt idx="1283">
                  <c:v>41751</c:v>
                </c:pt>
                <c:pt idx="1284">
                  <c:v>41752</c:v>
                </c:pt>
                <c:pt idx="1285">
                  <c:v>41753</c:v>
                </c:pt>
                <c:pt idx="1286">
                  <c:v>41754</c:v>
                </c:pt>
                <c:pt idx="1287">
                  <c:v>41757</c:v>
                </c:pt>
                <c:pt idx="1288">
                  <c:v>41758</c:v>
                </c:pt>
                <c:pt idx="1289">
                  <c:v>41759</c:v>
                </c:pt>
                <c:pt idx="1290">
                  <c:v>41764</c:v>
                </c:pt>
                <c:pt idx="1291">
                  <c:v>41765</c:v>
                </c:pt>
                <c:pt idx="1292">
                  <c:v>41766</c:v>
                </c:pt>
                <c:pt idx="1293">
                  <c:v>41767</c:v>
                </c:pt>
                <c:pt idx="1294">
                  <c:v>41768</c:v>
                </c:pt>
                <c:pt idx="1295">
                  <c:v>41771</c:v>
                </c:pt>
                <c:pt idx="1296">
                  <c:v>41772</c:v>
                </c:pt>
                <c:pt idx="1297">
                  <c:v>41773</c:v>
                </c:pt>
                <c:pt idx="1298">
                  <c:v>41774</c:v>
                </c:pt>
                <c:pt idx="1299">
                  <c:v>41775</c:v>
                </c:pt>
                <c:pt idx="1300">
                  <c:v>41778</c:v>
                </c:pt>
                <c:pt idx="1301">
                  <c:v>41779</c:v>
                </c:pt>
                <c:pt idx="1302">
                  <c:v>41780</c:v>
                </c:pt>
                <c:pt idx="1303">
                  <c:v>41781</c:v>
                </c:pt>
                <c:pt idx="1304">
                  <c:v>41782</c:v>
                </c:pt>
                <c:pt idx="1305">
                  <c:v>41785</c:v>
                </c:pt>
                <c:pt idx="1306">
                  <c:v>41786</c:v>
                </c:pt>
                <c:pt idx="1307">
                  <c:v>41787</c:v>
                </c:pt>
                <c:pt idx="1308">
                  <c:v>41788</c:v>
                </c:pt>
                <c:pt idx="1309">
                  <c:v>41789</c:v>
                </c:pt>
                <c:pt idx="1310">
                  <c:v>41793</c:v>
                </c:pt>
                <c:pt idx="1311">
                  <c:v>41794</c:v>
                </c:pt>
                <c:pt idx="1312">
                  <c:v>41795</c:v>
                </c:pt>
                <c:pt idx="1313">
                  <c:v>41796</c:v>
                </c:pt>
                <c:pt idx="1314">
                  <c:v>41799</c:v>
                </c:pt>
                <c:pt idx="1315">
                  <c:v>41800</c:v>
                </c:pt>
                <c:pt idx="1316">
                  <c:v>41801</c:v>
                </c:pt>
                <c:pt idx="1317">
                  <c:v>41802</c:v>
                </c:pt>
                <c:pt idx="1318">
                  <c:v>41803</c:v>
                </c:pt>
                <c:pt idx="1319">
                  <c:v>41806</c:v>
                </c:pt>
                <c:pt idx="1320">
                  <c:v>41807</c:v>
                </c:pt>
                <c:pt idx="1321">
                  <c:v>41808</c:v>
                </c:pt>
                <c:pt idx="1322">
                  <c:v>41809</c:v>
                </c:pt>
                <c:pt idx="1323">
                  <c:v>41810</c:v>
                </c:pt>
                <c:pt idx="1324">
                  <c:v>41813</c:v>
                </c:pt>
                <c:pt idx="1325">
                  <c:v>41814</c:v>
                </c:pt>
                <c:pt idx="1326">
                  <c:v>41815</c:v>
                </c:pt>
                <c:pt idx="1327">
                  <c:v>41816</c:v>
                </c:pt>
                <c:pt idx="1328">
                  <c:v>41817</c:v>
                </c:pt>
                <c:pt idx="1329">
                  <c:v>41820</c:v>
                </c:pt>
                <c:pt idx="1330">
                  <c:v>41821</c:v>
                </c:pt>
                <c:pt idx="1331">
                  <c:v>41822</c:v>
                </c:pt>
                <c:pt idx="1332">
                  <c:v>41823</c:v>
                </c:pt>
                <c:pt idx="1333">
                  <c:v>41824</c:v>
                </c:pt>
                <c:pt idx="1334">
                  <c:v>41827</c:v>
                </c:pt>
                <c:pt idx="1335">
                  <c:v>41828</c:v>
                </c:pt>
                <c:pt idx="1336">
                  <c:v>41829</c:v>
                </c:pt>
                <c:pt idx="1337">
                  <c:v>41830</c:v>
                </c:pt>
                <c:pt idx="1338">
                  <c:v>41831</c:v>
                </c:pt>
                <c:pt idx="1339">
                  <c:v>41834</c:v>
                </c:pt>
                <c:pt idx="1340">
                  <c:v>41835</c:v>
                </c:pt>
                <c:pt idx="1341">
                  <c:v>41836</c:v>
                </c:pt>
                <c:pt idx="1342">
                  <c:v>41837</c:v>
                </c:pt>
                <c:pt idx="1343">
                  <c:v>41838</c:v>
                </c:pt>
                <c:pt idx="1344">
                  <c:v>41841</c:v>
                </c:pt>
                <c:pt idx="1345">
                  <c:v>41842</c:v>
                </c:pt>
                <c:pt idx="1346">
                  <c:v>41843</c:v>
                </c:pt>
                <c:pt idx="1347">
                  <c:v>41844</c:v>
                </c:pt>
                <c:pt idx="1348">
                  <c:v>41845</c:v>
                </c:pt>
                <c:pt idx="1349">
                  <c:v>41848</c:v>
                </c:pt>
                <c:pt idx="1350">
                  <c:v>41849</c:v>
                </c:pt>
                <c:pt idx="1351">
                  <c:v>41850</c:v>
                </c:pt>
                <c:pt idx="1352">
                  <c:v>41851</c:v>
                </c:pt>
                <c:pt idx="1353">
                  <c:v>41852</c:v>
                </c:pt>
                <c:pt idx="1354">
                  <c:v>41855</c:v>
                </c:pt>
                <c:pt idx="1355">
                  <c:v>41856</c:v>
                </c:pt>
                <c:pt idx="1356">
                  <c:v>41857</c:v>
                </c:pt>
                <c:pt idx="1357">
                  <c:v>41858</c:v>
                </c:pt>
                <c:pt idx="1358">
                  <c:v>41859</c:v>
                </c:pt>
                <c:pt idx="1359">
                  <c:v>41862</c:v>
                </c:pt>
                <c:pt idx="1360">
                  <c:v>41863</c:v>
                </c:pt>
                <c:pt idx="1361">
                  <c:v>41864</c:v>
                </c:pt>
                <c:pt idx="1362">
                  <c:v>41865</c:v>
                </c:pt>
                <c:pt idx="1363">
                  <c:v>41866</c:v>
                </c:pt>
                <c:pt idx="1364">
                  <c:v>41869</c:v>
                </c:pt>
                <c:pt idx="1365">
                  <c:v>41870</c:v>
                </c:pt>
                <c:pt idx="1366">
                  <c:v>41871</c:v>
                </c:pt>
                <c:pt idx="1367">
                  <c:v>41872</c:v>
                </c:pt>
                <c:pt idx="1368">
                  <c:v>41873</c:v>
                </c:pt>
                <c:pt idx="1369">
                  <c:v>41876</c:v>
                </c:pt>
                <c:pt idx="1370">
                  <c:v>41877</c:v>
                </c:pt>
                <c:pt idx="1371">
                  <c:v>41878</c:v>
                </c:pt>
                <c:pt idx="1372">
                  <c:v>41879</c:v>
                </c:pt>
                <c:pt idx="1373">
                  <c:v>41880</c:v>
                </c:pt>
                <c:pt idx="1374">
                  <c:v>41883</c:v>
                </c:pt>
                <c:pt idx="1375">
                  <c:v>41884</c:v>
                </c:pt>
                <c:pt idx="1376">
                  <c:v>41885</c:v>
                </c:pt>
                <c:pt idx="1377">
                  <c:v>41886</c:v>
                </c:pt>
                <c:pt idx="1378">
                  <c:v>41887</c:v>
                </c:pt>
                <c:pt idx="1379">
                  <c:v>41891</c:v>
                </c:pt>
                <c:pt idx="1380">
                  <c:v>41892</c:v>
                </c:pt>
                <c:pt idx="1381">
                  <c:v>41893</c:v>
                </c:pt>
                <c:pt idx="1382">
                  <c:v>41894</c:v>
                </c:pt>
                <c:pt idx="1383">
                  <c:v>41897</c:v>
                </c:pt>
                <c:pt idx="1384">
                  <c:v>41898</c:v>
                </c:pt>
                <c:pt idx="1385">
                  <c:v>41899</c:v>
                </c:pt>
                <c:pt idx="1386">
                  <c:v>41900</c:v>
                </c:pt>
                <c:pt idx="1387">
                  <c:v>41901</c:v>
                </c:pt>
                <c:pt idx="1388">
                  <c:v>41904</c:v>
                </c:pt>
                <c:pt idx="1389">
                  <c:v>41905</c:v>
                </c:pt>
                <c:pt idx="1390">
                  <c:v>41906</c:v>
                </c:pt>
                <c:pt idx="1391">
                  <c:v>41907</c:v>
                </c:pt>
                <c:pt idx="1392">
                  <c:v>41908</c:v>
                </c:pt>
                <c:pt idx="1393">
                  <c:v>41911</c:v>
                </c:pt>
                <c:pt idx="1394">
                  <c:v>41912</c:v>
                </c:pt>
                <c:pt idx="1395">
                  <c:v>41920</c:v>
                </c:pt>
                <c:pt idx="1396">
                  <c:v>41921</c:v>
                </c:pt>
                <c:pt idx="1397">
                  <c:v>41922</c:v>
                </c:pt>
                <c:pt idx="1398">
                  <c:v>41925</c:v>
                </c:pt>
                <c:pt idx="1399">
                  <c:v>41926</c:v>
                </c:pt>
                <c:pt idx="1400">
                  <c:v>41927</c:v>
                </c:pt>
                <c:pt idx="1401">
                  <c:v>41928</c:v>
                </c:pt>
                <c:pt idx="1402">
                  <c:v>41929</c:v>
                </c:pt>
                <c:pt idx="1403">
                  <c:v>41932</c:v>
                </c:pt>
                <c:pt idx="1404">
                  <c:v>41933</c:v>
                </c:pt>
                <c:pt idx="1405">
                  <c:v>41934</c:v>
                </c:pt>
                <c:pt idx="1406">
                  <c:v>41935</c:v>
                </c:pt>
                <c:pt idx="1407">
                  <c:v>41936</c:v>
                </c:pt>
                <c:pt idx="1408">
                  <c:v>41939</c:v>
                </c:pt>
                <c:pt idx="1409">
                  <c:v>41940</c:v>
                </c:pt>
                <c:pt idx="1410">
                  <c:v>41941</c:v>
                </c:pt>
                <c:pt idx="1411">
                  <c:v>41942</c:v>
                </c:pt>
                <c:pt idx="1412">
                  <c:v>41943</c:v>
                </c:pt>
                <c:pt idx="1413">
                  <c:v>41946</c:v>
                </c:pt>
                <c:pt idx="1414">
                  <c:v>41947</c:v>
                </c:pt>
                <c:pt idx="1415">
                  <c:v>41948</c:v>
                </c:pt>
                <c:pt idx="1416">
                  <c:v>41949</c:v>
                </c:pt>
                <c:pt idx="1417">
                  <c:v>41950</c:v>
                </c:pt>
                <c:pt idx="1418">
                  <c:v>41953</c:v>
                </c:pt>
                <c:pt idx="1419">
                  <c:v>41954</c:v>
                </c:pt>
                <c:pt idx="1420">
                  <c:v>41955</c:v>
                </c:pt>
                <c:pt idx="1421">
                  <c:v>41956</c:v>
                </c:pt>
                <c:pt idx="1422">
                  <c:v>41957</c:v>
                </c:pt>
                <c:pt idx="1423">
                  <c:v>41960</c:v>
                </c:pt>
                <c:pt idx="1424">
                  <c:v>41961</c:v>
                </c:pt>
                <c:pt idx="1425">
                  <c:v>41962</c:v>
                </c:pt>
                <c:pt idx="1426">
                  <c:v>41963</c:v>
                </c:pt>
                <c:pt idx="1427">
                  <c:v>41964</c:v>
                </c:pt>
                <c:pt idx="1428">
                  <c:v>41967</c:v>
                </c:pt>
                <c:pt idx="1429">
                  <c:v>41968</c:v>
                </c:pt>
                <c:pt idx="1430">
                  <c:v>41969</c:v>
                </c:pt>
                <c:pt idx="1431">
                  <c:v>41970</c:v>
                </c:pt>
                <c:pt idx="1432">
                  <c:v>41971</c:v>
                </c:pt>
                <c:pt idx="1433">
                  <c:v>41974</c:v>
                </c:pt>
                <c:pt idx="1434">
                  <c:v>41975</c:v>
                </c:pt>
                <c:pt idx="1435">
                  <c:v>41976</c:v>
                </c:pt>
                <c:pt idx="1436">
                  <c:v>41977</c:v>
                </c:pt>
                <c:pt idx="1437">
                  <c:v>41978</c:v>
                </c:pt>
                <c:pt idx="1438">
                  <c:v>41981</c:v>
                </c:pt>
                <c:pt idx="1439">
                  <c:v>41982</c:v>
                </c:pt>
                <c:pt idx="1440">
                  <c:v>41983</c:v>
                </c:pt>
                <c:pt idx="1441">
                  <c:v>41984</c:v>
                </c:pt>
                <c:pt idx="1442">
                  <c:v>41985</c:v>
                </c:pt>
                <c:pt idx="1443">
                  <c:v>41988</c:v>
                </c:pt>
                <c:pt idx="1444">
                  <c:v>41989</c:v>
                </c:pt>
                <c:pt idx="1445">
                  <c:v>41990</c:v>
                </c:pt>
                <c:pt idx="1446">
                  <c:v>41991</c:v>
                </c:pt>
                <c:pt idx="1447">
                  <c:v>41992</c:v>
                </c:pt>
                <c:pt idx="1448">
                  <c:v>41995</c:v>
                </c:pt>
                <c:pt idx="1449">
                  <c:v>41996</c:v>
                </c:pt>
                <c:pt idx="1450">
                  <c:v>41997</c:v>
                </c:pt>
                <c:pt idx="1451">
                  <c:v>41998</c:v>
                </c:pt>
                <c:pt idx="1452">
                  <c:v>41999</c:v>
                </c:pt>
                <c:pt idx="1453">
                  <c:v>42002</c:v>
                </c:pt>
                <c:pt idx="1454">
                  <c:v>42003</c:v>
                </c:pt>
                <c:pt idx="1455">
                  <c:v>42004</c:v>
                </c:pt>
                <c:pt idx="1456">
                  <c:v>42009</c:v>
                </c:pt>
                <c:pt idx="1457">
                  <c:v>42010</c:v>
                </c:pt>
                <c:pt idx="1458">
                  <c:v>42011</c:v>
                </c:pt>
                <c:pt idx="1459">
                  <c:v>42012</c:v>
                </c:pt>
                <c:pt idx="1460">
                  <c:v>42013</c:v>
                </c:pt>
                <c:pt idx="1461">
                  <c:v>42016</c:v>
                </c:pt>
                <c:pt idx="1462">
                  <c:v>42017</c:v>
                </c:pt>
                <c:pt idx="1463">
                  <c:v>42018</c:v>
                </c:pt>
                <c:pt idx="1464">
                  <c:v>42019</c:v>
                </c:pt>
                <c:pt idx="1465">
                  <c:v>42020</c:v>
                </c:pt>
                <c:pt idx="1466">
                  <c:v>42023</c:v>
                </c:pt>
                <c:pt idx="1467">
                  <c:v>42024</c:v>
                </c:pt>
                <c:pt idx="1468">
                  <c:v>42025</c:v>
                </c:pt>
                <c:pt idx="1469">
                  <c:v>42026</c:v>
                </c:pt>
                <c:pt idx="1470">
                  <c:v>42027</c:v>
                </c:pt>
                <c:pt idx="1471">
                  <c:v>42030</c:v>
                </c:pt>
                <c:pt idx="1472">
                  <c:v>42031</c:v>
                </c:pt>
                <c:pt idx="1473">
                  <c:v>42032</c:v>
                </c:pt>
                <c:pt idx="1474">
                  <c:v>42033</c:v>
                </c:pt>
                <c:pt idx="1475">
                  <c:v>42034</c:v>
                </c:pt>
                <c:pt idx="1476">
                  <c:v>42037</c:v>
                </c:pt>
                <c:pt idx="1477">
                  <c:v>42038</c:v>
                </c:pt>
                <c:pt idx="1478">
                  <c:v>42039</c:v>
                </c:pt>
                <c:pt idx="1479">
                  <c:v>42040</c:v>
                </c:pt>
                <c:pt idx="1480">
                  <c:v>42041</c:v>
                </c:pt>
                <c:pt idx="1481">
                  <c:v>42044</c:v>
                </c:pt>
                <c:pt idx="1482">
                  <c:v>42045</c:v>
                </c:pt>
                <c:pt idx="1483">
                  <c:v>42046</c:v>
                </c:pt>
                <c:pt idx="1484">
                  <c:v>42047</c:v>
                </c:pt>
                <c:pt idx="1485">
                  <c:v>42048</c:v>
                </c:pt>
                <c:pt idx="1486">
                  <c:v>42051</c:v>
                </c:pt>
                <c:pt idx="1487">
                  <c:v>42052</c:v>
                </c:pt>
                <c:pt idx="1488">
                  <c:v>42060</c:v>
                </c:pt>
                <c:pt idx="1489">
                  <c:v>42061</c:v>
                </c:pt>
                <c:pt idx="1490">
                  <c:v>42062</c:v>
                </c:pt>
                <c:pt idx="1491">
                  <c:v>42065</c:v>
                </c:pt>
                <c:pt idx="1492">
                  <c:v>42066</c:v>
                </c:pt>
                <c:pt idx="1493">
                  <c:v>42067</c:v>
                </c:pt>
                <c:pt idx="1494">
                  <c:v>42068</c:v>
                </c:pt>
                <c:pt idx="1495">
                  <c:v>42069</c:v>
                </c:pt>
                <c:pt idx="1496">
                  <c:v>42072</c:v>
                </c:pt>
                <c:pt idx="1497">
                  <c:v>42073</c:v>
                </c:pt>
                <c:pt idx="1498">
                  <c:v>42074</c:v>
                </c:pt>
                <c:pt idx="1499">
                  <c:v>42075</c:v>
                </c:pt>
                <c:pt idx="1500">
                  <c:v>42076</c:v>
                </c:pt>
                <c:pt idx="1501">
                  <c:v>42079</c:v>
                </c:pt>
                <c:pt idx="1502">
                  <c:v>42080</c:v>
                </c:pt>
                <c:pt idx="1503">
                  <c:v>42081</c:v>
                </c:pt>
                <c:pt idx="1504">
                  <c:v>42082</c:v>
                </c:pt>
                <c:pt idx="1505">
                  <c:v>42083</c:v>
                </c:pt>
                <c:pt idx="1506">
                  <c:v>42086</c:v>
                </c:pt>
                <c:pt idx="1507">
                  <c:v>42087</c:v>
                </c:pt>
                <c:pt idx="1508">
                  <c:v>42088</c:v>
                </c:pt>
                <c:pt idx="1509">
                  <c:v>42089</c:v>
                </c:pt>
                <c:pt idx="1510">
                  <c:v>42090</c:v>
                </c:pt>
                <c:pt idx="1511">
                  <c:v>42093</c:v>
                </c:pt>
                <c:pt idx="1512">
                  <c:v>42094</c:v>
                </c:pt>
                <c:pt idx="1513">
                  <c:v>42095</c:v>
                </c:pt>
                <c:pt idx="1514">
                  <c:v>42096</c:v>
                </c:pt>
                <c:pt idx="1515">
                  <c:v>42097</c:v>
                </c:pt>
                <c:pt idx="1516">
                  <c:v>42101</c:v>
                </c:pt>
                <c:pt idx="1517">
                  <c:v>42102</c:v>
                </c:pt>
                <c:pt idx="1518">
                  <c:v>42103</c:v>
                </c:pt>
                <c:pt idx="1519">
                  <c:v>42104</c:v>
                </c:pt>
                <c:pt idx="1520">
                  <c:v>42107</c:v>
                </c:pt>
                <c:pt idx="1521">
                  <c:v>42108</c:v>
                </c:pt>
                <c:pt idx="1522">
                  <c:v>42109</c:v>
                </c:pt>
                <c:pt idx="1523">
                  <c:v>42110</c:v>
                </c:pt>
                <c:pt idx="1524">
                  <c:v>42111</c:v>
                </c:pt>
                <c:pt idx="1525">
                  <c:v>42114</c:v>
                </c:pt>
                <c:pt idx="1526">
                  <c:v>42115</c:v>
                </c:pt>
                <c:pt idx="1527">
                  <c:v>42116</c:v>
                </c:pt>
                <c:pt idx="1528">
                  <c:v>42117</c:v>
                </c:pt>
                <c:pt idx="1529">
                  <c:v>42118</c:v>
                </c:pt>
                <c:pt idx="1530">
                  <c:v>42121</c:v>
                </c:pt>
                <c:pt idx="1531">
                  <c:v>42122</c:v>
                </c:pt>
                <c:pt idx="1532">
                  <c:v>42123</c:v>
                </c:pt>
                <c:pt idx="1533">
                  <c:v>42124</c:v>
                </c:pt>
                <c:pt idx="1534">
                  <c:v>42128</c:v>
                </c:pt>
                <c:pt idx="1535">
                  <c:v>42129</c:v>
                </c:pt>
                <c:pt idx="1536">
                  <c:v>42130</c:v>
                </c:pt>
                <c:pt idx="1537">
                  <c:v>42131</c:v>
                </c:pt>
                <c:pt idx="1538">
                  <c:v>42132</c:v>
                </c:pt>
                <c:pt idx="1539">
                  <c:v>42135</c:v>
                </c:pt>
                <c:pt idx="1540">
                  <c:v>42136</c:v>
                </c:pt>
                <c:pt idx="1541">
                  <c:v>42137</c:v>
                </c:pt>
                <c:pt idx="1542">
                  <c:v>42138</c:v>
                </c:pt>
                <c:pt idx="1543">
                  <c:v>42139</c:v>
                </c:pt>
                <c:pt idx="1544">
                  <c:v>42142</c:v>
                </c:pt>
                <c:pt idx="1545">
                  <c:v>42143</c:v>
                </c:pt>
                <c:pt idx="1546">
                  <c:v>42144</c:v>
                </c:pt>
                <c:pt idx="1547">
                  <c:v>42145</c:v>
                </c:pt>
                <c:pt idx="1548">
                  <c:v>42146</c:v>
                </c:pt>
                <c:pt idx="1549">
                  <c:v>42149</c:v>
                </c:pt>
                <c:pt idx="1550">
                  <c:v>42150</c:v>
                </c:pt>
                <c:pt idx="1551">
                  <c:v>42151</c:v>
                </c:pt>
                <c:pt idx="1552">
                  <c:v>42152</c:v>
                </c:pt>
                <c:pt idx="1553">
                  <c:v>42153</c:v>
                </c:pt>
                <c:pt idx="1554">
                  <c:v>42156</c:v>
                </c:pt>
                <c:pt idx="1555">
                  <c:v>42157</c:v>
                </c:pt>
                <c:pt idx="1556">
                  <c:v>42158</c:v>
                </c:pt>
                <c:pt idx="1557">
                  <c:v>42159</c:v>
                </c:pt>
                <c:pt idx="1558">
                  <c:v>42160</c:v>
                </c:pt>
                <c:pt idx="1559">
                  <c:v>42163</c:v>
                </c:pt>
                <c:pt idx="1560">
                  <c:v>42164</c:v>
                </c:pt>
                <c:pt idx="1561">
                  <c:v>42165</c:v>
                </c:pt>
                <c:pt idx="1562">
                  <c:v>42166</c:v>
                </c:pt>
                <c:pt idx="1563">
                  <c:v>42167</c:v>
                </c:pt>
                <c:pt idx="1564">
                  <c:v>42170</c:v>
                </c:pt>
                <c:pt idx="1565">
                  <c:v>42171</c:v>
                </c:pt>
                <c:pt idx="1566">
                  <c:v>42172</c:v>
                </c:pt>
                <c:pt idx="1567">
                  <c:v>42173</c:v>
                </c:pt>
                <c:pt idx="1568">
                  <c:v>42174</c:v>
                </c:pt>
                <c:pt idx="1569">
                  <c:v>42178</c:v>
                </c:pt>
                <c:pt idx="1570">
                  <c:v>42179</c:v>
                </c:pt>
                <c:pt idx="1571">
                  <c:v>42180</c:v>
                </c:pt>
                <c:pt idx="1572">
                  <c:v>42181</c:v>
                </c:pt>
                <c:pt idx="1573">
                  <c:v>42184</c:v>
                </c:pt>
                <c:pt idx="1574">
                  <c:v>42185</c:v>
                </c:pt>
                <c:pt idx="1575">
                  <c:v>42186</c:v>
                </c:pt>
                <c:pt idx="1576">
                  <c:v>42187</c:v>
                </c:pt>
                <c:pt idx="1577">
                  <c:v>42188</c:v>
                </c:pt>
                <c:pt idx="1578">
                  <c:v>42191</c:v>
                </c:pt>
                <c:pt idx="1579">
                  <c:v>42192</c:v>
                </c:pt>
                <c:pt idx="1580">
                  <c:v>42193</c:v>
                </c:pt>
                <c:pt idx="1581">
                  <c:v>42194</c:v>
                </c:pt>
                <c:pt idx="1582">
                  <c:v>42195</c:v>
                </c:pt>
                <c:pt idx="1583">
                  <c:v>42198</c:v>
                </c:pt>
                <c:pt idx="1584">
                  <c:v>42199</c:v>
                </c:pt>
                <c:pt idx="1585">
                  <c:v>42200</c:v>
                </c:pt>
                <c:pt idx="1586">
                  <c:v>42201</c:v>
                </c:pt>
                <c:pt idx="1587">
                  <c:v>42202</c:v>
                </c:pt>
                <c:pt idx="1588">
                  <c:v>42205</c:v>
                </c:pt>
                <c:pt idx="1589">
                  <c:v>42206</c:v>
                </c:pt>
                <c:pt idx="1590">
                  <c:v>42207</c:v>
                </c:pt>
                <c:pt idx="1591">
                  <c:v>42208</c:v>
                </c:pt>
                <c:pt idx="1592">
                  <c:v>42209</c:v>
                </c:pt>
                <c:pt idx="1593">
                  <c:v>42212</c:v>
                </c:pt>
                <c:pt idx="1594">
                  <c:v>42213</c:v>
                </c:pt>
                <c:pt idx="1595">
                  <c:v>42214</c:v>
                </c:pt>
                <c:pt idx="1596">
                  <c:v>42215</c:v>
                </c:pt>
                <c:pt idx="1597">
                  <c:v>42216</c:v>
                </c:pt>
                <c:pt idx="1598">
                  <c:v>42219</c:v>
                </c:pt>
                <c:pt idx="1599">
                  <c:v>42220</c:v>
                </c:pt>
                <c:pt idx="1600">
                  <c:v>42221</c:v>
                </c:pt>
                <c:pt idx="1601">
                  <c:v>42222</c:v>
                </c:pt>
                <c:pt idx="1602">
                  <c:v>42223</c:v>
                </c:pt>
                <c:pt idx="1603">
                  <c:v>42226</c:v>
                </c:pt>
                <c:pt idx="1604">
                  <c:v>42227</c:v>
                </c:pt>
                <c:pt idx="1605">
                  <c:v>42228</c:v>
                </c:pt>
                <c:pt idx="1606">
                  <c:v>42229</c:v>
                </c:pt>
                <c:pt idx="1607">
                  <c:v>42230</c:v>
                </c:pt>
                <c:pt idx="1608">
                  <c:v>42233</c:v>
                </c:pt>
                <c:pt idx="1609">
                  <c:v>42234</c:v>
                </c:pt>
                <c:pt idx="1610">
                  <c:v>42235</c:v>
                </c:pt>
                <c:pt idx="1611">
                  <c:v>42236</c:v>
                </c:pt>
                <c:pt idx="1612">
                  <c:v>42237</c:v>
                </c:pt>
                <c:pt idx="1613">
                  <c:v>42240</c:v>
                </c:pt>
                <c:pt idx="1614">
                  <c:v>42241</c:v>
                </c:pt>
                <c:pt idx="1615">
                  <c:v>42242</c:v>
                </c:pt>
                <c:pt idx="1616">
                  <c:v>42243</c:v>
                </c:pt>
                <c:pt idx="1617">
                  <c:v>42244</c:v>
                </c:pt>
                <c:pt idx="1618">
                  <c:v>42247</c:v>
                </c:pt>
                <c:pt idx="1619">
                  <c:v>42248</c:v>
                </c:pt>
                <c:pt idx="1620">
                  <c:v>42249</c:v>
                </c:pt>
                <c:pt idx="1621">
                  <c:v>42254</c:v>
                </c:pt>
                <c:pt idx="1622">
                  <c:v>42255</c:v>
                </c:pt>
                <c:pt idx="1623">
                  <c:v>42256</c:v>
                </c:pt>
                <c:pt idx="1624">
                  <c:v>42257</c:v>
                </c:pt>
                <c:pt idx="1625">
                  <c:v>42258</c:v>
                </c:pt>
                <c:pt idx="1626">
                  <c:v>42261</c:v>
                </c:pt>
                <c:pt idx="1627">
                  <c:v>42262</c:v>
                </c:pt>
                <c:pt idx="1628">
                  <c:v>42263</c:v>
                </c:pt>
                <c:pt idx="1629">
                  <c:v>42264</c:v>
                </c:pt>
                <c:pt idx="1630">
                  <c:v>42265</c:v>
                </c:pt>
                <c:pt idx="1631">
                  <c:v>42268</c:v>
                </c:pt>
                <c:pt idx="1632">
                  <c:v>42269</c:v>
                </c:pt>
                <c:pt idx="1633">
                  <c:v>42270</c:v>
                </c:pt>
                <c:pt idx="1634">
                  <c:v>42271</c:v>
                </c:pt>
                <c:pt idx="1635">
                  <c:v>42272</c:v>
                </c:pt>
                <c:pt idx="1636">
                  <c:v>42275</c:v>
                </c:pt>
                <c:pt idx="1637">
                  <c:v>42276</c:v>
                </c:pt>
                <c:pt idx="1638">
                  <c:v>42277</c:v>
                </c:pt>
                <c:pt idx="1639">
                  <c:v>42285</c:v>
                </c:pt>
                <c:pt idx="1640">
                  <c:v>42286</c:v>
                </c:pt>
                <c:pt idx="1641">
                  <c:v>42289</c:v>
                </c:pt>
                <c:pt idx="1642">
                  <c:v>42290</c:v>
                </c:pt>
                <c:pt idx="1643">
                  <c:v>42291</c:v>
                </c:pt>
                <c:pt idx="1644">
                  <c:v>42292</c:v>
                </c:pt>
                <c:pt idx="1645">
                  <c:v>42293</c:v>
                </c:pt>
                <c:pt idx="1646">
                  <c:v>42296</c:v>
                </c:pt>
                <c:pt idx="1647">
                  <c:v>42297</c:v>
                </c:pt>
                <c:pt idx="1648">
                  <c:v>42298</c:v>
                </c:pt>
                <c:pt idx="1649">
                  <c:v>42299</c:v>
                </c:pt>
                <c:pt idx="1650">
                  <c:v>42300</c:v>
                </c:pt>
                <c:pt idx="1651">
                  <c:v>42303</c:v>
                </c:pt>
                <c:pt idx="1652">
                  <c:v>42304</c:v>
                </c:pt>
                <c:pt idx="1653">
                  <c:v>42305</c:v>
                </c:pt>
                <c:pt idx="1654">
                  <c:v>42306</c:v>
                </c:pt>
                <c:pt idx="1655">
                  <c:v>42307</c:v>
                </c:pt>
                <c:pt idx="1656">
                  <c:v>42310</c:v>
                </c:pt>
                <c:pt idx="1657">
                  <c:v>42311</c:v>
                </c:pt>
                <c:pt idx="1658">
                  <c:v>42312</c:v>
                </c:pt>
                <c:pt idx="1659">
                  <c:v>42313</c:v>
                </c:pt>
                <c:pt idx="1660">
                  <c:v>42314</c:v>
                </c:pt>
                <c:pt idx="1661">
                  <c:v>42317</c:v>
                </c:pt>
                <c:pt idx="1662">
                  <c:v>42318</c:v>
                </c:pt>
                <c:pt idx="1663">
                  <c:v>42319</c:v>
                </c:pt>
                <c:pt idx="1664">
                  <c:v>42320</c:v>
                </c:pt>
                <c:pt idx="1665">
                  <c:v>42321</c:v>
                </c:pt>
                <c:pt idx="1666">
                  <c:v>42324</c:v>
                </c:pt>
                <c:pt idx="1667">
                  <c:v>42325</c:v>
                </c:pt>
                <c:pt idx="1668">
                  <c:v>42326</c:v>
                </c:pt>
                <c:pt idx="1669">
                  <c:v>42327</c:v>
                </c:pt>
                <c:pt idx="1670">
                  <c:v>42328</c:v>
                </c:pt>
                <c:pt idx="1671">
                  <c:v>42331</c:v>
                </c:pt>
                <c:pt idx="1672">
                  <c:v>42332</c:v>
                </c:pt>
                <c:pt idx="1673">
                  <c:v>42333</c:v>
                </c:pt>
                <c:pt idx="1674">
                  <c:v>42334</c:v>
                </c:pt>
                <c:pt idx="1675">
                  <c:v>42335</c:v>
                </c:pt>
                <c:pt idx="1676">
                  <c:v>42338</c:v>
                </c:pt>
                <c:pt idx="1677">
                  <c:v>42339</c:v>
                </c:pt>
                <c:pt idx="1678">
                  <c:v>42340</c:v>
                </c:pt>
                <c:pt idx="1679">
                  <c:v>42341</c:v>
                </c:pt>
                <c:pt idx="1680">
                  <c:v>42342</c:v>
                </c:pt>
                <c:pt idx="1681">
                  <c:v>42345</c:v>
                </c:pt>
                <c:pt idx="1682">
                  <c:v>42346</c:v>
                </c:pt>
                <c:pt idx="1683">
                  <c:v>42347</c:v>
                </c:pt>
                <c:pt idx="1684">
                  <c:v>42348</c:v>
                </c:pt>
                <c:pt idx="1685">
                  <c:v>42349</c:v>
                </c:pt>
                <c:pt idx="1686">
                  <c:v>42352</c:v>
                </c:pt>
                <c:pt idx="1687">
                  <c:v>42353</c:v>
                </c:pt>
                <c:pt idx="1688">
                  <c:v>42354</c:v>
                </c:pt>
                <c:pt idx="1689">
                  <c:v>42355</c:v>
                </c:pt>
                <c:pt idx="1690">
                  <c:v>42356</c:v>
                </c:pt>
                <c:pt idx="1691">
                  <c:v>42359</c:v>
                </c:pt>
                <c:pt idx="1692">
                  <c:v>42360</c:v>
                </c:pt>
                <c:pt idx="1693">
                  <c:v>42361</c:v>
                </c:pt>
                <c:pt idx="1694">
                  <c:v>42362</c:v>
                </c:pt>
                <c:pt idx="1695">
                  <c:v>42363</c:v>
                </c:pt>
                <c:pt idx="1696">
                  <c:v>42366</c:v>
                </c:pt>
                <c:pt idx="1697">
                  <c:v>42367</c:v>
                </c:pt>
                <c:pt idx="1698">
                  <c:v>42368</c:v>
                </c:pt>
                <c:pt idx="1699">
                  <c:v>42369</c:v>
                </c:pt>
                <c:pt idx="1700">
                  <c:v>42373</c:v>
                </c:pt>
                <c:pt idx="1701">
                  <c:v>42374</c:v>
                </c:pt>
                <c:pt idx="1702">
                  <c:v>42375</c:v>
                </c:pt>
                <c:pt idx="1703">
                  <c:v>42376</c:v>
                </c:pt>
                <c:pt idx="1704">
                  <c:v>42377</c:v>
                </c:pt>
                <c:pt idx="1705">
                  <c:v>42380</c:v>
                </c:pt>
                <c:pt idx="1706">
                  <c:v>42381</c:v>
                </c:pt>
                <c:pt idx="1707">
                  <c:v>42382</c:v>
                </c:pt>
                <c:pt idx="1708">
                  <c:v>42383</c:v>
                </c:pt>
                <c:pt idx="1709">
                  <c:v>42384</c:v>
                </c:pt>
                <c:pt idx="1710">
                  <c:v>42387</c:v>
                </c:pt>
                <c:pt idx="1711">
                  <c:v>42388</c:v>
                </c:pt>
                <c:pt idx="1712">
                  <c:v>42389</c:v>
                </c:pt>
                <c:pt idx="1713">
                  <c:v>42390</c:v>
                </c:pt>
                <c:pt idx="1714">
                  <c:v>42391</c:v>
                </c:pt>
                <c:pt idx="1715">
                  <c:v>42394</c:v>
                </c:pt>
                <c:pt idx="1716">
                  <c:v>42395</c:v>
                </c:pt>
                <c:pt idx="1717">
                  <c:v>42396</c:v>
                </c:pt>
                <c:pt idx="1718">
                  <c:v>42397</c:v>
                </c:pt>
                <c:pt idx="1719">
                  <c:v>42398</c:v>
                </c:pt>
                <c:pt idx="1720">
                  <c:v>42401</c:v>
                </c:pt>
                <c:pt idx="1721">
                  <c:v>42402</c:v>
                </c:pt>
                <c:pt idx="1722">
                  <c:v>42403</c:v>
                </c:pt>
                <c:pt idx="1723">
                  <c:v>42404</c:v>
                </c:pt>
                <c:pt idx="1724">
                  <c:v>42405</c:v>
                </c:pt>
                <c:pt idx="1725">
                  <c:v>42415</c:v>
                </c:pt>
                <c:pt idx="1726">
                  <c:v>42416</c:v>
                </c:pt>
                <c:pt idx="1727">
                  <c:v>42417</c:v>
                </c:pt>
                <c:pt idx="1728">
                  <c:v>42418</c:v>
                </c:pt>
                <c:pt idx="1729">
                  <c:v>42419</c:v>
                </c:pt>
                <c:pt idx="1730">
                  <c:v>42422</c:v>
                </c:pt>
                <c:pt idx="1731">
                  <c:v>42423</c:v>
                </c:pt>
                <c:pt idx="1732">
                  <c:v>42424</c:v>
                </c:pt>
                <c:pt idx="1733">
                  <c:v>42425</c:v>
                </c:pt>
                <c:pt idx="1734">
                  <c:v>42426</c:v>
                </c:pt>
                <c:pt idx="1735">
                  <c:v>42429</c:v>
                </c:pt>
                <c:pt idx="1736">
                  <c:v>42430</c:v>
                </c:pt>
                <c:pt idx="1737">
                  <c:v>42431</c:v>
                </c:pt>
                <c:pt idx="1738">
                  <c:v>42432</c:v>
                </c:pt>
                <c:pt idx="1739">
                  <c:v>42433</c:v>
                </c:pt>
                <c:pt idx="1740">
                  <c:v>42436</c:v>
                </c:pt>
                <c:pt idx="1741">
                  <c:v>42437</c:v>
                </c:pt>
                <c:pt idx="1742">
                  <c:v>42438</c:v>
                </c:pt>
                <c:pt idx="1743">
                  <c:v>42439</c:v>
                </c:pt>
                <c:pt idx="1744">
                  <c:v>42440</c:v>
                </c:pt>
                <c:pt idx="1745">
                  <c:v>42443</c:v>
                </c:pt>
                <c:pt idx="1746">
                  <c:v>42444</c:v>
                </c:pt>
                <c:pt idx="1747">
                  <c:v>42445</c:v>
                </c:pt>
                <c:pt idx="1748">
                  <c:v>42446</c:v>
                </c:pt>
                <c:pt idx="1749">
                  <c:v>42447</c:v>
                </c:pt>
                <c:pt idx="1750">
                  <c:v>42450</c:v>
                </c:pt>
                <c:pt idx="1751">
                  <c:v>42451</c:v>
                </c:pt>
                <c:pt idx="1752">
                  <c:v>42452</c:v>
                </c:pt>
                <c:pt idx="1753">
                  <c:v>42453</c:v>
                </c:pt>
                <c:pt idx="1754">
                  <c:v>42454</c:v>
                </c:pt>
                <c:pt idx="1755">
                  <c:v>42457</c:v>
                </c:pt>
                <c:pt idx="1756">
                  <c:v>42458</c:v>
                </c:pt>
                <c:pt idx="1757">
                  <c:v>42459</c:v>
                </c:pt>
                <c:pt idx="1758">
                  <c:v>42460</c:v>
                </c:pt>
                <c:pt idx="1759">
                  <c:v>42461</c:v>
                </c:pt>
                <c:pt idx="1760">
                  <c:v>42465</c:v>
                </c:pt>
                <c:pt idx="1761">
                  <c:v>42466</c:v>
                </c:pt>
                <c:pt idx="1762">
                  <c:v>42467</c:v>
                </c:pt>
                <c:pt idx="1763">
                  <c:v>42468</c:v>
                </c:pt>
                <c:pt idx="1764">
                  <c:v>42471</c:v>
                </c:pt>
                <c:pt idx="1765">
                  <c:v>42472</c:v>
                </c:pt>
                <c:pt idx="1766">
                  <c:v>42473</c:v>
                </c:pt>
                <c:pt idx="1767">
                  <c:v>42474</c:v>
                </c:pt>
                <c:pt idx="1768">
                  <c:v>42475</c:v>
                </c:pt>
                <c:pt idx="1769">
                  <c:v>42478</c:v>
                </c:pt>
                <c:pt idx="1770">
                  <c:v>42479</c:v>
                </c:pt>
                <c:pt idx="1771">
                  <c:v>42480</c:v>
                </c:pt>
                <c:pt idx="1772">
                  <c:v>42481</c:v>
                </c:pt>
                <c:pt idx="1773">
                  <c:v>42482</c:v>
                </c:pt>
                <c:pt idx="1774">
                  <c:v>42485</c:v>
                </c:pt>
                <c:pt idx="1775">
                  <c:v>42486</c:v>
                </c:pt>
                <c:pt idx="1776">
                  <c:v>42487</c:v>
                </c:pt>
                <c:pt idx="1777">
                  <c:v>42488</c:v>
                </c:pt>
                <c:pt idx="1778">
                  <c:v>42489</c:v>
                </c:pt>
                <c:pt idx="1779">
                  <c:v>42493</c:v>
                </c:pt>
                <c:pt idx="1780">
                  <c:v>42494</c:v>
                </c:pt>
                <c:pt idx="1781">
                  <c:v>42495</c:v>
                </c:pt>
                <c:pt idx="1782">
                  <c:v>42496</c:v>
                </c:pt>
                <c:pt idx="1783">
                  <c:v>42499</c:v>
                </c:pt>
                <c:pt idx="1784">
                  <c:v>42500</c:v>
                </c:pt>
                <c:pt idx="1785">
                  <c:v>42501</c:v>
                </c:pt>
                <c:pt idx="1786">
                  <c:v>42502</c:v>
                </c:pt>
                <c:pt idx="1787">
                  <c:v>42503</c:v>
                </c:pt>
                <c:pt idx="1788">
                  <c:v>42506</c:v>
                </c:pt>
                <c:pt idx="1789">
                  <c:v>42507</c:v>
                </c:pt>
                <c:pt idx="1790">
                  <c:v>42508</c:v>
                </c:pt>
                <c:pt idx="1791">
                  <c:v>42509</c:v>
                </c:pt>
                <c:pt idx="1792">
                  <c:v>42510</c:v>
                </c:pt>
                <c:pt idx="1793">
                  <c:v>42513</c:v>
                </c:pt>
                <c:pt idx="1794">
                  <c:v>42514</c:v>
                </c:pt>
                <c:pt idx="1795">
                  <c:v>42515</c:v>
                </c:pt>
                <c:pt idx="1796">
                  <c:v>42516</c:v>
                </c:pt>
                <c:pt idx="1797">
                  <c:v>42517</c:v>
                </c:pt>
                <c:pt idx="1798">
                  <c:v>42520</c:v>
                </c:pt>
                <c:pt idx="1799">
                  <c:v>42521</c:v>
                </c:pt>
                <c:pt idx="1800">
                  <c:v>42522</c:v>
                </c:pt>
                <c:pt idx="1801">
                  <c:v>42523</c:v>
                </c:pt>
                <c:pt idx="1802">
                  <c:v>42524</c:v>
                </c:pt>
                <c:pt idx="1803">
                  <c:v>42527</c:v>
                </c:pt>
                <c:pt idx="1804">
                  <c:v>42528</c:v>
                </c:pt>
                <c:pt idx="1805">
                  <c:v>42529</c:v>
                </c:pt>
                <c:pt idx="1806">
                  <c:v>42534</c:v>
                </c:pt>
                <c:pt idx="1807">
                  <c:v>42535</c:v>
                </c:pt>
                <c:pt idx="1808">
                  <c:v>42536</c:v>
                </c:pt>
                <c:pt idx="1809">
                  <c:v>42537</c:v>
                </c:pt>
                <c:pt idx="1810">
                  <c:v>42538</c:v>
                </c:pt>
                <c:pt idx="1811">
                  <c:v>42541</c:v>
                </c:pt>
                <c:pt idx="1812">
                  <c:v>42542</c:v>
                </c:pt>
                <c:pt idx="1813">
                  <c:v>42543</c:v>
                </c:pt>
                <c:pt idx="1814">
                  <c:v>42544</c:v>
                </c:pt>
                <c:pt idx="1815">
                  <c:v>42545</c:v>
                </c:pt>
                <c:pt idx="1816">
                  <c:v>42548</c:v>
                </c:pt>
                <c:pt idx="1817">
                  <c:v>42549</c:v>
                </c:pt>
                <c:pt idx="1818">
                  <c:v>42550</c:v>
                </c:pt>
                <c:pt idx="1819">
                  <c:v>42551</c:v>
                </c:pt>
                <c:pt idx="1820">
                  <c:v>42552</c:v>
                </c:pt>
                <c:pt idx="1821">
                  <c:v>42555</c:v>
                </c:pt>
                <c:pt idx="1822">
                  <c:v>42556</c:v>
                </c:pt>
                <c:pt idx="1823">
                  <c:v>42557</c:v>
                </c:pt>
                <c:pt idx="1824">
                  <c:v>42558</c:v>
                </c:pt>
                <c:pt idx="1825">
                  <c:v>42559</c:v>
                </c:pt>
                <c:pt idx="1826">
                  <c:v>42562</c:v>
                </c:pt>
                <c:pt idx="1827">
                  <c:v>42563</c:v>
                </c:pt>
                <c:pt idx="1828">
                  <c:v>42564</c:v>
                </c:pt>
                <c:pt idx="1829">
                  <c:v>42565</c:v>
                </c:pt>
                <c:pt idx="1830">
                  <c:v>42566</c:v>
                </c:pt>
                <c:pt idx="1831">
                  <c:v>42569</c:v>
                </c:pt>
                <c:pt idx="1832">
                  <c:v>42570</c:v>
                </c:pt>
                <c:pt idx="1833">
                  <c:v>42571</c:v>
                </c:pt>
                <c:pt idx="1834">
                  <c:v>42572</c:v>
                </c:pt>
                <c:pt idx="1835">
                  <c:v>42573</c:v>
                </c:pt>
                <c:pt idx="1836">
                  <c:v>42576</c:v>
                </c:pt>
                <c:pt idx="1837">
                  <c:v>42577</c:v>
                </c:pt>
                <c:pt idx="1838">
                  <c:v>42578</c:v>
                </c:pt>
                <c:pt idx="1839">
                  <c:v>42579</c:v>
                </c:pt>
                <c:pt idx="1840">
                  <c:v>42580</c:v>
                </c:pt>
                <c:pt idx="1841">
                  <c:v>42583</c:v>
                </c:pt>
                <c:pt idx="1842">
                  <c:v>42584</c:v>
                </c:pt>
                <c:pt idx="1843">
                  <c:v>42585</c:v>
                </c:pt>
                <c:pt idx="1844">
                  <c:v>42586</c:v>
                </c:pt>
                <c:pt idx="1845">
                  <c:v>42587</c:v>
                </c:pt>
                <c:pt idx="1846">
                  <c:v>42590</c:v>
                </c:pt>
                <c:pt idx="1847">
                  <c:v>42591</c:v>
                </c:pt>
                <c:pt idx="1848">
                  <c:v>42592</c:v>
                </c:pt>
                <c:pt idx="1849">
                  <c:v>42593</c:v>
                </c:pt>
                <c:pt idx="1850">
                  <c:v>42594</c:v>
                </c:pt>
                <c:pt idx="1851">
                  <c:v>42597</c:v>
                </c:pt>
                <c:pt idx="1852">
                  <c:v>42598</c:v>
                </c:pt>
                <c:pt idx="1853">
                  <c:v>42599</c:v>
                </c:pt>
                <c:pt idx="1854">
                  <c:v>42600</c:v>
                </c:pt>
                <c:pt idx="1855">
                  <c:v>42601</c:v>
                </c:pt>
                <c:pt idx="1856">
                  <c:v>42604</c:v>
                </c:pt>
                <c:pt idx="1857">
                  <c:v>42605</c:v>
                </c:pt>
                <c:pt idx="1858">
                  <c:v>42606</c:v>
                </c:pt>
                <c:pt idx="1859">
                  <c:v>42607</c:v>
                </c:pt>
                <c:pt idx="1860">
                  <c:v>42608</c:v>
                </c:pt>
                <c:pt idx="1861">
                  <c:v>42611</c:v>
                </c:pt>
                <c:pt idx="1862">
                  <c:v>42612</c:v>
                </c:pt>
                <c:pt idx="1863">
                  <c:v>42613</c:v>
                </c:pt>
                <c:pt idx="1864">
                  <c:v>42614</c:v>
                </c:pt>
                <c:pt idx="1865">
                  <c:v>42615</c:v>
                </c:pt>
                <c:pt idx="1866">
                  <c:v>42618</c:v>
                </c:pt>
                <c:pt idx="1867">
                  <c:v>42619</c:v>
                </c:pt>
                <c:pt idx="1868">
                  <c:v>42620</c:v>
                </c:pt>
                <c:pt idx="1869">
                  <c:v>42621</c:v>
                </c:pt>
                <c:pt idx="1870">
                  <c:v>42622</c:v>
                </c:pt>
                <c:pt idx="1871">
                  <c:v>42625</c:v>
                </c:pt>
                <c:pt idx="1872">
                  <c:v>42626</c:v>
                </c:pt>
                <c:pt idx="1873">
                  <c:v>42627</c:v>
                </c:pt>
                <c:pt idx="1874">
                  <c:v>42632</c:v>
                </c:pt>
                <c:pt idx="1875">
                  <c:v>42633</c:v>
                </c:pt>
                <c:pt idx="1876">
                  <c:v>42634</c:v>
                </c:pt>
                <c:pt idx="1877">
                  <c:v>42635</c:v>
                </c:pt>
                <c:pt idx="1878">
                  <c:v>42636</c:v>
                </c:pt>
                <c:pt idx="1879">
                  <c:v>42639</c:v>
                </c:pt>
                <c:pt idx="1880">
                  <c:v>42640</c:v>
                </c:pt>
                <c:pt idx="1881">
                  <c:v>42641</c:v>
                </c:pt>
                <c:pt idx="1882">
                  <c:v>42642</c:v>
                </c:pt>
                <c:pt idx="1883">
                  <c:v>42643</c:v>
                </c:pt>
                <c:pt idx="1884">
                  <c:v>42653</c:v>
                </c:pt>
                <c:pt idx="1885">
                  <c:v>42654</c:v>
                </c:pt>
                <c:pt idx="1886">
                  <c:v>42655</c:v>
                </c:pt>
                <c:pt idx="1887">
                  <c:v>42656</c:v>
                </c:pt>
                <c:pt idx="1888">
                  <c:v>42657</c:v>
                </c:pt>
                <c:pt idx="1889">
                  <c:v>42660</c:v>
                </c:pt>
                <c:pt idx="1890">
                  <c:v>42661</c:v>
                </c:pt>
                <c:pt idx="1891">
                  <c:v>42662</c:v>
                </c:pt>
                <c:pt idx="1892">
                  <c:v>42663</c:v>
                </c:pt>
                <c:pt idx="1893">
                  <c:v>42664</c:v>
                </c:pt>
                <c:pt idx="1894">
                  <c:v>42667</c:v>
                </c:pt>
                <c:pt idx="1895">
                  <c:v>42668</c:v>
                </c:pt>
                <c:pt idx="1896">
                  <c:v>42669</c:v>
                </c:pt>
                <c:pt idx="1897">
                  <c:v>42670</c:v>
                </c:pt>
                <c:pt idx="1898">
                  <c:v>42671</c:v>
                </c:pt>
                <c:pt idx="1899">
                  <c:v>42674</c:v>
                </c:pt>
                <c:pt idx="1900">
                  <c:v>42675</c:v>
                </c:pt>
                <c:pt idx="1901">
                  <c:v>42676</c:v>
                </c:pt>
                <c:pt idx="1902">
                  <c:v>42677</c:v>
                </c:pt>
                <c:pt idx="1903">
                  <c:v>42678</c:v>
                </c:pt>
                <c:pt idx="1904">
                  <c:v>42681</c:v>
                </c:pt>
                <c:pt idx="1905">
                  <c:v>42682</c:v>
                </c:pt>
                <c:pt idx="1906">
                  <c:v>42683</c:v>
                </c:pt>
                <c:pt idx="1907">
                  <c:v>42684</c:v>
                </c:pt>
                <c:pt idx="1908">
                  <c:v>42685</c:v>
                </c:pt>
                <c:pt idx="1909">
                  <c:v>42688</c:v>
                </c:pt>
                <c:pt idx="1910">
                  <c:v>42689</c:v>
                </c:pt>
                <c:pt idx="1911">
                  <c:v>42690</c:v>
                </c:pt>
                <c:pt idx="1912">
                  <c:v>42691</c:v>
                </c:pt>
                <c:pt idx="1913">
                  <c:v>42692</c:v>
                </c:pt>
                <c:pt idx="1914">
                  <c:v>42695</c:v>
                </c:pt>
                <c:pt idx="1915">
                  <c:v>42696</c:v>
                </c:pt>
                <c:pt idx="1916">
                  <c:v>42697</c:v>
                </c:pt>
                <c:pt idx="1917">
                  <c:v>42698</c:v>
                </c:pt>
                <c:pt idx="1918">
                  <c:v>42699</c:v>
                </c:pt>
                <c:pt idx="1919">
                  <c:v>42702</c:v>
                </c:pt>
                <c:pt idx="1920">
                  <c:v>42703</c:v>
                </c:pt>
                <c:pt idx="1921">
                  <c:v>42704</c:v>
                </c:pt>
                <c:pt idx="1922">
                  <c:v>42705</c:v>
                </c:pt>
                <c:pt idx="1923">
                  <c:v>42706</c:v>
                </c:pt>
                <c:pt idx="1924">
                  <c:v>42709</c:v>
                </c:pt>
                <c:pt idx="1925">
                  <c:v>42710</c:v>
                </c:pt>
                <c:pt idx="1926">
                  <c:v>42711</c:v>
                </c:pt>
                <c:pt idx="1927">
                  <c:v>42712</c:v>
                </c:pt>
                <c:pt idx="1928">
                  <c:v>42713</c:v>
                </c:pt>
                <c:pt idx="1929">
                  <c:v>42716</c:v>
                </c:pt>
                <c:pt idx="1930">
                  <c:v>42717</c:v>
                </c:pt>
                <c:pt idx="1931">
                  <c:v>42718</c:v>
                </c:pt>
                <c:pt idx="1932">
                  <c:v>42719</c:v>
                </c:pt>
                <c:pt idx="1933">
                  <c:v>42720</c:v>
                </c:pt>
                <c:pt idx="1934">
                  <c:v>42723</c:v>
                </c:pt>
                <c:pt idx="1935">
                  <c:v>42724</c:v>
                </c:pt>
                <c:pt idx="1936">
                  <c:v>42725</c:v>
                </c:pt>
                <c:pt idx="1937">
                  <c:v>42726</c:v>
                </c:pt>
                <c:pt idx="1938">
                  <c:v>42727</c:v>
                </c:pt>
                <c:pt idx="1939">
                  <c:v>42730</c:v>
                </c:pt>
                <c:pt idx="1940">
                  <c:v>42731</c:v>
                </c:pt>
                <c:pt idx="1941">
                  <c:v>42732</c:v>
                </c:pt>
                <c:pt idx="1942">
                  <c:v>42733</c:v>
                </c:pt>
                <c:pt idx="1943">
                  <c:v>42734</c:v>
                </c:pt>
                <c:pt idx="1944">
                  <c:v>42738</c:v>
                </c:pt>
                <c:pt idx="1945">
                  <c:v>42739</c:v>
                </c:pt>
                <c:pt idx="1946">
                  <c:v>42740</c:v>
                </c:pt>
                <c:pt idx="1947">
                  <c:v>42741</c:v>
                </c:pt>
                <c:pt idx="1948">
                  <c:v>42744</c:v>
                </c:pt>
                <c:pt idx="1949">
                  <c:v>42745</c:v>
                </c:pt>
                <c:pt idx="1950">
                  <c:v>42746</c:v>
                </c:pt>
                <c:pt idx="1951">
                  <c:v>42747</c:v>
                </c:pt>
                <c:pt idx="1952">
                  <c:v>42748</c:v>
                </c:pt>
                <c:pt idx="1953">
                  <c:v>42751</c:v>
                </c:pt>
                <c:pt idx="1954">
                  <c:v>42752</c:v>
                </c:pt>
                <c:pt idx="1955">
                  <c:v>42753</c:v>
                </c:pt>
                <c:pt idx="1956">
                  <c:v>42754</c:v>
                </c:pt>
                <c:pt idx="1957">
                  <c:v>42755</c:v>
                </c:pt>
                <c:pt idx="1958">
                  <c:v>42758</c:v>
                </c:pt>
                <c:pt idx="1959">
                  <c:v>42759</c:v>
                </c:pt>
                <c:pt idx="1960">
                  <c:v>42760</c:v>
                </c:pt>
                <c:pt idx="1961">
                  <c:v>42761</c:v>
                </c:pt>
                <c:pt idx="1962">
                  <c:v>42769</c:v>
                </c:pt>
                <c:pt idx="1963">
                  <c:v>42772</c:v>
                </c:pt>
                <c:pt idx="1964">
                  <c:v>42773</c:v>
                </c:pt>
                <c:pt idx="1965">
                  <c:v>42774</c:v>
                </c:pt>
                <c:pt idx="1966">
                  <c:v>42775</c:v>
                </c:pt>
                <c:pt idx="1967">
                  <c:v>42776</c:v>
                </c:pt>
                <c:pt idx="1968">
                  <c:v>42779</c:v>
                </c:pt>
                <c:pt idx="1969">
                  <c:v>42780</c:v>
                </c:pt>
                <c:pt idx="1970">
                  <c:v>42781</c:v>
                </c:pt>
                <c:pt idx="1971">
                  <c:v>42782</c:v>
                </c:pt>
                <c:pt idx="1972">
                  <c:v>42783</c:v>
                </c:pt>
                <c:pt idx="1973">
                  <c:v>42786</c:v>
                </c:pt>
                <c:pt idx="1974">
                  <c:v>42787</c:v>
                </c:pt>
                <c:pt idx="1975">
                  <c:v>42788</c:v>
                </c:pt>
                <c:pt idx="1976">
                  <c:v>42789</c:v>
                </c:pt>
                <c:pt idx="1977">
                  <c:v>42790</c:v>
                </c:pt>
                <c:pt idx="1978">
                  <c:v>42793</c:v>
                </c:pt>
                <c:pt idx="1979">
                  <c:v>42794</c:v>
                </c:pt>
                <c:pt idx="1980">
                  <c:v>42795</c:v>
                </c:pt>
                <c:pt idx="1981">
                  <c:v>42796</c:v>
                </c:pt>
                <c:pt idx="1982">
                  <c:v>42797</c:v>
                </c:pt>
                <c:pt idx="1983">
                  <c:v>42800</c:v>
                </c:pt>
                <c:pt idx="1984">
                  <c:v>42801</c:v>
                </c:pt>
                <c:pt idx="1985">
                  <c:v>42802</c:v>
                </c:pt>
                <c:pt idx="1986">
                  <c:v>42803</c:v>
                </c:pt>
                <c:pt idx="1987">
                  <c:v>42804</c:v>
                </c:pt>
                <c:pt idx="1988">
                  <c:v>42807</c:v>
                </c:pt>
                <c:pt idx="1989">
                  <c:v>42808</c:v>
                </c:pt>
                <c:pt idx="1990">
                  <c:v>42809</c:v>
                </c:pt>
                <c:pt idx="1991">
                  <c:v>42810</c:v>
                </c:pt>
                <c:pt idx="1992">
                  <c:v>42811</c:v>
                </c:pt>
                <c:pt idx="1993">
                  <c:v>42814</c:v>
                </c:pt>
                <c:pt idx="1994">
                  <c:v>42815</c:v>
                </c:pt>
                <c:pt idx="1995">
                  <c:v>42816</c:v>
                </c:pt>
                <c:pt idx="1996">
                  <c:v>42817</c:v>
                </c:pt>
                <c:pt idx="1997">
                  <c:v>42818</c:v>
                </c:pt>
                <c:pt idx="1998">
                  <c:v>42821</c:v>
                </c:pt>
                <c:pt idx="1999">
                  <c:v>42822</c:v>
                </c:pt>
                <c:pt idx="2000">
                  <c:v>42823</c:v>
                </c:pt>
                <c:pt idx="2001">
                  <c:v>42824</c:v>
                </c:pt>
                <c:pt idx="2002">
                  <c:v>42825</c:v>
                </c:pt>
                <c:pt idx="2003">
                  <c:v>42830</c:v>
                </c:pt>
                <c:pt idx="2004">
                  <c:v>42831</c:v>
                </c:pt>
                <c:pt idx="2005">
                  <c:v>42832</c:v>
                </c:pt>
                <c:pt idx="2006">
                  <c:v>42835</c:v>
                </c:pt>
                <c:pt idx="2007">
                  <c:v>42836</c:v>
                </c:pt>
                <c:pt idx="2008">
                  <c:v>42837</c:v>
                </c:pt>
                <c:pt idx="2009">
                  <c:v>42838</c:v>
                </c:pt>
                <c:pt idx="2010">
                  <c:v>42839</c:v>
                </c:pt>
                <c:pt idx="2011">
                  <c:v>42842</c:v>
                </c:pt>
                <c:pt idx="2012">
                  <c:v>42843</c:v>
                </c:pt>
                <c:pt idx="2013">
                  <c:v>42844</c:v>
                </c:pt>
                <c:pt idx="2014">
                  <c:v>42845</c:v>
                </c:pt>
                <c:pt idx="2015">
                  <c:v>42846</c:v>
                </c:pt>
                <c:pt idx="2016">
                  <c:v>42849</c:v>
                </c:pt>
                <c:pt idx="2017">
                  <c:v>42850</c:v>
                </c:pt>
                <c:pt idx="2018">
                  <c:v>42851</c:v>
                </c:pt>
                <c:pt idx="2019">
                  <c:v>42852</c:v>
                </c:pt>
                <c:pt idx="2020">
                  <c:v>42853</c:v>
                </c:pt>
                <c:pt idx="2021">
                  <c:v>42857</c:v>
                </c:pt>
                <c:pt idx="2022">
                  <c:v>42858</c:v>
                </c:pt>
                <c:pt idx="2023">
                  <c:v>42859</c:v>
                </c:pt>
                <c:pt idx="2024">
                  <c:v>42860</c:v>
                </c:pt>
                <c:pt idx="2025">
                  <c:v>42863</c:v>
                </c:pt>
                <c:pt idx="2026">
                  <c:v>42864</c:v>
                </c:pt>
                <c:pt idx="2027">
                  <c:v>42865</c:v>
                </c:pt>
                <c:pt idx="2028">
                  <c:v>42866</c:v>
                </c:pt>
                <c:pt idx="2029">
                  <c:v>42867</c:v>
                </c:pt>
                <c:pt idx="2030">
                  <c:v>42870</c:v>
                </c:pt>
                <c:pt idx="2031">
                  <c:v>42871</c:v>
                </c:pt>
                <c:pt idx="2032">
                  <c:v>42872</c:v>
                </c:pt>
                <c:pt idx="2033">
                  <c:v>42873</c:v>
                </c:pt>
                <c:pt idx="2034">
                  <c:v>42874</c:v>
                </c:pt>
                <c:pt idx="2035">
                  <c:v>42877</c:v>
                </c:pt>
                <c:pt idx="2036">
                  <c:v>42878</c:v>
                </c:pt>
                <c:pt idx="2037">
                  <c:v>42879</c:v>
                </c:pt>
                <c:pt idx="2038">
                  <c:v>42880</c:v>
                </c:pt>
                <c:pt idx="2039">
                  <c:v>42881</c:v>
                </c:pt>
                <c:pt idx="2040">
                  <c:v>42886</c:v>
                </c:pt>
                <c:pt idx="2041">
                  <c:v>42887</c:v>
                </c:pt>
                <c:pt idx="2042">
                  <c:v>42888</c:v>
                </c:pt>
                <c:pt idx="2043">
                  <c:v>42891</c:v>
                </c:pt>
                <c:pt idx="2044">
                  <c:v>42892</c:v>
                </c:pt>
                <c:pt idx="2045">
                  <c:v>42893</c:v>
                </c:pt>
                <c:pt idx="2046">
                  <c:v>42894</c:v>
                </c:pt>
                <c:pt idx="2047">
                  <c:v>42895</c:v>
                </c:pt>
                <c:pt idx="2048">
                  <c:v>42898</c:v>
                </c:pt>
                <c:pt idx="2049">
                  <c:v>42899</c:v>
                </c:pt>
                <c:pt idx="2050">
                  <c:v>42900</c:v>
                </c:pt>
                <c:pt idx="2051">
                  <c:v>42901</c:v>
                </c:pt>
                <c:pt idx="2052">
                  <c:v>42902</c:v>
                </c:pt>
                <c:pt idx="2053">
                  <c:v>42905</c:v>
                </c:pt>
                <c:pt idx="2054">
                  <c:v>42906</c:v>
                </c:pt>
                <c:pt idx="2055">
                  <c:v>42907</c:v>
                </c:pt>
                <c:pt idx="2056">
                  <c:v>42908</c:v>
                </c:pt>
                <c:pt idx="2057">
                  <c:v>42909</c:v>
                </c:pt>
                <c:pt idx="2058">
                  <c:v>42912</c:v>
                </c:pt>
                <c:pt idx="2059">
                  <c:v>42913</c:v>
                </c:pt>
                <c:pt idx="2060">
                  <c:v>42914</c:v>
                </c:pt>
                <c:pt idx="2061">
                  <c:v>42915</c:v>
                </c:pt>
                <c:pt idx="2062">
                  <c:v>42916</c:v>
                </c:pt>
                <c:pt idx="2063">
                  <c:v>42919</c:v>
                </c:pt>
                <c:pt idx="2064">
                  <c:v>42920</c:v>
                </c:pt>
                <c:pt idx="2065">
                  <c:v>42921</c:v>
                </c:pt>
                <c:pt idx="2066">
                  <c:v>42922</c:v>
                </c:pt>
                <c:pt idx="2067">
                  <c:v>42923</c:v>
                </c:pt>
                <c:pt idx="2068">
                  <c:v>42926</c:v>
                </c:pt>
                <c:pt idx="2069">
                  <c:v>42927</c:v>
                </c:pt>
                <c:pt idx="2070">
                  <c:v>42928</c:v>
                </c:pt>
                <c:pt idx="2071">
                  <c:v>42929</c:v>
                </c:pt>
                <c:pt idx="2072">
                  <c:v>42930</c:v>
                </c:pt>
                <c:pt idx="2073">
                  <c:v>42933</c:v>
                </c:pt>
                <c:pt idx="2074">
                  <c:v>42934</c:v>
                </c:pt>
                <c:pt idx="2075">
                  <c:v>42935</c:v>
                </c:pt>
                <c:pt idx="2076">
                  <c:v>42936</c:v>
                </c:pt>
                <c:pt idx="2077">
                  <c:v>42937</c:v>
                </c:pt>
                <c:pt idx="2078">
                  <c:v>42940</c:v>
                </c:pt>
                <c:pt idx="2079">
                  <c:v>42941</c:v>
                </c:pt>
                <c:pt idx="2080">
                  <c:v>42942</c:v>
                </c:pt>
                <c:pt idx="2081">
                  <c:v>42943</c:v>
                </c:pt>
                <c:pt idx="2082">
                  <c:v>42944</c:v>
                </c:pt>
                <c:pt idx="2083">
                  <c:v>42947</c:v>
                </c:pt>
                <c:pt idx="2084">
                  <c:v>42948</c:v>
                </c:pt>
                <c:pt idx="2085">
                  <c:v>42949</c:v>
                </c:pt>
                <c:pt idx="2086">
                  <c:v>42950</c:v>
                </c:pt>
                <c:pt idx="2087">
                  <c:v>42951</c:v>
                </c:pt>
                <c:pt idx="2088">
                  <c:v>42954</c:v>
                </c:pt>
                <c:pt idx="2089">
                  <c:v>42955</c:v>
                </c:pt>
                <c:pt idx="2090">
                  <c:v>42956</c:v>
                </c:pt>
                <c:pt idx="2091">
                  <c:v>42957</c:v>
                </c:pt>
                <c:pt idx="2092">
                  <c:v>42958</c:v>
                </c:pt>
                <c:pt idx="2093">
                  <c:v>42961</c:v>
                </c:pt>
                <c:pt idx="2094">
                  <c:v>42962</c:v>
                </c:pt>
                <c:pt idx="2095">
                  <c:v>42963</c:v>
                </c:pt>
                <c:pt idx="2096">
                  <c:v>42964</c:v>
                </c:pt>
                <c:pt idx="2097">
                  <c:v>42965</c:v>
                </c:pt>
                <c:pt idx="2098">
                  <c:v>42968</c:v>
                </c:pt>
                <c:pt idx="2099">
                  <c:v>42969</c:v>
                </c:pt>
                <c:pt idx="2100">
                  <c:v>42970</c:v>
                </c:pt>
                <c:pt idx="2101">
                  <c:v>42971</c:v>
                </c:pt>
                <c:pt idx="2102">
                  <c:v>42972</c:v>
                </c:pt>
                <c:pt idx="2103">
                  <c:v>42975</c:v>
                </c:pt>
                <c:pt idx="2104">
                  <c:v>42976</c:v>
                </c:pt>
                <c:pt idx="2105">
                  <c:v>42977</c:v>
                </c:pt>
                <c:pt idx="2106">
                  <c:v>42978</c:v>
                </c:pt>
                <c:pt idx="2107">
                  <c:v>42979</c:v>
                </c:pt>
                <c:pt idx="2108">
                  <c:v>42982</c:v>
                </c:pt>
                <c:pt idx="2109">
                  <c:v>42983</c:v>
                </c:pt>
                <c:pt idx="2110">
                  <c:v>42984</c:v>
                </c:pt>
                <c:pt idx="2111">
                  <c:v>42985</c:v>
                </c:pt>
                <c:pt idx="2112">
                  <c:v>42986</c:v>
                </c:pt>
                <c:pt idx="2113">
                  <c:v>42989</c:v>
                </c:pt>
                <c:pt idx="2114">
                  <c:v>42990</c:v>
                </c:pt>
                <c:pt idx="2115">
                  <c:v>42991</c:v>
                </c:pt>
                <c:pt idx="2116">
                  <c:v>42992</c:v>
                </c:pt>
                <c:pt idx="2117">
                  <c:v>42993</c:v>
                </c:pt>
                <c:pt idx="2118">
                  <c:v>42996</c:v>
                </c:pt>
                <c:pt idx="2119">
                  <c:v>42997</c:v>
                </c:pt>
                <c:pt idx="2120">
                  <c:v>42998</c:v>
                </c:pt>
                <c:pt idx="2121">
                  <c:v>42999</c:v>
                </c:pt>
                <c:pt idx="2122">
                  <c:v>43000</c:v>
                </c:pt>
                <c:pt idx="2123">
                  <c:v>43003</c:v>
                </c:pt>
                <c:pt idx="2124">
                  <c:v>43004</c:v>
                </c:pt>
                <c:pt idx="2125">
                  <c:v>43005</c:v>
                </c:pt>
                <c:pt idx="2126">
                  <c:v>43006</c:v>
                </c:pt>
                <c:pt idx="2127">
                  <c:v>43007</c:v>
                </c:pt>
                <c:pt idx="2128">
                  <c:v>43017</c:v>
                </c:pt>
                <c:pt idx="2129">
                  <c:v>43018</c:v>
                </c:pt>
                <c:pt idx="2130">
                  <c:v>43019</c:v>
                </c:pt>
                <c:pt idx="2131">
                  <c:v>43020</c:v>
                </c:pt>
                <c:pt idx="2132">
                  <c:v>43021</c:v>
                </c:pt>
                <c:pt idx="2133">
                  <c:v>43024</c:v>
                </c:pt>
                <c:pt idx="2134">
                  <c:v>43025</c:v>
                </c:pt>
                <c:pt idx="2135">
                  <c:v>43026</c:v>
                </c:pt>
                <c:pt idx="2136">
                  <c:v>43027</c:v>
                </c:pt>
                <c:pt idx="2137">
                  <c:v>43028</c:v>
                </c:pt>
                <c:pt idx="2138">
                  <c:v>43031</c:v>
                </c:pt>
                <c:pt idx="2139">
                  <c:v>43032</c:v>
                </c:pt>
                <c:pt idx="2140">
                  <c:v>43033</c:v>
                </c:pt>
                <c:pt idx="2141">
                  <c:v>43034</c:v>
                </c:pt>
                <c:pt idx="2142">
                  <c:v>43035</c:v>
                </c:pt>
                <c:pt idx="2143">
                  <c:v>43038</c:v>
                </c:pt>
                <c:pt idx="2144">
                  <c:v>43039</c:v>
                </c:pt>
                <c:pt idx="2145">
                  <c:v>43040</c:v>
                </c:pt>
                <c:pt idx="2146">
                  <c:v>43041</c:v>
                </c:pt>
                <c:pt idx="2147">
                  <c:v>43042</c:v>
                </c:pt>
                <c:pt idx="2148">
                  <c:v>43045</c:v>
                </c:pt>
                <c:pt idx="2149">
                  <c:v>43046</c:v>
                </c:pt>
                <c:pt idx="2150">
                  <c:v>43047</c:v>
                </c:pt>
                <c:pt idx="2151">
                  <c:v>43048</c:v>
                </c:pt>
                <c:pt idx="2152">
                  <c:v>43049</c:v>
                </c:pt>
                <c:pt idx="2153">
                  <c:v>43052</c:v>
                </c:pt>
                <c:pt idx="2154">
                  <c:v>43053</c:v>
                </c:pt>
                <c:pt idx="2155">
                  <c:v>43054</c:v>
                </c:pt>
                <c:pt idx="2156">
                  <c:v>43055</c:v>
                </c:pt>
                <c:pt idx="2157">
                  <c:v>43056</c:v>
                </c:pt>
                <c:pt idx="2158">
                  <c:v>43059</c:v>
                </c:pt>
                <c:pt idx="2159">
                  <c:v>43060</c:v>
                </c:pt>
                <c:pt idx="2160">
                  <c:v>43061</c:v>
                </c:pt>
                <c:pt idx="2161">
                  <c:v>43062</c:v>
                </c:pt>
                <c:pt idx="2162">
                  <c:v>43063</c:v>
                </c:pt>
                <c:pt idx="2163">
                  <c:v>43066</c:v>
                </c:pt>
                <c:pt idx="2164">
                  <c:v>43067</c:v>
                </c:pt>
                <c:pt idx="2165">
                  <c:v>43068</c:v>
                </c:pt>
                <c:pt idx="2166">
                  <c:v>43069</c:v>
                </c:pt>
                <c:pt idx="2167">
                  <c:v>43070</c:v>
                </c:pt>
                <c:pt idx="2168">
                  <c:v>43073</c:v>
                </c:pt>
                <c:pt idx="2169">
                  <c:v>43074</c:v>
                </c:pt>
                <c:pt idx="2170">
                  <c:v>43075</c:v>
                </c:pt>
                <c:pt idx="2171">
                  <c:v>43076</c:v>
                </c:pt>
                <c:pt idx="2172">
                  <c:v>43077</c:v>
                </c:pt>
                <c:pt idx="2173">
                  <c:v>43080</c:v>
                </c:pt>
                <c:pt idx="2174">
                  <c:v>43081</c:v>
                </c:pt>
                <c:pt idx="2175">
                  <c:v>43082</c:v>
                </c:pt>
                <c:pt idx="2176">
                  <c:v>43083</c:v>
                </c:pt>
                <c:pt idx="2177">
                  <c:v>43084</c:v>
                </c:pt>
                <c:pt idx="2178">
                  <c:v>43087</c:v>
                </c:pt>
                <c:pt idx="2179">
                  <c:v>43088</c:v>
                </c:pt>
                <c:pt idx="2180">
                  <c:v>43089</c:v>
                </c:pt>
                <c:pt idx="2181">
                  <c:v>43090</c:v>
                </c:pt>
                <c:pt idx="2182">
                  <c:v>43091</c:v>
                </c:pt>
                <c:pt idx="2183">
                  <c:v>43094</c:v>
                </c:pt>
                <c:pt idx="2184">
                  <c:v>43095</c:v>
                </c:pt>
                <c:pt idx="2185">
                  <c:v>43096</c:v>
                </c:pt>
                <c:pt idx="2186">
                  <c:v>43097</c:v>
                </c:pt>
                <c:pt idx="2187">
                  <c:v>43098</c:v>
                </c:pt>
                <c:pt idx="2188">
                  <c:v>43102</c:v>
                </c:pt>
                <c:pt idx="2189">
                  <c:v>43103</c:v>
                </c:pt>
                <c:pt idx="2190">
                  <c:v>43104</c:v>
                </c:pt>
                <c:pt idx="2191">
                  <c:v>43105</c:v>
                </c:pt>
                <c:pt idx="2192">
                  <c:v>43108</c:v>
                </c:pt>
                <c:pt idx="2193">
                  <c:v>43109</c:v>
                </c:pt>
                <c:pt idx="2194">
                  <c:v>43110</c:v>
                </c:pt>
                <c:pt idx="2195">
                  <c:v>43111</c:v>
                </c:pt>
                <c:pt idx="2196">
                  <c:v>43112</c:v>
                </c:pt>
                <c:pt idx="2197">
                  <c:v>43115</c:v>
                </c:pt>
                <c:pt idx="2198">
                  <c:v>43116</c:v>
                </c:pt>
                <c:pt idx="2199">
                  <c:v>43117</c:v>
                </c:pt>
                <c:pt idx="2200">
                  <c:v>43118</c:v>
                </c:pt>
                <c:pt idx="2201">
                  <c:v>43119</c:v>
                </c:pt>
                <c:pt idx="2202">
                  <c:v>43122</c:v>
                </c:pt>
                <c:pt idx="2203">
                  <c:v>43123</c:v>
                </c:pt>
                <c:pt idx="2204">
                  <c:v>43124</c:v>
                </c:pt>
                <c:pt idx="2205">
                  <c:v>43125</c:v>
                </c:pt>
                <c:pt idx="2206">
                  <c:v>43126</c:v>
                </c:pt>
                <c:pt idx="2207">
                  <c:v>43129</c:v>
                </c:pt>
                <c:pt idx="2208">
                  <c:v>43130</c:v>
                </c:pt>
                <c:pt idx="2209">
                  <c:v>43131</c:v>
                </c:pt>
                <c:pt idx="2210">
                  <c:v>43132</c:v>
                </c:pt>
                <c:pt idx="2211">
                  <c:v>43133</c:v>
                </c:pt>
                <c:pt idx="2212">
                  <c:v>43136</c:v>
                </c:pt>
                <c:pt idx="2213">
                  <c:v>43137</c:v>
                </c:pt>
                <c:pt idx="2214">
                  <c:v>43138</c:v>
                </c:pt>
                <c:pt idx="2215">
                  <c:v>43139</c:v>
                </c:pt>
                <c:pt idx="2216">
                  <c:v>43140</c:v>
                </c:pt>
                <c:pt idx="2217">
                  <c:v>43143</c:v>
                </c:pt>
                <c:pt idx="2218">
                  <c:v>43144</c:v>
                </c:pt>
                <c:pt idx="2219">
                  <c:v>43145</c:v>
                </c:pt>
                <c:pt idx="2220">
                  <c:v>43153</c:v>
                </c:pt>
                <c:pt idx="2221">
                  <c:v>43154</c:v>
                </c:pt>
                <c:pt idx="2222">
                  <c:v>43157</c:v>
                </c:pt>
                <c:pt idx="2223">
                  <c:v>43158</c:v>
                </c:pt>
                <c:pt idx="2224">
                  <c:v>43159</c:v>
                </c:pt>
                <c:pt idx="2225">
                  <c:v>43160</c:v>
                </c:pt>
                <c:pt idx="2226">
                  <c:v>43161</c:v>
                </c:pt>
                <c:pt idx="2227">
                  <c:v>43164</c:v>
                </c:pt>
                <c:pt idx="2228">
                  <c:v>43165</c:v>
                </c:pt>
                <c:pt idx="2229">
                  <c:v>43166</c:v>
                </c:pt>
                <c:pt idx="2230">
                  <c:v>43167</c:v>
                </c:pt>
                <c:pt idx="2231">
                  <c:v>43168</c:v>
                </c:pt>
                <c:pt idx="2232">
                  <c:v>43171</c:v>
                </c:pt>
                <c:pt idx="2233">
                  <c:v>43172</c:v>
                </c:pt>
                <c:pt idx="2234">
                  <c:v>43173</c:v>
                </c:pt>
                <c:pt idx="2235">
                  <c:v>43174</c:v>
                </c:pt>
                <c:pt idx="2236">
                  <c:v>43175</c:v>
                </c:pt>
                <c:pt idx="2237">
                  <c:v>43178</c:v>
                </c:pt>
                <c:pt idx="2238">
                  <c:v>43179</c:v>
                </c:pt>
                <c:pt idx="2239">
                  <c:v>43180</c:v>
                </c:pt>
                <c:pt idx="2240">
                  <c:v>43181</c:v>
                </c:pt>
                <c:pt idx="2241">
                  <c:v>43182</c:v>
                </c:pt>
                <c:pt idx="2242">
                  <c:v>43185</c:v>
                </c:pt>
                <c:pt idx="2243">
                  <c:v>43186</c:v>
                </c:pt>
                <c:pt idx="2244">
                  <c:v>43187</c:v>
                </c:pt>
                <c:pt idx="2245">
                  <c:v>43188</c:v>
                </c:pt>
                <c:pt idx="2246">
                  <c:v>43189</c:v>
                </c:pt>
                <c:pt idx="2247">
                  <c:v>43192</c:v>
                </c:pt>
                <c:pt idx="2248">
                  <c:v>43193</c:v>
                </c:pt>
                <c:pt idx="2249">
                  <c:v>43194</c:v>
                </c:pt>
                <c:pt idx="2250">
                  <c:v>43199</c:v>
                </c:pt>
                <c:pt idx="2251">
                  <c:v>43200</c:v>
                </c:pt>
                <c:pt idx="2252">
                  <c:v>43201</c:v>
                </c:pt>
                <c:pt idx="2253">
                  <c:v>43202</c:v>
                </c:pt>
                <c:pt idx="2254">
                  <c:v>43203</c:v>
                </c:pt>
                <c:pt idx="2255">
                  <c:v>43206</c:v>
                </c:pt>
                <c:pt idx="2256">
                  <c:v>43207</c:v>
                </c:pt>
                <c:pt idx="2257">
                  <c:v>43208</c:v>
                </c:pt>
                <c:pt idx="2258">
                  <c:v>43209</c:v>
                </c:pt>
                <c:pt idx="2259">
                  <c:v>43210</c:v>
                </c:pt>
                <c:pt idx="2260">
                  <c:v>43213</c:v>
                </c:pt>
                <c:pt idx="2261">
                  <c:v>43214</c:v>
                </c:pt>
                <c:pt idx="2262">
                  <c:v>43215</c:v>
                </c:pt>
                <c:pt idx="2263">
                  <c:v>43216</c:v>
                </c:pt>
                <c:pt idx="2264">
                  <c:v>43217</c:v>
                </c:pt>
                <c:pt idx="2265">
                  <c:v>43222</c:v>
                </c:pt>
                <c:pt idx="2266">
                  <c:v>43223</c:v>
                </c:pt>
                <c:pt idx="2267">
                  <c:v>43224</c:v>
                </c:pt>
                <c:pt idx="2268">
                  <c:v>43227</c:v>
                </c:pt>
                <c:pt idx="2269">
                  <c:v>43228</c:v>
                </c:pt>
                <c:pt idx="2270">
                  <c:v>43229</c:v>
                </c:pt>
                <c:pt idx="2271">
                  <c:v>43230</c:v>
                </c:pt>
                <c:pt idx="2272">
                  <c:v>43231</c:v>
                </c:pt>
                <c:pt idx="2273">
                  <c:v>43234</c:v>
                </c:pt>
                <c:pt idx="2274">
                  <c:v>43235</c:v>
                </c:pt>
                <c:pt idx="2275">
                  <c:v>43236</c:v>
                </c:pt>
                <c:pt idx="2276">
                  <c:v>43237</c:v>
                </c:pt>
                <c:pt idx="2277">
                  <c:v>43238</c:v>
                </c:pt>
                <c:pt idx="2278">
                  <c:v>43241</c:v>
                </c:pt>
                <c:pt idx="2279">
                  <c:v>43242</c:v>
                </c:pt>
                <c:pt idx="2280">
                  <c:v>43243</c:v>
                </c:pt>
                <c:pt idx="2281">
                  <c:v>43244</c:v>
                </c:pt>
                <c:pt idx="2282">
                  <c:v>43245</c:v>
                </c:pt>
                <c:pt idx="2283">
                  <c:v>43248</c:v>
                </c:pt>
                <c:pt idx="2284">
                  <c:v>43249</c:v>
                </c:pt>
                <c:pt idx="2285">
                  <c:v>43250</c:v>
                </c:pt>
                <c:pt idx="2286">
                  <c:v>43251</c:v>
                </c:pt>
                <c:pt idx="2287">
                  <c:v>43252</c:v>
                </c:pt>
                <c:pt idx="2288">
                  <c:v>43255</c:v>
                </c:pt>
                <c:pt idx="2289">
                  <c:v>43256</c:v>
                </c:pt>
                <c:pt idx="2290">
                  <c:v>43257</c:v>
                </c:pt>
                <c:pt idx="2291">
                  <c:v>43258</c:v>
                </c:pt>
                <c:pt idx="2292">
                  <c:v>43259</c:v>
                </c:pt>
                <c:pt idx="2293">
                  <c:v>43262</c:v>
                </c:pt>
                <c:pt idx="2294">
                  <c:v>43263</c:v>
                </c:pt>
                <c:pt idx="2295">
                  <c:v>43264</c:v>
                </c:pt>
                <c:pt idx="2296">
                  <c:v>43265</c:v>
                </c:pt>
                <c:pt idx="2297">
                  <c:v>43266</c:v>
                </c:pt>
                <c:pt idx="2298">
                  <c:v>43270</c:v>
                </c:pt>
                <c:pt idx="2299">
                  <c:v>43271</c:v>
                </c:pt>
                <c:pt idx="2300">
                  <c:v>43272</c:v>
                </c:pt>
                <c:pt idx="2301">
                  <c:v>43273</c:v>
                </c:pt>
                <c:pt idx="2302">
                  <c:v>43276</c:v>
                </c:pt>
                <c:pt idx="2303">
                  <c:v>43277</c:v>
                </c:pt>
                <c:pt idx="2304">
                  <c:v>43278</c:v>
                </c:pt>
                <c:pt idx="2305">
                  <c:v>43279</c:v>
                </c:pt>
                <c:pt idx="2306">
                  <c:v>43280</c:v>
                </c:pt>
                <c:pt idx="2307">
                  <c:v>43283</c:v>
                </c:pt>
                <c:pt idx="2308">
                  <c:v>43284</c:v>
                </c:pt>
                <c:pt idx="2309">
                  <c:v>43285</c:v>
                </c:pt>
                <c:pt idx="2310">
                  <c:v>43286</c:v>
                </c:pt>
                <c:pt idx="2311">
                  <c:v>43287</c:v>
                </c:pt>
                <c:pt idx="2312">
                  <c:v>43290</c:v>
                </c:pt>
                <c:pt idx="2313">
                  <c:v>43291</c:v>
                </c:pt>
                <c:pt idx="2314">
                  <c:v>43292</c:v>
                </c:pt>
                <c:pt idx="2315">
                  <c:v>43293</c:v>
                </c:pt>
                <c:pt idx="2316">
                  <c:v>43294</c:v>
                </c:pt>
                <c:pt idx="2317">
                  <c:v>43297</c:v>
                </c:pt>
                <c:pt idx="2318">
                  <c:v>43298</c:v>
                </c:pt>
                <c:pt idx="2319">
                  <c:v>43299</c:v>
                </c:pt>
                <c:pt idx="2320">
                  <c:v>43300</c:v>
                </c:pt>
                <c:pt idx="2321">
                  <c:v>43301</c:v>
                </c:pt>
                <c:pt idx="2322">
                  <c:v>43304</c:v>
                </c:pt>
                <c:pt idx="2323">
                  <c:v>43305</c:v>
                </c:pt>
                <c:pt idx="2324">
                  <c:v>43306</c:v>
                </c:pt>
                <c:pt idx="2325">
                  <c:v>43307</c:v>
                </c:pt>
                <c:pt idx="2326">
                  <c:v>43308</c:v>
                </c:pt>
                <c:pt idx="2327">
                  <c:v>43311</c:v>
                </c:pt>
                <c:pt idx="2328">
                  <c:v>43312</c:v>
                </c:pt>
                <c:pt idx="2329">
                  <c:v>43313</c:v>
                </c:pt>
                <c:pt idx="2330">
                  <c:v>43314</c:v>
                </c:pt>
                <c:pt idx="2331">
                  <c:v>43315</c:v>
                </c:pt>
                <c:pt idx="2332">
                  <c:v>43318</c:v>
                </c:pt>
                <c:pt idx="2333">
                  <c:v>43319</c:v>
                </c:pt>
                <c:pt idx="2334">
                  <c:v>43320</c:v>
                </c:pt>
                <c:pt idx="2335">
                  <c:v>43321</c:v>
                </c:pt>
                <c:pt idx="2336">
                  <c:v>43322</c:v>
                </c:pt>
                <c:pt idx="2337">
                  <c:v>43325</c:v>
                </c:pt>
                <c:pt idx="2338">
                  <c:v>43326</c:v>
                </c:pt>
                <c:pt idx="2339">
                  <c:v>43327</c:v>
                </c:pt>
                <c:pt idx="2340">
                  <c:v>43328</c:v>
                </c:pt>
                <c:pt idx="2341">
                  <c:v>43329</c:v>
                </c:pt>
                <c:pt idx="2342">
                  <c:v>43332</c:v>
                </c:pt>
                <c:pt idx="2343">
                  <c:v>43333</c:v>
                </c:pt>
                <c:pt idx="2344">
                  <c:v>43334</c:v>
                </c:pt>
                <c:pt idx="2345">
                  <c:v>43335</c:v>
                </c:pt>
                <c:pt idx="2346">
                  <c:v>43336</c:v>
                </c:pt>
                <c:pt idx="2347">
                  <c:v>43339</c:v>
                </c:pt>
                <c:pt idx="2348">
                  <c:v>43340</c:v>
                </c:pt>
                <c:pt idx="2349">
                  <c:v>43341</c:v>
                </c:pt>
                <c:pt idx="2350">
                  <c:v>43342</c:v>
                </c:pt>
                <c:pt idx="2351">
                  <c:v>43343</c:v>
                </c:pt>
                <c:pt idx="2352">
                  <c:v>43346</c:v>
                </c:pt>
                <c:pt idx="2353">
                  <c:v>43347</c:v>
                </c:pt>
                <c:pt idx="2354">
                  <c:v>43348</c:v>
                </c:pt>
                <c:pt idx="2355">
                  <c:v>43349</c:v>
                </c:pt>
                <c:pt idx="2356">
                  <c:v>43350</c:v>
                </c:pt>
                <c:pt idx="2357">
                  <c:v>43353</c:v>
                </c:pt>
                <c:pt idx="2358">
                  <c:v>43354</c:v>
                </c:pt>
                <c:pt idx="2359">
                  <c:v>43355</c:v>
                </c:pt>
                <c:pt idx="2360">
                  <c:v>43356</c:v>
                </c:pt>
                <c:pt idx="2361">
                  <c:v>43357</c:v>
                </c:pt>
                <c:pt idx="2362">
                  <c:v>43360</c:v>
                </c:pt>
                <c:pt idx="2363">
                  <c:v>43361</c:v>
                </c:pt>
                <c:pt idx="2364">
                  <c:v>43362</c:v>
                </c:pt>
                <c:pt idx="2365">
                  <c:v>43363</c:v>
                </c:pt>
                <c:pt idx="2366">
                  <c:v>43364</c:v>
                </c:pt>
                <c:pt idx="2367">
                  <c:v>43368</c:v>
                </c:pt>
                <c:pt idx="2368">
                  <c:v>43369</c:v>
                </c:pt>
                <c:pt idx="2369">
                  <c:v>43370</c:v>
                </c:pt>
                <c:pt idx="2370">
                  <c:v>43371</c:v>
                </c:pt>
                <c:pt idx="2371">
                  <c:v>43381</c:v>
                </c:pt>
                <c:pt idx="2372">
                  <c:v>43382</c:v>
                </c:pt>
                <c:pt idx="2373">
                  <c:v>43383</c:v>
                </c:pt>
                <c:pt idx="2374">
                  <c:v>43384</c:v>
                </c:pt>
                <c:pt idx="2375">
                  <c:v>43385</c:v>
                </c:pt>
                <c:pt idx="2376">
                  <c:v>43388</c:v>
                </c:pt>
                <c:pt idx="2377">
                  <c:v>43389</c:v>
                </c:pt>
                <c:pt idx="2378">
                  <c:v>43390</c:v>
                </c:pt>
                <c:pt idx="2379">
                  <c:v>43391</c:v>
                </c:pt>
                <c:pt idx="2380">
                  <c:v>43392</c:v>
                </c:pt>
                <c:pt idx="2381">
                  <c:v>43395</c:v>
                </c:pt>
                <c:pt idx="2382">
                  <c:v>43396</c:v>
                </c:pt>
                <c:pt idx="2383">
                  <c:v>43397</c:v>
                </c:pt>
                <c:pt idx="2384">
                  <c:v>43398</c:v>
                </c:pt>
                <c:pt idx="2385">
                  <c:v>43399</c:v>
                </c:pt>
                <c:pt idx="2386">
                  <c:v>43402</c:v>
                </c:pt>
                <c:pt idx="2387">
                  <c:v>43403</c:v>
                </c:pt>
                <c:pt idx="2388">
                  <c:v>43404</c:v>
                </c:pt>
                <c:pt idx="2389">
                  <c:v>43405</c:v>
                </c:pt>
                <c:pt idx="2390">
                  <c:v>43406</c:v>
                </c:pt>
                <c:pt idx="2391">
                  <c:v>43409</c:v>
                </c:pt>
                <c:pt idx="2392">
                  <c:v>43410</c:v>
                </c:pt>
                <c:pt idx="2393">
                  <c:v>43411</c:v>
                </c:pt>
                <c:pt idx="2394">
                  <c:v>43412</c:v>
                </c:pt>
                <c:pt idx="2395">
                  <c:v>43413</c:v>
                </c:pt>
                <c:pt idx="2396">
                  <c:v>43416</c:v>
                </c:pt>
                <c:pt idx="2397">
                  <c:v>43417</c:v>
                </c:pt>
                <c:pt idx="2398">
                  <c:v>43418</c:v>
                </c:pt>
                <c:pt idx="2399">
                  <c:v>43419</c:v>
                </c:pt>
                <c:pt idx="2400">
                  <c:v>43420</c:v>
                </c:pt>
                <c:pt idx="2401">
                  <c:v>43423</c:v>
                </c:pt>
                <c:pt idx="2402">
                  <c:v>43424</c:v>
                </c:pt>
                <c:pt idx="2403">
                  <c:v>43425</c:v>
                </c:pt>
                <c:pt idx="2404">
                  <c:v>43426</c:v>
                </c:pt>
                <c:pt idx="2405">
                  <c:v>43427</c:v>
                </c:pt>
                <c:pt idx="2406">
                  <c:v>43430</c:v>
                </c:pt>
                <c:pt idx="2407">
                  <c:v>43431</c:v>
                </c:pt>
                <c:pt idx="2408">
                  <c:v>43432</c:v>
                </c:pt>
                <c:pt idx="2409">
                  <c:v>43433</c:v>
                </c:pt>
                <c:pt idx="2410">
                  <c:v>43434</c:v>
                </c:pt>
                <c:pt idx="2411">
                  <c:v>43437</c:v>
                </c:pt>
                <c:pt idx="2412">
                  <c:v>43438</c:v>
                </c:pt>
                <c:pt idx="2413">
                  <c:v>43439</c:v>
                </c:pt>
                <c:pt idx="2414">
                  <c:v>43440</c:v>
                </c:pt>
                <c:pt idx="2415">
                  <c:v>43441</c:v>
                </c:pt>
                <c:pt idx="2416">
                  <c:v>43444</c:v>
                </c:pt>
                <c:pt idx="2417">
                  <c:v>43445</c:v>
                </c:pt>
                <c:pt idx="2418">
                  <c:v>43446</c:v>
                </c:pt>
                <c:pt idx="2419">
                  <c:v>43447</c:v>
                </c:pt>
                <c:pt idx="2420">
                  <c:v>43448</c:v>
                </c:pt>
                <c:pt idx="2421">
                  <c:v>43451</c:v>
                </c:pt>
                <c:pt idx="2422">
                  <c:v>43452</c:v>
                </c:pt>
                <c:pt idx="2423">
                  <c:v>43453</c:v>
                </c:pt>
                <c:pt idx="2424">
                  <c:v>43454</c:v>
                </c:pt>
                <c:pt idx="2425">
                  <c:v>43455</c:v>
                </c:pt>
                <c:pt idx="2426">
                  <c:v>43458</c:v>
                </c:pt>
                <c:pt idx="2427">
                  <c:v>43459</c:v>
                </c:pt>
                <c:pt idx="2428">
                  <c:v>43460</c:v>
                </c:pt>
                <c:pt idx="2429">
                  <c:v>43461</c:v>
                </c:pt>
                <c:pt idx="2430">
                  <c:v>43462</c:v>
                </c:pt>
                <c:pt idx="2431">
                  <c:v>43467</c:v>
                </c:pt>
                <c:pt idx="2432">
                  <c:v>43468</c:v>
                </c:pt>
                <c:pt idx="2433">
                  <c:v>43469</c:v>
                </c:pt>
                <c:pt idx="2434">
                  <c:v>43472</c:v>
                </c:pt>
                <c:pt idx="2435">
                  <c:v>43473</c:v>
                </c:pt>
                <c:pt idx="2436">
                  <c:v>43474</c:v>
                </c:pt>
                <c:pt idx="2437">
                  <c:v>43475</c:v>
                </c:pt>
                <c:pt idx="2438">
                  <c:v>43476</c:v>
                </c:pt>
                <c:pt idx="2439">
                  <c:v>43479</c:v>
                </c:pt>
                <c:pt idx="2440">
                  <c:v>43480</c:v>
                </c:pt>
                <c:pt idx="2441">
                  <c:v>43481</c:v>
                </c:pt>
                <c:pt idx="2442">
                  <c:v>43482</c:v>
                </c:pt>
                <c:pt idx="2443">
                  <c:v>43483</c:v>
                </c:pt>
                <c:pt idx="2444">
                  <c:v>43486</c:v>
                </c:pt>
                <c:pt idx="2445">
                  <c:v>43487</c:v>
                </c:pt>
                <c:pt idx="2446">
                  <c:v>43488</c:v>
                </c:pt>
                <c:pt idx="2447">
                  <c:v>43489</c:v>
                </c:pt>
                <c:pt idx="2448">
                  <c:v>43490</c:v>
                </c:pt>
                <c:pt idx="2449">
                  <c:v>43493</c:v>
                </c:pt>
                <c:pt idx="2450">
                  <c:v>43494</c:v>
                </c:pt>
                <c:pt idx="2451">
                  <c:v>43495</c:v>
                </c:pt>
                <c:pt idx="2452">
                  <c:v>43496</c:v>
                </c:pt>
                <c:pt idx="2453">
                  <c:v>43497</c:v>
                </c:pt>
                <c:pt idx="2454">
                  <c:v>43507</c:v>
                </c:pt>
                <c:pt idx="2455">
                  <c:v>43508</c:v>
                </c:pt>
                <c:pt idx="2456">
                  <c:v>43509</c:v>
                </c:pt>
                <c:pt idx="2457">
                  <c:v>43510</c:v>
                </c:pt>
                <c:pt idx="2458">
                  <c:v>43511</c:v>
                </c:pt>
                <c:pt idx="2459">
                  <c:v>43514</c:v>
                </c:pt>
                <c:pt idx="2460">
                  <c:v>43515</c:v>
                </c:pt>
                <c:pt idx="2461">
                  <c:v>43516</c:v>
                </c:pt>
                <c:pt idx="2462">
                  <c:v>43517</c:v>
                </c:pt>
                <c:pt idx="2463">
                  <c:v>43518</c:v>
                </c:pt>
                <c:pt idx="2464">
                  <c:v>43521</c:v>
                </c:pt>
                <c:pt idx="2465">
                  <c:v>43522</c:v>
                </c:pt>
                <c:pt idx="2466">
                  <c:v>43523</c:v>
                </c:pt>
                <c:pt idx="2467">
                  <c:v>43524</c:v>
                </c:pt>
                <c:pt idx="2468">
                  <c:v>43525</c:v>
                </c:pt>
                <c:pt idx="2469">
                  <c:v>43528</c:v>
                </c:pt>
                <c:pt idx="2470">
                  <c:v>43529</c:v>
                </c:pt>
                <c:pt idx="2471">
                  <c:v>43530</c:v>
                </c:pt>
                <c:pt idx="2472">
                  <c:v>43531</c:v>
                </c:pt>
                <c:pt idx="2473">
                  <c:v>43532</c:v>
                </c:pt>
                <c:pt idx="2474">
                  <c:v>43535</c:v>
                </c:pt>
                <c:pt idx="2475">
                  <c:v>43536</c:v>
                </c:pt>
                <c:pt idx="2476">
                  <c:v>43537</c:v>
                </c:pt>
                <c:pt idx="2477">
                  <c:v>43538</c:v>
                </c:pt>
                <c:pt idx="2478">
                  <c:v>43539</c:v>
                </c:pt>
                <c:pt idx="2479">
                  <c:v>43542</c:v>
                </c:pt>
                <c:pt idx="2480">
                  <c:v>43543</c:v>
                </c:pt>
                <c:pt idx="2481">
                  <c:v>43544</c:v>
                </c:pt>
                <c:pt idx="2482">
                  <c:v>43545</c:v>
                </c:pt>
                <c:pt idx="2483">
                  <c:v>43546</c:v>
                </c:pt>
                <c:pt idx="2484">
                  <c:v>43549</c:v>
                </c:pt>
                <c:pt idx="2485">
                  <c:v>43550</c:v>
                </c:pt>
                <c:pt idx="2486">
                  <c:v>43551</c:v>
                </c:pt>
                <c:pt idx="2487">
                  <c:v>43552</c:v>
                </c:pt>
                <c:pt idx="2488">
                  <c:v>43553</c:v>
                </c:pt>
                <c:pt idx="2489">
                  <c:v>43556</c:v>
                </c:pt>
                <c:pt idx="2490">
                  <c:v>43557</c:v>
                </c:pt>
                <c:pt idx="2491">
                  <c:v>43558</c:v>
                </c:pt>
                <c:pt idx="2492">
                  <c:v>43559</c:v>
                </c:pt>
                <c:pt idx="2493">
                  <c:v>43563</c:v>
                </c:pt>
                <c:pt idx="2494">
                  <c:v>43564</c:v>
                </c:pt>
                <c:pt idx="2495">
                  <c:v>43565</c:v>
                </c:pt>
                <c:pt idx="2496">
                  <c:v>43566</c:v>
                </c:pt>
                <c:pt idx="2497">
                  <c:v>43567</c:v>
                </c:pt>
                <c:pt idx="2498">
                  <c:v>43570</c:v>
                </c:pt>
                <c:pt idx="2499">
                  <c:v>43571</c:v>
                </c:pt>
                <c:pt idx="2500">
                  <c:v>43572</c:v>
                </c:pt>
                <c:pt idx="2501">
                  <c:v>43573</c:v>
                </c:pt>
                <c:pt idx="2502">
                  <c:v>43574</c:v>
                </c:pt>
                <c:pt idx="2503">
                  <c:v>43577</c:v>
                </c:pt>
                <c:pt idx="2504">
                  <c:v>43578</c:v>
                </c:pt>
                <c:pt idx="2505">
                  <c:v>43579</c:v>
                </c:pt>
                <c:pt idx="2506">
                  <c:v>43580</c:v>
                </c:pt>
                <c:pt idx="2507">
                  <c:v>43581</c:v>
                </c:pt>
                <c:pt idx="2508">
                  <c:v>43584</c:v>
                </c:pt>
                <c:pt idx="2509">
                  <c:v>43585</c:v>
                </c:pt>
                <c:pt idx="2510">
                  <c:v>43591</c:v>
                </c:pt>
                <c:pt idx="2511">
                  <c:v>43592</c:v>
                </c:pt>
                <c:pt idx="2512">
                  <c:v>43593</c:v>
                </c:pt>
                <c:pt idx="2513">
                  <c:v>43594</c:v>
                </c:pt>
                <c:pt idx="2514">
                  <c:v>43595</c:v>
                </c:pt>
                <c:pt idx="2515">
                  <c:v>43598</c:v>
                </c:pt>
                <c:pt idx="2516">
                  <c:v>43599</c:v>
                </c:pt>
                <c:pt idx="2517">
                  <c:v>43600</c:v>
                </c:pt>
                <c:pt idx="2518">
                  <c:v>43601</c:v>
                </c:pt>
                <c:pt idx="2519">
                  <c:v>43602</c:v>
                </c:pt>
                <c:pt idx="2520">
                  <c:v>43605</c:v>
                </c:pt>
                <c:pt idx="2521">
                  <c:v>43606</c:v>
                </c:pt>
                <c:pt idx="2522">
                  <c:v>43607</c:v>
                </c:pt>
                <c:pt idx="2523">
                  <c:v>43608</c:v>
                </c:pt>
                <c:pt idx="2524">
                  <c:v>43609</c:v>
                </c:pt>
                <c:pt idx="2525">
                  <c:v>43612</c:v>
                </c:pt>
                <c:pt idx="2526">
                  <c:v>43613</c:v>
                </c:pt>
                <c:pt idx="2527">
                  <c:v>43614</c:v>
                </c:pt>
                <c:pt idx="2528">
                  <c:v>43615</c:v>
                </c:pt>
                <c:pt idx="2529">
                  <c:v>43616</c:v>
                </c:pt>
                <c:pt idx="2530">
                  <c:v>43619</c:v>
                </c:pt>
                <c:pt idx="2531">
                  <c:v>43620</c:v>
                </c:pt>
                <c:pt idx="2532">
                  <c:v>43621</c:v>
                </c:pt>
                <c:pt idx="2533">
                  <c:v>43622</c:v>
                </c:pt>
                <c:pt idx="2534">
                  <c:v>43626</c:v>
                </c:pt>
                <c:pt idx="2535">
                  <c:v>43627</c:v>
                </c:pt>
                <c:pt idx="2536">
                  <c:v>43628</c:v>
                </c:pt>
                <c:pt idx="2537">
                  <c:v>43629</c:v>
                </c:pt>
                <c:pt idx="2538">
                  <c:v>43630</c:v>
                </c:pt>
                <c:pt idx="2539">
                  <c:v>43633</c:v>
                </c:pt>
                <c:pt idx="2540">
                  <c:v>43634</c:v>
                </c:pt>
                <c:pt idx="2541">
                  <c:v>43635</c:v>
                </c:pt>
                <c:pt idx="2542">
                  <c:v>43636</c:v>
                </c:pt>
                <c:pt idx="2543">
                  <c:v>43637</c:v>
                </c:pt>
                <c:pt idx="2544">
                  <c:v>43640</c:v>
                </c:pt>
                <c:pt idx="2545">
                  <c:v>43641</c:v>
                </c:pt>
                <c:pt idx="2546">
                  <c:v>43642</c:v>
                </c:pt>
                <c:pt idx="2547">
                  <c:v>43643</c:v>
                </c:pt>
                <c:pt idx="2548">
                  <c:v>43644</c:v>
                </c:pt>
                <c:pt idx="2549">
                  <c:v>43647</c:v>
                </c:pt>
                <c:pt idx="2550">
                  <c:v>43648</c:v>
                </c:pt>
                <c:pt idx="2551">
                  <c:v>43649</c:v>
                </c:pt>
                <c:pt idx="2552">
                  <c:v>43650</c:v>
                </c:pt>
                <c:pt idx="2553">
                  <c:v>43651</c:v>
                </c:pt>
                <c:pt idx="2554">
                  <c:v>43654</c:v>
                </c:pt>
                <c:pt idx="2555">
                  <c:v>43655</c:v>
                </c:pt>
                <c:pt idx="2556">
                  <c:v>43656</c:v>
                </c:pt>
                <c:pt idx="2557">
                  <c:v>43657</c:v>
                </c:pt>
                <c:pt idx="2558">
                  <c:v>43658</c:v>
                </c:pt>
                <c:pt idx="2559">
                  <c:v>43661</c:v>
                </c:pt>
                <c:pt idx="2560">
                  <c:v>43662</c:v>
                </c:pt>
                <c:pt idx="2561">
                  <c:v>43663</c:v>
                </c:pt>
                <c:pt idx="2562">
                  <c:v>43664</c:v>
                </c:pt>
                <c:pt idx="2563">
                  <c:v>43665</c:v>
                </c:pt>
                <c:pt idx="2564">
                  <c:v>43668</c:v>
                </c:pt>
                <c:pt idx="2565">
                  <c:v>43669</c:v>
                </c:pt>
                <c:pt idx="2566">
                  <c:v>43670</c:v>
                </c:pt>
                <c:pt idx="2567">
                  <c:v>43671</c:v>
                </c:pt>
                <c:pt idx="2568">
                  <c:v>43672</c:v>
                </c:pt>
                <c:pt idx="2569">
                  <c:v>43675</c:v>
                </c:pt>
                <c:pt idx="2570">
                  <c:v>43676</c:v>
                </c:pt>
                <c:pt idx="2571">
                  <c:v>43677</c:v>
                </c:pt>
                <c:pt idx="2572">
                  <c:v>43678</c:v>
                </c:pt>
                <c:pt idx="2573">
                  <c:v>43679</c:v>
                </c:pt>
                <c:pt idx="2574">
                  <c:v>43682</c:v>
                </c:pt>
                <c:pt idx="2575">
                  <c:v>43683</c:v>
                </c:pt>
                <c:pt idx="2576">
                  <c:v>43684</c:v>
                </c:pt>
                <c:pt idx="2577">
                  <c:v>43685</c:v>
                </c:pt>
                <c:pt idx="2578">
                  <c:v>43686</c:v>
                </c:pt>
                <c:pt idx="2579">
                  <c:v>43689</c:v>
                </c:pt>
                <c:pt idx="2580">
                  <c:v>43690</c:v>
                </c:pt>
                <c:pt idx="2581">
                  <c:v>43691</c:v>
                </c:pt>
                <c:pt idx="2582">
                  <c:v>43692</c:v>
                </c:pt>
                <c:pt idx="2583">
                  <c:v>43693</c:v>
                </c:pt>
                <c:pt idx="2584">
                  <c:v>43696</c:v>
                </c:pt>
                <c:pt idx="2585">
                  <c:v>43697</c:v>
                </c:pt>
                <c:pt idx="2586">
                  <c:v>43698</c:v>
                </c:pt>
                <c:pt idx="2587">
                  <c:v>43699</c:v>
                </c:pt>
                <c:pt idx="2588">
                  <c:v>43700</c:v>
                </c:pt>
                <c:pt idx="2589">
                  <c:v>43703</c:v>
                </c:pt>
                <c:pt idx="2590">
                  <c:v>43704</c:v>
                </c:pt>
                <c:pt idx="2591">
                  <c:v>43705</c:v>
                </c:pt>
                <c:pt idx="2592">
                  <c:v>43706</c:v>
                </c:pt>
                <c:pt idx="2593">
                  <c:v>43707</c:v>
                </c:pt>
                <c:pt idx="2594">
                  <c:v>43710</c:v>
                </c:pt>
                <c:pt idx="2595">
                  <c:v>43711</c:v>
                </c:pt>
                <c:pt idx="2596">
                  <c:v>43712</c:v>
                </c:pt>
                <c:pt idx="2597">
                  <c:v>43713</c:v>
                </c:pt>
                <c:pt idx="2598">
                  <c:v>43714</c:v>
                </c:pt>
                <c:pt idx="2599">
                  <c:v>43717</c:v>
                </c:pt>
                <c:pt idx="2600">
                  <c:v>43718</c:v>
                </c:pt>
                <c:pt idx="2601">
                  <c:v>43719</c:v>
                </c:pt>
                <c:pt idx="2602">
                  <c:v>43720</c:v>
                </c:pt>
                <c:pt idx="2603">
                  <c:v>43724</c:v>
                </c:pt>
                <c:pt idx="2604">
                  <c:v>43725</c:v>
                </c:pt>
                <c:pt idx="2605">
                  <c:v>43726</c:v>
                </c:pt>
                <c:pt idx="2606">
                  <c:v>43727</c:v>
                </c:pt>
                <c:pt idx="2607">
                  <c:v>43728</c:v>
                </c:pt>
                <c:pt idx="2608">
                  <c:v>43731</c:v>
                </c:pt>
                <c:pt idx="2609">
                  <c:v>43732</c:v>
                </c:pt>
                <c:pt idx="2610">
                  <c:v>43733</c:v>
                </c:pt>
                <c:pt idx="2611">
                  <c:v>43734</c:v>
                </c:pt>
                <c:pt idx="2612">
                  <c:v>43735</c:v>
                </c:pt>
                <c:pt idx="2613">
                  <c:v>43738</c:v>
                </c:pt>
                <c:pt idx="2614">
                  <c:v>43746</c:v>
                </c:pt>
                <c:pt idx="2615">
                  <c:v>43747</c:v>
                </c:pt>
                <c:pt idx="2616">
                  <c:v>43748</c:v>
                </c:pt>
                <c:pt idx="2617">
                  <c:v>43749</c:v>
                </c:pt>
                <c:pt idx="2618">
                  <c:v>43752</c:v>
                </c:pt>
                <c:pt idx="2619">
                  <c:v>43753</c:v>
                </c:pt>
                <c:pt idx="2620">
                  <c:v>43754</c:v>
                </c:pt>
                <c:pt idx="2621">
                  <c:v>43755</c:v>
                </c:pt>
                <c:pt idx="2622">
                  <c:v>43756</c:v>
                </c:pt>
                <c:pt idx="2623">
                  <c:v>43759</c:v>
                </c:pt>
                <c:pt idx="2624">
                  <c:v>43760</c:v>
                </c:pt>
                <c:pt idx="2625">
                  <c:v>43761</c:v>
                </c:pt>
                <c:pt idx="2626">
                  <c:v>43762</c:v>
                </c:pt>
                <c:pt idx="2627">
                  <c:v>43763</c:v>
                </c:pt>
                <c:pt idx="2628">
                  <c:v>43766</c:v>
                </c:pt>
                <c:pt idx="2629">
                  <c:v>43767</c:v>
                </c:pt>
                <c:pt idx="2630">
                  <c:v>43768</c:v>
                </c:pt>
                <c:pt idx="2631">
                  <c:v>43769</c:v>
                </c:pt>
                <c:pt idx="2632">
                  <c:v>43770</c:v>
                </c:pt>
                <c:pt idx="2633">
                  <c:v>43773</c:v>
                </c:pt>
                <c:pt idx="2634">
                  <c:v>43774</c:v>
                </c:pt>
                <c:pt idx="2635">
                  <c:v>43775</c:v>
                </c:pt>
                <c:pt idx="2636">
                  <c:v>43776</c:v>
                </c:pt>
                <c:pt idx="2637">
                  <c:v>43777</c:v>
                </c:pt>
                <c:pt idx="2638">
                  <c:v>43780</c:v>
                </c:pt>
                <c:pt idx="2639">
                  <c:v>43781</c:v>
                </c:pt>
                <c:pt idx="2640">
                  <c:v>43782</c:v>
                </c:pt>
                <c:pt idx="2641">
                  <c:v>43783</c:v>
                </c:pt>
                <c:pt idx="2642">
                  <c:v>43784</c:v>
                </c:pt>
                <c:pt idx="2643">
                  <c:v>43787</c:v>
                </c:pt>
                <c:pt idx="2644">
                  <c:v>43788</c:v>
                </c:pt>
                <c:pt idx="2645">
                  <c:v>43789</c:v>
                </c:pt>
                <c:pt idx="2646">
                  <c:v>43790</c:v>
                </c:pt>
                <c:pt idx="2647">
                  <c:v>43791</c:v>
                </c:pt>
                <c:pt idx="2648">
                  <c:v>43794</c:v>
                </c:pt>
                <c:pt idx="2649">
                  <c:v>43795</c:v>
                </c:pt>
                <c:pt idx="2650">
                  <c:v>43796</c:v>
                </c:pt>
                <c:pt idx="2651">
                  <c:v>43797</c:v>
                </c:pt>
                <c:pt idx="2652">
                  <c:v>43798</c:v>
                </c:pt>
                <c:pt idx="2653">
                  <c:v>43801</c:v>
                </c:pt>
                <c:pt idx="2654">
                  <c:v>43802</c:v>
                </c:pt>
                <c:pt idx="2655">
                  <c:v>43803</c:v>
                </c:pt>
                <c:pt idx="2656">
                  <c:v>43804</c:v>
                </c:pt>
                <c:pt idx="2657">
                  <c:v>43805</c:v>
                </c:pt>
                <c:pt idx="2658">
                  <c:v>43808</c:v>
                </c:pt>
                <c:pt idx="2659">
                  <c:v>43809</c:v>
                </c:pt>
                <c:pt idx="2660">
                  <c:v>43810</c:v>
                </c:pt>
                <c:pt idx="2661">
                  <c:v>43811</c:v>
                </c:pt>
                <c:pt idx="2662">
                  <c:v>43812</c:v>
                </c:pt>
                <c:pt idx="2663">
                  <c:v>43815</c:v>
                </c:pt>
                <c:pt idx="2664">
                  <c:v>43816</c:v>
                </c:pt>
                <c:pt idx="2665">
                  <c:v>43817</c:v>
                </c:pt>
                <c:pt idx="2666">
                  <c:v>43818</c:v>
                </c:pt>
                <c:pt idx="2667">
                  <c:v>43819</c:v>
                </c:pt>
                <c:pt idx="2668">
                  <c:v>43822</c:v>
                </c:pt>
                <c:pt idx="2669">
                  <c:v>43823</c:v>
                </c:pt>
                <c:pt idx="2670">
                  <c:v>43824</c:v>
                </c:pt>
                <c:pt idx="2671">
                  <c:v>43825</c:v>
                </c:pt>
                <c:pt idx="2672">
                  <c:v>43826</c:v>
                </c:pt>
                <c:pt idx="2673">
                  <c:v>43829</c:v>
                </c:pt>
                <c:pt idx="2674">
                  <c:v>43830</c:v>
                </c:pt>
                <c:pt idx="2675">
                  <c:v>43832</c:v>
                </c:pt>
                <c:pt idx="2676">
                  <c:v>43833</c:v>
                </c:pt>
                <c:pt idx="2677">
                  <c:v>43836</c:v>
                </c:pt>
                <c:pt idx="2678">
                  <c:v>43837</c:v>
                </c:pt>
                <c:pt idx="2679">
                  <c:v>43838</c:v>
                </c:pt>
                <c:pt idx="2680">
                  <c:v>43839</c:v>
                </c:pt>
                <c:pt idx="2681">
                  <c:v>43840</c:v>
                </c:pt>
                <c:pt idx="2682">
                  <c:v>43843</c:v>
                </c:pt>
                <c:pt idx="2683">
                  <c:v>43844</c:v>
                </c:pt>
                <c:pt idx="2684">
                  <c:v>43845</c:v>
                </c:pt>
                <c:pt idx="2685">
                  <c:v>43846</c:v>
                </c:pt>
                <c:pt idx="2686">
                  <c:v>43847</c:v>
                </c:pt>
                <c:pt idx="2687">
                  <c:v>43850</c:v>
                </c:pt>
                <c:pt idx="2688">
                  <c:v>43851</c:v>
                </c:pt>
                <c:pt idx="2689">
                  <c:v>43852</c:v>
                </c:pt>
                <c:pt idx="2690">
                  <c:v>43853</c:v>
                </c:pt>
                <c:pt idx="2691">
                  <c:v>43864</c:v>
                </c:pt>
                <c:pt idx="2692">
                  <c:v>43865</c:v>
                </c:pt>
                <c:pt idx="2693">
                  <c:v>43866</c:v>
                </c:pt>
                <c:pt idx="2694">
                  <c:v>43867</c:v>
                </c:pt>
                <c:pt idx="2695">
                  <c:v>43868</c:v>
                </c:pt>
                <c:pt idx="2696">
                  <c:v>43871</c:v>
                </c:pt>
                <c:pt idx="2697">
                  <c:v>43872</c:v>
                </c:pt>
                <c:pt idx="2698">
                  <c:v>43873</c:v>
                </c:pt>
                <c:pt idx="2699">
                  <c:v>43874</c:v>
                </c:pt>
                <c:pt idx="2700">
                  <c:v>43875</c:v>
                </c:pt>
                <c:pt idx="2701">
                  <c:v>43878</c:v>
                </c:pt>
                <c:pt idx="2702">
                  <c:v>43879</c:v>
                </c:pt>
                <c:pt idx="2703">
                  <c:v>43880</c:v>
                </c:pt>
                <c:pt idx="2704">
                  <c:v>43881</c:v>
                </c:pt>
                <c:pt idx="2705">
                  <c:v>43882</c:v>
                </c:pt>
                <c:pt idx="2706">
                  <c:v>43885</c:v>
                </c:pt>
                <c:pt idx="2707">
                  <c:v>43886</c:v>
                </c:pt>
                <c:pt idx="2708">
                  <c:v>43887</c:v>
                </c:pt>
                <c:pt idx="2709">
                  <c:v>43888</c:v>
                </c:pt>
                <c:pt idx="2710">
                  <c:v>43889</c:v>
                </c:pt>
                <c:pt idx="2711">
                  <c:v>43892</c:v>
                </c:pt>
                <c:pt idx="2712">
                  <c:v>43893</c:v>
                </c:pt>
                <c:pt idx="2713">
                  <c:v>43894</c:v>
                </c:pt>
                <c:pt idx="2714">
                  <c:v>43895</c:v>
                </c:pt>
                <c:pt idx="2715">
                  <c:v>43896</c:v>
                </c:pt>
                <c:pt idx="2716">
                  <c:v>43899</c:v>
                </c:pt>
                <c:pt idx="2717">
                  <c:v>43900</c:v>
                </c:pt>
                <c:pt idx="2718">
                  <c:v>43901</c:v>
                </c:pt>
                <c:pt idx="2719">
                  <c:v>43902</c:v>
                </c:pt>
                <c:pt idx="2720">
                  <c:v>43903</c:v>
                </c:pt>
                <c:pt idx="2721">
                  <c:v>43906</c:v>
                </c:pt>
                <c:pt idx="2722">
                  <c:v>43907</c:v>
                </c:pt>
                <c:pt idx="2723">
                  <c:v>43908</c:v>
                </c:pt>
                <c:pt idx="2724">
                  <c:v>43909</c:v>
                </c:pt>
                <c:pt idx="2725">
                  <c:v>43910</c:v>
                </c:pt>
                <c:pt idx="2726">
                  <c:v>43913</c:v>
                </c:pt>
                <c:pt idx="2727">
                  <c:v>43914</c:v>
                </c:pt>
                <c:pt idx="2728">
                  <c:v>43915</c:v>
                </c:pt>
                <c:pt idx="2729">
                  <c:v>43916</c:v>
                </c:pt>
                <c:pt idx="2730">
                  <c:v>43917</c:v>
                </c:pt>
                <c:pt idx="2731">
                  <c:v>43920</c:v>
                </c:pt>
                <c:pt idx="2732">
                  <c:v>43921</c:v>
                </c:pt>
                <c:pt idx="2733">
                  <c:v>43922</c:v>
                </c:pt>
                <c:pt idx="2734">
                  <c:v>43923</c:v>
                </c:pt>
                <c:pt idx="2735">
                  <c:v>43924</c:v>
                </c:pt>
                <c:pt idx="2736">
                  <c:v>43928</c:v>
                </c:pt>
                <c:pt idx="2737">
                  <c:v>43929</c:v>
                </c:pt>
                <c:pt idx="2738">
                  <c:v>43930</c:v>
                </c:pt>
                <c:pt idx="2739">
                  <c:v>43931</c:v>
                </c:pt>
                <c:pt idx="2740">
                  <c:v>43934</c:v>
                </c:pt>
                <c:pt idx="2741">
                  <c:v>43935</c:v>
                </c:pt>
                <c:pt idx="2742">
                  <c:v>43936</c:v>
                </c:pt>
                <c:pt idx="2743">
                  <c:v>43937</c:v>
                </c:pt>
                <c:pt idx="2744">
                  <c:v>43938</c:v>
                </c:pt>
                <c:pt idx="2745">
                  <c:v>43941</c:v>
                </c:pt>
                <c:pt idx="2746">
                  <c:v>43942</c:v>
                </c:pt>
                <c:pt idx="2747">
                  <c:v>43943</c:v>
                </c:pt>
                <c:pt idx="2748">
                  <c:v>43944</c:v>
                </c:pt>
                <c:pt idx="2749">
                  <c:v>43945</c:v>
                </c:pt>
                <c:pt idx="2750">
                  <c:v>43948</c:v>
                </c:pt>
                <c:pt idx="2751">
                  <c:v>43949</c:v>
                </c:pt>
                <c:pt idx="2752">
                  <c:v>43950</c:v>
                </c:pt>
                <c:pt idx="2753">
                  <c:v>43951</c:v>
                </c:pt>
                <c:pt idx="2754">
                  <c:v>43957</c:v>
                </c:pt>
                <c:pt idx="2755">
                  <c:v>43958</c:v>
                </c:pt>
                <c:pt idx="2756">
                  <c:v>43959</c:v>
                </c:pt>
                <c:pt idx="2757">
                  <c:v>43962</c:v>
                </c:pt>
                <c:pt idx="2758">
                  <c:v>43963</c:v>
                </c:pt>
                <c:pt idx="2759">
                  <c:v>43964</c:v>
                </c:pt>
                <c:pt idx="2760">
                  <c:v>43965</c:v>
                </c:pt>
                <c:pt idx="2761">
                  <c:v>43966</c:v>
                </c:pt>
                <c:pt idx="2762">
                  <c:v>43969</c:v>
                </c:pt>
                <c:pt idx="2763">
                  <c:v>43970</c:v>
                </c:pt>
                <c:pt idx="2764">
                  <c:v>43971</c:v>
                </c:pt>
                <c:pt idx="2765">
                  <c:v>43972</c:v>
                </c:pt>
                <c:pt idx="2766">
                  <c:v>43973</c:v>
                </c:pt>
                <c:pt idx="2767">
                  <c:v>43976</c:v>
                </c:pt>
                <c:pt idx="2768">
                  <c:v>43977</c:v>
                </c:pt>
                <c:pt idx="2769">
                  <c:v>43978</c:v>
                </c:pt>
                <c:pt idx="2770">
                  <c:v>43979</c:v>
                </c:pt>
                <c:pt idx="2771">
                  <c:v>43980</c:v>
                </c:pt>
                <c:pt idx="2772">
                  <c:v>43983</c:v>
                </c:pt>
                <c:pt idx="2773">
                  <c:v>43984</c:v>
                </c:pt>
                <c:pt idx="2774">
                  <c:v>43985</c:v>
                </c:pt>
                <c:pt idx="2775">
                  <c:v>43986</c:v>
                </c:pt>
                <c:pt idx="2776">
                  <c:v>43987</c:v>
                </c:pt>
                <c:pt idx="2777">
                  <c:v>43990</c:v>
                </c:pt>
                <c:pt idx="2778">
                  <c:v>43991</c:v>
                </c:pt>
                <c:pt idx="2779">
                  <c:v>43992</c:v>
                </c:pt>
                <c:pt idx="2780">
                  <c:v>43993</c:v>
                </c:pt>
                <c:pt idx="2781">
                  <c:v>43994</c:v>
                </c:pt>
                <c:pt idx="2782">
                  <c:v>43997</c:v>
                </c:pt>
                <c:pt idx="2783">
                  <c:v>43998</c:v>
                </c:pt>
                <c:pt idx="2784">
                  <c:v>43999</c:v>
                </c:pt>
                <c:pt idx="2785">
                  <c:v>44000</c:v>
                </c:pt>
                <c:pt idx="2786">
                  <c:v>44001</c:v>
                </c:pt>
                <c:pt idx="2787">
                  <c:v>44004</c:v>
                </c:pt>
                <c:pt idx="2788">
                  <c:v>44005</c:v>
                </c:pt>
                <c:pt idx="2789">
                  <c:v>44006</c:v>
                </c:pt>
                <c:pt idx="2790">
                  <c:v>44011</c:v>
                </c:pt>
                <c:pt idx="2791">
                  <c:v>44012</c:v>
                </c:pt>
                <c:pt idx="2792">
                  <c:v>44013</c:v>
                </c:pt>
                <c:pt idx="2793">
                  <c:v>44014</c:v>
                </c:pt>
                <c:pt idx="2794">
                  <c:v>44015</c:v>
                </c:pt>
                <c:pt idx="2795">
                  <c:v>44018</c:v>
                </c:pt>
                <c:pt idx="2796">
                  <c:v>44019</c:v>
                </c:pt>
                <c:pt idx="2797">
                  <c:v>44020</c:v>
                </c:pt>
                <c:pt idx="2798">
                  <c:v>44021</c:v>
                </c:pt>
                <c:pt idx="2799">
                  <c:v>44022</c:v>
                </c:pt>
                <c:pt idx="2800">
                  <c:v>44025</c:v>
                </c:pt>
                <c:pt idx="2801">
                  <c:v>44026</c:v>
                </c:pt>
                <c:pt idx="2802">
                  <c:v>44027</c:v>
                </c:pt>
                <c:pt idx="2803">
                  <c:v>44028</c:v>
                </c:pt>
                <c:pt idx="2804">
                  <c:v>44029</c:v>
                </c:pt>
                <c:pt idx="2805">
                  <c:v>44032</c:v>
                </c:pt>
                <c:pt idx="2806">
                  <c:v>44033</c:v>
                </c:pt>
                <c:pt idx="2807">
                  <c:v>44034</c:v>
                </c:pt>
                <c:pt idx="2808">
                  <c:v>44035</c:v>
                </c:pt>
                <c:pt idx="2809">
                  <c:v>44036</c:v>
                </c:pt>
                <c:pt idx="2810">
                  <c:v>44039</c:v>
                </c:pt>
                <c:pt idx="2811">
                  <c:v>44040</c:v>
                </c:pt>
                <c:pt idx="2812">
                  <c:v>44041</c:v>
                </c:pt>
                <c:pt idx="2813">
                  <c:v>44042</c:v>
                </c:pt>
                <c:pt idx="2814">
                  <c:v>44043</c:v>
                </c:pt>
                <c:pt idx="2815">
                  <c:v>44046</c:v>
                </c:pt>
                <c:pt idx="2816">
                  <c:v>44047</c:v>
                </c:pt>
                <c:pt idx="2817">
                  <c:v>44048</c:v>
                </c:pt>
                <c:pt idx="2818">
                  <c:v>44049</c:v>
                </c:pt>
                <c:pt idx="2819">
                  <c:v>44050</c:v>
                </c:pt>
                <c:pt idx="2820">
                  <c:v>44053</c:v>
                </c:pt>
                <c:pt idx="2821">
                  <c:v>44054</c:v>
                </c:pt>
                <c:pt idx="2822">
                  <c:v>44055</c:v>
                </c:pt>
                <c:pt idx="2823">
                  <c:v>44056</c:v>
                </c:pt>
                <c:pt idx="2824">
                  <c:v>44057</c:v>
                </c:pt>
                <c:pt idx="2825">
                  <c:v>44060</c:v>
                </c:pt>
                <c:pt idx="2826">
                  <c:v>44061</c:v>
                </c:pt>
                <c:pt idx="2827">
                  <c:v>44062</c:v>
                </c:pt>
                <c:pt idx="2828">
                  <c:v>44063</c:v>
                </c:pt>
                <c:pt idx="2829">
                  <c:v>44064</c:v>
                </c:pt>
                <c:pt idx="2830">
                  <c:v>44067</c:v>
                </c:pt>
                <c:pt idx="2831">
                  <c:v>44068</c:v>
                </c:pt>
                <c:pt idx="2832">
                  <c:v>44069</c:v>
                </c:pt>
                <c:pt idx="2833">
                  <c:v>44070</c:v>
                </c:pt>
                <c:pt idx="2834">
                  <c:v>44071</c:v>
                </c:pt>
                <c:pt idx="2835">
                  <c:v>44074</c:v>
                </c:pt>
                <c:pt idx="2836">
                  <c:v>44075</c:v>
                </c:pt>
                <c:pt idx="2837">
                  <c:v>44076</c:v>
                </c:pt>
                <c:pt idx="2838">
                  <c:v>44077</c:v>
                </c:pt>
                <c:pt idx="2839">
                  <c:v>44078</c:v>
                </c:pt>
                <c:pt idx="2840">
                  <c:v>44081</c:v>
                </c:pt>
                <c:pt idx="2841">
                  <c:v>44082</c:v>
                </c:pt>
                <c:pt idx="2842">
                  <c:v>44083</c:v>
                </c:pt>
                <c:pt idx="2843">
                  <c:v>44084</c:v>
                </c:pt>
                <c:pt idx="2844">
                  <c:v>44085</c:v>
                </c:pt>
                <c:pt idx="2845">
                  <c:v>44088</c:v>
                </c:pt>
                <c:pt idx="2846">
                  <c:v>44089</c:v>
                </c:pt>
                <c:pt idx="2847">
                  <c:v>44090</c:v>
                </c:pt>
                <c:pt idx="2848">
                  <c:v>44091</c:v>
                </c:pt>
                <c:pt idx="2849">
                  <c:v>44092</c:v>
                </c:pt>
                <c:pt idx="2850">
                  <c:v>44095</c:v>
                </c:pt>
                <c:pt idx="2851">
                  <c:v>44096</c:v>
                </c:pt>
                <c:pt idx="2852">
                  <c:v>44097</c:v>
                </c:pt>
                <c:pt idx="2853">
                  <c:v>44098</c:v>
                </c:pt>
                <c:pt idx="2854">
                  <c:v>44099</c:v>
                </c:pt>
                <c:pt idx="2855">
                  <c:v>44102</c:v>
                </c:pt>
                <c:pt idx="2856">
                  <c:v>44103</c:v>
                </c:pt>
                <c:pt idx="2857">
                  <c:v>44104</c:v>
                </c:pt>
                <c:pt idx="2858">
                  <c:v>44113</c:v>
                </c:pt>
                <c:pt idx="2859">
                  <c:v>44116</c:v>
                </c:pt>
                <c:pt idx="2860">
                  <c:v>44117</c:v>
                </c:pt>
                <c:pt idx="2861">
                  <c:v>44118</c:v>
                </c:pt>
                <c:pt idx="2862">
                  <c:v>44119</c:v>
                </c:pt>
                <c:pt idx="2863">
                  <c:v>44120</c:v>
                </c:pt>
                <c:pt idx="2864">
                  <c:v>44123</c:v>
                </c:pt>
                <c:pt idx="2865">
                  <c:v>44124</c:v>
                </c:pt>
                <c:pt idx="2866">
                  <c:v>44125</c:v>
                </c:pt>
                <c:pt idx="2867">
                  <c:v>44126</c:v>
                </c:pt>
                <c:pt idx="2868">
                  <c:v>44127</c:v>
                </c:pt>
                <c:pt idx="2869">
                  <c:v>44130</c:v>
                </c:pt>
                <c:pt idx="2870">
                  <c:v>44131</c:v>
                </c:pt>
                <c:pt idx="2871">
                  <c:v>44132</c:v>
                </c:pt>
                <c:pt idx="2872">
                  <c:v>44133</c:v>
                </c:pt>
                <c:pt idx="2873">
                  <c:v>44134</c:v>
                </c:pt>
                <c:pt idx="2874">
                  <c:v>44137</c:v>
                </c:pt>
                <c:pt idx="2875">
                  <c:v>44138</c:v>
                </c:pt>
                <c:pt idx="2876">
                  <c:v>44139</c:v>
                </c:pt>
                <c:pt idx="2877">
                  <c:v>44140</c:v>
                </c:pt>
                <c:pt idx="2878">
                  <c:v>44141</c:v>
                </c:pt>
                <c:pt idx="2879">
                  <c:v>44144</c:v>
                </c:pt>
                <c:pt idx="2880">
                  <c:v>44145</c:v>
                </c:pt>
                <c:pt idx="2881">
                  <c:v>44146</c:v>
                </c:pt>
                <c:pt idx="2882">
                  <c:v>44147</c:v>
                </c:pt>
                <c:pt idx="2883">
                  <c:v>44148</c:v>
                </c:pt>
                <c:pt idx="2884">
                  <c:v>44151</c:v>
                </c:pt>
                <c:pt idx="2885">
                  <c:v>44152</c:v>
                </c:pt>
                <c:pt idx="2886">
                  <c:v>44153</c:v>
                </c:pt>
                <c:pt idx="2887">
                  <c:v>44154</c:v>
                </c:pt>
                <c:pt idx="2888">
                  <c:v>44155</c:v>
                </c:pt>
                <c:pt idx="2889">
                  <c:v>44158</c:v>
                </c:pt>
                <c:pt idx="2890">
                  <c:v>44159</c:v>
                </c:pt>
                <c:pt idx="2891">
                  <c:v>44160</c:v>
                </c:pt>
                <c:pt idx="2892">
                  <c:v>44161</c:v>
                </c:pt>
                <c:pt idx="2893">
                  <c:v>44162</c:v>
                </c:pt>
                <c:pt idx="2894">
                  <c:v>44165</c:v>
                </c:pt>
                <c:pt idx="2895">
                  <c:v>44166</c:v>
                </c:pt>
                <c:pt idx="2896">
                  <c:v>44167</c:v>
                </c:pt>
                <c:pt idx="2897">
                  <c:v>44168</c:v>
                </c:pt>
                <c:pt idx="2898">
                  <c:v>44169</c:v>
                </c:pt>
                <c:pt idx="2899">
                  <c:v>44172</c:v>
                </c:pt>
                <c:pt idx="2900">
                  <c:v>44173</c:v>
                </c:pt>
                <c:pt idx="2901">
                  <c:v>44174</c:v>
                </c:pt>
                <c:pt idx="2902">
                  <c:v>44175</c:v>
                </c:pt>
                <c:pt idx="2903">
                  <c:v>44176</c:v>
                </c:pt>
                <c:pt idx="2904">
                  <c:v>44179</c:v>
                </c:pt>
                <c:pt idx="2905">
                  <c:v>44180</c:v>
                </c:pt>
                <c:pt idx="2906">
                  <c:v>44181</c:v>
                </c:pt>
                <c:pt idx="2907">
                  <c:v>44182</c:v>
                </c:pt>
                <c:pt idx="2908">
                  <c:v>44183</c:v>
                </c:pt>
                <c:pt idx="2909">
                  <c:v>44186</c:v>
                </c:pt>
                <c:pt idx="2910">
                  <c:v>44187</c:v>
                </c:pt>
                <c:pt idx="2911">
                  <c:v>44188</c:v>
                </c:pt>
                <c:pt idx="2912">
                  <c:v>44189</c:v>
                </c:pt>
                <c:pt idx="2913">
                  <c:v>44190</c:v>
                </c:pt>
                <c:pt idx="2914">
                  <c:v>44193</c:v>
                </c:pt>
                <c:pt idx="2915">
                  <c:v>44194</c:v>
                </c:pt>
                <c:pt idx="2916">
                  <c:v>44195</c:v>
                </c:pt>
                <c:pt idx="2917">
                  <c:v>44196</c:v>
                </c:pt>
                <c:pt idx="2918">
                  <c:v>44200</c:v>
                </c:pt>
                <c:pt idx="2919">
                  <c:v>44201</c:v>
                </c:pt>
                <c:pt idx="2920">
                  <c:v>44202</c:v>
                </c:pt>
                <c:pt idx="2921">
                  <c:v>44203</c:v>
                </c:pt>
                <c:pt idx="2922">
                  <c:v>44204</c:v>
                </c:pt>
                <c:pt idx="2923">
                  <c:v>44207</c:v>
                </c:pt>
                <c:pt idx="2924">
                  <c:v>44208</c:v>
                </c:pt>
                <c:pt idx="2925">
                  <c:v>44209</c:v>
                </c:pt>
                <c:pt idx="2926">
                  <c:v>44210</c:v>
                </c:pt>
                <c:pt idx="2927">
                  <c:v>44211</c:v>
                </c:pt>
                <c:pt idx="2928">
                  <c:v>44214</c:v>
                </c:pt>
                <c:pt idx="2929">
                  <c:v>44215</c:v>
                </c:pt>
                <c:pt idx="2930">
                  <c:v>44216</c:v>
                </c:pt>
                <c:pt idx="2931">
                  <c:v>44217</c:v>
                </c:pt>
                <c:pt idx="2932">
                  <c:v>44218</c:v>
                </c:pt>
                <c:pt idx="2933">
                  <c:v>44221</c:v>
                </c:pt>
                <c:pt idx="2934">
                  <c:v>44222</c:v>
                </c:pt>
                <c:pt idx="2935">
                  <c:v>44223</c:v>
                </c:pt>
                <c:pt idx="2936">
                  <c:v>44224</c:v>
                </c:pt>
                <c:pt idx="2937">
                  <c:v>44225</c:v>
                </c:pt>
                <c:pt idx="2938">
                  <c:v>44228</c:v>
                </c:pt>
                <c:pt idx="2939">
                  <c:v>44229</c:v>
                </c:pt>
                <c:pt idx="2940">
                  <c:v>44230</c:v>
                </c:pt>
                <c:pt idx="2941">
                  <c:v>44231</c:v>
                </c:pt>
                <c:pt idx="2942">
                  <c:v>44232</c:v>
                </c:pt>
                <c:pt idx="2943">
                  <c:v>44235</c:v>
                </c:pt>
                <c:pt idx="2944">
                  <c:v>44236</c:v>
                </c:pt>
                <c:pt idx="2945">
                  <c:v>44237</c:v>
                </c:pt>
                <c:pt idx="2946">
                  <c:v>44245</c:v>
                </c:pt>
                <c:pt idx="2947">
                  <c:v>44246</c:v>
                </c:pt>
                <c:pt idx="2948">
                  <c:v>44249</c:v>
                </c:pt>
                <c:pt idx="2949">
                  <c:v>44250</c:v>
                </c:pt>
                <c:pt idx="2950">
                  <c:v>44251</c:v>
                </c:pt>
                <c:pt idx="2951">
                  <c:v>44252</c:v>
                </c:pt>
                <c:pt idx="2952">
                  <c:v>44253</c:v>
                </c:pt>
                <c:pt idx="2953">
                  <c:v>44256</c:v>
                </c:pt>
                <c:pt idx="2954">
                  <c:v>44257</c:v>
                </c:pt>
                <c:pt idx="2955">
                  <c:v>44258</c:v>
                </c:pt>
                <c:pt idx="2956">
                  <c:v>44259</c:v>
                </c:pt>
                <c:pt idx="2957">
                  <c:v>44260</c:v>
                </c:pt>
                <c:pt idx="2958">
                  <c:v>44263</c:v>
                </c:pt>
                <c:pt idx="2959">
                  <c:v>44264</c:v>
                </c:pt>
                <c:pt idx="2960">
                  <c:v>44265</c:v>
                </c:pt>
                <c:pt idx="2961">
                  <c:v>44266</c:v>
                </c:pt>
                <c:pt idx="2962">
                  <c:v>44267</c:v>
                </c:pt>
                <c:pt idx="2963">
                  <c:v>44270</c:v>
                </c:pt>
                <c:pt idx="2964">
                  <c:v>44271</c:v>
                </c:pt>
                <c:pt idx="2965">
                  <c:v>44272</c:v>
                </c:pt>
                <c:pt idx="2966">
                  <c:v>44273</c:v>
                </c:pt>
                <c:pt idx="2967">
                  <c:v>44274</c:v>
                </c:pt>
                <c:pt idx="2968">
                  <c:v>44277</c:v>
                </c:pt>
                <c:pt idx="2969">
                  <c:v>44278</c:v>
                </c:pt>
                <c:pt idx="2970">
                  <c:v>44279</c:v>
                </c:pt>
                <c:pt idx="2971">
                  <c:v>44280</c:v>
                </c:pt>
                <c:pt idx="2972">
                  <c:v>44281</c:v>
                </c:pt>
                <c:pt idx="2973">
                  <c:v>44284</c:v>
                </c:pt>
                <c:pt idx="2974">
                  <c:v>44285</c:v>
                </c:pt>
                <c:pt idx="2975">
                  <c:v>44286</c:v>
                </c:pt>
                <c:pt idx="2976">
                  <c:v>44287</c:v>
                </c:pt>
                <c:pt idx="2977">
                  <c:v>44288</c:v>
                </c:pt>
                <c:pt idx="2978">
                  <c:v>44292</c:v>
                </c:pt>
                <c:pt idx="2979">
                  <c:v>44293</c:v>
                </c:pt>
                <c:pt idx="2980">
                  <c:v>44294</c:v>
                </c:pt>
                <c:pt idx="2981">
                  <c:v>44295</c:v>
                </c:pt>
                <c:pt idx="2982">
                  <c:v>44298</c:v>
                </c:pt>
                <c:pt idx="2983">
                  <c:v>44299</c:v>
                </c:pt>
                <c:pt idx="2984">
                  <c:v>44300</c:v>
                </c:pt>
                <c:pt idx="2985">
                  <c:v>44301</c:v>
                </c:pt>
                <c:pt idx="2986">
                  <c:v>44302</c:v>
                </c:pt>
                <c:pt idx="2987">
                  <c:v>44305</c:v>
                </c:pt>
                <c:pt idx="2988">
                  <c:v>44306</c:v>
                </c:pt>
                <c:pt idx="2989">
                  <c:v>44307</c:v>
                </c:pt>
                <c:pt idx="2990">
                  <c:v>44308</c:v>
                </c:pt>
                <c:pt idx="2991">
                  <c:v>44309</c:v>
                </c:pt>
                <c:pt idx="2992">
                  <c:v>44312</c:v>
                </c:pt>
                <c:pt idx="2993">
                  <c:v>44313</c:v>
                </c:pt>
                <c:pt idx="2994">
                  <c:v>44314</c:v>
                </c:pt>
                <c:pt idx="2995">
                  <c:v>44315</c:v>
                </c:pt>
                <c:pt idx="2996">
                  <c:v>44316</c:v>
                </c:pt>
                <c:pt idx="2997">
                  <c:v>44322</c:v>
                </c:pt>
                <c:pt idx="2998">
                  <c:v>44323</c:v>
                </c:pt>
                <c:pt idx="2999">
                  <c:v>44326</c:v>
                </c:pt>
                <c:pt idx="3000">
                  <c:v>44327</c:v>
                </c:pt>
                <c:pt idx="3001">
                  <c:v>44328</c:v>
                </c:pt>
                <c:pt idx="3002">
                  <c:v>44329</c:v>
                </c:pt>
                <c:pt idx="3003">
                  <c:v>44330</c:v>
                </c:pt>
                <c:pt idx="3004">
                  <c:v>44333</c:v>
                </c:pt>
                <c:pt idx="3005">
                  <c:v>44334</c:v>
                </c:pt>
                <c:pt idx="3006">
                  <c:v>44335</c:v>
                </c:pt>
                <c:pt idx="3007">
                  <c:v>44336</c:v>
                </c:pt>
                <c:pt idx="3008">
                  <c:v>44337</c:v>
                </c:pt>
                <c:pt idx="3009">
                  <c:v>44340</c:v>
                </c:pt>
                <c:pt idx="3010">
                  <c:v>44341</c:v>
                </c:pt>
                <c:pt idx="3011">
                  <c:v>44342</c:v>
                </c:pt>
                <c:pt idx="3012">
                  <c:v>44343</c:v>
                </c:pt>
                <c:pt idx="3013">
                  <c:v>44344</c:v>
                </c:pt>
                <c:pt idx="3014">
                  <c:v>44347</c:v>
                </c:pt>
                <c:pt idx="3015">
                  <c:v>44348</c:v>
                </c:pt>
                <c:pt idx="3016">
                  <c:v>44349</c:v>
                </c:pt>
                <c:pt idx="3017">
                  <c:v>44350</c:v>
                </c:pt>
                <c:pt idx="3018">
                  <c:v>44351</c:v>
                </c:pt>
                <c:pt idx="3019">
                  <c:v>44354</c:v>
                </c:pt>
                <c:pt idx="3020">
                  <c:v>44355</c:v>
                </c:pt>
                <c:pt idx="3021">
                  <c:v>44356</c:v>
                </c:pt>
                <c:pt idx="3022">
                  <c:v>44357</c:v>
                </c:pt>
                <c:pt idx="3023">
                  <c:v>44358</c:v>
                </c:pt>
                <c:pt idx="3024">
                  <c:v>44362</c:v>
                </c:pt>
                <c:pt idx="3025">
                  <c:v>44363</c:v>
                </c:pt>
                <c:pt idx="3026">
                  <c:v>44364</c:v>
                </c:pt>
                <c:pt idx="3027">
                  <c:v>44365</c:v>
                </c:pt>
                <c:pt idx="3028">
                  <c:v>44368</c:v>
                </c:pt>
                <c:pt idx="3029">
                  <c:v>44369</c:v>
                </c:pt>
                <c:pt idx="3030">
                  <c:v>44370</c:v>
                </c:pt>
                <c:pt idx="3031">
                  <c:v>44371</c:v>
                </c:pt>
                <c:pt idx="3032">
                  <c:v>44372</c:v>
                </c:pt>
                <c:pt idx="3033">
                  <c:v>44375</c:v>
                </c:pt>
                <c:pt idx="3034">
                  <c:v>44376</c:v>
                </c:pt>
                <c:pt idx="3035">
                  <c:v>44377</c:v>
                </c:pt>
                <c:pt idx="3036">
                  <c:v>44378</c:v>
                </c:pt>
                <c:pt idx="3037">
                  <c:v>44379</c:v>
                </c:pt>
                <c:pt idx="3038">
                  <c:v>44382</c:v>
                </c:pt>
                <c:pt idx="3039">
                  <c:v>44383</c:v>
                </c:pt>
                <c:pt idx="3040">
                  <c:v>44384</c:v>
                </c:pt>
                <c:pt idx="3041">
                  <c:v>44385</c:v>
                </c:pt>
                <c:pt idx="3042">
                  <c:v>44386</c:v>
                </c:pt>
                <c:pt idx="3043">
                  <c:v>44389</c:v>
                </c:pt>
                <c:pt idx="3044">
                  <c:v>44390</c:v>
                </c:pt>
                <c:pt idx="3045">
                  <c:v>44391</c:v>
                </c:pt>
                <c:pt idx="3046">
                  <c:v>44392</c:v>
                </c:pt>
                <c:pt idx="3047">
                  <c:v>44393</c:v>
                </c:pt>
                <c:pt idx="3048">
                  <c:v>44396</c:v>
                </c:pt>
                <c:pt idx="3049">
                  <c:v>44397</c:v>
                </c:pt>
                <c:pt idx="3050">
                  <c:v>44398</c:v>
                </c:pt>
                <c:pt idx="3051">
                  <c:v>44399</c:v>
                </c:pt>
                <c:pt idx="3052">
                  <c:v>44400</c:v>
                </c:pt>
                <c:pt idx="3053">
                  <c:v>44403</c:v>
                </c:pt>
                <c:pt idx="3054">
                  <c:v>44404</c:v>
                </c:pt>
                <c:pt idx="3055">
                  <c:v>44405</c:v>
                </c:pt>
                <c:pt idx="3056">
                  <c:v>44406</c:v>
                </c:pt>
                <c:pt idx="3057">
                  <c:v>44407</c:v>
                </c:pt>
                <c:pt idx="3058">
                  <c:v>44410</c:v>
                </c:pt>
                <c:pt idx="3059">
                  <c:v>44411</c:v>
                </c:pt>
                <c:pt idx="3060">
                  <c:v>44412</c:v>
                </c:pt>
                <c:pt idx="3061">
                  <c:v>44413</c:v>
                </c:pt>
                <c:pt idx="3062">
                  <c:v>44414</c:v>
                </c:pt>
                <c:pt idx="3063">
                  <c:v>44417</c:v>
                </c:pt>
                <c:pt idx="3064">
                  <c:v>44418</c:v>
                </c:pt>
                <c:pt idx="3065">
                  <c:v>44419</c:v>
                </c:pt>
                <c:pt idx="3066">
                  <c:v>44420</c:v>
                </c:pt>
                <c:pt idx="3067">
                  <c:v>44421</c:v>
                </c:pt>
                <c:pt idx="3068">
                  <c:v>44424</c:v>
                </c:pt>
                <c:pt idx="3069">
                  <c:v>44425</c:v>
                </c:pt>
                <c:pt idx="3070">
                  <c:v>44426</c:v>
                </c:pt>
                <c:pt idx="3071">
                  <c:v>44427</c:v>
                </c:pt>
                <c:pt idx="3072">
                  <c:v>44428</c:v>
                </c:pt>
                <c:pt idx="3073">
                  <c:v>44431</c:v>
                </c:pt>
                <c:pt idx="3074">
                  <c:v>44432</c:v>
                </c:pt>
                <c:pt idx="3075">
                  <c:v>44433</c:v>
                </c:pt>
                <c:pt idx="3076">
                  <c:v>44434</c:v>
                </c:pt>
                <c:pt idx="3077">
                  <c:v>44435</c:v>
                </c:pt>
                <c:pt idx="3078">
                  <c:v>44438</c:v>
                </c:pt>
                <c:pt idx="3079">
                  <c:v>44439</c:v>
                </c:pt>
                <c:pt idx="3080">
                  <c:v>44440</c:v>
                </c:pt>
                <c:pt idx="3081">
                  <c:v>44441</c:v>
                </c:pt>
                <c:pt idx="3082">
                  <c:v>44442</c:v>
                </c:pt>
                <c:pt idx="3083">
                  <c:v>44445</c:v>
                </c:pt>
                <c:pt idx="3084">
                  <c:v>44446</c:v>
                </c:pt>
                <c:pt idx="3085">
                  <c:v>44447</c:v>
                </c:pt>
                <c:pt idx="3086">
                  <c:v>44448</c:v>
                </c:pt>
                <c:pt idx="3087">
                  <c:v>44449</c:v>
                </c:pt>
                <c:pt idx="3088">
                  <c:v>44452</c:v>
                </c:pt>
                <c:pt idx="3089">
                  <c:v>44453</c:v>
                </c:pt>
                <c:pt idx="3090">
                  <c:v>44454</c:v>
                </c:pt>
                <c:pt idx="3091">
                  <c:v>44455</c:v>
                </c:pt>
                <c:pt idx="3092">
                  <c:v>44456</c:v>
                </c:pt>
                <c:pt idx="3093">
                  <c:v>44461</c:v>
                </c:pt>
                <c:pt idx="3094">
                  <c:v>44462</c:v>
                </c:pt>
                <c:pt idx="3095">
                  <c:v>44463</c:v>
                </c:pt>
                <c:pt idx="3096">
                  <c:v>44466</c:v>
                </c:pt>
                <c:pt idx="3097">
                  <c:v>44467</c:v>
                </c:pt>
                <c:pt idx="3098">
                  <c:v>44468</c:v>
                </c:pt>
                <c:pt idx="3099">
                  <c:v>44469</c:v>
                </c:pt>
                <c:pt idx="3100">
                  <c:v>44477</c:v>
                </c:pt>
                <c:pt idx="3101">
                  <c:v>44480</c:v>
                </c:pt>
                <c:pt idx="3102">
                  <c:v>44481</c:v>
                </c:pt>
                <c:pt idx="3103">
                  <c:v>44482</c:v>
                </c:pt>
                <c:pt idx="3104">
                  <c:v>44483</c:v>
                </c:pt>
                <c:pt idx="3105">
                  <c:v>44484</c:v>
                </c:pt>
                <c:pt idx="3106">
                  <c:v>44487</c:v>
                </c:pt>
                <c:pt idx="3107">
                  <c:v>44488</c:v>
                </c:pt>
                <c:pt idx="3108">
                  <c:v>44489</c:v>
                </c:pt>
                <c:pt idx="3109">
                  <c:v>44490</c:v>
                </c:pt>
                <c:pt idx="3110">
                  <c:v>44491</c:v>
                </c:pt>
                <c:pt idx="3111">
                  <c:v>44494</c:v>
                </c:pt>
                <c:pt idx="3112">
                  <c:v>44495</c:v>
                </c:pt>
                <c:pt idx="3113">
                  <c:v>44496</c:v>
                </c:pt>
                <c:pt idx="3114">
                  <c:v>44497</c:v>
                </c:pt>
                <c:pt idx="3115">
                  <c:v>44498</c:v>
                </c:pt>
                <c:pt idx="3116">
                  <c:v>44501</c:v>
                </c:pt>
                <c:pt idx="3117">
                  <c:v>44502</c:v>
                </c:pt>
                <c:pt idx="3118">
                  <c:v>44503</c:v>
                </c:pt>
                <c:pt idx="3119">
                  <c:v>44504</c:v>
                </c:pt>
                <c:pt idx="3120">
                  <c:v>44505</c:v>
                </c:pt>
                <c:pt idx="3121">
                  <c:v>44508</c:v>
                </c:pt>
                <c:pt idx="3122">
                  <c:v>44509</c:v>
                </c:pt>
                <c:pt idx="3123">
                  <c:v>44510</c:v>
                </c:pt>
                <c:pt idx="3124">
                  <c:v>44511</c:v>
                </c:pt>
                <c:pt idx="3125">
                  <c:v>44512</c:v>
                </c:pt>
                <c:pt idx="3126">
                  <c:v>44515</c:v>
                </c:pt>
                <c:pt idx="3127">
                  <c:v>44516</c:v>
                </c:pt>
                <c:pt idx="3128">
                  <c:v>44517</c:v>
                </c:pt>
                <c:pt idx="3129">
                  <c:v>44518</c:v>
                </c:pt>
                <c:pt idx="3130">
                  <c:v>44519</c:v>
                </c:pt>
                <c:pt idx="3131">
                  <c:v>44522</c:v>
                </c:pt>
                <c:pt idx="3132">
                  <c:v>44523</c:v>
                </c:pt>
                <c:pt idx="3133">
                  <c:v>44524</c:v>
                </c:pt>
                <c:pt idx="3134">
                  <c:v>44525</c:v>
                </c:pt>
                <c:pt idx="3135">
                  <c:v>44526</c:v>
                </c:pt>
                <c:pt idx="3136">
                  <c:v>44529</c:v>
                </c:pt>
                <c:pt idx="3137">
                  <c:v>44530</c:v>
                </c:pt>
                <c:pt idx="3138">
                  <c:v>44531</c:v>
                </c:pt>
                <c:pt idx="3139">
                  <c:v>44532</c:v>
                </c:pt>
                <c:pt idx="3140">
                  <c:v>44533</c:v>
                </c:pt>
                <c:pt idx="3141">
                  <c:v>44536</c:v>
                </c:pt>
                <c:pt idx="3142">
                  <c:v>44537</c:v>
                </c:pt>
                <c:pt idx="3143">
                  <c:v>44538</c:v>
                </c:pt>
                <c:pt idx="3144">
                  <c:v>44539</c:v>
                </c:pt>
                <c:pt idx="3145">
                  <c:v>44540</c:v>
                </c:pt>
                <c:pt idx="3146">
                  <c:v>44543</c:v>
                </c:pt>
                <c:pt idx="3147">
                  <c:v>44544</c:v>
                </c:pt>
                <c:pt idx="3148">
                  <c:v>44545</c:v>
                </c:pt>
                <c:pt idx="3149">
                  <c:v>44546</c:v>
                </c:pt>
                <c:pt idx="3150">
                  <c:v>44547</c:v>
                </c:pt>
                <c:pt idx="3151">
                  <c:v>44550</c:v>
                </c:pt>
                <c:pt idx="3152">
                  <c:v>44551</c:v>
                </c:pt>
                <c:pt idx="3153">
                  <c:v>44552</c:v>
                </c:pt>
                <c:pt idx="3154">
                  <c:v>44553</c:v>
                </c:pt>
                <c:pt idx="3155">
                  <c:v>44554</c:v>
                </c:pt>
                <c:pt idx="3156">
                  <c:v>44557</c:v>
                </c:pt>
                <c:pt idx="3157">
                  <c:v>44558</c:v>
                </c:pt>
                <c:pt idx="3158">
                  <c:v>44559</c:v>
                </c:pt>
                <c:pt idx="3159">
                  <c:v>44560</c:v>
                </c:pt>
                <c:pt idx="3160">
                  <c:v>44561</c:v>
                </c:pt>
                <c:pt idx="3161">
                  <c:v>44565</c:v>
                </c:pt>
                <c:pt idx="3162">
                  <c:v>44566</c:v>
                </c:pt>
                <c:pt idx="3163">
                  <c:v>44567</c:v>
                </c:pt>
                <c:pt idx="3164">
                  <c:v>44568</c:v>
                </c:pt>
                <c:pt idx="3165">
                  <c:v>44571</c:v>
                </c:pt>
                <c:pt idx="3166">
                  <c:v>44572</c:v>
                </c:pt>
                <c:pt idx="3167">
                  <c:v>44573</c:v>
                </c:pt>
                <c:pt idx="3168">
                  <c:v>44574</c:v>
                </c:pt>
                <c:pt idx="3169">
                  <c:v>44575</c:v>
                </c:pt>
                <c:pt idx="3170">
                  <c:v>44578</c:v>
                </c:pt>
                <c:pt idx="3171">
                  <c:v>44579</c:v>
                </c:pt>
                <c:pt idx="3172">
                  <c:v>44580</c:v>
                </c:pt>
                <c:pt idx="3173">
                  <c:v>44581</c:v>
                </c:pt>
                <c:pt idx="3174">
                  <c:v>44582</c:v>
                </c:pt>
                <c:pt idx="3175">
                  <c:v>44585</c:v>
                </c:pt>
                <c:pt idx="3176">
                  <c:v>44586</c:v>
                </c:pt>
                <c:pt idx="3177">
                  <c:v>44587</c:v>
                </c:pt>
                <c:pt idx="3178">
                  <c:v>44588</c:v>
                </c:pt>
                <c:pt idx="3179">
                  <c:v>44589</c:v>
                </c:pt>
                <c:pt idx="3180">
                  <c:v>44599</c:v>
                </c:pt>
                <c:pt idx="3181">
                  <c:v>44600</c:v>
                </c:pt>
                <c:pt idx="3182">
                  <c:v>44601</c:v>
                </c:pt>
                <c:pt idx="3183">
                  <c:v>44602</c:v>
                </c:pt>
                <c:pt idx="3184">
                  <c:v>44603</c:v>
                </c:pt>
                <c:pt idx="3185">
                  <c:v>44606</c:v>
                </c:pt>
                <c:pt idx="3186">
                  <c:v>44607</c:v>
                </c:pt>
                <c:pt idx="3187">
                  <c:v>44608</c:v>
                </c:pt>
                <c:pt idx="3188">
                  <c:v>44609</c:v>
                </c:pt>
                <c:pt idx="3189">
                  <c:v>44610</c:v>
                </c:pt>
                <c:pt idx="3190">
                  <c:v>44613</c:v>
                </c:pt>
                <c:pt idx="3191">
                  <c:v>44614</c:v>
                </c:pt>
                <c:pt idx="3192">
                  <c:v>44615</c:v>
                </c:pt>
                <c:pt idx="3193">
                  <c:v>44616</c:v>
                </c:pt>
                <c:pt idx="3194">
                  <c:v>44617</c:v>
                </c:pt>
                <c:pt idx="3195">
                  <c:v>44620</c:v>
                </c:pt>
                <c:pt idx="3196">
                  <c:v>44621</c:v>
                </c:pt>
                <c:pt idx="3197">
                  <c:v>44622</c:v>
                </c:pt>
                <c:pt idx="3198">
                  <c:v>44623</c:v>
                </c:pt>
                <c:pt idx="3199">
                  <c:v>44624</c:v>
                </c:pt>
                <c:pt idx="3200">
                  <c:v>44627</c:v>
                </c:pt>
                <c:pt idx="3201">
                  <c:v>44628</c:v>
                </c:pt>
                <c:pt idx="3202">
                  <c:v>44629</c:v>
                </c:pt>
                <c:pt idx="3203">
                  <c:v>44630</c:v>
                </c:pt>
                <c:pt idx="3204">
                  <c:v>44631</c:v>
                </c:pt>
                <c:pt idx="3205">
                  <c:v>44634</c:v>
                </c:pt>
                <c:pt idx="3206">
                  <c:v>44635</c:v>
                </c:pt>
                <c:pt idx="3207">
                  <c:v>44636</c:v>
                </c:pt>
                <c:pt idx="3208">
                  <c:v>44637</c:v>
                </c:pt>
                <c:pt idx="3209">
                  <c:v>44638</c:v>
                </c:pt>
                <c:pt idx="3210">
                  <c:v>44641</c:v>
                </c:pt>
                <c:pt idx="3211">
                  <c:v>44642</c:v>
                </c:pt>
                <c:pt idx="3212">
                  <c:v>44643</c:v>
                </c:pt>
                <c:pt idx="3213">
                  <c:v>44644</c:v>
                </c:pt>
                <c:pt idx="3214">
                  <c:v>44645</c:v>
                </c:pt>
                <c:pt idx="3215">
                  <c:v>44648</c:v>
                </c:pt>
                <c:pt idx="3216">
                  <c:v>44649</c:v>
                </c:pt>
                <c:pt idx="3217">
                  <c:v>44650</c:v>
                </c:pt>
                <c:pt idx="3218">
                  <c:v>44651</c:v>
                </c:pt>
                <c:pt idx="3219">
                  <c:v>44652</c:v>
                </c:pt>
                <c:pt idx="3220">
                  <c:v>44657</c:v>
                </c:pt>
                <c:pt idx="3221">
                  <c:v>44658</c:v>
                </c:pt>
                <c:pt idx="3222">
                  <c:v>44659</c:v>
                </c:pt>
              </c:numCache>
            </c:numRef>
          </c:cat>
          <c:val>
            <c:numRef>
              <c:f>turnover_牛熊!$D$2:$D$3224</c:f>
              <c:numCache>
                <c:formatCode>General</c:formatCode>
                <c:ptCount val="3223"/>
                <c:pt idx="0">
                  <c:v>999905.85199999996</c:v>
                </c:pt>
                <c:pt idx="1">
                  <c:v>1029825.852</c:v>
                </c:pt>
                <c:pt idx="2">
                  <c:v>1024015.852</c:v>
                </c:pt>
                <c:pt idx="3">
                  <c:v>1002420.852</c:v>
                </c:pt>
                <c:pt idx="4">
                  <c:v>1017610.852</c:v>
                </c:pt>
                <c:pt idx="5">
                  <c:v>1018770.852</c:v>
                </c:pt>
                <c:pt idx="6">
                  <c:v>996520.85199999996</c:v>
                </c:pt>
                <c:pt idx="7">
                  <c:v>1036045.852</c:v>
                </c:pt>
                <c:pt idx="8">
                  <c:v>1035860.852</c:v>
                </c:pt>
                <c:pt idx="9">
                  <c:v>1053530.852</c:v>
                </c:pt>
                <c:pt idx="10">
                  <c:v>1064660.852</c:v>
                </c:pt>
                <c:pt idx="11">
                  <c:v>1071020.852</c:v>
                </c:pt>
                <c:pt idx="12">
                  <c:v>1069280.852</c:v>
                </c:pt>
                <c:pt idx="13">
                  <c:v>1080700.852</c:v>
                </c:pt>
                <c:pt idx="14">
                  <c:v>1074765.852</c:v>
                </c:pt>
                <c:pt idx="15">
                  <c:v>1086955.852</c:v>
                </c:pt>
                <c:pt idx="16">
                  <c:v>1112880.852</c:v>
                </c:pt>
                <c:pt idx="17">
                  <c:v>1141630.852</c:v>
                </c:pt>
                <c:pt idx="18">
                  <c:v>1133910.852</c:v>
                </c:pt>
                <c:pt idx="19">
                  <c:v>1177065.852</c:v>
                </c:pt>
                <c:pt idx="20">
                  <c:v>1206760.852</c:v>
                </c:pt>
                <c:pt idx="21">
                  <c:v>1221805.852</c:v>
                </c:pt>
                <c:pt idx="22">
                  <c:v>1223995.852</c:v>
                </c:pt>
                <c:pt idx="23">
                  <c:v>1217595.852</c:v>
                </c:pt>
                <c:pt idx="24">
                  <c:v>1257960.852</c:v>
                </c:pt>
                <c:pt idx="25">
                  <c:v>1289550.852</c:v>
                </c:pt>
                <c:pt idx="26">
                  <c:v>1251070.852</c:v>
                </c:pt>
                <c:pt idx="27">
                  <c:v>1196345.852</c:v>
                </c:pt>
                <c:pt idx="28">
                  <c:v>1207630.852</c:v>
                </c:pt>
                <c:pt idx="29">
                  <c:v>1230585.852</c:v>
                </c:pt>
                <c:pt idx="30">
                  <c:v>1263665.852</c:v>
                </c:pt>
                <c:pt idx="31">
                  <c:v>1209350.852</c:v>
                </c:pt>
                <c:pt idx="32">
                  <c:v>1210550.852</c:v>
                </c:pt>
                <c:pt idx="33">
                  <c:v>1153520.852</c:v>
                </c:pt>
                <c:pt idx="34">
                  <c:v>1128670.852</c:v>
                </c:pt>
                <c:pt idx="35">
                  <c:v>1140760.852</c:v>
                </c:pt>
                <c:pt idx="36">
                  <c:v>1129500.852</c:v>
                </c:pt>
                <c:pt idx="37">
                  <c:v>1201000.852</c:v>
                </c:pt>
                <c:pt idx="38">
                  <c:v>1210885.852</c:v>
                </c:pt>
                <c:pt idx="39">
                  <c:v>1201715.852</c:v>
                </c:pt>
                <c:pt idx="40">
                  <c:v>1159690.852</c:v>
                </c:pt>
                <c:pt idx="41">
                  <c:v>1178815.852</c:v>
                </c:pt>
                <c:pt idx="42">
                  <c:v>1168615.852</c:v>
                </c:pt>
                <c:pt idx="43">
                  <c:v>1166275.852</c:v>
                </c:pt>
                <c:pt idx="44">
                  <c:v>1161135.852</c:v>
                </c:pt>
                <c:pt idx="45">
                  <c:v>1179230.852</c:v>
                </c:pt>
                <c:pt idx="46">
                  <c:v>1219625.852</c:v>
                </c:pt>
                <c:pt idx="47">
                  <c:v>1224750.852</c:v>
                </c:pt>
                <c:pt idx="48">
                  <c:v>1249705.852</c:v>
                </c:pt>
                <c:pt idx="49">
                  <c:v>1248345.852</c:v>
                </c:pt>
                <c:pt idx="50">
                  <c:v>1278125.852</c:v>
                </c:pt>
                <c:pt idx="51">
                  <c:v>1284315.852</c:v>
                </c:pt>
                <c:pt idx="52">
                  <c:v>1259090.852</c:v>
                </c:pt>
                <c:pt idx="53">
                  <c:v>1298320.852</c:v>
                </c:pt>
                <c:pt idx="54">
                  <c:v>1307890.852</c:v>
                </c:pt>
                <c:pt idx="55">
                  <c:v>1300670.852</c:v>
                </c:pt>
                <c:pt idx="56">
                  <c:v>1312320.852</c:v>
                </c:pt>
                <c:pt idx="57">
                  <c:v>1332535.852</c:v>
                </c:pt>
                <c:pt idx="58">
                  <c:v>1346625.852</c:v>
                </c:pt>
                <c:pt idx="59">
                  <c:v>1343675.852</c:v>
                </c:pt>
                <c:pt idx="60">
                  <c:v>1346900.852</c:v>
                </c:pt>
                <c:pt idx="61">
                  <c:v>1298100.852</c:v>
                </c:pt>
                <c:pt idx="62">
                  <c:v>1317260.852</c:v>
                </c:pt>
                <c:pt idx="63">
                  <c:v>1356190.852</c:v>
                </c:pt>
                <c:pt idx="64">
                  <c:v>1386685.852</c:v>
                </c:pt>
                <c:pt idx="65">
                  <c:v>1396860.852</c:v>
                </c:pt>
                <c:pt idx="66">
                  <c:v>1401920.852</c:v>
                </c:pt>
                <c:pt idx="67">
                  <c:v>1401980.852</c:v>
                </c:pt>
                <c:pt idx="68">
                  <c:v>1383770.852</c:v>
                </c:pt>
                <c:pt idx="69">
                  <c:v>1412260.852</c:v>
                </c:pt>
                <c:pt idx="70">
                  <c:v>1396145.852</c:v>
                </c:pt>
                <c:pt idx="71">
                  <c:v>1346565.852</c:v>
                </c:pt>
                <c:pt idx="72">
                  <c:v>1355205.852</c:v>
                </c:pt>
                <c:pt idx="73">
                  <c:v>1344870.852</c:v>
                </c:pt>
                <c:pt idx="74">
                  <c:v>1315070.852</c:v>
                </c:pt>
                <c:pt idx="75">
                  <c:v>1317690.852</c:v>
                </c:pt>
                <c:pt idx="76">
                  <c:v>1361110.852</c:v>
                </c:pt>
                <c:pt idx="77">
                  <c:v>1369890.852</c:v>
                </c:pt>
                <c:pt idx="78">
                  <c:v>1415575.852</c:v>
                </c:pt>
                <c:pt idx="79">
                  <c:v>1421930.852</c:v>
                </c:pt>
                <c:pt idx="80">
                  <c:v>1440915.852</c:v>
                </c:pt>
                <c:pt idx="81">
                  <c:v>1441965.852</c:v>
                </c:pt>
                <c:pt idx="82">
                  <c:v>1453035.852</c:v>
                </c:pt>
                <c:pt idx="83">
                  <c:v>1421085.852</c:v>
                </c:pt>
                <c:pt idx="84">
                  <c:v>1452705.852</c:v>
                </c:pt>
                <c:pt idx="85">
                  <c:v>1465430.852</c:v>
                </c:pt>
                <c:pt idx="86">
                  <c:v>1454725.852</c:v>
                </c:pt>
                <c:pt idx="87">
                  <c:v>1456485.852</c:v>
                </c:pt>
                <c:pt idx="88">
                  <c:v>1463710.852</c:v>
                </c:pt>
                <c:pt idx="89">
                  <c:v>1478465.852</c:v>
                </c:pt>
                <c:pt idx="90">
                  <c:v>1464860.852</c:v>
                </c:pt>
                <c:pt idx="91">
                  <c:v>1433430.852</c:v>
                </c:pt>
                <c:pt idx="92">
                  <c:v>1428765.852</c:v>
                </c:pt>
                <c:pt idx="93">
                  <c:v>1434785.852</c:v>
                </c:pt>
                <c:pt idx="94">
                  <c:v>1418305.852</c:v>
                </c:pt>
                <c:pt idx="95">
                  <c:v>1438280.852</c:v>
                </c:pt>
                <c:pt idx="96">
                  <c:v>1487452.9350000001</c:v>
                </c:pt>
                <c:pt idx="97">
                  <c:v>1487452.9350000001</c:v>
                </c:pt>
                <c:pt idx="98">
                  <c:v>1487452.9350000001</c:v>
                </c:pt>
                <c:pt idx="99">
                  <c:v>1487452.9350000001</c:v>
                </c:pt>
                <c:pt idx="100">
                  <c:v>1487452.9350000001</c:v>
                </c:pt>
                <c:pt idx="101">
                  <c:v>1487452.9350000001</c:v>
                </c:pt>
                <c:pt idx="102">
                  <c:v>1487452.9350000001</c:v>
                </c:pt>
                <c:pt idx="103">
                  <c:v>1487452.9350000001</c:v>
                </c:pt>
                <c:pt idx="104">
                  <c:v>1487452.9350000001</c:v>
                </c:pt>
                <c:pt idx="105">
                  <c:v>1487452.9350000001</c:v>
                </c:pt>
                <c:pt idx="106">
                  <c:v>1487452.9350000001</c:v>
                </c:pt>
                <c:pt idx="107">
                  <c:v>1487452.9350000001</c:v>
                </c:pt>
                <c:pt idx="108">
                  <c:v>1487452.9350000001</c:v>
                </c:pt>
                <c:pt idx="109">
                  <c:v>1487452.9350000001</c:v>
                </c:pt>
                <c:pt idx="110">
                  <c:v>1487452.9350000001</c:v>
                </c:pt>
                <c:pt idx="111">
                  <c:v>1487452.9350000001</c:v>
                </c:pt>
                <c:pt idx="112">
                  <c:v>1487452.9350000001</c:v>
                </c:pt>
                <c:pt idx="113">
                  <c:v>1487452.9350000001</c:v>
                </c:pt>
                <c:pt idx="114">
                  <c:v>1487452.9350000001</c:v>
                </c:pt>
                <c:pt idx="115">
                  <c:v>1487452.9350000001</c:v>
                </c:pt>
                <c:pt idx="116">
                  <c:v>1487452.9350000001</c:v>
                </c:pt>
                <c:pt idx="117">
                  <c:v>1487452.9350000001</c:v>
                </c:pt>
                <c:pt idx="118">
                  <c:v>1487452.9350000001</c:v>
                </c:pt>
                <c:pt idx="119">
                  <c:v>1487452.9350000001</c:v>
                </c:pt>
                <c:pt idx="120">
                  <c:v>1487452.9350000001</c:v>
                </c:pt>
                <c:pt idx="121">
                  <c:v>1487452.9350000001</c:v>
                </c:pt>
                <c:pt idx="122">
                  <c:v>1487452.9350000001</c:v>
                </c:pt>
                <c:pt idx="123">
                  <c:v>1487452.9350000001</c:v>
                </c:pt>
                <c:pt idx="124">
                  <c:v>1487452.9350000001</c:v>
                </c:pt>
                <c:pt idx="125">
                  <c:v>1487452.9350000001</c:v>
                </c:pt>
                <c:pt idx="126">
                  <c:v>1487452.9350000001</c:v>
                </c:pt>
                <c:pt idx="127">
                  <c:v>1487452.9350000001</c:v>
                </c:pt>
                <c:pt idx="128">
                  <c:v>1487452.9350000001</c:v>
                </c:pt>
                <c:pt idx="129">
                  <c:v>1487452.9350000001</c:v>
                </c:pt>
                <c:pt idx="130">
                  <c:v>1487452.9350000001</c:v>
                </c:pt>
                <c:pt idx="131">
                  <c:v>1487452.9350000001</c:v>
                </c:pt>
                <c:pt idx="132">
                  <c:v>1487452.9350000001</c:v>
                </c:pt>
                <c:pt idx="133">
                  <c:v>1487452.9350000001</c:v>
                </c:pt>
                <c:pt idx="134">
                  <c:v>1487452.9350000001</c:v>
                </c:pt>
                <c:pt idx="135">
                  <c:v>1487452.9350000001</c:v>
                </c:pt>
                <c:pt idx="136">
                  <c:v>1487452.9350000001</c:v>
                </c:pt>
                <c:pt idx="137">
                  <c:v>1487452.9350000001</c:v>
                </c:pt>
                <c:pt idx="138">
                  <c:v>1487452.9350000001</c:v>
                </c:pt>
                <c:pt idx="139">
                  <c:v>1487452.9350000001</c:v>
                </c:pt>
                <c:pt idx="140">
                  <c:v>1487452.9350000001</c:v>
                </c:pt>
                <c:pt idx="141">
                  <c:v>1487452.9350000001</c:v>
                </c:pt>
                <c:pt idx="142">
                  <c:v>1487452.9350000001</c:v>
                </c:pt>
                <c:pt idx="143">
                  <c:v>1487452.9350000001</c:v>
                </c:pt>
                <c:pt idx="144">
                  <c:v>1487452.9350000001</c:v>
                </c:pt>
                <c:pt idx="145">
                  <c:v>1487452.9350000001</c:v>
                </c:pt>
                <c:pt idx="146">
                  <c:v>1487452.9350000001</c:v>
                </c:pt>
                <c:pt idx="147">
                  <c:v>1487452.9350000001</c:v>
                </c:pt>
                <c:pt idx="148">
                  <c:v>1487452.9350000001</c:v>
                </c:pt>
                <c:pt idx="149">
                  <c:v>1487452.9350000001</c:v>
                </c:pt>
                <c:pt idx="150">
                  <c:v>1487452.9350000001</c:v>
                </c:pt>
                <c:pt idx="151">
                  <c:v>1487452.9350000001</c:v>
                </c:pt>
                <c:pt idx="152">
                  <c:v>1487452.9350000001</c:v>
                </c:pt>
                <c:pt idx="153">
                  <c:v>1487452.9350000001</c:v>
                </c:pt>
                <c:pt idx="154">
                  <c:v>1487452.9350000001</c:v>
                </c:pt>
                <c:pt idx="155">
                  <c:v>1487452.9350000001</c:v>
                </c:pt>
                <c:pt idx="156">
                  <c:v>1487452.9350000001</c:v>
                </c:pt>
                <c:pt idx="157">
                  <c:v>1487452.9350000001</c:v>
                </c:pt>
                <c:pt idx="158">
                  <c:v>1487452.9350000001</c:v>
                </c:pt>
                <c:pt idx="159">
                  <c:v>1487452.9350000001</c:v>
                </c:pt>
                <c:pt idx="160">
                  <c:v>1487452.9350000001</c:v>
                </c:pt>
                <c:pt idx="161">
                  <c:v>1487452.9350000001</c:v>
                </c:pt>
                <c:pt idx="162">
                  <c:v>1487452.9350000001</c:v>
                </c:pt>
                <c:pt idx="163">
                  <c:v>1487452.9350000001</c:v>
                </c:pt>
                <c:pt idx="164">
                  <c:v>1487452.9350000001</c:v>
                </c:pt>
                <c:pt idx="165">
                  <c:v>1487452.9350000001</c:v>
                </c:pt>
                <c:pt idx="166">
                  <c:v>1487452.9350000001</c:v>
                </c:pt>
                <c:pt idx="167">
                  <c:v>1487452.9350000001</c:v>
                </c:pt>
                <c:pt idx="168">
                  <c:v>1487452.9350000001</c:v>
                </c:pt>
                <c:pt idx="169">
                  <c:v>1487452.9350000001</c:v>
                </c:pt>
                <c:pt idx="170">
                  <c:v>1487452.9350000001</c:v>
                </c:pt>
                <c:pt idx="171">
                  <c:v>1487452.9350000001</c:v>
                </c:pt>
                <c:pt idx="172">
                  <c:v>1487452.9350000001</c:v>
                </c:pt>
                <c:pt idx="173">
                  <c:v>1487452.9350000001</c:v>
                </c:pt>
                <c:pt idx="174">
                  <c:v>1487452.9350000001</c:v>
                </c:pt>
                <c:pt idx="175">
                  <c:v>1487452.9350000001</c:v>
                </c:pt>
                <c:pt idx="176">
                  <c:v>1487452.9350000001</c:v>
                </c:pt>
                <c:pt idx="177">
                  <c:v>1487452.9350000001</c:v>
                </c:pt>
                <c:pt idx="178">
                  <c:v>1487452.9350000001</c:v>
                </c:pt>
                <c:pt idx="179">
                  <c:v>1487452.9350000001</c:v>
                </c:pt>
                <c:pt idx="180">
                  <c:v>1487452.9350000001</c:v>
                </c:pt>
                <c:pt idx="181">
                  <c:v>1487452.9350000001</c:v>
                </c:pt>
                <c:pt idx="182">
                  <c:v>1487452.9350000001</c:v>
                </c:pt>
                <c:pt idx="183">
                  <c:v>1487452.9350000001</c:v>
                </c:pt>
                <c:pt idx="184">
                  <c:v>1487452.9350000001</c:v>
                </c:pt>
                <c:pt idx="185">
                  <c:v>1487452.9350000001</c:v>
                </c:pt>
                <c:pt idx="186">
                  <c:v>1487452.9350000001</c:v>
                </c:pt>
                <c:pt idx="187">
                  <c:v>1487452.9350000001</c:v>
                </c:pt>
                <c:pt idx="188">
                  <c:v>1487452.9350000001</c:v>
                </c:pt>
                <c:pt idx="189">
                  <c:v>1487452.9350000001</c:v>
                </c:pt>
                <c:pt idx="190">
                  <c:v>1487452.9350000001</c:v>
                </c:pt>
                <c:pt idx="191">
                  <c:v>1487452.9350000001</c:v>
                </c:pt>
                <c:pt idx="192">
                  <c:v>1487452.9350000001</c:v>
                </c:pt>
                <c:pt idx="193">
                  <c:v>1487452.9350000001</c:v>
                </c:pt>
                <c:pt idx="194">
                  <c:v>1487452.9350000001</c:v>
                </c:pt>
                <c:pt idx="195">
                  <c:v>1487452.9350000001</c:v>
                </c:pt>
                <c:pt idx="196">
                  <c:v>1487452.9350000001</c:v>
                </c:pt>
                <c:pt idx="197">
                  <c:v>1487452.9350000001</c:v>
                </c:pt>
                <c:pt idx="198">
                  <c:v>1487452.9350000001</c:v>
                </c:pt>
                <c:pt idx="199">
                  <c:v>1487452.9350000001</c:v>
                </c:pt>
                <c:pt idx="200">
                  <c:v>1487452.9350000001</c:v>
                </c:pt>
                <c:pt idx="201">
                  <c:v>1487452.9350000001</c:v>
                </c:pt>
                <c:pt idx="202">
                  <c:v>1487452.9350000001</c:v>
                </c:pt>
                <c:pt idx="203">
                  <c:v>1487452.9350000001</c:v>
                </c:pt>
                <c:pt idx="204">
                  <c:v>1487452.9350000001</c:v>
                </c:pt>
                <c:pt idx="205">
                  <c:v>1487452.9350000001</c:v>
                </c:pt>
                <c:pt idx="206">
                  <c:v>1487452.9350000001</c:v>
                </c:pt>
                <c:pt idx="207">
                  <c:v>1487452.9350000001</c:v>
                </c:pt>
                <c:pt idx="208">
                  <c:v>1487452.9350000001</c:v>
                </c:pt>
                <c:pt idx="209">
                  <c:v>1487452.9350000001</c:v>
                </c:pt>
                <c:pt idx="210">
                  <c:v>1487452.9350000001</c:v>
                </c:pt>
                <c:pt idx="211">
                  <c:v>1487452.9350000001</c:v>
                </c:pt>
                <c:pt idx="212">
                  <c:v>1487452.9350000001</c:v>
                </c:pt>
                <c:pt idx="213">
                  <c:v>1487452.9350000001</c:v>
                </c:pt>
                <c:pt idx="214">
                  <c:v>1487452.9350000001</c:v>
                </c:pt>
                <c:pt idx="215">
                  <c:v>1487452.9350000001</c:v>
                </c:pt>
                <c:pt idx="216">
                  <c:v>1487452.9350000001</c:v>
                </c:pt>
                <c:pt idx="217">
                  <c:v>1487452.9350000001</c:v>
                </c:pt>
                <c:pt idx="218">
                  <c:v>1487452.9350000001</c:v>
                </c:pt>
                <c:pt idx="219">
                  <c:v>1487452.9350000001</c:v>
                </c:pt>
                <c:pt idx="220">
                  <c:v>1487452.9350000001</c:v>
                </c:pt>
                <c:pt idx="221">
                  <c:v>1487452.9350000001</c:v>
                </c:pt>
                <c:pt idx="222">
                  <c:v>1487452.9350000001</c:v>
                </c:pt>
                <c:pt idx="223">
                  <c:v>1487452.9350000001</c:v>
                </c:pt>
                <c:pt idx="224">
                  <c:v>1487452.9350000001</c:v>
                </c:pt>
                <c:pt idx="225">
                  <c:v>1487452.9350000001</c:v>
                </c:pt>
                <c:pt idx="226">
                  <c:v>1487452.9350000001</c:v>
                </c:pt>
                <c:pt idx="227">
                  <c:v>1487452.9350000001</c:v>
                </c:pt>
                <c:pt idx="228">
                  <c:v>1487452.9350000001</c:v>
                </c:pt>
                <c:pt idx="229">
                  <c:v>1487452.9350000001</c:v>
                </c:pt>
                <c:pt idx="230">
                  <c:v>1487452.9350000001</c:v>
                </c:pt>
                <c:pt idx="231">
                  <c:v>1487452.9350000001</c:v>
                </c:pt>
                <c:pt idx="232">
                  <c:v>1487452.9350000001</c:v>
                </c:pt>
                <c:pt idx="233">
                  <c:v>1487452.9350000001</c:v>
                </c:pt>
                <c:pt idx="234">
                  <c:v>1487452.9350000001</c:v>
                </c:pt>
                <c:pt idx="235">
                  <c:v>1487452.9350000001</c:v>
                </c:pt>
                <c:pt idx="236">
                  <c:v>1487452.9350000001</c:v>
                </c:pt>
                <c:pt idx="237">
                  <c:v>1487452.9350000001</c:v>
                </c:pt>
                <c:pt idx="238">
                  <c:v>1487452.9350000001</c:v>
                </c:pt>
                <c:pt idx="239">
                  <c:v>1487452.9350000001</c:v>
                </c:pt>
                <c:pt idx="240">
                  <c:v>1487452.9350000001</c:v>
                </c:pt>
                <c:pt idx="241">
                  <c:v>1487452.9350000001</c:v>
                </c:pt>
                <c:pt idx="242">
                  <c:v>1487452.9350000001</c:v>
                </c:pt>
                <c:pt idx="243">
                  <c:v>1487452.9350000001</c:v>
                </c:pt>
                <c:pt idx="244">
                  <c:v>1487452.9350000001</c:v>
                </c:pt>
                <c:pt idx="245">
                  <c:v>1487452.9350000001</c:v>
                </c:pt>
                <c:pt idx="246">
                  <c:v>1487452.9350000001</c:v>
                </c:pt>
                <c:pt idx="247">
                  <c:v>1487452.9350000001</c:v>
                </c:pt>
                <c:pt idx="248">
                  <c:v>1487452.9350000001</c:v>
                </c:pt>
                <c:pt idx="249">
                  <c:v>1487452.9350000001</c:v>
                </c:pt>
                <c:pt idx="250">
                  <c:v>1487452.9350000001</c:v>
                </c:pt>
                <c:pt idx="251">
                  <c:v>1487452.9350000001</c:v>
                </c:pt>
                <c:pt idx="252">
                  <c:v>1487452.9350000001</c:v>
                </c:pt>
                <c:pt idx="253">
                  <c:v>1487452.9350000001</c:v>
                </c:pt>
                <c:pt idx="254">
                  <c:v>1487452.9350000001</c:v>
                </c:pt>
                <c:pt idx="255">
                  <c:v>1487452.9350000001</c:v>
                </c:pt>
                <c:pt idx="256">
                  <c:v>1487452.9350000001</c:v>
                </c:pt>
                <c:pt idx="257">
                  <c:v>1487452.9350000001</c:v>
                </c:pt>
                <c:pt idx="258">
                  <c:v>1487452.9350000001</c:v>
                </c:pt>
                <c:pt idx="259">
                  <c:v>1487452.9350000001</c:v>
                </c:pt>
                <c:pt idx="260">
                  <c:v>1487452.9350000001</c:v>
                </c:pt>
                <c:pt idx="261">
                  <c:v>1487452.9350000001</c:v>
                </c:pt>
                <c:pt idx="262">
                  <c:v>1487452.9350000001</c:v>
                </c:pt>
                <c:pt idx="263">
                  <c:v>1487452.9350000001</c:v>
                </c:pt>
                <c:pt idx="264">
                  <c:v>1487452.9350000001</c:v>
                </c:pt>
                <c:pt idx="265">
                  <c:v>1487452.9350000001</c:v>
                </c:pt>
                <c:pt idx="266">
                  <c:v>1487452.9350000001</c:v>
                </c:pt>
                <c:pt idx="267">
                  <c:v>1487452.9350000001</c:v>
                </c:pt>
                <c:pt idx="268">
                  <c:v>1487452.9350000001</c:v>
                </c:pt>
                <c:pt idx="269">
                  <c:v>1487452.9350000001</c:v>
                </c:pt>
                <c:pt idx="270">
                  <c:v>1487452.9350000001</c:v>
                </c:pt>
                <c:pt idx="271">
                  <c:v>1487452.9350000001</c:v>
                </c:pt>
                <c:pt idx="272">
                  <c:v>1487452.9350000001</c:v>
                </c:pt>
                <c:pt idx="273">
                  <c:v>1487452.9350000001</c:v>
                </c:pt>
                <c:pt idx="274">
                  <c:v>1487323.601</c:v>
                </c:pt>
                <c:pt idx="275">
                  <c:v>1473435.601</c:v>
                </c:pt>
                <c:pt idx="276">
                  <c:v>1491775.601</c:v>
                </c:pt>
                <c:pt idx="277">
                  <c:v>1510835.601</c:v>
                </c:pt>
                <c:pt idx="278">
                  <c:v>1506651.601</c:v>
                </c:pt>
                <c:pt idx="279">
                  <c:v>1523618.6240000001</c:v>
                </c:pt>
                <c:pt idx="280">
                  <c:v>1523618.6240000001</c:v>
                </c:pt>
                <c:pt idx="281">
                  <c:v>1523618.6240000001</c:v>
                </c:pt>
                <c:pt idx="282">
                  <c:v>1523618.6240000001</c:v>
                </c:pt>
                <c:pt idx="283">
                  <c:v>1523618.6240000001</c:v>
                </c:pt>
                <c:pt idx="284">
                  <c:v>1523618.6240000001</c:v>
                </c:pt>
                <c:pt idx="285">
                  <c:v>1523618.6240000001</c:v>
                </c:pt>
                <c:pt idx="286">
                  <c:v>1523618.6240000001</c:v>
                </c:pt>
                <c:pt idx="287">
                  <c:v>1523618.6240000001</c:v>
                </c:pt>
                <c:pt idx="288">
                  <c:v>1523618.6240000001</c:v>
                </c:pt>
                <c:pt idx="289">
                  <c:v>1523618.6240000001</c:v>
                </c:pt>
                <c:pt idx="290">
                  <c:v>1523618.6240000001</c:v>
                </c:pt>
                <c:pt idx="291">
                  <c:v>1523618.6240000001</c:v>
                </c:pt>
                <c:pt idx="292">
                  <c:v>1523618.6240000001</c:v>
                </c:pt>
                <c:pt idx="293">
                  <c:v>1523618.6240000001</c:v>
                </c:pt>
                <c:pt idx="294">
                  <c:v>1523618.6240000001</c:v>
                </c:pt>
                <c:pt idx="295">
                  <c:v>1523618.6240000001</c:v>
                </c:pt>
                <c:pt idx="296">
                  <c:v>1523618.6240000001</c:v>
                </c:pt>
                <c:pt idx="297">
                  <c:v>1523618.6240000001</c:v>
                </c:pt>
                <c:pt idx="298">
                  <c:v>1523618.6240000001</c:v>
                </c:pt>
                <c:pt idx="299">
                  <c:v>1523618.6240000001</c:v>
                </c:pt>
                <c:pt idx="300">
                  <c:v>1523618.6240000001</c:v>
                </c:pt>
                <c:pt idx="301">
                  <c:v>1523618.6240000001</c:v>
                </c:pt>
                <c:pt idx="302">
                  <c:v>1523618.6240000001</c:v>
                </c:pt>
                <c:pt idx="303">
                  <c:v>1523618.6240000001</c:v>
                </c:pt>
                <c:pt idx="304">
                  <c:v>1523618.6240000001</c:v>
                </c:pt>
                <c:pt idx="305">
                  <c:v>1523618.6240000001</c:v>
                </c:pt>
                <c:pt idx="306">
                  <c:v>1523618.6240000001</c:v>
                </c:pt>
                <c:pt idx="307">
                  <c:v>1523618.6240000001</c:v>
                </c:pt>
                <c:pt idx="308">
                  <c:v>1523618.6240000001</c:v>
                </c:pt>
                <c:pt idx="309">
                  <c:v>1523618.6240000001</c:v>
                </c:pt>
                <c:pt idx="310">
                  <c:v>1523618.6240000001</c:v>
                </c:pt>
                <c:pt idx="311">
                  <c:v>1523618.6240000001</c:v>
                </c:pt>
                <c:pt idx="312">
                  <c:v>1523618.6240000001</c:v>
                </c:pt>
                <c:pt idx="313">
                  <c:v>1523618.6240000001</c:v>
                </c:pt>
                <c:pt idx="314">
                  <c:v>1523618.6240000001</c:v>
                </c:pt>
                <c:pt idx="315">
                  <c:v>1523618.6240000001</c:v>
                </c:pt>
                <c:pt idx="316">
                  <c:v>1523618.6240000001</c:v>
                </c:pt>
                <c:pt idx="317">
                  <c:v>1523618.6240000001</c:v>
                </c:pt>
                <c:pt idx="318">
                  <c:v>1523618.6240000001</c:v>
                </c:pt>
                <c:pt idx="319">
                  <c:v>1523618.6240000001</c:v>
                </c:pt>
                <c:pt idx="320">
                  <c:v>1523618.6240000001</c:v>
                </c:pt>
                <c:pt idx="321">
                  <c:v>1523618.6240000001</c:v>
                </c:pt>
                <c:pt idx="322">
                  <c:v>1523618.6240000001</c:v>
                </c:pt>
                <c:pt idx="323">
                  <c:v>1523618.6240000001</c:v>
                </c:pt>
                <c:pt idx="324">
                  <c:v>1523618.6240000001</c:v>
                </c:pt>
                <c:pt idx="325">
                  <c:v>1523618.6240000001</c:v>
                </c:pt>
                <c:pt idx="326">
                  <c:v>1523618.6240000001</c:v>
                </c:pt>
                <c:pt idx="327">
                  <c:v>1523618.6240000001</c:v>
                </c:pt>
                <c:pt idx="328">
                  <c:v>1523618.6240000001</c:v>
                </c:pt>
                <c:pt idx="329">
                  <c:v>1523618.6240000001</c:v>
                </c:pt>
                <c:pt idx="330">
                  <c:v>1523618.6240000001</c:v>
                </c:pt>
                <c:pt idx="331">
                  <c:v>1523618.6240000001</c:v>
                </c:pt>
                <c:pt idx="332">
                  <c:v>1523618.6240000001</c:v>
                </c:pt>
                <c:pt idx="333">
                  <c:v>1523618.6240000001</c:v>
                </c:pt>
                <c:pt idx="334">
                  <c:v>1523618.6240000001</c:v>
                </c:pt>
                <c:pt idx="335">
                  <c:v>1523618.6240000001</c:v>
                </c:pt>
                <c:pt idx="336">
                  <c:v>1523618.6240000001</c:v>
                </c:pt>
                <c:pt idx="337">
                  <c:v>1523618.6240000001</c:v>
                </c:pt>
                <c:pt idx="338">
                  <c:v>1523618.6240000001</c:v>
                </c:pt>
                <c:pt idx="339">
                  <c:v>1523618.6240000001</c:v>
                </c:pt>
                <c:pt idx="340">
                  <c:v>1523618.6240000001</c:v>
                </c:pt>
                <c:pt idx="341">
                  <c:v>1523618.6240000001</c:v>
                </c:pt>
                <c:pt idx="342">
                  <c:v>1523618.6240000001</c:v>
                </c:pt>
                <c:pt idx="343">
                  <c:v>1523618.6240000001</c:v>
                </c:pt>
                <c:pt idx="344">
                  <c:v>1523618.6240000001</c:v>
                </c:pt>
                <c:pt idx="345">
                  <c:v>1523618.6240000001</c:v>
                </c:pt>
                <c:pt idx="346">
                  <c:v>1523618.6240000001</c:v>
                </c:pt>
                <c:pt idx="347">
                  <c:v>1523618.6240000001</c:v>
                </c:pt>
                <c:pt idx="348">
                  <c:v>1523618.6240000001</c:v>
                </c:pt>
                <c:pt idx="349">
                  <c:v>1523618.6240000001</c:v>
                </c:pt>
                <c:pt idx="350">
                  <c:v>1523618.6240000001</c:v>
                </c:pt>
                <c:pt idx="351">
                  <c:v>1523618.6240000001</c:v>
                </c:pt>
                <c:pt idx="352">
                  <c:v>1523618.6240000001</c:v>
                </c:pt>
                <c:pt idx="353">
                  <c:v>1523618.6240000001</c:v>
                </c:pt>
                <c:pt idx="354">
                  <c:v>1523618.6240000001</c:v>
                </c:pt>
                <c:pt idx="355">
                  <c:v>1523618.6240000001</c:v>
                </c:pt>
                <c:pt idx="356">
                  <c:v>1523618.6240000001</c:v>
                </c:pt>
                <c:pt idx="357">
                  <c:v>1523618.6240000001</c:v>
                </c:pt>
                <c:pt idx="358">
                  <c:v>1523618.6240000001</c:v>
                </c:pt>
                <c:pt idx="359">
                  <c:v>1523618.6240000001</c:v>
                </c:pt>
                <c:pt idx="360">
                  <c:v>1523618.6240000001</c:v>
                </c:pt>
                <c:pt idx="361">
                  <c:v>1523618.6240000001</c:v>
                </c:pt>
                <c:pt idx="362">
                  <c:v>1523618.6240000001</c:v>
                </c:pt>
                <c:pt idx="363">
                  <c:v>1523618.6240000001</c:v>
                </c:pt>
                <c:pt idx="364">
                  <c:v>1523618.6240000001</c:v>
                </c:pt>
                <c:pt idx="365">
                  <c:v>1523618.6240000001</c:v>
                </c:pt>
                <c:pt idx="366">
                  <c:v>1523618.6240000001</c:v>
                </c:pt>
                <c:pt idx="367">
                  <c:v>1523618.6240000001</c:v>
                </c:pt>
                <c:pt idx="368">
                  <c:v>1523618.6240000001</c:v>
                </c:pt>
                <c:pt idx="369">
                  <c:v>1523618.6240000001</c:v>
                </c:pt>
                <c:pt idx="370">
                  <c:v>1523618.6240000001</c:v>
                </c:pt>
                <c:pt idx="371">
                  <c:v>1523618.6240000001</c:v>
                </c:pt>
                <c:pt idx="372">
                  <c:v>1523618.6240000001</c:v>
                </c:pt>
                <c:pt idx="373">
                  <c:v>1523618.6240000001</c:v>
                </c:pt>
                <c:pt idx="374">
                  <c:v>1523618.6240000001</c:v>
                </c:pt>
                <c:pt idx="375">
                  <c:v>1523618.6240000001</c:v>
                </c:pt>
                <c:pt idx="376">
                  <c:v>1523618.6240000001</c:v>
                </c:pt>
                <c:pt idx="377">
                  <c:v>1523618.6240000001</c:v>
                </c:pt>
                <c:pt idx="378">
                  <c:v>1523618.6240000001</c:v>
                </c:pt>
                <c:pt idx="379">
                  <c:v>1523618.6240000001</c:v>
                </c:pt>
                <c:pt idx="380">
                  <c:v>1523618.6240000001</c:v>
                </c:pt>
                <c:pt idx="381">
                  <c:v>1523618.6240000001</c:v>
                </c:pt>
                <c:pt idx="382">
                  <c:v>1523618.6240000001</c:v>
                </c:pt>
                <c:pt idx="383">
                  <c:v>1523618.6240000001</c:v>
                </c:pt>
                <c:pt idx="384">
                  <c:v>1523618.6240000001</c:v>
                </c:pt>
                <c:pt idx="385">
                  <c:v>1523618.6240000001</c:v>
                </c:pt>
                <c:pt idx="386">
                  <c:v>1523618.6240000001</c:v>
                </c:pt>
                <c:pt idx="387">
                  <c:v>1523618.6240000001</c:v>
                </c:pt>
                <c:pt idx="388">
                  <c:v>1523618.6240000001</c:v>
                </c:pt>
                <c:pt idx="389">
                  <c:v>1523618.6240000001</c:v>
                </c:pt>
                <c:pt idx="390">
                  <c:v>1523618.6240000001</c:v>
                </c:pt>
                <c:pt idx="391">
                  <c:v>1523618.6240000001</c:v>
                </c:pt>
                <c:pt idx="392">
                  <c:v>1523618.6240000001</c:v>
                </c:pt>
                <c:pt idx="393">
                  <c:v>1523475.8470000001</c:v>
                </c:pt>
                <c:pt idx="394">
                  <c:v>1556740.8470000001</c:v>
                </c:pt>
                <c:pt idx="395">
                  <c:v>1566845.8470000001</c:v>
                </c:pt>
                <c:pt idx="396">
                  <c:v>1564380.8470000001</c:v>
                </c:pt>
                <c:pt idx="397">
                  <c:v>1573400.8470000001</c:v>
                </c:pt>
                <c:pt idx="398">
                  <c:v>1544865.8470000001</c:v>
                </c:pt>
                <c:pt idx="399">
                  <c:v>1543795.8470000001</c:v>
                </c:pt>
                <c:pt idx="400">
                  <c:v>1551615.8470000001</c:v>
                </c:pt>
                <c:pt idx="401">
                  <c:v>1517210.8470000001</c:v>
                </c:pt>
                <c:pt idx="402">
                  <c:v>1520745.8470000001</c:v>
                </c:pt>
                <c:pt idx="403">
                  <c:v>1524985.8470000001</c:v>
                </c:pt>
                <c:pt idx="404">
                  <c:v>1553205.8470000001</c:v>
                </c:pt>
                <c:pt idx="405">
                  <c:v>1547295.8470000001</c:v>
                </c:pt>
                <c:pt idx="406">
                  <c:v>1537720.8470000001</c:v>
                </c:pt>
                <c:pt idx="407">
                  <c:v>1556395.8470000001</c:v>
                </c:pt>
                <c:pt idx="408">
                  <c:v>1555805.8470000001</c:v>
                </c:pt>
                <c:pt idx="409">
                  <c:v>1583245.8470000001</c:v>
                </c:pt>
                <c:pt idx="410">
                  <c:v>1587255.8470000001</c:v>
                </c:pt>
                <c:pt idx="411">
                  <c:v>1586185.8470000001</c:v>
                </c:pt>
                <c:pt idx="412">
                  <c:v>1558930.8470000001</c:v>
                </c:pt>
                <c:pt idx="413">
                  <c:v>1561975.8470000001</c:v>
                </c:pt>
                <c:pt idx="414">
                  <c:v>1576860.8470000001</c:v>
                </c:pt>
                <c:pt idx="415">
                  <c:v>1578205.8470000001</c:v>
                </c:pt>
                <c:pt idx="416">
                  <c:v>1552295.8470000001</c:v>
                </c:pt>
                <c:pt idx="417">
                  <c:v>1524595.8470000001</c:v>
                </c:pt>
                <c:pt idx="418">
                  <c:v>1526385.8470000001</c:v>
                </c:pt>
                <c:pt idx="419">
                  <c:v>1520615.8470000001</c:v>
                </c:pt>
                <c:pt idx="420">
                  <c:v>1524440.8470000001</c:v>
                </c:pt>
                <c:pt idx="421">
                  <c:v>1548215.8470000001</c:v>
                </c:pt>
                <c:pt idx="422">
                  <c:v>1536155.8470000001</c:v>
                </c:pt>
                <c:pt idx="423">
                  <c:v>1533105.8470000001</c:v>
                </c:pt>
                <c:pt idx="424">
                  <c:v>1563485.8470000001</c:v>
                </c:pt>
                <c:pt idx="425">
                  <c:v>1617815.8470000001</c:v>
                </c:pt>
                <c:pt idx="426">
                  <c:v>1662150.8470000001</c:v>
                </c:pt>
                <c:pt idx="427">
                  <c:v>1682065.8470000001</c:v>
                </c:pt>
                <c:pt idx="428">
                  <c:v>1704490.8470000001</c:v>
                </c:pt>
                <c:pt idx="429">
                  <c:v>1707770.8470000001</c:v>
                </c:pt>
                <c:pt idx="430">
                  <c:v>1759540.8470000001</c:v>
                </c:pt>
                <c:pt idx="431">
                  <c:v>1748780.8470000001</c:v>
                </c:pt>
                <c:pt idx="432">
                  <c:v>1783535.8470000001</c:v>
                </c:pt>
                <c:pt idx="433">
                  <c:v>1794140.8470000001</c:v>
                </c:pt>
                <c:pt idx="434">
                  <c:v>1783045.8470000001</c:v>
                </c:pt>
                <c:pt idx="435">
                  <c:v>1785030.8470000001</c:v>
                </c:pt>
                <c:pt idx="436">
                  <c:v>1836240.8470000001</c:v>
                </c:pt>
                <c:pt idx="437">
                  <c:v>1828740.8470000001</c:v>
                </c:pt>
                <c:pt idx="438">
                  <c:v>1797635.8470000001</c:v>
                </c:pt>
                <c:pt idx="439">
                  <c:v>1794545.8470000001</c:v>
                </c:pt>
                <c:pt idx="440">
                  <c:v>1785690.8470000001</c:v>
                </c:pt>
                <c:pt idx="441">
                  <c:v>1832200.8470000001</c:v>
                </c:pt>
                <c:pt idx="442">
                  <c:v>1827265.8470000001</c:v>
                </c:pt>
                <c:pt idx="443">
                  <c:v>1805870.8470000001</c:v>
                </c:pt>
                <c:pt idx="444">
                  <c:v>1835955.8470000001</c:v>
                </c:pt>
                <c:pt idx="445">
                  <c:v>1856100.8470000001</c:v>
                </c:pt>
                <c:pt idx="446">
                  <c:v>1869985.8470000001</c:v>
                </c:pt>
                <c:pt idx="447">
                  <c:v>1857675.8470000001</c:v>
                </c:pt>
                <c:pt idx="448">
                  <c:v>1845080.8910000001</c:v>
                </c:pt>
                <c:pt idx="449">
                  <c:v>1845080.8910000001</c:v>
                </c:pt>
                <c:pt idx="450">
                  <c:v>1845080.8910000001</c:v>
                </c:pt>
                <c:pt idx="451">
                  <c:v>1845080.8910000001</c:v>
                </c:pt>
                <c:pt idx="452">
                  <c:v>1845080.8910000001</c:v>
                </c:pt>
                <c:pt idx="453">
                  <c:v>1845080.8910000001</c:v>
                </c:pt>
                <c:pt idx="454">
                  <c:v>1845080.8910000001</c:v>
                </c:pt>
                <c:pt idx="455">
                  <c:v>1845080.8910000001</c:v>
                </c:pt>
                <c:pt idx="456">
                  <c:v>1845080.8910000001</c:v>
                </c:pt>
                <c:pt idx="457">
                  <c:v>1845080.8910000001</c:v>
                </c:pt>
                <c:pt idx="458">
                  <c:v>1845080.8910000001</c:v>
                </c:pt>
                <c:pt idx="459">
                  <c:v>1845080.8910000001</c:v>
                </c:pt>
                <c:pt idx="460">
                  <c:v>1845080.8910000001</c:v>
                </c:pt>
                <c:pt idx="461">
                  <c:v>1845080.8910000001</c:v>
                </c:pt>
                <c:pt idx="462">
                  <c:v>1845080.8910000001</c:v>
                </c:pt>
                <c:pt idx="463">
                  <c:v>1845080.8910000001</c:v>
                </c:pt>
                <c:pt idx="464">
                  <c:v>1845080.8910000001</c:v>
                </c:pt>
                <c:pt idx="465">
                  <c:v>1845080.8910000001</c:v>
                </c:pt>
                <c:pt idx="466">
                  <c:v>1845080.8910000001</c:v>
                </c:pt>
                <c:pt idx="467">
                  <c:v>1844920.8740000001</c:v>
                </c:pt>
                <c:pt idx="468">
                  <c:v>1830690.8740000001</c:v>
                </c:pt>
                <c:pt idx="469">
                  <c:v>1806435.8740000001</c:v>
                </c:pt>
                <c:pt idx="470">
                  <c:v>1825740.8740000001</c:v>
                </c:pt>
                <c:pt idx="471">
                  <c:v>1875280.8740000001</c:v>
                </c:pt>
                <c:pt idx="472">
                  <c:v>1879485.8740000001</c:v>
                </c:pt>
                <c:pt idx="473">
                  <c:v>1868408.4920000001</c:v>
                </c:pt>
                <c:pt idx="474">
                  <c:v>1868408.4920000001</c:v>
                </c:pt>
                <c:pt idx="475">
                  <c:v>1868408.4920000001</c:v>
                </c:pt>
                <c:pt idx="476">
                  <c:v>1868408.4920000001</c:v>
                </c:pt>
                <c:pt idx="477">
                  <c:v>1868408.4920000001</c:v>
                </c:pt>
                <c:pt idx="478">
                  <c:v>1868408.4920000001</c:v>
                </c:pt>
                <c:pt idx="479">
                  <c:v>1868408.4920000001</c:v>
                </c:pt>
                <c:pt idx="480">
                  <c:v>1868408.4920000001</c:v>
                </c:pt>
                <c:pt idx="481">
                  <c:v>1868408.4920000001</c:v>
                </c:pt>
                <c:pt idx="482">
                  <c:v>1868408.4920000001</c:v>
                </c:pt>
                <c:pt idx="483">
                  <c:v>1868408.4920000001</c:v>
                </c:pt>
                <c:pt idx="484">
                  <c:v>1868408.4920000001</c:v>
                </c:pt>
                <c:pt idx="485">
                  <c:v>1868408.4920000001</c:v>
                </c:pt>
                <c:pt idx="486">
                  <c:v>1868408.4920000001</c:v>
                </c:pt>
                <c:pt idx="487">
                  <c:v>1868408.4920000001</c:v>
                </c:pt>
                <c:pt idx="488">
                  <c:v>1868408.4920000001</c:v>
                </c:pt>
                <c:pt idx="489">
                  <c:v>1868408.4920000001</c:v>
                </c:pt>
                <c:pt idx="490">
                  <c:v>1868408.4920000001</c:v>
                </c:pt>
                <c:pt idx="491">
                  <c:v>1868408.4920000001</c:v>
                </c:pt>
                <c:pt idx="492">
                  <c:v>1868408.4920000001</c:v>
                </c:pt>
                <c:pt idx="493">
                  <c:v>1868408.4920000001</c:v>
                </c:pt>
                <c:pt idx="494">
                  <c:v>1868408.4920000001</c:v>
                </c:pt>
                <c:pt idx="495">
                  <c:v>1868230.031</c:v>
                </c:pt>
                <c:pt idx="496">
                  <c:v>1870210.031</c:v>
                </c:pt>
                <c:pt idx="497">
                  <c:v>1910530.031</c:v>
                </c:pt>
                <c:pt idx="498">
                  <c:v>1850446.031</c:v>
                </c:pt>
                <c:pt idx="499">
                  <c:v>1873696.031</c:v>
                </c:pt>
                <c:pt idx="500">
                  <c:v>1856158.031</c:v>
                </c:pt>
                <c:pt idx="501">
                  <c:v>1846810.031</c:v>
                </c:pt>
                <c:pt idx="502">
                  <c:v>1870678.031</c:v>
                </c:pt>
                <c:pt idx="503">
                  <c:v>1899502.031</c:v>
                </c:pt>
                <c:pt idx="504">
                  <c:v>1905664.031</c:v>
                </c:pt>
                <c:pt idx="505">
                  <c:v>1929526.031</c:v>
                </c:pt>
                <c:pt idx="506">
                  <c:v>1929988.031</c:v>
                </c:pt>
                <c:pt idx="507">
                  <c:v>1908190.031</c:v>
                </c:pt>
                <c:pt idx="508">
                  <c:v>1946116.031</c:v>
                </c:pt>
                <c:pt idx="509">
                  <c:v>1956196.031</c:v>
                </c:pt>
                <c:pt idx="510">
                  <c:v>2015104.031</c:v>
                </c:pt>
                <c:pt idx="511">
                  <c:v>2014222.031</c:v>
                </c:pt>
                <c:pt idx="512">
                  <c:v>2032738.031</c:v>
                </c:pt>
                <c:pt idx="513">
                  <c:v>2031166.031</c:v>
                </c:pt>
                <c:pt idx="514">
                  <c:v>2010748.031</c:v>
                </c:pt>
                <c:pt idx="515">
                  <c:v>2038366.031</c:v>
                </c:pt>
                <c:pt idx="516">
                  <c:v>1981768.031</c:v>
                </c:pt>
                <c:pt idx="517">
                  <c:v>1988464.031</c:v>
                </c:pt>
                <c:pt idx="518">
                  <c:v>1998184.031</c:v>
                </c:pt>
                <c:pt idx="519">
                  <c:v>2002192.031</c:v>
                </c:pt>
                <c:pt idx="520">
                  <c:v>2027356.031</c:v>
                </c:pt>
                <c:pt idx="521">
                  <c:v>2036554.031</c:v>
                </c:pt>
                <c:pt idx="522">
                  <c:v>2029600.031</c:v>
                </c:pt>
                <c:pt idx="523">
                  <c:v>2016652.031</c:v>
                </c:pt>
                <c:pt idx="524">
                  <c:v>2046022.031</c:v>
                </c:pt>
                <c:pt idx="525">
                  <c:v>2084326.031</c:v>
                </c:pt>
                <c:pt idx="526">
                  <c:v>2086096.031</c:v>
                </c:pt>
                <c:pt idx="527">
                  <c:v>2086936.031</c:v>
                </c:pt>
                <c:pt idx="528">
                  <c:v>2051776.031</c:v>
                </c:pt>
                <c:pt idx="529">
                  <c:v>2032048.031</c:v>
                </c:pt>
                <c:pt idx="530">
                  <c:v>2041372.031</c:v>
                </c:pt>
                <c:pt idx="531">
                  <c:v>2005996.031</c:v>
                </c:pt>
                <c:pt idx="532">
                  <c:v>2032540.031</c:v>
                </c:pt>
                <c:pt idx="533">
                  <c:v>2001880.031</c:v>
                </c:pt>
                <c:pt idx="534">
                  <c:v>2013034.031</c:v>
                </c:pt>
                <c:pt idx="535">
                  <c:v>2007886.031</c:v>
                </c:pt>
                <c:pt idx="536">
                  <c:v>2017396.031</c:v>
                </c:pt>
                <c:pt idx="537">
                  <c:v>2042578.031</c:v>
                </c:pt>
                <c:pt idx="538">
                  <c:v>2034436.031</c:v>
                </c:pt>
                <c:pt idx="539">
                  <c:v>2060308.031</c:v>
                </c:pt>
                <c:pt idx="540">
                  <c:v>2057962.031</c:v>
                </c:pt>
                <c:pt idx="541">
                  <c:v>2038408.031</c:v>
                </c:pt>
                <c:pt idx="542">
                  <c:v>2037268.031</c:v>
                </c:pt>
                <c:pt idx="543">
                  <c:v>2017594.031</c:v>
                </c:pt>
                <c:pt idx="544">
                  <c:v>2047258.031</c:v>
                </c:pt>
                <c:pt idx="545">
                  <c:v>2070262.031</c:v>
                </c:pt>
                <c:pt idx="546">
                  <c:v>2078272.031</c:v>
                </c:pt>
                <c:pt idx="547">
                  <c:v>2095434.83</c:v>
                </c:pt>
                <c:pt idx="548">
                  <c:v>2095434.83</c:v>
                </c:pt>
                <c:pt idx="549">
                  <c:v>2095434.83</c:v>
                </c:pt>
                <c:pt idx="550">
                  <c:v>2095434.83</c:v>
                </c:pt>
                <c:pt idx="551">
                  <c:v>2095434.83</c:v>
                </c:pt>
                <c:pt idx="552">
                  <c:v>2095434.83</c:v>
                </c:pt>
                <c:pt idx="553">
                  <c:v>2095434.83</c:v>
                </c:pt>
                <c:pt idx="554">
                  <c:v>2095434.83</c:v>
                </c:pt>
                <c:pt idx="555">
                  <c:v>2095434.83</c:v>
                </c:pt>
                <c:pt idx="556">
                  <c:v>2095434.83</c:v>
                </c:pt>
                <c:pt idx="557">
                  <c:v>2095434.83</c:v>
                </c:pt>
                <c:pt idx="558">
                  <c:v>2095434.83</c:v>
                </c:pt>
                <c:pt idx="559">
                  <c:v>2095434.83</c:v>
                </c:pt>
                <c:pt idx="560">
                  <c:v>2095434.83</c:v>
                </c:pt>
                <c:pt idx="561">
                  <c:v>2095434.83</c:v>
                </c:pt>
                <c:pt idx="562">
                  <c:v>2095434.83</c:v>
                </c:pt>
                <c:pt idx="563">
                  <c:v>2095434.83</c:v>
                </c:pt>
                <c:pt idx="564">
                  <c:v>2095434.83</c:v>
                </c:pt>
                <c:pt idx="565">
                  <c:v>2095434.83</c:v>
                </c:pt>
                <c:pt idx="566">
                  <c:v>2095434.83</c:v>
                </c:pt>
                <c:pt idx="567">
                  <c:v>2095434.83</c:v>
                </c:pt>
                <c:pt idx="568">
                  <c:v>2095434.83</c:v>
                </c:pt>
                <c:pt idx="569">
                  <c:v>2095434.83</c:v>
                </c:pt>
                <c:pt idx="570">
                  <c:v>2095434.83</c:v>
                </c:pt>
                <c:pt idx="571">
                  <c:v>2095434.83</c:v>
                </c:pt>
                <c:pt idx="572">
                  <c:v>2095434.83</c:v>
                </c:pt>
                <c:pt idx="573">
                  <c:v>2095434.83</c:v>
                </c:pt>
                <c:pt idx="574">
                  <c:v>2095434.83</c:v>
                </c:pt>
                <c:pt idx="575">
                  <c:v>2095434.83</c:v>
                </c:pt>
                <c:pt idx="576">
                  <c:v>2095247.534</c:v>
                </c:pt>
                <c:pt idx="577">
                  <c:v>2036075.534</c:v>
                </c:pt>
                <c:pt idx="578">
                  <c:v>2038019.534</c:v>
                </c:pt>
                <c:pt idx="579">
                  <c:v>2016491.534</c:v>
                </c:pt>
                <c:pt idx="580">
                  <c:v>2009315.534</c:v>
                </c:pt>
                <c:pt idx="581">
                  <c:v>2000273.534</c:v>
                </c:pt>
                <c:pt idx="582">
                  <c:v>1994993.534</c:v>
                </c:pt>
                <c:pt idx="583">
                  <c:v>2023223.534</c:v>
                </c:pt>
                <c:pt idx="584">
                  <c:v>2024789.534</c:v>
                </c:pt>
                <c:pt idx="585">
                  <c:v>1995713.534</c:v>
                </c:pt>
                <c:pt idx="586">
                  <c:v>2014097.534</c:v>
                </c:pt>
                <c:pt idx="587">
                  <c:v>2024843.534</c:v>
                </c:pt>
                <c:pt idx="588">
                  <c:v>2027477.534</c:v>
                </c:pt>
                <c:pt idx="589">
                  <c:v>1993421.534</c:v>
                </c:pt>
                <c:pt idx="590">
                  <c:v>1999445.534</c:v>
                </c:pt>
                <c:pt idx="591">
                  <c:v>1992497.534</c:v>
                </c:pt>
                <c:pt idx="592">
                  <c:v>2018423.534</c:v>
                </c:pt>
                <c:pt idx="593">
                  <c:v>2000159.534</c:v>
                </c:pt>
                <c:pt idx="594">
                  <c:v>1972835.534</c:v>
                </c:pt>
                <c:pt idx="595">
                  <c:v>1957583.534</c:v>
                </c:pt>
                <c:pt idx="596">
                  <c:v>1947227.534</c:v>
                </c:pt>
                <c:pt idx="597">
                  <c:v>1967729.534</c:v>
                </c:pt>
                <c:pt idx="598">
                  <c:v>1967435.534</c:v>
                </c:pt>
                <c:pt idx="599">
                  <c:v>1996865.534</c:v>
                </c:pt>
                <c:pt idx="600">
                  <c:v>2038769.534</c:v>
                </c:pt>
                <c:pt idx="601">
                  <c:v>2044181.534</c:v>
                </c:pt>
                <c:pt idx="602">
                  <c:v>2047325.534</c:v>
                </c:pt>
                <c:pt idx="603">
                  <c:v>2022389.534</c:v>
                </c:pt>
                <c:pt idx="604">
                  <c:v>2048741.534</c:v>
                </c:pt>
                <c:pt idx="605">
                  <c:v>2052137.534</c:v>
                </c:pt>
                <c:pt idx="606">
                  <c:v>2095475.534</c:v>
                </c:pt>
                <c:pt idx="607">
                  <c:v>2095787.534</c:v>
                </c:pt>
                <c:pt idx="608">
                  <c:v>2090513.534</c:v>
                </c:pt>
                <c:pt idx="609">
                  <c:v>2083295.534</c:v>
                </c:pt>
                <c:pt idx="610">
                  <c:v>2087795.534</c:v>
                </c:pt>
                <c:pt idx="611">
                  <c:v>2090213.534</c:v>
                </c:pt>
                <c:pt idx="612">
                  <c:v>2056433.534</c:v>
                </c:pt>
                <c:pt idx="613">
                  <c:v>2086037.534</c:v>
                </c:pt>
                <c:pt idx="614">
                  <c:v>2091737.534</c:v>
                </c:pt>
                <c:pt idx="615">
                  <c:v>2099621.534</c:v>
                </c:pt>
                <c:pt idx="616">
                  <c:v>2095847.534</c:v>
                </c:pt>
                <c:pt idx="617">
                  <c:v>2079179.8259999999</c:v>
                </c:pt>
                <c:pt idx="618">
                  <c:v>2079179.8259999999</c:v>
                </c:pt>
                <c:pt idx="619">
                  <c:v>2079179.8259999999</c:v>
                </c:pt>
                <c:pt idx="620">
                  <c:v>2079179.8259999999</c:v>
                </c:pt>
                <c:pt idx="621">
                  <c:v>2079179.8259999999</c:v>
                </c:pt>
                <c:pt idx="622">
                  <c:v>2079179.8259999999</c:v>
                </c:pt>
                <c:pt idx="623">
                  <c:v>2079179.8259999999</c:v>
                </c:pt>
                <c:pt idx="624">
                  <c:v>2079179.8259999999</c:v>
                </c:pt>
                <c:pt idx="625">
                  <c:v>2079179.8259999999</c:v>
                </c:pt>
                <c:pt idx="626">
                  <c:v>2079179.8259999999</c:v>
                </c:pt>
                <c:pt idx="627">
                  <c:v>2079179.8259999999</c:v>
                </c:pt>
                <c:pt idx="628">
                  <c:v>2079179.8259999999</c:v>
                </c:pt>
                <c:pt idx="629">
                  <c:v>2079179.8259999999</c:v>
                </c:pt>
                <c:pt idx="630">
                  <c:v>2079179.8259999999</c:v>
                </c:pt>
                <c:pt idx="631">
                  <c:v>2079179.8259999999</c:v>
                </c:pt>
                <c:pt idx="632">
                  <c:v>2079179.8259999999</c:v>
                </c:pt>
                <c:pt idx="633">
                  <c:v>2079179.8259999999</c:v>
                </c:pt>
                <c:pt idx="634">
                  <c:v>2079179.8259999999</c:v>
                </c:pt>
                <c:pt idx="635">
                  <c:v>2079179.8259999999</c:v>
                </c:pt>
                <c:pt idx="636">
                  <c:v>2079179.8259999999</c:v>
                </c:pt>
                <c:pt idx="637">
                  <c:v>2079179.8259999999</c:v>
                </c:pt>
                <c:pt idx="638">
                  <c:v>2079179.8259999999</c:v>
                </c:pt>
                <c:pt idx="639">
                  <c:v>2079179.8259999999</c:v>
                </c:pt>
                <c:pt idx="640">
                  <c:v>2079179.8259999999</c:v>
                </c:pt>
                <c:pt idx="641">
                  <c:v>2079179.8259999999</c:v>
                </c:pt>
                <c:pt idx="642">
                  <c:v>2079179.8259999999</c:v>
                </c:pt>
                <c:pt idx="643">
                  <c:v>2079179.8259999999</c:v>
                </c:pt>
                <c:pt idx="644">
                  <c:v>2079179.8259999999</c:v>
                </c:pt>
                <c:pt idx="645">
                  <c:v>2079179.8259999999</c:v>
                </c:pt>
                <c:pt idx="646">
                  <c:v>2079179.8259999999</c:v>
                </c:pt>
                <c:pt idx="647">
                  <c:v>2079179.8259999999</c:v>
                </c:pt>
                <c:pt idx="648">
                  <c:v>2079179.8259999999</c:v>
                </c:pt>
                <c:pt idx="649">
                  <c:v>2079179.8259999999</c:v>
                </c:pt>
                <c:pt idx="650">
                  <c:v>2079179.8259999999</c:v>
                </c:pt>
                <c:pt idx="651">
                  <c:v>2079179.8259999999</c:v>
                </c:pt>
                <c:pt idx="652">
                  <c:v>2079179.8259999999</c:v>
                </c:pt>
                <c:pt idx="653">
                  <c:v>2079179.8259999999</c:v>
                </c:pt>
                <c:pt idx="654">
                  <c:v>2079179.8259999999</c:v>
                </c:pt>
                <c:pt idx="655">
                  <c:v>2079179.8259999999</c:v>
                </c:pt>
                <c:pt idx="656">
                  <c:v>2079179.8259999999</c:v>
                </c:pt>
                <c:pt idx="657">
                  <c:v>2078988.5079999999</c:v>
                </c:pt>
                <c:pt idx="658">
                  <c:v>2076146.5079999999</c:v>
                </c:pt>
                <c:pt idx="659">
                  <c:v>2079604.5079999999</c:v>
                </c:pt>
                <c:pt idx="660">
                  <c:v>2041300.5079999999</c:v>
                </c:pt>
                <c:pt idx="661">
                  <c:v>2048706.5079999999</c:v>
                </c:pt>
                <c:pt idx="662">
                  <c:v>2105518.5079999999</c:v>
                </c:pt>
                <c:pt idx="663">
                  <c:v>2045794.5079999999</c:v>
                </c:pt>
                <c:pt idx="664">
                  <c:v>2034447.5079999999</c:v>
                </c:pt>
                <c:pt idx="665">
                  <c:v>1993455.5079999999</c:v>
                </c:pt>
                <c:pt idx="666">
                  <c:v>2012327.5079999999</c:v>
                </c:pt>
                <c:pt idx="667">
                  <c:v>1993224.5079999999</c:v>
                </c:pt>
                <c:pt idx="668">
                  <c:v>1977544.5079999999</c:v>
                </c:pt>
                <c:pt idx="669">
                  <c:v>1972756.5079999999</c:v>
                </c:pt>
                <c:pt idx="670">
                  <c:v>1955767.5079999999</c:v>
                </c:pt>
                <c:pt idx="671">
                  <c:v>1952204.5079999999</c:v>
                </c:pt>
                <c:pt idx="672">
                  <c:v>2017143.5079999999</c:v>
                </c:pt>
                <c:pt idx="673">
                  <c:v>2029631.5079999999</c:v>
                </c:pt>
                <c:pt idx="674">
                  <c:v>2023457.5079999999</c:v>
                </c:pt>
                <c:pt idx="675">
                  <c:v>2032676.5079999999</c:v>
                </c:pt>
                <c:pt idx="676">
                  <c:v>1980358.5079999999</c:v>
                </c:pt>
                <c:pt idx="677">
                  <c:v>1973967.5079999999</c:v>
                </c:pt>
                <c:pt idx="678">
                  <c:v>1930182.5079999999</c:v>
                </c:pt>
                <c:pt idx="679">
                  <c:v>1921327.5079999999</c:v>
                </c:pt>
                <c:pt idx="680">
                  <c:v>1969480.5079999999</c:v>
                </c:pt>
                <c:pt idx="681">
                  <c:v>2003612.5079999999</c:v>
                </c:pt>
                <c:pt idx="682">
                  <c:v>2021966.5079999999</c:v>
                </c:pt>
                <c:pt idx="683">
                  <c:v>2026047.5079999999</c:v>
                </c:pt>
                <c:pt idx="684">
                  <c:v>2061935.8770000001</c:v>
                </c:pt>
                <c:pt idx="685">
                  <c:v>2061935.8770000001</c:v>
                </c:pt>
                <c:pt idx="686">
                  <c:v>2061935.8770000001</c:v>
                </c:pt>
                <c:pt idx="687">
                  <c:v>2061935.8770000001</c:v>
                </c:pt>
                <c:pt idx="688">
                  <c:v>2061935.8770000001</c:v>
                </c:pt>
                <c:pt idx="689">
                  <c:v>2061935.8770000001</c:v>
                </c:pt>
                <c:pt idx="690">
                  <c:v>2061935.8770000001</c:v>
                </c:pt>
                <c:pt idx="691">
                  <c:v>2061935.8770000001</c:v>
                </c:pt>
                <c:pt idx="692">
                  <c:v>2061935.8770000001</c:v>
                </c:pt>
                <c:pt idx="693">
                  <c:v>2061935.8770000001</c:v>
                </c:pt>
                <c:pt idx="694">
                  <c:v>2061935.8770000001</c:v>
                </c:pt>
                <c:pt idx="695">
                  <c:v>2061935.8770000001</c:v>
                </c:pt>
                <c:pt idx="696">
                  <c:v>2061935.8770000001</c:v>
                </c:pt>
                <c:pt idx="697">
                  <c:v>2061935.8770000001</c:v>
                </c:pt>
                <c:pt idx="698">
                  <c:v>2061935.8770000001</c:v>
                </c:pt>
                <c:pt idx="699">
                  <c:v>2061935.8770000001</c:v>
                </c:pt>
                <c:pt idx="700">
                  <c:v>2061935.8770000001</c:v>
                </c:pt>
                <c:pt idx="701">
                  <c:v>2061935.8770000001</c:v>
                </c:pt>
                <c:pt idx="702">
                  <c:v>2061935.8770000001</c:v>
                </c:pt>
                <c:pt idx="703">
                  <c:v>2061935.8770000001</c:v>
                </c:pt>
                <c:pt idx="704">
                  <c:v>2061935.8770000001</c:v>
                </c:pt>
                <c:pt idx="705">
                  <c:v>2061935.8770000001</c:v>
                </c:pt>
                <c:pt idx="706">
                  <c:v>2061935.8770000001</c:v>
                </c:pt>
                <c:pt idx="707">
                  <c:v>2061935.8770000001</c:v>
                </c:pt>
                <c:pt idx="708">
                  <c:v>2061935.8770000001</c:v>
                </c:pt>
                <c:pt idx="709">
                  <c:v>2061935.8770000001</c:v>
                </c:pt>
                <c:pt idx="710">
                  <c:v>2061935.8770000001</c:v>
                </c:pt>
                <c:pt idx="711">
                  <c:v>2061935.8770000001</c:v>
                </c:pt>
                <c:pt idx="712">
                  <c:v>2061935.8770000001</c:v>
                </c:pt>
                <c:pt idx="713">
                  <c:v>2061935.8770000001</c:v>
                </c:pt>
                <c:pt idx="714">
                  <c:v>2061935.8770000001</c:v>
                </c:pt>
                <c:pt idx="715">
                  <c:v>2061737.662</c:v>
                </c:pt>
                <c:pt idx="716">
                  <c:v>2017129.662</c:v>
                </c:pt>
                <c:pt idx="717">
                  <c:v>1997569.662</c:v>
                </c:pt>
                <c:pt idx="718">
                  <c:v>1952217.662</c:v>
                </c:pt>
                <c:pt idx="719">
                  <c:v>1991689.662</c:v>
                </c:pt>
                <c:pt idx="720">
                  <c:v>1987113.662</c:v>
                </c:pt>
                <c:pt idx="721">
                  <c:v>1981241.662</c:v>
                </c:pt>
                <c:pt idx="722">
                  <c:v>1950873.662</c:v>
                </c:pt>
                <c:pt idx="723">
                  <c:v>1952657.662</c:v>
                </c:pt>
                <c:pt idx="724">
                  <c:v>1966913.662</c:v>
                </c:pt>
                <c:pt idx="725">
                  <c:v>1948145.662</c:v>
                </c:pt>
                <c:pt idx="726">
                  <c:v>1923617.662</c:v>
                </c:pt>
                <c:pt idx="727">
                  <c:v>1925929.662</c:v>
                </c:pt>
                <c:pt idx="728">
                  <c:v>1928673.662</c:v>
                </c:pt>
                <c:pt idx="729">
                  <c:v>1956177.662</c:v>
                </c:pt>
                <c:pt idx="730">
                  <c:v>1918585.662</c:v>
                </c:pt>
                <c:pt idx="731">
                  <c:v>1900697.662</c:v>
                </c:pt>
                <c:pt idx="732">
                  <c:v>1912065.662</c:v>
                </c:pt>
                <c:pt idx="733">
                  <c:v>1974441.662</c:v>
                </c:pt>
                <c:pt idx="734">
                  <c:v>2037465.662</c:v>
                </c:pt>
                <c:pt idx="735">
                  <c:v>2028073.662</c:v>
                </c:pt>
                <c:pt idx="736">
                  <c:v>2027761.662</c:v>
                </c:pt>
                <c:pt idx="737">
                  <c:v>1995049.662</c:v>
                </c:pt>
                <c:pt idx="738">
                  <c:v>1956105.662</c:v>
                </c:pt>
                <c:pt idx="739">
                  <c:v>2048065.662</c:v>
                </c:pt>
                <c:pt idx="740">
                  <c:v>2017337.662</c:v>
                </c:pt>
                <c:pt idx="741">
                  <c:v>2054265.662</c:v>
                </c:pt>
                <c:pt idx="742">
                  <c:v>2082857.662</c:v>
                </c:pt>
                <c:pt idx="743">
                  <c:v>2048161.662</c:v>
                </c:pt>
                <c:pt idx="744">
                  <c:v>2050993.662</c:v>
                </c:pt>
                <c:pt idx="745">
                  <c:v>2022777.662</c:v>
                </c:pt>
                <c:pt idx="746">
                  <c:v>2068577.662</c:v>
                </c:pt>
                <c:pt idx="747">
                  <c:v>2084457.662</c:v>
                </c:pt>
                <c:pt idx="748">
                  <c:v>2083041.662</c:v>
                </c:pt>
                <c:pt idx="749">
                  <c:v>2045945.662</c:v>
                </c:pt>
                <c:pt idx="750">
                  <c:v>2102177.662</c:v>
                </c:pt>
                <c:pt idx="751">
                  <c:v>2102767.3229999999</c:v>
                </c:pt>
                <c:pt idx="752">
                  <c:v>2102767.3229999999</c:v>
                </c:pt>
                <c:pt idx="753">
                  <c:v>2102767.3229999999</c:v>
                </c:pt>
                <c:pt idx="754">
                  <c:v>2102767.3229999999</c:v>
                </c:pt>
                <c:pt idx="755">
                  <c:v>2102767.3229999999</c:v>
                </c:pt>
                <c:pt idx="756">
                  <c:v>2102767.3229999999</c:v>
                </c:pt>
                <c:pt idx="757">
                  <c:v>2102767.3229999999</c:v>
                </c:pt>
                <c:pt idx="758">
                  <c:v>2102767.3229999999</c:v>
                </c:pt>
                <c:pt idx="759">
                  <c:v>2102767.3229999999</c:v>
                </c:pt>
                <c:pt idx="760">
                  <c:v>2102767.3229999999</c:v>
                </c:pt>
                <c:pt idx="761">
                  <c:v>2102767.3229999999</c:v>
                </c:pt>
                <c:pt idx="762">
                  <c:v>2102767.3229999999</c:v>
                </c:pt>
                <c:pt idx="763">
                  <c:v>2102767.3229999999</c:v>
                </c:pt>
                <c:pt idx="764">
                  <c:v>2102767.3229999999</c:v>
                </c:pt>
                <c:pt idx="765">
                  <c:v>2102767.3229999999</c:v>
                </c:pt>
                <c:pt idx="766">
                  <c:v>2102767.3229999999</c:v>
                </c:pt>
                <c:pt idx="767">
                  <c:v>2102767.3229999999</c:v>
                </c:pt>
                <c:pt idx="768">
                  <c:v>2102767.3229999999</c:v>
                </c:pt>
                <c:pt idx="769">
                  <c:v>2102767.3229999999</c:v>
                </c:pt>
                <c:pt idx="770">
                  <c:v>2102767.3229999999</c:v>
                </c:pt>
                <c:pt idx="771">
                  <c:v>2102767.3229999999</c:v>
                </c:pt>
                <c:pt idx="772">
                  <c:v>2102767.3229999999</c:v>
                </c:pt>
                <c:pt idx="773">
                  <c:v>2102767.3229999999</c:v>
                </c:pt>
                <c:pt idx="774">
                  <c:v>2102767.3229999999</c:v>
                </c:pt>
                <c:pt idx="775">
                  <c:v>2102767.3229999999</c:v>
                </c:pt>
                <c:pt idx="776">
                  <c:v>2102767.3229999999</c:v>
                </c:pt>
                <c:pt idx="777">
                  <c:v>2102767.3229999999</c:v>
                </c:pt>
                <c:pt idx="778">
                  <c:v>2102767.3229999999</c:v>
                </c:pt>
                <c:pt idx="779">
                  <c:v>2102767.3229999999</c:v>
                </c:pt>
                <c:pt idx="780">
                  <c:v>2102767.3229999999</c:v>
                </c:pt>
                <c:pt idx="781">
                  <c:v>2102767.3229999999</c:v>
                </c:pt>
                <c:pt idx="782">
                  <c:v>2102767.3229999999</c:v>
                </c:pt>
                <c:pt idx="783">
                  <c:v>2102767.3229999999</c:v>
                </c:pt>
                <c:pt idx="784">
                  <c:v>2102767.3229999999</c:v>
                </c:pt>
                <c:pt idx="785">
                  <c:v>2102569.3309999998</c:v>
                </c:pt>
                <c:pt idx="786">
                  <c:v>2077145.331</c:v>
                </c:pt>
                <c:pt idx="787">
                  <c:v>2086569.331</c:v>
                </c:pt>
                <c:pt idx="788">
                  <c:v>2132913.3309999998</c:v>
                </c:pt>
                <c:pt idx="789">
                  <c:v>2138513.3309999998</c:v>
                </c:pt>
                <c:pt idx="790">
                  <c:v>2118769.3309999998</c:v>
                </c:pt>
                <c:pt idx="791">
                  <c:v>2138481.3309999998</c:v>
                </c:pt>
                <c:pt idx="792">
                  <c:v>2138681.3309999998</c:v>
                </c:pt>
                <c:pt idx="793">
                  <c:v>2179001.3309999998</c:v>
                </c:pt>
                <c:pt idx="794">
                  <c:v>2187009.3309999998</c:v>
                </c:pt>
                <c:pt idx="795">
                  <c:v>2181881.3309999998</c:v>
                </c:pt>
                <c:pt idx="796">
                  <c:v>2156153.3309999998</c:v>
                </c:pt>
                <c:pt idx="797">
                  <c:v>2202577.3309999998</c:v>
                </c:pt>
                <c:pt idx="798">
                  <c:v>2199497.3309999998</c:v>
                </c:pt>
                <c:pt idx="799">
                  <c:v>2224121.3309999998</c:v>
                </c:pt>
                <c:pt idx="800">
                  <c:v>2207481.3309999998</c:v>
                </c:pt>
                <c:pt idx="801">
                  <c:v>2206545.3309999998</c:v>
                </c:pt>
                <c:pt idx="802">
                  <c:v>2223441.3309999998</c:v>
                </c:pt>
                <c:pt idx="803">
                  <c:v>2227841.3309999998</c:v>
                </c:pt>
                <c:pt idx="804">
                  <c:v>2223577.3309999998</c:v>
                </c:pt>
                <c:pt idx="805">
                  <c:v>2269441.3309999998</c:v>
                </c:pt>
                <c:pt idx="806">
                  <c:v>2275865.3309999998</c:v>
                </c:pt>
                <c:pt idx="807">
                  <c:v>2295353.3309999998</c:v>
                </c:pt>
                <c:pt idx="808">
                  <c:v>2296873.3309999998</c:v>
                </c:pt>
                <c:pt idx="809">
                  <c:v>2289945.3309999998</c:v>
                </c:pt>
                <c:pt idx="810">
                  <c:v>2248657.3309999998</c:v>
                </c:pt>
                <c:pt idx="811">
                  <c:v>2248417.3309999998</c:v>
                </c:pt>
                <c:pt idx="812">
                  <c:v>2232185.3309999998</c:v>
                </c:pt>
                <c:pt idx="813">
                  <c:v>2215073.3309999998</c:v>
                </c:pt>
                <c:pt idx="814">
                  <c:v>2216545.3309999998</c:v>
                </c:pt>
                <c:pt idx="815">
                  <c:v>2182369.3309999998</c:v>
                </c:pt>
                <c:pt idx="816">
                  <c:v>2213801.3309999998</c:v>
                </c:pt>
                <c:pt idx="817">
                  <c:v>2181833.3309999998</c:v>
                </c:pt>
                <c:pt idx="818">
                  <c:v>2192433.3309999998</c:v>
                </c:pt>
                <c:pt idx="819">
                  <c:v>2224673.3309999998</c:v>
                </c:pt>
                <c:pt idx="820">
                  <c:v>2216145.3309999998</c:v>
                </c:pt>
                <c:pt idx="821">
                  <c:v>2198857.3309999998</c:v>
                </c:pt>
                <c:pt idx="822">
                  <c:v>2181129.3309999998</c:v>
                </c:pt>
                <c:pt idx="823">
                  <c:v>2214401.3309999998</c:v>
                </c:pt>
                <c:pt idx="824">
                  <c:v>2243329.3309999998</c:v>
                </c:pt>
                <c:pt idx="825">
                  <c:v>2236457.3309999998</c:v>
                </c:pt>
                <c:pt idx="826">
                  <c:v>2228281.3309999998</c:v>
                </c:pt>
                <c:pt idx="827">
                  <c:v>2229049.3309999998</c:v>
                </c:pt>
                <c:pt idx="828">
                  <c:v>2169668.6090000002</c:v>
                </c:pt>
                <c:pt idx="829">
                  <c:v>2169668.6090000002</c:v>
                </c:pt>
                <c:pt idx="830">
                  <c:v>2169668.6090000002</c:v>
                </c:pt>
                <c:pt idx="831">
                  <c:v>2169668.6090000002</c:v>
                </c:pt>
                <c:pt idx="832">
                  <c:v>2169668.6090000002</c:v>
                </c:pt>
                <c:pt idx="833">
                  <c:v>2169668.6090000002</c:v>
                </c:pt>
                <c:pt idx="834">
                  <c:v>2169668.6090000002</c:v>
                </c:pt>
                <c:pt idx="835">
                  <c:v>2169668.6090000002</c:v>
                </c:pt>
                <c:pt idx="836">
                  <c:v>2169668.6090000002</c:v>
                </c:pt>
                <c:pt idx="837">
                  <c:v>2169668.6090000002</c:v>
                </c:pt>
                <c:pt idx="838">
                  <c:v>2169668.6090000002</c:v>
                </c:pt>
                <c:pt idx="839">
                  <c:v>2169668.6090000002</c:v>
                </c:pt>
                <c:pt idx="840">
                  <c:v>2169668.6090000002</c:v>
                </c:pt>
                <c:pt idx="841">
                  <c:v>2169668.6090000002</c:v>
                </c:pt>
                <c:pt idx="842">
                  <c:v>2169668.6090000002</c:v>
                </c:pt>
                <c:pt idx="843">
                  <c:v>2169668.6090000002</c:v>
                </c:pt>
                <c:pt idx="844">
                  <c:v>2169668.6090000002</c:v>
                </c:pt>
                <c:pt idx="845">
                  <c:v>2169668.6090000002</c:v>
                </c:pt>
                <c:pt idx="846">
                  <c:v>2169668.6090000002</c:v>
                </c:pt>
                <c:pt idx="847">
                  <c:v>2169668.6090000002</c:v>
                </c:pt>
                <c:pt idx="848">
                  <c:v>2169668.6090000002</c:v>
                </c:pt>
                <c:pt idx="849">
                  <c:v>2169668.6090000002</c:v>
                </c:pt>
                <c:pt idx="850">
                  <c:v>2169668.6090000002</c:v>
                </c:pt>
                <c:pt idx="851">
                  <c:v>2169668.6090000002</c:v>
                </c:pt>
                <c:pt idx="852">
                  <c:v>2169668.6090000002</c:v>
                </c:pt>
                <c:pt idx="853">
                  <c:v>2169668.6090000002</c:v>
                </c:pt>
                <c:pt idx="854">
                  <c:v>2169668.6090000002</c:v>
                </c:pt>
                <c:pt idx="855">
                  <c:v>2169668.6090000002</c:v>
                </c:pt>
                <c:pt idx="856">
                  <c:v>2169668.6090000002</c:v>
                </c:pt>
                <c:pt idx="857">
                  <c:v>2169668.6090000002</c:v>
                </c:pt>
                <c:pt idx="858">
                  <c:v>2169668.6090000002</c:v>
                </c:pt>
                <c:pt idx="859">
                  <c:v>2169668.6090000002</c:v>
                </c:pt>
                <c:pt idx="860">
                  <c:v>2169668.6090000002</c:v>
                </c:pt>
                <c:pt idx="861">
                  <c:v>2169668.6090000002</c:v>
                </c:pt>
                <c:pt idx="862">
                  <c:v>2169668.6090000002</c:v>
                </c:pt>
                <c:pt idx="863">
                  <c:v>2169668.6090000002</c:v>
                </c:pt>
                <c:pt idx="864">
                  <c:v>2169668.6090000002</c:v>
                </c:pt>
                <c:pt idx="865">
                  <c:v>2169668.6090000002</c:v>
                </c:pt>
                <c:pt idx="866">
                  <c:v>2169457.1889999998</c:v>
                </c:pt>
                <c:pt idx="867">
                  <c:v>2157469.1889999998</c:v>
                </c:pt>
                <c:pt idx="868">
                  <c:v>2154886.1889999998</c:v>
                </c:pt>
                <c:pt idx="869">
                  <c:v>2178043.1889999998</c:v>
                </c:pt>
                <c:pt idx="870">
                  <c:v>2156650.1889999998</c:v>
                </c:pt>
                <c:pt idx="871">
                  <c:v>2173624.1889999998</c:v>
                </c:pt>
                <c:pt idx="872">
                  <c:v>2202307.1889999998</c:v>
                </c:pt>
                <c:pt idx="873">
                  <c:v>2205241.1889999998</c:v>
                </c:pt>
                <c:pt idx="874">
                  <c:v>2206078.1889999998</c:v>
                </c:pt>
                <c:pt idx="875">
                  <c:v>2225788.1889999998</c:v>
                </c:pt>
                <c:pt idx="876">
                  <c:v>2215033.1889999998</c:v>
                </c:pt>
                <c:pt idx="877">
                  <c:v>2171995.1889999998</c:v>
                </c:pt>
                <c:pt idx="878">
                  <c:v>2176576.1889999998</c:v>
                </c:pt>
                <c:pt idx="879">
                  <c:v>2153707.1889999998</c:v>
                </c:pt>
                <c:pt idx="880">
                  <c:v>2142961.1889999998</c:v>
                </c:pt>
                <c:pt idx="881">
                  <c:v>2137390.1889999998</c:v>
                </c:pt>
                <c:pt idx="882">
                  <c:v>2126869.1889999998</c:v>
                </c:pt>
                <c:pt idx="883">
                  <c:v>2137588.1889999998</c:v>
                </c:pt>
                <c:pt idx="884">
                  <c:v>2121289.1889999998</c:v>
                </c:pt>
                <c:pt idx="885">
                  <c:v>2127238.1889999998</c:v>
                </c:pt>
                <c:pt idx="886">
                  <c:v>2103370.1889999998</c:v>
                </c:pt>
                <c:pt idx="887">
                  <c:v>2060638.189</c:v>
                </c:pt>
                <c:pt idx="888">
                  <c:v>2069827.189</c:v>
                </c:pt>
                <c:pt idx="889">
                  <c:v>2048587.189</c:v>
                </c:pt>
                <c:pt idx="890">
                  <c:v>2045491.189</c:v>
                </c:pt>
                <c:pt idx="891">
                  <c:v>2039641.189</c:v>
                </c:pt>
                <c:pt idx="892">
                  <c:v>2060791.189</c:v>
                </c:pt>
                <c:pt idx="893">
                  <c:v>2039227.189</c:v>
                </c:pt>
                <c:pt idx="894">
                  <c:v>2035150.189</c:v>
                </c:pt>
                <c:pt idx="895">
                  <c:v>2051296.189</c:v>
                </c:pt>
                <c:pt idx="896">
                  <c:v>2140720.1889999998</c:v>
                </c:pt>
                <c:pt idx="897">
                  <c:v>2149261.1889999998</c:v>
                </c:pt>
                <c:pt idx="898">
                  <c:v>2135959.1889999998</c:v>
                </c:pt>
                <c:pt idx="899">
                  <c:v>2143321.1889999998</c:v>
                </c:pt>
                <c:pt idx="900">
                  <c:v>2123872.1889999998</c:v>
                </c:pt>
                <c:pt idx="901">
                  <c:v>2139244.1889999998</c:v>
                </c:pt>
                <c:pt idx="902">
                  <c:v>2088097.189</c:v>
                </c:pt>
                <c:pt idx="903">
                  <c:v>2066974.189</c:v>
                </c:pt>
                <c:pt idx="904">
                  <c:v>2076874.189</c:v>
                </c:pt>
                <c:pt idx="905">
                  <c:v>2031613.189</c:v>
                </c:pt>
                <c:pt idx="906">
                  <c:v>2034412.189</c:v>
                </c:pt>
                <c:pt idx="907">
                  <c:v>2049226.189</c:v>
                </c:pt>
                <c:pt idx="908">
                  <c:v>2044393.189</c:v>
                </c:pt>
                <c:pt idx="909">
                  <c:v>2021659.189</c:v>
                </c:pt>
                <c:pt idx="910">
                  <c:v>2081806.189</c:v>
                </c:pt>
                <c:pt idx="911">
                  <c:v>2119057.1889999998</c:v>
                </c:pt>
                <c:pt idx="912">
                  <c:v>2098303.1889999998</c:v>
                </c:pt>
                <c:pt idx="913">
                  <c:v>2143402.1889999998</c:v>
                </c:pt>
                <c:pt idx="914">
                  <c:v>2146966.1889999998</c:v>
                </c:pt>
                <c:pt idx="915">
                  <c:v>2127535.1889999998</c:v>
                </c:pt>
                <c:pt idx="916">
                  <c:v>2129335.1889999998</c:v>
                </c:pt>
                <c:pt idx="917">
                  <c:v>2120632.1889999998</c:v>
                </c:pt>
                <c:pt idx="918">
                  <c:v>2123602.1889999998</c:v>
                </c:pt>
                <c:pt idx="919">
                  <c:v>2125978.1889999998</c:v>
                </c:pt>
                <c:pt idx="920">
                  <c:v>2157730.1889999998</c:v>
                </c:pt>
                <c:pt idx="921">
                  <c:v>2154481.1889999998</c:v>
                </c:pt>
                <c:pt idx="922">
                  <c:v>2162689.1889999998</c:v>
                </c:pt>
                <c:pt idx="923">
                  <c:v>2136130.1889999998</c:v>
                </c:pt>
                <c:pt idx="924">
                  <c:v>2132260.1889999998</c:v>
                </c:pt>
                <c:pt idx="925">
                  <c:v>2117374.1889999998</c:v>
                </c:pt>
                <c:pt idx="926">
                  <c:v>2078377.189</c:v>
                </c:pt>
                <c:pt idx="927">
                  <c:v>2067321.9620000001</c:v>
                </c:pt>
                <c:pt idx="928">
                  <c:v>2067321.9620000001</c:v>
                </c:pt>
                <c:pt idx="929">
                  <c:v>2067321.9620000001</c:v>
                </c:pt>
                <c:pt idx="930">
                  <c:v>2067321.9620000001</c:v>
                </c:pt>
                <c:pt idx="931">
                  <c:v>2067321.9620000001</c:v>
                </c:pt>
                <c:pt idx="932">
                  <c:v>2067321.9620000001</c:v>
                </c:pt>
                <c:pt idx="933">
                  <c:v>2067321.9620000001</c:v>
                </c:pt>
                <c:pt idx="934">
                  <c:v>2067321.9620000001</c:v>
                </c:pt>
                <c:pt idx="935">
                  <c:v>2067321.9620000001</c:v>
                </c:pt>
                <c:pt idx="936">
                  <c:v>2067321.9620000001</c:v>
                </c:pt>
                <c:pt idx="937">
                  <c:v>2067321.9620000001</c:v>
                </c:pt>
                <c:pt idx="938">
                  <c:v>2067321.9620000001</c:v>
                </c:pt>
                <c:pt idx="939">
                  <c:v>2067321.9620000001</c:v>
                </c:pt>
                <c:pt idx="940">
                  <c:v>2067124.537</c:v>
                </c:pt>
                <c:pt idx="941">
                  <c:v>2052382.537</c:v>
                </c:pt>
                <c:pt idx="942">
                  <c:v>2050357.537</c:v>
                </c:pt>
                <c:pt idx="943">
                  <c:v>2041258.537</c:v>
                </c:pt>
                <c:pt idx="944">
                  <c:v>2068276.537</c:v>
                </c:pt>
                <c:pt idx="945">
                  <c:v>2052661.537</c:v>
                </c:pt>
                <c:pt idx="946">
                  <c:v>2066278.537</c:v>
                </c:pt>
                <c:pt idx="947">
                  <c:v>2050906.537</c:v>
                </c:pt>
                <c:pt idx="948">
                  <c:v>2028442.537</c:v>
                </c:pt>
                <c:pt idx="949">
                  <c:v>2009110.537</c:v>
                </c:pt>
                <c:pt idx="950">
                  <c:v>1996978.537</c:v>
                </c:pt>
                <c:pt idx="951">
                  <c:v>2018560.537</c:v>
                </c:pt>
                <c:pt idx="952">
                  <c:v>1990831.537</c:v>
                </c:pt>
                <c:pt idx="953">
                  <c:v>2011189.537</c:v>
                </c:pt>
                <c:pt idx="954">
                  <c:v>2079958.537</c:v>
                </c:pt>
                <c:pt idx="955">
                  <c:v>2076106.537</c:v>
                </c:pt>
                <c:pt idx="956">
                  <c:v>2114950.537</c:v>
                </c:pt>
                <c:pt idx="957">
                  <c:v>2136811.537</c:v>
                </c:pt>
                <c:pt idx="958">
                  <c:v>2125516.537</c:v>
                </c:pt>
                <c:pt idx="959">
                  <c:v>2133859.537</c:v>
                </c:pt>
                <c:pt idx="960">
                  <c:v>2111242.537</c:v>
                </c:pt>
                <c:pt idx="961">
                  <c:v>2213140.537</c:v>
                </c:pt>
                <c:pt idx="962">
                  <c:v>2222896.537</c:v>
                </c:pt>
                <c:pt idx="963">
                  <c:v>2224174.537</c:v>
                </c:pt>
                <c:pt idx="964">
                  <c:v>2226865.537</c:v>
                </c:pt>
                <c:pt idx="965">
                  <c:v>2239204.537</c:v>
                </c:pt>
                <c:pt idx="966">
                  <c:v>2227666.537</c:v>
                </c:pt>
                <c:pt idx="967">
                  <c:v>2235964.537</c:v>
                </c:pt>
                <c:pt idx="968">
                  <c:v>2296426.537</c:v>
                </c:pt>
                <c:pt idx="969">
                  <c:v>2304724.537</c:v>
                </c:pt>
                <c:pt idx="970">
                  <c:v>2292997.537</c:v>
                </c:pt>
                <c:pt idx="971">
                  <c:v>2324911.537</c:v>
                </c:pt>
                <c:pt idx="972">
                  <c:v>2363521.537</c:v>
                </c:pt>
                <c:pt idx="973">
                  <c:v>2364835.537</c:v>
                </c:pt>
                <c:pt idx="974">
                  <c:v>2375257.537</c:v>
                </c:pt>
                <c:pt idx="975">
                  <c:v>2365663.537</c:v>
                </c:pt>
                <c:pt idx="976">
                  <c:v>2366383.537</c:v>
                </c:pt>
                <c:pt idx="977">
                  <c:v>2370379.537</c:v>
                </c:pt>
                <c:pt idx="978">
                  <c:v>2327773.537</c:v>
                </c:pt>
                <c:pt idx="979">
                  <c:v>2412823.537</c:v>
                </c:pt>
                <c:pt idx="980">
                  <c:v>2429140.537</c:v>
                </c:pt>
                <c:pt idx="981">
                  <c:v>2412247.537</c:v>
                </c:pt>
                <c:pt idx="982">
                  <c:v>2390350.537</c:v>
                </c:pt>
                <c:pt idx="983">
                  <c:v>2428762.537</c:v>
                </c:pt>
                <c:pt idx="984">
                  <c:v>2442676.537</c:v>
                </c:pt>
                <c:pt idx="985">
                  <c:v>2430076.537</c:v>
                </c:pt>
                <c:pt idx="986">
                  <c:v>2439580.537</c:v>
                </c:pt>
                <c:pt idx="987">
                  <c:v>2417350.537</c:v>
                </c:pt>
                <c:pt idx="988">
                  <c:v>2407369.537</c:v>
                </c:pt>
                <c:pt idx="989">
                  <c:v>2479540.537</c:v>
                </c:pt>
                <c:pt idx="990">
                  <c:v>2501149.537</c:v>
                </c:pt>
                <c:pt idx="991">
                  <c:v>2512705.537</c:v>
                </c:pt>
                <c:pt idx="992">
                  <c:v>2511058.537</c:v>
                </c:pt>
                <c:pt idx="993">
                  <c:v>2561854.537</c:v>
                </c:pt>
                <c:pt idx="994">
                  <c:v>2566093.537</c:v>
                </c:pt>
                <c:pt idx="995">
                  <c:v>2587378.537</c:v>
                </c:pt>
                <c:pt idx="996">
                  <c:v>2591122.537</c:v>
                </c:pt>
                <c:pt idx="997">
                  <c:v>2576749.537</c:v>
                </c:pt>
                <c:pt idx="998">
                  <c:v>2587423.537</c:v>
                </c:pt>
                <c:pt idx="999">
                  <c:v>2556589.537</c:v>
                </c:pt>
                <c:pt idx="1000">
                  <c:v>2509915.537</c:v>
                </c:pt>
                <c:pt idx="1001">
                  <c:v>2525242.537</c:v>
                </c:pt>
                <c:pt idx="1002">
                  <c:v>2442361.537</c:v>
                </c:pt>
                <c:pt idx="1003">
                  <c:v>2429806.537</c:v>
                </c:pt>
                <c:pt idx="1004">
                  <c:v>2437330.537</c:v>
                </c:pt>
                <c:pt idx="1005">
                  <c:v>2403697.537</c:v>
                </c:pt>
                <c:pt idx="1006">
                  <c:v>2428078.537</c:v>
                </c:pt>
                <c:pt idx="1007">
                  <c:v>2498863.537</c:v>
                </c:pt>
                <c:pt idx="1008">
                  <c:v>2494822.537</c:v>
                </c:pt>
                <c:pt idx="1009">
                  <c:v>2384014.537</c:v>
                </c:pt>
                <c:pt idx="1010">
                  <c:v>2453395.537</c:v>
                </c:pt>
                <c:pt idx="1011">
                  <c:v>2478046.537</c:v>
                </c:pt>
                <c:pt idx="1012">
                  <c:v>2450398.537</c:v>
                </c:pt>
                <c:pt idx="1013">
                  <c:v>2439103.537</c:v>
                </c:pt>
                <c:pt idx="1014">
                  <c:v>2425999.537</c:v>
                </c:pt>
                <c:pt idx="1015">
                  <c:v>2392915.537</c:v>
                </c:pt>
                <c:pt idx="1016">
                  <c:v>2367607.537</c:v>
                </c:pt>
                <c:pt idx="1017">
                  <c:v>2373709.537</c:v>
                </c:pt>
                <c:pt idx="1018">
                  <c:v>2378749.537</c:v>
                </c:pt>
                <c:pt idx="1019">
                  <c:v>2345107.537</c:v>
                </c:pt>
                <c:pt idx="1020">
                  <c:v>2365456.537</c:v>
                </c:pt>
                <c:pt idx="1021">
                  <c:v>2442019.537</c:v>
                </c:pt>
                <c:pt idx="1022">
                  <c:v>2446357.537</c:v>
                </c:pt>
                <c:pt idx="1023">
                  <c:v>2449345.537</c:v>
                </c:pt>
                <c:pt idx="1024">
                  <c:v>2444656.537</c:v>
                </c:pt>
                <c:pt idx="1025">
                  <c:v>2410411.537</c:v>
                </c:pt>
                <c:pt idx="1026">
                  <c:v>2418043.537</c:v>
                </c:pt>
                <c:pt idx="1027">
                  <c:v>2342236.537</c:v>
                </c:pt>
                <c:pt idx="1028">
                  <c:v>2338438.537</c:v>
                </c:pt>
                <c:pt idx="1029">
                  <c:v>2336737.537</c:v>
                </c:pt>
                <c:pt idx="1030">
                  <c:v>2330617.537</c:v>
                </c:pt>
                <c:pt idx="1031">
                  <c:v>2328061.537</c:v>
                </c:pt>
                <c:pt idx="1032">
                  <c:v>2317936.537</c:v>
                </c:pt>
                <c:pt idx="1033">
                  <c:v>2333353.537</c:v>
                </c:pt>
                <c:pt idx="1034">
                  <c:v>2329645.537</c:v>
                </c:pt>
                <c:pt idx="1035">
                  <c:v>2322958.537</c:v>
                </c:pt>
                <c:pt idx="1036">
                  <c:v>2308765.537</c:v>
                </c:pt>
                <c:pt idx="1037">
                  <c:v>2286004.537</c:v>
                </c:pt>
                <c:pt idx="1038">
                  <c:v>2306497.537</c:v>
                </c:pt>
                <c:pt idx="1039">
                  <c:v>2305489.537</c:v>
                </c:pt>
                <c:pt idx="1040">
                  <c:v>2311231.537</c:v>
                </c:pt>
                <c:pt idx="1041">
                  <c:v>2373313.537</c:v>
                </c:pt>
                <c:pt idx="1042">
                  <c:v>2370469.537</c:v>
                </c:pt>
                <c:pt idx="1043">
                  <c:v>2297389.537</c:v>
                </c:pt>
                <c:pt idx="1044">
                  <c:v>2338888.537</c:v>
                </c:pt>
                <c:pt idx="1045">
                  <c:v>2313958.537</c:v>
                </c:pt>
                <c:pt idx="1046">
                  <c:v>2295445.537</c:v>
                </c:pt>
                <c:pt idx="1047">
                  <c:v>2297542.537</c:v>
                </c:pt>
                <c:pt idx="1048">
                  <c:v>2336485.537</c:v>
                </c:pt>
                <c:pt idx="1049">
                  <c:v>2366248.537</c:v>
                </c:pt>
                <c:pt idx="1050">
                  <c:v>2369812.537</c:v>
                </c:pt>
                <c:pt idx="1051">
                  <c:v>2381386.537</c:v>
                </c:pt>
                <c:pt idx="1052">
                  <c:v>2367877.537</c:v>
                </c:pt>
                <c:pt idx="1053">
                  <c:v>2379622.537</c:v>
                </c:pt>
                <c:pt idx="1054">
                  <c:v>2370559.537</c:v>
                </c:pt>
                <c:pt idx="1055">
                  <c:v>2336872.537</c:v>
                </c:pt>
                <c:pt idx="1056">
                  <c:v>2349103.537</c:v>
                </c:pt>
                <c:pt idx="1057">
                  <c:v>2390305.537</c:v>
                </c:pt>
                <c:pt idx="1058">
                  <c:v>2425478.2519999999</c:v>
                </c:pt>
                <c:pt idx="1059">
                  <c:v>2425478.2519999999</c:v>
                </c:pt>
                <c:pt idx="1060">
                  <c:v>2425478.2519999999</c:v>
                </c:pt>
                <c:pt idx="1061">
                  <c:v>2425478.2519999999</c:v>
                </c:pt>
                <c:pt idx="1062">
                  <c:v>2425478.2519999999</c:v>
                </c:pt>
                <c:pt idx="1063">
                  <c:v>2425478.2519999999</c:v>
                </c:pt>
                <c:pt idx="1064">
                  <c:v>2425478.2519999999</c:v>
                </c:pt>
                <c:pt idx="1065">
                  <c:v>2425478.2519999999</c:v>
                </c:pt>
                <c:pt idx="1066">
                  <c:v>2425478.2519999999</c:v>
                </c:pt>
                <c:pt idx="1067">
                  <c:v>2425478.2519999999</c:v>
                </c:pt>
                <c:pt idx="1068">
                  <c:v>2425478.2519999999</c:v>
                </c:pt>
                <c:pt idx="1069">
                  <c:v>2425478.2519999999</c:v>
                </c:pt>
                <c:pt idx="1070">
                  <c:v>2425478.2519999999</c:v>
                </c:pt>
                <c:pt idx="1071">
                  <c:v>2425478.2519999999</c:v>
                </c:pt>
                <c:pt idx="1072">
                  <c:v>2425478.2519999999</c:v>
                </c:pt>
                <c:pt idx="1073">
                  <c:v>2425478.2519999999</c:v>
                </c:pt>
                <c:pt idx="1074">
                  <c:v>2425478.2519999999</c:v>
                </c:pt>
                <c:pt idx="1075">
                  <c:v>2425478.2519999999</c:v>
                </c:pt>
                <c:pt idx="1076">
                  <c:v>2425478.2519999999</c:v>
                </c:pt>
                <c:pt idx="1077">
                  <c:v>2425478.2519999999</c:v>
                </c:pt>
                <c:pt idx="1078">
                  <c:v>2425478.2519999999</c:v>
                </c:pt>
                <c:pt idx="1079">
                  <c:v>2425478.2519999999</c:v>
                </c:pt>
                <c:pt idx="1080">
                  <c:v>2425478.2519999999</c:v>
                </c:pt>
                <c:pt idx="1081">
                  <c:v>2425478.2519999999</c:v>
                </c:pt>
                <c:pt idx="1082">
                  <c:v>2425478.2519999999</c:v>
                </c:pt>
                <c:pt idx="1083">
                  <c:v>2425478.2519999999</c:v>
                </c:pt>
                <c:pt idx="1084">
                  <c:v>2425478.2519999999</c:v>
                </c:pt>
                <c:pt idx="1085">
                  <c:v>2425478.2519999999</c:v>
                </c:pt>
                <c:pt idx="1086">
                  <c:v>2425478.2519999999</c:v>
                </c:pt>
                <c:pt idx="1087">
                  <c:v>2425478.2519999999</c:v>
                </c:pt>
                <c:pt idx="1088">
                  <c:v>2425478.2519999999</c:v>
                </c:pt>
                <c:pt idx="1089">
                  <c:v>2425478.2519999999</c:v>
                </c:pt>
                <c:pt idx="1090">
                  <c:v>2425478.2519999999</c:v>
                </c:pt>
                <c:pt idx="1091">
                  <c:v>2425478.2519999999</c:v>
                </c:pt>
                <c:pt idx="1092">
                  <c:v>2425478.2519999999</c:v>
                </c:pt>
                <c:pt idx="1093">
                  <c:v>2425478.2519999999</c:v>
                </c:pt>
                <c:pt idx="1094">
                  <c:v>2425478.2519999999</c:v>
                </c:pt>
                <c:pt idx="1095">
                  <c:v>2425478.2519999999</c:v>
                </c:pt>
                <c:pt idx="1096">
                  <c:v>2425478.2519999999</c:v>
                </c:pt>
                <c:pt idx="1097">
                  <c:v>2425478.2519999999</c:v>
                </c:pt>
                <c:pt idx="1098">
                  <c:v>2425478.2519999999</c:v>
                </c:pt>
                <c:pt idx="1099">
                  <c:v>2425478.2519999999</c:v>
                </c:pt>
                <c:pt idx="1100">
                  <c:v>2425478.2519999999</c:v>
                </c:pt>
                <c:pt idx="1101">
                  <c:v>2425478.2519999999</c:v>
                </c:pt>
                <c:pt idx="1102">
                  <c:v>2425478.2519999999</c:v>
                </c:pt>
                <c:pt idx="1103">
                  <c:v>2425478.2519999999</c:v>
                </c:pt>
                <c:pt idx="1104">
                  <c:v>2425254.4840000002</c:v>
                </c:pt>
                <c:pt idx="1105">
                  <c:v>2411584.4840000002</c:v>
                </c:pt>
                <c:pt idx="1106">
                  <c:v>2363544.4840000002</c:v>
                </c:pt>
                <c:pt idx="1107">
                  <c:v>2376964.4840000002</c:v>
                </c:pt>
                <c:pt idx="1108">
                  <c:v>2380594.4840000002</c:v>
                </c:pt>
                <c:pt idx="1109">
                  <c:v>2432934.4840000002</c:v>
                </c:pt>
                <c:pt idx="1110">
                  <c:v>2434834.4840000002</c:v>
                </c:pt>
                <c:pt idx="1111">
                  <c:v>2465904.4840000002</c:v>
                </c:pt>
                <c:pt idx="1112">
                  <c:v>2481214.4840000002</c:v>
                </c:pt>
                <c:pt idx="1113">
                  <c:v>2468194.4840000002</c:v>
                </c:pt>
                <c:pt idx="1114">
                  <c:v>2464354.4840000002</c:v>
                </c:pt>
                <c:pt idx="1115">
                  <c:v>2473584.4840000002</c:v>
                </c:pt>
                <c:pt idx="1116">
                  <c:v>2540364.4840000002</c:v>
                </c:pt>
                <c:pt idx="1117">
                  <c:v>2546644.4840000002</c:v>
                </c:pt>
                <c:pt idx="1118">
                  <c:v>2536654.4840000002</c:v>
                </c:pt>
                <c:pt idx="1119">
                  <c:v>2509154.4840000002</c:v>
                </c:pt>
                <c:pt idx="1120">
                  <c:v>2491714.4840000002</c:v>
                </c:pt>
                <c:pt idx="1121">
                  <c:v>2519004.4840000002</c:v>
                </c:pt>
                <c:pt idx="1122">
                  <c:v>2500044.4840000002</c:v>
                </c:pt>
                <c:pt idx="1123">
                  <c:v>2496164.4840000002</c:v>
                </c:pt>
                <c:pt idx="1124">
                  <c:v>2491504.4840000002</c:v>
                </c:pt>
                <c:pt idx="1125">
                  <c:v>2474504.4840000002</c:v>
                </c:pt>
                <c:pt idx="1126">
                  <c:v>2523194.4840000002</c:v>
                </c:pt>
                <c:pt idx="1127">
                  <c:v>2528454.4840000002</c:v>
                </c:pt>
                <c:pt idx="1128">
                  <c:v>2515634.4840000002</c:v>
                </c:pt>
                <c:pt idx="1129">
                  <c:v>2505884.4840000002</c:v>
                </c:pt>
                <c:pt idx="1130">
                  <c:v>2501484.4840000002</c:v>
                </c:pt>
                <c:pt idx="1131">
                  <c:v>2507914.4840000002</c:v>
                </c:pt>
                <c:pt idx="1132">
                  <c:v>2542074.4840000002</c:v>
                </c:pt>
                <c:pt idx="1133">
                  <c:v>2538274.4840000002</c:v>
                </c:pt>
                <c:pt idx="1134">
                  <c:v>2529314.4840000002</c:v>
                </c:pt>
                <c:pt idx="1135">
                  <c:v>2545354.4840000002</c:v>
                </c:pt>
                <c:pt idx="1136">
                  <c:v>2628184.4840000002</c:v>
                </c:pt>
                <c:pt idx="1137">
                  <c:v>2662464.4840000002</c:v>
                </c:pt>
                <c:pt idx="1138">
                  <c:v>2670464.4840000002</c:v>
                </c:pt>
                <c:pt idx="1139">
                  <c:v>2695034.4840000002</c:v>
                </c:pt>
                <c:pt idx="1140">
                  <c:v>2676474.4840000002</c:v>
                </c:pt>
                <c:pt idx="1141">
                  <c:v>2665964.4840000002</c:v>
                </c:pt>
                <c:pt idx="1142">
                  <c:v>2614894.4840000002</c:v>
                </c:pt>
                <c:pt idx="1143">
                  <c:v>2620084.4840000002</c:v>
                </c:pt>
                <c:pt idx="1144">
                  <c:v>2659864.4840000002</c:v>
                </c:pt>
                <c:pt idx="1145">
                  <c:v>2631464.4840000002</c:v>
                </c:pt>
                <c:pt idx="1146">
                  <c:v>2616604.4840000002</c:v>
                </c:pt>
                <c:pt idx="1147">
                  <c:v>2572014.4840000002</c:v>
                </c:pt>
                <c:pt idx="1148">
                  <c:v>2582544.4840000002</c:v>
                </c:pt>
                <c:pt idx="1149">
                  <c:v>2596614.4840000002</c:v>
                </c:pt>
                <c:pt idx="1150">
                  <c:v>2629384.4840000002</c:v>
                </c:pt>
                <c:pt idx="1151">
                  <c:v>2641154.4840000002</c:v>
                </c:pt>
                <c:pt idx="1152">
                  <c:v>2616894.4840000002</c:v>
                </c:pt>
                <c:pt idx="1153">
                  <c:v>2656084.4840000002</c:v>
                </c:pt>
                <c:pt idx="1154">
                  <c:v>2660114.4840000002</c:v>
                </c:pt>
                <c:pt idx="1155">
                  <c:v>2655094.4840000002</c:v>
                </c:pt>
                <c:pt idx="1156">
                  <c:v>2608944.4840000002</c:v>
                </c:pt>
                <c:pt idx="1157">
                  <c:v>2600904.4840000002</c:v>
                </c:pt>
                <c:pt idx="1158">
                  <c:v>2613624.4840000002</c:v>
                </c:pt>
                <c:pt idx="1159">
                  <c:v>2658894.4840000002</c:v>
                </c:pt>
                <c:pt idx="1160">
                  <c:v>2633464.4840000002</c:v>
                </c:pt>
                <c:pt idx="1161">
                  <c:v>2606064.4840000002</c:v>
                </c:pt>
                <c:pt idx="1162">
                  <c:v>2588084.4840000002</c:v>
                </c:pt>
                <c:pt idx="1163">
                  <c:v>2556134.4840000002</c:v>
                </c:pt>
                <c:pt idx="1164">
                  <c:v>2553524.4840000002</c:v>
                </c:pt>
                <c:pt idx="1165">
                  <c:v>2559624.4840000002</c:v>
                </c:pt>
                <c:pt idx="1166">
                  <c:v>2595044.4840000002</c:v>
                </c:pt>
                <c:pt idx="1167">
                  <c:v>2561294.4840000002</c:v>
                </c:pt>
                <c:pt idx="1168">
                  <c:v>2572534.4840000002</c:v>
                </c:pt>
                <c:pt idx="1169">
                  <c:v>2568024.4840000002</c:v>
                </c:pt>
                <c:pt idx="1170">
                  <c:v>2571344.4840000002</c:v>
                </c:pt>
                <c:pt idx="1171">
                  <c:v>2541144.4840000002</c:v>
                </c:pt>
                <c:pt idx="1172">
                  <c:v>2528124.4840000002</c:v>
                </c:pt>
                <c:pt idx="1173">
                  <c:v>2495524.4840000002</c:v>
                </c:pt>
                <c:pt idx="1174">
                  <c:v>2503464.4840000002</c:v>
                </c:pt>
                <c:pt idx="1175">
                  <c:v>2527574.4840000002</c:v>
                </c:pt>
                <c:pt idx="1176">
                  <c:v>2475694.4840000002</c:v>
                </c:pt>
                <c:pt idx="1177">
                  <c:v>2492074.4840000002</c:v>
                </c:pt>
                <c:pt idx="1178">
                  <c:v>2538304.4840000002</c:v>
                </c:pt>
                <c:pt idx="1179">
                  <c:v>2616474.4840000002</c:v>
                </c:pt>
                <c:pt idx="1180">
                  <c:v>2599734.4840000002</c:v>
                </c:pt>
                <c:pt idx="1181">
                  <c:v>2612424.4840000002</c:v>
                </c:pt>
                <c:pt idx="1182">
                  <c:v>2597564.4840000002</c:v>
                </c:pt>
                <c:pt idx="1183">
                  <c:v>2585534.4840000002</c:v>
                </c:pt>
                <c:pt idx="1184">
                  <c:v>2576204.4840000002</c:v>
                </c:pt>
                <c:pt idx="1185">
                  <c:v>2574994.4840000002</c:v>
                </c:pt>
                <c:pt idx="1186">
                  <c:v>2602054.4840000002</c:v>
                </c:pt>
                <c:pt idx="1187">
                  <c:v>2627104.4840000002</c:v>
                </c:pt>
                <c:pt idx="1188">
                  <c:v>2626514.4840000002</c:v>
                </c:pt>
                <c:pt idx="1189">
                  <c:v>2606364.4840000002</c:v>
                </c:pt>
                <c:pt idx="1190">
                  <c:v>2630354.4840000002</c:v>
                </c:pt>
                <c:pt idx="1191">
                  <c:v>2662714.4840000002</c:v>
                </c:pt>
                <c:pt idx="1192">
                  <c:v>2655774.4840000002</c:v>
                </c:pt>
                <c:pt idx="1193">
                  <c:v>2639864.4840000002</c:v>
                </c:pt>
                <c:pt idx="1194">
                  <c:v>2638444.4840000002</c:v>
                </c:pt>
                <c:pt idx="1195">
                  <c:v>2640894.4840000002</c:v>
                </c:pt>
                <c:pt idx="1196">
                  <c:v>2600093.2080000001</c:v>
                </c:pt>
                <c:pt idx="1197">
                  <c:v>2600093.2080000001</c:v>
                </c:pt>
                <c:pt idx="1198">
                  <c:v>2600093.2080000001</c:v>
                </c:pt>
                <c:pt idx="1199">
                  <c:v>2600093.2080000001</c:v>
                </c:pt>
                <c:pt idx="1200">
                  <c:v>2600093.2080000001</c:v>
                </c:pt>
                <c:pt idx="1201">
                  <c:v>2600093.2080000001</c:v>
                </c:pt>
                <c:pt idx="1202">
                  <c:v>2600093.2080000001</c:v>
                </c:pt>
                <c:pt idx="1203">
                  <c:v>2600093.2080000001</c:v>
                </c:pt>
                <c:pt idx="1204">
                  <c:v>2600093.2080000001</c:v>
                </c:pt>
                <c:pt idx="1205">
                  <c:v>2600093.2080000001</c:v>
                </c:pt>
                <c:pt idx="1206">
                  <c:v>2600093.2080000001</c:v>
                </c:pt>
                <c:pt idx="1207">
                  <c:v>2600093.2080000001</c:v>
                </c:pt>
                <c:pt idx="1208">
                  <c:v>2600093.2080000001</c:v>
                </c:pt>
                <c:pt idx="1209">
                  <c:v>2600093.2080000001</c:v>
                </c:pt>
                <c:pt idx="1210">
                  <c:v>2600093.2080000001</c:v>
                </c:pt>
                <c:pt idx="1211">
                  <c:v>2600093.2080000001</c:v>
                </c:pt>
                <c:pt idx="1212">
                  <c:v>2600093.2080000001</c:v>
                </c:pt>
                <c:pt idx="1213">
                  <c:v>2600093.2080000001</c:v>
                </c:pt>
                <c:pt idx="1214">
                  <c:v>2600093.2080000001</c:v>
                </c:pt>
                <c:pt idx="1215">
                  <c:v>2600093.2080000001</c:v>
                </c:pt>
                <c:pt idx="1216">
                  <c:v>2600093.2080000001</c:v>
                </c:pt>
                <c:pt idx="1217">
                  <c:v>2600093.2080000001</c:v>
                </c:pt>
                <c:pt idx="1218">
                  <c:v>2600093.2080000001</c:v>
                </c:pt>
                <c:pt idx="1219">
                  <c:v>2600093.2080000001</c:v>
                </c:pt>
                <c:pt idx="1220">
                  <c:v>2600093.2080000001</c:v>
                </c:pt>
                <c:pt idx="1221">
                  <c:v>2599849.906</c:v>
                </c:pt>
                <c:pt idx="1222">
                  <c:v>2563164.906</c:v>
                </c:pt>
                <c:pt idx="1223">
                  <c:v>2549414.906</c:v>
                </c:pt>
                <c:pt idx="1224">
                  <c:v>2572976.906</c:v>
                </c:pt>
                <c:pt idx="1225">
                  <c:v>2635005.906</c:v>
                </c:pt>
                <c:pt idx="1226">
                  <c:v>2621904.906</c:v>
                </c:pt>
                <c:pt idx="1227">
                  <c:v>2637073.906</c:v>
                </c:pt>
                <c:pt idx="1228">
                  <c:v>2604337.906</c:v>
                </c:pt>
                <c:pt idx="1229">
                  <c:v>2608671.906</c:v>
                </c:pt>
                <c:pt idx="1230">
                  <c:v>2617383.906</c:v>
                </c:pt>
                <c:pt idx="1231">
                  <c:v>2589520.906</c:v>
                </c:pt>
                <c:pt idx="1232">
                  <c:v>2600553.906</c:v>
                </c:pt>
                <c:pt idx="1233">
                  <c:v>2661108.906</c:v>
                </c:pt>
                <c:pt idx="1234">
                  <c:v>2680941.906</c:v>
                </c:pt>
                <c:pt idx="1235">
                  <c:v>2687200.906</c:v>
                </c:pt>
                <c:pt idx="1236">
                  <c:v>2674330.906</c:v>
                </c:pt>
                <c:pt idx="1237">
                  <c:v>2691952.906</c:v>
                </c:pt>
                <c:pt idx="1238">
                  <c:v>2709640.906</c:v>
                </c:pt>
                <c:pt idx="1239">
                  <c:v>2677509.906</c:v>
                </c:pt>
                <c:pt idx="1240">
                  <c:v>2706351.906</c:v>
                </c:pt>
                <c:pt idx="1241">
                  <c:v>2683009.906</c:v>
                </c:pt>
                <c:pt idx="1242">
                  <c:v>2657544.906</c:v>
                </c:pt>
                <c:pt idx="1243">
                  <c:v>2602786.906</c:v>
                </c:pt>
                <c:pt idx="1244">
                  <c:v>2540526.906</c:v>
                </c:pt>
                <c:pt idx="1245">
                  <c:v>2546576.906</c:v>
                </c:pt>
                <c:pt idx="1246">
                  <c:v>2536346.906</c:v>
                </c:pt>
                <c:pt idx="1247">
                  <c:v>2563692.906</c:v>
                </c:pt>
                <c:pt idx="1248">
                  <c:v>2576232.906</c:v>
                </c:pt>
                <c:pt idx="1249">
                  <c:v>2569522.906</c:v>
                </c:pt>
                <c:pt idx="1250">
                  <c:v>2547203.906</c:v>
                </c:pt>
                <c:pt idx="1251">
                  <c:v>2557818.906</c:v>
                </c:pt>
                <c:pt idx="1252">
                  <c:v>2552021.906</c:v>
                </c:pt>
                <c:pt idx="1253">
                  <c:v>2474394.906</c:v>
                </c:pt>
                <c:pt idx="1254">
                  <c:v>2486351.906</c:v>
                </c:pt>
                <c:pt idx="1255">
                  <c:v>2492368.906</c:v>
                </c:pt>
                <c:pt idx="1256">
                  <c:v>2521188.906</c:v>
                </c:pt>
                <c:pt idx="1257">
                  <c:v>2501949.906</c:v>
                </c:pt>
                <c:pt idx="1258">
                  <c:v>2524169.906</c:v>
                </c:pt>
                <c:pt idx="1259">
                  <c:v>2518768.906</c:v>
                </c:pt>
                <c:pt idx="1260">
                  <c:v>2499782.906</c:v>
                </c:pt>
                <c:pt idx="1261">
                  <c:v>2462492.906</c:v>
                </c:pt>
                <c:pt idx="1262">
                  <c:v>2541505.906</c:v>
                </c:pt>
                <c:pt idx="1263">
                  <c:v>2560791.4849999999</c:v>
                </c:pt>
                <c:pt idx="1264">
                  <c:v>2560791.4849999999</c:v>
                </c:pt>
                <c:pt idx="1265">
                  <c:v>2560791.4849999999</c:v>
                </c:pt>
                <c:pt idx="1266">
                  <c:v>2560791.4849999999</c:v>
                </c:pt>
                <c:pt idx="1267">
                  <c:v>2560791.4849999999</c:v>
                </c:pt>
                <c:pt idx="1268">
                  <c:v>2560791.4849999999</c:v>
                </c:pt>
                <c:pt idx="1269">
                  <c:v>2560791.4849999999</c:v>
                </c:pt>
                <c:pt idx="1270">
                  <c:v>2560791.4849999999</c:v>
                </c:pt>
                <c:pt idx="1271">
                  <c:v>2560791.4849999999</c:v>
                </c:pt>
                <c:pt idx="1272">
                  <c:v>2560791.4849999999</c:v>
                </c:pt>
                <c:pt idx="1273">
                  <c:v>2560791.4849999999</c:v>
                </c:pt>
                <c:pt idx="1274">
                  <c:v>2560791.4849999999</c:v>
                </c:pt>
                <c:pt idx="1275">
                  <c:v>2560791.4849999999</c:v>
                </c:pt>
                <c:pt idx="1276">
                  <c:v>2560791.4849999999</c:v>
                </c:pt>
                <c:pt idx="1277">
                  <c:v>2560791.4849999999</c:v>
                </c:pt>
                <c:pt idx="1278">
                  <c:v>2560791.4849999999</c:v>
                </c:pt>
                <c:pt idx="1279">
                  <c:v>2560791.4849999999</c:v>
                </c:pt>
                <c:pt idx="1280">
                  <c:v>2560791.4849999999</c:v>
                </c:pt>
                <c:pt idx="1281">
                  <c:v>2560791.4849999999</c:v>
                </c:pt>
                <c:pt idx="1282">
                  <c:v>2560791.4849999999</c:v>
                </c:pt>
                <c:pt idx="1283">
                  <c:v>2560791.4849999999</c:v>
                </c:pt>
                <c:pt idx="1284">
                  <c:v>2560791.4849999999</c:v>
                </c:pt>
                <c:pt idx="1285">
                  <c:v>2560791.4849999999</c:v>
                </c:pt>
                <c:pt idx="1286">
                  <c:v>2560791.4849999999</c:v>
                </c:pt>
                <c:pt idx="1287">
                  <c:v>2560791.4849999999</c:v>
                </c:pt>
                <c:pt idx="1288">
                  <c:v>2560791.4849999999</c:v>
                </c:pt>
                <c:pt idx="1289">
                  <c:v>2560791.4849999999</c:v>
                </c:pt>
                <c:pt idx="1290">
                  <c:v>2560791.4849999999</c:v>
                </c:pt>
                <c:pt idx="1291">
                  <c:v>2560791.4849999999</c:v>
                </c:pt>
                <c:pt idx="1292">
                  <c:v>2560791.4849999999</c:v>
                </c:pt>
                <c:pt idx="1293">
                  <c:v>2560556.58</c:v>
                </c:pt>
                <c:pt idx="1294">
                  <c:v>2558807.58</c:v>
                </c:pt>
                <c:pt idx="1295">
                  <c:v>2609561.58</c:v>
                </c:pt>
                <c:pt idx="1296">
                  <c:v>2603841.58</c:v>
                </c:pt>
                <c:pt idx="1297">
                  <c:v>2601113.58</c:v>
                </c:pt>
                <c:pt idx="1298">
                  <c:v>2569994.58</c:v>
                </c:pt>
                <c:pt idx="1299">
                  <c:v>2572051.58</c:v>
                </c:pt>
                <c:pt idx="1300">
                  <c:v>2538160.58</c:v>
                </c:pt>
                <c:pt idx="1301">
                  <c:v>2538853.58</c:v>
                </c:pt>
                <c:pt idx="1302">
                  <c:v>2561007.58</c:v>
                </c:pt>
                <c:pt idx="1303">
                  <c:v>2555463.58</c:v>
                </c:pt>
                <c:pt idx="1304">
                  <c:v>2574757.58</c:v>
                </c:pt>
                <c:pt idx="1305">
                  <c:v>2582847.4219999998</c:v>
                </c:pt>
                <c:pt idx="1306">
                  <c:v>2582847.4219999998</c:v>
                </c:pt>
                <c:pt idx="1307">
                  <c:v>2582847.4219999998</c:v>
                </c:pt>
                <c:pt idx="1308">
                  <c:v>2582847.4219999998</c:v>
                </c:pt>
                <c:pt idx="1309">
                  <c:v>2582847.4219999998</c:v>
                </c:pt>
                <c:pt idx="1310">
                  <c:v>2582847.4219999998</c:v>
                </c:pt>
                <c:pt idx="1311">
                  <c:v>2582847.4219999998</c:v>
                </c:pt>
                <c:pt idx="1312">
                  <c:v>2582847.4219999998</c:v>
                </c:pt>
                <c:pt idx="1313">
                  <c:v>2582847.4219999998</c:v>
                </c:pt>
                <c:pt idx="1314">
                  <c:v>2582847.4219999998</c:v>
                </c:pt>
                <c:pt idx="1315">
                  <c:v>2582847.4219999998</c:v>
                </c:pt>
                <c:pt idx="1316">
                  <c:v>2582847.4219999998</c:v>
                </c:pt>
                <c:pt idx="1317">
                  <c:v>2582847.4219999998</c:v>
                </c:pt>
                <c:pt idx="1318">
                  <c:v>2582847.4219999998</c:v>
                </c:pt>
                <c:pt idx="1319">
                  <c:v>2582847.4219999998</c:v>
                </c:pt>
                <c:pt idx="1320">
                  <c:v>2582847.4219999998</c:v>
                </c:pt>
                <c:pt idx="1321">
                  <c:v>2582847.4219999998</c:v>
                </c:pt>
                <c:pt idx="1322">
                  <c:v>2582847.4219999998</c:v>
                </c:pt>
                <c:pt idx="1323">
                  <c:v>2582847.4219999998</c:v>
                </c:pt>
                <c:pt idx="1324">
                  <c:v>2582847.4219999998</c:v>
                </c:pt>
                <c:pt idx="1325">
                  <c:v>2582847.4219999998</c:v>
                </c:pt>
                <c:pt idx="1326">
                  <c:v>2582847.4219999998</c:v>
                </c:pt>
                <c:pt idx="1327">
                  <c:v>2582847.4219999998</c:v>
                </c:pt>
                <c:pt idx="1328">
                  <c:v>2582847.4219999998</c:v>
                </c:pt>
                <c:pt idx="1329">
                  <c:v>2582847.4219999998</c:v>
                </c:pt>
                <c:pt idx="1330">
                  <c:v>2582847.4219999998</c:v>
                </c:pt>
                <c:pt idx="1331">
                  <c:v>2582847.4219999998</c:v>
                </c:pt>
                <c:pt idx="1332">
                  <c:v>2582847.4219999998</c:v>
                </c:pt>
                <c:pt idx="1333">
                  <c:v>2582847.4219999998</c:v>
                </c:pt>
                <c:pt idx="1334">
                  <c:v>2582847.4219999998</c:v>
                </c:pt>
                <c:pt idx="1335">
                  <c:v>2582847.4219999998</c:v>
                </c:pt>
                <c:pt idx="1336">
                  <c:v>2582847.4219999998</c:v>
                </c:pt>
                <c:pt idx="1337">
                  <c:v>2582847.4219999998</c:v>
                </c:pt>
                <c:pt idx="1338">
                  <c:v>2582847.4219999998</c:v>
                </c:pt>
                <c:pt idx="1339">
                  <c:v>2582847.4219999998</c:v>
                </c:pt>
                <c:pt idx="1340">
                  <c:v>2582847.4219999998</c:v>
                </c:pt>
                <c:pt idx="1341">
                  <c:v>2582847.4219999998</c:v>
                </c:pt>
                <c:pt idx="1342">
                  <c:v>2582847.4219999998</c:v>
                </c:pt>
                <c:pt idx="1343">
                  <c:v>2582847.4219999998</c:v>
                </c:pt>
                <c:pt idx="1344">
                  <c:v>2582847.4219999998</c:v>
                </c:pt>
                <c:pt idx="1345">
                  <c:v>2582847.4219999998</c:v>
                </c:pt>
                <c:pt idx="1346">
                  <c:v>2582847.4219999998</c:v>
                </c:pt>
                <c:pt idx="1347">
                  <c:v>2582847.4219999998</c:v>
                </c:pt>
                <c:pt idx="1348">
                  <c:v>2582598.773</c:v>
                </c:pt>
                <c:pt idx="1349">
                  <c:v>2652393.773</c:v>
                </c:pt>
                <c:pt idx="1350">
                  <c:v>2660610.773</c:v>
                </c:pt>
                <c:pt idx="1351">
                  <c:v>2650314.773</c:v>
                </c:pt>
                <c:pt idx="1352">
                  <c:v>2681378.773</c:v>
                </c:pt>
                <c:pt idx="1353">
                  <c:v>2658443.773</c:v>
                </c:pt>
                <c:pt idx="1354">
                  <c:v>2709285.773</c:v>
                </c:pt>
                <c:pt idx="1355">
                  <c:v>2702388.773</c:v>
                </c:pt>
                <c:pt idx="1356">
                  <c:v>2695645.773</c:v>
                </c:pt>
                <c:pt idx="1357">
                  <c:v>2656309.773</c:v>
                </c:pt>
                <c:pt idx="1358">
                  <c:v>2660346.773</c:v>
                </c:pt>
                <c:pt idx="1359">
                  <c:v>2697988.773</c:v>
                </c:pt>
                <c:pt idx="1360">
                  <c:v>2688858.773</c:v>
                </c:pt>
                <c:pt idx="1361">
                  <c:v>2690893.773</c:v>
                </c:pt>
                <c:pt idx="1362">
                  <c:v>2665648.773</c:v>
                </c:pt>
                <c:pt idx="1363">
                  <c:v>2692807.773</c:v>
                </c:pt>
                <c:pt idx="1364">
                  <c:v>2708119.773</c:v>
                </c:pt>
                <c:pt idx="1365">
                  <c:v>2708350.773</c:v>
                </c:pt>
                <c:pt idx="1366">
                  <c:v>2698857.773</c:v>
                </c:pt>
                <c:pt idx="1367">
                  <c:v>2685508.8059999999</c:v>
                </c:pt>
                <c:pt idx="1368">
                  <c:v>2685508.8059999999</c:v>
                </c:pt>
                <c:pt idx="1369">
                  <c:v>2685508.8059999999</c:v>
                </c:pt>
                <c:pt idx="1370">
                  <c:v>2685508.8059999999</c:v>
                </c:pt>
                <c:pt idx="1371">
                  <c:v>2685508.8059999999</c:v>
                </c:pt>
                <c:pt idx="1372">
                  <c:v>2685508.8059999999</c:v>
                </c:pt>
                <c:pt idx="1373">
                  <c:v>2685508.8059999999</c:v>
                </c:pt>
                <c:pt idx="1374">
                  <c:v>2685508.8059999999</c:v>
                </c:pt>
                <c:pt idx="1375">
                  <c:v>2685508.8059999999</c:v>
                </c:pt>
                <c:pt idx="1376">
                  <c:v>2685508.8059999999</c:v>
                </c:pt>
                <c:pt idx="1377">
                  <c:v>2685508.8059999999</c:v>
                </c:pt>
                <c:pt idx="1378">
                  <c:v>2685508.8059999999</c:v>
                </c:pt>
                <c:pt idx="1379">
                  <c:v>2685508.8059999999</c:v>
                </c:pt>
                <c:pt idx="1380">
                  <c:v>2685508.8059999999</c:v>
                </c:pt>
                <c:pt idx="1381">
                  <c:v>2685508.8059999999</c:v>
                </c:pt>
                <c:pt idx="1382">
                  <c:v>2685508.8059999999</c:v>
                </c:pt>
                <c:pt idx="1383">
                  <c:v>2685508.8059999999</c:v>
                </c:pt>
                <c:pt idx="1384">
                  <c:v>2685508.8059999999</c:v>
                </c:pt>
                <c:pt idx="1385">
                  <c:v>2685508.8059999999</c:v>
                </c:pt>
                <c:pt idx="1386">
                  <c:v>2685243.8539999998</c:v>
                </c:pt>
                <c:pt idx="1387">
                  <c:v>2703448.8539999998</c:v>
                </c:pt>
                <c:pt idx="1388">
                  <c:v>2652529.8539999998</c:v>
                </c:pt>
                <c:pt idx="1389">
                  <c:v>2675123.8539999998</c:v>
                </c:pt>
                <c:pt idx="1390">
                  <c:v>2721763.8539999998</c:v>
                </c:pt>
                <c:pt idx="1391">
                  <c:v>2716384.8539999998</c:v>
                </c:pt>
                <c:pt idx="1392">
                  <c:v>2716637.8539999998</c:v>
                </c:pt>
                <c:pt idx="1393">
                  <c:v>2728297.8539999998</c:v>
                </c:pt>
                <c:pt idx="1394">
                  <c:v>2731806.8539999998</c:v>
                </c:pt>
                <c:pt idx="1395">
                  <c:v>2761663.2319999998</c:v>
                </c:pt>
                <c:pt idx="1396">
                  <c:v>2761663.2319999998</c:v>
                </c:pt>
                <c:pt idx="1397">
                  <c:v>2761663.2319999998</c:v>
                </c:pt>
                <c:pt idx="1398">
                  <c:v>2761663.2319999998</c:v>
                </c:pt>
                <c:pt idx="1399">
                  <c:v>2761663.2319999998</c:v>
                </c:pt>
                <c:pt idx="1400">
                  <c:v>2761663.2319999998</c:v>
                </c:pt>
                <c:pt idx="1401">
                  <c:v>2761663.2319999998</c:v>
                </c:pt>
                <c:pt idx="1402">
                  <c:v>2761663.2319999998</c:v>
                </c:pt>
                <c:pt idx="1403">
                  <c:v>2761663.2319999998</c:v>
                </c:pt>
                <c:pt idx="1404">
                  <c:v>2761663.2319999998</c:v>
                </c:pt>
                <c:pt idx="1405">
                  <c:v>2761663.2319999998</c:v>
                </c:pt>
                <c:pt idx="1406">
                  <c:v>2761663.2319999998</c:v>
                </c:pt>
                <c:pt idx="1407">
                  <c:v>2761663.2319999998</c:v>
                </c:pt>
                <c:pt idx="1408">
                  <c:v>2761663.2319999998</c:v>
                </c:pt>
                <c:pt idx="1409">
                  <c:v>2761397.4010000001</c:v>
                </c:pt>
                <c:pt idx="1410">
                  <c:v>2799600.4010000001</c:v>
                </c:pt>
                <c:pt idx="1411">
                  <c:v>2818905.4010000001</c:v>
                </c:pt>
                <c:pt idx="1412">
                  <c:v>2862234.4010000001</c:v>
                </c:pt>
                <c:pt idx="1413">
                  <c:v>2866887.4010000001</c:v>
                </c:pt>
                <c:pt idx="1414">
                  <c:v>2867569.4010000001</c:v>
                </c:pt>
                <c:pt idx="1415">
                  <c:v>2856877.4010000001</c:v>
                </c:pt>
                <c:pt idx="1416">
                  <c:v>2859759.4010000001</c:v>
                </c:pt>
                <c:pt idx="1417">
                  <c:v>2855447.4010000001</c:v>
                </c:pt>
                <c:pt idx="1418">
                  <c:v>2925385.4010000001</c:v>
                </c:pt>
                <c:pt idx="1419">
                  <c:v>2917553.4010000001</c:v>
                </c:pt>
                <c:pt idx="1420">
                  <c:v>2956834.4010000001</c:v>
                </c:pt>
                <c:pt idx="1421">
                  <c:v>2940807.4010000001</c:v>
                </c:pt>
                <c:pt idx="1422">
                  <c:v>2942281.4010000001</c:v>
                </c:pt>
                <c:pt idx="1423">
                  <c:v>2926892.4010000001</c:v>
                </c:pt>
                <c:pt idx="1424">
                  <c:v>2898644.4010000001</c:v>
                </c:pt>
                <c:pt idx="1425">
                  <c:v>2894024.4010000001</c:v>
                </c:pt>
                <c:pt idx="1426">
                  <c:v>2893892.4010000001</c:v>
                </c:pt>
                <c:pt idx="1427">
                  <c:v>2944888.4010000001</c:v>
                </c:pt>
                <c:pt idx="1428">
                  <c:v>3017268.4010000001</c:v>
                </c:pt>
                <c:pt idx="1429">
                  <c:v>3057198.4010000001</c:v>
                </c:pt>
                <c:pt idx="1430">
                  <c:v>3098404.4010000001</c:v>
                </c:pt>
                <c:pt idx="1431">
                  <c:v>3133021.4010000001</c:v>
                </c:pt>
                <c:pt idx="1432">
                  <c:v>3192784.4010000001</c:v>
                </c:pt>
                <c:pt idx="1433">
                  <c:v>3204873.4010000001</c:v>
                </c:pt>
                <c:pt idx="1434">
                  <c:v>3319416.4010000001</c:v>
                </c:pt>
                <c:pt idx="1435">
                  <c:v>3367387.4010000001</c:v>
                </c:pt>
                <c:pt idx="1436">
                  <c:v>3517867.4010000001</c:v>
                </c:pt>
                <c:pt idx="1437">
                  <c:v>3540461.4010000001</c:v>
                </c:pt>
                <c:pt idx="1438">
                  <c:v>3681250.4010000001</c:v>
                </c:pt>
                <c:pt idx="1439">
                  <c:v>3520683.4010000001</c:v>
                </c:pt>
                <c:pt idx="1440">
                  <c:v>3646787.4010000001</c:v>
                </c:pt>
                <c:pt idx="1441">
                  <c:v>3604393.4010000001</c:v>
                </c:pt>
                <c:pt idx="1442">
                  <c:v>3615635.4010000001</c:v>
                </c:pt>
                <c:pt idx="1443">
                  <c:v>3642035.4010000001</c:v>
                </c:pt>
                <c:pt idx="1444">
                  <c:v>3736822.4010000001</c:v>
                </c:pt>
                <c:pt idx="1445">
                  <c:v>3799742.4010000001</c:v>
                </c:pt>
                <c:pt idx="1446">
                  <c:v>3783605.4010000001</c:v>
                </c:pt>
                <c:pt idx="1447">
                  <c:v>3824569.4010000001</c:v>
                </c:pt>
                <c:pt idx="1448">
                  <c:v>3837010.4010000001</c:v>
                </c:pt>
                <c:pt idx="1449">
                  <c:v>3760494.4010000001</c:v>
                </c:pt>
                <c:pt idx="1450">
                  <c:v>3656511.4010000001</c:v>
                </c:pt>
                <c:pt idx="1451">
                  <c:v>3772044.4010000001</c:v>
                </c:pt>
                <c:pt idx="1452">
                  <c:v>3893506.4010000001</c:v>
                </c:pt>
                <c:pt idx="1453">
                  <c:v>3904088.4010000001</c:v>
                </c:pt>
                <c:pt idx="1454">
                  <c:v>3906387.4010000001</c:v>
                </c:pt>
                <c:pt idx="1455">
                  <c:v>3989774.6919999998</c:v>
                </c:pt>
                <c:pt idx="1456">
                  <c:v>3989774.6919999998</c:v>
                </c:pt>
                <c:pt idx="1457">
                  <c:v>3989774.6919999998</c:v>
                </c:pt>
                <c:pt idx="1458">
                  <c:v>3989774.6919999998</c:v>
                </c:pt>
                <c:pt idx="1459">
                  <c:v>3989774.6919999998</c:v>
                </c:pt>
                <c:pt idx="1460">
                  <c:v>3989774.6919999998</c:v>
                </c:pt>
                <c:pt idx="1461">
                  <c:v>3989774.6919999998</c:v>
                </c:pt>
                <c:pt idx="1462">
                  <c:v>3989774.6919999998</c:v>
                </c:pt>
                <c:pt idx="1463">
                  <c:v>3989774.6919999998</c:v>
                </c:pt>
                <c:pt idx="1464">
                  <c:v>3989774.6919999998</c:v>
                </c:pt>
                <c:pt idx="1465">
                  <c:v>3989774.6919999998</c:v>
                </c:pt>
                <c:pt idx="1466">
                  <c:v>3989774.6919999998</c:v>
                </c:pt>
                <c:pt idx="1467">
                  <c:v>3989774.6919999998</c:v>
                </c:pt>
                <c:pt idx="1468">
                  <c:v>3989774.6919999998</c:v>
                </c:pt>
                <c:pt idx="1469">
                  <c:v>3989774.6919999998</c:v>
                </c:pt>
                <c:pt idx="1470">
                  <c:v>3989774.6919999998</c:v>
                </c:pt>
                <c:pt idx="1471">
                  <c:v>3989774.6919999998</c:v>
                </c:pt>
                <c:pt idx="1472">
                  <c:v>3989774.6919999998</c:v>
                </c:pt>
                <c:pt idx="1473">
                  <c:v>3989774.6919999998</c:v>
                </c:pt>
                <c:pt idx="1474">
                  <c:v>3989774.6919999998</c:v>
                </c:pt>
                <c:pt idx="1475">
                  <c:v>3989774.6919999998</c:v>
                </c:pt>
                <c:pt idx="1476">
                  <c:v>3989774.6919999998</c:v>
                </c:pt>
                <c:pt idx="1477">
                  <c:v>3989774.6919999998</c:v>
                </c:pt>
                <c:pt idx="1478">
                  <c:v>3989774.6919999998</c:v>
                </c:pt>
                <c:pt idx="1479">
                  <c:v>3989774.6919999998</c:v>
                </c:pt>
                <c:pt idx="1480">
                  <c:v>3989774.6919999998</c:v>
                </c:pt>
                <c:pt idx="1481">
                  <c:v>3989774.6919999998</c:v>
                </c:pt>
                <c:pt idx="1482">
                  <c:v>3989774.6919999998</c:v>
                </c:pt>
                <c:pt idx="1483">
                  <c:v>3989774.6919999998</c:v>
                </c:pt>
                <c:pt idx="1484">
                  <c:v>3989774.6919999998</c:v>
                </c:pt>
                <c:pt idx="1485">
                  <c:v>3989774.6919999998</c:v>
                </c:pt>
                <c:pt idx="1486">
                  <c:v>3989774.6919999998</c:v>
                </c:pt>
                <c:pt idx="1487">
                  <c:v>3989774.6919999998</c:v>
                </c:pt>
                <c:pt idx="1488">
                  <c:v>3989774.6919999998</c:v>
                </c:pt>
                <c:pt idx="1489">
                  <c:v>3989774.6919999998</c:v>
                </c:pt>
                <c:pt idx="1490">
                  <c:v>3989774.6919999998</c:v>
                </c:pt>
                <c:pt idx="1491">
                  <c:v>3989774.6919999998</c:v>
                </c:pt>
                <c:pt idx="1492">
                  <c:v>3989774.6919999998</c:v>
                </c:pt>
                <c:pt idx="1493">
                  <c:v>3989774.6919999998</c:v>
                </c:pt>
                <c:pt idx="1494">
                  <c:v>3989774.6919999998</c:v>
                </c:pt>
                <c:pt idx="1495">
                  <c:v>3989774.6919999998</c:v>
                </c:pt>
                <c:pt idx="1496">
                  <c:v>3989774.6919999998</c:v>
                </c:pt>
                <c:pt idx="1497">
                  <c:v>3989774.6919999998</c:v>
                </c:pt>
                <c:pt idx="1498">
                  <c:v>3989774.6919999998</c:v>
                </c:pt>
                <c:pt idx="1499">
                  <c:v>3989774.6919999998</c:v>
                </c:pt>
                <c:pt idx="1500">
                  <c:v>3989774.6919999998</c:v>
                </c:pt>
                <c:pt idx="1501">
                  <c:v>3989774.6919999998</c:v>
                </c:pt>
                <c:pt idx="1502">
                  <c:v>3989774.6919999998</c:v>
                </c:pt>
                <c:pt idx="1503">
                  <c:v>3989774.6919999998</c:v>
                </c:pt>
                <c:pt idx="1504">
                  <c:v>3989774.6919999998</c:v>
                </c:pt>
                <c:pt idx="1505">
                  <c:v>3989774.6919999998</c:v>
                </c:pt>
                <c:pt idx="1506">
                  <c:v>3989774.6919999998</c:v>
                </c:pt>
                <c:pt idx="1507">
                  <c:v>3989774.6919999998</c:v>
                </c:pt>
                <c:pt idx="1508">
                  <c:v>3989380.6510000001</c:v>
                </c:pt>
                <c:pt idx="1509">
                  <c:v>3998970.6510000001</c:v>
                </c:pt>
                <c:pt idx="1510">
                  <c:v>4020670.6510000001</c:v>
                </c:pt>
                <c:pt idx="1511">
                  <c:v>4137150.6510000001</c:v>
                </c:pt>
                <c:pt idx="1512">
                  <c:v>4100170.6510000001</c:v>
                </c:pt>
                <c:pt idx="1513">
                  <c:v>4172870.6510000001</c:v>
                </c:pt>
                <c:pt idx="1514">
                  <c:v>4173750.6510000001</c:v>
                </c:pt>
                <c:pt idx="1515">
                  <c:v>4219510.6509999996</c:v>
                </c:pt>
                <c:pt idx="1516">
                  <c:v>4309010.6509999996</c:v>
                </c:pt>
                <c:pt idx="1517">
                  <c:v>4344770.6509999996</c:v>
                </c:pt>
                <c:pt idx="1518">
                  <c:v>4311110.6509999996</c:v>
                </c:pt>
                <c:pt idx="1519">
                  <c:v>4393390.6509999996</c:v>
                </c:pt>
                <c:pt idx="1520">
                  <c:v>4470040.6509999996</c:v>
                </c:pt>
                <c:pt idx="1521">
                  <c:v>4487150.6509999996</c:v>
                </c:pt>
                <c:pt idx="1522">
                  <c:v>4429480.6509999996</c:v>
                </c:pt>
                <c:pt idx="1523">
                  <c:v>4562520.6509999996</c:v>
                </c:pt>
                <c:pt idx="1524">
                  <c:v>4645110.6509999996</c:v>
                </c:pt>
                <c:pt idx="1525">
                  <c:v>4570890.6509999996</c:v>
                </c:pt>
                <c:pt idx="1526">
                  <c:v>4668130.6509999996</c:v>
                </c:pt>
                <c:pt idx="1527">
                  <c:v>4788780.6509999996</c:v>
                </c:pt>
                <c:pt idx="1528">
                  <c:v>4789860.6509999996</c:v>
                </c:pt>
                <c:pt idx="1529">
                  <c:v>4751610.6509999996</c:v>
                </c:pt>
                <c:pt idx="1530">
                  <c:v>4856560.6509999996</c:v>
                </c:pt>
                <c:pt idx="1531">
                  <c:v>4790830.6509999996</c:v>
                </c:pt>
                <c:pt idx="1532">
                  <c:v>4823300.6509999996</c:v>
                </c:pt>
                <c:pt idx="1533">
                  <c:v>4798860.6509999996</c:v>
                </c:pt>
                <c:pt idx="1534">
                  <c:v>4836710.6509999996</c:v>
                </c:pt>
                <c:pt idx="1535">
                  <c:v>4645810.6509999996</c:v>
                </c:pt>
                <c:pt idx="1536">
                  <c:v>4602300.6509999996</c:v>
                </c:pt>
                <c:pt idx="1537">
                  <c:v>4519060.6509999996</c:v>
                </c:pt>
                <c:pt idx="1538">
                  <c:v>4607370.6509999996</c:v>
                </c:pt>
                <c:pt idx="1539">
                  <c:v>4739500.6509999996</c:v>
                </c:pt>
                <c:pt idx="1540">
                  <c:v>4796390.6509999996</c:v>
                </c:pt>
                <c:pt idx="1541">
                  <c:v>4767410.6509999996</c:v>
                </c:pt>
                <c:pt idx="1542">
                  <c:v>4749750.6509999996</c:v>
                </c:pt>
                <c:pt idx="1543">
                  <c:v>4666440.6509999996</c:v>
                </c:pt>
                <c:pt idx="1544">
                  <c:v>4624110.6509999996</c:v>
                </c:pt>
                <c:pt idx="1545">
                  <c:v>4780190.6509999996</c:v>
                </c:pt>
                <c:pt idx="1546">
                  <c:v>4803890.6509999996</c:v>
                </c:pt>
                <c:pt idx="1547">
                  <c:v>4889950.6509999996</c:v>
                </c:pt>
                <c:pt idx="1548">
                  <c:v>5000310.6509999996</c:v>
                </c:pt>
                <c:pt idx="1549">
                  <c:v>5148470.6509999996</c:v>
                </c:pt>
                <c:pt idx="1550">
                  <c:v>5247890.6509999996</c:v>
                </c:pt>
                <c:pt idx="1551">
                  <c:v>5230400.6509999996</c:v>
                </c:pt>
                <c:pt idx="1552">
                  <c:v>4882980.6509999996</c:v>
                </c:pt>
                <c:pt idx="1553">
                  <c:v>4889800.6509999996</c:v>
                </c:pt>
                <c:pt idx="1554">
                  <c:v>5125150.6509999996</c:v>
                </c:pt>
                <c:pt idx="1555">
                  <c:v>5210840.6509999996</c:v>
                </c:pt>
                <c:pt idx="1556">
                  <c:v>5192560.6509999996</c:v>
                </c:pt>
                <c:pt idx="1557">
                  <c:v>5230390.6509999996</c:v>
                </c:pt>
                <c:pt idx="1558">
                  <c:v>5279520.6509999996</c:v>
                </c:pt>
                <c:pt idx="1559">
                  <c:v>5402720.6509999996</c:v>
                </c:pt>
                <c:pt idx="1560">
                  <c:v>5366430.6509999996</c:v>
                </c:pt>
                <c:pt idx="1561">
                  <c:v>5358080.6509999996</c:v>
                </c:pt>
                <c:pt idx="1562">
                  <c:v>5355560.6509999996</c:v>
                </c:pt>
                <c:pt idx="1563">
                  <c:v>5384090.6509999996</c:v>
                </c:pt>
                <c:pt idx="1564">
                  <c:v>5270140.6509999996</c:v>
                </c:pt>
                <c:pt idx="1565">
                  <c:v>5113790.6509999996</c:v>
                </c:pt>
                <c:pt idx="1566">
                  <c:v>5187286.7680000002</c:v>
                </c:pt>
                <c:pt idx="1567">
                  <c:v>5187286.7680000002</c:v>
                </c:pt>
                <c:pt idx="1568">
                  <c:v>5187286.7680000002</c:v>
                </c:pt>
                <c:pt idx="1569">
                  <c:v>5187286.7680000002</c:v>
                </c:pt>
                <c:pt idx="1570">
                  <c:v>5187286.7680000002</c:v>
                </c:pt>
                <c:pt idx="1571">
                  <c:v>5187286.7680000002</c:v>
                </c:pt>
                <c:pt idx="1572">
                  <c:v>5187286.7680000002</c:v>
                </c:pt>
                <c:pt idx="1573">
                  <c:v>5187286.7680000002</c:v>
                </c:pt>
                <c:pt idx="1574">
                  <c:v>5187286.7680000002</c:v>
                </c:pt>
                <c:pt idx="1575">
                  <c:v>5187286.7680000002</c:v>
                </c:pt>
                <c:pt idx="1576">
                  <c:v>5187286.7680000002</c:v>
                </c:pt>
                <c:pt idx="1577">
                  <c:v>5187286.7680000002</c:v>
                </c:pt>
                <c:pt idx="1578">
                  <c:v>5187286.7680000002</c:v>
                </c:pt>
                <c:pt idx="1579">
                  <c:v>5187286.7680000002</c:v>
                </c:pt>
                <c:pt idx="1580">
                  <c:v>5187286.7680000002</c:v>
                </c:pt>
                <c:pt idx="1581">
                  <c:v>5187286.7680000002</c:v>
                </c:pt>
                <c:pt idx="1582">
                  <c:v>5187286.7680000002</c:v>
                </c:pt>
                <c:pt idx="1583">
                  <c:v>5187286.7680000002</c:v>
                </c:pt>
                <c:pt idx="1584">
                  <c:v>5187286.7680000002</c:v>
                </c:pt>
                <c:pt idx="1585">
                  <c:v>5187286.7680000002</c:v>
                </c:pt>
                <c:pt idx="1586">
                  <c:v>5187286.7680000002</c:v>
                </c:pt>
                <c:pt idx="1587">
                  <c:v>5187286.7680000002</c:v>
                </c:pt>
                <c:pt idx="1588">
                  <c:v>5187286.7680000002</c:v>
                </c:pt>
                <c:pt idx="1589">
                  <c:v>5187286.7680000002</c:v>
                </c:pt>
                <c:pt idx="1590">
                  <c:v>5187286.7680000002</c:v>
                </c:pt>
                <c:pt idx="1591">
                  <c:v>5187286.7680000002</c:v>
                </c:pt>
                <c:pt idx="1592">
                  <c:v>5187286.7680000002</c:v>
                </c:pt>
                <c:pt idx="1593">
                  <c:v>5187286.7680000002</c:v>
                </c:pt>
                <c:pt idx="1594">
                  <c:v>5187286.7680000002</c:v>
                </c:pt>
                <c:pt idx="1595">
                  <c:v>5187286.7680000002</c:v>
                </c:pt>
                <c:pt idx="1596">
                  <c:v>5187286.7680000002</c:v>
                </c:pt>
                <c:pt idx="1597">
                  <c:v>5187286.7680000002</c:v>
                </c:pt>
                <c:pt idx="1598">
                  <c:v>5187286.7680000002</c:v>
                </c:pt>
                <c:pt idx="1599">
                  <c:v>5187286.7680000002</c:v>
                </c:pt>
                <c:pt idx="1600">
                  <c:v>5187286.7680000002</c:v>
                </c:pt>
                <c:pt idx="1601">
                  <c:v>5187286.7680000002</c:v>
                </c:pt>
                <c:pt idx="1602">
                  <c:v>5187286.7680000002</c:v>
                </c:pt>
                <c:pt idx="1603">
                  <c:v>5187286.7680000002</c:v>
                </c:pt>
                <c:pt idx="1604">
                  <c:v>5187286.7680000002</c:v>
                </c:pt>
                <c:pt idx="1605">
                  <c:v>5187286.7680000002</c:v>
                </c:pt>
                <c:pt idx="1606">
                  <c:v>5187286.7680000002</c:v>
                </c:pt>
                <c:pt idx="1607">
                  <c:v>5187286.7680000002</c:v>
                </c:pt>
                <c:pt idx="1608">
                  <c:v>5187286.7680000002</c:v>
                </c:pt>
                <c:pt idx="1609">
                  <c:v>5187286.7680000002</c:v>
                </c:pt>
                <c:pt idx="1610">
                  <c:v>5187286.7680000002</c:v>
                </c:pt>
                <c:pt idx="1611">
                  <c:v>5187286.7680000002</c:v>
                </c:pt>
                <c:pt idx="1612">
                  <c:v>5187286.7680000002</c:v>
                </c:pt>
                <c:pt idx="1613">
                  <c:v>5187286.7680000002</c:v>
                </c:pt>
                <c:pt idx="1614">
                  <c:v>5187286.7680000002</c:v>
                </c:pt>
                <c:pt idx="1615">
                  <c:v>5187286.7680000002</c:v>
                </c:pt>
                <c:pt idx="1616">
                  <c:v>5187286.7680000002</c:v>
                </c:pt>
                <c:pt idx="1617">
                  <c:v>5187286.7680000002</c:v>
                </c:pt>
                <c:pt idx="1618">
                  <c:v>5187286.7680000002</c:v>
                </c:pt>
                <c:pt idx="1619">
                  <c:v>5187286.7680000002</c:v>
                </c:pt>
                <c:pt idx="1620">
                  <c:v>5187286.7680000002</c:v>
                </c:pt>
                <c:pt idx="1621">
                  <c:v>5187286.7680000002</c:v>
                </c:pt>
                <c:pt idx="1622">
                  <c:v>5187286.7680000002</c:v>
                </c:pt>
                <c:pt idx="1623">
                  <c:v>5187286.7680000002</c:v>
                </c:pt>
                <c:pt idx="1624">
                  <c:v>5187286.7680000002</c:v>
                </c:pt>
                <c:pt idx="1625">
                  <c:v>5187286.7680000002</c:v>
                </c:pt>
                <c:pt idx="1626">
                  <c:v>5187286.7680000002</c:v>
                </c:pt>
                <c:pt idx="1627">
                  <c:v>5186782.4119999995</c:v>
                </c:pt>
                <c:pt idx="1628">
                  <c:v>5438014.4119999995</c:v>
                </c:pt>
                <c:pt idx="1629">
                  <c:v>5322414.4119999995</c:v>
                </c:pt>
                <c:pt idx="1630">
                  <c:v>5345246.4119999995</c:v>
                </c:pt>
                <c:pt idx="1631">
                  <c:v>5435885.0920000002</c:v>
                </c:pt>
                <c:pt idx="1632">
                  <c:v>5435885.0920000002</c:v>
                </c:pt>
                <c:pt idx="1633">
                  <c:v>5435885.0920000002</c:v>
                </c:pt>
                <c:pt idx="1634">
                  <c:v>5435885.0920000002</c:v>
                </c:pt>
                <c:pt idx="1635">
                  <c:v>5435885.0920000002</c:v>
                </c:pt>
                <c:pt idx="1636">
                  <c:v>5435885.0920000002</c:v>
                </c:pt>
                <c:pt idx="1637">
                  <c:v>5435885.0920000002</c:v>
                </c:pt>
                <c:pt idx="1638">
                  <c:v>5435885.0920000002</c:v>
                </c:pt>
                <c:pt idx="1639">
                  <c:v>5435885.0920000002</c:v>
                </c:pt>
                <c:pt idx="1640">
                  <c:v>5435885.0920000002</c:v>
                </c:pt>
                <c:pt idx="1641">
                  <c:v>5435885.0920000002</c:v>
                </c:pt>
                <c:pt idx="1642">
                  <c:v>5435885.0920000002</c:v>
                </c:pt>
                <c:pt idx="1643">
                  <c:v>5435885.0920000002</c:v>
                </c:pt>
                <c:pt idx="1644">
                  <c:v>5435885.0920000002</c:v>
                </c:pt>
                <c:pt idx="1645">
                  <c:v>5435885.0920000002</c:v>
                </c:pt>
                <c:pt idx="1646">
                  <c:v>5435885.0920000002</c:v>
                </c:pt>
                <c:pt idx="1647">
                  <c:v>5435885.0920000002</c:v>
                </c:pt>
                <c:pt idx="1648">
                  <c:v>5435364.1040000003</c:v>
                </c:pt>
                <c:pt idx="1649">
                  <c:v>5512284.1040000003</c:v>
                </c:pt>
                <c:pt idx="1650">
                  <c:v>5582349.1040000003</c:v>
                </c:pt>
                <c:pt idx="1651">
                  <c:v>5609379.1040000003</c:v>
                </c:pt>
                <c:pt idx="1652">
                  <c:v>5614809.1040000003</c:v>
                </c:pt>
                <c:pt idx="1653">
                  <c:v>5512869.1040000003</c:v>
                </c:pt>
                <c:pt idx="1654">
                  <c:v>5525454.1040000003</c:v>
                </c:pt>
                <c:pt idx="1655">
                  <c:v>5526609.1040000003</c:v>
                </c:pt>
                <c:pt idx="1656">
                  <c:v>5439429.1040000003</c:v>
                </c:pt>
                <c:pt idx="1657">
                  <c:v>5423724.1040000003</c:v>
                </c:pt>
                <c:pt idx="1658">
                  <c:v>5668299.1040000003</c:v>
                </c:pt>
                <c:pt idx="1659">
                  <c:v>5784444.1040000003</c:v>
                </c:pt>
                <c:pt idx="1660">
                  <c:v>5915544.1040000003</c:v>
                </c:pt>
                <c:pt idx="1661">
                  <c:v>5986014.1040000003</c:v>
                </c:pt>
                <c:pt idx="1662">
                  <c:v>5975349.1040000003</c:v>
                </c:pt>
                <c:pt idx="1663">
                  <c:v>5975964.1040000003</c:v>
                </c:pt>
                <c:pt idx="1664">
                  <c:v>5918469.1040000003</c:v>
                </c:pt>
                <c:pt idx="1665">
                  <c:v>5844849.1040000003</c:v>
                </c:pt>
                <c:pt idx="1666">
                  <c:v>5871684.1040000003</c:v>
                </c:pt>
                <c:pt idx="1667">
                  <c:v>5863074.1040000003</c:v>
                </c:pt>
                <c:pt idx="1668">
                  <c:v>5798859.1040000003</c:v>
                </c:pt>
                <c:pt idx="1669">
                  <c:v>5887944.1040000003</c:v>
                </c:pt>
                <c:pt idx="1670">
                  <c:v>5887059.1040000003</c:v>
                </c:pt>
                <c:pt idx="1671">
                  <c:v>5855499.1040000003</c:v>
                </c:pt>
                <c:pt idx="1672">
                  <c:v>5856324.1040000003</c:v>
                </c:pt>
                <c:pt idx="1673">
                  <c:v>5897904.1040000003</c:v>
                </c:pt>
                <c:pt idx="1674">
                  <c:v>5864634.1040000003</c:v>
                </c:pt>
                <c:pt idx="1675">
                  <c:v>5560974.1040000003</c:v>
                </c:pt>
                <c:pt idx="1676">
                  <c:v>5574569.1430000002</c:v>
                </c:pt>
                <c:pt idx="1677">
                  <c:v>5574569.1430000002</c:v>
                </c:pt>
                <c:pt idx="1678">
                  <c:v>5574569.1430000002</c:v>
                </c:pt>
                <c:pt idx="1679">
                  <c:v>5574569.1430000002</c:v>
                </c:pt>
                <c:pt idx="1680">
                  <c:v>5574569.1430000002</c:v>
                </c:pt>
                <c:pt idx="1681">
                  <c:v>5574569.1430000002</c:v>
                </c:pt>
                <c:pt idx="1682">
                  <c:v>5574569.1430000002</c:v>
                </c:pt>
                <c:pt idx="1683">
                  <c:v>5574569.1430000002</c:v>
                </c:pt>
                <c:pt idx="1684">
                  <c:v>5574569.1430000002</c:v>
                </c:pt>
                <c:pt idx="1685">
                  <c:v>5574569.1430000002</c:v>
                </c:pt>
                <c:pt idx="1686">
                  <c:v>5574569.1430000002</c:v>
                </c:pt>
                <c:pt idx="1687">
                  <c:v>5574569.1430000002</c:v>
                </c:pt>
                <c:pt idx="1688">
                  <c:v>5574569.1430000002</c:v>
                </c:pt>
                <c:pt idx="1689">
                  <c:v>5574569.1430000002</c:v>
                </c:pt>
                <c:pt idx="1690">
                  <c:v>5574569.1430000002</c:v>
                </c:pt>
                <c:pt idx="1691">
                  <c:v>5574569.1430000002</c:v>
                </c:pt>
                <c:pt idx="1692">
                  <c:v>5574569.1430000002</c:v>
                </c:pt>
                <c:pt idx="1693">
                  <c:v>5574569.1430000002</c:v>
                </c:pt>
                <c:pt idx="1694">
                  <c:v>5574569.1430000002</c:v>
                </c:pt>
                <c:pt idx="1695">
                  <c:v>5574569.1430000002</c:v>
                </c:pt>
                <c:pt idx="1696">
                  <c:v>5574569.1430000002</c:v>
                </c:pt>
                <c:pt idx="1697">
                  <c:v>5574569.1430000002</c:v>
                </c:pt>
                <c:pt idx="1698">
                  <c:v>5574569.1430000002</c:v>
                </c:pt>
                <c:pt idx="1699">
                  <c:v>5574569.1430000002</c:v>
                </c:pt>
                <c:pt idx="1700">
                  <c:v>5574569.1430000002</c:v>
                </c:pt>
                <c:pt idx="1701">
                  <c:v>5574569.1430000002</c:v>
                </c:pt>
                <c:pt idx="1702">
                  <c:v>5574569.1430000002</c:v>
                </c:pt>
                <c:pt idx="1703">
                  <c:v>5574569.1430000002</c:v>
                </c:pt>
                <c:pt idx="1704">
                  <c:v>5574569.1430000002</c:v>
                </c:pt>
                <c:pt idx="1705">
                  <c:v>5574569.1430000002</c:v>
                </c:pt>
                <c:pt idx="1706">
                  <c:v>5574569.1430000002</c:v>
                </c:pt>
                <c:pt idx="1707">
                  <c:v>5574569.1430000002</c:v>
                </c:pt>
                <c:pt idx="1708">
                  <c:v>5574569.1430000002</c:v>
                </c:pt>
                <c:pt idx="1709">
                  <c:v>5574569.1430000002</c:v>
                </c:pt>
                <c:pt idx="1710">
                  <c:v>5574569.1430000002</c:v>
                </c:pt>
                <c:pt idx="1711">
                  <c:v>5574569.1430000002</c:v>
                </c:pt>
                <c:pt idx="1712">
                  <c:v>5574569.1430000002</c:v>
                </c:pt>
                <c:pt idx="1713">
                  <c:v>5574569.1430000002</c:v>
                </c:pt>
                <c:pt idx="1714">
                  <c:v>5574569.1430000002</c:v>
                </c:pt>
                <c:pt idx="1715">
                  <c:v>5574569.1430000002</c:v>
                </c:pt>
                <c:pt idx="1716">
                  <c:v>5574569.1430000002</c:v>
                </c:pt>
                <c:pt idx="1717">
                  <c:v>5574569.1430000002</c:v>
                </c:pt>
                <c:pt idx="1718">
                  <c:v>5574026.9280000003</c:v>
                </c:pt>
                <c:pt idx="1719">
                  <c:v>5749453.9280000003</c:v>
                </c:pt>
                <c:pt idx="1720">
                  <c:v>5663877.9280000003</c:v>
                </c:pt>
                <c:pt idx="1721">
                  <c:v>5778409.9280000003</c:v>
                </c:pt>
                <c:pt idx="1722">
                  <c:v>5754298.9280000003</c:v>
                </c:pt>
                <c:pt idx="1723">
                  <c:v>5822926.9280000003</c:v>
                </c:pt>
                <c:pt idx="1724">
                  <c:v>5783083.9280000003</c:v>
                </c:pt>
                <c:pt idx="1725">
                  <c:v>5750631.9280000003</c:v>
                </c:pt>
                <c:pt idx="1726">
                  <c:v>5922258.9280000003</c:v>
                </c:pt>
                <c:pt idx="1727">
                  <c:v>5972190.9280000003</c:v>
                </c:pt>
                <c:pt idx="1728">
                  <c:v>5953912.9280000003</c:v>
                </c:pt>
                <c:pt idx="1729">
                  <c:v>5949903.9280000003</c:v>
                </c:pt>
                <c:pt idx="1730">
                  <c:v>6077735.9280000003</c:v>
                </c:pt>
                <c:pt idx="1731">
                  <c:v>6021666.9280000003</c:v>
                </c:pt>
                <c:pt idx="1732">
                  <c:v>6060027.9280000003</c:v>
                </c:pt>
                <c:pt idx="1733">
                  <c:v>5697507.9280000003</c:v>
                </c:pt>
                <c:pt idx="1734">
                  <c:v>5753139.9280000003</c:v>
                </c:pt>
                <c:pt idx="1735">
                  <c:v>5619075.9280000003</c:v>
                </c:pt>
                <c:pt idx="1736">
                  <c:v>5720193.9280000003</c:v>
                </c:pt>
                <c:pt idx="1737">
                  <c:v>5949409.9280000003</c:v>
                </c:pt>
                <c:pt idx="1738">
                  <c:v>5962880.9280000003</c:v>
                </c:pt>
                <c:pt idx="1739">
                  <c:v>6030273.9280000003</c:v>
                </c:pt>
                <c:pt idx="1740">
                  <c:v>6051078.9280000003</c:v>
                </c:pt>
                <c:pt idx="1741">
                  <c:v>6056455.9280000003</c:v>
                </c:pt>
                <c:pt idx="1742">
                  <c:v>5988511.9280000003</c:v>
                </c:pt>
                <c:pt idx="1743">
                  <c:v>5876295.4299999997</c:v>
                </c:pt>
                <c:pt idx="1744">
                  <c:v>5876295.4299999997</c:v>
                </c:pt>
                <c:pt idx="1745">
                  <c:v>5876295.4299999997</c:v>
                </c:pt>
                <c:pt idx="1746">
                  <c:v>5876295.4299999997</c:v>
                </c:pt>
                <c:pt idx="1747">
                  <c:v>5876295.4299999997</c:v>
                </c:pt>
                <c:pt idx="1748">
                  <c:v>5876295.4299999997</c:v>
                </c:pt>
                <c:pt idx="1749">
                  <c:v>5876295.4299999997</c:v>
                </c:pt>
                <c:pt idx="1750">
                  <c:v>5876295.4299999997</c:v>
                </c:pt>
                <c:pt idx="1751">
                  <c:v>5876295.4299999997</c:v>
                </c:pt>
                <c:pt idx="1752">
                  <c:v>5876295.4299999997</c:v>
                </c:pt>
                <c:pt idx="1753">
                  <c:v>5876295.4299999997</c:v>
                </c:pt>
                <c:pt idx="1754">
                  <c:v>5876295.4299999997</c:v>
                </c:pt>
                <c:pt idx="1755">
                  <c:v>5876295.4299999997</c:v>
                </c:pt>
                <c:pt idx="1756">
                  <c:v>5876295.4299999997</c:v>
                </c:pt>
                <c:pt idx="1757">
                  <c:v>5876295.4299999997</c:v>
                </c:pt>
                <c:pt idx="1758">
                  <c:v>5876295.4299999997</c:v>
                </c:pt>
                <c:pt idx="1759">
                  <c:v>5876295.4299999997</c:v>
                </c:pt>
                <c:pt idx="1760">
                  <c:v>5876295.4299999997</c:v>
                </c:pt>
                <c:pt idx="1761">
                  <c:v>5876295.4299999997</c:v>
                </c:pt>
                <c:pt idx="1762">
                  <c:v>5876295.4299999997</c:v>
                </c:pt>
                <c:pt idx="1763">
                  <c:v>5876295.4299999997</c:v>
                </c:pt>
                <c:pt idx="1764">
                  <c:v>5876295.4299999997</c:v>
                </c:pt>
                <c:pt idx="1765">
                  <c:v>5876295.4299999997</c:v>
                </c:pt>
                <c:pt idx="1766">
                  <c:v>5876295.4299999997</c:v>
                </c:pt>
                <c:pt idx="1767">
                  <c:v>5876295.4299999997</c:v>
                </c:pt>
                <c:pt idx="1768">
                  <c:v>5876295.4299999997</c:v>
                </c:pt>
                <c:pt idx="1769">
                  <c:v>5876295.4299999997</c:v>
                </c:pt>
                <c:pt idx="1770">
                  <c:v>5876295.4299999997</c:v>
                </c:pt>
                <c:pt idx="1771">
                  <c:v>5876295.4299999997</c:v>
                </c:pt>
                <c:pt idx="1772">
                  <c:v>5876295.4299999997</c:v>
                </c:pt>
                <c:pt idx="1773">
                  <c:v>5876295.4299999997</c:v>
                </c:pt>
                <c:pt idx="1774">
                  <c:v>5876295.4299999997</c:v>
                </c:pt>
                <c:pt idx="1775">
                  <c:v>5876295.4299999997</c:v>
                </c:pt>
                <c:pt idx="1776">
                  <c:v>5876295.4299999997</c:v>
                </c:pt>
                <c:pt idx="1777">
                  <c:v>5876295.4299999997</c:v>
                </c:pt>
                <c:pt idx="1778">
                  <c:v>5876295.4299999997</c:v>
                </c:pt>
                <c:pt idx="1779">
                  <c:v>5876295.4299999997</c:v>
                </c:pt>
                <c:pt idx="1780">
                  <c:v>5876295.4299999997</c:v>
                </c:pt>
                <c:pt idx="1781">
                  <c:v>5876295.4299999997</c:v>
                </c:pt>
                <c:pt idx="1782">
                  <c:v>5876295.4299999997</c:v>
                </c:pt>
                <c:pt idx="1783">
                  <c:v>5876295.4299999997</c:v>
                </c:pt>
                <c:pt idx="1784">
                  <c:v>5876295.4299999997</c:v>
                </c:pt>
                <c:pt idx="1785">
                  <c:v>5876295.4299999997</c:v>
                </c:pt>
                <c:pt idx="1786">
                  <c:v>5876295.4299999997</c:v>
                </c:pt>
                <c:pt idx="1787">
                  <c:v>5876295.4299999997</c:v>
                </c:pt>
                <c:pt idx="1788">
                  <c:v>5876295.4299999997</c:v>
                </c:pt>
                <c:pt idx="1789">
                  <c:v>5876295.4299999997</c:v>
                </c:pt>
                <c:pt idx="1790">
                  <c:v>5876295.4299999997</c:v>
                </c:pt>
                <c:pt idx="1791">
                  <c:v>5876295.4299999997</c:v>
                </c:pt>
                <c:pt idx="1792">
                  <c:v>5876295.4299999997</c:v>
                </c:pt>
                <c:pt idx="1793">
                  <c:v>5876295.4299999997</c:v>
                </c:pt>
                <c:pt idx="1794">
                  <c:v>5876295.4299999997</c:v>
                </c:pt>
                <c:pt idx="1795">
                  <c:v>5876295.4299999997</c:v>
                </c:pt>
                <c:pt idx="1796">
                  <c:v>5876295.4299999997</c:v>
                </c:pt>
                <c:pt idx="1797">
                  <c:v>5876295.4299999997</c:v>
                </c:pt>
                <c:pt idx="1798">
                  <c:v>5876295.4299999997</c:v>
                </c:pt>
                <c:pt idx="1799">
                  <c:v>5876295.4299999997</c:v>
                </c:pt>
                <c:pt idx="1800">
                  <c:v>5875726.5310000004</c:v>
                </c:pt>
                <c:pt idx="1801">
                  <c:v>5887516.5310000004</c:v>
                </c:pt>
                <c:pt idx="1802">
                  <c:v>5927530.5310000004</c:v>
                </c:pt>
                <c:pt idx="1803">
                  <c:v>5908558.5310000004</c:v>
                </c:pt>
                <c:pt idx="1804">
                  <c:v>5905426.5310000004</c:v>
                </c:pt>
                <c:pt idx="1805">
                  <c:v>5881918.5310000004</c:v>
                </c:pt>
                <c:pt idx="1806">
                  <c:v>5706148.5310000004</c:v>
                </c:pt>
                <c:pt idx="1807">
                  <c:v>5723500.5310000004</c:v>
                </c:pt>
                <c:pt idx="1808">
                  <c:v>5796202.5310000004</c:v>
                </c:pt>
                <c:pt idx="1809">
                  <c:v>5757142.5310000004</c:v>
                </c:pt>
                <c:pt idx="1810">
                  <c:v>5785384.5310000004</c:v>
                </c:pt>
                <c:pt idx="1811">
                  <c:v>5789542.5310000004</c:v>
                </c:pt>
                <c:pt idx="1812">
                  <c:v>5778112.5310000004</c:v>
                </c:pt>
                <c:pt idx="1813">
                  <c:v>5827864.5310000004</c:v>
                </c:pt>
                <c:pt idx="1814">
                  <c:v>5797912.5310000004</c:v>
                </c:pt>
                <c:pt idx="1815">
                  <c:v>5725624.5310000004</c:v>
                </c:pt>
                <c:pt idx="1816">
                  <c:v>5803708.5310000004</c:v>
                </c:pt>
                <c:pt idx="1817">
                  <c:v>5832256.5310000004</c:v>
                </c:pt>
                <c:pt idx="1818">
                  <c:v>5858671.2810000004</c:v>
                </c:pt>
                <c:pt idx="1819">
                  <c:v>5858671.2810000004</c:v>
                </c:pt>
                <c:pt idx="1820">
                  <c:v>5858671.2810000004</c:v>
                </c:pt>
                <c:pt idx="1821">
                  <c:v>5858671.2810000004</c:v>
                </c:pt>
                <c:pt idx="1822">
                  <c:v>5858671.2810000004</c:v>
                </c:pt>
                <c:pt idx="1823">
                  <c:v>5858671.2810000004</c:v>
                </c:pt>
                <c:pt idx="1824">
                  <c:v>5858671.2810000004</c:v>
                </c:pt>
                <c:pt idx="1825">
                  <c:v>5858671.2810000004</c:v>
                </c:pt>
                <c:pt idx="1826">
                  <c:v>5858671.2810000004</c:v>
                </c:pt>
                <c:pt idx="1827">
                  <c:v>5858671.2810000004</c:v>
                </c:pt>
                <c:pt idx="1828">
                  <c:v>5858671.2810000004</c:v>
                </c:pt>
                <c:pt idx="1829">
                  <c:v>5858671.2810000004</c:v>
                </c:pt>
                <c:pt idx="1830">
                  <c:v>5858671.2810000004</c:v>
                </c:pt>
                <c:pt idx="1831">
                  <c:v>5858671.2810000004</c:v>
                </c:pt>
                <c:pt idx="1832">
                  <c:v>5858671.2810000004</c:v>
                </c:pt>
                <c:pt idx="1833">
                  <c:v>5858671.2810000004</c:v>
                </c:pt>
                <c:pt idx="1834">
                  <c:v>5858671.2810000004</c:v>
                </c:pt>
                <c:pt idx="1835">
                  <c:v>5858671.2810000004</c:v>
                </c:pt>
                <c:pt idx="1836">
                  <c:v>5858671.2810000004</c:v>
                </c:pt>
                <c:pt idx="1837">
                  <c:v>5858671.2810000004</c:v>
                </c:pt>
                <c:pt idx="1838">
                  <c:v>5858671.2810000004</c:v>
                </c:pt>
                <c:pt idx="1839">
                  <c:v>5858671.2810000004</c:v>
                </c:pt>
                <c:pt idx="1840">
                  <c:v>5858671.2810000004</c:v>
                </c:pt>
                <c:pt idx="1841">
                  <c:v>5858671.2810000004</c:v>
                </c:pt>
                <c:pt idx="1842">
                  <c:v>5858671.2810000004</c:v>
                </c:pt>
                <c:pt idx="1843">
                  <c:v>5858671.2810000004</c:v>
                </c:pt>
                <c:pt idx="1844">
                  <c:v>5858671.2810000004</c:v>
                </c:pt>
                <c:pt idx="1845">
                  <c:v>5858671.2810000004</c:v>
                </c:pt>
                <c:pt idx="1846">
                  <c:v>5858671.2810000004</c:v>
                </c:pt>
                <c:pt idx="1847">
                  <c:v>5858671.2810000004</c:v>
                </c:pt>
                <c:pt idx="1848">
                  <c:v>5858671.2810000004</c:v>
                </c:pt>
                <c:pt idx="1849">
                  <c:v>5858671.2810000004</c:v>
                </c:pt>
                <c:pt idx="1850">
                  <c:v>5858671.2810000004</c:v>
                </c:pt>
                <c:pt idx="1851">
                  <c:v>5858671.2810000004</c:v>
                </c:pt>
                <c:pt idx="1852">
                  <c:v>5858096.9780000001</c:v>
                </c:pt>
                <c:pt idx="1853">
                  <c:v>5849256.9780000001</c:v>
                </c:pt>
                <c:pt idx="1854">
                  <c:v>5834704.9780000001</c:v>
                </c:pt>
                <c:pt idx="1855">
                  <c:v>5835605.9780000001</c:v>
                </c:pt>
                <c:pt idx="1856">
                  <c:v>5787614.9780000001</c:v>
                </c:pt>
                <c:pt idx="1857">
                  <c:v>5796182.9780000001</c:v>
                </c:pt>
                <c:pt idx="1858">
                  <c:v>5775833.9780000001</c:v>
                </c:pt>
                <c:pt idx="1859">
                  <c:v>5740320.9780000001</c:v>
                </c:pt>
                <c:pt idx="1860">
                  <c:v>5737124.9780000001</c:v>
                </c:pt>
                <c:pt idx="1861">
                  <c:v>5738297.9780000001</c:v>
                </c:pt>
                <c:pt idx="1862">
                  <c:v>5745454.9780000001</c:v>
                </c:pt>
                <c:pt idx="1863">
                  <c:v>5772314.9780000001</c:v>
                </c:pt>
                <c:pt idx="1864">
                  <c:v>5727757.9780000001</c:v>
                </c:pt>
                <c:pt idx="1865">
                  <c:v>5749058.9780000001</c:v>
                </c:pt>
                <c:pt idx="1866">
                  <c:v>5758527.9780000001</c:v>
                </c:pt>
                <c:pt idx="1867">
                  <c:v>5797542.9780000001</c:v>
                </c:pt>
                <c:pt idx="1868">
                  <c:v>5794465.9780000001</c:v>
                </c:pt>
                <c:pt idx="1869">
                  <c:v>5792323.9780000001</c:v>
                </c:pt>
                <c:pt idx="1870">
                  <c:v>5755739.9780000001</c:v>
                </c:pt>
                <c:pt idx="1871">
                  <c:v>5661491.9780000001</c:v>
                </c:pt>
                <c:pt idx="1872">
                  <c:v>5657632.9780000001</c:v>
                </c:pt>
                <c:pt idx="1873">
                  <c:v>5620912.9780000001</c:v>
                </c:pt>
                <c:pt idx="1874">
                  <c:v>5662375.9780000001</c:v>
                </c:pt>
                <c:pt idx="1875">
                  <c:v>5652651.9780000001</c:v>
                </c:pt>
                <c:pt idx="1876">
                  <c:v>5668359.9780000001</c:v>
                </c:pt>
                <c:pt idx="1877">
                  <c:v>5709975.9780000001</c:v>
                </c:pt>
                <c:pt idx="1878">
                  <c:v>5683710.9780000001</c:v>
                </c:pt>
                <c:pt idx="1879">
                  <c:v>5589547.9780000001</c:v>
                </c:pt>
                <c:pt idx="1880">
                  <c:v>5624346.9780000001</c:v>
                </c:pt>
                <c:pt idx="1881">
                  <c:v>5607584.9780000001</c:v>
                </c:pt>
                <c:pt idx="1882">
                  <c:v>5630534.9780000001</c:v>
                </c:pt>
                <c:pt idx="1883">
                  <c:v>5645647.9780000001</c:v>
                </c:pt>
                <c:pt idx="1884">
                  <c:v>5714650.9780000001</c:v>
                </c:pt>
                <c:pt idx="1885">
                  <c:v>5736223.9780000001</c:v>
                </c:pt>
                <c:pt idx="1886">
                  <c:v>5725088.9780000001</c:v>
                </c:pt>
                <c:pt idx="1887">
                  <c:v>5729576.9780000001</c:v>
                </c:pt>
                <c:pt idx="1888">
                  <c:v>5735016.9780000001</c:v>
                </c:pt>
                <c:pt idx="1889">
                  <c:v>5687467.9780000001</c:v>
                </c:pt>
                <c:pt idx="1890">
                  <c:v>5761332.9780000001</c:v>
                </c:pt>
                <c:pt idx="1891">
                  <c:v>5752679.9780000001</c:v>
                </c:pt>
                <c:pt idx="1892">
                  <c:v>5756691.9780000001</c:v>
                </c:pt>
                <c:pt idx="1893">
                  <c:v>5772229.9780000001</c:v>
                </c:pt>
                <c:pt idx="1894">
                  <c:v>5839957.9780000001</c:v>
                </c:pt>
                <c:pt idx="1895">
                  <c:v>5839736.9780000001</c:v>
                </c:pt>
                <c:pt idx="1896">
                  <c:v>5818231.9780000001</c:v>
                </c:pt>
                <c:pt idx="1897">
                  <c:v>5802761.9780000001</c:v>
                </c:pt>
                <c:pt idx="1898">
                  <c:v>5793292.9780000001</c:v>
                </c:pt>
                <c:pt idx="1899">
                  <c:v>5786747.9780000001</c:v>
                </c:pt>
                <c:pt idx="1900">
                  <c:v>5825456.9780000001</c:v>
                </c:pt>
                <c:pt idx="1901">
                  <c:v>5781766.9780000001</c:v>
                </c:pt>
                <c:pt idx="1902">
                  <c:v>5835724.9780000001</c:v>
                </c:pt>
                <c:pt idx="1903">
                  <c:v>5817160.9780000001</c:v>
                </c:pt>
                <c:pt idx="1904">
                  <c:v>5821274.9780000001</c:v>
                </c:pt>
                <c:pt idx="1905">
                  <c:v>5845975.9780000001</c:v>
                </c:pt>
                <c:pt idx="1906">
                  <c:v>5815256.9780000001</c:v>
                </c:pt>
                <c:pt idx="1907">
                  <c:v>5879108.9780000001</c:v>
                </c:pt>
                <c:pt idx="1908">
                  <c:v>5924345.9780000001</c:v>
                </c:pt>
                <c:pt idx="1909">
                  <c:v>5946496.9780000001</c:v>
                </c:pt>
                <c:pt idx="1910">
                  <c:v>5945850.9780000001</c:v>
                </c:pt>
                <c:pt idx="1911">
                  <c:v>5945374.9780000001</c:v>
                </c:pt>
                <c:pt idx="1912">
                  <c:v>5957189.9780000001</c:v>
                </c:pt>
                <c:pt idx="1913">
                  <c:v>5924753.9780000001</c:v>
                </c:pt>
                <c:pt idx="1914">
                  <c:v>5964958.9780000001</c:v>
                </c:pt>
                <c:pt idx="1915">
                  <c:v>6011283.9780000001</c:v>
                </c:pt>
                <c:pt idx="1916">
                  <c:v>6022112.9780000001</c:v>
                </c:pt>
                <c:pt idx="1917">
                  <c:v>6045929.9780000001</c:v>
                </c:pt>
                <c:pt idx="1918">
                  <c:v>6101281.9780000001</c:v>
                </c:pt>
                <c:pt idx="1919">
                  <c:v>6124707.9780000001</c:v>
                </c:pt>
                <c:pt idx="1920">
                  <c:v>6173939.9780000001</c:v>
                </c:pt>
                <c:pt idx="1921">
                  <c:v>6129671.9780000001</c:v>
                </c:pt>
                <c:pt idx="1922">
                  <c:v>6175639.9780000001</c:v>
                </c:pt>
                <c:pt idx="1923">
                  <c:v>6114286.9780000001</c:v>
                </c:pt>
                <c:pt idx="1924">
                  <c:v>6013068.9780000001</c:v>
                </c:pt>
                <c:pt idx="1925">
                  <c:v>5995626.9780000001</c:v>
                </c:pt>
                <c:pt idx="1926">
                  <c:v>6023846.9780000001</c:v>
                </c:pt>
                <c:pt idx="1927">
                  <c:v>6014309.9780000001</c:v>
                </c:pt>
                <c:pt idx="1928">
                  <c:v>6054361.9780000001</c:v>
                </c:pt>
                <c:pt idx="1929">
                  <c:v>5910677.9780000001</c:v>
                </c:pt>
                <c:pt idx="1930">
                  <c:v>5903639.9780000001</c:v>
                </c:pt>
                <c:pt idx="1931">
                  <c:v>5859286.9780000001</c:v>
                </c:pt>
                <c:pt idx="1932">
                  <c:v>5793802.9780000001</c:v>
                </c:pt>
                <c:pt idx="1933">
                  <c:v>5803322.9780000001</c:v>
                </c:pt>
                <c:pt idx="1934">
                  <c:v>5774337.9780000001</c:v>
                </c:pt>
                <c:pt idx="1935">
                  <c:v>5740473.9780000001</c:v>
                </c:pt>
                <c:pt idx="1936">
                  <c:v>5790589.9780000001</c:v>
                </c:pt>
                <c:pt idx="1937">
                  <c:v>5785710.9780000001</c:v>
                </c:pt>
                <c:pt idx="1938">
                  <c:v>5737991.9780000001</c:v>
                </c:pt>
                <c:pt idx="1939">
                  <c:v>5763151.9780000001</c:v>
                </c:pt>
                <c:pt idx="1940">
                  <c:v>5752934.9780000001</c:v>
                </c:pt>
                <c:pt idx="1941">
                  <c:v>5728284.9780000001</c:v>
                </c:pt>
                <c:pt idx="1942">
                  <c:v>5721263.9780000001</c:v>
                </c:pt>
                <c:pt idx="1943">
                  <c:v>5742207.9780000001</c:v>
                </c:pt>
                <c:pt idx="1944">
                  <c:v>5796862.9780000001</c:v>
                </c:pt>
                <c:pt idx="1945">
                  <c:v>5841198.9780000001</c:v>
                </c:pt>
                <c:pt idx="1946">
                  <c:v>5840314.9780000001</c:v>
                </c:pt>
                <c:pt idx="1947">
                  <c:v>5806110.9780000001</c:v>
                </c:pt>
                <c:pt idx="1948">
                  <c:v>5833701.9780000001</c:v>
                </c:pt>
                <c:pt idx="1949">
                  <c:v>5824130.9780000001</c:v>
                </c:pt>
                <c:pt idx="1950">
                  <c:v>5783721.9780000001</c:v>
                </c:pt>
                <c:pt idx="1951">
                  <c:v>5755025.9780000001</c:v>
                </c:pt>
                <c:pt idx="1952">
                  <c:v>5758918.9780000001</c:v>
                </c:pt>
                <c:pt idx="1953">
                  <c:v>5758136.9780000001</c:v>
                </c:pt>
                <c:pt idx="1954">
                  <c:v>5769883.9780000001</c:v>
                </c:pt>
                <c:pt idx="1955">
                  <c:v>5792000.9780000001</c:v>
                </c:pt>
                <c:pt idx="1956">
                  <c:v>5774864.9780000001</c:v>
                </c:pt>
                <c:pt idx="1957">
                  <c:v>5818384.9780000001</c:v>
                </c:pt>
                <c:pt idx="1958">
                  <c:v>5834007.9780000001</c:v>
                </c:pt>
                <c:pt idx="1959">
                  <c:v>5834636.9780000001</c:v>
                </c:pt>
                <c:pt idx="1960">
                  <c:v>5854101.9780000001</c:v>
                </c:pt>
                <c:pt idx="1961">
                  <c:v>5874603.9780000001</c:v>
                </c:pt>
                <c:pt idx="1962">
                  <c:v>5834133.0149999997</c:v>
                </c:pt>
                <c:pt idx="1963">
                  <c:v>5834133.0149999997</c:v>
                </c:pt>
                <c:pt idx="1964">
                  <c:v>5834133.0149999997</c:v>
                </c:pt>
                <c:pt idx="1965">
                  <c:v>5834133.0149999997</c:v>
                </c:pt>
                <c:pt idx="1966">
                  <c:v>5834133.0149999997</c:v>
                </c:pt>
                <c:pt idx="1967">
                  <c:v>5834133.0149999997</c:v>
                </c:pt>
                <c:pt idx="1968">
                  <c:v>5834133.0149999997</c:v>
                </c:pt>
                <c:pt idx="1969">
                  <c:v>5834133.0149999997</c:v>
                </c:pt>
                <c:pt idx="1970">
                  <c:v>5834133.0149999997</c:v>
                </c:pt>
                <c:pt idx="1971">
                  <c:v>5834133.0149999997</c:v>
                </c:pt>
                <c:pt idx="1972">
                  <c:v>5834133.0149999997</c:v>
                </c:pt>
                <c:pt idx="1973">
                  <c:v>5834133.0149999997</c:v>
                </c:pt>
                <c:pt idx="1974">
                  <c:v>5833575.7640000004</c:v>
                </c:pt>
                <c:pt idx="1975">
                  <c:v>5844679.7640000004</c:v>
                </c:pt>
                <c:pt idx="1976">
                  <c:v>5818375.7640000004</c:v>
                </c:pt>
                <c:pt idx="1977">
                  <c:v>5819223.7640000004</c:v>
                </c:pt>
                <c:pt idx="1978">
                  <c:v>5775015.7640000004</c:v>
                </c:pt>
                <c:pt idx="1979">
                  <c:v>5785559.7640000004</c:v>
                </c:pt>
                <c:pt idx="1980">
                  <c:v>5794567.7640000004</c:v>
                </c:pt>
                <c:pt idx="1981">
                  <c:v>5757223.7640000004</c:v>
                </c:pt>
                <c:pt idx="1982">
                  <c:v>5745639.7640000004</c:v>
                </c:pt>
                <c:pt idx="1983">
                  <c:v>5775431.7640000004</c:v>
                </c:pt>
                <c:pt idx="1984">
                  <c:v>5787399.7640000004</c:v>
                </c:pt>
                <c:pt idx="1985">
                  <c:v>5779031.7640000004</c:v>
                </c:pt>
                <c:pt idx="1986">
                  <c:v>5744167.7640000004</c:v>
                </c:pt>
                <c:pt idx="1987">
                  <c:v>5745687.7640000004</c:v>
                </c:pt>
                <c:pt idx="1988">
                  <c:v>5794023.7640000004</c:v>
                </c:pt>
                <c:pt idx="1989">
                  <c:v>5791767.7640000004</c:v>
                </c:pt>
                <c:pt idx="1990">
                  <c:v>5802887.7640000004</c:v>
                </c:pt>
                <c:pt idx="1991">
                  <c:v>5831479.7640000004</c:v>
                </c:pt>
                <c:pt idx="1992">
                  <c:v>5774359.7640000004</c:v>
                </c:pt>
                <c:pt idx="1993">
                  <c:v>5780439.7640000004</c:v>
                </c:pt>
                <c:pt idx="1994">
                  <c:v>5807223.7640000004</c:v>
                </c:pt>
                <c:pt idx="1995">
                  <c:v>5781143.7640000004</c:v>
                </c:pt>
                <c:pt idx="1996">
                  <c:v>5800231.7640000004</c:v>
                </c:pt>
                <c:pt idx="1997">
                  <c:v>5844423.7640000004</c:v>
                </c:pt>
                <c:pt idx="1998">
                  <c:v>5825927.7640000004</c:v>
                </c:pt>
                <c:pt idx="1999">
                  <c:v>5812759.7640000004</c:v>
                </c:pt>
                <c:pt idx="2000">
                  <c:v>5805367.7640000004</c:v>
                </c:pt>
                <c:pt idx="2001">
                  <c:v>5759879.7640000004</c:v>
                </c:pt>
                <c:pt idx="2002">
                  <c:v>5790743.7640000004</c:v>
                </c:pt>
                <c:pt idx="2003">
                  <c:v>5867287.7640000004</c:v>
                </c:pt>
                <c:pt idx="2004">
                  <c:v>5883543.7640000004</c:v>
                </c:pt>
                <c:pt idx="2005">
                  <c:v>5888999.7640000004</c:v>
                </c:pt>
                <c:pt idx="2006">
                  <c:v>5869287.7640000004</c:v>
                </c:pt>
                <c:pt idx="2007">
                  <c:v>5888791.7640000004</c:v>
                </c:pt>
                <c:pt idx="2008">
                  <c:v>5876167.7640000004</c:v>
                </c:pt>
                <c:pt idx="2009">
                  <c:v>5884375.7640000004</c:v>
                </c:pt>
                <c:pt idx="2010">
                  <c:v>5839463.7640000004</c:v>
                </c:pt>
                <c:pt idx="2011">
                  <c:v>5828967.7640000004</c:v>
                </c:pt>
                <c:pt idx="2012">
                  <c:v>5801447.7640000004</c:v>
                </c:pt>
                <c:pt idx="2013">
                  <c:v>5774471.7640000004</c:v>
                </c:pt>
                <c:pt idx="2014">
                  <c:v>5799543.7640000004</c:v>
                </c:pt>
                <c:pt idx="2015">
                  <c:v>5807927.7640000004</c:v>
                </c:pt>
                <c:pt idx="2016">
                  <c:v>5751079.7640000004</c:v>
                </c:pt>
                <c:pt idx="2017">
                  <c:v>5766615.7640000004</c:v>
                </c:pt>
                <c:pt idx="2018">
                  <c:v>5773351.7640000004</c:v>
                </c:pt>
                <c:pt idx="2019">
                  <c:v>5775815.7640000004</c:v>
                </c:pt>
                <c:pt idx="2020">
                  <c:v>5764663.7640000004</c:v>
                </c:pt>
                <c:pt idx="2021">
                  <c:v>5743591.7640000004</c:v>
                </c:pt>
                <c:pt idx="2022">
                  <c:v>5722071.7640000004</c:v>
                </c:pt>
                <c:pt idx="2023">
                  <c:v>5708087.7640000004</c:v>
                </c:pt>
                <c:pt idx="2024">
                  <c:v>5673143.7640000004</c:v>
                </c:pt>
                <c:pt idx="2025">
                  <c:v>5635159.7640000004</c:v>
                </c:pt>
                <c:pt idx="2026">
                  <c:v>5625111.7640000004</c:v>
                </c:pt>
                <c:pt idx="2027">
                  <c:v>5601383.7640000004</c:v>
                </c:pt>
                <c:pt idx="2028">
                  <c:v>5631703.7640000004</c:v>
                </c:pt>
                <c:pt idx="2029">
                  <c:v>5677671.7640000004</c:v>
                </c:pt>
                <c:pt idx="2030">
                  <c:v>5699767.7640000004</c:v>
                </c:pt>
                <c:pt idx="2031">
                  <c:v>5746903.7640000004</c:v>
                </c:pt>
                <c:pt idx="2032">
                  <c:v>5717015.7640000004</c:v>
                </c:pt>
                <c:pt idx="2033">
                  <c:v>5698039.7640000004</c:v>
                </c:pt>
                <c:pt idx="2034">
                  <c:v>5707223.7640000004</c:v>
                </c:pt>
                <c:pt idx="2035">
                  <c:v>5719047.7640000004</c:v>
                </c:pt>
                <c:pt idx="2036">
                  <c:v>5739767.7640000004</c:v>
                </c:pt>
                <c:pt idx="2037">
                  <c:v>5739735.7640000004</c:v>
                </c:pt>
                <c:pt idx="2038">
                  <c:v>5838119.7640000004</c:v>
                </c:pt>
                <c:pt idx="2039">
                  <c:v>5829751.7640000004</c:v>
                </c:pt>
                <c:pt idx="2040">
                  <c:v>5849671.7640000004</c:v>
                </c:pt>
                <c:pt idx="2041">
                  <c:v>5857447.7640000004</c:v>
                </c:pt>
                <c:pt idx="2042">
                  <c:v>5839479.7640000004</c:v>
                </c:pt>
                <c:pt idx="2043">
                  <c:v>5811063.7640000004</c:v>
                </c:pt>
                <c:pt idx="2044">
                  <c:v>5849671.7640000004</c:v>
                </c:pt>
                <c:pt idx="2045">
                  <c:v>5915255.7640000004</c:v>
                </c:pt>
                <c:pt idx="2046">
                  <c:v>5958631.7640000004</c:v>
                </c:pt>
                <c:pt idx="2047">
                  <c:v>5982935.7640000004</c:v>
                </c:pt>
                <c:pt idx="2048">
                  <c:v>5980087.7640000004</c:v>
                </c:pt>
                <c:pt idx="2049">
                  <c:v>5992695.7640000004</c:v>
                </c:pt>
                <c:pt idx="2050">
                  <c:v>5917543.7640000004</c:v>
                </c:pt>
                <c:pt idx="2051">
                  <c:v>5907127.7640000004</c:v>
                </c:pt>
                <c:pt idx="2052">
                  <c:v>5891079.7640000004</c:v>
                </c:pt>
                <c:pt idx="2053">
                  <c:v>5946935.7640000004</c:v>
                </c:pt>
                <c:pt idx="2054">
                  <c:v>5935447.7640000004</c:v>
                </c:pt>
                <c:pt idx="2055">
                  <c:v>6001799.7640000004</c:v>
                </c:pt>
                <c:pt idx="2056">
                  <c:v>6005607.7640000004</c:v>
                </c:pt>
                <c:pt idx="2057">
                  <c:v>6057671.7640000004</c:v>
                </c:pt>
                <c:pt idx="2058">
                  <c:v>6130007.7640000004</c:v>
                </c:pt>
                <c:pt idx="2059">
                  <c:v>6140615.7640000004</c:v>
                </c:pt>
                <c:pt idx="2060">
                  <c:v>6094935.7640000004</c:v>
                </c:pt>
                <c:pt idx="2061">
                  <c:v>6131191.7640000004</c:v>
                </c:pt>
                <c:pt idx="2062">
                  <c:v>6127943.7640000004</c:v>
                </c:pt>
                <c:pt idx="2063">
                  <c:v>6102423.7640000004</c:v>
                </c:pt>
                <c:pt idx="2064">
                  <c:v>6053031.7640000004</c:v>
                </c:pt>
                <c:pt idx="2065">
                  <c:v>6116551.7640000004</c:v>
                </c:pt>
                <c:pt idx="2066">
                  <c:v>6117223.7640000004</c:v>
                </c:pt>
                <c:pt idx="2067">
                  <c:v>6110551.7640000004</c:v>
                </c:pt>
                <c:pt idx="2068">
                  <c:v>6106967.7640000004</c:v>
                </c:pt>
                <c:pt idx="2069">
                  <c:v>6134359.7640000004</c:v>
                </c:pt>
                <c:pt idx="2070">
                  <c:v>6115175.7640000004</c:v>
                </c:pt>
                <c:pt idx="2071">
                  <c:v>6160135.7640000004</c:v>
                </c:pt>
                <c:pt idx="2072">
                  <c:v>6186007.7640000004</c:v>
                </c:pt>
                <c:pt idx="2073">
                  <c:v>6122759.7640000004</c:v>
                </c:pt>
                <c:pt idx="2074">
                  <c:v>6128551.7640000004</c:v>
                </c:pt>
                <c:pt idx="2075">
                  <c:v>6228663.7640000004</c:v>
                </c:pt>
                <c:pt idx="2076">
                  <c:v>6257671.7640000004</c:v>
                </c:pt>
                <c:pt idx="2077">
                  <c:v>6226823.7640000004</c:v>
                </c:pt>
                <c:pt idx="2078">
                  <c:v>6250615.7640000004</c:v>
                </c:pt>
                <c:pt idx="2079">
                  <c:v>6212359.7640000004</c:v>
                </c:pt>
                <c:pt idx="2080">
                  <c:v>6189687.7640000004</c:v>
                </c:pt>
                <c:pt idx="2081">
                  <c:v>6200567.7640000004</c:v>
                </c:pt>
                <c:pt idx="2082">
                  <c:v>6216087.7640000004</c:v>
                </c:pt>
                <c:pt idx="2083">
                  <c:v>6241655.7640000004</c:v>
                </c:pt>
                <c:pt idx="2084">
                  <c:v>6293671.7640000004</c:v>
                </c:pt>
                <c:pt idx="2085">
                  <c:v>6278423.7640000004</c:v>
                </c:pt>
                <c:pt idx="2086">
                  <c:v>6225591.7640000004</c:v>
                </c:pt>
                <c:pt idx="2087">
                  <c:v>6193191.7640000004</c:v>
                </c:pt>
                <c:pt idx="2088">
                  <c:v>6223927.7640000004</c:v>
                </c:pt>
                <c:pt idx="2089">
                  <c:v>6232599.7640000004</c:v>
                </c:pt>
                <c:pt idx="2090">
                  <c:v>6230130.7970000003</c:v>
                </c:pt>
                <c:pt idx="2091">
                  <c:v>6230130.7970000003</c:v>
                </c:pt>
                <c:pt idx="2092">
                  <c:v>6230130.7970000003</c:v>
                </c:pt>
                <c:pt idx="2093">
                  <c:v>6230130.7970000003</c:v>
                </c:pt>
                <c:pt idx="2094">
                  <c:v>6230130.7970000003</c:v>
                </c:pt>
                <c:pt idx="2095">
                  <c:v>6230130.7970000003</c:v>
                </c:pt>
                <c:pt idx="2096">
                  <c:v>6230130.7970000003</c:v>
                </c:pt>
                <c:pt idx="2097">
                  <c:v>6230130.7970000003</c:v>
                </c:pt>
                <c:pt idx="2098">
                  <c:v>6230130.7970000003</c:v>
                </c:pt>
                <c:pt idx="2099">
                  <c:v>6230130.7970000003</c:v>
                </c:pt>
                <c:pt idx="2100">
                  <c:v>6230130.7970000003</c:v>
                </c:pt>
                <c:pt idx="2101">
                  <c:v>6230130.7970000003</c:v>
                </c:pt>
                <c:pt idx="2102">
                  <c:v>6230130.7970000003</c:v>
                </c:pt>
                <c:pt idx="2103">
                  <c:v>6230130.7970000003</c:v>
                </c:pt>
                <c:pt idx="2104">
                  <c:v>6230130.7970000003</c:v>
                </c:pt>
                <c:pt idx="2105">
                  <c:v>6230130.7970000003</c:v>
                </c:pt>
                <c:pt idx="2106">
                  <c:v>6230130.7970000003</c:v>
                </c:pt>
                <c:pt idx="2107">
                  <c:v>6230130.7970000003</c:v>
                </c:pt>
                <c:pt idx="2108">
                  <c:v>6230130.7970000003</c:v>
                </c:pt>
                <c:pt idx="2109">
                  <c:v>6230130.7970000003</c:v>
                </c:pt>
                <c:pt idx="2110">
                  <c:v>6230130.7970000003</c:v>
                </c:pt>
                <c:pt idx="2111">
                  <c:v>6230130.7970000003</c:v>
                </c:pt>
                <c:pt idx="2112">
                  <c:v>6229518.6390000004</c:v>
                </c:pt>
                <c:pt idx="2113">
                  <c:v>6228974.6390000004</c:v>
                </c:pt>
                <c:pt idx="2114">
                  <c:v>6248622.6390000004</c:v>
                </c:pt>
                <c:pt idx="2115">
                  <c:v>6256110.6390000004</c:v>
                </c:pt>
                <c:pt idx="2116">
                  <c:v>6235870.6390000004</c:v>
                </c:pt>
                <c:pt idx="2117">
                  <c:v>6238014.6390000004</c:v>
                </c:pt>
                <c:pt idx="2118">
                  <c:v>6256958.6390000004</c:v>
                </c:pt>
                <c:pt idx="2119">
                  <c:v>6239326.6390000004</c:v>
                </c:pt>
                <c:pt idx="2120">
                  <c:v>6255223.8480000002</c:v>
                </c:pt>
                <c:pt idx="2121">
                  <c:v>6255223.8480000002</c:v>
                </c:pt>
                <c:pt idx="2122">
                  <c:v>6255223.8480000002</c:v>
                </c:pt>
                <c:pt idx="2123">
                  <c:v>6255223.8480000002</c:v>
                </c:pt>
                <c:pt idx="2124">
                  <c:v>6255223.8480000002</c:v>
                </c:pt>
                <c:pt idx="2125">
                  <c:v>6255223.8480000002</c:v>
                </c:pt>
                <c:pt idx="2126">
                  <c:v>6255223.8480000002</c:v>
                </c:pt>
                <c:pt idx="2127">
                  <c:v>6254610.0080000004</c:v>
                </c:pt>
                <c:pt idx="2128">
                  <c:v>6327746.0080000004</c:v>
                </c:pt>
                <c:pt idx="2129">
                  <c:v>6339986.0080000004</c:v>
                </c:pt>
                <c:pt idx="2130">
                  <c:v>6360514.0080000004</c:v>
                </c:pt>
                <c:pt idx="2131">
                  <c:v>6376930.0080000004</c:v>
                </c:pt>
                <c:pt idx="2132">
                  <c:v>6389810.0080000004</c:v>
                </c:pt>
                <c:pt idx="2133">
                  <c:v>6377730.0080000004</c:v>
                </c:pt>
                <c:pt idx="2134">
                  <c:v>6377122.0080000004</c:v>
                </c:pt>
                <c:pt idx="2135">
                  <c:v>6426866.0080000004</c:v>
                </c:pt>
                <c:pt idx="2136">
                  <c:v>6406210.0080000004</c:v>
                </c:pt>
                <c:pt idx="2137">
                  <c:v>6399170.0080000004</c:v>
                </c:pt>
                <c:pt idx="2138">
                  <c:v>6405490.0080000004</c:v>
                </c:pt>
                <c:pt idx="2139">
                  <c:v>6451250.0080000004</c:v>
                </c:pt>
                <c:pt idx="2140">
                  <c:v>6479330.0080000004</c:v>
                </c:pt>
                <c:pt idx="2141">
                  <c:v>6505938.0080000004</c:v>
                </c:pt>
                <c:pt idx="2142">
                  <c:v>6551362.0080000004</c:v>
                </c:pt>
                <c:pt idx="2143">
                  <c:v>6531762.0080000004</c:v>
                </c:pt>
                <c:pt idx="2144">
                  <c:v>6526962.0080000004</c:v>
                </c:pt>
                <c:pt idx="2145">
                  <c:v>6510802.0080000004</c:v>
                </c:pt>
                <c:pt idx="2146">
                  <c:v>6511618.0080000004</c:v>
                </c:pt>
                <c:pt idx="2147">
                  <c:v>6504530.0080000004</c:v>
                </c:pt>
                <c:pt idx="2148">
                  <c:v>6549634.0080000004</c:v>
                </c:pt>
                <c:pt idx="2149">
                  <c:v>6603010.0080000004</c:v>
                </c:pt>
                <c:pt idx="2150">
                  <c:v>6593026.0080000004</c:v>
                </c:pt>
                <c:pt idx="2151">
                  <c:v>6637650.0080000004</c:v>
                </c:pt>
                <c:pt idx="2152">
                  <c:v>6695266.0080000004</c:v>
                </c:pt>
                <c:pt idx="2153">
                  <c:v>6721122.0080000004</c:v>
                </c:pt>
                <c:pt idx="2154">
                  <c:v>6675170.0080000004</c:v>
                </c:pt>
                <c:pt idx="2155">
                  <c:v>6634082.0080000004</c:v>
                </c:pt>
                <c:pt idx="2156">
                  <c:v>6684226.0080000004</c:v>
                </c:pt>
                <c:pt idx="2157">
                  <c:v>6709570.0080000004</c:v>
                </c:pt>
                <c:pt idx="2158">
                  <c:v>6746338.0080000004</c:v>
                </c:pt>
                <c:pt idx="2159">
                  <c:v>6864530.0080000004</c:v>
                </c:pt>
                <c:pt idx="2160">
                  <c:v>6880322.0080000004</c:v>
                </c:pt>
                <c:pt idx="2161">
                  <c:v>6680050.0080000004</c:v>
                </c:pt>
                <c:pt idx="2162">
                  <c:v>6682930.0080000004</c:v>
                </c:pt>
                <c:pt idx="2163">
                  <c:v>6596130.0080000004</c:v>
                </c:pt>
                <c:pt idx="2164">
                  <c:v>6605522.0080000004</c:v>
                </c:pt>
                <c:pt idx="2165">
                  <c:v>6602210.0080000004</c:v>
                </c:pt>
                <c:pt idx="2166">
                  <c:v>6525970.0080000004</c:v>
                </c:pt>
                <c:pt idx="2167">
                  <c:v>6513234.0080000004</c:v>
                </c:pt>
                <c:pt idx="2168">
                  <c:v>6546386.0080000004</c:v>
                </c:pt>
                <c:pt idx="2169">
                  <c:v>6580482.0080000004</c:v>
                </c:pt>
                <c:pt idx="2170">
                  <c:v>6541522.0080000004</c:v>
                </c:pt>
                <c:pt idx="2171">
                  <c:v>6469906.0080000004</c:v>
                </c:pt>
                <c:pt idx="2172">
                  <c:v>6521618.0080000004</c:v>
                </c:pt>
                <c:pt idx="2173">
                  <c:v>6627410.0080000004</c:v>
                </c:pt>
                <c:pt idx="2174">
                  <c:v>6541842.0080000004</c:v>
                </c:pt>
                <c:pt idx="2175">
                  <c:v>6596354.0080000004</c:v>
                </c:pt>
                <c:pt idx="2176">
                  <c:v>6558050.0080000004</c:v>
                </c:pt>
                <c:pt idx="2177">
                  <c:v>6485586.0080000004</c:v>
                </c:pt>
                <c:pt idx="2178">
                  <c:v>6492674.0080000004</c:v>
                </c:pt>
                <c:pt idx="2179">
                  <c:v>6572738.0080000004</c:v>
                </c:pt>
                <c:pt idx="2180">
                  <c:v>6564994.0080000004</c:v>
                </c:pt>
                <c:pt idx="2181">
                  <c:v>6624770.0080000004</c:v>
                </c:pt>
                <c:pt idx="2182">
                  <c:v>6603570.0080000004</c:v>
                </c:pt>
                <c:pt idx="2183">
                  <c:v>6582674.0080000004</c:v>
                </c:pt>
                <c:pt idx="2184">
                  <c:v>6602002.0080000004</c:v>
                </c:pt>
                <c:pt idx="2185">
                  <c:v>6502146.0080000004</c:v>
                </c:pt>
                <c:pt idx="2186">
                  <c:v>6546450.0080000004</c:v>
                </c:pt>
                <c:pt idx="2187">
                  <c:v>6565570.0080000004</c:v>
                </c:pt>
                <c:pt idx="2188">
                  <c:v>6656050.0080000004</c:v>
                </c:pt>
                <c:pt idx="2189">
                  <c:v>6694434.0080000004</c:v>
                </c:pt>
                <c:pt idx="2190">
                  <c:v>6722306.0080000004</c:v>
                </c:pt>
                <c:pt idx="2191">
                  <c:v>6738210.0080000004</c:v>
                </c:pt>
                <c:pt idx="2192">
                  <c:v>6772466.0080000004</c:v>
                </c:pt>
                <c:pt idx="2193">
                  <c:v>6819090.0080000004</c:v>
                </c:pt>
                <c:pt idx="2194">
                  <c:v>6848706.0080000004</c:v>
                </c:pt>
                <c:pt idx="2195">
                  <c:v>6845154.0080000004</c:v>
                </c:pt>
                <c:pt idx="2196">
                  <c:v>6876210.0080000004</c:v>
                </c:pt>
                <c:pt idx="2197">
                  <c:v>6876594.0080000004</c:v>
                </c:pt>
                <c:pt idx="2198">
                  <c:v>6929762.0080000004</c:v>
                </c:pt>
                <c:pt idx="2199">
                  <c:v>6913202.0080000004</c:v>
                </c:pt>
                <c:pt idx="2200">
                  <c:v>6950482.0080000004</c:v>
                </c:pt>
                <c:pt idx="2201">
                  <c:v>6972850.0080000004</c:v>
                </c:pt>
                <c:pt idx="2202">
                  <c:v>7054770.0080000004</c:v>
                </c:pt>
                <c:pt idx="2203">
                  <c:v>7128386.0080000004</c:v>
                </c:pt>
                <c:pt idx="2204">
                  <c:v>7140034.0080000004</c:v>
                </c:pt>
                <c:pt idx="2205">
                  <c:v>7100338.0080000004</c:v>
                </c:pt>
                <c:pt idx="2206">
                  <c:v>7126290.0080000004</c:v>
                </c:pt>
                <c:pt idx="2207">
                  <c:v>6999442.0080000004</c:v>
                </c:pt>
                <c:pt idx="2208">
                  <c:v>6925970.0080000004</c:v>
                </c:pt>
                <c:pt idx="2209">
                  <c:v>6957650.0080000004</c:v>
                </c:pt>
                <c:pt idx="2210">
                  <c:v>6909650.0080000004</c:v>
                </c:pt>
                <c:pt idx="2211">
                  <c:v>6950178.0080000004</c:v>
                </c:pt>
                <c:pt idx="2212">
                  <c:v>6954850.0080000004</c:v>
                </c:pt>
                <c:pt idx="2213">
                  <c:v>6754434.0080000004</c:v>
                </c:pt>
                <c:pt idx="2214">
                  <c:v>6597010.0080000004</c:v>
                </c:pt>
                <c:pt idx="2215">
                  <c:v>6535490.0080000004</c:v>
                </c:pt>
                <c:pt idx="2216">
                  <c:v>6261250.0080000004</c:v>
                </c:pt>
                <c:pt idx="2217">
                  <c:v>6340370.0080000004</c:v>
                </c:pt>
                <c:pt idx="2218">
                  <c:v>6413218.0080000004</c:v>
                </c:pt>
                <c:pt idx="2219">
                  <c:v>6463346.0080000004</c:v>
                </c:pt>
                <c:pt idx="2220">
                  <c:v>6600578.0080000004</c:v>
                </c:pt>
                <c:pt idx="2221">
                  <c:v>6629954.0080000004</c:v>
                </c:pt>
                <c:pt idx="2222">
                  <c:v>6705682.0080000004</c:v>
                </c:pt>
                <c:pt idx="2223">
                  <c:v>6610578.0080000004</c:v>
                </c:pt>
                <c:pt idx="2224">
                  <c:v>6554034.0080000004</c:v>
                </c:pt>
                <c:pt idx="2225">
                  <c:v>6594754.0080000004</c:v>
                </c:pt>
                <c:pt idx="2226">
                  <c:v>6542546.0080000004</c:v>
                </c:pt>
                <c:pt idx="2227">
                  <c:v>6545170.0080000004</c:v>
                </c:pt>
                <c:pt idx="2228">
                  <c:v>6622706.0080000004</c:v>
                </c:pt>
                <c:pt idx="2229">
                  <c:v>6574850.0080000004</c:v>
                </c:pt>
                <c:pt idx="2230">
                  <c:v>6640370.0080000004</c:v>
                </c:pt>
                <c:pt idx="2231">
                  <c:v>6690402.0080000004</c:v>
                </c:pt>
                <c:pt idx="2232">
                  <c:v>6720482.0080000004</c:v>
                </c:pt>
                <c:pt idx="2233">
                  <c:v>6662210.0080000004</c:v>
                </c:pt>
                <c:pt idx="2234">
                  <c:v>6633554.0080000004</c:v>
                </c:pt>
                <c:pt idx="2235">
                  <c:v>6670066.0080000004</c:v>
                </c:pt>
                <c:pt idx="2236">
                  <c:v>6606482.0080000004</c:v>
                </c:pt>
                <c:pt idx="2237">
                  <c:v>6635010.0080000004</c:v>
                </c:pt>
                <c:pt idx="2238">
                  <c:v>6640530.0080000004</c:v>
                </c:pt>
                <c:pt idx="2239">
                  <c:v>6613890.0080000004</c:v>
                </c:pt>
                <c:pt idx="2240">
                  <c:v>6548770.0080000004</c:v>
                </c:pt>
                <c:pt idx="2241">
                  <c:v>6364114.0080000004</c:v>
                </c:pt>
                <c:pt idx="2242">
                  <c:v>6324034.0080000004</c:v>
                </c:pt>
                <c:pt idx="2243">
                  <c:v>6377442.0080000004</c:v>
                </c:pt>
                <c:pt idx="2244">
                  <c:v>6264562.0080000004</c:v>
                </c:pt>
                <c:pt idx="2245">
                  <c:v>6346690.0080000004</c:v>
                </c:pt>
                <c:pt idx="2246">
                  <c:v>6353810.0080000004</c:v>
                </c:pt>
                <c:pt idx="2247">
                  <c:v>6335282.0080000004</c:v>
                </c:pt>
                <c:pt idx="2248">
                  <c:v>6296178.0080000004</c:v>
                </c:pt>
                <c:pt idx="2249">
                  <c:v>6283986.0080000004</c:v>
                </c:pt>
                <c:pt idx="2250">
                  <c:v>6280898.0080000004</c:v>
                </c:pt>
                <c:pt idx="2251">
                  <c:v>6399682.0080000004</c:v>
                </c:pt>
                <c:pt idx="2252">
                  <c:v>6417554.0080000004</c:v>
                </c:pt>
                <c:pt idx="2253">
                  <c:v>6354034.0080000004</c:v>
                </c:pt>
                <c:pt idx="2254">
                  <c:v>6310034.0080000004</c:v>
                </c:pt>
                <c:pt idx="2255">
                  <c:v>6210386.0080000004</c:v>
                </c:pt>
                <c:pt idx="2256">
                  <c:v>6114034.0080000004</c:v>
                </c:pt>
                <c:pt idx="2257">
                  <c:v>6142258.0080000004</c:v>
                </c:pt>
                <c:pt idx="2258">
                  <c:v>6215154.0080000004</c:v>
                </c:pt>
                <c:pt idx="2259">
                  <c:v>6133570.0080000004</c:v>
                </c:pt>
                <c:pt idx="2260">
                  <c:v>6142338.0080000004</c:v>
                </c:pt>
                <c:pt idx="2261">
                  <c:v>6265794.0080000004</c:v>
                </c:pt>
                <c:pt idx="2262">
                  <c:v>6242130.0080000004</c:v>
                </c:pt>
                <c:pt idx="2263">
                  <c:v>6124994.0080000004</c:v>
                </c:pt>
                <c:pt idx="2264">
                  <c:v>6127218.0080000004</c:v>
                </c:pt>
                <c:pt idx="2265">
                  <c:v>6138050.0080000004</c:v>
                </c:pt>
                <c:pt idx="2266">
                  <c:v>6185010.0080000004</c:v>
                </c:pt>
                <c:pt idx="2267">
                  <c:v>6155570.0080000004</c:v>
                </c:pt>
                <c:pt idx="2268">
                  <c:v>6250914.0080000004</c:v>
                </c:pt>
                <c:pt idx="2269">
                  <c:v>6322098.0080000004</c:v>
                </c:pt>
                <c:pt idx="2270">
                  <c:v>6310802.0080000004</c:v>
                </c:pt>
                <c:pt idx="2271">
                  <c:v>6345106.0080000004</c:v>
                </c:pt>
                <c:pt idx="2272">
                  <c:v>6312754.0080000004</c:v>
                </c:pt>
                <c:pt idx="2273">
                  <c:v>6371074.0080000004</c:v>
                </c:pt>
                <c:pt idx="2274">
                  <c:v>6394770.0080000004</c:v>
                </c:pt>
                <c:pt idx="2275">
                  <c:v>6344754.0080000004</c:v>
                </c:pt>
                <c:pt idx="2276">
                  <c:v>6298690.0080000004</c:v>
                </c:pt>
                <c:pt idx="2277">
                  <c:v>6361106.0080000004</c:v>
                </c:pt>
                <c:pt idx="2278">
                  <c:v>6390194.0080000004</c:v>
                </c:pt>
                <c:pt idx="2279">
                  <c:v>6366146.0080000004</c:v>
                </c:pt>
                <c:pt idx="2280">
                  <c:v>6283538.0080000004</c:v>
                </c:pt>
                <c:pt idx="2281">
                  <c:v>6239762.0080000004</c:v>
                </c:pt>
                <c:pt idx="2282">
                  <c:v>6222610.0080000004</c:v>
                </c:pt>
                <c:pt idx="2283">
                  <c:v>6249426.0080000004</c:v>
                </c:pt>
                <c:pt idx="2284">
                  <c:v>6202626.0080000004</c:v>
                </c:pt>
                <c:pt idx="2285">
                  <c:v>6073602.0080000004</c:v>
                </c:pt>
                <c:pt idx="2286">
                  <c:v>6200018.0080000004</c:v>
                </c:pt>
                <c:pt idx="2287">
                  <c:v>6149154.0080000004</c:v>
                </c:pt>
                <c:pt idx="2288">
                  <c:v>6208338.0080000004</c:v>
                </c:pt>
                <c:pt idx="2289">
                  <c:v>6268722.0080000004</c:v>
                </c:pt>
                <c:pt idx="2290">
                  <c:v>6255970.0080000004</c:v>
                </c:pt>
                <c:pt idx="2291">
                  <c:v>6245826.0080000004</c:v>
                </c:pt>
                <c:pt idx="2292">
                  <c:v>6163602.0080000004</c:v>
                </c:pt>
                <c:pt idx="2293">
                  <c:v>6164178.0080000004</c:v>
                </c:pt>
                <c:pt idx="2294">
                  <c:v>6237730.0080000004</c:v>
                </c:pt>
                <c:pt idx="2295">
                  <c:v>6177554.0080000004</c:v>
                </c:pt>
                <c:pt idx="2296">
                  <c:v>6153602.0080000004</c:v>
                </c:pt>
                <c:pt idx="2297">
                  <c:v>6121698.0080000004</c:v>
                </c:pt>
                <c:pt idx="2298">
                  <c:v>5910002.0080000004</c:v>
                </c:pt>
                <c:pt idx="2299">
                  <c:v>5932332.3380000005</c:v>
                </c:pt>
                <c:pt idx="2300">
                  <c:v>5932332.3380000005</c:v>
                </c:pt>
                <c:pt idx="2301">
                  <c:v>5932332.3380000005</c:v>
                </c:pt>
                <c:pt idx="2302">
                  <c:v>5932332.3380000005</c:v>
                </c:pt>
                <c:pt idx="2303">
                  <c:v>5932332.3380000005</c:v>
                </c:pt>
                <c:pt idx="2304">
                  <c:v>5932332.3380000005</c:v>
                </c:pt>
                <c:pt idx="2305">
                  <c:v>5932332.3380000005</c:v>
                </c:pt>
                <c:pt idx="2306">
                  <c:v>5932332.3380000005</c:v>
                </c:pt>
                <c:pt idx="2307">
                  <c:v>5932332.3380000005</c:v>
                </c:pt>
                <c:pt idx="2308">
                  <c:v>5932332.3380000005</c:v>
                </c:pt>
                <c:pt idx="2309">
                  <c:v>5932332.3380000005</c:v>
                </c:pt>
                <c:pt idx="2310">
                  <c:v>5932332.3380000005</c:v>
                </c:pt>
                <c:pt idx="2311">
                  <c:v>5932332.3380000005</c:v>
                </c:pt>
                <c:pt idx="2312">
                  <c:v>5932332.3380000005</c:v>
                </c:pt>
                <c:pt idx="2313">
                  <c:v>5932332.3380000005</c:v>
                </c:pt>
                <c:pt idx="2314">
                  <c:v>5932332.3380000005</c:v>
                </c:pt>
                <c:pt idx="2315">
                  <c:v>5932332.3380000005</c:v>
                </c:pt>
                <c:pt idx="2316">
                  <c:v>5932332.3380000005</c:v>
                </c:pt>
                <c:pt idx="2317">
                  <c:v>5932332.3380000005</c:v>
                </c:pt>
                <c:pt idx="2318">
                  <c:v>5932332.3380000005</c:v>
                </c:pt>
                <c:pt idx="2319">
                  <c:v>5932332.3380000005</c:v>
                </c:pt>
                <c:pt idx="2320">
                  <c:v>5932332.3380000005</c:v>
                </c:pt>
                <c:pt idx="2321">
                  <c:v>5932332.3380000005</c:v>
                </c:pt>
                <c:pt idx="2322">
                  <c:v>5932332.3380000005</c:v>
                </c:pt>
                <c:pt idx="2323">
                  <c:v>5932332.3380000005</c:v>
                </c:pt>
                <c:pt idx="2324">
                  <c:v>5932332.3380000005</c:v>
                </c:pt>
                <c:pt idx="2325">
                  <c:v>5932332.3380000005</c:v>
                </c:pt>
                <c:pt idx="2326">
                  <c:v>5932332.3380000005</c:v>
                </c:pt>
                <c:pt idx="2327">
                  <c:v>5932332.3380000005</c:v>
                </c:pt>
                <c:pt idx="2328">
                  <c:v>5932332.3380000005</c:v>
                </c:pt>
                <c:pt idx="2329">
                  <c:v>5932332.3380000005</c:v>
                </c:pt>
                <c:pt idx="2330">
                  <c:v>5932332.3380000005</c:v>
                </c:pt>
                <c:pt idx="2331">
                  <c:v>5932332.3380000005</c:v>
                </c:pt>
                <c:pt idx="2332">
                  <c:v>5932332.3380000005</c:v>
                </c:pt>
                <c:pt idx="2333">
                  <c:v>5932332.3380000005</c:v>
                </c:pt>
                <c:pt idx="2334">
                  <c:v>5932332.3380000005</c:v>
                </c:pt>
                <c:pt idx="2335">
                  <c:v>5932332.3380000005</c:v>
                </c:pt>
                <c:pt idx="2336">
                  <c:v>5932332.3380000005</c:v>
                </c:pt>
                <c:pt idx="2337">
                  <c:v>5932332.3380000005</c:v>
                </c:pt>
                <c:pt idx="2338">
                  <c:v>5932332.3380000005</c:v>
                </c:pt>
                <c:pt idx="2339">
                  <c:v>5932332.3380000005</c:v>
                </c:pt>
                <c:pt idx="2340">
                  <c:v>5932332.3380000005</c:v>
                </c:pt>
                <c:pt idx="2341">
                  <c:v>5932332.3380000005</c:v>
                </c:pt>
                <c:pt idx="2342">
                  <c:v>5932332.3380000005</c:v>
                </c:pt>
                <c:pt idx="2343">
                  <c:v>5932332.3380000005</c:v>
                </c:pt>
                <c:pt idx="2344">
                  <c:v>5932332.3380000005</c:v>
                </c:pt>
                <c:pt idx="2345">
                  <c:v>5932332.3380000005</c:v>
                </c:pt>
                <c:pt idx="2346">
                  <c:v>5932332.3380000005</c:v>
                </c:pt>
                <c:pt idx="2347">
                  <c:v>5932332.3380000005</c:v>
                </c:pt>
                <c:pt idx="2348">
                  <c:v>5932332.3380000005</c:v>
                </c:pt>
                <c:pt idx="2349">
                  <c:v>5932332.3380000005</c:v>
                </c:pt>
                <c:pt idx="2350">
                  <c:v>5932332.3380000005</c:v>
                </c:pt>
                <c:pt idx="2351">
                  <c:v>5932332.3380000005</c:v>
                </c:pt>
                <c:pt idx="2352">
                  <c:v>5932332.3380000005</c:v>
                </c:pt>
                <c:pt idx="2353">
                  <c:v>5932332.3380000005</c:v>
                </c:pt>
                <c:pt idx="2354">
                  <c:v>5932332.3380000005</c:v>
                </c:pt>
                <c:pt idx="2355">
                  <c:v>5932332.3380000005</c:v>
                </c:pt>
                <c:pt idx="2356">
                  <c:v>5932332.3380000005</c:v>
                </c:pt>
                <c:pt idx="2357">
                  <c:v>5932332.3380000005</c:v>
                </c:pt>
                <c:pt idx="2358">
                  <c:v>5932332.3380000005</c:v>
                </c:pt>
                <c:pt idx="2359">
                  <c:v>5932332.3380000005</c:v>
                </c:pt>
                <c:pt idx="2360">
                  <c:v>5932332.3380000005</c:v>
                </c:pt>
                <c:pt idx="2361">
                  <c:v>5932332.3380000005</c:v>
                </c:pt>
                <c:pt idx="2362">
                  <c:v>5932332.3380000005</c:v>
                </c:pt>
                <c:pt idx="2363">
                  <c:v>5931743.841</c:v>
                </c:pt>
                <c:pt idx="2364">
                  <c:v>6009233.841</c:v>
                </c:pt>
                <c:pt idx="2365">
                  <c:v>6005003.841</c:v>
                </c:pt>
                <c:pt idx="2366">
                  <c:v>6185651.841</c:v>
                </c:pt>
                <c:pt idx="2367">
                  <c:v>6130409.841</c:v>
                </c:pt>
                <c:pt idx="2368">
                  <c:v>6197801.841</c:v>
                </c:pt>
                <c:pt idx="2369">
                  <c:v>6173231.841</c:v>
                </c:pt>
                <c:pt idx="2370">
                  <c:v>6236717.841</c:v>
                </c:pt>
                <c:pt idx="2371">
                  <c:v>5970389.841</c:v>
                </c:pt>
                <c:pt idx="2372">
                  <c:v>5966411.841</c:v>
                </c:pt>
                <c:pt idx="2373">
                  <c:v>5953649.841</c:v>
                </c:pt>
                <c:pt idx="2374">
                  <c:v>5670167.841</c:v>
                </c:pt>
                <c:pt idx="2375">
                  <c:v>5754083.841</c:v>
                </c:pt>
                <c:pt idx="2376">
                  <c:v>5674379.841</c:v>
                </c:pt>
                <c:pt idx="2377">
                  <c:v>5628515.841</c:v>
                </c:pt>
                <c:pt idx="2378">
                  <c:v>5659619.841</c:v>
                </c:pt>
                <c:pt idx="2379">
                  <c:v>5526671.841</c:v>
                </c:pt>
                <c:pt idx="2380">
                  <c:v>5689679.841</c:v>
                </c:pt>
                <c:pt idx="2381">
                  <c:v>5933255.841</c:v>
                </c:pt>
                <c:pt idx="2382">
                  <c:v>5776943.841</c:v>
                </c:pt>
                <c:pt idx="2383">
                  <c:v>5785529.841</c:v>
                </c:pt>
                <c:pt idx="2384">
                  <c:v>5796527.841</c:v>
                </c:pt>
                <c:pt idx="2385">
                  <c:v>5759321.841</c:v>
                </c:pt>
                <c:pt idx="2386">
                  <c:v>5585171.841</c:v>
                </c:pt>
                <c:pt idx="2387">
                  <c:v>5645237.841</c:v>
                </c:pt>
                <c:pt idx="2388">
                  <c:v>5723645.841</c:v>
                </c:pt>
                <c:pt idx="2389">
                  <c:v>5765423.841</c:v>
                </c:pt>
                <c:pt idx="2390">
                  <c:v>5969219.841</c:v>
                </c:pt>
                <c:pt idx="2391">
                  <c:v>5919881.841</c:v>
                </c:pt>
                <c:pt idx="2392">
                  <c:v>5884439.841</c:v>
                </c:pt>
                <c:pt idx="2393">
                  <c:v>5846207.841</c:v>
                </c:pt>
                <c:pt idx="2394">
                  <c:v>5829755.841</c:v>
                </c:pt>
                <c:pt idx="2395">
                  <c:v>5748161.841</c:v>
                </c:pt>
                <c:pt idx="2396">
                  <c:v>5816021.841</c:v>
                </c:pt>
                <c:pt idx="2397">
                  <c:v>5874053.841</c:v>
                </c:pt>
                <c:pt idx="2398">
                  <c:v>5815661.841</c:v>
                </c:pt>
                <c:pt idx="2399">
                  <c:v>5883035.841</c:v>
                </c:pt>
                <c:pt idx="2400">
                  <c:v>5910575.841</c:v>
                </c:pt>
                <c:pt idx="2401">
                  <c:v>5977049.841</c:v>
                </c:pt>
                <c:pt idx="2402">
                  <c:v>5839907.841</c:v>
                </c:pt>
                <c:pt idx="2403">
                  <c:v>5854451.841</c:v>
                </c:pt>
                <c:pt idx="2404">
                  <c:v>5832743.841</c:v>
                </c:pt>
                <c:pt idx="2405">
                  <c:v>5705033.841</c:v>
                </c:pt>
                <c:pt idx="2406">
                  <c:v>5701001.841</c:v>
                </c:pt>
                <c:pt idx="2407">
                  <c:v>5693801.841</c:v>
                </c:pt>
                <c:pt idx="2408">
                  <c:v>5768843.841</c:v>
                </c:pt>
                <c:pt idx="2409">
                  <c:v>5694539.841</c:v>
                </c:pt>
                <c:pt idx="2410">
                  <c:v>5757611.841</c:v>
                </c:pt>
                <c:pt idx="2411">
                  <c:v>5916479.841</c:v>
                </c:pt>
                <c:pt idx="2412">
                  <c:v>5928647.841</c:v>
                </c:pt>
                <c:pt idx="2413">
                  <c:v>5900369.841</c:v>
                </c:pt>
                <c:pt idx="2414">
                  <c:v>5773775.841</c:v>
                </c:pt>
                <c:pt idx="2415">
                  <c:v>5773577.841</c:v>
                </c:pt>
                <c:pt idx="2416">
                  <c:v>5707337.841</c:v>
                </c:pt>
                <c:pt idx="2417">
                  <c:v>5734445.841</c:v>
                </c:pt>
                <c:pt idx="2418">
                  <c:v>5753867.841</c:v>
                </c:pt>
                <c:pt idx="2419">
                  <c:v>5842211.841</c:v>
                </c:pt>
                <c:pt idx="2420">
                  <c:v>5745407.841</c:v>
                </c:pt>
                <c:pt idx="2421">
                  <c:v>5736929.841</c:v>
                </c:pt>
                <c:pt idx="2422">
                  <c:v>5677943.841</c:v>
                </c:pt>
                <c:pt idx="2423">
                  <c:v>5610803.841</c:v>
                </c:pt>
                <c:pt idx="2424">
                  <c:v>5568125.841</c:v>
                </c:pt>
                <c:pt idx="2425">
                  <c:v>5499689.841</c:v>
                </c:pt>
                <c:pt idx="2426">
                  <c:v>5515529.841</c:v>
                </c:pt>
                <c:pt idx="2427">
                  <c:v>5477873.841</c:v>
                </c:pt>
                <c:pt idx="2428">
                  <c:v>5450423.841</c:v>
                </c:pt>
                <c:pt idx="2429">
                  <c:v>5429687.841</c:v>
                </c:pt>
                <c:pt idx="2430">
                  <c:v>5465939.841</c:v>
                </c:pt>
                <c:pt idx="2431">
                  <c:v>5391941.841</c:v>
                </c:pt>
                <c:pt idx="2432">
                  <c:v>5383481.841</c:v>
                </c:pt>
                <c:pt idx="2433">
                  <c:v>5511335.841</c:v>
                </c:pt>
                <c:pt idx="2434">
                  <c:v>5544509.841</c:v>
                </c:pt>
                <c:pt idx="2435">
                  <c:v>5532629.841</c:v>
                </c:pt>
                <c:pt idx="2436">
                  <c:v>5588033.841</c:v>
                </c:pt>
                <c:pt idx="2437">
                  <c:v>5577611.841</c:v>
                </c:pt>
                <c:pt idx="2438">
                  <c:v>5617373.841</c:v>
                </c:pt>
                <c:pt idx="2439">
                  <c:v>5568773.841</c:v>
                </c:pt>
                <c:pt idx="2440">
                  <c:v>5677151.841</c:v>
                </c:pt>
                <c:pt idx="2441">
                  <c:v>5678339.841</c:v>
                </c:pt>
                <c:pt idx="2442">
                  <c:v>5647325.841</c:v>
                </c:pt>
                <c:pt idx="2443">
                  <c:v>5749475.841</c:v>
                </c:pt>
                <c:pt idx="2444">
                  <c:v>5780921.841</c:v>
                </c:pt>
                <c:pt idx="2445">
                  <c:v>5704745.841</c:v>
                </c:pt>
                <c:pt idx="2446">
                  <c:v>5700659.841</c:v>
                </c:pt>
                <c:pt idx="2447">
                  <c:v>5732573.841</c:v>
                </c:pt>
                <c:pt idx="2448">
                  <c:v>5778815.841</c:v>
                </c:pt>
                <c:pt idx="2449">
                  <c:v>5777573.841</c:v>
                </c:pt>
                <c:pt idx="2450">
                  <c:v>5795915.841</c:v>
                </c:pt>
                <c:pt idx="2451">
                  <c:v>5750033.841</c:v>
                </c:pt>
                <c:pt idx="2452">
                  <c:v>5809703.841</c:v>
                </c:pt>
                <c:pt idx="2453">
                  <c:v>5892089.841</c:v>
                </c:pt>
                <c:pt idx="2454">
                  <c:v>5998415.841</c:v>
                </c:pt>
                <c:pt idx="2455">
                  <c:v>6041381.841</c:v>
                </c:pt>
                <c:pt idx="2456">
                  <c:v>6161423.841</c:v>
                </c:pt>
                <c:pt idx="2457">
                  <c:v>6170621.841</c:v>
                </c:pt>
                <c:pt idx="2458">
                  <c:v>6056429.841</c:v>
                </c:pt>
                <c:pt idx="2459">
                  <c:v>6249101.841</c:v>
                </c:pt>
                <c:pt idx="2460">
                  <c:v>6238067.841</c:v>
                </c:pt>
                <c:pt idx="2461">
                  <c:v>6260243.841</c:v>
                </c:pt>
                <c:pt idx="2462">
                  <c:v>6243647.841</c:v>
                </c:pt>
                <c:pt idx="2463">
                  <c:v>6382985.841</c:v>
                </c:pt>
                <c:pt idx="2464">
                  <c:v>6759833.841</c:v>
                </c:pt>
                <c:pt idx="2465">
                  <c:v>6679211.841</c:v>
                </c:pt>
                <c:pt idx="2466">
                  <c:v>6667871.841</c:v>
                </c:pt>
                <c:pt idx="2467">
                  <c:v>6651635.841</c:v>
                </c:pt>
                <c:pt idx="2468">
                  <c:v>6796247.841</c:v>
                </c:pt>
                <c:pt idx="2469">
                  <c:v>6876149.841</c:v>
                </c:pt>
                <c:pt idx="2470">
                  <c:v>6915587.841</c:v>
                </c:pt>
                <c:pt idx="2471">
                  <c:v>6973331.841</c:v>
                </c:pt>
                <c:pt idx="2472">
                  <c:v>6902699.841</c:v>
                </c:pt>
                <c:pt idx="2473">
                  <c:v>6630413.841</c:v>
                </c:pt>
                <c:pt idx="2474">
                  <c:v>6760679.841</c:v>
                </c:pt>
                <c:pt idx="2475">
                  <c:v>6806399.841</c:v>
                </c:pt>
                <c:pt idx="2476">
                  <c:v>6750311.841</c:v>
                </c:pt>
                <c:pt idx="2477">
                  <c:v>6704051.841</c:v>
                </c:pt>
                <c:pt idx="2478">
                  <c:v>6787787.841</c:v>
                </c:pt>
                <c:pt idx="2479">
                  <c:v>6979919.841</c:v>
                </c:pt>
                <c:pt idx="2480">
                  <c:v>6947897.841</c:v>
                </c:pt>
                <c:pt idx="2481">
                  <c:v>6950561.841</c:v>
                </c:pt>
                <c:pt idx="2482">
                  <c:v>6953171.841</c:v>
                </c:pt>
                <c:pt idx="2483">
                  <c:v>6947609.841</c:v>
                </c:pt>
                <c:pt idx="2484">
                  <c:v>6783863.841</c:v>
                </c:pt>
                <c:pt idx="2485">
                  <c:v>6707561.841</c:v>
                </c:pt>
                <c:pt idx="2486">
                  <c:v>6784871.841</c:v>
                </c:pt>
                <c:pt idx="2487">
                  <c:v>6757889.841</c:v>
                </c:pt>
                <c:pt idx="2488">
                  <c:v>7016981.841</c:v>
                </c:pt>
                <c:pt idx="2489">
                  <c:v>7199843.841</c:v>
                </c:pt>
                <c:pt idx="2490">
                  <c:v>7195091.841</c:v>
                </c:pt>
                <c:pt idx="2491">
                  <c:v>7286657.841</c:v>
                </c:pt>
                <c:pt idx="2492">
                  <c:v>7358783.841</c:v>
                </c:pt>
                <c:pt idx="2493">
                  <c:v>7349783.841</c:v>
                </c:pt>
                <c:pt idx="2494">
                  <c:v>7382543.841</c:v>
                </c:pt>
                <c:pt idx="2495">
                  <c:v>7401299.841</c:v>
                </c:pt>
                <c:pt idx="2496">
                  <c:v>7242413.841</c:v>
                </c:pt>
                <c:pt idx="2497">
                  <c:v>7226285.841</c:v>
                </c:pt>
                <c:pt idx="2498">
                  <c:v>7202705.841</c:v>
                </c:pt>
                <c:pt idx="2499">
                  <c:v>7401191.841</c:v>
                </c:pt>
                <c:pt idx="2500">
                  <c:v>7403801.841</c:v>
                </c:pt>
                <c:pt idx="2501">
                  <c:v>7376513.841</c:v>
                </c:pt>
                <c:pt idx="2502">
                  <c:v>7463867.841</c:v>
                </c:pt>
                <c:pt idx="2503">
                  <c:v>7292867.841</c:v>
                </c:pt>
                <c:pt idx="2504">
                  <c:v>7280987.841</c:v>
                </c:pt>
                <c:pt idx="2505">
                  <c:v>7300931.841</c:v>
                </c:pt>
                <c:pt idx="2506">
                  <c:v>7142045.841</c:v>
                </c:pt>
                <c:pt idx="2507">
                  <c:v>7047455.841</c:v>
                </c:pt>
                <c:pt idx="2508">
                  <c:v>7067363.841</c:v>
                </c:pt>
                <c:pt idx="2509">
                  <c:v>7090547.841</c:v>
                </c:pt>
                <c:pt idx="2510">
                  <c:v>6679085.841</c:v>
                </c:pt>
                <c:pt idx="2511">
                  <c:v>6743975.841</c:v>
                </c:pt>
                <c:pt idx="2512">
                  <c:v>6648197.841</c:v>
                </c:pt>
                <c:pt idx="2513">
                  <c:v>6526229.841</c:v>
                </c:pt>
                <c:pt idx="2514">
                  <c:v>6761579.841</c:v>
                </c:pt>
                <c:pt idx="2515">
                  <c:v>6650483.841</c:v>
                </c:pt>
                <c:pt idx="2516">
                  <c:v>6608039.841</c:v>
                </c:pt>
                <c:pt idx="2517">
                  <c:v>6755531.841</c:v>
                </c:pt>
                <c:pt idx="2518">
                  <c:v>6785897.841</c:v>
                </c:pt>
                <c:pt idx="2519">
                  <c:v>6614537.841</c:v>
                </c:pt>
                <c:pt idx="2520">
                  <c:v>6558791.841</c:v>
                </c:pt>
                <c:pt idx="2521">
                  <c:v>6646973.841</c:v>
                </c:pt>
                <c:pt idx="2522">
                  <c:v>6615653.841</c:v>
                </c:pt>
                <c:pt idx="2523">
                  <c:v>6497897.841</c:v>
                </c:pt>
                <c:pt idx="2524">
                  <c:v>6515807.841</c:v>
                </c:pt>
                <c:pt idx="2525">
                  <c:v>6593729.841</c:v>
                </c:pt>
                <c:pt idx="2526">
                  <c:v>6656837.841</c:v>
                </c:pt>
                <c:pt idx="2527">
                  <c:v>6641807.841</c:v>
                </c:pt>
                <c:pt idx="2528">
                  <c:v>6600893.841</c:v>
                </c:pt>
                <c:pt idx="2529">
                  <c:v>6580391.841</c:v>
                </c:pt>
                <c:pt idx="2530">
                  <c:v>6584387.841</c:v>
                </c:pt>
                <c:pt idx="2531">
                  <c:v>6524015.841</c:v>
                </c:pt>
                <c:pt idx="2532">
                  <c:v>6521567.841</c:v>
                </c:pt>
                <c:pt idx="2533">
                  <c:v>6463193.841</c:v>
                </c:pt>
                <c:pt idx="2534">
                  <c:v>6546101.841</c:v>
                </c:pt>
                <c:pt idx="2535">
                  <c:v>6741473.841</c:v>
                </c:pt>
                <c:pt idx="2536">
                  <c:v>6690749.841</c:v>
                </c:pt>
                <c:pt idx="2537">
                  <c:v>6680471.841</c:v>
                </c:pt>
                <c:pt idx="2538">
                  <c:v>6625553.841</c:v>
                </c:pt>
                <c:pt idx="2539">
                  <c:v>6625445.841</c:v>
                </c:pt>
                <c:pt idx="2540">
                  <c:v>6648485.841</c:v>
                </c:pt>
                <c:pt idx="2541">
                  <c:v>6735461.841</c:v>
                </c:pt>
                <c:pt idx="2542">
                  <c:v>6938105.841</c:v>
                </c:pt>
                <c:pt idx="2543">
                  <c:v>6947861.841</c:v>
                </c:pt>
                <c:pt idx="2544">
                  <c:v>6961055.841</c:v>
                </c:pt>
                <c:pt idx="2545">
                  <c:v>6889127.841</c:v>
                </c:pt>
                <c:pt idx="2546">
                  <c:v>6876563.841</c:v>
                </c:pt>
                <c:pt idx="2547">
                  <c:v>6949445.841</c:v>
                </c:pt>
                <c:pt idx="2548">
                  <c:v>6932831.841</c:v>
                </c:pt>
                <c:pt idx="2549">
                  <c:v>7131227.841</c:v>
                </c:pt>
                <c:pt idx="2550">
                  <c:v>7133675.841</c:v>
                </c:pt>
                <c:pt idx="2551">
                  <c:v>7055123.841</c:v>
                </c:pt>
                <c:pt idx="2552">
                  <c:v>7018349.841</c:v>
                </c:pt>
                <c:pt idx="2553">
                  <c:v>7054529.841</c:v>
                </c:pt>
                <c:pt idx="2554">
                  <c:v>6891791.841</c:v>
                </c:pt>
                <c:pt idx="2555">
                  <c:v>6874403.841</c:v>
                </c:pt>
                <c:pt idx="2556">
                  <c:v>6862901.841</c:v>
                </c:pt>
                <c:pt idx="2557">
                  <c:v>6860165.841</c:v>
                </c:pt>
                <c:pt idx="2558">
                  <c:v>6902483.841</c:v>
                </c:pt>
                <c:pt idx="2559">
                  <c:v>6930311.841</c:v>
                </c:pt>
                <c:pt idx="2560">
                  <c:v>6899081.841</c:v>
                </c:pt>
                <c:pt idx="2561">
                  <c:v>6895121.841</c:v>
                </c:pt>
                <c:pt idx="2562">
                  <c:v>6829889.841</c:v>
                </c:pt>
                <c:pt idx="2563">
                  <c:v>6901097.841</c:v>
                </c:pt>
                <c:pt idx="2564">
                  <c:v>6853793.841</c:v>
                </c:pt>
                <c:pt idx="2565">
                  <c:v>6868607.841</c:v>
                </c:pt>
                <c:pt idx="2566">
                  <c:v>6922463.841</c:v>
                </c:pt>
                <c:pt idx="2567">
                  <c:v>6978695.841</c:v>
                </c:pt>
                <c:pt idx="2568">
                  <c:v>6992195.841</c:v>
                </c:pt>
                <c:pt idx="2569">
                  <c:v>6984455.841</c:v>
                </c:pt>
                <c:pt idx="2570">
                  <c:v>7013345.841</c:v>
                </c:pt>
                <c:pt idx="2571">
                  <c:v>6950417.841</c:v>
                </c:pt>
                <c:pt idx="2572">
                  <c:v>6893015.841</c:v>
                </c:pt>
                <c:pt idx="2573">
                  <c:v>6792161.841</c:v>
                </c:pt>
                <c:pt idx="2574">
                  <c:v>6663011.841</c:v>
                </c:pt>
                <c:pt idx="2575">
                  <c:v>6592163.841</c:v>
                </c:pt>
                <c:pt idx="2576">
                  <c:v>6565343.841</c:v>
                </c:pt>
                <c:pt idx="2577">
                  <c:v>6651491.841</c:v>
                </c:pt>
                <c:pt idx="2578">
                  <c:v>6587123.841</c:v>
                </c:pt>
                <c:pt idx="2579">
                  <c:v>6705149.841</c:v>
                </c:pt>
                <c:pt idx="2580">
                  <c:v>6645119.841</c:v>
                </c:pt>
                <c:pt idx="2581">
                  <c:v>6675089.841</c:v>
                </c:pt>
                <c:pt idx="2582">
                  <c:v>6695969.841</c:v>
                </c:pt>
                <c:pt idx="2583">
                  <c:v>6725741.841</c:v>
                </c:pt>
                <c:pt idx="2584">
                  <c:v>6870731.841</c:v>
                </c:pt>
                <c:pt idx="2585">
                  <c:v>6864683.841</c:v>
                </c:pt>
                <c:pt idx="2586">
                  <c:v>6853937.841</c:v>
                </c:pt>
                <c:pt idx="2587">
                  <c:v>6875087.841</c:v>
                </c:pt>
                <c:pt idx="2588">
                  <c:v>6924317.841</c:v>
                </c:pt>
                <c:pt idx="2589">
                  <c:v>6825407.841</c:v>
                </c:pt>
                <c:pt idx="2590">
                  <c:v>6917279.841</c:v>
                </c:pt>
                <c:pt idx="2591">
                  <c:v>6891413.841</c:v>
                </c:pt>
                <c:pt idx="2592">
                  <c:v>6869111.841</c:v>
                </c:pt>
                <c:pt idx="2593">
                  <c:v>6886031.841</c:v>
                </c:pt>
                <c:pt idx="2594">
                  <c:v>6973745.841</c:v>
                </c:pt>
                <c:pt idx="2595">
                  <c:v>6983267.841</c:v>
                </c:pt>
                <c:pt idx="2596">
                  <c:v>7041569.841</c:v>
                </c:pt>
                <c:pt idx="2597">
                  <c:v>7112345.841</c:v>
                </c:pt>
                <c:pt idx="2598">
                  <c:v>7154087.841</c:v>
                </c:pt>
                <c:pt idx="2599">
                  <c:v>7198079.841</c:v>
                </c:pt>
                <c:pt idx="2600">
                  <c:v>7173455.841</c:v>
                </c:pt>
                <c:pt idx="2601">
                  <c:v>7120949.841</c:v>
                </c:pt>
                <c:pt idx="2602">
                  <c:v>7197053.841</c:v>
                </c:pt>
                <c:pt idx="2603">
                  <c:v>7170665.841</c:v>
                </c:pt>
                <c:pt idx="2604">
                  <c:v>7050965.841</c:v>
                </c:pt>
                <c:pt idx="2605">
                  <c:v>7084913.841</c:v>
                </c:pt>
                <c:pt idx="2606">
                  <c:v>7110653.841</c:v>
                </c:pt>
                <c:pt idx="2607">
                  <c:v>7130939.841</c:v>
                </c:pt>
                <c:pt idx="2608">
                  <c:v>7049957.841</c:v>
                </c:pt>
                <c:pt idx="2609">
                  <c:v>7068713.841</c:v>
                </c:pt>
                <c:pt idx="2610">
                  <c:v>7014533.841</c:v>
                </c:pt>
                <c:pt idx="2611">
                  <c:v>6960821.841</c:v>
                </c:pt>
                <c:pt idx="2612">
                  <c:v>6981539.841</c:v>
                </c:pt>
                <c:pt idx="2613">
                  <c:v>6912923.841</c:v>
                </c:pt>
                <c:pt idx="2614">
                  <c:v>6954593.841</c:v>
                </c:pt>
                <c:pt idx="2615">
                  <c:v>6964601.841</c:v>
                </c:pt>
                <c:pt idx="2616">
                  <c:v>7021121.841</c:v>
                </c:pt>
                <c:pt idx="2617">
                  <c:v>7087883.841</c:v>
                </c:pt>
                <c:pt idx="2618">
                  <c:v>7162601.841</c:v>
                </c:pt>
                <c:pt idx="2619">
                  <c:v>7132019.841</c:v>
                </c:pt>
                <c:pt idx="2620">
                  <c:v>7107611.841</c:v>
                </c:pt>
                <c:pt idx="2621">
                  <c:v>7112165.841</c:v>
                </c:pt>
                <c:pt idx="2622">
                  <c:v>7011653.841</c:v>
                </c:pt>
                <c:pt idx="2623">
                  <c:v>7032281.841</c:v>
                </c:pt>
                <c:pt idx="2624">
                  <c:v>7059353.841</c:v>
                </c:pt>
                <c:pt idx="2625">
                  <c:v>7014713.841</c:v>
                </c:pt>
                <c:pt idx="2626">
                  <c:v>7013975.841</c:v>
                </c:pt>
                <c:pt idx="2627">
                  <c:v>7060991.841</c:v>
                </c:pt>
                <c:pt idx="2628">
                  <c:v>7114631.841</c:v>
                </c:pt>
                <c:pt idx="2629">
                  <c:v>7085183.841</c:v>
                </c:pt>
                <c:pt idx="2630">
                  <c:v>7050983.841</c:v>
                </c:pt>
                <c:pt idx="2631">
                  <c:v>7042919.841</c:v>
                </c:pt>
                <c:pt idx="2632">
                  <c:v>7161071.841</c:v>
                </c:pt>
                <c:pt idx="2633">
                  <c:v>7207385.841</c:v>
                </c:pt>
                <c:pt idx="2634">
                  <c:v>7251827.841</c:v>
                </c:pt>
                <c:pt idx="2635">
                  <c:v>7219553.841</c:v>
                </c:pt>
                <c:pt idx="2636">
                  <c:v>7232135.841</c:v>
                </c:pt>
                <c:pt idx="2637">
                  <c:v>7198187.841</c:v>
                </c:pt>
                <c:pt idx="2638">
                  <c:v>7072133.841</c:v>
                </c:pt>
                <c:pt idx="2639">
                  <c:v>7073411.841</c:v>
                </c:pt>
                <c:pt idx="2640">
                  <c:v>7066733.841</c:v>
                </c:pt>
                <c:pt idx="2641">
                  <c:v>7077317.841</c:v>
                </c:pt>
                <c:pt idx="2642">
                  <c:v>7025531.841</c:v>
                </c:pt>
                <c:pt idx="2643">
                  <c:v>7081043.841</c:v>
                </c:pt>
                <c:pt idx="2644">
                  <c:v>7151441.841</c:v>
                </c:pt>
                <c:pt idx="2645">
                  <c:v>7080917.841</c:v>
                </c:pt>
                <c:pt idx="2646">
                  <c:v>7048049.841</c:v>
                </c:pt>
                <c:pt idx="2647">
                  <c:v>6976751.841</c:v>
                </c:pt>
                <c:pt idx="2648">
                  <c:v>7027547.841</c:v>
                </c:pt>
                <c:pt idx="2649">
                  <c:v>7051739.841</c:v>
                </c:pt>
                <c:pt idx="2650">
                  <c:v>7022885.841</c:v>
                </c:pt>
                <c:pt idx="2651">
                  <c:v>6998909.841</c:v>
                </c:pt>
                <c:pt idx="2652">
                  <c:v>6938375.841</c:v>
                </c:pt>
                <c:pt idx="2653">
                  <c:v>6951677.841</c:v>
                </c:pt>
                <c:pt idx="2654">
                  <c:v>6978731.841</c:v>
                </c:pt>
                <c:pt idx="2655">
                  <c:v>6976445.841</c:v>
                </c:pt>
                <c:pt idx="2656">
                  <c:v>7029617.841</c:v>
                </c:pt>
                <c:pt idx="2657">
                  <c:v>7071071.841</c:v>
                </c:pt>
                <c:pt idx="2658">
                  <c:v>7058579.841</c:v>
                </c:pt>
                <c:pt idx="2659">
                  <c:v>7067453.841</c:v>
                </c:pt>
                <c:pt idx="2660">
                  <c:v>7071719.841</c:v>
                </c:pt>
                <c:pt idx="2661">
                  <c:v>7050605.841</c:v>
                </c:pt>
                <c:pt idx="2662">
                  <c:v>7189565.841</c:v>
                </c:pt>
                <c:pt idx="2663">
                  <c:v>7224359.841</c:v>
                </c:pt>
                <c:pt idx="2664">
                  <c:v>7322009.841</c:v>
                </c:pt>
                <c:pt idx="2665">
                  <c:v>7305773.841</c:v>
                </c:pt>
                <c:pt idx="2666">
                  <c:v>7295639.841</c:v>
                </c:pt>
                <c:pt idx="2667">
                  <c:v>7277819.841</c:v>
                </c:pt>
                <c:pt idx="2668">
                  <c:v>7187549.841</c:v>
                </c:pt>
                <c:pt idx="2669">
                  <c:v>7234097.841</c:v>
                </c:pt>
                <c:pt idx="2670">
                  <c:v>7230335.841</c:v>
                </c:pt>
                <c:pt idx="2671">
                  <c:v>7293551.841</c:v>
                </c:pt>
                <c:pt idx="2672">
                  <c:v>7286423.841</c:v>
                </c:pt>
                <c:pt idx="2673">
                  <c:v>7393703.841</c:v>
                </c:pt>
                <c:pt idx="2674">
                  <c:v>7420613.841</c:v>
                </c:pt>
                <c:pt idx="2675">
                  <c:v>7520801.841</c:v>
                </c:pt>
                <c:pt idx="2676">
                  <c:v>7507697.841</c:v>
                </c:pt>
                <c:pt idx="2677">
                  <c:v>7479509.841</c:v>
                </c:pt>
                <c:pt idx="2678">
                  <c:v>7535183.841</c:v>
                </c:pt>
                <c:pt idx="2679">
                  <c:v>7448945.841</c:v>
                </c:pt>
                <c:pt idx="2680">
                  <c:v>7542635.841</c:v>
                </c:pt>
                <c:pt idx="2681">
                  <c:v>7540493.841</c:v>
                </c:pt>
                <c:pt idx="2682">
                  <c:v>7613951.841</c:v>
                </c:pt>
                <c:pt idx="2683">
                  <c:v>7588571.841</c:v>
                </c:pt>
                <c:pt idx="2684">
                  <c:v>7546883.841</c:v>
                </c:pt>
                <c:pt idx="2685">
                  <c:v>7515041.841</c:v>
                </c:pt>
                <c:pt idx="2686">
                  <c:v>7525499.841</c:v>
                </c:pt>
                <c:pt idx="2687">
                  <c:v>7581263.841</c:v>
                </c:pt>
                <c:pt idx="2688">
                  <c:v>7452527.841</c:v>
                </c:pt>
                <c:pt idx="2689">
                  <c:v>7484243.841</c:v>
                </c:pt>
                <c:pt idx="2690">
                  <c:v>7253069.1390000004</c:v>
                </c:pt>
                <c:pt idx="2691">
                  <c:v>7253069.1390000004</c:v>
                </c:pt>
                <c:pt idx="2692">
                  <c:v>7253069.1390000004</c:v>
                </c:pt>
                <c:pt idx="2693">
                  <c:v>7253069.1390000004</c:v>
                </c:pt>
                <c:pt idx="2694">
                  <c:v>7253069.1390000004</c:v>
                </c:pt>
                <c:pt idx="2695">
                  <c:v>7253069.1390000004</c:v>
                </c:pt>
                <c:pt idx="2696">
                  <c:v>7253069.1390000004</c:v>
                </c:pt>
                <c:pt idx="2697">
                  <c:v>7253069.1390000004</c:v>
                </c:pt>
                <c:pt idx="2698">
                  <c:v>7253069.1390000004</c:v>
                </c:pt>
                <c:pt idx="2699">
                  <c:v>7253069.1390000004</c:v>
                </c:pt>
                <c:pt idx="2700">
                  <c:v>7253069.1390000004</c:v>
                </c:pt>
                <c:pt idx="2701">
                  <c:v>7253069.1390000004</c:v>
                </c:pt>
                <c:pt idx="2702">
                  <c:v>7253069.1390000004</c:v>
                </c:pt>
                <c:pt idx="2703">
                  <c:v>7253069.1390000004</c:v>
                </c:pt>
                <c:pt idx="2704">
                  <c:v>7253069.1390000004</c:v>
                </c:pt>
                <c:pt idx="2705">
                  <c:v>7253069.1390000004</c:v>
                </c:pt>
                <c:pt idx="2706">
                  <c:v>7253069.1390000004</c:v>
                </c:pt>
                <c:pt idx="2707">
                  <c:v>7253069.1390000004</c:v>
                </c:pt>
                <c:pt idx="2708">
                  <c:v>7253069.1390000004</c:v>
                </c:pt>
                <c:pt idx="2709">
                  <c:v>7253069.1390000004</c:v>
                </c:pt>
                <c:pt idx="2710">
                  <c:v>7253069.1390000004</c:v>
                </c:pt>
                <c:pt idx="2711">
                  <c:v>7253069.1390000004</c:v>
                </c:pt>
                <c:pt idx="2712">
                  <c:v>7253069.1390000004</c:v>
                </c:pt>
                <c:pt idx="2713">
                  <c:v>7253069.1390000004</c:v>
                </c:pt>
                <c:pt idx="2714">
                  <c:v>7253069.1390000004</c:v>
                </c:pt>
                <c:pt idx="2715">
                  <c:v>7253069.1390000004</c:v>
                </c:pt>
                <c:pt idx="2716">
                  <c:v>7253069.1390000004</c:v>
                </c:pt>
                <c:pt idx="2717">
                  <c:v>7253069.1390000004</c:v>
                </c:pt>
                <c:pt idx="2718">
                  <c:v>7253069.1390000004</c:v>
                </c:pt>
                <c:pt idx="2719">
                  <c:v>7253069.1390000004</c:v>
                </c:pt>
                <c:pt idx="2720">
                  <c:v>7253069.1390000004</c:v>
                </c:pt>
                <c:pt idx="2721">
                  <c:v>7253069.1390000004</c:v>
                </c:pt>
                <c:pt idx="2722">
                  <c:v>7253069.1390000004</c:v>
                </c:pt>
                <c:pt idx="2723">
                  <c:v>7253069.1390000004</c:v>
                </c:pt>
                <c:pt idx="2724">
                  <c:v>7253069.1390000004</c:v>
                </c:pt>
                <c:pt idx="2725">
                  <c:v>7253069.1390000004</c:v>
                </c:pt>
                <c:pt idx="2726">
                  <c:v>7253069.1390000004</c:v>
                </c:pt>
                <c:pt idx="2727">
                  <c:v>7253069.1390000004</c:v>
                </c:pt>
                <c:pt idx="2728">
                  <c:v>7253069.1390000004</c:v>
                </c:pt>
                <c:pt idx="2729">
                  <c:v>7253069.1390000004</c:v>
                </c:pt>
                <c:pt idx="2730">
                  <c:v>7253069.1390000004</c:v>
                </c:pt>
                <c:pt idx="2731">
                  <c:v>7253069.1390000004</c:v>
                </c:pt>
                <c:pt idx="2732">
                  <c:v>7253069.1390000004</c:v>
                </c:pt>
                <c:pt idx="2733">
                  <c:v>7253069.1390000004</c:v>
                </c:pt>
                <c:pt idx="2734">
                  <c:v>7253069.1390000004</c:v>
                </c:pt>
                <c:pt idx="2735">
                  <c:v>7253069.1390000004</c:v>
                </c:pt>
                <c:pt idx="2736">
                  <c:v>7253069.1390000004</c:v>
                </c:pt>
                <c:pt idx="2737">
                  <c:v>7253069.1390000004</c:v>
                </c:pt>
                <c:pt idx="2738">
                  <c:v>7253069.1390000004</c:v>
                </c:pt>
                <c:pt idx="2739">
                  <c:v>7253069.1390000004</c:v>
                </c:pt>
                <c:pt idx="2740">
                  <c:v>7253069.1390000004</c:v>
                </c:pt>
                <c:pt idx="2741">
                  <c:v>7253069.1390000004</c:v>
                </c:pt>
                <c:pt idx="2742">
                  <c:v>7253069.1390000004</c:v>
                </c:pt>
                <c:pt idx="2743">
                  <c:v>7253069.1390000004</c:v>
                </c:pt>
                <c:pt idx="2744">
                  <c:v>7253069.1390000004</c:v>
                </c:pt>
                <c:pt idx="2745">
                  <c:v>7253069.1390000004</c:v>
                </c:pt>
                <c:pt idx="2746">
                  <c:v>7253069.1390000004</c:v>
                </c:pt>
                <c:pt idx="2747">
                  <c:v>7253069.1390000004</c:v>
                </c:pt>
                <c:pt idx="2748">
                  <c:v>7253069.1390000004</c:v>
                </c:pt>
                <c:pt idx="2749">
                  <c:v>7253069.1390000004</c:v>
                </c:pt>
                <c:pt idx="2750">
                  <c:v>7253069.1390000004</c:v>
                </c:pt>
                <c:pt idx="2751">
                  <c:v>7253069.1390000004</c:v>
                </c:pt>
                <c:pt idx="2752">
                  <c:v>7253069.1390000004</c:v>
                </c:pt>
                <c:pt idx="2753">
                  <c:v>7253069.1390000004</c:v>
                </c:pt>
                <c:pt idx="2754">
                  <c:v>7253069.1390000004</c:v>
                </c:pt>
                <c:pt idx="2755">
                  <c:v>7253069.1390000004</c:v>
                </c:pt>
                <c:pt idx="2756">
                  <c:v>7253069.1390000004</c:v>
                </c:pt>
                <c:pt idx="2757">
                  <c:v>7253069.1390000004</c:v>
                </c:pt>
                <c:pt idx="2758">
                  <c:v>7253069.1390000004</c:v>
                </c:pt>
                <c:pt idx="2759">
                  <c:v>7253069.1390000004</c:v>
                </c:pt>
                <c:pt idx="2760">
                  <c:v>7253069.1390000004</c:v>
                </c:pt>
                <c:pt idx="2761">
                  <c:v>7253069.1390000004</c:v>
                </c:pt>
                <c:pt idx="2762">
                  <c:v>7253069.1390000004</c:v>
                </c:pt>
                <c:pt idx="2763">
                  <c:v>7253069.1390000004</c:v>
                </c:pt>
                <c:pt idx="2764">
                  <c:v>7253069.1390000004</c:v>
                </c:pt>
                <c:pt idx="2765">
                  <c:v>7253069.1390000004</c:v>
                </c:pt>
                <c:pt idx="2766">
                  <c:v>7253069.1390000004</c:v>
                </c:pt>
                <c:pt idx="2767">
                  <c:v>7253069.1390000004</c:v>
                </c:pt>
                <c:pt idx="2768">
                  <c:v>7253069.1390000004</c:v>
                </c:pt>
                <c:pt idx="2769">
                  <c:v>7253069.1390000004</c:v>
                </c:pt>
                <c:pt idx="2770">
                  <c:v>7253069.1390000004</c:v>
                </c:pt>
                <c:pt idx="2771">
                  <c:v>7253069.1390000004</c:v>
                </c:pt>
                <c:pt idx="2772">
                  <c:v>7253069.1390000004</c:v>
                </c:pt>
                <c:pt idx="2773">
                  <c:v>7253069.1390000004</c:v>
                </c:pt>
                <c:pt idx="2774">
                  <c:v>7253069.1390000004</c:v>
                </c:pt>
                <c:pt idx="2775">
                  <c:v>7253069.1390000004</c:v>
                </c:pt>
                <c:pt idx="2776">
                  <c:v>7253069.1390000004</c:v>
                </c:pt>
                <c:pt idx="2777">
                  <c:v>7253069.1390000004</c:v>
                </c:pt>
                <c:pt idx="2778">
                  <c:v>7253069.1390000004</c:v>
                </c:pt>
                <c:pt idx="2779">
                  <c:v>7253069.1390000004</c:v>
                </c:pt>
                <c:pt idx="2780">
                  <c:v>7253069.1390000004</c:v>
                </c:pt>
                <c:pt idx="2781">
                  <c:v>7253069.1390000004</c:v>
                </c:pt>
                <c:pt idx="2782">
                  <c:v>7253069.1390000004</c:v>
                </c:pt>
                <c:pt idx="2783">
                  <c:v>7253069.1390000004</c:v>
                </c:pt>
                <c:pt idx="2784">
                  <c:v>7253069.1390000004</c:v>
                </c:pt>
                <c:pt idx="2785">
                  <c:v>7253069.1390000004</c:v>
                </c:pt>
                <c:pt idx="2786">
                  <c:v>7253069.1390000004</c:v>
                </c:pt>
                <c:pt idx="2787">
                  <c:v>7253069.1390000004</c:v>
                </c:pt>
                <c:pt idx="2788">
                  <c:v>7253069.1390000004</c:v>
                </c:pt>
                <c:pt idx="2789">
                  <c:v>7253069.1390000004</c:v>
                </c:pt>
                <c:pt idx="2790">
                  <c:v>7253069.1390000004</c:v>
                </c:pt>
                <c:pt idx="2791">
                  <c:v>7253069.1390000004</c:v>
                </c:pt>
                <c:pt idx="2792">
                  <c:v>7253069.1390000004</c:v>
                </c:pt>
                <c:pt idx="2793">
                  <c:v>7252375.4040000001</c:v>
                </c:pt>
                <c:pt idx="2794">
                  <c:v>7386391.4040000001</c:v>
                </c:pt>
                <c:pt idx="2795">
                  <c:v>7787175.4040000001</c:v>
                </c:pt>
                <c:pt idx="2796">
                  <c:v>7832039.4040000001</c:v>
                </c:pt>
                <c:pt idx="2797">
                  <c:v>7953431.4040000001</c:v>
                </c:pt>
                <c:pt idx="2798">
                  <c:v>8060263.4040000001</c:v>
                </c:pt>
                <c:pt idx="2799">
                  <c:v>7920039.4040000001</c:v>
                </c:pt>
                <c:pt idx="2800">
                  <c:v>8079767.4040000001</c:v>
                </c:pt>
                <c:pt idx="2801">
                  <c:v>8005735.4040000001</c:v>
                </c:pt>
                <c:pt idx="2802">
                  <c:v>7906183.4040000001</c:v>
                </c:pt>
                <c:pt idx="2803">
                  <c:v>7541031.4040000001</c:v>
                </c:pt>
                <c:pt idx="2804">
                  <c:v>7586551.4040000001</c:v>
                </c:pt>
                <c:pt idx="2805">
                  <c:v>7803511.4040000001</c:v>
                </c:pt>
                <c:pt idx="2806">
                  <c:v>7820695.4040000001</c:v>
                </c:pt>
                <c:pt idx="2807">
                  <c:v>7858151.4040000001</c:v>
                </c:pt>
                <c:pt idx="2808">
                  <c:v>7854935.4040000001</c:v>
                </c:pt>
                <c:pt idx="2809">
                  <c:v>7523975.4040000001</c:v>
                </c:pt>
                <c:pt idx="2810">
                  <c:v>7560551.4040000001</c:v>
                </c:pt>
                <c:pt idx="2811">
                  <c:v>7624247.4040000001</c:v>
                </c:pt>
                <c:pt idx="2812">
                  <c:v>7801447.4040000001</c:v>
                </c:pt>
                <c:pt idx="2813">
                  <c:v>7764871.4040000001</c:v>
                </c:pt>
                <c:pt idx="2814">
                  <c:v>7827111.4040000001</c:v>
                </c:pt>
                <c:pt idx="2815">
                  <c:v>7949127.4040000001</c:v>
                </c:pt>
                <c:pt idx="2816">
                  <c:v>7956311.4040000001</c:v>
                </c:pt>
                <c:pt idx="2817">
                  <c:v>7958407.4040000001</c:v>
                </c:pt>
                <c:pt idx="2818">
                  <c:v>7935447.4040000001</c:v>
                </c:pt>
                <c:pt idx="2819">
                  <c:v>7847719.4040000001</c:v>
                </c:pt>
                <c:pt idx="2820">
                  <c:v>7874067.4249999998</c:v>
                </c:pt>
                <c:pt idx="2821">
                  <c:v>7874067.4249999998</c:v>
                </c:pt>
                <c:pt idx="2822">
                  <c:v>7874067.4249999998</c:v>
                </c:pt>
                <c:pt idx="2823">
                  <c:v>7874067.4249999998</c:v>
                </c:pt>
                <c:pt idx="2824">
                  <c:v>7874067.4249999998</c:v>
                </c:pt>
                <c:pt idx="2825">
                  <c:v>7874067.4249999998</c:v>
                </c:pt>
                <c:pt idx="2826">
                  <c:v>7874067.4249999998</c:v>
                </c:pt>
                <c:pt idx="2827">
                  <c:v>7874067.4249999998</c:v>
                </c:pt>
                <c:pt idx="2828">
                  <c:v>7874067.4249999998</c:v>
                </c:pt>
                <c:pt idx="2829">
                  <c:v>7874067.4249999998</c:v>
                </c:pt>
                <c:pt idx="2830">
                  <c:v>7874067.4249999998</c:v>
                </c:pt>
                <c:pt idx="2831">
                  <c:v>7874067.4249999998</c:v>
                </c:pt>
                <c:pt idx="2832">
                  <c:v>7874067.4249999998</c:v>
                </c:pt>
                <c:pt idx="2833">
                  <c:v>7874067.4249999998</c:v>
                </c:pt>
                <c:pt idx="2834">
                  <c:v>7874067.4249999998</c:v>
                </c:pt>
                <c:pt idx="2835">
                  <c:v>7874067.4249999998</c:v>
                </c:pt>
                <c:pt idx="2836">
                  <c:v>7874067.4249999998</c:v>
                </c:pt>
                <c:pt idx="2837">
                  <c:v>7874067.4249999998</c:v>
                </c:pt>
                <c:pt idx="2838">
                  <c:v>7874067.4249999998</c:v>
                </c:pt>
                <c:pt idx="2839">
                  <c:v>7874067.4249999998</c:v>
                </c:pt>
                <c:pt idx="2840">
                  <c:v>7874067.4249999998</c:v>
                </c:pt>
                <c:pt idx="2841">
                  <c:v>7874067.4249999998</c:v>
                </c:pt>
                <c:pt idx="2842">
                  <c:v>7874067.4249999998</c:v>
                </c:pt>
                <c:pt idx="2843">
                  <c:v>7874067.4249999998</c:v>
                </c:pt>
                <c:pt idx="2844">
                  <c:v>7874067.4249999998</c:v>
                </c:pt>
                <c:pt idx="2845">
                  <c:v>7874067.4249999998</c:v>
                </c:pt>
                <c:pt idx="2846">
                  <c:v>7874067.4249999998</c:v>
                </c:pt>
                <c:pt idx="2847">
                  <c:v>7874067.4249999998</c:v>
                </c:pt>
                <c:pt idx="2848">
                  <c:v>7874067.4249999998</c:v>
                </c:pt>
                <c:pt idx="2849">
                  <c:v>7874067.4249999998</c:v>
                </c:pt>
                <c:pt idx="2850">
                  <c:v>7874067.4249999998</c:v>
                </c:pt>
                <c:pt idx="2851">
                  <c:v>7874067.4249999998</c:v>
                </c:pt>
                <c:pt idx="2852">
                  <c:v>7874067.4249999998</c:v>
                </c:pt>
                <c:pt idx="2853">
                  <c:v>7874067.4249999998</c:v>
                </c:pt>
                <c:pt idx="2854">
                  <c:v>7874067.4249999998</c:v>
                </c:pt>
                <c:pt idx="2855">
                  <c:v>7874067.4249999998</c:v>
                </c:pt>
                <c:pt idx="2856">
                  <c:v>7873286.8190000001</c:v>
                </c:pt>
                <c:pt idx="2857">
                  <c:v>7865806.8190000001</c:v>
                </c:pt>
                <c:pt idx="2858">
                  <c:v>8025164.8190000001</c:v>
                </c:pt>
                <c:pt idx="2859">
                  <c:v>8266598.8190000001</c:v>
                </c:pt>
                <c:pt idx="2860">
                  <c:v>8293866.8190000001</c:v>
                </c:pt>
                <c:pt idx="2861">
                  <c:v>8239296.8190000001</c:v>
                </c:pt>
                <c:pt idx="2862">
                  <c:v>8225084.8190000001</c:v>
                </c:pt>
                <c:pt idx="2863">
                  <c:v>8213082.8190000001</c:v>
                </c:pt>
                <c:pt idx="2864">
                  <c:v>8151559.8190000001</c:v>
                </c:pt>
                <c:pt idx="2865">
                  <c:v>8216125.8190000001</c:v>
                </c:pt>
                <c:pt idx="2866">
                  <c:v>8215037.8190000001</c:v>
                </c:pt>
                <c:pt idx="2867">
                  <c:v>8189792.8190000001</c:v>
                </c:pt>
                <c:pt idx="2868">
                  <c:v>8088659.8190000001</c:v>
                </c:pt>
                <c:pt idx="2869">
                  <c:v>8042334.8190000001</c:v>
                </c:pt>
                <c:pt idx="2870">
                  <c:v>8056002.8190000001</c:v>
                </c:pt>
                <c:pt idx="2871">
                  <c:v>8120585.8190000001</c:v>
                </c:pt>
                <c:pt idx="2872">
                  <c:v>8181190.8190000001</c:v>
                </c:pt>
                <c:pt idx="2873">
                  <c:v>8049287.8190000001</c:v>
                </c:pt>
                <c:pt idx="2874">
                  <c:v>8092637.8190000001</c:v>
                </c:pt>
                <c:pt idx="2875">
                  <c:v>8189078.8190000001</c:v>
                </c:pt>
                <c:pt idx="2876">
                  <c:v>8250448.8190000001</c:v>
                </c:pt>
                <c:pt idx="2877">
                  <c:v>8371913.8190000001</c:v>
                </c:pt>
                <c:pt idx="2878">
                  <c:v>8372950.8190000001</c:v>
                </c:pt>
                <c:pt idx="2879">
                  <c:v>8535521.8190000001</c:v>
                </c:pt>
                <c:pt idx="2880">
                  <c:v>8488822.8190000001</c:v>
                </c:pt>
                <c:pt idx="2881">
                  <c:v>8405556.8190000001</c:v>
                </c:pt>
                <c:pt idx="2882">
                  <c:v>8411608.8190000001</c:v>
                </c:pt>
                <c:pt idx="2883">
                  <c:v>8323871.8190000001</c:v>
                </c:pt>
                <c:pt idx="2884">
                  <c:v>8404315.8190000001</c:v>
                </c:pt>
                <c:pt idx="2885">
                  <c:v>8388369.8190000001</c:v>
                </c:pt>
                <c:pt idx="2886">
                  <c:v>8383065.8190000001</c:v>
                </c:pt>
                <c:pt idx="2887">
                  <c:v>8444809.8190000001</c:v>
                </c:pt>
                <c:pt idx="2888">
                  <c:v>8470819.8190000001</c:v>
                </c:pt>
                <c:pt idx="2889">
                  <c:v>8575777.8190000001</c:v>
                </c:pt>
                <c:pt idx="2890">
                  <c:v>8523519.8190000001</c:v>
                </c:pt>
                <c:pt idx="2891">
                  <c:v>8415416.8190000001</c:v>
                </c:pt>
                <c:pt idx="2892">
                  <c:v>8430529.8190000001</c:v>
                </c:pt>
                <c:pt idx="2893">
                  <c:v>8534535.8190000001</c:v>
                </c:pt>
                <c:pt idx="2894">
                  <c:v>8499651.8190000001</c:v>
                </c:pt>
                <c:pt idx="2895">
                  <c:v>8681296.8190000001</c:v>
                </c:pt>
                <c:pt idx="2896">
                  <c:v>8681364.8190000001</c:v>
                </c:pt>
                <c:pt idx="2897">
                  <c:v>8664228.8190000001</c:v>
                </c:pt>
                <c:pt idx="2898">
                  <c:v>8679290.8190000001</c:v>
                </c:pt>
                <c:pt idx="2899">
                  <c:v>8605034.8190000001</c:v>
                </c:pt>
                <c:pt idx="2900">
                  <c:v>8584022.8190000001</c:v>
                </c:pt>
                <c:pt idx="2901">
                  <c:v>8469816.8190000001</c:v>
                </c:pt>
                <c:pt idx="2902">
                  <c:v>8466110.8190000001</c:v>
                </c:pt>
                <c:pt idx="2903">
                  <c:v>8379597.8190000001</c:v>
                </c:pt>
                <c:pt idx="2904">
                  <c:v>8456454.8190000001</c:v>
                </c:pt>
                <c:pt idx="2905">
                  <c:v>8473896.8190000001</c:v>
                </c:pt>
                <c:pt idx="2906">
                  <c:v>8488805.8190000001</c:v>
                </c:pt>
                <c:pt idx="2907">
                  <c:v>8596942.8190000001</c:v>
                </c:pt>
                <c:pt idx="2908">
                  <c:v>8567175.8190000001</c:v>
                </c:pt>
                <c:pt idx="2909">
                  <c:v>8646854.8190000001</c:v>
                </c:pt>
                <c:pt idx="2910">
                  <c:v>8507335.8190000001</c:v>
                </c:pt>
                <c:pt idx="2911">
                  <c:v>8579330.8190000001</c:v>
                </c:pt>
                <c:pt idx="2912">
                  <c:v>8567260.8190000001</c:v>
                </c:pt>
                <c:pt idx="2913">
                  <c:v>8638643.8190000001</c:v>
                </c:pt>
                <c:pt idx="2914">
                  <c:v>8676723.8190000001</c:v>
                </c:pt>
                <c:pt idx="2915">
                  <c:v>8640224.8190000001</c:v>
                </c:pt>
                <c:pt idx="2916">
                  <c:v>8760533.8190000001</c:v>
                </c:pt>
                <c:pt idx="2917">
                  <c:v>8926419.8190000001</c:v>
                </c:pt>
                <c:pt idx="2918">
                  <c:v>9022350.8190000001</c:v>
                </c:pt>
                <c:pt idx="2919">
                  <c:v>9193676.8190000001</c:v>
                </c:pt>
                <c:pt idx="2920">
                  <c:v>9277265.8190000001</c:v>
                </c:pt>
                <c:pt idx="2921">
                  <c:v>9440448.8190000001</c:v>
                </c:pt>
                <c:pt idx="2922">
                  <c:v>9409457.8190000001</c:v>
                </c:pt>
                <c:pt idx="2923">
                  <c:v>9317198.8190000001</c:v>
                </c:pt>
                <c:pt idx="2924">
                  <c:v>9581021.8190000001</c:v>
                </c:pt>
                <c:pt idx="2925">
                  <c:v>9549775.8190000001</c:v>
                </c:pt>
                <c:pt idx="2926">
                  <c:v>9367008.8190000001</c:v>
                </c:pt>
                <c:pt idx="2927">
                  <c:v>9345962.8190000001</c:v>
                </c:pt>
                <c:pt idx="2928">
                  <c:v>9448710.8190000001</c:v>
                </c:pt>
                <c:pt idx="2929">
                  <c:v>9311010.8190000001</c:v>
                </c:pt>
                <c:pt idx="2930">
                  <c:v>9377157.8190000001</c:v>
                </c:pt>
                <c:pt idx="2931">
                  <c:v>9527675.8190000001</c:v>
                </c:pt>
                <c:pt idx="2932">
                  <c:v>9535852.8190000001</c:v>
                </c:pt>
                <c:pt idx="2933">
                  <c:v>9631290.8190000001</c:v>
                </c:pt>
                <c:pt idx="2934">
                  <c:v>9439275.8190000001</c:v>
                </c:pt>
                <c:pt idx="2935">
                  <c:v>9464826.8190000001</c:v>
                </c:pt>
                <c:pt idx="2936">
                  <c:v>9208364.8190000001</c:v>
                </c:pt>
                <c:pt idx="2937">
                  <c:v>9165558.8190000001</c:v>
                </c:pt>
                <c:pt idx="2938">
                  <c:v>9277231.8190000001</c:v>
                </c:pt>
                <c:pt idx="2939">
                  <c:v>9419079.8190000001</c:v>
                </c:pt>
                <c:pt idx="2940">
                  <c:v>9392066.8190000001</c:v>
                </c:pt>
                <c:pt idx="2941">
                  <c:v>9372941.8190000001</c:v>
                </c:pt>
                <c:pt idx="2942">
                  <c:v>9389023.8190000001</c:v>
                </c:pt>
                <c:pt idx="2943">
                  <c:v>9526978.8190000001</c:v>
                </c:pt>
                <c:pt idx="2944">
                  <c:v>9733851.8190000001</c:v>
                </c:pt>
                <c:pt idx="2945">
                  <c:v>9940350.8190000001</c:v>
                </c:pt>
                <c:pt idx="2946">
                  <c:v>9873472.8190000001</c:v>
                </c:pt>
                <c:pt idx="2947">
                  <c:v>9891254.8190000001</c:v>
                </c:pt>
                <c:pt idx="2948">
                  <c:v>9582687.8190000001</c:v>
                </c:pt>
                <c:pt idx="2949">
                  <c:v>9552665.8190000001</c:v>
                </c:pt>
                <c:pt idx="2950">
                  <c:v>9311095.8190000001</c:v>
                </c:pt>
                <c:pt idx="2951">
                  <c:v>9365478.8190000001</c:v>
                </c:pt>
                <c:pt idx="2952">
                  <c:v>9139718.8190000001</c:v>
                </c:pt>
                <c:pt idx="2953">
                  <c:v>9279152.8190000001</c:v>
                </c:pt>
                <c:pt idx="2954">
                  <c:v>9161597.8190000001</c:v>
                </c:pt>
                <c:pt idx="2955">
                  <c:v>9335983.8190000001</c:v>
                </c:pt>
                <c:pt idx="2956">
                  <c:v>9044433.8190000001</c:v>
                </c:pt>
                <c:pt idx="2957">
                  <c:v>9013986.8190000001</c:v>
                </c:pt>
                <c:pt idx="2958">
                  <c:v>8703260.8190000001</c:v>
                </c:pt>
                <c:pt idx="2959">
                  <c:v>8517926.8190000001</c:v>
                </c:pt>
                <c:pt idx="2960">
                  <c:v>8573363.8190000001</c:v>
                </c:pt>
                <c:pt idx="2961">
                  <c:v>8785200.8190000001</c:v>
                </c:pt>
                <c:pt idx="2962">
                  <c:v>8816072.8190000001</c:v>
                </c:pt>
                <c:pt idx="2963">
                  <c:v>8627644.8190000001</c:v>
                </c:pt>
                <c:pt idx="2964">
                  <c:v>8702138.8190000001</c:v>
                </c:pt>
                <c:pt idx="2965">
                  <c:v>8738688.8190000001</c:v>
                </c:pt>
                <c:pt idx="2966">
                  <c:v>8808235.8190000001</c:v>
                </c:pt>
                <c:pt idx="2967">
                  <c:v>8579279.8190000001</c:v>
                </c:pt>
                <c:pt idx="2968">
                  <c:v>8664381.8190000001</c:v>
                </c:pt>
                <c:pt idx="2969">
                  <c:v>8582951.8190000001</c:v>
                </c:pt>
                <c:pt idx="2970">
                  <c:v>8445999.8190000001</c:v>
                </c:pt>
                <c:pt idx="2971">
                  <c:v>8442021.8190000001</c:v>
                </c:pt>
                <c:pt idx="2972">
                  <c:v>8631809.8190000001</c:v>
                </c:pt>
                <c:pt idx="2973">
                  <c:v>8646922.8190000001</c:v>
                </c:pt>
                <c:pt idx="2974">
                  <c:v>8728267.8190000001</c:v>
                </c:pt>
                <c:pt idx="2975">
                  <c:v>8649438.8190000001</c:v>
                </c:pt>
                <c:pt idx="2976">
                  <c:v>8755552.8190000001</c:v>
                </c:pt>
                <c:pt idx="2977">
                  <c:v>8841001.3540000003</c:v>
                </c:pt>
                <c:pt idx="2978">
                  <c:v>8841001.3540000003</c:v>
                </c:pt>
                <c:pt idx="2979">
                  <c:v>8841001.3540000003</c:v>
                </c:pt>
                <c:pt idx="2980">
                  <c:v>8841001.3540000003</c:v>
                </c:pt>
                <c:pt idx="2981">
                  <c:v>8841001.3540000003</c:v>
                </c:pt>
                <c:pt idx="2982">
                  <c:v>8841001.3540000003</c:v>
                </c:pt>
                <c:pt idx="2983">
                  <c:v>8841001.3540000003</c:v>
                </c:pt>
                <c:pt idx="2984">
                  <c:v>8841001.3540000003</c:v>
                </c:pt>
                <c:pt idx="2985">
                  <c:v>8841001.3540000003</c:v>
                </c:pt>
                <c:pt idx="2986">
                  <c:v>8841001.3540000003</c:v>
                </c:pt>
                <c:pt idx="2987">
                  <c:v>8841001.3540000003</c:v>
                </c:pt>
                <c:pt idx="2988">
                  <c:v>8841001.3540000003</c:v>
                </c:pt>
                <c:pt idx="2989">
                  <c:v>8841001.3540000003</c:v>
                </c:pt>
                <c:pt idx="2990">
                  <c:v>8841001.3540000003</c:v>
                </c:pt>
                <c:pt idx="2991">
                  <c:v>8841001.3540000003</c:v>
                </c:pt>
                <c:pt idx="2992">
                  <c:v>8841001.3540000003</c:v>
                </c:pt>
                <c:pt idx="2993">
                  <c:v>8841001.3540000003</c:v>
                </c:pt>
                <c:pt idx="2994">
                  <c:v>8841001.3540000003</c:v>
                </c:pt>
                <c:pt idx="2995">
                  <c:v>8841001.3540000003</c:v>
                </c:pt>
                <c:pt idx="2996">
                  <c:v>8841001.3540000003</c:v>
                </c:pt>
                <c:pt idx="2997">
                  <c:v>8841001.3540000003</c:v>
                </c:pt>
                <c:pt idx="2998">
                  <c:v>8841001.3540000003</c:v>
                </c:pt>
                <c:pt idx="2999">
                  <c:v>8841001.3540000003</c:v>
                </c:pt>
                <c:pt idx="3000">
                  <c:v>8841001.3540000003</c:v>
                </c:pt>
                <c:pt idx="3001">
                  <c:v>8841001.3540000003</c:v>
                </c:pt>
                <c:pt idx="3002">
                  <c:v>8841001.3540000003</c:v>
                </c:pt>
                <c:pt idx="3003">
                  <c:v>8841001.3540000003</c:v>
                </c:pt>
                <c:pt idx="3004">
                  <c:v>8841001.3540000003</c:v>
                </c:pt>
                <c:pt idx="3005">
                  <c:v>8841001.3540000003</c:v>
                </c:pt>
                <c:pt idx="3006">
                  <c:v>8841001.3540000003</c:v>
                </c:pt>
                <c:pt idx="3007">
                  <c:v>8841001.3540000003</c:v>
                </c:pt>
                <c:pt idx="3008">
                  <c:v>8841001.3540000003</c:v>
                </c:pt>
                <c:pt idx="3009">
                  <c:v>8841001.3540000003</c:v>
                </c:pt>
                <c:pt idx="3010">
                  <c:v>8841001.3540000003</c:v>
                </c:pt>
                <c:pt idx="3011">
                  <c:v>8841001.3540000003</c:v>
                </c:pt>
                <c:pt idx="3012">
                  <c:v>8841001.3540000003</c:v>
                </c:pt>
                <c:pt idx="3013">
                  <c:v>8841001.3540000003</c:v>
                </c:pt>
                <c:pt idx="3014">
                  <c:v>8841001.3540000003</c:v>
                </c:pt>
                <c:pt idx="3015">
                  <c:v>8841001.3540000003</c:v>
                </c:pt>
                <c:pt idx="3016">
                  <c:v>8841001.3540000003</c:v>
                </c:pt>
                <c:pt idx="3017">
                  <c:v>8841001.3540000003</c:v>
                </c:pt>
                <c:pt idx="3018">
                  <c:v>8841001.3540000003</c:v>
                </c:pt>
                <c:pt idx="3019">
                  <c:v>8841001.3540000003</c:v>
                </c:pt>
                <c:pt idx="3020">
                  <c:v>8841001.3540000003</c:v>
                </c:pt>
                <c:pt idx="3021">
                  <c:v>8841001.3540000003</c:v>
                </c:pt>
                <c:pt idx="3022">
                  <c:v>8841001.3540000003</c:v>
                </c:pt>
                <c:pt idx="3023">
                  <c:v>8841001.3540000003</c:v>
                </c:pt>
                <c:pt idx="3024">
                  <c:v>8841001.3540000003</c:v>
                </c:pt>
                <c:pt idx="3025">
                  <c:v>8841001.3540000003</c:v>
                </c:pt>
                <c:pt idx="3026">
                  <c:v>8841001.3540000003</c:v>
                </c:pt>
                <c:pt idx="3027">
                  <c:v>8841001.3540000003</c:v>
                </c:pt>
                <c:pt idx="3028">
                  <c:v>8841001.3540000003</c:v>
                </c:pt>
                <c:pt idx="3029">
                  <c:v>8841001.3540000003</c:v>
                </c:pt>
                <c:pt idx="3030">
                  <c:v>8840126.2970000003</c:v>
                </c:pt>
                <c:pt idx="3031">
                  <c:v>8854712.2970000003</c:v>
                </c:pt>
                <c:pt idx="3032">
                  <c:v>8997512.2970000003</c:v>
                </c:pt>
                <c:pt idx="3033">
                  <c:v>9017555.2970000003</c:v>
                </c:pt>
                <c:pt idx="3034">
                  <c:v>8913481.2970000003</c:v>
                </c:pt>
                <c:pt idx="3035">
                  <c:v>8970431.2970000003</c:v>
                </c:pt>
                <c:pt idx="3036">
                  <c:v>8979985.2970000003</c:v>
                </c:pt>
                <c:pt idx="3037">
                  <c:v>8727467.2970000003</c:v>
                </c:pt>
                <c:pt idx="3038">
                  <c:v>8735406.2970000003</c:v>
                </c:pt>
                <c:pt idx="3039">
                  <c:v>8730833.2970000003</c:v>
                </c:pt>
                <c:pt idx="3040">
                  <c:v>8828396.2970000003</c:v>
                </c:pt>
                <c:pt idx="3041">
                  <c:v>8739605.2970000003</c:v>
                </c:pt>
                <c:pt idx="3042">
                  <c:v>8707611.2970000003</c:v>
                </c:pt>
                <c:pt idx="3043">
                  <c:v>8815170.2970000003</c:v>
                </c:pt>
                <c:pt idx="3044">
                  <c:v>8831133.2970000003</c:v>
                </c:pt>
                <c:pt idx="3045">
                  <c:v>8730799.2970000003</c:v>
                </c:pt>
                <c:pt idx="3046">
                  <c:v>8847045.2970000003</c:v>
                </c:pt>
                <c:pt idx="3047">
                  <c:v>8750672.2970000003</c:v>
                </c:pt>
                <c:pt idx="3048">
                  <c:v>8782496.2970000003</c:v>
                </c:pt>
                <c:pt idx="3049">
                  <c:v>8774846.2970000003</c:v>
                </c:pt>
                <c:pt idx="3050">
                  <c:v>8834431.2970000003</c:v>
                </c:pt>
                <c:pt idx="3051">
                  <c:v>8847538.2970000003</c:v>
                </c:pt>
                <c:pt idx="3052">
                  <c:v>8741254.2970000003</c:v>
                </c:pt>
                <c:pt idx="3053">
                  <c:v>8462573.2970000003</c:v>
                </c:pt>
                <c:pt idx="3054">
                  <c:v>8165982.5750000002</c:v>
                </c:pt>
                <c:pt idx="3055">
                  <c:v>8165982.5750000002</c:v>
                </c:pt>
                <c:pt idx="3056">
                  <c:v>8165982.5750000002</c:v>
                </c:pt>
                <c:pt idx="3057">
                  <c:v>8165982.5750000002</c:v>
                </c:pt>
                <c:pt idx="3058">
                  <c:v>8165982.5750000002</c:v>
                </c:pt>
                <c:pt idx="3059">
                  <c:v>8165982.5750000002</c:v>
                </c:pt>
                <c:pt idx="3060">
                  <c:v>8165982.5750000002</c:v>
                </c:pt>
                <c:pt idx="3061">
                  <c:v>8165982.5750000002</c:v>
                </c:pt>
                <c:pt idx="3062">
                  <c:v>8165982.5750000002</c:v>
                </c:pt>
                <c:pt idx="3063">
                  <c:v>8165982.5750000002</c:v>
                </c:pt>
                <c:pt idx="3064">
                  <c:v>8165982.5750000002</c:v>
                </c:pt>
                <c:pt idx="3065">
                  <c:v>8165982.5750000002</c:v>
                </c:pt>
                <c:pt idx="3066">
                  <c:v>8165982.5750000002</c:v>
                </c:pt>
                <c:pt idx="3067">
                  <c:v>8165982.5750000002</c:v>
                </c:pt>
                <c:pt idx="3068">
                  <c:v>8165982.5750000002</c:v>
                </c:pt>
                <c:pt idx="3069">
                  <c:v>8165982.5750000002</c:v>
                </c:pt>
                <c:pt idx="3070">
                  <c:v>8165982.5750000002</c:v>
                </c:pt>
                <c:pt idx="3071">
                  <c:v>8165982.5750000002</c:v>
                </c:pt>
                <c:pt idx="3072">
                  <c:v>8165982.5750000002</c:v>
                </c:pt>
                <c:pt idx="3073">
                  <c:v>8165982.5750000002</c:v>
                </c:pt>
                <c:pt idx="3074">
                  <c:v>8165982.5750000002</c:v>
                </c:pt>
                <c:pt idx="3075">
                  <c:v>8165982.5750000002</c:v>
                </c:pt>
                <c:pt idx="3076">
                  <c:v>8165982.5750000002</c:v>
                </c:pt>
                <c:pt idx="3077">
                  <c:v>8165982.5750000002</c:v>
                </c:pt>
                <c:pt idx="3078">
                  <c:v>8165982.5750000002</c:v>
                </c:pt>
                <c:pt idx="3079">
                  <c:v>8165982.5750000002</c:v>
                </c:pt>
                <c:pt idx="3080">
                  <c:v>8165982.5750000002</c:v>
                </c:pt>
                <c:pt idx="3081">
                  <c:v>8165982.5750000002</c:v>
                </c:pt>
                <c:pt idx="3082">
                  <c:v>8165982.5750000002</c:v>
                </c:pt>
                <c:pt idx="3083">
                  <c:v>8165982.5750000002</c:v>
                </c:pt>
                <c:pt idx="3084">
                  <c:v>8165982.5750000002</c:v>
                </c:pt>
                <c:pt idx="3085">
                  <c:v>8165982.5750000002</c:v>
                </c:pt>
                <c:pt idx="3086">
                  <c:v>8165982.5750000002</c:v>
                </c:pt>
                <c:pt idx="3087">
                  <c:v>8165982.5750000002</c:v>
                </c:pt>
                <c:pt idx="3088">
                  <c:v>8165982.5750000002</c:v>
                </c:pt>
                <c:pt idx="3089">
                  <c:v>8165982.5750000002</c:v>
                </c:pt>
                <c:pt idx="3090">
                  <c:v>8165982.5750000002</c:v>
                </c:pt>
                <c:pt idx="3091">
                  <c:v>8165982.5750000002</c:v>
                </c:pt>
                <c:pt idx="3092">
                  <c:v>8165982.5750000002</c:v>
                </c:pt>
                <c:pt idx="3093">
                  <c:v>8165982.5750000002</c:v>
                </c:pt>
                <c:pt idx="3094">
                  <c:v>8165982.5750000002</c:v>
                </c:pt>
                <c:pt idx="3095">
                  <c:v>8165982.5750000002</c:v>
                </c:pt>
                <c:pt idx="3096">
                  <c:v>8165982.5750000002</c:v>
                </c:pt>
                <c:pt idx="3097">
                  <c:v>8165982.5750000002</c:v>
                </c:pt>
                <c:pt idx="3098">
                  <c:v>8165982.5750000002</c:v>
                </c:pt>
                <c:pt idx="3099">
                  <c:v>8165203.9539999999</c:v>
                </c:pt>
                <c:pt idx="3100">
                  <c:v>8266899.9539999999</c:v>
                </c:pt>
                <c:pt idx="3101">
                  <c:v>8276899.9539999999</c:v>
                </c:pt>
                <c:pt idx="3102">
                  <c:v>8193139.9539999999</c:v>
                </c:pt>
                <c:pt idx="3103">
                  <c:v>8283171.9539999999</c:v>
                </c:pt>
                <c:pt idx="3104">
                  <c:v>8240771.9539999999</c:v>
                </c:pt>
                <c:pt idx="3105">
                  <c:v>8270371.9539999999</c:v>
                </c:pt>
                <c:pt idx="3106">
                  <c:v>8178643.9539999999</c:v>
                </c:pt>
                <c:pt idx="3107">
                  <c:v>8255347.9539999999</c:v>
                </c:pt>
                <c:pt idx="3108">
                  <c:v>8235283.9539999999</c:v>
                </c:pt>
                <c:pt idx="3109">
                  <c:v>8263827.9539999999</c:v>
                </c:pt>
                <c:pt idx="3110">
                  <c:v>8314563.9539999999</c:v>
                </c:pt>
                <c:pt idx="3111">
                  <c:v>8346227.9539999999</c:v>
                </c:pt>
                <c:pt idx="3112">
                  <c:v>8319955.9539999999</c:v>
                </c:pt>
                <c:pt idx="3113">
                  <c:v>8216051.9539999999</c:v>
                </c:pt>
                <c:pt idx="3114">
                  <c:v>8161619.9539999999</c:v>
                </c:pt>
                <c:pt idx="3115">
                  <c:v>8233027.9539999999</c:v>
                </c:pt>
                <c:pt idx="3116">
                  <c:v>8204099.9539999999</c:v>
                </c:pt>
                <c:pt idx="3117">
                  <c:v>8122755.9539999999</c:v>
                </c:pt>
                <c:pt idx="3118">
                  <c:v>8092000.5760000004</c:v>
                </c:pt>
                <c:pt idx="3119">
                  <c:v>8092000.5760000004</c:v>
                </c:pt>
                <c:pt idx="3120">
                  <c:v>8092000.5760000004</c:v>
                </c:pt>
                <c:pt idx="3121">
                  <c:v>8092000.5760000004</c:v>
                </c:pt>
                <c:pt idx="3122">
                  <c:v>8092000.5760000004</c:v>
                </c:pt>
                <c:pt idx="3123">
                  <c:v>8092000.5760000004</c:v>
                </c:pt>
                <c:pt idx="3124">
                  <c:v>8092000.5760000004</c:v>
                </c:pt>
                <c:pt idx="3125">
                  <c:v>8092000.5760000004</c:v>
                </c:pt>
                <c:pt idx="3126">
                  <c:v>8092000.5760000004</c:v>
                </c:pt>
                <c:pt idx="3127">
                  <c:v>8092000.5760000004</c:v>
                </c:pt>
                <c:pt idx="3128">
                  <c:v>8092000.5760000004</c:v>
                </c:pt>
                <c:pt idx="3129">
                  <c:v>8092000.5760000004</c:v>
                </c:pt>
                <c:pt idx="3130">
                  <c:v>8092000.5760000004</c:v>
                </c:pt>
                <c:pt idx="3131">
                  <c:v>8092000.5760000004</c:v>
                </c:pt>
                <c:pt idx="3132">
                  <c:v>8092000.5760000004</c:v>
                </c:pt>
                <c:pt idx="3133">
                  <c:v>8092000.5760000004</c:v>
                </c:pt>
                <c:pt idx="3134">
                  <c:v>8092000.5760000004</c:v>
                </c:pt>
                <c:pt idx="3135">
                  <c:v>8092000.5760000004</c:v>
                </c:pt>
                <c:pt idx="3136">
                  <c:v>8092000.5760000004</c:v>
                </c:pt>
                <c:pt idx="3137">
                  <c:v>8092000.5760000004</c:v>
                </c:pt>
                <c:pt idx="3138">
                  <c:v>8092000.5760000004</c:v>
                </c:pt>
                <c:pt idx="3139">
                  <c:v>8092000.5760000004</c:v>
                </c:pt>
                <c:pt idx="3140">
                  <c:v>8092000.5760000004</c:v>
                </c:pt>
                <c:pt idx="3141">
                  <c:v>8092000.5760000004</c:v>
                </c:pt>
                <c:pt idx="3142">
                  <c:v>8092000.5760000004</c:v>
                </c:pt>
                <c:pt idx="3143">
                  <c:v>8092000.5760000004</c:v>
                </c:pt>
                <c:pt idx="3144">
                  <c:v>8092000.5760000004</c:v>
                </c:pt>
                <c:pt idx="3145">
                  <c:v>8091191.7570000002</c:v>
                </c:pt>
                <c:pt idx="3146">
                  <c:v>8137079.7570000002</c:v>
                </c:pt>
                <c:pt idx="3147">
                  <c:v>8082519.7570000002</c:v>
                </c:pt>
                <c:pt idx="3148">
                  <c:v>8012439.7570000002</c:v>
                </c:pt>
                <c:pt idx="3149">
                  <c:v>8058567.7570000002</c:v>
                </c:pt>
                <c:pt idx="3150">
                  <c:v>7930615.7570000002</c:v>
                </c:pt>
                <c:pt idx="3151">
                  <c:v>7811671.7570000002</c:v>
                </c:pt>
                <c:pt idx="3152">
                  <c:v>7864583.7570000002</c:v>
                </c:pt>
                <c:pt idx="3153">
                  <c:v>7866119.7570000002</c:v>
                </c:pt>
                <c:pt idx="3154">
                  <c:v>7920983.7570000002</c:v>
                </c:pt>
                <c:pt idx="3155">
                  <c:v>7877143.7570000002</c:v>
                </c:pt>
                <c:pt idx="3156">
                  <c:v>7873911.7570000002</c:v>
                </c:pt>
                <c:pt idx="3157">
                  <c:v>7932535.7570000002</c:v>
                </c:pt>
                <c:pt idx="3158">
                  <c:v>7816567.7570000002</c:v>
                </c:pt>
                <c:pt idx="3159">
                  <c:v>7877415.7570000002</c:v>
                </c:pt>
                <c:pt idx="3160">
                  <c:v>7907591.7570000002</c:v>
                </c:pt>
                <c:pt idx="3161">
                  <c:v>7871431.7570000002</c:v>
                </c:pt>
                <c:pt idx="3162">
                  <c:v>7791991.7570000002</c:v>
                </c:pt>
                <c:pt idx="3163">
                  <c:v>7712167.7570000002</c:v>
                </c:pt>
                <c:pt idx="3164">
                  <c:v>7718791.7570000002</c:v>
                </c:pt>
                <c:pt idx="3165">
                  <c:v>7753479.7570000002</c:v>
                </c:pt>
                <c:pt idx="3166">
                  <c:v>7679431.7570000002</c:v>
                </c:pt>
                <c:pt idx="3167">
                  <c:v>7755927.7570000002</c:v>
                </c:pt>
                <c:pt idx="3168">
                  <c:v>7628471.7570000002</c:v>
                </c:pt>
                <c:pt idx="3169">
                  <c:v>7565767.7570000002</c:v>
                </c:pt>
                <c:pt idx="3170">
                  <c:v>7630647.7570000002</c:v>
                </c:pt>
                <c:pt idx="3171">
                  <c:v>7704359.7570000002</c:v>
                </c:pt>
                <c:pt idx="3172">
                  <c:v>7651607.7570000002</c:v>
                </c:pt>
                <c:pt idx="3173">
                  <c:v>7720615.7570000002</c:v>
                </c:pt>
                <c:pt idx="3174">
                  <c:v>7649895.7570000002</c:v>
                </c:pt>
                <c:pt idx="3175">
                  <c:v>7661783.7570000002</c:v>
                </c:pt>
                <c:pt idx="3176">
                  <c:v>7488519.7570000002</c:v>
                </c:pt>
                <c:pt idx="3177">
                  <c:v>7542695.7570000002</c:v>
                </c:pt>
                <c:pt idx="3178">
                  <c:v>7394807.7570000002</c:v>
                </c:pt>
                <c:pt idx="3179">
                  <c:v>7305031.7570000002</c:v>
                </c:pt>
                <c:pt idx="3180">
                  <c:v>7417543.7570000002</c:v>
                </c:pt>
                <c:pt idx="3181">
                  <c:v>7377031.7570000002</c:v>
                </c:pt>
                <c:pt idx="3182">
                  <c:v>7446295.7570000002</c:v>
                </c:pt>
                <c:pt idx="3183">
                  <c:v>7426775.7570000002</c:v>
                </c:pt>
                <c:pt idx="3184">
                  <c:v>7365239.7570000002</c:v>
                </c:pt>
                <c:pt idx="3185">
                  <c:v>7285703.7570000002</c:v>
                </c:pt>
                <c:pt idx="3186">
                  <c:v>7363159.7570000002</c:v>
                </c:pt>
                <c:pt idx="3187">
                  <c:v>7391783.7570000002</c:v>
                </c:pt>
                <c:pt idx="3188">
                  <c:v>7409655.7570000002</c:v>
                </c:pt>
                <c:pt idx="3189">
                  <c:v>7444983.7570000002</c:v>
                </c:pt>
                <c:pt idx="3190">
                  <c:v>7417895.7570000002</c:v>
                </c:pt>
                <c:pt idx="3191">
                  <c:v>7321639.7570000002</c:v>
                </c:pt>
                <c:pt idx="3192">
                  <c:v>7399879.7570000002</c:v>
                </c:pt>
                <c:pt idx="3193">
                  <c:v>7249911.7570000002</c:v>
                </c:pt>
                <c:pt idx="3194">
                  <c:v>7320471.7570000002</c:v>
                </c:pt>
                <c:pt idx="3195">
                  <c:v>7332906.693</c:v>
                </c:pt>
                <c:pt idx="3196">
                  <c:v>7332906.693</c:v>
                </c:pt>
                <c:pt idx="3197">
                  <c:v>7332906.693</c:v>
                </c:pt>
                <c:pt idx="3198">
                  <c:v>7332906.693</c:v>
                </c:pt>
                <c:pt idx="3199">
                  <c:v>7332906.693</c:v>
                </c:pt>
                <c:pt idx="3200">
                  <c:v>7332906.693</c:v>
                </c:pt>
                <c:pt idx="3201">
                  <c:v>7332906.693</c:v>
                </c:pt>
                <c:pt idx="3202">
                  <c:v>7332906.693</c:v>
                </c:pt>
                <c:pt idx="3203">
                  <c:v>7332906.693</c:v>
                </c:pt>
                <c:pt idx="3204">
                  <c:v>7332906.693</c:v>
                </c:pt>
                <c:pt idx="3205">
                  <c:v>7332906.693</c:v>
                </c:pt>
                <c:pt idx="3206">
                  <c:v>7332906.693</c:v>
                </c:pt>
                <c:pt idx="3207">
                  <c:v>7332906.693</c:v>
                </c:pt>
                <c:pt idx="3208">
                  <c:v>7332906.693</c:v>
                </c:pt>
                <c:pt idx="3209">
                  <c:v>7332906.693</c:v>
                </c:pt>
                <c:pt idx="3210">
                  <c:v>7332906.693</c:v>
                </c:pt>
                <c:pt idx="3211">
                  <c:v>7332906.693</c:v>
                </c:pt>
                <c:pt idx="3212">
                  <c:v>7332906.693</c:v>
                </c:pt>
                <c:pt idx="3213">
                  <c:v>7332906.693</c:v>
                </c:pt>
                <c:pt idx="3214">
                  <c:v>7332906.693</c:v>
                </c:pt>
                <c:pt idx="3215">
                  <c:v>7332906.693</c:v>
                </c:pt>
                <c:pt idx="3216">
                  <c:v>7332906.693</c:v>
                </c:pt>
                <c:pt idx="3217">
                  <c:v>7332906.693</c:v>
                </c:pt>
                <c:pt idx="3218">
                  <c:v>7332906.693</c:v>
                </c:pt>
                <c:pt idx="3219">
                  <c:v>7332906.693</c:v>
                </c:pt>
                <c:pt idx="3220">
                  <c:v>7332906.693</c:v>
                </c:pt>
                <c:pt idx="3221">
                  <c:v>7332906.693</c:v>
                </c:pt>
                <c:pt idx="3222">
                  <c:v>7332906.693</c:v>
                </c:pt>
              </c:numCache>
            </c:numRef>
          </c:val>
          <c:smooth val="0"/>
          <c:extLst>
            <c:ext xmlns:c16="http://schemas.microsoft.com/office/drawing/2014/chart" uri="{C3380CC4-5D6E-409C-BE32-E72D297353CC}">
              <c16:uniqueId val="{00000001-AD3B-41BE-96AE-C0728EE915FA}"/>
            </c:ext>
          </c:extLst>
        </c:ser>
        <c:ser>
          <c:idx val="2"/>
          <c:order val="2"/>
          <c:tx>
            <c:strRef>
              <c:f>turnover_牛熊!$E$1</c:f>
              <c:strCache>
                <c:ptCount val="1"/>
                <c:pt idx="0">
                  <c:v>RSRS+Turnover rate</c:v>
                </c:pt>
              </c:strCache>
            </c:strRef>
          </c:tx>
          <c:spPr>
            <a:ln w="28575" cap="rnd">
              <a:solidFill>
                <a:schemeClr val="accent3"/>
              </a:solidFill>
              <a:round/>
            </a:ln>
            <a:effectLst/>
          </c:spPr>
          <c:marker>
            <c:symbol val="none"/>
          </c:marker>
          <c:cat>
            <c:numRef>
              <c:f>turnover_牛熊!$B$2:$B$3224</c:f>
              <c:numCache>
                <c:formatCode>yyyy\-mm\-dd;@</c:formatCode>
                <c:ptCount val="3223"/>
                <c:pt idx="0">
                  <c:v>39818</c:v>
                </c:pt>
                <c:pt idx="1">
                  <c:v>39819</c:v>
                </c:pt>
                <c:pt idx="2">
                  <c:v>39820</c:v>
                </c:pt>
                <c:pt idx="3">
                  <c:v>39821</c:v>
                </c:pt>
                <c:pt idx="4">
                  <c:v>39822</c:v>
                </c:pt>
                <c:pt idx="5">
                  <c:v>39825</c:v>
                </c:pt>
                <c:pt idx="6">
                  <c:v>39826</c:v>
                </c:pt>
                <c:pt idx="7">
                  <c:v>39827</c:v>
                </c:pt>
                <c:pt idx="8">
                  <c:v>39828</c:v>
                </c:pt>
                <c:pt idx="9">
                  <c:v>39829</c:v>
                </c:pt>
                <c:pt idx="10">
                  <c:v>39832</c:v>
                </c:pt>
                <c:pt idx="11">
                  <c:v>39833</c:v>
                </c:pt>
                <c:pt idx="12">
                  <c:v>39834</c:v>
                </c:pt>
                <c:pt idx="13">
                  <c:v>39835</c:v>
                </c:pt>
                <c:pt idx="14">
                  <c:v>39836</c:v>
                </c:pt>
                <c:pt idx="15">
                  <c:v>39846</c:v>
                </c:pt>
                <c:pt idx="16">
                  <c:v>39847</c:v>
                </c:pt>
                <c:pt idx="17">
                  <c:v>39848</c:v>
                </c:pt>
                <c:pt idx="18">
                  <c:v>39849</c:v>
                </c:pt>
                <c:pt idx="19">
                  <c:v>39850</c:v>
                </c:pt>
                <c:pt idx="20">
                  <c:v>39853</c:v>
                </c:pt>
                <c:pt idx="21">
                  <c:v>39854</c:v>
                </c:pt>
                <c:pt idx="22">
                  <c:v>39855</c:v>
                </c:pt>
                <c:pt idx="23">
                  <c:v>39856</c:v>
                </c:pt>
                <c:pt idx="24">
                  <c:v>39857</c:v>
                </c:pt>
                <c:pt idx="25">
                  <c:v>39860</c:v>
                </c:pt>
                <c:pt idx="26">
                  <c:v>39861</c:v>
                </c:pt>
                <c:pt idx="27">
                  <c:v>39862</c:v>
                </c:pt>
                <c:pt idx="28">
                  <c:v>39863</c:v>
                </c:pt>
                <c:pt idx="29">
                  <c:v>39864</c:v>
                </c:pt>
                <c:pt idx="30">
                  <c:v>39867</c:v>
                </c:pt>
                <c:pt idx="31">
                  <c:v>39868</c:v>
                </c:pt>
                <c:pt idx="32">
                  <c:v>39869</c:v>
                </c:pt>
                <c:pt idx="33">
                  <c:v>39870</c:v>
                </c:pt>
                <c:pt idx="34">
                  <c:v>39871</c:v>
                </c:pt>
                <c:pt idx="35">
                  <c:v>39874</c:v>
                </c:pt>
                <c:pt idx="36">
                  <c:v>39875</c:v>
                </c:pt>
                <c:pt idx="37">
                  <c:v>39876</c:v>
                </c:pt>
                <c:pt idx="38">
                  <c:v>39877</c:v>
                </c:pt>
                <c:pt idx="39">
                  <c:v>39878</c:v>
                </c:pt>
                <c:pt idx="40">
                  <c:v>39881</c:v>
                </c:pt>
                <c:pt idx="41">
                  <c:v>39882</c:v>
                </c:pt>
                <c:pt idx="42">
                  <c:v>39883</c:v>
                </c:pt>
                <c:pt idx="43">
                  <c:v>39884</c:v>
                </c:pt>
                <c:pt idx="44">
                  <c:v>39885</c:v>
                </c:pt>
                <c:pt idx="45">
                  <c:v>39888</c:v>
                </c:pt>
                <c:pt idx="46">
                  <c:v>39889</c:v>
                </c:pt>
                <c:pt idx="47">
                  <c:v>39890</c:v>
                </c:pt>
                <c:pt idx="48">
                  <c:v>39891</c:v>
                </c:pt>
                <c:pt idx="49">
                  <c:v>39892</c:v>
                </c:pt>
                <c:pt idx="50">
                  <c:v>39895</c:v>
                </c:pt>
                <c:pt idx="51">
                  <c:v>39896</c:v>
                </c:pt>
                <c:pt idx="52">
                  <c:v>39897</c:v>
                </c:pt>
                <c:pt idx="53">
                  <c:v>39898</c:v>
                </c:pt>
                <c:pt idx="54">
                  <c:v>39899</c:v>
                </c:pt>
                <c:pt idx="55">
                  <c:v>39902</c:v>
                </c:pt>
                <c:pt idx="56">
                  <c:v>39903</c:v>
                </c:pt>
                <c:pt idx="57">
                  <c:v>39904</c:v>
                </c:pt>
                <c:pt idx="58">
                  <c:v>39905</c:v>
                </c:pt>
                <c:pt idx="59">
                  <c:v>39906</c:v>
                </c:pt>
                <c:pt idx="60">
                  <c:v>39910</c:v>
                </c:pt>
                <c:pt idx="61">
                  <c:v>39911</c:v>
                </c:pt>
                <c:pt idx="62">
                  <c:v>39912</c:v>
                </c:pt>
                <c:pt idx="63">
                  <c:v>39913</c:v>
                </c:pt>
                <c:pt idx="64">
                  <c:v>39916</c:v>
                </c:pt>
                <c:pt idx="65">
                  <c:v>39917</c:v>
                </c:pt>
                <c:pt idx="66">
                  <c:v>39918</c:v>
                </c:pt>
                <c:pt idx="67">
                  <c:v>39919</c:v>
                </c:pt>
                <c:pt idx="68">
                  <c:v>39920</c:v>
                </c:pt>
                <c:pt idx="69">
                  <c:v>39923</c:v>
                </c:pt>
                <c:pt idx="70">
                  <c:v>39924</c:v>
                </c:pt>
                <c:pt idx="71">
                  <c:v>39925</c:v>
                </c:pt>
                <c:pt idx="72">
                  <c:v>39926</c:v>
                </c:pt>
                <c:pt idx="73">
                  <c:v>39927</c:v>
                </c:pt>
                <c:pt idx="74">
                  <c:v>39930</c:v>
                </c:pt>
                <c:pt idx="75">
                  <c:v>39931</c:v>
                </c:pt>
                <c:pt idx="76">
                  <c:v>39932</c:v>
                </c:pt>
                <c:pt idx="77">
                  <c:v>39933</c:v>
                </c:pt>
                <c:pt idx="78">
                  <c:v>39937</c:v>
                </c:pt>
                <c:pt idx="79">
                  <c:v>39938</c:v>
                </c:pt>
                <c:pt idx="80">
                  <c:v>39939</c:v>
                </c:pt>
                <c:pt idx="81">
                  <c:v>39940</c:v>
                </c:pt>
                <c:pt idx="82">
                  <c:v>39941</c:v>
                </c:pt>
                <c:pt idx="83">
                  <c:v>39944</c:v>
                </c:pt>
                <c:pt idx="84">
                  <c:v>39945</c:v>
                </c:pt>
                <c:pt idx="85">
                  <c:v>39946</c:v>
                </c:pt>
                <c:pt idx="86">
                  <c:v>39947</c:v>
                </c:pt>
                <c:pt idx="87">
                  <c:v>39948</c:v>
                </c:pt>
                <c:pt idx="88">
                  <c:v>39951</c:v>
                </c:pt>
                <c:pt idx="89">
                  <c:v>39952</c:v>
                </c:pt>
                <c:pt idx="90">
                  <c:v>39953</c:v>
                </c:pt>
                <c:pt idx="91">
                  <c:v>39954</c:v>
                </c:pt>
                <c:pt idx="92">
                  <c:v>39955</c:v>
                </c:pt>
                <c:pt idx="93">
                  <c:v>39958</c:v>
                </c:pt>
                <c:pt idx="94">
                  <c:v>39959</c:v>
                </c:pt>
                <c:pt idx="95">
                  <c:v>39960</c:v>
                </c:pt>
                <c:pt idx="96">
                  <c:v>39965</c:v>
                </c:pt>
                <c:pt idx="97">
                  <c:v>39966</c:v>
                </c:pt>
                <c:pt idx="98">
                  <c:v>39967</c:v>
                </c:pt>
                <c:pt idx="99">
                  <c:v>39968</c:v>
                </c:pt>
                <c:pt idx="100">
                  <c:v>39969</c:v>
                </c:pt>
                <c:pt idx="101">
                  <c:v>39972</c:v>
                </c:pt>
                <c:pt idx="102">
                  <c:v>39973</c:v>
                </c:pt>
                <c:pt idx="103">
                  <c:v>39974</c:v>
                </c:pt>
                <c:pt idx="104">
                  <c:v>39975</c:v>
                </c:pt>
                <c:pt idx="105">
                  <c:v>39976</c:v>
                </c:pt>
                <c:pt idx="106">
                  <c:v>39979</c:v>
                </c:pt>
                <c:pt idx="107">
                  <c:v>39980</c:v>
                </c:pt>
                <c:pt idx="108">
                  <c:v>39981</c:v>
                </c:pt>
                <c:pt idx="109">
                  <c:v>39982</c:v>
                </c:pt>
                <c:pt idx="110">
                  <c:v>39983</c:v>
                </c:pt>
                <c:pt idx="111">
                  <c:v>39986</c:v>
                </c:pt>
                <c:pt idx="112">
                  <c:v>39987</c:v>
                </c:pt>
                <c:pt idx="113">
                  <c:v>39988</c:v>
                </c:pt>
                <c:pt idx="114">
                  <c:v>39989</c:v>
                </c:pt>
                <c:pt idx="115">
                  <c:v>39990</c:v>
                </c:pt>
                <c:pt idx="116">
                  <c:v>39993</c:v>
                </c:pt>
                <c:pt idx="117">
                  <c:v>39994</c:v>
                </c:pt>
                <c:pt idx="118">
                  <c:v>39995</c:v>
                </c:pt>
                <c:pt idx="119">
                  <c:v>39996</c:v>
                </c:pt>
                <c:pt idx="120">
                  <c:v>39997</c:v>
                </c:pt>
                <c:pt idx="121">
                  <c:v>40000</c:v>
                </c:pt>
                <c:pt idx="122">
                  <c:v>40001</c:v>
                </c:pt>
                <c:pt idx="123">
                  <c:v>40002</c:v>
                </c:pt>
                <c:pt idx="124">
                  <c:v>40003</c:v>
                </c:pt>
                <c:pt idx="125">
                  <c:v>40004</c:v>
                </c:pt>
                <c:pt idx="126">
                  <c:v>40007</c:v>
                </c:pt>
                <c:pt idx="127">
                  <c:v>40008</c:v>
                </c:pt>
                <c:pt idx="128">
                  <c:v>40009</c:v>
                </c:pt>
                <c:pt idx="129">
                  <c:v>40010</c:v>
                </c:pt>
                <c:pt idx="130">
                  <c:v>40011</c:v>
                </c:pt>
                <c:pt idx="131">
                  <c:v>40014</c:v>
                </c:pt>
                <c:pt idx="132">
                  <c:v>40015</c:v>
                </c:pt>
                <c:pt idx="133">
                  <c:v>40016</c:v>
                </c:pt>
                <c:pt idx="134">
                  <c:v>40017</c:v>
                </c:pt>
                <c:pt idx="135">
                  <c:v>40018</c:v>
                </c:pt>
                <c:pt idx="136">
                  <c:v>40021</c:v>
                </c:pt>
                <c:pt idx="137">
                  <c:v>40022</c:v>
                </c:pt>
                <c:pt idx="138">
                  <c:v>40023</c:v>
                </c:pt>
                <c:pt idx="139">
                  <c:v>40024</c:v>
                </c:pt>
                <c:pt idx="140">
                  <c:v>40025</c:v>
                </c:pt>
                <c:pt idx="141">
                  <c:v>40028</c:v>
                </c:pt>
                <c:pt idx="142">
                  <c:v>40029</c:v>
                </c:pt>
                <c:pt idx="143">
                  <c:v>40030</c:v>
                </c:pt>
                <c:pt idx="144">
                  <c:v>40031</c:v>
                </c:pt>
                <c:pt idx="145">
                  <c:v>40032</c:v>
                </c:pt>
                <c:pt idx="146">
                  <c:v>40035</c:v>
                </c:pt>
                <c:pt idx="147">
                  <c:v>40036</c:v>
                </c:pt>
                <c:pt idx="148">
                  <c:v>40037</c:v>
                </c:pt>
                <c:pt idx="149">
                  <c:v>40038</c:v>
                </c:pt>
                <c:pt idx="150">
                  <c:v>40039</c:v>
                </c:pt>
                <c:pt idx="151">
                  <c:v>40042</c:v>
                </c:pt>
                <c:pt idx="152">
                  <c:v>40043</c:v>
                </c:pt>
                <c:pt idx="153">
                  <c:v>40044</c:v>
                </c:pt>
                <c:pt idx="154">
                  <c:v>40045</c:v>
                </c:pt>
                <c:pt idx="155">
                  <c:v>40046</c:v>
                </c:pt>
                <c:pt idx="156">
                  <c:v>40049</c:v>
                </c:pt>
                <c:pt idx="157">
                  <c:v>40050</c:v>
                </c:pt>
                <c:pt idx="158">
                  <c:v>40051</c:v>
                </c:pt>
                <c:pt idx="159">
                  <c:v>40052</c:v>
                </c:pt>
                <c:pt idx="160">
                  <c:v>40053</c:v>
                </c:pt>
                <c:pt idx="161">
                  <c:v>40056</c:v>
                </c:pt>
                <c:pt idx="162">
                  <c:v>40057</c:v>
                </c:pt>
                <c:pt idx="163">
                  <c:v>40058</c:v>
                </c:pt>
                <c:pt idx="164">
                  <c:v>40059</c:v>
                </c:pt>
                <c:pt idx="165">
                  <c:v>40060</c:v>
                </c:pt>
                <c:pt idx="166">
                  <c:v>40063</c:v>
                </c:pt>
                <c:pt idx="167">
                  <c:v>40064</c:v>
                </c:pt>
                <c:pt idx="168">
                  <c:v>40065</c:v>
                </c:pt>
                <c:pt idx="169">
                  <c:v>40066</c:v>
                </c:pt>
                <c:pt idx="170">
                  <c:v>40067</c:v>
                </c:pt>
                <c:pt idx="171">
                  <c:v>40070</c:v>
                </c:pt>
                <c:pt idx="172">
                  <c:v>40071</c:v>
                </c:pt>
                <c:pt idx="173">
                  <c:v>40072</c:v>
                </c:pt>
                <c:pt idx="174">
                  <c:v>40073</c:v>
                </c:pt>
                <c:pt idx="175">
                  <c:v>40074</c:v>
                </c:pt>
                <c:pt idx="176">
                  <c:v>40077</c:v>
                </c:pt>
                <c:pt idx="177">
                  <c:v>40078</c:v>
                </c:pt>
                <c:pt idx="178">
                  <c:v>40079</c:v>
                </c:pt>
                <c:pt idx="179">
                  <c:v>40080</c:v>
                </c:pt>
                <c:pt idx="180">
                  <c:v>40081</c:v>
                </c:pt>
                <c:pt idx="181">
                  <c:v>40084</c:v>
                </c:pt>
                <c:pt idx="182">
                  <c:v>40085</c:v>
                </c:pt>
                <c:pt idx="183">
                  <c:v>40086</c:v>
                </c:pt>
                <c:pt idx="184">
                  <c:v>40095</c:v>
                </c:pt>
                <c:pt idx="185">
                  <c:v>40098</c:v>
                </c:pt>
                <c:pt idx="186">
                  <c:v>40099</c:v>
                </c:pt>
                <c:pt idx="187">
                  <c:v>40100</c:v>
                </c:pt>
                <c:pt idx="188">
                  <c:v>40101</c:v>
                </c:pt>
                <c:pt idx="189">
                  <c:v>40102</c:v>
                </c:pt>
                <c:pt idx="190">
                  <c:v>40105</c:v>
                </c:pt>
                <c:pt idx="191">
                  <c:v>40106</c:v>
                </c:pt>
                <c:pt idx="192">
                  <c:v>40107</c:v>
                </c:pt>
                <c:pt idx="193">
                  <c:v>40108</c:v>
                </c:pt>
                <c:pt idx="194">
                  <c:v>40109</c:v>
                </c:pt>
                <c:pt idx="195">
                  <c:v>40112</c:v>
                </c:pt>
                <c:pt idx="196">
                  <c:v>40113</c:v>
                </c:pt>
                <c:pt idx="197">
                  <c:v>40114</c:v>
                </c:pt>
                <c:pt idx="198">
                  <c:v>40115</c:v>
                </c:pt>
                <c:pt idx="199">
                  <c:v>40116</c:v>
                </c:pt>
                <c:pt idx="200">
                  <c:v>40119</c:v>
                </c:pt>
                <c:pt idx="201">
                  <c:v>40120</c:v>
                </c:pt>
                <c:pt idx="202">
                  <c:v>40121</c:v>
                </c:pt>
                <c:pt idx="203">
                  <c:v>40122</c:v>
                </c:pt>
                <c:pt idx="204">
                  <c:v>40123</c:v>
                </c:pt>
                <c:pt idx="205">
                  <c:v>40126</c:v>
                </c:pt>
                <c:pt idx="206">
                  <c:v>40127</c:v>
                </c:pt>
                <c:pt idx="207">
                  <c:v>40128</c:v>
                </c:pt>
                <c:pt idx="208">
                  <c:v>40129</c:v>
                </c:pt>
                <c:pt idx="209">
                  <c:v>40130</c:v>
                </c:pt>
                <c:pt idx="210">
                  <c:v>40133</c:v>
                </c:pt>
                <c:pt idx="211">
                  <c:v>40134</c:v>
                </c:pt>
                <c:pt idx="212">
                  <c:v>40135</c:v>
                </c:pt>
                <c:pt idx="213">
                  <c:v>40136</c:v>
                </c:pt>
                <c:pt idx="214">
                  <c:v>40137</c:v>
                </c:pt>
                <c:pt idx="215">
                  <c:v>40140</c:v>
                </c:pt>
                <c:pt idx="216">
                  <c:v>40141</c:v>
                </c:pt>
                <c:pt idx="217">
                  <c:v>40142</c:v>
                </c:pt>
                <c:pt idx="218">
                  <c:v>40143</c:v>
                </c:pt>
                <c:pt idx="219">
                  <c:v>40144</c:v>
                </c:pt>
                <c:pt idx="220">
                  <c:v>40147</c:v>
                </c:pt>
                <c:pt idx="221">
                  <c:v>40148</c:v>
                </c:pt>
                <c:pt idx="222">
                  <c:v>40149</c:v>
                </c:pt>
                <c:pt idx="223">
                  <c:v>40150</c:v>
                </c:pt>
                <c:pt idx="224">
                  <c:v>40151</c:v>
                </c:pt>
                <c:pt idx="225">
                  <c:v>40154</c:v>
                </c:pt>
                <c:pt idx="226">
                  <c:v>40155</c:v>
                </c:pt>
                <c:pt idx="227">
                  <c:v>40156</c:v>
                </c:pt>
                <c:pt idx="228">
                  <c:v>40157</c:v>
                </c:pt>
                <c:pt idx="229">
                  <c:v>40158</c:v>
                </c:pt>
                <c:pt idx="230">
                  <c:v>40161</c:v>
                </c:pt>
                <c:pt idx="231">
                  <c:v>40162</c:v>
                </c:pt>
                <c:pt idx="232">
                  <c:v>40163</c:v>
                </c:pt>
                <c:pt idx="233">
                  <c:v>40164</c:v>
                </c:pt>
                <c:pt idx="234">
                  <c:v>40165</c:v>
                </c:pt>
                <c:pt idx="235">
                  <c:v>40168</c:v>
                </c:pt>
                <c:pt idx="236">
                  <c:v>40169</c:v>
                </c:pt>
                <c:pt idx="237">
                  <c:v>40170</c:v>
                </c:pt>
                <c:pt idx="238">
                  <c:v>40171</c:v>
                </c:pt>
                <c:pt idx="239">
                  <c:v>40172</c:v>
                </c:pt>
                <c:pt idx="240">
                  <c:v>40175</c:v>
                </c:pt>
                <c:pt idx="241">
                  <c:v>40176</c:v>
                </c:pt>
                <c:pt idx="242">
                  <c:v>40177</c:v>
                </c:pt>
                <c:pt idx="243">
                  <c:v>40178</c:v>
                </c:pt>
                <c:pt idx="244">
                  <c:v>40182</c:v>
                </c:pt>
                <c:pt idx="245">
                  <c:v>40183</c:v>
                </c:pt>
                <c:pt idx="246">
                  <c:v>40184</c:v>
                </c:pt>
                <c:pt idx="247">
                  <c:v>40185</c:v>
                </c:pt>
                <c:pt idx="248">
                  <c:v>40186</c:v>
                </c:pt>
                <c:pt idx="249">
                  <c:v>40189</c:v>
                </c:pt>
                <c:pt idx="250">
                  <c:v>40190</c:v>
                </c:pt>
                <c:pt idx="251">
                  <c:v>40191</c:v>
                </c:pt>
                <c:pt idx="252">
                  <c:v>40192</c:v>
                </c:pt>
                <c:pt idx="253">
                  <c:v>40193</c:v>
                </c:pt>
                <c:pt idx="254">
                  <c:v>40196</c:v>
                </c:pt>
                <c:pt idx="255">
                  <c:v>40197</c:v>
                </c:pt>
                <c:pt idx="256">
                  <c:v>40198</c:v>
                </c:pt>
                <c:pt idx="257">
                  <c:v>40199</c:v>
                </c:pt>
                <c:pt idx="258">
                  <c:v>40200</c:v>
                </c:pt>
                <c:pt idx="259">
                  <c:v>40203</c:v>
                </c:pt>
                <c:pt idx="260">
                  <c:v>40204</c:v>
                </c:pt>
                <c:pt idx="261">
                  <c:v>40205</c:v>
                </c:pt>
                <c:pt idx="262">
                  <c:v>40206</c:v>
                </c:pt>
                <c:pt idx="263">
                  <c:v>40207</c:v>
                </c:pt>
                <c:pt idx="264">
                  <c:v>40210</c:v>
                </c:pt>
                <c:pt idx="265">
                  <c:v>40211</c:v>
                </c:pt>
                <c:pt idx="266">
                  <c:v>40212</c:v>
                </c:pt>
                <c:pt idx="267">
                  <c:v>40213</c:v>
                </c:pt>
                <c:pt idx="268">
                  <c:v>40214</c:v>
                </c:pt>
                <c:pt idx="269">
                  <c:v>40217</c:v>
                </c:pt>
                <c:pt idx="270">
                  <c:v>40218</c:v>
                </c:pt>
                <c:pt idx="271">
                  <c:v>40219</c:v>
                </c:pt>
                <c:pt idx="272">
                  <c:v>40220</c:v>
                </c:pt>
                <c:pt idx="273">
                  <c:v>40221</c:v>
                </c:pt>
                <c:pt idx="274">
                  <c:v>40231</c:v>
                </c:pt>
                <c:pt idx="275">
                  <c:v>40232</c:v>
                </c:pt>
                <c:pt idx="276">
                  <c:v>40233</c:v>
                </c:pt>
                <c:pt idx="277">
                  <c:v>40234</c:v>
                </c:pt>
                <c:pt idx="278">
                  <c:v>40235</c:v>
                </c:pt>
                <c:pt idx="279">
                  <c:v>40238</c:v>
                </c:pt>
                <c:pt idx="280">
                  <c:v>40239</c:v>
                </c:pt>
                <c:pt idx="281">
                  <c:v>40240</c:v>
                </c:pt>
                <c:pt idx="282">
                  <c:v>40241</c:v>
                </c:pt>
                <c:pt idx="283">
                  <c:v>40242</c:v>
                </c:pt>
                <c:pt idx="284">
                  <c:v>40245</c:v>
                </c:pt>
                <c:pt idx="285">
                  <c:v>40246</c:v>
                </c:pt>
                <c:pt idx="286">
                  <c:v>40247</c:v>
                </c:pt>
                <c:pt idx="287">
                  <c:v>40248</c:v>
                </c:pt>
                <c:pt idx="288">
                  <c:v>40249</c:v>
                </c:pt>
                <c:pt idx="289">
                  <c:v>40252</c:v>
                </c:pt>
                <c:pt idx="290">
                  <c:v>40253</c:v>
                </c:pt>
                <c:pt idx="291">
                  <c:v>40254</c:v>
                </c:pt>
                <c:pt idx="292">
                  <c:v>40255</c:v>
                </c:pt>
                <c:pt idx="293">
                  <c:v>40256</c:v>
                </c:pt>
                <c:pt idx="294">
                  <c:v>40259</c:v>
                </c:pt>
                <c:pt idx="295">
                  <c:v>40260</c:v>
                </c:pt>
                <c:pt idx="296">
                  <c:v>40261</c:v>
                </c:pt>
                <c:pt idx="297">
                  <c:v>40262</c:v>
                </c:pt>
                <c:pt idx="298">
                  <c:v>40263</c:v>
                </c:pt>
                <c:pt idx="299">
                  <c:v>40266</c:v>
                </c:pt>
                <c:pt idx="300">
                  <c:v>40267</c:v>
                </c:pt>
                <c:pt idx="301">
                  <c:v>40268</c:v>
                </c:pt>
                <c:pt idx="302">
                  <c:v>40269</c:v>
                </c:pt>
                <c:pt idx="303">
                  <c:v>40270</c:v>
                </c:pt>
                <c:pt idx="304">
                  <c:v>40274</c:v>
                </c:pt>
                <c:pt idx="305">
                  <c:v>40275</c:v>
                </c:pt>
                <c:pt idx="306">
                  <c:v>40276</c:v>
                </c:pt>
                <c:pt idx="307">
                  <c:v>40277</c:v>
                </c:pt>
                <c:pt idx="308">
                  <c:v>40280</c:v>
                </c:pt>
                <c:pt idx="309">
                  <c:v>40281</c:v>
                </c:pt>
                <c:pt idx="310">
                  <c:v>40282</c:v>
                </c:pt>
                <c:pt idx="311">
                  <c:v>40283</c:v>
                </c:pt>
                <c:pt idx="312">
                  <c:v>40284</c:v>
                </c:pt>
                <c:pt idx="313">
                  <c:v>40287</c:v>
                </c:pt>
                <c:pt idx="314">
                  <c:v>40288</c:v>
                </c:pt>
                <c:pt idx="315">
                  <c:v>40289</c:v>
                </c:pt>
                <c:pt idx="316">
                  <c:v>40290</c:v>
                </c:pt>
                <c:pt idx="317">
                  <c:v>40291</c:v>
                </c:pt>
                <c:pt idx="318">
                  <c:v>40294</c:v>
                </c:pt>
                <c:pt idx="319">
                  <c:v>40295</c:v>
                </c:pt>
                <c:pt idx="320">
                  <c:v>40296</c:v>
                </c:pt>
                <c:pt idx="321">
                  <c:v>40297</c:v>
                </c:pt>
                <c:pt idx="322">
                  <c:v>40298</c:v>
                </c:pt>
                <c:pt idx="323">
                  <c:v>40302</c:v>
                </c:pt>
                <c:pt idx="324">
                  <c:v>40303</c:v>
                </c:pt>
                <c:pt idx="325">
                  <c:v>40304</c:v>
                </c:pt>
                <c:pt idx="326">
                  <c:v>40305</c:v>
                </c:pt>
                <c:pt idx="327">
                  <c:v>40308</c:v>
                </c:pt>
                <c:pt idx="328">
                  <c:v>40309</c:v>
                </c:pt>
                <c:pt idx="329">
                  <c:v>40310</c:v>
                </c:pt>
                <c:pt idx="330">
                  <c:v>40311</c:v>
                </c:pt>
                <c:pt idx="331">
                  <c:v>40312</c:v>
                </c:pt>
                <c:pt idx="332">
                  <c:v>40315</c:v>
                </c:pt>
                <c:pt idx="333">
                  <c:v>40316</c:v>
                </c:pt>
                <c:pt idx="334">
                  <c:v>40317</c:v>
                </c:pt>
                <c:pt idx="335">
                  <c:v>40318</c:v>
                </c:pt>
                <c:pt idx="336">
                  <c:v>40319</c:v>
                </c:pt>
                <c:pt idx="337">
                  <c:v>40322</c:v>
                </c:pt>
                <c:pt idx="338">
                  <c:v>40323</c:v>
                </c:pt>
                <c:pt idx="339">
                  <c:v>40324</c:v>
                </c:pt>
                <c:pt idx="340">
                  <c:v>40325</c:v>
                </c:pt>
                <c:pt idx="341">
                  <c:v>40326</c:v>
                </c:pt>
                <c:pt idx="342">
                  <c:v>40329</c:v>
                </c:pt>
                <c:pt idx="343">
                  <c:v>40330</c:v>
                </c:pt>
                <c:pt idx="344">
                  <c:v>40331</c:v>
                </c:pt>
                <c:pt idx="345">
                  <c:v>40332</c:v>
                </c:pt>
                <c:pt idx="346">
                  <c:v>40333</c:v>
                </c:pt>
                <c:pt idx="347">
                  <c:v>40336</c:v>
                </c:pt>
                <c:pt idx="348">
                  <c:v>40337</c:v>
                </c:pt>
                <c:pt idx="349">
                  <c:v>40338</c:v>
                </c:pt>
                <c:pt idx="350">
                  <c:v>40339</c:v>
                </c:pt>
                <c:pt idx="351">
                  <c:v>40340</c:v>
                </c:pt>
                <c:pt idx="352">
                  <c:v>40346</c:v>
                </c:pt>
                <c:pt idx="353">
                  <c:v>40347</c:v>
                </c:pt>
                <c:pt idx="354">
                  <c:v>40350</c:v>
                </c:pt>
                <c:pt idx="355">
                  <c:v>40351</c:v>
                </c:pt>
                <c:pt idx="356">
                  <c:v>40352</c:v>
                </c:pt>
                <c:pt idx="357">
                  <c:v>40353</c:v>
                </c:pt>
                <c:pt idx="358">
                  <c:v>40354</c:v>
                </c:pt>
                <c:pt idx="359">
                  <c:v>40357</c:v>
                </c:pt>
                <c:pt idx="360">
                  <c:v>40358</c:v>
                </c:pt>
                <c:pt idx="361">
                  <c:v>40359</c:v>
                </c:pt>
                <c:pt idx="362">
                  <c:v>40360</c:v>
                </c:pt>
                <c:pt idx="363">
                  <c:v>40361</c:v>
                </c:pt>
                <c:pt idx="364">
                  <c:v>40364</c:v>
                </c:pt>
                <c:pt idx="365">
                  <c:v>40365</c:v>
                </c:pt>
                <c:pt idx="366">
                  <c:v>40366</c:v>
                </c:pt>
                <c:pt idx="367">
                  <c:v>40367</c:v>
                </c:pt>
                <c:pt idx="368">
                  <c:v>40368</c:v>
                </c:pt>
                <c:pt idx="369">
                  <c:v>40371</c:v>
                </c:pt>
                <c:pt idx="370">
                  <c:v>40372</c:v>
                </c:pt>
                <c:pt idx="371">
                  <c:v>40373</c:v>
                </c:pt>
                <c:pt idx="372">
                  <c:v>40374</c:v>
                </c:pt>
                <c:pt idx="373">
                  <c:v>40375</c:v>
                </c:pt>
                <c:pt idx="374">
                  <c:v>40378</c:v>
                </c:pt>
                <c:pt idx="375">
                  <c:v>40379</c:v>
                </c:pt>
                <c:pt idx="376">
                  <c:v>40380</c:v>
                </c:pt>
                <c:pt idx="377">
                  <c:v>40381</c:v>
                </c:pt>
                <c:pt idx="378">
                  <c:v>40382</c:v>
                </c:pt>
                <c:pt idx="379">
                  <c:v>40385</c:v>
                </c:pt>
                <c:pt idx="380">
                  <c:v>40386</c:v>
                </c:pt>
                <c:pt idx="381">
                  <c:v>40387</c:v>
                </c:pt>
                <c:pt idx="382">
                  <c:v>40388</c:v>
                </c:pt>
                <c:pt idx="383">
                  <c:v>40389</c:v>
                </c:pt>
                <c:pt idx="384">
                  <c:v>40392</c:v>
                </c:pt>
                <c:pt idx="385">
                  <c:v>40393</c:v>
                </c:pt>
                <c:pt idx="386">
                  <c:v>40394</c:v>
                </c:pt>
                <c:pt idx="387">
                  <c:v>40395</c:v>
                </c:pt>
                <c:pt idx="388">
                  <c:v>40396</c:v>
                </c:pt>
                <c:pt idx="389">
                  <c:v>40399</c:v>
                </c:pt>
                <c:pt idx="390">
                  <c:v>40400</c:v>
                </c:pt>
                <c:pt idx="391">
                  <c:v>40401</c:v>
                </c:pt>
                <c:pt idx="392">
                  <c:v>40402</c:v>
                </c:pt>
                <c:pt idx="393">
                  <c:v>40403</c:v>
                </c:pt>
                <c:pt idx="394">
                  <c:v>40406</c:v>
                </c:pt>
                <c:pt idx="395">
                  <c:v>40407</c:v>
                </c:pt>
                <c:pt idx="396">
                  <c:v>40408</c:v>
                </c:pt>
                <c:pt idx="397">
                  <c:v>40409</c:v>
                </c:pt>
                <c:pt idx="398">
                  <c:v>40410</c:v>
                </c:pt>
                <c:pt idx="399">
                  <c:v>40413</c:v>
                </c:pt>
                <c:pt idx="400">
                  <c:v>40414</c:v>
                </c:pt>
                <c:pt idx="401">
                  <c:v>40415</c:v>
                </c:pt>
                <c:pt idx="402">
                  <c:v>40416</c:v>
                </c:pt>
                <c:pt idx="403">
                  <c:v>40417</c:v>
                </c:pt>
                <c:pt idx="404">
                  <c:v>40420</c:v>
                </c:pt>
                <c:pt idx="405">
                  <c:v>40421</c:v>
                </c:pt>
                <c:pt idx="406">
                  <c:v>40422</c:v>
                </c:pt>
                <c:pt idx="407">
                  <c:v>40423</c:v>
                </c:pt>
                <c:pt idx="408">
                  <c:v>40424</c:v>
                </c:pt>
                <c:pt idx="409">
                  <c:v>40427</c:v>
                </c:pt>
                <c:pt idx="410">
                  <c:v>40428</c:v>
                </c:pt>
                <c:pt idx="411">
                  <c:v>40429</c:v>
                </c:pt>
                <c:pt idx="412">
                  <c:v>40430</c:v>
                </c:pt>
                <c:pt idx="413">
                  <c:v>40431</c:v>
                </c:pt>
                <c:pt idx="414">
                  <c:v>40434</c:v>
                </c:pt>
                <c:pt idx="415">
                  <c:v>40435</c:v>
                </c:pt>
                <c:pt idx="416">
                  <c:v>40436</c:v>
                </c:pt>
                <c:pt idx="417">
                  <c:v>40437</c:v>
                </c:pt>
                <c:pt idx="418">
                  <c:v>40438</c:v>
                </c:pt>
                <c:pt idx="419">
                  <c:v>40441</c:v>
                </c:pt>
                <c:pt idx="420">
                  <c:v>40442</c:v>
                </c:pt>
                <c:pt idx="421">
                  <c:v>40448</c:v>
                </c:pt>
                <c:pt idx="422">
                  <c:v>40449</c:v>
                </c:pt>
                <c:pt idx="423">
                  <c:v>40450</c:v>
                </c:pt>
                <c:pt idx="424">
                  <c:v>40451</c:v>
                </c:pt>
                <c:pt idx="425">
                  <c:v>40459</c:v>
                </c:pt>
                <c:pt idx="426">
                  <c:v>40462</c:v>
                </c:pt>
                <c:pt idx="427">
                  <c:v>40463</c:v>
                </c:pt>
                <c:pt idx="428">
                  <c:v>40464</c:v>
                </c:pt>
                <c:pt idx="429">
                  <c:v>40465</c:v>
                </c:pt>
                <c:pt idx="430">
                  <c:v>40466</c:v>
                </c:pt>
                <c:pt idx="431">
                  <c:v>40469</c:v>
                </c:pt>
                <c:pt idx="432">
                  <c:v>40470</c:v>
                </c:pt>
                <c:pt idx="433">
                  <c:v>40471</c:v>
                </c:pt>
                <c:pt idx="434">
                  <c:v>40472</c:v>
                </c:pt>
                <c:pt idx="435">
                  <c:v>40473</c:v>
                </c:pt>
                <c:pt idx="436">
                  <c:v>40476</c:v>
                </c:pt>
                <c:pt idx="437">
                  <c:v>40477</c:v>
                </c:pt>
                <c:pt idx="438">
                  <c:v>40478</c:v>
                </c:pt>
                <c:pt idx="439">
                  <c:v>40479</c:v>
                </c:pt>
                <c:pt idx="440">
                  <c:v>40480</c:v>
                </c:pt>
                <c:pt idx="441">
                  <c:v>40483</c:v>
                </c:pt>
                <c:pt idx="442">
                  <c:v>40484</c:v>
                </c:pt>
                <c:pt idx="443">
                  <c:v>40485</c:v>
                </c:pt>
                <c:pt idx="444">
                  <c:v>40486</c:v>
                </c:pt>
                <c:pt idx="445">
                  <c:v>40487</c:v>
                </c:pt>
                <c:pt idx="446">
                  <c:v>40490</c:v>
                </c:pt>
                <c:pt idx="447">
                  <c:v>40491</c:v>
                </c:pt>
                <c:pt idx="448">
                  <c:v>40492</c:v>
                </c:pt>
                <c:pt idx="449">
                  <c:v>40493</c:v>
                </c:pt>
                <c:pt idx="450">
                  <c:v>40494</c:v>
                </c:pt>
                <c:pt idx="451">
                  <c:v>40497</c:v>
                </c:pt>
                <c:pt idx="452">
                  <c:v>40498</c:v>
                </c:pt>
                <c:pt idx="453">
                  <c:v>40499</c:v>
                </c:pt>
                <c:pt idx="454">
                  <c:v>40500</c:v>
                </c:pt>
                <c:pt idx="455">
                  <c:v>40501</c:v>
                </c:pt>
                <c:pt idx="456">
                  <c:v>40504</c:v>
                </c:pt>
                <c:pt idx="457">
                  <c:v>40505</c:v>
                </c:pt>
                <c:pt idx="458">
                  <c:v>40506</c:v>
                </c:pt>
                <c:pt idx="459">
                  <c:v>40507</c:v>
                </c:pt>
                <c:pt idx="460">
                  <c:v>40508</c:v>
                </c:pt>
                <c:pt idx="461">
                  <c:v>40511</c:v>
                </c:pt>
                <c:pt idx="462">
                  <c:v>40512</c:v>
                </c:pt>
                <c:pt idx="463">
                  <c:v>40513</c:v>
                </c:pt>
                <c:pt idx="464">
                  <c:v>40514</c:v>
                </c:pt>
                <c:pt idx="465">
                  <c:v>40515</c:v>
                </c:pt>
                <c:pt idx="466">
                  <c:v>40518</c:v>
                </c:pt>
                <c:pt idx="467">
                  <c:v>40519</c:v>
                </c:pt>
                <c:pt idx="468">
                  <c:v>40520</c:v>
                </c:pt>
                <c:pt idx="469">
                  <c:v>40521</c:v>
                </c:pt>
                <c:pt idx="470">
                  <c:v>40522</c:v>
                </c:pt>
                <c:pt idx="471">
                  <c:v>40525</c:v>
                </c:pt>
                <c:pt idx="472">
                  <c:v>40526</c:v>
                </c:pt>
                <c:pt idx="473">
                  <c:v>40527</c:v>
                </c:pt>
                <c:pt idx="474">
                  <c:v>40528</c:v>
                </c:pt>
                <c:pt idx="475">
                  <c:v>40529</c:v>
                </c:pt>
                <c:pt idx="476">
                  <c:v>40532</c:v>
                </c:pt>
                <c:pt idx="477">
                  <c:v>40533</c:v>
                </c:pt>
                <c:pt idx="478">
                  <c:v>40534</c:v>
                </c:pt>
                <c:pt idx="479">
                  <c:v>40535</c:v>
                </c:pt>
                <c:pt idx="480">
                  <c:v>40536</c:v>
                </c:pt>
                <c:pt idx="481">
                  <c:v>40539</c:v>
                </c:pt>
                <c:pt idx="482">
                  <c:v>40540</c:v>
                </c:pt>
                <c:pt idx="483">
                  <c:v>40541</c:v>
                </c:pt>
                <c:pt idx="484">
                  <c:v>40542</c:v>
                </c:pt>
                <c:pt idx="485">
                  <c:v>40543</c:v>
                </c:pt>
                <c:pt idx="486">
                  <c:v>40547</c:v>
                </c:pt>
                <c:pt idx="487">
                  <c:v>40548</c:v>
                </c:pt>
                <c:pt idx="488">
                  <c:v>40549</c:v>
                </c:pt>
                <c:pt idx="489">
                  <c:v>40550</c:v>
                </c:pt>
                <c:pt idx="490">
                  <c:v>40553</c:v>
                </c:pt>
                <c:pt idx="491">
                  <c:v>40554</c:v>
                </c:pt>
                <c:pt idx="492">
                  <c:v>40555</c:v>
                </c:pt>
                <c:pt idx="493">
                  <c:v>40556</c:v>
                </c:pt>
                <c:pt idx="494">
                  <c:v>40557</c:v>
                </c:pt>
                <c:pt idx="495">
                  <c:v>40560</c:v>
                </c:pt>
                <c:pt idx="496">
                  <c:v>40561</c:v>
                </c:pt>
                <c:pt idx="497">
                  <c:v>40562</c:v>
                </c:pt>
                <c:pt idx="498">
                  <c:v>40563</c:v>
                </c:pt>
                <c:pt idx="499">
                  <c:v>40564</c:v>
                </c:pt>
                <c:pt idx="500">
                  <c:v>40567</c:v>
                </c:pt>
                <c:pt idx="501">
                  <c:v>40568</c:v>
                </c:pt>
                <c:pt idx="502">
                  <c:v>40569</c:v>
                </c:pt>
                <c:pt idx="503">
                  <c:v>40570</c:v>
                </c:pt>
                <c:pt idx="504">
                  <c:v>40571</c:v>
                </c:pt>
                <c:pt idx="505">
                  <c:v>40574</c:v>
                </c:pt>
                <c:pt idx="506">
                  <c:v>40575</c:v>
                </c:pt>
                <c:pt idx="507">
                  <c:v>40583</c:v>
                </c:pt>
                <c:pt idx="508">
                  <c:v>40584</c:v>
                </c:pt>
                <c:pt idx="509">
                  <c:v>40585</c:v>
                </c:pt>
                <c:pt idx="510">
                  <c:v>40588</c:v>
                </c:pt>
                <c:pt idx="511">
                  <c:v>40589</c:v>
                </c:pt>
                <c:pt idx="512">
                  <c:v>40590</c:v>
                </c:pt>
                <c:pt idx="513">
                  <c:v>40591</c:v>
                </c:pt>
                <c:pt idx="514">
                  <c:v>40592</c:v>
                </c:pt>
                <c:pt idx="515">
                  <c:v>40595</c:v>
                </c:pt>
                <c:pt idx="516">
                  <c:v>40596</c:v>
                </c:pt>
                <c:pt idx="517">
                  <c:v>40597</c:v>
                </c:pt>
                <c:pt idx="518">
                  <c:v>40598</c:v>
                </c:pt>
                <c:pt idx="519">
                  <c:v>40599</c:v>
                </c:pt>
                <c:pt idx="520">
                  <c:v>40602</c:v>
                </c:pt>
                <c:pt idx="521">
                  <c:v>40603</c:v>
                </c:pt>
                <c:pt idx="522">
                  <c:v>40604</c:v>
                </c:pt>
                <c:pt idx="523">
                  <c:v>40605</c:v>
                </c:pt>
                <c:pt idx="524">
                  <c:v>40606</c:v>
                </c:pt>
                <c:pt idx="525">
                  <c:v>40609</c:v>
                </c:pt>
                <c:pt idx="526">
                  <c:v>40610</c:v>
                </c:pt>
                <c:pt idx="527">
                  <c:v>40611</c:v>
                </c:pt>
                <c:pt idx="528">
                  <c:v>40612</c:v>
                </c:pt>
                <c:pt idx="529">
                  <c:v>40613</c:v>
                </c:pt>
                <c:pt idx="530">
                  <c:v>40616</c:v>
                </c:pt>
                <c:pt idx="531">
                  <c:v>40617</c:v>
                </c:pt>
                <c:pt idx="532">
                  <c:v>40618</c:v>
                </c:pt>
                <c:pt idx="533">
                  <c:v>40619</c:v>
                </c:pt>
                <c:pt idx="534">
                  <c:v>40620</c:v>
                </c:pt>
                <c:pt idx="535">
                  <c:v>40623</c:v>
                </c:pt>
                <c:pt idx="536">
                  <c:v>40624</c:v>
                </c:pt>
                <c:pt idx="537">
                  <c:v>40625</c:v>
                </c:pt>
                <c:pt idx="538">
                  <c:v>40626</c:v>
                </c:pt>
                <c:pt idx="539">
                  <c:v>40627</c:v>
                </c:pt>
                <c:pt idx="540">
                  <c:v>40630</c:v>
                </c:pt>
                <c:pt idx="541">
                  <c:v>40631</c:v>
                </c:pt>
                <c:pt idx="542">
                  <c:v>40632</c:v>
                </c:pt>
                <c:pt idx="543">
                  <c:v>40633</c:v>
                </c:pt>
                <c:pt idx="544">
                  <c:v>40634</c:v>
                </c:pt>
                <c:pt idx="545">
                  <c:v>40639</c:v>
                </c:pt>
                <c:pt idx="546">
                  <c:v>40640</c:v>
                </c:pt>
                <c:pt idx="547">
                  <c:v>40641</c:v>
                </c:pt>
                <c:pt idx="548">
                  <c:v>40644</c:v>
                </c:pt>
                <c:pt idx="549">
                  <c:v>40645</c:v>
                </c:pt>
                <c:pt idx="550">
                  <c:v>40646</c:v>
                </c:pt>
                <c:pt idx="551">
                  <c:v>40647</c:v>
                </c:pt>
                <c:pt idx="552">
                  <c:v>40648</c:v>
                </c:pt>
                <c:pt idx="553">
                  <c:v>40651</c:v>
                </c:pt>
                <c:pt idx="554">
                  <c:v>40652</c:v>
                </c:pt>
                <c:pt idx="555">
                  <c:v>40653</c:v>
                </c:pt>
                <c:pt idx="556">
                  <c:v>40654</c:v>
                </c:pt>
                <c:pt idx="557">
                  <c:v>40655</c:v>
                </c:pt>
                <c:pt idx="558">
                  <c:v>40658</c:v>
                </c:pt>
                <c:pt idx="559">
                  <c:v>40659</c:v>
                </c:pt>
                <c:pt idx="560">
                  <c:v>40660</c:v>
                </c:pt>
                <c:pt idx="561">
                  <c:v>40661</c:v>
                </c:pt>
                <c:pt idx="562">
                  <c:v>40662</c:v>
                </c:pt>
                <c:pt idx="563">
                  <c:v>40666</c:v>
                </c:pt>
                <c:pt idx="564">
                  <c:v>40667</c:v>
                </c:pt>
                <c:pt idx="565">
                  <c:v>40668</c:v>
                </c:pt>
                <c:pt idx="566">
                  <c:v>40669</c:v>
                </c:pt>
                <c:pt idx="567">
                  <c:v>40672</c:v>
                </c:pt>
                <c:pt idx="568">
                  <c:v>40673</c:v>
                </c:pt>
                <c:pt idx="569">
                  <c:v>40674</c:v>
                </c:pt>
                <c:pt idx="570">
                  <c:v>40675</c:v>
                </c:pt>
                <c:pt idx="571">
                  <c:v>40676</c:v>
                </c:pt>
                <c:pt idx="572">
                  <c:v>40679</c:v>
                </c:pt>
                <c:pt idx="573">
                  <c:v>40680</c:v>
                </c:pt>
                <c:pt idx="574">
                  <c:v>40681</c:v>
                </c:pt>
                <c:pt idx="575">
                  <c:v>40682</c:v>
                </c:pt>
                <c:pt idx="576">
                  <c:v>40683</c:v>
                </c:pt>
                <c:pt idx="577">
                  <c:v>40686</c:v>
                </c:pt>
                <c:pt idx="578">
                  <c:v>40687</c:v>
                </c:pt>
                <c:pt idx="579">
                  <c:v>40688</c:v>
                </c:pt>
                <c:pt idx="580">
                  <c:v>40689</c:v>
                </c:pt>
                <c:pt idx="581">
                  <c:v>40690</c:v>
                </c:pt>
                <c:pt idx="582">
                  <c:v>40693</c:v>
                </c:pt>
                <c:pt idx="583">
                  <c:v>40694</c:v>
                </c:pt>
                <c:pt idx="584">
                  <c:v>40695</c:v>
                </c:pt>
                <c:pt idx="585">
                  <c:v>40696</c:v>
                </c:pt>
                <c:pt idx="586">
                  <c:v>40697</c:v>
                </c:pt>
                <c:pt idx="587">
                  <c:v>40701</c:v>
                </c:pt>
                <c:pt idx="588">
                  <c:v>40702</c:v>
                </c:pt>
                <c:pt idx="589">
                  <c:v>40703</c:v>
                </c:pt>
                <c:pt idx="590">
                  <c:v>40704</c:v>
                </c:pt>
                <c:pt idx="591">
                  <c:v>40707</c:v>
                </c:pt>
                <c:pt idx="592">
                  <c:v>40708</c:v>
                </c:pt>
                <c:pt idx="593">
                  <c:v>40709</c:v>
                </c:pt>
                <c:pt idx="594">
                  <c:v>40710</c:v>
                </c:pt>
                <c:pt idx="595">
                  <c:v>40711</c:v>
                </c:pt>
                <c:pt idx="596">
                  <c:v>40714</c:v>
                </c:pt>
                <c:pt idx="597">
                  <c:v>40715</c:v>
                </c:pt>
                <c:pt idx="598">
                  <c:v>40716</c:v>
                </c:pt>
                <c:pt idx="599">
                  <c:v>40717</c:v>
                </c:pt>
                <c:pt idx="600">
                  <c:v>40718</c:v>
                </c:pt>
                <c:pt idx="601">
                  <c:v>40721</c:v>
                </c:pt>
                <c:pt idx="602">
                  <c:v>40722</c:v>
                </c:pt>
                <c:pt idx="603">
                  <c:v>40723</c:v>
                </c:pt>
                <c:pt idx="604">
                  <c:v>40724</c:v>
                </c:pt>
                <c:pt idx="605">
                  <c:v>40725</c:v>
                </c:pt>
                <c:pt idx="606">
                  <c:v>40728</c:v>
                </c:pt>
                <c:pt idx="607">
                  <c:v>40729</c:v>
                </c:pt>
                <c:pt idx="608">
                  <c:v>40730</c:v>
                </c:pt>
                <c:pt idx="609">
                  <c:v>40731</c:v>
                </c:pt>
                <c:pt idx="610">
                  <c:v>40732</c:v>
                </c:pt>
                <c:pt idx="611">
                  <c:v>40735</c:v>
                </c:pt>
                <c:pt idx="612">
                  <c:v>40736</c:v>
                </c:pt>
                <c:pt idx="613">
                  <c:v>40737</c:v>
                </c:pt>
                <c:pt idx="614">
                  <c:v>40738</c:v>
                </c:pt>
                <c:pt idx="615">
                  <c:v>40739</c:v>
                </c:pt>
                <c:pt idx="616">
                  <c:v>40742</c:v>
                </c:pt>
                <c:pt idx="617">
                  <c:v>40743</c:v>
                </c:pt>
                <c:pt idx="618">
                  <c:v>40744</c:v>
                </c:pt>
                <c:pt idx="619">
                  <c:v>40745</c:v>
                </c:pt>
                <c:pt idx="620">
                  <c:v>40746</c:v>
                </c:pt>
                <c:pt idx="621">
                  <c:v>40749</c:v>
                </c:pt>
                <c:pt idx="622">
                  <c:v>40750</c:v>
                </c:pt>
                <c:pt idx="623">
                  <c:v>40751</c:v>
                </c:pt>
                <c:pt idx="624">
                  <c:v>40752</c:v>
                </c:pt>
                <c:pt idx="625">
                  <c:v>40753</c:v>
                </c:pt>
                <c:pt idx="626">
                  <c:v>40756</c:v>
                </c:pt>
                <c:pt idx="627">
                  <c:v>40757</c:v>
                </c:pt>
                <c:pt idx="628">
                  <c:v>40758</c:v>
                </c:pt>
                <c:pt idx="629">
                  <c:v>40759</c:v>
                </c:pt>
                <c:pt idx="630">
                  <c:v>40760</c:v>
                </c:pt>
                <c:pt idx="631">
                  <c:v>40763</c:v>
                </c:pt>
                <c:pt idx="632">
                  <c:v>40764</c:v>
                </c:pt>
                <c:pt idx="633">
                  <c:v>40765</c:v>
                </c:pt>
                <c:pt idx="634">
                  <c:v>40766</c:v>
                </c:pt>
                <c:pt idx="635">
                  <c:v>40767</c:v>
                </c:pt>
                <c:pt idx="636">
                  <c:v>40770</c:v>
                </c:pt>
                <c:pt idx="637">
                  <c:v>40771</c:v>
                </c:pt>
                <c:pt idx="638">
                  <c:v>40772</c:v>
                </c:pt>
                <c:pt idx="639">
                  <c:v>40773</c:v>
                </c:pt>
                <c:pt idx="640">
                  <c:v>40774</c:v>
                </c:pt>
                <c:pt idx="641">
                  <c:v>40777</c:v>
                </c:pt>
                <c:pt idx="642">
                  <c:v>40778</c:v>
                </c:pt>
                <c:pt idx="643">
                  <c:v>40779</c:v>
                </c:pt>
                <c:pt idx="644">
                  <c:v>40780</c:v>
                </c:pt>
                <c:pt idx="645">
                  <c:v>40781</c:v>
                </c:pt>
                <c:pt idx="646">
                  <c:v>40784</c:v>
                </c:pt>
                <c:pt idx="647">
                  <c:v>40785</c:v>
                </c:pt>
                <c:pt idx="648">
                  <c:v>40786</c:v>
                </c:pt>
                <c:pt idx="649">
                  <c:v>40787</c:v>
                </c:pt>
                <c:pt idx="650">
                  <c:v>40788</c:v>
                </c:pt>
                <c:pt idx="651">
                  <c:v>40791</c:v>
                </c:pt>
                <c:pt idx="652">
                  <c:v>40792</c:v>
                </c:pt>
                <c:pt idx="653">
                  <c:v>40793</c:v>
                </c:pt>
                <c:pt idx="654">
                  <c:v>40794</c:v>
                </c:pt>
                <c:pt idx="655">
                  <c:v>40795</c:v>
                </c:pt>
                <c:pt idx="656">
                  <c:v>40799</c:v>
                </c:pt>
                <c:pt idx="657">
                  <c:v>40800</c:v>
                </c:pt>
                <c:pt idx="658">
                  <c:v>40801</c:v>
                </c:pt>
                <c:pt idx="659">
                  <c:v>40802</c:v>
                </c:pt>
                <c:pt idx="660">
                  <c:v>40805</c:v>
                </c:pt>
                <c:pt idx="661">
                  <c:v>40806</c:v>
                </c:pt>
                <c:pt idx="662">
                  <c:v>40807</c:v>
                </c:pt>
                <c:pt idx="663">
                  <c:v>40808</c:v>
                </c:pt>
                <c:pt idx="664">
                  <c:v>40809</c:v>
                </c:pt>
                <c:pt idx="665">
                  <c:v>40812</c:v>
                </c:pt>
                <c:pt idx="666">
                  <c:v>40813</c:v>
                </c:pt>
                <c:pt idx="667">
                  <c:v>40814</c:v>
                </c:pt>
                <c:pt idx="668">
                  <c:v>40815</c:v>
                </c:pt>
                <c:pt idx="669">
                  <c:v>40816</c:v>
                </c:pt>
                <c:pt idx="670">
                  <c:v>40826</c:v>
                </c:pt>
                <c:pt idx="671">
                  <c:v>40827</c:v>
                </c:pt>
                <c:pt idx="672">
                  <c:v>40828</c:v>
                </c:pt>
                <c:pt idx="673">
                  <c:v>40829</c:v>
                </c:pt>
                <c:pt idx="674">
                  <c:v>40830</c:v>
                </c:pt>
                <c:pt idx="675">
                  <c:v>40833</c:v>
                </c:pt>
                <c:pt idx="676">
                  <c:v>40834</c:v>
                </c:pt>
                <c:pt idx="677">
                  <c:v>40835</c:v>
                </c:pt>
                <c:pt idx="678">
                  <c:v>40836</c:v>
                </c:pt>
                <c:pt idx="679">
                  <c:v>40837</c:v>
                </c:pt>
                <c:pt idx="680">
                  <c:v>40840</c:v>
                </c:pt>
                <c:pt idx="681">
                  <c:v>40841</c:v>
                </c:pt>
                <c:pt idx="682">
                  <c:v>40842</c:v>
                </c:pt>
                <c:pt idx="683">
                  <c:v>40843</c:v>
                </c:pt>
                <c:pt idx="684">
                  <c:v>40844</c:v>
                </c:pt>
                <c:pt idx="685">
                  <c:v>40847</c:v>
                </c:pt>
                <c:pt idx="686">
                  <c:v>40848</c:v>
                </c:pt>
                <c:pt idx="687">
                  <c:v>40849</c:v>
                </c:pt>
                <c:pt idx="688">
                  <c:v>40850</c:v>
                </c:pt>
                <c:pt idx="689">
                  <c:v>40851</c:v>
                </c:pt>
                <c:pt idx="690">
                  <c:v>40854</c:v>
                </c:pt>
                <c:pt idx="691">
                  <c:v>40855</c:v>
                </c:pt>
                <c:pt idx="692">
                  <c:v>40856</c:v>
                </c:pt>
                <c:pt idx="693">
                  <c:v>40857</c:v>
                </c:pt>
                <c:pt idx="694">
                  <c:v>40858</c:v>
                </c:pt>
                <c:pt idx="695">
                  <c:v>40861</c:v>
                </c:pt>
                <c:pt idx="696">
                  <c:v>40862</c:v>
                </c:pt>
                <c:pt idx="697">
                  <c:v>40863</c:v>
                </c:pt>
                <c:pt idx="698">
                  <c:v>40864</c:v>
                </c:pt>
                <c:pt idx="699">
                  <c:v>40865</c:v>
                </c:pt>
                <c:pt idx="700">
                  <c:v>40868</c:v>
                </c:pt>
                <c:pt idx="701">
                  <c:v>40869</c:v>
                </c:pt>
                <c:pt idx="702">
                  <c:v>40870</c:v>
                </c:pt>
                <c:pt idx="703">
                  <c:v>40871</c:v>
                </c:pt>
                <c:pt idx="704">
                  <c:v>40872</c:v>
                </c:pt>
                <c:pt idx="705">
                  <c:v>40875</c:v>
                </c:pt>
                <c:pt idx="706">
                  <c:v>40876</c:v>
                </c:pt>
                <c:pt idx="707">
                  <c:v>40877</c:v>
                </c:pt>
                <c:pt idx="708">
                  <c:v>40878</c:v>
                </c:pt>
                <c:pt idx="709">
                  <c:v>40879</c:v>
                </c:pt>
                <c:pt idx="710">
                  <c:v>40882</c:v>
                </c:pt>
                <c:pt idx="711">
                  <c:v>40883</c:v>
                </c:pt>
                <c:pt idx="712">
                  <c:v>40884</c:v>
                </c:pt>
                <c:pt idx="713">
                  <c:v>40885</c:v>
                </c:pt>
                <c:pt idx="714">
                  <c:v>40886</c:v>
                </c:pt>
                <c:pt idx="715">
                  <c:v>40889</c:v>
                </c:pt>
                <c:pt idx="716">
                  <c:v>40890</c:v>
                </c:pt>
                <c:pt idx="717">
                  <c:v>40891</c:v>
                </c:pt>
                <c:pt idx="718">
                  <c:v>40892</c:v>
                </c:pt>
                <c:pt idx="719">
                  <c:v>40893</c:v>
                </c:pt>
                <c:pt idx="720">
                  <c:v>40896</c:v>
                </c:pt>
                <c:pt idx="721">
                  <c:v>40897</c:v>
                </c:pt>
                <c:pt idx="722">
                  <c:v>40898</c:v>
                </c:pt>
                <c:pt idx="723">
                  <c:v>40899</c:v>
                </c:pt>
                <c:pt idx="724">
                  <c:v>40900</c:v>
                </c:pt>
                <c:pt idx="725">
                  <c:v>40903</c:v>
                </c:pt>
                <c:pt idx="726">
                  <c:v>40904</c:v>
                </c:pt>
                <c:pt idx="727">
                  <c:v>40905</c:v>
                </c:pt>
                <c:pt idx="728">
                  <c:v>40906</c:v>
                </c:pt>
                <c:pt idx="729">
                  <c:v>40907</c:v>
                </c:pt>
                <c:pt idx="730">
                  <c:v>40912</c:v>
                </c:pt>
                <c:pt idx="731">
                  <c:v>40913</c:v>
                </c:pt>
                <c:pt idx="732">
                  <c:v>40914</c:v>
                </c:pt>
                <c:pt idx="733">
                  <c:v>40917</c:v>
                </c:pt>
                <c:pt idx="734">
                  <c:v>40918</c:v>
                </c:pt>
                <c:pt idx="735">
                  <c:v>40919</c:v>
                </c:pt>
                <c:pt idx="736">
                  <c:v>40920</c:v>
                </c:pt>
                <c:pt idx="737">
                  <c:v>40921</c:v>
                </c:pt>
                <c:pt idx="738">
                  <c:v>40924</c:v>
                </c:pt>
                <c:pt idx="739">
                  <c:v>40925</c:v>
                </c:pt>
                <c:pt idx="740">
                  <c:v>40926</c:v>
                </c:pt>
                <c:pt idx="741">
                  <c:v>40927</c:v>
                </c:pt>
                <c:pt idx="742">
                  <c:v>40928</c:v>
                </c:pt>
                <c:pt idx="743">
                  <c:v>40938</c:v>
                </c:pt>
                <c:pt idx="744">
                  <c:v>40939</c:v>
                </c:pt>
                <c:pt idx="745">
                  <c:v>40940</c:v>
                </c:pt>
                <c:pt idx="746">
                  <c:v>40941</c:v>
                </c:pt>
                <c:pt idx="747">
                  <c:v>40942</c:v>
                </c:pt>
                <c:pt idx="748">
                  <c:v>40945</c:v>
                </c:pt>
                <c:pt idx="749">
                  <c:v>40946</c:v>
                </c:pt>
                <c:pt idx="750">
                  <c:v>40947</c:v>
                </c:pt>
                <c:pt idx="751">
                  <c:v>40948</c:v>
                </c:pt>
                <c:pt idx="752">
                  <c:v>40949</c:v>
                </c:pt>
                <c:pt idx="753">
                  <c:v>40952</c:v>
                </c:pt>
                <c:pt idx="754">
                  <c:v>40953</c:v>
                </c:pt>
                <c:pt idx="755">
                  <c:v>40954</c:v>
                </c:pt>
                <c:pt idx="756">
                  <c:v>40955</c:v>
                </c:pt>
                <c:pt idx="757">
                  <c:v>40956</c:v>
                </c:pt>
                <c:pt idx="758">
                  <c:v>40959</c:v>
                </c:pt>
                <c:pt idx="759">
                  <c:v>40960</c:v>
                </c:pt>
                <c:pt idx="760">
                  <c:v>40961</c:v>
                </c:pt>
                <c:pt idx="761">
                  <c:v>40962</c:v>
                </c:pt>
                <c:pt idx="762">
                  <c:v>40963</c:v>
                </c:pt>
                <c:pt idx="763">
                  <c:v>40966</c:v>
                </c:pt>
                <c:pt idx="764">
                  <c:v>40967</c:v>
                </c:pt>
                <c:pt idx="765">
                  <c:v>40968</c:v>
                </c:pt>
                <c:pt idx="766">
                  <c:v>40969</c:v>
                </c:pt>
                <c:pt idx="767">
                  <c:v>40970</c:v>
                </c:pt>
                <c:pt idx="768">
                  <c:v>40973</c:v>
                </c:pt>
                <c:pt idx="769">
                  <c:v>40974</c:v>
                </c:pt>
                <c:pt idx="770">
                  <c:v>40975</c:v>
                </c:pt>
                <c:pt idx="771">
                  <c:v>40976</c:v>
                </c:pt>
                <c:pt idx="772">
                  <c:v>40977</c:v>
                </c:pt>
                <c:pt idx="773">
                  <c:v>40980</c:v>
                </c:pt>
                <c:pt idx="774">
                  <c:v>40981</c:v>
                </c:pt>
                <c:pt idx="775">
                  <c:v>40982</c:v>
                </c:pt>
                <c:pt idx="776">
                  <c:v>40983</c:v>
                </c:pt>
                <c:pt idx="777">
                  <c:v>40984</c:v>
                </c:pt>
                <c:pt idx="778">
                  <c:v>40987</c:v>
                </c:pt>
                <c:pt idx="779">
                  <c:v>40988</c:v>
                </c:pt>
                <c:pt idx="780">
                  <c:v>40989</c:v>
                </c:pt>
                <c:pt idx="781">
                  <c:v>40990</c:v>
                </c:pt>
                <c:pt idx="782">
                  <c:v>40991</c:v>
                </c:pt>
                <c:pt idx="783">
                  <c:v>40994</c:v>
                </c:pt>
                <c:pt idx="784">
                  <c:v>40995</c:v>
                </c:pt>
                <c:pt idx="785">
                  <c:v>40996</c:v>
                </c:pt>
                <c:pt idx="786">
                  <c:v>40997</c:v>
                </c:pt>
                <c:pt idx="787">
                  <c:v>40998</c:v>
                </c:pt>
                <c:pt idx="788">
                  <c:v>41004</c:v>
                </c:pt>
                <c:pt idx="789">
                  <c:v>41005</c:v>
                </c:pt>
                <c:pt idx="790">
                  <c:v>41008</c:v>
                </c:pt>
                <c:pt idx="791">
                  <c:v>41009</c:v>
                </c:pt>
                <c:pt idx="792">
                  <c:v>41010</c:v>
                </c:pt>
                <c:pt idx="793">
                  <c:v>41011</c:v>
                </c:pt>
                <c:pt idx="794">
                  <c:v>41012</c:v>
                </c:pt>
                <c:pt idx="795">
                  <c:v>41015</c:v>
                </c:pt>
                <c:pt idx="796">
                  <c:v>41016</c:v>
                </c:pt>
                <c:pt idx="797">
                  <c:v>41017</c:v>
                </c:pt>
                <c:pt idx="798">
                  <c:v>41018</c:v>
                </c:pt>
                <c:pt idx="799">
                  <c:v>41019</c:v>
                </c:pt>
                <c:pt idx="800">
                  <c:v>41022</c:v>
                </c:pt>
                <c:pt idx="801">
                  <c:v>41023</c:v>
                </c:pt>
                <c:pt idx="802">
                  <c:v>41024</c:v>
                </c:pt>
                <c:pt idx="803">
                  <c:v>41025</c:v>
                </c:pt>
                <c:pt idx="804">
                  <c:v>41026</c:v>
                </c:pt>
                <c:pt idx="805">
                  <c:v>41031</c:v>
                </c:pt>
                <c:pt idx="806">
                  <c:v>41032</c:v>
                </c:pt>
                <c:pt idx="807">
                  <c:v>41033</c:v>
                </c:pt>
                <c:pt idx="808">
                  <c:v>41036</c:v>
                </c:pt>
                <c:pt idx="809">
                  <c:v>41037</c:v>
                </c:pt>
                <c:pt idx="810">
                  <c:v>41038</c:v>
                </c:pt>
                <c:pt idx="811">
                  <c:v>41039</c:v>
                </c:pt>
                <c:pt idx="812">
                  <c:v>41040</c:v>
                </c:pt>
                <c:pt idx="813">
                  <c:v>41043</c:v>
                </c:pt>
                <c:pt idx="814">
                  <c:v>41044</c:v>
                </c:pt>
                <c:pt idx="815">
                  <c:v>41045</c:v>
                </c:pt>
                <c:pt idx="816">
                  <c:v>41046</c:v>
                </c:pt>
                <c:pt idx="817">
                  <c:v>41047</c:v>
                </c:pt>
                <c:pt idx="818">
                  <c:v>41050</c:v>
                </c:pt>
                <c:pt idx="819">
                  <c:v>41051</c:v>
                </c:pt>
                <c:pt idx="820">
                  <c:v>41052</c:v>
                </c:pt>
                <c:pt idx="821">
                  <c:v>41053</c:v>
                </c:pt>
                <c:pt idx="822">
                  <c:v>41054</c:v>
                </c:pt>
                <c:pt idx="823">
                  <c:v>41057</c:v>
                </c:pt>
                <c:pt idx="824">
                  <c:v>41058</c:v>
                </c:pt>
                <c:pt idx="825">
                  <c:v>41059</c:v>
                </c:pt>
                <c:pt idx="826">
                  <c:v>41060</c:v>
                </c:pt>
                <c:pt idx="827">
                  <c:v>41061</c:v>
                </c:pt>
                <c:pt idx="828">
                  <c:v>41064</c:v>
                </c:pt>
                <c:pt idx="829">
                  <c:v>41065</c:v>
                </c:pt>
                <c:pt idx="830">
                  <c:v>41066</c:v>
                </c:pt>
                <c:pt idx="831">
                  <c:v>41067</c:v>
                </c:pt>
                <c:pt idx="832">
                  <c:v>41068</c:v>
                </c:pt>
                <c:pt idx="833">
                  <c:v>41071</c:v>
                </c:pt>
                <c:pt idx="834">
                  <c:v>41072</c:v>
                </c:pt>
                <c:pt idx="835">
                  <c:v>41073</c:v>
                </c:pt>
                <c:pt idx="836">
                  <c:v>41074</c:v>
                </c:pt>
                <c:pt idx="837">
                  <c:v>41075</c:v>
                </c:pt>
                <c:pt idx="838">
                  <c:v>41078</c:v>
                </c:pt>
                <c:pt idx="839">
                  <c:v>41079</c:v>
                </c:pt>
                <c:pt idx="840">
                  <c:v>41080</c:v>
                </c:pt>
                <c:pt idx="841">
                  <c:v>41081</c:v>
                </c:pt>
                <c:pt idx="842">
                  <c:v>41085</c:v>
                </c:pt>
                <c:pt idx="843">
                  <c:v>41086</c:v>
                </c:pt>
                <c:pt idx="844">
                  <c:v>41087</c:v>
                </c:pt>
                <c:pt idx="845">
                  <c:v>41088</c:v>
                </c:pt>
                <c:pt idx="846">
                  <c:v>41089</c:v>
                </c:pt>
                <c:pt idx="847">
                  <c:v>41092</c:v>
                </c:pt>
                <c:pt idx="848">
                  <c:v>41093</c:v>
                </c:pt>
                <c:pt idx="849">
                  <c:v>41094</c:v>
                </c:pt>
                <c:pt idx="850">
                  <c:v>41095</c:v>
                </c:pt>
                <c:pt idx="851">
                  <c:v>41096</c:v>
                </c:pt>
                <c:pt idx="852">
                  <c:v>41099</c:v>
                </c:pt>
                <c:pt idx="853">
                  <c:v>41100</c:v>
                </c:pt>
                <c:pt idx="854">
                  <c:v>41101</c:v>
                </c:pt>
                <c:pt idx="855">
                  <c:v>41102</c:v>
                </c:pt>
                <c:pt idx="856">
                  <c:v>41103</c:v>
                </c:pt>
                <c:pt idx="857">
                  <c:v>41106</c:v>
                </c:pt>
                <c:pt idx="858">
                  <c:v>41107</c:v>
                </c:pt>
                <c:pt idx="859">
                  <c:v>41108</c:v>
                </c:pt>
                <c:pt idx="860">
                  <c:v>41109</c:v>
                </c:pt>
                <c:pt idx="861">
                  <c:v>41110</c:v>
                </c:pt>
                <c:pt idx="862">
                  <c:v>41113</c:v>
                </c:pt>
                <c:pt idx="863">
                  <c:v>41114</c:v>
                </c:pt>
                <c:pt idx="864">
                  <c:v>41115</c:v>
                </c:pt>
                <c:pt idx="865">
                  <c:v>41116</c:v>
                </c:pt>
                <c:pt idx="866">
                  <c:v>41117</c:v>
                </c:pt>
                <c:pt idx="867">
                  <c:v>41120</c:v>
                </c:pt>
                <c:pt idx="868">
                  <c:v>41121</c:v>
                </c:pt>
                <c:pt idx="869">
                  <c:v>41122</c:v>
                </c:pt>
                <c:pt idx="870">
                  <c:v>41123</c:v>
                </c:pt>
                <c:pt idx="871">
                  <c:v>41124</c:v>
                </c:pt>
                <c:pt idx="872">
                  <c:v>41127</c:v>
                </c:pt>
                <c:pt idx="873">
                  <c:v>41128</c:v>
                </c:pt>
                <c:pt idx="874">
                  <c:v>41129</c:v>
                </c:pt>
                <c:pt idx="875">
                  <c:v>41130</c:v>
                </c:pt>
                <c:pt idx="876">
                  <c:v>41131</c:v>
                </c:pt>
                <c:pt idx="877">
                  <c:v>41134</c:v>
                </c:pt>
                <c:pt idx="878">
                  <c:v>41135</c:v>
                </c:pt>
                <c:pt idx="879">
                  <c:v>41136</c:v>
                </c:pt>
                <c:pt idx="880">
                  <c:v>41137</c:v>
                </c:pt>
                <c:pt idx="881">
                  <c:v>41138</c:v>
                </c:pt>
                <c:pt idx="882">
                  <c:v>41141</c:v>
                </c:pt>
                <c:pt idx="883">
                  <c:v>41142</c:v>
                </c:pt>
                <c:pt idx="884">
                  <c:v>41143</c:v>
                </c:pt>
                <c:pt idx="885">
                  <c:v>41144</c:v>
                </c:pt>
                <c:pt idx="886">
                  <c:v>41145</c:v>
                </c:pt>
                <c:pt idx="887">
                  <c:v>41148</c:v>
                </c:pt>
                <c:pt idx="888">
                  <c:v>41149</c:v>
                </c:pt>
                <c:pt idx="889">
                  <c:v>41150</c:v>
                </c:pt>
                <c:pt idx="890">
                  <c:v>41151</c:v>
                </c:pt>
                <c:pt idx="891">
                  <c:v>41152</c:v>
                </c:pt>
                <c:pt idx="892">
                  <c:v>41155</c:v>
                </c:pt>
                <c:pt idx="893">
                  <c:v>41156</c:v>
                </c:pt>
                <c:pt idx="894">
                  <c:v>41157</c:v>
                </c:pt>
                <c:pt idx="895">
                  <c:v>41158</c:v>
                </c:pt>
                <c:pt idx="896">
                  <c:v>41159</c:v>
                </c:pt>
                <c:pt idx="897">
                  <c:v>41162</c:v>
                </c:pt>
                <c:pt idx="898">
                  <c:v>41163</c:v>
                </c:pt>
                <c:pt idx="899">
                  <c:v>41164</c:v>
                </c:pt>
                <c:pt idx="900">
                  <c:v>41165</c:v>
                </c:pt>
                <c:pt idx="901">
                  <c:v>41166</c:v>
                </c:pt>
                <c:pt idx="902">
                  <c:v>41169</c:v>
                </c:pt>
                <c:pt idx="903">
                  <c:v>41170</c:v>
                </c:pt>
                <c:pt idx="904">
                  <c:v>41171</c:v>
                </c:pt>
                <c:pt idx="905">
                  <c:v>41172</c:v>
                </c:pt>
                <c:pt idx="906">
                  <c:v>41173</c:v>
                </c:pt>
                <c:pt idx="907">
                  <c:v>41176</c:v>
                </c:pt>
                <c:pt idx="908">
                  <c:v>41177</c:v>
                </c:pt>
                <c:pt idx="909">
                  <c:v>41178</c:v>
                </c:pt>
                <c:pt idx="910">
                  <c:v>41179</c:v>
                </c:pt>
                <c:pt idx="911">
                  <c:v>41180</c:v>
                </c:pt>
                <c:pt idx="912">
                  <c:v>41190</c:v>
                </c:pt>
                <c:pt idx="913">
                  <c:v>41191</c:v>
                </c:pt>
                <c:pt idx="914">
                  <c:v>41192</c:v>
                </c:pt>
                <c:pt idx="915">
                  <c:v>41193</c:v>
                </c:pt>
                <c:pt idx="916">
                  <c:v>41194</c:v>
                </c:pt>
                <c:pt idx="917">
                  <c:v>41197</c:v>
                </c:pt>
                <c:pt idx="918">
                  <c:v>41198</c:v>
                </c:pt>
                <c:pt idx="919">
                  <c:v>41199</c:v>
                </c:pt>
                <c:pt idx="920">
                  <c:v>41200</c:v>
                </c:pt>
                <c:pt idx="921">
                  <c:v>41201</c:v>
                </c:pt>
                <c:pt idx="922">
                  <c:v>41204</c:v>
                </c:pt>
                <c:pt idx="923">
                  <c:v>41205</c:v>
                </c:pt>
                <c:pt idx="924">
                  <c:v>41206</c:v>
                </c:pt>
                <c:pt idx="925">
                  <c:v>41207</c:v>
                </c:pt>
                <c:pt idx="926">
                  <c:v>41208</c:v>
                </c:pt>
                <c:pt idx="927">
                  <c:v>41211</c:v>
                </c:pt>
                <c:pt idx="928">
                  <c:v>41212</c:v>
                </c:pt>
                <c:pt idx="929">
                  <c:v>41213</c:v>
                </c:pt>
                <c:pt idx="930">
                  <c:v>41214</c:v>
                </c:pt>
                <c:pt idx="931">
                  <c:v>41215</c:v>
                </c:pt>
                <c:pt idx="932">
                  <c:v>41218</c:v>
                </c:pt>
                <c:pt idx="933">
                  <c:v>41219</c:v>
                </c:pt>
                <c:pt idx="934">
                  <c:v>41220</c:v>
                </c:pt>
                <c:pt idx="935">
                  <c:v>41221</c:v>
                </c:pt>
                <c:pt idx="936">
                  <c:v>41222</c:v>
                </c:pt>
                <c:pt idx="937">
                  <c:v>41225</c:v>
                </c:pt>
                <c:pt idx="938">
                  <c:v>41226</c:v>
                </c:pt>
                <c:pt idx="939">
                  <c:v>41227</c:v>
                </c:pt>
                <c:pt idx="940">
                  <c:v>41228</c:v>
                </c:pt>
                <c:pt idx="941">
                  <c:v>41229</c:v>
                </c:pt>
                <c:pt idx="942">
                  <c:v>41232</c:v>
                </c:pt>
                <c:pt idx="943">
                  <c:v>41233</c:v>
                </c:pt>
                <c:pt idx="944">
                  <c:v>41234</c:v>
                </c:pt>
                <c:pt idx="945">
                  <c:v>41235</c:v>
                </c:pt>
                <c:pt idx="946">
                  <c:v>41236</c:v>
                </c:pt>
                <c:pt idx="947">
                  <c:v>41239</c:v>
                </c:pt>
                <c:pt idx="948">
                  <c:v>41240</c:v>
                </c:pt>
                <c:pt idx="949">
                  <c:v>41241</c:v>
                </c:pt>
                <c:pt idx="950">
                  <c:v>41242</c:v>
                </c:pt>
                <c:pt idx="951">
                  <c:v>41243</c:v>
                </c:pt>
                <c:pt idx="952">
                  <c:v>41246</c:v>
                </c:pt>
                <c:pt idx="953">
                  <c:v>41247</c:v>
                </c:pt>
                <c:pt idx="954">
                  <c:v>41248</c:v>
                </c:pt>
                <c:pt idx="955">
                  <c:v>41249</c:v>
                </c:pt>
                <c:pt idx="956">
                  <c:v>41250</c:v>
                </c:pt>
                <c:pt idx="957">
                  <c:v>41253</c:v>
                </c:pt>
                <c:pt idx="958">
                  <c:v>41254</c:v>
                </c:pt>
                <c:pt idx="959">
                  <c:v>41255</c:v>
                </c:pt>
                <c:pt idx="960">
                  <c:v>41256</c:v>
                </c:pt>
                <c:pt idx="961">
                  <c:v>41257</c:v>
                </c:pt>
                <c:pt idx="962">
                  <c:v>41260</c:v>
                </c:pt>
                <c:pt idx="963">
                  <c:v>41261</c:v>
                </c:pt>
                <c:pt idx="964">
                  <c:v>41262</c:v>
                </c:pt>
                <c:pt idx="965">
                  <c:v>41263</c:v>
                </c:pt>
                <c:pt idx="966">
                  <c:v>41264</c:v>
                </c:pt>
                <c:pt idx="967">
                  <c:v>41267</c:v>
                </c:pt>
                <c:pt idx="968">
                  <c:v>41268</c:v>
                </c:pt>
                <c:pt idx="969">
                  <c:v>41269</c:v>
                </c:pt>
                <c:pt idx="970">
                  <c:v>41270</c:v>
                </c:pt>
                <c:pt idx="971">
                  <c:v>41271</c:v>
                </c:pt>
                <c:pt idx="972">
                  <c:v>41274</c:v>
                </c:pt>
                <c:pt idx="973">
                  <c:v>41278</c:v>
                </c:pt>
                <c:pt idx="974">
                  <c:v>41281</c:v>
                </c:pt>
                <c:pt idx="975">
                  <c:v>41282</c:v>
                </c:pt>
                <c:pt idx="976">
                  <c:v>41283</c:v>
                </c:pt>
                <c:pt idx="977">
                  <c:v>41284</c:v>
                </c:pt>
                <c:pt idx="978">
                  <c:v>41285</c:v>
                </c:pt>
                <c:pt idx="979">
                  <c:v>41288</c:v>
                </c:pt>
                <c:pt idx="980">
                  <c:v>41289</c:v>
                </c:pt>
                <c:pt idx="981">
                  <c:v>41290</c:v>
                </c:pt>
                <c:pt idx="982">
                  <c:v>41291</c:v>
                </c:pt>
                <c:pt idx="983">
                  <c:v>41292</c:v>
                </c:pt>
                <c:pt idx="984">
                  <c:v>41295</c:v>
                </c:pt>
                <c:pt idx="985">
                  <c:v>41296</c:v>
                </c:pt>
                <c:pt idx="986">
                  <c:v>41297</c:v>
                </c:pt>
                <c:pt idx="987">
                  <c:v>41298</c:v>
                </c:pt>
                <c:pt idx="988">
                  <c:v>41299</c:v>
                </c:pt>
                <c:pt idx="989">
                  <c:v>41302</c:v>
                </c:pt>
                <c:pt idx="990">
                  <c:v>41303</c:v>
                </c:pt>
                <c:pt idx="991">
                  <c:v>41304</c:v>
                </c:pt>
                <c:pt idx="992">
                  <c:v>41305</c:v>
                </c:pt>
                <c:pt idx="993">
                  <c:v>41306</c:v>
                </c:pt>
                <c:pt idx="994">
                  <c:v>41309</c:v>
                </c:pt>
                <c:pt idx="995">
                  <c:v>41310</c:v>
                </c:pt>
                <c:pt idx="996">
                  <c:v>41311</c:v>
                </c:pt>
                <c:pt idx="997">
                  <c:v>41312</c:v>
                </c:pt>
                <c:pt idx="998">
                  <c:v>41313</c:v>
                </c:pt>
                <c:pt idx="999">
                  <c:v>41323</c:v>
                </c:pt>
                <c:pt idx="1000">
                  <c:v>41324</c:v>
                </c:pt>
                <c:pt idx="1001">
                  <c:v>41325</c:v>
                </c:pt>
                <c:pt idx="1002">
                  <c:v>41326</c:v>
                </c:pt>
                <c:pt idx="1003">
                  <c:v>41327</c:v>
                </c:pt>
                <c:pt idx="1004">
                  <c:v>41330</c:v>
                </c:pt>
                <c:pt idx="1005">
                  <c:v>41331</c:v>
                </c:pt>
                <c:pt idx="1006">
                  <c:v>41332</c:v>
                </c:pt>
                <c:pt idx="1007">
                  <c:v>41333</c:v>
                </c:pt>
                <c:pt idx="1008">
                  <c:v>41334</c:v>
                </c:pt>
                <c:pt idx="1009">
                  <c:v>41337</c:v>
                </c:pt>
                <c:pt idx="1010">
                  <c:v>41338</c:v>
                </c:pt>
                <c:pt idx="1011">
                  <c:v>41339</c:v>
                </c:pt>
                <c:pt idx="1012">
                  <c:v>41340</c:v>
                </c:pt>
                <c:pt idx="1013">
                  <c:v>41341</c:v>
                </c:pt>
                <c:pt idx="1014">
                  <c:v>41344</c:v>
                </c:pt>
                <c:pt idx="1015">
                  <c:v>41345</c:v>
                </c:pt>
                <c:pt idx="1016">
                  <c:v>41346</c:v>
                </c:pt>
                <c:pt idx="1017">
                  <c:v>41347</c:v>
                </c:pt>
                <c:pt idx="1018">
                  <c:v>41348</c:v>
                </c:pt>
                <c:pt idx="1019">
                  <c:v>41351</c:v>
                </c:pt>
                <c:pt idx="1020">
                  <c:v>41352</c:v>
                </c:pt>
                <c:pt idx="1021">
                  <c:v>41353</c:v>
                </c:pt>
                <c:pt idx="1022">
                  <c:v>41354</c:v>
                </c:pt>
                <c:pt idx="1023">
                  <c:v>41355</c:v>
                </c:pt>
                <c:pt idx="1024">
                  <c:v>41358</c:v>
                </c:pt>
                <c:pt idx="1025">
                  <c:v>41359</c:v>
                </c:pt>
                <c:pt idx="1026">
                  <c:v>41360</c:v>
                </c:pt>
                <c:pt idx="1027">
                  <c:v>41361</c:v>
                </c:pt>
                <c:pt idx="1028">
                  <c:v>41362</c:v>
                </c:pt>
                <c:pt idx="1029">
                  <c:v>41365</c:v>
                </c:pt>
                <c:pt idx="1030">
                  <c:v>41366</c:v>
                </c:pt>
                <c:pt idx="1031">
                  <c:v>41367</c:v>
                </c:pt>
                <c:pt idx="1032">
                  <c:v>41372</c:v>
                </c:pt>
                <c:pt idx="1033">
                  <c:v>41373</c:v>
                </c:pt>
                <c:pt idx="1034">
                  <c:v>41374</c:v>
                </c:pt>
                <c:pt idx="1035">
                  <c:v>41375</c:v>
                </c:pt>
                <c:pt idx="1036">
                  <c:v>41376</c:v>
                </c:pt>
                <c:pt idx="1037">
                  <c:v>41379</c:v>
                </c:pt>
                <c:pt idx="1038">
                  <c:v>41380</c:v>
                </c:pt>
                <c:pt idx="1039">
                  <c:v>41381</c:v>
                </c:pt>
                <c:pt idx="1040">
                  <c:v>41382</c:v>
                </c:pt>
                <c:pt idx="1041">
                  <c:v>41383</c:v>
                </c:pt>
                <c:pt idx="1042">
                  <c:v>41386</c:v>
                </c:pt>
                <c:pt idx="1043">
                  <c:v>41387</c:v>
                </c:pt>
                <c:pt idx="1044">
                  <c:v>41388</c:v>
                </c:pt>
                <c:pt idx="1045">
                  <c:v>41389</c:v>
                </c:pt>
                <c:pt idx="1046">
                  <c:v>41390</c:v>
                </c:pt>
                <c:pt idx="1047">
                  <c:v>41396</c:v>
                </c:pt>
                <c:pt idx="1048">
                  <c:v>41397</c:v>
                </c:pt>
                <c:pt idx="1049">
                  <c:v>41400</c:v>
                </c:pt>
                <c:pt idx="1050">
                  <c:v>41401</c:v>
                </c:pt>
                <c:pt idx="1051">
                  <c:v>41402</c:v>
                </c:pt>
                <c:pt idx="1052">
                  <c:v>41403</c:v>
                </c:pt>
                <c:pt idx="1053">
                  <c:v>41404</c:v>
                </c:pt>
                <c:pt idx="1054">
                  <c:v>41407</c:v>
                </c:pt>
                <c:pt idx="1055">
                  <c:v>41408</c:v>
                </c:pt>
                <c:pt idx="1056">
                  <c:v>41409</c:v>
                </c:pt>
                <c:pt idx="1057">
                  <c:v>41410</c:v>
                </c:pt>
                <c:pt idx="1058">
                  <c:v>41411</c:v>
                </c:pt>
                <c:pt idx="1059">
                  <c:v>41414</c:v>
                </c:pt>
                <c:pt idx="1060">
                  <c:v>41415</c:v>
                </c:pt>
                <c:pt idx="1061">
                  <c:v>41416</c:v>
                </c:pt>
                <c:pt idx="1062">
                  <c:v>41417</c:v>
                </c:pt>
                <c:pt idx="1063">
                  <c:v>41418</c:v>
                </c:pt>
                <c:pt idx="1064">
                  <c:v>41421</c:v>
                </c:pt>
                <c:pt idx="1065">
                  <c:v>41422</c:v>
                </c:pt>
                <c:pt idx="1066">
                  <c:v>41423</c:v>
                </c:pt>
                <c:pt idx="1067">
                  <c:v>41424</c:v>
                </c:pt>
                <c:pt idx="1068">
                  <c:v>41425</c:v>
                </c:pt>
                <c:pt idx="1069">
                  <c:v>41428</c:v>
                </c:pt>
                <c:pt idx="1070">
                  <c:v>41429</c:v>
                </c:pt>
                <c:pt idx="1071">
                  <c:v>41430</c:v>
                </c:pt>
                <c:pt idx="1072">
                  <c:v>41431</c:v>
                </c:pt>
                <c:pt idx="1073">
                  <c:v>41432</c:v>
                </c:pt>
                <c:pt idx="1074">
                  <c:v>41438</c:v>
                </c:pt>
                <c:pt idx="1075">
                  <c:v>41439</c:v>
                </c:pt>
                <c:pt idx="1076">
                  <c:v>41442</c:v>
                </c:pt>
                <c:pt idx="1077">
                  <c:v>41443</c:v>
                </c:pt>
                <c:pt idx="1078">
                  <c:v>41444</c:v>
                </c:pt>
                <c:pt idx="1079">
                  <c:v>41445</c:v>
                </c:pt>
                <c:pt idx="1080">
                  <c:v>41446</c:v>
                </c:pt>
                <c:pt idx="1081">
                  <c:v>41449</c:v>
                </c:pt>
                <c:pt idx="1082">
                  <c:v>41450</c:v>
                </c:pt>
                <c:pt idx="1083">
                  <c:v>41451</c:v>
                </c:pt>
                <c:pt idx="1084">
                  <c:v>41452</c:v>
                </c:pt>
                <c:pt idx="1085">
                  <c:v>41453</c:v>
                </c:pt>
                <c:pt idx="1086">
                  <c:v>41456</c:v>
                </c:pt>
                <c:pt idx="1087">
                  <c:v>41457</c:v>
                </c:pt>
                <c:pt idx="1088">
                  <c:v>41458</c:v>
                </c:pt>
                <c:pt idx="1089">
                  <c:v>41459</c:v>
                </c:pt>
                <c:pt idx="1090">
                  <c:v>41460</c:v>
                </c:pt>
                <c:pt idx="1091">
                  <c:v>41463</c:v>
                </c:pt>
                <c:pt idx="1092">
                  <c:v>41464</c:v>
                </c:pt>
                <c:pt idx="1093">
                  <c:v>41465</c:v>
                </c:pt>
                <c:pt idx="1094">
                  <c:v>41466</c:v>
                </c:pt>
                <c:pt idx="1095">
                  <c:v>41467</c:v>
                </c:pt>
                <c:pt idx="1096">
                  <c:v>41470</c:v>
                </c:pt>
                <c:pt idx="1097">
                  <c:v>41471</c:v>
                </c:pt>
                <c:pt idx="1098">
                  <c:v>41472</c:v>
                </c:pt>
                <c:pt idx="1099">
                  <c:v>41473</c:v>
                </c:pt>
                <c:pt idx="1100">
                  <c:v>41474</c:v>
                </c:pt>
                <c:pt idx="1101">
                  <c:v>41477</c:v>
                </c:pt>
                <c:pt idx="1102">
                  <c:v>41478</c:v>
                </c:pt>
                <c:pt idx="1103">
                  <c:v>41479</c:v>
                </c:pt>
                <c:pt idx="1104">
                  <c:v>41480</c:v>
                </c:pt>
                <c:pt idx="1105">
                  <c:v>41481</c:v>
                </c:pt>
                <c:pt idx="1106">
                  <c:v>41484</c:v>
                </c:pt>
                <c:pt idx="1107">
                  <c:v>41485</c:v>
                </c:pt>
                <c:pt idx="1108">
                  <c:v>41486</c:v>
                </c:pt>
                <c:pt idx="1109">
                  <c:v>41487</c:v>
                </c:pt>
                <c:pt idx="1110">
                  <c:v>41488</c:v>
                </c:pt>
                <c:pt idx="1111">
                  <c:v>41491</c:v>
                </c:pt>
                <c:pt idx="1112">
                  <c:v>41492</c:v>
                </c:pt>
                <c:pt idx="1113">
                  <c:v>41493</c:v>
                </c:pt>
                <c:pt idx="1114">
                  <c:v>41494</c:v>
                </c:pt>
                <c:pt idx="1115">
                  <c:v>41495</c:v>
                </c:pt>
                <c:pt idx="1116">
                  <c:v>41498</c:v>
                </c:pt>
                <c:pt idx="1117">
                  <c:v>41499</c:v>
                </c:pt>
                <c:pt idx="1118">
                  <c:v>41500</c:v>
                </c:pt>
                <c:pt idx="1119">
                  <c:v>41501</c:v>
                </c:pt>
                <c:pt idx="1120">
                  <c:v>41502</c:v>
                </c:pt>
                <c:pt idx="1121">
                  <c:v>41505</c:v>
                </c:pt>
                <c:pt idx="1122">
                  <c:v>41506</c:v>
                </c:pt>
                <c:pt idx="1123">
                  <c:v>41507</c:v>
                </c:pt>
                <c:pt idx="1124">
                  <c:v>41508</c:v>
                </c:pt>
                <c:pt idx="1125">
                  <c:v>41509</c:v>
                </c:pt>
                <c:pt idx="1126">
                  <c:v>41512</c:v>
                </c:pt>
                <c:pt idx="1127">
                  <c:v>41513</c:v>
                </c:pt>
                <c:pt idx="1128">
                  <c:v>41514</c:v>
                </c:pt>
                <c:pt idx="1129">
                  <c:v>41515</c:v>
                </c:pt>
                <c:pt idx="1130">
                  <c:v>41516</c:v>
                </c:pt>
                <c:pt idx="1131">
                  <c:v>41519</c:v>
                </c:pt>
                <c:pt idx="1132">
                  <c:v>41520</c:v>
                </c:pt>
                <c:pt idx="1133">
                  <c:v>41521</c:v>
                </c:pt>
                <c:pt idx="1134">
                  <c:v>41522</c:v>
                </c:pt>
                <c:pt idx="1135">
                  <c:v>41523</c:v>
                </c:pt>
                <c:pt idx="1136">
                  <c:v>41526</c:v>
                </c:pt>
                <c:pt idx="1137">
                  <c:v>41527</c:v>
                </c:pt>
                <c:pt idx="1138">
                  <c:v>41528</c:v>
                </c:pt>
                <c:pt idx="1139">
                  <c:v>41529</c:v>
                </c:pt>
                <c:pt idx="1140">
                  <c:v>41530</c:v>
                </c:pt>
                <c:pt idx="1141">
                  <c:v>41533</c:v>
                </c:pt>
                <c:pt idx="1142">
                  <c:v>41534</c:v>
                </c:pt>
                <c:pt idx="1143">
                  <c:v>41535</c:v>
                </c:pt>
                <c:pt idx="1144">
                  <c:v>41540</c:v>
                </c:pt>
                <c:pt idx="1145">
                  <c:v>41541</c:v>
                </c:pt>
                <c:pt idx="1146">
                  <c:v>41542</c:v>
                </c:pt>
                <c:pt idx="1147">
                  <c:v>41543</c:v>
                </c:pt>
                <c:pt idx="1148">
                  <c:v>41544</c:v>
                </c:pt>
                <c:pt idx="1149">
                  <c:v>41547</c:v>
                </c:pt>
                <c:pt idx="1150">
                  <c:v>41555</c:v>
                </c:pt>
                <c:pt idx="1151">
                  <c:v>41556</c:v>
                </c:pt>
                <c:pt idx="1152">
                  <c:v>41557</c:v>
                </c:pt>
                <c:pt idx="1153">
                  <c:v>41558</c:v>
                </c:pt>
                <c:pt idx="1154">
                  <c:v>41561</c:v>
                </c:pt>
                <c:pt idx="1155">
                  <c:v>41562</c:v>
                </c:pt>
                <c:pt idx="1156">
                  <c:v>41563</c:v>
                </c:pt>
                <c:pt idx="1157">
                  <c:v>41564</c:v>
                </c:pt>
                <c:pt idx="1158">
                  <c:v>41565</c:v>
                </c:pt>
                <c:pt idx="1159">
                  <c:v>41568</c:v>
                </c:pt>
                <c:pt idx="1160">
                  <c:v>41569</c:v>
                </c:pt>
                <c:pt idx="1161">
                  <c:v>41570</c:v>
                </c:pt>
                <c:pt idx="1162">
                  <c:v>41571</c:v>
                </c:pt>
                <c:pt idx="1163">
                  <c:v>41572</c:v>
                </c:pt>
                <c:pt idx="1164">
                  <c:v>41575</c:v>
                </c:pt>
                <c:pt idx="1165">
                  <c:v>41576</c:v>
                </c:pt>
                <c:pt idx="1166">
                  <c:v>41577</c:v>
                </c:pt>
                <c:pt idx="1167">
                  <c:v>41578</c:v>
                </c:pt>
                <c:pt idx="1168">
                  <c:v>41579</c:v>
                </c:pt>
                <c:pt idx="1169">
                  <c:v>41582</c:v>
                </c:pt>
                <c:pt idx="1170">
                  <c:v>41583</c:v>
                </c:pt>
                <c:pt idx="1171">
                  <c:v>41584</c:v>
                </c:pt>
                <c:pt idx="1172">
                  <c:v>41585</c:v>
                </c:pt>
                <c:pt idx="1173">
                  <c:v>41586</c:v>
                </c:pt>
                <c:pt idx="1174">
                  <c:v>41589</c:v>
                </c:pt>
                <c:pt idx="1175">
                  <c:v>41590</c:v>
                </c:pt>
                <c:pt idx="1176">
                  <c:v>41591</c:v>
                </c:pt>
                <c:pt idx="1177">
                  <c:v>41592</c:v>
                </c:pt>
                <c:pt idx="1178">
                  <c:v>41593</c:v>
                </c:pt>
                <c:pt idx="1179">
                  <c:v>41596</c:v>
                </c:pt>
                <c:pt idx="1180">
                  <c:v>41597</c:v>
                </c:pt>
                <c:pt idx="1181">
                  <c:v>41598</c:v>
                </c:pt>
                <c:pt idx="1182">
                  <c:v>41599</c:v>
                </c:pt>
                <c:pt idx="1183">
                  <c:v>41600</c:v>
                </c:pt>
                <c:pt idx="1184">
                  <c:v>41603</c:v>
                </c:pt>
                <c:pt idx="1185">
                  <c:v>41604</c:v>
                </c:pt>
                <c:pt idx="1186">
                  <c:v>41605</c:v>
                </c:pt>
                <c:pt idx="1187">
                  <c:v>41606</c:v>
                </c:pt>
                <c:pt idx="1188">
                  <c:v>41607</c:v>
                </c:pt>
                <c:pt idx="1189">
                  <c:v>41610</c:v>
                </c:pt>
                <c:pt idx="1190">
                  <c:v>41611</c:v>
                </c:pt>
                <c:pt idx="1191">
                  <c:v>41612</c:v>
                </c:pt>
                <c:pt idx="1192">
                  <c:v>41613</c:v>
                </c:pt>
                <c:pt idx="1193">
                  <c:v>41614</c:v>
                </c:pt>
                <c:pt idx="1194">
                  <c:v>41617</c:v>
                </c:pt>
                <c:pt idx="1195">
                  <c:v>41618</c:v>
                </c:pt>
                <c:pt idx="1196">
                  <c:v>41619</c:v>
                </c:pt>
                <c:pt idx="1197">
                  <c:v>41620</c:v>
                </c:pt>
                <c:pt idx="1198">
                  <c:v>41621</c:v>
                </c:pt>
                <c:pt idx="1199">
                  <c:v>41624</c:v>
                </c:pt>
                <c:pt idx="1200">
                  <c:v>41625</c:v>
                </c:pt>
                <c:pt idx="1201">
                  <c:v>41626</c:v>
                </c:pt>
                <c:pt idx="1202">
                  <c:v>41627</c:v>
                </c:pt>
                <c:pt idx="1203">
                  <c:v>41628</c:v>
                </c:pt>
                <c:pt idx="1204">
                  <c:v>41631</c:v>
                </c:pt>
                <c:pt idx="1205">
                  <c:v>41632</c:v>
                </c:pt>
                <c:pt idx="1206">
                  <c:v>41633</c:v>
                </c:pt>
                <c:pt idx="1207">
                  <c:v>41634</c:v>
                </c:pt>
                <c:pt idx="1208">
                  <c:v>41635</c:v>
                </c:pt>
                <c:pt idx="1209">
                  <c:v>41638</c:v>
                </c:pt>
                <c:pt idx="1210">
                  <c:v>41639</c:v>
                </c:pt>
                <c:pt idx="1211">
                  <c:v>41641</c:v>
                </c:pt>
                <c:pt idx="1212">
                  <c:v>41642</c:v>
                </c:pt>
                <c:pt idx="1213">
                  <c:v>41645</c:v>
                </c:pt>
                <c:pt idx="1214">
                  <c:v>41646</c:v>
                </c:pt>
                <c:pt idx="1215">
                  <c:v>41647</c:v>
                </c:pt>
                <c:pt idx="1216">
                  <c:v>41648</c:v>
                </c:pt>
                <c:pt idx="1217">
                  <c:v>41649</c:v>
                </c:pt>
                <c:pt idx="1218">
                  <c:v>41652</c:v>
                </c:pt>
                <c:pt idx="1219">
                  <c:v>41653</c:v>
                </c:pt>
                <c:pt idx="1220">
                  <c:v>41654</c:v>
                </c:pt>
                <c:pt idx="1221">
                  <c:v>41655</c:v>
                </c:pt>
                <c:pt idx="1222">
                  <c:v>41656</c:v>
                </c:pt>
                <c:pt idx="1223">
                  <c:v>41659</c:v>
                </c:pt>
                <c:pt idx="1224">
                  <c:v>41660</c:v>
                </c:pt>
                <c:pt idx="1225">
                  <c:v>41661</c:v>
                </c:pt>
                <c:pt idx="1226">
                  <c:v>41662</c:v>
                </c:pt>
                <c:pt idx="1227">
                  <c:v>41663</c:v>
                </c:pt>
                <c:pt idx="1228">
                  <c:v>41666</c:v>
                </c:pt>
                <c:pt idx="1229">
                  <c:v>41667</c:v>
                </c:pt>
                <c:pt idx="1230">
                  <c:v>41668</c:v>
                </c:pt>
                <c:pt idx="1231">
                  <c:v>41669</c:v>
                </c:pt>
                <c:pt idx="1232">
                  <c:v>41677</c:v>
                </c:pt>
                <c:pt idx="1233">
                  <c:v>41680</c:v>
                </c:pt>
                <c:pt idx="1234">
                  <c:v>41681</c:v>
                </c:pt>
                <c:pt idx="1235">
                  <c:v>41682</c:v>
                </c:pt>
                <c:pt idx="1236">
                  <c:v>41683</c:v>
                </c:pt>
                <c:pt idx="1237">
                  <c:v>41684</c:v>
                </c:pt>
                <c:pt idx="1238">
                  <c:v>41687</c:v>
                </c:pt>
                <c:pt idx="1239">
                  <c:v>41688</c:v>
                </c:pt>
                <c:pt idx="1240">
                  <c:v>41689</c:v>
                </c:pt>
                <c:pt idx="1241">
                  <c:v>41690</c:v>
                </c:pt>
                <c:pt idx="1242">
                  <c:v>41691</c:v>
                </c:pt>
                <c:pt idx="1243">
                  <c:v>41694</c:v>
                </c:pt>
                <c:pt idx="1244">
                  <c:v>41695</c:v>
                </c:pt>
                <c:pt idx="1245">
                  <c:v>41696</c:v>
                </c:pt>
                <c:pt idx="1246">
                  <c:v>41697</c:v>
                </c:pt>
                <c:pt idx="1247">
                  <c:v>41698</c:v>
                </c:pt>
                <c:pt idx="1248">
                  <c:v>41701</c:v>
                </c:pt>
                <c:pt idx="1249">
                  <c:v>41702</c:v>
                </c:pt>
                <c:pt idx="1250">
                  <c:v>41703</c:v>
                </c:pt>
                <c:pt idx="1251">
                  <c:v>41704</c:v>
                </c:pt>
                <c:pt idx="1252">
                  <c:v>41705</c:v>
                </c:pt>
                <c:pt idx="1253">
                  <c:v>41708</c:v>
                </c:pt>
                <c:pt idx="1254">
                  <c:v>41709</c:v>
                </c:pt>
                <c:pt idx="1255">
                  <c:v>41710</c:v>
                </c:pt>
                <c:pt idx="1256">
                  <c:v>41711</c:v>
                </c:pt>
                <c:pt idx="1257">
                  <c:v>41712</c:v>
                </c:pt>
                <c:pt idx="1258">
                  <c:v>41715</c:v>
                </c:pt>
                <c:pt idx="1259">
                  <c:v>41716</c:v>
                </c:pt>
                <c:pt idx="1260">
                  <c:v>41717</c:v>
                </c:pt>
                <c:pt idx="1261">
                  <c:v>41718</c:v>
                </c:pt>
                <c:pt idx="1262">
                  <c:v>41719</c:v>
                </c:pt>
                <c:pt idx="1263">
                  <c:v>41722</c:v>
                </c:pt>
                <c:pt idx="1264">
                  <c:v>41723</c:v>
                </c:pt>
                <c:pt idx="1265">
                  <c:v>41724</c:v>
                </c:pt>
                <c:pt idx="1266">
                  <c:v>41725</c:v>
                </c:pt>
                <c:pt idx="1267">
                  <c:v>41726</c:v>
                </c:pt>
                <c:pt idx="1268">
                  <c:v>41729</c:v>
                </c:pt>
                <c:pt idx="1269">
                  <c:v>41730</c:v>
                </c:pt>
                <c:pt idx="1270">
                  <c:v>41731</c:v>
                </c:pt>
                <c:pt idx="1271">
                  <c:v>41732</c:v>
                </c:pt>
                <c:pt idx="1272">
                  <c:v>41733</c:v>
                </c:pt>
                <c:pt idx="1273">
                  <c:v>41737</c:v>
                </c:pt>
                <c:pt idx="1274">
                  <c:v>41738</c:v>
                </c:pt>
                <c:pt idx="1275">
                  <c:v>41739</c:v>
                </c:pt>
                <c:pt idx="1276">
                  <c:v>41740</c:v>
                </c:pt>
                <c:pt idx="1277">
                  <c:v>41743</c:v>
                </c:pt>
                <c:pt idx="1278">
                  <c:v>41744</c:v>
                </c:pt>
                <c:pt idx="1279">
                  <c:v>41745</c:v>
                </c:pt>
                <c:pt idx="1280">
                  <c:v>41746</c:v>
                </c:pt>
                <c:pt idx="1281">
                  <c:v>41747</c:v>
                </c:pt>
                <c:pt idx="1282">
                  <c:v>41750</c:v>
                </c:pt>
                <c:pt idx="1283">
                  <c:v>41751</c:v>
                </c:pt>
                <c:pt idx="1284">
                  <c:v>41752</c:v>
                </c:pt>
                <c:pt idx="1285">
                  <c:v>41753</c:v>
                </c:pt>
                <c:pt idx="1286">
                  <c:v>41754</c:v>
                </c:pt>
                <c:pt idx="1287">
                  <c:v>41757</c:v>
                </c:pt>
                <c:pt idx="1288">
                  <c:v>41758</c:v>
                </c:pt>
                <c:pt idx="1289">
                  <c:v>41759</c:v>
                </c:pt>
                <c:pt idx="1290">
                  <c:v>41764</c:v>
                </c:pt>
                <c:pt idx="1291">
                  <c:v>41765</c:v>
                </c:pt>
                <c:pt idx="1292">
                  <c:v>41766</c:v>
                </c:pt>
                <c:pt idx="1293">
                  <c:v>41767</c:v>
                </c:pt>
                <c:pt idx="1294">
                  <c:v>41768</c:v>
                </c:pt>
                <c:pt idx="1295">
                  <c:v>41771</c:v>
                </c:pt>
                <c:pt idx="1296">
                  <c:v>41772</c:v>
                </c:pt>
                <c:pt idx="1297">
                  <c:v>41773</c:v>
                </c:pt>
                <c:pt idx="1298">
                  <c:v>41774</c:v>
                </c:pt>
                <c:pt idx="1299">
                  <c:v>41775</c:v>
                </c:pt>
                <c:pt idx="1300">
                  <c:v>41778</c:v>
                </c:pt>
                <c:pt idx="1301">
                  <c:v>41779</c:v>
                </c:pt>
                <c:pt idx="1302">
                  <c:v>41780</c:v>
                </c:pt>
                <c:pt idx="1303">
                  <c:v>41781</c:v>
                </c:pt>
                <c:pt idx="1304">
                  <c:v>41782</c:v>
                </c:pt>
                <c:pt idx="1305">
                  <c:v>41785</c:v>
                </c:pt>
                <c:pt idx="1306">
                  <c:v>41786</c:v>
                </c:pt>
                <c:pt idx="1307">
                  <c:v>41787</c:v>
                </c:pt>
                <c:pt idx="1308">
                  <c:v>41788</c:v>
                </c:pt>
                <c:pt idx="1309">
                  <c:v>41789</c:v>
                </c:pt>
                <c:pt idx="1310">
                  <c:v>41793</c:v>
                </c:pt>
                <c:pt idx="1311">
                  <c:v>41794</c:v>
                </c:pt>
                <c:pt idx="1312">
                  <c:v>41795</c:v>
                </c:pt>
                <c:pt idx="1313">
                  <c:v>41796</c:v>
                </c:pt>
                <c:pt idx="1314">
                  <c:v>41799</c:v>
                </c:pt>
                <c:pt idx="1315">
                  <c:v>41800</c:v>
                </c:pt>
                <c:pt idx="1316">
                  <c:v>41801</c:v>
                </c:pt>
                <c:pt idx="1317">
                  <c:v>41802</c:v>
                </c:pt>
                <c:pt idx="1318">
                  <c:v>41803</c:v>
                </c:pt>
                <c:pt idx="1319">
                  <c:v>41806</c:v>
                </c:pt>
                <c:pt idx="1320">
                  <c:v>41807</c:v>
                </c:pt>
                <c:pt idx="1321">
                  <c:v>41808</c:v>
                </c:pt>
                <c:pt idx="1322">
                  <c:v>41809</c:v>
                </c:pt>
                <c:pt idx="1323">
                  <c:v>41810</c:v>
                </c:pt>
                <c:pt idx="1324">
                  <c:v>41813</c:v>
                </c:pt>
                <c:pt idx="1325">
                  <c:v>41814</c:v>
                </c:pt>
                <c:pt idx="1326">
                  <c:v>41815</c:v>
                </c:pt>
                <c:pt idx="1327">
                  <c:v>41816</c:v>
                </c:pt>
                <c:pt idx="1328">
                  <c:v>41817</c:v>
                </c:pt>
                <c:pt idx="1329">
                  <c:v>41820</c:v>
                </c:pt>
                <c:pt idx="1330">
                  <c:v>41821</c:v>
                </c:pt>
                <c:pt idx="1331">
                  <c:v>41822</c:v>
                </c:pt>
                <c:pt idx="1332">
                  <c:v>41823</c:v>
                </c:pt>
                <c:pt idx="1333">
                  <c:v>41824</c:v>
                </c:pt>
                <c:pt idx="1334">
                  <c:v>41827</c:v>
                </c:pt>
                <c:pt idx="1335">
                  <c:v>41828</c:v>
                </c:pt>
                <c:pt idx="1336">
                  <c:v>41829</c:v>
                </c:pt>
                <c:pt idx="1337">
                  <c:v>41830</c:v>
                </c:pt>
                <c:pt idx="1338">
                  <c:v>41831</c:v>
                </c:pt>
                <c:pt idx="1339">
                  <c:v>41834</c:v>
                </c:pt>
                <c:pt idx="1340">
                  <c:v>41835</c:v>
                </c:pt>
                <c:pt idx="1341">
                  <c:v>41836</c:v>
                </c:pt>
                <c:pt idx="1342">
                  <c:v>41837</c:v>
                </c:pt>
                <c:pt idx="1343">
                  <c:v>41838</c:v>
                </c:pt>
                <c:pt idx="1344">
                  <c:v>41841</c:v>
                </c:pt>
                <c:pt idx="1345">
                  <c:v>41842</c:v>
                </c:pt>
                <c:pt idx="1346">
                  <c:v>41843</c:v>
                </c:pt>
                <c:pt idx="1347">
                  <c:v>41844</c:v>
                </c:pt>
                <c:pt idx="1348">
                  <c:v>41845</c:v>
                </c:pt>
                <c:pt idx="1349">
                  <c:v>41848</c:v>
                </c:pt>
                <c:pt idx="1350">
                  <c:v>41849</c:v>
                </c:pt>
                <c:pt idx="1351">
                  <c:v>41850</c:v>
                </c:pt>
                <c:pt idx="1352">
                  <c:v>41851</c:v>
                </c:pt>
                <c:pt idx="1353">
                  <c:v>41852</c:v>
                </c:pt>
                <c:pt idx="1354">
                  <c:v>41855</c:v>
                </c:pt>
                <c:pt idx="1355">
                  <c:v>41856</c:v>
                </c:pt>
                <c:pt idx="1356">
                  <c:v>41857</c:v>
                </c:pt>
                <c:pt idx="1357">
                  <c:v>41858</c:v>
                </c:pt>
                <c:pt idx="1358">
                  <c:v>41859</c:v>
                </c:pt>
                <c:pt idx="1359">
                  <c:v>41862</c:v>
                </c:pt>
                <c:pt idx="1360">
                  <c:v>41863</c:v>
                </c:pt>
                <c:pt idx="1361">
                  <c:v>41864</c:v>
                </c:pt>
                <c:pt idx="1362">
                  <c:v>41865</c:v>
                </c:pt>
                <c:pt idx="1363">
                  <c:v>41866</c:v>
                </c:pt>
                <c:pt idx="1364">
                  <c:v>41869</c:v>
                </c:pt>
                <c:pt idx="1365">
                  <c:v>41870</c:v>
                </c:pt>
                <c:pt idx="1366">
                  <c:v>41871</c:v>
                </c:pt>
                <c:pt idx="1367">
                  <c:v>41872</c:v>
                </c:pt>
                <c:pt idx="1368">
                  <c:v>41873</c:v>
                </c:pt>
                <c:pt idx="1369">
                  <c:v>41876</c:v>
                </c:pt>
                <c:pt idx="1370">
                  <c:v>41877</c:v>
                </c:pt>
                <c:pt idx="1371">
                  <c:v>41878</c:v>
                </c:pt>
                <c:pt idx="1372">
                  <c:v>41879</c:v>
                </c:pt>
                <c:pt idx="1373">
                  <c:v>41880</c:v>
                </c:pt>
                <c:pt idx="1374">
                  <c:v>41883</c:v>
                </c:pt>
                <c:pt idx="1375">
                  <c:v>41884</c:v>
                </c:pt>
                <c:pt idx="1376">
                  <c:v>41885</c:v>
                </c:pt>
                <c:pt idx="1377">
                  <c:v>41886</c:v>
                </c:pt>
                <c:pt idx="1378">
                  <c:v>41887</c:v>
                </c:pt>
                <c:pt idx="1379">
                  <c:v>41891</c:v>
                </c:pt>
                <c:pt idx="1380">
                  <c:v>41892</c:v>
                </c:pt>
                <c:pt idx="1381">
                  <c:v>41893</c:v>
                </c:pt>
                <c:pt idx="1382">
                  <c:v>41894</c:v>
                </c:pt>
                <c:pt idx="1383">
                  <c:v>41897</c:v>
                </c:pt>
                <c:pt idx="1384">
                  <c:v>41898</c:v>
                </c:pt>
                <c:pt idx="1385">
                  <c:v>41899</c:v>
                </c:pt>
                <c:pt idx="1386">
                  <c:v>41900</c:v>
                </c:pt>
                <c:pt idx="1387">
                  <c:v>41901</c:v>
                </c:pt>
                <c:pt idx="1388">
                  <c:v>41904</c:v>
                </c:pt>
                <c:pt idx="1389">
                  <c:v>41905</c:v>
                </c:pt>
                <c:pt idx="1390">
                  <c:v>41906</c:v>
                </c:pt>
                <c:pt idx="1391">
                  <c:v>41907</c:v>
                </c:pt>
                <c:pt idx="1392">
                  <c:v>41908</c:v>
                </c:pt>
                <c:pt idx="1393">
                  <c:v>41911</c:v>
                </c:pt>
                <c:pt idx="1394">
                  <c:v>41912</c:v>
                </c:pt>
                <c:pt idx="1395">
                  <c:v>41920</c:v>
                </c:pt>
                <c:pt idx="1396">
                  <c:v>41921</c:v>
                </c:pt>
                <c:pt idx="1397">
                  <c:v>41922</c:v>
                </c:pt>
                <c:pt idx="1398">
                  <c:v>41925</c:v>
                </c:pt>
                <c:pt idx="1399">
                  <c:v>41926</c:v>
                </c:pt>
                <c:pt idx="1400">
                  <c:v>41927</c:v>
                </c:pt>
                <c:pt idx="1401">
                  <c:v>41928</c:v>
                </c:pt>
                <c:pt idx="1402">
                  <c:v>41929</c:v>
                </c:pt>
                <c:pt idx="1403">
                  <c:v>41932</c:v>
                </c:pt>
                <c:pt idx="1404">
                  <c:v>41933</c:v>
                </c:pt>
                <c:pt idx="1405">
                  <c:v>41934</c:v>
                </c:pt>
                <c:pt idx="1406">
                  <c:v>41935</c:v>
                </c:pt>
                <c:pt idx="1407">
                  <c:v>41936</c:v>
                </c:pt>
                <c:pt idx="1408">
                  <c:v>41939</c:v>
                </c:pt>
                <c:pt idx="1409">
                  <c:v>41940</c:v>
                </c:pt>
                <c:pt idx="1410">
                  <c:v>41941</c:v>
                </c:pt>
                <c:pt idx="1411">
                  <c:v>41942</c:v>
                </c:pt>
                <c:pt idx="1412">
                  <c:v>41943</c:v>
                </c:pt>
                <c:pt idx="1413">
                  <c:v>41946</c:v>
                </c:pt>
                <c:pt idx="1414">
                  <c:v>41947</c:v>
                </c:pt>
                <c:pt idx="1415">
                  <c:v>41948</c:v>
                </c:pt>
                <c:pt idx="1416">
                  <c:v>41949</c:v>
                </c:pt>
                <c:pt idx="1417">
                  <c:v>41950</c:v>
                </c:pt>
                <c:pt idx="1418">
                  <c:v>41953</c:v>
                </c:pt>
                <c:pt idx="1419">
                  <c:v>41954</c:v>
                </c:pt>
                <c:pt idx="1420">
                  <c:v>41955</c:v>
                </c:pt>
                <c:pt idx="1421">
                  <c:v>41956</c:v>
                </c:pt>
                <c:pt idx="1422">
                  <c:v>41957</c:v>
                </c:pt>
                <c:pt idx="1423">
                  <c:v>41960</c:v>
                </c:pt>
                <c:pt idx="1424">
                  <c:v>41961</c:v>
                </c:pt>
                <c:pt idx="1425">
                  <c:v>41962</c:v>
                </c:pt>
                <c:pt idx="1426">
                  <c:v>41963</c:v>
                </c:pt>
                <c:pt idx="1427">
                  <c:v>41964</c:v>
                </c:pt>
                <c:pt idx="1428">
                  <c:v>41967</c:v>
                </c:pt>
                <c:pt idx="1429">
                  <c:v>41968</c:v>
                </c:pt>
                <c:pt idx="1430">
                  <c:v>41969</c:v>
                </c:pt>
                <c:pt idx="1431">
                  <c:v>41970</c:v>
                </c:pt>
                <c:pt idx="1432">
                  <c:v>41971</c:v>
                </c:pt>
                <c:pt idx="1433">
                  <c:v>41974</c:v>
                </c:pt>
                <c:pt idx="1434">
                  <c:v>41975</c:v>
                </c:pt>
                <c:pt idx="1435">
                  <c:v>41976</c:v>
                </c:pt>
                <c:pt idx="1436">
                  <c:v>41977</c:v>
                </c:pt>
                <c:pt idx="1437">
                  <c:v>41978</c:v>
                </c:pt>
                <c:pt idx="1438">
                  <c:v>41981</c:v>
                </c:pt>
                <c:pt idx="1439">
                  <c:v>41982</c:v>
                </c:pt>
                <c:pt idx="1440">
                  <c:v>41983</c:v>
                </c:pt>
                <c:pt idx="1441">
                  <c:v>41984</c:v>
                </c:pt>
                <c:pt idx="1442">
                  <c:v>41985</c:v>
                </c:pt>
                <c:pt idx="1443">
                  <c:v>41988</c:v>
                </c:pt>
                <c:pt idx="1444">
                  <c:v>41989</c:v>
                </c:pt>
                <c:pt idx="1445">
                  <c:v>41990</c:v>
                </c:pt>
                <c:pt idx="1446">
                  <c:v>41991</c:v>
                </c:pt>
                <c:pt idx="1447">
                  <c:v>41992</c:v>
                </c:pt>
                <c:pt idx="1448">
                  <c:v>41995</c:v>
                </c:pt>
                <c:pt idx="1449">
                  <c:v>41996</c:v>
                </c:pt>
                <c:pt idx="1450">
                  <c:v>41997</c:v>
                </c:pt>
                <c:pt idx="1451">
                  <c:v>41998</c:v>
                </c:pt>
                <c:pt idx="1452">
                  <c:v>41999</c:v>
                </c:pt>
                <c:pt idx="1453">
                  <c:v>42002</c:v>
                </c:pt>
                <c:pt idx="1454">
                  <c:v>42003</c:v>
                </c:pt>
                <c:pt idx="1455">
                  <c:v>42004</c:v>
                </c:pt>
                <c:pt idx="1456">
                  <c:v>42009</c:v>
                </c:pt>
                <c:pt idx="1457">
                  <c:v>42010</c:v>
                </c:pt>
                <c:pt idx="1458">
                  <c:v>42011</c:v>
                </c:pt>
                <c:pt idx="1459">
                  <c:v>42012</c:v>
                </c:pt>
                <c:pt idx="1460">
                  <c:v>42013</c:v>
                </c:pt>
                <c:pt idx="1461">
                  <c:v>42016</c:v>
                </c:pt>
                <c:pt idx="1462">
                  <c:v>42017</c:v>
                </c:pt>
                <c:pt idx="1463">
                  <c:v>42018</c:v>
                </c:pt>
                <c:pt idx="1464">
                  <c:v>42019</c:v>
                </c:pt>
                <c:pt idx="1465">
                  <c:v>42020</c:v>
                </c:pt>
                <c:pt idx="1466">
                  <c:v>42023</c:v>
                </c:pt>
                <c:pt idx="1467">
                  <c:v>42024</c:v>
                </c:pt>
                <c:pt idx="1468">
                  <c:v>42025</c:v>
                </c:pt>
                <c:pt idx="1469">
                  <c:v>42026</c:v>
                </c:pt>
                <c:pt idx="1470">
                  <c:v>42027</c:v>
                </c:pt>
                <c:pt idx="1471">
                  <c:v>42030</c:v>
                </c:pt>
                <c:pt idx="1472">
                  <c:v>42031</c:v>
                </c:pt>
                <c:pt idx="1473">
                  <c:v>42032</c:v>
                </c:pt>
                <c:pt idx="1474">
                  <c:v>42033</c:v>
                </c:pt>
                <c:pt idx="1475">
                  <c:v>42034</c:v>
                </c:pt>
                <c:pt idx="1476">
                  <c:v>42037</c:v>
                </c:pt>
                <c:pt idx="1477">
                  <c:v>42038</c:v>
                </c:pt>
                <c:pt idx="1478">
                  <c:v>42039</c:v>
                </c:pt>
                <c:pt idx="1479">
                  <c:v>42040</c:v>
                </c:pt>
                <c:pt idx="1480">
                  <c:v>42041</c:v>
                </c:pt>
                <c:pt idx="1481">
                  <c:v>42044</c:v>
                </c:pt>
                <c:pt idx="1482">
                  <c:v>42045</c:v>
                </c:pt>
                <c:pt idx="1483">
                  <c:v>42046</c:v>
                </c:pt>
                <c:pt idx="1484">
                  <c:v>42047</c:v>
                </c:pt>
                <c:pt idx="1485">
                  <c:v>42048</c:v>
                </c:pt>
                <c:pt idx="1486">
                  <c:v>42051</c:v>
                </c:pt>
                <c:pt idx="1487">
                  <c:v>42052</c:v>
                </c:pt>
                <c:pt idx="1488">
                  <c:v>42060</c:v>
                </c:pt>
                <c:pt idx="1489">
                  <c:v>42061</c:v>
                </c:pt>
                <c:pt idx="1490">
                  <c:v>42062</c:v>
                </c:pt>
                <c:pt idx="1491">
                  <c:v>42065</c:v>
                </c:pt>
                <c:pt idx="1492">
                  <c:v>42066</c:v>
                </c:pt>
                <c:pt idx="1493">
                  <c:v>42067</c:v>
                </c:pt>
                <c:pt idx="1494">
                  <c:v>42068</c:v>
                </c:pt>
                <c:pt idx="1495">
                  <c:v>42069</c:v>
                </c:pt>
                <c:pt idx="1496">
                  <c:v>42072</c:v>
                </c:pt>
                <c:pt idx="1497">
                  <c:v>42073</c:v>
                </c:pt>
                <c:pt idx="1498">
                  <c:v>42074</c:v>
                </c:pt>
                <c:pt idx="1499">
                  <c:v>42075</c:v>
                </c:pt>
                <c:pt idx="1500">
                  <c:v>42076</c:v>
                </c:pt>
                <c:pt idx="1501">
                  <c:v>42079</c:v>
                </c:pt>
                <c:pt idx="1502">
                  <c:v>42080</c:v>
                </c:pt>
                <c:pt idx="1503">
                  <c:v>42081</c:v>
                </c:pt>
                <c:pt idx="1504">
                  <c:v>42082</c:v>
                </c:pt>
                <c:pt idx="1505">
                  <c:v>42083</c:v>
                </c:pt>
                <c:pt idx="1506">
                  <c:v>42086</c:v>
                </c:pt>
                <c:pt idx="1507">
                  <c:v>42087</c:v>
                </c:pt>
                <c:pt idx="1508">
                  <c:v>42088</c:v>
                </c:pt>
                <c:pt idx="1509">
                  <c:v>42089</c:v>
                </c:pt>
                <c:pt idx="1510">
                  <c:v>42090</c:v>
                </c:pt>
                <c:pt idx="1511">
                  <c:v>42093</c:v>
                </c:pt>
                <c:pt idx="1512">
                  <c:v>42094</c:v>
                </c:pt>
                <c:pt idx="1513">
                  <c:v>42095</c:v>
                </c:pt>
                <c:pt idx="1514">
                  <c:v>42096</c:v>
                </c:pt>
                <c:pt idx="1515">
                  <c:v>42097</c:v>
                </c:pt>
                <c:pt idx="1516">
                  <c:v>42101</c:v>
                </c:pt>
                <c:pt idx="1517">
                  <c:v>42102</c:v>
                </c:pt>
                <c:pt idx="1518">
                  <c:v>42103</c:v>
                </c:pt>
                <c:pt idx="1519">
                  <c:v>42104</c:v>
                </c:pt>
                <c:pt idx="1520">
                  <c:v>42107</c:v>
                </c:pt>
                <c:pt idx="1521">
                  <c:v>42108</c:v>
                </c:pt>
                <c:pt idx="1522">
                  <c:v>42109</c:v>
                </c:pt>
                <c:pt idx="1523">
                  <c:v>42110</c:v>
                </c:pt>
                <c:pt idx="1524">
                  <c:v>42111</c:v>
                </c:pt>
                <c:pt idx="1525">
                  <c:v>42114</c:v>
                </c:pt>
                <c:pt idx="1526">
                  <c:v>42115</c:v>
                </c:pt>
                <c:pt idx="1527">
                  <c:v>42116</c:v>
                </c:pt>
                <c:pt idx="1528">
                  <c:v>42117</c:v>
                </c:pt>
                <c:pt idx="1529">
                  <c:v>42118</c:v>
                </c:pt>
                <c:pt idx="1530">
                  <c:v>42121</c:v>
                </c:pt>
                <c:pt idx="1531">
                  <c:v>42122</c:v>
                </c:pt>
                <c:pt idx="1532">
                  <c:v>42123</c:v>
                </c:pt>
                <c:pt idx="1533">
                  <c:v>42124</c:v>
                </c:pt>
                <c:pt idx="1534">
                  <c:v>42128</c:v>
                </c:pt>
                <c:pt idx="1535">
                  <c:v>42129</c:v>
                </c:pt>
                <c:pt idx="1536">
                  <c:v>42130</c:v>
                </c:pt>
                <c:pt idx="1537">
                  <c:v>42131</c:v>
                </c:pt>
                <c:pt idx="1538">
                  <c:v>42132</c:v>
                </c:pt>
                <c:pt idx="1539">
                  <c:v>42135</c:v>
                </c:pt>
                <c:pt idx="1540">
                  <c:v>42136</c:v>
                </c:pt>
                <c:pt idx="1541">
                  <c:v>42137</c:v>
                </c:pt>
                <c:pt idx="1542">
                  <c:v>42138</c:v>
                </c:pt>
                <c:pt idx="1543">
                  <c:v>42139</c:v>
                </c:pt>
                <c:pt idx="1544">
                  <c:v>42142</c:v>
                </c:pt>
                <c:pt idx="1545">
                  <c:v>42143</c:v>
                </c:pt>
                <c:pt idx="1546">
                  <c:v>42144</c:v>
                </c:pt>
                <c:pt idx="1547">
                  <c:v>42145</c:v>
                </c:pt>
                <c:pt idx="1548">
                  <c:v>42146</c:v>
                </c:pt>
                <c:pt idx="1549">
                  <c:v>42149</c:v>
                </c:pt>
                <c:pt idx="1550">
                  <c:v>42150</c:v>
                </c:pt>
                <c:pt idx="1551">
                  <c:v>42151</c:v>
                </c:pt>
                <c:pt idx="1552">
                  <c:v>42152</c:v>
                </c:pt>
                <c:pt idx="1553">
                  <c:v>42153</c:v>
                </c:pt>
                <c:pt idx="1554">
                  <c:v>42156</c:v>
                </c:pt>
                <c:pt idx="1555">
                  <c:v>42157</c:v>
                </c:pt>
                <c:pt idx="1556">
                  <c:v>42158</c:v>
                </c:pt>
                <c:pt idx="1557">
                  <c:v>42159</c:v>
                </c:pt>
                <c:pt idx="1558">
                  <c:v>42160</c:v>
                </c:pt>
                <c:pt idx="1559">
                  <c:v>42163</c:v>
                </c:pt>
                <c:pt idx="1560">
                  <c:v>42164</c:v>
                </c:pt>
                <c:pt idx="1561">
                  <c:v>42165</c:v>
                </c:pt>
                <c:pt idx="1562">
                  <c:v>42166</c:v>
                </c:pt>
                <c:pt idx="1563">
                  <c:v>42167</c:v>
                </c:pt>
                <c:pt idx="1564">
                  <c:v>42170</c:v>
                </c:pt>
                <c:pt idx="1565">
                  <c:v>42171</c:v>
                </c:pt>
                <c:pt idx="1566">
                  <c:v>42172</c:v>
                </c:pt>
                <c:pt idx="1567">
                  <c:v>42173</c:v>
                </c:pt>
                <c:pt idx="1568">
                  <c:v>42174</c:v>
                </c:pt>
                <c:pt idx="1569">
                  <c:v>42178</c:v>
                </c:pt>
                <c:pt idx="1570">
                  <c:v>42179</c:v>
                </c:pt>
                <c:pt idx="1571">
                  <c:v>42180</c:v>
                </c:pt>
                <c:pt idx="1572">
                  <c:v>42181</c:v>
                </c:pt>
                <c:pt idx="1573">
                  <c:v>42184</c:v>
                </c:pt>
                <c:pt idx="1574">
                  <c:v>42185</c:v>
                </c:pt>
                <c:pt idx="1575">
                  <c:v>42186</c:v>
                </c:pt>
                <c:pt idx="1576">
                  <c:v>42187</c:v>
                </c:pt>
                <c:pt idx="1577">
                  <c:v>42188</c:v>
                </c:pt>
                <c:pt idx="1578">
                  <c:v>42191</c:v>
                </c:pt>
                <c:pt idx="1579">
                  <c:v>42192</c:v>
                </c:pt>
                <c:pt idx="1580">
                  <c:v>42193</c:v>
                </c:pt>
                <c:pt idx="1581">
                  <c:v>42194</c:v>
                </c:pt>
                <c:pt idx="1582">
                  <c:v>42195</c:v>
                </c:pt>
                <c:pt idx="1583">
                  <c:v>42198</c:v>
                </c:pt>
                <c:pt idx="1584">
                  <c:v>42199</c:v>
                </c:pt>
                <c:pt idx="1585">
                  <c:v>42200</c:v>
                </c:pt>
                <c:pt idx="1586">
                  <c:v>42201</c:v>
                </c:pt>
                <c:pt idx="1587">
                  <c:v>42202</c:v>
                </c:pt>
                <c:pt idx="1588">
                  <c:v>42205</c:v>
                </c:pt>
                <c:pt idx="1589">
                  <c:v>42206</c:v>
                </c:pt>
                <c:pt idx="1590">
                  <c:v>42207</c:v>
                </c:pt>
                <c:pt idx="1591">
                  <c:v>42208</c:v>
                </c:pt>
                <c:pt idx="1592">
                  <c:v>42209</c:v>
                </c:pt>
                <c:pt idx="1593">
                  <c:v>42212</c:v>
                </c:pt>
                <c:pt idx="1594">
                  <c:v>42213</c:v>
                </c:pt>
                <c:pt idx="1595">
                  <c:v>42214</c:v>
                </c:pt>
                <c:pt idx="1596">
                  <c:v>42215</c:v>
                </c:pt>
                <c:pt idx="1597">
                  <c:v>42216</c:v>
                </c:pt>
                <c:pt idx="1598">
                  <c:v>42219</c:v>
                </c:pt>
                <c:pt idx="1599">
                  <c:v>42220</c:v>
                </c:pt>
                <c:pt idx="1600">
                  <c:v>42221</c:v>
                </c:pt>
                <c:pt idx="1601">
                  <c:v>42222</c:v>
                </c:pt>
                <c:pt idx="1602">
                  <c:v>42223</c:v>
                </c:pt>
                <c:pt idx="1603">
                  <c:v>42226</c:v>
                </c:pt>
                <c:pt idx="1604">
                  <c:v>42227</c:v>
                </c:pt>
                <c:pt idx="1605">
                  <c:v>42228</c:v>
                </c:pt>
                <c:pt idx="1606">
                  <c:v>42229</c:v>
                </c:pt>
                <c:pt idx="1607">
                  <c:v>42230</c:v>
                </c:pt>
                <c:pt idx="1608">
                  <c:v>42233</c:v>
                </c:pt>
                <c:pt idx="1609">
                  <c:v>42234</c:v>
                </c:pt>
                <c:pt idx="1610">
                  <c:v>42235</c:v>
                </c:pt>
                <c:pt idx="1611">
                  <c:v>42236</c:v>
                </c:pt>
                <c:pt idx="1612">
                  <c:v>42237</c:v>
                </c:pt>
                <c:pt idx="1613">
                  <c:v>42240</c:v>
                </c:pt>
                <c:pt idx="1614">
                  <c:v>42241</c:v>
                </c:pt>
                <c:pt idx="1615">
                  <c:v>42242</c:v>
                </c:pt>
                <c:pt idx="1616">
                  <c:v>42243</c:v>
                </c:pt>
                <c:pt idx="1617">
                  <c:v>42244</c:v>
                </c:pt>
                <c:pt idx="1618">
                  <c:v>42247</c:v>
                </c:pt>
                <c:pt idx="1619">
                  <c:v>42248</c:v>
                </c:pt>
                <c:pt idx="1620">
                  <c:v>42249</c:v>
                </c:pt>
                <c:pt idx="1621">
                  <c:v>42254</c:v>
                </c:pt>
                <c:pt idx="1622">
                  <c:v>42255</c:v>
                </c:pt>
                <c:pt idx="1623">
                  <c:v>42256</c:v>
                </c:pt>
                <c:pt idx="1624">
                  <c:v>42257</c:v>
                </c:pt>
                <c:pt idx="1625">
                  <c:v>42258</c:v>
                </c:pt>
                <c:pt idx="1626">
                  <c:v>42261</c:v>
                </c:pt>
                <c:pt idx="1627">
                  <c:v>42262</c:v>
                </c:pt>
                <c:pt idx="1628">
                  <c:v>42263</c:v>
                </c:pt>
                <c:pt idx="1629">
                  <c:v>42264</c:v>
                </c:pt>
                <c:pt idx="1630">
                  <c:v>42265</c:v>
                </c:pt>
                <c:pt idx="1631">
                  <c:v>42268</c:v>
                </c:pt>
                <c:pt idx="1632">
                  <c:v>42269</c:v>
                </c:pt>
                <c:pt idx="1633">
                  <c:v>42270</c:v>
                </c:pt>
                <c:pt idx="1634">
                  <c:v>42271</c:v>
                </c:pt>
                <c:pt idx="1635">
                  <c:v>42272</c:v>
                </c:pt>
                <c:pt idx="1636">
                  <c:v>42275</c:v>
                </c:pt>
                <c:pt idx="1637">
                  <c:v>42276</c:v>
                </c:pt>
                <c:pt idx="1638">
                  <c:v>42277</c:v>
                </c:pt>
                <c:pt idx="1639">
                  <c:v>42285</c:v>
                </c:pt>
                <c:pt idx="1640">
                  <c:v>42286</c:v>
                </c:pt>
                <c:pt idx="1641">
                  <c:v>42289</c:v>
                </c:pt>
                <c:pt idx="1642">
                  <c:v>42290</c:v>
                </c:pt>
                <c:pt idx="1643">
                  <c:v>42291</c:v>
                </c:pt>
                <c:pt idx="1644">
                  <c:v>42292</c:v>
                </c:pt>
                <c:pt idx="1645">
                  <c:v>42293</c:v>
                </c:pt>
                <c:pt idx="1646">
                  <c:v>42296</c:v>
                </c:pt>
                <c:pt idx="1647">
                  <c:v>42297</c:v>
                </c:pt>
                <c:pt idx="1648">
                  <c:v>42298</c:v>
                </c:pt>
                <c:pt idx="1649">
                  <c:v>42299</c:v>
                </c:pt>
                <c:pt idx="1650">
                  <c:v>42300</c:v>
                </c:pt>
                <c:pt idx="1651">
                  <c:v>42303</c:v>
                </c:pt>
                <c:pt idx="1652">
                  <c:v>42304</c:v>
                </c:pt>
                <c:pt idx="1653">
                  <c:v>42305</c:v>
                </c:pt>
                <c:pt idx="1654">
                  <c:v>42306</c:v>
                </c:pt>
                <c:pt idx="1655">
                  <c:v>42307</c:v>
                </c:pt>
                <c:pt idx="1656">
                  <c:v>42310</c:v>
                </c:pt>
                <c:pt idx="1657">
                  <c:v>42311</c:v>
                </c:pt>
                <c:pt idx="1658">
                  <c:v>42312</c:v>
                </c:pt>
                <c:pt idx="1659">
                  <c:v>42313</c:v>
                </c:pt>
                <c:pt idx="1660">
                  <c:v>42314</c:v>
                </c:pt>
                <c:pt idx="1661">
                  <c:v>42317</c:v>
                </c:pt>
                <c:pt idx="1662">
                  <c:v>42318</c:v>
                </c:pt>
                <c:pt idx="1663">
                  <c:v>42319</c:v>
                </c:pt>
                <c:pt idx="1664">
                  <c:v>42320</c:v>
                </c:pt>
                <c:pt idx="1665">
                  <c:v>42321</c:v>
                </c:pt>
                <c:pt idx="1666">
                  <c:v>42324</c:v>
                </c:pt>
                <c:pt idx="1667">
                  <c:v>42325</c:v>
                </c:pt>
                <c:pt idx="1668">
                  <c:v>42326</c:v>
                </c:pt>
                <c:pt idx="1669">
                  <c:v>42327</c:v>
                </c:pt>
                <c:pt idx="1670">
                  <c:v>42328</c:v>
                </c:pt>
                <c:pt idx="1671">
                  <c:v>42331</c:v>
                </c:pt>
                <c:pt idx="1672">
                  <c:v>42332</c:v>
                </c:pt>
                <c:pt idx="1673">
                  <c:v>42333</c:v>
                </c:pt>
                <c:pt idx="1674">
                  <c:v>42334</c:v>
                </c:pt>
                <c:pt idx="1675">
                  <c:v>42335</c:v>
                </c:pt>
                <c:pt idx="1676">
                  <c:v>42338</c:v>
                </c:pt>
                <c:pt idx="1677">
                  <c:v>42339</c:v>
                </c:pt>
                <c:pt idx="1678">
                  <c:v>42340</c:v>
                </c:pt>
                <c:pt idx="1679">
                  <c:v>42341</c:v>
                </c:pt>
                <c:pt idx="1680">
                  <c:v>42342</c:v>
                </c:pt>
                <c:pt idx="1681">
                  <c:v>42345</c:v>
                </c:pt>
                <c:pt idx="1682">
                  <c:v>42346</c:v>
                </c:pt>
                <c:pt idx="1683">
                  <c:v>42347</c:v>
                </c:pt>
                <c:pt idx="1684">
                  <c:v>42348</c:v>
                </c:pt>
                <c:pt idx="1685">
                  <c:v>42349</c:v>
                </c:pt>
                <c:pt idx="1686">
                  <c:v>42352</c:v>
                </c:pt>
                <c:pt idx="1687">
                  <c:v>42353</c:v>
                </c:pt>
                <c:pt idx="1688">
                  <c:v>42354</c:v>
                </c:pt>
                <c:pt idx="1689">
                  <c:v>42355</c:v>
                </c:pt>
                <c:pt idx="1690">
                  <c:v>42356</c:v>
                </c:pt>
                <c:pt idx="1691">
                  <c:v>42359</c:v>
                </c:pt>
                <c:pt idx="1692">
                  <c:v>42360</c:v>
                </c:pt>
                <c:pt idx="1693">
                  <c:v>42361</c:v>
                </c:pt>
                <c:pt idx="1694">
                  <c:v>42362</c:v>
                </c:pt>
                <c:pt idx="1695">
                  <c:v>42363</c:v>
                </c:pt>
                <c:pt idx="1696">
                  <c:v>42366</c:v>
                </c:pt>
                <c:pt idx="1697">
                  <c:v>42367</c:v>
                </c:pt>
                <c:pt idx="1698">
                  <c:v>42368</c:v>
                </c:pt>
                <c:pt idx="1699">
                  <c:v>42369</c:v>
                </c:pt>
                <c:pt idx="1700">
                  <c:v>42373</c:v>
                </c:pt>
                <c:pt idx="1701">
                  <c:v>42374</c:v>
                </c:pt>
                <c:pt idx="1702">
                  <c:v>42375</c:v>
                </c:pt>
                <c:pt idx="1703">
                  <c:v>42376</c:v>
                </c:pt>
                <c:pt idx="1704">
                  <c:v>42377</c:v>
                </c:pt>
                <c:pt idx="1705">
                  <c:v>42380</c:v>
                </c:pt>
                <c:pt idx="1706">
                  <c:v>42381</c:v>
                </c:pt>
                <c:pt idx="1707">
                  <c:v>42382</c:v>
                </c:pt>
                <c:pt idx="1708">
                  <c:v>42383</c:v>
                </c:pt>
                <c:pt idx="1709">
                  <c:v>42384</c:v>
                </c:pt>
                <c:pt idx="1710">
                  <c:v>42387</c:v>
                </c:pt>
                <c:pt idx="1711">
                  <c:v>42388</c:v>
                </c:pt>
                <c:pt idx="1712">
                  <c:v>42389</c:v>
                </c:pt>
                <c:pt idx="1713">
                  <c:v>42390</c:v>
                </c:pt>
                <c:pt idx="1714">
                  <c:v>42391</c:v>
                </c:pt>
                <c:pt idx="1715">
                  <c:v>42394</c:v>
                </c:pt>
                <c:pt idx="1716">
                  <c:v>42395</c:v>
                </c:pt>
                <c:pt idx="1717">
                  <c:v>42396</c:v>
                </c:pt>
                <c:pt idx="1718">
                  <c:v>42397</c:v>
                </c:pt>
                <c:pt idx="1719">
                  <c:v>42398</c:v>
                </c:pt>
                <c:pt idx="1720">
                  <c:v>42401</c:v>
                </c:pt>
                <c:pt idx="1721">
                  <c:v>42402</c:v>
                </c:pt>
                <c:pt idx="1722">
                  <c:v>42403</c:v>
                </c:pt>
                <c:pt idx="1723">
                  <c:v>42404</c:v>
                </c:pt>
                <c:pt idx="1724">
                  <c:v>42405</c:v>
                </c:pt>
                <c:pt idx="1725">
                  <c:v>42415</c:v>
                </c:pt>
                <c:pt idx="1726">
                  <c:v>42416</c:v>
                </c:pt>
                <c:pt idx="1727">
                  <c:v>42417</c:v>
                </c:pt>
                <c:pt idx="1728">
                  <c:v>42418</c:v>
                </c:pt>
                <c:pt idx="1729">
                  <c:v>42419</c:v>
                </c:pt>
                <c:pt idx="1730">
                  <c:v>42422</c:v>
                </c:pt>
                <c:pt idx="1731">
                  <c:v>42423</c:v>
                </c:pt>
                <c:pt idx="1732">
                  <c:v>42424</c:v>
                </c:pt>
                <c:pt idx="1733">
                  <c:v>42425</c:v>
                </c:pt>
                <c:pt idx="1734">
                  <c:v>42426</c:v>
                </c:pt>
                <c:pt idx="1735">
                  <c:v>42429</c:v>
                </c:pt>
                <c:pt idx="1736">
                  <c:v>42430</c:v>
                </c:pt>
                <c:pt idx="1737">
                  <c:v>42431</c:v>
                </c:pt>
                <c:pt idx="1738">
                  <c:v>42432</c:v>
                </c:pt>
                <c:pt idx="1739">
                  <c:v>42433</c:v>
                </c:pt>
                <c:pt idx="1740">
                  <c:v>42436</c:v>
                </c:pt>
                <c:pt idx="1741">
                  <c:v>42437</c:v>
                </c:pt>
                <c:pt idx="1742">
                  <c:v>42438</c:v>
                </c:pt>
                <c:pt idx="1743">
                  <c:v>42439</c:v>
                </c:pt>
                <c:pt idx="1744">
                  <c:v>42440</c:v>
                </c:pt>
                <c:pt idx="1745">
                  <c:v>42443</c:v>
                </c:pt>
                <c:pt idx="1746">
                  <c:v>42444</c:v>
                </c:pt>
                <c:pt idx="1747">
                  <c:v>42445</c:v>
                </c:pt>
                <c:pt idx="1748">
                  <c:v>42446</c:v>
                </c:pt>
                <c:pt idx="1749">
                  <c:v>42447</c:v>
                </c:pt>
                <c:pt idx="1750">
                  <c:v>42450</c:v>
                </c:pt>
                <c:pt idx="1751">
                  <c:v>42451</c:v>
                </c:pt>
                <c:pt idx="1752">
                  <c:v>42452</c:v>
                </c:pt>
                <c:pt idx="1753">
                  <c:v>42453</c:v>
                </c:pt>
                <c:pt idx="1754">
                  <c:v>42454</c:v>
                </c:pt>
                <c:pt idx="1755">
                  <c:v>42457</c:v>
                </c:pt>
                <c:pt idx="1756">
                  <c:v>42458</c:v>
                </c:pt>
                <c:pt idx="1757">
                  <c:v>42459</c:v>
                </c:pt>
                <c:pt idx="1758">
                  <c:v>42460</c:v>
                </c:pt>
                <c:pt idx="1759">
                  <c:v>42461</c:v>
                </c:pt>
                <c:pt idx="1760">
                  <c:v>42465</c:v>
                </c:pt>
                <c:pt idx="1761">
                  <c:v>42466</c:v>
                </c:pt>
                <c:pt idx="1762">
                  <c:v>42467</c:v>
                </c:pt>
                <c:pt idx="1763">
                  <c:v>42468</c:v>
                </c:pt>
                <c:pt idx="1764">
                  <c:v>42471</c:v>
                </c:pt>
                <c:pt idx="1765">
                  <c:v>42472</c:v>
                </c:pt>
                <c:pt idx="1766">
                  <c:v>42473</c:v>
                </c:pt>
                <c:pt idx="1767">
                  <c:v>42474</c:v>
                </c:pt>
                <c:pt idx="1768">
                  <c:v>42475</c:v>
                </c:pt>
                <c:pt idx="1769">
                  <c:v>42478</c:v>
                </c:pt>
                <c:pt idx="1770">
                  <c:v>42479</c:v>
                </c:pt>
                <c:pt idx="1771">
                  <c:v>42480</c:v>
                </c:pt>
                <c:pt idx="1772">
                  <c:v>42481</c:v>
                </c:pt>
                <c:pt idx="1773">
                  <c:v>42482</c:v>
                </c:pt>
                <c:pt idx="1774">
                  <c:v>42485</c:v>
                </c:pt>
                <c:pt idx="1775">
                  <c:v>42486</c:v>
                </c:pt>
                <c:pt idx="1776">
                  <c:v>42487</c:v>
                </c:pt>
                <c:pt idx="1777">
                  <c:v>42488</c:v>
                </c:pt>
                <c:pt idx="1778">
                  <c:v>42489</c:v>
                </c:pt>
                <c:pt idx="1779">
                  <c:v>42493</c:v>
                </c:pt>
                <c:pt idx="1780">
                  <c:v>42494</c:v>
                </c:pt>
                <c:pt idx="1781">
                  <c:v>42495</c:v>
                </c:pt>
                <c:pt idx="1782">
                  <c:v>42496</c:v>
                </c:pt>
                <c:pt idx="1783">
                  <c:v>42499</c:v>
                </c:pt>
                <c:pt idx="1784">
                  <c:v>42500</c:v>
                </c:pt>
                <c:pt idx="1785">
                  <c:v>42501</c:v>
                </c:pt>
                <c:pt idx="1786">
                  <c:v>42502</c:v>
                </c:pt>
                <c:pt idx="1787">
                  <c:v>42503</c:v>
                </c:pt>
                <c:pt idx="1788">
                  <c:v>42506</c:v>
                </c:pt>
                <c:pt idx="1789">
                  <c:v>42507</c:v>
                </c:pt>
                <c:pt idx="1790">
                  <c:v>42508</c:v>
                </c:pt>
                <c:pt idx="1791">
                  <c:v>42509</c:v>
                </c:pt>
                <c:pt idx="1792">
                  <c:v>42510</c:v>
                </c:pt>
                <c:pt idx="1793">
                  <c:v>42513</c:v>
                </c:pt>
                <c:pt idx="1794">
                  <c:v>42514</c:v>
                </c:pt>
                <c:pt idx="1795">
                  <c:v>42515</c:v>
                </c:pt>
                <c:pt idx="1796">
                  <c:v>42516</c:v>
                </c:pt>
                <c:pt idx="1797">
                  <c:v>42517</c:v>
                </c:pt>
                <c:pt idx="1798">
                  <c:v>42520</c:v>
                </c:pt>
                <c:pt idx="1799">
                  <c:v>42521</c:v>
                </c:pt>
                <c:pt idx="1800">
                  <c:v>42522</c:v>
                </c:pt>
                <c:pt idx="1801">
                  <c:v>42523</c:v>
                </c:pt>
                <c:pt idx="1802">
                  <c:v>42524</c:v>
                </c:pt>
                <c:pt idx="1803">
                  <c:v>42527</c:v>
                </c:pt>
                <c:pt idx="1804">
                  <c:v>42528</c:v>
                </c:pt>
                <c:pt idx="1805">
                  <c:v>42529</c:v>
                </c:pt>
                <c:pt idx="1806">
                  <c:v>42534</c:v>
                </c:pt>
                <c:pt idx="1807">
                  <c:v>42535</c:v>
                </c:pt>
                <c:pt idx="1808">
                  <c:v>42536</c:v>
                </c:pt>
                <c:pt idx="1809">
                  <c:v>42537</c:v>
                </c:pt>
                <c:pt idx="1810">
                  <c:v>42538</c:v>
                </c:pt>
                <c:pt idx="1811">
                  <c:v>42541</c:v>
                </c:pt>
                <c:pt idx="1812">
                  <c:v>42542</c:v>
                </c:pt>
                <c:pt idx="1813">
                  <c:v>42543</c:v>
                </c:pt>
                <c:pt idx="1814">
                  <c:v>42544</c:v>
                </c:pt>
                <c:pt idx="1815">
                  <c:v>42545</c:v>
                </c:pt>
                <c:pt idx="1816">
                  <c:v>42548</c:v>
                </c:pt>
                <c:pt idx="1817">
                  <c:v>42549</c:v>
                </c:pt>
                <c:pt idx="1818">
                  <c:v>42550</c:v>
                </c:pt>
                <c:pt idx="1819">
                  <c:v>42551</c:v>
                </c:pt>
                <c:pt idx="1820">
                  <c:v>42552</c:v>
                </c:pt>
                <c:pt idx="1821">
                  <c:v>42555</c:v>
                </c:pt>
                <c:pt idx="1822">
                  <c:v>42556</c:v>
                </c:pt>
                <c:pt idx="1823">
                  <c:v>42557</c:v>
                </c:pt>
                <c:pt idx="1824">
                  <c:v>42558</c:v>
                </c:pt>
                <c:pt idx="1825">
                  <c:v>42559</c:v>
                </c:pt>
                <c:pt idx="1826">
                  <c:v>42562</c:v>
                </c:pt>
                <c:pt idx="1827">
                  <c:v>42563</c:v>
                </c:pt>
                <c:pt idx="1828">
                  <c:v>42564</c:v>
                </c:pt>
                <c:pt idx="1829">
                  <c:v>42565</c:v>
                </c:pt>
                <c:pt idx="1830">
                  <c:v>42566</c:v>
                </c:pt>
                <c:pt idx="1831">
                  <c:v>42569</c:v>
                </c:pt>
                <c:pt idx="1832">
                  <c:v>42570</c:v>
                </c:pt>
                <c:pt idx="1833">
                  <c:v>42571</c:v>
                </c:pt>
                <c:pt idx="1834">
                  <c:v>42572</c:v>
                </c:pt>
                <c:pt idx="1835">
                  <c:v>42573</c:v>
                </c:pt>
                <c:pt idx="1836">
                  <c:v>42576</c:v>
                </c:pt>
                <c:pt idx="1837">
                  <c:v>42577</c:v>
                </c:pt>
                <c:pt idx="1838">
                  <c:v>42578</c:v>
                </c:pt>
                <c:pt idx="1839">
                  <c:v>42579</c:v>
                </c:pt>
                <c:pt idx="1840">
                  <c:v>42580</c:v>
                </c:pt>
                <c:pt idx="1841">
                  <c:v>42583</c:v>
                </c:pt>
                <c:pt idx="1842">
                  <c:v>42584</c:v>
                </c:pt>
                <c:pt idx="1843">
                  <c:v>42585</c:v>
                </c:pt>
                <c:pt idx="1844">
                  <c:v>42586</c:v>
                </c:pt>
                <c:pt idx="1845">
                  <c:v>42587</c:v>
                </c:pt>
                <c:pt idx="1846">
                  <c:v>42590</c:v>
                </c:pt>
                <c:pt idx="1847">
                  <c:v>42591</c:v>
                </c:pt>
                <c:pt idx="1848">
                  <c:v>42592</c:v>
                </c:pt>
                <c:pt idx="1849">
                  <c:v>42593</c:v>
                </c:pt>
                <c:pt idx="1850">
                  <c:v>42594</c:v>
                </c:pt>
                <c:pt idx="1851">
                  <c:v>42597</c:v>
                </c:pt>
                <c:pt idx="1852">
                  <c:v>42598</c:v>
                </c:pt>
                <c:pt idx="1853">
                  <c:v>42599</c:v>
                </c:pt>
                <c:pt idx="1854">
                  <c:v>42600</c:v>
                </c:pt>
                <c:pt idx="1855">
                  <c:v>42601</c:v>
                </c:pt>
                <c:pt idx="1856">
                  <c:v>42604</c:v>
                </c:pt>
                <c:pt idx="1857">
                  <c:v>42605</c:v>
                </c:pt>
                <c:pt idx="1858">
                  <c:v>42606</c:v>
                </c:pt>
                <c:pt idx="1859">
                  <c:v>42607</c:v>
                </c:pt>
                <c:pt idx="1860">
                  <c:v>42608</c:v>
                </c:pt>
                <c:pt idx="1861">
                  <c:v>42611</c:v>
                </c:pt>
                <c:pt idx="1862">
                  <c:v>42612</c:v>
                </c:pt>
                <c:pt idx="1863">
                  <c:v>42613</c:v>
                </c:pt>
                <c:pt idx="1864">
                  <c:v>42614</c:v>
                </c:pt>
                <c:pt idx="1865">
                  <c:v>42615</c:v>
                </c:pt>
                <c:pt idx="1866">
                  <c:v>42618</c:v>
                </c:pt>
                <c:pt idx="1867">
                  <c:v>42619</c:v>
                </c:pt>
                <c:pt idx="1868">
                  <c:v>42620</c:v>
                </c:pt>
                <c:pt idx="1869">
                  <c:v>42621</c:v>
                </c:pt>
                <c:pt idx="1870">
                  <c:v>42622</c:v>
                </c:pt>
                <c:pt idx="1871">
                  <c:v>42625</c:v>
                </c:pt>
                <c:pt idx="1872">
                  <c:v>42626</c:v>
                </c:pt>
                <c:pt idx="1873">
                  <c:v>42627</c:v>
                </c:pt>
                <c:pt idx="1874">
                  <c:v>42632</c:v>
                </c:pt>
                <c:pt idx="1875">
                  <c:v>42633</c:v>
                </c:pt>
                <c:pt idx="1876">
                  <c:v>42634</c:v>
                </c:pt>
                <c:pt idx="1877">
                  <c:v>42635</c:v>
                </c:pt>
                <c:pt idx="1878">
                  <c:v>42636</c:v>
                </c:pt>
                <c:pt idx="1879">
                  <c:v>42639</c:v>
                </c:pt>
                <c:pt idx="1880">
                  <c:v>42640</c:v>
                </c:pt>
                <c:pt idx="1881">
                  <c:v>42641</c:v>
                </c:pt>
                <c:pt idx="1882">
                  <c:v>42642</c:v>
                </c:pt>
                <c:pt idx="1883">
                  <c:v>42643</c:v>
                </c:pt>
                <c:pt idx="1884">
                  <c:v>42653</c:v>
                </c:pt>
                <c:pt idx="1885">
                  <c:v>42654</c:v>
                </c:pt>
                <c:pt idx="1886">
                  <c:v>42655</c:v>
                </c:pt>
                <c:pt idx="1887">
                  <c:v>42656</c:v>
                </c:pt>
                <c:pt idx="1888">
                  <c:v>42657</c:v>
                </c:pt>
                <c:pt idx="1889">
                  <c:v>42660</c:v>
                </c:pt>
                <c:pt idx="1890">
                  <c:v>42661</c:v>
                </c:pt>
                <c:pt idx="1891">
                  <c:v>42662</c:v>
                </c:pt>
                <c:pt idx="1892">
                  <c:v>42663</c:v>
                </c:pt>
                <c:pt idx="1893">
                  <c:v>42664</c:v>
                </c:pt>
                <c:pt idx="1894">
                  <c:v>42667</c:v>
                </c:pt>
                <c:pt idx="1895">
                  <c:v>42668</c:v>
                </c:pt>
                <c:pt idx="1896">
                  <c:v>42669</c:v>
                </c:pt>
                <c:pt idx="1897">
                  <c:v>42670</c:v>
                </c:pt>
                <c:pt idx="1898">
                  <c:v>42671</c:v>
                </c:pt>
                <c:pt idx="1899">
                  <c:v>42674</c:v>
                </c:pt>
                <c:pt idx="1900">
                  <c:v>42675</c:v>
                </c:pt>
                <c:pt idx="1901">
                  <c:v>42676</c:v>
                </c:pt>
                <c:pt idx="1902">
                  <c:v>42677</c:v>
                </c:pt>
                <c:pt idx="1903">
                  <c:v>42678</c:v>
                </c:pt>
                <c:pt idx="1904">
                  <c:v>42681</c:v>
                </c:pt>
                <c:pt idx="1905">
                  <c:v>42682</c:v>
                </c:pt>
                <c:pt idx="1906">
                  <c:v>42683</c:v>
                </c:pt>
                <c:pt idx="1907">
                  <c:v>42684</c:v>
                </c:pt>
                <c:pt idx="1908">
                  <c:v>42685</c:v>
                </c:pt>
                <c:pt idx="1909">
                  <c:v>42688</c:v>
                </c:pt>
                <c:pt idx="1910">
                  <c:v>42689</c:v>
                </c:pt>
                <c:pt idx="1911">
                  <c:v>42690</c:v>
                </c:pt>
                <c:pt idx="1912">
                  <c:v>42691</c:v>
                </c:pt>
                <c:pt idx="1913">
                  <c:v>42692</c:v>
                </c:pt>
                <c:pt idx="1914">
                  <c:v>42695</c:v>
                </c:pt>
                <c:pt idx="1915">
                  <c:v>42696</c:v>
                </c:pt>
                <c:pt idx="1916">
                  <c:v>42697</c:v>
                </c:pt>
                <c:pt idx="1917">
                  <c:v>42698</c:v>
                </c:pt>
                <c:pt idx="1918">
                  <c:v>42699</c:v>
                </c:pt>
                <c:pt idx="1919">
                  <c:v>42702</c:v>
                </c:pt>
                <c:pt idx="1920">
                  <c:v>42703</c:v>
                </c:pt>
                <c:pt idx="1921">
                  <c:v>42704</c:v>
                </c:pt>
                <c:pt idx="1922">
                  <c:v>42705</c:v>
                </c:pt>
                <c:pt idx="1923">
                  <c:v>42706</c:v>
                </c:pt>
                <c:pt idx="1924">
                  <c:v>42709</c:v>
                </c:pt>
                <c:pt idx="1925">
                  <c:v>42710</c:v>
                </c:pt>
                <c:pt idx="1926">
                  <c:v>42711</c:v>
                </c:pt>
                <c:pt idx="1927">
                  <c:v>42712</c:v>
                </c:pt>
                <c:pt idx="1928">
                  <c:v>42713</c:v>
                </c:pt>
                <c:pt idx="1929">
                  <c:v>42716</c:v>
                </c:pt>
                <c:pt idx="1930">
                  <c:v>42717</c:v>
                </c:pt>
                <c:pt idx="1931">
                  <c:v>42718</c:v>
                </c:pt>
                <c:pt idx="1932">
                  <c:v>42719</c:v>
                </c:pt>
                <c:pt idx="1933">
                  <c:v>42720</c:v>
                </c:pt>
                <c:pt idx="1934">
                  <c:v>42723</c:v>
                </c:pt>
                <c:pt idx="1935">
                  <c:v>42724</c:v>
                </c:pt>
                <c:pt idx="1936">
                  <c:v>42725</c:v>
                </c:pt>
                <c:pt idx="1937">
                  <c:v>42726</c:v>
                </c:pt>
                <c:pt idx="1938">
                  <c:v>42727</c:v>
                </c:pt>
                <c:pt idx="1939">
                  <c:v>42730</c:v>
                </c:pt>
                <c:pt idx="1940">
                  <c:v>42731</c:v>
                </c:pt>
                <c:pt idx="1941">
                  <c:v>42732</c:v>
                </c:pt>
                <c:pt idx="1942">
                  <c:v>42733</c:v>
                </c:pt>
                <c:pt idx="1943">
                  <c:v>42734</c:v>
                </c:pt>
                <c:pt idx="1944">
                  <c:v>42738</c:v>
                </c:pt>
                <c:pt idx="1945">
                  <c:v>42739</c:v>
                </c:pt>
                <c:pt idx="1946">
                  <c:v>42740</c:v>
                </c:pt>
                <c:pt idx="1947">
                  <c:v>42741</c:v>
                </c:pt>
                <c:pt idx="1948">
                  <c:v>42744</c:v>
                </c:pt>
                <c:pt idx="1949">
                  <c:v>42745</c:v>
                </c:pt>
                <c:pt idx="1950">
                  <c:v>42746</c:v>
                </c:pt>
                <c:pt idx="1951">
                  <c:v>42747</c:v>
                </c:pt>
                <c:pt idx="1952">
                  <c:v>42748</c:v>
                </c:pt>
                <c:pt idx="1953">
                  <c:v>42751</c:v>
                </c:pt>
                <c:pt idx="1954">
                  <c:v>42752</c:v>
                </c:pt>
                <c:pt idx="1955">
                  <c:v>42753</c:v>
                </c:pt>
                <c:pt idx="1956">
                  <c:v>42754</c:v>
                </c:pt>
                <c:pt idx="1957">
                  <c:v>42755</c:v>
                </c:pt>
                <c:pt idx="1958">
                  <c:v>42758</c:v>
                </c:pt>
                <c:pt idx="1959">
                  <c:v>42759</c:v>
                </c:pt>
                <c:pt idx="1960">
                  <c:v>42760</c:v>
                </c:pt>
                <c:pt idx="1961">
                  <c:v>42761</c:v>
                </c:pt>
                <c:pt idx="1962">
                  <c:v>42769</c:v>
                </c:pt>
                <c:pt idx="1963">
                  <c:v>42772</c:v>
                </c:pt>
                <c:pt idx="1964">
                  <c:v>42773</c:v>
                </c:pt>
                <c:pt idx="1965">
                  <c:v>42774</c:v>
                </c:pt>
                <c:pt idx="1966">
                  <c:v>42775</c:v>
                </c:pt>
                <c:pt idx="1967">
                  <c:v>42776</c:v>
                </c:pt>
                <c:pt idx="1968">
                  <c:v>42779</c:v>
                </c:pt>
                <c:pt idx="1969">
                  <c:v>42780</c:v>
                </c:pt>
                <c:pt idx="1970">
                  <c:v>42781</c:v>
                </c:pt>
                <c:pt idx="1971">
                  <c:v>42782</c:v>
                </c:pt>
                <c:pt idx="1972">
                  <c:v>42783</c:v>
                </c:pt>
                <c:pt idx="1973">
                  <c:v>42786</c:v>
                </c:pt>
                <c:pt idx="1974">
                  <c:v>42787</c:v>
                </c:pt>
                <c:pt idx="1975">
                  <c:v>42788</c:v>
                </c:pt>
                <c:pt idx="1976">
                  <c:v>42789</c:v>
                </c:pt>
                <c:pt idx="1977">
                  <c:v>42790</c:v>
                </c:pt>
                <c:pt idx="1978">
                  <c:v>42793</c:v>
                </c:pt>
                <c:pt idx="1979">
                  <c:v>42794</c:v>
                </c:pt>
                <c:pt idx="1980">
                  <c:v>42795</c:v>
                </c:pt>
                <c:pt idx="1981">
                  <c:v>42796</c:v>
                </c:pt>
                <c:pt idx="1982">
                  <c:v>42797</c:v>
                </c:pt>
                <c:pt idx="1983">
                  <c:v>42800</c:v>
                </c:pt>
                <c:pt idx="1984">
                  <c:v>42801</c:v>
                </c:pt>
                <c:pt idx="1985">
                  <c:v>42802</c:v>
                </c:pt>
                <c:pt idx="1986">
                  <c:v>42803</c:v>
                </c:pt>
                <c:pt idx="1987">
                  <c:v>42804</c:v>
                </c:pt>
                <c:pt idx="1988">
                  <c:v>42807</c:v>
                </c:pt>
                <c:pt idx="1989">
                  <c:v>42808</c:v>
                </c:pt>
                <c:pt idx="1990">
                  <c:v>42809</c:v>
                </c:pt>
                <c:pt idx="1991">
                  <c:v>42810</c:v>
                </c:pt>
                <c:pt idx="1992">
                  <c:v>42811</c:v>
                </c:pt>
                <c:pt idx="1993">
                  <c:v>42814</c:v>
                </c:pt>
                <c:pt idx="1994">
                  <c:v>42815</c:v>
                </c:pt>
                <c:pt idx="1995">
                  <c:v>42816</c:v>
                </c:pt>
                <c:pt idx="1996">
                  <c:v>42817</c:v>
                </c:pt>
                <c:pt idx="1997">
                  <c:v>42818</c:v>
                </c:pt>
                <c:pt idx="1998">
                  <c:v>42821</c:v>
                </c:pt>
                <c:pt idx="1999">
                  <c:v>42822</c:v>
                </c:pt>
                <c:pt idx="2000">
                  <c:v>42823</c:v>
                </c:pt>
                <c:pt idx="2001">
                  <c:v>42824</c:v>
                </c:pt>
                <c:pt idx="2002">
                  <c:v>42825</c:v>
                </c:pt>
                <c:pt idx="2003">
                  <c:v>42830</c:v>
                </c:pt>
                <c:pt idx="2004">
                  <c:v>42831</c:v>
                </c:pt>
                <c:pt idx="2005">
                  <c:v>42832</c:v>
                </c:pt>
                <c:pt idx="2006">
                  <c:v>42835</c:v>
                </c:pt>
                <c:pt idx="2007">
                  <c:v>42836</c:v>
                </c:pt>
                <c:pt idx="2008">
                  <c:v>42837</c:v>
                </c:pt>
                <c:pt idx="2009">
                  <c:v>42838</c:v>
                </c:pt>
                <c:pt idx="2010">
                  <c:v>42839</c:v>
                </c:pt>
                <c:pt idx="2011">
                  <c:v>42842</c:v>
                </c:pt>
                <c:pt idx="2012">
                  <c:v>42843</c:v>
                </c:pt>
                <c:pt idx="2013">
                  <c:v>42844</c:v>
                </c:pt>
                <c:pt idx="2014">
                  <c:v>42845</c:v>
                </c:pt>
                <c:pt idx="2015">
                  <c:v>42846</c:v>
                </c:pt>
                <c:pt idx="2016">
                  <c:v>42849</c:v>
                </c:pt>
                <c:pt idx="2017">
                  <c:v>42850</c:v>
                </c:pt>
                <c:pt idx="2018">
                  <c:v>42851</c:v>
                </c:pt>
                <c:pt idx="2019">
                  <c:v>42852</c:v>
                </c:pt>
                <c:pt idx="2020">
                  <c:v>42853</c:v>
                </c:pt>
                <c:pt idx="2021">
                  <c:v>42857</c:v>
                </c:pt>
                <c:pt idx="2022">
                  <c:v>42858</c:v>
                </c:pt>
                <c:pt idx="2023">
                  <c:v>42859</c:v>
                </c:pt>
                <c:pt idx="2024">
                  <c:v>42860</c:v>
                </c:pt>
                <c:pt idx="2025">
                  <c:v>42863</c:v>
                </c:pt>
                <c:pt idx="2026">
                  <c:v>42864</c:v>
                </c:pt>
                <c:pt idx="2027">
                  <c:v>42865</c:v>
                </c:pt>
                <c:pt idx="2028">
                  <c:v>42866</c:v>
                </c:pt>
                <c:pt idx="2029">
                  <c:v>42867</c:v>
                </c:pt>
                <c:pt idx="2030">
                  <c:v>42870</c:v>
                </c:pt>
                <c:pt idx="2031">
                  <c:v>42871</c:v>
                </c:pt>
                <c:pt idx="2032">
                  <c:v>42872</c:v>
                </c:pt>
                <c:pt idx="2033">
                  <c:v>42873</c:v>
                </c:pt>
                <c:pt idx="2034">
                  <c:v>42874</c:v>
                </c:pt>
                <c:pt idx="2035">
                  <c:v>42877</c:v>
                </c:pt>
                <c:pt idx="2036">
                  <c:v>42878</c:v>
                </c:pt>
                <c:pt idx="2037">
                  <c:v>42879</c:v>
                </c:pt>
                <c:pt idx="2038">
                  <c:v>42880</c:v>
                </c:pt>
                <c:pt idx="2039">
                  <c:v>42881</c:v>
                </c:pt>
                <c:pt idx="2040">
                  <c:v>42886</c:v>
                </c:pt>
                <c:pt idx="2041">
                  <c:v>42887</c:v>
                </c:pt>
                <c:pt idx="2042">
                  <c:v>42888</c:v>
                </c:pt>
                <c:pt idx="2043">
                  <c:v>42891</c:v>
                </c:pt>
                <c:pt idx="2044">
                  <c:v>42892</c:v>
                </c:pt>
                <c:pt idx="2045">
                  <c:v>42893</c:v>
                </c:pt>
                <c:pt idx="2046">
                  <c:v>42894</c:v>
                </c:pt>
                <c:pt idx="2047">
                  <c:v>42895</c:v>
                </c:pt>
                <c:pt idx="2048">
                  <c:v>42898</c:v>
                </c:pt>
                <c:pt idx="2049">
                  <c:v>42899</c:v>
                </c:pt>
                <c:pt idx="2050">
                  <c:v>42900</c:v>
                </c:pt>
                <c:pt idx="2051">
                  <c:v>42901</c:v>
                </c:pt>
                <c:pt idx="2052">
                  <c:v>42902</c:v>
                </c:pt>
                <c:pt idx="2053">
                  <c:v>42905</c:v>
                </c:pt>
                <c:pt idx="2054">
                  <c:v>42906</c:v>
                </c:pt>
                <c:pt idx="2055">
                  <c:v>42907</c:v>
                </c:pt>
                <c:pt idx="2056">
                  <c:v>42908</c:v>
                </c:pt>
                <c:pt idx="2057">
                  <c:v>42909</c:v>
                </c:pt>
                <c:pt idx="2058">
                  <c:v>42912</c:v>
                </c:pt>
                <c:pt idx="2059">
                  <c:v>42913</c:v>
                </c:pt>
                <c:pt idx="2060">
                  <c:v>42914</c:v>
                </c:pt>
                <c:pt idx="2061">
                  <c:v>42915</c:v>
                </c:pt>
                <c:pt idx="2062">
                  <c:v>42916</c:v>
                </c:pt>
                <c:pt idx="2063">
                  <c:v>42919</c:v>
                </c:pt>
                <c:pt idx="2064">
                  <c:v>42920</c:v>
                </c:pt>
                <c:pt idx="2065">
                  <c:v>42921</c:v>
                </c:pt>
                <c:pt idx="2066">
                  <c:v>42922</c:v>
                </c:pt>
                <c:pt idx="2067">
                  <c:v>42923</c:v>
                </c:pt>
                <c:pt idx="2068">
                  <c:v>42926</c:v>
                </c:pt>
                <c:pt idx="2069">
                  <c:v>42927</c:v>
                </c:pt>
                <c:pt idx="2070">
                  <c:v>42928</c:v>
                </c:pt>
                <c:pt idx="2071">
                  <c:v>42929</c:v>
                </c:pt>
                <c:pt idx="2072">
                  <c:v>42930</c:v>
                </c:pt>
                <c:pt idx="2073">
                  <c:v>42933</c:v>
                </c:pt>
                <c:pt idx="2074">
                  <c:v>42934</c:v>
                </c:pt>
                <c:pt idx="2075">
                  <c:v>42935</c:v>
                </c:pt>
                <c:pt idx="2076">
                  <c:v>42936</c:v>
                </c:pt>
                <c:pt idx="2077">
                  <c:v>42937</c:v>
                </c:pt>
                <c:pt idx="2078">
                  <c:v>42940</c:v>
                </c:pt>
                <c:pt idx="2079">
                  <c:v>42941</c:v>
                </c:pt>
                <c:pt idx="2080">
                  <c:v>42942</c:v>
                </c:pt>
                <c:pt idx="2081">
                  <c:v>42943</c:v>
                </c:pt>
                <c:pt idx="2082">
                  <c:v>42944</c:v>
                </c:pt>
                <c:pt idx="2083">
                  <c:v>42947</c:v>
                </c:pt>
                <c:pt idx="2084">
                  <c:v>42948</c:v>
                </c:pt>
                <c:pt idx="2085">
                  <c:v>42949</c:v>
                </c:pt>
                <c:pt idx="2086">
                  <c:v>42950</c:v>
                </c:pt>
                <c:pt idx="2087">
                  <c:v>42951</c:v>
                </c:pt>
                <c:pt idx="2088">
                  <c:v>42954</c:v>
                </c:pt>
                <c:pt idx="2089">
                  <c:v>42955</c:v>
                </c:pt>
                <c:pt idx="2090">
                  <c:v>42956</c:v>
                </c:pt>
                <c:pt idx="2091">
                  <c:v>42957</c:v>
                </c:pt>
                <c:pt idx="2092">
                  <c:v>42958</c:v>
                </c:pt>
                <c:pt idx="2093">
                  <c:v>42961</c:v>
                </c:pt>
                <c:pt idx="2094">
                  <c:v>42962</c:v>
                </c:pt>
                <c:pt idx="2095">
                  <c:v>42963</c:v>
                </c:pt>
                <c:pt idx="2096">
                  <c:v>42964</c:v>
                </c:pt>
                <c:pt idx="2097">
                  <c:v>42965</c:v>
                </c:pt>
                <c:pt idx="2098">
                  <c:v>42968</c:v>
                </c:pt>
                <c:pt idx="2099">
                  <c:v>42969</c:v>
                </c:pt>
                <c:pt idx="2100">
                  <c:v>42970</c:v>
                </c:pt>
                <c:pt idx="2101">
                  <c:v>42971</c:v>
                </c:pt>
                <c:pt idx="2102">
                  <c:v>42972</c:v>
                </c:pt>
                <c:pt idx="2103">
                  <c:v>42975</c:v>
                </c:pt>
                <c:pt idx="2104">
                  <c:v>42976</c:v>
                </c:pt>
                <c:pt idx="2105">
                  <c:v>42977</c:v>
                </c:pt>
                <c:pt idx="2106">
                  <c:v>42978</c:v>
                </c:pt>
                <c:pt idx="2107">
                  <c:v>42979</c:v>
                </c:pt>
                <c:pt idx="2108">
                  <c:v>42982</c:v>
                </c:pt>
                <c:pt idx="2109">
                  <c:v>42983</c:v>
                </c:pt>
                <c:pt idx="2110">
                  <c:v>42984</c:v>
                </c:pt>
                <c:pt idx="2111">
                  <c:v>42985</c:v>
                </c:pt>
                <c:pt idx="2112">
                  <c:v>42986</c:v>
                </c:pt>
                <c:pt idx="2113">
                  <c:v>42989</c:v>
                </c:pt>
                <c:pt idx="2114">
                  <c:v>42990</c:v>
                </c:pt>
                <c:pt idx="2115">
                  <c:v>42991</c:v>
                </c:pt>
                <c:pt idx="2116">
                  <c:v>42992</c:v>
                </c:pt>
                <c:pt idx="2117">
                  <c:v>42993</c:v>
                </c:pt>
                <c:pt idx="2118">
                  <c:v>42996</c:v>
                </c:pt>
                <c:pt idx="2119">
                  <c:v>42997</c:v>
                </c:pt>
                <c:pt idx="2120">
                  <c:v>42998</c:v>
                </c:pt>
                <c:pt idx="2121">
                  <c:v>42999</c:v>
                </c:pt>
                <c:pt idx="2122">
                  <c:v>43000</c:v>
                </c:pt>
                <c:pt idx="2123">
                  <c:v>43003</c:v>
                </c:pt>
                <c:pt idx="2124">
                  <c:v>43004</c:v>
                </c:pt>
                <c:pt idx="2125">
                  <c:v>43005</c:v>
                </c:pt>
                <c:pt idx="2126">
                  <c:v>43006</c:v>
                </c:pt>
                <c:pt idx="2127">
                  <c:v>43007</c:v>
                </c:pt>
                <c:pt idx="2128">
                  <c:v>43017</c:v>
                </c:pt>
                <c:pt idx="2129">
                  <c:v>43018</c:v>
                </c:pt>
                <c:pt idx="2130">
                  <c:v>43019</c:v>
                </c:pt>
                <c:pt idx="2131">
                  <c:v>43020</c:v>
                </c:pt>
                <c:pt idx="2132">
                  <c:v>43021</c:v>
                </c:pt>
                <c:pt idx="2133">
                  <c:v>43024</c:v>
                </c:pt>
                <c:pt idx="2134">
                  <c:v>43025</c:v>
                </c:pt>
                <c:pt idx="2135">
                  <c:v>43026</c:v>
                </c:pt>
                <c:pt idx="2136">
                  <c:v>43027</c:v>
                </c:pt>
                <c:pt idx="2137">
                  <c:v>43028</c:v>
                </c:pt>
                <c:pt idx="2138">
                  <c:v>43031</c:v>
                </c:pt>
                <c:pt idx="2139">
                  <c:v>43032</c:v>
                </c:pt>
                <c:pt idx="2140">
                  <c:v>43033</c:v>
                </c:pt>
                <c:pt idx="2141">
                  <c:v>43034</c:v>
                </c:pt>
                <c:pt idx="2142">
                  <c:v>43035</c:v>
                </c:pt>
                <c:pt idx="2143">
                  <c:v>43038</c:v>
                </c:pt>
                <c:pt idx="2144">
                  <c:v>43039</c:v>
                </c:pt>
                <c:pt idx="2145">
                  <c:v>43040</c:v>
                </c:pt>
                <c:pt idx="2146">
                  <c:v>43041</c:v>
                </c:pt>
                <c:pt idx="2147">
                  <c:v>43042</c:v>
                </c:pt>
                <c:pt idx="2148">
                  <c:v>43045</c:v>
                </c:pt>
                <c:pt idx="2149">
                  <c:v>43046</c:v>
                </c:pt>
                <c:pt idx="2150">
                  <c:v>43047</c:v>
                </c:pt>
                <c:pt idx="2151">
                  <c:v>43048</c:v>
                </c:pt>
                <c:pt idx="2152">
                  <c:v>43049</c:v>
                </c:pt>
                <c:pt idx="2153">
                  <c:v>43052</c:v>
                </c:pt>
                <c:pt idx="2154">
                  <c:v>43053</c:v>
                </c:pt>
                <c:pt idx="2155">
                  <c:v>43054</c:v>
                </c:pt>
                <c:pt idx="2156">
                  <c:v>43055</c:v>
                </c:pt>
                <c:pt idx="2157">
                  <c:v>43056</c:v>
                </c:pt>
                <c:pt idx="2158">
                  <c:v>43059</c:v>
                </c:pt>
                <c:pt idx="2159">
                  <c:v>43060</c:v>
                </c:pt>
                <c:pt idx="2160">
                  <c:v>43061</c:v>
                </c:pt>
                <c:pt idx="2161">
                  <c:v>43062</c:v>
                </c:pt>
                <c:pt idx="2162">
                  <c:v>43063</c:v>
                </c:pt>
                <c:pt idx="2163">
                  <c:v>43066</c:v>
                </c:pt>
                <c:pt idx="2164">
                  <c:v>43067</c:v>
                </c:pt>
                <c:pt idx="2165">
                  <c:v>43068</c:v>
                </c:pt>
                <c:pt idx="2166">
                  <c:v>43069</c:v>
                </c:pt>
                <c:pt idx="2167">
                  <c:v>43070</c:v>
                </c:pt>
                <c:pt idx="2168">
                  <c:v>43073</c:v>
                </c:pt>
                <c:pt idx="2169">
                  <c:v>43074</c:v>
                </c:pt>
                <c:pt idx="2170">
                  <c:v>43075</c:v>
                </c:pt>
                <c:pt idx="2171">
                  <c:v>43076</c:v>
                </c:pt>
                <c:pt idx="2172">
                  <c:v>43077</c:v>
                </c:pt>
                <c:pt idx="2173">
                  <c:v>43080</c:v>
                </c:pt>
                <c:pt idx="2174">
                  <c:v>43081</c:v>
                </c:pt>
                <c:pt idx="2175">
                  <c:v>43082</c:v>
                </c:pt>
                <c:pt idx="2176">
                  <c:v>43083</c:v>
                </c:pt>
                <c:pt idx="2177">
                  <c:v>43084</c:v>
                </c:pt>
                <c:pt idx="2178">
                  <c:v>43087</c:v>
                </c:pt>
                <c:pt idx="2179">
                  <c:v>43088</c:v>
                </c:pt>
                <c:pt idx="2180">
                  <c:v>43089</c:v>
                </c:pt>
                <c:pt idx="2181">
                  <c:v>43090</c:v>
                </c:pt>
                <c:pt idx="2182">
                  <c:v>43091</c:v>
                </c:pt>
                <c:pt idx="2183">
                  <c:v>43094</c:v>
                </c:pt>
                <c:pt idx="2184">
                  <c:v>43095</c:v>
                </c:pt>
                <c:pt idx="2185">
                  <c:v>43096</c:v>
                </c:pt>
                <c:pt idx="2186">
                  <c:v>43097</c:v>
                </c:pt>
                <c:pt idx="2187">
                  <c:v>43098</c:v>
                </c:pt>
                <c:pt idx="2188">
                  <c:v>43102</c:v>
                </c:pt>
                <c:pt idx="2189">
                  <c:v>43103</c:v>
                </c:pt>
                <c:pt idx="2190">
                  <c:v>43104</c:v>
                </c:pt>
                <c:pt idx="2191">
                  <c:v>43105</c:v>
                </c:pt>
                <c:pt idx="2192">
                  <c:v>43108</c:v>
                </c:pt>
                <c:pt idx="2193">
                  <c:v>43109</c:v>
                </c:pt>
                <c:pt idx="2194">
                  <c:v>43110</c:v>
                </c:pt>
                <c:pt idx="2195">
                  <c:v>43111</c:v>
                </c:pt>
                <c:pt idx="2196">
                  <c:v>43112</c:v>
                </c:pt>
                <c:pt idx="2197">
                  <c:v>43115</c:v>
                </c:pt>
                <c:pt idx="2198">
                  <c:v>43116</c:v>
                </c:pt>
                <c:pt idx="2199">
                  <c:v>43117</c:v>
                </c:pt>
                <c:pt idx="2200">
                  <c:v>43118</c:v>
                </c:pt>
                <c:pt idx="2201">
                  <c:v>43119</c:v>
                </c:pt>
                <c:pt idx="2202">
                  <c:v>43122</c:v>
                </c:pt>
                <c:pt idx="2203">
                  <c:v>43123</c:v>
                </c:pt>
                <c:pt idx="2204">
                  <c:v>43124</c:v>
                </c:pt>
                <c:pt idx="2205">
                  <c:v>43125</c:v>
                </c:pt>
                <c:pt idx="2206">
                  <c:v>43126</c:v>
                </c:pt>
                <c:pt idx="2207">
                  <c:v>43129</c:v>
                </c:pt>
                <c:pt idx="2208">
                  <c:v>43130</c:v>
                </c:pt>
                <c:pt idx="2209">
                  <c:v>43131</c:v>
                </c:pt>
                <c:pt idx="2210">
                  <c:v>43132</c:v>
                </c:pt>
                <c:pt idx="2211">
                  <c:v>43133</c:v>
                </c:pt>
                <c:pt idx="2212">
                  <c:v>43136</c:v>
                </c:pt>
                <c:pt idx="2213">
                  <c:v>43137</c:v>
                </c:pt>
                <c:pt idx="2214">
                  <c:v>43138</c:v>
                </c:pt>
                <c:pt idx="2215">
                  <c:v>43139</c:v>
                </c:pt>
                <c:pt idx="2216">
                  <c:v>43140</c:v>
                </c:pt>
                <c:pt idx="2217">
                  <c:v>43143</c:v>
                </c:pt>
                <c:pt idx="2218">
                  <c:v>43144</c:v>
                </c:pt>
                <c:pt idx="2219">
                  <c:v>43145</c:v>
                </c:pt>
                <c:pt idx="2220">
                  <c:v>43153</c:v>
                </c:pt>
                <c:pt idx="2221">
                  <c:v>43154</c:v>
                </c:pt>
                <c:pt idx="2222">
                  <c:v>43157</c:v>
                </c:pt>
                <c:pt idx="2223">
                  <c:v>43158</c:v>
                </c:pt>
                <c:pt idx="2224">
                  <c:v>43159</c:v>
                </c:pt>
                <c:pt idx="2225">
                  <c:v>43160</c:v>
                </c:pt>
                <c:pt idx="2226">
                  <c:v>43161</c:v>
                </c:pt>
                <c:pt idx="2227">
                  <c:v>43164</c:v>
                </c:pt>
                <c:pt idx="2228">
                  <c:v>43165</c:v>
                </c:pt>
                <c:pt idx="2229">
                  <c:v>43166</c:v>
                </c:pt>
                <c:pt idx="2230">
                  <c:v>43167</c:v>
                </c:pt>
                <c:pt idx="2231">
                  <c:v>43168</c:v>
                </c:pt>
                <c:pt idx="2232">
                  <c:v>43171</c:v>
                </c:pt>
                <c:pt idx="2233">
                  <c:v>43172</c:v>
                </c:pt>
                <c:pt idx="2234">
                  <c:v>43173</c:v>
                </c:pt>
                <c:pt idx="2235">
                  <c:v>43174</c:v>
                </c:pt>
                <c:pt idx="2236">
                  <c:v>43175</c:v>
                </c:pt>
                <c:pt idx="2237">
                  <c:v>43178</c:v>
                </c:pt>
                <c:pt idx="2238">
                  <c:v>43179</c:v>
                </c:pt>
                <c:pt idx="2239">
                  <c:v>43180</c:v>
                </c:pt>
                <c:pt idx="2240">
                  <c:v>43181</c:v>
                </c:pt>
                <c:pt idx="2241">
                  <c:v>43182</c:v>
                </c:pt>
                <c:pt idx="2242">
                  <c:v>43185</c:v>
                </c:pt>
                <c:pt idx="2243">
                  <c:v>43186</c:v>
                </c:pt>
                <c:pt idx="2244">
                  <c:v>43187</c:v>
                </c:pt>
                <c:pt idx="2245">
                  <c:v>43188</c:v>
                </c:pt>
                <c:pt idx="2246">
                  <c:v>43189</c:v>
                </c:pt>
                <c:pt idx="2247">
                  <c:v>43192</c:v>
                </c:pt>
                <c:pt idx="2248">
                  <c:v>43193</c:v>
                </c:pt>
                <c:pt idx="2249">
                  <c:v>43194</c:v>
                </c:pt>
                <c:pt idx="2250">
                  <c:v>43199</c:v>
                </c:pt>
                <c:pt idx="2251">
                  <c:v>43200</c:v>
                </c:pt>
                <c:pt idx="2252">
                  <c:v>43201</c:v>
                </c:pt>
                <c:pt idx="2253">
                  <c:v>43202</c:v>
                </c:pt>
                <c:pt idx="2254">
                  <c:v>43203</c:v>
                </c:pt>
                <c:pt idx="2255">
                  <c:v>43206</c:v>
                </c:pt>
                <c:pt idx="2256">
                  <c:v>43207</c:v>
                </c:pt>
                <c:pt idx="2257">
                  <c:v>43208</c:v>
                </c:pt>
                <c:pt idx="2258">
                  <c:v>43209</c:v>
                </c:pt>
                <c:pt idx="2259">
                  <c:v>43210</c:v>
                </c:pt>
                <c:pt idx="2260">
                  <c:v>43213</c:v>
                </c:pt>
                <c:pt idx="2261">
                  <c:v>43214</c:v>
                </c:pt>
                <c:pt idx="2262">
                  <c:v>43215</c:v>
                </c:pt>
                <c:pt idx="2263">
                  <c:v>43216</c:v>
                </c:pt>
                <c:pt idx="2264">
                  <c:v>43217</c:v>
                </c:pt>
                <c:pt idx="2265">
                  <c:v>43222</c:v>
                </c:pt>
                <c:pt idx="2266">
                  <c:v>43223</c:v>
                </c:pt>
                <c:pt idx="2267">
                  <c:v>43224</c:v>
                </c:pt>
                <c:pt idx="2268">
                  <c:v>43227</c:v>
                </c:pt>
                <c:pt idx="2269">
                  <c:v>43228</c:v>
                </c:pt>
                <c:pt idx="2270">
                  <c:v>43229</c:v>
                </c:pt>
                <c:pt idx="2271">
                  <c:v>43230</c:v>
                </c:pt>
                <c:pt idx="2272">
                  <c:v>43231</c:v>
                </c:pt>
                <c:pt idx="2273">
                  <c:v>43234</c:v>
                </c:pt>
                <c:pt idx="2274">
                  <c:v>43235</c:v>
                </c:pt>
                <c:pt idx="2275">
                  <c:v>43236</c:v>
                </c:pt>
                <c:pt idx="2276">
                  <c:v>43237</c:v>
                </c:pt>
                <c:pt idx="2277">
                  <c:v>43238</c:v>
                </c:pt>
                <c:pt idx="2278">
                  <c:v>43241</c:v>
                </c:pt>
                <c:pt idx="2279">
                  <c:v>43242</c:v>
                </c:pt>
                <c:pt idx="2280">
                  <c:v>43243</c:v>
                </c:pt>
                <c:pt idx="2281">
                  <c:v>43244</c:v>
                </c:pt>
                <c:pt idx="2282">
                  <c:v>43245</c:v>
                </c:pt>
                <c:pt idx="2283">
                  <c:v>43248</c:v>
                </c:pt>
                <c:pt idx="2284">
                  <c:v>43249</c:v>
                </c:pt>
                <c:pt idx="2285">
                  <c:v>43250</c:v>
                </c:pt>
                <c:pt idx="2286">
                  <c:v>43251</c:v>
                </c:pt>
                <c:pt idx="2287">
                  <c:v>43252</c:v>
                </c:pt>
                <c:pt idx="2288">
                  <c:v>43255</c:v>
                </c:pt>
                <c:pt idx="2289">
                  <c:v>43256</c:v>
                </c:pt>
                <c:pt idx="2290">
                  <c:v>43257</c:v>
                </c:pt>
                <c:pt idx="2291">
                  <c:v>43258</c:v>
                </c:pt>
                <c:pt idx="2292">
                  <c:v>43259</c:v>
                </c:pt>
                <c:pt idx="2293">
                  <c:v>43262</c:v>
                </c:pt>
                <c:pt idx="2294">
                  <c:v>43263</c:v>
                </c:pt>
                <c:pt idx="2295">
                  <c:v>43264</c:v>
                </c:pt>
                <c:pt idx="2296">
                  <c:v>43265</c:v>
                </c:pt>
                <c:pt idx="2297">
                  <c:v>43266</c:v>
                </c:pt>
                <c:pt idx="2298">
                  <c:v>43270</c:v>
                </c:pt>
                <c:pt idx="2299">
                  <c:v>43271</c:v>
                </c:pt>
                <c:pt idx="2300">
                  <c:v>43272</c:v>
                </c:pt>
                <c:pt idx="2301">
                  <c:v>43273</c:v>
                </c:pt>
                <c:pt idx="2302">
                  <c:v>43276</c:v>
                </c:pt>
                <c:pt idx="2303">
                  <c:v>43277</c:v>
                </c:pt>
                <c:pt idx="2304">
                  <c:v>43278</c:v>
                </c:pt>
                <c:pt idx="2305">
                  <c:v>43279</c:v>
                </c:pt>
                <c:pt idx="2306">
                  <c:v>43280</c:v>
                </c:pt>
                <c:pt idx="2307">
                  <c:v>43283</c:v>
                </c:pt>
                <c:pt idx="2308">
                  <c:v>43284</c:v>
                </c:pt>
                <c:pt idx="2309">
                  <c:v>43285</c:v>
                </c:pt>
                <c:pt idx="2310">
                  <c:v>43286</c:v>
                </c:pt>
                <c:pt idx="2311">
                  <c:v>43287</c:v>
                </c:pt>
                <c:pt idx="2312">
                  <c:v>43290</c:v>
                </c:pt>
                <c:pt idx="2313">
                  <c:v>43291</c:v>
                </c:pt>
                <c:pt idx="2314">
                  <c:v>43292</c:v>
                </c:pt>
                <c:pt idx="2315">
                  <c:v>43293</c:v>
                </c:pt>
                <c:pt idx="2316">
                  <c:v>43294</c:v>
                </c:pt>
                <c:pt idx="2317">
                  <c:v>43297</c:v>
                </c:pt>
                <c:pt idx="2318">
                  <c:v>43298</c:v>
                </c:pt>
                <c:pt idx="2319">
                  <c:v>43299</c:v>
                </c:pt>
                <c:pt idx="2320">
                  <c:v>43300</c:v>
                </c:pt>
                <c:pt idx="2321">
                  <c:v>43301</c:v>
                </c:pt>
                <c:pt idx="2322">
                  <c:v>43304</c:v>
                </c:pt>
                <c:pt idx="2323">
                  <c:v>43305</c:v>
                </c:pt>
                <c:pt idx="2324">
                  <c:v>43306</c:v>
                </c:pt>
                <c:pt idx="2325">
                  <c:v>43307</c:v>
                </c:pt>
                <c:pt idx="2326">
                  <c:v>43308</c:v>
                </c:pt>
                <c:pt idx="2327">
                  <c:v>43311</c:v>
                </c:pt>
                <c:pt idx="2328">
                  <c:v>43312</c:v>
                </c:pt>
                <c:pt idx="2329">
                  <c:v>43313</c:v>
                </c:pt>
                <c:pt idx="2330">
                  <c:v>43314</c:v>
                </c:pt>
                <c:pt idx="2331">
                  <c:v>43315</c:v>
                </c:pt>
                <c:pt idx="2332">
                  <c:v>43318</c:v>
                </c:pt>
                <c:pt idx="2333">
                  <c:v>43319</c:v>
                </c:pt>
                <c:pt idx="2334">
                  <c:v>43320</c:v>
                </c:pt>
                <c:pt idx="2335">
                  <c:v>43321</c:v>
                </c:pt>
                <c:pt idx="2336">
                  <c:v>43322</c:v>
                </c:pt>
                <c:pt idx="2337">
                  <c:v>43325</c:v>
                </c:pt>
                <c:pt idx="2338">
                  <c:v>43326</c:v>
                </c:pt>
                <c:pt idx="2339">
                  <c:v>43327</c:v>
                </c:pt>
                <c:pt idx="2340">
                  <c:v>43328</c:v>
                </c:pt>
                <c:pt idx="2341">
                  <c:v>43329</c:v>
                </c:pt>
                <c:pt idx="2342">
                  <c:v>43332</c:v>
                </c:pt>
                <c:pt idx="2343">
                  <c:v>43333</c:v>
                </c:pt>
                <c:pt idx="2344">
                  <c:v>43334</c:v>
                </c:pt>
                <c:pt idx="2345">
                  <c:v>43335</c:v>
                </c:pt>
                <c:pt idx="2346">
                  <c:v>43336</c:v>
                </c:pt>
                <c:pt idx="2347">
                  <c:v>43339</c:v>
                </c:pt>
                <c:pt idx="2348">
                  <c:v>43340</c:v>
                </c:pt>
                <c:pt idx="2349">
                  <c:v>43341</c:v>
                </c:pt>
                <c:pt idx="2350">
                  <c:v>43342</c:v>
                </c:pt>
                <c:pt idx="2351">
                  <c:v>43343</c:v>
                </c:pt>
                <c:pt idx="2352">
                  <c:v>43346</c:v>
                </c:pt>
                <c:pt idx="2353">
                  <c:v>43347</c:v>
                </c:pt>
                <c:pt idx="2354">
                  <c:v>43348</c:v>
                </c:pt>
                <c:pt idx="2355">
                  <c:v>43349</c:v>
                </c:pt>
                <c:pt idx="2356">
                  <c:v>43350</c:v>
                </c:pt>
                <c:pt idx="2357">
                  <c:v>43353</c:v>
                </c:pt>
                <c:pt idx="2358">
                  <c:v>43354</c:v>
                </c:pt>
                <c:pt idx="2359">
                  <c:v>43355</c:v>
                </c:pt>
                <c:pt idx="2360">
                  <c:v>43356</c:v>
                </c:pt>
                <c:pt idx="2361">
                  <c:v>43357</c:v>
                </c:pt>
                <c:pt idx="2362">
                  <c:v>43360</c:v>
                </c:pt>
                <c:pt idx="2363">
                  <c:v>43361</c:v>
                </c:pt>
                <c:pt idx="2364">
                  <c:v>43362</c:v>
                </c:pt>
                <c:pt idx="2365">
                  <c:v>43363</c:v>
                </c:pt>
                <c:pt idx="2366">
                  <c:v>43364</c:v>
                </c:pt>
                <c:pt idx="2367">
                  <c:v>43368</c:v>
                </c:pt>
                <c:pt idx="2368">
                  <c:v>43369</c:v>
                </c:pt>
                <c:pt idx="2369">
                  <c:v>43370</c:v>
                </c:pt>
                <c:pt idx="2370">
                  <c:v>43371</c:v>
                </c:pt>
                <c:pt idx="2371">
                  <c:v>43381</c:v>
                </c:pt>
                <c:pt idx="2372">
                  <c:v>43382</c:v>
                </c:pt>
                <c:pt idx="2373">
                  <c:v>43383</c:v>
                </c:pt>
                <c:pt idx="2374">
                  <c:v>43384</c:v>
                </c:pt>
                <c:pt idx="2375">
                  <c:v>43385</c:v>
                </c:pt>
                <c:pt idx="2376">
                  <c:v>43388</c:v>
                </c:pt>
                <c:pt idx="2377">
                  <c:v>43389</c:v>
                </c:pt>
                <c:pt idx="2378">
                  <c:v>43390</c:v>
                </c:pt>
                <c:pt idx="2379">
                  <c:v>43391</c:v>
                </c:pt>
                <c:pt idx="2380">
                  <c:v>43392</c:v>
                </c:pt>
                <c:pt idx="2381">
                  <c:v>43395</c:v>
                </c:pt>
                <c:pt idx="2382">
                  <c:v>43396</c:v>
                </c:pt>
                <c:pt idx="2383">
                  <c:v>43397</c:v>
                </c:pt>
                <c:pt idx="2384">
                  <c:v>43398</c:v>
                </c:pt>
                <c:pt idx="2385">
                  <c:v>43399</c:v>
                </c:pt>
                <c:pt idx="2386">
                  <c:v>43402</c:v>
                </c:pt>
                <c:pt idx="2387">
                  <c:v>43403</c:v>
                </c:pt>
                <c:pt idx="2388">
                  <c:v>43404</c:v>
                </c:pt>
                <c:pt idx="2389">
                  <c:v>43405</c:v>
                </c:pt>
                <c:pt idx="2390">
                  <c:v>43406</c:v>
                </c:pt>
                <c:pt idx="2391">
                  <c:v>43409</c:v>
                </c:pt>
                <c:pt idx="2392">
                  <c:v>43410</c:v>
                </c:pt>
                <c:pt idx="2393">
                  <c:v>43411</c:v>
                </c:pt>
                <c:pt idx="2394">
                  <c:v>43412</c:v>
                </c:pt>
                <c:pt idx="2395">
                  <c:v>43413</c:v>
                </c:pt>
                <c:pt idx="2396">
                  <c:v>43416</c:v>
                </c:pt>
                <c:pt idx="2397">
                  <c:v>43417</c:v>
                </c:pt>
                <c:pt idx="2398">
                  <c:v>43418</c:v>
                </c:pt>
                <c:pt idx="2399">
                  <c:v>43419</c:v>
                </c:pt>
                <c:pt idx="2400">
                  <c:v>43420</c:v>
                </c:pt>
                <c:pt idx="2401">
                  <c:v>43423</c:v>
                </c:pt>
                <c:pt idx="2402">
                  <c:v>43424</c:v>
                </c:pt>
                <c:pt idx="2403">
                  <c:v>43425</c:v>
                </c:pt>
                <c:pt idx="2404">
                  <c:v>43426</c:v>
                </c:pt>
                <c:pt idx="2405">
                  <c:v>43427</c:v>
                </c:pt>
                <c:pt idx="2406">
                  <c:v>43430</c:v>
                </c:pt>
                <c:pt idx="2407">
                  <c:v>43431</c:v>
                </c:pt>
                <c:pt idx="2408">
                  <c:v>43432</c:v>
                </c:pt>
                <c:pt idx="2409">
                  <c:v>43433</c:v>
                </c:pt>
                <c:pt idx="2410">
                  <c:v>43434</c:v>
                </c:pt>
                <c:pt idx="2411">
                  <c:v>43437</c:v>
                </c:pt>
                <c:pt idx="2412">
                  <c:v>43438</c:v>
                </c:pt>
                <c:pt idx="2413">
                  <c:v>43439</c:v>
                </c:pt>
                <c:pt idx="2414">
                  <c:v>43440</c:v>
                </c:pt>
                <c:pt idx="2415">
                  <c:v>43441</c:v>
                </c:pt>
                <c:pt idx="2416">
                  <c:v>43444</c:v>
                </c:pt>
                <c:pt idx="2417">
                  <c:v>43445</c:v>
                </c:pt>
                <c:pt idx="2418">
                  <c:v>43446</c:v>
                </c:pt>
                <c:pt idx="2419">
                  <c:v>43447</c:v>
                </c:pt>
                <c:pt idx="2420">
                  <c:v>43448</c:v>
                </c:pt>
                <c:pt idx="2421">
                  <c:v>43451</c:v>
                </c:pt>
                <c:pt idx="2422">
                  <c:v>43452</c:v>
                </c:pt>
                <c:pt idx="2423">
                  <c:v>43453</c:v>
                </c:pt>
                <c:pt idx="2424">
                  <c:v>43454</c:v>
                </c:pt>
                <c:pt idx="2425">
                  <c:v>43455</c:v>
                </c:pt>
                <c:pt idx="2426">
                  <c:v>43458</c:v>
                </c:pt>
                <c:pt idx="2427">
                  <c:v>43459</c:v>
                </c:pt>
                <c:pt idx="2428">
                  <c:v>43460</c:v>
                </c:pt>
                <c:pt idx="2429">
                  <c:v>43461</c:v>
                </c:pt>
                <c:pt idx="2430">
                  <c:v>43462</c:v>
                </c:pt>
                <c:pt idx="2431">
                  <c:v>43467</c:v>
                </c:pt>
                <c:pt idx="2432">
                  <c:v>43468</c:v>
                </c:pt>
                <c:pt idx="2433">
                  <c:v>43469</c:v>
                </c:pt>
                <c:pt idx="2434">
                  <c:v>43472</c:v>
                </c:pt>
                <c:pt idx="2435">
                  <c:v>43473</c:v>
                </c:pt>
                <c:pt idx="2436">
                  <c:v>43474</c:v>
                </c:pt>
                <c:pt idx="2437">
                  <c:v>43475</c:v>
                </c:pt>
                <c:pt idx="2438">
                  <c:v>43476</c:v>
                </c:pt>
                <c:pt idx="2439">
                  <c:v>43479</c:v>
                </c:pt>
                <c:pt idx="2440">
                  <c:v>43480</c:v>
                </c:pt>
                <c:pt idx="2441">
                  <c:v>43481</c:v>
                </c:pt>
                <c:pt idx="2442">
                  <c:v>43482</c:v>
                </c:pt>
                <c:pt idx="2443">
                  <c:v>43483</c:v>
                </c:pt>
                <c:pt idx="2444">
                  <c:v>43486</c:v>
                </c:pt>
                <c:pt idx="2445">
                  <c:v>43487</c:v>
                </c:pt>
                <c:pt idx="2446">
                  <c:v>43488</c:v>
                </c:pt>
                <c:pt idx="2447">
                  <c:v>43489</c:v>
                </c:pt>
                <c:pt idx="2448">
                  <c:v>43490</c:v>
                </c:pt>
                <c:pt idx="2449">
                  <c:v>43493</c:v>
                </c:pt>
                <c:pt idx="2450">
                  <c:v>43494</c:v>
                </c:pt>
                <c:pt idx="2451">
                  <c:v>43495</c:v>
                </c:pt>
                <c:pt idx="2452">
                  <c:v>43496</c:v>
                </c:pt>
                <c:pt idx="2453">
                  <c:v>43497</c:v>
                </c:pt>
                <c:pt idx="2454">
                  <c:v>43507</c:v>
                </c:pt>
                <c:pt idx="2455">
                  <c:v>43508</c:v>
                </c:pt>
                <c:pt idx="2456">
                  <c:v>43509</c:v>
                </c:pt>
                <c:pt idx="2457">
                  <c:v>43510</c:v>
                </c:pt>
                <c:pt idx="2458">
                  <c:v>43511</c:v>
                </c:pt>
                <c:pt idx="2459">
                  <c:v>43514</c:v>
                </c:pt>
                <c:pt idx="2460">
                  <c:v>43515</c:v>
                </c:pt>
                <c:pt idx="2461">
                  <c:v>43516</c:v>
                </c:pt>
                <c:pt idx="2462">
                  <c:v>43517</c:v>
                </c:pt>
                <c:pt idx="2463">
                  <c:v>43518</c:v>
                </c:pt>
                <c:pt idx="2464">
                  <c:v>43521</c:v>
                </c:pt>
                <c:pt idx="2465">
                  <c:v>43522</c:v>
                </c:pt>
                <c:pt idx="2466">
                  <c:v>43523</c:v>
                </c:pt>
                <c:pt idx="2467">
                  <c:v>43524</c:v>
                </c:pt>
                <c:pt idx="2468">
                  <c:v>43525</c:v>
                </c:pt>
                <c:pt idx="2469">
                  <c:v>43528</c:v>
                </c:pt>
                <c:pt idx="2470">
                  <c:v>43529</c:v>
                </c:pt>
                <c:pt idx="2471">
                  <c:v>43530</c:v>
                </c:pt>
                <c:pt idx="2472">
                  <c:v>43531</c:v>
                </c:pt>
                <c:pt idx="2473">
                  <c:v>43532</c:v>
                </c:pt>
                <c:pt idx="2474">
                  <c:v>43535</c:v>
                </c:pt>
                <c:pt idx="2475">
                  <c:v>43536</c:v>
                </c:pt>
                <c:pt idx="2476">
                  <c:v>43537</c:v>
                </c:pt>
                <c:pt idx="2477">
                  <c:v>43538</c:v>
                </c:pt>
                <c:pt idx="2478">
                  <c:v>43539</c:v>
                </c:pt>
                <c:pt idx="2479">
                  <c:v>43542</c:v>
                </c:pt>
                <c:pt idx="2480">
                  <c:v>43543</c:v>
                </c:pt>
                <c:pt idx="2481">
                  <c:v>43544</c:v>
                </c:pt>
                <c:pt idx="2482">
                  <c:v>43545</c:v>
                </c:pt>
                <c:pt idx="2483">
                  <c:v>43546</c:v>
                </c:pt>
                <c:pt idx="2484">
                  <c:v>43549</c:v>
                </c:pt>
                <c:pt idx="2485">
                  <c:v>43550</c:v>
                </c:pt>
                <c:pt idx="2486">
                  <c:v>43551</c:v>
                </c:pt>
                <c:pt idx="2487">
                  <c:v>43552</c:v>
                </c:pt>
                <c:pt idx="2488">
                  <c:v>43553</c:v>
                </c:pt>
                <c:pt idx="2489">
                  <c:v>43556</c:v>
                </c:pt>
                <c:pt idx="2490">
                  <c:v>43557</c:v>
                </c:pt>
                <c:pt idx="2491">
                  <c:v>43558</c:v>
                </c:pt>
                <c:pt idx="2492">
                  <c:v>43559</c:v>
                </c:pt>
                <c:pt idx="2493">
                  <c:v>43563</c:v>
                </c:pt>
                <c:pt idx="2494">
                  <c:v>43564</c:v>
                </c:pt>
                <c:pt idx="2495">
                  <c:v>43565</c:v>
                </c:pt>
                <c:pt idx="2496">
                  <c:v>43566</c:v>
                </c:pt>
                <c:pt idx="2497">
                  <c:v>43567</c:v>
                </c:pt>
                <c:pt idx="2498">
                  <c:v>43570</c:v>
                </c:pt>
                <c:pt idx="2499">
                  <c:v>43571</c:v>
                </c:pt>
                <c:pt idx="2500">
                  <c:v>43572</c:v>
                </c:pt>
                <c:pt idx="2501">
                  <c:v>43573</c:v>
                </c:pt>
                <c:pt idx="2502">
                  <c:v>43574</c:v>
                </c:pt>
                <c:pt idx="2503">
                  <c:v>43577</c:v>
                </c:pt>
                <c:pt idx="2504">
                  <c:v>43578</c:v>
                </c:pt>
                <c:pt idx="2505">
                  <c:v>43579</c:v>
                </c:pt>
                <c:pt idx="2506">
                  <c:v>43580</c:v>
                </c:pt>
                <c:pt idx="2507">
                  <c:v>43581</c:v>
                </c:pt>
                <c:pt idx="2508">
                  <c:v>43584</c:v>
                </c:pt>
                <c:pt idx="2509">
                  <c:v>43585</c:v>
                </c:pt>
                <c:pt idx="2510">
                  <c:v>43591</c:v>
                </c:pt>
                <c:pt idx="2511">
                  <c:v>43592</c:v>
                </c:pt>
                <c:pt idx="2512">
                  <c:v>43593</c:v>
                </c:pt>
                <c:pt idx="2513">
                  <c:v>43594</c:v>
                </c:pt>
                <c:pt idx="2514">
                  <c:v>43595</c:v>
                </c:pt>
                <c:pt idx="2515">
                  <c:v>43598</c:v>
                </c:pt>
                <c:pt idx="2516">
                  <c:v>43599</c:v>
                </c:pt>
                <c:pt idx="2517">
                  <c:v>43600</c:v>
                </c:pt>
                <c:pt idx="2518">
                  <c:v>43601</c:v>
                </c:pt>
                <c:pt idx="2519">
                  <c:v>43602</c:v>
                </c:pt>
                <c:pt idx="2520">
                  <c:v>43605</c:v>
                </c:pt>
                <c:pt idx="2521">
                  <c:v>43606</c:v>
                </c:pt>
                <c:pt idx="2522">
                  <c:v>43607</c:v>
                </c:pt>
                <c:pt idx="2523">
                  <c:v>43608</c:v>
                </c:pt>
                <c:pt idx="2524">
                  <c:v>43609</c:v>
                </c:pt>
                <c:pt idx="2525">
                  <c:v>43612</c:v>
                </c:pt>
                <c:pt idx="2526">
                  <c:v>43613</c:v>
                </c:pt>
                <c:pt idx="2527">
                  <c:v>43614</c:v>
                </c:pt>
                <c:pt idx="2528">
                  <c:v>43615</c:v>
                </c:pt>
                <c:pt idx="2529">
                  <c:v>43616</c:v>
                </c:pt>
                <c:pt idx="2530">
                  <c:v>43619</c:v>
                </c:pt>
                <c:pt idx="2531">
                  <c:v>43620</c:v>
                </c:pt>
                <c:pt idx="2532">
                  <c:v>43621</c:v>
                </c:pt>
                <c:pt idx="2533">
                  <c:v>43622</c:v>
                </c:pt>
                <c:pt idx="2534">
                  <c:v>43626</c:v>
                </c:pt>
                <c:pt idx="2535">
                  <c:v>43627</c:v>
                </c:pt>
                <c:pt idx="2536">
                  <c:v>43628</c:v>
                </c:pt>
                <c:pt idx="2537">
                  <c:v>43629</c:v>
                </c:pt>
                <c:pt idx="2538">
                  <c:v>43630</c:v>
                </c:pt>
                <c:pt idx="2539">
                  <c:v>43633</c:v>
                </c:pt>
                <c:pt idx="2540">
                  <c:v>43634</c:v>
                </c:pt>
                <c:pt idx="2541">
                  <c:v>43635</c:v>
                </c:pt>
                <c:pt idx="2542">
                  <c:v>43636</c:v>
                </c:pt>
                <c:pt idx="2543">
                  <c:v>43637</c:v>
                </c:pt>
                <c:pt idx="2544">
                  <c:v>43640</c:v>
                </c:pt>
                <c:pt idx="2545">
                  <c:v>43641</c:v>
                </c:pt>
                <c:pt idx="2546">
                  <c:v>43642</c:v>
                </c:pt>
                <c:pt idx="2547">
                  <c:v>43643</c:v>
                </c:pt>
                <c:pt idx="2548">
                  <c:v>43644</c:v>
                </c:pt>
                <c:pt idx="2549">
                  <c:v>43647</c:v>
                </c:pt>
                <c:pt idx="2550">
                  <c:v>43648</c:v>
                </c:pt>
                <c:pt idx="2551">
                  <c:v>43649</c:v>
                </c:pt>
                <c:pt idx="2552">
                  <c:v>43650</c:v>
                </c:pt>
                <c:pt idx="2553">
                  <c:v>43651</c:v>
                </c:pt>
                <c:pt idx="2554">
                  <c:v>43654</c:v>
                </c:pt>
                <c:pt idx="2555">
                  <c:v>43655</c:v>
                </c:pt>
                <c:pt idx="2556">
                  <c:v>43656</c:v>
                </c:pt>
                <c:pt idx="2557">
                  <c:v>43657</c:v>
                </c:pt>
                <c:pt idx="2558">
                  <c:v>43658</c:v>
                </c:pt>
                <c:pt idx="2559">
                  <c:v>43661</c:v>
                </c:pt>
                <c:pt idx="2560">
                  <c:v>43662</c:v>
                </c:pt>
                <c:pt idx="2561">
                  <c:v>43663</c:v>
                </c:pt>
                <c:pt idx="2562">
                  <c:v>43664</c:v>
                </c:pt>
                <c:pt idx="2563">
                  <c:v>43665</c:v>
                </c:pt>
                <c:pt idx="2564">
                  <c:v>43668</c:v>
                </c:pt>
                <c:pt idx="2565">
                  <c:v>43669</c:v>
                </c:pt>
                <c:pt idx="2566">
                  <c:v>43670</c:v>
                </c:pt>
                <c:pt idx="2567">
                  <c:v>43671</c:v>
                </c:pt>
                <c:pt idx="2568">
                  <c:v>43672</c:v>
                </c:pt>
                <c:pt idx="2569">
                  <c:v>43675</c:v>
                </c:pt>
                <c:pt idx="2570">
                  <c:v>43676</c:v>
                </c:pt>
                <c:pt idx="2571">
                  <c:v>43677</c:v>
                </c:pt>
                <c:pt idx="2572">
                  <c:v>43678</c:v>
                </c:pt>
                <c:pt idx="2573">
                  <c:v>43679</c:v>
                </c:pt>
                <c:pt idx="2574">
                  <c:v>43682</c:v>
                </c:pt>
                <c:pt idx="2575">
                  <c:v>43683</c:v>
                </c:pt>
                <c:pt idx="2576">
                  <c:v>43684</c:v>
                </c:pt>
                <c:pt idx="2577">
                  <c:v>43685</c:v>
                </c:pt>
                <c:pt idx="2578">
                  <c:v>43686</c:v>
                </c:pt>
                <c:pt idx="2579">
                  <c:v>43689</c:v>
                </c:pt>
                <c:pt idx="2580">
                  <c:v>43690</c:v>
                </c:pt>
                <c:pt idx="2581">
                  <c:v>43691</c:v>
                </c:pt>
                <c:pt idx="2582">
                  <c:v>43692</c:v>
                </c:pt>
                <c:pt idx="2583">
                  <c:v>43693</c:v>
                </c:pt>
                <c:pt idx="2584">
                  <c:v>43696</c:v>
                </c:pt>
                <c:pt idx="2585">
                  <c:v>43697</c:v>
                </c:pt>
                <c:pt idx="2586">
                  <c:v>43698</c:v>
                </c:pt>
                <c:pt idx="2587">
                  <c:v>43699</c:v>
                </c:pt>
                <c:pt idx="2588">
                  <c:v>43700</c:v>
                </c:pt>
                <c:pt idx="2589">
                  <c:v>43703</c:v>
                </c:pt>
                <c:pt idx="2590">
                  <c:v>43704</c:v>
                </c:pt>
                <c:pt idx="2591">
                  <c:v>43705</c:v>
                </c:pt>
                <c:pt idx="2592">
                  <c:v>43706</c:v>
                </c:pt>
                <c:pt idx="2593">
                  <c:v>43707</c:v>
                </c:pt>
                <c:pt idx="2594">
                  <c:v>43710</c:v>
                </c:pt>
                <c:pt idx="2595">
                  <c:v>43711</c:v>
                </c:pt>
                <c:pt idx="2596">
                  <c:v>43712</c:v>
                </c:pt>
                <c:pt idx="2597">
                  <c:v>43713</c:v>
                </c:pt>
                <c:pt idx="2598">
                  <c:v>43714</c:v>
                </c:pt>
                <c:pt idx="2599">
                  <c:v>43717</c:v>
                </c:pt>
                <c:pt idx="2600">
                  <c:v>43718</c:v>
                </c:pt>
                <c:pt idx="2601">
                  <c:v>43719</c:v>
                </c:pt>
                <c:pt idx="2602">
                  <c:v>43720</c:v>
                </c:pt>
                <c:pt idx="2603">
                  <c:v>43724</c:v>
                </c:pt>
                <c:pt idx="2604">
                  <c:v>43725</c:v>
                </c:pt>
                <c:pt idx="2605">
                  <c:v>43726</c:v>
                </c:pt>
                <c:pt idx="2606">
                  <c:v>43727</c:v>
                </c:pt>
                <c:pt idx="2607">
                  <c:v>43728</c:v>
                </c:pt>
                <c:pt idx="2608">
                  <c:v>43731</c:v>
                </c:pt>
                <c:pt idx="2609">
                  <c:v>43732</c:v>
                </c:pt>
                <c:pt idx="2610">
                  <c:v>43733</c:v>
                </c:pt>
                <c:pt idx="2611">
                  <c:v>43734</c:v>
                </c:pt>
                <c:pt idx="2612">
                  <c:v>43735</c:v>
                </c:pt>
                <c:pt idx="2613">
                  <c:v>43738</c:v>
                </c:pt>
                <c:pt idx="2614">
                  <c:v>43746</c:v>
                </c:pt>
                <c:pt idx="2615">
                  <c:v>43747</c:v>
                </c:pt>
                <c:pt idx="2616">
                  <c:v>43748</c:v>
                </c:pt>
                <c:pt idx="2617">
                  <c:v>43749</c:v>
                </c:pt>
                <c:pt idx="2618">
                  <c:v>43752</c:v>
                </c:pt>
                <c:pt idx="2619">
                  <c:v>43753</c:v>
                </c:pt>
                <c:pt idx="2620">
                  <c:v>43754</c:v>
                </c:pt>
                <c:pt idx="2621">
                  <c:v>43755</c:v>
                </c:pt>
                <c:pt idx="2622">
                  <c:v>43756</c:v>
                </c:pt>
                <c:pt idx="2623">
                  <c:v>43759</c:v>
                </c:pt>
                <c:pt idx="2624">
                  <c:v>43760</c:v>
                </c:pt>
                <c:pt idx="2625">
                  <c:v>43761</c:v>
                </c:pt>
                <c:pt idx="2626">
                  <c:v>43762</c:v>
                </c:pt>
                <c:pt idx="2627">
                  <c:v>43763</c:v>
                </c:pt>
                <c:pt idx="2628">
                  <c:v>43766</c:v>
                </c:pt>
                <c:pt idx="2629">
                  <c:v>43767</c:v>
                </c:pt>
                <c:pt idx="2630">
                  <c:v>43768</c:v>
                </c:pt>
                <c:pt idx="2631">
                  <c:v>43769</c:v>
                </c:pt>
                <c:pt idx="2632">
                  <c:v>43770</c:v>
                </c:pt>
                <c:pt idx="2633">
                  <c:v>43773</c:v>
                </c:pt>
                <c:pt idx="2634">
                  <c:v>43774</c:v>
                </c:pt>
                <c:pt idx="2635">
                  <c:v>43775</c:v>
                </c:pt>
                <c:pt idx="2636">
                  <c:v>43776</c:v>
                </c:pt>
                <c:pt idx="2637">
                  <c:v>43777</c:v>
                </c:pt>
                <c:pt idx="2638">
                  <c:v>43780</c:v>
                </c:pt>
                <c:pt idx="2639">
                  <c:v>43781</c:v>
                </c:pt>
                <c:pt idx="2640">
                  <c:v>43782</c:v>
                </c:pt>
                <c:pt idx="2641">
                  <c:v>43783</c:v>
                </c:pt>
                <c:pt idx="2642">
                  <c:v>43784</c:v>
                </c:pt>
                <c:pt idx="2643">
                  <c:v>43787</c:v>
                </c:pt>
                <c:pt idx="2644">
                  <c:v>43788</c:v>
                </c:pt>
                <c:pt idx="2645">
                  <c:v>43789</c:v>
                </c:pt>
                <c:pt idx="2646">
                  <c:v>43790</c:v>
                </c:pt>
                <c:pt idx="2647">
                  <c:v>43791</c:v>
                </c:pt>
                <c:pt idx="2648">
                  <c:v>43794</c:v>
                </c:pt>
                <c:pt idx="2649">
                  <c:v>43795</c:v>
                </c:pt>
                <c:pt idx="2650">
                  <c:v>43796</c:v>
                </c:pt>
                <c:pt idx="2651">
                  <c:v>43797</c:v>
                </c:pt>
                <c:pt idx="2652">
                  <c:v>43798</c:v>
                </c:pt>
                <c:pt idx="2653">
                  <c:v>43801</c:v>
                </c:pt>
                <c:pt idx="2654">
                  <c:v>43802</c:v>
                </c:pt>
                <c:pt idx="2655">
                  <c:v>43803</c:v>
                </c:pt>
                <c:pt idx="2656">
                  <c:v>43804</c:v>
                </c:pt>
                <c:pt idx="2657">
                  <c:v>43805</c:v>
                </c:pt>
                <c:pt idx="2658">
                  <c:v>43808</c:v>
                </c:pt>
                <c:pt idx="2659">
                  <c:v>43809</c:v>
                </c:pt>
                <c:pt idx="2660">
                  <c:v>43810</c:v>
                </c:pt>
                <c:pt idx="2661">
                  <c:v>43811</c:v>
                </c:pt>
                <c:pt idx="2662">
                  <c:v>43812</c:v>
                </c:pt>
                <c:pt idx="2663">
                  <c:v>43815</c:v>
                </c:pt>
                <c:pt idx="2664">
                  <c:v>43816</c:v>
                </c:pt>
                <c:pt idx="2665">
                  <c:v>43817</c:v>
                </c:pt>
                <c:pt idx="2666">
                  <c:v>43818</c:v>
                </c:pt>
                <c:pt idx="2667">
                  <c:v>43819</c:v>
                </c:pt>
                <c:pt idx="2668">
                  <c:v>43822</c:v>
                </c:pt>
                <c:pt idx="2669">
                  <c:v>43823</c:v>
                </c:pt>
                <c:pt idx="2670">
                  <c:v>43824</c:v>
                </c:pt>
                <c:pt idx="2671">
                  <c:v>43825</c:v>
                </c:pt>
                <c:pt idx="2672">
                  <c:v>43826</c:v>
                </c:pt>
                <c:pt idx="2673">
                  <c:v>43829</c:v>
                </c:pt>
                <c:pt idx="2674">
                  <c:v>43830</c:v>
                </c:pt>
                <c:pt idx="2675">
                  <c:v>43832</c:v>
                </c:pt>
                <c:pt idx="2676">
                  <c:v>43833</c:v>
                </c:pt>
                <c:pt idx="2677">
                  <c:v>43836</c:v>
                </c:pt>
                <c:pt idx="2678">
                  <c:v>43837</c:v>
                </c:pt>
                <c:pt idx="2679">
                  <c:v>43838</c:v>
                </c:pt>
                <c:pt idx="2680">
                  <c:v>43839</c:v>
                </c:pt>
                <c:pt idx="2681">
                  <c:v>43840</c:v>
                </c:pt>
                <c:pt idx="2682">
                  <c:v>43843</c:v>
                </c:pt>
                <c:pt idx="2683">
                  <c:v>43844</c:v>
                </c:pt>
                <c:pt idx="2684">
                  <c:v>43845</c:v>
                </c:pt>
                <c:pt idx="2685">
                  <c:v>43846</c:v>
                </c:pt>
                <c:pt idx="2686">
                  <c:v>43847</c:v>
                </c:pt>
                <c:pt idx="2687">
                  <c:v>43850</c:v>
                </c:pt>
                <c:pt idx="2688">
                  <c:v>43851</c:v>
                </c:pt>
                <c:pt idx="2689">
                  <c:v>43852</c:v>
                </c:pt>
                <c:pt idx="2690">
                  <c:v>43853</c:v>
                </c:pt>
                <c:pt idx="2691">
                  <c:v>43864</c:v>
                </c:pt>
                <c:pt idx="2692">
                  <c:v>43865</c:v>
                </c:pt>
                <c:pt idx="2693">
                  <c:v>43866</c:v>
                </c:pt>
                <c:pt idx="2694">
                  <c:v>43867</c:v>
                </c:pt>
                <c:pt idx="2695">
                  <c:v>43868</c:v>
                </c:pt>
                <c:pt idx="2696">
                  <c:v>43871</c:v>
                </c:pt>
                <c:pt idx="2697">
                  <c:v>43872</c:v>
                </c:pt>
                <c:pt idx="2698">
                  <c:v>43873</c:v>
                </c:pt>
                <c:pt idx="2699">
                  <c:v>43874</c:v>
                </c:pt>
                <c:pt idx="2700">
                  <c:v>43875</c:v>
                </c:pt>
                <c:pt idx="2701">
                  <c:v>43878</c:v>
                </c:pt>
                <c:pt idx="2702">
                  <c:v>43879</c:v>
                </c:pt>
                <c:pt idx="2703">
                  <c:v>43880</c:v>
                </c:pt>
                <c:pt idx="2704">
                  <c:v>43881</c:v>
                </c:pt>
                <c:pt idx="2705">
                  <c:v>43882</c:v>
                </c:pt>
                <c:pt idx="2706">
                  <c:v>43885</c:v>
                </c:pt>
                <c:pt idx="2707">
                  <c:v>43886</c:v>
                </c:pt>
                <c:pt idx="2708">
                  <c:v>43887</c:v>
                </c:pt>
                <c:pt idx="2709">
                  <c:v>43888</c:v>
                </c:pt>
                <c:pt idx="2710">
                  <c:v>43889</c:v>
                </c:pt>
                <c:pt idx="2711">
                  <c:v>43892</c:v>
                </c:pt>
                <c:pt idx="2712">
                  <c:v>43893</c:v>
                </c:pt>
                <c:pt idx="2713">
                  <c:v>43894</c:v>
                </c:pt>
                <c:pt idx="2714">
                  <c:v>43895</c:v>
                </c:pt>
                <c:pt idx="2715">
                  <c:v>43896</c:v>
                </c:pt>
                <c:pt idx="2716">
                  <c:v>43899</c:v>
                </c:pt>
                <c:pt idx="2717">
                  <c:v>43900</c:v>
                </c:pt>
                <c:pt idx="2718">
                  <c:v>43901</c:v>
                </c:pt>
                <c:pt idx="2719">
                  <c:v>43902</c:v>
                </c:pt>
                <c:pt idx="2720">
                  <c:v>43903</c:v>
                </c:pt>
                <c:pt idx="2721">
                  <c:v>43906</c:v>
                </c:pt>
                <c:pt idx="2722">
                  <c:v>43907</c:v>
                </c:pt>
                <c:pt idx="2723">
                  <c:v>43908</c:v>
                </c:pt>
                <c:pt idx="2724">
                  <c:v>43909</c:v>
                </c:pt>
                <c:pt idx="2725">
                  <c:v>43910</c:v>
                </c:pt>
                <c:pt idx="2726">
                  <c:v>43913</c:v>
                </c:pt>
                <c:pt idx="2727">
                  <c:v>43914</c:v>
                </c:pt>
                <c:pt idx="2728">
                  <c:v>43915</c:v>
                </c:pt>
                <c:pt idx="2729">
                  <c:v>43916</c:v>
                </c:pt>
                <c:pt idx="2730">
                  <c:v>43917</c:v>
                </c:pt>
                <c:pt idx="2731">
                  <c:v>43920</c:v>
                </c:pt>
                <c:pt idx="2732">
                  <c:v>43921</c:v>
                </c:pt>
                <c:pt idx="2733">
                  <c:v>43922</c:v>
                </c:pt>
                <c:pt idx="2734">
                  <c:v>43923</c:v>
                </c:pt>
                <c:pt idx="2735">
                  <c:v>43924</c:v>
                </c:pt>
                <c:pt idx="2736">
                  <c:v>43928</c:v>
                </c:pt>
                <c:pt idx="2737">
                  <c:v>43929</c:v>
                </c:pt>
                <c:pt idx="2738">
                  <c:v>43930</c:v>
                </c:pt>
                <c:pt idx="2739">
                  <c:v>43931</c:v>
                </c:pt>
                <c:pt idx="2740">
                  <c:v>43934</c:v>
                </c:pt>
                <c:pt idx="2741">
                  <c:v>43935</c:v>
                </c:pt>
                <c:pt idx="2742">
                  <c:v>43936</c:v>
                </c:pt>
                <c:pt idx="2743">
                  <c:v>43937</c:v>
                </c:pt>
                <c:pt idx="2744">
                  <c:v>43938</c:v>
                </c:pt>
                <c:pt idx="2745">
                  <c:v>43941</c:v>
                </c:pt>
                <c:pt idx="2746">
                  <c:v>43942</c:v>
                </c:pt>
                <c:pt idx="2747">
                  <c:v>43943</c:v>
                </c:pt>
                <c:pt idx="2748">
                  <c:v>43944</c:v>
                </c:pt>
                <c:pt idx="2749">
                  <c:v>43945</c:v>
                </c:pt>
                <c:pt idx="2750">
                  <c:v>43948</c:v>
                </c:pt>
                <c:pt idx="2751">
                  <c:v>43949</c:v>
                </c:pt>
                <c:pt idx="2752">
                  <c:v>43950</c:v>
                </c:pt>
                <c:pt idx="2753">
                  <c:v>43951</c:v>
                </c:pt>
                <c:pt idx="2754">
                  <c:v>43957</c:v>
                </c:pt>
                <c:pt idx="2755">
                  <c:v>43958</c:v>
                </c:pt>
                <c:pt idx="2756">
                  <c:v>43959</c:v>
                </c:pt>
                <c:pt idx="2757">
                  <c:v>43962</c:v>
                </c:pt>
                <c:pt idx="2758">
                  <c:v>43963</c:v>
                </c:pt>
                <c:pt idx="2759">
                  <c:v>43964</c:v>
                </c:pt>
                <c:pt idx="2760">
                  <c:v>43965</c:v>
                </c:pt>
                <c:pt idx="2761">
                  <c:v>43966</c:v>
                </c:pt>
                <c:pt idx="2762">
                  <c:v>43969</c:v>
                </c:pt>
                <c:pt idx="2763">
                  <c:v>43970</c:v>
                </c:pt>
                <c:pt idx="2764">
                  <c:v>43971</c:v>
                </c:pt>
                <c:pt idx="2765">
                  <c:v>43972</c:v>
                </c:pt>
                <c:pt idx="2766">
                  <c:v>43973</c:v>
                </c:pt>
                <c:pt idx="2767">
                  <c:v>43976</c:v>
                </c:pt>
                <c:pt idx="2768">
                  <c:v>43977</c:v>
                </c:pt>
                <c:pt idx="2769">
                  <c:v>43978</c:v>
                </c:pt>
                <c:pt idx="2770">
                  <c:v>43979</c:v>
                </c:pt>
                <c:pt idx="2771">
                  <c:v>43980</c:v>
                </c:pt>
                <c:pt idx="2772">
                  <c:v>43983</c:v>
                </c:pt>
                <c:pt idx="2773">
                  <c:v>43984</c:v>
                </c:pt>
                <c:pt idx="2774">
                  <c:v>43985</c:v>
                </c:pt>
                <c:pt idx="2775">
                  <c:v>43986</c:v>
                </c:pt>
                <c:pt idx="2776">
                  <c:v>43987</c:v>
                </c:pt>
                <c:pt idx="2777">
                  <c:v>43990</c:v>
                </c:pt>
                <c:pt idx="2778">
                  <c:v>43991</c:v>
                </c:pt>
                <c:pt idx="2779">
                  <c:v>43992</c:v>
                </c:pt>
                <c:pt idx="2780">
                  <c:v>43993</c:v>
                </c:pt>
                <c:pt idx="2781">
                  <c:v>43994</c:v>
                </c:pt>
                <c:pt idx="2782">
                  <c:v>43997</c:v>
                </c:pt>
                <c:pt idx="2783">
                  <c:v>43998</c:v>
                </c:pt>
                <c:pt idx="2784">
                  <c:v>43999</c:v>
                </c:pt>
                <c:pt idx="2785">
                  <c:v>44000</c:v>
                </c:pt>
                <c:pt idx="2786">
                  <c:v>44001</c:v>
                </c:pt>
                <c:pt idx="2787">
                  <c:v>44004</c:v>
                </c:pt>
                <c:pt idx="2788">
                  <c:v>44005</c:v>
                </c:pt>
                <c:pt idx="2789">
                  <c:v>44006</c:v>
                </c:pt>
                <c:pt idx="2790">
                  <c:v>44011</c:v>
                </c:pt>
                <c:pt idx="2791">
                  <c:v>44012</c:v>
                </c:pt>
                <c:pt idx="2792">
                  <c:v>44013</c:v>
                </c:pt>
                <c:pt idx="2793">
                  <c:v>44014</c:v>
                </c:pt>
                <c:pt idx="2794">
                  <c:v>44015</c:v>
                </c:pt>
                <c:pt idx="2795">
                  <c:v>44018</c:v>
                </c:pt>
                <c:pt idx="2796">
                  <c:v>44019</c:v>
                </c:pt>
                <c:pt idx="2797">
                  <c:v>44020</c:v>
                </c:pt>
                <c:pt idx="2798">
                  <c:v>44021</c:v>
                </c:pt>
                <c:pt idx="2799">
                  <c:v>44022</c:v>
                </c:pt>
                <c:pt idx="2800">
                  <c:v>44025</c:v>
                </c:pt>
                <c:pt idx="2801">
                  <c:v>44026</c:v>
                </c:pt>
                <c:pt idx="2802">
                  <c:v>44027</c:v>
                </c:pt>
                <c:pt idx="2803">
                  <c:v>44028</c:v>
                </c:pt>
                <c:pt idx="2804">
                  <c:v>44029</c:v>
                </c:pt>
                <c:pt idx="2805">
                  <c:v>44032</c:v>
                </c:pt>
                <c:pt idx="2806">
                  <c:v>44033</c:v>
                </c:pt>
                <c:pt idx="2807">
                  <c:v>44034</c:v>
                </c:pt>
                <c:pt idx="2808">
                  <c:v>44035</c:v>
                </c:pt>
                <c:pt idx="2809">
                  <c:v>44036</c:v>
                </c:pt>
                <c:pt idx="2810">
                  <c:v>44039</c:v>
                </c:pt>
                <c:pt idx="2811">
                  <c:v>44040</c:v>
                </c:pt>
                <c:pt idx="2812">
                  <c:v>44041</c:v>
                </c:pt>
                <c:pt idx="2813">
                  <c:v>44042</c:v>
                </c:pt>
                <c:pt idx="2814">
                  <c:v>44043</c:v>
                </c:pt>
                <c:pt idx="2815">
                  <c:v>44046</c:v>
                </c:pt>
                <c:pt idx="2816">
                  <c:v>44047</c:v>
                </c:pt>
                <c:pt idx="2817">
                  <c:v>44048</c:v>
                </c:pt>
                <c:pt idx="2818">
                  <c:v>44049</c:v>
                </c:pt>
                <c:pt idx="2819">
                  <c:v>44050</c:v>
                </c:pt>
                <c:pt idx="2820">
                  <c:v>44053</c:v>
                </c:pt>
                <c:pt idx="2821">
                  <c:v>44054</c:v>
                </c:pt>
                <c:pt idx="2822">
                  <c:v>44055</c:v>
                </c:pt>
                <c:pt idx="2823">
                  <c:v>44056</c:v>
                </c:pt>
                <c:pt idx="2824">
                  <c:v>44057</c:v>
                </c:pt>
                <c:pt idx="2825">
                  <c:v>44060</c:v>
                </c:pt>
                <c:pt idx="2826">
                  <c:v>44061</c:v>
                </c:pt>
                <c:pt idx="2827">
                  <c:v>44062</c:v>
                </c:pt>
                <c:pt idx="2828">
                  <c:v>44063</c:v>
                </c:pt>
                <c:pt idx="2829">
                  <c:v>44064</c:v>
                </c:pt>
                <c:pt idx="2830">
                  <c:v>44067</c:v>
                </c:pt>
                <c:pt idx="2831">
                  <c:v>44068</c:v>
                </c:pt>
                <c:pt idx="2832">
                  <c:v>44069</c:v>
                </c:pt>
                <c:pt idx="2833">
                  <c:v>44070</c:v>
                </c:pt>
                <c:pt idx="2834">
                  <c:v>44071</c:v>
                </c:pt>
                <c:pt idx="2835">
                  <c:v>44074</c:v>
                </c:pt>
                <c:pt idx="2836">
                  <c:v>44075</c:v>
                </c:pt>
                <c:pt idx="2837">
                  <c:v>44076</c:v>
                </c:pt>
                <c:pt idx="2838">
                  <c:v>44077</c:v>
                </c:pt>
                <c:pt idx="2839">
                  <c:v>44078</c:v>
                </c:pt>
                <c:pt idx="2840">
                  <c:v>44081</c:v>
                </c:pt>
                <c:pt idx="2841">
                  <c:v>44082</c:v>
                </c:pt>
                <c:pt idx="2842">
                  <c:v>44083</c:v>
                </c:pt>
                <c:pt idx="2843">
                  <c:v>44084</c:v>
                </c:pt>
                <c:pt idx="2844">
                  <c:v>44085</c:v>
                </c:pt>
                <c:pt idx="2845">
                  <c:v>44088</c:v>
                </c:pt>
                <c:pt idx="2846">
                  <c:v>44089</c:v>
                </c:pt>
                <c:pt idx="2847">
                  <c:v>44090</c:v>
                </c:pt>
                <c:pt idx="2848">
                  <c:v>44091</c:v>
                </c:pt>
                <c:pt idx="2849">
                  <c:v>44092</c:v>
                </c:pt>
                <c:pt idx="2850">
                  <c:v>44095</c:v>
                </c:pt>
                <c:pt idx="2851">
                  <c:v>44096</c:v>
                </c:pt>
                <c:pt idx="2852">
                  <c:v>44097</c:v>
                </c:pt>
                <c:pt idx="2853">
                  <c:v>44098</c:v>
                </c:pt>
                <c:pt idx="2854">
                  <c:v>44099</c:v>
                </c:pt>
                <c:pt idx="2855">
                  <c:v>44102</c:v>
                </c:pt>
                <c:pt idx="2856">
                  <c:v>44103</c:v>
                </c:pt>
                <c:pt idx="2857">
                  <c:v>44104</c:v>
                </c:pt>
                <c:pt idx="2858">
                  <c:v>44113</c:v>
                </c:pt>
                <c:pt idx="2859">
                  <c:v>44116</c:v>
                </c:pt>
                <c:pt idx="2860">
                  <c:v>44117</c:v>
                </c:pt>
                <c:pt idx="2861">
                  <c:v>44118</c:v>
                </c:pt>
                <c:pt idx="2862">
                  <c:v>44119</c:v>
                </c:pt>
                <c:pt idx="2863">
                  <c:v>44120</c:v>
                </c:pt>
                <c:pt idx="2864">
                  <c:v>44123</c:v>
                </c:pt>
                <c:pt idx="2865">
                  <c:v>44124</c:v>
                </c:pt>
                <c:pt idx="2866">
                  <c:v>44125</c:v>
                </c:pt>
                <c:pt idx="2867">
                  <c:v>44126</c:v>
                </c:pt>
                <c:pt idx="2868">
                  <c:v>44127</c:v>
                </c:pt>
                <c:pt idx="2869">
                  <c:v>44130</c:v>
                </c:pt>
                <c:pt idx="2870">
                  <c:v>44131</c:v>
                </c:pt>
                <c:pt idx="2871">
                  <c:v>44132</c:v>
                </c:pt>
                <c:pt idx="2872">
                  <c:v>44133</c:v>
                </c:pt>
                <c:pt idx="2873">
                  <c:v>44134</c:v>
                </c:pt>
                <c:pt idx="2874">
                  <c:v>44137</c:v>
                </c:pt>
                <c:pt idx="2875">
                  <c:v>44138</c:v>
                </c:pt>
                <c:pt idx="2876">
                  <c:v>44139</c:v>
                </c:pt>
                <c:pt idx="2877">
                  <c:v>44140</c:v>
                </c:pt>
                <c:pt idx="2878">
                  <c:v>44141</c:v>
                </c:pt>
                <c:pt idx="2879">
                  <c:v>44144</c:v>
                </c:pt>
                <c:pt idx="2880">
                  <c:v>44145</c:v>
                </c:pt>
                <c:pt idx="2881">
                  <c:v>44146</c:v>
                </c:pt>
                <c:pt idx="2882">
                  <c:v>44147</c:v>
                </c:pt>
                <c:pt idx="2883">
                  <c:v>44148</c:v>
                </c:pt>
                <c:pt idx="2884">
                  <c:v>44151</c:v>
                </c:pt>
                <c:pt idx="2885">
                  <c:v>44152</c:v>
                </c:pt>
                <c:pt idx="2886">
                  <c:v>44153</c:v>
                </c:pt>
                <c:pt idx="2887">
                  <c:v>44154</c:v>
                </c:pt>
                <c:pt idx="2888">
                  <c:v>44155</c:v>
                </c:pt>
                <c:pt idx="2889">
                  <c:v>44158</c:v>
                </c:pt>
                <c:pt idx="2890">
                  <c:v>44159</c:v>
                </c:pt>
                <c:pt idx="2891">
                  <c:v>44160</c:v>
                </c:pt>
                <c:pt idx="2892">
                  <c:v>44161</c:v>
                </c:pt>
                <c:pt idx="2893">
                  <c:v>44162</c:v>
                </c:pt>
                <c:pt idx="2894">
                  <c:v>44165</c:v>
                </c:pt>
                <c:pt idx="2895">
                  <c:v>44166</c:v>
                </c:pt>
                <c:pt idx="2896">
                  <c:v>44167</c:v>
                </c:pt>
                <c:pt idx="2897">
                  <c:v>44168</c:v>
                </c:pt>
                <c:pt idx="2898">
                  <c:v>44169</c:v>
                </c:pt>
                <c:pt idx="2899">
                  <c:v>44172</c:v>
                </c:pt>
                <c:pt idx="2900">
                  <c:v>44173</c:v>
                </c:pt>
                <c:pt idx="2901">
                  <c:v>44174</c:v>
                </c:pt>
                <c:pt idx="2902">
                  <c:v>44175</c:v>
                </c:pt>
                <c:pt idx="2903">
                  <c:v>44176</c:v>
                </c:pt>
                <c:pt idx="2904">
                  <c:v>44179</c:v>
                </c:pt>
                <c:pt idx="2905">
                  <c:v>44180</c:v>
                </c:pt>
                <c:pt idx="2906">
                  <c:v>44181</c:v>
                </c:pt>
                <c:pt idx="2907">
                  <c:v>44182</c:v>
                </c:pt>
                <c:pt idx="2908">
                  <c:v>44183</c:v>
                </c:pt>
                <c:pt idx="2909">
                  <c:v>44186</c:v>
                </c:pt>
                <c:pt idx="2910">
                  <c:v>44187</c:v>
                </c:pt>
                <c:pt idx="2911">
                  <c:v>44188</c:v>
                </c:pt>
                <c:pt idx="2912">
                  <c:v>44189</c:v>
                </c:pt>
                <c:pt idx="2913">
                  <c:v>44190</c:v>
                </c:pt>
                <c:pt idx="2914">
                  <c:v>44193</c:v>
                </c:pt>
                <c:pt idx="2915">
                  <c:v>44194</c:v>
                </c:pt>
                <c:pt idx="2916">
                  <c:v>44195</c:v>
                </c:pt>
                <c:pt idx="2917">
                  <c:v>44196</c:v>
                </c:pt>
                <c:pt idx="2918">
                  <c:v>44200</c:v>
                </c:pt>
                <c:pt idx="2919">
                  <c:v>44201</c:v>
                </c:pt>
                <c:pt idx="2920">
                  <c:v>44202</c:v>
                </c:pt>
                <c:pt idx="2921">
                  <c:v>44203</c:v>
                </c:pt>
                <c:pt idx="2922">
                  <c:v>44204</c:v>
                </c:pt>
                <c:pt idx="2923">
                  <c:v>44207</c:v>
                </c:pt>
                <c:pt idx="2924">
                  <c:v>44208</c:v>
                </c:pt>
                <c:pt idx="2925">
                  <c:v>44209</c:v>
                </c:pt>
                <c:pt idx="2926">
                  <c:v>44210</c:v>
                </c:pt>
                <c:pt idx="2927">
                  <c:v>44211</c:v>
                </c:pt>
                <c:pt idx="2928">
                  <c:v>44214</c:v>
                </c:pt>
                <c:pt idx="2929">
                  <c:v>44215</c:v>
                </c:pt>
                <c:pt idx="2930">
                  <c:v>44216</c:v>
                </c:pt>
                <c:pt idx="2931">
                  <c:v>44217</c:v>
                </c:pt>
                <c:pt idx="2932">
                  <c:v>44218</c:v>
                </c:pt>
                <c:pt idx="2933">
                  <c:v>44221</c:v>
                </c:pt>
                <c:pt idx="2934">
                  <c:v>44222</c:v>
                </c:pt>
                <c:pt idx="2935">
                  <c:v>44223</c:v>
                </c:pt>
                <c:pt idx="2936">
                  <c:v>44224</c:v>
                </c:pt>
                <c:pt idx="2937">
                  <c:v>44225</c:v>
                </c:pt>
                <c:pt idx="2938">
                  <c:v>44228</c:v>
                </c:pt>
                <c:pt idx="2939">
                  <c:v>44229</c:v>
                </c:pt>
                <c:pt idx="2940">
                  <c:v>44230</c:v>
                </c:pt>
                <c:pt idx="2941">
                  <c:v>44231</c:v>
                </c:pt>
                <c:pt idx="2942">
                  <c:v>44232</c:v>
                </c:pt>
                <c:pt idx="2943">
                  <c:v>44235</c:v>
                </c:pt>
                <c:pt idx="2944">
                  <c:v>44236</c:v>
                </c:pt>
                <c:pt idx="2945">
                  <c:v>44237</c:v>
                </c:pt>
                <c:pt idx="2946">
                  <c:v>44245</c:v>
                </c:pt>
                <c:pt idx="2947">
                  <c:v>44246</c:v>
                </c:pt>
                <c:pt idx="2948">
                  <c:v>44249</c:v>
                </c:pt>
                <c:pt idx="2949">
                  <c:v>44250</c:v>
                </c:pt>
                <c:pt idx="2950">
                  <c:v>44251</c:v>
                </c:pt>
                <c:pt idx="2951">
                  <c:v>44252</c:v>
                </c:pt>
                <c:pt idx="2952">
                  <c:v>44253</c:v>
                </c:pt>
                <c:pt idx="2953">
                  <c:v>44256</c:v>
                </c:pt>
                <c:pt idx="2954">
                  <c:v>44257</c:v>
                </c:pt>
                <c:pt idx="2955">
                  <c:v>44258</c:v>
                </c:pt>
                <c:pt idx="2956">
                  <c:v>44259</c:v>
                </c:pt>
                <c:pt idx="2957">
                  <c:v>44260</c:v>
                </c:pt>
                <c:pt idx="2958">
                  <c:v>44263</c:v>
                </c:pt>
                <c:pt idx="2959">
                  <c:v>44264</c:v>
                </c:pt>
                <c:pt idx="2960">
                  <c:v>44265</c:v>
                </c:pt>
                <c:pt idx="2961">
                  <c:v>44266</c:v>
                </c:pt>
                <c:pt idx="2962">
                  <c:v>44267</c:v>
                </c:pt>
                <c:pt idx="2963">
                  <c:v>44270</c:v>
                </c:pt>
                <c:pt idx="2964">
                  <c:v>44271</c:v>
                </c:pt>
                <c:pt idx="2965">
                  <c:v>44272</c:v>
                </c:pt>
                <c:pt idx="2966">
                  <c:v>44273</c:v>
                </c:pt>
                <c:pt idx="2967">
                  <c:v>44274</c:v>
                </c:pt>
                <c:pt idx="2968">
                  <c:v>44277</c:v>
                </c:pt>
                <c:pt idx="2969">
                  <c:v>44278</c:v>
                </c:pt>
                <c:pt idx="2970">
                  <c:v>44279</c:v>
                </c:pt>
                <c:pt idx="2971">
                  <c:v>44280</c:v>
                </c:pt>
                <c:pt idx="2972">
                  <c:v>44281</c:v>
                </c:pt>
                <c:pt idx="2973">
                  <c:v>44284</c:v>
                </c:pt>
                <c:pt idx="2974">
                  <c:v>44285</c:v>
                </c:pt>
                <c:pt idx="2975">
                  <c:v>44286</c:v>
                </c:pt>
                <c:pt idx="2976">
                  <c:v>44287</c:v>
                </c:pt>
                <c:pt idx="2977">
                  <c:v>44288</c:v>
                </c:pt>
                <c:pt idx="2978">
                  <c:v>44292</c:v>
                </c:pt>
                <c:pt idx="2979">
                  <c:v>44293</c:v>
                </c:pt>
                <c:pt idx="2980">
                  <c:v>44294</c:v>
                </c:pt>
                <c:pt idx="2981">
                  <c:v>44295</c:v>
                </c:pt>
                <c:pt idx="2982">
                  <c:v>44298</c:v>
                </c:pt>
                <c:pt idx="2983">
                  <c:v>44299</c:v>
                </c:pt>
                <c:pt idx="2984">
                  <c:v>44300</c:v>
                </c:pt>
                <c:pt idx="2985">
                  <c:v>44301</c:v>
                </c:pt>
                <c:pt idx="2986">
                  <c:v>44302</c:v>
                </c:pt>
                <c:pt idx="2987">
                  <c:v>44305</c:v>
                </c:pt>
                <c:pt idx="2988">
                  <c:v>44306</c:v>
                </c:pt>
                <c:pt idx="2989">
                  <c:v>44307</c:v>
                </c:pt>
                <c:pt idx="2990">
                  <c:v>44308</c:v>
                </c:pt>
                <c:pt idx="2991">
                  <c:v>44309</c:v>
                </c:pt>
                <c:pt idx="2992">
                  <c:v>44312</c:v>
                </c:pt>
                <c:pt idx="2993">
                  <c:v>44313</c:v>
                </c:pt>
                <c:pt idx="2994">
                  <c:v>44314</c:v>
                </c:pt>
                <c:pt idx="2995">
                  <c:v>44315</c:v>
                </c:pt>
                <c:pt idx="2996">
                  <c:v>44316</c:v>
                </c:pt>
                <c:pt idx="2997">
                  <c:v>44322</c:v>
                </c:pt>
                <c:pt idx="2998">
                  <c:v>44323</c:v>
                </c:pt>
                <c:pt idx="2999">
                  <c:v>44326</c:v>
                </c:pt>
                <c:pt idx="3000">
                  <c:v>44327</c:v>
                </c:pt>
                <c:pt idx="3001">
                  <c:v>44328</c:v>
                </c:pt>
                <c:pt idx="3002">
                  <c:v>44329</c:v>
                </c:pt>
                <c:pt idx="3003">
                  <c:v>44330</c:v>
                </c:pt>
                <c:pt idx="3004">
                  <c:v>44333</c:v>
                </c:pt>
                <c:pt idx="3005">
                  <c:v>44334</c:v>
                </c:pt>
                <c:pt idx="3006">
                  <c:v>44335</c:v>
                </c:pt>
                <c:pt idx="3007">
                  <c:v>44336</c:v>
                </c:pt>
                <c:pt idx="3008">
                  <c:v>44337</c:v>
                </c:pt>
                <c:pt idx="3009">
                  <c:v>44340</c:v>
                </c:pt>
                <c:pt idx="3010">
                  <c:v>44341</c:v>
                </c:pt>
                <c:pt idx="3011">
                  <c:v>44342</c:v>
                </c:pt>
                <c:pt idx="3012">
                  <c:v>44343</c:v>
                </c:pt>
                <c:pt idx="3013">
                  <c:v>44344</c:v>
                </c:pt>
                <c:pt idx="3014">
                  <c:v>44347</c:v>
                </c:pt>
                <c:pt idx="3015">
                  <c:v>44348</c:v>
                </c:pt>
                <c:pt idx="3016">
                  <c:v>44349</c:v>
                </c:pt>
                <c:pt idx="3017">
                  <c:v>44350</c:v>
                </c:pt>
                <c:pt idx="3018">
                  <c:v>44351</c:v>
                </c:pt>
                <c:pt idx="3019">
                  <c:v>44354</c:v>
                </c:pt>
                <c:pt idx="3020">
                  <c:v>44355</c:v>
                </c:pt>
                <c:pt idx="3021">
                  <c:v>44356</c:v>
                </c:pt>
                <c:pt idx="3022">
                  <c:v>44357</c:v>
                </c:pt>
                <c:pt idx="3023">
                  <c:v>44358</c:v>
                </c:pt>
                <c:pt idx="3024">
                  <c:v>44362</c:v>
                </c:pt>
                <c:pt idx="3025">
                  <c:v>44363</c:v>
                </c:pt>
                <c:pt idx="3026">
                  <c:v>44364</c:v>
                </c:pt>
                <c:pt idx="3027">
                  <c:v>44365</c:v>
                </c:pt>
                <c:pt idx="3028">
                  <c:v>44368</c:v>
                </c:pt>
                <c:pt idx="3029">
                  <c:v>44369</c:v>
                </c:pt>
                <c:pt idx="3030">
                  <c:v>44370</c:v>
                </c:pt>
                <c:pt idx="3031">
                  <c:v>44371</c:v>
                </c:pt>
                <c:pt idx="3032">
                  <c:v>44372</c:v>
                </c:pt>
                <c:pt idx="3033">
                  <c:v>44375</c:v>
                </c:pt>
                <c:pt idx="3034">
                  <c:v>44376</c:v>
                </c:pt>
                <c:pt idx="3035">
                  <c:v>44377</c:v>
                </c:pt>
                <c:pt idx="3036">
                  <c:v>44378</c:v>
                </c:pt>
                <c:pt idx="3037">
                  <c:v>44379</c:v>
                </c:pt>
                <c:pt idx="3038">
                  <c:v>44382</c:v>
                </c:pt>
                <c:pt idx="3039">
                  <c:v>44383</c:v>
                </c:pt>
                <c:pt idx="3040">
                  <c:v>44384</c:v>
                </c:pt>
                <c:pt idx="3041">
                  <c:v>44385</c:v>
                </c:pt>
                <c:pt idx="3042">
                  <c:v>44386</c:v>
                </c:pt>
                <c:pt idx="3043">
                  <c:v>44389</c:v>
                </c:pt>
                <c:pt idx="3044">
                  <c:v>44390</c:v>
                </c:pt>
                <c:pt idx="3045">
                  <c:v>44391</c:v>
                </c:pt>
                <c:pt idx="3046">
                  <c:v>44392</c:v>
                </c:pt>
                <c:pt idx="3047">
                  <c:v>44393</c:v>
                </c:pt>
                <c:pt idx="3048">
                  <c:v>44396</c:v>
                </c:pt>
                <c:pt idx="3049">
                  <c:v>44397</c:v>
                </c:pt>
                <c:pt idx="3050">
                  <c:v>44398</c:v>
                </c:pt>
                <c:pt idx="3051">
                  <c:v>44399</c:v>
                </c:pt>
                <c:pt idx="3052">
                  <c:v>44400</c:v>
                </c:pt>
                <c:pt idx="3053">
                  <c:v>44403</c:v>
                </c:pt>
                <c:pt idx="3054">
                  <c:v>44404</c:v>
                </c:pt>
                <c:pt idx="3055">
                  <c:v>44405</c:v>
                </c:pt>
                <c:pt idx="3056">
                  <c:v>44406</c:v>
                </c:pt>
                <c:pt idx="3057">
                  <c:v>44407</c:v>
                </c:pt>
                <c:pt idx="3058">
                  <c:v>44410</c:v>
                </c:pt>
                <c:pt idx="3059">
                  <c:v>44411</c:v>
                </c:pt>
                <c:pt idx="3060">
                  <c:v>44412</c:v>
                </c:pt>
                <c:pt idx="3061">
                  <c:v>44413</c:v>
                </c:pt>
                <c:pt idx="3062">
                  <c:v>44414</c:v>
                </c:pt>
                <c:pt idx="3063">
                  <c:v>44417</c:v>
                </c:pt>
                <c:pt idx="3064">
                  <c:v>44418</c:v>
                </c:pt>
                <c:pt idx="3065">
                  <c:v>44419</c:v>
                </c:pt>
                <c:pt idx="3066">
                  <c:v>44420</c:v>
                </c:pt>
                <c:pt idx="3067">
                  <c:v>44421</c:v>
                </c:pt>
                <c:pt idx="3068">
                  <c:v>44424</c:v>
                </c:pt>
                <c:pt idx="3069">
                  <c:v>44425</c:v>
                </c:pt>
                <c:pt idx="3070">
                  <c:v>44426</c:v>
                </c:pt>
                <c:pt idx="3071">
                  <c:v>44427</c:v>
                </c:pt>
                <c:pt idx="3072">
                  <c:v>44428</c:v>
                </c:pt>
                <c:pt idx="3073">
                  <c:v>44431</c:v>
                </c:pt>
                <c:pt idx="3074">
                  <c:v>44432</c:v>
                </c:pt>
                <c:pt idx="3075">
                  <c:v>44433</c:v>
                </c:pt>
                <c:pt idx="3076">
                  <c:v>44434</c:v>
                </c:pt>
                <c:pt idx="3077">
                  <c:v>44435</c:v>
                </c:pt>
                <c:pt idx="3078">
                  <c:v>44438</c:v>
                </c:pt>
                <c:pt idx="3079">
                  <c:v>44439</c:v>
                </c:pt>
                <c:pt idx="3080">
                  <c:v>44440</c:v>
                </c:pt>
                <c:pt idx="3081">
                  <c:v>44441</c:v>
                </c:pt>
                <c:pt idx="3082">
                  <c:v>44442</c:v>
                </c:pt>
                <c:pt idx="3083">
                  <c:v>44445</c:v>
                </c:pt>
                <c:pt idx="3084">
                  <c:v>44446</c:v>
                </c:pt>
                <c:pt idx="3085">
                  <c:v>44447</c:v>
                </c:pt>
                <c:pt idx="3086">
                  <c:v>44448</c:v>
                </c:pt>
                <c:pt idx="3087">
                  <c:v>44449</c:v>
                </c:pt>
                <c:pt idx="3088">
                  <c:v>44452</c:v>
                </c:pt>
                <c:pt idx="3089">
                  <c:v>44453</c:v>
                </c:pt>
                <c:pt idx="3090">
                  <c:v>44454</c:v>
                </c:pt>
                <c:pt idx="3091">
                  <c:v>44455</c:v>
                </c:pt>
                <c:pt idx="3092">
                  <c:v>44456</c:v>
                </c:pt>
                <c:pt idx="3093">
                  <c:v>44461</c:v>
                </c:pt>
                <c:pt idx="3094">
                  <c:v>44462</c:v>
                </c:pt>
                <c:pt idx="3095">
                  <c:v>44463</c:v>
                </c:pt>
                <c:pt idx="3096">
                  <c:v>44466</c:v>
                </c:pt>
                <c:pt idx="3097">
                  <c:v>44467</c:v>
                </c:pt>
                <c:pt idx="3098">
                  <c:v>44468</c:v>
                </c:pt>
                <c:pt idx="3099">
                  <c:v>44469</c:v>
                </c:pt>
                <c:pt idx="3100">
                  <c:v>44477</c:v>
                </c:pt>
                <c:pt idx="3101">
                  <c:v>44480</c:v>
                </c:pt>
                <c:pt idx="3102">
                  <c:v>44481</c:v>
                </c:pt>
                <c:pt idx="3103">
                  <c:v>44482</c:v>
                </c:pt>
                <c:pt idx="3104">
                  <c:v>44483</c:v>
                </c:pt>
                <c:pt idx="3105">
                  <c:v>44484</c:v>
                </c:pt>
                <c:pt idx="3106">
                  <c:v>44487</c:v>
                </c:pt>
                <c:pt idx="3107">
                  <c:v>44488</c:v>
                </c:pt>
                <c:pt idx="3108">
                  <c:v>44489</c:v>
                </c:pt>
                <c:pt idx="3109">
                  <c:v>44490</c:v>
                </c:pt>
                <c:pt idx="3110">
                  <c:v>44491</c:v>
                </c:pt>
                <c:pt idx="3111">
                  <c:v>44494</c:v>
                </c:pt>
                <c:pt idx="3112">
                  <c:v>44495</c:v>
                </c:pt>
                <c:pt idx="3113">
                  <c:v>44496</c:v>
                </c:pt>
                <c:pt idx="3114">
                  <c:v>44497</c:v>
                </c:pt>
                <c:pt idx="3115">
                  <c:v>44498</c:v>
                </c:pt>
                <c:pt idx="3116">
                  <c:v>44501</c:v>
                </c:pt>
                <c:pt idx="3117">
                  <c:v>44502</c:v>
                </c:pt>
                <c:pt idx="3118">
                  <c:v>44503</c:v>
                </c:pt>
                <c:pt idx="3119">
                  <c:v>44504</c:v>
                </c:pt>
                <c:pt idx="3120">
                  <c:v>44505</c:v>
                </c:pt>
                <c:pt idx="3121">
                  <c:v>44508</c:v>
                </c:pt>
                <c:pt idx="3122">
                  <c:v>44509</c:v>
                </c:pt>
                <c:pt idx="3123">
                  <c:v>44510</c:v>
                </c:pt>
                <c:pt idx="3124">
                  <c:v>44511</c:v>
                </c:pt>
                <c:pt idx="3125">
                  <c:v>44512</c:v>
                </c:pt>
                <c:pt idx="3126">
                  <c:v>44515</c:v>
                </c:pt>
                <c:pt idx="3127">
                  <c:v>44516</c:v>
                </c:pt>
                <c:pt idx="3128">
                  <c:v>44517</c:v>
                </c:pt>
                <c:pt idx="3129">
                  <c:v>44518</c:v>
                </c:pt>
                <c:pt idx="3130">
                  <c:v>44519</c:v>
                </c:pt>
                <c:pt idx="3131">
                  <c:v>44522</c:v>
                </c:pt>
                <c:pt idx="3132">
                  <c:v>44523</c:v>
                </c:pt>
                <c:pt idx="3133">
                  <c:v>44524</c:v>
                </c:pt>
                <c:pt idx="3134">
                  <c:v>44525</c:v>
                </c:pt>
                <c:pt idx="3135">
                  <c:v>44526</c:v>
                </c:pt>
                <c:pt idx="3136">
                  <c:v>44529</c:v>
                </c:pt>
                <c:pt idx="3137">
                  <c:v>44530</c:v>
                </c:pt>
                <c:pt idx="3138">
                  <c:v>44531</c:v>
                </c:pt>
                <c:pt idx="3139">
                  <c:v>44532</c:v>
                </c:pt>
                <c:pt idx="3140">
                  <c:v>44533</c:v>
                </c:pt>
                <c:pt idx="3141">
                  <c:v>44536</c:v>
                </c:pt>
                <c:pt idx="3142">
                  <c:v>44537</c:v>
                </c:pt>
                <c:pt idx="3143">
                  <c:v>44538</c:v>
                </c:pt>
                <c:pt idx="3144">
                  <c:v>44539</c:v>
                </c:pt>
                <c:pt idx="3145">
                  <c:v>44540</c:v>
                </c:pt>
                <c:pt idx="3146">
                  <c:v>44543</c:v>
                </c:pt>
                <c:pt idx="3147">
                  <c:v>44544</c:v>
                </c:pt>
                <c:pt idx="3148">
                  <c:v>44545</c:v>
                </c:pt>
                <c:pt idx="3149">
                  <c:v>44546</c:v>
                </c:pt>
                <c:pt idx="3150">
                  <c:v>44547</c:v>
                </c:pt>
                <c:pt idx="3151">
                  <c:v>44550</c:v>
                </c:pt>
                <c:pt idx="3152">
                  <c:v>44551</c:v>
                </c:pt>
                <c:pt idx="3153">
                  <c:v>44552</c:v>
                </c:pt>
                <c:pt idx="3154">
                  <c:v>44553</c:v>
                </c:pt>
                <c:pt idx="3155">
                  <c:v>44554</c:v>
                </c:pt>
                <c:pt idx="3156">
                  <c:v>44557</c:v>
                </c:pt>
                <c:pt idx="3157">
                  <c:v>44558</c:v>
                </c:pt>
                <c:pt idx="3158">
                  <c:v>44559</c:v>
                </c:pt>
                <c:pt idx="3159">
                  <c:v>44560</c:v>
                </c:pt>
                <c:pt idx="3160">
                  <c:v>44561</c:v>
                </c:pt>
                <c:pt idx="3161">
                  <c:v>44565</c:v>
                </c:pt>
                <c:pt idx="3162">
                  <c:v>44566</c:v>
                </c:pt>
                <c:pt idx="3163">
                  <c:v>44567</c:v>
                </c:pt>
                <c:pt idx="3164">
                  <c:v>44568</c:v>
                </c:pt>
                <c:pt idx="3165">
                  <c:v>44571</c:v>
                </c:pt>
                <c:pt idx="3166">
                  <c:v>44572</c:v>
                </c:pt>
                <c:pt idx="3167">
                  <c:v>44573</c:v>
                </c:pt>
                <c:pt idx="3168">
                  <c:v>44574</c:v>
                </c:pt>
                <c:pt idx="3169">
                  <c:v>44575</c:v>
                </c:pt>
                <c:pt idx="3170">
                  <c:v>44578</c:v>
                </c:pt>
                <c:pt idx="3171">
                  <c:v>44579</c:v>
                </c:pt>
                <c:pt idx="3172">
                  <c:v>44580</c:v>
                </c:pt>
                <c:pt idx="3173">
                  <c:v>44581</c:v>
                </c:pt>
                <c:pt idx="3174">
                  <c:v>44582</c:v>
                </c:pt>
                <c:pt idx="3175">
                  <c:v>44585</c:v>
                </c:pt>
                <c:pt idx="3176">
                  <c:v>44586</c:v>
                </c:pt>
                <c:pt idx="3177">
                  <c:v>44587</c:v>
                </c:pt>
                <c:pt idx="3178">
                  <c:v>44588</c:v>
                </c:pt>
                <c:pt idx="3179">
                  <c:v>44589</c:v>
                </c:pt>
                <c:pt idx="3180">
                  <c:v>44599</c:v>
                </c:pt>
                <c:pt idx="3181">
                  <c:v>44600</c:v>
                </c:pt>
                <c:pt idx="3182">
                  <c:v>44601</c:v>
                </c:pt>
                <c:pt idx="3183">
                  <c:v>44602</c:v>
                </c:pt>
                <c:pt idx="3184">
                  <c:v>44603</c:v>
                </c:pt>
                <c:pt idx="3185">
                  <c:v>44606</c:v>
                </c:pt>
                <c:pt idx="3186">
                  <c:v>44607</c:v>
                </c:pt>
                <c:pt idx="3187">
                  <c:v>44608</c:v>
                </c:pt>
                <c:pt idx="3188">
                  <c:v>44609</c:v>
                </c:pt>
                <c:pt idx="3189">
                  <c:v>44610</c:v>
                </c:pt>
                <c:pt idx="3190">
                  <c:v>44613</c:v>
                </c:pt>
                <c:pt idx="3191">
                  <c:v>44614</c:v>
                </c:pt>
                <c:pt idx="3192">
                  <c:v>44615</c:v>
                </c:pt>
                <c:pt idx="3193">
                  <c:v>44616</c:v>
                </c:pt>
                <c:pt idx="3194">
                  <c:v>44617</c:v>
                </c:pt>
                <c:pt idx="3195">
                  <c:v>44620</c:v>
                </c:pt>
                <c:pt idx="3196">
                  <c:v>44621</c:v>
                </c:pt>
                <c:pt idx="3197">
                  <c:v>44622</c:v>
                </c:pt>
                <c:pt idx="3198">
                  <c:v>44623</c:v>
                </c:pt>
                <c:pt idx="3199">
                  <c:v>44624</c:v>
                </c:pt>
                <c:pt idx="3200">
                  <c:v>44627</c:v>
                </c:pt>
                <c:pt idx="3201">
                  <c:v>44628</c:v>
                </c:pt>
                <c:pt idx="3202">
                  <c:v>44629</c:v>
                </c:pt>
                <c:pt idx="3203">
                  <c:v>44630</c:v>
                </c:pt>
                <c:pt idx="3204">
                  <c:v>44631</c:v>
                </c:pt>
                <c:pt idx="3205">
                  <c:v>44634</c:v>
                </c:pt>
                <c:pt idx="3206">
                  <c:v>44635</c:v>
                </c:pt>
                <c:pt idx="3207">
                  <c:v>44636</c:v>
                </c:pt>
                <c:pt idx="3208">
                  <c:v>44637</c:v>
                </c:pt>
                <c:pt idx="3209">
                  <c:v>44638</c:v>
                </c:pt>
                <c:pt idx="3210">
                  <c:v>44641</c:v>
                </c:pt>
                <c:pt idx="3211">
                  <c:v>44642</c:v>
                </c:pt>
                <c:pt idx="3212">
                  <c:v>44643</c:v>
                </c:pt>
                <c:pt idx="3213">
                  <c:v>44644</c:v>
                </c:pt>
                <c:pt idx="3214">
                  <c:v>44645</c:v>
                </c:pt>
                <c:pt idx="3215">
                  <c:v>44648</c:v>
                </c:pt>
                <c:pt idx="3216">
                  <c:v>44649</c:v>
                </c:pt>
                <c:pt idx="3217">
                  <c:v>44650</c:v>
                </c:pt>
                <c:pt idx="3218">
                  <c:v>44651</c:v>
                </c:pt>
                <c:pt idx="3219">
                  <c:v>44652</c:v>
                </c:pt>
                <c:pt idx="3220">
                  <c:v>44657</c:v>
                </c:pt>
                <c:pt idx="3221">
                  <c:v>44658</c:v>
                </c:pt>
                <c:pt idx="3222">
                  <c:v>44659</c:v>
                </c:pt>
              </c:numCache>
            </c:numRef>
          </c:cat>
          <c:val>
            <c:numRef>
              <c:f>turnover_牛熊!$E$2:$E$3224</c:f>
              <c:numCache>
                <c:formatCode>General</c:formatCode>
                <c:ptCount val="3223"/>
                <c:pt idx="0">
                  <c:v>1000000</c:v>
                </c:pt>
                <c:pt idx="1">
                  <c:v>1000000</c:v>
                </c:pt>
                <c:pt idx="2">
                  <c:v>1000000</c:v>
                </c:pt>
                <c:pt idx="3">
                  <c:v>1000000</c:v>
                </c:pt>
                <c:pt idx="4">
                  <c:v>1000000</c:v>
                </c:pt>
                <c:pt idx="5">
                  <c:v>1000000</c:v>
                </c:pt>
                <c:pt idx="6">
                  <c:v>1000000</c:v>
                </c:pt>
                <c:pt idx="7">
                  <c:v>1000000</c:v>
                </c:pt>
                <c:pt idx="8">
                  <c:v>1000000</c:v>
                </c:pt>
                <c:pt idx="9">
                  <c:v>1000000</c:v>
                </c:pt>
                <c:pt idx="10">
                  <c:v>1000000</c:v>
                </c:pt>
                <c:pt idx="11">
                  <c:v>1000000</c:v>
                </c:pt>
                <c:pt idx="12">
                  <c:v>999919.13159999996</c:v>
                </c:pt>
                <c:pt idx="13">
                  <c:v>1009055.132</c:v>
                </c:pt>
                <c:pt idx="14">
                  <c:v>1004307.132</c:v>
                </c:pt>
                <c:pt idx="15">
                  <c:v>1014059.132</c:v>
                </c:pt>
                <c:pt idx="16">
                  <c:v>1034799.132</c:v>
                </c:pt>
                <c:pt idx="17">
                  <c:v>1057799.132</c:v>
                </c:pt>
                <c:pt idx="18">
                  <c:v>1051623.132</c:v>
                </c:pt>
                <c:pt idx="19">
                  <c:v>1086147.132</c:v>
                </c:pt>
                <c:pt idx="20">
                  <c:v>1109903.132</c:v>
                </c:pt>
                <c:pt idx="21">
                  <c:v>1121939.132</c:v>
                </c:pt>
                <c:pt idx="22">
                  <c:v>1123691.132</c:v>
                </c:pt>
                <c:pt idx="23">
                  <c:v>1118571.132</c:v>
                </c:pt>
                <c:pt idx="24">
                  <c:v>1150863.132</c:v>
                </c:pt>
                <c:pt idx="25">
                  <c:v>1176135.132</c:v>
                </c:pt>
                <c:pt idx="26">
                  <c:v>1145351.132</c:v>
                </c:pt>
                <c:pt idx="27">
                  <c:v>1101571.132</c:v>
                </c:pt>
                <c:pt idx="28">
                  <c:v>1110599.132</c:v>
                </c:pt>
                <c:pt idx="29">
                  <c:v>1128963.132</c:v>
                </c:pt>
                <c:pt idx="30">
                  <c:v>1155427.132</c:v>
                </c:pt>
                <c:pt idx="31">
                  <c:v>1111975.132</c:v>
                </c:pt>
                <c:pt idx="32">
                  <c:v>1112935.132</c:v>
                </c:pt>
                <c:pt idx="33">
                  <c:v>1067311.132</c:v>
                </c:pt>
                <c:pt idx="34">
                  <c:v>1047431.132</c:v>
                </c:pt>
                <c:pt idx="35">
                  <c:v>1057103.132</c:v>
                </c:pt>
                <c:pt idx="36">
                  <c:v>1048095.132</c:v>
                </c:pt>
                <c:pt idx="37">
                  <c:v>1105295.132</c:v>
                </c:pt>
                <c:pt idx="38">
                  <c:v>1113203.132</c:v>
                </c:pt>
                <c:pt idx="39">
                  <c:v>1105867.132</c:v>
                </c:pt>
                <c:pt idx="40">
                  <c:v>1072247.132</c:v>
                </c:pt>
                <c:pt idx="41">
                  <c:v>1087547.132</c:v>
                </c:pt>
                <c:pt idx="42">
                  <c:v>1079387.132</c:v>
                </c:pt>
                <c:pt idx="43">
                  <c:v>1077515.132</c:v>
                </c:pt>
                <c:pt idx="44">
                  <c:v>1073403.132</c:v>
                </c:pt>
                <c:pt idx="45">
                  <c:v>1087879.132</c:v>
                </c:pt>
                <c:pt idx="46">
                  <c:v>1120195.132</c:v>
                </c:pt>
                <c:pt idx="47">
                  <c:v>1124295.132</c:v>
                </c:pt>
                <c:pt idx="48">
                  <c:v>1144259.132</c:v>
                </c:pt>
                <c:pt idx="49">
                  <c:v>1143171.132</c:v>
                </c:pt>
                <c:pt idx="50">
                  <c:v>1166995.132</c:v>
                </c:pt>
                <c:pt idx="51">
                  <c:v>1171947.132</c:v>
                </c:pt>
                <c:pt idx="52">
                  <c:v>1151767.132</c:v>
                </c:pt>
                <c:pt idx="53">
                  <c:v>1183151.132</c:v>
                </c:pt>
                <c:pt idx="54">
                  <c:v>1190807.132</c:v>
                </c:pt>
                <c:pt idx="55">
                  <c:v>1185031.132</c:v>
                </c:pt>
                <c:pt idx="56">
                  <c:v>1194351.132</c:v>
                </c:pt>
                <c:pt idx="57">
                  <c:v>1210523.132</c:v>
                </c:pt>
                <c:pt idx="58">
                  <c:v>1221795.132</c:v>
                </c:pt>
                <c:pt idx="59">
                  <c:v>1219435.132</c:v>
                </c:pt>
                <c:pt idx="60">
                  <c:v>1222015.132</c:v>
                </c:pt>
                <c:pt idx="61">
                  <c:v>1182975.132</c:v>
                </c:pt>
                <c:pt idx="62">
                  <c:v>1198303.132</c:v>
                </c:pt>
                <c:pt idx="63">
                  <c:v>1229447.132</c:v>
                </c:pt>
                <c:pt idx="64">
                  <c:v>1253843.132</c:v>
                </c:pt>
                <c:pt idx="65">
                  <c:v>1261983.132</c:v>
                </c:pt>
                <c:pt idx="66">
                  <c:v>1266031.132</c:v>
                </c:pt>
                <c:pt idx="67">
                  <c:v>1266079.132</c:v>
                </c:pt>
                <c:pt idx="68">
                  <c:v>1251511.132</c:v>
                </c:pt>
                <c:pt idx="69">
                  <c:v>1274303.132</c:v>
                </c:pt>
                <c:pt idx="70">
                  <c:v>1261411.132</c:v>
                </c:pt>
                <c:pt idx="71">
                  <c:v>1221747.132</c:v>
                </c:pt>
                <c:pt idx="72">
                  <c:v>1228659.132</c:v>
                </c:pt>
                <c:pt idx="73">
                  <c:v>1220391.132</c:v>
                </c:pt>
                <c:pt idx="74">
                  <c:v>1196551.132</c:v>
                </c:pt>
                <c:pt idx="75">
                  <c:v>1198647.132</c:v>
                </c:pt>
                <c:pt idx="76">
                  <c:v>1233383.132</c:v>
                </c:pt>
                <c:pt idx="77">
                  <c:v>1240407.132</c:v>
                </c:pt>
                <c:pt idx="78">
                  <c:v>1276955.132</c:v>
                </c:pt>
                <c:pt idx="79">
                  <c:v>1282039.132</c:v>
                </c:pt>
                <c:pt idx="80">
                  <c:v>1297227.132</c:v>
                </c:pt>
                <c:pt idx="81">
                  <c:v>1298067.132</c:v>
                </c:pt>
                <c:pt idx="82">
                  <c:v>1306923.132</c:v>
                </c:pt>
                <c:pt idx="83">
                  <c:v>1281363.132</c:v>
                </c:pt>
                <c:pt idx="84">
                  <c:v>1306659.132</c:v>
                </c:pt>
                <c:pt idx="85">
                  <c:v>1316839.132</c:v>
                </c:pt>
                <c:pt idx="86">
                  <c:v>1308275.132</c:v>
                </c:pt>
                <c:pt idx="87">
                  <c:v>1309683.132</c:v>
                </c:pt>
                <c:pt idx="88">
                  <c:v>1315463.132</c:v>
                </c:pt>
                <c:pt idx="89">
                  <c:v>1327267.132</c:v>
                </c:pt>
                <c:pt idx="90">
                  <c:v>1316383.132</c:v>
                </c:pt>
                <c:pt idx="91">
                  <c:v>1291239.132</c:v>
                </c:pt>
                <c:pt idx="92">
                  <c:v>1287507.132</c:v>
                </c:pt>
                <c:pt idx="93">
                  <c:v>1292323.132</c:v>
                </c:pt>
                <c:pt idx="94">
                  <c:v>1279139.132</c:v>
                </c:pt>
                <c:pt idx="95">
                  <c:v>1295119.132</c:v>
                </c:pt>
                <c:pt idx="96">
                  <c:v>1334571.132</c:v>
                </c:pt>
                <c:pt idx="97">
                  <c:v>1337275.132</c:v>
                </c:pt>
                <c:pt idx="98">
                  <c:v>1366991.132</c:v>
                </c:pt>
                <c:pt idx="99">
                  <c:v>1372735.132</c:v>
                </c:pt>
                <c:pt idx="100">
                  <c:v>1366959.132</c:v>
                </c:pt>
                <c:pt idx="101">
                  <c:v>1370627.132</c:v>
                </c:pt>
                <c:pt idx="102">
                  <c:v>1375459.132</c:v>
                </c:pt>
                <c:pt idx="103">
                  <c:v>1387075.132</c:v>
                </c:pt>
                <c:pt idx="104">
                  <c:v>1375887.132</c:v>
                </c:pt>
                <c:pt idx="105">
                  <c:v>1353751.132</c:v>
                </c:pt>
                <c:pt idx="106">
                  <c:v>1377711.132</c:v>
                </c:pt>
                <c:pt idx="107">
                  <c:v>1375723.132</c:v>
                </c:pt>
                <c:pt idx="108">
                  <c:v>1395471.132</c:v>
                </c:pt>
                <c:pt idx="109">
                  <c:v>1414207.132</c:v>
                </c:pt>
                <c:pt idx="110">
                  <c:v>1423235.132</c:v>
                </c:pt>
                <c:pt idx="111">
                  <c:v>1424259.132</c:v>
                </c:pt>
                <c:pt idx="112">
                  <c:v>1424795.132</c:v>
                </c:pt>
                <c:pt idx="113">
                  <c:v>1439527.132</c:v>
                </c:pt>
                <c:pt idx="114">
                  <c:v>1438403.132</c:v>
                </c:pt>
                <c:pt idx="115">
                  <c:v>1442603.132</c:v>
                </c:pt>
                <c:pt idx="116">
                  <c:v>1463223.132</c:v>
                </c:pt>
                <c:pt idx="117">
                  <c:v>1457823.132</c:v>
                </c:pt>
                <c:pt idx="118">
                  <c:v>1486395.132</c:v>
                </c:pt>
                <c:pt idx="119">
                  <c:v>1504179.132</c:v>
                </c:pt>
                <c:pt idx="120">
                  <c:v>1522091.132</c:v>
                </c:pt>
                <c:pt idx="121">
                  <c:v>1541135.132</c:v>
                </c:pt>
                <c:pt idx="122">
                  <c:v>1527431.132</c:v>
                </c:pt>
                <c:pt idx="123">
                  <c:v>1532143.132</c:v>
                </c:pt>
                <c:pt idx="124">
                  <c:v>1549755.132</c:v>
                </c:pt>
                <c:pt idx="125">
                  <c:v>1550559.132</c:v>
                </c:pt>
                <c:pt idx="126">
                  <c:v>1535639.132</c:v>
                </c:pt>
                <c:pt idx="127">
                  <c:v>1573135.132</c:v>
                </c:pt>
                <c:pt idx="128">
                  <c:v>1588559.132</c:v>
                </c:pt>
                <c:pt idx="129">
                  <c:v>1591731.132</c:v>
                </c:pt>
                <c:pt idx="130">
                  <c:v>1599159.132</c:v>
                </c:pt>
                <c:pt idx="131">
                  <c:v>1627683.132</c:v>
                </c:pt>
                <c:pt idx="132">
                  <c:v>1607167.132</c:v>
                </c:pt>
                <c:pt idx="133">
                  <c:v>1634003.132</c:v>
                </c:pt>
                <c:pt idx="134">
                  <c:v>1652023.132</c:v>
                </c:pt>
                <c:pt idx="135">
                  <c:v>1658259.132</c:v>
                </c:pt>
                <c:pt idx="136">
                  <c:v>1688687.132</c:v>
                </c:pt>
                <c:pt idx="137">
                  <c:v>1693563.132</c:v>
                </c:pt>
                <c:pt idx="138">
                  <c:v>1614639.132</c:v>
                </c:pt>
                <c:pt idx="139">
                  <c:v>1645163.132</c:v>
                </c:pt>
                <c:pt idx="140">
                  <c:v>1685083.132</c:v>
                </c:pt>
                <c:pt idx="141">
                  <c:v>1706047.132</c:v>
                </c:pt>
                <c:pt idx="142">
                  <c:v>1705883.132</c:v>
                </c:pt>
                <c:pt idx="143">
                  <c:v>1687611.132</c:v>
                </c:pt>
                <c:pt idx="144">
                  <c:v>1656483.132</c:v>
                </c:pt>
                <c:pt idx="145">
                  <c:v>1613275.132</c:v>
                </c:pt>
                <c:pt idx="146">
                  <c:v>1609051.132</c:v>
                </c:pt>
                <c:pt idx="147">
                  <c:v>1613787.132</c:v>
                </c:pt>
                <c:pt idx="148">
                  <c:v>1550195.132</c:v>
                </c:pt>
                <c:pt idx="149">
                  <c:v>1567425.4990000001</c:v>
                </c:pt>
                <c:pt idx="150">
                  <c:v>1567425.4990000001</c:v>
                </c:pt>
                <c:pt idx="151">
                  <c:v>1567425.4990000001</c:v>
                </c:pt>
                <c:pt idx="152">
                  <c:v>1567425.4990000001</c:v>
                </c:pt>
                <c:pt idx="153">
                  <c:v>1567425.4990000001</c:v>
                </c:pt>
                <c:pt idx="154">
                  <c:v>1567425.4990000001</c:v>
                </c:pt>
                <c:pt idx="155">
                  <c:v>1567425.4990000001</c:v>
                </c:pt>
                <c:pt idx="156">
                  <c:v>1567425.4990000001</c:v>
                </c:pt>
                <c:pt idx="157">
                  <c:v>1567425.4990000001</c:v>
                </c:pt>
                <c:pt idx="158">
                  <c:v>1567425.4990000001</c:v>
                </c:pt>
                <c:pt idx="159">
                  <c:v>1567425.4990000001</c:v>
                </c:pt>
                <c:pt idx="160">
                  <c:v>1567425.4990000001</c:v>
                </c:pt>
                <c:pt idx="161">
                  <c:v>1567425.4990000001</c:v>
                </c:pt>
                <c:pt idx="162">
                  <c:v>1567425.4990000001</c:v>
                </c:pt>
                <c:pt idx="163">
                  <c:v>1567425.4990000001</c:v>
                </c:pt>
                <c:pt idx="164">
                  <c:v>1567425.4990000001</c:v>
                </c:pt>
                <c:pt idx="165">
                  <c:v>1567425.4990000001</c:v>
                </c:pt>
                <c:pt idx="166">
                  <c:v>1567425.4990000001</c:v>
                </c:pt>
                <c:pt idx="167">
                  <c:v>1567425.4990000001</c:v>
                </c:pt>
                <c:pt idx="168">
                  <c:v>1567425.4990000001</c:v>
                </c:pt>
                <c:pt idx="169">
                  <c:v>1567425.4990000001</c:v>
                </c:pt>
                <c:pt idx="170">
                  <c:v>1567425.4990000001</c:v>
                </c:pt>
                <c:pt idx="171">
                  <c:v>1567425.4990000001</c:v>
                </c:pt>
                <c:pt idx="172">
                  <c:v>1567425.4990000001</c:v>
                </c:pt>
                <c:pt idx="173">
                  <c:v>1567425.4990000001</c:v>
                </c:pt>
                <c:pt idx="174">
                  <c:v>1567425.4990000001</c:v>
                </c:pt>
                <c:pt idx="175">
                  <c:v>1567425.4990000001</c:v>
                </c:pt>
                <c:pt idx="176">
                  <c:v>1567425.4990000001</c:v>
                </c:pt>
                <c:pt idx="177">
                  <c:v>1567425.4990000001</c:v>
                </c:pt>
                <c:pt idx="178">
                  <c:v>1567425.4990000001</c:v>
                </c:pt>
                <c:pt idx="179">
                  <c:v>1567425.4990000001</c:v>
                </c:pt>
                <c:pt idx="180">
                  <c:v>1567425.4990000001</c:v>
                </c:pt>
                <c:pt idx="181">
                  <c:v>1567425.4990000001</c:v>
                </c:pt>
                <c:pt idx="182">
                  <c:v>1567425.4990000001</c:v>
                </c:pt>
                <c:pt idx="183">
                  <c:v>1567425.4990000001</c:v>
                </c:pt>
                <c:pt idx="184">
                  <c:v>1567425.4990000001</c:v>
                </c:pt>
                <c:pt idx="185">
                  <c:v>1567425.4990000001</c:v>
                </c:pt>
                <c:pt idx="186">
                  <c:v>1567425.4990000001</c:v>
                </c:pt>
                <c:pt idx="187">
                  <c:v>1567425.4990000001</c:v>
                </c:pt>
                <c:pt idx="188">
                  <c:v>1567425.4990000001</c:v>
                </c:pt>
                <c:pt idx="189">
                  <c:v>1567425.4990000001</c:v>
                </c:pt>
                <c:pt idx="190">
                  <c:v>1567425.4990000001</c:v>
                </c:pt>
                <c:pt idx="191">
                  <c:v>1567425.4990000001</c:v>
                </c:pt>
                <c:pt idx="192">
                  <c:v>1567425.4990000001</c:v>
                </c:pt>
                <c:pt idx="193">
                  <c:v>1567425.4990000001</c:v>
                </c:pt>
                <c:pt idx="194">
                  <c:v>1567425.4990000001</c:v>
                </c:pt>
                <c:pt idx="195">
                  <c:v>1567425.4990000001</c:v>
                </c:pt>
                <c:pt idx="196">
                  <c:v>1567425.4990000001</c:v>
                </c:pt>
                <c:pt idx="197">
                  <c:v>1567425.4990000001</c:v>
                </c:pt>
                <c:pt idx="198">
                  <c:v>1567425.4990000001</c:v>
                </c:pt>
                <c:pt idx="199">
                  <c:v>1567425.4990000001</c:v>
                </c:pt>
                <c:pt idx="200">
                  <c:v>1567425.4990000001</c:v>
                </c:pt>
                <c:pt idx="201">
                  <c:v>1567425.4990000001</c:v>
                </c:pt>
                <c:pt idx="202">
                  <c:v>1567425.4990000001</c:v>
                </c:pt>
                <c:pt idx="203">
                  <c:v>1567425.4990000001</c:v>
                </c:pt>
                <c:pt idx="204">
                  <c:v>1567425.4990000001</c:v>
                </c:pt>
                <c:pt idx="205">
                  <c:v>1567425.4990000001</c:v>
                </c:pt>
                <c:pt idx="206">
                  <c:v>1567425.4990000001</c:v>
                </c:pt>
                <c:pt idx="207">
                  <c:v>1567425.4990000001</c:v>
                </c:pt>
                <c:pt idx="208">
                  <c:v>1567425.4990000001</c:v>
                </c:pt>
                <c:pt idx="209">
                  <c:v>1567425.4990000001</c:v>
                </c:pt>
                <c:pt idx="210">
                  <c:v>1567425.4990000001</c:v>
                </c:pt>
                <c:pt idx="211">
                  <c:v>1567425.4990000001</c:v>
                </c:pt>
                <c:pt idx="212">
                  <c:v>1567425.4990000001</c:v>
                </c:pt>
                <c:pt idx="213">
                  <c:v>1567425.4990000001</c:v>
                </c:pt>
                <c:pt idx="214">
                  <c:v>1567425.4990000001</c:v>
                </c:pt>
                <c:pt idx="215">
                  <c:v>1567425.4990000001</c:v>
                </c:pt>
                <c:pt idx="216">
                  <c:v>1567425.4990000001</c:v>
                </c:pt>
                <c:pt idx="217">
                  <c:v>1567425.4990000001</c:v>
                </c:pt>
                <c:pt idx="218">
                  <c:v>1567425.4990000001</c:v>
                </c:pt>
                <c:pt idx="219">
                  <c:v>1567425.4990000001</c:v>
                </c:pt>
                <c:pt idx="220">
                  <c:v>1567425.4990000001</c:v>
                </c:pt>
                <c:pt idx="221">
                  <c:v>1567425.4990000001</c:v>
                </c:pt>
                <c:pt idx="222">
                  <c:v>1567425.4990000001</c:v>
                </c:pt>
                <c:pt idx="223">
                  <c:v>1567425.4990000001</c:v>
                </c:pt>
                <c:pt idx="224">
                  <c:v>1567425.4990000001</c:v>
                </c:pt>
                <c:pt idx="225">
                  <c:v>1567425.4990000001</c:v>
                </c:pt>
                <c:pt idx="226">
                  <c:v>1567425.4990000001</c:v>
                </c:pt>
                <c:pt idx="227">
                  <c:v>1567425.4990000001</c:v>
                </c:pt>
                <c:pt idx="228">
                  <c:v>1567425.4990000001</c:v>
                </c:pt>
                <c:pt idx="229">
                  <c:v>1567425.4990000001</c:v>
                </c:pt>
                <c:pt idx="230">
                  <c:v>1567425.4990000001</c:v>
                </c:pt>
                <c:pt idx="231">
                  <c:v>1567425.4990000001</c:v>
                </c:pt>
                <c:pt idx="232">
                  <c:v>1567425.4990000001</c:v>
                </c:pt>
                <c:pt idx="233">
                  <c:v>1567425.4990000001</c:v>
                </c:pt>
                <c:pt idx="234">
                  <c:v>1567425.4990000001</c:v>
                </c:pt>
                <c:pt idx="235">
                  <c:v>1567425.4990000001</c:v>
                </c:pt>
                <c:pt idx="236">
                  <c:v>1567425.4990000001</c:v>
                </c:pt>
                <c:pt idx="237">
                  <c:v>1567425.4990000001</c:v>
                </c:pt>
                <c:pt idx="238">
                  <c:v>1567425.4990000001</c:v>
                </c:pt>
                <c:pt idx="239">
                  <c:v>1567425.4990000001</c:v>
                </c:pt>
                <c:pt idx="240">
                  <c:v>1567425.4990000001</c:v>
                </c:pt>
                <c:pt idx="241">
                  <c:v>1567425.4990000001</c:v>
                </c:pt>
                <c:pt idx="242">
                  <c:v>1567425.4990000001</c:v>
                </c:pt>
                <c:pt idx="243">
                  <c:v>1567425.4990000001</c:v>
                </c:pt>
                <c:pt idx="244">
                  <c:v>1567425.4990000001</c:v>
                </c:pt>
                <c:pt idx="245">
                  <c:v>1567425.4990000001</c:v>
                </c:pt>
                <c:pt idx="246">
                  <c:v>1567425.4990000001</c:v>
                </c:pt>
                <c:pt idx="247">
                  <c:v>1567425.4990000001</c:v>
                </c:pt>
                <c:pt idx="248">
                  <c:v>1567425.4990000001</c:v>
                </c:pt>
                <c:pt idx="249">
                  <c:v>1567425.4990000001</c:v>
                </c:pt>
                <c:pt idx="250">
                  <c:v>1567425.4990000001</c:v>
                </c:pt>
                <c:pt idx="251">
                  <c:v>1567425.4990000001</c:v>
                </c:pt>
                <c:pt idx="252">
                  <c:v>1567425.4990000001</c:v>
                </c:pt>
                <c:pt idx="253">
                  <c:v>1567425.4990000001</c:v>
                </c:pt>
                <c:pt idx="254">
                  <c:v>1567425.4990000001</c:v>
                </c:pt>
                <c:pt idx="255">
                  <c:v>1567425.4990000001</c:v>
                </c:pt>
                <c:pt idx="256">
                  <c:v>1567425.4990000001</c:v>
                </c:pt>
                <c:pt idx="257">
                  <c:v>1567425.4990000001</c:v>
                </c:pt>
                <c:pt idx="258">
                  <c:v>1567425.4990000001</c:v>
                </c:pt>
                <c:pt idx="259">
                  <c:v>1567425.4990000001</c:v>
                </c:pt>
                <c:pt idx="260">
                  <c:v>1567425.4990000001</c:v>
                </c:pt>
                <c:pt idx="261">
                  <c:v>1567425.4990000001</c:v>
                </c:pt>
                <c:pt idx="262">
                  <c:v>1567425.4990000001</c:v>
                </c:pt>
                <c:pt idx="263">
                  <c:v>1567425.4990000001</c:v>
                </c:pt>
                <c:pt idx="264">
                  <c:v>1567425.4990000001</c:v>
                </c:pt>
                <c:pt idx="265">
                  <c:v>1567425.4990000001</c:v>
                </c:pt>
                <c:pt idx="266">
                  <c:v>1567425.4990000001</c:v>
                </c:pt>
                <c:pt idx="267">
                  <c:v>1567425.4990000001</c:v>
                </c:pt>
                <c:pt idx="268">
                  <c:v>1567425.4990000001</c:v>
                </c:pt>
                <c:pt idx="269">
                  <c:v>1567425.4990000001</c:v>
                </c:pt>
                <c:pt idx="270">
                  <c:v>1567425.4990000001</c:v>
                </c:pt>
                <c:pt idx="271">
                  <c:v>1567425.4990000001</c:v>
                </c:pt>
                <c:pt idx="272">
                  <c:v>1567425.4990000001</c:v>
                </c:pt>
                <c:pt idx="273">
                  <c:v>1567425.4990000001</c:v>
                </c:pt>
                <c:pt idx="274">
                  <c:v>1567425.4990000001</c:v>
                </c:pt>
                <c:pt idx="275">
                  <c:v>1567425.4990000001</c:v>
                </c:pt>
                <c:pt idx="276">
                  <c:v>1567425.4990000001</c:v>
                </c:pt>
                <c:pt idx="277">
                  <c:v>1567425.4990000001</c:v>
                </c:pt>
                <c:pt idx="278">
                  <c:v>1567425.4990000001</c:v>
                </c:pt>
                <c:pt idx="279">
                  <c:v>1567425.4990000001</c:v>
                </c:pt>
                <c:pt idx="280">
                  <c:v>1567425.4990000001</c:v>
                </c:pt>
                <c:pt idx="281">
                  <c:v>1567425.4990000001</c:v>
                </c:pt>
                <c:pt idx="282">
                  <c:v>1567425.4990000001</c:v>
                </c:pt>
                <c:pt idx="283">
                  <c:v>1567425.4990000001</c:v>
                </c:pt>
                <c:pt idx="284">
                  <c:v>1567425.4990000001</c:v>
                </c:pt>
                <c:pt idx="285">
                  <c:v>1567425.4990000001</c:v>
                </c:pt>
                <c:pt idx="286">
                  <c:v>1567425.4990000001</c:v>
                </c:pt>
                <c:pt idx="287">
                  <c:v>1567425.4990000001</c:v>
                </c:pt>
                <c:pt idx="288">
                  <c:v>1567425.4990000001</c:v>
                </c:pt>
                <c:pt idx="289">
                  <c:v>1567425.4990000001</c:v>
                </c:pt>
                <c:pt idx="290">
                  <c:v>1567425.4990000001</c:v>
                </c:pt>
                <c:pt idx="291">
                  <c:v>1567425.4990000001</c:v>
                </c:pt>
                <c:pt idx="292">
                  <c:v>1567425.4990000001</c:v>
                </c:pt>
                <c:pt idx="293">
                  <c:v>1567425.4990000001</c:v>
                </c:pt>
                <c:pt idx="294">
                  <c:v>1567425.4990000001</c:v>
                </c:pt>
                <c:pt idx="295">
                  <c:v>1567425.4990000001</c:v>
                </c:pt>
                <c:pt idx="296">
                  <c:v>1567425.4990000001</c:v>
                </c:pt>
                <c:pt idx="297">
                  <c:v>1567425.4990000001</c:v>
                </c:pt>
                <c:pt idx="298">
                  <c:v>1567425.4990000001</c:v>
                </c:pt>
                <c:pt idx="299">
                  <c:v>1567425.4990000001</c:v>
                </c:pt>
                <c:pt idx="300">
                  <c:v>1567425.4990000001</c:v>
                </c:pt>
                <c:pt idx="301">
                  <c:v>1567425.4990000001</c:v>
                </c:pt>
                <c:pt idx="302">
                  <c:v>1567425.4990000001</c:v>
                </c:pt>
                <c:pt idx="303">
                  <c:v>1567425.4990000001</c:v>
                </c:pt>
                <c:pt idx="304">
                  <c:v>1567425.4990000001</c:v>
                </c:pt>
                <c:pt idx="305">
                  <c:v>1567425.4990000001</c:v>
                </c:pt>
                <c:pt idx="306">
                  <c:v>1567425.4990000001</c:v>
                </c:pt>
                <c:pt idx="307">
                  <c:v>1567425.4990000001</c:v>
                </c:pt>
                <c:pt idx="308">
                  <c:v>1567425.4990000001</c:v>
                </c:pt>
                <c:pt idx="309">
                  <c:v>1567425.4990000001</c:v>
                </c:pt>
                <c:pt idx="310">
                  <c:v>1567425.4990000001</c:v>
                </c:pt>
                <c:pt idx="311">
                  <c:v>1567425.4990000001</c:v>
                </c:pt>
                <c:pt idx="312">
                  <c:v>1567425.4990000001</c:v>
                </c:pt>
                <c:pt idx="313">
                  <c:v>1567425.4990000001</c:v>
                </c:pt>
                <c:pt idx="314">
                  <c:v>1567425.4990000001</c:v>
                </c:pt>
                <c:pt idx="315">
                  <c:v>1567425.4990000001</c:v>
                </c:pt>
                <c:pt idx="316">
                  <c:v>1567425.4990000001</c:v>
                </c:pt>
                <c:pt idx="317">
                  <c:v>1567425.4990000001</c:v>
                </c:pt>
                <c:pt idx="318">
                  <c:v>1567425.4990000001</c:v>
                </c:pt>
                <c:pt idx="319">
                  <c:v>1567425.4990000001</c:v>
                </c:pt>
                <c:pt idx="320">
                  <c:v>1567425.4990000001</c:v>
                </c:pt>
                <c:pt idx="321">
                  <c:v>1567425.4990000001</c:v>
                </c:pt>
                <c:pt idx="322">
                  <c:v>1567425.4990000001</c:v>
                </c:pt>
                <c:pt idx="323">
                  <c:v>1567425.4990000001</c:v>
                </c:pt>
                <c:pt idx="324">
                  <c:v>1567425.4990000001</c:v>
                </c:pt>
                <c:pt idx="325">
                  <c:v>1567425.4990000001</c:v>
                </c:pt>
                <c:pt idx="326">
                  <c:v>1567425.4990000001</c:v>
                </c:pt>
                <c:pt idx="327">
                  <c:v>1567425.4990000001</c:v>
                </c:pt>
                <c:pt idx="328">
                  <c:v>1567425.4990000001</c:v>
                </c:pt>
                <c:pt idx="329">
                  <c:v>1567425.4990000001</c:v>
                </c:pt>
                <c:pt idx="330">
                  <c:v>1567425.4990000001</c:v>
                </c:pt>
                <c:pt idx="331">
                  <c:v>1567425.4990000001</c:v>
                </c:pt>
                <c:pt idx="332">
                  <c:v>1567425.4990000001</c:v>
                </c:pt>
                <c:pt idx="333">
                  <c:v>1567425.4990000001</c:v>
                </c:pt>
                <c:pt idx="334">
                  <c:v>1567425.4990000001</c:v>
                </c:pt>
                <c:pt idx="335">
                  <c:v>1567425.4990000001</c:v>
                </c:pt>
                <c:pt idx="336">
                  <c:v>1567425.4990000001</c:v>
                </c:pt>
                <c:pt idx="337">
                  <c:v>1567425.4990000001</c:v>
                </c:pt>
                <c:pt idx="338">
                  <c:v>1567425.4990000001</c:v>
                </c:pt>
                <c:pt idx="339">
                  <c:v>1567425.4990000001</c:v>
                </c:pt>
                <c:pt idx="340">
                  <c:v>1567425.4990000001</c:v>
                </c:pt>
                <c:pt idx="341">
                  <c:v>1567425.4990000001</c:v>
                </c:pt>
                <c:pt idx="342">
                  <c:v>1567425.4990000001</c:v>
                </c:pt>
                <c:pt idx="343">
                  <c:v>1567425.4990000001</c:v>
                </c:pt>
                <c:pt idx="344">
                  <c:v>1567425.4990000001</c:v>
                </c:pt>
                <c:pt idx="345">
                  <c:v>1567425.4990000001</c:v>
                </c:pt>
                <c:pt idx="346">
                  <c:v>1567425.4990000001</c:v>
                </c:pt>
                <c:pt idx="347">
                  <c:v>1567425.4990000001</c:v>
                </c:pt>
                <c:pt idx="348">
                  <c:v>1567425.4990000001</c:v>
                </c:pt>
                <c:pt idx="349">
                  <c:v>1567425.4990000001</c:v>
                </c:pt>
                <c:pt idx="350">
                  <c:v>1567425.4990000001</c:v>
                </c:pt>
                <c:pt idx="351">
                  <c:v>1567425.4990000001</c:v>
                </c:pt>
                <c:pt idx="352">
                  <c:v>1567425.4990000001</c:v>
                </c:pt>
                <c:pt idx="353">
                  <c:v>1567425.4990000001</c:v>
                </c:pt>
                <c:pt idx="354">
                  <c:v>1567425.4990000001</c:v>
                </c:pt>
                <c:pt idx="355">
                  <c:v>1567425.4990000001</c:v>
                </c:pt>
                <c:pt idx="356">
                  <c:v>1567425.4990000001</c:v>
                </c:pt>
                <c:pt idx="357">
                  <c:v>1567425.4990000001</c:v>
                </c:pt>
                <c:pt idx="358">
                  <c:v>1567425.4990000001</c:v>
                </c:pt>
                <c:pt idx="359">
                  <c:v>1567425.4990000001</c:v>
                </c:pt>
                <c:pt idx="360">
                  <c:v>1567425.4990000001</c:v>
                </c:pt>
                <c:pt idx="361">
                  <c:v>1567425.4990000001</c:v>
                </c:pt>
                <c:pt idx="362">
                  <c:v>1567425.4990000001</c:v>
                </c:pt>
                <c:pt idx="363">
                  <c:v>1567425.4990000001</c:v>
                </c:pt>
                <c:pt idx="364">
                  <c:v>1567425.4990000001</c:v>
                </c:pt>
                <c:pt idx="365">
                  <c:v>1567425.4990000001</c:v>
                </c:pt>
                <c:pt idx="366">
                  <c:v>1567425.4990000001</c:v>
                </c:pt>
                <c:pt idx="367">
                  <c:v>1567425.4990000001</c:v>
                </c:pt>
                <c:pt idx="368">
                  <c:v>1567425.4990000001</c:v>
                </c:pt>
                <c:pt idx="369">
                  <c:v>1567425.4990000001</c:v>
                </c:pt>
                <c:pt idx="370">
                  <c:v>1567425.4990000001</c:v>
                </c:pt>
                <c:pt idx="371">
                  <c:v>1567425.4990000001</c:v>
                </c:pt>
                <c:pt idx="372">
                  <c:v>1567425.4990000001</c:v>
                </c:pt>
                <c:pt idx="373">
                  <c:v>1567425.4990000001</c:v>
                </c:pt>
                <c:pt idx="374">
                  <c:v>1567425.4990000001</c:v>
                </c:pt>
                <c:pt idx="375">
                  <c:v>1567425.4990000001</c:v>
                </c:pt>
                <c:pt idx="376">
                  <c:v>1567425.4990000001</c:v>
                </c:pt>
                <c:pt idx="377">
                  <c:v>1567425.4990000001</c:v>
                </c:pt>
                <c:pt idx="378">
                  <c:v>1567425.4990000001</c:v>
                </c:pt>
                <c:pt idx="379">
                  <c:v>1567425.4990000001</c:v>
                </c:pt>
                <c:pt idx="380">
                  <c:v>1567425.4990000001</c:v>
                </c:pt>
                <c:pt idx="381">
                  <c:v>1567425.4990000001</c:v>
                </c:pt>
                <c:pt idx="382">
                  <c:v>1567425.4990000001</c:v>
                </c:pt>
                <c:pt idx="383">
                  <c:v>1567425.4990000001</c:v>
                </c:pt>
                <c:pt idx="384">
                  <c:v>1567425.4990000001</c:v>
                </c:pt>
                <c:pt idx="385">
                  <c:v>1567425.4990000001</c:v>
                </c:pt>
                <c:pt idx="386">
                  <c:v>1567425.4990000001</c:v>
                </c:pt>
                <c:pt idx="387">
                  <c:v>1567425.4990000001</c:v>
                </c:pt>
                <c:pt idx="388">
                  <c:v>1567425.4990000001</c:v>
                </c:pt>
                <c:pt idx="389">
                  <c:v>1567425.4990000001</c:v>
                </c:pt>
                <c:pt idx="390">
                  <c:v>1567425.4990000001</c:v>
                </c:pt>
                <c:pt idx="391">
                  <c:v>1567425.4990000001</c:v>
                </c:pt>
                <c:pt idx="392">
                  <c:v>1567425.4990000001</c:v>
                </c:pt>
                <c:pt idx="393">
                  <c:v>1567282.7209999999</c:v>
                </c:pt>
                <c:pt idx="394">
                  <c:v>1600547.7209999999</c:v>
                </c:pt>
                <c:pt idx="395">
                  <c:v>1610652.7209999999</c:v>
                </c:pt>
                <c:pt idx="396">
                  <c:v>1608187.7209999999</c:v>
                </c:pt>
                <c:pt idx="397">
                  <c:v>1617207.7209999999</c:v>
                </c:pt>
                <c:pt idx="398">
                  <c:v>1588672.7209999999</c:v>
                </c:pt>
                <c:pt idx="399">
                  <c:v>1587602.7209999999</c:v>
                </c:pt>
                <c:pt idx="400">
                  <c:v>1595422.7209999999</c:v>
                </c:pt>
                <c:pt idx="401">
                  <c:v>1561017.7209999999</c:v>
                </c:pt>
                <c:pt idx="402">
                  <c:v>1564552.7209999999</c:v>
                </c:pt>
                <c:pt idx="403">
                  <c:v>1568792.7209999999</c:v>
                </c:pt>
                <c:pt idx="404">
                  <c:v>1597012.7209999999</c:v>
                </c:pt>
                <c:pt idx="405">
                  <c:v>1591102.7209999999</c:v>
                </c:pt>
                <c:pt idx="406">
                  <c:v>1581527.7209999999</c:v>
                </c:pt>
                <c:pt idx="407">
                  <c:v>1600202.7209999999</c:v>
                </c:pt>
                <c:pt idx="408">
                  <c:v>1599612.7209999999</c:v>
                </c:pt>
                <c:pt idx="409">
                  <c:v>1627052.7209999999</c:v>
                </c:pt>
                <c:pt idx="410">
                  <c:v>1631062.7209999999</c:v>
                </c:pt>
                <c:pt idx="411">
                  <c:v>1629992.7209999999</c:v>
                </c:pt>
                <c:pt idx="412">
                  <c:v>1602737.7209999999</c:v>
                </c:pt>
                <c:pt idx="413">
                  <c:v>1605782.7209999999</c:v>
                </c:pt>
                <c:pt idx="414">
                  <c:v>1620667.7209999999</c:v>
                </c:pt>
                <c:pt idx="415">
                  <c:v>1622012.7209999999</c:v>
                </c:pt>
                <c:pt idx="416">
                  <c:v>1596102.7209999999</c:v>
                </c:pt>
                <c:pt idx="417">
                  <c:v>1568402.7209999999</c:v>
                </c:pt>
                <c:pt idx="418">
                  <c:v>1570192.7209999999</c:v>
                </c:pt>
                <c:pt idx="419">
                  <c:v>1564422.7209999999</c:v>
                </c:pt>
                <c:pt idx="420">
                  <c:v>1568247.7209999999</c:v>
                </c:pt>
                <c:pt idx="421">
                  <c:v>1592022.7209999999</c:v>
                </c:pt>
                <c:pt idx="422">
                  <c:v>1579962.7209999999</c:v>
                </c:pt>
                <c:pt idx="423">
                  <c:v>1576912.7209999999</c:v>
                </c:pt>
                <c:pt idx="424">
                  <c:v>1607292.7209999999</c:v>
                </c:pt>
                <c:pt idx="425">
                  <c:v>1661622.7209999999</c:v>
                </c:pt>
                <c:pt idx="426">
                  <c:v>1705957.7209999999</c:v>
                </c:pt>
                <c:pt idx="427">
                  <c:v>1725872.7209999999</c:v>
                </c:pt>
                <c:pt idx="428">
                  <c:v>1748297.7209999999</c:v>
                </c:pt>
                <c:pt idx="429">
                  <c:v>1751577.7209999999</c:v>
                </c:pt>
                <c:pt idx="430">
                  <c:v>1803347.7209999999</c:v>
                </c:pt>
                <c:pt idx="431">
                  <c:v>1792587.7209999999</c:v>
                </c:pt>
                <c:pt idx="432">
                  <c:v>1827342.7209999999</c:v>
                </c:pt>
                <c:pt idx="433">
                  <c:v>1837947.7209999999</c:v>
                </c:pt>
                <c:pt idx="434">
                  <c:v>1826852.7209999999</c:v>
                </c:pt>
                <c:pt idx="435">
                  <c:v>1828837.7209999999</c:v>
                </c:pt>
                <c:pt idx="436">
                  <c:v>1880047.7209999999</c:v>
                </c:pt>
                <c:pt idx="437">
                  <c:v>1872547.7209999999</c:v>
                </c:pt>
                <c:pt idx="438">
                  <c:v>1841442.7209999999</c:v>
                </c:pt>
                <c:pt idx="439">
                  <c:v>1838352.7209999999</c:v>
                </c:pt>
                <c:pt idx="440">
                  <c:v>1829497.7209999999</c:v>
                </c:pt>
                <c:pt idx="441">
                  <c:v>1876007.7209999999</c:v>
                </c:pt>
                <c:pt idx="442">
                  <c:v>1871072.7209999999</c:v>
                </c:pt>
                <c:pt idx="443">
                  <c:v>1849677.7209999999</c:v>
                </c:pt>
                <c:pt idx="444">
                  <c:v>1879762.7209999999</c:v>
                </c:pt>
                <c:pt idx="445">
                  <c:v>1899907.7209999999</c:v>
                </c:pt>
                <c:pt idx="446">
                  <c:v>1913792.7209999999</c:v>
                </c:pt>
                <c:pt idx="447">
                  <c:v>1901482.7209999999</c:v>
                </c:pt>
                <c:pt idx="448">
                  <c:v>1888887.7660000001</c:v>
                </c:pt>
                <c:pt idx="449">
                  <c:v>1888887.7660000001</c:v>
                </c:pt>
                <c:pt idx="450">
                  <c:v>1888887.7660000001</c:v>
                </c:pt>
                <c:pt idx="451">
                  <c:v>1888887.7660000001</c:v>
                </c:pt>
                <c:pt idx="452">
                  <c:v>1888887.7660000001</c:v>
                </c:pt>
                <c:pt idx="453">
                  <c:v>1888887.7660000001</c:v>
                </c:pt>
                <c:pt idx="454">
                  <c:v>1888887.7660000001</c:v>
                </c:pt>
                <c:pt idx="455">
                  <c:v>1888887.7660000001</c:v>
                </c:pt>
                <c:pt idx="456">
                  <c:v>1888887.7660000001</c:v>
                </c:pt>
                <c:pt idx="457">
                  <c:v>1888887.7660000001</c:v>
                </c:pt>
                <c:pt idx="458">
                  <c:v>1888887.7660000001</c:v>
                </c:pt>
                <c:pt idx="459">
                  <c:v>1888887.7660000001</c:v>
                </c:pt>
                <c:pt idx="460">
                  <c:v>1888887.7660000001</c:v>
                </c:pt>
                <c:pt idx="461">
                  <c:v>1888887.7660000001</c:v>
                </c:pt>
                <c:pt idx="462">
                  <c:v>1888887.7660000001</c:v>
                </c:pt>
                <c:pt idx="463">
                  <c:v>1888887.7660000001</c:v>
                </c:pt>
                <c:pt idx="464">
                  <c:v>1888887.7660000001</c:v>
                </c:pt>
                <c:pt idx="465">
                  <c:v>1888887.7660000001</c:v>
                </c:pt>
                <c:pt idx="466">
                  <c:v>1888887.7660000001</c:v>
                </c:pt>
                <c:pt idx="467">
                  <c:v>1888727.7490000001</c:v>
                </c:pt>
                <c:pt idx="468">
                  <c:v>1874497.7490000001</c:v>
                </c:pt>
                <c:pt idx="469">
                  <c:v>1850242.7490000001</c:v>
                </c:pt>
                <c:pt idx="470">
                  <c:v>1869547.7490000001</c:v>
                </c:pt>
                <c:pt idx="471">
                  <c:v>1919087.7490000001</c:v>
                </c:pt>
                <c:pt idx="472">
                  <c:v>1923292.7490000001</c:v>
                </c:pt>
                <c:pt idx="473">
                  <c:v>1912215.3670000001</c:v>
                </c:pt>
                <c:pt idx="474">
                  <c:v>1912215.3670000001</c:v>
                </c:pt>
                <c:pt idx="475">
                  <c:v>1912215.3670000001</c:v>
                </c:pt>
                <c:pt idx="476">
                  <c:v>1912215.3670000001</c:v>
                </c:pt>
                <c:pt idx="477">
                  <c:v>1912215.3670000001</c:v>
                </c:pt>
                <c:pt idx="478">
                  <c:v>1912215.3670000001</c:v>
                </c:pt>
                <c:pt idx="479">
                  <c:v>1912215.3670000001</c:v>
                </c:pt>
                <c:pt idx="480">
                  <c:v>1912215.3670000001</c:v>
                </c:pt>
                <c:pt idx="481">
                  <c:v>1912215.3670000001</c:v>
                </c:pt>
                <c:pt idx="482">
                  <c:v>1912215.3670000001</c:v>
                </c:pt>
                <c:pt idx="483">
                  <c:v>1912215.3670000001</c:v>
                </c:pt>
                <c:pt idx="484">
                  <c:v>1912215.3670000001</c:v>
                </c:pt>
                <c:pt idx="485">
                  <c:v>1912215.3670000001</c:v>
                </c:pt>
                <c:pt idx="486">
                  <c:v>1912215.3670000001</c:v>
                </c:pt>
                <c:pt idx="487">
                  <c:v>1912215.3670000001</c:v>
                </c:pt>
                <c:pt idx="488">
                  <c:v>1912215.3670000001</c:v>
                </c:pt>
                <c:pt idx="489">
                  <c:v>1912215.3670000001</c:v>
                </c:pt>
                <c:pt idx="490">
                  <c:v>1912215.3670000001</c:v>
                </c:pt>
                <c:pt idx="491">
                  <c:v>1912215.3670000001</c:v>
                </c:pt>
                <c:pt idx="492">
                  <c:v>1912215.3670000001</c:v>
                </c:pt>
                <c:pt idx="493">
                  <c:v>1912215.3670000001</c:v>
                </c:pt>
                <c:pt idx="494">
                  <c:v>1912215.3670000001</c:v>
                </c:pt>
                <c:pt idx="495">
                  <c:v>1912036.906</c:v>
                </c:pt>
                <c:pt idx="496">
                  <c:v>1914016.906</c:v>
                </c:pt>
                <c:pt idx="497">
                  <c:v>1954336.906</c:v>
                </c:pt>
                <c:pt idx="498">
                  <c:v>1894252.906</c:v>
                </c:pt>
                <c:pt idx="499">
                  <c:v>1917502.906</c:v>
                </c:pt>
                <c:pt idx="500">
                  <c:v>1899964.906</c:v>
                </c:pt>
                <c:pt idx="501">
                  <c:v>1890616.906</c:v>
                </c:pt>
                <c:pt idx="502">
                  <c:v>1914484.906</c:v>
                </c:pt>
                <c:pt idx="503">
                  <c:v>1943308.906</c:v>
                </c:pt>
                <c:pt idx="504">
                  <c:v>1949470.906</c:v>
                </c:pt>
                <c:pt idx="505">
                  <c:v>1973332.906</c:v>
                </c:pt>
                <c:pt idx="506">
                  <c:v>1973794.906</c:v>
                </c:pt>
                <c:pt idx="507">
                  <c:v>1951996.906</c:v>
                </c:pt>
                <c:pt idx="508">
                  <c:v>1989922.906</c:v>
                </c:pt>
                <c:pt idx="509">
                  <c:v>2000002.906</c:v>
                </c:pt>
                <c:pt idx="510">
                  <c:v>2058910.906</c:v>
                </c:pt>
                <c:pt idx="511">
                  <c:v>2058028.906</c:v>
                </c:pt>
                <c:pt idx="512">
                  <c:v>2076544.906</c:v>
                </c:pt>
                <c:pt idx="513">
                  <c:v>2074972.906</c:v>
                </c:pt>
                <c:pt idx="514">
                  <c:v>2054554.906</c:v>
                </c:pt>
                <c:pt idx="515">
                  <c:v>2082172.906</c:v>
                </c:pt>
                <c:pt idx="516">
                  <c:v>2025574.906</c:v>
                </c:pt>
                <c:pt idx="517">
                  <c:v>2032270.906</c:v>
                </c:pt>
                <c:pt idx="518">
                  <c:v>2041990.906</c:v>
                </c:pt>
                <c:pt idx="519">
                  <c:v>2045998.906</c:v>
                </c:pt>
                <c:pt idx="520">
                  <c:v>2071162.906</c:v>
                </c:pt>
                <c:pt idx="521">
                  <c:v>2080360.906</c:v>
                </c:pt>
                <c:pt idx="522">
                  <c:v>2073406.906</c:v>
                </c:pt>
                <c:pt idx="523">
                  <c:v>2060458.906</c:v>
                </c:pt>
                <c:pt idx="524">
                  <c:v>2089828.906</c:v>
                </c:pt>
                <c:pt idx="525">
                  <c:v>2128132.906</c:v>
                </c:pt>
                <c:pt idx="526">
                  <c:v>2129902.906</c:v>
                </c:pt>
                <c:pt idx="527">
                  <c:v>2130742.906</c:v>
                </c:pt>
                <c:pt idx="528">
                  <c:v>2095582.906</c:v>
                </c:pt>
                <c:pt idx="529">
                  <c:v>2075854.906</c:v>
                </c:pt>
                <c:pt idx="530">
                  <c:v>2085178.906</c:v>
                </c:pt>
                <c:pt idx="531">
                  <c:v>2049802.906</c:v>
                </c:pt>
                <c:pt idx="532">
                  <c:v>2076346.906</c:v>
                </c:pt>
                <c:pt idx="533">
                  <c:v>2045686.906</c:v>
                </c:pt>
                <c:pt idx="534">
                  <c:v>2056840.906</c:v>
                </c:pt>
                <c:pt idx="535">
                  <c:v>2051692.906</c:v>
                </c:pt>
                <c:pt idx="536">
                  <c:v>2061202.906</c:v>
                </c:pt>
                <c:pt idx="537">
                  <c:v>2086384.906</c:v>
                </c:pt>
                <c:pt idx="538">
                  <c:v>2078242.906</c:v>
                </c:pt>
                <c:pt idx="539">
                  <c:v>2104114.906</c:v>
                </c:pt>
                <c:pt idx="540">
                  <c:v>2101768.906</c:v>
                </c:pt>
                <c:pt idx="541">
                  <c:v>2082214.906</c:v>
                </c:pt>
                <c:pt idx="542">
                  <c:v>2081074.906</c:v>
                </c:pt>
                <c:pt idx="543">
                  <c:v>2061400.906</c:v>
                </c:pt>
                <c:pt idx="544">
                  <c:v>2091064.906</c:v>
                </c:pt>
                <c:pt idx="545">
                  <c:v>2114068.906</c:v>
                </c:pt>
                <c:pt idx="546">
                  <c:v>2122078.906</c:v>
                </c:pt>
                <c:pt idx="547">
                  <c:v>2139442.906</c:v>
                </c:pt>
                <c:pt idx="548">
                  <c:v>2127484.906</c:v>
                </c:pt>
                <c:pt idx="549">
                  <c:v>2123488.906</c:v>
                </c:pt>
                <c:pt idx="550">
                  <c:v>2150644.906</c:v>
                </c:pt>
                <c:pt idx="551">
                  <c:v>2139562.906</c:v>
                </c:pt>
                <c:pt idx="552">
                  <c:v>2142790.906</c:v>
                </c:pt>
                <c:pt idx="553">
                  <c:v>2143090.906</c:v>
                </c:pt>
                <c:pt idx="554">
                  <c:v>2104912.906</c:v>
                </c:pt>
                <c:pt idx="555">
                  <c:v>2104882.906</c:v>
                </c:pt>
                <c:pt idx="556">
                  <c:v>2117848.906</c:v>
                </c:pt>
                <c:pt idx="557">
                  <c:v>2107390.906</c:v>
                </c:pt>
                <c:pt idx="558">
                  <c:v>2077168.906</c:v>
                </c:pt>
                <c:pt idx="559">
                  <c:v>2066002.906</c:v>
                </c:pt>
                <c:pt idx="560">
                  <c:v>2053126.906</c:v>
                </c:pt>
                <c:pt idx="561">
                  <c:v>2024494.906</c:v>
                </c:pt>
                <c:pt idx="562">
                  <c:v>2043058.906</c:v>
                </c:pt>
                <c:pt idx="563">
                  <c:v>2054104.906</c:v>
                </c:pt>
                <c:pt idx="564">
                  <c:v>2004844.906</c:v>
                </c:pt>
                <c:pt idx="565">
                  <c:v>2003098.906</c:v>
                </c:pt>
                <c:pt idx="566">
                  <c:v>2000266.906</c:v>
                </c:pt>
                <c:pt idx="567">
                  <c:v>2005282.906</c:v>
                </c:pt>
                <c:pt idx="568">
                  <c:v>2019358.906</c:v>
                </c:pt>
                <c:pt idx="569">
                  <c:v>2014480.906</c:v>
                </c:pt>
                <c:pt idx="570">
                  <c:v>1988386.906</c:v>
                </c:pt>
                <c:pt idx="571">
                  <c:v>2004280.906</c:v>
                </c:pt>
                <c:pt idx="572">
                  <c:v>1987702.906</c:v>
                </c:pt>
                <c:pt idx="573">
                  <c:v>1997044.906</c:v>
                </c:pt>
                <c:pt idx="574">
                  <c:v>2011054.906</c:v>
                </c:pt>
                <c:pt idx="575">
                  <c:v>1999810.906</c:v>
                </c:pt>
                <c:pt idx="576">
                  <c:v>2000386.906</c:v>
                </c:pt>
                <c:pt idx="577">
                  <c:v>1941214.906</c:v>
                </c:pt>
                <c:pt idx="578">
                  <c:v>1943158.906</c:v>
                </c:pt>
                <c:pt idx="579">
                  <c:v>1921630.906</c:v>
                </c:pt>
                <c:pt idx="580">
                  <c:v>1914454.906</c:v>
                </c:pt>
                <c:pt idx="581">
                  <c:v>1905412.906</c:v>
                </c:pt>
                <c:pt idx="582">
                  <c:v>1900132.906</c:v>
                </c:pt>
                <c:pt idx="583">
                  <c:v>1928362.906</c:v>
                </c:pt>
                <c:pt idx="584">
                  <c:v>1929928.906</c:v>
                </c:pt>
                <c:pt idx="585">
                  <c:v>1900852.906</c:v>
                </c:pt>
                <c:pt idx="586">
                  <c:v>1919236.906</c:v>
                </c:pt>
                <c:pt idx="587">
                  <c:v>1929982.906</c:v>
                </c:pt>
                <c:pt idx="588">
                  <c:v>1932616.906</c:v>
                </c:pt>
                <c:pt idx="589">
                  <c:v>1898560.906</c:v>
                </c:pt>
                <c:pt idx="590">
                  <c:v>1904584.906</c:v>
                </c:pt>
                <c:pt idx="591">
                  <c:v>1897636.906</c:v>
                </c:pt>
                <c:pt idx="592">
                  <c:v>1923562.906</c:v>
                </c:pt>
                <c:pt idx="593">
                  <c:v>1905298.906</c:v>
                </c:pt>
                <c:pt idx="594">
                  <c:v>1877974.906</c:v>
                </c:pt>
                <c:pt idx="595">
                  <c:v>1862722.906</c:v>
                </c:pt>
                <c:pt idx="596">
                  <c:v>1852366.906</c:v>
                </c:pt>
                <c:pt idx="597">
                  <c:v>1872868.906</c:v>
                </c:pt>
                <c:pt idx="598">
                  <c:v>1872574.906</c:v>
                </c:pt>
                <c:pt idx="599">
                  <c:v>1902004.906</c:v>
                </c:pt>
                <c:pt idx="600">
                  <c:v>1943908.906</c:v>
                </c:pt>
                <c:pt idx="601">
                  <c:v>1949320.906</c:v>
                </c:pt>
                <c:pt idx="602">
                  <c:v>1952464.906</c:v>
                </c:pt>
                <c:pt idx="603">
                  <c:v>1927528.906</c:v>
                </c:pt>
                <c:pt idx="604">
                  <c:v>1953880.906</c:v>
                </c:pt>
                <c:pt idx="605">
                  <c:v>1957276.906</c:v>
                </c:pt>
                <c:pt idx="606">
                  <c:v>2000614.906</c:v>
                </c:pt>
                <c:pt idx="607">
                  <c:v>2000926.906</c:v>
                </c:pt>
                <c:pt idx="608">
                  <c:v>1995652.906</c:v>
                </c:pt>
                <c:pt idx="609">
                  <c:v>1988434.906</c:v>
                </c:pt>
                <c:pt idx="610">
                  <c:v>1992934.906</c:v>
                </c:pt>
                <c:pt idx="611">
                  <c:v>1995352.906</c:v>
                </c:pt>
                <c:pt idx="612">
                  <c:v>1961572.906</c:v>
                </c:pt>
                <c:pt idx="613">
                  <c:v>1991176.906</c:v>
                </c:pt>
                <c:pt idx="614">
                  <c:v>1996876.906</c:v>
                </c:pt>
                <c:pt idx="615">
                  <c:v>2004760.906</c:v>
                </c:pt>
                <c:pt idx="616">
                  <c:v>2000986.906</c:v>
                </c:pt>
                <c:pt idx="617">
                  <c:v>1984319.1980000001</c:v>
                </c:pt>
                <c:pt idx="618">
                  <c:v>1984319.1980000001</c:v>
                </c:pt>
                <c:pt idx="619">
                  <c:v>1984319.1980000001</c:v>
                </c:pt>
                <c:pt idx="620">
                  <c:v>1984319.1980000001</c:v>
                </c:pt>
                <c:pt idx="621">
                  <c:v>1984319.1980000001</c:v>
                </c:pt>
                <c:pt idx="622">
                  <c:v>1984319.1980000001</c:v>
                </c:pt>
                <c:pt idx="623">
                  <c:v>1984319.1980000001</c:v>
                </c:pt>
                <c:pt idx="624">
                  <c:v>1984319.1980000001</c:v>
                </c:pt>
                <c:pt idx="625">
                  <c:v>1984319.1980000001</c:v>
                </c:pt>
                <c:pt idx="626">
                  <c:v>1984319.1980000001</c:v>
                </c:pt>
                <c:pt idx="627">
                  <c:v>1984319.1980000001</c:v>
                </c:pt>
                <c:pt idx="628">
                  <c:v>1984319.1980000001</c:v>
                </c:pt>
                <c:pt idx="629">
                  <c:v>1984319.1980000001</c:v>
                </c:pt>
                <c:pt idx="630">
                  <c:v>1984319.1980000001</c:v>
                </c:pt>
                <c:pt idx="631">
                  <c:v>1984319.1980000001</c:v>
                </c:pt>
                <c:pt idx="632">
                  <c:v>1984319.1980000001</c:v>
                </c:pt>
                <c:pt idx="633">
                  <c:v>1984319.1980000001</c:v>
                </c:pt>
                <c:pt idx="634">
                  <c:v>1984319.1980000001</c:v>
                </c:pt>
                <c:pt idx="635">
                  <c:v>1984319.1980000001</c:v>
                </c:pt>
                <c:pt idx="636">
                  <c:v>1984319.1980000001</c:v>
                </c:pt>
                <c:pt idx="637">
                  <c:v>1984319.1980000001</c:v>
                </c:pt>
                <c:pt idx="638">
                  <c:v>1984319.1980000001</c:v>
                </c:pt>
                <c:pt idx="639">
                  <c:v>1984319.1980000001</c:v>
                </c:pt>
                <c:pt idx="640">
                  <c:v>1984319.1980000001</c:v>
                </c:pt>
                <c:pt idx="641">
                  <c:v>1984319.1980000001</c:v>
                </c:pt>
                <c:pt idx="642">
                  <c:v>1984319.1980000001</c:v>
                </c:pt>
                <c:pt idx="643">
                  <c:v>1984319.1980000001</c:v>
                </c:pt>
                <c:pt idx="644">
                  <c:v>1984319.1980000001</c:v>
                </c:pt>
                <c:pt idx="645">
                  <c:v>1984319.1980000001</c:v>
                </c:pt>
                <c:pt idx="646">
                  <c:v>1984319.1980000001</c:v>
                </c:pt>
                <c:pt idx="647">
                  <c:v>1984319.1980000001</c:v>
                </c:pt>
                <c:pt idx="648">
                  <c:v>1984319.1980000001</c:v>
                </c:pt>
                <c:pt idx="649">
                  <c:v>1984319.1980000001</c:v>
                </c:pt>
                <c:pt idx="650">
                  <c:v>1984319.1980000001</c:v>
                </c:pt>
                <c:pt idx="651">
                  <c:v>1984319.1980000001</c:v>
                </c:pt>
                <c:pt idx="652">
                  <c:v>1984319.1980000001</c:v>
                </c:pt>
                <c:pt idx="653">
                  <c:v>1984319.1980000001</c:v>
                </c:pt>
                <c:pt idx="654">
                  <c:v>1984319.1980000001</c:v>
                </c:pt>
                <c:pt idx="655">
                  <c:v>1984319.1980000001</c:v>
                </c:pt>
                <c:pt idx="656">
                  <c:v>1984319.1980000001</c:v>
                </c:pt>
                <c:pt idx="657">
                  <c:v>1984127.88</c:v>
                </c:pt>
                <c:pt idx="658">
                  <c:v>1981285.88</c:v>
                </c:pt>
                <c:pt idx="659">
                  <c:v>1984743.88</c:v>
                </c:pt>
                <c:pt idx="660">
                  <c:v>1946439.88</c:v>
                </c:pt>
                <c:pt idx="661">
                  <c:v>1953845.88</c:v>
                </c:pt>
                <c:pt idx="662">
                  <c:v>2010657.88</c:v>
                </c:pt>
                <c:pt idx="663">
                  <c:v>1950933.88</c:v>
                </c:pt>
                <c:pt idx="664">
                  <c:v>1939586.88</c:v>
                </c:pt>
                <c:pt idx="665">
                  <c:v>1898594.88</c:v>
                </c:pt>
                <c:pt idx="666">
                  <c:v>1917466.88</c:v>
                </c:pt>
                <c:pt idx="667">
                  <c:v>1898363.88</c:v>
                </c:pt>
                <c:pt idx="668">
                  <c:v>1882683.88</c:v>
                </c:pt>
                <c:pt idx="669">
                  <c:v>1877895.88</c:v>
                </c:pt>
                <c:pt idx="670">
                  <c:v>1860906.88</c:v>
                </c:pt>
                <c:pt idx="671">
                  <c:v>1857343.88</c:v>
                </c:pt>
                <c:pt idx="672">
                  <c:v>1922282.88</c:v>
                </c:pt>
                <c:pt idx="673">
                  <c:v>1934770.88</c:v>
                </c:pt>
                <c:pt idx="674">
                  <c:v>1928596.88</c:v>
                </c:pt>
                <c:pt idx="675">
                  <c:v>1937815.88</c:v>
                </c:pt>
                <c:pt idx="676">
                  <c:v>1885497.88</c:v>
                </c:pt>
                <c:pt idx="677">
                  <c:v>1879106.88</c:v>
                </c:pt>
                <c:pt idx="678">
                  <c:v>1835321.88</c:v>
                </c:pt>
                <c:pt idx="679">
                  <c:v>1826466.88</c:v>
                </c:pt>
                <c:pt idx="680">
                  <c:v>1874619.88</c:v>
                </c:pt>
                <c:pt idx="681">
                  <c:v>1908751.88</c:v>
                </c:pt>
                <c:pt idx="682">
                  <c:v>1927105.88</c:v>
                </c:pt>
                <c:pt idx="683">
                  <c:v>1931186.88</c:v>
                </c:pt>
                <c:pt idx="684">
                  <c:v>1967075.2490000001</c:v>
                </c:pt>
                <c:pt idx="685">
                  <c:v>1967075.2490000001</c:v>
                </c:pt>
                <c:pt idx="686">
                  <c:v>1967075.2490000001</c:v>
                </c:pt>
                <c:pt idx="687">
                  <c:v>1967075.2490000001</c:v>
                </c:pt>
                <c:pt idx="688">
                  <c:v>1967075.2490000001</c:v>
                </c:pt>
                <c:pt idx="689">
                  <c:v>1967075.2490000001</c:v>
                </c:pt>
                <c:pt idx="690">
                  <c:v>1967075.2490000001</c:v>
                </c:pt>
                <c:pt idx="691">
                  <c:v>1967075.2490000001</c:v>
                </c:pt>
                <c:pt idx="692">
                  <c:v>1967075.2490000001</c:v>
                </c:pt>
                <c:pt idx="693">
                  <c:v>1967075.2490000001</c:v>
                </c:pt>
                <c:pt idx="694">
                  <c:v>1967075.2490000001</c:v>
                </c:pt>
                <c:pt idx="695">
                  <c:v>1967075.2490000001</c:v>
                </c:pt>
                <c:pt idx="696">
                  <c:v>1967075.2490000001</c:v>
                </c:pt>
                <c:pt idx="697">
                  <c:v>1967075.2490000001</c:v>
                </c:pt>
                <c:pt idx="698">
                  <c:v>1967075.2490000001</c:v>
                </c:pt>
                <c:pt idx="699">
                  <c:v>1967075.2490000001</c:v>
                </c:pt>
                <c:pt idx="700">
                  <c:v>1967075.2490000001</c:v>
                </c:pt>
                <c:pt idx="701">
                  <c:v>1967075.2490000001</c:v>
                </c:pt>
                <c:pt idx="702">
                  <c:v>1967075.2490000001</c:v>
                </c:pt>
                <c:pt idx="703">
                  <c:v>1967075.2490000001</c:v>
                </c:pt>
                <c:pt idx="704">
                  <c:v>1967075.2490000001</c:v>
                </c:pt>
                <c:pt idx="705">
                  <c:v>1967075.2490000001</c:v>
                </c:pt>
                <c:pt idx="706">
                  <c:v>1967075.2490000001</c:v>
                </c:pt>
                <c:pt idx="707">
                  <c:v>1967075.2490000001</c:v>
                </c:pt>
                <c:pt idx="708">
                  <c:v>1967075.2490000001</c:v>
                </c:pt>
                <c:pt idx="709">
                  <c:v>1967075.2490000001</c:v>
                </c:pt>
                <c:pt idx="710">
                  <c:v>1967075.2490000001</c:v>
                </c:pt>
                <c:pt idx="711">
                  <c:v>1967075.2490000001</c:v>
                </c:pt>
                <c:pt idx="712">
                  <c:v>1967075.2490000001</c:v>
                </c:pt>
                <c:pt idx="713">
                  <c:v>1967075.2490000001</c:v>
                </c:pt>
                <c:pt idx="714">
                  <c:v>1967075.2490000001</c:v>
                </c:pt>
                <c:pt idx="715">
                  <c:v>1967075.2490000001</c:v>
                </c:pt>
                <c:pt idx="716">
                  <c:v>1967075.2490000001</c:v>
                </c:pt>
                <c:pt idx="717">
                  <c:v>1967075.2490000001</c:v>
                </c:pt>
                <c:pt idx="718">
                  <c:v>1967075.2490000001</c:v>
                </c:pt>
                <c:pt idx="719">
                  <c:v>1967075.2490000001</c:v>
                </c:pt>
                <c:pt idx="720">
                  <c:v>1967075.2490000001</c:v>
                </c:pt>
                <c:pt idx="721">
                  <c:v>1967075.2490000001</c:v>
                </c:pt>
                <c:pt idx="722">
                  <c:v>1967075.2490000001</c:v>
                </c:pt>
                <c:pt idx="723">
                  <c:v>1967075.2490000001</c:v>
                </c:pt>
                <c:pt idx="724">
                  <c:v>1967075.2490000001</c:v>
                </c:pt>
                <c:pt idx="725">
                  <c:v>1967075.2490000001</c:v>
                </c:pt>
                <c:pt idx="726">
                  <c:v>1967075.2490000001</c:v>
                </c:pt>
                <c:pt idx="727">
                  <c:v>1967075.2490000001</c:v>
                </c:pt>
                <c:pt idx="728">
                  <c:v>1967075.2490000001</c:v>
                </c:pt>
                <c:pt idx="729">
                  <c:v>1967075.2490000001</c:v>
                </c:pt>
                <c:pt idx="730">
                  <c:v>1967075.2490000001</c:v>
                </c:pt>
                <c:pt idx="731">
                  <c:v>1967075.2490000001</c:v>
                </c:pt>
                <c:pt idx="732">
                  <c:v>1967075.2490000001</c:v>
                </c:pt>
                <c:pt idx="733">
                  <c:v>1967075.2490000001</c:v>
                </c:pt>
                <c:pt idx="734">
                  <c:v>1967075.2490000001</c:v>
                </c:pt>
                <c:pt idx="735">
                  <c:v>1967075.2490000001</c:v>
                </c:pt>
                <c:pt idx="736">
                  <c:v>1967075.2490000001</c:v>
                </c:pt>
                <c:pt idx="737">
                  <c:v>1967075.2490000001</c:v>
                </c:pt>
                <c:pt idx="738">
                  <c:v>1967075.2490000001</c:v>
                </c:pt>
                <c:pt idx="739">
                  <c:v>1967075.2490000001</c:v>
                </c:pt>
                <c:pt idx="740">
                  <c:v>1967075.2490000001</c:v>
                </c:pt>
                <c:pt idx="741">
                  <c:v>1967075.2490000001</c:v>
                </c:pt>
                <c:pt idx="742">
                  <c:v>1966899.963</c:v>
                </c:pt>
                <c:pt idx="743">
                  <c:v>1936540.963</c:v>
                </c:pt>
                <c:pt idx="744">
                  <c:v>1939018.963</c:v>
                </c:pt>
                <c:pt idx="745">
                  <c:v>1914329.963</c:v>
                </c:pt>
                <c:pt idx="746">
                  <c:v>1954404.963</c:v>
                </c:pt>
                <c:pt idx="747">
                  <c:v>1968299.963</c:v>
                </c:pt>
                <c:pt idx="748">
                  <c:v>1967060.963</c:v>
                </c:pt>
                <c:pt idx="749">
                  <c:v>1934601.963</c:v>
                </c:pt>
                <c:pt idx="750">
                  <c:v>1983804.963</c:v>
                </c:pt>
                <c:pt idx="751">
                  <c:v>1984497.963</c:v>
                </c:pt>
                <c:pt idx="752">
                  <c:v>1987570.963</c:v>
                </c:pt>
                <c:pt idx="753">
                  <c:v>1986245.7239999999</c:v>
                </c:pt>
                <c:pt idx="754">
                  <c:v>1986245.7239999999</c:v>
                </c:pt>
                <c:pt idx="755">
                  <c:v>1986245.7239999999</c:v>
                </c:pt>
                <c:pt idx="756">
                  <c:v>1986245.7239999999</c:v>
                </c:pt>
                <c:pt idx="757">
                  <c:v>1986245.7239999999</c:v>
                </c:pt>
                <c:pt idx="758">
                  <c:v>1986245.7239999999</c:v>
                </c:pt>
                <c:pt idx="759">
                  <c:v>1986245.7239999999</c:v>
                </c:pt>
                <c:pt idx="760">
                  <c:v>1986245.7239999999</c:v>
                </c:pt>
                <c:pt idx="761">
                  <c:v>1986245.7239999999</c:v>
                </c:pt>
                <c:pt idx="762">
                  <c:v>1986245.7239999999</c:v>
                </c:pt>
                <c:pt idx="763">
                  <c:v>1986245.7239999999</c:v>
                </c:pt>
                <c:pt idx="764">
                  <c:v>1986245.7239999999</c:v>
                </c:pt>
                <c:pt idx="765">
                  <c:v>1986245.7239999999</c:v>
                </c:pt>
                <c:pt idx="766">
                  <c:v>1986245.7239999999</c:v>
                </c:pt>
                <c:pt idx="767">
                  <c:v>1986245.7239999999</c:v>
                </c:pt>
                <c:pt idx="768">
                  <c:v>1986245.7239999999</c:v>
                </c:pt>
                <c:pt idx="769">
                  <c:v>1986245.7239999999</c:v>
                </c:pt>
                <c:pt idx="770">
                  <c:v>1986245.7239999999</c:v>
                </c:pt>
                <c:pt idx="771">
                  <c:v>1986245.7239999999</c:v>
                </c:pt>
                <c:pt idx="772">
                  <c:v>1986245.7239999999</c:v>
                </c:pt>
                <c:pt idx="773">
                  <c:v>1986245.7239999999</c:v>
                </c:pt>
                <c:pt idx="774">
                  <c:v>1986245.7239999999</c:v>
                </c:pt>
                <c:pt idx="775">
                  <c:v>1986245.7239999999</c:v>
                </c:pt>
                <c:pt idx="776">
                  <c:v>1986245.7239999999</c:v>
                </c:pt>
                <c:pt idx="777">
                  <c:v>1986245.7239999999</c:v>
                </c:pt>
                <c:pt idx="778">
                  <c:v>1986245.7239999999</c:v>
                </c:pt>
                <c:pt idx="779">
                  <c:v>1986245.7239999999</c:v>
                </c:pt>
                <c:pt idx="780">
                  <c:v>1986245.7239999999</c:v>
                </c:pt>
                <c:pt idx="781">
                  <c:v>1986245.7239999999</c:v>
                </c:pt>
                <c:pt idx="782">
                  <c:v>1986245.7239999999</c:v>
                </c:pt>
                <c:pt idx="783">
                  <c:v>1986245.7239999999</c:v>
                </c:pt>
                <c:pt idx="784">
                  <c:v>1986245.7239999999</c:v>
                </c:pt>
                <c:pt idx="785">
                  <c:v>1986047.7320000001</c:v>
                </c:pt>
                <c:pt idx="786">
                  <c:v>1960623.7320000001</c:v>
                </c:pt>
                <c:pt idx="787">
                  <c:v>1970047.7320000001</c:v>
                </c:pt>
                <c:pt idx="788">
                  <c:v>2016391.7320000001</c:v>
                </c:pt>
                <c:pt idx="789">
                  <c:v>2021991.7320000001</c:v>
                </c:pt>
                <c:pt idx="790">
                  <c:v>2002247.7320000001</c:v>
                </c:pt>
                <c:pt idx="791">
                  <c:v>2021959.7320000001</c:v>
                </c:pt>
                <c:pt idx="792">
                  <c:v>2022159.7320000001</c:v>
                </c:pt>
                <c:pt idx="793">
                  <c:v>2062479.7320000001</c:v>
                </c:pt>
                <c:pt idx="794">
                  <c:v>2070487.7320000001</c:v>
                </c:pt>
                <c:pt idx="795">
                  <c:v>2065359.7320000001</c:v>
                </c:pt>
                <c:pt idx="796">
                  <c:v>2039631.7320000001</c:v>
                </c:pt>
                <c:pt idx="797">
                  <c:v>2086055.7320000001</c:v>
                </c:pt>
                <c:pt idx="798">
                  <c:v>2082975.7320000001</c:v>
                </c:pt>
                <c:pt idx="799">
                  <c:v>2107599.7319999998</c:v>
                </c:pt>
                <c:pt idx="800">
                  <c:v>2090959.7320000001</c:v>
                </c:pt>
                <c:pt idx="801">
                  <c:v>2090023.7320000001</c:v>
                </c:pt>
                <c:pt idx="802">
                  <c:v>2106919.7319999998</c:v>
                </c:pt>
                <c:pt idx="803">
                  <c:v>2111319.7319999998</c:v>
                </c:pt>
                <c:pt idx="804">
                  <c:v>2107055.7319999998</c:v>
                </c:pt>
                <c:pt idx="805">
                  <c:v>2152919.7319999998</c:v>
                </c:pt>
                <c:pt idx="806">
                  <c:v>2159343.7319999998</c:v>
                </c:pt>
                <c:pt idx="807">
                  <c:v>2178831.7319999998</c:v>
                </c:pt>
                <c:pt idx="808">
                  <c:v>2180351.7319999998</c:v>
                </c:pt>
                <c:pt idx="809">
                  <c:v>2173423.7319999998</c:v>
                </c:pt>
                <c:pt idx="810">
                  <c:v>2132135.7319999998</c:v>
                </c:pt>
                <c:pt idx="811">
                  <c:v>2131895.7319999998</c:v>
                </c:pt>
                <c:pt idx="812">
                  <c:v>2115663.7319999998</c:v>
                </c:pt>
                <c:pt idx="813">
                  <c:v>2098551.7319999998</c:v>
                </c:pt>
                <c:pt idx="814">
                  <c:v>2100023.7319999998</c:v>
                </c:pt>
                <c:pt idx="815">
                  <c:v>2065847.7320000001</c:v>
                </c:pt>
                <c:pt idx="816">
                  <c:v>2097279.7319999998</c:v>
                </c:pt>
                <c:pt idx="817">
                  <c:v>2065311.7320000001</c:v>
                </c:pt>
                <c:pt idx="818">
                  <c:v>2075911.7320000001</c:v>
                </c:pt>
                <c:pt idx="819">
                  <c:v>2108151.7319999998</c:v>
                </c:pt>
                <c:pt idx="820">
                  <c:v>2099623.7319999998</c:v>
                </c:pt>
                <c:pt idx="821">
                  <c:v>2082335.7320000001</c:v>
                </c:pt>
                <c:pt idx="822">
                  <c:v>2064607.7320000001</c:v>
                </c:pt>
                <c:pt idx="823">
                  <c:v>2097879.7319999998</c:v>
                </c:pt>
                <c:pt idx="824">
                  <c:v>2126807.7319999998</c:v>
                </c:pt>
                <c:pt idx="825">
                  <c:v>2119935.7319999998</c:v>
                </c:pt>
                <c:pt idx="826">
                  <c:v>2111759.7319999998</c:v>
                </c:pt>
                <c:pt idx="827">
                  <c:v>2112527.7319999998</c:v>
                </c:pt>
                <c:pt idx="828">
                  <c:v>2053147.01</c:v>
                </c:pt>
                <c:pt idx="829">
                  <c:v>2053147.01</c:v>
                </c:pt>
                <c:pt idx="830">
                  <c:v>2053147.01</c:v>
                </c:pt>
                <c:pt idx="831">
                  <c:v>2053147.01</c:v>
                </c:pt>
                <c:pt idx="832">
                  <c:v>2053147.01</c:v>
                </c:pt>
                <c:pt idx="833">
                  <c:v>2053147.01</c:v>
                </c:pt>
                <c:pt idx="834">
                  <c:v>2053147.01</c:v>
                </c:pt>
                <c:pt idx="835">
                  <c:v>2053147.01</c:v>
                </c:pt>
                <c:pt idx="836">
                  <c:v>2053147.01</c:v>
                </c:pt>
                <c:pt idx="837">
                  <c:v>2053147.01</c:v>
                </c:pt>
                <c:pt idx="838">
                  <c:v>2053147.01</c:v>
                </c:pt>
                <c:pt idx="839">
                  <c:v>2053147.01</c:v>
                </c:pt>
                <c:pt idx="840">
                  <c:v>2053147.01</c:v>
                </c:pt>
                <c:pt idx="841">
                  <c:v>2053147.01</c:v>
                </c:pt>
                <c:pt idx="842">
                  <c:v>2053147.01</c:v>
                </c:pt>
                <c:pt idx="843">
                  <c:v>2053147.01</c:v>
                </c:pt>
                <c:pt idx="844">
                  <c:v>2053147.01</c:v>
                </c:pt>
                <c:pt idx="845">
                  <c:v>2053147.01</c:v>
                </c:pt>
                <c:pt idx="846">
                  <c:v>2053147.01</c:v>
                </c:pt>
                <c:pt idx="847">
                  <c:v>2053147.01</c:v>
                </c:pt>
                <c:pt idx="848">
                  <c:v>2053147.01</c:v>
                </c:pt>
                <c:pt idx="849">
                  <c:v>2053147.01</c:v>
                </c:pt>
                <c:pt idx="850">
                  <c:v>2053147.01</c:v>
                </c:pt>
                <c:pt idx="851">
                  <c:v>2053147.01</c:v>
                </c:pt>
                <c:pt idx="852">
                  <c:v>2053147.01</c:v>
                </c:pt>
                <c:pt idx="853">
                  <c:v>2053147.01</c:v>
                </c:pt>
                <c:pt idx="854">
                  <c:v>2053147.01</c:v>
                </c:pt>
                <c:pt idx="855">
                  <c:v>2053147.01</c:v>
                </c:pt>
                <c:pt idx="856">
                  <c:v>2053147.01</c:v>
                </c:pt>
                <c:pt idx="857">
                  <c:v>2053147.01</c:v>
                </c:pt>
                <c:pt idx="858">
                  <c:v>2053147.01</c:v>
                </c:pt>
                <c:pt idx="859">
                  <c:v>2053147.01</c:v>
                </c:pt>
                <c:pt idx="860">
                  <c:v>2053147.01</c:v>
                </c:pt>
                <c:pt idx="861">
                  <c:v>2053147.01</c:v>
                </c:pt>
                <c:pt idx="862">
                  <c:v>2053147.01</c:v>
                </c:pt>
                <c:pt idx="863">
                  <c:v>2053147.01</c:v>
                </c:pt>
                <c:pt idx="864">
                  <c:v>2053147.01</c:v>
                </c:pt>
                <c:pt idx="865">
                  <c:v>2053147.01</c:v>
                </c:pt>
                <c:pt idx="866">
                  <c:v>2053147.01</c:v>
                </c:pt>
                <c:pt idx="867">
                  <c:v>2052960.1459999999</c:v>
                </c:pt>
                <c:pt idx="868">
                  <c:v>2050664.1459999999</c:v>
                </c:pt>
                <c:pt idx="869">
                  <c:v>2071248.1459999999</c:v>
                </c:pt>
                <c:pt idx="870">
                  <c:v>2052232.1459999999</c:v>
                </c:pt>
                <c:pt idx="871">
                  <c:v>2067320.1459999999</c:v>
                </c:pt>
                <c:pt idx="872">
                  <c:v>2092816.1459999999</c:v>
                </c:pt>
                <c:pt idx="873">
                  <c:v>2095424.1459999999</c:v>
                </c:pt>
                <c:pt idx="874">
                  <c:v>2096168.1459999999</c:v>
                </c:pt>
                <c:pt idx="875">
                  <c:v>2113688.1460000002</c:v>
                </c:pt>
                <c:pt idx="876">
                  <c:v>2104128.1460000002</c:v>
                </c:pt>
                <c:pt idx="877">
                  <c:v>2065872.1459999999</c:v>
                </c:pt>
                <c:pt idx="878">
                  <c:v>2069944.1459999999</c:v>
                </c:pt>
                <c:pt idx="879">
                  <c:v>2049616.1459999999</c:v>
                </c:pt>
                <c:pt idx="880">
                  <c:v>2040064.1459999999</c:v>
                </c:pt>
                <c:pt idx="881">
                  <c:v>2035112.1459999999</c:v>
                </c:pt>
                <c:pt idx="882">
                  <c:v>2025760.1459999999</c:v>
                </c:pt>
                <c:pt idx="883">
                  <c:v>2035288.1459999999</c:v>
                </c:pt>
                <c:pt idx="884">
                  <c:v>2020800.1459999999</c:v>
                </c:pt>
                <c:pt idx="885">
                  <c:v>2026088.1459999999</c:v>
                </c:pt>
                <c:pt idx="886">
                  <c:v>2004872.1459999999</c:v>
                </c:pt>
                <c:pt idx="887">
                  <c:v>1966888.1459999999</c:v>
                </c:pt>
                <c:pt idx="888">
                  <c:v>1975056.1459999999</c:v>
                </c:pt>
                <c:pt idx="889">
                  <c:v>1956176.1459999999</c:v>
                </c:pt>
                <c:pt idx="890">
                  <c:v>1953424.1459999999</c:v>
                </c:pt>
                <c:pt idx="891">
                  <c:v>1948224.1459999999</c:v>
                </c:pt>
                <c:pt idx="892">
                  <c:v>1967024.1459999999</c:v>
                </c:pt>
                <c:pt idx="893">
                  <c:v>1947856.1459999999</c:v>
                </c:pt>
                <c:pt idx="894">
                  <c:v>1944232.1459999999</c:v>
                </c:pt>
                <c:pt idx="895">
                  <c:v>1958584.1459999999</c:v>
                </c:pt>
                <c:pt idx="896">
                  <c:v>2038072.1459999999</c:v>
                </c:pt>
                <c:pt idx="897">
                  <c:v>2045664.1459999999</c:v>
                </c:pt>
                <c:pt idx="898">
                  <c:v>2033840.1459999999</c:v>
                </c:pt>
                <c:pt idx="899">
                  <c:v>2040384.1459999999</c:v>
                </c:pt>
                <c:pt idx="900">
                  <c:v>2023096.1459999999</c:v>
                </c:pt>
                <c:pt idx="901">
                  <c:v>2036760.1459999999</c:v>
                </c:pt>
                <c:pt idx="902">
                  <c:v>1991296.1459999999</c:v>
                </c:pt>
                <c:pt idx="903">
                  <c:v>1972520.1459999999</c:v>
                </c:pt>
                <c:pt idx="904">
                  <c:v>1981320.1459999999</c:v>
                </c:pt>
                <c:pt idx="905">
                  <c:v>1941088.1459999999</c:v>
                </c:pt>
                <c:pt idx="906">
                  <c:v>1943576.1459999999</c:v>
                </c:pt>
                <c:pt idx="907">
                  <c:v>1956744.1459999999</c:v>
                </c:pt>
                <c:pt idx="908">
                  <c:v>1952448.1459999999</c:v>
                </c:pt>
                <c:pt idx="909">
                  <c:v>1932240.1459999999</c:v>
                </c:pt>
                <c:pt idx="910">
                  <c:v>1985704.1459999999</c:v>
                </c:pt>
                <c:pt idx="911">
                  <c:v>2018816.1459999999</c:v>
                </c:pt>
                <c:pt idx="912">
                  <c:v>2000368.1459999999</c:v>
                </c:pt>
                <c:pt idx="913">
                  <c:v>2040456.1459999999</c:v>
                </c:pt>
                <c:pt idx="914">
                  <c:v>2043624.1459999999</c:v>
                </c:pt>
                <c:pt idx="915">
                  <c:v>2026352.1459999999</c:v>
                </c:pt>
                <c:pt idx="916">
                  <c:v>2027952.1459999999</c:v>
                </c:pt>
                <c:pt idx="917">
                  <c:v>2020216.1459999999</c:v>
                </c:pt>
                <c:pt idx="918">
                  <c:v>2022856.1459999999</c:v>
                </c:pt>
                <c:pt idx="919">
                  <c:v>2024968.1459999999</c:v>
                </c:pt>
                <c:pt idx="920">
                  <c:v>2053192.1459999999</c:v>
                </c:pt>
                <c:pt idx="921">
                  <c:v>2050304.1459999999</c:v>
                </c:pt>
                <c:pt idx="922">
                  <c:v>2057600.1459999999</c:v>
                </c:pt>
                <c:pt idx="923">
                  <c:v>2033992.1459999999</c:v>
                </c:pt>
                <c:pt idx="924">
                  <c:v>2030552.1459999999</c:v>
                </c:pt>
                <c:pt idx="925">
                  <c:v>2017320.1459999999</c:v>
                </c:pt>
                <c:pt idx="926">
                  <c:v>1982656.1459999999</c:v>
                </c:pt>
                <c:pt idx="927">
                  <c:v>1972829.2779999999</c:v>
                </c:pt>
                <c:pt idx="928">
                  <c:v>1972829.2779999999</c:v>
                </c:pt>
                <c:pt idx="929">
                  <c:v>1972829.2779999999</c:v>
                </c:pt>
                <c:pt idx="930">
                  <c:v>1972829.2779999999</c:v>
                </c:pt>
                <c:pt idx="931">
                  <c:v>1972829.2779999999</c:v>
                </c:pt>
                <c:pt idx="932">
                  <c:v>1972829.2779999999</c:v>
                </c:pt>
                <c:pt idx="933">
                  <c:v>1972829.2779999999</c:v>
                </c:pt>
                <c:pt idx="934">
                  <c:v>1972829.2779999999</c:v>
                </c:pt>
                <c:pt idx="935">
                  <c:v>1972829.2779999999</c:v>
                </c:pt>
                <c:pt idx="936">
                  <c:v>1972829.2779999999</c:v>
                </c:pt>
                <c:pt idx="937">
                  <c:v>1972829.2779999999</c:v>
                </c:pt>
                <c:pt idx="938">
                  <c:v>1972829.2779999999</c:v>
                </c:pt>
                <c:pt idx="939">
                  <c:v>1972829.2779999999</c:v>
                </c:pt>
                <c:pt idx="940">
                  <c:v>1972829.2779999999</c:v>
                </c:pt>
                <c:pt idx="941">
                  <c:v>1972829.2779999999</c:v>
                </c:pt>
                <c:pt idx="942">
                  <c:v>1972829.2779999999</c:v>
                </c:pt>
                <c:pt idx="943">
                  <c:v>1972829.2779999999</c:v>
                </c:pt>
                <c:pt idx="944">
                  <c:v>1972829.2779999999</c:v>
                </c:pt>
                <c:pt idx="945">
                  <c:v>1972829.2779999999</c:v>
                </c:pt>
                <c:pt idx="946">
                  <c:v>1972829.2779999999</c:v>
                </c:pt>
                <c:pt idx="947">
                  <c:v>1972829.2779999999</c:v>
                </c:pt>
                <c:pt idx="948">
                  <c:v>1972829.2779999999</c:v>
                </c:pt>
                <c:pt idx="949">
                  <c:v>1972829.2779999999</c:v>
                </c:pt>
                <c:pt idx="950">
                  <c:v>1972829.2779999999</c:v>
                </c:pt>
                <c:pt idx="951">
                  <c:v>1972829.2779999999</c:v>
                </c:pt>
                <c:pt idx="952">
                  <c:v>1972829.2779999999</c:v>
                </c:pt>
                <c:pt idx="953">
                  <c:v>1972829.2779999999</c:v>
                </c:pt>
                <c:pt idx="954">
                  <c:v>1972829.2779999999</c:v>
                </c:pt>
                <c:pt idx="955">
                  <c:v>1972829.2779999999</c:v>
                </c:pt>
                <c:pt idx="956">
                  <c:v>1972829.2779999999</c:v>
                </c:pt>
                <c:pt idx="957">
                  <c:v>1972829.2779999999</c:v>
                </c:pt>
                <c:pt idx="958">
                  <c:v>1972829.2779999999</c:v>
                </c:pt>
                <c:pt idx="959">
                  <c:v>1972829.2779999999</c:v>
                </c:pt>
                <c:pt idx="960">
                  <c:v>1972829.2779999999</c:v>
                </c:pt>
                <c:pt idx="961">
                  <c:v>1972829.2779999999</c:v>
                </c:pt>
                <c:pt idx="962">
                  <c:v>1972829.2779999999</c:v>
                </c:pt>
                <c:pt idx="963">
                  <c:v>1972829.2779999999</c:v>
                </c:pt>
                <c:pt idx="964">
                  <c:v>1972639.59</c:v>
                </c:pt>
                <c:pt idx="965">
                  <c:v>1983607.59</c:v>
                </c:pt>
                <c:pt idx="966">
                  <c:v>1973351.59</c:v>
                </c:pt>
                <c:pt idx="967">
                  <c:v>1980727.59</c:v>
                </c:pt>
                <c:pt idx="968">
                  <c:v>2034471.59</c:v>
                </c:pt>
                <c:pt idx="969">
                  <c:v>2041847.59</c:v>
                </c:pt>
                <c:pt idx="970">
                  <c:v>2031423.59</c:v>
                </c:pt>
                <c:pt idx="971">
                  <c:v>2059791.59</c:v>
                </c:pt>
                <c:pt idx="972">
                  <c:v>2094111.59</c:v>
                </c:pt>
                <c:pt idx="973">
                  <c:v>2095279.59</c:v>
                </c:pt>
                <c:pt idx="974">
                  <c:v>2104543.59</c:v>
                </c:pt>
                <c:pt idx="975">
                  <c:v>2096015.59</c:v>
                </c:pt>
                <c:pt idx="976">
                  <c:v>2096655.59</c:v>
                </c:pt>
                <c:pt idx="977">
                  <c:v>2100207.59</c:v>
                </c:pt>
                <c:pt idx="978">
                  <c:v>2062335.59</c:v>
                </c:pt>
                <c:pt idx="979">
                  <c:v>2137935.59</c:v>
                </c:pt>
                <c:pt idx="980">
                  <c:v>2152439.59</c:v>
                </c:pt>
                <c:pt idx="981">
                  <c:v>2137423.59</c:v>
                </c:pt>
                <c:pt idx="982">
                  <c:v>2117959.59</c:v>
                </c:pt>
                <c:pt idx="983">
                  <c:v>2152103.59</c:v>
                </c:pt>
                <c:pt idx="984">
                  <c:v>2164471.59</c:v>
                </c:pt>
                <c:pt idx="985">
                  <c:v>2153271.59</c:v>
                </c:pt>
                <c:pt idx="986">
                  <c:v>2161719.59</c:v>
                </c:pt>
                <c:pt idx="987">
                  <c:v>2141959.59</c:v>
                </c:pt>
                <c:pt idx="988">
                  <c:v>2133087.59</c:v>
                </c:pt>
                <c:pt idx="989">
                  <c:v>2197239.59</c:v>
                </c:pt>
                <c:pt idx="990">
                  <c:v>2216447.59</c:v>
                </c:pt>
                <c:pt idx="991">
                  <c:v>2226719.59</c:v>
                </c:pt>
                <c:pt idx="992">
                  <c:v>2225255.59</c:v>
                </c:pt>
                <c:pt idx="993">
                  <c:v>2270407.59</c:v>
                </c:pt>
                <c:pt idx="994">
                  <c:v>2274175.59</c:v>
                </c:pt>
                <c:pt idx="995">
                  <c:v>2293095.59</c:v>
                </c:pt>
                <c:pt idx="996">
                  <c:v>2296423.59</c:v>
                </c:pt>
                <c:pt idx="997">
                  <c:v>2283647.59</c:v>
                </c:pt>
                <c:pt idx="998">
                  <c:v>2293135.59</c:v>
                </c:pt>
                <c:pt idx="999">
                  <c:v>2265727.59</c:v>
                </c:pt>
                <c:pt idx="1000">
                  <c:v>2224239.59</c:v>
                </c:pt>
                <c:pt idx="1001">
                  <c:v>2237863.59</c:v>
                </c:pt>
                <c:pt idx="1002">
                  <c:v>2164191.59</c:v>
                </c:pt>
                <c:pt idx="1003">
                  <c:v>2153031.59</c:v>
                </c:pt>
                <c:pt idx="1004">
                  <c:v>2159719.59</c:v>
                </c:pt>
                <c:pt idx="1005">
                  <c:v>2129823.59</c:v>
                </c:pt>
                <c:pt idx="1006">
                  <c:v>2151495.59</c:v>
                </c:pt>
                <c:pt idx="1007">
                  <c:v>2214415.59</c:v>
                </c:pt>
                <c:pt idx="1008">
                  <c:v>2210823.59</c:v>
                </c:pt>
                <c:pt idx="1009">
                  <c:v>2112327.59</c:v>
                </c:pt>
                <c:pt idx="1010">
                  <c:v>2173999.59</c:v>
                </c:pt>
                <c:pt idx="1011">
                  <c:v>2195911.59</c:v>
                </c:pt>
                <c:pt idx="1012">
                  <c:v>2171335.59</c:v>
                </c:pt>
                <c:pt idx="1013">
                  <c:v>2161295.59</c:v>
                </c:pt>
                <c:pt idx="1014">
                  <c:v>2149647.59</c:v>
                </c:pt>
                <c:pt idx="1015">
                  <c:v>2120239.59</c:v>
                </c:pt>
                <c:pt idx="1016">
                  <c:v>2097743.59</c:v>
                </c:pt>
                <c:pt idx="1017">
                  <c:v>2103167.59</c:v>
                </c:pt>
                <c:pt idx="1018">
                  <c:v>2107647.59</c:v>
                </c:pt>
                <c:pt idx="1019">
                  <c:v>2077743.59</c:v>
                </c:pt>
                <c:pt idx="1020">
                  <c:v>2095831.59</c:v>
                </c:pt>
                <c:pt idx="1021">
                  <c:v>2163887.59</c:v>
                </c:pt>
                <c:pt idx="1022">
                  <c:v>2167743.59</c:v>
                </c:pt>
                <c:pt idx="1023">
                  <c:v>2170399.59</c:v>
                </c:pt>
                <c:pt idx="1024">
                  <c:v>2166231.59</c:v>
                </c:pt>
                <c:pt idx="1025">
                  <c:v>2135791.59</c:v>
                </c:pt>
                <c:pt idx="1026">
                  <c:v>2142575.59</c:v>
                </c:pt>
                <c:pt idx="1027">
                  <c:v>2075191.59</c:v>
                </c:pt>
                <c:pt idx="1028">
                  <c:v>2071815.59</c:v>
                </c:pt>
                <c:pt idx="1029">
                  <c:v>2070303.59</c:v>
                </c:pt>
                <c:pt idx="1030">
                  <c:v>2064863.59</c:v>
                </c:pt>
                <c:pt idx="1031">
                  <c:v>2062591.59</c:v>
                </c:pt>
                <c:pt idx="1032">
                  <c:v>2053591.59</c:v>
                </c:pt>
                <c:pt idx="1033">
                  <c:v>2067295.59</c:v>
                </c:pt>
                <c:pt idx="1034">
                  <c:v>2063999.59</c:v>
                </c:pt>
                <c:pt idx="1035">
                  <c:v>2058055.59</c:v>
                </c:pt>
                <c:pt idx="1036">
                  <c:v>2045439.59</c:v>
                </c:pt>
                <c:pt idx="1037">
                  <c:v>2025207.59</c:v>
                </c:pt>
                <c:pt idx="1038">
                  <c:v>2043423.59</c:v>
                </c:pt>
                <c:pt idx="1039">
                  <c:v>2042527.59</c:v>
                </c:pt>
                <c:pt idx="1040">
                  <c:v>2047631.59</c:v>
                </c:pt>
                <c:pt idx="1041">
                  <c:v>2102815.59</c:v>
                </c:pt>
                <c:pt idx="1042">
                  <c:v>2100287.59</c:v>
                </c:pt>
                <c:pt idx="1043">
                  <c:v>2035327.59</c:v>
                </c:pt>
                <c:pt idx="1044">
                  <c:v>2072215.59</c:v>
                </c:pt>
                <c:pt idx="1045">
                  <c:v>2050055.59</c:v>
                </c:pt>
                <c:pt idx="1046">
                  <c:v>2033599.59</c:v>
                </c:pt>
                <c:pt idx="1047">
                  <c:v>2035463.59</c:v>
                </c:pt>
                <c:pt idx="1048">
                  <c:v>2070079.59</c:v>
                </c:pt>
                <c:pt idx="1049">
                  <c:v>2096535.59</c:v>
                </c:pt>
                <c:pt idx="1050">
                  <c:v>2099703.59</c:v>
                </c:pt>
                <c:pt idx="1051">
                  <c:v>2109991.59</c:v>
                </c:pt>
                <c:pt idx="1052">
                  <c:v>2097983.59</c:v>
                </c:pt>
                <c:pt idx="1053">
                  <c:v>2108423.59</c:v>
                </c:pt>
                <c:pt idx="1054">
                  <c:v>2100367.59</c:v>
                </c:pt>
                <c:pt idx="1055">
                  <c:v>2070423.59</c:v>
                </c:pt>
                <c:pt idx="1056">
                  <c:v>2081295.59</c:v>
                </c:pt>
                <c:pt idx="1057">
                  <c:v>2117919.59</c:v>
                </c:pt>
                <c:pt idx="1058">
                  <c:v>2149391.59</c:v>
                </c:pt>
                <c:pt idx="1059">
                  <c:v>2163439.59</c:v>
                </c:pt>
                <c:pt idx="1060">
                  <c:v>2167631.59</c:v>
                </c:pt>
                <c:pt idx="1061">
                  <c:v>2170175.59</c:v>
                </c:pt>
                <c:pt idx="1062">
                  <c:v>2142031.59</c:v>
                </c:pt>
                <c:pt idx="1063">
                  <c:v>2153535.59</c:v>
                </c:pt>
                <c:pt idx="1064">
                  <c:v>2155423.59</c:v>
                </c:pt>
                <c:pt idx="1065">
                  <c:v>2191239.59</c:v>
                </c:pt>
                <c:pt idx="1066">
                  <c:v>2189799.59</c:v>
                </c:pt>
                <c:pt idx="1067">
                  <c:v>2183207.59</c:v>
                </c:pt>
                <c:pt idx="1068">
                  <c:v>2160895.59</c:v>
                </c:pt>
                <c:pt idx="1069">
                  <c:v>2157847.59</c:v>
                </c:pt>
                <c:pt idx="1070">
                  <c:v>2128287.59</c:v>
                </c:pt>
                <c:pt idx="1071">
                  <c:v>2124183.59</c:v>
                </c:pt>
                <c:pt idx="1072">
                  <c:v>2098023.59</c:v>
                </c:pt>
                <c:pt idx="1073">
                  <c:v>2063079.59</c:v>
                </c:pt>
                <c:pt idx="1074">
                  <c:v>1995703.59</c:v>
                </c:pt>
                <c:pt idx="1075">
                  <c:v>2009167.59</c:v>
                </c:pt>
                <c:pt idx="1076">
                  <c:v>1998823.59</c:v>
                </c:pt>
                <c:pt idx="1077">
                  <c:v>2010751.59</c:v>
                </c:pt>
                <c:pt idx="1078">
                  <c:v>1996367.59</c:v>
                </c:pt>
                <c:pt idx="1079">
                  <c:v>1932927.59</c:v>
                </c:pt>
                <c:pt idx="1080">
                  <c:v>1929663.59</c:v>
                </c:pt>
                <c:pt idx="1081">
                  <c:v>1812719.59</c:v>
                </c:pt>
                <c:pt idx="1082">
                  <c:v>1808087.59</c:v>
                </c:pt>
                <c:pt idx="1083">
                  <c:v>1810391.59</c:v>
                </c:pt>
                <c:pt idx="1084">
                  <c:v>1804343.59</c:v>
                </c:pt>
                <c:pt idx="1085">
                  <c:v>1836263.59</c:v>
                </c:pt>
                <c:pt idx="1086">
                  <c:v>1846407.59</c:v>
                </c:pt>
                <c:pt idx="1087">
                  <c:v>1853335.59</c:v>
                </c:pt>
                <c:pt idx="1088">
                  <c:v>1838815.59</c:v>
                </c:pt>
                <c:pt idx="1089">
                  <c:v>1853335.59</c:v>
                </c:pt>
                <c:pt idx="1090">
                  <c:v>1857231.59</c:v>
                </c:pt>
                <c:pt idx="1091">
                  <c:v>1806647.59</c:v>
                </c:pt>
                <c:pt idx="1092">
                  <c:v>1805887.59</c:v>
                </c:pt>
                <c:pt idx="1093">
                  <c:v>1855007.59</c:v>
                </c:pt>
                <c:pt idx="1094">
                  <c:v>1937103.59</c:v>
                </c:pt>
                <c:pt idx="1095">
                  <c:v>1896047.59</c:v>
                </c:pt>
                <c:pt idx="1096">
                  <c:v>1921591.59</c:v>
                </c:pt>
                <c:pt idx="1097">
                  <c:v>1930031.59</c:v>
                </c:pt>
                <c:pt idx="1098">
                  <c:v>1902023.59</c:v>
                </c:pt>
                <c:pt idx="1099">
                  <c:v>1872015.59</c:v>
                </c:pt>
                <c:pt idx="1100">
                  <c:v>1828135.59</c:v>
                </c:pt>
                <c:pt idx="1101">
                  <c:v>1837503.59</c:v>
                </c:pt>
                <c:pt idx="1102">
                  <c:v>1888423.59</c:v>
                </c:pt>
                <c:pt idx="1103">
                  <c:v>1875071.59</c:v>
                </c:pt>
                <c:pt idx="1104">
                  <c:v>1865895.59</c:v>
                </c:pt>
                <c:pt idx="1105">
                  <c:v>1854959.59</c:v>
                </c:pt>
                <c:pt idx="1106">
                  <c:v>1816527.59</c:v>
                </c:pt>
                <c:pt idx="1107">
                  <c:v>1827263.59</c:v>
                </c:pt>
                <c:pt idx="1108">
                  <c:v>1830167.59</c:v>
                </c:pt>
                <c:pt idx="1109">
                  <c:v>1872039.59</c:v>
                </c:pt>
                <c:pt idx="1110">
                  <c:v>1873559.59</c:v>
                </c:pt>
                <c:pt idx="1111">
                  <c:v>1898415.59</c:v>
                </c:pt>
                <c:pt idx="1112">
                  <c:v>1910663.59</c:v>
                </c:pt>
                <c:pt idx="1113">
                  <c:v>1900247.59</c:v>
                </c:pt>
                <c:pt idx="1114">
                  <c:v>1897175.59</c:v>
                </c:pt>
                <c:pt idx="1115">
                  <c:v>1904559.59</c:v>
                </c:pt>
                <c:pt idx="1116">
                  <c:v>1957983.59</c:v>
                </c:pt>
                <c:pt idx="1117">
                  <c:v>1963007.59</c:v>
                </c:pt>
                <c:pt idx="1118">
                  <c:v>1955015.59</c:v>
                </c:pt>
                <c:pt idx="1119">
                  <c:v>1933015.59</c:v>
                </c:pt>
                <c:pt idx="1120">
                  <c:v>1919063.59</c:v>
                </c:pt>
                <c:pt idx="1121">
                  <c:v>1940895.59</c:v>
                </c:pt>
                <c:pt idx="1122">
                  <c:v>1925727.59</c:v>
                </c:pt>
                <c:pt idx="1123">
                  <c:v>1922623.59</c:v>
                </c:pt>
                <c:pt idx="1124">
                  <c:v>1918895.59</c:v>
                </c:pt>
                <c:pt idx="1125">
                  <c:v>1905295.59</c:v>
                </c:pt>
                <c:pt idx="1126">
                  <c:v>1944247.59</c:v>
                </c:pt>
                <c:pt idx="1127">
                  <c:v>1948455.59</c:v>
                </c:pt>
                <c:pt idx="1128">
                  <c:v>1938199.59</c:v>
                </c:pt>
                <c:pt idx="1129">
                  <c:v>1930399.59</c:v>
                </c:pt>
                <c:pt idx="1130">
                  <c:v>1926879.59</c:v>
                </c:pt>
                <c:pt idx="1131">
                  <c:v>1932023.59</c:v>
                </c:pt>
                <c:pt idx="1132">
                  <c:v>1959351.59</c:v>
                </c:pt>
                <c:pt idx="1133">
                  <c:v>1956311.59</c:v>
                </c:pt>
                <c:pt idx="1134">
                  <c:v>1949143.59</c:v>
                </c:pt>
                <c:pt idx="1135">
                  <c:v>1961975.59</c:v>
                </c:pt>
                <c:pt idx="1136">
                  <c:v>2028239.59</c:v>
                </c:pt>
                <c:pt idx="1137">
                  <c:v>2055663.59</c:v>
                </c:pt>
                <c:pt idx="1138">
                  <c:v>2062063.59</c:v>
                </c:pt>
                <c:pt idx="1139">
                  <c:v>2081719.59</c:v>
                </c:pt>
                <c:pt idx="1140">
                  <c:v>2066871.59</c:v>
                </c:pt>
                <c:pt idx="1141">
                  <c:v>2058463.59</c:v>
                </c:pt>
                <c:pt idx="1142">
                  <c:v>2017607.59</c:v>
                </c:pt>
                <c:pt idx="1143">
                  <c:v>2021759.59</c:v>
                </c:pt>
                <c:pt idx="1144">
                  <c:v>2053583.59</c:v>
                </c:pt>
                <c:pt idx="1145">
                  <c:v>2030863.59</c:v>
                </c:pt>
                <c:pt idx="1146">
                  <c:v>2018975.59</c:v>
                </c:pt>
                <c:pt idx="1147">
                  <c:v>1983303.59</c:v>
                </c:pt>
                <c:pt idx="1148">
                  <c:v>1991727.59</c:v>
                </c:pt>
                <c:pt idx="1149">
                  <c:v>2002983.59</c:v>
                </c:pt>
                <c:pt idx="1150">
                  <c:v>2029199.59</c:v>
                </c:pt>
                <c:pt idx="1151">
                  <c:v>2038615.59</c:v>
                </c:pt>
                <c:pt idx="1152">
                  <c:v>2019207.59</c:v>
                </c:pt>
                <c:pt idx="1153">
                  <c:v>2050559.59</c:v>
                </c:pt>
                <c:pt idx="1154">
                  <c:v>2053783.59</c:v>
                </c:pt>
                <c:pt idx="1155">
                  <c:v>2049767.59</c:v>
                </c:pt>
                <c:pt idx="1156">
                  <c:v>2012847.59</c:v>
                </c:pt>
                <c:pt idx="1157">
                  <c:v>2006415.59</c:v>
                </c:pt>
                <c:pt idx="1158">
                  <c:v>2016591.59</c:v>
                </c:pt>
                <c:pt idx="1159">
                  <c:v>2052807.59</c:v>
                </c:pt>
                <c:pt idx="1160">
                  <c:v>2032463.59</c:v>
                </c:pt>
                <c:pt idx="1161">
                  <c:v>2010543.59</c:v>
                </c:pt>
                <c:pt idx="1162">
                  <c:v>1996159.59</c:v>
                </c:pt>
                <c:pt idx="1163">
                  <c:v>1970599.59</c:v>
                </c:pt>
                <c:pt idx="1164">
                  <c:v>1968511.59</c:v>
                </c:pt>
                <c:pt idx="1165">
                  <c:v>1973391.59</c:v>
                </c:pt>
                <c:pt idx="1166">
                  <c:v>2001727.59</c:v>
                </c:pt>
                <c:pt idx="1167">
                  <c:v>1974727.59</c:v>
                </c:pt>
                <c:pt idx="1168">
                  <c:v>1983719.59</c:v>
                </c:pt>
                <c:pt idx="1169">
                  <c:v>1980111.59</c:v>
                </c:pt>
                <c:pt idx="1170">
                  <c:v>1982767.59</c:v>
                </c:pt>
                <c:pt idx="1171">
                  <c:v>1958607.59</c:v>
                </c:pt>
                <c:pt idx="1172">
                  <c:v>1948191.59</c:v>
                </c:pt>
                <c:pt idx="1173">
                  <c:v>1922111.59</c:v>
                </c:pt>
                <c:pt idx="1174">
                  <c:v>1928463.59</c:v>
                </c:pt>
                <c:pt idx="1175">
                  <c:v>1947751.59</c:v>
                </c:pt>
                <c:pt idx="1176">
                  <c:v>1906247.59</c:v>
                </c:pt>
                <c:pt idx="1177">
                  <c:v>1919351.59</c:v>
                </c:pt>
                <c:pt idx="1178">
                  <c:v>1956335.59</c:v>
                </c:pt>
                <c:pt idx="1179">
                  <c:v>2018871.59</c:v>
                </c:pt>
                <c:pt idx="1180">
                  <c:v>2005479.59</c:v>
                </c:pt>
                <c:pt idx="1181">
                  <c:v>2015631.59</c:v>
                </c:pt>
                <c:pt idx="1182">
                  <c:v>2003743.59</c:v>
                </c:pt>
                <c:pt idx="1183">
                  <c:v>1994119.59</c:v>
                </c:pt>
                <c:pt idx="1184">
                  <c:v>1986655.59</c:v>
                </c:pt>
                <c:pt idx="1185">
                  <c:v>1985687.59</c:v>
                </c:pt>
                <c:pt idx="1186">
                  <c:v>2007335.59</c:v>
                </c:pt>
                <c:pt idx="1187">
                  <c:v>2027375.59</c:v>
                </c:pt>
                <c:pt idx="1188">
                  <c:v>2026903.59</c:v>
                </c:pt>
                <c:pt idx="1189">
                  <c:v>2010783.59</c:v>
                </c:pt>
                <c:pt idx="1190">
                  <c:v>2029975.59</c:v>
                </c:pt>
                <c:pt idx="1191">
                  <c:v>2055863.59</c:v>
                </c:pt>
                <c:pt idx="1192">
                  <c:v>2050311.59</c:v>
                </c:pt>
                <c:pt idx="1193">
                  <c:v>2037583.59</c:v>
                </c:pt>
                <c:pt idx="1194">
                  <c:v>2036447.59</c:v>
                </c:pt>
                <c:pt idx="1195">
                  <c:v>2038407.59</c:v>
                </c:pt>
                <c:pt idx="1196">
                  <c:v>2005959.59</c:v>
                </c:pt>
                <c:pt idx="1197">
                  <c:v>2003767.59</c:v>
                </c:pt>
                <c:pt idx="1198">
                  <c:v>2001063.59</c:v>
                </c:pt>
                <c:pt idx="1199">
                  <c:v>1970087.59</c:v>
                </c:pt>
                <c:pt idx="1200">
                  <c:v>1960855.59</c:v>
                </c:pt>
                <c:pt idx="1201">
                  <c:v>1961535.59</c:v>
                </c:pt>
                <c:pt idx="1202">
                  <c:v>1941679.59</c:v>
                </c:pt>
                <c:pt idx="1203">
                  <c:v>1898263.59</c:v>
                </c:pt>
                <c:pt idx="1204">
                  <c:v>1903431.59</c:v>
                </c:pt>
                <c:pt idx="1205">
                  <c:v>1906351.59</c:v>
                </c:pt>
                <c:pt idx="1206">
                  <c:v>1919839.59</c:v>
                </c:pt>
                <c:pt idx="1207">
                  <c:v>1888015.59</c:v>
                </c:pt>
                <c:pt idx="1208">
                  <c:v>1918535.59</c:v>
                </c:pt>
                <c:pt idx="1209">
                  <c:v>1915319.59</c:v>
                </c:pt>
                <c:pt idx="1210">
                  <c:v>1939775.59</c:v>
                </c:pt>
                <c:pt idx="1211">
                  <c:v>1933335.59</c:v>
                </c:pt>
                <c:pt idx="1212">
                  <c:v>1908375.59</c:v>
                </c:pt>
                <c:pt idx="1213">
                  <c:v>1866663.59</c:v>
                </c:pt>
                <c:pt idx="1214">
                  <c:v>1866151.59</c:v>
                </c:pt>
                <c:pt idx="1215">
                  <c:v>1869279.59</c:v>
                </c:pt>
                <c:pt idx="1216">
                  <c:v>1853527.59</c:v>
                </c:pt>
                <c:pt idx="1217">
                  <c:v>1839631.59</c:v>
                </c:pt>
                <c:pt idx="1218">
                  <c:v>1830695.59</c:v>
                </c:pt>
                <c:pt idx="1219">
                  <c:v>1846031.59</c:v>
                </c:pt>
                <c:pt idx="1220">
                  <c:v>1842903.59</c:v>
                </c:pt>
                <c:pt idx="1221">
                  <c:v>1845223.59</c:v>
                </c:pt>
                <c:pt idx="1222">
                  <c:v>1818543.59</c:v>
                </c:pt>
                <c:pt idx="1223">
                  <c:v>1808543.59</c:v>
                </c:pt>
                <c:pt idx="1224">
                  <c:v>1825679.59</c:v>
                </c:pt>
                <c:pt idx="1225">
                  <c:v>1870791.59</c:v>
                </c:pt>
                <c:pt idx="1226">
                  <c:v>1861263.59</c:v>
                </c:pt>
                <c:pt idx="1227">
                  <c:v>1872295.59</c:v>
                </c:pt>
                <c:pt idx="1228">
                  <c:v>1848487.59</c:v>
                </c:pt>
                <c:pt idx="1229">
                  <c:v>1851639.59</c:v>
                </c:pt>
                <c:pt idx="1230">
                  <c:v>1857975.59</c:v>
                </c:pt>
                <c:pt idx="1231">
                  <c:v>1837711.59</c:v>
                </c:pt>
                <c:pt idx="1232">
                  <c:v>1845735.59</c:v>
                </c:pt>
                <c:pt idx="1233">
                  <c:v>1889775.59</c:v>
                </c:pt>
                <c:pt idx="1234">
                  <c:v>1904199.59</c:v>
                </c:pt>
                <c:pt idx="1235">
                  <c:v>1908751.59</c:v>
                </c:pt>
                <c:pt idx="1236">
                  <c:v>1899391.59</c:v>
                </c:pt>
                <c:pt idx="1237">
                  <c:v>1912207.59</c:v>
                </c:pt>
                <c:pt idx="1238">
                  <c:v>1925071.59</c:v>
                </c:pt>
                <c:pt idx="1239">
                  <c:v>1901703.59</c:v>
                </c:pt>
                <c:pt idx="1240">
                  <c:v>1922679.59</c:v>
                </c:pt>
                <c:pt idx="1241">
                  <c:v>1905703.59</c:v>
                </c:pt>
                <c:pt idx="1242">
                  <c:v>1887183.59</c:v>
                </c:pt>
                <c:pt idx="1243">
                  <c:v>1847359.59</c:v>
                </c:pt>
                <c:pt idx="1244">
                  <c:v>1802079.59</c:v>
                </c:pt>
                <c:pt idx="1245">
                  <c:v>1806479.59</c:v>
                </c:pt>
                <c:pt idx="1246">
                  <c:v>1799039.59</c:v>
                </c:pt>
                <c:pt idx="1247">
                  <c:v>1818927.59</c:v>
                </c:pt>
                <c:pt idx="1248">
                  <c:v>1828047.59</c:v>
                </c:pt>
                <c:pt idx="1249">
                  <c:v>1823167.59</c:v>
                </c:pt>
                <c:pt idx="1250">
                  <c:v>1806935.59</c:v>
                </c:pt>
                <c:pt idx="1251">
                  <c:v>1814655.59</c:v>
                </c:pt>
                <c:pt idx="1252">
                  <c:v>1810439.59</c:v>
                </c:pt>
                <c:pt idx="1253">
                  <c:v>1753983.59</c:v>
                </c:pt>
                <c:pt idx="1254">
                  <c:v>1762679.59</c:v>
                </c:pt>
                <c:pt idx="1255">
                  <c:v>1767055.59</c:v>
                </c:pt>
                <c:pt idx="1256">
                  <c:v>1788015.59</c:v>
                </c:pt>
                <c:pt idx="1257">
                  <c:v>1774023.59</c:v>
                </c:pt>
                <c:pt idx="1258">
                  <c:v>1790183.59</c:v>
                </c:pt>
                <c:pt idx="1259">
                  <c:v>1786255.59</c:v>
                </c:pt>
                <c:pt idx="1260">
                  <c:v>1772447.59</c:v>
                </c:pt>
                <c:pt idx="1261">
                  <c:v>1745327.59</c:v>
                </c:pt>
                <c:pt idx="1262">
                  <c:v>1802791.59</c:v>
                </c:pt>
                <c:pt idx="1263">
                  <c:v>1816817.466</c:v>
                </c:pt>
                <c:pt idx="1264">
                  <c:v>1816817.466</c:v>
                </c:pt>
                <c:pt idx="1265">
                  <c:v>1816817.466</c:v>
                </c:pt>
                <c:pt idx="1266">
                  <c:v>1816817.466</c:v>
                </c:pt>
                <c:pt idx="1267">
                  <c:v>1816817.466</c:v>
                </c:pt>
                <c:pt idx="1268">
                  <c:v>1816817.466</c:v>
                </c:pt>
                <c:pt idx="1269">
                  <c:v>1816817.466</c:v>
                </c:pt>
                <c:pt idx="1270">
                  <c:v>1816817.466</c:v>
                </c:pt>
                <c:pt idx="1271">
                  <c:v>1816817.466</c:v>
                </c:pt>
                <c:pt idx="1272">
                  <c:v>1816817.466</c:v>
                </c:pt>
                <c:pt idx="1273">
                  <c:v>1816817.466</c:v>
                </c:pt>
                <c:pt idx="1274">
                  <c:v>1816817.466</c:v>
                </c:pt>
                <c:pt idx="1275">
                  <c:v>1816817.466</c:v>
                </c:pt>
                <c:pt idx="1276">
                  <c:v>1816817.466</c:v>
                </c:pt>
                <c:pt idx="1277">
                  <c:v>1816817.466</c:v>
                </c:pt>
                <c:pt idx="1278">
                  <c:v>1816817.466</c:v>
                </c:pt>
                <c:pt idx="1279">
                  <c:v>1816817.466</c:v>
                </c:pt>
                <c:pt idx="1280">
                  <c:v>1816817.466</c:v>
                </c:pt>
                <c:pt idx="1281">
                  <c:v>1816817.466</c:v>
                </c:pt>
                <c:pt idx="1282">
                  <c:v>1816817.466</c:v>
                </c:pt>
                <c:pt idx="1283">
                  <c:v>1816817.466</c:v>
                </c:pt>
                <c:pt idx="1284">
                  <c:v>1816817.466</c:v>
                </c:pt>
                <c:pt idx="1285">
                  <c:v>1816817.466</c:v>
                </c:pt>
                <c:pt idx="1286">
                  <c:v>1816817.466</c:v>
                </c:pt>
                <c:pt idx="1287">
                  <c:v>1816817.466</c:v>
                </c:pt>
                <c:pt idx="1288">
                  <c:v>1816817.466</c:v>
                </c:pt>
                <c:pt idx="1289">
                  <c:v>1816817.466</c:v>
                </c:pt>
                <c:pt idx="1290">
                  <c:v>1816817.466</c:v>
                </c:pt>
                <c:pt idx="1291">
                  <c:v>1816817.466</c:v>
                </c:pt>
                <c:pt idx="1292">
                  <c:v>1816817.466</c:v>
                </c:pt>
                <c:pt idx="1293">
                  <c:v>1816646.6259999999</c:v>
                </c:pt>
                <c:pt idx="1294">
                  <c:v>1815374.6259999999</c:v>
                </c:pt>
                <c:pt idx="1295">
                  <c:v>1852286.6259999999</c:v>
                </c:pt>
                <c:pt idx="1296">
                  <c:v>1848126.6259999999</c:v>
                </c:pt>
                <c:pt idx="1297">
                  <c:v>1846142.6259999999</c:v>
                </c:pt>
                <c:pt idx="1298">
                  <c:v>1823510.6259999999</c:v>
                </c:pt>
                <c:pt idx="1299">
                  <c:v>1825006.6259999999</c:v>
                </c:pt>
                <c:pt idx="1300">
                  <c:v>1800358.6259999999</c:v>
                </c:pt>
                <c:pt idx="1301">
                  <c:v>1800862.6259999999</c:v>
                </c:pt>
                <c:pt idx="1302">
                  <c:v>1816974.6259999999</c:v>
                </c:pt>
                <c:pt idx="1303">
                  <c:v>1812942.6259999999</c:v>
                </c:pt>
                <c:pt idx="1304">
                  <c:v>1826974.6259999999</c:v>
                </c:pt>
                <c:pt idx="1305">
                  <c:v>1832858.1470000001</c:v>
                </c:pt>
                <c:pt idx="1306">
                  <c:v>1832858.1470000001</c:v>
                </c:pt>
                <c:pt idx="1307">
                  <c:v>1832858.1470000001</c:v>
                </c:pt>
                <c:pt idx="1308">
                  <c:v>1832858.1470000001</c:v>
                </c:pt>
                <c:pt idx="1309">
                  <c:v>1832858.1470000001</c:v>
                </c:pt>
                <c:pt idx="1310">
                  <c:v>1832858.1470000001</c:v>
                </c:pt>
                <c:pt idx="1311">
                  <c:v>1832858.1470000001</c:v>
                </c:pt>
                <c:pt idx="1312">
                  <c:v>1832858.1470000001</c:v>
                </c:pt>
                <c:pt idx="1313">
                  <c:v>1832858.1470000001</c:v>
                </c:pt>
                <c:pt idx="1314">
                  <c:v>1832858.1470000001</c:v>
                </c:pt>
                <c:pt idx="1315">
                  <c:v>1832858.1470000001</c:v>
                </c:pt>
                <c:pt idx="1316">
                  <c:v>1832858.1470000001</c:v>
                </c:pt>
                <c:pt idx="1317">
                  <c:v>1832858.1470000001</c:v>
                </c:pt>
                <c:pt idx="1318">
                  <c:v>1832858.1470000001</c:v>
                </c:pt>
                <c:pt idx="1319">
                  <c:v>1832858.1470000001</c:v>
                </c:pt>
                <c:pt idx="1320">
                  <c:v>1832858.1470000001</c:v>
                </c:pt>
                <c:pt idx="1321">
                  <c:v>1832858.1470000001</c:v>
                </c:pt>
                <c:pt idx="1322">
                  <c:v>1832858.1470000001</c:v>
                </c:pt>
                <c:pt idx="1323">
                  <c:v>1832858.1470000001</c:v>
                </c:pt>
                <c:pt idx="1324">
                  <c:v>1832858.1470000001</c:v>
                </c:pt>
                <c:pt idx="1325">
                  <c:v>1832858.1470000001</c:v>
                </c:pt>
                <c:pt idx="1326">
                  <c:v>1832858.1470000001</c:v>
                </c:pt>
                <c:pt idx="1327">
                  <c:v>1832858.1470000001</c:v>
                </c:pt>
                <c:pt idx="1328">
                  <c:v>1832858.1470000001</c:v>
                </c:pt>
                <c:pt idx="1329">
                  <c:v>1832858.1470000001</c:v>
                </c:pt>
                <c:pt idx="1330">
                  <c:v>1832858.1470000001</c:v>
                </c:pt>
                <c:pt idx="1331">
                  <c:v>1832858.1470000001</c:v>
                </c:pt>
                <c:pt idx="1332">
                  <c:v>1832858.1470000001</c:v>
                </c:pt>
                <c:pt idx="1333">
                  <c:v>1832858.1470000001</c:v>
                </c:pt>
                <c:pt idx="1334">
                  <c:v>1832858.1470000001</c:v>
                </c:pt>
                <c:pt idx="1335">
                  <c:v>1832858.1470000001</c:v>
                </c:pt>
                <c:pt idx="1336">
                  <c:v>1832858.1470000001</c:v>
                </c:pt>
                <c:pt idx="1337">
                  <c:v>1832858.1470000001</c:v>
                </c:pt>
                <c:pt idx="1338">
                  <c:v>1832858.1470000001</c:v>
                </c:pt>
                <c:pt idx="1339">
                  <c:v>1832858.1470000001</c:v>
                </c:pt>
                <c:pt idx="1340">
                  <c:v>1832858.1470000001</c:v>
                </c:pt>
                <c:pt idx="1341">
                  <c:v>1832858.1470000001</c:v>
                </c:pt>
                <c:pt idx="1342">
                  <c:v>1832858.1470000001</c:v>
                </c:pt>
                <c:pt idx="1343">
                  <c:v>1832858.1470000001</c:v>
                </c:pt>
                <c:pt idx="1344">
                  <c:v>1832858.1470000001</c:v>
                </c:pt>
                <c:pt idx="1345">
                  <c:v>1832858.1470000001</c:v>
                </c:pt>
                <c:pt idx="1346">
                  <c:v>1832858.1470000001</c:v>
                </c:pt>
                <c:pt idx="1347">
                  <c:v>1832858.1470000001</c:v>
                </c:pt>
                <c:pt idx="1348">
                  <c:v>1832677.311</c:v>
                </c:pt>
                <c:pt idx="1349">
                  <c:v>1883437.311</c:v>
                </c:pt>
                <c:pt idx="1350">
                  <c:v>1889413.311</c:v>
                </c:pt>
                <c:pt idx="1351">
                  <c:v>1881925.311</c:v>
                </c:pt>
                <c:pt idx="1352">
                  <c:v>1904517.311</c:v>
                </c:pt>
                <c:pt idx="1353">
                  <c:v>1887837.311</c:v>
                </c:pt>
                <c:pt idx="1354">
                  <c:v>1924813.311</c:v>
                </c:pt>
                <c:pt idx="1355">
                  <c:v>1919797.311</c:v>
                </c:pt>
                <c:pt idx="1356">
                  <c:v>1914893.311</c:v>
                </c:pt>
                <c:pt idx="1357">
                  <c:v>1886285.311</c:v>
                </c:pt>
                <c:pt idx="1358">
                  <c:v>1889221.311</c:v>
                </c:pt>
                <c:pt idx="1359">
                  <c:v>1916597.311</c:v>
                </c:pt>
                <c:pt idx="1360">
                  <c:v>1909957.311</c:v>
                </c:pt>
                <c:pt idx="1361">
                  <c:v>1911437.311</c:v>
                </c:pt>
                <c:pt idx="1362">
                  <c:v>1893077.311</c:v>
                </c:pt>
                <c:pt idx="1363">
                  <c:v>1912829.311</c:v>
                </c:pt>
                <c:pt idx="1364">
                  <c:v>1923965.311</c:v>
                </c:pt>
                <c:pt idx="1365">
                  <c:v>1924133.311</c:v>
                </c:pt>
                <c:pt idx="1366">
                  <c:v>1917229.311</c:v>
                </c:pt>
                <c:pt idx="1367">
                  <c:v>1907520.9720000001</c:v>
                </c:pt>
                <c:pt idx="1368">
                  <c:v>1907520.9720000001</c:v>
                </c:pt>
                <c:pt idx="1369">
                  <c:v>1907520.9720000001</c:v>
                </c:pt>
                <c:pt idx="1370">
                  <c:v>1907520.9720000001</c:v>
                </c:pt>
                <c:pt idx="1371">
                  <c:v>1907520.9720000001</c:v>
                </c:pt>
                <c:pt idx="1372">
                  <c:v>1907520.9720000001</c:v>
                </c:pt>
                <c:pt idx="1373">
                  <c:v>1907520.9720000001</c:v>
                </c:pt>
                <c:pt idx="1374">
                  <c:v>1907520.9720000001</c:v>
                </c:pt>
                <c:pt idx="1375">
                  <c:v>1907520.9720000001</c:v>
                </c:pt>
                <c:pt idx="1376">
                  <c:v>1907520.9720000001</c:v>
                </c:pt>
                <c:pt idx="1377">
                  <c:v>1907520.9720000001</c:v>
                </c:pt>
                <c:pt idx="1378">
                  <c:v>1907520.9720000001</c:v>
                </c:pt>
                <c:pt idx="1379">
                  <c:v>1907520.9720000001</c:v>
                </c:pt>
                <c:pt idx="1380">
                  <c:v>1907520.9720000001</c:v>
                </c:pt>
                <c:pt idx="1381">
                  <c:v>1907520.9720000001</c:v>
                </c:pt>
                <c:pt idx="1382">
                  <c:v>1907520.9720000001</c:v>
                </c:pt>
                <c:pt idx="1383">
                  <c:v>1907520.9720000001</c:v>
                </c:pt>
                <c:pt idx="1384">
                  <c:v>1907520.9720000001</c:v>
                </c:pt>
                <c:pt idx="1385">
                  <c:v>1907520.9720000001</c:v>
                </c:pt>
                <c:pt idx="1386">
                  <c:v>1907520.9720000001</c:v>
                </c:pt>
                <c:pt idx="1387">
                  <c:v>1907520.9720000001</c:v>
                </c:pt>
                <c:pt idx="1388">
                  <c:v>1907520.9720000001</c:v>
                </c:pt>
                <c:pt idx="1389">
                  <c:v>1907353.01</c:v>
                </c:pt>
                <c:pt idx="1390">
                  <c:v>1937033.01</c:v>
                </c:pt>
                <c:pt idx="1391">
                  <c:v>1933610.01</c:v>
                </c:pt>
                <c:pt idx="1392">
                  <c:v>1933771.01</c:v>
                </c:pt>
                <c:pt idx="1393">
                  <c:v>1941191.01</c:v>
                </c:pt>
                <c:pt idx="1394">
                  <c:v>1943424.01</c:v>
                </c:pt>
                <c:pt idx="1395">
                  <c:v>1962423.523</c:v>
                </c:pt>
                <c:pt idx="1396">
                  <c:v>1962423.523</c:v>
                </c:pt>
                <c:pt idx="1397">
                  <c:v>1962423.523</c:v>
                </c:pt>
                <c:pt idx="1398">
                  <c:v>1962423.523</c:v>
                </c:pt>
                <c:pt idx="1399">
                  <c:v>1962423.523</c:v>
                </c:pt>
                <c:pt idx="1400">
                  <c:v>1962423.523</c:v>
                </c:pt>
                <c:pt idx="1401">
                  <c:v>1962423.523</c:v>
                </c:pt>
                <c:pt idx="1402">
                  <c:v>1962423.523</c:v>
                </c:pt>
                <c:pt idx="1403">
                  <c:v>1962423.523</c:v>
                </c:pt>
                <c:pt idx="1404">
                  <c:v>1962423.523</c:v>
                </c:pt>
                <c:pt idx="1405">
                  <c:v>1962423.523</c:v>
                </c:pt>
                <c:pt idx="1406">
                  <c:v>1962423.523</c:v>
                </c:pt>
                <c:pt idx="1407">
                  <c:v>1962423.523</c:v>
                </c:pt>
                <c:pt idx="1408">
                  <c:v>1962423.523</c:v>
                </c:pt>
                <c:pt idx="1409">
                  <c:v>1962230.1910000001</c:v>
                </c:pt>
                <c:pt idx="1410">
                  <c:v>1990014.1910000001</c:v>
                </c:pt>
                <c:pt idx="1411">
                  <c:v>2004054.1910000001</c:v>
                </c:pt>
                <c:pt idx="1412">
                  <c:v>2035566.1910000001</c:v>
                </c:pt>
                <c:pt idx="1413">
                  <c:v>2038950.1910000001</c:v>
                </c:pt>
                <c:pt idx="1414">
                  <c:v>2039446.1910000001</c:v>
                </c:pt>
                <c:pt idx="1415">
                  <c:v>2031670.1910000001</c:v>
                </c:pt>
                <c:pt idx="1416">
                  <c:v>2033766.1910000001</c:v>
                </c:pt>
                <c:pt idx="1417">
                  <c:v>2030630.1910000001</c:v>
                </c:pt>
                <c:pt idx="1418">
                  <c:v>2081494.1910000001</c:v>
                </c:pt>
                <c:pt idx="1419">
                  <c:v>2075798.1910000001</c:v>
                </c:pt>
                <c:pt idx="1420">
                  <c:v>2104366.1910000001</c:v>
                </c:pt>
                <c:pt idx="1421">
                  <c:v>2092710.1910000001</c:v>
                </c:pt>
                <c:pt idx="1422">
                  <c:v>2093782.1910000001</c:v>
                </c:pt>
                <c:pt idx="1423">
                  <c:v>2082590.1910000001</c:v>
                </c:pt>
                <c:pt idx="1424">
                  <c:v>2062046.1910000001</c:v>
                </c:pt>
                <c:pt idx="1425">
                  <c:v>2058686.1910000001</c:v>
                </c:pt>
                <c:pt idx="1426">
                  <c:v>2058590.1910000001</c:v>
                </c:pt>
                <c:pt idx="1427">
                  <c:v>2095678.1910000001</c:v>
                </c:pt>
                <c:pt idx="1428">
                  <c:v>2148318.1910000001</c:v>
                </c:pt>
                <c:pt idx="1429">
                  <c:v>2177358.1910000001</c:v>
                </c:pt>
                <c:pt idx="1430">
                  <c:v>2207326.1910000001</c:v>
                </c:pt>
                <c:pt idx="1431">
                  <c:v>2232502.1910000001</c:v>
                </c:pt>
                <c:pt idx="1432">
                  <c:v>2275966.1910000001</c:v>
                </c:pt>
                <c:pt idx="1433">
                  <c:v>2284758.1910000001</c:v>
                </c:pt>
                <c:pt idx="1434">
                  <c:v>2368062.1910000001</c:v>
                </c:pt>
                <c:pt idx="1435">
                  <c:v>2402950.1910000001</c:v>
                </c:pt>
                <c:pt idx="1436">
                  <c:v>2512390.1910000001</c:v>
                </c:pt>
                <c:pt idx="1437">
                  <c:v>2528822.1910000001</c:v>
                </c:pt>
                <c:pt idx="1438">
                  <c:v>2631214.1910000001</c:v>
                </c:pt>
                <c:pt idx="1439">
                  <c:v>2514438.1910000001</c:v>
                </c:pt>
                <c:pt idx="1440">
                  <c:v>2606150.1910000001</c:v>
                </c:pt>
                <c:pt idx="1441">
                  <c:v>2575318.1910000001</c:v>
                </c:pt>
                <c:pt idx="1442">
                  <c:v>2583494.1910000001</c:v>
                </c:pt>
                <c:pt idx="1443">
                  <c:v>2602694.1910000001</c:v>
                </c:pt>
                <c:pt idx="1444">
                  <c:v>2671630.1910000001</c:v>
                </c:pt>
                <c:pt idx="1445">
                  <c:v>2717390.1910000001</c:v>
                </c:pt>
                <c:pt idx="1446">
                  <c:v>2705654.1910000001</c:v>
                </c:pt>
                <c:pt idx="1447">
                  <c:v>2735446.1910000001</c:v>
                </c:pt>
                <c:pt idx="1448">
                  <c:v>2744494.1910000001</c:v>
                </c:pt>
                <c:pt idx="1449">
                  <c:v>2688846.1910000001</c:v>
                </c:pt>
                <c:pt idx="1450">
                  <c:v>2613222.1910000001</c:v>
                </c:pt>
                <c:pt idx="1451">
                  <c:v>2697246.1910000001</c:v>
                </c:pt>
                <c:pt idx="1452">
                  <c:v>2785582.1910000001</c:v>
                </c:pt>
                <c:pt idx="1453">
                  <c:v>2793278.1910000001</c:v>
                </c:pt>
                <c:pt idx="1454">
                  <c:v>2794950.1910000001</c:v>
                </c:pt>
                <c:pt idx="1455">
                  <c:v>2855595.4939999999</c:v>
                </c:pt>
                <c:pt idx="1456">
                  <c:v>2855595.4939999999</c:v>
                </c:pt>
                <c:pt idx="1457">
                  <c:v>2855595.4939999999</c:v>
                </c:pt>
                <c:pt idx="1458">
                  <c:v>2855595.4939999999</c:v>
                </c:pt>
                <c:pt idx="1459">
                  <c:v>2855595.4939999999</c:v>
                </c:pt>
                <c:pt idx="1460">
                  <c:v>2855595.4939999999</c:v>
                </c:pt>
                <c:pt idx="1461">
                  <c:v>2855595.4939999999</c:v>
                </c:pt>
                <c:pt idx="1462">
                  <c:v>2855595.4939999999</c:v>
                </c:pt>
                <c:pt idx="1463">
                  <c:v>2855595.4939999999</c:v>
                </c:pt>
                <c:pt idx="1464">
                  <c:v>2855595.4939999999</c:v>
                </c:pt>
                <c:pt idx="1465">
                  <c:v>2855595.4939999999</c:v>
                </c:pt>
                <c:pt idx="1466">
                  <c:v>2855595.4939999999</c:v>
                </c:pt>
                <c:pt idx="1467">
                  <c:v>2855595.4939999999</c:v>
                </c:pt>
                <c:pt idx="1468">
                  <c:v>2855595.4939999999</c:v>
                </c:pt>
                <c:pt idx="1469">
                  <c:v>2855595.4939999999</c:v>
                </c:pt>
                <c:pt idx="1470">
                  <c:v>2855595.4939999999</c:v>
                </c:pt>
                <c:pt idx="1471">
                  <c:v>2855595.4939999999</c:v>
                </c:pt>
                <c:pt idx="1472">
                  <c:v>2855595.4939999999</c:v>
                </c:pt>
                <c:pt idx="1473">
                  <c:v>2855595.4939999999</c:v>
                </c:pt>
                <c:pt idx="1474">
                  <c:v>2855595.4939999999</c:v>
                </c:pt>
                <c:pt idx="1475">
                  <c:v>2855595.4939999999</c:v>
                </c:pt>
                <c:pt idx="1476">
                  <c:v>2855595.4939999999</c:v>
                </c:pt>
                <c:pt idx="1477">
                  <c:v>2855595.4939999999</c:v>
                </c:pt>
                <c:pt idx="1478">
                  <c:v>2855595.4939999999</c:v>
                </c:pt>
                <c:pt idx="1479">
                  <c:v>2855595.4939999999</c:v>
                </c:pt>
                <c:pt idx="1480">
                  <c:v>2855595.4939999999</c:v>
                </c:pt>
                <c:pt idx="1481">
                  <c:v>2855595.4939999999</c:v>
                </c:pt>
                <c:pt idx="1482">
                  <c:v>2855595.4939999999</c:v>
                </c:pt>
                <c:pt idx="1483">
                  <c:v>2855595.4939999999</c:v>
                </c:pt>
                <c:pt idx="1484">
                  <c:v>2855595.4939999999</c:v>
                </c:pt>
                <c:pt idx="1485">
                  <c:v>2855595.4939999999</c:v>
                </c:pt>
                <c:pt idx="1486">
                  <c:v>2855595.4939999999</c:v>
                </c:pt>
                <c:pt idx="1487">
                  <c:v>2855595.4939999999</c:v>
                </c:pt>
                <c:pt idx="1488">
                  <c:v>2855595.4939999999</c:v>
                </c:pt>
                <c:pt idx="1489">
                  <c:v>2855595.4939999999</c:v>
                </c:pt>
                <c:pt idx="1490">
                  <c:v>2855595.4939999999</c:v>
                </c:pt>
                <c:pt idx="1491">
                  <c:v>2855595.4939999999</c:v>
                </c:pt>
                <c:pt idx="1492">
                  <c:v>2855595.4939999999</c:v>
                </c:pt>
                <c:pt idx="1493">
                  <c:v>2855595.4939999999</c:v>
                </c:pt>
                <c:pt idx="1494">
                  <c:v>2855595.4939999999</c:v>
                </c:pt>
                <c:pt idx="1495">
                  <c:v>2855595.4939999999</c:v>
                </c:pt>
                <c:pt idx="1496">
                  <c:v>2855595.4939999999</c:v>
                </c:pt>
                <c:pt idx="1497">
                  <c:v>2855595.4939999999</c:v>
                </c:pt>
                <c:pt idx="1498">
                  <c:v>2855595.4939999999</c:v>
                </c:pt>
                <c:pt idx="1499">
                  <c:v>2855595.4939999999</c:v>
                </c:pt>
                <c:pt idx="1500">
                  <c:v>2855595.4939999999</c:v>
                </c:pt>
                <c:pt idx="1501">
                  <c:v>2855595.4939999999</c:v>
                </c:pt>
                <c:pt idx="1502">
                  <c:v>2855595.4939999999</c:v>
                </c:pt>
                <c:pt idx="1503">
                  <c:v>2855595.4939999999</c:v>
                </c:pt>
                <c:pt idx="1504">
                  <c:v>2855595.4939999999</c:v>
                </c:pt>
                <c:pt idx="1505">
                  <c:v>2855595.4939999999</c:v>
                </c:pt>
                <c:pt idx="1506">
                  <c:v>2855595.4939999999</c:v>
                </c:pt>
                <c:pt idx="1507">
                  <c:v>2855595.4939999999</c:v>
                </c:pt>
                <c:pt idx="1508">
                  <c:v>2855595.4939999999</c:v>
                </c:pt>
                <c:pt idx="1509">
                  <c:v>2855318.9939999999</c:v>
                </c:pt>
                <c:pt idx="1510">
                  <c:v>2870508.9939999999</c:v>
                </c:pt>
                <c:pt idx="1511">
                  <c:v>2952044.9939999999</c:v>
                </c:pt>
                <c:pt idx="1512">
                  <c:v>2926158.9939999999</c:v>
                </c:pt>
                <c:pt idx="1513">
                  <c:v>2977048.9939999999</c:v>
                </c:pt>
                <c:pt idx="1514">
                  <c:v>2977664.9939999999</c:v>
                </c:pt>
                <c:pt idx="1515">
                  <c:v>3009696.9939999999</c:v>
                </c:pt>
                <c:pt idx="1516">
                  <c:v>3072346.9939999999</c:v>
                </c:pt>
                <c:pt idx="1517">
                  <c:v>3097378.9939999999</c:v>
                </c:pt>
                <c:pt idx="1518">
                  <c:v>3073816.9939999999</c:v>
                </c:pt>
                <c:pt idx="1519">
                  <c:v>3131412.9939999999</c:v>
                </c:pt>
                <c:pt idx="1520">
                  <c:v>3185067.9939999999</c:v>
                </c:pt>
                <c:pt idx="1521">
                  <c:v>3197044.9939999999</c:v>
                </c:pt>
                <c:pt idx="1522">
                  <c:v>3156675.9939999999</c:v>
                </c:pt>
                <c:pt idx="1523">
                  <c:v>3249803.9939999999</c:v>
                </c:pt>
                <c:pt idx="1524">
                  <c:v>3307616.9939999999</c:v>
                </c:pt>
                <c:pt idx="1525">
                  <c:v>3255662.9939999999</c:v>
                </c:pt>
                <c:pt idx="1526">
                  <c:v>3323730.9939999999</c:v>
                </c:pt>
                <c:pt idx="1527">
                  <c:v>3408185.9939999999</c:v>
                </c:pt>
                <c:pt idx="1528">
                  <c:v>3408941.9939999999</c:v>
                </c:pt>
                <c:pt idx="1529">
                  <c:v>3382166.9939999999</c:v>
                </c:pt>
                <c:pt idx="1530">
                  <c:v>3455631.9939999999</c:v>
                </c:pt>
                <c:pt idx="1531">
                  <c:v>3409620.9939999999</c:v>
                </c:pt>
                <c:pt idx="1532">
                  <c:v>3432349.9939999999</c:v>
                </c:pt>
                <c:pt idx="1533">
                  <c:v>3415241.9939999999</c:v>
                </c:pt>
                <c:pt idx="1534">
                  <c:v>3441736.9939999999</c:v>
                </c:pt>
                <c:pt idx="1535">
                  <c:v>3308106.9939999999</c:v>
                </c:pt>
                <c:pt idx="1536">
                  <c:v>3277649.9939999999</c:v>
                </c:pt>
                <c:pt idx="1537">
                  <c:v>3219381.9939999999</c:v>
                </c:pt>
                <c:pt idx="1538">
                  <c:v>3281198.9939999999</c:v>
                </c:pt>
                <c:pt idx="1539">
                  <c:v>3373689.9939999999</c:v>
                </c:pt>
                <c:pt idx="1540">
                  <c:v>3413512.9939999999</c:v>
                </c:pt>
                <c:pt idx="1541">
                  <c:v>3393226.9939999999</c:v>
                </c:pt>
                <c:pt idx="1542">
                  <c:v>3380864.9939999999</c:v>
                </c:pt>
                <c:pt idx="1543">
                  <c:v>3322547.9939999999</c:v>
                </c:pt>
                <c:pt idx="1544">
                  <c:v>3292916.9939999999</c:v>
                </c:pt>
                <c:pt idx="1545">
                  <c:v>3402172.9939999999</c:v>
                </c:pt>
                <c:pt idx="1546">
                  <c:v>3418762.9939999999</c:v>
                </c:pt>
                <c:pt idx="1547">
                  <c:v>3479004.9939999999</c:v>
                </c:pt>
                <c:pt idx="1548">
                  <c:v>3556256.9939999999</c:v>
                </c:pt>
                <c:pt idx="1549">
                  <c:v>3659968.9939999999</c:v>
                </c:pt>
                <c:pt idx="1550">
                  <c:v>3729562.9939999999</c:v>
                </c:pt>
                <c:pt idx="1551">
                  <c:v>3717319.9939999999</c:v>
                </c:pt>
                <c:pt idx="1552">
                  <c:v>3474125.9939999999</c:v>
                </c:pt>
                <c:pt idx="1553">
                  <c:v>3478899.9939999999</c:v>
                </c:pt>
                <c:pt idx="1554">
                  <c:v>3643644.9939999999</c:v>
                </c:pt>
                <c:pt idx="1555">
                  <c:v>3703627.9939999999</c:v>
                </c:pt>
                <c:pt idx="1556">
                  <c:v>3690831.9939999999</c:v>
                </c:pt>
                <c:pt idx="1557">
                  <c:v>3717312.9939999999</c:v>
                </c:pt>
                <c:pt idx="1558">
                  <c:v>3751703.9939999999</c:v>
                </c:pt>
                <c:pt idx="1559">
                  <c:v>3837943.9939999999</c:v>
                </c:pt>
                <c:pt idx="1560">
                  <c:v>3812540.9939999999</c:v>
                </c:pt>
                <c:pt idx="1561">
                  <c:v>3806695.9939999999</c:v>
                </c:pt>
                <c:pt idx="1562">
                  <c:v>3804931.9939999999</c:v>
                </c:pt>
                <c:pt idx="1563">
                  <c:v>3824902.9939999999</c:v>
                </c:pt>
                <c:pt idx="1564">
                  <c:v>3745137.9939999999</c:v>
                </c:pt>
                <c:pt idx="1565">
                  <c:v>3635692.9939999999</c:v>
                </c:pt>
                <c:pt idx="1566">
                  <c:v>3687499.9939999999</c:v>
                </c:pt>
                <c:pt idx="1567">
                  <c:v>3541358.8560000001</c:v>
                </c:pt>
                <c:pt idx="1568">
                  <c:v>3541358.8560000001</c:v>
                </c:pt>
                <c:pt idx="1569">
                  <c:v>3541358.8560000001</c:v>
                </c:pt>
                <c:pt idx="1570">
                  <c:v>3541358.8560000001</c:v>
                </c:pt>
                <c:pt idx="1571">
                  <c:v>3541358.8560000001</c:v>
                </c:pt>
                <c:pt idx="1572">
                  <c:v>3541358.8560000001</c:v>
                </c:pt>
                <c:pt idx="1573">
                  <c:v>3541358.8560000001</c:v>
                </c:pt>
                <c:pt idx="1574">
                  <c:v>3541358.8560000001</c:v>
                </c:pt>
                <c:pt idx="1575">
                  <c:v>3541358.8560000001</c:v>
                </c:pt>
                <c:pt idx="1576">
                  <c:v>3541358.8560000001</c:v>
                </c:pt>
                <c:pt idx="1577">
                  <c:v>3541358.8560000001</c:v>
                </c:pt>
                <c:pt idx="1578">
                  <c:v>3541358.8560000001</c:v>
                </c:pt>
                <c:pt idx="1579">
                  <c:v>3541358.8560000001</c:v>
                </c:pt>
                <c:pt idx="1580">
                  <c:v>3541358.8560000001</c:v>
                </c:pt>
                <c:pt idx="1581">
                  <c:v>3541358.8560000001</c:v>
                </c:pt>
                <c:pt idx="1582">
                  <c:v>3541358.8560000001</c:v>
                </c:pt>
                <c:pt idx="1583">
                  <c:v>3541358.8560000001</c:v>
                </c:pt>
                <c:pt idx="1584">
                  <c:v>3541358.8560000001</c:v>
                </c:pt>
                <c:pt idx="1585">
                  <c:v>3541358.8560000001</c:v>
                </c:pt>
                <c:pt idx="1586">
                  <c:v>3541358.8560000001</c:v>
                </c:pt>
                <c:pt idx="1587">
                  <c:v>3541358.8560000001</c:v>
                </c:pt>
                <c:pt idx="1588">
                  <c:v>3541358.8560000001</c:v>
                </c:pt>
                <c:pt idx="1589">
                  <c:v>3541358.8560000001</c:v>
                </c:pt>
                <c:pt idx="1590">
                  <c:v>3541358.8560000001</c:v>
                </c:pt>
                <c:pt idx="1591">
                  <c:v>3541358.8560000001</c:v>
                </c:pt>
                <c:pt idx="1592">
                  <c:v>3541358.8560000001</c:v>
                </c:pt>
                <c:pt idx="1593">
                  <c:v>3541358.8560000001</c:v>
                </c:pt>
                <c:pt idx="1594">
                  <c:v>3541358.8560000001</c:v>
                </c:pt>
                <c:pt idx="1595">
                  <c:v>3541358.8560000001</c:v>
                </c:pt>
                <c:pt idx="1596">
                  <c:v>3541358.8560000001</c:v>
                </c:pt>
                <c:pt idx="1597">
                  <c:v>3541358.8560000001</c:v>
                </c:pt>
                <c:pt idx="1598">
                  <c:v>3541358.8560000001</c:v>
                </c:pt>
                <c:pt idx="1599">
                  <c:v>3541358.8560000001</c:v>
                </c:pt>
                <c:pt idx="1600">
                  <c:v>3541358.8560000001</c:v>
                </c:pt>
                <c:pt idx="1601">
                  <c:v>3541358.8560000001</c:v>
                </c:pt>
                <c:pt idx="1602">
                  <c:v>3541358.8560000001</c:v>
                </c:pt>
                <c:pt idx="1603">
                  <c:v>3541358.8560000001</c:v>
                </c:pt>
                <c:pt idx="1604">
                  <c:v>3541358.8560000001</c:v>
                </c:pt>
                <c:pt idx="1605">
                  <c:v>3541358.8560000001</c:v>
                </c:pt>
                <c:pt idx="1606">
                  <c:v>3541358.8560000001</c:v>
                </c:pt>
                <c:pt idx="1607">
                  <c:v>3541358.8560000001</c:v>
                </c:pt>
                <c:pt idx="1608">
                  <c:v>3541358.8560000001</c:v>
                </c:pt>
                <c:pt idx="1609">
                  <c:v>3541358.8560000001</c:v>
                </c:pt>
                <c:pt idx="1610">
                  <c:v>3541358.8560000001</c:v>
                </c:pt>
                <c:pt idx="1611">
                  <c:v>3541358.8560000001</c:v>
                </c:pt>
                <c:pt idx="1612">
                  <c:v>3541358.8560000001</c:v>
                </c:pt>
                <c:pt idx="1613">
                  <c:v>3541358.8560000001</c:v>
                </c:pt>
                <c:pt idx="1614">
                  <c:v>3541358.8560000001</c:v>
                </c:pt>
                <c:pt idx="1615">
                  <c:v>3541358.8560000001</c:v>
                </c:pt>
                <c:pt idx="1616">
                  <c:v>3541358.8560000001</c:v>
                </c:pt>
                <c:pt idx="1617">
                  <c:v>3541358.8560000001</c:v>
                </c:pt>
                <c:pt idx="1618">
                  <c:v>3541358.8560000001</c:v>
                </c:pt>
                <c:pt idx="1619">
                  <c:v>3541358.8560000001</c:v>
                </c:pt>
                <c:pt idx="1620">
                  <c:v>3541358.8560000001</c:v>
                </c:pt>
                <c:pt idx="1621">
                  <c:v>3541358.8560000001</c:v>
                </c:pt>
                <c:pt idx="1622">
                  <c:v>3541358.8560000001</c:v>
                </c:pt>
                <c:pt idx="1623">
                  <c:v>3541358.8560000001</c:v>
                </c:pt>
                <c:pt idx="1624">
                  <c:v>3541358.8560000001</c:v>
                </c:pt>
                <c:pt idx="1625">
                  <c:v>3541358.8560000001</c:v>
                </c:pt>
                <c:pt idx="1626">
                  <c:v>3541358.8560000001</c:v>
                </c:pt>
                <c:pt idx="1627">
                  <c:v>3541358.8560000001</c:v>
                </c:pt>
                <c:pt idx="1628">
                  <c:v>3541358.8560000001</c:v>
                </c:pt>
                <c:pt idx="1629">
                  <c:v>3541358.8560000001</c:v>
                </c:pt>
                <c:pt idx="1630">
                  <c:v>3541358.8560000001</c:v>
                </c:pt>
                <c:pt idx="1631">
                  <c:v>3541358.8560000001</c:v>
                </c:pt>
                <c:pt idx="1632">
                  <c:v>3541358.8560000001</c:v>
                </c:pt>
                <c:pt idx="1633">
                  <c:v>3541358.8560000001</c:v>
                </c:pt>
                <c:pt idx="1634">
                  <c:v>3541358.8560000001</c:v>
                </c:pt>
                <c:pt idx="1635">
                  <c:v>3541358.8560000001</c:v>
                </c:pt>
                <c:pt idx="1636">
                  <c:v>3541358.8560000001</c:v>
                </c:pt>
                <c:pt idx="1637">
                  <c:v>3541358.8560000001</c:v>
                </c:pt>
                <c:pt idx="1638">
                  <c:v>3541358.8560000001</c:v>
                </c:pt>
                <c:pt idx="1639">
                  <c:v>3541358.8560000001</c:v>
                </c:pt>
                <c:pt idx="1640">
                  <c:v>3541358.8560000001</c:v>
                </c:pt>
                <c:pt idx="1641">
                  <c:v>3541358.8560000001</c:v>
                </c:pt>
                <c:pt idx="1642">
                  <c:v>3541358.8560000001</c:v>
                </c:pt>
                <c:pt idx="1643">
                  <c:v>3541358.8560000001</c:v>
                </c:pt>
                <c:pt idx="1644">
                  <c:v>3541358.8560000001</c:v>
                </c:pt>
                <c:pt idx="1645">
                  <c:v>3541358.8560000001</c:v>
                </c:pt>
                <c:pt idx="1646">
                  <c:v>3541358.8560000001</c:v>
                </c:pt>
                <c:pt idx="1647">
                  <c:v>3541358.8560000001</c:v>
                </c:pt>
                <c:pt idx="1648">
                  <c:v>3541011.531</c:v>
                </c:pt>
                <c:pt idx="1649">
                  <c:v>3592291.531</c:v>
                </c:pt>
                <c:pt idx="1650">
                  <c:v>3639001.531</c:v>
                </c:pt>
                <c:pt idx="1651">
                  <c:v>3657021.531</c:v>
                </c:pt>
                <c:pt idx="1652">
                  <c:v>3660641.531</c:v>
                </c:pt>
                <c:pt idx="1653">
                  <c:v>3592681.531</c:v>
                </c:pt>
                <c:pt idx="1654">
                  <c:v>3601071.531</c:v>
                </c:pt>
                <c:pt idx="1655">
                  <c:v>3601841.531</c:v>
                </c:pt>
                <c:pt idx="1656">
                  <c:v>3543721.531</c:v>
                </c:pt>
                <c:pt idx="1657">
                  <c:v>3533251.531</c:v>
                </c:pt>
                <c:pt idx="1658">
                  <c:v>3696301.531</c:v>
                </c:pt>
                <c:pt idx="1659">
                  <c:v>3773731.531</c:v>
                </c:pt>
                <c:pt idx="1660">
                  <c:v>3861131.531</c:v>
                </c:pt>
                <c:pt idx="1661">
                  <c:v>3908111.531</c:v>
                </c:pt>
                <c:pt idx="1662">
                  <c:v>3901001.531</c:v>
                </c:pt>
                <c:pt idx="1663">
                  <c:v>3901411.531</c:v>
                </c:pt>
                <c:pt idx="1664">
                  <c:v>3863081.531</c:v>
                </c:pt>
                <c:pt idx="1665">
                  <c:v>3814001.531</c:v>
                </c:pt>
                <c:pt idx="1666">
                  <c:v>3831891.531</c:v>
                </c:pt>
                <c:pt idx="1667">
                  <c:v>3826151.531</c:v>
                </c:pt>
                <c:pt idx="1668">
                  <c:v>3783341.531</c:v>
                </c:pt>
                <c:pt idx="1669">
                  <c:v>3842731.531</c:v>
                </c:pt>
                <c:pt idx="1670">
                  <c:v>3842141.531</c:v>
                </c:pt>
                <c:pt idx="1671">
                  <c:v>3821101.531</c:v>
                </c:pt>
                <c:pt idx="1672">
                  <c:v>3821651.531</c:v>
                </c:pt>
                <c:pt idx="1673">
                  <c:v>3849371.531</c:v>
                </c:pt>
                <c:pt idx="1674">
                  <c:v>3827191.531</c:v>
                </c:pt>
                <c:pt idx="1675">
                  <c:v>3624751.531</c:v>
                </c:pt>
                <c:pt idx="1676">
                  <c:v>3634171.531</c:v>
                </c:pt>
                <c:pt idx="1677">
                  <c:v>3659102.361</c:v>
                </c:pt>
                <c:pt idx="1678">
                  <c:v>3659102.361</c:v>
                </c:pt>
                <c:pt idx="1679">
                  <c:v>3659102.361</c:v>
                </c:pt>
                <c:pt idx="1680">
                  <c:v>3659102.361</c:v>
                </c:pt>
                <c:pt idx="1681">
                  <c:v>3659102.361</c:v>
                </c:pt>
                <c:pt idx="1682">
                  <c:v>3659102.361</c:v>
                </c:pt>
                <c:pt idx="1683">
                  <c:v>3659102.361</c:v>
                </c:pt>
                <c:pt idx="1684">
                  <c:v>3659102.361</c:v>
                </c:pt>
                <c:pt idx="1685">
                  <c:v>3659102.361</c:v>
                </c:pt>
                <c:pt idx="1686">
                  <c:v>3659102.361</c:v>
                </c:pt>
                <c:pt idx="1687">
                  <c:v>3659102.361</c:v>
                </c:pt>
                <c:pt idx="1688">
                  <c:v>3659102.361</c:v>
                </c:pt>
                <c:pt idx="1689">
                  <c:v>3659102.361</c:v>
                </c:pt>
                <c:pt idx="1690">
                  <c:v>3659102.361</c:v>
                </c:pt>
                <c:pt idx="1691">
                  <c:v>3659102.361</c:v>
                </c:pt>
                <c:pt idx="1692">
                  <c:v>3659102.361</c:v>
                </c:pt>
                <c:pt idx="1693">
                  <c:v>3659102.361</c:v>
                </c:pt>
                <c:pt idx="1694">
                  <c:v>3659102.361</c:v>
                </c:pt>
                <c:pt idx="1695">
                  <c:v>3659102.361</c:v>
                </c:pt>
                <c:pt idx="1696">
                  <c:v>3659102.361</c:v>
                </c:pt>
                <c:pt idx="1697">
                  <c:v>3659102.361</c:v>
                </c:pt>
                <c:pt idx="1698">
                  <c:v>3659102.361</c:v>
                </c:pt>
                <c:pt idx="1699">
                  <c:v>3659102.361</c:v>
                </c:pt>
                <c:pt idx="1700">
                  <c:v>3659102.361</c:v>
                </c:pt>
                <c:pt idx="1701">
                  <c:v>3659102.361</c:v>
                </c:pt>
                <c:pt idx="1702">
                  <c:v>3659102.361</c:v>
                </c:pt>
                <c:pt idx="1703">
                  <c:v>3659102.361</c:v>
                </c:pt>
                <c:pt idx="1704">
                  <c:v>3659102.361</c:v>
                </c:pt>
                <c:pt idx="1705">
                  <c:v>3659102.361</c:v>
                </c:pt>
                <c:pt idx="1706">
                  <c:v>3659102.361</c:v>
                </c:pt>
                <c:pt idx="1707">
                  <c:v>3659102.361</c:v>
                </c:pt>
                <c:pt idx="1708">
                  <c:v>3659102.361</c:v>
                </c:pt>
                <c:pt idx="1709">
                  <c:v>3659102.361</c:v>
                </c:pt>
                <c:pt idx="1710">
                  <c:v>3659102.361</c:v>
                </c:pt>
                <c:pt idx="1711">
                  <c:v>3659102.361</c:v>
                </c:pt>
                <c:pt idx="1712">
                  <c:v>3659102.361</c:v>
                </c:pt>
                <c:pt idx="1713">
                  <c:v>3659102.361</c:v>
                </c:pt>
                <c:pt idx="1714">
                  <c:v>3659102.361</c:v>
                </c:pt>
                <c:pt idx="1715">
                  <c:v>3659102.361</c:v>
                </c:pt>
                <c:pt idx="1716">
                  <c:v>3659102.361</c:v>
                </c:pt>
                <c:pt idx="1717">
                  <c:v>3659102.361</c:v>
                </c:pt>
                <c:pt idx="1718">
                  <c:v>3659102.361</c:v>
                </c:pt>
                <c:pt idx="1719">
                  <c:v>3658748.83</c:v>
                </c:pt>
                <c:pt idx="1720">
                  <c:v>3604700.83</c:v>
                </c:pt>
                <c:pt idx="1721">
                  <c:v>3677036.83</c:v>
                </c:pt>
                <c:pt idx="1722">
                  <c:v>3661808.83</c:v>
                </c:pt>
                <c:pt idx="1723">
                  <c:v>3705152.83</c:v>
                </c:pt>
                <c:pt idx="1724">
                  <c:v>3679988.83</c:v>
                </c:pt>
                <c:pt idx="1725">
                  <c:v>3659492.83</c:v>
                </c:pt>
                <c:pt idx="1726">
                  <c:v>3767888.83</c:v>
                </c:pt>
                <c:pt idx="1727">
                  <c:v>3799424.83</c:v>
                </c:pt>
                <c:pt idx="1728">
                  <c:v>3787880.83</c:v>
                </c:pt>
                <c:pt idx="1729">
                  <c:v>3785348.83</c:v>
                </c:pt>
                <c:pt idx="1730">
                  <c:v>3866084.83</c:v>
                </c:pt>
                <c:pt idx="1731">
                  <c:v>3830672.83</c:v>
                </c:pt>
                <c:pt idx="1732">
                  <c:v>3854900.83</c:v>
                </c:pt>
                <c:pt idx="1733">
                  <c:v>3625940.83</c:v>
                </c:pt>
                <c:pt idx="1734">
                  <c:v>3661076.83</c:v>
                </c:pt>
                <c:pt idx="1735">
                  <c:v>3576404.83</c:v>
                </c:pt>
                <c:pt idx="1736">
                  <c:v>3640268.83</c:v>
                </c:pt>
                <c:pt idx="1737">
                  <c:v>3785036.83</c:v>
                </c:pt>
                <c:pt idx="1738">
                  <c:v>3793544.83</c:v>
                </c:pt>
                <c:pt idx="1739">
                  <c:v>3836108.83</c:v>
                </c:pt>
                <c:pt idx="1740">
                  <c:v>3849248.83</c:v>
                </c:pt>
                <c:pt idx="1741">
                  <c:v>3852644.83</c:v>
                </c:pt>
                <c:pt idx="1742">
                  <c:v>3809732.83</c:v>
                </c:pt>
                <c:pt idx="1743">
                  <c:v>3738859.2519999999</c:v>
                </c:pt>
                <c:pt idx="1744">
                  <c:v>3738859.2519999999</c:v>
                </c:pt>
                <c:pt idx="1745">
                  <c:v>3738859.2519999999</c:v>
                </c:pt>
                <c:pt idx="1746">
                  <c:v>3738859.2519999999</c:v>
                </c:pt>
                <c:pt idx="1747">
                  <c:v>3738859.2519999999</c:v>
                </c:pt>
                <c:pt idx="1748">
                  <c:v>3738859.2519999999</c:v>
                </c:pt>
                <c:pt idx="1749">
                  <c:v>3738859.2519999999</c:v>
                </c:pt>
                <c:pt idx="1750">
                  <c:v>3738859.2519999999</c:v>
                </c:pt>
                <c:pt idx="1751">
                  <c:v>3738859.2519999999</c:v>
                </c:pt>
                <c:pt idx="1752">
                  <c:v>3738859.2519999999</c:v>
                </c:pt>
                <c:pt idx="1753">
                  <c:v>3738859.2519999999</c:v>
                </c:pt>
                <c:pt idx="1754">
                  <c:v>3738859.2519999999</c:v>
                </c:pt>
                <c:pt idx="1755">
                  <c:v>3738859.2519999999</c:v>
                </c:pt>
                <c:pt idx="1756">
                  <c:v>3738859.2519999999</c:v>
                </c:pt>
                <c:pt idx="1757">
                  <c:v>3738859.2519999999</c:v>
                </c:pt>
                <c:pt idx="1758">
                  <c:v>3738859.2519999999</c:v>
                </c:pt>
                <c:pt idx="1759">
                  <c:v>3738859.2519999999</c:v>
                </c:pt>
                <c:pt idx="1760">
                  <c:v>3738859.2519999999</c:v>
                </c:pt>
                <c:pt idx="1761">
                  <c:v>3738859.2519999999</c:v>
                </c:pt>
                <c:pt idx="1762">
                  <c:v>3738859.2519999999</c:v>
                </c:pt>
                <c:pt idx="1763">
                  <c:v>3738859.2519999999</c:v>
                </c:pt>
                <c:pt idx="1764">
                  <c:v>3738859.2519999999</c:v>
                </c:pt>
                <c:pt idx="1765">
                  <c:v>3738859.2519999999</c:v>
                </c:pt>
                <c:pt idx="1766">
                  <c:v>3738859.2519999999</c:v>
                </c:pt>
                <c:pt idx="1767">
                  <c:v>3738859.2519999999</c:v>
                </c:pt>
                <c:pt idx="1768">
                  <c:v>3738859.2519999999</c:v>
                </c:pt>
                <c:pt idx="1769">
                  <c:v>3738859.2519999999</c:v>
                </c:pt>
                <c:pt idx="1770">
                  <c:v>3738859.2519999999</c:v>
                </c:pt>
                <c:pt idx="1771">
                  <c:v>3738859.2519999999</c:v>
                </c:pt>
                <c:pt idx="1772">
                  <c:v>3738859.2519999999</c:v>
                </c:pt>
                <c:pt idx="1773">
                  <c:v>3738859.2519999999</c:v>
                </c:pt>
                <c:pt idx="1774">
                  <c:v>3738859.2519999999</c:v>
                </c:pt>
                <c:pt idx="1775">
                  <c:v>3738859.2519999999</c:v>
                </c:pt>
                <c:pt idx="1776">
                  <c:v>3738859.2519999999</c:v>
                </c:pt>
                <c:pt idx="1777">
                  <c:v>3738859.2519999999</c:v>
                </c:pt>
                <c:pt idx="1778">
                  <c:v>3738859.2519999999</c:v>
                </c:pt>
                <c:pt idx="1779">
                  <c:v>3738859.2519999999</c:v>
                </c:pt>
                <c:pt idx="1780">
                  <c:v>3738859.2519999999</c:v>
                </c:pt>
                <c:pt idx="1781">
                  <c:v>3738859.2519999999</c:v>
                </c:pt>
                <c:pt idx="1782">
                  <c:v>3738859.2519999999</c:v>
                </c:pt>
                <c:pt idx="1783">
                  <c:v>3738859.2519999999</c:v>
                </c:pt>
                <c:pt idx="1784">
                  <c:v>3738859.2519999999</c:v>
                </c:pt>
                <c:pt idx="1785">
                  <c:v>3738859.2519999999</c:v>
                </c:pt>
                <c:pt idx="1786">
                  <c:v>3738859.2519999999</c:v>
                </c:pt>
                <c:pt idx="1787">
                  <c:v>3738859.2519999999</c:v>
                </c:pt>
                <c:pt idx="1788">
                  <c:v>3738859.2519999999</c:v>
                </c:pt>
                <c:pt idx="1789">
                  <c:v>3738859.2519999999</c:v>
                </c:pt>
                <c:pt idx="1790">
                  <c:v>3738859.2519999999</c:v>
                </c:pt>
                <c:pt idx="1791">
                  <c:v>3738859.2519999999</c:v>
                </c:pt>
                <c:pt idx="1792">
                  <c:v>3738859.2519999999</c:v>
                </c:pt>
                <c:pt idx="1793">
                  <c:v>3738859.2519999999</c:v>
                </c:pt>
                <c:pt idx="1794">
                  <c:v>3738859.2519999999</c:v>
                </c:pt>
                <c:pt idx="1795">
                  <c:v>3738859.2519999999</c:v>
                </c:pt>
                <c:pt idx="1796">
                  <c:v>3738859.2519999999</c:v>
                </c:pt>
                <c:pt idx="1797">
                  <c:v>3738859.2519999999</c:v>
                </c:pt>
                <c:pt idx="1798">
                  <c:v>3738859.2519999999</c:v>
                </c:pt>
                <c:pt idx="1799">
                  <c:v>3738859.2519999999</c:v>
                </c:pt>
                <c:pt idx="1800">
                  <c:v>3738859.2519999999</c:v>
                </c:pt>
                <c:pt idx="1801">
                  <c:v>3738859.2519999999</c:v>
                </c:pt>
                <c:pt idx="1802">
                  <c:v>3738859.2519999999</c:v>
                </c:pt>
                <c:pt idx="1803">
                  <c:v>3738859.2519999999</c:v>
                </c:pt>
                <c:pt idx="1804">
                  <c:v>3738859.2519999999</c:v>
                </c:pt>
                <c:pt idx="1805">
                  <c:v>3738859.2519999999</c:v>
                </c:pt>
                <c:pt idx="1806">
                  <c:v>3738859.2519999999</c:v>
                </c:pt>
                <c:pt idx="1807">
                  <c:v>3738859.2519999999</c:v>
                </c:pt>
                <c:pt idx="1808">
                  <c:v>3738859.2519999999</c:v>
                </c:pt>
                <c:pt idx="1809">
                  <c:v>3738859.2519999999</c:v>
                </c:pt>
                <c:pt idx="1810">
                  <c:v>3738859.2519999999</c:v>
                </c:pt>
                <c:pt idx="1811">
                  <c:v>3738859.2519999999</c:v>
                </c:pt>
                <c:pt idx="1812">
                  <c:v>3738859.2519999999</c:v>
                </c:pt>
                <c:pt idx="1813">
                  <c:v>3738859.2519999999</c:v>
                </c:pt>
                <c:pt idx="1814">
                  <c:v>3738859.2519999999</c:v>
                </c:pt>
                <c:pt idx="1815">
                  <c:v>3738859.2519999999</c:v>
                </c:pt>
                <c:pt idx="1816">
                  <c:v>3738859.2519999999</c:v>
                </c:pt>
                <c:pt idx="1817">
                  <c:v>3738859.2519999999</c:v>
                </c:pt>
                <c:pt idx="1818">
                  <c:v>3738859.2519999999</c:v>
                </c:pt>
                <c:pt idx="1819">
                  <c:v>3738859.2519999999</c:v>
                </c:pt>
                <c:pt idx="1820">
                  <c:v>3738859.2519999999</c:v>
                </c:pt>
                <c:pt idx="1821">
                  <c:v>3738859.2519999999</c:v>
                </c:pt>
                <c:pt idx="1822">
                  <c:v>3738859.2519999999</c:v>
                </c:pt>
                <c:pt idx="1823">
                  <c:v>3738859.2519999999</c:v>
                </c:pt>
                <c:pt idx="1824">
                  <c:v>3738859.2519999999</c:v>
                </c:pt>
                <c:pt idx="1825">
                  <c:v>3738859.2519999999</c:v>
                </c:pt>
                <c:pt idx="1826">
                  <c:v>3738859.2519999999</c:v>
                </c:pt>
                <c:pt idx="1827">
                  <c:v>3738859.2519999999</c:v>
                </c:pt>
                <c:pt idx="1828">
                  <c:v>3738859.2519999999</c:v>
                </c:pt>
                <c:pt idx="1829">
                  <c:v>3738859.2519999999</c:v>
                </c:pt>
                <c:pt idx="1830">
                  <c:v>3738859.2519999999</c:v>
                </c:pt>
                <c:pt idx="1831">
                  <c:v>3738859.2519999999</c:v>
                </c:pt>
                <c:pt idx="1832">
                  <c:v>3738859.2519999999</c:v>
                </c:pt>
                <c:pt idx="1833">
                  <c:v>3738859.2519999999</c:v>
                </c:pt>
                <c:pt idx="1834">
                  <c:v>3738859.2519999999</c:v>
                </c:pt>
                <c:pt idx="1835">
                  <c:v>3738859.2519999999</c:v>
                </c:pt>
                <c:pt idx="1836">
                  <c:v>3738859.2519999999</c:v>
                </c:pt>
                <c:pt idx="1837">
                  <c:v>3738859.2519999999</c:v>
                </c:pt>
                <c:pt idx="1838">
                  <c:v>3738859.2519999999</c:v>
                </c:pt>
                <c:pt idx="1839">
                  <c:v>3738859.2519999999</c:v>
                </c:pt>
                <c:pt idx="1840">
                  <c:v>3738859.2519999999</c:v>
                </c:pt>
                <c:pt idx="1841">
                  <c:v>3738859.2519999999</c:v>
                </c:pt>
                <c:pt idx="1842">
                  <c:v>3738859.2519999999</c:v>
                </c:pt>
                <c:pt idx="1843">
                  <c:v>3738859.2519999999</c:v>
                </c:pt>
                <c:pt idx="1844">
                  <c:v>3738859.2519999999</c:v>
                </c:pt>
                <c:pt idx="1845">
                  <c:v>3738859.2519999999</c:v>
                </c:pt>
                <c:pt idx="1846">
                  <c:v>3738859.2519999999</c:v>
                </c:pt>
                <c:pt idx="1847">
                  <c:v>3738859.2519999999</c:v>
                </c:pt>
                <c:pt idx="1848">
                  <c:v>3738859.2519999999</c:v>
                </c:pt>
                <c:pt idx="1849">
                  <c:v>3738859.2519999999</c:v>
                </c:pt>
                <c:pt idx="1850">
                  <c:v>3738859.2519999999</c:v>
                </c:pt>
                <c:pt idx="1851">
                  <c:v>3738859.2519999999</c:v>
                </c:pt>
                <c:pt idx="1852">
                  <c:v>3738859.2519999999</c:v>
                </c:pt>
                <c:pt idx="1853">
                  <c:v>3738488.2170000002</c:v>
                </c:pt>
                <c:pt idx="1854">
                  <c:v>3729072.2170000002</c:v>
                </c:pt>
                <c:pt idx="1855">
                  <c:v>3729655.2170000002</c:v>
                </c:pt>
                <c:pt idx="1856">
                  <c:v>3698602.2170000002</c:v>
                </c:pt>
                <c:pt idx="1857">
                  <c:v>3704146.2170000002</c:v>
                </c:pt>
                <c:pt idx="1858">
                  <c:v>3690979.2170000002</c:v>
                </c:pt>
                <c:pt idx="1859">
                  <c:v>3668000.2170000002</c:v>
                </c:pt>
                <c:pt idx="1860">
                  <c:v>3665932.2170000002</c:v>
                </c:pt>
                <c:pt idx="1861">
                  <c:v>3666691.2170000002</c:v>
                </c:pt>
                <c:pt idx="1862">
                  <c:v>3671322.2170000002</c:v>
                </c:pt>
                <c:pt idx="1863">
                  <c:v>3688702.2170000002</c:v>
                </c:pt>
                <c:pt idx="1864">
                  <c:v>3659871.2170000002</c:v>
                </c:pt>
                <c:pt idx="1865">
                  <c:v>3673654.2170000002</c:v>
                </c:pt>
                <c:pt idx="1866">
                  <c:v>3679781.2170000002</c:v>
                </c:pt>
                <c:pt idx="1867">
                  <c:v>3705026.2170000002</c:v>
                </c:pt>
                <c:pt idx="1868">
                  <c:v>3703035.2170000002</c:v>
                </c:pt>
                <c:pt idx="1869">
                  <c:v>3701649.2170000002</c:v>
                </c:pt>
                <c:pt idx="1870">
                  <c:v>3677977.2170000002</c:v>
                </c:pt>
                <c:pt idx="1871">
                  <c:v>3616993.2170000002</c:v>
                </c:pt>
                <c:pt idx="1872">
                  <c:v>3614496.2170000002</c:v>
                </c:pt>
                <c:pt idx="1873">
                  <c:v>3590736.2170000002</c:v>
                </c:pt>
                <c:pt idx="1874">
                  <c:v>3617565.2170000002</c:v>
                </c:pt>
                <c:pt idx="1875">
                  <c:v>3611273.2170000002</c:v>
                </c:pt>
                <c:pt idx="1876">
                  <c:v>3621437.2170000002</c:v>
                </c:pt>
                <c:pt idx="1877">
                  <c:v>3648365.2170000002</c:v>
                </c:pt>
                <c:pt idx="1878">
                  <c:v>3631370.2170000002</c:v>
                </c:pt>
                <c:pt idx="1879">
                  <c:v>3570441.2170000002</c:v>
                </c:pt>
                <c:pt idx="1880">
                  <c:v>3592958.2170000002</c:v>
                </c:pt>
                <c:pt idx="1881">
                  <c:v>3582112.2170000002</c:v>
                </c:pt>
                <c:pt idx="1882">
                  <c:v>3596962.2170000002</c:v>
                </c:pt>
                <c:pt idx="1883">
                  <c:v>3606741.2170000002</c:v>
                </c:pt>
                <c:pt idx="1884">
                  <c:v>3651390.2170000002</c:v>
                </c:pt>
                <c:pt idx="1885">
                  <c:v>3665349.2170000002</c:v>
                </c:pt>
                <c:pt idx="1886">
                  <c:v>3658144.2170000002</c:v>
                </c:pt>
                <c:pt idx="1887">
                  <c:v>3661048.2170000002</c:v>
                </c:pt>
                <c:pt idx="1888">
                  <c:v>3664568.2170000002</c:v>
                </c:pt>
                <c:pt idx="1889">
                  <c:v>3633801.2170000002</c:v>
                </c:pt>
                <c:pt idx="1890">
                  <c:v>3681596.2170000002</c:v>
                </c:pt>
                <c:pt idx="1891">
                  <c:v>3675997.2170000002</c:v>
                </c:pt>
                <c:pt idx="1892">
                  <c:v>3678593.2170000002</c:v>
                </c:pt>
                <c:pt idx="1893">
                  <c:v>3688647.2170000002</c:v>
                </c:pt>
                <c:pt idx="1894">
                  <c:v>3732471.2170000002</c:v>
                </c:pt>
                <c:pt idx="1895">
                  <c:v>3732328.2170000002</c:v>
                </c:pt>
                <c:pt idx="1896">
                  <c:v>3718413.2170000002</c:v>
                </c:pt>
                <c:pt idx="1897">
                  <c:v>3708403.2170000002</c:v>
                </c:pt>
                <c:pt idx="1898">
                  <c:v>3702276.2170000002</c:v>
                </c:pt>
                <c:pt idx="1899">
                  <c:v>3698041.2170000002</c:v>
                </c:pt>
                <c:pt idx="1900">
                  <c:v>3723088.2170000002</c:v>
                </c:pt>
                <c:pt idx="1901">
                  <c:v>3694818.2170000002</c:v>
                </c:pt>
                <c:pt idx="1902">
                  <c:v>3729732.2170000002</c:v>
                </c:pt>
                <c:pt idx="1903">
                  <c:v>3717720.2170000002</c:v>
                </c:pt>
                <c:pt idx="1904">
                  <c:v>3720382.2170000002</c:v>
                </c:pt>
                <c:pt idx="1905">
                  <c:v>3736365.2170000002</c:v>
                </c:pt>
                <c:pt idx="1906">
                  <c:v>3716488.2170000002</c:v>
                </c:pt>
                <c:pt idx="1907">
                  <c:v>3757804.2170000002</c:v>
                </c:pt>
                <c:pt idx="1908">
                  <c:v>3787075.2170000002</c:v>
                </c:pt>
                <c:pt idx="1909">
                  <c:v>3801408.2170000002</c:v>
                </c:pt>
                <c:pt idx="1910">
                  <c:v>3800990.2170000002</c:v>
                </c:pt>
                <c:pt idx="1911">
                  <c:v>3800682.2170000002</c:v>
                </c:pt>
                <c:pt idx="1912">
                  <c:v>3808327.2170000002</c:v>
                </c:pt>
                <c:pt idx="1913">
                  <c:v>3787339.2170000002</c:v>
                </c:pt>
                <c:pt idx="1914">
                  <c:v>3813354.2170000002</c:v>
                </c:pt>
                <c:pt idx="1915">
                  <c:v>3843329.2170000002</c:v>
                </c:pt>
                <c:pt idx="1916">
                  <c:v>3850336.2170000002</c:v>
                </c:pt>
                <c:pt idx="1917">
                  <c:v>3865747.2170000002</c:v>
                </c:pt>
                <c:pt idx="1918">
                  <c:v>3901563.2170000002</c:v>
                </c:pt>
                <c:pt idx="1919">
                  <c:v>3916721.2170000002</c:v>
                </c:pt>
                <c:pt idx="1920">
                  <c:v>3948577.2170000002</c:v>
                </c:pt>
                <c:pt idx="1921">
                  <c:v>3919933.2170000002</c:v>
                </c:pt>
                <c:pt idx="1922">
                  <c:v>3949677.2170000002</c:v>
                </c:pt>
                <c:pt idx="1923">
                  <c:v>3909978.2170000002</c:v>
                </c:pt>
                <c:pt idx="1924">
                  <c:v>3844484.2170000002</c:v>
                </c:pt>
                <c:pt idx="1925">
                  <c:v>3833198.2170000002</c:v>
                </c:pt>
                <c:pt idx="1926">
                  <c:v>3851458.2170000002</c:v>
                </c:pt>
                <c:pt idx="1927">
                  <c:v>3845287.2170000002</c:v>
                </c:pt>
                <c:pt idx="1928">
                  <c:v>3871203.2170000002</c:v>
                </c:pt>
                <c:pt idx="1929">
                  <c:v>3778231.2170000002</c:v>
                </c:pt>
                <c:pt idx="1930">
                  <c:v>3773677.2170000002</c:v>
                </c:pt>
                <c:pt idx="1931">
                  <c:v>3744978.2170000002</c:v>
                </c:pt>
                <c:pt idx="1932">
                  <c:v>3702606.2170000002</c:v>
                </c:pt>
                <c:pt idx="1933">
                  <c:v>3708766.2170000002</c:v>
                </c:pt>
                <c:pt idx="1934">
                  <c:v>3690011.2170000002</c:v>
                </c:pt>
                <c:pt idx="1935">
                  <c:v>3668099.2170000002</c:v>
                </c:pt>
                <c:pt idx="1936">
                  <c:v>3700527.2170000002</c:v>
                </c:pt>
                <c:pt idx="1937">
                  <c:v>3697370.2170000002</c:v>
                </c:pt>
                <c:pt idx="1938">
                  <c:v>3666493.2170000002</c:v>
                </c:pt>
                <c:pt idx="1939">
                  <c:v>3682773.2170000002</c:v>
                </c:pt>
                <c:pt idx="1940">
                  <c:v>3676162.2170000002</c:v>
                </c:pt>
                <c:pt idx="1941">
                  <c:v>3660212.2170000002</c:v>
                </c:pt>
                <c:pt idx="1942">
                  <c:v>3655669.2170000002</c:v>
                </c:pt>
                <c:pt idx="1943">
                  <c:v>3669221.2170000002</c:v>
                </c:pt>
                <c:pt idx="1944">
                  <c:v>3704586.2170000002</c:v>
                </c:pt>
                <c:pt idx="1945">
                  <c:v>3733274.2170000002</c:v>
                </c:pt>
                <c:pt idx="1946">
                  <c:v>3732702.2170000002</c:v>
                </c:pt>
                <c:pt idx="1947">
                  <c:v>3710570.2170000002</c:v>
                </c:pt>
                <c:pt idx="1948">
                  <c:v>3728423.2170000002</c:v>
                </c:pt>
                <c:pt idx="1949">
                  <c:v>3722230.2170000002</c:v>
                </c:pt>
                <c:pt idx="1950">
                  <c:v>3696083.2170000002</c:v>
                </c:pt>
                <c:pt idx="1951">
                  <c:v>3677515.2170000002</c:v>
                </c:pt>
                <c:pt idx="1952">
                  <c:v>3680034.2170000002</c:v>
                </c:pt>
                <c:pt idx="1953">
                  <c:v>3679528.2170000002</c:v>
                </c:pt>
                <c:pt idx="1954">
                  <c:v>3687129.2170000002</c:v>
                </c:pt>
                <c:pt idx="1955">
                  <c:v>3701440.2170000002</c:v>
                </c:pt>
                <c:pt idx="1956">
                  <c:v>3690352.2170000002</c:v>
                </c:pt>
                <c:pt idx="1957">
                  <c:v>3718512.2170000002</c:v>
                </c:pt>
                <c:pt idx="1958">
                  <c:v>3728621.2170000002</c:v>
                </c:pt>
                <c:pt idx="1959">
                  <c:v>3729028.2170000002</c:v>
                </c:pt>
                <c:pt idx="1960">
                  <c:v>3741623.2170000002</c:v>
                </c:pt>
                <c:pt idx="1961">
                  <c:v>3754889.2170000002</c:v>
                </c:pt>
                <c:pt idx="1962">
                  <c:v>3729072.2170000002</c:v>
                </c:pt>
                <c:pt idx="1963">
                  <c:v>3738664.2170000002</c:v>
                </c:pt>
                <c:pt idx="1964">
                  <c:v>3730381.2170000002</c:v>
                </c:pt>
                <c:pt idx="1965">
                  <c:v>3749752.2170000002</c:v>
                </c:pt>
                <c:pt idx="1966">
                  <c:v>3764052.2170000002</c:v>
                </c:pt>
                <c:pt idx="1967">
                  <c:v>3782972.2170000002</c:v>
                </c:pt>
                <c:pt idx="1968">
                  <c:v>3808041.2170000002</c:v>
                </c:pt>
                <c:pt idx="1969">
                  <c:v>3807513.2170000002</c:v>
                </c:pt>
                <c:pt idx="1970">
                  <c:v>3792014.2170000002</c:v>
                </c:pt>
                <c:pt idx="1971">
                  <c:v>3813156.2170000002</c:v>
                </c:pt>
                <c:pt idx="1972">
                  <c:v>3791717.2170000002</c:v>
                </c:pt>
                <c:pt idx="1973">
                  <c:v>3846662.2170000002</c:v>
                </c:pt>
                <c:pt idx="1974">
                  <c:v>3859235.2170000002</c:v>
                </c:pt>
                <c:pt idx="1975">
                  <c:v>3866869.2170000002</c:v>
                </c:pt>
                <c:pt idx="1976">
                  <c:v>3848785.2170000002</c:v>
                </c:pt>
                <c:pt idx="1977">
                  <c:v>3849368.2170000002</c:v>
                </c:pt>
                <c:pt idx="1978">
                  <c:v>3818975.2170000002</c:v>
                </c:pt>
                <c:pt idx="1979">
                  <c:v>3826224.2170000002</c:v>
                </c:pt>
                <c:pt idx="1980">
                  <c:v>3832417.2170000002</c:v>
                </c:pt>
                <c:pt idx="1981">
                  <c:v>3806743.2170000002</c:v>
                </c:pt>
                <c:pt idx="1982">
                  <c:v>3798779.2170000002</c:v>
                </c:pt>
                <c:pt idx="1983">
                  <c:v>3819261.2170000002</c:v>
                </c:pt>
                <c:pt idx="1984">
                  <c:v>3827489.2170000002</c:v>
                </c:pt>
                <c:pt idx="1985">
                  <c:v>3821736.2170000002</c:v>
                </c:pt>
                <c:pt idx="1986">
                  <c:v>3797767.2170000002</c:v>
                </c:pt>
                <c:pt idx="1987">
                  <c:v>3798812.2170000002</c:v>
                </c:pt>
                <c:pt idx="1988">
                  <c:v>3832043.2170000002</c:v>
                </c:pt>
                <c:pt idx="1989">
                  <c:v>3830492.2170000002</c:v>
                </c:pt>
                <c:pt idx="1990">
                  <c:v>3838137.2170000002</c:v>
                </c:pt>
                <c:pt idx="1991">
                  <c:v>3857794.2170000002</c:v>
                </c:pt>
                <c:pt idx="1992">
                  <c:v>3818524.2170000002</c:v>
                </c:pt>
                <c:pt idx="1993">
                  <c:v>3822704.2170000002</c:v>
                </c:pt>
                <c:pt idx="1994">
                  <c:v>3841118.2170000002</c:v>
                </c:pt>
                <c:pt idx="1995">
                  <c:v>3823188.2170000002</c:v>
                </c:pt>
                <c:pt idx="1996">
                  <c:v>3836311.2170000002</c:v>
                </c:pt>
                <c:pt idx="1997">
                  <c:v>3866693.2170000002</c:v>
                </c:pt>
                <c:pt idx="1998">
                  <c:v>3853977.2170000002</c:v>
                </c:pt>
                <c:pt idx="1999">
                  <c:v>3844924.2170000002</c:v>
                </c:pt>
                <c:pt idx="2000">
                  <c:v>3839842.2170000002</c:v>
                </c:pt>
                <c:pt idx="2001">
                  <c:v>3808569.2170000002</c:v>
                </c:pt>
                <c:pt idx="2002">
                  <c:v>3829788.2170000002</c:v>
                </c:pt>
                <c:pt idx="2003">
                  <c:v>3882412.2170000002</c:v>
                </c:pt>
                <c:pt idx="2004">
                  <c:v>3893588.2170000002</c:v>
                </c:pt>
                <c:pt idx="2005">
                  <c:v>3897339.2170000002</c:v>
                </c:pt>
                <c:pt idx="2006">
                  <c:v>3883787.2170000002</c:v>
                </c:pt>
                <c:pt idx="2007">
                  <c:v>3897196.2170000002</c:v>
                </c:pt>
                <c:pt idx="2008">
                  <c:v>3888517.2170000002</c:v>
                </c:pt>
                <c:pt idx="2009">
                  <c:v>3894160.2170000002</c:v>
                </c:pt>
                <c:pt idx="2010">
                  <c:v>3863283.2170000002</c:v>
                </c:pt>
                <c:pt idx="2011">
                  <c:v>3856067.2170000002</c:v>
                </c:pt>
                <c:pt idx="2012">
                  <c:v>3837147.2170000002</c:v>
                </c:pt>
                <c:pt idx="2013">
                  <c:v>3818601.2170000002</c:v>
                </c:pt>
                <c:pt idx="2014">
                  <c:v>3835838.2170000002</c:v>
                </c:pt>
                <c:pt idx="2015">
                  <c:v>3841602.2170000002</c:v>
                </c:pt>
                <c:pt idx="2016">
                  <c:v>3802519.2170000002</c:v>
                </c:pt>
                <c:pt idx="2017">
                  <c:v>3813200.2170000002</c:v>
                </c:pt>
                <c:pt idx="2018">
                  <c:v>3817831.2170000002</c:v>
                </c:pt>
                <c:pt idx="2019">
                  <c:v>3819525.2170000002</c:v>
                </c:pt>
                <c:pt idx="2020">
                  <c:v>3811858.2170000002</c:v>
                </c:pt>
                <c:pt idx="2021">
                  <c:v>3797371.2170000002</c:v>
                </c:pt>
                <c:pt idx="2022">
                  <c:v>3782576.2170000002</c:v>
                </c:pt>
                <c:pt idx="2023">
                  <c:v>3772962.2170000002</c:v>
                </c:pt>
                <c:pt idx="2024">
                  <c:v>3748938.2170000002</c:v>
                </c:pt>
                <c:pt idx="2025">
                  <c:v>3722824.2170000002</c:v>
                </c:pt>
                <c:pt idx="2026">
                  <c:v>3715916.2170000002</c:v>
                </c:pt>
                <c:pt idx="2027">
                  <c:v>3699603.2170000002</c:v>
                </c:pt>
                <c:pt idx="2028">
                  <c:v>3720448.2170000002</c:v>
                </c:pt>
                <c:pt idx="2029">
                  <c:v>3752051.2170000002</c:v>
                </c:pt>
                <c:pt idx="2030">
                  <c:v>3767242.2170000002</c:v>
                </c:pt>
                <c:pt idx="2031">
                  <c:v>3799648.2170000002</c:v>
                </c:pt>
                <c:pt idx="2032">
                  <c:v>3779100.2170000002</c:v>
                </c:pt>
                <c:pt idx="2033">
                  <c:v>3766054.2170000002</c:v>
                </c:pt>
                <c:pt idx="2034">
                  <c:v>3772368.2170000002</c:v>
                </c:pt>
                <c:pt idx="2035">
                  <c:v>3780497.2170000002</c:v>
                </c:pt>
                <c:pt idx="2036">
                  <c:v>3794742.2170000002</c:v>
                </c:pt>
                <c:pt idx="2037">
                  <c:v>3794720.2170000002</c:v>
                </c:pt>
                <c:pt idx="2038">
                  <c:v>3862359.2170000002</c:v>
                </c:pt>
                <c:pt idx="2039">
                  <c:v>3856606.2170000002</c:v>
                </c:pt>
                <c:pt idx="2040">
                  <c:v>3870301.2170000002</c:v>
                </c:pt>
                <c:pt idx="2041">
                  <c:v>3875647.2170000002</c:v>
                </c:pt>
                <c:pt idx="2042">
                  <c:v>3863294.2170000002</c:v>
                </c:pt>
                <c:pt idx="2043">
                  <c:v>3843758.2170000002</c:v>
                </c:pt>
                <c:pt idx="2044">
                  <c:v>3870301.2170000002</c:v>
                </c:pt>
                <c:pt idx="2045">
                  <c:v>3915390.2170000002</c:v>
                </c:pt>
                <c:pt idx="2046">
                  <c:v>3945211.2170000002</c:v>
                </c:pt>
                <c:pt idx="2047">
                  <c:v>3961920.2170000002</c:v>
                </c:pt>
                <c:pt idx="2048">
                  <c:v>3959962.2170000002</c:v>
                </c:pt>
                <c:pt idx="2049">
                  <c:v>3968630.2170000002</c:v>
                </c:pt>
                <c:pt idx="2050">
                  <c:v>3916963.2170000002</c:v>
                </c:pt>
                <c:pt idx="2051">
                  <c:v>3909802.2170000002</c:v>
                </c:pt>
                <c:pt idx="2052">
                  <c:v>3898769.2170000002</c:v>
                </c:pt>
                <c:pt idx="2053">
                  <c:v>3937170.2170000002</c:v>
                </c:pt>
                <c:pt idx="2054">
                  <c:v>3929272.2170000002</c:v>
                </c:pt>
                <c:pt idx="2055">
                  <c:v>3974889.2170000002</c:v>
                </c:pt>
                <c:pt idx="2056">
                  <c:v>3977507.2170000002</c:v>
                </c:pt>
                <c:pt idx="2057">
                  <c:v>4013301.2170000002</c:v>
                </c:pt>
                <c:pt idx="2058">
                  <c:v>4063032.2170000002</c:v>
                </c:pt>
                <c:pt idx="2059">
                  <c:v>4070325.2170000002</c:v>
                </c:pt>
                <c:pt idx="2060">
                  <c:v>4038920.2170000002</c:v>
                </c:pt>
                <c:pt idx="2061">
                  <c:v>4063846.2170000002</c:v>
                </c:pt>
                <c:pt idx="2062">
                  <c:v>4061613.2170000002</c:v>
                </c:pt>
                <c:pt idx="2063">
                  <c:v>4044068.2170000002</c:v>
                </c:pt>
                <c:pt idx="2064">
                  <c:v>4010111.2170000002</c:v>
                </c:pt>
                <c:pt idx="2065">
                  <c:v>4053781.2170000002</c:v>
                </c:pt>
                <c:pt idx="2066">
                  <c:v>4054243.2170000002</c:v>
                </c:pt>
                <c:pt idx="2067">
                  <c:v>4049656.2170000002</c:v>
                </c:pt>
                <c:pt idx="2068">
                  <c:v>4047192.2170000002</c:v>
                </c:pt>
                <c:pt idx="2069">
                  <c:v>4066024.2170000002</c:v>
                </c:pt>
                <c:pt idx="2070">
                  <c:v>4052835.2170000002</c:v>
                </c:pt>
                <c:pt idx="2071">
                  <c:v>4083745.2170000002</c:v>
                </c:pt>
                <c:pt idx="2072">
                  <c:v>4101532.2170000002</c:v>
                </c:pt>
                <c:pt idx="2073">
                  <c:v>4058049.2170000002</c:v>
                </c:pt>
                <c:pt idx="2074">
                  <c:v>4062031.2170000002</c:v>
                </c:pt>
                <c:pt idx="2075">
                  <c:v>4130858.2170000002</c:v>
                </c:pt>
                <c:pt idx="2076">
                  <c:v>4150801.2170000002</c:v>
                </c:pt>
                <c:pt idx="2077">
                  <c:v>4129593.2170000002</c:v>
                </c:pt>
                <c:pt idx="2078">
                  <c:v>4145950.2170000002</c:v>
                </c:pt>
                <c:pt idx="2079">
                  <c:v>4119649.2170000002</c:v>
                </c:pt>
                <c:pt idx="2080">
                  <c:v>4104062.2170000002</c:v>
                </c:pt>
                <c:pt idx="2081">
                  <c:v>4111542.2170000002</c:v>
                </c:pt>
                <c:pt idx="2082">
                  <c:v>4122212.2170000002</c:v>
                </c:pt>
                <c:pt idx="2083">
                  <c:v>4139790.2170000002</c:v>
                </c:pt>
                <c:pt idx="2084">
                  <c:v>4175551.2170000002</c:v>
                </c:pt>
                <c:pt idx="2085">
                  <c:v>4165068.2170000002</c:v>
                </c:pt>
                <c:pt idx="2086">
                  <c:v>4128746.2170000002</c:v>
                </c:pt>
                <c:pt idx="2087">
                  <c:v>4106471.2170000002</c:v>
                </c:pt>
                <c:pt idx="2088">
                  <c:v>4127602.2170000002</c:v>
                </c:pt>
                <c:pt idx="2089">
                  <c:v>4133564.2170000002</c:v>
                </c:pt>
                <c:pt idx="2090">
                  <c:v>4132277.2170000002</c:v>
                </c:pt>
                <c:pt idx="2091">
                  <c:v>4115236.4649999999</c:v>
                </c:pt>
                <c:pt idx="2092">
                  <c:v>4115236.4649999999</c:v>
                </c:pt>
                <c:pt idx="2093">
                  <c:v>4115236.4649999999</c:v>
                </c:pt>
                <c:pt idx="2094">
                  <c:v>4115236.4649999999</c:v>
                </c:pt>
                <c:pt idx="2095">
                  <c:v>4115236.4649999999</c:v>
                </c:pt>
                <c:pt idx="2096">
                  <c:v>4115236.4649999999</c:v>
                </c:pt>
                <c:pt idx="2097">
                  <c:v>4115236.4649999999</c:v>
                </c:pt>
                <c:pt idx="2098">
                  <c:v>4115236.4649999999</c:v>
                </c:pt>
                <c:pt idx="2099">
                  <c:v>4115236.4649999999</c:v>
                </c:pt>
                <c:pt idx="2100">
                  <c:v>4115236.4649999999</c:v>
                </c:pt>
                <c:pt idx="2101">
                  <c:v>4115236.4649999999</c:v>
                </c:pt>
                <c:pt idx="2102">
                  <c:v>4115236.4649999999</c:v>
                </c:pt>
                <c:pt idx="2103">
                  <c:v>4115236.4649999999</c:v>
                </c:pt>
                <c:pt idx="2104">
                  <c:v>4115236.4649999999</c:v>
                </c:pt>
                <c:pt idx="2105">
                  <c:v>4115236.4649999999</c:v>
                </c:pt>
                <c:pt idx="2106">
                  <c:v>4115236.4649999999</c:v>
                </c:pt>
                <c:pt idx="2107">
                  <c:v>4115236.4649999999</c:v>
                </c:pt>
                <c:pt idx="2108">
                  <c:v>4115236.4649999999</c:v>
                </c:pt>
                <c:pt idx="2109">
                  <c:v>4115236.4649999999</c:v>
                </c:pt>
                <c:pt idx="2110">
                  <c:v>4115236.4649999999</c:v>
                </c:pt>
                <c:pt idx="2111">
                  <c:v>4115236.4649999999</c:v>
                </c:pt>
                <c:pt idx="2112">
                  <c:v>4115236.4649999999</c:v>
                </c:pt>
                <c:pt idx="2113">
                  <c:v>4115236.4649999999</c:v>
                </c:pt>
                <c:pt idx="2114">
                  <c:v>4115236.4649999999</c:v>
                </c:pt>
                <c:pt idx="2115">
                  <c:v>4115236.4649999999</c:v>
                </c:pt>
                <c:pt idx="2116">
                  <c:v>4115236.4649999999</c:v>
                </c:pt>
                <c:pt idx="2117">
                  <c:v>4115236.4649999999</c:v>
                </c:pt>
                <c:pt idx="2118">
                  <c:v>4115236.4649999999</c:v>
                </c:pt>
                <c:pt idx="2119">
                  <c:v>4115236.4649999999</c:v>
                </c:pt>
                <c:pt idx="2120">
                  <c:v>4115236.4649999999</c:v>
                </c:pt>
                <c:pt idx="2121">
                  <c:v>4115236.4649999999</c:v>
                </c:pt>
                <c:pt idx="2122">
                  <c:v>4115236.4649999999</c:v>
                </c:pt>
                <c:pt idx="2123">
                  <c:v>4115236.4649999999</c:v>
                </c:pt>
                <c:pt idx="2124">
                  <c:v>4115236.4649999999</c:v>
                </c:pt>
                <c:pt idx="2125">
                  <c:v>4115236.4649999999</c:v>
                </c:pt>
                <c:pt idx="2126">
                  <c:v>4115236.4649999999</c:v>
                </c:pt>
                <c:pt idx="2127">
                  <c:v>4114852.8149999999</c:v>
                </c:pt>
                <c:pt idx="2128">
                  <c:v>4160562.8149999999</c:v>
                </c:pt>
                <c:pt idx="2129">
                  <c:v>4168212.8149999999</c:v>
                </c:pt>
                <c:pt idx="2130">
                  <c:v>4181042.8149999999</c:v>
                </c:pt>
                <c:pt idx="2131">
                  <c:v>4191302.8149999999</c:v>
                </c:pt>
                <c:pt idx="2132">
                  <c:v>4199352.8150000004</c:v>
                </c:pt>
                <c:pt idx="2133">
                  <c:v>4191802.8149999999</c:v>
                </c:pt>
                <c:pt idx="2134">
                  <c:v>4191422.8149999999</c:v>
                </c:pt>
                <c:pt idx="2135">
                  <c:v>4222512.8150000004</c:v>
                </c:pt>
                <c:pt idx="2136">
                  <c:v>4209602.8150000004</c:v>
                </c:pt>
                <c:pt idx="2137">
                  <c:v>4205202.8150000004</c:v>
                </c:pt>
                <c:pt idx="2138">
                  <c:v>4209152.8150000004</c:v>
                </c:pt>
                <c:pt idx="2139">
                  <c:v>4237752.8150000004</c:v>
                </c:pt>
                <c:pt idx="2140">
                  <c:v>4255302.8150000004</c:v>
                </c:pt>
                <c:pt idx="2141">
                  <c:v>4271932.8150000004</c:v>
                </c:pt>
                <c:pt idx="2142">
                  <c:v>4300322.8150000004</c:v>
                </c:pt>
                <c:pt idx="2143">
                  <c:v>4288072.8150000004</c:v>
                </c:pt>
                <c:pt idx="2144">
                  <c:v>4285072.8150000004</c:v>
                </c:pt>
                <c:pt idx="2145">
                  <c:v>4274972.8150000004</c:v>
                </c:pt>
                <c:pt idx="2146">
                  <c:v>4275482.8150000004</c:v>
                </c:pt>
                <c:pt idx="2147">
                  <c:v>4271052.8150000004</c:v>
                </c:pt>
                <c:pt idx="2148">
                  <c:v>4299242.8150000004</c:v>
                </c:pt>
                <c:pt idx="2149">
                  <c:v>4332602.8150000004</c:v>
                </c:pt>
                <c:pt idx="2150">
                  <c:v>4326362.8150000004</c:v>
                </c:pt>
                <c:pt idx="2151">
                  <c:v>4354252.8150000004</c:v>
                </c:pt>
                <c:pt idx="2152">
                  <c:v>4390262.8150000004</c:v>
                </c:pt>
                <c:pt idx="2153">
                  <c:v>4406422.8150000004</c:v>
                </c:pt>
                <c:pt idx="2154">
                  <c:v>4377702.8150000004</c:v>
                </c:pt>
                <c:pt idx="2155">
                  <c:v>4352022.8150000004</c:v>
                </c:pt>
                <c:pt idx="2156">
                  <c:v>4383362.8150000004</c:v>
                </c:pt>
                <c:pt idx="2157">
                  <c:v>4399202.8150000004</c:v>
                </c:pt>
                <c:pt idx="2158">
                  <c:v>4422182.8150000004</c:v>
                </c:pt>
                <c:pt idx="2159">
                  <c:v>4496052.8150000004</c:v>
                </c:pt>
                <c:pt idx="2160">
                  <c:v>4505922.8150000004</c:v>
                </c:pt>
                <c:pt idx="2161">
                  <c:v>4380752.8150000004</c:v>
                </c:pt>
                <c:pt idx="2162">
                  <c:v>4382552.8150000004</c:v>
                </c:pt>
                <c:pt idx="2163">
                  <c:v>4328302.8150000004</c:v>
                </c:pt>
                <c:pt idx="2164">
                  <c:v>4334172.8150000004</c:v>
                </c:pt>
                <c:pt idx="2165">
                  <c:v>4332102.8150000004</c:v>
                </c:pt>
                <c:pt idx="2166">
                  <c:v>4284452.8150000004</c:v>
                </c:pt>
                <c:pt idx="2167">
                  <c:v>4276492.8150000004</c:v>
                </c:pt>
                <c:pt idx="2168">
                  <c:v>4297212.8150000004</c:v>
                </c:pt>
                <c:pt idx="2169">
                  <c:v>4318522.8150000004</c:v>
                </c:pt>
                <c:pt idx="2170">
                  <c:v>4294172.8150000004</c:v>
                </c:pt>
                <c:pt idx="2171">
                  <c:v>4249412.8150000004</c:v>
                </c:pt>
                <c:pt idx="2172">
                  <c:v>4281732.8150000004</c:v>
                </c:pt>
                <c:pt idx="2173">
                  <c:v>4347852.8150000004</c:v>
                </c:pt>
                <c:pt idx="2174">
                  <c:v>4294372.8150000004</c:v>
                </c:pt>
                <c:pt idx="2175">
                  <c:v>4328442.8150000004</c:v>
                </c:pt>
                <c:pt idx="2176">
                  <c:v>4304502.8150000004</c:v>
                </c:pt>
                <c:pt idx="2177">
                  <c:v>4259212.8150000004</c:v>
                </c:pt>
                <c:pt idx="2178">
                  <c:v>4263642.8150000004</c:v>
                </c:pt>
                <c:pt idx="2179">
                  <c:v>4313682.8150000004</c:v>
                </c:pt>
                <c:pt idx="2180">
                  <c:v>4308842.8150000004</c:v>
                </c:pt>
                <c:pt idx="2181">
                  <c:v>4346202.8150000004</c:v>
                </c:pt>
                <c:pt idx="2182">
                  <c:v>4332952.8150000004</c:v>
                </c:pt>
                <c:pt idx="2183">
                  <c:v>4319892.8150000004</c:v>
                </c:pt>
                <c:pt idx="2184">
                  <c:v>4331972.8150000004</c:v>
                </c:pt>
                <c:pt idx="2185">
                  <c:v>4269562.8150000004</c:v>
                </c:pt>
                <c:pt idx="2186">
                  <c:v>4297252.8150000004</c:v>
                </c:pt>
                <c:pt idx="2187">
                  <c:v>4309202.8150000004</c:v>
                </c:pt>
                <c:pt idx="2188">
                  <c:v>4365752.8150000004</c:v>
                </c:pt>
                <c:pt idx="2189">
                  <c:v>4389742.8150000004</c:v>
                </c:pt>
                <c:pt idx="2190">
                  <c:v>4407162.8150000004</c:v>
                </c:pt>
                <c:pt idx="2191">
                  <c:v>4417102.8150000004</c:v>
                </c:pt>
                <c:pt idx="2192">
                  <c:v>4438512.8150000004</c:v>
                </c:pt>
                <c:pt idx="2193">
                  <c:v>4467652.8150000004</c:v>
                </c:pt>
                <c:pt idx="2194">
                  <c:v>4486162.8150000004</c:v>
                </c:pt>
                <c:pt idx="2195">
                  <c:v>4483942.8150000004</c:v>
                </c:pt>
                <c:pt idx="2196">
                  <c:v>4503352.8150000004</c:v>
                </c:pt>
                <c:pt idx="2197">
                  <c:v>4503592.8150000004</c:v>
                </c:pt>
                <c:pt idx="2198">
                  <c:v>4536822.8150000004</c:v>
                </c:pt>
                <c:pt idx="2199">
                  <c:v>4526472.8150000004</c:v>
                </c:pt>
                <c:pt idx="2200">
                  <c:v>4549772.8150000004</c:v>
                </c:pt>
                <c:pt idx="2201">
                  <c:v>4563752.8150000004</c:v>
                </c:pt>
                <c:pt idx="2202">
                  <c:v>4614952.8150000004</c:v>
                </c:pt>
                <c:pt idx="2203">
                  <c:v>4660962.8150000004</c:v>
                </c:pt>
                <c:pt idx="2204">
                  <c:v>4668242.8150000004</c:v>
                </c:pt>
                <c:pt idx="2205">
                  <c:v>4643432.8150000004</c:v>
                </c:pt>
                <c:pt idx="2206">
                  <c:v>4659652.8150000004</c:v>
                </c:pt>
                <c:pt idx="2207">
                  <c:v>4580372.8150000004</c:v>
                </c:pt>
                <c:pt idx="2208">
                  <c:v>4534452.8150000004</c:v>
                </c:pt>
                <c:pt idx="2209">
                  <c:v>4554252.8150000004</c:v>
                </c:pt>
                <c:pt idx="2210">
                  <c:v>4524252.8150000004</c:v>
                </c:pt>
                <c:pt idx="2211">
                  <c:v>4549582.8150000004</c:v>
                </c:pt>
                <c:pt idx="2212">
                  <c:v>4552502.8150000004</c:v>
                </c:pt>
                <c:pt idx="2213">
                  <c:v>4427242.8150000004</c:v>
                </c:pt>
                <c:pt idx="2214">
                  <c:v>4328852.8150000004</c:v>
                </c:pt>
                <c:pt idx="2215">
                  <c:v>4290402.8150000004</c:v>
                </c:pt>
                <c:pt idx="2216">
                  <c:v>4119002.8149999999</c:v>
                </c:pt>
                <c:pt idx="2217">
                  <c:v>4168452.8149999999</c:v>
                </c:pt>
                <c:pt idx="2218">
                  <c:v>4213982.8150000004</c:v>
                </c:pt>
                <c:pt idx="2219">
                  <c:v>4245312.8150000004</c:v>
                </c:pt>
                <c:pt idx="2220">
                  <c:v>4331082.8150000004</c:v>
                </c:pt>
                <c:pt idx="2221">
                  <c:v>4349442.8150000004</c:v>
                </c:pt>
                <c:pt idx="2222">
                  <c:v>4396772.8150000004</c:v>
                </c:pt>
                <c:pt idx="2223">
                  <c:v>4337332.8150000004</c:v>
                </c:pt>
                <c:pt idx="2224">
                  <c:v>4301992.8150000004</c:v>
                </c:pt>
                <c:pt idx="2225">
                  <c:v>4327442.8150000004</c:v>
                </c:pt>
                <c:pt idx="2226">
                  <c:v>4294812.8150000004</c:v>
                </c:pt>
                <c:pt idx="2227">
                  <c:v>4296452.8150000004</c:v>
                </c:pt>
                <c:pt idx="2228">
                  <c:v>4344912.8150000004</c:v>
                </c:pt>
                <c:pt idx="2229">
                  <c:v>4315002.8150000004</c:v>
                </c:pt>
                <c:pt idx="2230">
                  <c:v>4355952.8150000004</c:v>
                </c:pt>
                <c:pt idx="2231">
                  <c:v>4387222.8150000004</c:v>
                </c:pt>
                <c:pt idx="2232">
                  <c:v>4406022.8150000004</c:v>
                </c:pt>
                <c:pt idx="2233">
                  <c:v>4369602.8150000004</c:v>
                </c:pt>
                <c:pt idx="2234">
                  <c:v>4351692.8150000004</c:v>
                </c:pt>
                <c:pt idx="2235">
                  <c:v>4374512.8150000004</c:v>
                </c:pt>
                <c:pt idx="2236">
                  <c:v>4334772.8150000004</c:v>
                </c:pt>
                <c:pt idx="2237">
                  <c:v>4352602.8150000004</c:v>
                </c:pt>
                <c:pt idx="2238">
                  <c:v>4356052.8150000004</c:v>
                </c:pt>
                <c:pt idx="2239">
                  <c:v>4339402.8150000004</c:v>
                </c:pt>
                <c:pt idx="2240">
                  <c:v>4298702.8150000004</c:v>
                </c:pt>
                <c:pt idx="2241">
                  <c:v>4183292.8149999999</c:v>
                </c:pt>
                <c:pt idx="2242">
                  <c:v>4158242.8149999999</c:v>
                </c:pt>
                <c:pt idx="2243">
                  <c:v>4191622.8149999999</c:v>
                </c:pt>
                <c:pt idx="2244">
                  <c:v>4121072.8149999999</c:v>
                </c:pt>
                <c:pt idx="2245">
                  <c:v>4172402.8149999999</c:v>
                </c:pt>
                <c:pt idx="2246">
                  <c:v>4176852.8149999999</c:v>
                </c:pt>
                <c:pt idx="2247">
                  <c:v>4165272.8149999999</c:v>
                </c:pt>
                <c:pt idx="2248">
                  <c:v>4140832.8149999999</c:v>
                </c:pt>
                <c:pt idx="2249">
                  <c:v>4133212.8149999999</c:v>
                </c:pt>
                <c:pt idx="2250">
                  <c:v>4131282.8149999999</c:v>
                </c:pt>
                <c:pt idx="2251">
                  <c:v>4205522.8150000004</c:v>
                </c:pt>
                <c:pt idx="2252">
                  <c:v>4216692.8150000004</c:v>
                </c:pt>
                <c:pt idx="2253">
                  <c:v>4176992.8149999999</c:v>
                </c:pt>
                <c:pt idx="2254">
                  <c:v>4149492.8149999999</c:v>
                </c:pt>
                <c:pt idx="2255">
                  <c:v>4087212.8149999999</c:v>
                </c:pt>
                <c:pt idx="2256">
                  <c:v>4026992.8149999999</c:v>
                </c:pt>
                <c:pt idx="2257">
                  <c:v>4044632.8149999999</c:v>
                </c:pt>
                <c:pt idx="2258">
                  <c:v>4090192.8149999999</c:v>
                </c:pt>
                <c:pt idx="2259">
                  <c:v>4039202.8149999999</c:v>
                </c:pt>
                <c:pt idx="2260">
                  <c:v>4044682.8149999999</c:v>
                </c:pt>
                <c:pt idx="2261">
                  <c:v>4121842.8149999999</c:v>
                </c:pt>
                <c:pt idx="2262">
                  <c:v>4107052.8149999999</c:v>
                </c:pt>
                <c:pt idx="2263">
                  <c:v>4033842.8149999999</c:v>
                </c:pt>
                <c:pt idx="2264">
                  <c:v>4035232.8149999999</c:v>
                </c:pt>
                <c:pt idx="2265">
                  <c:v>4042002.8149999999</c:v>
                </c:pt>
                <c:pt idx="2266">
                  <c:v>4071352.8149999999</c:v>
                </c:pt>
                <c:pt idx="2267">
                  <c:v>4052952.8149999999</c:v>
                </c:pt>
                <c:pt idx="2268">
                  <c:v>4112542.8149999999</c:v>
                </c:pt>
                <c:pt idx="2269">
                  <c:v>4157032.8149999999</c:v>
                </c:pt>
                <c:pt idx="2270">
                  <c:v>4149972.8149999999</c:v>
                </c:pt>
                <c:pt idx="2271">
                  <c:v>4171412.8149999999</c:v>
                </c:pt>
                <c:pt idx="2272">
                  <c:v>4151192.8149999999</c:v>
                </c:pt>
                <c:pt idx="2273">
                  <c:v>4187642.8149999999</c:v>
                </c:pt>
                <c:pt idx="2274">
                  <c:v>4202452.8150000004</c:v>
                </c:pt>
                <c:pt idx="2275">
                  <c:v>4171192.8149999999</c:v>
                </c:pt>
                <c:pt idx="2276">
                  <c:v>4142402.8149999999</c:v>
                </c:pt>
                <c:pt idx="2277">
                  <c:v>4181412.8149999999</c:v>
                </c:pt>
                <c:pt idx="2278">
                  <c:v>4199592.8150000004</c:v>
                </c:pt>
                <c:pt idx="2279">
                  <c:v>4184562.8149999999</c:v>
                </c:pt>
                <c:pt idx="2280">
                  <c:v>4132932.8149999999</c:v>
                </c:pt>
                <c:pt idx="2281">
                  <c:v>4105572.8149999999</c:v>
                </c:pt>
                <c:pt idx="2282">
                  <c:v>4094852.8149999999</c:v>
                </c:pt>
                <c:pt idx="2283">
                  <c:v>4111612.8149999999</c:v>
                </c:pt>
                <c:pt idx="2284">
                  <c:v>4082362.8149999999</c:v>
                </c:pt>
                <c:pt idx="2285">
                  <c:v>4001722.8149999999</c:v>
                </c:pt>
                <c:pt idx="2286">
                  <c:v>4080732.8149999999</c:v>
                </c:pt>
                <c:pt idx="2287">
                  <c:v>4048942.8149999999</c:v>
                </c:pt>
                <c:pt idx="2288">
                  <c:v>4085932.8149999999</c:v>
                </c:pt>
                <c:pt idx="2289">
                  <c:v>4123672.8149999999</c:v>
                </c:pt>
                <c:pt idx="2290">
                  <c:v>4115702.8149999999</c:v>
                </c:pt>
                <c:pt idx="2291">
                  <c:v>4109362.8149999999</c:v>
                </c:pt>
                <c:pt idx="2292">
                  <c:v>4057972.8149999999</c:v>
                </c:pt>
                <c:pt idx="2293">
                  <c:v>4058332.8149999999</c:v>
                </c:pt>
                <c:pt idx="2294">
                  <c:v>4104302.8149999999</c:v>
                </c:pt>
                <c:pt idx="2295">
                  <c:v>4066692.8149999999</c:v>
                </c:pt>
                <c:pt idx="2296">
                  <c:v>4051722.8149999999</c:v>
                </c:pt>
                <c:pt idx="2297">
                  <c:v>4031782.8149999999</c:v>
                </c:pt>
                <c:pt idx="2298">
                  <c:v>3899472.8149999999</c:v>
                </c:pt>
                <c:pt idx="2299">
                  <c:v>3913792.8149999999</c:v>
                </c:pt>
                <c:pt idx="2300">
                  <c:v>3871322.8149999999</c:v>
                </c:pt>
                <c:pt idx="2301">
                  <c:v>3887252.8149999999</c:v>
                </c:pt>
                <c:pt idx="2302">
                  <c:v>3838832.8149999999</c:v>
                </c:pt>
                <c:pt idx="2303">
                  <c:v>3809462.8149999999</c:v>
                </c:pt>
                <c:pt idx="2304">
                  <c:v>3737612.8149999999</c:v>
                </c:pt>
                <c:pt idx="2305">
                  <c:v>3701882.8149999999</c:v>
                </c:pt>
                <c:pt idx="2306">
                  <c:v>3789332.8149999999</c:v>
                </c:pt>
                <c:pt idx="2307">
                  <c:v>3686312.8149999999</c:v>
                </c:pt>
                <c:pt idx="2308">
                  <c:v>3687632.8149999999</c:v>
                </c:pt>
                <c:pt idx="2309">
                  <c:v>3642102.8149999999</c:v>
                </c:pt>
                <c:pt idx="2310">
                  <c:v>3620792.8149999999</c:v>
                </c:pt>
                <c:pt idx="2311">
                  <c:v>3643472.8149999999</c:v>
                </c:pt>
                <c:pt idx="2312">
                  <c:v>3737532.8149999999</c:v>
                </c:pt>
                <c:pt idx="2313">
                  <c:v>3745872.8149999999</c:v>
                </c:pt>
                <c:pt idx="2314">
                  <c:v>3685882.8149999999</c:v>
                </c:pt>
                <c:pt idx="2315">
                  <c:v>3759412.8149999999</c:v>
                </c:pt>
                <c:pt idx="2316">
                  <c:v>3771042.8149999999</c:v>
                </c:pt>
                <c:pt idx="2317">
                  <c:v>3750442.8149999999</c:v>
                </c:pt>
                <c:pt idx="2318">
                  <c:v>3727732.8149999999</c:v>
                </c:pt>
                <c:pt idx="2319">
                  <c:v>3709672.8149999999</c:v>
                </c:pt>
                <c:pt idx="2320">
                  <c:v>3706692.8149999999</c:v>
                </c:pt>
                <c:pt idx="2321">
                  <c:v>3771242.8149999999</c:v>
                </c:pt>
                <c:pt idx="2322">
                  <c:v>3804102.8149999999</c:v>
                </c:pt>
                <c:pt idx="2323">
                  <c:v>3860062.8149999999</c:v>
                </c:pt>
                <c:pt idx="2324">
                  <c:v>3856102.8149999999</c:v>
                </c:pt>
                <c:pt idx="2325">
                  <c:v>3814602.8149999999</c:v>
                </c:pt>
                <c:pt idx="2326">
                  <c:v>3799582.8149999999</c:v>
                </c:pt>
                <c:pt idx="2327">
                  <c:v>3793432.8149999999</c:v>
                </c:pt>
                <c:pt idx="2328">
                  <c:v>3796012.8149999999</c:v>
                </c:pt>
                <c:pt idx="2329">
                  <c:v>3725742.8149999999</c:v>
                </c:pt>
                <c:pt idx="2330">
                  <c:v>3649312.8149999999</c:v>
                </c:pt>
                <c:pt idx="2331">
                  <c:v>3593632.8149999999</c:v>
                </c:pt>
                <c:pt idx="2332">
                  <c:v>3551622.8149999999</c:v>
                </c:pt>
                <c:pt idx="2333">
                  <c:v>3647222.8149999999</c:v>
                </c:pt>
                <c:pt idx="2334">
                  <c:v>3592862.8149999999</c:v>
                </c:pt>
                <c:pt idx="2335">
                  <c:v>3675882.8149999999</c:v>
                </c:pt>
                <c:pt idx="2336">
                  <c:v>3683372.8149999999</c:v>
                </c:pt>
                <c:pt idx="2337">
                  <c:v>3668692.8149999999</c:v>
                </c:pt>
                <c:pt idx="2338">
                  <c:v>3651262.8149999999</c:v>
                </c:pt>
                <c:pt idx="2339">
                  <c:v>3570332.8149999999</c:v>
                </c:pt>
                <c:pt idx="2340">
                  <c:v>3555082.8149999999</c:v>
                </c:pt>
                <c:pt idx="2341">
                  <c:v>3507972.8149999999</c:v>
                </c:pt>
                <c:pt idx="2342">
                  <c:v>3545602.8149999999</c:v>
                </c:pt>
                <c:pt idx="2343">
                  <c:v>3605002.8149999999</c:v>
                </c:pt>
                <c:pt idx="2344">
                  <c:v>3586302.8149999999</c:v>
                </c:pt>
                <c:pt idx="2345">
                  <c:v>3598382.8149999999</c:v>
                </c:pt>
                <c:pt idx="2346">
                  <c:v>3603682.8149999999</c:v>
                </c:pt>
                <c:pt idx="2347">
                  <c:v>3684922.8149999999</c:v>
                </c:pt>
                <c:pt idx="2348">
                  <c:v>3678522.8149999999</c:v>
                </c:pt>
                <c:pt idx="2349">
                  <c:v>3664922.8149999999</c:v>
                </c:pt>
                <c:pt idx="2350">
                  <c:v>3629442.8149999999</c:v>
                </c:pt>
                <c:pt idx="2351">
                  <c:v>3612852.8149999999</c:v>
                </c:pt>
                <c:pt idx="2352">
                  <c:v>3600172.8149999999</c:v>
                </c:pt>
                <c:pt idx="2353">
                  <c:v>3642252.8149999999</c:v>
                </c:pt>
                <c:pt idx="2354">
                  <c:v>3576492.8149999999</c:v>
                </c:pt>
                <c:pt idx="2355">
                  <c:v>3541232.8149999999</c:v>
                </c:pt>
                <c:pt idx="2356">
                  <c:v>3555992.8149999999</c:v>
                </c:pt>
                <c:pt idx="2357">
                  <c:v>3508422.8149999999</c:v>
                </c:pt>
                <c:pt idx="2358">
                  <c:v>3502562.8149999999</c:v>
                </c:pt>
                <c:pt idx="2359">
                  <c:v>3480372.8149999999</c:v>
                </c:pt>
                <c:pt idx="2360">
                  <c:v>3514922.8149999999</c:v>
                </c:pt>
                <c:pt idx="2361">
                  <c:v>3520442.8149999999</c:v>
                </c:pt>
                <c:pt idx="2362">
                  <c:v>3483272.8149999999</c:v>
                </c:pt>
                <c:pt idx="2363">
                  <c:v>3547782.8149999999</c:v>
                </c:pt>
                <c:pt idx="2364">
                  <c:v>3590832.8149999999</c:v>
                </c:pt>
                <c:pt idx="2365">
                  <c:v>3588482.8149999999</c:v>
                </c:pt>
                <c:pt idx="2366">
                  <c:v>3688842.8149999999</c:v>
                </c:pt>
                <c:pt idx="2367">
                  <c:v>3658152.8149999999</c:v>
                </c:pt>
                <c:pt idx="2368">
                  <c:v>3695592.8149999999</c:v>
                </c:pt>
                <c:pt idx="2369">
                  <c:v>3681942.8149999999</c:v>
                </c:pt>
                <c:pt idx="2370">
                  <c:v>3717212.8149999999</c:v>
                </c:pt>
                <c:pt idx="2371">
                  <c:v>3569252.8149999999</c:v>
                </c:pt>
                <c:pt idx="2372">
                  <c:v>3567042.8149999999</c:v>
                </c:pt>
                <c:pt idx="2373">
                  <c:v>3559952.8149999999</c:v>
                </c:pt>
                <c:pt idx="2374">
                  <c:v>3402462.8149999999</c:v>
                </c:pt>
                <c:pt idx="2375">
                  <c:v>3449082.8149999999</c:v>
                </c:pt>
                <c:pt idx="2376">
                  <c:v>3404802.8149999999</c:v>
                </c:pt>
                <c:pt idx="2377">
                  <c:v>3379322.8149999999</c:v>
                </c:pt>
                <c:pt idx="2378">
                  <c:v>3396602.8149999999</c:v>
                </c:pt>
                <c:pt idx="2379">
                  <c:v>3322438.3760000002</c:v>
                </c:pt>
                <c:pt idx="2380">
                  <c:v>3322438.3760000002</c:v>
                </c:pt>
                <c:pt idx="2381">
                  <c:v>3322438.3760000002</c:v>
                </c:pt>
                <c:pt idx="2382">
                  <c:v>3322438.3760000002</c:v>
                </c:pt>
                <c:pt idx="2383">
                  <c:v>3322438.3760000002</c:v>
                </c:pt>
                <c:pt idx="2384">
                  <c:v>3322438.3760000002</c:v>
                </c:pt>
                <c:pt idx="2385">
                  <c:v>3322438.3760000002</c:v>
                </c:pt>
                <c:pt idx="2386">
                  <c:v>3322438.3760000002</c:v>
                </c:pt>
                <c:pt idx="2387">
                  <c:v>3322438.3760000002</c:v>
                </c:pt>
                <c:pt idx="2388">
                  <c:v>3322438.3760000002</c:v>
                </c:pt>
                <c:pt idx="2389">
                  <c:v>3322438.3760000002</c:v>
                </c:pt>
                <c:pt idx="2390">
                  <c:v>3322438.3760000002</c:v>
                </c:pt>
                <c:pt idx="2391">
                  <c:v>3322438.3760000002</c:v>
                </c:pt>
                <c:pt idx="2392">
                  <c:v>3322438.3760000002</c:v>
                </c:pt>
                <c:pt idx="2393">
                  <c:v>3322438.3760000002</c:v>
                </c:pt>
                <c:pt idx="2394">
                  <c:v>3322438.3760000002</c:v>
                </c:pt>
                <c:pt idx="2395">
                  <c:v>3322438.3760000002</c:v>
                </c:pt>
                <c:pt idx="2396">
                  <c:v>3322438.3760000002</c:v>
                </c:pt>
                <c:pt idx="2397">
                  <c:v>3322438.3760000002</c:v>
                </c:pt>
                <c:pt idx="2398">
                  <c:v>3322438.3760000002</c:v>
                </c:pt>
                <c:pt idx="2399">
                  <c:v>3322438.3760000002</c:v>
                </c:pt>
                <c:pt idx="2400">
                  <c:v>3322438.3760000002</c:v>
                </c:pt>
                <c:pt idx="2401">
                  <c:v>3322438.3760000002</c:v>
                </c:pt>
                <c:pt idx="2402">
                  <c:v>3322438.3760000002</c:v>
                </c:pt>
                <c:pt idx="2403">
                  <c:v>3322438.3760000002</c:v>
                </c:pt>
                <c:pt idx="2404">
                  <c:v>3322438.3760000002</c:v>
                </c:pt>
                <c:pt idx="2405">
                  <c:v>3322438.3760000002</c:v>
                </c:pt>
                <c:pt idx="2406">
                  <c:v>3322438.3760000002</c:v>
                </c:pt>
                <c:pt idx="2407">
                  <c:v>3322438.3760000002</c:v>
                </c:pt>
                <c:pt idx="2408">
                  <c:v>3322438.3760000002</c:v>
                </c:pt>
                <c:pt idx="2409">
                  <c:v>3322438.3760000002</c:v>
                </c:pt>
                <c:pt idx="2410">
                  <c:v>3322438.3760000002</c:v>
                </c:pt>
                <c:pt idx="2411">
                  <c:v>3322438.3760000002</c:v>
                </c:pt>
                <c:pt idx="2412">
                  <c:v>3322438.3760000002</c:v>
                </c:pt>
                <c:pt idx="2413">
                  <c:v>3322438.3760000002</c:v>
                </c:pt>
                <c:pt idx="2414">
                  <c:v>3322438.3760000002</c:v>
                </c:pt>
                <c:pt idx="2415">
                  <c:v>3322438.3760000002</c:v>
                </c:pt>
                <c:pt idx="2416">
                  <c:v>3322438.3760000002</c:v>
                </c:pt>
                <c:pt idx="2417">
                  <c:v>3322438.3760000002</c:v>
                </c:pt>
                <c:pt idx="2418">
                  <c:v>3322438.3760000002</c:v>
                </c:pt>
                <c:pt idx="2419">
                  <c:v>3322438.3760000002</c:v>
                </c:pt>
                <c:pt idx="2420">
                  <c:v>3322438.3760000002</c:v>
                </c:pt>
                <c:pt idx="2421">
                  <c:v>3322438.3760000002</c:v>
                </c:pt>
                <c:pt idx="2422">
                  <c:v>3322438.3760000002</c:v>
                </c:pt>
                <c:pt idx="2423">
                  <c:v>3322438.3760000002</c:v>
                </c:pt>
                <c:pt idx="2424">
                  <c:v>3322438.3760000002</c:v>
                </c:pt>
                <c:pt idx="2425">
                  <c:v>3322438.3760000002</c:v>
                </c:pt>
                <c:pt idx="2426">
                  <c:v>3322438.3760000002</c:v>
                </c:pt>
                <c:pt idx="2427">
                  <c:v>3322438.3760000002</c:v>
                </c:pt>
                <c:pt idx="2428">
                  <c:v>3322438.3760000002</c:v>
                </c:pt>
                <c:pt idx="2429">
                  <c:v>3322438.3760000002</c:v>
                </c:pt>
                <c:pt idx="2430">
                  <c:v>3322438.3760000002</c:v>
                </c:pt>
                <c:pt idx="2431">
                  <c:v>3322438.3760000002</c:v>
                </c:pt>
                <c:pt idx="2432">
                  <c:v>3322438.3760000002</c:v>
                </c:pt>
                <c:pt idx="2433">
                  <c:v>3322438.3760000002</c:v>
                </c:pt>
                <c:pt idx="2434">
                  <c:v>3322438.3760000002</c:v>
                </c:pt>
                <c:pt idx="2435">
                  <c:v>3322438.3760000002</c:v>
                </c:pt>
                <c:pt idx="2436">
                  <c:v>3322438.3760000002</c:v>
                </c:pt>
                <c:pt idx="2437">
                  <c:v>3322438.3760000002</c:v>
                </c:pt>
                <c:pt idx="2438">
                  <c:v>3322438.3760000002</c:v>
                </c:pt>
                <c:pt idx="2439">
                  <c:v>3322438.3760000002</c:v>
                </c:pt>
                <c:pt idx="2440">
                  <c:v>3322438.3760000002</c:v>
                </c:pt>
                <c:pt idx="2441">
                  <c:v>3322438.3760000002</c:v>
                </c:pt>
                <c:pt idx="2442">
                  <c:v>3322438.3760000002</c:v>
                </c:pt>
                <c:pt idx="2443">
                  <c:v>3322438.3760000002</c:v>
                </c:pt>
                <c:pt idx="2444">
                  <c:v>3322438.3760000002</c:v>
                </c:pt>
                <c:pt idx="2445">
                  <c:v>3322438.3760000002</c:v>
                </c:pt>
                <c:pt idx="2446">
                  <c:v>3322438.3760000002</c:v>
                </c:pt>
                <c:pt idx="2447">
                  <c:v>3322438.3760000002</c:v>
                </c:pt>
                <c:pt idx="2448">
                  <c:v>3322438.3760000002</c:v>
                </c:pt>
                <c:pt idx="2449">
                  <c:v>3322438.3760000002</c:v>
                </c:pt>
                <c:pt idx="2450">
                  <c:v>3322438.3760000002</c:v>
                </c:pt>
                <c:pt idx="2451">
                  <c:v>3322438.3760000002</c:v>
                </c:pt>
                <c:pt idx="2452">
                  <c:v>3322438.3760000002</c:v>
                </c:pt>
                <c:pt idx="2453">
                  <c:v>3322438.3760000002</c:v>
                </c:pt>
                <c:pt idx="2454">
                  <c:v>3322438.3760000002</c:v>
                </c:pt>
                <c:pt idx="2455">
                  <c:v>3322438.3760000002</c:v>
                </c:pt>
                <c:pt idx="2456">
                  <c:v>3322438.3760000002</c:v>
                </c:pt>
                <c:pt idx="2457">
                  <c:v>3322132.1839999999</c:v>
                </c:pt>
                <c:pt idx="2458">
                  <c:v>3265036.1839999999</c:v>
                </c:pt>
                <c:pt idx="2459">
                  <c:v>3361372.1839999999</c:v>
                </c:pt>
                <c:pt idx="2460">
                  <c:v>3355855.1839999999</c:v>
                </c:pt>
                <c:pt idx="2461">
                  <c:v>3366943.1839999999</c:v>
                </c:pt>
                <c:pt idx="2462">
                  <c:v>3358645.1839999999</c:v>
                </c:pt>
                <c:pt idx="2463">
                  <c:v>3428314.1839999999</c:v>
                </c:pt>
                <c:pt idx="2464">
                  <c:v>3616738.1839999999</c:v>
                </c:pt>
                <c:pt idx="2465">
                  <c:v>3576427.1839999999</c:v>
                </c:pt>
                <c:pt idx="2466">
                  <c:v>3570757.1839999999</c:v>
                </c:pt>
                <c:pt idx="2467">
                  <c:v>3562639.1839999999</c:v>
                </c:pt>
                <c:pt idx="2468">
                  <c:v>3634945.1839999999</c:v>
                </c:pt>
                <c:pt idx="2469">
                  <c:v>3674896.1839999999</c:v>
                </c:pt>
                <c:pt idx="2470">
                  <c:v>3694615.1839999999</c:v>
                </c:pt>
                <c:pt idx="2471">
                  <c:v>3723487.1839999999</c:v>
                </c:pt>
                <c:pt idx="2472">
                  <c:v>3688171.1839999999</c:v>
                </c:pt>
                <c:pt idx="2473">
                  <c:v>3552028.1839999999</c:v>
                </c:pt>
                <c:pt idx="2474">
                  <c:v>3617161.1839999999</c:v>
                </c:pt>
                <c:pt idx="2475">
                  <c:v>3640021.1839999999</c:v>
                </c:pt>
                <c:pt idx="2476">
                  <c:v>3611977.1839999999</c:v>
                </c:pt>
                <c:pt idx="2477">
                  <c:v>3588847.1839999999</c:v>
                </c:pt>
                <c:pt idx="2478">
                  <c:v>3630715.1839999999</c:v>
                </c:pt>
                <c:pt idx="2479">
                  <c:v>3726781.1839999999</c:v>
                </c:pt>
                <c:pt idx="2480">
                  <c:v>3710770.1839999999</c:v>
                </c:pt>
                <c:pt idx="2481">
                  <c:v>3712102.1839999999</c:v>
                </c:pt>
                <c:pt idx="2482">
                  <c:v>3713407.1839999999</c:v>
                </c:pt>
                <c:pt idx="2483">
                  <c:v>3710626.1839999999</c:v>
                </c:pt>
                <c:pt idx="2484">
                  <c:v>3628753.1839999999</c:v>
                </c:pt>
                <c:pt idx="2485">
                  <c:v>3590602.1839999999</c:v>
                </c:pt>
                <c:pt idx="2486">
                  <c:v>3629257.1839999999</c:v>
                </c:pt>
                <c:pt idx="2487">
                  <c:v>3615766.1839999999</c:v>
                </c:pt>
                <c:pt idx="2488">
                  <c:v>3745312.1839999999</c:v>
                </c:pt>
                <c:pt idx="2489">
                  <c:v>3836743.1839999999</c:v>
                </c:pt>
                <c:pt idx="2490">
                  <c:v>3834367.1839999999</c:v>
                </c:pt>
                <c:pt idx="2491">
                  <c:v>3880150.1839999999</c:v>
                </c:pt>
                <c:pt idx="2492">
                  <c:v>3916213.1839999999</c:v>
                </c:pt>
                <c:pt idx="2493">
                  <c:v>3911713.1839999999</c:v>
                </c:pt>
                <c:pt idx="2494">
                  <c:v>3928093.1839999999</c:v>
                </c:pt>
                <c:pt idx="2495">
                  <c:v>3937471.1839999999</c:v>
                </c:pt>
                <c:pt idx="2496">
                  <c:v>3858028.1839999999</c:v>
                </c:pt>
                <c:pt idx="2497">
                  <c:v>3849964.1839999999</c:v>
                </c:pt>
                <c:pt idx="2498">
                  <c:v>3838174.1839999999</c:v>
                </c:pt>
                <c:pt idx="2499">
                  <c:v>3937417.1839999999</c:v>
                </c:pt>
                <c:pt idx="2500">
                  <c:v>3938722.1839999999</c:v>
                </c:pt>
                <c:pt idx="2501">
                  <c:v>3925078.1839999999</c:v>
                </c:pt>
                <c:pt idx="2502">
                  <c:v>3968755.1839999999</c:v>
                </c:pt>
                <c:pt idx="2503">
                  <c:v>3883255.1839999999</c:v>
                </c:pt>
                <c:pt idx="2504">
                  <c:v>3877315.1839999999</c:v>
                </c:pt>
                <c:pt idx="2505">
                  <c:v>3887287.1839999999</c:v>
                </c:pt>
                <c:pt idx="2506">
                  <c:v>3807844.1839999999</c:v>
                </c:pt>
                <c:pt idx="2507">
                  <c:v>3760549.1839999999</c:v>
                </c:pt>
                <c:pt idx="2508">
                  <c:v>3770503.1839999999</c:v>
                </c:pt>
                <c:pt idx="2509">
                  <c:v>3782095.1839999999</c:v>
                </c:pt>
                <c:pt idx="2510">
                  <c:v>3576364.1839999999</c:v>
                </c:pt>
                <c:pt idx="2511">
                  <c:v>3608809.1839999999</c:v>
                </c:pt>
                <c:pt idx="2512">
                  <c:v>3560920.1839999999</c:v>
                </c:pt>
                <c:pt idx="2513">
                  <c:v>3499936.1839999999</c:v>
                </c:pt>
                <c:pt idx="2514">
                  <c:v>3617611.1839999999</c:v>
                </c:pt>
                <c:pt idx="2515">
                  <c:v>3562063.1839999999</c:v>
                </c:pt>
                <c:pt idx="2516">
                  <c:v>3540841.1839999999</c:v>
                </c:pt>
                <c:pt idx="2517">
                  <c:v>3614587.1839999999</c:v>
                </c:pt>
                <c:pt idx="2518">
                  <c:v>3629770.1839999999</c:v>
                </c:pt>
                <c:pt idx="2519">
                  <c:v>3544090.1839999999</c:v>
                </c:pt>
                <c:pt idx="2520">
                  <c:v>3516217.1839999999</c:v>
                </c:pt>
                <c:pt idx="2521">
                  <c:v>3560308.1839999999</c:v>
                </c:pt>
                <c:pt idx="2522">
                  <c:v>3544648.1839999999</c:v>
                </c:pt>
                <c:pt idx="2523">
                  <c:v>3485770.1839999999</c:v>
                </c:pt>
                <c:pt idx="2524">
                  <c:v>3494725.1839999999</c:v>
                </c:pt>
                <c:pt idx="2525">
                  <c:v>3533686.1839999999</c:v>
                </c:pt>
                <c:pt idx="2526">
                  <c:v>3565240.1839999999</c:v>
                </c:pt>
                <c:pt idx="2527">
                  <c:v>3557725.1839999999</c:v>
                </c:pt>
                <c:pt idx="2528">
                  <c:v>3537268.1839999999</c:v>
                </c:pt>
                <c:pt idx="2529">
                  <c:v>3527017.1839999999</c:v>
                </c:pt>
                <c:pt idx="2530">
                  <c:v>3529015.1839999999</c:v>
                </c:pt>
                <c:pt idx="2531">
                  <c:v>3498829.1839999999</c:v>
                </c:pt>
                <c:pt idx="2532">
                  <c:v>3497605.1839999999</c:v>
                </c:pt>
                <c:pt idx="2533">
                  <c:v>3468418.1839999999</c:v>
                </c:pt>
                <c:pt idx="2534">
                  <c:v>3509872.1839999999</c:v>
                </c:pt>
                <c:pt idx="2535">
                  <c:v>3607558.1839999999</c:v>
                </c:pt>
                <c:pt idx="2536">
                  <c:v>3582196.1839999999</c:v>
                </c:pt>
                <c:pt idx="2537">
                  <c:v>3577057.1839999999</c:v>
                </c:pt>
                <c:pt idx="2538">
                  <c:v>3549598.1839999999</c:v>
                </c:pt>
                <c:pt idx="2539">
                  <c:v>3549544.1839999999</c:v>
                </c:pt>
                <c:pt idx="2540">
                  <c:v>3561064.1839999999</c:v>
                </c:pt>
                <c:pt idx="2541">
                  <c:v>3604552.1839999999</c:v>
                </c:pt>
                <c:pt idx="2542">
                  <c:v>3705874.1839999999</c:v>
                </c:pt>
                <c:pt idx="2543">
                  <c:v>3710752.1839999999</c:v>
                </c:pt>
                <c:pt idx="2544">
                  <c:v>3717349.1839999999</c:v>
                </c:pt>
                <c:pt idx="2545">
                  <c:v>3681385.1839999999</c:v>
                </c:pt>
                <c:pt idx="2546">
                  <c:v>3675103.1839999999</c:v>
                </c:pt>
                <c:pt idx="2547">
                  <c:v>3711544.1839999999</c:v>
                </c:pt>
                <c:pt idx="2548">
                  <c:v>3703237.1839999999</c:v>
                </c:pt>
                <c:pt idx="2549">
                  <c:v>3802435.1839999999</c:v>
                </c:pt>
                <c:pt idx="2550">
                  <c:v>3803659.1839999999</c:v>
                </c:pt>
                <c:pt idx="2551">
                  <c:v>3764383.1839999999</c:v>
                </c:pt>
                <c:pt idx="2552">
                  <c:v>3745996.1839999999</c:v>
                </c:pt>
                <c:pt idx="2553">
                  <c:v>3764086.1839999999</c:v>
                </c:pt>
                <c:pt idx="2554">
                  <c:v>3682717.1839999999</c:v>
                </c:pt>
                <c:pt idx="2555">
                  <c:v>3674023.1839999999</c:v>
                </c:pt>
                <c:pt idx="2556">
                  <c:v>3668272.1839999999</c:v>
                </c:pt>
                <c:pt idx="2557">
                  <c:v>3666904.1839999999</c:v>
                </c:pt>
                <c:pt idx="2558">
                  <c:v>3688063.1839999999</c:v>
                </c:pt>
                <c:pt idx="2559">
                  <c:v>3701977.1839999999</c:v>
                </c:pt>
                <c:pt idx="2560">
                  <c:v>3686362.1839999999</c:v>
                </c:pt>
                <c:pt idx="2561">
                  <c:v>3684382.1839999999</c:v>
                </c:pt>
                <c:pt idx="2562">
                  <c:v>3651766.1839999999</c:v>
                </c:pt>
                <c:pt idx="2563">
                  <c:v>3687370.1839999999</c:v>
                </c:pt>
                <c:pt idx="2564">
                  <c:v>3663718.1839999999</c:v>
                </c:pt>
                <c:pt idx="2565">
                  <c:v>3671125.1839999999</c:v>
                </c:pt>
                <c:pt idx="2566">
                  <c:v>3698053.1839999999</c:v>
                </c:pt>
                <c:pt idx="2567">
                  <c:v>3726169.1839999999</c:v>
                </c:pt>
                <c:pt idx="2568">
                  <c:v>3732919.1839999999</c:v>
                </c:pt>
                <c:pt idx="2569">
                  <c:v>3729049.1839999999</c:v>
                </c:pt>
                <c:pt idx="2570">
                  <c:v>3743494.1839999999</c:v>
                </c:pt>
                <c:pt idx="2571">
                  <c:v>3712030.1839999999</c:v>
                </c:pt>
                <c:pt idx="2572">
                  <c:v>3683329.1839999999</c:v>
                </c:pt>
                <c:pt idx="2573">
                  <c:v>3632902.1839999999</c:v>
                </c:pt>
                <c:pt idx="2574">
                  <c:v>3568327.1839999999</c:v>
                </c:pt>
                <c:pt idx="2575">
                  <c:v>3532903.1839999999</c:v>
                </c:pt>
                <c:pt idx="2576">
                  <c:v>3519493.1839999999</c:v>
                </c:pt>
                <c:pt idx="2577">
                  <c:v>3562567.1839999999</c:v>
                </c:pt>
                <c:pt idx="2578">
                  <c:v>3530383.1839999999</c:v>
                </c:pt>
                <c:pt idx="2579">
                  <c:v>3589396.1839999999</c:v>
                </c:pt>
                <c:pt idx="2580">
                  <c:v>3559381.1839999999</c:v>
                </c:pt>
                <c:pt idx="2581">
                  <c:v>3574366.1839999999</c:v>
                </c:pt>
                <c:pt idx="2582">
                  <c:v>3584806.1839999999</c:v>
                </c:pt>
                <c:pt idx="2583">
                  <c:v>3599692.1839999999</c:v>
                </c:pt>
                <c:pt idx="2584">
                  <c:v>3672187.1839999999</c:v>
                </c:pt>
                <c:pt idx="2585">
                  <c:v>3669163.1839999999</c:v>
                </c:pt>
                <c:pt idx="2586">
                  <c:v>3663790.1839999999</c:v>
                </c:pt>
                <c:pt idx="2587">
                  <c:v>3674365.1839999999</c:v>
                </c:pt>
                <c:pt idx="2588">
                  <c:v>3698980.1839999999</c:v>
                </c:pt>
                <c:pt idx="2589">
                  <c:v>3649525.1839999999</c:v>
                </c:pt>
                <c:pt idx="2590">
                  <c:v>3695461.1839999999</c:v>
                </c:pt>
                <c:pt idx="2591">
                  <c:v>3682528.1839999999</c:v>
                </c:pt>
                <c:pt idx="2592">
                  <c:v>3671377.1839999999</c:v>
                </c:pt>
                <c:pt idx="2593">
                  <c:v>3679837.1839999999</c:v>
                </c:pt>
                <c:pt idx="2594">
                  <c:v>3723694.1839999999</c:v>
                </c:pt>
                <c:pt idx="2595">
                  <c:v>3728455.1839999999</c:v>
                </c:pt>
                <c:pt idx="2596">
                  <c:v>3757606.1839999999</c:v>
                </c:pt>
                <c:pt idx="2597">
                  <c:v>3792994.1839999999</c:v>
                </c:pt>
                <c:pt idx="2598">
                  <c:v>3813865.1839999999</c:v>
                </c:pt>
                <c:pt idx="2599">
                  <c:v>3835861.1839999999</c:v>
                </c:pt>
                <c:pt idx="2600">
                  <c:v>3823549.1839999999</c:v>
                </c:pt>
                <c:pt idx="2601">
                  <c:v>3797296.1839999999</c:v>
                </c:pt>
                <c:pt idx="2602">
                  <c:v>3835348.1839999999</c:v>
                </c:pt>
                <c:pt idx="2603">
                  <c:v>3822154.1839999999</c:v>
                </c:pt>
                <c:pt idx="2604">
                  <c:v>3762304.1839999999</c:v>
                </c:pt>
                <c:pt idx="2605">
                  <c:v>3779278.1839999999</c:v>
                </c:pt>
                <c:pt idx="2606">
                  <c:v>3792148.1839999999</c:v>
                </c:pt>
                <c:pt idx="2607">
                  <c:v>3802291.1839999999</c:v>
                </c:pt>
                <c:pt idx="2608">
                  <c:v>3761800.1839999999</c:v>
                </c:pt>
                <c:pt idx="2609">
                  <c:v>3771178.1839999999</c:v>
                </c:pt>
                <c:pt idx="2610">
                  <c:v>3744088.1839999999</c:v>
                </c:pt>
                <c:pt idx="2611">
                  <c:v>3717232.1839999999</c:v>
                </c:pt>
                <c:pt idx="2612">
                  <c:v>3727591.1839999999</c:v>
                </c:pt>
                <c:pt idx="2613">
                  <c:v>3693283.1839999999</c:v>
                </c:pt>
                <c:pt idx="2614">
                  <c:v>3714118.1839999999</c:v>
                </c:pt>
                <c:pt idx="2615">
                  <c:v>3719122.1839999999</c:v>
                </c:pt>
                <c:pt idx="2616">
                  <c:v>3747382.1839999999</c:v>
                </c:pt>
                <c:pt idx="2617">
                  <c:v>3780763.1839999999</c:v>
                </c:pt>
                <c:pt idx="2618">
                  <c:v>3818122.1839999999</c:v>
                </c:pt>
                <c:pt idx="2619">
                  <c:v>3802831.1839999999</c:v>
                </c:pt>
                <c:pt idx="2620">
                  <c:v>3790627.1839999999</c:v>
                </c:pt>
                <c:pt idx="2621">
                  <c:v>3792904.1839999999</c:v>
                </c:pt>
                <c:pt idx="2622">
                  <c:v>3742648.1839999999</c:v>
                </c:pt>
                <c:pt idx="2623">
                  <c:v>3752962.1839999999</c:v>
                </c:pt>
                <c:pt idx="2624">
                  <c:v>3766498.1839999999</c:v>
                </c:pt>
                <c:pt idx="2625">
                  <c:v>3744178.1839999999</c:v>
                </c:pt>
                <c:pt idx="2626">
                  <c:v>3743809.1839999999</c:v>
                </c:pt>
                <c:pt idx="2627">
                  <c:v>3767317.1839999999</c:v>
                </c:pt>
                <c:pt idx="2628">
                  <c:v>3794137.1839999999</c:v>
                </c:pt>
                <c:pt idx="2629">
                  <c:v>3779413.1839999999</c:v>
                </c:pt>
                <c:pt idx="2630">
                  <c:v>3762313.1839999999</c:v>
                </c:pt>
                <c:pt idx="2631">
                  <c:v>3758281.1839999999</c:v>
                </c:pt>
                <c:pt idx="2632">
                  <c:v>3817357.1839999999</c:v>
                </c:pt>
                <c:pt idx="2633">
                  <c:v>3840514.1839999999</c:v>
                </c:pt>
                <c:pt idx="2634">
                  <c:v>3862735.1839999999</c:v>
                </c:pt>
                <c:pt idx="2635">
                  <c:v>3846598.1839999999</c:v>
                </c:pt>
                <c:pt idx="2636">
                  <c:v>3852889.1839999999</c:v>
                </c:pt>
                <c:pt idx="2637">
                  <c:v>3835915.1839999999</c:v>
                </c:pt>
                <c:pt idx="2638">
                  <c:v>3772888.1839999999</c:v>
                </c:pt>
                <c:pt idx="2639">
                  <c:v>3773527.1839999999</c:v>
                </c:pt>
                <c:pt idx="2640">
                  <c:v>3770188.1839999999</c:v>
                </c:pt>
                <c:pt idx="2641">
                  <c:v>3775480.1839999999</c:v>
                </c:pt>
                <c:pt idx="2642">
                  <c:v>3749587.1839999999</c:v>
                </c:pt>
                <c:pt idx="2643">
                  <c:v>3777343.1839999999</c:v>
                </c:pt>
                <c:pt idx="2644">
                  <c:v>3812542.1839999999</c:v>
                </c:pt>
                <c:pt idx="2645">
                  <c:v>3777280.1839999999</c:v>
                </c:pt>
                <c:pt idx="2646">
                  <c:v>3760846.1839999999</c:v>
                </c:pt>
                <c:pt idx="2647">
                  <c:v>3725197.1839999999</c:v>
                </c:pt>
                <c:pt idx="2648">
                  <c:v>3750595.1839999999</c:v>
                </c:pt>
                <c:pt idx="2649">
                  <c:v>3762691.1839999999</c:v>
                </c:pt>
                <c:pt idx="2650">
                  <c:v>3748264.1839999999</c:v>
                </c:pt>
                <c:pt idx="2651">
                  <c:v>3736276.1839999999</c:v>
                </c:pt>
                <c:pt idx="2652">
                  <c:v>3706009.1839999999</c:v>
                </c:pt>
                <c:pt idx="2653">
                  <c:v>3712660.1839999999</c:v>
                </c:pt>
                <c:pt idx="2654">
                  <c:v>3726187.1839999999</c:v>
                </c:pt>
                <c:pt idx="2655">
                  <c:v>3725044.1839999999</c:v>
                </c:pt>
                <c:pt idx="2656">
                  <c:v>3751630.1839999999</c:v>
                </c:pt>
                <c:pt idx="2657">
                  <c:v>3772357.1839999999</c:v>
                </c:pt>
                <c:pt idx="2658">
                  <c:v>3766111.1839999999</c:v>
                </c:pt>
                <c:pt idx="2659">
                  <c:v>3770548.1839999999</c:v>
                </c:pt>
                <c:pt idx="2660">
                  <c:v>3772681.1839999999</c:v>
                </c:pt>
                <c:pt idx="2661">
                  <c:v>3762124.1839999999</c:v>
                </c:pt>
                <c:pt idx="2662">
                  <c:v>3831604.1839999999</c:v>
                </c:pt>
                <c:pt idx="2663">
                  <c:v>3849001.1839999999</c:v>
                </c:pt>
                <c:pt idx="2664">
                  <c:v>3897826.1839999999</c:v>
                </c:pt>
                <c:pt idx="2665">
                  <c:v>3889708.1839999999</c:v>
                </c:pt>
                <c:pt idx="2666">
                  <c:v>3884641.1839999999</c:v>
                </c:pt>
                <c:pt idx="2667">
                  <c:v>3875731.1839999999</c:v>
                </c:pt>
                <c:pt idx="2668">
                  <c:v>3830596.1839999999</c:v>
                </c:pt>
                <c:pt idx="2669">
                  <c:v>3853870.1839999999</c:v>
                </c:pt>
                <c:pt idx="2670">
                  <c:v>3851989.1839999999</c:v>
                </c:pt>
                <c:pt idx="2671">
                  <c:v>3883597.1839999999</c:v>
                </c:pt>
                <c:pt idx="2672">
                  <c:v>3880033.1839999999</c:v>
                </c:pt>
                <c:pt idx="2673">
                  <c:v>3933673.1839999999</c:v>
                </c:pt>
                <c:pt idx="2674">
                  <c:v>3947128.1839999999</c:v>
                </c:pt>
                <c:pt idx="2675">
                  <c:v>3997222.1839999999</c:v>
                </c:pt>
                <c:pt idx="2676">
                  <c:v>3990670.1839999999</c:v>
                </c:pt>
                <c:pt idx="2677">
                  <c:v>3976576.1839999999</c:v>
                </c:pt>
                <c:pt idx="2678">
                  <c:v>4004413.1839999999</c:v>
                </c:pt>
                <c:pt idx="2679">
                  <c:v>3961294.1839999999</c:v>
                </c:pt>
                <c:pt idx="2680">
                  <c:v>4008139.1839999999</c:v>
                </c:pt>
                <c:pt idx="2681">
                  <c:v>4007068.1839999999</c:v>
                </c:pt>
                <c:pt idx="2682">
                  <c:v>4043797.1839999999</c:v>
                </c:pt>
                <c:pt idx="2683">
                  <c:v>4031107.1839999999</c:v>
                </c:pt>
                <c:pt idx="2684">
                  <c:v>4010263.1839999999</c:v>
                </c:pt>
                <c:pt idx="2685">
                  <c:v>3994342.1839999999</c:v>
                </c:pt>
                <c:pt idx="2686">
                  <c:v>3999571.1839999999</c:v>
                </c:pt>
                <c:pt idx="2687">
                  <c:v>4027453.1839999999</c:v>
                </c:pt>
                <c:pt idx="2688">
                  <c:v>3963085.1839999999</c:v>
                </c:pt>
                <c:pt idx="2689">
                  <c:v>3978943.1839999999</c:v>
                </c:pt>
                <c:pt idx="2690">
                  <c:v>3863716.1839999999</c:v>
                </c:pt>
                <c:pt idx="2691">
                  <c:v>3579398.2310000001</c:v>
                </c:pt>
                <c:pt idx="2692">
                  <c:v>3579398.2310000001</c:v>
                </c:pt>
                <c:pt idx="2693">
                  <c:v>3579398.2310000001</c:v>
                </c:pt>
                <c:pt idx="2694">
                  <c:v>3579398.2310000001</c:v>
                </c:pt>
                <c:pt idx="2695">
                  <c:v>3579398.2310000001</c:v>
                </c:pt>
                <c:pt idx="2696">
                  <c:v>3579398.2310000001</c:v>
                </c:pt>
                <c:pt idx="2697">
                  <c:v>3579398.2310000001</c:v>
                </c:pt>
                <c:pt idx="2698">
                  <c:v>3579398.2310000001</c:v>
                </c:pt>
                <c:pt idx="2699">
                  <c:v>3579398.2310000001</c:v>
                </c:pt>
                <c:pt idx="2700">
                  <c:v>3579398.2310000001</c:v>
                </c:pt>
                <c:pt idx="2701">
                  <c:v>3579398.2310000001</c:v>
                </c:pt>
                <c:pt idx="2702">
                  <c:v>3579398.2310000001</c:v>
                </c:pt>
                <c:pt idx="2703">
                  <c:v>3579398.2310000001</c:v>
                </c:pt>
                <c:pt idx="2704">
                  <c:v>3579398.2310000001</c:v>
                </c:pt>
                <c:pt idx="2705">
                  <c:v>3579398.2310000001</c:v>
                </c:pt>
                <c:pt idx="2706">
                  <c:v>3579398.2310000001</c:v>
                </c:pt>
                <c:pt idx="2707">
                  <c:v>3579398.2310000001</c:v>
                </c:pt>
                <c:pt idx="2708">
                  <c:v>3579398.2310000001</c:v>
                </c:pt>
                <c:pt idx="2709">
                  <c:v>3579398.2310000001</c:v>
                </c:pt>
                <c:pt idx="2710">
                  <c:v>3579398.2310000001</c:v>
                </c:pt>
                <c:pt idx="2711">
                  <c:v>3579398.2310000001</c:v>
                </c:pt>
                <c:pt idx="2712">
                  <c:v>3579398.2310000001</c:v>
                </c:pt>
                <c:pt idx="2713">
                  <c:v>3579398.2310000001</c:v>
                </c:pt>
                <c:pt idx="2714">
                  <c:v>3579398.2310000001</c:v>
                </c:pt>
                <c:pt idx="2715">
                  <c:v>3579398.2310000001</c:v>
                </c:pt>
                <c:pt idx="2716">
                  <c:v>3579398.2310000001</c:v>
                </c:pt>
                <c:pt idx="2717">
                  <c:v>3579398.2310000001</c:v>
                </c:pt>
                <c:pt idx="2718">
                  <c:v>3579398.2310000001</c:v>
                </c:pt>
                <c:pt idx="2719">
                  <c:v>3579398.2310000001</c:v>
                </c:pt>
                <c:pt idx="2720">
                  <c:v>3579398.2310000001</c:v>
                </c:pt>
                <c:pt idx="2721">
                  <c:v>3579398.2310000001</c:v>
                </c:pt>
                <c:pt idx="2722">
                  <c:v>3579398.2310000001</c:v>
                </c:pt>
                <c:pt idx="2723">
                  <c:v>3579398.2310000001</c:v>
                </c:pt>
                <c:pt idx="2724">
                  <c:v>3579398.2310000001</c:v>
                </c:pt>
                <c:pt idx="2725">
                  <c:v>3579398.2310000001</c:v>
                </c:pt>
                <c:pt idx="2726">
                  <c:v>3579398.2310000001</c:v>
                </c:pt>
                <c:pt idx="2727">
                  <c:v>3579398.2310000001</c:v>
                </c:pt>
                <c:pt idx="2728">
                  <c:v>3579398.2310000001</c:v>
                </c:pt>
                <c:pt idx="2729">
                  <c:v>3579398.2310000001</c:v>
                </c:pt>
                <c:pt idx="2730">
                  <c:v>3579398.2310000001</c:v>
                </c:pt>
                <c:pt idx="2731">
                  <c:v>3579398.2310000001</c:v>
                </c:pt>
                <c:pt idx="2732">
                  <c:v>3579398.2310000001</c:v>
                </c:pt>
                <c:pt idx="2733">
                  <c:v>3579398.2310000001</c:v>
                </c:pt>
                <c:pt idx="2734">
                  <c:v>3579398.2310000001</c:v>
                </c:pt>
                <c:pt idx="2735">
                  <c:v>3579398.2310000001</c:v>
                </c:pt>
                <c:pt idx="2736">
                  <c:v>3579398.2310000001</c:v>
                </c:pt>
                <c:pt idx="2737">
                  <c:v>3579398.2310000001</c:v>
                </c:pt>
                <c:pt idx="2738">
                  <c:v>3579398.2310000001</c:v>
                </c:pt>
                <c:pt idx="2739">
                  <c:v>3579398.2310000001</c:v>
                </c:pt>
                <c:pt idx="2740">
                  <c:v>3579398.2310000001</c:v>
                </c:pt>
                <c:pt idx="2741">
                  <c:v>3579398.2310000001</c:v>
                </c:pt>
                <c:pt idx="2742">
                  <c:v>3579398.2310000001</c:v>
                </c:pt>
                <c:pt idx="2743">
                  <c:v>3579398.2310000001</c:v>
                </c:pt>
                <c:pt idx="2744">
                  <c:v>3579398.2310000001</c:v>
                </c:pt>
                <c:pt idx="2745">
                  <c:v>3579398.2310000001</c:v>
                </c:pt>
                <c:pt idx="2746">
                  <c:v>3579398.2310000001</c:v>
                </c:pt>
                <c:pt idx="2747">
                  <c:v>3579398.2310000001</c:v>
                </c:pt>
                <c:pt idx="2748">
                  <c:v>3579398.2310000001</c:v>
                </c:pt>
                <c:pt idx="2749">
                  <c:v>3579398.2310000001</c:v>
                </c:pt>
                <c:pt idx="2750">
                  <c:v>3579398.2310000001</c:v>
                </c:pt>
                <c:pt idx="2751">
                  <c:v>3579398.2310000001</c:v>
                </c:pt>
                <c:pt idx="2752">
                  <c:v>3579398.2310000001</c:v>
                </c:pt>
                <c:pt idx="2753">
                  <c:v>3579398.2310000001</c:v>
                </c:pt>
                <c:pt idx="2754">
                  <c:v>3579398.2310000001</c:v>
                </c:pt>
                <c:pt idx="2755">
                  <c:v>3579398.2310000001</c:v>
                </c:pt>
                <c:pt idx="2756">
                  <c:v>3579398.2310000001</c:v>
                </c:pt>
                <c:pt idx="2757">
                  <c:v>3579398.2310000001</c:v>
                </c:pt>
                <c:pt idx="2758">
                  <c:v>3579398.2310000001</c:v>
                </c:pt>
                <c:pt idx="2759">
                  <c:v>3579398.2310000001</c:v>
                </c:pt>
                <c:pt idx="2760">
                  <c:v>3579398.2310000001</c:v>
                </c:pt>
                <c:pt idx="2761">
                  <c:v>3579398.2310000001</c:v>
                </c:pt>
                <c:pt idx="2762">
                  <c:v>3579398.2310000001</c:v>
                </c:pt>
                <c:pt idx="2763">
                  <c:v>3579398.2310000001</c:v>
                </c:pt>
                <c:pt idx="2764">
                  <c:v>3579398.2310000001</c:v>
                </c:pt>
                <c:pt idx="2765">
                  <c:v>3579398.2310000001</c:v>
                </c:pt>
                <c:pt idx="2766">
                  <c:v>3579398.2310000001</c:v>
                </c:pt>
                <c:pt idx="2767">
                  <c:v>3579398.2310000001</c:v>
                </c:pt>
                <c:pt idx="2768">
                  <c:v>3579398.2310000001</c:v>
                </c:pt>
                <c:pt idx="2769">
                  <c:v>3579398.2310000001</c:v>
                </c:pt>
                <c:pt idx="2770">
                  <c:v>3579398.2310000001</c:v>
                </c:pt>
                <c:pt idx="2771">
                  <c:v>3579398.2310000001</c:v>
                </c:pt>
                <c:pt idx="2772">
                  <c:v>3579398.2310000001</c:v>
                </c:pt>
                <c:pt idx="2773">
                  <c:v>3579398.2310000001</c:v>
                </c:pt>
                <c:pt idx="2774">
                  <c:v>3579398.2310000001</c:v>
                </c:pt>
                <c:pt idx="2775">
                  <c:v>3579398.2310000001</c:v>
                </c:pt>
                <c:pt idx="2776">
                  <c:v>3579398.2310000001</c:v>
                </c:pt>
                <c:pt idx="2777">
                  <c:v>3579398.2310000001</c:v>
                </c:pt>
                <c:pt idx="2778">
                  <c:v>3579398.2310000001</c:v>
                </c:pt>
                <c:pt idx="2779">
                  <c:v>3579398.2310000001</c:v>
                </c:pt>
                <c:pt idx="2780">
                  <c:v>3579398.2310000001</c:v>
                </c:pt>
                <c:pt idx="2781">
                  <c:v>3579398.2310000001</c:v>
                </c:pt>
                <c:pt idx="2782">
                  <c:v>3579398.2310000001</c:v>
                </c:pt>
                <c:pt idx="2783">
                  <c:v>3579398.2310000001</c:v>
                </c:pt>
                <c:pt idx="2784">
                  <c:v>3579398.2310000001</c:v>
                </c:pt>
                <c:pt idx="2785">
                  <c:v>3579398.2310000001</c:v>
                </c:pt>
                <c:pt idx="2786">
                  <c:v>3579398.2310000001</c:v>
                </c:pt>
                <c:pt idx="2787">
                  <c:v>3579398.2310000001</c:v>
                </c:pt>
                <c:pt idx="2788">
                  <c:v>3579398.2310000001</c:v>
                </c:pt>
                <c:pt idx="2789">
                  <c:v>3579398.2310000001</c:v>
                </c:pt>
                <c:pt idx="2790">
                  <c:v>3579398.2310000001</c:v>
                </c:pt>
                <c:pt idx="2791">
                  <c:v>3579398.2310000001</c:v>
                </c:pt>
                <c:pt idx="2792">
                  <c:v>3579398.2310000001</c:v>
                </c:pt>
                <c:pt idx="2793">
                  <c:v>3579051.3640000001</c:v>
                </c:pt>
                <c:pt idx="2794">
                  <c:v>3646059.3640000001</c:v>
                </c:pt>
                <c:pt idx="2795">
                  <c:v>3846451.3640000001</c:v>
                </c:pt>
                <c:pt idx="2796">
                  <c:v>3868883.3640000001</c:v>
                </c:pt>
                <c:pt idx="2797">
                  <c:v>3929579.3640000001</c:v>
                </c:pt>
                <c:pt idx="2798">
                  <c:v>3982995.3640000001</c:v>
                </c:pt>
                <c:pt idx="2799">
                  <c:v>3912883.3640000001</c:v>
                </c:pt>
                <c:pt idx="2800">
                  <c:v>3992747.3640000001</c:v>
                </c:pt>
                <c:pt idx="2801">
                  <c:v>3955731.3640000001</c:v>
                </c:pt>
                <c:pt idx="2802">
                  <c:v>3905955.3640000001</c:v>
                </c:pt>
                <c:pt idx="2803">
                  <c:v>3723379.3640000001</c:v>
                </c:pt>
                <c:pt idx="2804">
                  <c:v>3746139.3640000001</c:v>
                </c:pt>
                <c:pt idx="2805">
                  <c:v>3854619.3640000001</c:v>
                </c:pt>
                <c:pt idx="2806">
                  <c:v>3863211.3640000001</c:v>
                </c:pt>
                <c:pt idx="2807">
                  <c:v>3881939.3640000001</c:v>
                </c:pt>
                <c:pt idx="2808">
                  <c:v>3880331.3640000001</c:v>
                </c:pt>
                <c:pt idx="2809">
                  <c:v>3714851.3640000001</c:v>
                </c:pt>
                <c:pt idx="2810">
                  <c:v>3733139.3640000001</c:v>
                </c:pt>
                <c:pt idx="2811">
                  <c:v>3764987.3640000001</c:v>
                </c:pt>
                <c:pt idx="2812">
                  <c:v>3853587.3640000001</c:v>
                </c:pt>
                <c:pt idx="2813">
                  <c:v>3835299.3640000001</c:v>
                </c:pt>
                <c:pt idx="2814">
                  <c:v>3866419.3640000001</c:v>
                </c:pt>
                <c:pt idx="2815">
                  <c:v>3927427.3640000001</c:v>
                </c:pt>
                <c:pt idx="2816">
                  <c:v>3931019.3640000001</c:v>
                </c:pt>
                <c:pt idx="2817">
                  <c:v>3932067.3640000001</c:v>
                </c:pt>
                <c:pt idx="2818">
                  <c:v>3920587.3640000001</c:v>
                </c:pt>
                <c:pt idx="2819">
                  <c:v>3876723.3640000001</c:v>
                </c:pt>
                <c:pt idx="2820">
                  <c:v>3890275.3640000001</c:v>
                </c:pt>
                <c:pt idx="2821">
                  <c:v>3855428.8220000002</c:v>
                </c:pt>
                <c:pt idx="2822">
                  <c:v>3855428.8220000002</c:v>
                </c:pt>
                <c:pt idx="2823">
                  <c:v>3855428.8220000002</c:v>
                </c:pt>
                <c:pt idx="2824">
                  <c:v>3855428.8220000002</c:v>
                </c:pt>
                <c:pt idx="2825">
                  <c:v>3855428.8220000002</c:v>
                </c:pt>
                <c:pt idx="2826">
                  <c:v>3855428.8220000002</c:v>
                </c:pt>
                <c:pt idx="2827">
                  <c:v>3855428.8220000002</c:v>
                </c:pt>
                <c:pt idx="2828">
                  <c:v>3855428.8220000002</c:v>
                </c:pt>
                <c:pt idx="2829">
                  <c:v>3855428.8220000002</c:v>
                </c:pt>
                <c:pt idx="2830">
                  <c:v>3855428.8220000002</c:v>
                </c:pt>
                <c:pt idx="2831">
                  <c:v>3855428.8220000002</c:v>
                </c:pt>
                <c:pt idx="2832">
                  <c:v>3855428.8220000002</c:v>
                </c:pt>
                <c:pt idx="2833">
                  <c:v>3855428.8220000002</c:v>
                </c:pt>
                <c:pt idx="2834">
                  <c:v>3855428.8220000002</c:v>
                </c:pt>
                <c:pt idx="2835">
                  <c:v>3855428.8220000002</c:v>
                </c:pt>
                <c:pt idx="2836">
                  <c:v>3855428.8220000002</c:v>
                </c:pt>
                <c:pt idx="2837">
                  <c:v>3855428.8220000002</c:v>
                </c:pt>
                <c:pt idx="2838">
                  <c:v>3855428.8220000002</c:v>
                </c:pt>
                <c:pt idx="2839">
                  <c:v>3855428.8220000002</c:v>
                </c:pt>
                <c:pt idx="2840">
                  <c:v>3855428.8220000002</c:v>
                </c:pt>
                <c:pt idx="2841">
                  <c:v>3855428.8220000002</c:v>
                </c:pt>
                <c:pt idx="2842">
                  <c:v>3855428.8220000002</c:v>
                </c:pt>
                <c:pt idx="2843">
                  <c:v>3855428.8220000002</c:v>
                </c:pt>
                <c:pt idx="2844">
                  <c:v>3855428.8220000002</c:v>
                </c:pt>
                <c:pt idx="2845">
                  <c:v>3855428.8220000002</c:v>
                </c:pt>
                <c:pt idx="2846">
                  <c:v>3855428.8220000002</c:v>
                </c:pt>
                <c:pt idx="2847">
                  <c:v>3855428.8220000002</c:v>
                </c:pt>
                <c:pt idx="2848">
                  <c:v>3855428.8220000002</c:v>
                </c:pt>
                <c:pt idx="2849">
                  <c:v>3855428.8220000002</c:v>
                </c:pt>
                <c:pt idx="2850">
                  <c:v>3855428.8220000002</c:v>
                </c:pt>
                <c:pt idx="2851">
                  <c:v>3855428.8220000002</c:v>
                </c:pt>
                <c:pt idx="2852">
                  <c:v>3855428.8220000002</c:v>
                </c:pt>
                <c:pt idx="2853">
                  <c:v>3855428.8220000002</c:v>
                </c:pt>
                <c:pt idx="2854">
                  <c:v>3855428.8220000002</c:v>
                </c:pt>
                <c:pt idx="2855">
                  <c:v>3855428.8220000002</c:v>
                </c:pt>
                <c:pt idx="2856">
                  <c:v>3855428.8220000002</c:v>
                </c:pt>
                <c:pt idx="2857">
                  <c:v>3855428.8220000002</c:v>
                </c:pt>
                <c:pt idx="2858">
                  <c:v>3855428.8220000002</c:v>
                </c:pt>
                <c:pt idx="2859">
                  <c:v>3855428.8220000002</c:v>
                </c:pt>
                <c:pt idx="2860">
                  <c:v>3855428.8220000002</c:v>
                </c:pt>
                <c:pt idx="2861">
                  <c:v>3855428.8220000002</c:v>
                </c:pt>
                <c:pt idx="2862">
                  <c:v>3855428.8220000002</c:v>
                </c:pt>
                <c:pt idx="2863">
                  <c:v>3855428.8220000002</c:v>
                </c:pt>
                <c:pt idx="2864">
                  <c:v>3855428.8220000002</c:v>
                </c:pt>
                <c:pt idx="2865">
                  <c:v>3855428.8220000002</c:v>
                </c:pt>
                <c:pt idx="2866">
                  <c:v>3855428.8220000002</c:v>
                </c:pt>
                <c:pt idx="2867">
                  <c:v>3855428.8220000002</c:v>
                </c:pt>
                <c:pt idx="2868">
                  <c:v>3855428.8220000002</c:v>
                </c:pt>
                <c:pt idx="2869">
                  <c:v>3855428.8220000002</c:v>
                </c:pt>
                <c:pt idx="2870">
                  <c:v>3855052.8790000002</c:v>
                </c:pt>
                <c:pt idx="2871">
                  <c:v>3885444.8790000002</c:v>
                </c:pt>
                <c:pt idx="2872">
                  <c:v>3913964.8790000002</c:v>
                </c:pt>
                <c:pt idx="2873">
                  <c:v>3851892.8790000002</c:v>
                </c:pt>
                <c:pt idx="2874">
                  <c:v>3872292.8790000002</c:v>
                </c:pt>
                <c:pt idx="2875">
                  <c:v>3917676.8790000002</c:v>
                </c:pt>
                <c:pt idx="2876">
                  <c:v>3946556.8790000002</c:v>
                </c:pt>
                <c:pt idx="2877">
                  <c:v>4003716.8790000002</c:v>
                </c:pt>
                <c:pt idx="2878">
                  <c:v>4004204.8790000002</c:v>
                </c:pt>
                <c:pt idx="2879">
                  <c:v>4080708.8790000002</c:v>
                </c:pt>
                <c:pt idx="2880">
                  <c:v>4058732.8790000002</c:v>
                </c:pt>
                <c:pt idx="2881">
                  <c:v>4019548.8790000002</c:v>
                </c:pt>
                <c:pt idx="2882">
                  <c:v>4022396.8790000002</c:v>
                </c:pt>
                <c:pt idx="2883">
                  <c:v>3981108.8790000002</c:v>
                </c:pt>
                <c:pt idx="2884">
                  <c:v>4018964.8790000002</c:v>
                </c:pt>
                <c:pt idx="2885">
                  <c:v>4011460.8790000002</c:v>
                </c:pt>
                <c:pt idx="2886">
                  <c:v>4008964.8790000002</c:v>
                </c:pt>
                <c:pt idx="2887">
                  <c:v>4038020.8790000002</c:v>
                </c:pt>
                <c:pt idx="2888">
                  <c:v>4050260.8790000002</c:v>
                </c:pt>
                <c:pt idx="2889">
                  <c:v>4099652.8790000002</c:v>
                </c:pt>
                <c:pt idx="2890">
                  <c:v>4075060.8790000002</c:v>
                </c:pt>
                <c:pt idx="2891">
                  <c:v>4024188.8790000002</c:v>
                </c:pt>
                <c:pt idx="2892">
                  <c:v>4031300.8790000002</c:v>
                </c:pt>
                <c:pt idx="2893">
                  <c:v>4080244.8790000002</c:v>
                </c:pt>
                <c:pt idx="2894">
                  <c:v>4063828.8790000002</c:v>
                </c:pt>
                <c:pt idx="2895">
                  <c:v>4149308.8790000002</c:v>
                </c:pt>
                <c:pt idx="2896">
                  <c:v>4149340.8790000002</c:v>
                </c:pt>
                <c:pt idx="2897">
                  <c:v>4141276.8790000002</c:v>
                </c:pt>
                <c:pt idx="2898">
                  <c:v>4148364.8790000002</c:v>
                </c:pt>
                <c:pt idx="2899">
                  <c:v>4113420.8790000002</c:v>
                </c:pt>
                <c:pt idx="2900">
                  <c:v>4103532.8790000002</c:v>
                </c:pt>
                <c:pt idx="2901">
                  <c:v>4049788.8790000002</c:v>
                </c:pt>
                <c:pt idx="2902">
                  <c:v>4048044.8790000002</c:v>
                </c:pt>
                <c:pt idx="2903">
                  <c:v>4007332.8790000002</c:v>
                </c:pt>
                <c:pt idx="2904">
                  <c:v>4043500.8790000002</c:v>
                </c:pt>
                <c:pt idx="2905">
                  <c:v>4051708.8790000002</c:v>
                </c:pt>
                <c:pt idx="2906">
                  <c:v>4058724.8790000002</c:v>
                </c:pt>
                <c:pt idx="2907">
                  <c:v>4109612.8790000002</c:v>
                </c:pt>
                <c:pt idx="2908">
                  <c:v>4095604.8790000002</c:v>
                </c:pt>
                <c:pt idx="2909">
                  <c:v>4133100.8790000002</c:v>
                </c:pt>
                <c:pt idx="2910">
                  <c:v>4067444.8790000002</c:v>
                </c:pt>
                <c:pt idx="2911">
                  <c:v>4101324.8790000002</c:v>
                </c:pt>
                <c:pt idx="2912">
                  <c:v>4095644.8790000002</c:v>
                </c:pt>
                <c:pt idx="2913">
                  <c:v>4129236.8790000002</c:v>
                </c:pt>
                <c:pt idx="2914">
                  <c:v>4147156.8790000002</c:v>
                </c:pt>
                <c:pt idx="2915">
                  <c:v>4129980.8790000002</c:v>
                </c:pt>
                <c:pt idx="2916">
                  <c:v>4186596.8790000002</c:v>
                </c:pt>
                <c:pt idx="2917">
                  <c:v>4264660.8789999997</c:v>
                </c:pt>
                <c:pt idx="2918">
                  <c:v>4309804.8789999997</c:v>
                </c:pt>
                <c:pt idx="2919">
                  <c:v>4390428.8789999997</c:v>
                </c:pt>
                <c:pt idx="2920">
                  <c:v>4429764.8789999997</c:v>
                </c:pt>
                <c:pt idx="2921">
                  <c:v>4506556.8789999997</c:v>
                </c:pt>
                <c:pt idx="2922">
                  <c:v>4491972.8789999997</c:v>
                </c:pt>
                <c:pt idx="2923">
                  <c:v>4448556.8789999997</c:v>
                </c:pt>
                <c:pt idx="2924">
                  <c:v>4572708.8789999997</c:v>
                </c:pt>
                <c:pt idx="2925">
                  <c:v>4558004.8789999997</c:v>
                </c:pt>
                <c:pt idx="2926">
                  <c:v>4471996.8789999997</c:v>
                </c:pt>
                <c:pt idx="2927">
                  <c:v>4462092.8789999997</c:v>
                </c:pt>
                <c:pt idx="2928">
                  <c:v>4510444.8789999997</c:v>
                </c:pt>
                <c:pt idx="2929">
                  <c:v>4445644.8789999997</c:v>
                </c:pt>
                <c:pt idx="2930">
                  <c:v>4476772.8789999997</c:v>
                </c:pt>
                <c:pt idx="2931">
                  <c:v>4547604.8789999997</c:v>
                </c:pt>
                <c:pt idx="2932">
                  <c:v>4551452.8789999997</c:v>
                </c:pt>
                <c:pt idx="2933">
                  <c:v>4596364.8789999997</c:v>
                </c:pt>
                <c:pt idx="2934">
                  <c:v>4506004.8789999997</c:v>
                </c:pt>
                <c:pt idx="2935">
                  <c:v>4518028.8789999997</c:v>
                </c:pt>
                <c:pt idx="2936">
                  <c:v>4397340.8789999997</c:v>
                </c:pt>
                <c:pt idx="2937">
                  <c:v>4377196.8789999997</c:v>
                </c:pt>
                <c:pt idx="2938">
                  <c:v>4429748.8789999997</c:v>
                </c:pt>
                <c:pt idx="2939">
                  <c:v>4496500.8789999997</c:v>
                </c:pt>
                <c:pt idx="2940">
                  <c:v>4483788.8789999997</c:v>
                </c:pt>
                <c:pt idx="2941">
                  <c:v>4474788.8789999997</c:v>
                </c:pt>
                <c:pt idx="2942">
                  <c:v>4482356.8789999997</c:v>
                </c:pt>
                <c:pt idx="2943">
                  <c:v>4547276.8789999997</c:v>
                </c:pt>
                <c:pt idx="2944">
                  <c:v>4644628.8789999997</c:v>
                </c:pt>
                <c:pt idx="2945">
                  <c:v>4741804.8789999997</c:v>
                </c:pt>
                <c:pt idx="2946">
                  <c:v>4710332.8789999997</c:v>
                </c:pt>
                <c:pt idx="2947">
                  <c:v>4718700.8789999997</c:v>
                </c:pt>
                <c:pt idx="2948">
                  <c:v>4573492.8789999997</c:v>
                </c:pt>
                <c:pt idx="2949">
                  <c:v>4559364.8789999997</c:v>
                </c:pt>
                <c:pt idx="2950">
                  <c:v>4445684.8789999997</c:v>
                </c:pt>
                <c:pt idx="2951">
                  <c:v>4471276.8789999997</c:v>
                </c:pt>
                <c:pt idx="2952">
                  <c:v>4365036.8789999997</c:v>
                </c:pt>
                <c:pt idx="2953">
                  <c:v>4430652.8789999997</c:v>
                </c:pt>
                <c:pt idx="2954">
                  <c:v>4375332.8789999997</c:v>
                </c:pt>
                <c:pt idx="2955">
                  <c:v>4457396.8789999997</c:v>
                </c:pt>
                <c:pt idx="2956">
                  <c:v>4320196.8789999997</c:v>
                </c:pt>
                <c:pt idx="2957">
                  <c:v>4305868.8789999997</c:v>
                </c:pt>
                <c:pt idx="2958">
                  <c:v>4159644.8790000002</c:v>
                </c:pt>
                <c:pt idx="2959">
                  <c:v>4072428.8790000002</c:v>
                </c:pt>
                <c:pt idx="2960">
                  <c:v>4098516.8790000002</c:v>
                </c:pt>
                <c:pt idx="2961">
                  <c:v>4198204.8789999997</c:v>
                </c:pt>
                <c:pt idx="2962">
                  <c:v>4212732.8789999997</c:v>
                </c:pt>
                <c:pt idx="2963">
                  <c:v>4124060.8790000002</c:v>
                </c:pt>
                <c:pt idx="2964">
                  <c:v>4159116.8790000002</c:v>
                </c:pt>
                <c:pt idx="2965">
                  <c:v>4176316.8790000002</c:v>
                </c:pt>
                <c:pt idx="2966">
                  <c:v>4209044.8789999997</c:v>
                </c:pt>
                <c:pt idx="2967">
                  <c:v>4101300.8790000002</c:v>
                </c:pt>
                <c:pt idx="2968">
                  <c:v>4141348.8790000002</c:v>
                </c:pt>
                <c:pt idx="2969">
                  <c:v>4103028.8790000002</c:v>
                </c:pt>
                <c:pt idx="2970">
                  <c:v>4038580.8790000002</c:v>
                </c:pt>
                <c:pt idx="2971">
                  <c:v>4036708.8790000002</c:v>
                </c:pt>
                <c:pt idx="2972">
                  <c:v>4126020.8790000002</c:v>
                </c:pt>
                <c:pt idx="2973">
                  <c:v>4133132.8790000002</c:v>
                </c:pt>
                <c:pt idx="2974">
                  <c:v>4171412.8790000002</c:v>
                </c:pt>
                <c:pt idx="2975">
                  <c:v>4134316.8790000002</c:v>
                </c:pt>
                <c:pt idx="2976">
                  <c:v>4184252.8790000002</c:v>
                </c:pt>
                <c:pt idx="2977">
                  <c:v>4224876.8789999997</c:v>
                </c:pt>
                <c:pt idx="2978">
                  <c:v>4207900.8789999997</c:v>
                </c:pt>
                <c:pt idx="2979">
                  <c:v>4178620.8790000002</c:v>
                </c:pt>
                <c:pt idx="2980">
                  <c:v>4185396.8790000002</c:v>
                </c:pt>
                <c:pt idx="2981">
                  <c:v>4123900.8790000002</c:v>
                </c:pt>
                <c:pt idx="2982">
                  <c:v>4053828.8790000002</c:v>
                </c:pt>
                <c:pt idx="2983">
                  <c:v>4047340.8790000002</c:v>
                </c:pt>
                <c:pt idx="2984">
                  <c:v>4080132.8790000002</c:v>
                </c:pt>
                <c:pt idx="2985">
                  <c:v>4054804.8790000002</c:v>
                </c:pt>
                <c:pt idx="2986">
                  <c:v>4068572.8790000002</c:v>
                </c:pt>
                <c:pt idx="2987">
                  <c:v>4165244.8790000002</c:v>
                </c:pt>
                <c:pt idx="2988">
                  <c:v>4162324.8790000002</c:v>
                </c:pt>
                <c:pt idx="2989">
                  <c:v>4174620.8790000002</c:v>
                </c:pt>
                <c:pt idx="2990">
                  <c:v>4167020.8790000002</c:v>
                </c:pt>
                <c:pt idx="2991">
                  <c:v>4203988.8789999997</c:v>
                </c:pt>
                <c:pt idx="2992">
                  <c:v>4157420.8790000002</c:v>
                </c:pt>
                <c:pt idx="2993">
                  <c:v>4168044.8790000002</c:v>
                </c:pt>
                <c:pt idx="2994">
                  <c:v>4191020.8790000002</c:v>
                </c:pt>
                <c:pt idx="2995">
                  <c:v>4226964.8789999997</c:v>
                </c:pt>
                <c:pt idx="2996">
                  <c:v>4194420.8789999997</c:v>
                </c:pt>
                <c:pt idx="2997">
                  <c:v>4144524.8790000002</c:v>
                </c:pt>
                <c:pt idx="2998">
                  <c:v>4092468.8790000002</c:v>
                </c:pt>
                <c:pt idx="2999">
                  <c:v>4089564.8790000002</c:v>
                </c:pt>
                <c:pt idx="3000">
                  <c:v>4114076.8790000002</c:v>
                </c:pt>
                <c:pt idx="3001">
                  <c:v>4131268.8790000002</c:v>
                </c:pt>
                <c:pt idx="3002">
                  <c:v>4090004.8790000002</c:v>
                </c:pt>
                <c:pt idx="3003">
                  <c:v>4184100.8790000002</c:v>
                </c:pt>
                <c:pt idx="3004">
                  <c:v>4243620.8789999997</c:v>
                </c:pt>
                <c:pt idx="3005">
                  <c:v>4245708.8789999997</c:v>
                </c:pt>
                <c:pt idx="3006">
                  <c:v>4233444.8789999997</c:v>
                </c:pt>
                <c:pt idx="3007">
                  <c:v>4244756.8789999997</c:v>
                </c:pt>
                <c:pt idx="3008">
                  <c:v>4202948.8789999997</c:v>
                </c:pt>
                <c:pt idx="3009">
                  <c:v>4220100.8789999997</c:v>
                </c:pt>
                <c:pt idx="3010">
                  <c:v>4350412.8789999997</c:v>
                </c:pt>
                <c:pt idx="3011">
                  <c:v>4352100.8789999997</c:v>
                </c:pt>
                <c:pt idx="3012">
                  <c:v>4366212.8789999997</c:v>
                </c:pt>
                <c:pt idx="3013">
                  <c:v>4352500.8789999997</c:v>
                </c:pt>
                <c:pt idx="3014">
                  <c:v>4360884.8789999997</c:v>
                </c:pt>
                <c:pt idx="3015">
                  <c:v>4368972.8789999997</c:v>
                </c:pt>
                <c:pt idx="3016">
                  <c:v>4327604.8789999997</c:v>
                </c:pt>
                <c:pt idx="3017">
                  <c:v>4299860.8789999997</c:v>
                </c:pt>
                <c:pt idx="3018">
                  <c:v>4321452.8789999997</c:v>
                </c:pt>
                <c:pt idx="3019">
                  <c:v>4317732.8789999997</c:v>
                </c:pt>
                <c:pt idx="3020">
                  <c:v>4281324.8789999997</c:v>
                </c:pt>
                <c:pt idx="3021">
                  <c:v>4284788.8789999997</c:v>
                </c:pt>
                <c:pt idx="3022">
                  <c:v>4312804.8789999997</c:v>
                </c:pt>
                <c:pt idx="3023">
                  <c:v>4275388.8789999997</c:v>
                </c:pt>
                <c:pt idx="3024">
                  <c:v>4228876.8789999997</c:v>
                </c:pt>
                <c:pt idx="3025">
                  <c:v>4160020.8790000002</c:v>
                </c:pt>
                <c:pt idx="3026">
                  <c:v>4177140.8790000002</c:v>
                </c:pt>
                <c:pt idx="3027">
                  <c:v>4177604.8790000002</c:v>
                </c:pt>
                <c:pt idx="3028">
                  <c:v>4167940.8790000002</c:v>
                </c:pt>
                <c:pt idx="3029">
                  <c:v>4193356.8790000002</c:v>
                </c:pt>
                <c:pt idx="3030">
                  <c:v>4213540.8789999997</c:v>
                </c:pt>
                <c:pt idx="3031">
                  <c:v>4220404.8789999997</c:v>
                </c:pt>
                <c:pt idx="3032">
                  <c:v>4287604.8789999997</c:v>
                </c:pt>
                <c:pt idx="3033">
                  <c:v>4297036.8789999997</c:v>
                </c:pt>
                <c:pt idx="3034">
                  <c:v>4248060.8789999997</c:v>
                </c:pt>
                <c:pt idx="3035">
                  <c:v>4274860.8789999997</c:v>
                </c:pt>
                <c:pt idx="3036">
                  <c:v>4279356.8789999997</c:v>
                </c:pt>
                <c:pt idx="3037">
                  <c:v>4160524.8790000002</c:v>
                </c:pt>
                <c:pt idx="3038">
                  <c:v>4164260.8790000002</c:v>
                </c:pt>
                <c:pt idx="3039">
                  <c:v>4162108.8790000002</c:v>
                </c:pt>
                <c:pt idx="3040">
                  <c:v>4208020.8789999997</c:v>
                </c:pt>
                <c:pt idx="3041">
                  <c:v>4166236.8790000002</c:v>
                </c:pt>
                <c:pt idx="3042">
                  <c:v>4151180.8790000002</c:v>
                </c:pt>
                <c:pt idx="3043">
                  <c:v>4201796.8789999997</c:v>
                </c:pt>
                <c:pt idx="3044">
                  <c:v>4209308.8789999997</c:v>
                </c:pt>
                <c:pt idx="3045">
                  <c:v>4162092.8790000002</c:v>
                </c:pt>
                <c:pt idx="3046">
                  <c:v>4216796.8789999997</c:v>
                </c:pt>
                <c:pt idx="3047">
                  <c:v>4171444.8790000002</c:v>
                </c:pt>
                <c:pt idx="3048">
                  <c:v>4186420.8790000002</c:v>
                </c:pt>
                <c:pt idx="3049">
                  <c:v>4182820.8790000002</c:v>
                </c:pt>
                <c:pt idx="3050">
                  <c:v>4210860.8789999997</c:v>
                </c:pt>
                <c:pt idx="3051">
                  <c:v>4217028.8789999997</c:v>
                </c:pt>
                <c:pt idx="3052">
                  <c:v>4167012.8790000002</c:v>
                </c:pt>
                <c:pt idx="3053">
                  <c:v>4035868.8790000002</c:v>
                </c:pt>
                <c:pt idx="3054">
                  <c:v>3896676.8790000002</c:v>
                </c:pt>
                <c:pt idx="3055">
                  <c:v>3904012.8790000002</c:v>
                </c:pt>
                <c:pt idx="3056">
                  <c:v>3975844.8790000002</c:v>
                </c:pt>
                <c:pt idx="3057">
                  <c:v>3944564.8790000002</c:v>
                </c:pt>
                <c:pt idx="3058">
                  <c:v>4042620.8790000002</c:v>
                </c:pt>
                <c:pt idx="3059">
                  <c:v>4043196.8790000002</c:v>
                </c:pt>
                <c:pt idx="3060">
                  <c:v>4078708.8790000002</c:v>
                </c:pt>
                <c:pt idx="3061">
                  <c:v>4054564.8790000002</c:v>
                </c:pt>
                <c:pt idx="3062">
                  <c:v>4032876.8790000002</c:v>
                </c:pt>
                <c:pt idx="3063">
                  <c:v>4084076.8790000002</c:v>
                </c:pt>
                <c:pt idx="3064">
                  <c:v>4130148.8790000002</c:v>
                </c:pt>
                <c:pt idx="3065">
                  <c:v>4107900.8790000002</c:v>
                </c:pt>
                <c:pt idx="3066">
                  <c:v>4073911.0109999999</c:v>
                </c:pt>
                <c:pt idx="3067">
                  <c:v>4073911.0109999999</c:v>
                </c:pt>
                <c:pt idx="3068">
                  <c:v>4073911.0109999999</c:v>
                </c:pt>
                <c:pt idx="3069">
                  <c:v>4073911.0109999999</c:v>
                </c:pt>
                <c:pt idx="3070">
                  <c:v>4073911.0109999999</c:v>
                </c:pt>
                <c:pt idx="3071">
                  <c:v>4073911.0109999999</c:v>
                </c:pt>
                <c:pt idx="3072">
                  <c:v>4073911.0109999999</c:v>
                </c:pt>
                <c:pt idx="3073">
                  <c:v>4073911.0109999999</c:v>
                </c:pt>
                <c:pt idx="3074">
                  <c:v>4073911.0109999999</c:v>
                </c:pt>
                <c:pt idx="3075">
                  <c:v>4073911.0109999999</c:v>
                </c:pt>
                <c:pt idx="3076">
                  <c:v>4073911.0109999999</c:v>
                </c:pt>
                <c:pt idx="3077">
                  <c:v>4073911.0109999999</c:v>
                </c:pt>
                <c:pt idx="3078">
                  <c:v>4073911.0109999999</c:v>
                </c:pt>
                <c:pt idx="3079">
                  <c:v>4073911.0109999999</c:v>
                </c:pt>
                <c:pt idx="3080">
                  <c:v>4073911.0109999999</c:v>
                </c:pt>
                <c:pt idx="3081">
                  <c:v>4073911.0109999999</c:v>
                </c:pt>
                <c:pt idx="3082">
                  <c:v>4073911.0109999999</c:v>
                </c:pt>
                <c:pt idx="3083">
                  <c:v>4073911.0109999999</c:v>
                </c:pt>
                <c:pt idx="3084">
                  <c:v>4073911.0109999999</c:v>
                </c:pt>
                <c:pt idx="3085">
                  <c:v>4073911.0109999999</c:v>
                </c:pt>
                <c:pt idx="3086">
                  <c:v>4073911.0109999999</c:v>
                </c:pt>
                <c:pt idx="3087">
                  <c:v>4073911.0109999999</c:v>
                </c:pt>
                <c:pt idx="3088">
                  <c:v>4073911.0109999999</c:v>
                </c:pt>
                <c:pt idx="3089">
                  <c:v>4073911.0109999999</c:v>
                </c:pt>
                <c:pt idx="3090">
                  <c:v>4073911.0109999999</c:v>
                </c:pt>
                <c:pt idx="3091">
                  <c:v>4073911.0109999999</c:v>
                </c:pt>
                <c:pt idx="3092">
                  <c:v>4073911.0109999999</c:v>
                </c:pt>
                <c:pt idx="3093">
                  <c:v>4073911.0109999999</c:v>
                </c:pt>
                <c:pt idx="3094">
                  <c:v>4073911.0109999999</c:v>
                </c:pt>
                <c:pt idx="3095">
                  <c:v>4073911.0109999999</c:v>
                </c:pt>
                <c:pt idx="3096">
                  <c:v>4073911.0109999999</c:v>
                </c:pt>
                <c:pt idx="3097">
                  <c:v>4073911.0109999999</c:v>
                </c:pt>
                <c:pt idx="3098">
                  <c:v>4073911.0109999999</c:v>
                </c:pt>
                <c:pt idx="3099">
                  <c:v>4073521.7009999999</c:v>
                </c:pt>
                <c:pt idx="3100">
                  <c:v>4124369.7009999999</c:v>
                </c:pt>
                <c:pt idx="3101">
                  <c:v>4129369.7009999999</c:v>
                </c:pt>
                <c:pt idx="3102">
                  <c:v>4087489.7009999999</c:v>
                </c:pt>
                <c:pt idx="3103">
                  <c:v>4132505.7009999999</c:v>
                </c:pt>
                <c:pt idx="3104">
                  <c:v>4111305.7009999999</c:v>
                </c:pt>
                <c:pt idx="3105">
                  <c:v>4126105.7009999999</c:v>
                </c:pt>
                <c:pt idx="3106">
                  <c:v>4080241.7009999999</c:v>
                </c:pt>
                <c:pt idx="3107">
                  <c:v>4118593.7009999999</c:v>
                </c:pt>
                <c:pt idx="3108">
                  <c:v>4108561.7009999999</c:v>
                </c:pt>
                <c:pt idx="3109">
                  <c:v>4122833.7009999999</c:v>
                </c:pt>
                <c:pt idx="3110">
                  <c:v>4148201.7009999999</c:v>
                </c:pt>
                <c:pt idx="3111">
                  <c:v>4164033.7009999999</c:v>
                </c:pt>
                <c:pt idx="3112">
                  <c:v>4150897.7009999999</c:v>
                </c:pt>
                <c:pt idx="3113">
                  <c:v>4098945.7009999999</c:v>
                </c:pt>
                <c:pt idx="3114">
                  <c:v>4071729.7009999999</c:v>
                </c:pt>
                <c:pt idx="3115">
                  <c:v>4107433.7009999999</c:v>
                </c:pt>
                <c:pt idx="3116">
                  <c:v>4092969.7009999999</c:v>
                </c:pt>
                <c:pt idx="3117">
                  <c:v>4052297.7009999999</c:v>
                </c:pt>
                <c:pt idx="3118">
                  <c:v>4037305.7009999999</c:v>
                </c:pt>
                <c:pt idx="3119">
                  <c:v>4075409.7009999999</c:v>
                </c:pt>
                <c:pt idx="3120">
                  <c:v>4054297.7009999999</c:v>
                </c:pt>
                <c:pt idx="3121">
                  <c:v>4058961.7009999999</c:v>
                </c:pt>
                <c:pt idx="3122">
                  <c:v>4057809.7009999999</c:v>
                </c:pt>
                <c:pt idx="3123">
                  <c:v>4037369.7009999999</c:v>
                </c:pt>
                <c:pt idx="3124">
                  <c:v>4099337.7009999999</c:v>
                </c:pt>
                <c:pt idx="3125">
                  <c:v>4091113.7009999999</c:v>
                </c:pt>
                <c:pt idx="3126">
                  <c:v>4086321.7009999999</c:v>
                </c:pt>
                <c:pt idx="3127">
                  <c:v>4087073.7009999999</c:v>
                </c:pt>
                <c:pt idx="3128">
                  <c:v>4089017.7009999999</c:v>
                </c:pt>
                <c:pt idx="3129">
                  <c:v>4050513.7009999999</c:v>
                </c:pt>
                <c:pt idx="3130">
                  <c:v>4092465.7009999999</c:v>
                </c:pt>
                <c:pt idx="3131">
                  <c:v>4109944.7089999998</c:v>
                </c:pt>
                <c:pt idx="3132">
                  <c:v>4109944.7089999998</c:v>
                </c:pt>
                <c:pt idx="3133">
                  <c:v>4109944.7089999998</c:v>
                </c:pt>
                <c:pt idx="3134">
                  <c:v>4109944.7089999998</c:v>
                </c:pt>
                <c:pt idx="3135">
                  <c:v>4109944.7089999998</c:v>
                </c:pt>
                <c:pt idx="3136">
                  <c:v>4109944.7089999998</c:v>
                </c:pt>
                <c:pt idx="3137">
                  <c:v>4109944.7089999998</c:v>
                </c:pt>
                <c:pt idx="3138">
                  <c:v>4109944.7089999998</c:v>
                </c:pt>
                <c:pt idx="3139">
                  <c:v>4109944.7089999998</c:v>
                </c:pt>
                <c:pt idx="3140">
                  <c:v>4109944.7089999998</c:v>
                </c:pt>
                <c:pt idx="3141">
                  <c:v>4109944.7089999998</c:v>
                </c:pt>
                <c:pt idx="3142">
                  <c:v>4109944.7089999998</c:v>
                </c:pt>
                <c:pt idx="3143">
                  <c:v>4109944.7089999998</c:v>
                </c:pt>
                <c:pt idx="3144">
                  <c:v>4109944.7089999998</c:v>
                </c:pt>
                <c:pt idx="3145">
                  <c:v>4109944.7089999998</c:v>
                </c:pt>
                <c:pt idx="3146">
                  <c:v>4109944.7089999998</c:v>
                </c:pt>
                <c:pt idx="3147">
                  <c:v>4109944.7089999998</c:v>
                </c:pt>
                <c:pt idx="3148">
                  <c:v>4109944.7089999998</c:v>
                </c:pt>
                <c:pt idx="3149">
                  <c:v>4109944.7089999998</c:v>
                </c:pt>
                <c:pt idx="3150">
                  <c:v>4109944.7089999998</c:v>
                </c:pt>
                <c:pt idx="3151">
                  <c:v>4109944.7089999998</c:v>
                </c:pt>
                <c:pt idx="3152">
                  <c:v>4109944.7089999998</c:v>
                </c:pt>
                <c:pt idx="3153">
                  <c:v>4109944.7089999998</c:v>
                </c:pt>
                <c:pt idx="3154">
                  <c:v>4109944.7089999998</c:v>
                </c:pt>
                <c:pt idx="3155">
                  <c:v>4109944.7089999998</c:v>
                </c:pt>
                <c:pt idx="3156">
                  <c:v>4109551.1630000002</c:v>
                </c:pt>
                <c:pt idx="3157">
                  <c:v>4138863.1630000002</c:v>
                </c:pt>
                <c:pt idx="3158">
                  <c:v>4080879.1630000002</c:v>
                </c:pt>
                <c:pt idx="3159">
                  <c:v>4111303.1630000002</c:v>
                </c:pt>
                <c:pt idx="3160">
                  <c:v>4126391.1630000002</c:v>
                </c:pt>
                <c:pt idx="3161">
                  <c:v>4108311.1630000002</c:v>
                </c:pt>
                <c:pt idx="3162">
                  <c:v>4068591.1630000002</c:v>
                </c:pt>
                <c:pt idx="3163">
                  <c:v>4028679.1630000002</c:v>
                </c:pt>
                <c:pt idx="3164">
                  <c:v>4031991.1630000002</c:v>
                </c:pt>
                <c:pt idx="3165">
                  <c:v>4049335.1630000002</c:v>
                </c:pt>
                <c:pt idx="3166">
                  <c:v>4012311.1630000002</c:v>
                </c:pt>
                <c:pt idx="3167">
                  <c:v>4050559.1630000002</c:v>
                </c:pt>
                <c:pt idx="3168">
                  <c:v>3986831.1630000002</c:v>
                </c:pt>
                <c:pt idx="3169">
                  <c:v>3955479.1630000002</c:v>
                </c:pt>
                <c:pt idx="3170">
                  <c:v>3987919.1630000002</c:v>
                </c:pt>
                <c:pt idx="3171">
                  <c:v>4024775.1630000002</c:v>
                </c:pt>
                <c:pt idx="3172">
                  <c:v>3998399.1630000002</c:v>
                </c:pt>
                <c:pt idx="3173">
                  <c:v>4032903.1630000002</c:v>
                </c:pt>
                <c:pt idx="3174">
                  <c:v>3997543.1630000002</c:v>
                </c:pt>
                <c:pt idx="3175">
                  <c:v>4003487.1630000002</c:v>
                </c:pt>
                <c:pt idx="3176">
                  <c:v>3916855.1630000002</c:v>
                </c:pt>
                <c:pt idx="3177">
                  <c:v>3943943.1630000002</c:v>
                </c:pt>
                <c:pt idx="3178">
                  <c:v>3869999.1630000002</c:v>
                </c:pt>
                <c:pt idx="3179">
                  <c:v>3825111.1630000002</c:v>
                </c:pt>
                <c:pt idx="3180">
                  <c:v>3881367.1630000002</c:v>
                </c:pt>
                <c:pt idx="3181">
                  <c:v>3861111.1630000002</c:v>
                </c:pt>
                <c:pt idx="3182">
                  <c:v>3895743.1630000002</c:v>
                </c:pt>
                <c:pt idx="3183">
                  <c:v>3885983.1630000002</c:v>
                </c:pt>
                <c:pt idx="3184">
                  <c:v>3855215.1630000002</c:v>
                </c:pt>
                <c:pt idx="3185">
                  <c:v>3815447.1630000002</c:v>
                </c:pt>
                <c:pt idx="3186">
                  <c:v>3854175.1630000002</c:v>
                </c:pt>
                <c:pt idx="3187">
                  <c:v>3868487.1630000002</c:v>
                </c:pt>
                <c:pt idx="3188">
                  <c:v>3877423.1630000002</c:v>
                </c:pt>
                <c:pt idx="3189">
                  <c:v>3895087.1630000002</c:v>
                </c:pt>
                <c:pt idx="3190">
                  <c:v>3881543.1630000002</c:v>
                </c:pt>
                <c:pt idx="3191">
                  <c:v>3833415.1630000002</c:v>
                </c:pt>
                <c:pt idx="3192">
                  <c:v>3872535.1630000002</c:v>
                </c:pt>
                <c:pt idx="3193">
                  <c:v>3797551.1630000002</c:v>
                </c:pt>
                <c:pt idx="3194">
                  <c:v>3832831.1630000002</c:v>
                </c:pt>
                <c:pt idx="3195">
                  <c:v>3839048.6310000001</c:v>
                </c:pt>
                <c:pt idx="3196">
                  <c:v>3839048.6310000001</c:v>
                </c:pt>
                <c:pt idx="3197">
                  <c:v>3839048.6310000001</c:v>
                </c:pt>
                <c:pt idx="3198">
                  <c:v>3839048.6310000001</c:v>
                </c:pt>
                <c:pt idx="3199">
                  <c:v>3839048.6310000001</c:v>
                </c:pt>
                <c:pt idx="3200">
                  <c:v>3839048.6310000001</c:v>
                </c:pt>
                <c:pt idx="3201">
                  <c:v>3839048.6310000001</c:v>
                </c:pt>
                <c:pt idx="3202">
                  <c:v>3839048.6310000001</c:v>
                </c:pt>
                <c:pt idx="3203">
                  <c:v>3839048.6310000001</c:v>
                </c:pt>
                <c:pt idx="3204">
                  <c:v>3839048.6310000001</c:v>
                </c:pt>
                <c:pt idx="3205">
                  <c:v>3839048.6310000001</c:v>
                </c:pt>
                <c:pt idx="3206">
                  <c:v>3839048.6310000001</c:v>
                </c:pt>
                <c:pt idx="3207">
                  <c:v>3839048.6310000001</c:v>
                </c:pt>
                <c:pt idx="3208">
                  <c:v>3839048.6310000001</c:v>
                </c:pt>
                <c:pt idx="3209">
                  <c:v>3839048.6310000001</c:v>
                </c:pt>
                <c:pt idx="3210">
                  <c:v>3839048.6310000001</c:v>
                </c:pt>
                <c:pt idx="3211">
                  <c:v>3839048.6310000001</c:v>
                </c:pt>
                <c:pt idx="3212">
                  <c:v>3839048.6310000001</c:v>
                </c:pt>
                <c:pt idx="3213">
                  <c:v>3839048.6310000001</c:v>
                </c:pt>
                <c:pt idx="3214">
                  <c:v>3839048.6310000001</c:v>
                </c:pt>
                <c:pt idx="3215">
                  <c:v>3839048.6310000001</c:v>
                </c:pt>
                <c:pt idx="3216">
                  <c:v>3839048.6310000001</c:v>
                </c:pt>
                <c:pt idx="3217">
                  <c:v>3839048.6310000001</c:v>
                </c:pt>
                <c:pt idx="3218">
                  <c:v>3839048.6310000001</c:v>
                </c:pt>
                <c:pt idx="3219">
                  <c:v>3839048.6310000001</c:v>
                </c:pt>
                <c:pt idx="3220">
                  <c:v>3839048.6310000001</c:v>
                </c:pt>
                <c:pt idx="3221">
                  <c:v>3839048.6310000001</c:v>
                </c:pt>
                <c:pt idx="3222">
                  <c:v>3839048.6310000001</c:v>
                </c:pt>
              </c:numCache>
            </c:numRef>
          </c:val>
          <c:smooth val="0"/>
          <c:extLst>
            <c:ext xmlns:c16="http://schemas.microsoft.com/office/drawing/2014/chart" uri="{C3380CC4-5D6E-409C-BE32-E72D297353CC}">
              <c16:uniqueId val="{00000002-AD3B-41BE-96AE-C0728EE915FA}"/>
            </c:ext>
          </c:extLst>
        </c:ser>
        <c:ser>
          <c:idx val="3"/>
          <c:order val="3"/>
          <c:tx>
            <c:strRef>
              <c:f>turnover_牛熊!$F$1</c:f>
              <c:strCache>
                <c:ptCount val="1"/>
                <c:pt idx="0">
                  <c:v>RSRS+Market Indicator</c:v>
                </c:pt>
              </c:strCache>
            </c:strRef>
          </c:tx>
          <c:spPr>
            <a:ln w="28575" cap="rnd">
              <a:solidFill>
                <a:schemeClr val="accent4"/>
              </a:solidFill>
              <a:round/>
            </a:ln>
            <a:effectLst/>
          </c:spPr>
          <c:marker>
            <c:symbol val="none"/>
          </c:marker>
          <c:cat>
            <c:numRef>
              <c:f>turnover_牛熊!$B$2:$B$3224</c:f>
              <c:numCache>
                <c:formatCode>yyyy\-mm\-dd;@</c:formatCode>
                <c:ptCount val="3223"/>
                <c:pt idx="0">
                  <c:v>39818</c:v>
                </c:pt>
                <c:pt idx="1">
                  <c:v>39819</c:v>
                </c:pt>
                <c:pt idx="2">
                  <c:v>39820</c:v>
                </c:pt>
                <c:pt idx="3">
                  <c:v>39821</c:v>
                </c:pt>
                <c:pt idx="4">
                  <c:v>39822</c:v>
                </c:pt>
                <c:pt idx="5">
                  <c:v>39825</c:v>
                </c:pt>
                <c:pt idx="6">
                  <c:v>39826</c:v>
                </c:pt>
                <c:pt idx="7">
                  <c:v>39827</c:v>
                </c:pt>
                <c:pt idx="8">
                  <c:v>39828</c:v>
                </c:pt>
                <c:pt idx="9">
                  <c:v>39829</c:v>
                </c:pt>
                <c:pt idx="10">
                  <c:v>39832</c:v>
                </c:pt>
                <c:pt idx="11">
                  <c:v>39833</c:v>
                </c:pt>
                <c:pt idx="12">
                  <c:v>39834</c:v>
                </c:pt>
                <c:pt idx="13">
                  <c:v>39835</c:v>
                </c:pt>
                <c:pt idx="14">
                  <c:v>39836</c:v>
                </c:pt>
                <c:pt idx="15">
                  <c:v>39846</c:v>
                </c:pt>
                <c:pt idx="16">
                  <c:v>39847</c:v>
                </c:pt>
                <c:pt idx="17">
                  <c:v>39848</c:v>
                </c:pt>
                <c:pt idx="18">
                  <c:v>39849</c:v>
                </c:pt>
                <c:pt idx="19">
                  <c:v>39850</c:v>
                </c:pt>
                <c:pt idx="20">
                  <c:v>39853</c:v>
                </c:pt>
                <c:pt idx="21">
                  <c:v>39854</c:v>
                </c:pt>
                <c:pt idx="22">
                  <c:v>39855</c:v>
                </c:pt>
                <c:pt idx="23">
                  <c:v>39856</c:v>
                </c:pt>
                <c:pt idx="24">
                  <c:v>39857</c:v>
                </c:pt>
                <c:pt idx="25">
                  <c:v>39860</c:v>
                </c:pt>
                <c:pt idx="26">
                  <c:v>39861</c:v>
                </c:pt>
                <c:pt idx="27">
                  <c:v>39862</c:v>
                </c:pt>
                <c:pt idx="28">
                  <c:v>39863</c:v>
                </c:pt>
                <c:pt idx="29">
                  <c:v>39864</c:v>
                </c:pt>
                <c:pt idx="30">
                  <c:v>39867</c:v>
                </c:pt>
                <c:pt idx="31">
                  <c:v>39868</c:v>
                </c:pt>
                <c:pt idx="32">
                  <c:v>39869</c:v>
                </c:pt>
                <c:pt idx="33">
                  <c:v>39870</c:v>
                </c:pt>
                <c:pt idx="34">
                  <c:v>39871</c:v>
                </c:pt>
                <c:pt idx="35">
                  <c:v>39874</c:v>
                </c:pt>
                <c:pt idx="36">
                  <c:v>39875</c:v>
                </c:pt>
                <c:pt idx="37">
                  <c:v>39876</c:v>
                </c:pt>
                <c:pt idx="38">
                  <c:v>39877</c:v>
                </c:pt>
                <c:pt idx="39">
                  <c:v>39878</c:v>
                </c:pt>
                <c:pt idx="40">
                  <c:v>39881</c:v>
                </c:pt>
                <c:pt idx="41">
                  <c:v>39882</c:v>
                </c:pt>
                <c:pt idx="42">
                  <c:v>39883</c:v>
                </c:pt>
                <c:pt idx="43">
                  <c:v>39884</c:v>
                </c:pt>
                <c:pt idx="44">
                  <c:v>39885</c:v>
                </c:pt>
                <c:pt idx="45">
                  <c:v>39888</c:v>
                </c:pt>
                <c:pt idx="46">
                  <c:v>39889</c:v>
                </c:pt>
                <c:pt idx="47">
                  <c:v>39890</c:v>
                </c:pt>
                <c:pt idx="48">
                  <c:v>39891</c:v>
                </c:pt>
                <c:pt idx="49">
                  <c:v>39892</c:v>
                </c:pt>
                <c:pt idx="50">
                  <c:v>39895</c:v>
                </c:pt>
                <c:pt idx="51">
                  <c:v>39896</c:v>
                </c:pt>
                <c:pt idx="52">
                  <c:v>39897</c:v>
                </c:pt>
                <c:pt idx="53">
                  <c:v>39898</c:v>
                </c:pt>
                <c:pt idx="54">
                  <c:v>39899</c:v>
                </c:pt>
                <c:pt idx="55">
                  <c:v>39902</c:v>
                </c:pt>
                <c:pt idx="56">
                  <c:v>39903</c:v>
                </c:pt>
                <c:pt idx="57">
                  <c:v>39904</c:v>
                </c:pt>
                <c:pt idx="58">
                  <c:v>39905</c:v>
                </c:pt>
                <c:pt idx="59">
                  <c:v>39906</c:v>
                </c:pt>
                <c:pt idx="60">
                  <c:v>39910</c:v>
                </c:pt>
                <c:pt idx="61">
                  <c:v>39911</c:v>
                </c:pt>
                <c:pt idx="62">
                  <c:v>39912</c:v>
                </c:pt>
                <c:pt idx="63">
                  <c:v>39913</c:v>
                </c:pt>
                <c:pt idx="64">
                  <c:v>39916</c:v>
                </c:pt>
                <c:pt idx="65">
                  <c:v>39917</c:v>
                </c:pt>
                <c:pt idx="66">
                  <c:v>39918</c:v>
                </c:pt>
                <c:pt idx="67">
                  <c:v>39919</c:v>
                </c:pt>
                <c:pt idx="68">
                  <c:v>39920</c:v>
                </c:pt>
                <c:pt idx="69">
                  <c:v>39923</c:v>
                </c:pt>
                <c:pt idx="70">
                  <c:v>39924</c:v>
                </c:pt>
                <c:pt idx="71">
                  <c:v>39925</c:v>
                </c:pt>
                <c:pt idx="72">
                  <c:v>39926</c:v>
                </c:pt>
                <c:pt idx="73">
                  <c:v>39927</c:v>
                </c:pt>
                <c:pt idx="74">
                  <c:v>39930</c:v>
                </c:pt>
                <c:pt idx="75">
                  <c:v>39931</c:v>
                </c:pt>
                <c:pt idx="76">
                  <c:v>39932</c:v>
                </c:pt>
                <c:pt idx="77">
                  <c:v>39933</c:v>
                </c:pt>
                <c:pt idx="78">
                  <c:v>39937</c:v>
                </c:pt>
                <c:pt idx="79">
                  <c:v>39938</c:v>
                </c:pt>
                <c:pt idx="80">
                  <c:v>39939</c:v>
                </c:pt>
                <c:pt idx="81">
                  <c:v>39940</c:v>
                </c:pt>
                <c:pt idx="82">
                  <c:v>39941</c:v>
                </c:pt>
                <c:pt idx="83">
                  <c:v>39944</c:v>
                </c:pt>
                <c:pt idx="84">
                  <c:v>39945</c:v>
                </c:pt>
                <c:pt idx="85">
                  <c:v>39946</c:v>
                </c:pt>
                <c:pt idx="86">
                  <c:v>39947</c:v>
                </c:pt>
                <c:pt idx="87">
                  <c:v>39948</c:v>
                </c:pt>
                <c:pt idx="88">
                  <c:v>39951</c:v>
                </c:pt>
                <c:pt idx="89">
                  <c:v>39952</c:v>
                </c:pt>
                <c:pt idx="90">
                  <c:v>39953</c:v>
                </c:pt>
                <c:pt idx="91">
                  <c:v>39954</c:v>
                </c:pt>
                <c:pt idx="92">
                  <c:v>39955</c:v>
                </c:pt>
                <c:pt idx="93">
                  <c:v>39958</c:v>
                </c:pt>
                <c:pt idx="94">
                  <c:v>39959</c:v>
                </c:pt>
                <c:pt idx="95">
                  <c:v>39960</c:v>
                </c:pt>
                <c:pt idx="96">
                  <c:v>39965</c:v>
                </c:pt>
                <c:pt idx="97">
                  <c:v>39966</c:v>
                </c:pt>
                <c:pt idx="98">
                  <c:v>39967</c:v>
                </c:pt>
                <c:pt idx="99">
                  <c:v>39968</c:v>
                </c:pt>
                <c:pt idx="100">
                  <c:v>39969</c:v>
                </c:pt>
                <c:pt idx="101">
                  <c:v>39972</c:v>
                </c:pt>
                <c:pt idx="102">
                  <c:v>39973</c:v>
                </c:pt>
                <c:pt idx="103">
                  <c:v>39974</c:v>
                </c:pt>
                <c:pt idx="104">
                  <c:v>39975</c:v>
                </c:pt>
                <c:pt idx="105">
                  <c:v>39976</c:v>
                </c:pt>
                <c:pt idx="106">
                  <c:v>39979</c:v>
                </c:pt>
                <c:pt idx="107">
                  <c:v>39980</c:v>
                </c:pt>
                <c:pt idx="108">
                  <c:v>39981</c:v>
                </c:pt>
                <c:pt idx="109">
                  <c:v>39982</c:v>
                </c:pt>
                <c:pt idx="110">
                  <c:v>39983</c:v>
                </c:pt>
                <c:pt idx="111">
                  <c:v>39986</c:v>
                </c:pt>
                <c:pt idx="112">
                  <c:v>39987</c:v>
                </c:pt>
                <c:pt idx="113">
                  <c:v>39988</c:v>
                </c:pt>
                <c:pt idx="114">
                  <c:v>39989</c:v>
                </c:pt>
                <c:pt idx="115">
                  <c:v>39990</c:v>
                </c:pt>
                <c:pt idx="116">
                  <c:v>39993</c:v>
                </c:pt>
                <c:pt idx="117">
                  <c:v>39994</c:v>
                </c:pt>
                <c:pt idx="118">
                  <c:v>39995</c:v>
                </c:pt>
                <c:pt idx="119">
                  <c:v>39996</c:v>
                </c:pt>
                <c:pt idx="120">
                  <c:v>39997</c:v>
                </c:pt>
                <c:pt idx="121">
                  <c:v>40000</c:v>
                </c:pt>
                <c:pt idx="122">
                  <c:v>40001</c:v>
                </c:pt>
                <c:pt idx="123">
                  <c:v>40002</c:v>
                </c:pt>
                <c:pt idx="124">
                  <c:v>40003</c:v>
                </c:pt>
                <c:pt idx="125">
                  <c:v>40004</c:v>
                </c:pt>
                <c:pt idx="126">
                  <c:v>40007</c:v>
                </c:pt>
                <c:pt idx="127">
                  <c:v>40008</c:v>
                </c:pt>
                <c:pt idx="128">
                  <c:v>40009</c:v>
                </c:pt>
                <c:pt idx="129">
                  <c:v>40010</c:v>
                </c:pt>
                <c:pt idx="130">
                  <c:v>40011</c:v>
                </c:pt>
                <c:pt idx="131">
                  <c:v>40014</c:v>
                </c:pt>
                <c:pt idx="132">
                  <c:v>40015</c:v>
                </c:pt>
                <c:pt idx="133">
                  <c:v>40016</c:v>
                </c:pt>
                <c:pt idx="134">
                  <c:v>40017</c:v>
                </c:pt>
                <c:pt idx="135">
                  <c:v>40018</c:v>
                </c:pt>
                <c:pt idx="136">
                  <c:v>40021</c:v>
                </c:pt>
                <c:pt idx="137">
                  <c:v>40022</c:v>
                </c:pt>
                <c:pt idx="138">
                  <c:v>40023</c:v>
                </c:pt>
                <c:pt idx="139">
                  <c:v>40024</c:v>
                </c:pt>
                <c:pt idx="140">
                  <c:v>40025</c:v>
                </c:pt>
                <c:pt idx="141">
                  <c:v>40028</c:v>
                </c:pt>
                <c:pt idx="142">
                  <c:v>40029</c:v>
                </c:pt>
                <c:pt idx="143">
                  <c:v>40030</c:v>
                </c:pt>
                <c:pt idx="144">
                  <c:v>40031</c:v>
                </c:pt>
                <c:pt idx="145">
                  <c:v>40032</c:v>
                </c:pt>
                <c:pt idx="146">
                  <c:v>40035</c:v>
                </c:pt>
                <c:pt idx="147">
                  <c:v>40036</c:v>
                </c:pt>
                <c:pt idx="148">
                  <c:v>40037</c:v>
                </c:pt>
                <c:pt idx="149">
                  <c:v>40038</c:v>
                </c:pt>
                <c:pt idx="150">
                  <c:v>40039</c:v>
                </c:pt>
                <c:pt idx="151">
                  <c:v>40042</c:v>
                </c:pt>
                <c:pt idx="152">
                  <c:v>40043</c:v>
                </c:pt>
                <c:pt idx="153">
                  <c:v>40044</c:v>
                </c:pt>
                <c:pt idx="154">
                  <c:v>40045</c:v>
                </c:pt>
                <c:pt idx="155">
                  <c:v>40046</c:v>
                </c:pt>
                <c:pt idx="156">
                  <c:v>40049</c:v>
                </c:pt>
                <c:pt idx="157">
                  <c:v>40050</c:v>
                </c:pt>
                <c:pt idx="158">
                  <c:v>40051</c:v>
                </c:pt>
                <c:pt idx="159">
                  <c:v>40052</c:v>
                </c:pt>
                <c:pt idx="160">
                  <c:v>40053</c:v>
                </c:pt>
                <c:pt idx="161">
                  <c:v>40056</c:v>
                </c:pt>
                <c:pt idx="162">
                  <c:v>40057</c:v>
                </c:pt>
                <c:pt idx="163">
                  <c:v>40058</c:v>
                </c:pt>
                <c:pt idx="164">
                  <c:v>40059</c:v>
                </c:pt>
                <c:pt idx="165">
                  <c:v>40060</c:v>
                </c:pt>
                <c:pt idx="166">
                  <c:v>40063</c:v>
                </c:pt>
                <c:pt idx="167">
                  <c:v>40064</c:v>
                </c:pt>
                <c:pt idx="168">
                  <c:v>40065</c:v>
                </c:pt>
                <c:pt idx="169">
                  <c:v>40066</c:v>
                </c:pt>
                <c:pt idx="170">
                  <c:v>40067</c:v>
                </c:pt>
                <c:pt idx="171">
                  <c:v>40070</c:v>
                </c:pt>
                <c:pt idx="172">
                  <c:v>40071</c:v>
                </c:pt>
                <c:pt idx="173">
                  <c:v>40072</c:v>
                </c:pt>
                <c:pt idx="174">
                  <c:v>40073</c:v>
                </c:pt>
                <c:pt idx="175">
                  <c:v>40074</c:v>
                </c:pt>
                <c:pt idx="176">
                  <c:v>40077</c:v>
                </c:pt>
                <c:pt idx="177">
                  <c:v>40078</c:v>
                </c:pt>
                <c:pt idx="178">
                  <c:v>40079</c:v>
                </c:pt>
                <c:pt idx="179">
                  <c:v>40080</c:v>
                </c:pt>
                <c:pt idx="180">
                  <c:v>40081</c:v>
                </c:pt>
                <c:pt idx="181">
                  <c:v>40084</c:v>
                </c:pt>
                <c:pt idx="182">
                  <c:v>40085</c:v>
                </c:pt>
                <c:pt idx="183">
                  <c:v>40086</c:v>
                </c:pt>
                <c:pt idx="184">
                  <c:v>40095</c:v>
                </c:pt>
                <c:pt idx="185">
                  <c:v>40098</c:v>
                </c:pt>
                <c:pt idx="186">
                  <c:v>40099</c:v>
                </c:pt>
                <c:pt idx="187">
                  <c:v>40100</c:v>
                </c:pt>
                <c:pt idx="188">
                  <c:v>40101</c:v>
                </c:pt>
                <c:pt idx="189">
                  <c:v>40102</c:v>
                </c:pt>
                <c:pt idx="190">
                  <c:v>40105</c:v>
                </c:pt>
                <c:pt idx="191">
                  <c:v>40106</c:v>
                </c:pt>
                <c:pt idx="192">
                  <c:v>40107</c:v>
                </c:pt>
                <c:pt idx="193">
                  <c:v>40108</c:v>
                </c:pt>
                <c:pt idx="194">
                  <c:v>40109</c:v>
                </c:pt>
                <c:pt idx="195">
                  <c:v>40112</c:v>
                </c:pt>
                <c:pt idx="196">
                  <c:v>40113</c:v>
                </c:pt>
                <c:pt idx="197">
                  <c:v>40114</c:v>
                </c:pt>
                <c:pt idx="198">
                  <c:v>40115</c:v>
                </c:pt>
                <c:pt idx="199">
                  <c:v>40116</c:v>
                </c:pt>
                <c:pt idx="200">
                  <c:v>40119</c:v>
                </c:pt>
                <c:pt idx="201">
                  <c:v>40120</c:v>
                </c:pt>
                <c:pt idx="202">
                  <c:v>40121</c:v>
                </c:pt>
                <c:pt idx="203">
                  <c:v>40122</c:v>
                </c:pt>
                <c:pt idx="204">
                  <c:v>40123</c:v>
                </c:pt>
                <c:pt idx="205">
                  <c:v>40126</c:v>
                </c:pt>
                <c:pt idx="206">
                  <c:v>40127</c:v>
                </c:pt>
                <c:pt idx="207">
                  <c:v>40128</c:v>
                </c:pt>
                <c:pt idx="208">
                  <c:v>40129</c:v>
                </c:pt>
                <c:pt idx="209">
                  <c:v>40130</c:v>
                </c:pt>
                <c:pt idx="210">
                  <c:v>40133</c:v>
                </c:pt>
                <c:pt idx="211">
                  <c:v>40134</c:v>
                </c:pt>
                <c:pt idx="212">
                  <c:v>40135</c:v>
                </c:pt>
                <c:pt idx="213">
                  <c:v>40136</c:v>
                </c:pt>
                <c:pt idx="214">
                  <c:v>40137</c:v>
                </c:pt>
                <c:pt idx="215">
                  <c:v>40140</c:v>
                </c:pt>
                <c:pt idx="216">
                  <c:v>40141</c:v>
                </c:pt>
                <c:pt idx="217">
                  <c:v>40142</c:v>
                </c:pt>
                <c:pt idx="218">
                  <c:v>40143</c:v>
                </c:pt>
                <c:pt idx="219">
                  <c:v>40144</c:v>
                </c:pt>
                <c:pt idx="220">
                  <c:v>40147</c:v>
                </c:pt>
                <c:pt idx="221">
                  <c:v>40148</c:v>
                </c:pt>
                <c:pt idx="222">
                  <c:v>40149</c:v>
                </c:pt>
                <c:pt idx="223">
                  <c:v>40150</c:v>
                </c:pt>
                <c:pt idx="224">
                  <c:v>40151</c:v>
                </c:pt>
                <c:pt idx="225">
                  <c:v>40154</c:v>
                </c:pt>
                <c:pt idx="226">
                  <c:v>40155</c:v>
                </c:pt>
                <c:pt idx="227">
                  <c:v>40156</c:v>
                </c:pt>
                <c:pt idx="228">
                  <c:v>40157</c:v>
                </c:pt>
                <c:pt idx="229">
                  <c:v>40158</c:v>
                </c:pt>
                <c:pt idx="230">
                  <c:v>40161</c:v>
                </c:pt>
                <c:pt idx="231">
                  <c:v>40162</c:v>
                </c:pt>
                <c:pt idx="232">
                  <c:v>40163</c:v>
                </c:pt>
                <c:pt idx="233">
                  <c:v>40164</c:v>
                </c:pt>
                <c:pt idx="234">
                  <c:v>40165</c:v>
                </c:pt>
                <c:pt idx="235">
                  <c:v>40168</c:v>
                </c:pt>
                <c:pt idx="236">
                  <c:v>40169</c:v>
                </c:pt>
                <c:pt idx="237">
                  <c:v>40170</c:v>
                </c:pt>
                <c:pt idx="238">
                  <c:v>40171</c:v>
                </c:pt>
                <c:pt idx="239">
                  <c:v>40172</c:v>
                </c:pt>
                <c:pt idx="240">
                  <c:v>40175</c:v>
                </c:pt>
                <c:pt idx="241">
                  <c:v>40176</c:v>
                </c:pt>
                <c:pt idx="242">
                  <c:v>40177</c:v>
                </c:pt>
                <c:pt idx="243">
                  <c:v>40178</c:v>
                </c:pt>
                <c:pt idx="244">
                  <c:v>40182</c:v>
                </c:pt>
                <c:pt idx="245">
                  <c:v>40183</c:v>
                </c:pt>
                <c:pt idx="246">
                  <c:v>40184</c:v>
                </c:pt>
                <c:pt idx="247">
                  <c:v>40185</c:v>
                </c:pt>
                <c:pt idx="248">
                  <c:v>40186</c:v>
                </c:pt>
                <c:pt idx="249">
                  <c:v>40189</c:v>
                </c:pt>
                <c:pt idx="250">
                  <c:v>40190</c:v>
                </c:pt>
                <c:pt idx="251">
                  <c:v>40191</c:v>
                </c:pt>
                <c:pt idx="252">
                  <c:v>40192</c:v>
                </c:pt>
                <c:pt idx="253">
                  <c:v>40193</c:v>
                </c:pt>
                <c:pt idx="254">
                  <c:v>40196</c:v>
                </c:pt>
                <c:pt idx="255">
                  <c:v>40197</c:v>
                </c:pt>
                <c:pt idx="256">
                  <c:v>40198</c:v>
                </c:pt>
                <c:pt idx="257">
                  <c:v>40199</c:v>
                </c:pt>
                <c:pt idx="258">
                  <c:v>40200</c:v>
                </c:pt>
                <c:pt idx="259">
                  <c:v>40203</c:v>
                </c:pt>
                <c:pt idx="260">
                  <c:v>40204</c:v>
                </c:pt>
                <c:pt idx="261">
                  <c:v>40205</c:v>
                </c:pt>
                <c:pt idx="262">
                  <c:v>40206</c:v>
                </c:pt>
                <c:pt idx="263">
                  <c:v>40207</c:v>
                </c:pt>
                <c:pt idx="264">
                  <c:v>40210</c:v>
                </c:pt>
                <c:pt idx="265">
                  <c:v>40211</c:v>
                </c:pt>
                <c:pt idx="266">
                  <c:v>40212</c:v>
                </c:pt>
                <c:pt idx="267">
                  <c:v>40213</c:v>
                </c:pt>
                <c:pt idx="268">
                  <c:v>40214</c:v>
                </c:pt>
                <c:pt idx="269">
                  <c:v>40217</c:v>
                </c:pt>
                <c:pt idx="270">
                  <c:v>40218</c:v>
                </c:pt>
                <c:pt idx="271">
                  <c:v>40219</c:v>
                </c:pt>
                <c:pt idx="272">
                  <c:v>40220</c:v>
                </c:pt>
                <c:pt idx="273">
                  <c:v>40221</c:v>
                </c:pt>
                <c:pt idx="274">
                  <c:v>40231</c:v>
                </c:pt>
                <c:pt idx="275">
                  <c:v>40232</c:v>
                </c:pt>
                <c:pt idx="276">
                  <c:v>40233</c:v>
                </c:pt>
                <c:pt idx="277">
                  <c:v>40234</c:v>
                </c:pt>
                <c:pt idx="278">
                  <c:v>40235</c:v>
                </c:pt>
                <c:pt idx="279">
                  <c:v>40238</c:v>
                </c:pt>
                <c:pt idx="280">
                  <c:v>40239</c:v>
                </c:pt>
                <c:pt idx="281">
                  <c:v>40240</c:v>
                </c:pt>
                <c:pt idx="282">
                  <c:v>40241</c:v>
                </c:pt>
                <c:pt idx="283">
                  <c:v>40242</c:v>
                </c:pt>
                <c:pt idx="284">
                  <c:v>40245</c:v>
                </c:pt>
                <c:pt idx="285">
                  <c:v>40246</c:v>
                </c:pt>
                <c:pt idx="286">
                  <c:v>40247</c:v>
                </c:pt>
                <c:pt idx="287">
                  <c:v>40248</c:v>
                </c:pt>
                <c:pt idx="288">
                  <c:v>40249</c:v>
                </c:pt>
                <c:pt idx="289">
                  <c:v>40252</c:v>
                </c:pt>
                <c:pt idx="290">
                  <c:v>40253</c:v>
                </c:pt>
                <c:pt idx="291">
                  <c:v>40254</c:v>
                </c:pt>
                <c:pt idx="292">
                  <c:v>40255</c:v>
                </c:pt>
                <c:pt idx="293">
                  <c:v>40256</c:v>
                </c:pt>
                <c:pt idx="294">
                  <c:v>40259</c:v>
                </c:pt>
                <c:pt idx="295">
                  <c:v>40260</c:v>
                </c:pt>
                <c:pt idx="296">
                  <c:v>40261</c:v>
                </c:pt>
                <c:pt idx="297">
                  <c:v>40262</c:v>
                </c:pt>
                <c:pt idx="298">
                  <c:v>40263</c:v>
                </c:pt>
                <c:pt idx="299">
                  <c:v>40266</c:v>
                </c:pt>
                <c:pt idx="300">
                  <c:v>40267</c:v>
                </c:pt>
                <c:pt idx="301">
                  <c:v>40268</c:v>
                </c:pt>
                <c:pt idx="302">
                  <c:v>40269</c:v>
                </c:pt>
                <c:pt idx="303">
                  <c:v>40270</c:v>
                </c:pt>
                <c:pt idx="304">
                  <c:v>40274</c:v>
                </c:pt>
                <c:pt idx="305">
                  <c:v>40275</c:v>
                </c:pt>
                <c:pt idx="306">
                  <c:v>40276</c:v>
                </c:pt>
                <c:pt idx="307">
                  <c:v>40277</c:v>
                </c:pt>
                <c:pt idx="308">
                  <c:v>40280</c:v>
                </c:pt>
                <c:pt idx="309">
                  <c:v>40281</c:v>
                </c:pt>
                <c:pt idx="310">
                  <c:v>40282</c:v>
                </c:pt>
                <c:pt idx="311">
                  <c:v>40283</c:v>
                </c:pt>
                <c:pt idx="312">
                  <c:v>40284</c:v>
                </c:pt>
                <c:pt idx="313">
                  <c:v>40287</c:v>
                </c:pt>
                <c:pt idx="314">
                  <c:v>40288</c:v>
                </c:pt>
                <c:pt idx="315">
                  <c:v>40289</c:v>
                </c:pt>
                <c:pt idx="316">
                  <c:v>40290</c:v>
                </c:pt>
                <c:pt idx="317">
                  <c:v>40291</c:v>
                </c:pt>
                <c:pt idx="318">
                  <c:v>40294</c:v>
                </c:pt>
                <c:pt idx="319">
                  <c:v>40295</c:v>
                </c:pt>
                <c:pt idx="320">
                  <c:v>40296</c:v>
                </c:pt>
                <c:pt idx="321">
                  <c:v>40297</c:v>
                </c:pt>
                <c:pt idx="322">
                  <c:v>40298</c:v>
                </c:pt>
                <c:pt idx="323">
                  <c:v>40302</c:v>
                </c:pt>
                <c:pt idx="324">
                  <c:v>40303</c:v>
                </c:pt>
                <c:pt idx="325">
                  <c:v>40304</c:v>
                </c:pt>
                <c:pt idx="326">
                  <c:v>40305</c:v>
                </c:pt>
                <c:pt idx="327">
                  <c:v>40308</c:v>
                </c:pt>
                <c:pt idx="328">
                  <c:v>40309</c:v>
                </c:pt>
                <c:pt idx="329">
                  <c:v>40310</c:v>
                </c:pt>
                <c:pt idx="330">
                  <c:v>40311</c:v>
                </c:pt>
                <c:pt idx="331">
                  <c:v>40312</c:v>
                </c:pt>
                <c:pt idx="332">
                  <c:v>40315</c:v>
                </c:pt>
                <c:pt idx="333">
                  <c:v>40316</c:v>
                </c:pt>
                <c:pt idx="334">
                  <c:v>40317</c:v>
                </c:pt>
                <c:pt idx="335">
                  <c:v>40318</c:v>
                </c:pt>
                <c:pt idx="336">
                  <c:v>40319</c:v>
                </c:pt>
                <c:pt idx="337">
                  <c:v>40322</c:v>
                </c:pt>
                <c:pt idx="338">
                  <c:v>40323</c:v>
                </c:pt>
                <c:pt idx="339">
                  <c:v>40324</c:v>
                </c:pt>
                <c:pt idx="340">
                  <c:v>40325</c:v>
                </c:pt>
                <c:pt idx="341">
                  <c:v>40326</c:v>
                </c:pt>
                <c:pt idx="342">
                  <c:v>40329</c:v>
                </c:pt>
                <c:pt idx="343">
                  <c:v>40330</c:v>
                </c:pt>
                <c:pt idx="344">
                  <c:v>40331</c:v>
                </c:pt>
                <c:pt idx="345">
                  <c:v>40332</c:v>
                </c:pt>
                <c:pt idx="346">
                  <c:v>40333</c:v>
                </c:pt>
                <c:pt idx="347">
                  <c:v>40336</c:v>
                </c:pt>
                <c:pt idx="348">
                  <c:v>40337</c:v>
                </c:pt>
                <c:pt idx="349">
                  <c:v>40338</c:v>
                </c:pt>
                <c:pt idx="350">
                  <c:v>40339</c:v>
                </c:pt>
                <c:pt idx="351">
                  <c:v>40340</c:v>
                </c:pt>
                <c:pt idx="352">
                  <c:v>40346</c:v>
                </c:pt>
                <c:pt idx="353">
                  <c:v>40347</c:v>
                </c:pt>
                <c:pt idx="354">
                  <c:v>40350</c:v>
                </c:pt>
                <c:pt idx="355">
                  <c:v>40351</c:v>
                </c:pt>
                <c:pt idx="356">
                  <c:v>40352</c:v>
                </c:pt>
                <c:pt idx="357">
                  <c:v>40353</c:v>
                </c:pt>
                <c:pt idx="358">
                  <c:v>40354</c:v>
                </c:pt>
                <c:pt idx="359">
                  <c:v>40357</c:v>
                </c:pt>
                <c:pt idx="360">
                  <c:v>40358</c:v>
                </c:pt>
                <c:pt idx="361">
                  <c:v>40359</c:v>
                </c:pt>
                <c:pt idx="362">
                  <c:v>40360</c:v>
                </c:pt>
                <c:pt idx="363">
                  <c:v>40361</c:v>
                </c:pt>
                <c:pt idx="364">
                  <c:v>40364</c:v>
                </c:pt>
                <c:pt idx="365">
                  <c:v>40365</c:v>
                </c:pt>
                <c:pt idx="366">
                  <c:v>40366</c:v>
                </c:pt>
                <c:pt idx="367">
                  <c:v>40367</c:v>
                </c:pt>
                <c:pt idx="368">
                  <c:v>40368</c:v>
                </c:pt>
                <c:pt idx="369">
                  <c:v>40371</c:v>
                </c:pt>
                <c:pt idx="370">
                  <c:v>40372</c:v>
                </c:pt>
                <c:pt idx="371">
                  <c:v>40373</c:v>
                </c:pt>
                <c:pt idx="372">
                  <c:v>40374</c:v>
                </c:pt>
                <c:pt idx="373">
                  <c:v>40375</c:v>
                </c:pt>
                <c:pt idx="374">
                  <c:v>40378</c:v>
                </c:pt>
                <c:pt idx="375">
                  <c:v>40379</c:v>
                </c:pt>
                <c:pt idx="376">
                  <c:v>40380</c:v>
                </c:pt>
                <c:pt idx="377">
                  <c:v>40381</c:v>
                </c:pt>
                <c:pt idx="378">
                  <c:v>40382</c:v>
                </c:pt>
                <c:pt idx="379">
                  <c:v>40385</c:v>
                </c:pt>
                <c:pt idx="380">
                  <c:v>40386</c:v>
                </c:pt>
                <c:pt idx="381">
                  <c:v>40387</c:v>
                </c:pt>
                <c:pt idx="382">
                  <c:v>40388</c:v>
                </c:pt>
                <c:pt idx="383">
                  <c:v>40389</c:v>
                </c:pt>
                <c:pt idx="384">
                  <c:v>40392</c:v>
                </c:pt>
                <c:pt idx="385">
                  <c:v>40393</c:v>
                </c:pt>
                <c:pt idx="386">
                  <c:v>40394</c:v>
                </c:pt>
                <c:pt idx="387">
                  <c:v>40395</c:v>
                </c:pt>
                <c:pt idx="388">
                  <c:v>40396</c:v>
                </c:pt>
                <c:pt idx="389">
                  <c:v>40399</c:v>
                </c:pt>
                <c:pt idx="390">
                  <c:v>40400</c:v>
                </c:pt>
                <c:pt idx="391">
                  <c:v>40401</c:v>
                </c:pt>
                <c:pt idx="392">
                  <c:v>40402</c:v>
                </c:pt>
                <c:pt idx="393">
                  <c:v>40403</c:v>
                </c:pt>
                <c:pt idx="394">
                  <c:v>40406</c:v>
                </c:pt>
                <c:pt idx="395">
                  <c:v>40407</c:v>
                </c:pt>
                <c:pt idx="396">
                  <c:v>40408</c:v>
                </c:pt>
                <c:pt idx="397">
                  <c:v>40409</c:v>
                </c:pt>
                <c:pt idx="398">
                  <c:v>40410</c:v>
                </c:pt>
                <c:pt idx="399">
                  <c:v>40413</c:v>
                </c:pt>
                <c:pt idx="400">
                  <c:v>40414</c:v>
                </c:pt>
                <c:pt idx="401">
                  <c:v>40415</c:v>
                </c:pt>
                <c:pt idx="402">
                  <c:v>40416</c:v>
                </c:pt>
                <c:pt idx="403">
                  <c:v>40417</c:v>
                </c:pt>
                <c:pt idx="404">
                  <c:v>40420</c:v>
                </c:pt>
                <c:pt idx="405">
                  <c:v>40421</c:v>
                </c:pt>
                <c:pt idx="406">
                  <c:v>40422</c:v>
                </c:pt>
                <c:pt idx="407">
                  <c:v>40423</c:v>
                </c:pt>
                <c:pt idx="408">
                  <c:v>40424</c:v>
                </c:pt>
                <c:pt idx="409">
                  <c:v>40427</c:v>
                </c:pt>
                <c:pt idx="410">
                  <c:v>40428</c:v>
                </c:pt>
                <c:pt idx="411">
                  <c:v>40429</c:v>
                </c:pt>
                <c:pt idx="412">
                  <c:v>40430</c:v>
                </c:pt>
                <c:pt idx="413">
                  <c:v>40431</c:v>
                </c:pt>
                <c:pt idx="414">
                  <c:v>40434</c:v>
                </c:pt>
                <c:pt idx="415">
                  <c:v>40435</c:v>
                </c:pt>
                <c:pt idx="416">
                  <c:v>40436</c:v>
                </c:pt>
                <c:pt idx="417">
                  <c:v>40437</c:v>
                </c:pt>
                <c:pt idx="418">
                  <c:v>40438</c:v>
                </c:pt>
                <c:pt idx="419">
                  <c:v>40441</c:v>
                </c:pt>
                <c:pt idx="420">
                  <c:v>40442</c:v>
                </c:pt>
                <c:pt idx="421">
                  <c:v>40448</c:v>
                </c:pt>
                <c:pt idx="422">
                  <c:v>40449</c:v>
                </c:pt>
                <c:pt idx="423">
                  <c:v>40450</c:v>
                </c:pt>
                <c:pt idx="424">
                  <c:v>40451</c:v>
                </c:pt>
                <c:pt idx="425">
                  <c:v>40459</c:v>
                </c:pt>
                <c:pt idx="426">
                  <c:v>40462</c:v>
                </c:pt>
                <c:pt idx="427">
                  <c:v>40463</c:v>
                </c:pt>
                <c:pt idx="428">
                  <c:v>40464</c:v>
                </c:pt>
                <c:pt idx="429">
                  <c:v>40465</c:v>
                </c:pt>
                <c:pt idx="430">
                  <c:v>40466</c:v>
                </c:pt>
                <c:pt idx="431">
                  <c:v>40469</c:v>
                </c:pt>
                <c:pt idx="432">
                  <c:v>40470</c:v>
                </c:pt>
                <c:pt idx="433">
                  <c:v>40471</c:v>
                </c:pt>
                <c:pt idx="434">
                  <c:v>40472</c:v>
                </c:pt>
                <c:pt idx="435">
                  <c:v>40473</c:v>
                </c:pt>
                <c:pt idx="436">
                  <c:v>40476</c:v>
                </c:pt>
                <c:pt idx="437">
                  <c:v>40477</c:v>
                </c:pt>
                <c:pt idx="438">
                  <c:v>40478</c:v>
                </c:pt>
                <c:pt idx="439">
                  <c:v>40479</c:v>
                </c:pt>
                <c:pt idx="440">
                  <c:v>40480</c:v>
                </c:pt>
                <c:pt idx="441">
                  <c:v>40483</c:v>
                </c:pt>
                <c:pt idx="442">
                  <c:v>40484</c:v>
                </c:pt>
                <c:pt idx="443">
                  <c:v>40485</c:v>
                </c:pt>
                <c:pt idx="444">
                  <c:v>40486</c:v>
                </c:pt>
                <c:pt idx="445">
                  <c:v>40487</c:v>
                </c:pt>
                <c:pt idx="446">
                  <c:v>40490</c:v>
                </c:pt>
                <c:pt idx="447">
                  <c:v>40491</c:v>
                </c:pt>
                <c:pt idx="448">
                  <c:v>40492</c:v>
                </c:pt>
                <c:pt idx="449">
                  <c:v>40493</c:v>
                </c:pt>
                <c:pt idx="450">
                  <c:v>40494</c:v>
                </c:pt>
                <c:pt idx="451">
                  <c:v>40497</c:v>
                </c:pt>
                <c:pt idx="452">
                  <c:v>40498</c:v>
                </c:pt>
                <c:pt idx="453">
                  <c:v>40499</c:v>
                </c:pt>
                <c:pt idx="454">
                  <c:v>40500</c:v>
                </c:pt>
                <c:pt idx="455">
                  <c:v>40501</c:v>
                </c:pt>
                <c:pt idx="456">
                  <c:v>40504</c:v>
                </c:pt>
                <c:pt idx="457">
                  <c:v>40505</c:v>
                </c:pt>
                <c:pt idx="458">
                  <c:v>40506</c:v>
                </c:pt>
                <c:pt idx="459">
                  <c:v>40507</c:v>
                </c:pt>
                <c:pt idx="460">
                  <c:v>40508</c:v>
                </c:pt>
                <c:pt idx="461">
                  <c:v>40511</c:v>
                </c:pt>
                <c:pt idx="462">
                  <c:v>40512</c:v>
                </c:pt>
                <c:pt idx="463">
                  <c:v>40513</c:v>
                </c:pt>
                <c:pt idx="464">
                  <c:v>40514</c:v>
                </c:pt>
                <c:pt idx="465">
                  <c:v>40515</c:v>
                </c:pt>
                <c:pt idx="466">
                  <c:v>40518</c:v>
                </c:pt>
                <c:pt idx="467">
                  <c:v>40519</c:v>
                </c:pt>
                <c:pt idx="468">
                  <c:v>40520</c:v>
                </c:pt>
                <c:pt idx="469">
                  <c:v>40521</c:v>
                </c:pt>
                <c:pt idx="470">
                  <c:v>40522</c:v>
                </c:pt>
                <c:pt idx="471">
                  <c:v>40525</c:v>
                </c:pt>
                <c:pt idx="472">
                  <c:v>40526</c:v>
                </c:pt>
                <c:pt idx="473">
                  <c:v>40527</c:v>
                </c:pt>
                <c:pt idx="474">
                  <c:v>40528</c:v>
                </c:pt>
                <c:pt idx="475">
                  <c:v>40529</c:v>
                </c:pt>
                <c:pt idx="476">
                  <c:v>40532</c:v>
                </c:pt>
                <c:pt idx="477">
                  <c:v>40533</c:v>
                </c:pt>
                <c:pt idx="478">
                  <c:v>40534</c:v>
                </c:pt>
                <c:pt idx="479">
                  <c:v>40535</c:v>
                </c:pt>
                <c:pt idx="480">
                  <c:v>40536</c:v>
                </c:pt>
                <c:pt idx="481">
                  <c:v>40539</c:v>
                </c:pt>
                <c:pt idx="482">
                  <c:v>40540</c:v>
                </c:pt>
                <c:pt idx="483">
                  <c:v>40541</c:v>
                </c:pt>
                <c:pt idx="484">
                  <c:v>40542</c:v>
                </c:pt>
                <c:pt idx="485">
                  <c:v>40543</c:v>
                </c:pt>
                <c:pt idx="486">
                  <c:v>40547</c:v>
                </c:pt>
                <c:pt idx="487">
                  <c:v>40548</c:v>
                </c:pt>
                <c:pt idx="488">
                  <c:v>40549</c:v>
                </c:pt>
                <c:pt idx="489">
                  <c:v>40550</c:v>
                </c:pt>
                <c:pt idx="490">
                  <c:v>40553</c:v>
                </c:pt>
                <c:pt idx="491">
                  <c:v>40554</c:v>
                </c:pt>
                <c:pt idx="492">
                  <c:v>40555</c:v>
                </c:pt>
                <c:pt idx="493">
                  <c:v>40556</c:v>
                </c:pt>
                <c:pt idx="494">
                  <c:v>40557</c:v>
                </c:pt>
                <c:pt idx="495">
                  <c:v>40560</c:v>
                </c:pt>
                <c:pt idx="496">
                  <c:v>40561</c:v>
                </c:pt>
                <c:pt idx="497">
                  <c:v>40562</c:v>
                </c:pt>
                <c:pt idx="498">
                  <c:v>40563</c:v>
                </c:pt>
                <c:pt idx="499">
                  <c:v>40564</c:v>
                </c:pt>
                <c:pt idx="500">
                  <c:v>40567</c:v>
                </c:pt>
                <c:pt idx="501">
                  <c:v>40568</c:v>
                </c:pt>
                <c:pt idx="502">
                  <c:v>40569</c:v>
                </c:pt>
                <c:pt idx="503">
                  <c:v>40570</c:v>
                </c:pt>
                <c:pt idx="504">
                  <c:v>40571</c:v>
                </c:pt>
                <c:pt idx="505">
                  <c:v>40574</c:v>
                </c:pt>
                <c:pt idx="506">
                  <c:v>40575</c:v>
                </c:pt>
                <c:pt idx="507">
                  <c:v>40583</c:v>
                </c:pt>
                <c:pt idx="508">
                  <c:v>40584</c:v>
                </c:pt>
                <c:pt idx="509">
                  <c:v>40585</c:v>
                </c:pt>
                <c:pt idx="510">
                  <c:v>40588</c:v>
                </c:pt>
                <c:pt idx="511">
                  <c:v>40589</c:v>
                </c:pt>
                <c:pt idx="512">
                  <c:v>40590</c:v>
                </c:pt>
                <c:pt idx="513">
                  <c:v>40591</c:v>
                </c:pt>
                <c:pt idx="514">
                  <c:v>40592</c:v>
                </c:pt>
                <c:pt idx="515">
                  <c:v>40595</c:v>
                </c:pt>
                <c:pt idx="516">
                  <c:v>40596</c:v>
                </c:pt>
                <c:pt idx="517">
                  <c:v>40597</c:v>
                </c:pt>
                <c:pt idx="518">
                  <c:v>40598</c:v>
                </c:pt>
                <c:pt idx="519">
                  <c:v>40599</c:v>
                </c:pt>
                <c:pt idx="520">
                  <c:v>40602</c:v>
                </c:pt>
                <c:pt idx="521">
                  <c:v>40603</c:v>
                </c:pt>
                <c:pt idx="522">
                  <c:v>40604</c:v>
                </c:pt>
                <c:pt idx="523">
                  <c:v>40605</c:v>
                </c:pt>
                <c:pt idx="524">
                  <c:v>40606</c:v>
                </c:pt>
                <c:pt idx="525">
                  <c:v>40609</c:v>
                </c:pt>
                <c:pt idx="526">
                  <c:v>40610</c:v>
                </c:pt>
                <c:pt idx="527">
                  <c:v>40611</c:v>
                </c:pt>
                <c:pt idx="528">
                  <c:v>40612</c:v>
                </c:pt>
                <c:pt idx="529">
                  <c:v>40613</c:v>
                </c:pt>
                <c:pt idx="530">
                  <c:v>40616</c:v>
                </c:pt>
                <c:pt idx="531">
                  <c:v>40617</c:v>
                </c:pt>
                <c:pt idx="532">
                  <c:v>40618</c:v>
                </c:pt>
                <c:pt idx="533">
                  <c:v>40619</c:v>
                </c:pt>
                <c:pt idx="534">
                  <c:v>40620</c:v>
                </c:pt>
                <c:pt idx="535">
                  <c:v>40623</c:v>
                </c:pt>
                <c:pt idx="536">
                  <c:v>40624</c:v>
                </c:pt>
                <c:pt idx="537">
                  <c:v>40625</c:v>
                </c:pt>
                <c:pt idx="538">
                  <c:v>40626</c:v>
                </c:pt>
                <c:pt idx="539">
                  <c:v>40627</c:v>
                </c:pt>
                <c:pt idx="540">
                  <c:v>40630</c:v>
                </c:pt>
                <c:pt idx="541">
                  <c:v>40631</c:v>
                </c:pt>
                <c:pt idx="542">
                  <c:v>40632</c:v>
                </c:pt>
                <c:pt idx="543">
                  <c:v>40633</c:v>
                </c:pt>
                <c:pt idx="544">
                  <c:v>40634</c:v>
                </c:pt>
                <c:pt idx="545">
                  <c:v>40639</c:v>
                </c:pt>
                <c:pt idx="546">
                  <c:v>40640</c:v>
                </c:pt>
                <c:pt idx="547">
                  <c:v>40641</c:v>
                </c:pt>
                <c:pt idx="548">
                  <c:v>40644</c:v>
                </c:pt>
                <c:pt idx="549">
                  <c:v>40645</c:v>
                </c:pt>
                <c:pt idx="550">
                  <c:v>40646</c:v>
                </c:pt>
                <c:pt idx="551">
                  <c:v>40647</c:v>
                </c:pt>
                <c:pt idx="552">
                  <c:v>40648</c:v>
                </c:pt>
                <c:pt idx="553">
                  <c:v>40651</c:v>
                </c:pt>
                <c:pt idx="554">
                  <c:v>40652</c:v>
                </c:pt>
                <c:pt idx="555">
                  <c:v>40653</c:v>
                </c:pt>
                <c:pt idx="556">
                  <c:v>40654</c:v>
                </c:pt>
                <c:pt idx="557">
                  <c:v>40655</c:v>
                </c:pt>
                <c:pt idx="558">
                  <c:v>40658</c:v>
                </c:pt>
                <c:pt idx="559">
                  <c:v>40659</c:v>
                </c:pt>
                <c:pt idx="560">
                  <c:v>40660</c:v>
                </c:pt>
                <c:pt idx="561">
                  <c:v>40661</c:v>
                </c:pt>
                <c:pt idx="562">
                  <c:v>40662</c:v>
                </c:pt>
                <c:pt idx="563">
                  <c:v>40666</c:v>
                </c:pt>
                <c:pt idx="564">
                  <c:v>40667</c:v>
                </c:pt>
                <c:pt idx="565">
                  <c:v>40668</c:v>
                </c:pt>
                <c:pt idx="566">
                  <c:v>40669</c:v>
                </c:pt>
                <c:pt idx="567">
                  <c:v>40672</c:v>
                </c:pt>
                <c:pt idx="568">
                  <c:v>40673</c:v>
                </c:pt>
                <c:pt idx="569">
                  <c:v>40674</c:v>
                </c:pt>
                <c:pt idx="570">
                  <c:v>40675</c:v>
                </c:pt>
                <c:pt idx="571">
                  <c:v>40676</c:v>
                </c:pt>
                <c:pt idx="572">
                  <c:v>40679</c:v>
                </c:pt>
                <c:pt idx="573">
                  <c:v>40680</c:v>
                </c:pt>
                <c:pt idx="574">
                  <c:v>40681</c:v>
                </c:pt>
                <c:pt idx="575">
                  <c:v>40682</c:v>
                </c:pt>
                <c:pt idx="576">
                  <c:v>40683</c:v>
                </c:pt>
                <c:pt idx="577">
                  <c:v>40686</c:v>
                </c:pt>
                <c:pt idx="578">
                  <c:v>40687</c:v>
                </c:pt>
                <c:pt idx="579">
                  <c:v>40688</c:v>
                </c:pt>
                <c:pt idx="580">
                  <c:v>40689</c:v>
                </c:pt>
                <c:pt idx="581">
                  <c:v>40690</c:v>
                </c:pt>
                <c:pt idx="582">
                  <c:v>40693</c:v>
                </c:pt>
                <c:pt idx="583">
                  <c:v>40694</c:v>
                </c:pt>
                <c:pt idx="584">
                  <c:v>40695</c:v>
                </c:pt>
                <c:pt idx="585">
                  <c:v>40696</c:v>
                </c:pt>
                <c:pt idx="586">
                  <c:v>40697</c:v>
                </c:pt>
                <c:pt idx="587">
                  <c:v>40701</c:v>
                </c:pt>
                <c:pt idx="588">
                  <c:v>40702</c:v>
                </c:pt>
                <c:pt idx="589">
                  <c:v>40703</c:v>
                </c:pt>
                <c:pt idx="590">
                  <c:v>40704</c:v>
                </c:pt>
                <c:pt idx="591">
                  <c:v>40707</c:v>
                </c:pt>
                <c:pt idx="592">
                  <c:v>40708</c:v>
                </c:pt>
                <c:pt idx="593">
                  <c:v>40709</c:v>
                </c:pt>
                <c:pt idx="594">
                  <c:v>40710</c:v>
                </c:pt>
                <c:pt idx="595">
                  <c:v>40711</c:v>
                </c:pt>
                <c:pt idx="596">
                  <c:v>40714</c:v>
                </c:pt>
                <c:pt idx="597">
                  <c:v>40715</c:v>
                </c:pt>
                <c:pt idx="598">
                  <c:v>40716</c:v>
                </c:pt>
                <c:pt idx="599">
                  <c:v>40717</c:v>
                </c:pt>
                <c:pt idx="600">
                  <c:v>40718</c:v>
                </c:pt>
                <c:pt idx="601">
                  <c:v>40721</c:v>
                </c:pt>
                <c:pt idx="602">
                  <c:v>40722</c:v>
                </c:pt>
                <c:pt idx="603">
                  <c:v>40723</c:v>
                </c:pt>
                <c:pt idx="604">
                  <c:v>40724</c:v>
                </c:pt>
                <c:pt idx="605">
                  <c:v>40725</c:v>
                </c:pt>
                <c:pt idx="606">
                  <c:v>40728</c:v>
                </c:pt>
                <c:pt idx="607">
                  <c:v>40729</c:v>
                </c:pt>
                <c:pt idx="608">
                  <c:v>40730</c:v>
                </c:pt>
                <c:pt idx="609">
                  <c:v>40731</c:v>
                </c:pt>
                <c:pt idx="610">
                  <c:v>40732</c:v>
                </c:pt>
                <c:pt idx="611">
                  <c:v>40735</c:v>
                </c:pt>
                <c:pt idx="612">
                  <c:v>40736</c:v>
                </c:pt>
                <c:pt idx="613">
                  <c:v>40737</c:v>
                </c:pt>
                <c:pt idx="614">
                  <c:v>40738</c:v>
                </c:pt>
                <c:pt idx="615">
                  <c:v>40739</c:v>
                </c:pt>
                <c:pt idx="616">
                  <c:v>40742</c:v>
                </c:pt>
                <c:pt idx="617">
                  <c:v>40743</c:v>
                </c:pt>
                <c:pt idx="618">
                  <c:v>40744</c:v>
                </c:pt>
                <c:pt idx="619">
                  <c:v>40745</c:v>
                </c:pt>
                <c:pt idx="620">
                  <c:v>40746</c:v>
                </c:pt>
                <c:pt idx="621">
                  <c:v>40749</c:v>
                </c:pt>
                <c:pt idx="622">
                  <c:v>40750</c:v>
                </c:pt>
                <c:pt idx="623">
                  <c:v>40751</c:v>
                </c:pt>
                <c:pt idx="624">
                  <c:v>40752</c:v>
                </c:pt>
                <c:pt idx="625">
                  <c:v>40753</c:v>
                </c:pt>
                <c:pt idx="626">
                  <c:v>40756</c:v>
                </c:pt>
                <c:pt idx="627">
                  <c:v>40757</c:v>
                </c:pt>
                <c:pt idx="628">
                  <c:v>40758</c:v>
                </c:pt>
                <c:pt idx="629">
                  <c:v>40759</c:v>
                </c:pt>
                <c:pt idx="630">
                  <c:v>40760</c:v>
                </c:pt>
                <c:pt idx="631">
                  <c:v>40763</c:v>
                </c:pt>
                <c:pt idx="632">
                  <c:v>40764</c:v>
                </c:pt>
                <c:pt idx="633">
                  <c:v>40765</c:v>
                </c:pt>
                <c:pt idx="634">
                  <c:v>40766</c:v>
                </c:pt>
                <c:pt idx="635">
                  <c:v>40767</c:v>
                </c:pt>
                <c:pt idx="636">
                  <c:v>40770</c:v>
                </c:pt>
                <c:pt idx="637">
                  <c:v>40771</c:v>
                </c:pt>
                <c:pt idx="638">
                  <c:v>40772</c:v>
                </c:pt>
                <c:pt idx="639">
                  <c:v>40773</c:v>
                </c:pt>
                <c:pt idx="640">
                  <c:v>40774</c:v>
                </c:pt>
                <c:pt idx="641">
                  <c:v>40777</c:v>
                </c:pt>
                <c:pt idx="642">
                  <c:v>40778</c:v>
                </c:pt>
                <c:pt idx="643">
                  <c:v>40779</c:v>
                </c:pt>
                <c:pt idx="644">
                  <c:v>40780</c:v>
                </c:pt>
                <c:pt idx="645">
                  <c:v>40781</c:v>
                </c:pt>
                <c:pt idx="646">
                  <c:v>40784</c:v>
                </c:pt>
                <c:pt idx="647">
                  <c:v>40785</c:v>
                </c:pt>
                <c:pt idx="648">
                  <c:v>40786</c:v>
                </c:pt>
                <c:pt idx="649">
                  <c:v>40787</c:v>
                </c:pt>
                <c:pt idx="650">
                  <c:v>40788</c:v>
                </c:pt>
                <c:pt idx="651">
                  <c:v>40791</c:v>
                </c:pt>
                <c:pt idx="652">
                  <c:v>40792</c:v>
                </c:pt>
                <c:pt idx="653">
                  <c:v>40793</c:v>
                </c:pt>
                <c:pt idx="654">
                  <c:v>40794</c:v>
                </c:pt>
                <c:pt idx="655">
                  <c:v>40795</c:v>
                </c:pt>
                <c:pt idx="656">
                  <c:v>40799</c:v>
                </c:pt>
                <c:pt idx="657">
                  <c:v>40800</c:v>
                </c:pt>
                <c:pt idx="658">
                  <c:v>40801</c:v>
                </c:pt>
                <c:pt idx="659">
                  <c:v>40802</c:v>
                </c:pt>
                <c:pt idx="660">
                  <c:v>40805</c:v>
                </c:pt>
                <c:pt idx="661">
                  <c:v>40806</c:v>
                </c:pt>
                <c:pt idx="662">
                  <c:v>40807</c:v>
                </c:pt>
                <c:pt idx="663">
                  <c:v>40808</c:v>
                </c:pt>
                <c:pt idx="664">
                  <c:v>40809</c:v>
                </c:pt>
                <c:pt idx="665">
                  <c:v>40812</c:v>
                </c:pt>
                <c:pt idx="666">
                  <c:v>40813</c:v>
                </c:pt>
                <c:pt idx="667">
                  <c:v>40814</c:v>
                </c:pt>
                <c:pt idx="668">
                  <c:v>40815</c:v>
                </c:pt>
                <c:pt idx="669">
                  <c:v>40816</c:v>
                </c:pt>
                <c:pt idx="670">
                  <c:v>40826</c:v>
                </c:pt>
                <c:pt idx="671">
                  <c:v>40827</c:v>
                </c:pt>
                <c:pt idx="672">
                  <c:v>40828</c:v>
                </c:pt>
                <c:pt idx="673">
                  <c:v>40829</c:v>
                </c:pt>
                <c:pt idx="674">
                  <c:v>40830</c:v>
                </c:pt>
                <c:pt idx="675">
                  <c:v>40833</c:v>
                </c:pt>
                <c:pt idx="676">
                  <c:v>40834</c:v>
                </c:pt>
                <c:pt idx="677">
                  <c:v>40835</c:v>
                </c:pt>
                <c:pt idx="678">
                  <c:v>40836</c:v>
                </c:pt>
                <c:pt idx="679">
                  <c:v>40837</c:v>
                </c:pt>
                <c:pt idx="680">
                  <c:v>40840</c:v>
                </c:pt>
                <c:pt idx="681">
                  <c:v>40841</c:v>
                </c:pt>
                <c:pt idx="682">
                  <c:v>40842</c:v>
                </c:pt>
                <c:pt idx="683">
                  <c:v>40843</c:v>
                </c:pt>
                <c:pt idx="684">
                  <c:v>40844</c:v>
                </c:pt>
                <c:pt idx="685">
                  <c:v>40847</c:v>
                </c:pt>
                <c:pt idx="686">
                  <c:v>40848</c:v>
                </c:pt>
                <c:pt idx="687">
                  <c:v>40849</c:v>
                </c:pt>
                <c:pt idx="688">
                  <c:v>40850</c:v>
                </c:pt>
                <c:pt idx="689">
                  <c:v>40851</c:v>
                </c:pt>
                <c:pt idx="690">
                  <c:v>40854</c:v>
                </c:pt>
                <c:pt idx="691">
                  <c:v>40855</c:v>
                </c:pt>
                <c:pt idx="692">
                  <c:v>40856</c:v>
                </c:pt>
                <c:pt idx="693">
                  <c:v>40857</c:v>
                </c:pt>
                <c:pt idx="694">
                  <c:v>40858</c:v>
                </c:pt>
                <c:pt idx="695">
                  <c:v>40861</c:v>
                </c:pt>
                <c:pt idx="696">
                  <c:v>40862</c:v>
                </c:pt>
                <c:pt idx="697">
                  <c:v>40863</c:v>
                </c:pt>
                <c:pt idx="698">
                  <c:v>40864</c:v>
                </c:pt>
                <c:pt idx="699">
                  <c:v>40865</c:v>
                </c:pt>
                <c:pt idx="700">
                  <c:v>40868</c:v>
                </c:pt>
                <c:pt idx="701">
                  <c:v>40869</c:v>
                </c:pt>
                <c:pt idx="702">
                  <c:v>40870</c:v>
                </c:pt>
                <c:pt idx="703">
                  <c:v>40871</c:v>
                </c:pt>
                <c:pt idx="704">
                  <c:v>40872</c:v>
                </c:pt>
                <c:pt idx="705">
                  <c:v>40875</c:v>
                </c:pt>
                <c:pt idx="706">
                  <c:v>40876</c:v>
                </c:pt>
                <c:pt idx="707">
                  <c:v>40877</c:v>
                </c:pt>
                <c:pt idx="708">
                  <c:v>40878</c:v>
                </c:pt>
                <c:pt idx="709">
                  <c:v>40879</c:v>
                </c:pt>
                <c:pt idx="710">
                  <c:v>40882</c:v>
                </c:pt>
                <c:pt idx="711">
                  <c:v>40883</c:v>
                </c:pt>
                <c:pt idx="712">
                  <c:v>40884</c:v>
                </c:pt>
                <c:pt idx="713">
                  <c:v>40885</c:v>
                </c:pt>
                <c:pt idx="714">
                  <c:v>40886</c:v>
                </c:pt>
                <c:pt idx="715">
                  <c:v>40889</c:v>
                </c:pt>
                <c:pt idx="716">
                  <c:v>40890</c:v>
                </c:pt>
                <c:pt idx="717">
                  <c:v>40891</c:v>
                </c:pt>
                <c:pt idx="718">
                  <c:v>40892</c:v>
                </c:pt>
                <c:pt idx="719">
                  <c:v>40893</c:v>
                </c:pt>
                <c:pt idx="720">
                  <c:v>40896</c:v>
                </c:pt>
                <c:pt idx="721">
                  <c:v>40897</c:v>
                </c:pt>
                <c:pt idx="722">
                  <c:v>40898</c:v>
                </c:pt>
                <c:pt idx="723">
                  <c:v>40899</c:v>
                </c:pt>
                <c:pt idx="724">
                  <c:v>40900</c:v>
                </c:pt>
                <c:pt idx="725">
                  <c:v>40903</c:v>
                </c:pt>
                <c:pt idx="726">
                  <c:v>40904</c:v>
                </c:pt>
                <c:pt idx="727">
                  <c:v>40905</c:v>
                </c:pt>
                <c:pt idx="728">
                  <c:v>40906</c:v>
                </c:pt>
                <c:pt idx="729">
                  <c:v>40907</c:v>
                </c:pt>
                <c:pt idx="730">
                  <c:v>40912</c:v>
                </c:pt>
                <c:pt idx="731">
                  <c:v>40913</c:v>
                </c:pt>
                <c:pt idx="732">
                  <c:v>40914</c:v>
                </c:pt>
                <c:pt idx="733">
                  <c:v>40917</c:v>
                </c:pt>
                <c:pt idx="734">
                  <c:v>40918</c:v>
                </c:pt>
                <c:pt idx="735">
                  <c:v>40919</c:v>
                </c:pt>
                <c:pt idx="736">
                  <c:v>40920</c:v>
                </c:pt>
                <c:pt idx="737">
                  <c:v>40921</c:v>
                </c:pt>
                <c:pt idx="738">
                  <c:v>40924</c:v>
                </c:pt>
                <c:pt idx="739">
                  <c:v>40925</c:v>
                </c:pt>
                <c:pt idx="740">
                  <c:v>40926</c:v>
                </c:pt>
                <c:pt idx="741">
                  <c:v>40927</c:v>
                </c:pt>
                <c:pt idx="742">
                  <c:v>40928</c:v>
                </c:pt>
                <c:pt idx="743">
                  <c:v>40938</c:v>
                </c:pt>
                <c:pt idx="744">
                  <c:v>40939</c:v>
                </c:pt>
                <c:pt idx="745">
                  <c:v>40940</c:v>
                </c:pt>
                <c:pt idx="746">
                  <c:v>40941</c:v>
                </c:pt>
                <c:pt idx="747">
                  <c:v>40942</c:v>
                </c:pt>
                <c:pt idx="748">
                  <c:v>40945</c:v>
                </c:pt>
                <c:pt idx="749">
                  <c:v>40946</c:v>
                </c:pt>
                <c:pt idx="750">
                  <c:v>40947</c:v>
                </c:pt>
                <c:pt idx="751">
                  <c:v>40948</c:v>
                </c:pt>
                <c:pt idx="752">
                  <c:v>40949</c:v>
                </c:pt>
                <c:pt idx="753">
                  <c:v>40952</c:v>
                </c:pt>
                <c:pt idx="754">
                  <c:v>40953</c:v>
                </c:pt>
                <c:pt idx="755">
                  <c:v>40954</c:v>
                </c:pt>
                <c:pt idx="756">
                  <c:v>40955</c:v>
                </c:pt>
                <c:pt idx="757">
                  <c:v>40956</c:v>
                </c:pt>
                <c:pt idx="758">
                  <c:v>40959</c:v>
                </c:pt>
                <c:pt idx="759">
                  <c:v>40960</c:v>
                </c:pt>
                <c:pt idx="760">
                  <c:v>40961</c:v>
                </c:pt>
                <c:pt idx="761">
                  <c:v>40962</c:v>
                </c:pt>
                <c:pt idx="762">
                  <c:v>40963</c:v>
                </c:pt>
                <c:pt idx="763">
                  <c:v>40966</c:v>
                </c:pt>
                <c:pt idx="764">
                  <c:v>40967</c:v>
                </c:pt>
                <c:pt idx="765">
                  <c:v>40968</c:v>
                </c:pt>
                <c:pt idx="766">
                  <c:v>40969</c:v>
                </c:pt>
                <c:pt idx="767">
                  <c:v>40970</c:v>
                </c:pt>
                <c:pt idx="768">
                  <c:v>40973</c:v>
                </c:pt>
                <c:pt idx="769">
                  <c:v>40974</c:v>
                </c:pt>
                <c:pt idx="770">
                  <c:v>40975</c:v>
                </c:pt>
                <c:pt idx="771">
                  <c:v>40976</c:v>
                </c:pt>
                <c:pt idx="772">
                  <c:v>40977</c:v>
                </c:pt>
                <c:pt idx="773">
                  <c:v>40980</c:v>
                </c:pt>
                <c:pt idx="774">
                  <c:v>40981</c:v>
                </c:pt>
                <c:pt idx="775">
                  <c:v>40982</c:v>
                </c:pt>
                <c:pt idx="776">
                  <c:v>40983</c:v>
                </c:pt>
                <c:pt idx="777">
                  <c:v>40984</c:v>
                </c:pt>
                <c:pt idx="778">
                  <c:v>40987</c:v>
                </c:pt>
                <c:pt idx="779">
                  <c:v>40988</c:v>
                </c:pt>
                <c:pt idx="780">
                  <c:v>40989</c:v>
                </c:pt>
                <c:pt idx="781">
                  <c:v>40990</c:v>
                </c:pt>
                <c:pt idx="782">
                  <c:v>40991</c:v>
                </c:pt>
                <c:pt idx="783">
                  <c:v>40994</c:v>
                </c:pt>
                <c:pt idx="784">
                  <c:v>40995</c:v>
                </c:pt>
                <c:pt idx="785">
                  <c:v>40996</c:v>
                </c:pt>
                <c:pt idx="786">
                  <c:v>40997</c:v>
                </c:pt>
                <c:pt idx="787">
                  <c:v>40998</c:v>
                </c:pt>
                <c:pt idx="788">
                  <c:v>41004</c:v>
                </c:pt>
                <c:pt idx="789">
                  <c:v>41005</c:v>
                </c:pt>
                <c:pt idx="790">
                  <c:v>41008</c:v>
                </c:pt>
                <c:pt idx="791">
                  <c:v>41009</c:v>
                </c:pt>
                <c:pt idx="792">
                  <c:v>41010</c:v>
                </c:pt>
                <c:pt idx="793">
                  <c:v>41011</c:v>
                </c:pt>
                <c:pt idx="794">
                  <c:v>41012</c:v>
                </c:pt>
                <c:pt idx="795">
                  <c:v>41015</c:v>
                </c:pt>
                <c:pt idx="796">
                  <c:v>41016</c:v>
                </c:pt>
                <c:pt idx="797">
                  <c:v>41017</c:v>
                </c:pt>
                <c:pt idx="798">
                  <c:v>41018</c:v>
                </c:pt>
                <c:pt idx="799">
                  <c:v>41019</c:v>
                </c:pt>
                <c:pt idx="800">
                  <c:v>41022</c:v>
                </c:pt>
                <c:pt idx="801">
                  <c:v>41023</c:v>
                </c:pt>
                <c:pt idx="802">
                  <c:v>41024</c:v>
                </c:pt>
                <c:pt idx="803">
                  <c:v>41025</c:v>
                </c:pt>
                <c:pt idx="804">
                  <c:v>41026</c:v>
                </c:pt>
                <c:pt idx="805">
                  <c:v>41031</c:v>
                </c:pt>
                <c:pt idx="806">
                  <c:v>41032</c:v>
                </c:pt>
                <c:pt idx="807">
                  <c:v>41033</c:v>
                </c:pt>
                <c:pt idx="808">
                  <c:v>41036</c:v>
                </c:pt>
                <c:pt idx="809">
                  <c:v>41037</c:v>
                </c:pt>
                <c:pt idx="810">
                  <c:v>41038</c:v>
                </c:pt>
                <c:pt idx="811">
                  <c:v>41039</c:v>
                </c:pt>
                <c:pt idx="812">
                  <c:v>41040</c:v>
                </c:pt>
                <c:pt idx="813">
                  <c:v>41043</c:v>
                </c:pt>
                <c:pt idx="814">
                  <c:v>41044</c:v>
                </c:pt>
                <c:pt idx="815">
                  <c:v>41045</c:v>
                </c:pt>
                <c:pt idx="816">
                  <c:v>41046</c:v>
                </c:pt>
                <c:pt idx="817">
                  <c:v>41047</c:v>
                </c:pt>
                <c:pt idx="818">
                  <c:v>41050</c:v>
                </c:pt>
                <c:pt idx="819">
                  <c:v>41051</c:v>
                </c:pt>
                <c:pt idx="820">
                  <c:v>41052</c:v>
                </c:pt>
                <c:pt idx="821">
                  <c:v>41053</c:v>
                </c:pt>
                <c:pt idx="822">
                  <c:v>41054</c:v>
                </c:pt>
                <c:pt idx="823">
                  <c:v>41057</c:v>
                </c:pt>
                <c:pt idx="824">
                  <c:v>41058</c:v>
                </c:pt>
                <c:pt idx="825">
                  <c:v>41059</c:v>
                </c:pt>
                <c:pt idx="826">
                  <c:v>41060</c:v>
                </c:pt>
                <c:pt idx="827">
                  <c:v>41061</c:v>
                </c:pt>
                <c:pt idx="828">
                  <c:v>41064</c:v>
                </c:pt>
                <c:pt idx="829">
                  <c:v>41065</c:v>
                </c:pt>
                <c:pt idx="830">
                  <c:v>41066</c:v>
                </c:pt>
                <c:pt idx="831">
                  <c:v>41067</c:v>
                </c:pt>
                <c:pt idx="832">
                  <c:v>41068</c:v>
                </c:pt>
                <c:pt idx="833">
                  <c:v>41071</c:v>
                </c:pt>
                <c:pt idx="834">
                  <c:v>41072</c:v>
                </c:pt>
                <c:pt idx="835">
                  <c:v>41073</c:v>
                </c:pt>
                <c:pt idx="836">
                  <c:v>41074</c:v>
                </c:pt>
                <c:pt idx="837">
                  <c:v>41075</c:v>
                </c:pt>
                <c:pt idx="838">
                  <c:v>41078</c:v>
                </c:pt>
                <c:pt idx="839">
                  <c:v>41079</c:v>
                </c:pt>
                <c:pt idx="840">
                  <c:v>41080</c:v>
                </c:pt>
                <c:pt idx="841">
                  <c:v>41081</c:v>
                </c:pt>
                <c:pt idx="842">
                  <c:v>41085</c:v>
                </c:pt>
                <c:pt idx="843">
                  <c:v>41086</c:v>
                </c:pt>
                <c:pt idx="844">
                  <c:v>41087</c:v>
                </c:pt>
                <c:pt idx="845">
                  <c:v>41088</c:v>
                </c:pt>
                <c:pt idx="846">
                  <c:v>41089</c:v>
                </c:pt>
                <c:pt idx="847">
                  <c:v>41092</c:v>
                </c:pt>
                <c:pt idx="848">
                  <c:v>41093</c:v>
                </c:pt>
                <c:pt idx="849">
                  <c:v>41094</c:v>
                </c:pt>
                <c:pt idx="850">
                  <c:v>41095</c:v>
                </c:pt>
                <c:pt idx="851">
                  <c:v>41096</c:v>
                </c:pt>
                <c:pt idx="852">
                  <c:v>41099</c:v>
                </c:pt>
                <c:pt idx="853">
                  <c:v>41100</c:v>
                </c:pt>
                <c:pt idx="854">
                  <c:v>41101</c:v>
                </c:pt>
                <c:pt idx="855">
                  <c:v>41102</c:v>
                </c:pt>
                <c:pt idx="856">
                  <c:v>41103</c:v>
                </c:pt>
                <c:pt idx="857">
                  <c:v>41106</c:v>
                </c:pt>
                <c:pt idx="858">
                  <c:v>41107</c:v>
                </c:pt>
                <c:pt idx="859">
                  <c:v>41108</c:v>
                </c:pt>
                <c:pt idx="860">
                  <c:v>41109</c:v>
                </c:pt>
                <c:pt idx="861">
                  <c:v>41110</c:v>
                </c:pt>
                <c:pt idx="862">
                  <c:v>41113</c:v>
                </c:pt>
                <c:pt idx="863">
                  <c:v>41114</c:v>
                </c:pt>
                <c:pt idx="864">
                  <c:v>41115</c:v>
                </c:pt>
                <c:pt idx="865">
                  <c:v>41116</c:v>
                </c:pt>
                <c:pt idx="866">
                  <c:v>41117</c:v>
                </c:pt>
                <c:pt idx="867">
                  <c:v>41120</c:v>
                </c:pt>
                <c:pt idx="868">
                  <c:v>41121</c:v>
                </c:pt>
                <c:pt idx="869">
                  <c:v>41122</c:v>
                </c:pt>
                <c:pt idx="870">
                  <c:v>41123</c:v>
                </c:pt>
                <c:pt idx="871">
                  <c:v>41124</c:v>
                </c:pt>
                <c:pt idx="872">
                  <c:v>41127</c:v>
                </c:pt>
                <c:pt idx="873">
                  <c:v>41128</c:v>
                </c:pt>
                <c:pt idx="874">
                  <c:v>41129</c:v>
                </c:pt>
                <c:pt idx="875">
                  <c:v>41130</c:v>
                </c:pt>
                <c:pt idx="876">
                  <c:v>41131</c:v>
                </c:pt>
                <c:pt idx="877">
                  <c:v>41134</c:v>
                </c:pt>
                <c:pt idx="878">
                  <c:v>41135</c:v>
                </c:pt>
                <c:pt idx="879">
                  <c:v>41136</c:v>
                </c:pt>
                <c:pt idx="880">
                  <c:v>41137</c:v>
                </c:pt>
                <c:pt idx="881">
                  <c:v>41138</c:v>
                </c:pt>
                <c:pt idx="882">
                  <c:v>41141</c:v>
                </c:pt>
                <c:pt idx="883">
                  <c:v>41142</c:v>
                </c:pt>
                <c:pt idx="884">
                  <c:v>41143</c:v>
                </c:pt>
                <c:pt idx="885">
                  <c:v>41144</c:v>
                </c:pt>
                <c:pt idx="886">
                  <c:v>41145</c:v>
                </c:pt>
                <c:pt idx="887">
                  <c:v>41148</c:v>
                </c:pt>
                <c:pt idx="888">
                  <c:v>41149</c:v>
                </c:pt>
                <c:pt idx="889">
                  <c:v>41150</c:v>
                </c:pt>
                <c:pt idx="890">
                  <c:v>41151</c:v>
                </c:pt>
                <c:pt idx="891">
                  <c:v>41152</c:v>
                </c:pt>
                <c:pt idx="892">
                  <c:v>41155</c:v>
                </c:pt>
                <c:pt idx="893">
                  <c:v>41156</c:v>
                </c:pt>
                <c:pt idx="894">
                  <c:v>41157</c:v>
                </c:pt>
                <c:pt idx="895">
                  <c:v>41158</c:v>
                </c:pt>
                <c:pt idx="896">
                  <c:v>41159</c:v>
                </c:pt>
                <c:pt idx="897">
                  <c:v>41162</c:v>
                </c:pt>
                <c:pt idx="898">
                  <c:v>41163</c:v>
                </c:pt>
                <c:pt idx="899">
                  <c:v>41164</c:v>
                </c:pt>
                <c:pt idx="900">
                  <c:v>41165</c:v>
                </c:pt>
                <c:pt idx="901">
                  <c:v>41166</c:v>
                </c:pt>
                <c:pt idx="902">
                  <c:v>41169</c:v>
                </c:pt>
                <c:pt idx="903">
                  <c:v>41170</c:v>
                </c:pt>
                <c:pt idx="904">
                  <c:v>41171</c:v>
                </c:pt>
                <c:pt idx="905">
                  <c:v>41172</c:v>
                </c:pt>
                <c:pt idx="906">
                  <c:v>41173</c:v>
                </c:pt>
                <c:pt idx="907">
                  <c:v>41176</c:v>
                </c:pt>
                <c:pt idx="908">
                  <c:v>41177</c:v>
                </c:pt>
                <c:pt idx="909">
                  <c:v>41178</c:v>
                </c:pt>
                <c:pt idx="910">
                  <c:v>41179</c:v>
                </c:pt>
                <c:pt idx="911">
                  <c:v>41180</c:v>
                </c:pt>
                <c:pt idx="912">
                  <c:v>41190</c:v>
                </c:pt>
                <c:pt idx="913">
                  <c:v>41191</c:v>
                </c:pt>
                <c:pt idx="914">
                  <c:v>41192</c:v>
                </c:pt>
                <c:pt idx="915">
                  <c:v>41193</c:v>
                </c:pt>
                <c:pt idx="916">
                  <c:v>41194</c:v>
                </c:pt>
                <c:pt idx="917">
                  <c:v>41197</c:v>
                </c:pt>
                <c:pt idx="918">
                  <c:v>41198</c:v>
                </c:pt>
                <c:pt idx="919">
                  <c:v>41199</c:v>
                </c:pt>
                <c:pt idx="920">
                  <c:v>41200</c:v>
                </c:pt>
                <c:pt idx="921">
                  <c:v>41201</c:v>
                </c:pt>
                <c:pt idx="922">
                  <c:v>41204</c:v>
                </c:pt>
                <c:pt idx="923">
                  <c:v>41205</c:v>
                </c:pt>
                <c:pt idx="924">
                  <c:v>41206</c:v>
                </c:pt>
                <c:pt idx="925">
                  <c:v>41207</c:v>
                </c:pt>
                <c:pt idx="926">
                  <c:v>41208</c:v>
                </c:pt>
                <c:pt idx="927">
                  <c:v>41211</c:v>
                </c:pt>
                <c:pt idx="928">
                  <c:v>41212</c:v>
                </c:pt>
                <c:pt idx="929">
                  <c:v>41213</c:v>
                </c:pt>
                <c:pt idx="930">
                  <c:v>41214</c:v>
                </c:pt>
                <c:pt idx="931">
                  <c:v>41215</c:v>
                </c:pt>
                <c:pt idx="932">
                  <c:v>41218</c:v>
                </c:pt>
                <c:pt idx="933">
                  <c:v>41219</c:v>
                </c:pt>
                <c:pt idx="934">
                  <c:v>41220</c:v>
                </c:pt>
                <c:pt idx="935">
                  <c:v>41221</c:v>
                </c:pt>
                <c:pt idx="936">
                  <c:v>41222</c:v>
                </c:pt>
                <c:pt idx="937">
                  <c:v>41225</c:v>
                </c:pt>
                <c:pt idx="938">
                  <c:v>41226</c:v>
                </c:pt>
                <c:pt idx="939">
                  <c:v>41227</c:v>
                </c:pt>
                <c:pt idx="940">
                  <c:v>41228</c:v>
                </c:pt>
                <c:pt idx="941">
                  <c:v>41229</c:v>
                </c:pt>
                <c:pt idx="942">
                  <c:v>41232</c:v>
                </c:pt>
                <c:pt idx="943">
                  <c:v>41233</c:v>
                </c:pt>
                <c:pt idx="944">
                  <c:v>41234</c:v>
                </c:pt>
                <c:pt idx="945">
                  <c:v>41235</c:v>
                </c:pt>
                <c:pt idx="946">
                  <c:v>41236</c:v>
                </c:pt>
                <c:pt idx="947">
                  <c:v>41239</c:v>
                </c:pt>
                <c:pt idx="948">
                  <c:v>41240</c:v>
                </c:pt>
                <c:pt idx="949">
                  <c:v>41241</c:v>
                </c:pt>
                <c:pt idx="950">
                  <c:v>41242</c:v>
                </c:pt>
                <c:pt idx="951">
                  <c:v>41243</c:v>
                </c:pt>
                <c:pt idx="952">
                  <c:v>41246</c:v>
                </c:pt>
                <c:pt idx="953">
                  <c:v>41247</c:v>
                </c:pt>
                <c:pt idx="954">
                  <c:v>41248</c:v>
                </c:pt>
                <c:pt idx="955">
                  <c:v>41249</c:v>
                </c:pt>
                <c:pt idx="956">
                  <c:v>41250</c:v>
                </c:pt>
                <c:pt idx="957">
                  <c:v>41253</c:v>
                </c:pt>
                <c:pt idx="958">
                  <c:v>41254</c:v>
                </c:pt>
                <c:pt idx="959">
                  <c:v>41255</c:v>
                </c:pt>
                <c:pt idx="960">
                  <c:v>41256</c:v>
                </c:pt>
                <c:pt idx="961">
                  <c:v>41257</c:v>
                </c:pt>
                <c:pt idx="962">
                  <c:v>41260</c:v>
                </c:pt>
                <c:pt idx="963">
                  <c:v>41261</c:v>
                </c:pt>
                <c:pt idx="964">
                  <c:v>41262</c:v>
                </c:pt>
                <c:pt idx="965">
                  <c:v>41263</c:v>
                </c:pt>
                <c:pt idx="966">
                  <c:v>41264</c:v>
                </c:pt>
                <c:pt idx="967">
                  <c:v>41267</c:v>
                </c:pt>
                <c:pt idx="968">
                  <c:v>41268</c:v>
                </c:pt>
                <c:pt idx="969">
                  <c:v>41269</c:v>
                </c:pt>
                <c:pt idx="970">
                  <c:v>41270</c:v>
                </c:pt>
                <c:pt idx="971">
                  <c:v>41271</c:v>
                </c:pt>
                <c:pt idx="972">
                  <c:v>41274</c:v>
                </c:pt>
                <c:pt idx="973">
                  <c:v>41278</c:v>
                </c:pt>
                <c:pt idx="974">
                  <c:v>41281</c:v>
                </c:pt>
                <c:pt idx="975">
                  <c:v>41282</c:v>
                </c:pt>
                <c:pt idx="976">
                  <c:v>41283</c:v>
                </c:pt>
                <c:pt idx="977">
                  <c:v>41284</c:v>
                </c:pt>
                <c:pt idx="978">
                  <c:v>41285</c:v>
                </c:pt>
                <c:pt idx="979">
                  <c:v>41288</c:v>
                </c:pt>
                <c:pt idx="980">
                  <c:v>41289</c:v>
                </c:pt>
                <c:pt idx="981">
                  <c:v>41290</c:v>
                </c:pt>
                <c:pt idx="982">
                  <c:v>41291</c:v>
                </c:pt>
                <c:pt idx="983">
                  <c:v>41292</c:v>
                </c:pt>
                <c:pt idx="984">
                  <c:v>41295</c:v>
                </c:pt>
                <c:pt idx="985">
                  <c:v>41296</c:v>
                </c:pt>
                <c:pt idx="986">
                  <c:v>41297</c:v>
                </c:pt>
                <c:pt idx="987">
                  <c:v>41298</c:v>
                </c:pt>
                <c:pt idx="988">
                  <c:v>41299</c:v>
                </c:pt>
                <c:pt idx="989">
                  <c:v>41302</c:v>
                </c:pt>
                <c:pt idx="990">
                  <c:v>41303</c:v>
                </c:pt>
                <c:pt idx="991">
                  <c:v>41304</c:v>
                </c:pt>
                <c:pt idx="992">
                  <c:v>41305</c:v>
                </c:pt>
                <c:pt idx="993">
                  <c:v>41306</c:v>
                </c:pt>
                <c:pt idx="994">
                  <c:v>41309</c:v>
                </c:pt>
                <c:pt idx="995">
                  <c:v>41310</c:v>
                </c:pt>
                <c:pt idx="996">
                  <c:v>41311</c:v>
                </c:pt>
                <c:pt idx="997">
                  <c:v>41312</c:v>
                </c:pt>
                <c:pt idx="998">
                  <c:v>41313</c:v>
                </c:pt>
                <c:pt idx="999">
                  <c:v>41323</c:v>
                </c:pt>
                <c:pt idx="1000">
                  <c:v>41324</c:v>
                </c:pt>
                <c:pt idx="1001">
                  <c:v>41325</c:v>
                </c:pt>
                <c:pt idx="1002">
                  <c:v>41326</c:v>
                </c:pt>
                <c:pt idx="1003">
                  <c:v>41327</c:v>
                </c:pt>
                <c:pt idx="1004">
                  <c:v>41330</c:v>
                </c:pt>
                <c:pt idx="1005">
                  <c:v>41331</c:v>
                </c:pt>
                <c:pt idx="1006">
                  <c:v>41332</c:v>
                </c:pt>
                <c:pt idx="1007">
                  <c:v>41333</c:v>
                </c:pt>
                <c:pt idx="1008">
                  <c:v>41334</c:v>
                </c:pt>
                <c:pt idx="1009">
                  <c:v>41337</c:v>
                </c:pt>
                <c:pt idx="1010">
                  <c:v>41338</c:v>
                </c:pt>
                <c:pt idx="1011">
                  <c:v>41339</c:v>
                </c:pt>
                <c:pt idx="1012">
                  <c:v>41340</c:v>
                </c:pt>
                <c:pt idx="1013">
                  <c:v>41341</c:v>
                </c:pt>
                <c:pt idx="1014">
                  <c:v>41344</c:v>
                </c:pt>
                <c:pt idx="1015">
                  <c:v>41345</c:v>
                </c:pt>
                <c:pt idx="1016">
                  <c:v>41346</c:v>
                </c:pt>
                <c:pt idx="1017">
                  <c:v>41347</c:v>
                </c:pt>
                <c:pt idx="1018">
                  <c:v>41348</c:v>
                </c:pt>
                <c:pt idx="1019">
                  <c:v>41351</c:v>
                </c:pt>
                <c:pt idx="1020">
                  <c:v>41352</c:v>
                </c:pt>
                <c:pt idx="1021">
                  <c:v>41353</c:v>
                </c:pt>
                <c:pt idx="1022">
                  <c:v>41354</c:v>
                </c:pt>
                <c:pt idx="1023">
                  <c:v>41355</c:v>
                </c:pt>
                <c:pt idx="1024">
                  <c:v>41358</c:v>
                </c:pt>
                <c:pt idx="1025">
                  <c:v>41359</c:v>
                </c:pt>
                <c:pt idx="1026">
                  <c:v>41360</c:v>
                </c:pt>
                <c:pt idx="1027">
                  <c:v>41361</c:v>
                </c:pt>
                <c:pt idx="1028">
                  <c:v>41362</c:v>
                </c:pt>
                <c:pt idx="1029">
                  <c:v>41365</c:v>
                </c:pt>
                <c:pt idx="1030">
                  <c:v>41366</c:v>
                </c:pt>
                <c:pt idx="1031">
                  <c:v>41367</c:v>
                </c:pt>
                <c:pt idx="1032">
                  <c:v>41372</c:v>
                </c:pt>
                <c:pt idx="1033">
                  <c:v>41373</c:v>
                </c:pt>
                <c:pt idx="1034">
                  <c:v>41374</c:v>
                </c:pt>
                <c:pt idx="1035">
                  <c:v>41375</c:v>
                </c:pt>
                <c:pt idx="1036">
                  <c:v>41376</c:v>
                </c:pt>
                <c:pt idx="1037">
                  <c:v>41379</c:v>
                </c:pt>
                <c:pt idx="1038">
                  <c:v>41380</c:v>
                </c:pt>
                <c:pt idx="1039">
                  <c:v>41381</c:v>
                </c:pt>
                <c:pt idx="1040">
                  <c:v>41382</c:v>
                </c:pt>
                <c:pt idx="1041">
                  <c:v>41383</c:v>
                </c:pt>
                <c:pt idx="1042">
                  <c:v>41386</c:v>
                </c:pt>
                <c:pt idx="1043">
                  <c:v>41387</c:v>
                </c:pt>
                <c:pt idx="1044">
                  <c:v>41388</c:v>
                </c:pt>
                <c:pt idx="1045">
                  <c:v>41389</c:v>
                </c:pt>
                <c:pt idx="1046">
                  <c:v>41390</c:v>
                </c:pt>
                <c:pt idx="1047">
                  <c:v>41396</c:v>
                </c:pt>
                <c:pt idx="1048">
                  <c:v>41397</c:v>
                </c:pt>
                <c:pt idx="1049">
                  <c:v>41400</c:v>
                </c:pt>
                <c:pt idx="1050">
                  <c:v>41401</c:v>
                </c:pt>
                <c:pt idx="1051">
                  <c:v>41402</c:v>
                </c:pt>
                <c:pt idx="1052">
                  <c:v>41403</c:v>
                </c:pt>
                <c:pt idx="1053">
                  <c:v>41404</c:v>
                </c:pt>
                <c:pt idx="1054">
                  <c:v>41407</c:v>
                </c:pt>
                <c:pt idx="1055">
                  <c:v>41408</c:v>
                </c:pt>
                <c:pt idx="1056">
                  <c:v>41409</c:v>
                </c:pt>
                <c:pt idx="1057">
                  <c:v>41410</c:v>
                </c:pt>
                <c:pt idx="1058">
                  <c:v>41411</c:v>
                </c:pt>
                <c:pt idx="1059">
                  <c:v>41414</c:v>
                </c:pt>
                <c:pt idx="1060">
                  <c:v>41415</c:v>
                </c:pt>
                <c:pt idx="1061">
                  <c:v>41416</c:v>
                </c:pt>
                <c:pt idx="1062">
                  <c:v>41417</c:v>
                </c:pt>
                <c:pt idx="1063">
                  <c:v>41418</c:v>
                </c:pt>
                <c:pt idx="1064">
                  <c:v>41421</c:v>
                </c:pt>
                <c:pt idx="1065">
                  <c:v>41422</c:v>
                </c:pt>
                <c:pt idx="1066">
                  <c:v>41423</c:v>
                </c:pt>
                <c:pt idx="1067">
                  <c:v>41424</c:v>
                </c:pt>
                <c:pt idx="1068">
                  <c:v>41425</c:v>
                </c:pt>
                <c:pt idx="1069">
                  <c:v>41428</c:v>
                </c:pt>
                <c:pt idx="1070">
                  <c:v>41429</c:v>
                </c:pt>
                <c:pt idx="1071">
                  <c:v>41430</c:v>
                </c:pt>
                <c:pt idx="1072">
                  <c:v>41431</c:v>
                </c:pt>
                <c:pt idx="1073">
                  <c:v>41432</c:v>
                </c:pt>
                <c:pt idx="1074">
                  <c:v>41438</c:v>
                </c:pt>
                <c:pt idx="1075">
                  <c:v>41439</c:v>
                </c:pt>
                <c:pt idx="1076">
                  <c:v>41442</c:v>
                </c:pt>
                <c:pt idx="1077">
                  <c:v>41443</c:v>
                </c:pt>
                <c:pt idx="1078">
                  <c:v>41444</c:v>
                </c:pt>
                <c:pt idx="1079">
                  <c:v>41445</c:v>
                </c:pt>
                <c:pt idx="1080">
                  <c:v>41446</c:v>
                </c:pt>
                <c:pt idx="1081">
                  <c:v>41449</c:v>
                </c:pt>
                <c:pt idx="1082">
                  <c:v>41450</c:v>
                </c:pt>
                <c:pt idx="1083">
                  <c:v>41451</c:v>
                </c:pt>
                <c:pt idx="1084">
                  <c:v>41452</c:v>
                </c:pt>
                <c:pt idx="1085">
                  <c:v>41453</c:v>
                </c:pt>
                <c:pt idx="1086">
                  <c:v>41456</c:v>
                </c:pt>
                <c:pt idx="1087">
                  <c:v>41457</c:v>
                </c:pt>
                <c:pt idx="1088">
                  <c:v>41458</c:v>
                </c:pt>
                <c:pt idx="1089">
                  <c:v>41459</c:v>
                </c:pt>
                <c:pt idx="1090">
                  <c:v>41460</c:v>
                </c:pt>
                <c:pt idx="1091">
                  <c:v>41463</c:v>
                </c:pt>
                <c:pt idx="1092">
                  <c:v>41464</c:v>
                </c:pt>
                <c:pt idx="1093">
                  <c:v>41465</c:v>
                </c:pt>
                <c:pt idx="1094">
                  <c:v>41466</c:v>
                </c:pt>
                <c:pt idx="1095">
                  <c:v>41467</c:v>
                </c:pt>
                <c:pt idx="1096">
                  <c:v>41470</c:v>
                </c:pt>
                <c:pt idx="1097">
                  <c:v>41471</c:v>
                </c:pt>
                <c:pt idx="1098">
                  <c:v>41472</c:v>
                </c:pt>
                <c:pt idx="1099">
                  <c:v>41473</c:v>
                </c:pt>
                <c:pt idx="1100">
                  <c:v>41474</c:v>
                </c:pt>
                <c:pt idx="1101">
                  <c:v>41477</c:v>
                </c:pt>
                <c:pt idx="1102">
                  <c:v>41478</c:v>
                </c:pt>
                <c:pt idx="1103">
                  <c:v>41479</c:v>
                </c:pt>
                <c:pt idx="1104">
                  <c:v>41480</c:v>
                </c:pt>
                <c:pt idx="1105">
                  <c:v>41481</c:v>
                </c:pt>
                <c:pt idx="1106">
                  <c:v>41484</c:v>
                </c:pt>
                <c:pt idx="1107">
                  <c:v>41485</c:v>
                </c:pt>
                <c:pt idx="1108">
                  <c:v>41486</c:v>
                </c:pt>
                <c:pt idx="1109">
                  <c:v>41487</c:v>
                </c:pt>
                <c:pt idx="1110">
                  <c:v>41488</c:v>
                </c:pt>
                <c:pt idx="1111">
                  <c:v>41491</c:v>
                </c:pt>
                <c:pt idx="1112">
                  <c:v>41492</c:v>
                </c:pt>
                <c:pt idx="1113">
                  <c:v>41493</c:v>
                </c:pt>
                <c:pt idx="1114">
                  <c:v>41494</c:v>
                </c:pt>
                <c:pt idx="1115">
                  <c:v>41495</c:v>
                </c:pt>
                <c:pt idx="1116">
                  <c:v>41498</c:v>
                </c:pt>
                <c:pt idx="1117">
                  <c:v>41499</c:v>
                </c:pt>
                <c:pt idx="1118">
                  <c:v>41500</c:v>
                </c:pt>
                <c:pt idx="1119">
                  <c:v>41501</c:v>
                </c:pt>
                <c:pt idx="1120">
                  <c:v>41502</c:v>
                </c:pt>
                <c:pt idx="1121">
                  <c:v>41505</c:v>
                </c:pt>
                <c:pt idx="1122">
                  <c:v>41506</c:v>
                </c:pt>
                <c:pt idx="1123">
                  <c:v>41507</c:v>
                </c:pt>
                <c:pt idx="1124">
                  <c:v>41508</c:v>
                </c:pt>
                <c:pt idx="1125">
                  <c:v>41509</c:v>
                </c:pt>
                <c:pt idx="1126">
                  <c:v>41512</c:v>
                </c:pt>
                <c:pt idx="1127">
                  <c:v>41513</c:v>
                </c:pt>
                <c:pt idx="1128">
                  <c:v>41514</c:v>
                </c:pt>
                <c:pt idx="1129">
                  <c:v>41515</c:v>
                </c:pt>
                <c:pt idx="1130">
                  <c:v>41516</c:v>
                </c:pt>
                <c:pt idx="1131">
                  <c:v>41519</c:v>
                </c:pt>
                <c:pt idx="1132">
                  <c:v>41520</c:v>
                </c:pt>
                <c:pt idx="1133">
                  <c:v>41521</c:v>
                </c:pt>
                <c:pt idx="1134">
                  <c:v>41522</c:v>
                </c:pt>
                <c:pt idx="1135">
                  <c:v>41523</c:v>
                </c:pt>
                <c:pt idx="1136">
                  <c:v>41526</c:v>
                </c:pt>
                <c:pt idx="1137">
                  <c:v>41527</c:v>
                </c:pt>
                <c:pt idx="1138">
                  <c:v>41528</c:v>
                </c:pt>
                <c:pt idx="1139">
                  <c:v>41529</c:v>
                </c:pt>
                <c:pt idx="1140">
                  <c:v>41530</c:v>
                </c:pt>
                <c:pt idx="1141">
                  <c:v>41533</c:v>
                </c:pt>
                <c:pt idx="1142">
                  <c:v>41534</c:v>
                </c:pt>
                <c:pt idx="1143">
                  <c:v>41535</c:v>
                </c:pt>
                <c:pt idx="1144">
                  <c:v>41540</c:v>
                </c:pt>
                <c:pt idx="1145">
                  <c:v>41541</c:v>
                </c:pt>
                <c:pt idx="1146">
                  <c:v>41542</c:v>
                </c:pt>
                <c:pt idx="1147">
                  <c:v>41543</c:v>
                </c:pt>
                <c:pt idx="1148">
                  <c:v>41544</c:v>
                </c:pt>
                <c:pt idx="1149">
                  <c:v>41547</c:v>
                </c:pt>
                <c:pt idx="1150">
                  <c:v>41555</c:v>
                </c:pt>
                <c:pt idx="1151">
                  <c:v>41556</c:v>
                </c:pt>
                <c:pt idx="1152">
                  <c:v>41557</c:v>
                </c:pt>
                <c:pt idx="1153">
                  <c:v>41558</c:v>
                </c:pt>
                <c:pt idx="1154">
                  <c:v>41561</c:v>
                </c:pt>
                <c:pt idx="1155">
                  <c:v>41562</c:v>
                </c:pt>
                <c:pt idx="1156">
                  <c:v>41563</c:v>
                </c:pt>
                <c:pt idx="1157">
                  <c:v>41564</c:v>
                </c:pt>
                <c:pt idx="1158">
                  <c:v>41565</c:v>
                </c:pt>
                <c:pt idx="1159">
                  <c:v>41568</c:v>
                </c:pt>
                <c:pt idx="1160">
                  <c:v>41569</c:v>
                </c:pt>
                <c:pt idx="1161">
                  <c:v>41570</c:v>
                </c:pt>
                <c:pt idx="1162">
                  <c:v>41571</c:v>
                </c:pt>
                <c:pt idx="1163">
                  <c:v>41572</c:v>
                </c:pt>
                <c:pt idx="1164">
                  <c:v>41575</c:v>
                </c:pt>
                <c:pt idx="1165">
                  <c:v>41576</c:v>
                </c:pt>
                <c:pt idx="1166">
                  <c:v>41577</c:v>
                </c:pt>
                <c:pt idx="1167">
                  <c:v>41578</c:v>
                </c:pt>
                <c:pt idx="1168">
                  <c:v>41579</c:v>
                </c:pt>
                <c:pt idx="1169">
                  <c:v>41582</c:v>
                </c:pt>
                <c:pt idx="1170">
                  <c:v>41583</c:v>
                </c:pt>
                <c:pt idx="1171">
                  <c:v>41584</c:v>
                </c:pt>
                <c:pt idx="1172">
                  <c:v>41585</c:v>
                </c:pt>
                <c:pt idx="1173">
                  <c:v>41586</c:v>
                </c:pt>
                <c:pt idx="1174">
                  <c:v>41589</c:v>
                </c:pt>
                <c:pt idx="1175">
                  <c:v>41590</c:v>
                </c:pt>
                <c:pt idx="1176">
                  <c:v>41591</c:v>
                </c:pt>
                <c:pt idx="1177">
                  <c:v>41592</c:v>
                </c:pt>
                <c:pt idx="1178">
                  <c:v>41593</c:v>
                </c:pt>
                <c:pt idx="1179">
                  <c:v>41596</c:v>
                </c:pt>
                <c:pt idx="1180">
                  <c:v>41597</c:v>
                </c:pt>
                <c:pt idx="1181">
                  <c:v>41598</c:v>
                </c:pt>
                <c:pt idx="1182">
                  <c:v>41599</c:v>
                </c:pt>
                <c:pt idx="1183">
                  <c:v>41600</c:v>
                </c:pt>
                <c:pt idx="1184">
                  <c:v>41603</c:v>
                </c:pt>
                <c:pt idx="1185">
                  <c:v>41604</c:v>
                </c:pt>
                <c:pt idx="1186">
                  <c:v>41605</c:v>
                </c:pt>
                <c:pt idx="1187">
                  <c:v>41606</c:v>
                </c:pt>
                <c:pt idx="1188">
                  <c:v>41607</c:v>
                </c:pt>
                <c:pt idx="1189">
                  <c:v>41610</c:v>
                </c:pt>
                <c:pt idx="1190">
                  <c:v>41611</c:v>
                </c:pt>
                <c:pt idx="1191">
                  <c:v>41612</c:v>
                </c:pt>
                <c:pt idx="1192">
                  <c:v>41613</c:v>
                </c:pt>
                <c:pt idx="1193">
                  <c:v>41614</c:v>
                </c:pt>
                <c:pt idx="1194">
                  <c:v>41617</c:v>
                </c:pt>
                <c:pt idx="1195">
                  <c:v>41618</c:v>
                </c:pt>
                <c:pt idx="1196">
                  <c:v>41619</c:v>
                </c:pt>
                <c:pt idx="1197">
                  <c:v>41620</c:v>
                </c:pt>
                <c:pt idx="1198">
                  <c:v>41621</c:v>
                </c:pt>
                <c:pt idx="1199">
                  <c:v>41624</c:v>
                </c:pt>
                <c:pt idx="1200">
                  <c:v>41625</c:v>
                </c:pt>
                <c:pt idx="1201">
                  <c:v>41626</c:v>
                </c:pt>
                <c:pt idx="1202">
                  <c:v>41627</c:v>
                </c:pt>
                <c:pt idx="1203">
                  <c:v>41628</c:v>
                </c:pt>
                <c:pt idx="1204">
                  <c:v>41631</c:v>
                </c:pt>
                <c:pt idx="1205">
                  <c:v>41632</c:v>
                </c:pt>
                <c:pt idx="1206">
                  <c:v>41633</c:v>
                </c:pt>
                <c:pt idx="1207">
                  <c:v>41634</c:v>
                </c:pt>
                <c:pt idx="1208">
                  <c:v>41635</c:v>
                </c:pt>
                <c:pt idx="1209">
                  <c:v>41638</c:v>
                </c:pt>
                <c:pt idx="1210">
                  <c:v>41639</c:v>
                </c:pt>
                <c:pt idx="1211">
                  <c:v>41641</c:v>
                </c:pt>
                <c:pt idx="1212">
                  <c:v>41642</c:v>
                </c:pt>
                <c:pt idx="1213">
                  <c:v>41645</c:v>
                </c:pt>
                <c:pt idx="1214">
                  <c:v>41646</c:v>
                </c:pt>
                <c:pt idx="1215">
                  <c:v>41647</c:v>
                </c:pt>
                <c:pt idx="1216">
                  <c:v>41648</c:v>
                </c:pt>
                <c:pt idx="1217">
                  <c:v>41649</c:v>
                </c:pt>
                <c:pt idx="1218">
                  <c:v>41652</c:v>
                </c:pt>
                <c:pt idx="1219">
                  <c:v>41653</c:v>
                </c:pt>
                <c:pt idx="1220">
                  <c:v>41654</c:v>
                </c:pt>
                <c:pt idx="1221">
                  <c:v>41655</c:v>
                </c:pt>
                <c:pt idx="1222">
                  <c:v>41656</c:v>
                </c:pt>
                <c:pt idx="1223">
                  <c:v>41659</c:v>
                </c:pt>
                <c:pt idx="1224">
                  <c:v>41660</c:v>
                </c:pt>
                <c:pt idx="1225">
                  <c:v>41661</c:v>
                </c:pt>
                <c:pt idx="1226">
                  <c:v>41662</c:v>
                </c:pt>
                <c:pt idx="1227">
                  <c:v>41663</c:v>
                </c:pt>
                <c:pt idx="1228">
                  <c:v>41666</c:v>
                </c:pt>
                <c:pt idx="1229">
                  <c:v>41667</c:v>
                </c:pt>
                <c:pt idx="1230">
                  <c:v>41668</c:v>
                </c:pt>
                <c:pt idx="1231">
                  <c:v>41669</c:v>
                </c:pt>
                <c:pt idx="1232">
                  <c:v>41677</c:v>
                </c:pt>
                <c:pt idx="1233">
                  <c:v>41680</c:v>
                </c:pt>
                <c:pt idx="1234">
                  <c:v>41681</c:v>
                </c:pt>
                <c:pt idx="1235">
                  <c:v>41682</c:v>
                </c:pt>
                <c:pt idx="1236">
                  <c:v>41683</c:v>
                </c:pt>
                <c:pt idx="1237">
                  <c:v>41684</c:v>
                </c:pt>
                <c:pt idx="1238">
                  <c:v>41687</c:v>
                </c:pt>
                <c:pt idx="1239">
                  <c:v>41688</c:v>
                </c:pt>
                <c:pt idx="1240">
                  <c:v>41689</c:v>
                </c:pt>
                <c:pt idx="1241">
                  <c:v>41690</c:v>
                </c:pt>
                <c:pt idx="1242">
                  <c:v>41691</c:v>
                </c:pt>
                <c:pt idx="1243">
                  <c:v>41694</c:v>
                </c:pt>
                <c:pt idx="1244">
                  <c:v>41695</c:v>
                </c:pt>
                <c:pt idx="1245">
                  <c:v>41696</c:v>
                </c:pt>
                <c:pt idx="1246">
                  <c:v>41697</c:v>
                </c:pt>
                <c:pt idx="1247">
                  <c:v>41698</c:v>
                </c:pt>
                <c:pt idx="1248">
                  <c:v>41701</c:v>
                </c:pt>
                <c:pt idx="1249">
                  <c:v>41702</c:v>
                </c:pt>
                <c:pt idx="1250">
                  <c:v>41703</c:v>
                </c:pt>
                <c:pt idx="1251">
                  <c:v>41704</c:v>
                </c:pt>
                <c:pt idx="1252">
                  <c:v>41705</c:v>
                </c:pt>
                <c:pt idx="1253">
                  <c:v>41708</c:v>
                </c:pt>
                <c:pt idx="1254">
                  <c:v>41709</c:v>
                </c:pt>
                <c:pt idx="1255">
                  <c:v>41710</c:v>
                </c:pt>
                <c:pt idx="1256">
                  <c:v>41711</c:v>
                </c:pt>
                <c:pt idx="1257">
                  <c:v>41712</c:v>
                </c:pt>
                <c:pt idx="1258">
                  <c:v>41715</c:v>
                </c:pt>
                <c:pt idx="1259">
                  <c:v>41716</c:v>
                </c:pt>
                <c:pt idx="1260">
                  <c:v>41717</c:v>
                </c:pt>
                <c:pt idx="1261">
                  <c:v>41718</c:v>
                </c:pt>
                <c:pt idx="1262">
                  <c:v>41719</c:v>
                </c:pt>
                <c:pt idx="1263">
                  <c:v>41722</c:v>
                </c:pt>
                <c:pt idx="1264">
                  <c:v>41723</c:v>
                </c:pt>
                <c:pt idx="1265">
                  <c:v>41724</c:v>
                </c:pt>
                <c:pt idx="1266">
                  <c:v>41725</c:v>
                </c:pt>
                <c:pt idx="1267">
                  <c:v>41726</c:v>
                </c:pt>
                <c:pt idx="1268">
                  <c:v>41729</c:v>
                </c:pt>
                <c:pt idx="1269">
                  <c:v>41730</c:v>
                </c:pt>
                <c:pt idx="1270">
                  <c:v>41731</c:v>
                </c:pt>
                <c:pt idx="1271">
                  <c:v>41732</c:v>
                </c:pt>
                <c:pt idx="1272">
                  <c:v>41733</c:v>
                </c:pt>
                <c:pt idx="1273">
                  <c:v>41737</c:v>
                </c:pt>
                <c:pt idx="1274">
                  <c:v>41738</c:v>
                </c:pt>
                <c:pt idx="1275">
                  <c:v>41739</c:v>
                </c:pt>
                <c:pt idx="1276">
                  <c:v>41740</c:v>
                </c:pt>
                <c:pt idx="1277">
                  <c:v>41743</c:v>
                </c:pt>
                <c:pt idx="1278">
                  <c:v>41744</c:v>
                </c:pt>
                <c:pt idx="1279">
                  <c:v>41745</c:v>
                </c:pt>
                <c:pt idx="1280">
                  <c:v>41746</c:v>
                </c:pt>
                <c:pt idx="1281">
                  <c:v>41747</c:v>
                </c:pt>
                <c:pt idx="1282">
                  <c:v>41750</c:v>
                </c:pt>
                <c:pt idx="1283">
                  <c:v>41751</c:v>
                </c:pt>
                <c:pt idx="1284">
                  <c:v>41752</c:v>
                </c:pt>
                <c:pt idx="1285">
                  <c:v>41753</c:v>
                </c:pt>
                <c:pt idx="1286">
                  <c:v>41754</c:v>
                </c:pt>
                <c:pt idx="1287">
                  <c:v>41757</c:v>
                </c:pt>
                <c:pt idx="1288">
                  <c:v>41758</c:v>
                </c:pt>
                <c:pt idx="1289">
                  <c:v>41759</c:v>
                </c:pt>
                <c:pt idx="1290">
                  <c:v>41764</c:v>
                </c:pt>
                <c:pt idx="1291">
                  <c:v>41765</c:v>
                </c:pt>
                <c:pt idx="1292">
                  <c:v>41766</c:v>
                </c:pt>
                <c:pt idx="1293">
                  <c:v>41767</c:v>
                </c:pt>
                <c:pt idx="1294">
                  <c:v>41768</c:v>
                </c:pt>
                <c:pt idx="1295">
                  <c:v>41771</c:v>
                </c:pt>
                <c:pt idx="1296">
                  <c:v>41772</c:v>
                </c:pt>
                <c:pt idx="1297">
                  <c:v>41773</c:v>
                </c:pt>
                <c:pt idx="1298">
                  <c:v>41774</c:v>
                </c:pt>
                <c:pt idx="1299">
                  <c:v>41775</c:v>
                </c:pt>
                <c:pt idx="1300">
                  <c:v>41778</c:v>
                </c:pt>
                <c:pt idx="1301">
                  <c:v>41779</c:v>
                </c:pt>
                <c:pt idx="1302">
                  <c:v>41780</c:v>
                </c:pt>
                <c:pt idx="1303">
                  <c:v>41781</c:v>
                </c:pt>
                <c:pt idx="1304">
                  <c:v>41782</c:v>
                </c:pt>
                <c:pt idx="1305">
                  <c:v>41785</c:v>
                </c:pt>
                <c:pt idx="1306">
                  <c:v>41786</c:v>
                </c:pt>
                <c:pt idx="1307">
                  <c:v>41787</c:v>
                </c:pt>
                <c:pt idx="1308">
                  <c:v>41788</c:v>
                </c:pt>
                <c:pt idx="1309">
                  <c:v>41789</c:v>
                </c:pt>
                <c:pt idx="1310">
                  <c:v>41793</c:v>
                </c:pt>
                <c:pt idx="1311">
                  <c:v>41794</c:v>
                </c:pt>
                <c:pt idx="1312">
                  <c:v>41795</c:v>
                </c:pt>
                <c:pt idx="1313">
                  <c:v>41796</c:v>
                </c:pt>
                <c:pt idx="1314">
                  <c:v>41799</c:v>
                </c:pt>
                <c:pt idx="1315">
                  <c:v>41800</c:v>
                </c:pt>
                <c:pt idx="1316">
                  <c:v>41801</c:v>
                </c:pt>
                <c:pt idx="1317">
                  <c:v>41802</c:v>
                </c:pt>
                <c:pt idx="1318">
                  <c:v>41803</c:v>
                </c:pt>
                <c:pt idx="1319">
                  <c:v>41806</c:v>
                </c:pt>
                <c:pt idx="1320">
                  <c:v>41807</c:v>
                </c:pt>
                <c:pt idx="1321">
                  <c:v>41808</c:v>
                </c:pt>
                <c:pt idx="1322">
                  <c:v>41809</c:v>
                </c:pt>
                <c:pt idx="1323">
                  <c:v>41810</c:v>
                </c:pt>
                <c:pt idx="1324">
                  <c:v>41813</c:v>
                </c:pt>
                <c:pt idx="1325">
                  <c:v>41814</c:v>
                </c:pt>
                <c:pt idx="1326">
                  <c:v>41815</c:v>
                </c:pt>
                <c:pt idx="1327">
                  <c:v>41816</c:v>
                </c:pt>
                <c:pt idx="1328">
                  <c:v>41817</c:v>
                </c:pt>
                <c:pt idx="1329">
                  <c:v>41820</c:v>
                </c:pt>
                <c:pt idx="1330">
                  <c:v>41821</c:v>
                </c:pt>
                <c:pt idx="1331">
                  <c:v>41822</c:v>
                </c:pt>
                <c:pt idx="1332">
                  <c:v>41823</c:v>
                </c:pt>
                <c:pt idx="1333">
                  <c:v>41824</c:v>
                </c:pt>
                <c:pt idx="1334">
                  <c:v>41827</c:v>
                </c:pt>
                <c:pt idx="1335">
                  <c:v>41828</c:v>
                </c:pt>
                <c:pt idx="1336">
                  <c:v>41829</c:v>
                </c:pt>
                <c:pt idx="1337">
                  <c:v>41830</c:v>
                </c:pt>
                <c:pt idx="1338">
                  <c:v>41831</c:v>
                </c:pt>
                <c:pt idx="1339">
                  <c:v>41834</c:v>
                </c:pt>
                <c:pt idx="1340">
                  <c:v>41835</c:v>
                </c:pt>
                <c:pt idx="1341">
                  <c:v>41836</c:v>
                </c:pt>
                <c:pt idx="1342">
                  <c:v>41837</c:v>
                </c:pt>
                <c:pt idx="1343">
                  <c:v>41838</c:v>
                </c:pt>
                <c:pt idx="1344">
                  <c:v>41841</c:v>
                </c:pt>
                <c:pt idx="1345">
                  <c:v>41842</c:v>
                </c:pt>
                <c:pt idx="1346">
                  <c:v>41843</c:v>
                </c:pt>
                <c:pt idx="1347">
                  <c:v>41844</c:v>
                </c:pt>
                <c:pt idx="1348">
                  <c:v>41845</c:v>
                </c:pt>
                <c:pt idx="1349">
                  <c:v>41848</c:v>
                </c:pt>
                <c:pt idx="1350">
                  <c:v>41849</c:v>
                </c:pt>
                <c:pt idx="1351">
                  <c:v>41850</c:v>
                </c:pt>
                <c:pt idx="1352">
                  <c:v>41851</c:v>
                </c:pt>
                <c:pt idx="1353">
                  <c:v>41852</c:v>
                </c:pt>
                <c:pt idx="1354">
                  <c:v>41855</c:v>
                </c:pt>
                <c:pt idx="1355">
                  <c:v>41856</c:v>
                </c:pt>
                <c:pt idx="1356">
                  <c:v>41857</c:v>
                </c:pt>
                <c:pt idx="1357">
                  <c:v>41858</c:v>
                </c:pt>
                <c:pt idx="1358">
                  <c:v>41859</c:v>
                </c:pt>
                <c:pt idx="1359">
                  <c:v>41862</c:v>
                </c:pt>
                <c:pt idx="1360">
                  <c:v>41863</c:v>
                </c:pt>
                <c:pt idx="1361">
                  <c:v>41864</c:v>
                </c:pt>
                <c:pt idx="1362">
                  <c:v>41865</c:v>
                </c:pt>
                <c:pt idx="1363">
                  <c:v>41866</c:v>
                </c:pt>
                <c:pt idx="1364">
                  <c:v>41869</c:v>
                </c:pt>
                <c:pt idx="1365">
                  <c:v>41870</c:v>
                </c:pt>
                <c:pt idx="1366">
                  <c:v>41871</c:v>
                </c:pt>
                <c:pt idx="1367">
                  <c:v>41872</c:v>
                </c:pt>
                <c:pt idx="1368">
                  <c:v>41873</c:v>
                </c:pt>
                <c:pt idx="1369">
                  <c:v>41876</c:v>
                </c:pt>
                <c:pt idx="1370">
                  <c:v>41877</c:v>
                </c:pt>
                <c:pt idx="1371">
                  <c:v>41878</c:v>
                </c:pt>
                <c:pt idx="1372">
                  <c:v>41879</c:v>
                </c:pt>
                <c:pt idx="1373">
                  <c:v>41880</c:v>
                </c:pt>
                <c:pt idx="1374">
                  <c:v>41883</c:v>
                </c:pt>
                <c:pt idx="1375">
                  <c:v>41884</c:v>
                </c:pt>
                <c:pt idx="1376">
                  <c:v>41885</c:v>
                </c:pt>
                <c:pt idx="1377">
                  <c:v>41886</c:v>
                </c:pt>
                <c:pt idx="1378">
                  <c:v>41887</c:v>
                </c:pt>
                <c:pt idx="1379">
                  <c:v>41891</c:v>
                </c:pt>
                <c:pt idx="1380">
                  <c:v>41892</c:v>
                </c:pt>
                <c:pt idx="1381">
                  <c:v>41893</c:v>
                </c:pt>
                <c:pt idx="1382">
                  <c:v>41894</c:v>
                </c:pt>
                <c:pt idx="1383">
                  <c:v>41897</c:v>
                </c:pt>
                <c:pt idx="1384">
                  <c:v>41898</c:v>
                </c:pt>
                <c:pt idx="1385">
                  <c:v>41899</c:v>
                </c:pt>
                <c:pt idx="1386">
                  <c:v>41900</c:v>
                </c:pt>
                <c:pt idx="1387">
                  <c:v>41901</c:v>
                </c:pt>
                <c:pt idx="1388">
                  <c:v>41904</c:v>
                </c:pt>
                <c:pt idx="1389">
                  <c:v>41905</c:v>
                </c:pt>
                <c:pt idx="1390">
                  <c:v>41906</c:v>
                </c:pt>
                <c:pt idx="1391">
                  <c:v>41907</c:v>
                </c:pt>
                <c:pt idx="1392">
                  <c:v>41908</c:v>
                </c:pt>
                <c:pt idx="1393">
                  <c:v>41911</c:v>
                </c:pt>
                <c:pt idx="1394">
                  <c:v>41912</c:v>
                </c:pt>
                <c:pt idx="1395">
                  <c:v>41920</c:v>
                </c:pt>
                <c:pt idx="1396">
                  <c:v>41921</c:v>
                </c:pt>
                <c:pt idx="1397">
                  <c:v>41922</c:v>
                </c:pt>
                <c:pt idx="1398">
                  <c:v>41925</c:v>
                </c:pt>
                <c:pt idx="1399">
                  <c:v>41926</c:v>
                </c:pt>
                <c:pt idx="1400">
                  <c:v>41927</c:v>
                </c:pt>
                <c:pt idx="1401">
                  <c:v>41928</c:v>
                </c:pt>
                <c:pt idx="1402">
                  <c:v>41929</c:v>
                </c:pt>
                <c:pt idx="1403">
                  <c:v>41932</c:v>
                </c:pt>
                <c:pt idx="1404">
                  <c:v>41933</c:v>
                </c:pt>
                <c:pt idx="1405">
                  <c:v>41934</c:v>
                </c:pt>
                <c:pt idx="1406">
                  <c:v>41935</c:v>
                </c:pt>
                <c:pt idx="1407">
                  <c:v>41936</c:v>
                </c:pt>
                <c:pt idx="1408">
                  <c:v>41939</c:v>
                </c:pt>
                <c:pt idx="1409">
                  <c:v>41940</c:v>
                </c:pt>
                <c:pt idx="1410">
                  <c:v>41941</c:v>
                </c:pt>
                <c:pt idx="1411">
                  <c:v>41942</c:v>
                </c:pt>
                <c:pt idx="1412">
                  <c:v>41943</c:v>
                </c:pt>
                <c:pt idx="1413">
                  <c:v>41946</c:v>
                </c:pt>
                <c:pt idx="1414">
                  <c:v>41947</c:v>
                </c:pt>
                <c:pt idx="1415">
                  <c:v>41948</c:v>
                </c:pt>
                <c:pt idx="1416">
                  <c:v>41949</c:v>
                </c:pt>
                <c:pt idx="1417">
                  <c:v>41950</c:v>
                </c:pt>
                <c:pt idx="1418">
                  <c:v>41953</c:v>
                </c:pt>
                <c:pt idx="1419">
                  <c:v>41954</c:v>
                </c:pt>
                <c:pt idx="1420">
                  <c:v>41955</c:v>
                </c:pt>
                <c:pt idx="1421">
                  <c:v>41956</c:v>
                </c:pt>
                <c:pt idx="1422">
                  <c:v>41957</c:v>
                </c:pt>
                <c:pt idx="1423">
                  <c:v>41960</c:v>
                </c:pt>
                <c:pt idx="1424">
                  <c:v>41961</c:v>
                </c:pt>
                <c:pt idx="1425">
                  <c:v>41962</c:v>
                </c:pt>
                <c:pt idx="1426">
                  <c:v>41963</c:v>
                </c:pt>
                <c:pt idx="1427">
                  <c:v>41964</c:v>
                </c:pt>
                <c:pt idx="1428">
                  <c:v>41967</c:v>
                </c:pt>
                <c:pt idx="1429">
                  <c:v>41968</c:v>
                </c:pt>
                <c:pt idx="1430">
                  <c:v>41969</c:v>
                </c:pt>
                <c:pt idx="1431">
                  <c:v>41970</c:v>
                </c:pt>
                <c:pt idx="1432">
                  <c:v>41971</c:v>
                </c:pt>
                <c:pt idx="1433">
                  <c:v>41974</c:v>
                </c:pt>
                <c:pt idx="1434">
                  <c:v>41975</c:v>
                </c:pt>
                <c:pt idx="1435">
                  <c:v>41976</c:v>
                </c:pt>
                <c:pt idx="1436">
                  <c:v>41977</c:v>
                </c:pt>
                <c:pt idx="1437">
                  <c:v>41978</c:v>
                </c:pt>
                <c:pt idx="1438">
                  <c:v>41981</c:v>
                </c:pt>
                <c:pt idx="1439">
                  <c:v>41982</c:v>
                </c:pt>
                <c:pt idx="1440">
                  <c:v>41983</c:v>
                </c:pt>
                <c:pt idx="1441">
                  <c:v>41984</c:v>
                </c:pt>
                <c:pt idx="1442">
                  <c:v>41985</c:v>
                </c:pt>
                <c:pt idx="1443">
                  <c:v>41988</c:v>
                </c:pt>
                <c:pt idx="1444">
                  <c:v>41989</c:v>
                </c:pt>
                <c:pt idx="1445">
                  <c:v>41990</c:v>
                </c:pt>
                <c:pt idx="1446">
                  <c:v>41991</c:v>
                </c:pt>
                <c:pt idx="1447">
                  <c:v>41992</c:v>
                </c:pt>
                <c:pt idx="1448">
                  <c:v>41995</c:v>
                </c:pt>
                <c:pt idx="1449">
                  <c:v>41996</c:v>
                </c:pt>
                <c:pt idx="1450">
                  <c:v>41997</c:v>
                </c:pt>
                <c:pt idx="1451">
                  <c:v>41998</c:v>
                </c:pt>
                <c:pt idx="1452">
                  <c:v>41999</c:v>
                </c:pt>
                <c:pt idx="1453">
                  <c:v>42002</c:v>
                </c:pt>
                <c:pt idx="1454">
                  <c:v>42003</c:v>
                </c:pt>
                <c:pt idx="1455">
                  <c:v>42004</c:v>
                </c:pt>
                <c:pt idx="1456">
                  <c:v>42009</c:v>
                </c:pt>
                <c:pt idx="1457">
                  <c:v>42010</c:v>
                </c:pt>
                <c:pt idx="1458">
                  <c:v>42011</c:v>
                </c:pt>
                <c:pt idx="1459">
                  <c:v>42012</c:v>
                </c:pt>
                <c:pt idx="1460">
                  <c:v>42013</c:v>
                </c:pt>
                <c:pt idx="1461">
                  <c:v>42016</c:v>
                </c:pt>
                <c:pt idx="1462">
                  <c:v>42017</c:v>
                </c:pt>
                <c:pt idx="1463">
                  <c:v>42018</c:v>
                </c:pt>
                <c:pt idx="1464">
                  <c:v>42019</c:v>
                </c:pt>
                <c:pt idx="1465">
                  <c:v>42020</c:v>
                </c:pt>
                <c:pt idx="1466">
                  <c:v>42023</c:v>
                </c:pt>
                <c:pt idx="1467">
                  <c:v>42024</c:v>
                </c:pt>
                <c:pt idx="1468">
                  <c:v>42025</c:v>
                </c:pt>
                <c:pt idx="1469">
                  <c:v>42026</c:v>
                </c:pt>
                <c:pt idx="1470">
                  <c:v>42027</c:v>
                </c:pt>
                <c:pt idx="1471">
                  <c:v>42030</c:v>
                </c:pt>
                <c:pt idx="1472">
                  <c:v>42031</c:v>
                </c:pt>
                <c:pt idx="1473">
                  <c:v>42032</c:v>
                </c:pt>
                <c:pt idx="1474">
                  <c:v>42033</c:v>
                </c:pt>
                <c:pt idx="1475">
                  <c:v>42034</c:v>
                </c:pt>
                <c:pt idx="1476">
                  <c:v>42037</c:v>
                </c:pt>
                <c:pt idx="1477">
                  <c:v>42038</c:v>
                </c:pt>
                <c:pt idx="1478">
                  <c:v>42039</c:v>
                </c:pt>
                <c:pt idx="1479">
                  <c:v>42040</c:v>
                </c:pt>
                <c:pt idx="1480">
                  <c:v>42041</c:v>
                </c:pt>
                <c:pt idx="1481">
                  <c:v>42044</c:v>
                </c:pt>
                <c:pt idx="1482">
                  <c:v>42045</c:v>
                </c:pt>
                <c:pt idx="1483">
                  <c:v>42046</c:v>
                </c:pt>
                <c:pt idx="1484">
                  <c:v>42047</c:v>
                </c:pt>
                <c:pt idx="1485">
                  <c:v>42048</c:v>
                </c:pt>
                <c:pt idx="1486">
                  <c:v>42051</c:v>
                </c:pt>
                <c:pt idx="1487">
                  <c:v>42052</c:v>
                </c:pt>
                <c:pt idx="1488">
                  <c:v>42060</c:v>
                </c:pt>
                <c:pt idx="1489">
                  <c:v>42061</c:v>
                </c:pt>
                <c:pt idx="1490">
                  <c:v>42062</c:v>
                </c:pt>
                <c:pt idx="1491">
                  <c:v>42065</c:v>
                </c:pt>
                <c:pt idx="1492">
                  <c:v>42066</c:v>
                </c:pt>
                <c:pt idx="1493">
                  <c:v>42067</c:v>
                </c:pt>
                <c:pt idx="1494">
                  <c:v>42068</c:v>
                </c:pt>
                <c:pt idx="1495">
                  <c:v>42069</c:v>
                </c:pt>
                <c:pt idx="1496">
                  <c:v>42072</c:v>
                </c:pt>
                <c:pt idx="1497">
                  <c:v>42073</c:v>
                </c:pt>
                <c:pt idx="1498">
                  <c:v>42074</c:v>
                </c:pt>
                <c:pt idx="1499">
                  <c:v>42075</c:v>
                </c:pt>
                <c:pt idx="1500">
                  <c:v>42076</c:v>
                </c:pt>
                <c:pt idx="1501">
                  <c:v>42079</c:v>
                </c:pt>
                <c:pt idx="1502">
                  <c:v>42080</c:v>
                </c:pt>
                <c:pt idx="1503">
                  <c:v>42081</c:v>
                </c:pt>
                <c:pt idx="1504">
                  <c:v>42082</c:v>
                </c:pt>
                <c:pt idx="1505">
                  <c:v>42083</c:v>
                </c:pt>
                <c:pt idx="1506">
                  <c:v>42086</c:v>
                </c:pt>
                <c:pt idx="1507">
                  <c:v>42087</c:v>
                </c:pt>
                <c:pt idx="1508">
                  <c:v>42088</c:v>
                </c:pt>
                <c:pt idx="1509">
                  <c:v>42089</c:v>
                </c:pt>
                <c:pt idx="1510">
                  <c:v>42090</c:v>
                </c:pt>
                <c:pt idx="1511">
                  <c:v>42093</c:v>
                </c:pt>
                <c:pt idx="1512">
                  <c:v>42094</c:v>
                </c:pt>
                <c:pt idx="1513">
                  <c:v>42095</c:v>
                </c:pt>
                <c:pt idx="1514">
                  <c:v>42096</c:v>
                </c:pt>
                <c:pt idx="1515">
                  <c:v>42097</c:v>
                </c:pt>
                <c:pt idx="1516">
                  <c:v>42101</c:v>
                </c:pt>
                <c:pt idx="1517">
                  <c:v>42102</c:v>
                </c:pt>
                <c:pt idx="1518">
                  <c:v>42103</c:v>
                </c:pt>
                <c:pt idx="1519">
                  <c:v>42104</c:v>
                </c:pt>
                <c:pt idx="1520">
                  <c:v>42107</c:v>
                </c:pt>
                <c:pt idx="1521">
                  <c:v>42108</c:v>
                </c:pt>
                <c:pt idx="1522">
                  <c:v>42109</c:v>
                </c:pt>
                <c:pt idx="1523">
                  <c:v>42110</c:v>
                </c:pt>
                <c:pt idx="1524">
                  <c:v>42111</c:v>
                </c:pt>
                <c:pt idx="1525">
                  <c:v>42114</c:v>
                </c:pt>
                <c:pt idx="1526">
                  <c:v>42115</c:v>
                </c:pt>
                <c:pt idx="1527">
                  <c:v>42116</c:v>
                </c:pt>
                <c:pt idx="1528">
                  <c:v>42117</c:v>
                </c:pt>
                <c:pt idx="1529">
                  <c:v>42118</c:v>
                </c:pt>
                <c:pt idx="1530">
                  <c:v>42121</c:v>
                </c:pt>
                <c:pt idx="1531">
                  <c:v>42122</c:v>
                </c:pt>
                <c:pt idx="1532">
                  <c:v>42123</c:v>
                </c:pt>
                <c:pt idx="1533">
                  <c:v>42124</c:v>
                </c:pt>
                <c:pt idx="1534">
                  <c:v>42128</c:v>
                </c:pt>
                <c:pt idx="1535">
                  <c:v>42129</c:v>
                </c:pt>
                <c:pt idx="1536">
                  <c:v>42130</c:v>
                </c:pt>
                <c:pt idx="1537">
                  <c:v>42131</c:v>
                </c:pt>
                <c:pt idx="1538">
                  <c:v>42132</c:v>
                </c:pt>
                <c:pt idx="1539">
                  <c:v>42135</c:v>
                </c:pt>
                <c:pt idx="1540">
                  <c:v>42136</c:v>
                </c:pt>
                <c:pt idx="1541">
                  <c:v>42137</c:v>
                </c:pt>
                <c:pt idx="1542">
                  <c:v>42138</c:v>
                </c:pt>
                <c:pt idx="1543">
                  <c:v>42139</c:v>
                </c:pt>
                <c:pt idx="1544">
                  <c:v>42142</c:v>
                </c:pt>
                <c:pt idx="1545">
                  <c:v>42143</c:v>
                </c:pt>
                <c:pt idx="1546">
                  <c:v>42144</c:v>
                </c:pt>
                <c:pt idx="1547">
                  <c:v>42145</c:v>
                </c:pt>
                <c:pt idx="1548">
                  <c:v>42146</c:v>
                </c:pt>
                <c:pt idx="1549">
                  <c:v>42149</c:v>
                </c:pt>
                <c:pt idx="1550">
                  <c:v>42150</c:v>
                </c:pt>
                <c:pt idx="1551">
                  <c:v>42151</c:v>
                </c:pt>
                <c:pt idx="1552">
                  <c:v>42152</c:v>
                </c:pt>
                <c:pt idx="1553">
                  <c:v>42153</c:v>
                </c:pt>
                <c:pt idx="1554">
                  <c:v>42156</c:v>
                </c:pt>
                <c:pt idx="1555">
                  <c:v>42157</c:v>
                </c:pt>
                <c:pt idx="1556">
                  <c:v>42158</c:v>
                </c:pt>
                <c:pt idx="1557">
                  <c:v>42159</c:v>
                </c:pt>
                <c:pt idx="1558">
                  <c:v>42160</c:v>
                </c:pt>
                <c:pt idx="1559">
                  <c:v>42163</c:v>
                </c:pt>
                <c:pt idx="1560">
                  <c:v>42164</c:v>
                </c:pt>
                <c:pt idx="1561">
                  <c:v>42165</c:v>
                </c:pt>
                <c:pt idx="1562">
                  <c:v>42166</c:v>
                </c:pt>
                <c:pt idx="1563">
                  <c:v>42167</c:v>
                </c:pt>
                <c:pt idx="1564">
                  <c:v>42170</c:v>
                </c:pt>
                <c:pt idx="1565">
                  <c:v>42171</c:v>
                </c:pt>
                <c:pt idx="1566">
                  <c:v>42172</c:v>
                </c:pt>
                <c:pt idx="1567">
                  <c:v>42173</c:v>
                </c:pt>
                <c:pt idx="1568">
                  <c:v>42174</c:v>
                </c:pt>
                <c:pt idx="1569">
                  <c:v>42178</c:v>
                </c:pt>
                <c:pt idx="1570">
                  <c:v>42179</c:v>
                </c:pt>
                <c:pt idx="1571">
                  <c:v>42180</c:v>
                </c:pt>
                <c:pt idx="1572">
                  <c:v>42181</c:v>
                </c:pt>
                <c:pt idx="1573">
                  <c:v>42184</c:v>
                </c:pt>
                <c:pt idx="1574">
                  <c:v>42185</c:v>
                </c:pt>
                <c:pt idx="1575">
                  <c:v>42186</c:v>
                </c:pt>
                <c:pt idx="1576">
                  <c:v>42187</c:v>
                </c:pt>
                <c:pt idx="1577">
                  <c:v>42188</c:v>
                </c:pt>
                <c:pt idx="1578">
                  <c:v>42191</c:v>
                </c:pt>
                <c:pt idx="1579">
                  <c:v>42192</c:v>
                </c:pt>
                <c:pt idx="1580">
                  <c:v>42193</c:v>
                </c:pt>
                <c:pt idx="1581">
                  <c:v>42194</c:v>
                </c:pt>
                <c:pt idx="1582">
                  <c:v>42195</c:v>
                </c:pt>
                <c:pt idx="1583">
                  <c:v>42198</c:v>
                </c:pt>
                <c:pt idx="1584">
                  <c:v>42199</c:v>
                </c:pt>
                <c:pt idx="1585">
                  <c:v>42200</c:v>
                </c:pt>
                <c:pt idx="1586">
                  <c:v>42201</c:v>
                </c:pt>
                <c:pt idx="1587">
                  <c:v>42202</c:v>
                </c:pt>
                <c:pt idx="1588">
                  <c:v>42205</c:v>
                </c:pt>
                <c:pt idx="1589">
                  <c:v>42206</c:v>
                </c:pt>
                <c:pt idx="1590">
                  <c:v>42207</c:v>
                </c:pt>
                <c:pt idx="1591">
                  <c:v>42208</c:v>
                </c:pt>
                <c:pt idx="1592">
                  <c:v>42209</c:v>
                </c:pt>
                <c:pt idx="1593">
                  <c:v>42212</c:v>
                </c:pt>
                <c:pt idx="1594">
                  <c:v>42213</c:v>
                </c:pt>
                <c:pt idx="1595">
                  <c:v>42214</c:v>
                </c:pt>
                <c:pt idx="1596">
                  <c:v>42215</c:v>
                </c:pt>
                <c:pt idx="1597">
                  <c:v>42216</c:v>
                </c:pt>
                <c:pt idx="1598">
                  <c:v>42219</c:v>
                </c:pt>
                <c:pt idx="1599">
                  <c:v>42220</c:v>
                </c:pt>
                <c:pt idx="1600">
                  <c:v>42221</c:v>
                </c:pt>
                <c:pt idx="1601">
                  <c:v>42222</c:v>
                </c:pt>
                <c:pt idx="1602">
                  <c:v>42223</c:v>
                </c:pt>
                <c:pt idx="1603">
                  <c:v>42226</c:v>
                </c:pt>
                <c:pt idx="1604">
                  <c:v>42227</c:v>
                </c:pt>
                <c:pt idx="1605">
                  <c:v>42228</c:v>
                </c:pt>
                <c:pt idx="1606">
                  <c:v>42229</c:v>
                </c:pt>
                <c:pt idx="1607">
                  <c:v>42230</c:v>
                </c:pt>
                <c:pt idx="1608">
                  <c:v>42233</c:v>
                </c:pt>
                <c:pt idx="1609">
                  <c:v>42234</c:v>
                </c:pt>
                <c:pt idx="1610">
                  <c:v>42235</c:v>
                </c:pt>
                <c:pt idx="1611">
                  <c:v>42236</c:v>
                </c:pt>
                <c:pt idx="1612">
                  <c:v>42237</c:v>
                </c:pt>
                <c:pt idx="1613">
                  <c:v>42240</c:v>
                </c:pt>
                <c:pt idx="1614">
                  <c:v>42241</c:v>
                </c:pt>
                <c:pt idx="1615">
                  <c:v>42242</c:v>
                </c:pt>
                <c:pt idx="1616">
                  <c:v>42243</c:v>
                </c:pt>
                <c:pt idx="1617">
                  <c:v>42244</c:v>
                </c:pt>
                <c:pt idx="1618">
                  <c:v>42247</c:v>
                </c:pt>
                <c:pt idx="1619">
                  <c:v>42248</c:v>
                </c:pt>
                <c:pt idx="1620">
                  <c:v>42249</c:v>
                </c:pt>
                <c:pt idx="1621">
                  <c:v>42254</c:v>
                </c:pt>
                <c:pt idx="1622">
                  <c:v>42255</c:v>
                </c:pt>
                <c:pt idx="1623">
                  <c:v>42256</c:v>
                </c:pt>
                <c:pt idx="1624">
                  <c:v>42257</c:v>
                </c:pt>
                <c:pt idx="1625">
                  <c:v>42258</c:v>
                </c:pt>
                <c:pt idx="1626">
                  <c:v>42261</c:v>
                </c:pt>
                <c:pt idx="1627">
                  <c:v>42262</c:v>
                </c:pt>
                <c:pt idx="1628">
                  <c:v>42263</c:v>
                </c:pt>
                <c:pt idx="1629">
                  <c:v>42264</c:v>
                </c:pt>
                <c:pt idx="1630">
                  <c:v>42265</c:v>
                </c:pt>
                <c:pt idx="1631">
                  <c:v>42268</c:v>
                </c:pt>
                <c:pt idx="1632">
                  <c:v>42269</c:v>
                </c:pt>
                <c:pt idx="1633">
                  <c:v>42270</c:v>
                </c:pt>
                <c:pt idx="1634">
                  <c:v>42271</c:v>
                </c:pt>
                <c:pt idx="1635">
                  <c:v>42272</c:v>
                </c:pt>
                <c:pt idx="1636">
                  <c:v>42275</c:v>
                </c:pt>
                <c:pt idx="1637">
                  <c:v>42276</c:v>
                </c:pt>
                <c:pt idx="1638">
                  <c:v>42277</c:v>
                </c:pt>
                <c:pt idx="1639">
                  <c:v>42285</c:v>
                </c:pt>
                <c:pt idx="1640">
                  <c:v>42286</c:v>
                </c:pt>
                <c:pt idx="1641">
                  <c:v>42289</c:v>
                </c:pt>
                <c:pt idx="1642">
                  <c:v>42290</c:v>
                </c:pt>
                <c:pt idx="1643">
                  <c:v>42291</c:v>
                </c:pt>
                <c:pt idx="1644">
                  <c:v>42292</c:v>
                </c:pt>
                <c:pt idx="1645">
                  <c:v>42293</c:v>
                </c:pt>
                <c:pt idx="1646">
                  <c:v>42296</c:v>
                </c:pt>
                <c:pt idx="1647">
                  <c:v>42297</c:v>
                </c:pt>
                <c:pt idx="1648">
                  <c:v>42298</c:v>
                </c:pt>
                <c:pt idx="1649">
                  <c:v>42299</c:v>
                </c:pt>
                <c:pt idx="1650">
                  <c:v>42300</c:v>
                </c:pt>
                <c:pt idx="1651">
                  <c:v>42303</c:v>
                </c:pt>
                <c:pt idx="1652">
                  <c:v>42304</c:v>
                </c:pt>
                <c:pt idx="1653">
                  <c:v>42305</c:v>
                </c:pt>
                <c:pt idx="1654">
                  <c:v>42306</c:v>
                </c:pt>
                <c:pt idx="1655">
                  <c:v>42307</c:v>
                </c:pt>
                <c:pt idx="1656">
                  <c:v>42310</c:v>
                </c:pt>
                <c:pt idx="1657">
                  <c:v>42311</c:v>
                </c:pt>
                <c:pt idx="1658">
                  <c:v>42312</c:v>
                </c:pt>
                <c:pt idx="1659">
                  <c:v>42313</c:v>
                </c:pt>
                <c:pt idx="1660">
                  <c:v>42314</c:v>
                </c:pt>
                <c:pt idx="1661">
                  <c:v>42317</c:v>
                </c:pt>
                <c:pt idx="1662">
                  <c:v>42318</c:v>
                </c:pt>
                <c:pt idx="1663">
                  <c:v>42319</c:v>
                </c:pt>
                <c:pt idx="1664">
                  <c:v>42320</c:v>
                </c:pt>
                <c:pt idx="1665">
                  <c:v>42321</c:v>
                </c:pt>
                <c:pt idx="1666">
                  <c:v>42324</c:v>
                </c:pt>
                <c:pt idx="1667">
                  <c:v>42325</c:v>
                </c:pt>
                <c:pt idx="1668">
                  <c:v>42326</c:v>
                </c:pt>
                <c:pt idx="1669">
                  <c:v>42327</c:v>
                </c:pt>
                <c:pt idx="1670">
                  <c:v>42328</c:v>
                </c:pt>
                <c:pt idx="1671">
                  <c:v>42331</c:v>
                </c:pt>
                <c:pt idx="1672">
                  <c:v>42332</c:v>
                </c:pt>
                <c:pt idx="1673">
                  <c:v>42333</c:v>
                </c:pt>
                <c:pt idx="1674">
                  <c:v>42334</c:v>
                </c:pt>
                <c:pt idx="1675">
                  <c:v>42335</c:v>
                </c:pt>
                <c:pt idx="1676">
                  <c:v>42338</c:v>
                </c:pt>
                <c:pt idx="1677">
                  <c:v>42339</c:v>
                </c:pt>
                <c:pt idx="1678">
                  <c:v>42340</c:v>
                </c:pt>
                <c:pt idx="1679">
                  <c:v>42341</c:v>
                </c:pt>
                <c:pt idx="1680">
                  <c:v>42342</c:v>
                </c:pt>
                <c:pt idx="1681">
                  <c:v>42345</c:v>
                </c:pt>
                <c:pt idx="1682">
                  <c:v>42346</c:v>
                </c:pt>
                <c:pt idx="1683">
                  <c:v>42347</c:v>
                </c:pt>
                <c:pt idx="1684">
                  <c:v>42348</c:v>
                </c:pt>
                <c:pt idx="1685">
                  <c:v>42349</c:v>
                </c:pt>
                <c:pt idx="1686">
                  <c:v>42352</c:v>
                </c:pt>
                <c:pt idx="1687">
                  <c:v>42353</c:v>
                </c:pt>
                <c:pt idx="1688">
                  <c:v>42354</c:v>
                </c:pt>
                <c:pt idx="1689">
                  <c:v>42355</c:v>
                </c:pt>
                <c:pt idx="1690">
                  <c:v>42356</c:v>
                </c:pt>
                <c:pt idx="1691">
                  <c:v>42359</c:v>
                </c:pt>
                <c:pt idx="1692">
                  <c:v>42360</c:v>
                </c:pt>
                <c:pt idx="1693">
                  <c:v>42361</c:v>
                </c:pt>
                <c:pt idx="1694">
                  <c:v>42362</c:v>
                </c:pt>
                <c:pt idx="1695">
                  <c:v>42363</c:v>
                </c:pt>
                <c:pt idx="1696">
                  <c:v>42366</c:v>
                </c:pt>
                <c:pt idx="1697">
                  <c:v>42367</c:v>
                </c:pt>
                <c:pt idx="1698">
                  <c:v>42368</c:v>
                </c:pt>
                <c:pt idx="1699">
                  <c:v>42369</c:v>
                </c:pt>
                <c:pt idx="1700">
                  <c:v>42373</c:v>
                </c:pt>
                <c:pt idx="1701">
                  <c:v>42374</c:v>
                </c:pt>
                <c:pt idx="1702">
                  <c:v>42375</c:v>
                </c:pt>
                <c:pt idx="1703">
                  <c:v>42376</c:v>
                </c:pt>
                <c:pt idx="1704">
                  <c:v>42377</c:v>
                </c:pt>
                <c:pt idx="1705">
                  <c:v>42380</c:v>
                </c:pt>
                <c:pt idx="1706">
                  <c:v>42381</c:v>
                </c:pt>
                <c:pt idx="1707">
                  <c:v>42382</c:v>
                </c:pt>
                <c:pt idx="1708">
                  <c:v>42383</c:v>
                </c:pt>
                <c:pt idx="1709">
                  <c:v>42384</c:v>
                </c:pt>
                <c:pt idx="1710">
                  <c:v>42387</c:v>
                </c:pt>
                <c:pt idx="1711">
                  <c:v>42388</c:v>
                </c:pt>
                <c:pt idx="1712">
                  <c:v>42389</c:v>
                </c:pt>
                <c:pt idx="1713">
                  <c:v>42390</c:v>
                </c:pt>
                <c:pt idx="1714">
                  <c:v>42391</c:v>
                </c:pt>
                <c:pt idx="1715">
                  <c:v>42394</c:v>
                </c:pt>
                <c:pt idx="1716">
                  <c:v>42395</c:v>
                </c:pt>
                <c:pt idx="1717">
                  <c:v>42396</c:v>
                </c:pt>
                <c:pt idx="1718">
                  <c:v>42397</c:v>
                </c:pt>
                <c:pt idx="1719">
                  <c:v>42398</c:v>
                </c:pt>
                <c:pt idx="1720">
                  <c:v>42401</c:v>
                </c:pt>
                <c:pt idx="1721">
                  <c:v>42402</c:v>
                </c:pt>
                <c:pt idx="1722">
                  <c:v>42403</c:v>
                </c:pt>
                <c:pt idx="1723">
                  <c:v>42404</c:v>
                </c:pt>
                <c:pt idx="1724">
                  <c:v>42405</c:v>
                </c:pt>
                <c:pt idx="1725">
                  <c:v>42415</c:v>
                </c:pt>
                <c:pt idx="1726">
                  <c:v>42416</c:v>
                </c:pt>
                <c:pt idx="1727">
                  <c:v>42417</c:v>
                </c:pt>
                <c:pt idx="1728">
                  <c:v>42418</c:v>
                </c:pt>
                <c:pt idx="1729">
                  <c:v>42419</c:v>
                </c:pt>
                <c:pt idx="1730">
                  <c:v>42422</c:v>
                </c:pt>
                <c:pt idx="1731">
                  <c:v>42423</c:v>
                </c:pt>
                <c:pt idx="1732">
                  <c:v>42424</c:v>
                </c:pt>
                <c:pt idx="1733">
                  <c:v>42425</c:v>
                </c:pt>
                <c:pt idx="1734">
                  <c:v>42426</c:v>
                </c:pt>
                <c:pt idx="1735">
                  <c:v>42429</c:v>
                </c:pt>
                <c:pt idx="1736">
                  <c:v>42430</c:v>
                </c:pt>
                <c:pt idx="1737">
                  <c:v>42431</c:v>
                </c:pt>
                <c:pt idx="1738">
                  <c:v>42432</c:v>
                </c:pt>
                <c:pt idx="1739">
                  <c:v>42433</c:v>
                </c:pt>
                <c:pt idx="1740">
                  <c:v>42436</c:v>
                </c:pt>
                <c:pt idx="1741">
                  <c:v>42437</c:v>
                </c:pt>
                <c:pt idx="1742">
                  <c:v>42438</c:v>
                </c:pt>
                <c:pt idx="1743">
                  <c:v>42439</c:v>
                </c:pt>
                <c:pt idx="1744">
                  <c:v>42440</c:v>
                </c:pt>
                <c:pt idx="1745">
                  <c:v>42443</c:v>
                </c:pt>
                <c:pt idx="1746">
                  <c:v>42444</c:v>
                </c:pt>
                <c:pt idx="1747">
                  <c:v>42445</c:v>
                </c:pt>
                <c:pt idx="1748">
                  <c:v>42446</c:v>
                </c:pt>
                <c:pt idx="1749">
                  <c:v>42447</c:v>
                </c:pt>
                <c:pt idx="1750">
                  <c:v>42450</c:v>
                </c:pt>
                <c:pt idx="1751">
                  <c:v>42451</c:v>
                </c:pt>
                <c:pt idx="1752">
                  <c:v>42452</c:v>
                </c:pt>
                <c:pt idx="1753">
                  <c:v>42453</c:v>
                </c:pt>
                <c:pt idx="1754">
                  <c:v>42454</c:v>
                </c:pt>
                <c:pt idx="1755">
                  <c:v>42457</c:v>
                </c:pt>
                <c:pt idx="1756">
                  <c:v>42458</c:v>
                </c:pt>
                <c:pt idx="1757">
                  <c:v>42459</c:v>
                </c:pt>
                <c:pt idx="1758">
                  <c:v>42460</c:v>
                </c:pt>
                <c:pt idx="1759">
                  <c:v>42461</c:v>
                </c:pt>
                <c:pt idx="1760">
                  <c:v>42465</c:v>
                </c:pt>
                <c:pt idx="1761">
                  <c:v>42466</c:v>
                </c:pt>
                <c:pt idx="1762">
                  <c:v>42467</c:v>
                </c:pt>
                <c:pt idx="1763">
                  <c:v>42468</c:v>
                </c:pt>
                <c:pt idx="1764">
                  <c:v>42471</c:v>
                </c:pt>
                <c:pt idx="1765">
                  <c:v>42472</c:v>
                </c:pt>
                <c:pt idx="1766">
                  <c:v>42473</c:v>
                </c:pt>
                <c:pt idx="1767">
                  <c:v>42474</c:v>
                </c:pt>
                <c:pt idx="1768">
                  <c:v>42475</c:v>
                </c:pt>
                <c:pt idx="1769">
                  <c:v>42478</c:v>
                </c:pt>
                <c:pt idx="1770">
                  <c:v>42479</c:v>
                </c:pt>
                <c:pt idx="1771">
                  <c:v>42480</c:v>
                </c:pt>
                <c:pt idx="1772">
                  <c:v>42481</c:v>
                </c:pt>
                <c:pt idx="1773">
                  <c:v>42482</c:v>
                </c:pt>
                <c:pt idx="1774">
                  <c:v>42485</c:v>
                </c:pt>
                <c:pt idx="1775">
                  <c:v>42486</c:v>
                </c:pt>
                <c:pt idx="1776">
                  <c:v>42487</c:v>
                </c:pt>
                <c:pt idx="1777">
                  <c:v>42488</c:v>
                </c:pt>
                <c:pt idx="1778">
                  <c:v>42489</c:v>
                </c:pt>
                <c:pt idx="1779">
                  <c:v>42493</c:v>
                </c:pt>
                <c:pt idx="1780">
                  <c:v>42494</c:v>
                </c:pt>
                <c:pt idx="1781">
                  <c:v>42495</c:v>
                </c:pt>
                <c:pt idx="1782">
                  <c:v>42496</c:v>
                </c:pt>
                <c:pt idx="1783">
                  <c:v>42499</c:v>
                </c:pt>
                <c:pt idx="1784">
                  <c:v>42500</c:v>
                </c:pt>
                <c:pt idx="1785">
                  <c:v>42501</c:v>
                </c:pt>
                <c:pt idx="1786">
                  <c:v>42502</c:v>
                </c:pt>
                <c:pt idx="1787">
                  <c:v>42503</c:v>
                </c:pt>
                <c:pt idx="1788">
                  <c:v>42506</c:v>
                </c:pt>
                <c:pt idx="1789">
                  <c:v>42507</c:v>
                </c:pt>
                <c:pt idx="1790">
                  <c:v>42508</c:v>
                </c:pt>
                <c:pt idx="1791">
                  <c:v>42509</c:v>
                </c:pt>
                <c:pt idx="1792">
                  <c:v>42510</c:v>
                </c:pt>
                <c:pt idx="1793">
                  <c:v>42513</c:v>
                </c:pt>
                <c:pt idx="1794">
                  <c:v>42514</c:v>
                </c:pt>
                <c:pt idx="1795">
                  <c:v>42515</c:v>
                </c:pt>
                <c:pt idx="1796">
                  <c:v>42516</c:v>
                </c:pt>
                <c:pt idx="1797">
                  <c:v>42517</c:v>
                </c:pt>
                <c:pt idx="1798">
                  <c:v>42520</c:v>
                </c:pt>
                <c:pt idx="1799">
                  <c:v>42521</c:v>
                </c:pt>
                <c:pt idx="1800">
                  <c:v>42522</c:v>
                </c:pt>
                <c:pt idx="1801">
                  <c:v>42523</c:v>
                </c:pt>
                <c:pt idx="1802">
                  <c:v>42524</c:v>
                </c:pt>
                <c:pt idx="1803">
                  <c:v>42527</c:v>
                </c:pt>
                <c:pt idx="1804">
                  <c:v>42528</c:v>
                </c:pt>
                <c:pt idx="1805">
                  <c:v>42529</c:v>
                </c:pt>
                <c:pt idx="1806">
                  <c:v>42534</c:v>
                </c:pt>
                <c:pt idx="1807">
                  <c:v>42535</c:v>
                </c:pt>
                <c:pt idx="1808">
                  <c:v>42536</c:v>
                </c:pt>
                <c:pt idx="1809">
                  <c:v>42537</c:v>
                </c:pt>
                <c:pt idx="1810">
                  <c:v>42538</c:v>
                </c:pt>
                <c:pt idx="1811">
                  <c:v>42541</c:v>
                </c:pt>
                <c:pt idx="1812">
                  <c:v>42542</c:v>
                </c:pt>
                <c:pt idx="1813">
                  <c:v>42543</c:v>
                </c:pt>
                <c:pt idx="1814">
                  <c:v>42544</c:v>
                </c:pt>
                <c:pt idx="1815">
                  <c:v>42545</c:v>
                </c:pt>
                <c:pt idx="1816">
                  <c:v>42548</c:v>
                </c:pt>
                <c:pt idx="1817">
                  <c:v>42549</c:v>
                </c:pt>
                <c:pt idx="1818">
                  <c:v>42550</c:v>
                </c:pt>
                <c:pt idx="1819">
                  <c:v>42551</c:v>
                </c:pt>
                <c:pt idx="1820">
                  <c:v>42552</c:v>
                </c:pt>
                <c:pt idx="1821">
                  <c:v>42555</c:v>
                </c:pt>
                <c:pt idx="1822">
                  <c:v>42556</c:v>
                </c:pt>
                <c:pt idx="1823">
                  <c:v>42557</c:v>
                </c:pt>
                <c:pt idx="1824">
                  <c:v>42558</c:v>
                </c:pt>
                <c:pt idx="1825">
                  <c:v>42559</c:v>
                </c:pt>
                <c:pt idx="1826">
                  <c:v>42562</c:v>
                </c:pt>
                <c:pt idx="1827">
                  <c:v>42563</c:v>
                </c:pt>
                <c:pt idx="1828">
                  <c:v>42564</c:v>
                </c:pt>
                <c:pt idx="1829">
                  <c:v>42565</c:v>
                </c:pt>
                <c:pt idx="1830">
                  <c:v>42566</c:v>
                </c:pt>
                <c:pt idx="1831">
                  <c:v>42569</c:v>
                </c:pt>
                <c:pt idx="1832">
                  <c:v>42570</c:v>
                </c:pt>
                <c:pt idx="1833">
                  <c:v>42571</c:v>
                </c:pt>
                <c:pt idx="1834">
                  <c:v>42572</c:v>
                </c:pt>
                <c:pt idx="1835">
                  <c:v>42573</c:v>
                </c:pt>
                <c:pt idx="1836">
                  <c:v>42576</c:v>
                </c:pt>
                <c:pt idx="1837">
                  <c:v>42577</c:v>
                </c:pt>
                <c:pt idx="1838">
                  <c:v>42578</c:v>
                </c:pt>
                <c:pt idx="1839">
                  <c:v>42579</c:v>
                </c:pt>
                <c:pt idx="1840">
                  <c:v>42580</c:v>
                </c:pt>
                <c:pt idx="1841">
                  <c:v>42583</c:v>
                </c:pt>
                <c:pt idx="1842">
                  <c:v>42584</c:v>
                </c:pt>
                <c:pt idx="1843">
                  <c:v>42585</c:v>
                </c:pt>
                <c:pt idx="1844">
                  <c:v>42586</c:v>
                </c:pt>
                <c:pt idx="1845">
                  <c:v>42587</c:v>
                </c:pt>
                <c:pt idx="1846">
                  <c:v>42590</c:v>
                </c:pt>
                <c:pt idx="1847">
                  <c:v>42591</c:v>
                </c:pt>
                <c:pt idx="1848">
                  <c:v>42592</c:v>
                </c:pt>
                <c:pt idx="1849">
                  <c:v>42593</c:v>
                </c:pt>
                <c:pt idx="1850">
                  <c:v>42594</c:v>
                </c:pt>
                <c:pt idx="1851">
                  <c:v>42597</c:v>
                </c:pt>
                <c:pt idx="1852">
                  <c:v>42598</c:v>
                </c:pt>
                <c:pt idx="1853">
                  <c:v>42599</c:v>
                </c:pt>
                <c:pt idx="1854">
                  <c:v>42600</c:v>
                </c:pt>
                <c:pt idx="1855">
                  <c:v>42601</c:v>
                </c:pt>
                <c:pt idx="1856">
                  <c:v>42604</c:v>
                </c:pt>
                <c:pt idx="1857">
                  <c:v>42605</c:v>
                </c:pt>
                <c:pt idx="1858">
                  <c:v>42606</c:v>
                </c:pt>
                <c:pt idx="1859">
                  <c:v>42607</c:v>
                </c:pt>
                <c:pt idx="1860">
                  <c:v>42608</c:v>
                </c:pt>
                <c:pt idx="1861">
                  <c:v>42611</c:v>
                </c:pt>
                <c:pt idx="1862">
                  <c:v>42612</c:v>
                </c:pt>
                <c:pt idx="1863">
                  <c:v>42613</c:v>
                </c:pt>
                <c:pt idx="1864">
                  <c:v>42614</c:v>
                </c:pt>
                <c:pt idx="1865">
                  <c:v>42615</c:v>
                </c:pt>
                <c:pt idx="1866">
                  <c:v>42618</c:v>
                </c:pt>
                <c:pt idx="1867">
                  <c:v>42619</c:v>
                </c:pt>
                <c:pt idx="1868">
                  <c:v>42620</c:v>
                </c:pt>
                <c:pt idx="1869">
                  <c:v>42621</c:v>
                </c:pt>
                <c:pt idx="1870">
                  <c:v>42622</c:v>
                </c:pt>
                <c:pt idx="1871">
                  <c:v>42625</c:v>
                </c:pt>
                <c:pt idx="1872">
                  <c:v>42626</c:v>
                </c:pt>
                <c:pt idx="1873">
                  <c:v>42627</c:v>
                </c:pt>
                <c:pt idx="1874">
                  <c:v>42632</c:v>
                </c:pt>
                <c:pt idx="1875">
                  <c:v>42633</c:v>
                </c:pt>
                <c:pt idx="1876">
                  <c:v>42634</c:v>
                </c:pt>
                <c:pt idx="1877">
                  <c:v>42635</c:v>
                </c:pt>
                <c:pt idx="1878">
                  <c:v>42636</c:v>
                </c:pt>
                <c:pt idx="1879">
                  <c:v>42639</c:v>
                </c:pt>
                <c:pt idx="1880">
                  <c:v>42640</c:v>
                </c:pt>
                <c:pt idx="1881">
                  <c:v>42641</c:v>
                </c:pt>
                <c:pt idx="1882">
                  <c:v>42642</c:v>
                </c:pt>
                <c:pt idx="1883">
                  <c:v>42643</c:v>
                </c:pt>
                <c:pt idx="1884">
                  <c:v>42653</c:v>
                </c:pt>
                <c:pt idx="1885">
                  <c:v>42654</c:v>
                </c:pt>
                <c:pt idx="1886">
                  <c:v>42655</c:v>
                </c:pt>
                <c:pt idx="1887">
                  <c:v>42656</c:v>
                </c:pt>
                <c:pt idx="1888">
                  <c:v>42657</c:v>
                </c:pt>
                <c:pt idx="1889">
                  <c:v>42660</c:v>
                </c:pt>
                <c:pt idx="1890">
                  <c:v>42661</c:v>
                </c:pt>
                <c:pt idx="1891">
                  <c:v>42662</c:v>
                </c:pt>
                <c:pt idx="1892">
                  <c:v>42663</c:v>
                </c:pt>
                <c:pt idx="1893">
                  <c:v>42664</c:v>
                </c:pt>
                <c:pt idx="1894">
                  <c:v>42667</c:v>
                </c:pt>
                <c:pt idx="1895">
                  <c:v>42668</c:v>
                </c:pt>
                <c:pt idx="1896">
                  <c:v>42669</c:v>
                </c:pt>
                <c:pt idx="1897">
                  <c:v>42670</c:v>
                </c:pt>
                <c:pt idx="1898">
                  <c:v>42671</c:v>
                </c:pt>
                <c:pt idx="1899">
                  <c:v>42674</c:v>
                </c:pt>
                <c:pt idx="1900">
                  <c:v>42675</c:v>
                </c:pt>
                <c:pt idx="1901">
                  <c:v>42676</c:v>
                </c:pt>
                <c:pt idx="1902">
                  <c:v>42677</c:v>
                </c:pt>
                <c:pt idx="1903">
                  <c:v>42678</c:v>
                </c:pt>
                <c:pt idx="1904">
                  <c:v>42681</c:v>
                </c:pt>
                <c:pt idx="1905">
                  <c:v>42682</c:v>
                </c:pt>
                <c:pt idx="1906">
                  <c:v>42683</c:v>
                </c:pt>
                <c:pt idx="1907">
                  <c:v>42684</c:v>
                </c:pt>
                <c:pt idx="1908">
                  <c:v>42685</c:v>
                </c:pt>
                <c:pt idx="1909">
                  <c:v>42688</c:v>
                </c:pt>
                <c:pt idx="1910">
                  <c:v>42689</c:v>
                </c:pt>
                <c:pt idx="1911">
                  <c:v>42690</c:v>
                </c:pt>
                <c:pt idx="1912">
                  <c:v>42691</c:v>
                </c:pt>
                <c:pt idx="1913">
                  <c:v>42692</c:v>
                </c:pt>
                <c:pt idx="1914">
                  <c:v>42695</c:v>
                </c:pt>
                <c:pt idx="1915">
                  <c:v>42696</c:v>
                </c:pt>
                <c:pt idx="1916">
                  <c:v>42697</c:v>
                </c:pt>
                <c:pt idx="1917">
                  <c:v>42698</c:v>
                </c:pt>
                <c:pt idx="1918">
                  <c:v>42699</c:v>
                </c:pt>
                <c:pt idx="1919">
                  <c:v>42702</c:v>
                </c:pt>
                <c:pt idx="1920">
                  <c:v>42703</c:v>
                </c:pt>
                <c:pt idx="1921">
                  <c:v>42704</c:v>
                </c:pt>
                <c:pt idx="1922">
                  <c:v>42705</c:v>
                </c:pt>
                <c:pt idx="1923">
                  <c:v>42706</c:v>
                </c:pt>
                <c:pt idx="1924">
                  <c:v>42709</c:v>
                </c:pt>
                <c:pt idx="1925">
                  <c:v>42710</c:v>
                </c:pt>
                <c:pt idx="1926">
                  <c:v>42711</c:v>
                </c:pt>
                <c:pt idx="1927">
                  <c:v>42712</c:v>
                </c:pt>
                <c:pt idx="1928">
                  <c:v>42713</c:v>
                </c:pt>
                <c:pt idx="1929">
                  <c:v>42716</c:v>
                </c:pt>
                <c:pt idx="1930">
                  <c:v>42717</c:v>
                </c:pt>
                <c:pt idx="1931">
                  <c:v>42718</c:v>
                </c:pt>
                <c:pt idx="1932">
                  <c:v>42719</c:v>
                </c:pt>
                <c:pt idx="1933">
                  <c:v>42720</c:v>
                </c:pt>
                <c:pt idx="1934">
                  <c:v>42723</c:v>
                </c:pt>
                <c:pt idx="1935">
                  <c:v>42724</c:v>
                </c:pt>
                <c:pt idx="1936">
                  <c:v>42725</c:v>
                </c:pt>
                <c:pt idx="1937">
                  <c:v>42726</c:v>
                </c:pt>
                <c:pt idx="1938">
                  <c:v>42727</c:v>
                </c:pt>
                <c:pt idx="1939">
                  <c:v>42730</c:v>
                </c:pt>
                <c:pt idx="1940">
                  <c:v>42731</c:v>
                </c:pt>
                <c:pt idx="1941">
                  <c:v>42732</c:v>
                </c:pt>
                <c:pt idx="1942">
                  <c:v>42733</c:v>
                </c:pt>
                <c:pt idx="1943">
                  <c:v>42734</c:v>
                </c:pt>
                <c:pt idx="1944">
                  <c:v>42738</c:v>
                </c:pt>
                <c:pt idx="1945">
                  <c:v>42739</c:v>
                </c:pt>
                <c:pt idx="1946">
                  <c:v>42740</c:v>
                </c:pt>
                <c:pt idx="1947">
                  <c:v>42741</c:v>
                </c:pt>
                <c:pt idx="1948">
                  <c:v>42744</c:v>
                </c:pt>
                <c:pt idx="1949">
                  <c:v>42745</c:v>
                </c:pt>
                <c:pt idx="1950">
                  <c:v>42746</c:v>
                </c:pt>
                <c:pt idx="1951">
                  <c:v>42747</c:v>
                </c:pt>
                <c:pt idx="1952">
                  <c:v>42748</c:v>
                </c:pt>
                <c:pt idx="1953">
                  <c:v>42751</c:v>
                </c:pt>
                <c:pt idx="1954">
                  <c:v>42752</c:v>
                </c:pt>
                <c:pt idx="1955">
                  <c:v>42753</c:v>
                </c:pt>
                <c:pt idx="1956">
                  <c:v>42754</c:v>
                </c:pt>
                <c:pt idx="1957">
                  <c:v>42755</c:v>
                </c:pt>
                <c:pt idx="1958">
                  <c:v>42758</c:v>
                </c:pt>
                <c:pt idx="1959">
                  <c:v>42759</c:v>
                </c:pt>
                <c:pt idx="1960">
                  <c:v>42760</c:v>
                </c:pt>
                <c:pt idx="1961">
                  <c:v>42761</c:v>
                </c:pt>
                <c:pt idx="1962">
                  <c:v>42769</c:v>
                </c:pt>
                <c:pt idx="1963">
                  <c:v>42772</c:v>
                </c:pt>
                <c:pt idx="1964">
                  <c:v>42773</c:v>
                </c:pt>
                <c:pt idx="1965">
                  <c:v>42774</c:v>
                </c:pt>
                <c:pt idx="1966">
                  <c:v>42775</c:v>
                </c:pt>
                <c:pt idx="1967">
                  <c:v>42776</c:v>
                </c:pt>
                <c:pt idx="1968">
                  <c:v>42779</c:v>
                </c:pt>
                <c:pt idx="1969">
                  <c:v>42780</c:v>
                </c:pt>
                <c:pt idx="1970">
                  <c:v>42781</c:v>
                </c:pt>
                <c:pt idx="1971">
                  <c:v>42782</c:v>
                </c:pt>
                <c:pt idx="1972">
                  <c:v>42783</c:v>
                </c:pt>
                <c:pt idx="1973">
                  <c:v>42786</c:v>
                </c:pt>
                <c:pt idx="1974">
                  <c:v>42787</c:v>
                </c:pt>
                <c:pt idx="1975">
                  <c:v>42788</c:v>
                </c:pt>
                <c:pt idx="1976">
                  <c:v>42789</c:v>
                </c:pt>
                <c:pt idx="1977">
                  <c:v>42790</c:v>
                </c:pt>
                <c:pt idx="1978">
                  <c:v>42793</c:v>
                </c:pt>
                <c:pt idx="1979">
                  <c:v>42794</c:v>
                </c:pt>
                <c:pt idx="1980">
                  <c:v>42795</c:v>
                </c:pt>
                <c:pt idx="1981">
                  <c:v>42796</c:v>
                </c:pt>
                <c:pt idx="1982">
                  <c:v>42797</c:v>
                </c:pt>
                <c:pt idx="1983">
                  <c:v>42800</c:v>
                </c:pt>
                <c:pt idx="1984">
                  <c:v>42801</c:v>
                </c:pt>
                <c:pt idx="1985">
                  <c:v>42802</c:v>
                </c:pt>
                <c:pt idx="1986">
                  <c:v>42803</c:v>
                </c:pt>
                <c:pt idx="1987">
                  <c:v>42804</c:v>
                </c:pt>
                <c:pt idx="1988">
                  <c:v>42807</c:v>
                </c:pt>
                <c:pt idx="1989">
                  <c:v>42808</c:v>
                </c:pt>
                <c:pt idx="1990">
                  <c:v>42809</c:v>
                </c:pt>
                <c:pt idx="1991">
                  <c:v>42810</c:v>
                </c:pt>
                <c:pt idx="1992">
                  <c:v>42811</c:v>
                </c:pt>
                <c:pt idx="1993">
                  <c:v>42814</c:v>
                </c:pt>
                <c:pt idx="1994">
                  <c:v>42815</c:v>
                </c:pt>
                <c:pt idx="1995">
                  <c:v>42816</c:v>
                </c:pt>
                <c:pt idx="1996">
                  <c:v>42817</c:v>
                </c:pt>
                <c:pt idx="1997">
                  <c:v>42818</c:v>
                </c:pt>
                <c:pt idx="1998">
                  <c:v>42821</c:v>
                </c:pt>
                <c:pt idx="1999">
                  <c:v>42822</c:v>
                </c:pt>
                <c:pt idx="2000">
                  <c:v>42823</c:v>
                </c:pt>
                <c:pt idx="2001">
                  <c:v>42824</c:v>
                </c:pt>
                <c:pt idx="2002">
                  <c:v>42825</c:v>
                </c:pt>
                <c:pt idx="2003">
                  <c:v>42830</c:v>
                </c:pt>
                <c:pt idx="2004">
                  <c:v>42831</c:v>
                </c:pt>
                <c:pt idx="2005">
                  <c:v>42832</c:v>
                </c:pt>
                <c:pt idx="2006">
                  <c:v>42835</c:v>
                </c:pt>
                <c:pt idx="2007">
                  <c:v>42836</c:v>
                </c:pt>
                <c:pt idx="2008">
                  <c:v>42837</c:v>
                </c:pt>
                <c:pt idx="2009">
                  <c:v>42838</c:v>
                </c:pt>
                <c:pt idx="2010">
                  <c:v>42839</c:v>
                </c:pt>
                <c:pt idx="2011">
                  <c:v>42842</c:v>
                </c:pt>
                <c:pt idx="2012">
                  <c:v>42843</c:v>
                </c:pt>
                <c:pt idx="2013">
                  <c:v>42844</c:v>
                </c:pt>
                <c:pt idx="2014">
                  <c:v>42845</c:v>
                </c:pt>
                <c:pt idx="2015">
                  <c:v>42846</c:v>
                </c:pt>
                <c:pt idx="2016">
                  <c:v>42849</c:v>
                </c:pt>
                <c:pt idx="2017">
                  <c:v>42850</c:v>
                </c:pt>
                <c:pt idx="2018">
                  <c:v>42851</c:v>
                </c:pt>
                <c:pt idx="2019">
                  <c:v>42852</c:v>
                </c:pt>
                <c:pt idx="2020">
                  <c:v>42853</c:v>
                </c:pt>
                <c:pt idx="2021">
                  <c:v>42857</c:v>
                </c:pt>
                <c:pt idx="2022">
                  <c:v>42858</c:v>
                </c:pt>
                <c:pt idx="2023">
                  <c:v>42859</c:v>
                </c:pt>
                <c:pt idx="2024">
                  <c:v>42860</c:v>
                </c:pt>
                <c:pt idx="2025">
                  <c:v>42863</c:v>
                </c:pt>
                <c:pt idx="2026">
                  <c:v>42864</c:v>
                </c:pt>
                <c:pt idx="2027">
                  <c:v>42865</c:v>
                </c:pt>
                <c:pt idx="2028">
                  <c:v>42866</c:v>
                </c:pt>
                <c:pt idx="2029">
                  <c:v>42867</c:v>
                </c:pt>
                <c:pt idx="2030">
                  <c:v>42870</c:v>
                </c:pt>
                <c:pt idx="2031">
                  <c:v>42871</c:v>
                </c:pt>
                <c:pt idx="2032">
                  <c:v>42872</c:v>
                </c:pt>
                <c:pt idx="2033">
                  <c:v>42873</c:v>
                </c:pt>
                <c:pt idx="2034">
                  <c:v>42874</c:v>
                </c:pt>
                <c:pt idx="2035">
                  <c:v>42877</c:v>
                </c:pt>
                <c:pt idx="2036">
                  <c:v>42878</c:v>
                </c:pt>
                <c:pt idx="2037">
                  <c:v>42879</c:v>
                </c:pt>
                <c:pt idx="2038">
                  <c:v>42880</c:v>
                </c:pt>
                <c:pt idx="2039">
                  <c:v>42881</c:v>
                </c:pt>
                <c:pt idx="2040">
                  <c:v>42886</c:v>
                </c:pt>
                <c:pt idx="2041">
                  <c:v>42887</c:v>
                </c:pt>
                <c:pt idx="2042">
                  <c:v>42888</c:v>
                </c:pt>
                <c:pt idx="2043">
                  <c:v>42891</c:v>
                </c:pt>
                <c:pt idx="2044">
                  <c:v>42892</c:v>
                </c:pt>
                <c:pt idx="2045">
                  <c:v>42893</c:v>
                </c:pt>
                <c:pt idx="2046">
                  <c:v>42894</c:v>
                </c:pt>
                <c:pt idx="2047">
                  <c:v>42895</c:v>
                </c:pt>
                <c:pt idx="2048">
                  <c:v>42898</c:v>
                </c:pt>
                <c:pt idx="2049">
                  <c:v>42899</c:v>
                </c:pt>
                <c:pt idx="2050">
                  <c:v>42900</c:v>
                </c:pt>
                <c:pt idx="2051">
                  <c:v>42901</c:v>
                </c:pt>
                <c:pt idx="2052">
                  <c:v>42902</c:v>
                </c:pt>
                <c:pt idx="2053">
                  <c:v>42905</c:v>
                </c:pt>
                <c:pt idx="2054">
                  <c:v>42906</c:v>
                </c:pt>
                <c:pt idx="2055">
                  <c:v>42907</c:v>
                </c:pt>
                <c:pt idx="2056">
                  <c:v>42908</c:v>
                </c:pt>
                <c:pt idx="2057">
                  <c:v>42909</c:v>
                </c:pt>
                <c:pt idx="2058">
                  <c:v>42912</c:v>
                </c:pt>
                <c:pt idx="2059">
                  <c:v>42913</c:v>
                </c:pt>
                <c:pt idx="2060">
                  <c:v>42914</c:v>
                </c:pt>
                <c:pt idx="2061">
                  <c:v>42915</c:v>
                </c:pt>
                <c:pt idx="2062">
                  <c:v>42916</c:v>
                </c:pt>
                <c:pt idx="2063">
                  <c:v>42919</c:v>
                </c:pt>
                <c:pt idx="2064">
                  <c:v>42920</c:v>
                </c:pt>
                <c:pt idx="2065">
                  <c:v>42921</c:v>
                </c:pt>
                <c:pt idx="2066">
                  <c:v>42922</c:v>
                </c:pt>
                <c:pt idx="2067">
                  <c:v>42923</c:v>
                </c:pt>
                <c:pt idx="2068">
                  <c:v>42926</c:v>
                </c:pt>
                <c:pt idx="2069">
                  <c:v>42927</c:v>
                </c:pt>
                <c:pt idx="2070">
                  <c:v>42928</c:v>
                </c:pt>
                <c:pt idx="2071">
                  <c:v>42929</c:v>
                </c:pt>
                <c:pt idx="2072">
                  <c:v>42930</c:v>
                </c:pt>
                <c:pt idx="2073">
                  <c:v>42933</c:v>
                </c:pt>
                <c:pt idx="2074">
                  <c:v>42934</c:v>
                </c:pt>
                <c:pt idx="2075">
                  <c:v>42935</c:v>
                </c:pt>
                <c:pt idx="2076">
                  <c:v>42936</c:v>
                </c:pt>
                <c:pt idx="2077">
                  <c:v>42937</c:v>
                </c:pt>
                <c:pt idx="2078">
                  <c:v>42940</c:v>
                </c:pt>
                <c:pt idx="2079">
                  <c:v>42941</c:v>
                </c:pt>
                <c:pt idx="2080">
                  <c:v>42942</c:v>
                </c:pt>
                <c:pt idx="2081">
                  <c:v>42943</c:v>
                </c:pt>
                <c:pt idx="2082">
                  <c:v>42944</c:v>
                </c:pt>
                <c:pt idx="2083">
                  <c:v>42947</c:v>
                </c:pt>
                <c:pt idx="2084">
                  <c:v>42948</c:v>
                </c:pt>
                <c:pt idx="2085">
                  <c:v>42949</c:v>
                </c:pt>
                <c:pt idx="2086">
                  <c:v>42950</c:v>
                </c:pt>
                <c:pt idx="2087">
                  <c:v>42951</c:v>
                </c:pt>
                <c:pt idx="2088">
                  <c:v>42954</c:v>
                </c:pt>
                <c:pt idx="2089">
                  <c:v>42955</c:v>
                </c:pt>
                <c:pt idx="2090">
                  <c:v>42956</c:v>
                </c:pt>
                <c:pt idx="2091">
                  <c:v>42957</c:v>
                </c:pt>
                <c:pt idx="2092">
                  <c:v>42958</c:v>
                </c:pt>
                <c:pt idx="2093">
                  <c:v>42961</c:v>
                </c:pt>
                <c:pt idx="2094">
                  <c:v>42962</c:v>
                </c:pt>
                <c:pt idx="2095">
                  <c:v>42963</c:v>
                </c:pt>
                <c:pt idx="2096">
                  <c:v>42964</c:v>
                </c:pt>
                <c:pt idx="2097">
                  <c:v>42965</c:v>
                </c:pt>
                <c:pt idx="2098">
                  <c:v>42968</c:v>
                </c:pt>
                <c:pt idx="2099">
                  <c:v>42969</c:v>
                </c:pt>
                <c:pt idx="2100">
                  <c:v>42970</c:v>
                </c:pt>
                <c:pt idx="2101">
                  <c:v>42971</c:v>
                </c:pt>
                <c:pt idx="2102">
                  <c:v>42972</c:v>
                </c:pt>
                <c:pt idx="2103">
                  <c:v>42975</c:v>
                </c:pt>
                <c:pt idx="2104">
                  <c:v>42976</c:v>
                </c:pt>
                <c:pt idx="2105">
                  <c:v>42977</c:v>
                </c:pt>
                <c:pt idx="2106">
                  <c:v>42978</c:v>
                </c:pt>
                <c:pt idx="2107">
                  <c:v>42979</c:v>
                </c:pt>
                <c:pt idx="2108">
                  <c:v>42982</c:v>
                </c:pt>
                <c:pt idx="2109">
                  <c:v>42983</c:v>
                </c:pt>
                <c:pt idx="2110">
                  <c:v>42984</c:v>
                </c:pt>
                <c:pt idx="2111">
                  <c:v>42985</c:v>
                </c:pt>
                <c:pt idx="2112">
                  <c:v>42986</c:v>
                </c:pt>
                <c:pt idx="2113">
                  <c:v>42989</c:v>
                </c:pt>
                <c:pt idx="2114">
                  <c:v>42990</c:v>
                </c:pt>
                <c:pt idx="2115">
                  <c:v>42991</c:v>
                </c:pt>
                <c:pt idx="2116">
                  <c:v>42992</c:v>
                </c:pt>
                <c:pt idx="2117">
                  <c:v>42993</c:v>
                </c:pt>
                <c:pt idx="2118">
                  <c:v>42996</c:v>
                </c:pt>
                <c:pt idx="2119">
                  <c:v>42997</c:v>
                </c:pt>
                <c:pt idx="2120">
                  <c:v>42998</c:v>
                </c:pt>
                <c:pt idx="2121">
                  <c:v>42999</c:v>
                </c:pt>
                <c:pt idx="2122">
                  <c:v>43000</c:v>
                </c:pt>
                <c:pt idx="2123">
                  <c:v>43003</c:v>
                </c:pt>
                <c:pt idx="2124">
                  <c:v>43004</c:v>
                </c:pt>
                <c:pt idx="2125">
                  <c:v>43005</c:v>
                </c:pt>
                <c:pt idx="2126">
                  <c:v>43006</c:v>
                </c:pt>
                <c:pt idx="2127">
                  <c:v>43007</c:v>
                </c:pt>
                <c:pt idx="2128">
                  <c:v>43017</c:v>
                </c:pt>
                <c:pt idx="2129">
                  <c:v>43018</c:v>
                </c:pt>
                <c:pt idx="2130">
                  <c:v>43019</c:v>
                </c:pt>
                <c:pt idx="2131">
                  <c:v>43020</c:v>
                </c:pt>
                <c:pt idx="2132">
                  <c:v>43021</c:v>
                </c:pt>
                <c:pt idx="2133">
                  <c:v>43024</c:v>
                </c:pt>
                <c:pt idx="2134">
                  <c:v>43025</c:v>
                </c:pt>
                <c:pt idx="2135">
                  <c:v>43026</c:v>
                </c:pt>
                <c:pt idx="2136">
                  <c:v>43027</c:v>
                </c:pt>
                <c:pt idx="2137">
                  <c:v>43028</c:v>
                </c:pt>
                <c:pt idx="2138">
                  <c:v>43031</c:v>
                </c:pt>
                <c:pt idx="2139">
                  <c:v>43032</c:v>
                </c:pt>
                <c:pt idx="2140">
                  <c:v>43033</c:v>
                </c:pt>
                <c:pt idx="2141">
                  <c:v>43034</c:v>
                </c:pt>
                <c:pt idx="2142">
                  <c:v>43035</c:v>
                </c:pt>
                <c:pt idx="2143">
                  <c:v>43038</c:v>
                </c:pt>
                <c:pt idx="2144">
                  <c:v>43039</c:v>
                </c:pt>
                <c:pt idx="2145">
                  <c:v>43040</c:v>
                </c:pt>
                <c:pt idx="2146">
                  <c:v>43041</c:v>
                </c:pt>
                <c:pt idx="2147">
                  <c:v>43042</c:v>
                </c:pt>
                <c:pt idx="2148">
                  <c:v>43045</c:v>
                </c:pt>
                <c:pt idx="2149">
                  <c:v>43046</c:v>
                </c:pt>
                <c:pt idx="2150">
                  <c:v>43047</c:v>
                </c:pt>
                <c:pt idx="2151">
                  <c:v>43048</c:v>
                </c:pt>
                <c:pt idx="2152">
                  <c:v>43049</c:v>
                </c:pt>
                <c:pt idx="2153">
                  <c:v>43052</c:v>
                </c:pt>
                <c:pt idx="2154">
                  <c:v>43053</c:v>
                </c:pt>
                <c:pt idx="2155">
                  <c:v>43054</c:v>
                </c:pt>
                <c:pt idx="2156">
                  <c:v>43055</c:v>
                </c:pt>
                <c:pt idx="2157">
                  <c:v>43056</c:v>
                </c:pt>
                <c:pt idx="2158">
                  <c:v>43059</c:v>
                </c:pt>
                <c:pt idx="2159">
                  <c:v>43060</c:v>
                </c:pt>
                <c:pt idx="2160">
                  <c:v>43061</c:v>
                </c:pt>
                <c:pt idx="2161">
                  <c:v>43062</c:v>
                </c:pt>
                <c:pt idx="2162">
                  <c:v>43063</c:v>
                </c:pt>
                <c:pt idx="2163">
                  <c:v>43066</c:v>
                </c:pt>
                <c:pt idx="2164">
                  <c:v>43067</c:v>
                </c:pt>
                <c:pt idx="2165">
                  <c:v>43068</c:v>
                </c:pt>
                <c:pt idx="2166">
                  <c:v>43069</c:v>
                </c:pt>
                <c:pt idx="2167">
                  <c:v>43070</c:v>
                </c:pt>
                <c:pt idx="2168">
                  <c:v>43073</c:v>
                </c:pt>
                <c:pt idx="2169">
                  <c:v>43074</c:v>
                </c:pt>
                <c:pt idx="2170">
                  <c:v>43075</c:v>
                </c:pt>
                <c:pt idx="2171">
                  <c:v>43076</c:v>
                </c:pt>
                <c:pt idx="2172">
                  <c:v>43077</c:v>
                </c:pt>
                <c:pt idx="2173">
                  <c:v>43080</c:v>
                </c:pt>
                <c:pt idx="2174">
                  <c:v>43081</c:v>
                </c:pt>
                <c:pt idx="2175">
                  <c:v>43082</c:v>
                </c:pt>
                <c:pt idx="2176">
                  <c:v>43083</c:v>
                </c:pt>
                <c:pt idx="2177">
                  <c:v>43084</c:v>
                </c:pt>
                <c:pt idx="2178">
                  <c:v>43087</c:v>
                </c:pt>
                <c:pt idx="2179">
                  <c:v>43088</c:v>
                </c:pt>
                <c:pt idx="2180">
                  <c:v>43089</c:v>
                </c:pt>
                <c:pt idx="2181">
                  <c:v>43090</c:v>
                </c:pt>
                <c:pt idx="2182">
                  <c:v>43091</c:v>
                </c:pt>
                <c:pt idx="2183">
                  <c:v>43094</c:v>
                </c:pt>
                <c:pt idx="2184">
                  <c:v>43095</c:v>
                </c:pt>
                <c:pt idx="2185">
                  <c:v>43096</c:v>
                </c:pt>
                <c:pt idx="2186">
                  <c:v>43097</c:v>
                </c:pt>
                <c:pt idx="2187">
                  <c:v>43098</c:v>
                </c:pt>
                <c:pt idx="2188">
                  <c:v>43102</c:v>
                </c:pt>
                <c:pt idx="2189">
                  <c:v>43103</c:v>
                </c:pt>
                <c:pt idx="2190">
                  <c:v>43104</c:v>
                </c:pt>
                <c:pt idx="2191">
                  <c:v>43105</c:v>
                </c:pt>
                <c:pt idx="2192">
                  <c:v>43108</c:v>
                </c:pt>
                <c:pt idx="2193">
                  <c:v>43109</c:v>
                </c:pt>
                <c:pt idx="2194">
                  <c:v>43110</c:v>
                </c:pt>
                <c:pt idx="2195">
                  <c:v>43111</c:v>
                </c:pt>
                <c:pt idx="2196">
                  <c:v>43112</c:v>
                </c:pt>
                <c:pt idx="2197">
                  <c:v>43115</c:v>
                </c:pt>
                <c:pt idx="2198">
                  <c:v>43116</c:v>
                </c:pt>
                <c:pt idx="2199">
                  <c:v>43117</c:v>
                </c:pt>
                <c:pt idx="2200">
                  <c:v>43118</c:v>
                </c:pt>
                <c:pt idx="2201">
                  <c:v>43119</c:v>
                </c:pt>
                <c:pt idx="2202">
                  <c:v>43122</c:v>
                </c:pt>
                <c:pt idx="2203">
                  <c:v>43123</c:v>
                </c:pt>
                <c:pt idx="2204">
                  <c:v>43124</c:v>
                </c:pt>
                <c:pt idx="2205">
                  <c:v>43125</c:v>
                </c:pt>
                <c:pt idx="2206">
                  <c:v>43126</c:v>
                </c:pt>
                <c:pt idx="2207">
                  <c:v>43129</c:v>
                </c:pt>
                <c:pt idx="2208">
                  <c:v>43130</c:v>
                </c:pt>
                <c:pt idx="2209">
                  <c:v>43131</c:v>
                </c:pt>
                <c:pt idx="2210">
                  <c:v>43132</c:v>
                </c:pt>
                <c:pt idx="2211">
                  <c:v>43133</c:v>
                </c:pt>
                <c:pt idx="2212">
                  <c:v>43136</c:v>
                </c:pt>
                <c:pt idx="2213">
                  <c:v>43137</c:v>
                </c:pt>
                <c:pt idx="2214">
                  <c:v>43138</c:v>
                </c:pt>
                <c:pt idx="2215">
                  <c:v>43139</c:v>
                </c:pt>
                <c:pt idx="2216">
                  <c:v>43140</c:v>
                </c:pt>
                <c:pt idx="2217">
                  <c:v>43143</c:v>
                </c:pt>
                <c:pt idx="2218">
                  <c:v>43144</c:v>
                </c:pt>
                <c:pt idx="2219">
                  <c:v>43145</c:v>
                </c:pt>
                <c:pt idx="2220">
                  <c:v>43153</c:v>
                </c:pt>
                <c:pt idx="2221">
                  <c:v>43154</c:v>
                </c:pt>
                <c:pt idx="2222">
                  <c:v>43157</c:v>
                </c:pt>
                <c:pt idx="2223">
                  <c:v>43158</c:v>
                </c:pt>
                <c:pt idx="2224">
                  <c:v>43159</c:v>
                </c:pt>
                <c:pt idx="2225">
                  <c:v>43160</c:v>
                </c:pt>
                <c:pt idx="2226">
                  <c:v>43161</c:v>
                </c:pt>
                <c:pt idx="2227">
                  <c:v>43164</c:v>
                </c:pt>
                <c:pt idx="2228">
                  <c:v>43165</c:v>
                </c:pt>
                <c:pt idx="2229">
                  <c:v>43166</c:v>
                </c:pt>
                <c:pt idx="2230">
                  <c:v>43167</c:v>
                </c:pt>
                <c:pt idx="2231">
                  <c:v>43168</c:v>
                </c:pt>
                <c:pt idx="2232">
                  <c:v>43171</c:v>
                </c:pt>
                <c:pt idx="2233">
                  <c:v>43172</c:v>
                </c:pt>
                <c:pt idx="2234">
                  <c:v>43173</c:v>
                </c:pt>
                <c:pt idx="2235">
                  <c:v>43174</c:v>
                </c:pt>
                <c:pt idx="2236">
                  <c:v>43175</c:v>
                </c:pt>
                <c:pt idx="2237">
                  <c:v>43178</c:v>
                </c:pt>
                <c:pt idx="2238">
                  <c:v>43179</c:v>
                </c:pt>
                <c:pt idx="2239">
                  <c:v>43180</c:v>
                </c:pt>
                <c:pt idx="2240">
                  <c:v>43181</c:v>
                </c:pt>
                <c:pt idx="2241">
                  <c:v>43182</c:v>
                </c:pt>
                <c:pt idx="2242">
                  <c:v>43185</c:v>
                </c:pt>
                <c:pt idx="2243">
                  <c:v>43186</c:v>
                </c:pt>
                <c:pt idx="2244">
                  <c:v>43187</c:v>
                </c:pt>
                <c:pt idx="2245">
                  <c:v>43188</c:v>
                </c:pt>
                <c:pt idx="2246">
                  <c:v>43189</c:v>
                </c:pt>
                <c:pt idx="2247">
                  <c:v>43192</c:v>
                </c:pt>
                <c:pt idx="2248">
                  <c:v>43193</c:v>
                </c:pt>
                <c:pt idx="2249">
                  <c:v>43194</c:v>
                </c:pt>
                <c:pt idx="2250">
                  <c:v>43199</c:v>
                </c:pt>
                <c:pt idx="2251">
                  <c:v>43200</c:v>
                </c:pt>
                <c:pt idx="2252">
                  <c:v>43201</c:v>
                </c:pt>
                <c:pt idx="2253">
                  <c:v>43202</c:v>
                </c:pt>
                <c:pt idx="2254">
                  <c:v>43203</c:v>
                </c:pt>
                <c:pt idx="2255">
                  <c:v>43206</c:v>
                </c:pt>
                <c:pt idx="2256">
                  <c:v>43207</c:v>
                </c:pt>
                <c:pt idx="2257">
                  <c:v>43208</c:v>
                </c:pt>
                <c:pt idx="2258">
                  <c:v>43209</c:v>
                </c:pt>
                <c:pt idx="2259">
                  <c:v>43210</c:v>
                </c:pt>
                <c:pt idx="2260">
                  <c:v>43213</c:v>
                </c:pt>
                <c:pt idx="2261">
                  <c:v>43214</c:v>
                </c:pt>
                <c:pt idx="2262">
                  <c:v>43215</c:v>
                </c:pt>
                <c:pt idx="2263">
                  <c:v>43216</c:v>
                </c:pt>
                <c:pt idx="2264">
                  <c:v>43217</c:v>
                </c:pt>
                <c:pt idx="2265">
                  <c:v>43222</c:v>
                </c:pt>
                <c:pt idx="2266">
                  <c:v>43223</c:v>
                </c:pt>
                <c:pt idx="2267">
                  <c:v>43224</c:v>
                </c:pt>
                <c:pt idx="2268">
                  <c:v>43227</c:v>
                </c:pt>
                <c:pt idx="2269">
                  <c:v>43228</c:v>
                </c:pt>
                <c:pt idx="2270">
                  <c:v>43229</c:v>
                </c:pt>
                <c:pt idx="2271">
                  <c:v>43230</c:v>
                </c:pt>
                <c:pt idx="2272">
                  <c:v>43231</c:v>
                </c:pt>
                <c:pt idx="2273">
                  <c:v>43234</c:v>
                </c:pt>
                <c:pt idx="2274">
                  <c:v>43235</c:v>
                </c:pt>
                <c:pt idx="2275">
                  <c:v>43236</c:v>
                </c:pt>
                <c:pt idx="2276">
                  <c:v>43237</c:v>
                </c:pt>
                <c:pt idx="2277">
                  <c:v>43238</c:v>
                </c:pt>
                <c:pt idx="2278">
                  <c:v>43241</c:v>
                </c:pt>
                <c:pt idx="2279">
                  <c:v>43242</c:v>
                </c:pt>
                <c:pt idx="2280">
                  <c:v>43243</c:v>
                </c:pt>
                <c:pt idx="2281">
                  <c:v>43244</c:v>
                </c:pt>
                <c:pt idx="2282">
                  <c:v>43245</c:v>
                </c:pt>
                <c:pt idx="2283">
                  <c:v>43248</c:v>
                </c:pt>
                <c:pt idx="2284">
                  <c:v>43249</c:v>
                </c:pt>
                <c:pt idx="2285">
                  <c:v>43250</c:v>
                </c:pt>
                <c:pt idx="2286">
                  <c:v>43251</c:v>
                </c:pt>
                <c:pt idx="2287">
                  <c:v>43252</c:v>
                </c:pt>
                <c:pt idx="2288">
                  <c:v>43255</c:v>
                </c:pt>
                <c:pt idx="2289">
                  <c:v>43256</c:v>
                </c:pt>
                <c:pt idx="2290">
                  <c:v>43257</c:v>
                </c:pt>
                <c:pt idx="2291">
                  <c:v>43258</c:v>
                </c:pt>
                <c:pt idx="2292">
                  <c:v>43259</c:v>
                </c:pt>
                <c:pt idx="2293">
                  <c:v>43262</c:v>
                </c:pt>
                <c:pt idx="2294">
                  <c:v>43263</c:v>
                </c:pt>
                <c:pt idx="2295">
                  <c:v>43264</c:v>
                </c:pt>
                <c:pt idx="2296">
                  <c:v>43265</c:v>
                </c:pt>
                <c:pt idx="2297">
                  <c:v>43266</c:v>
                </c:pt>
                <c:pt idx="2298">
                  <c:v>43270</c:v>
                </c:pt>
                <c:pt idx="2299">
                  <c:v>43271</c:v>
                </c:pt>
                <c:pt idx="2300">
                  <c:v>43272</c:v>
                </c:pt>
                <c:pt idx="2301">
                  <c:v>43273</c:v>
                </c:pt>
                <c:pt idx="2302">
                  <c:v>43276</c:v>
                </c:pt>
                <c:pt idx="2303">
                  <c:v>43277</c:v>
                </c:pt>
                <c:pt idx="2304">
                  <c:v>43278</c:v>
                </c:pt>
                <c:pt idx="2305">
                  <c:v>43279</c:v>
                </c:pt>
                <c:pt idx="2306">
                  <c:v>43280</c:v>
                </c:pt>
                <c:pt idx="2307">
                  <c:v>43283</c:v>
                </c:pt>
                <c:pt idx="2308">
                  <c:v>43284</c:v>
                </c:pt>
                <c:pt idx="2309">
                  <c:v>43285</c:v>
                </c:pt>
                <c:pt idx="2310">
                  <c:v>43286</c:v>
                </c:pt>
                <c:pt idx="2311">
                  <c:v>43287</c:v>
                </c:pt>
                <c:pt idx="2312">
                  <c:v>43290</c:v>
                </c:pt>
                <c:pt idx="2313">
                  <c:v>43291</c:v>
                </c:pt>
                <c:pt idx="2314">
                  <c:v>43292</c:v>
                </c:pt>
                <c:pt idx="2315">
                  <c:v>43293</c:v>
                </c:pt>
                <c:pt idx="2316">
                  <c:v>43294</c:v>
                </c:pt>
                <c:pt idx="2317">
                  <c:v>43297</c:v>
                </c:pt>
                <c:pt idx="2318">
                  <c:v>43298</c:v>
                </c:pt>
                <c:pt idx="2319">
                  <c:v>43299</c:v>
                </c:pt>
                <c:pt idx="2320">
                  <c:v>43300</c:v>
                </c:pt>
                <c:pt idx="2321">
                  <c:v>43301</c:v>
                </c:pt>
                <c:pt idx="2322">
                  <c:v>43304</c:v>
                </c:pt>
                <c:pt idx="2323">
                  <c:v>43305</c:v>
                </c:pt>
                <c:pt idx="2324">
                  <c:v>43306</c:v>
                </c:pt>
                <c:pt idx="2325">
                  <c:v>43307</c:v>
                </c:pt>
                <c:pt idx="2326">
                  <c:v>43308</c:v>
                </c:pt>
                <c:pt idx="2327">
                  <c:v>43311</c:v>
                </c:pt>
                <c:pt idx="2328">
                  <c:v>43312</c:v>
                </c:pt>
                <c:pt idx="2329">
                  <c:v>43313</c:v>
                </c:pt>
                <c:pt idx="2330">
                  <c:v>43314</c:v>
                </c:pt>
                <c:pt idx="2331">
                  <c:v>43315</c:v>
                </c:pt>
                <c:pt idx="2332">
                  <c:v>43318</c:v>
                </c:pt>
                <c:pt idx="2333">
                  <c:v>43319</c:v>
                </c:pt>
                <c:pt idx="2334">
                  <c:v>43320</c:v>
                </c:pt>
                <c:pt idx="2335">
                  <c:v>43321</c:v>
                </c:pt>
                <c:pt idx="2336">
                  <c:v>43322</c:v>
                </c:pt>
                <c:pt idx="2337">
                  <c:v>43325</c:v>
                </c:pt>
                <c:pt idx="2338">
                  <c:v>43326</c:v>
                </c:pt>
                <c:pt idx="2339">
                  <c:v>43327</c:v>
                </c:pt>
                <c:pt idx="2340">
                  <c:v>43328</c:v>
                </c:pt>
                <c:pt idx="2341">
                  <c:v>43329</c:v>
                </c:pt>
                <c:pt idx="2342">
                  <c:v>43332</c:v>
                </c:pt>
                <c:pt idx="2343">
                  <c:v>43333</c:v>
                </c:pt>
                <c:pt idx="2344">
                  <c:v>43334</c:v>
                </c:pt>
                <c:pt idx="2345">
                  <c:v>43335</c:v>
                </c:pt>
                <c:pt idx="2346">
                  <c:v>43336</c:v>
                </c:pt>
                <c:pt idx="2347">
                  <c:v>43339</c:v>
                </c:pt>
                <c:pt idx="2348">
                  <c:v>43340</c:v>
                </c:pt>
                <c:pt idx="2349">
                  <c:v>43341</c:v>
                </c:pt>
                <c:pt idx="2350">
                  <c:v>43342</c:v>
                </c:pt>
                <c:pt idx="2351">
                  <c:v>43343</c:v>
                </c:pt>
                <c:pt idx="2352">
                  <c:v>43346</c:v>
                </c:pt>
                <c:pt idx="2353">
                  <c:v>43347</c:v>
                </c:pt>
                <c:pt idx="2354">
                  <c:v>43348</c:v>
                </c:pt>
                <c:pt idx="2355">
                  <c:v>43349</c:v>
                </c:pt>
                <c:pt idx="2356">
                  <c:v>43350</c:v>
                </c:pt>
                <c:pt idx="2357">
                  <c:v>43353</c:v>
                </c:pt>
                <c:pt idx="2358">
                  <c:v>43354</c:v>
                </c:pt>
                <c:pt idx="2359">
                  <c:v>43355</c:v>
                </c:pt>
                <c:pt idx="2360">
                  <c:v>43356</c:v>
                </c:pt>
                <c:pt idx="2361">
                  <c:v>43357</c:v>
                </c:pt>
                <c:pt idx="2362">
                  <c:v>43360</c:v>
                </c:pt>
                <c:pt idx="2363">
                  <c:v>43361</c:v>
                </c:pt>
                <c:pt idx="2364">
                  <c:v>43362</c:v>
                </c:pt>
                <c:pt idx="2365">
                  <c:v>43363</c:v>
                </c:pt>
                <c:pt idx="2366">
                  <c:v>43364</c:v>
                </c:pt>
                <c:pt idx="2367">
                  <c:v>43368</c:v>
                </c:pt>
                <c:pt idx="2368">
                  <c:v>43369</c:v>
                </c:pt>
                <c:pt idx="2369">
                  <c:v>43370</c:v>
                </c:pt>
                <c:pt idx="2370">
                  <c:v>43371</c:v>
                </c:pt>
                <c:pt idx="2371">
                  <c:v>43381</c:v>
                </c:pt>
                <c:pt idx="2372">
                  <c:v>43382</c:v>
                </c:pt>
                <c:pt idx="2373">
                  <c:v>43383</c:v>
                </c:pt>
                <c:pt idx="2374">
                  <c:v>43384</c:v>
                </c:pt>
                <c:pt idx="2375">
                  <c:v>43385</c:v>
                </c:pt>
                <c:pt idx="2376">
                  <c:v>43388</c:v>
                </c:pt>
                <c:pt idx="2377">
                  <c:v>43389</c:v>
                </c:pt>
                <c:pt idx="2378">
                  <c:v>43390</c:v>
                </c:pt>
                <c:pt idx="2379">
                  <c:v>43391</c:v>
                </c:pt>
                <c:pt idx="2380">
                  <c:v>43392</c:v>
                </c:pt>
                <c:pt idx="2381">
                  <c:v>43395</c:v>
                </c:pt>
                <c:pt idx="2382">
                  <c:v>43396</c:v>
                </c:pt>
                <c:pt idx="2383">
                  <c:v>43397</c:v>
                </c:pt>
                <c:pt idx="2384">
                  <c:v>43398</c:v>
                </c:pt>
                <c:pt idx="2385">
                  <c:v>43399</c:v>
                </c:pt>
                <c:pt idx="2386">
                  <c:v>43402</c:v>
                </c:pt>
                <c:pt idx="2387">
                  <c:v>43403</c:v>
                </c:pt>
                <c:pt idx="2388">
                  <c:v>43404</c:v>
                </c:pt>
                <c:pt idx="2389">
                  <c:v>43405</c:v>
                </c:pt>
                <c:pt idx="2390">
                  <c:v>43406</c:v>
                </c:pt>
                <c:pt idx="2391">
                  <c:v>43409</c:v>
                </c:pt>
                <c:pt idx="2392">
                  <c:v>43410</c:v>
                </c:pt>
                <c:pt idx="2393">
                  <c:v>43411</c:v>
                </c:pt>
                <c:pt idx="2394">
                  <c:v>43412</c:v>
                </c:pt>
                <c:pt idx="2395">
                  <c:v>43413</c:v>
                </c:pt>
                <c:pt idx="2396">
                  <c:v>43416</c:v>
                </c:pt>
                <c:pt idx="2397">
                  <c:v>43417</c:v>
                </c:pt>
                <c:pt idx="2398">
                  <c:v>43418</c:v>
                </c:pt>
                <c:pt idx="2399">
                  <c:v>43419</c:v>
                </c:pt>
                <c:pt idx="2400">
                  <c:v>43420</c:v>
                </c:pt>
                <c:pt idx="2401">
                  <c:v>43423</c:v>
                </c:pt>
                <c:pt idx="2402">
                  <c:v>43424</c:v>
                </c:pt>
                <c:pt idx="2403">
                  <c:v>43425</c:v>
                </c:pt>
                <c:pt idx="2404">
                  <c:v>43426</c:v>
                </c:pt>
                <c:pt idx="2405">
                  <c:v>43427</c:v>
                </c:pt>
                <c:pt idx="2406">
                  <c:v>43430</c:v>
                </c:pt>
                <c:pt idx="2407">
                  <c:v>43431</c:v>
                </c:pt>
                <c:pt idx="2408">
                  <c:v>43432</c:v>
                </c:pt>
                <c:pt idx="2409">
                  <c:v>43433</c:v>
                </c:pt>
                <c:pt idx="2410">
                  <c:v>43434</c:v>
                </c:pt>
                <c:pt idx="2411">
                  <c:v>43437</c:v>
                </c:pt>
                <c:pt idx="2412">
                  <c:v>43438</c:v>
                </c:pt>
                <c:pt idx="2413">
                  <c:v>43439</c:v>
                </c:pt>
                <c:pt idx="2414">
                  <c:v>43440</c:v>
                </c:pt>
                <c:pt idx="2415">
                  <c:v>43441</c:v>
                </c:pt>
                <c:pt idx="2416">
                  <c:v>43444</c:v>
                </c:pt>
                <c:pt idx="2417">
                  <c:v>43445</c:v>
                </c:pt>
                <c:pt idx="2418">
                  <c:v>43446</c:v>
                </c:pt>
                <c:pt idx="2419">
                  <c:v>43447</c:v>
                </c:pt>
                <c:pt idx="2420">
                  <c:v>43448</c:v>
                </c:pt>
                <c:pt idx="2421">
                  <c:v>43451</c:v>
                </c:pt>
                <c:pt idx="2422">
                  <c:v>43452</c:v>
                </c:pt>
                <c:pt idx="2423">
                  <c:v>43453</c:v>
                </c:pt>
                <c:pt idx="2424">
                  <c:v>43454</c:v>
                </c:pt>
                <c:pt idx="2425">
                  <c:v>43455</c:v>
                </c:pt>
                <c:pt idx="2426">
                  <c:v>43458</c:v>
                </c:pt>
                <c:pt idx="2427">
                  <c:v>43459</c:v>
                </c:pt>
                <c:pt idx="2428">
                  <c:v>43460</c:v>
                </c:pt>
                <c:pt idx="2429">
                  <c:v>43461</c:v>
                </c:pt>
                <c:pt idx="2430">
                  <c:v>43462</c:v>
                </c:pt>
                <c:pt idx="2431">
                  <c:v>43467</c:v>
                </c:pt>
                <c:pt idx="2432">
                  <c:v>43468</c:v>
                </c:pt>
                <c:pt idx="2433">
                  <c:v>43469</c:v>
                </c:pt>
                <c:pt idx="2434">
                  <c:v>43472</c:v>
                </c:pt>
                <c:pt idx="2435">
                  <c:v>43473</c:v>
                </c:pt>
                <c:pt idx="2436">
                  <c:v>43474</c:v>
                </c:pt>
                <c:pt idx="2437">
                  <c:v>43475</c:v>
                </c:pt>
                <c:pt idx="2438">
                  <c:v>43476</c:v>
                </c:pt>
                <c:pt idx="2439">
                  <c:v>43479</c:v>
                </c:pt>
                <c:pt idx="2440">
                  <c:v>43480</c:v>
                </c:pt>
                <c:pt idx="2441">
                  <c:v>43481</c:v>
                </c:pt>
                <c:pt idx="2442">
                  <c:v>43482</c:v>
                </c:pt>
                <c:pt idx="2443">
                  <c:v>43483</c:v>
                </c:pt>
                <c:pt idx="2444">
                  <c:v>43486</c:v>
                </c:pt>
                <c:pt idx="2445">
                  <c:v>43487</c:v>
                </c:pt>
                <c:pt idx="2446">
                  <c:v>43488</c:v>
                </c:pt>
                <c:pt idx="2447">
                  <c:v>43489</c:v>
                </c:pt>
                <c:pt idx="2448">
                  <c:v>43490</c:v>
                </c:pt>
                <c:pt idx="2449">
                  <c:v>43493</c:v>
                </c:pt>
                <c:pt idx="2450">
                  <c:v>43494</c:v>
                </c:pt>
                <c:pt idx="2451">
                  <c:v>43495</c:v>
                </c:pt>
                <c:pt idx="2452">
                  <c:v>43496</c:v>
                </c:pt>
                <c:pt idx="2453">
                  <c:v>43497</c:v>
                </c:pt>
                <c:pt idx="2454">
                  <c:v>43507</c:v>
                </c:pt>
                <c:pt idx="2455">
                  <c:v>43508</c:v>
                </c:pt>
                <c:pt idx="2456">
                  <c:v>43509</c:v>
                </c:pt>
                <c:pt idx="2457">
                  <c:v>43510</c:v>
                </c:pt>
                <c:pt idx="2458">
                  <c:v>43511</c:v>
                </c:pt>
                <c:pt idx="2459">
                  <c:v>43514</c:v>
                </c:pt>
                <c:pt idx="2460">
                  <c:v>43515</c:v>
                </c:pt>
                <c:pt idx="2461">
                  <c:v>43516</c:v>
                </c:pt>
                <c:pt idx="2462">
                  <c:v>43517</c:v>
                </c:pt>
                <c:pt idx="2463">
                  <c:v>43518</c:v>
                </c:pt>
                <c:pt idx="2464">
                  <c:v>43521</c:v>
                </c:pt>
                <c:pt idx="2465">
                  <c:v>43522</c:v>
                </c:pt>
                <c:pt idx="2466">
                  <c:v>43523</c:v>
                </c:pt>
                <c:pt idx="2467">
                  <c:v>43524</c:v>
                </c:pt>
                <c:pt idx="2468">
                  <c:v>43525</c:v>
                </c:pt>
                <c:pt idx="2469">
                  <c:v>43528</c:v>
                </c:pt>
                <c:pt idx="2470">
                  <c:v>43529</c:v>
                </c:pt>
                <c:pt idx="2471">
                  <c:v>43530</c:v>
                </c:pt>
                <c:pt idx="2472">
                  <c:v>43531</c:v>
                </c:pt>
                <c:pt idx="2473">
                  <c:v>43532</c:v>
                </c:pt>
                <c:pt idx="2474">
                  <c:v>43535</c:v>
                </c:pt>
                <c:pt idx="2475">
                  <c:v>43536</c:v>
                </c:pt>
                <c:pt idx="2476">
                  <c:v>43537</c:v>
                </c:pt>
                <c:pt idx="2477">
                  <c:v>43538</c:v>
                </c:pt>
                <c:pt idx="2478">
                  <c:v>43539</c:v>
                </c:pt>
                <c:pt idx="2479">
                  <c:v>43542</c:v>
                </c:pt>
                <c:pt idx="2480">
                  <c:v>43543</c:v>
                </c:pt>
                <c:pt idx="2481">
                  <c:v>43544</c:v>
                </c:pt>
                <c:pt idx="2482">
                  <c:v>43545</c:v>
                </c:pt>
                <c:pt idx="2483">
                  <c:v>43546</c:v>
                </c:pt>
                <c:pt idx="2484">
                  <c:v>43549</c:v>
                </c:pt>
                <c:pt idx="2485">
                  <c:v>43550</c:v>
                </c:pt>
                <c:pt idx="2486">
                  <c:v>43551</c:v>
                </c:pt>
                <c:pt idx="2487">
                  <c:v>43552</c:v>
                </c:pt>
                <c:pt idx="2488">
                  <c:v>43553</c:v>
                </c:pt>
                <c:pt idx="2489">
                  <c:v>43556</c:v>
                </c:pt>
                <c:pt idx="2490">
                  <c:v>43557</c:v>
                </c:pt>
                <c:pt idx="2491">
                  <c:v>43558</c:v>
                </c:pt>
                <c:pt idx="2492">
                  <c:v>43559</c:v>
                </c:pt>
                <c:pt idx="2493">
                  <c:v>43563</c:v>
                </c:pt>
                <c:pt idx="2494">
                  <c:v>43564</c:v>
                </c:pt>
                <c:pt idx="2495">
                  <c:v>43565</c:v>
                </c:pt>
                <c:pt idx="2496">
                  <c:v>43566</c:v>
                </c:pt>
                <c:pt idx="2497">
                  <c:v>43567</c:v>
                </c:pt>
                <c:pt idx="2498">
                  <c:v>43570</c:v>
                </c:pt>
                <c:pt idx="2499">
                  <c:v>43571</c:v>
                </c:pt>
                <c:pt idx="2500">
                  <c:v>43572</c:v>
                </c:pt>
                <c:pt idx="2501">
                  <c:v>43573</c:v>
                </c:pt>
                <c:pt idx="2502">
                  <c:v>43574</c:v>
                </c:pt>
                <c:pt idx="2503">
                  <c:v>43577</c:v>
                </c:pt>
                <c:pt idx="2504">
                  <c:v>43578</c:v>
                </c:pt>
                <c:pt idx="2505">
                  <c:v>43579</c:v>
                </c:pt>
                <c:pt idx="2506">
                  <c:v>43580</c:v>
                </c:pt>
                <c:pt idx="2507">
                  <c:v>43581</c:v>
                </c:pt>
                <c:pt idx="2508">
                  <c:v>43584</c:v>
                </c:pt>
                <c:pt idx="2509">
                  <c:v>43585</c:v>
                </c:pt>
                <c:pt idx="2510">
                  <c:v>43591</c:v>
                </c:pt>
                <c:pt idx="2511">
                  <c:v>43592</c:v>
                </c:pt>
                <c:pt idx="2512">
                  <c:v>43593</c:v>
                </c:pt>
                <c:pt idx="2513">
                  <c:v>43594</c:v>
                </c:pt>
                <c:pt idx="2514">
                  <c:v>43595</c:v>
                </c:pt>
                <c:pt idx="2515">
                  <c:v>43598</c:v>
                </c:pt>
                <c:pt idx="2516">
                  <c:v>43599</c:v>
                </c:pt>
                <c:pt idx="2517">
                  <c:v>43600</c:v>
                </c:pt>
                <c:pt idx="2518">
                  <c:v>43601</c:v>
                </c:pt>
                <c:pt idx="2519">
                  <c:v>43602</c:v>
                </c:pt>
                <c:pt idx="2520">
                  <c:v>43605</c:v>
                </c:pt>
                <c:pt idx="2521">
                  <c:v>43606</c:v>
                </c:pt>
                <c:pt idx="2522">
                  <c:v>43607</c:v>
                </c:pt>
                <c:pt idx="2523">
                  <c:v>43608</c:v>
                </c:pt>
                <c:pt idx="2524">
                  <c:v>43609</c:v>
                </c:pt>
                <c:pt idx="2525">
                  <c:v>43612</c:v>
                </c:pt>
                <c:pt idx="2526">
                  <c:v>43613</c:v>
                </c:pt>
                <c:pt idx="2527">
                  <c:v>43614</c:v>
                </c:pt>
                <c:pt idx="2528">
                  <c:v>43615</c:v>
                </c:pt>
                <c:pt idx="2529">
                  <c:v>43616</c:v>
                </c:pt>
                <c:pt idx="2530">
                  <c:v>43619</c:v>
                </c:pt>
                <c:pt idx="2531">
                  <c:v>43620</c:v>
                </c:pt>
                <c:pt idx="2532">
                  <c:v>43621</c:v>
                </c:pt>
                <c:pt idx="2533">
                  <c:v>43622</c:v>
                </c:pt>
                <c:pt idx="2534">
                  <c:v>43626</c:v>
                </c:pt>
                <c:pt idx="2535">
                  <c:v>43627</c:v>
                </c:pt>
                <c:pt idx="2536">
                  <c:v>43628</c:v>
                </c:pt>
                <c:pt idx="2537">
                  <c:v>43629</c:v>
                </c:pt>
                <c:pt idx="2538">
                  <c:v>43630</c:v>
                </c:pt>
                <c:pt idx="2539">
                  <c:v>43633</c:v>
                </c:pt>
                <c:pt idx="2540">
                  <c:v>43634</c:v>
                </c:pt>
                <c:pt idx="2541">
                  <c:v>43635</c:v>
                </c:pt>
                <c:pt idx="2542">
                  <c:v>43636</c:v>
                </c:pt>
                <c:pt idx="2543">
                  <c:v>43637</c:v>
                </c:pt>
                <c:pt idx="2544">
                  <c:v>43640</c:v>
                </c:pt>
                <c:pt idx="2545">
                  <c:v>43641</c:v>
                </c:pt>
                <c:pt idx="2546">
                  <c:v>43642</c:v>
                </c:pt>
                <c:pt idx="2547">
                  <c:v>43643</c:v>
                </c:pt>
                <c:pt idx="2548">
                  <c:v>43644</c:v>
                </c:pt>
                <c:pt idx="2549">
                  <c:v>43647</c:v>
                </c:pt>
                <c:pt idx="2550">
                  <c:v>43648</c:v>
                </c:pt>
                <c:pt idx="2551">
                  <c:v>43649</c:v>
                </c:pt>
                <c:pt idx="2552">
                  <c:v>43650</c:v>
                </c:pt>
                <c:pt idx="2553">
                  <c:v>43651</c:v>
                </c:pt>
                <c:pt idx="2554">
                  <c:v>43654</c:v>
                </c:pt>
                <c:pt idx="2555">
                  <c:v>43655</c:v>
                </c:pt>
                <c:pt idx="2556">
                  <c:v>43656</c:v>
                </c:pt>
                <c:pt idx="2557">
                  <c:v>43657</c:v>
                </c:pt>
                <c:pt idx="2558">
                  <c:v>43658</c:v>
                </c:pt>
                <c:pt idx="2559">
                  <c:v>43661</c:v>
                </c:pt>
                <c:pt idx="2560">
                  <c:v>43662</c:v>
                </c:pt>
                <c:pt idx="2561">
                  <c:v>43663</c:v>
                </c:pt>
                <c:pt idx="2562">
                  <c:v>43664</c:v>
                </c:pt>
                <c:pt idx="2563">
                  <c:v>43665</c:v>
                </c:pt>
                <c:pt idx="2564">
                  <c:v>43668</c:v>
                </c:pt>
                <c:pt idx="2565">
                  <c:v>43669</c:v>
                </c:pt>
                <c:pt idx="2566">
                  <c:v>43670</c:v>
                </c:pt>
                <c:pt idx="2567">
                  <c:v>43671</c:v>
                </c:pt>
                <c:pt idx="2568">
                  <c:v>43672</c:v>
                </c:pt>
                <c:pt idx="2569">
                  <c:v>43675</c:v>
                </c:pt>
                <c:pt idx="2570">
                  <c:v>43676</c:v>
                </c:pt>
                <c:pt idx="2571">
                  <c:v>43677</c:v>
                </c:pt>
                <c:pt idx="2572">
                  <c:v>43678</c:v>
                </c:pt>
                <c:pt idx="2573">
                  <c:v>43679</c:v>
                </c:pt>
                <c:pt idx="2574">
                  <c:v>43682</c:v>
                </c:pt>
                <c:pt idx="2575">
                  <c:v>43683</c:v>
                </c:pt>
                <c:pt idx="2576">
                  <c:v>43684</c:v>
                </c:pt>
                <c:pt idx="2577">
                  <c:v>43685</c:v>
                </c:pt>
                <c:pt idx="2578">
                  <c:v>43686</c:v>
                </c:pt>
                <c:pt idx="2579">
                  <c:v>43689</c:v>
                </c:pt>
                <c:pt idx="2580">
                  <c:v>43690</c:v>
                </c:pt>
                <c:pt idx="2581">
                  <c:v>43691</c:v>
                </c:pt>
                <c:pt idx="2582">
                  <c:v>43692</c:v>
                </c:pt>
                <c:pt idx="2583">
                  <c:v>43693</c:v>
                </c:pt>
                <c:pt idx="2584">
                  <c:v>43696</c:v>
                </c:pt>
                <c:pt idx="2585">
                  <c:v>43697</c:v>
                </c:pt>
                <c:pt idx="2586">
                  <c:v>43698</c:v>
                </c:pt>
                <c:pt idx="2587">
                  <c:v>43699</c:v>
                </c:pt>
                <c:pt idx="2588">
                  <c:v>43700</c:v>
                </c:pt>
                <c:pt idx="2589">
                  <c:v>43703</c:v>
                </c:pt>
                <c:pt idx="2590">
                  <c:v>43704</c:v>
                </c:pt>
                <c:pt idx="2591">
                  <c:v>43705</c:v>
                </c:pt>
                <c:pt idx="2592">
                  <c:v>43706</c:v>
                </c:pt>
                <c:pt idx="2593">
                  <c:v>43707</c:v>
                </c:pt>
                <c:pt idx="2594">
                  <c:v>43710</c:v>
                </c:pt>
                <c:pt idx="2595">
                  <c:v>43711</c:v>
                </c:pt>
                <c:pt idx="2596">
                  <c:v>43712</c:v>
                </c:pt>
                <c:pt idx="2597">
                  <c:v>43713</c:v>
                </c:pt>
                <c:pt idx="2598">
                  <c:v>43714</c:v>
                </c:pt>
                <c:pt idx="2599">
                  <c:v>43717</c:v>
                </c:pt>
                <c:pt idx="2600">
                  <c:v>43718</c:v>
                </c:pt>
                <c:pt idx="2601">
                  <c:v>43719</c:v>
                </c:pt>
                <c:pt idx="2602">
                  <c:v>43720</c:v>
                </c:pt>
                <c:pt idx="2603">
                  <c:v>43724</c:v>
                </c:pt>
                <c:pt idx="2604">
                  <c:v>43725</c:v>
                </c:pt>
                <c:pt idx="2605">
                  <c:v>43726</c:v>
                </c:pt>
                <c:pt idx="2606">
                  <c:v>43727</c:v>
                </c:pt>
                <c:pt idx="2607">
                  <c:v>43728</c:v>
                </c:pt>
                <c:pt idx="2608">
                  <c:v>43731</c:v>
                </c:pt>
                <c:pt idx="2609">
                  <c:v>43732</c:v>
                </c:pt>
                <c:pt idx="2610">
                  <c:v>43733</c:v>
                </c:pt>
                <c:pt idx="2611">
                  <c:v>43734</c:v>
                </c:pt>
                <c:pt idx="2612">
                  <c:v>43735</c:v>
                </c:pt>
                <c:pt idx="2613">
                  <c:v>43738</c:v>
                </c:pt>
                <c:pt idx="2614">
                  <c:v>43746</c:v>
                </c:pt>
                <c:pt idx="2615">
                  <c:v>43747</c:v>
                </c:pt>
                <c:pt idx="2616">
                  <c:v>43748</c:v>
                </c:pt>
                <c:pt idx="2617">
                  <c:v>43749</c:v>
                </c:pt>
                <c:pt idx="2618">
                  <c:v>43752</c:v>
                </c:pt>
                <c:pt idx="2619">
                  <c:v>43753</c:v>
                </c:pt>
                <c:pt idx="2620">
                  <c:v>43754</c:v>
                </c:pt>
                <c:pt idx="2621">
                  <c:v>43755</c:v>
                </c:pt>
                <c:pt idx="2622">
                  <c:v>43756</c:v>
                </c:pt>
                <c:pt idx="2623">
                  <c:v>43759</c:v>
                </c:pt>
                <c:pt idx="2624">
                  <c:v>43760</c:v>
                </c:pt>
                <c:pt idx="2625">
                  <c:v>43761</c:v>
                </c:pt>
                <c:pt idx="2626">
                  <c:v>43762</c:v>
                </c:pt>
                <c:pt idx="2627">
                  <c:v>43763</c:v>
                </c:pt>
                <c:pt idx="2628">
                  <c:v>43766</c:v>
                </c:pt>
                <c:pt idx="2629">
                  <c:v>43767</c:v>
                </c:pt>
                <c:pt idx="2630">
                  <c:v>43768</c:v>
                </c:pt>
                <c:pt idx="2631">
                  <c:v>43769</c:v>
                </c:pt>
                <c:pt idx="2632">
                  <c:v>43770</c:v>
                </c:pt>
                <c:pt idx="2633">
                  <c:v>43773</c:v>
                </c:pt>
                <c:pt idx="2634">
                  <c:v>43774</c:v>
                </c:pt>
                <c:pt idx="2635">
                  <c:v>43775</c:v>
                </c:pt>
                <c:pt idx="2636">
                  <c:v>43776</c:v>
                </c:pt>
                <c:pt idx="2637">
                  <c:v>43777</c:v>
                </c:pt>
                <c:pt idx="2638">
                  <c:v>43780</c:v>
                </c:pt>
                <c:pt idx="2639">
                  <c:v>43781</c:v>
                </c:pt>
                <c:pt idx="2640">
                  <c:v>43782</c:v>
                </c:pt>
                <c:pt idx="2641">
                  <c:v>43783</c:v>
                </c:pt>
                <c:pt idx="2642">
                  <c:v>43784</c:v>
                </c:pt>
                <c:pt idx="2643">
                  <c:v>43787</c:v>
                </c:pt>
                <c:pt idx="2644">
                  <c:v>43788</c:v>
                </c:pt>
                <c:pt idx="2645">
                  <c:v>43789</c:v>
                </c:pt>
                <c:pt idx="2646">
                  <c:v>43790</c:v>
                </c:pt>
                <c:pt idx="2647">
                  <c:v>43791</c:v>
                </c:pt>
                <c:pt idx="2648">
                  <c:v>43794</c:v>
                </c:pt>
                <c:pt idx="2649">
                  <c:v>43795</c:v>
                </c:pt>
                <c:pt idx="2650">
                  <c:v>43796</c:v>
                </c:pt>
                <c:pt idx="2651">
                  <c:v>43797</c:v>
                </c:pt>
                <c:pt idx="2652">
                  <c:v>43798</c:v>
                </c:pt>
                <c:pt idx="2653">
                  <c:v>43801</c:v>
                </c:pt>
                <c:pt idx="2654">
                  <c:v>43802</c:v>
                </c:pt>
                <c:pt idx="2655">
                  <c:v>43803</c:v>
                </c:pt>
                <c:pt idx="2656">
                  <c:v>43804</c:v>
                </c:pt>
                <c:pt idx="2657">
                  <c:v>43805</c:v>
                </c:pt>
                <c:pt idx="2658">
                  <c:v>43808</c:v>
                </c:pt>
                <c:pt idx="2659">
                  <c:v>43809</c:v>
                </c:pt>
                <c:pt idx="2660">
                  <c:v>43810</c:v>
                </c:pt>
                <c:pt idx="2661">
                  <c:v>43811</c:v>
                </c:pt>
                <c:pt idx="2662">
                  <c:v>43812</c:v>
                </c:pt>
                <c:pt idx="2663">
                  <c:v>43815</c:v>
                </c:pt>
                <c:pt idx="2664">
                  <c:v>43816</c:v>
                </c:pt>
                <c:pt idx="2665">
                  <c:v>43817</c:v>
                </c:pt>
                <c:pt idx="2666">
                  <c:v>43818</c:v>
                </c:pt>
                <c:pt idx="2667">
                  <c:v>43819</c:v>
                </c:pt>
                <c:pt idx="2668">
                  <c:v>43822</c:v>
                </c:pt>
                <c:pt idx="2669">
                  <c:v>43823</c:v>
                </c:pt>
                <c:pt idx="2670">
                  <c:v>43824</c:v>
                </c:pt>
                <c:pt idx="2671">
                  <c:v>43825</c:v>
                </c:pt>
                <c:pt idx="2672">
                  <c:v>43826</c:v>
                </c:pt>
                <c:pt idx="2673">
                  <c:v>43829</c:v>
                </c:pt>
                <c:pt idx="2674">
                  <c:v>43830</c:v>
                </c:pt>
                <c:pt idx="2675">
                  <c:v>43832</c:v>
                </c:pt>
                <c:pt idx="2676">
                  <c:v>43833</c:v>
                </c:pt>
                <c:pt idx="2677">
                  <c:v>43836</c:v>
                </c:pt>
                <c:pt idx="2678">
                  <c:v>43837</c:v>
                </c:pt>
                <c:pt idx="2679">
                  <c:v>43838</c:v>
                </c:pt>
                <c:pt idx="2680">
                  <c:v>43839</c:v>
                </c:pt>
                <c:pt idx="2681">
                  <c:v>43840</c:v>
                </c:pt>
                <c:pt idx="2682">
                  <c:v>43843</c:v>
                </c:pt>
                <c:pt idx="2683">
                  <c:v>43844</c:v>
                </c:pt>
                <c:pt idx="2684">
                  <c:v>43845</c:v>
                </c:pt>
                <c:pt idx="2685">
                  <c:v>43846</c:v>
                </c:pt>
                <c:pt idx="2686">
                  <c:v>43847</c:v>
                </c:pt>
                <c:pt idx="2687">
                  <c:v>43850</c:v>
                </c:pt>
                <c:pt idx="2688">
                  <c:v>43851</c:v>
                </c:pt>
                <c:pt idx="2689">
                  <c:v>43852</c:v>
                </c:pt>
                <c:pt idx="2690">
                  <c:v>43853</c:v>
                </c:pt>
                <c:pt idx="2691">
                  <c:v>43864</c:v>
                </c:pt>
                <c:pt idx="2692">
                  <c:v>43865</c:v>
                </c:pt>
                <c:pt idx="2693">
                  <c:v>43866</c:v>
                </c:pt>
                <c:pt idx="2694">
                  <c:v>43867</c:v>
                </c:pt>
                <c:pt idx="2695">
                  <c:v>43868</c:v>
                </c:pt>
                <c:pt idx="2696">
                  <c:v>43871</c:v>
                </c:pt>
                <c:pt idx="2697">
                  <c:v>43872</c:v>
                </c:pt>
                <c:pt idx="2698">
                  <c:v>43873</c:v>
                </c:pt>
                <c:pt idx="2699">
                  <c:v>43874</c:v>
                </c:pt>
                <c:pt idx="2700">
                  <c:v>43875</c:v>
                </c:pt>
                <c:pt idx="2701">
                  <c:v>43878</c:v>
                </c:pt>
                <c:pt idx="2702">
                  <c:v>43879</c:v>
                </c:pt>
                <c:pt idx="2703">
                  <c:v>43880</c:v>
                </c:pt>
                <c:pt idx="2704">
                  <c:v>43881</c:v>
                </c:pt>
                <c:pt idx="2705">
                  <c:v>43882</c:v>
                </c:pt>
                <c:pt idx="2706">
                  <c:v>43885</c:v>
                </c:pt>
                <c:pt idx="2707">
                  <c:v>43886</c:v>
                </c:pt>
                <c:pt idx="2708">
                  <c:v>43887</c:v>
                </c:pt>
                <c:pt idx="2709">
                  <c:v>43888</c:v>
                </c:pt>
                <c:pt idx="2710">
                  <c:v>43889</c:v>
                </c:pt>
                <c:pt idx="2711">
                  <c:v>43892</c:v>
                </c:pt>
                <c:pt idx="2712">
                  <c:v>43893</c:v>
                </c:pt>
                <c:pt idx="2713">
                  <c:v>43894</c:v>
                </c:pt>
                <c:pt idx="2714">
                  <c:v>43895</c:v>
                </c:pt>
                <c:pt idx="2715">
                  <c:v>43896</c:v>
                </c:pt>
                <c:pt idx="2716">
                  <c:v>43899</c:v>
                </c:pt>
                <c:pt idx="2717">
                  <c:v>43900</c:v>
                </c:pt>
                <c:pt idx="2718">
                  <c:v>43901</c:v>
                </c:pt>
                <c:pt idx="2719">
                  <c:v>43902</c:v>
                </c:pt>
                <c:pt idx="2720">
                  <c:v>43903</c:v>
                </c:pt>
                <c:pt idx="2721">
                  <c:v>43906</c:v>
                </c:pt>
                <c:pt idx="2722">
                  <c:v>43907</c:v>
                </c:pt>
                <c:pt idx="2723">
                  <c:v>43908</c:v>
                </c:pt>
                <c:pt idx="2724">
                  <c:v>43909</c:v>
                </c:pt>
                <c:pt idx="2725">
                  <c:v>43910</c:v>
                </c:pt>
                <c:pt idx="2726">
                  <c:v>43913</c:v>
                </c:pt>
                <c:pt idx="2727">
                  <c:v>43914</c:v>
                </c:pt>
                <c:pt idx="2728">
                  <c:v>43915</c:v>
                </c:pt>
                <c:pt idx="2729">
                  <c:v>43916</c:v>
                </c:pt>
                <c:pt idx="2730">
                  <c:v>43917</c:v>
                </c:pt>
                <c:pt idx="2731">
                  <c:v>43920</c:v>
                </c:pt>
                <c:pt idx="2732">
                  <c:v>43921</c:v>
                </c:pt>
                <c:pt idx="2733">
                  <c:v>43922</c:v>
                </c:pt>
                <c:pt idx="2734">
                  <c:v>43923</c:v>
                </c:pt>
                <c:pt idx="2735">
                  <c:v>43924</c:v>
                </c:pt>
                <c:pt idx="2736">
                  <c:v>43928</c:v>
                </c:pt>
                <c:pt idx="2737">
                  <c:v>43929</c:v>
                </c:pt>
                <c:pt idx="2738">
                  <c:v>43930</c:v>
                </c:pt>
                <c:pt idx="2739">
                  <c:v>43931</c:v>
                </c:pt>
                <c:pt idx="2740">
                  <c:v>43934</c:v>
                </c:pt>
                <c:pt idx="2741">
                  <c:v>43935</c:v>
                </c:pt>
                <c:pt idx="2742">
                  <c:v>43936</c:v>
                </c:pt>
                <c:pt idx="2743">
                  <c:v>43937</c:v>
                </c:pt>
                <c:pt idx="2744">
                  <c:v>43938</c:v>
                </c:pt>
                <c:pt idx="2745">
                  <c:v>43941</c:v>
                </c:pt>
                <c:pt idx="2746">
                  <c:v>43942</c:v>
                </c:pt>
                <c:pt idx="2747">
                  <c:v>43943</c:v>
                </c:pt>
                <c:pt idx="2748">
                  <c:v>43944</c:v>
                </c:pt>
                <c:pt idx="2749">
                  <c:v>43945</c:v>
                </c:pt>
                <c:pt idx="2750">
                  <c:v>43948</c:v>
                </c:pt>
                <c:pt idx="2751">
                  <c:v>43949</c:v>
                </c:pt>
                <c:pt idx="2752">
                  <c:v>43950</c:v>
                </c:pt>
                <c:pt idx="2753">
                  <c:v>43951</c:v>
                </c:pt>
                <c:pt idx="2754">
                  <c:v>43957</c:v>
                </c:pt>
                <c:pt idx="2755">
                  <c:v>43958</c:v>
                </c:pt>
                <c:pt idx="2756">
                  <c:v>43959</c:v>
                </c:pt>
                <c:pt idx="2757">
                  <c:v>43962</c:v>
                </c:pt>
                <c:pt idx="2758">
                  <c:v>43963</c:v>
                </c:pt>
                <c:pt idx="2759">
                  <c:v>43964</c:v>
                </c:pt>
                <c:pt idx="2760">
                  <c:v>43965</c:v>
                </c:pt>
                <c:pt idx="2761">
                  <c:v>43966</c:v>
                </c:pt>
                <c:pt idx="2762">
                  <c:v>43969</c:v>
                </c:pt>
                <c:pt idx="2763">
                  <c:v>43970</c:v>
                </c:pt>
                <c:pt idx="2764">
                  <c:v>43971</c:v>
                </c:pt>
                <c:pt idx="2765">
                  <c:v>43972</c:v>
                </c:pt>
                <c:pt idx="2766">
                  <c:v>43973</c:v>
                </c:pt>
                <c:pt idx="2767">
                  <c:v>43976</c:v>
                </c:pt>
                <c:pt idx="2768">
                  <c:v>43977</c:v>
                </c:pt>
                <c:pt idx="2769">
                  <c:v>43978</c:v>
                </c:pt>
                <c:pt idx="2770">
                  <c:v>43979</c:v>
                </c:pt>
                <c:pt idx="2771">
                  <c:v>43980</c:v>
                </c:pt>
                <c:pt idx="2772">
                  <c:v>43983</c:v>
                </c:pt>
                <c:pt idx="2773">
                  <c:v>43984</c:v>
                </c:pt>
                <c:pt idx="2774">
                  <c:v>43985</c:v>
                </c:pt>
                <c:pt idx="2775">
                  <c:v>43986</c:v>
                </c:pt>
                <c:pt idx="2776">
                  <c:v>43987</c:v>
                </c:pt>
                <c:pt idx="2777">
                  <c:v>43990</c:v>
                </c:pt>
                <c:pt idx="2778">
                  <c:v>43991</c:v>
                </c:pt>
                <c:pt idx="2779">
                  <c:v>43992</c:v>
                </c:pt>
                <c:pt idx="2780">
                  <c:v>43993</c:v>
                </c:pt>
                <c:pt idx="2781">
                  <c:v>43994</c:v>
                </c:pt>
                <c:pt idx="2782">
                  <c:v>43997</c:v>
                </c:pt>
                <c:pt idx="2783">
                  <c:v>43998</c:v>
                </c:pt>
                <c:pt idx="2784">
                  <c:v>43999</c:v>
                </c:pt>
                <c:pt idx="2785">
                  <c:v>44000</c:v>
                </c:pt>
                <c:pt idx="2786">
                  <c:v>44001</c:v>
                </c:pt>
                <c:pt idx="2787">
                  <c:v>44004</c:v>
                </c:pt>
                <c:pt idx="2788">
                  <c:v>44005</c:v>
                </c:pt>
                <c:pt idx="2789">
                  <c:v>44006</c:v>
                </c:pt>
                <c:pt idx="2790">
                  <c:v>44011</c:v>
                </c:pt>
                <c:pt idx="2791">
                  <c:v>44012</c:v>
                </c:pt>
                <c:pt idx="2792">
                  <c:v>44013</c:v>
                </c:pt>
                <c:pt idx="2793">
                  <c:v>44014</c:v>
                </c:pt>
                <c:pt idx="2794">
                  <c:v>44015</c:v>
                </c:pt>
                <c:pt idx="2795">
                  <c:v>44018</c:v>
                </c:pt>
                <c:pt idx="2796">
                  <c:v>44019</c:v>
                </c:pt>
                <c:pt idx="2797">
                  <c:v>44020</c:v>
                </c:pt>
                <c:pt idx="2798">
                  <c:v>44021</c:v>
                </c:pt>
                <c:pt idx="2799">
                  <c:v>44022</c:v>
                </c:pt>
                <c:pt idx="2800">
                  <c:v>44025</c:v>
                </c:pt>
                <c:pt idx="2801">
                  <c:v>44026</c:v>
                </c:pt>
                <c:pt idx="2802">
                  <c:v>44027</c:v>
                </c:pt>
                <c:pt idx="2803">
                  <c:v>44028</c:v>
                </c:pt>
                <c:pt idx="2804">
                  <c:v>44029</c:v>
                </c:pt>
                <c:pt idx="2805">
                  <c:v>44032</c:v>
                </c:pt>
                <c:pt idx="2806">
                  <c:v>44033</c:v>
                </c:pt>
                <c:pt idx="2807">
                  <c:v>44034</c:v>
                </c:pt>
                <c:pt idx="2808">
                  <c:v>44035</c:v>
                </c:pt>
                <c:pt idx="2809">
                  <c:v>44036</c:v>
                </c:pt>
                <c:pt idx="2810">
                  <c:v>44039</c:v>
                </c:pt>
                <c:pt idx="2811">
                  <c:v>44040</c:v>
                </c:pt>
                <c:pt idx="2812">
                  <c:v>44041</c:v>
                </c:pt>
                <c:pt idx="2813">
                  <c:v>44042</c:v>
                </c:pt>
                <c:pt idx="2814">
                  <c:v>44043</c:v>
                </c:pt>
                <c:pt idx="2815">
                  <c:v>44046</c:v>
                </c:pt>
                <c:pt idx="2816">
                  <c:v>44047</c:v>
                </c:pt>
                <c:pt idx="2817">
                  <c:v>44048</c:v>
                </c:pt>
                <c:pt idx="2818">
                  <c:v>44049</c:v>
                </c:pt>
                <c:pt idx="2819">
                  <c:v>44050</c:v>
                </c:pt>
                <c:pt idx="2820">
                  <c:v>44053</c:v>
                </c:pt>
                <c:pt idx="2821">
                  <c:v>44054</c:v>
                </c:pt>
                <c:pt idx="2822">
                  <c:v>44055</c:v>
                </c:pt>
                <c:pt idx="2823">
                  <c:v>44056</c:v>
                </c:pt>
                <c:pt idx="2824">
                  <c:v>44057</c:v>
                </c:pt>
                <c:pt idx="2825">
                  <c:v>44060</c:v>
                </c:pt>
                <c:pt idx="2826">
                  <c:v>44061</c:v>
                </c:pt>
                <c:pt idx="2827">
                  <c:v>44062</c:v>
                </c:pt>
                <c:pt idx="2828">
                  <c:v>44063</c:v>
                </c:pt>
                <c:pt idx="2829">
                  <c:v>44064</c:v>
                </c:pt>
                <c:pt idx="2830">
                  <c:v>44067</c:v>
                </c:pt>
                <c:pt idx="2831">
                  <c:v>44068</c:v>
                </c:pt>
                <c:pt idx="2832">
                  <c:v>44069</c:v>
                </c:pt>
                <c:pt idx="2833">
                  <c:v>44070</c:v>
                </c:pt>
                <c:pt idx="2834">
                  <c:v>44071</c:v>
                </c:pt>
                <c:pt idx="2835">
                  <c:v>44074</c:v>
                </c:pt>
                <c:pt idx="2836">
                  <c:v>44075</c:v>
                </c:pt>
                <c:pt idx="2837">
                  <c:v>44076</c:v>
                </c:pt>
                <c:pt idx="2838">
                  <c:v>44077</c:v>
                </c:pt>
                <c:pt idx="2839">
                  <c:v>44078</c:v>
                </c:pt>
                <c:pt idx="2840">
                  <c:v>44081</c:v>
                </c:pt>
                <c:pt idx="2841">
                  <c:v>44082</c:v>
                </c:pt>
                <c:pt idx="2842">
                  <c:v>44083</c:v>
                </c:pt>
                <c:pt idx="2843">
                  <c:v>44084</c:v>
                </c:pt>
                <c:pt idx="2844">
                  <c:v>44085</c:v>
                </c:pt>
                <c:pt idx="2845">
                  <c:v>44088</c:v>
                </c:pt>
                <c:pt idx="2846">
                  <c:v>44089</c:v>
                </c:pt>
                <c:pt idx="2847">
                  <c:v>44090</c:v>
                </c:pt>
                <c:pt idx="2848">
                  <c:v>44091</c:v>
                </c:pt>
                <c:pt idx="2849">
                  <c:v>44092</c:v>
                </c:pt>
                <c:pt idx="2850">
                  <c:v>44095</c:v>
                </c:pt>
                <c:pt idx="2851">
                  <c:v>44096</c:v>
                </c:pt>
                <c:pt idx="2852">
                  <c:v>44097</c:v>
                </c:pt>
                <c:pt idx="2853">
                  <c:v>44098</c:v>
                </c:pt>
                <c:pt idx="2854">
                  <c:v>44099</c:v>
                </c:pt>
                <c:pt idx="2855">
                  <c:v>44102</c:v>
                </c:pt>
                <c:pt idx="2856">
                  <c:v>44103</c:v>
                </c:pt>
                <c:pt idx="2857">
                  <c:v>44104</c:v>
                </c:pt>
                <c:pt idx="2858">
                  <c:v>44113</c:v>
                </c:pt>
                <c:pt idx="2859">
                  <c:v>44116</c:v>
                </c:pt>
                <c:pt idx="2860">
                  <c:v>44117</c:v>
                </c:pt>
                <c:pt idx="2861">
                  <c:v>44118</c:v>
                </c:pt>
                <c:pt idx="2862">
                  <c:v>44119</c:v>
                </c:pt>
                <c:pt idx="2863">
                  <c:v>44120</c:v>
                </c:pt>
                <c:pt idx="2864">
                  <c:v>44123</c:v>
                </c:pt>
                <c:pt idx="2865">
                  <c:v>44124</c:v>
                </c:pt>
                <c:pt idx="2866">
                  <c:v>44125</c:v>
                </c:pt>
                <c:pt idx="2867">
                  <c:v>44126</c:v>
                </c:pt>
                <c:pt idx="2868">
                  <c:v>44127</c:v>
                </c:pt>
                <c:pt idx="2869">
                  <c:v>44130</c:v>
                </c:pt>
                <c:pt idx="2870">
                  <c:v>44131</c:v>
                </c:pt>
                <c:pt idx="2871">
                  <c:v>44132</c:v>
                </c:pt>
                <c:pt idx="2872">
                  <c:v>44133</c:v>
                </c:pt>
                <c:pt idx="2873">
                  <c:v>44134</c:v>
                </c:pt>
                <c:pt idx="2874">
                  <c:v>44137</c:v>
                </c:pt>
                <c:pt idx="2875">
                  <c:v>44138</c:v>
                </c:pt>
                <c:pt idx="2876">
                  <c:v>44139</c:v>
                </c:pt>
                <c:pt idx="2877">
                  <c:v>44140</c:v>
                </c:pt>
                <c:pt idx="2878">
                  <c:v>44141</c:v>
                </c:pt>
                <c:pt idx="2879">
                  <c:v>44144</c:v>
                </c:pt>
                <c:pt idx="2880">
                  <c:v>44145</c:v>
                </c:pt>
                <c:pt idx="2881">
                  <c:v>44146</c:v>
                </c:pt>
                <c:pt idx="2882">
                  <c:v>44147</c:v>
                </c:pt>
                <c:pt idx="2883">
                  <c:v>44148</c:v>
                </c:pt>
                <c:pt idx="2884">
                  <c:v>44151</c:v>
                </c:pt>
                <c:pt idx="2885">
                  <c:v>44152</c:v>
                </c:pt>
                <c:pt idx="2886">
                  <c:v>44153</c:v>
                </c:pt>
                <c:pt idx="2887">
                  <c:v>44154</c:v>
                </c:pt>
                <c:pt idx="2888">
                  <c:v>44155</c:v>
                </c:pt>
                <c:pt idx="2889">
                  <c:v>44158</c:v>
                </c:pt>
                <c:pt idx="2890">
                  <c:v>44159</c:v>
                </c:pt>
                <c:pt idx="2891">
                  <c:v>44160</c:v>
                </c:pt>
                <c:pt idx="2892">
                  <c:v>44161</c:v>
                </c:pt>
                <c:pt idx="2893">
                  <c:v>44162</c:v>
                </c:pt>
                <c:pt idx="2894">
                  <c:v>44165</c:v>
                </c:pt>
                <c:pt idx="2895">
                  <c:v>44166</c:v>
                </c:pt>
                <c:pt idx="2896">
                  <c:v>44167</c:v>
                </c:pt>
                <c:pt idx="2897">
                  <c:v>44168</c:v>
                </c:pt>
                <c:pt idx="2898">
                  <c:v>44169</c:v>
                </c:pt>
                <c:pt idx="2899">
                  <c:v>44172</c:v>
                </c:pt>
                <c:pt idx="2900">
                  <c:v>44173</c:v>
                </c:pt>
                <c:pt idx="2901">
                  <c:v>44174</c:v>
                </c:pt>
                <c:pt idx="2902">
                  <c:v>44175</c:v>
                </c:pt>
                <c:pt idx="2903">
                  <c:v>44176</c:v>
                </c:pt>
                <c:pt idx="2904">
                  <c:v>44179</c:v>
                </c:pt>
                <c:pt idx="2905">
                  <c:v>44180</c:v>
                </c:pt>
                <c:pt idx="2906">
                  <c:v>44181</c:v>
                </c:pt>
                <c:pt idx="2907">
                  <c:v>44182</c:v>
                </c:pt>
                <c:pt idx="2908">
                  <c:v>44183</c:v>
                </c:pt>
                <c:pt idx="2909">
                  <c:v>44186</c:v>
                </c:pt>
                <c:pt idx="2910">
                  <c:v>44187</c:v>
                </c:pt>
                <c:pt idx="2911">
                  <c:v>44188</c:v>
                </c:pt>
                <c:pt idx="2912">
                  <c:v>44189</c:v>
                </c:pt>
                <c:pt idx="2913">
                  <c:v>44190</c:v>
                </c:pt>
                <c:pt idx="2914">
                  <c:v>44193</c:v>
                </c:pt>
                <c:pt idx="2915">
                  <c:v>44194</c:v>
                </c:pt>
                <c:pt idx="2916">
                  <c:v>44195</c:v>
                </c:pt>
                <c:pt idx="2917">
                  <c:v>44196</c:v>
                </c:pt>
                <c:pt idx="2918">
                  <c:v>44200</c:v>
                </c:pt>
                <c:pt idx="2919">
                  <c:v>44201</c:v>
                </c:pt>
                <c:pt idx="2920">
                  <c:v>44202</c:v>
                </c:pt>
                <c:pt idx="2921">
                  <c:v>44203</c:v>
                </c:pt>
                <c:pt idx="2922">
                  <c:v>44204</c:v>
                </c:pt>
                <c:pt idx="2923">
                  <c:v>44207</c:v>
                </c:pt>
                <c:pt idx="2924">
                  <c:v>44208</c:v>
                </c:pt>
                <c:pt idx="2925">
                  <c:v>44209</c:v>
                </c:pt>
                <c:pt idx="2926">
                  <c:v>44210</c:v>
                </c:pt>
                <c:pt idx="2927">
                  <c:v>44211</c:v>
                </c:pt>
                <c:pt idx="2928">
                  <c:v>44214</c:v>
                </c:pt>
                <c:pt idx="2929">
                  <c:v>44215</c:v>
                </c:pt>
                <c:pt idx="2930">
                  <c:v>44216</c:v>
                </c:pt>
                <c:pt idx="2931">
                  <c:v>44217</c:v>
                </c:pt>
                <c:pt idx="2932">
                  <c:v>44218</c:v>
                </c:pt>
                <c:pt idx="2933">
                  <c:v>44221</c:v>
                </c:pt>
                <c:pt idx="2934">
                  <c:v>44222</c:v>
                </c:pt>
                <c:pt idx="2935">
                  <c:v>44223</c:v>
                </c:pt>
                <c:pt idx="2936">
                  <c:v>44224</c:v>
                </c:pt>
                <c:pt idx="2937">
                  <c:v>44225</c:v>
                </c:pt>
                <c:pt idx="2938">
                  <c:v>44228</c:v>
                </c:pt>
                <c:pt idx="2939">
                  <c:v>44229</c:v>
                </c:pt>
                <c:pt idx="2940">
                  <c:v>44230</c:v>
                </c:pt>
                <c:pt idx="2941">
                  <c:v>44231</c:v>
                </c:pt>
                <c:pt idx="2942">
                  <c:v>44232</c:v>
                </c:pt>
                <c:pt idx="2943">
                  <c:v>44235</c:v>
                </c:pt>
                <c:pt idx="2944">
                  <c:v>44236</c:v>
                </c:pt>
                <c:pt idx="2945">
                  <c:v>44237</c:v>
                </c:pt>
                <c:pt idx="2946">
                  <c:v>44245</c:v>
                </c:pt>
                <c:pt idx="2947">
                  <c:v>44246</c:v>
                </c:pt>
                <c:pt idx="2948">
                  <c:v>44249</c:v>
                </c:pt>
                <c:pt idx="2949">
                  <c:v>44250</c:v>
                </c:pt>
                <c:pt idx="2950">
                  <c:v>44251</c:v>
                </c:pt>
                <c:pt idx="2951">
                  <c:v>44252</c:v>
                </c:pt>
                <c:pt idx="2952">
                  <c:v>44253</c:v>
                </c:pt>
                <c:pt idx="2953">
                  <c:v>44256</c:v>
                </c:pt>
                <c:pt idx="2954">
                  <c:v>44257</c:v>
                </c:pt>
                <c:pt idx="2955">
                  <c:v>44258</c:v>
                </c:pt>
                <c:pt idx="2956">
                  <c:v>44259</c:v>
                </c:pt>
                <c:pt idx="2957">
                  <c:v>44260</c:v>
                </c:pt>
                <c:pt idx="2958">
                  <c:v>44263</c:v>
                </c:pt>
                <c:pt idx="2959">
                  <c:v>44264</c:v>
                </c:pt>
                <c:pt idx="2960">
                  <c:v>44265</c:v>
                </c:pt>
                <c:pt idx="2961">
                  <c:v>44266</c:v>
                </c:pt>
                <c:pt idx="2962">
                  <c:v>44267</c:v>
                </c:pt>
                <c:pt idx="2963">
                  <c:v>44270</c:v>
                </c:pt>
                <c:pt idx="2964">
                  <c:v>44271</c:v>
                </c:pt>
                <c:pt idx="2965">
                  <c:v>44272</c:v>
                </c:pt>
                <c:pt idx="2966">
                  <c:v>44273</c:v>
                </c:pt>
                <c:pt idx="2967">
                  <c:v>44274</c:v>
                </c:pt>
                <c:pt idx="2968">
                  <c:v>44277</c:v>
                </c:pt>
                <c:pt idx="2969">
                  <c:v>44278</c:v>
                </c:pt>
                <c:pt idx="2970">
                  <c:v>44279</c:v>
                </c:pt>
                <c:pt idx="2971">
                  <c:v>44280</c:v>
                </c:pt>
                <c:pt idx="2972">
                  <c:v>44281</c:v>
                </c:pt>
                <c:pt idx="2973">
                  <c:v>44284</c:v>
                </c:pt>
                <c:pt idx="2974">
                  <c:v>44285</c:v>
                </c:pt>
                <c:pt idx="2975">
                  <c:v>44286</c:v>
                </c:pt>
                <c:pt idx="2976">
                  <c:v>44287</c:v>
                </c:pt>
                <c:pt idx="2977">
                  <c:v>44288</c:v>
                </c:pt>
                <c:pt idx="2978">
                  <c:v>44292</c:v>
                </c:pt>
                <c:pt idx="2979">
                  <c:v>44293</c:v>
                </c:pt>
                <c:pt idx="2980">
                  <c:v>44294</c:v>
                </c:pt>
                <c:pt idx="2981">
                  <c:v>44295</c:v>
                </c:pt>
                <c:pt idx="2982">
                  <c:v>44298</c:v>
                </c:pt>
                <c:pt idx="2983">
                  <c:v>44299</c:v>
                </c:pt>
                <c:pt idx="2984">
                  <c:v>44300</c:v>
                </c:pt>
                <c:pt idx="2985">
                  <c:v>44301</c:v>
                </c:pt>
                <c:pt idx="2986">
                  <c:v>44302</c:v>
                </c:pt>
                <c:pt idx="2987">
                  <c:v>44305</c:v>
                </c:pt>
                <c:pt idx="2988">
                  <c:v>44306</c:v>
                </c:pt>
                <c:pt idx="2989">
                  <c:v>44307</c:v>
                </c:pt>
                <c:pt idx="2990">
                  <c:v>44308</c:v>
                </c:pt>
                <c:pt idx="2991">
                  <c:v>44309</c:v>
                </c:pt>
                <c:pt idx="2992">
                  <c:v>44312</c:v>
                </c:pt>
                <c:pt idx="2993">
                  <c:v>44313</c:v>
                </c:pt>
                <c:pt idx="2994">
                  <c:v>44314</c:v>
                </c:pt>
                <c:pt idx="2995">
                  <c:v>44315</c:v>
                </c:pt>
                <c:pt idx="2996">
                  <c:v>44316</c:v>
                </c:pt>
                <c:pt idx="2997">
                  <c:v>44322</c:v>
                </c:pt>
                <c:pt idx="2998">
                  <c:v>44323</c:v>
                </c:pt>
                <c:pt idx="2999">
                  <c:v>44326</c:v>
                </c:pt>
                <c:pt idx="3000">
                  <c:v>44327</c:v>
                </c:pt>
                <c:pt idx="3001">
                  <c:v>44328</c:v>
                </c:pt>
                <c:pt idx="3002">
                  <c:v>44329</c:v>
                </c:pt>
                <c:pt idx="3003">
                  <c:v>44330</c:v>
                </c:pt>
                <c:pt idx="3004">
                  <c:v>44333</c:v>
                </c:pt>
                <c:pt idx="3005">
                  <c:v>44334</c:v>
                </c:pt>
                <c:pt idx="3006">
                  <c:v>44335</c:v>
                </c:pt>
                <c:pt idx="3007">
                  <c:v>44336</c:v>
                </c:pt>
                <c:pt idx="3008">
                  <c:v>44337</c:v>
                </c:pt>
                <c:pt idx="3009">
                  <c:v>44340</c:v>
                </c:pt>
                <c:pt idx="3010">
                  <c:v>44341</c:v>
                </c:pt>
                <c:pt idx="3011">
                  <c:v>44342</c:v>
                </c:pt>
                <c:pt idx="3012">
                  <c:v>44343</c:v>
                </c:pt>
                <c:pt idx="3013">
                  <c:v>44344</c:v>
                </c:pt>
                <c:pt idx="3014">
                  <c:v>44347</c:v>
                </c:pt>
                <c:pt idx="3015">
                  <c:v>44348</c:v>
                </c:pt>
                <c:pt idx="3016">
                  <c:v>44349</c:v>
                </c:pt>
                <c:pt idx="3017">
                  <c:v>44350</c:v>
                </c:pt>
                <c:pt idx="3018">
                  <c:v>44351</c:v>
                </c:pt>
                <c:pt idx="3019">
                  <c:v>44354</c:v>
                </c:pt>
                <c:pt idx="3020">
                  <c:v>44355</c:v>
                </c:pt>
                <c:pt idx="3021">
                  <c:v>44356</c:v>
                </c:pt>
                <c:pt idx="3022">
                  <c:v>44357</c:v>
                </c:pt>
                <c:pt idx="3023">
                  <c:v>44358</c:v>
                </c:pt>
                <c:pt idx="3024">
                  <c:v>44362</c:v>
                </c:pt>
                <c:pt idx="3025">
                  <c:v>44363</c:v>
                </c:pt>
                <c:pt idx="3026">
                  <c:v>44364</c:v>
                </c:pt>
                <c:pt idx="3027">
                  <c:v>44365</c:v>
                </c:pt>
                <c:pt idx="3028">
                  <c:v>44368</c:v>
                </c:pt>
                <c:pt idx="3029">
                  <c:v>44369</c:v>
                </c:pt>
                <c:pt idx="3030">
                  <c:v>44370</c:v>
                </c:pt>
                <c:pt idx="3031">
                  <c:v>44371</c:v>
                </c:pt>
                <c:pt idx="3032">
                  <c:v>44372</c:v>
                </c:pt>
                <c:pt idx="3033">
                  <c:v>44375</c:v>
                </c:pt>
                <c:pt idx="3034">
                  <c:v>44376</c:v>
                </c:pt>
                <c:pt idx="3035">
                  <c:v>44377</c:v>
                </c:pt>
                <c:pt idx="3036">
                  <c:v>44378</c:v>
                </c:pt>
                <c:pt idx="3037">
                  <c:v>44379</c:v>
                </c:pt>
                <c:pt idx="3038">
                  <c:v>44382</c:v>
                </c:pt>
                <c:pt idx="3039">
                  <c:v>44383</c:v>
                </c:pt>
                <c:pt idx="3040">
                  <c:v>44384</c:v>
                </c:pt>
                <c:pt idx="3041">
                  <c:v>44385</c:v>
                </c:pt>
                <c:pt idx="3042">
                  <c:v>44386</c:v>
                </c:pt>
                <c:pt idx="3043">
                  <c:v>44389</c:v>
                </c:pt>
                <c:pt idx="3044">
                  <c:v>44390</c:v>
                </c:pt>
                <c:pt idx="3045">
                  <c:v>44391</c:v>
                </c:pt>
                <c:pt idx="3046">
                  <c:v>44392</c:v>
                </c:pt>
                <c:pt idx="3047">
                  <c:v>44393</c:v>
                </c:pt>
                <c:pt idx="3048">
                  <c:v>44396</c:v>
                </c:pt>
                <c:pt idx="3049">
                  <c:v>44397</c:v>
                </c:pt>
                <c:pt idx="3050">
                  <c:v>44398</c:v>
                </c:pt>
                <c:pt idx="3051">
                  <c:v>44399</c:v>
                </c:pt>
                <c:pt idx="3052">
                  <c:v>44400</c:v>
                </c:pt>
                <c:pt idx="3053">
                  <c:v>44403</c:v>
                </c:pt>
                <c:pt idx="3054">
                  <c:v>44404</c:v>
                </c:pt>
                <c:pt idx="3055">
                  <c:v>44405</c:v>
                </c:pt>
                <c:pt idx="3056">
                  <c:v>44406</c:v>
                </c:pt>
                <c:pt idx="3057">
                  <c:v>44407</c:v>
                </c:pt>
                <c:pt idx="3058">
                  <c:v>44410</c:v>
                </c:pt>
                <c:pt idx="3059">
                  <c:v>44411</c:v>
                </c:pt>
                <c:pt idx="3060">
                  <c:v>44412</c:v>
                </c:pt>
                <c:pt idx="3061">
                  <c:v>44413</c:v>
                </c:pt>
                <c:pt idx="3062">
                  <c:v>44414</c:v>
                </c:pt>
                <c:pt idx="3063">
                  <c:v>44417</c:v>
                </c:pt>
                <c:pt idx="3064">
                  <c:v>44418</c:v>
                </c:pt>
                <c:pt idx="3065">
                  <c:v>44419</c:v>
                </c:pt>
                <c:pt idx="3066">
                  <c:v>44420</c:v>
                </c:pt>
                <c:pt idx="3067">
                  <c:v>44421</c:v>
                </c:pt>
                <c:pt idx="3068">
                  <c:v>44424</c:v>
                </c:pt>
                <c:pt idx="3069">
                  <c:v>44425</c:v>
                </c:pt>
                <c:pt idx="3070">
                  <c:v>44426</c:v>
                </c:pt>
                <c:pt idx="3071">
                  <c:v>44427</c:v>
                </c:pt>
                <c:pt idx="3072">
                  <c:v>44428</c:v>
                </c:pt>
                <c:pt idx="3073">
                  <c:v>44431</c:v>
                </c:pt>
                <c:pt idx="3074">
                  <c:v>44432</c:v>
                </c:pt>
                <c:pt idx="3075">
                  <c:v>44433</c:v>
                </c:pt>
                <c:pt idx="3076">
                  <c:v>44434</c:v>
                </c:pt>
                <c:pt idx="3077">
                  <c:v>44435</c:v>
                </c:pt>
                <c:pt idx="3078">
                  <c:v>44438</c:v>
                </c:pt>
                <c:pt idx="3079">
                  <c:v>44439</c:v>
                </c:pt>
                <c:pt idx="3080">
                  <c:v>44440</c:v>
                </c:pt>
                <c:pt idx="3081">
                  <c:v>44441</c:v>
                </c:pt>
                <c:pt idx="3082">
                  <c:v>44442</c:v>
                </c:pt>
                <c:pt idx="3083">
                  <c:v>44445</c:v>
                </c:pt>
                <c:pt idx="3084">
                  <c:v>44446</c:v>
                </c:pt>
                <c:pt idx="3085">
                  <c:v>44447</c:v>
                </c:pt>
                <c:pt idx="3086">
                  <c:v>44448</c:v>
                </c:pt>
                <c:pt idx="3087">
                  <c:v>44449</c:v>
                </c:pt>
                <c:pt idx="3088">
                  <c:v>44452</c:v>
                </c:pt>
                <c:pt idx="3089">
                  <c:v>44453</c:v>
                </c:pt>
                <c:pt idx="3090">
                  <c:v>44454</c:v>
                </c:pt>
                <c:pt idx="3091">
                  <c:v>44455</c:v>
                </c:pt>
                <c:pt idx="3092">
                  <c:v>44456</c:v>
                </c:pt>
                <c:pt idx="3093">
                  <c:v>44461</c:v>
                </c:pt>
                <c:pt idx="3094">
                  <c:v>44462</c:v>
                </c:pt>
                <c:pt idx="3095">
                  <c:v>44463</c:v>
                </c:pt>
                <c:pt idx="3096">
                  <c:v>44466</c:v>
                </c:pt>
                <c:pt idx="3097">
                  <c:v>44467</c:v>
                </c:pt>
                <c:pt idx="3098">
                  <c:v>44468</c:v>
                </c:pt>
                <c:pt idx="3099">
                  <c:v>44469</c:v>
                </c:pt>
                <c:pt idx="3100">
                  <c:v>44477</c:v>
                </c:pt>
                <c:pt idx="3101">
                  <c:v>44480</c:v>
                </c:pt>
                <c:pt idx="3102">
                  <c:v>44481</c:v>
                </c:pt>
                <c:pt idx="3103">
                  <c:v>44482</c:v>
                </c:pt>
                <c:pt idx="3104">
                  <c:v>44483</c:v>
                </c:pt>
                <c:pt idx="3105">
                  <c:v>44484</c:v>
                </c:pt>
                <c:pt idx="3106">
                  <c:v>44487</c:v>
                </c:pt>
                <c:pt idx="3107">
                  <c:v>44488</c:v>
                </c:pt>
                <c:pt idx="3108">
                  <c:v>44489</c:v>
                </c:pt>
                <c:pt idx="3109">
                  <c:v>44490</c:v>
                </c:pt>
                <c:pt idx="3110">
                  <c:v>44491</c:v>
                </c:pt>
                <c:pt idx="3111">
                  <c:v>44494</c:v>
                </c:pt>
                <c:pt idx="3112">
                  <c:v>44495</c:v>
                </c:pt>
                <c:pt idx="3113">
                  <c:v>44496</c:v>
                </c:pt>
                <c:pt idx="3114">
                  <c:v>44497</c:v>
                </c:pt>
                <c:pt idx="3115">
                  <c:v>44498</c:v>
                </c:pt>
                <c:pt idx="3116">
                  <c:v>44501</c:v>
                </c:pt>
                <c:pt idx="3117">
                  <c:v>44502</c:v>
                </c:pt>
                <c:pt idx="3118">
                  <c:v>44503</c:v>
                </c:pt>
                <c:pt idx="3119">
                  <c:v>44504</c:v>
                </c:pt>
                <c:pt idx="3120">
                  <c:v>44505</c:v>
                </c:pt>
                <c:pt idx="3121">
                  <c:v>44508</c:v>
                </c:pt>
                <c:pt idx="3122">
                  <c:v>44509</c:v>
                </c:pt>
                <c:pt idx="3123">
                  <c:v>44510</c:v>
                </c:pt>
                <c:pt idx="3124">
                  <c:v>44511</c:v>
                </c:pt>
                <c:pt idx="3125">
                  <c:v>44512</c:v>
                </c:pt>
                <c:pt idx="3126">
                  <c:v>44515</c:v>
                </c:pt>
                <c:pt idx="3127">
                  <c:v>44516</c:v>
                </c:pt>
                <c:pt idx="3128">
                  <c:v>44517</c:v>
                </c:pt>
                <c:pt idx="3129">
                  <c:v>44518</c:v>
                </c:pt>
                <c:pt idx="3130">
                  <c:v>44519</c:v>
                </c:pt>
                <c:pt idx="3131">
                  <c:v>44522</c:v>
                </c:pt>
                <c:pt idx="3132">
                  <c:v>44523</c:v>
                </c:pt>
                <c:pt idx="3133">
                  <c:v>44524</c:v>
                </c:pt>
                <c:pt idx="3134">
                  <c:v>44525</c:v>
                </c:pt>
                <c:pt idx="3135">
                  <c:v>44526</c:v>
                </c:pt>
                <c:pt idx="3136">
                  <c:v>44529</c:v>
                </c:pt>
                <c:pt idx="3137">
                  <c:v>44530</c:v>
                </c:pt>
                <c:pt idx="3138">
                  <c:v>44531</c:v>
                </c:pt>
                <c:pt idx="3139">
                  <c:v>44532</c:v>
                </c:pt>
                <c:pt idx="3140">
                  <c:v>44533</c:v>
                </c:pt>
                <c:pt idx="3141">
                  <c:v>44536</c:v>
                </c:pt>
                <c:pt idx="3142">
                  <c:v>44537</c:v>
                </c:pt>
                <c:pt idx="3143">
                  <c:v>44538</c:v>
                </c:pt>
                <c:pt idx="3144">
                  <c:v>44539</c:v>
                </c:pt>
                <c:pt idx="3145">
                  <c:v>44540</c:v>
                </c:pt>
                <c:pt idx="3146">
                  <c:v>44543</c:v>
                </c:pt>
                <c:pt idx="3147">
                  <c:v>44544</c:v>
                </c:pt>
                <c:pt idx="3148">
                  <c:v>44545</c:v>
                </c:pt>
                <c:pt idx="3149">
                  <c:v>44546</c:v>
                </c:pt>
                <c:pt idx="3150">
                  <c:v>44547</c:v>
                </c:pt>
                <c:pt idx="3151">
                  <c:v>44550</c:v>
                </c:pt>
                <c:pt idx="3152">
                  <c:v>44551</c:v>
                </c:pt>
                <c:pt idx="3153">
                  <c:v>44552</c:v>
                </c:pt>
                <c:pt idx="3154">
                  <c:v>44553</c:v>
                </c:pt>
                <c:pt idx="3155">
                  <c:v>44554</c:v>
                </c:pt>
                <c:pt idx="3156">
                  <c:v>44557</c:v>
                </c:pt>
                <c:pt idx="3157">
                  <c:v>44558</c:v>
                </c:pt>
                <c:pt idx="3158">
                  <c:v>44559</c:v>
                </c:pt>
                <c:pt idx="3159">
                  <c:v>44560</c:v>
                </c:pt>
                <c:pt idx="3160">
                  <c:v>44561</c:v>
                </c:pt>
                <c:pt idx="3161">
                  <c:v>44565</c:v>
                </c:pt>
                <c:pt idx="3162">
                  <c:v>44566</c:v>
                </c:pt>
                <c:pt idx="3163">
                  <c:v>44567</c:v>
                </c:pt>
                <c:pt idx="3164">
                  <c:v>44568</c:v>
                </c:pt>
                <c:pt idx="3165">
                  <c:v>44571</c:v>
                </c:pt>
                <c:pt idx="3166">
                  <c:v>44572</c:v>
                </c:pt>
                <c:pt idx="3167">
                  <c:v>44573</c:v>
                </c:pt>
                <c:pt idx="3168">
                  <c:v>44574</c:v>
                </c:pt>
                <c:pt idx="3169">
                  <c:v>44575</c:v>
                </c:pt>
                <c:pt idx="3170">
                  <c:v>44578</c:v>
                </c:pt>
                <c:pt idx="3171">
                  <c:v>44579</c:v>
                </c:pt>
                <c:pt idx="3172">
                  <c:v>44580</c:v>
                </c:pt>
                <c:pt idx="3173">
                  <c:v>44581</c:v>
                </c:pt>
                <c:pt idx="3174">
                  <c:v>44582</c:v>
                </c:pt>
                <c:pt idx="3175">
                  <c:v>44585</c:v>
                </c:pt>
                <c:pt idx="3176">
                  <c:v>44586</c:v>
                </c:pt>
                <c:pt idx="3177">
                  <c:v>44587</c:v>
                </c:pt>
                <c:pt idx="3178">
                  <c:v>44588</c:v>
                </c:pt>
                <c:pt idx="3179">
                  <c:v>44589</c:v>
                </c:pt>
                <c:pt idx="3180">
                  <c:v>44599</c:v>
                </c:pt>
                <c:pt idx="3181">
                  <c:v>44600</c:v>
                </c:pt>
                <c:pt idx="3182">
                  <c:v>44601</c:v>
                </c:pt>
                <c:pt idx="3183">
                  <c:v>44602</c:v>
                </c:pt>
                <c:pt idx="3184">
                  <c:v>44603</c:v>
                </c:pt>
                <c:pt idx="3185">
                  <c:v>44606</c:v>
                </c:pt>
                <c:pt idx="3186">
                  <c:v>44607</c:v>
                </c:pt>
                <c:pt idx="3187">
                  <c:v>44608</c:v>
                </c:pt>
                <c:pt idx="3188">
                  <c:v>44609</c:v>
                </c:pt>
                <c:pt idx="3189">
                  <c:v>44610</c:v>
                </c:pt>
                <c:pt idx="3190">
                  <c:v>44613</c:v>
                </c:pt>
                <c:pt idx="3191">
                  <c:v>44614</c:v>
                </c:pt>
                <c:pt idx="3192">
                  <c:v>44615</c:v>
                </c:pt>
                <c:pt idx="3193">
                  <c:v>44616</c:v>
                </c:pt>
                <c:pt idx="3194">
                  <c:v>44617</c:v>
                </c:pt>
                <c:pt idx="3195">
                  <c:v>44620</c:v>
                </c:pt>
                <c:pt idx="3196">
                  <c:v>44621</c:v>
                </c:pt>
                <c:pt idx="3197">
                  <c:v>44622</c:v>
                </c:pt>
                <c:pt idx="3198">
                  <c:v>44623</c:v>
                </c:pt>
                <c:pt idx="3199">
                  <c:v>44624</c:v>
                </c:pt>
                <c:pt idx="3200">
                  <c:v>44627</c:v>
                </c:pt>
                <c:pt idx="3201">
                  <c:v>44628</c:v>
                </c:pt>
                <c:pt idx="3202">
                  <c:v>44629</c:v>
                </c:pt>
                <c:pt idx="3203">
                  <c:v>44630</c:v>
                </c:pt>
                <c:pt idx="3204">
                  <c:v>44631</c:v>
                </c:pt>
                <c:pt idx="3205">
                  <c:v>44634</c:v>
                </c:pt>
                <c:pt idx="3206">
                  <c:v>44635</c:v>
                </c:pt>
                <c:pt idx="3207">
                  <c:v>44636</c:v>
                </c:pt>
                <c:pt idx="3208">
                  <c:v>44637</c:v>
                </c:pt>
                <c:pt idx="3209">
                  <c:v>44638</c:v>
                </c:pt>
                <c:pt idx="3210">
                  <c:v>44641</c:v>
                </c:pt>
                <c:pt idx="3211">
                  <c:v>44642</c:v>
                </c:pt>
                <c:pt idx="3212">
                  <c:v>44643</c:v>
                </c:pt>
                <c:pt idx="3213">
                  <c:v>44644</c:v>
                </c:pt>
                <c:pt idx="3214">
                  <c:v>44645</c:v>
                </c:pt>
                <c:pt idx="3215">
                  <c:v>44648</c:v>
                </c:pt>
                <c:pt idx="3216">
                  <c:v>44649</c:v>
                </c:pt>
                <c:pt idx="3217">
                  <c:v>44650</c:v>
                </c:pt>
                <c:pt idx="3218">
                  <c:v>44651</c:v>
                </c:pt>
                <c:pt idx="3219">
                  <c:v>44652</c:v>
                </c:pt>
                <c:pt idx="3220">
                  <c:v>44657</c:v>
                </c:pt>
                <c:pt idx="3221">
                  <c:v>44658</c:v>
                </c:pt>
                <c:pt idx="3222">
                  <c:v>44659</c:v>
                </c:pt>
              </c:numCache>
            </c:numRef>
          </c:cat>
          <c:val>
            <c:numRef>
              <c:f>turnover_牛熊!$F$2:$F$3224</c:f>
              <c:numCache>
                <c:formatCode>General</c:formatCode>
                <c:ptCount val="3223"/>
                <c:pt idx="0">
                  <c:v>1000000</c:v>
                </c:pt>
                <c:pt idx="1">
                  <c:v>1000000</c:v>
                </c:pt>
                <c:pt idx="2">
                  <c:v>1000000</c:v>
                </c:pt>
                <c:pt idx="3">
                  <c:v>1000000</c:v>
                </c:pt>
                <c:pt idx="4">
                  <c:v>1000000</c:v>
                </c:pt>
                <c:pt idx="5">
                  <c:v>1000000</c:v>
                </c:pt>
                <c:pt idx="6">
                  <c:v>1000000</c:v>
                </c:pt>
                <c:pt idx="7">
                  <c:v>1000000</c:v>
                </c:pt>
                <c:pt idx="8">
                  <c:v>1000000</c:v>
                </c:pt>
                <c:pt idx="9">
                  <c:v>1000000</c:v>
                </c:pt>
                <c:pt idx="10">
                  <c:v>1000000</c:v>
                </c:pt>
                <c:pt idx="11">
                  <c:v>1000000</c:v>
                </c:pt>
                <c:pt idx="12">
                  <c:v>999919.13159999996</c:v>
                </c:pt>
                <c:pt idx="13">
                  <c:v>1009055.132</c:v>
                </c:pt>
                <c:pt idx="14">
                  <c:v>1004307.132</c:v>
                </c:pt>
                <c:pt idx="15">
                  <c:v>1014059.132</c:v>
                </c:pt>
                <c:pt idx="16">
                  <c:v>1034799.132</c:v>
                </c:pt>
                <c:pt idx="17">
                  <c:v>1057799.132</c:v>
                </c:pt>
                <c:pt idx="18">
                  <c:v>1051623.132</c:v>
                </c:pt>
                <c:pt idx="19">
                  <c:v>1086147.132</c:v>
                </c:pt>
                <c:pt idx="20">
                  <c:v>1109903.132</c:v>
                </c:pt>
                <c:pt idx="21">
                  <c:v>1121939.132</c:v>
                </c:pt>
                <c:pt idx="22">
                  <c:v>1123691.132</c:v>
                </c:pt>
                <c:pt idx="23">
                  <c:v>1118571.132</c:v>
                </c:pt>
                <c:pt idx="24">
                  <c:v>1150863.132</c:v>
                </c:pt>
                <c:pt idx="25">
                  <c:v>1176135.132</c:v>
                </c:pt>
                <c:pt idx="26">
                  <c:v>1145351.132</c:v>
                </c:pt>
                <c:pt idx="27">
                  <c:v>1101571.132</c:v>
                </c:pt>
                <c:pt idx="28">
                  <c:v>1110599.132</c:v>
                </c:pt>
                <c:pt idx="29">
                  <c:v>1128963.132</c:v>
                </c:pt>
                <c:pt idx="30">
                  <c:v>1155427.132</c:v>
                </c:pt>
                <c:pt idx="31">
                  <c:v>1111975.132</c:v>
                </c:pt>
                <c:pt idx="32">
                  <c:v>1112935.132</c:v>
                </c:pt>
                <c:pt idx="33">
                  <c:v>1067311.132</c:v>
                </c:pt>
                <c:pt idx="34">
                  <c:v>1047431.132</c:v>
                </c:pt>
                <c:pt idx="35">
                  <c:v>1057103.132</c:v>
                </c:pt>
                <c:pt idx="36">
                  <c:v>1048095.132</c:v>
                </c:pt>
                <c:pt idx="37">
                  <c:v>1105295.132</c:v>
                </c:pt>
                <c:pt idx="38">
                  <c:v>1113203.132</c:v>
                </c:pt>
                <c:pt idx="39">
                  <c:v>1105867.132</c:v>
                </c:pt>
                <c:pt idx="40">
                  <c:v>1072247.132</c:v>
                </c:pt>
                <c:pt idx="41">
                  <c:v>1087547.132</c:v>
                </c:pt>
                <c:pt idx="42">
                  <c:v>1079387.132</c:v>
                </c:pt>
                <c:pt idx="43">
                  <c:v>1077515.132</c:v>
                </c:pt>
                <c:pt idx="44">
                  <c:v>1073403.132</c:v>
                </c:pt>
                <c:pt idx="45">
                  <c:v>1087879.132</c:v>
                </c:pt>
                <c:pt idx="46">
                  <c:v>1120195.132</c:v>
                </c:pt>
                <c:pt idx="47">
                  <c:v>1124295.132</c:v>
                </c:pt>
                <c:pt idx="48">
                  <c:v>1144259.132</c:v>
                </c:pt>
                <c:pt idx="49">
                  <c:v>1143171.132</c:v>
                </c:pt>
                <c:pt idx="50">
                  <c:v>1166995.132</c:v>
                </c:pt>
                <c:pt idx="51">
                  <c:v>1171947.132</c:v>
                </c:pt>
                <c:pt idx="52">
                  <c:v>1151767.132</c:v>
                </c:pt>
                <c:pt idx="53">
                  <c:v>1183151.132</c:v>
                </c:pt>
                <c:pt idx="54">
                  <c:v>1190807.132</c:v>
                </c:pt>
                <c:pt idx="55">
                  <c:v>1185031.132</c:v>
                </c:pt>
                <c:pt idx="56">
                  <c:v>1194351.132</c:v>
                </c:pt>
                <c:pt idx="57">
                  <c:v>1210523.132</c:v>
                </c:pt>
                <c:pt idx="58">
                  <c:v>1221795.132</c:v>
                </c:pt>
                <c:pt idx="59">
                  <c:v>1219435.132</c:v>
                </c:pt>
                <c:pt idx="60">
                  <c:v>1222015.132</c:v>
                </c:pt>
                <c:pt idx="61">
                  <c:v>1182975.132</c:v>
                </c:pt>
                <c:pt idx="62">
                  <c:v>1198303.132</c:v>
                </c:pt>
                <c:pt idx="63">
                  <c:v>1229447.132</c:v>
                </c:pt>
                <c:pt idx="64">
                  <c:v>1253843.132</c:v>
                </c:pt>
                <c:pt idx="65">
                  <c:v>1261983.132</c:v>
                </c:pt>
                <c:pt idx="66">
                  <c:v>1266031.132</c:v>
                </c:pt>
                <c:pt idx="67">
                  <c:v>1266079.132</c:v>
                </c:pt>
                <c:pt idx="68">
                  <c:v>1251511.132</c:v>
                </c:pt>
                <c:pt idx="69">
                  <c:v>1274303.132</c:v>
                </c:pt>
                <c:pt idx="70">
                  <c:v>1261411.132</c:v>
                </c:pt>
                <c:pt idx="71">
                  <c:v>1221747.132</c:v>
                </c:pt>
                <c:pt idx="72">
                  <c:v>1228659.132</c:v>
                </c:pt>
                <c:pt idx="73">
                  <c:v>1220391.132</c:v>
                </c:pt>
                <c:pt idx="74">
                  <c:v>1196551.132</c:v>
                </c:pt>
                <c:pt idx="75">
                  <c:v>1198647.132</c:v>
                </c:pt>
                <c:pt idx="76">
                  <c:v>1233383.132</c:v>
                </c:pt>
                <c:pt idx="77">
                  <c:v>1240407.132</c:v>
                </c:pt>
                <c:pt idx="78">
                  <c:v>1276955.132</c:v>
                </c:pt>
                <c:pt idx="79">
                  <c:v>1282039.132</c:v>
                </c:pt>
                <c:pt idx="80">
                  <c:v>1297227.132</c:v>
                </c:pt>
                <c:pt idx="81">
                  <c:v>1298067.132</c:v>
                </c:pt>
                <c:pt idx="82">
                  <c:v>1306923.132</c:v>
                </c:pt>
                <c:pt idx="83">
                  <c:v>1281363.132</c:v>
                </c:pt>
                <c:pt idx="84">
                  <c:v>1306659.132</c:v>
                </c:pt>
                <c:pt idx="85">
                  <c:v>1316839.132</c:v>
                </c:pt>
                <c:pt idx="86">
                  <c:v>1308275.132</c:v>
                </c:pt>
                <c:pt idx="87">
                  <c:v>1309683.132</c:v>
                </c:pt>
                <c:pt idx="88">
                  <c:v>1315463.132</c:v>
                </c:pt>
                <c:pt idx="89">
                  <c:v>1327267.132</c:v>
                </c:pt>
                <c:pt idx="90">
                  <c:v>1316383.132</c:v>
                </c:pt>
                <c:pt idx="91">
                  <c:v>1291239.132</c:v>
                </c:pt>
                <c:pt idx="92">
                  <c:v>1287507.132</c:v>
                </c:pt>
                <c:pt idx="93">
                  <c:v>1292323.132</c:v>
                </c:pt>
                <c:pt idx="94">
                  <c:v>1279139.132</c:v>
                </c:pt>
                <c:pt idx="95">
                  <c:v>1295119.132</c:v>
                </c:pt>
                <c:pt idx="96">
                  <c:v>1334571.132</c:v>
                </c:pt>
                <c:pt idx="97">
                  <c:v>1337275.132</c:v>
                </c:pt>
                <c:pt idx="98">
                  <c:v>1366991.132</c:v>
                </c:pt>
                <c:pt idx="99">
                  <c:v>1372735.132</c:v>
                </c:pt>
                <c:pt idx="100">
                  <c:v>1366959.132</c:v>
                </c:pt>
                <c:pt idx="101">
                  <c:v>1370627.132</c:v>
                </c:pt>
                <c:pt idx="102">
                  <c:v>1375459.132</c:v>
                </c:pt>
                <c:pt idx="103">
                  <c:v>1387075.132</c:v>
                </c:pt>
                <c:pt idx="104">
                  <c:v>1375887.132</c:v>
                </c:pt>
                <c:pt idx="105">
                  <c:v>1353751.132</c:v>
                </c:pt>
                <c:pt idx="106">
                  <c:v>1377711.132</c:v>
                </c:pt>
                <c:pt idx="107">
                  <c:v>1375723.132</c:v>
                </c:pt>
                <c:pt idx="108">
                  <c:v>1395471.132</c:v>
                </c:pt>
                <c:pt idx="109">
                  <c:v>1414207.132</c:v>
                </c:pt>
                <c:pt idx="110">
                  <c:v>1423235.132</c:v>
                </c:pt>
                <c:pt idx="111">
                  <c:v>1424259.132</c:v>
                </c:pt>
                <c:pt idx="112">
                  <c:v>1424795.132</c:v>
                </c:pt>
                <c:pt idx="113">
                  <c:v>1439527.132</c:v>
                </c:pt>
                <c:pt idx="114">
                  <c:v>1438403.132</c:v>
                </c:pt>
                <c:pt idx="115">
                  <c:v>1442603.132</c:v>
                </c:pt>
                <c:pt idx="116">
                  <c:v>1463223.132</c:v>
                </c:pt>
                <c:pt idx="117">
                  <c:v>1457823.132</c:v>
                </c:pt>
                <c:pt idx="118">
                  <c:v>1486395.132</c:v>
                </c:pt>
                <c:pt idx="119">
                  <c:v>1504179.132</c:v>
                </c:pt>
                <c:pt idx="120">
                  <c:v>1522091.132</c:v>
                </c:pt>
                <c:pt idx="121">
                  <c:v>1541135.132</c:v>
                </c:pt>
                <c:pt idx="122">
                  <c:v>1527431.132</c:v>
                </c:pt>
                <c:pt idx="123">
                  <c:v>1532143.132</c:v>
                </c:pt>
                <c:pt idx="124">
                  <c:v>1549755.132</c:v>
                </c:pt>
                <c:pt idx="125">
                  <c:v>1550559.132</c:v>
                </c:pt>
                <c:pt idx="126">
                  <c:v>1535639.132</c:v>
                </c:pt>
                <c:pt idx="127">
                  <c:v>1573135.132</c:v>
                </c:pt>
                <c:pt idx="128">
                  <c:v>1588559.132</c:v>
                </c:pt>
                <c:pt idx="129">
                  <c:v>1591731.132</c:v>
                </c:pt>
                <c:pt idx="130">
                  <c:v>1599159.132</c:v>
                </c:pt>
                <c:pt idx="131">
                  <c:v>1627683.132</c:v>
                </c:pt>
                <c:pt idx="132">
                  <c:v>1607167.132</c:v>
                </c:pt>
                <c:pt idx="133">
                  <c:v>1634003.132</c:v>
                </c:pt>
                <c:pt idx="134">
                  <c:v>1652023.132</c:v>
                </c:pt>
                <c:pt idx="135">
                  <c:v>1658259.132</c:v>
                </c:pt>
                <c:pt idx="136">
                  <c:v>1688687.132</c:v>
                </c:pt>
                <c:pt idx="137">
                  <c:v>1693563.132</c:v>
                </c:pt>
                <c:pt idx="138">
                  <c:v>1614639.132</c:v>
                </c:pt>
                <c:pt idx="139">
                  <c:v>1645163.132</c:v>
                </c:pt>
                <c:pt idx="140">
                  <c:v>1685083.132</c:v>
                </c:pt>
                <c:pt idx="141">
                  <c:v>1706047.132</c:v>
                </c:pt>
                <c:pt idx="142">
                  <c:v>1705883.132</c:v>
                </c:pt>
                <c:pt idx="143">
                  <c:v>1687611.132</c:v>
                </c:pt>
                <c:pt idx="144">
                  <c:v>1656483.132</c:v>
                </c:pt>
                <c:pt idx="145">
                  <c:v>1613275.132</c:v>
                </c:pt>
                <c:pt idx="146">
                  <c:v>1609051.132</c:v>
                </c:pt>
                <c:pt idx="147">
                  <c:v>1613787.132</c:v>
                </c:pt>
                <c:pt idx="148">
                  <c:v>1550195.132</c:v>
                </c:pt>
                <c:pt idx="149">
                  <c:v>1567563.132</c:v>
                </c:pt>
                <c:pt idx="150">
                  <c:v>1529019.132</c:v>
                </c:pt>
                <c:pt idx="151">
                  <c:v>1447343.132</c:v>
                </c:pt>
                <c:pt idx="152">
                  <c:v>1460031.132</c:v>
                </c:pt>
                <c:pt idx="153">
                  <c:v>1397063.132</c:v>
                </c:pt>
                <c:pt idx="154">
                  <c:v>1448991.132</c:v>
                </c:pt>
                <c:pt idx="155">
                  <c:v>1472683.132</c:v>
                </c:pt>
                <c:pt idx="156">
                  <c:v>1483075.132</c:v>
                </c:pt>
                <c:pt idx="157">
                  <c:v>1435167.132</c:v>
                </c:pt>
                <c:pt idx="158">
                  <c:v>1460191.132</c:v>
                </c:pt>
                <c:pt idx="159">
                  <c:v>1453755.132</c:v>
                </c:pt>
                <c:pt idx="160">
                  <c:v>1409947.132</c:v>
                </c:pt>
                <c:pt idx="161">
                  <c:v>1323343.132</c:v>
                </c:pt>
                <c:pt idx="162">
                  <c:v>1328715.132</c:v>
                </c:pt>
                <c:pt idx="163">
                  <c:v>1347607.132</c:v>
                </c:pt>
                <c:pt idx="164">
                  <c:v>1412019.132</c:v>
                </c:pt>
                <c:pt idx="165">
                  <c:v>1422091.132</c:v>
                </c:pt>
                <c:pt idx="166">
                  <c:v>1432919.132</c:v>
                </c:pt>
                <c:pt idx="167">
                  <c:v>1459623.132</c:v>
                </c:pt>
                <c:pt idx="168">
                  <c:v>1469199.132</c:v>
                </c:pt>
                <c:pt idx="169">
                  <c:v>1456399.132</c:v>
                </c:pt>
                <c:pt idx="170">
                  <c:v>1486487.132</c:v>
                </c:pt>
                <c:pt idx="171">
                  <c:v>1508591.132</c:v>
                </c:pt>
                <c:pt idx="172">
                  <c:v>1512291.132</c:v>
                </c:pt>
                <c:pt idx="173">
                  <c:v>1494531.132</c:v>
                </c:pt>
                <c:pt idx="174">
                  <c:v>1519275.132</c:v>
                </c:pt>
                <c:pt idx="175">
                  <c:v>1471111.132</c:v>
                </c:pt>
                <c:pt idx="176">
                  <c:v>1474675.132</c:v>
                </c:pt>
                <c:pt idx="177">
                  <c:v>1443647.132</c:v>
                </c:pt>
                <c:pt idx="178">
                  <c:v>1415263.132</c:v>
                </c:pt>
                <c:pt idx="179">
                  <c:v>1423607.132</c:v>
                </c:pt>
                <c:pt idx="180">
                  <c:v>1414647.132</c:v>
                </c:pt>
                <c:pt idx="181">
                  <c:v>1380291.132</c:v>
                </c:pt>
                <c:pt idx="182">
                  <c:v>1380151.132</c:v>
                </c:pt>
                <c:pt idx="183">
                  <c:v>1393159.132</c:v>
                </c:pt>
                <c:pt idx="184">
                  <c:v>1456719.132</c:v>
                </c:pt>
                <c:pt idx="185">
                  <c:v>1451887.132</c:v>
                </c:pt>
                <c:pt idx="186">
                  <c:v>1470643.132</c:v>
                </c:pt>
                <c:pt idx="187">
                  <c:v>1482195.132</c:v>
                </c:pt>
                <c:pt idx="188">
                  <c:v>1487091.132</c:v>
                </c:pt>
                <c:pt idx="189">
                  <c:v>1487919.132</c:v>
                </c:pt>
                <c:pt idx="190">
                  <c:v>1522899.132</c:v>
                </c:pt>
                <c:pt idx="191">
                  <c:v>1542263.132</c:v>
                </c:pt>
                <c:pt idx="192">
                  <c:v>1538951.132</c:v>
                </c:pt>
                <c:pt idx="193">
                  <c:v>1530163.132</c:v>
                </c:pt>
                <c:pt idx="194">
                  <c:v>1556535.132</c:v>
                </c:pt>
                <c:pt idx="195">
                  <c:v>1556931.132</c:v>
                </c:pt>
                <c:pt idx="196">
                  <c:v>1517123.132</c:v>
                </c:pt>
                <c:pt idx="197">
                  <c:v>1522967.132</c:v>
                </c:pt>
                <c:pt idx="198">
                  <c:v>1490055.132</c:v>
                </c:pt>
                <c:pt idx="199">
                  <c:v>1503383.132</c:v>
                </c:pt>
                <c:pt idx="200">
                  <c:v>1548355.132</c:v>
                </c:pt>
                <c:pt idx="201">
                  <c:v>1565407.132</c:v>
                </c:pt>
                <c:pt idx="202">
                  <c:v>1572791.132</c:v>
                </c:pt>
                <c:pt idx="203">
                  <c:v>1576963.132</c:v>
                </c:pt>
                <c:pt idx="204">
                  <c:v>1584443.132</c:v>
                </c:pt>
                <c:pt idx="205">
                  <c:v>1589551.132</c:v>
                </c:pt>
                <c:pt idx="206">
                  <c:v>1592747.132</c:v>
                </c:pt>
                <c:pt idx="207">
                  <c:v>1589503.132</c:v>
                </c:pt>
                <c:pt idx="208">
                  <c:v>1591231.132</c:v>
                </c:pt>
                <c:pt idx="209">
                  <c:v>1598723.132</c:v>
                </c:pt>
                <c:pt idx="210">
                  <c:v>1641555.132</c:v>
                </c:pt>
                <c:pt idx="211">
                  <c:v>1642575.132</c:v>
                </c:pt>
                <c:pt idx="212">
                  <c:v>1643327.132</c:v>
                </c:pt>
                <c:pt idx="213">
                  <c:v>1648211.132</c:v>
                </c:pt>
                <c:pt idx="214">
                  <c:v>1643639.132</c:v>
                </c:pt>
                <c:pt idx="215">
                  <c:v>1657439.132</c:v>
                </c:pt>
                <c:pt idx="216">
                  <c:v>1610467.132</c:v>
                </c:pt>
                <c:pt idx="217">
                  <c:v>1643087.132</c:v>
                </c:pt>
                <c:pt idx="218">
                  <c:v>1585543.132</c:v>
                </c:pt>
                <c:pt idx="219">
                  <c:v>1544239.132</c:v>
                </c:pt>
                <c:pt idx="220">
                  <c:v>1595903.132</c:v>
                </c:pt>
                <c:pt idx="221">
                  <c:v>1615567.132</c:v>
                </c:pt>
                <c:pt idx="222">
                  <c:v>1630167.132</c:v>
                </c:pt>
                <c:pt idx="223">
                  <c:v>1627587.132</c:v>
                </c:pt>
                <c:pt idx="224">
                  <c:v>1648485.392</c:v>
                </c:pt>
                <c:pt idx="225">
                  <c:v>1648485.392</c:v>
                </c:pt>
                <c:pt idx="226">
                  <c:v>1648485.392</c:v>
                </c:pt>
                <c:pt idx="227">
                  <c:v>1648485.392</c:v>
                </c:pt>
                <c:pt idx="228">
                  <c:v>1648485.392</c:v>
                </c:pt>
                <c:pt idx="229">
                  <c:v>1648485.392</c:v>
                </c:pt>
                <c:pt idx="230">
                  <c:v>1648485.392</c:v>
                </c:pt>
                <c:pt idx="231">
                  <c:v>1648485.392</c:v>
                </c:pt>
                <c:pt idx="232">
                  <c:v>1648485.392</c:v>
                </c:pt>
                <c:pt idx="233">
                  <c:v>1648485.392</c:v>
                </c:pt>
                <c:pt idx="234">
                  <c:v>1648485.392</c:v>
                </c:pt>
                <c:pt idx="235">
                  <c:v>1648485.392</c:v>
                </c:pt>
                <c:pt idx="236">
                  <c:v>1648485.392</c:v>
                </c:pt>
                <c:pt idx="237">
                  <c:v>1648485.392</c:v>
                </c:pt>
                <c:pt idx="238">
                  <c:v>1648485.392</c:v>
                </c:pt>
                <c:pt idx="239">
                  <c:v>1648485.392</c:v>
                </c:pt>
                <c:pt idx="240">
                  <c:v>1648485.392</c:v>
                </c:pt>
                <c:pt idx="241">
                  <c:v>1648485.392</c:v>
                </c:pt>
                <c:pt idx="242">
                  <c:v>1648485.392</c:v>
                </c:pt>
                <c:pt idx="243">
                  <c:v>1648485.392</c:v>
                </c:pt>
                <c:pt idx="244">
                  <c:v>1648485.392</c:v>
                </c:pt>
                <c:pt idx="245">
                  <c:v>1648485.392</c:v>
                </c:pt>
                <c:pt idx="246">
                  <c:v>1648485.392</c:v>
                </c:pt>
                <c:pt idx="247">
                  <c:v>1648485.392</c:v>
                </c:pt>
                <c:pt idx="248">
                  <c:v>1648485.392</c:v>
                </c:pt>
                <c:pt idx="249">
                  <c:v>1648485.392</c:v>
                </c:pt>
                <c:pt idx="250">
                  <c:v>1648485.392</c:v>
                </c:pt>
                <c:pt idx="251">
                  <c:v>1648485.392</c:v>
                </c:pt>
                <c:pt idx="252">
                  <c:v>1648485.392</c:v>
                </c:pt>
                <c:pt idx="253">
                  <c:v>1648485.392</c:v>
                </c:pt>
                <c:pt idx="254">
                  <c:v>1648485.392</c:v>
                </c:pt>
                <c:pt idx="255">
                  <c:v>1648485.392</c:v>
                </c:pt>
                <c:pt idx="256">
                  <c:v>1648485.392</c:v>
                </c:pt>
                <c:pt idx="257">
                  <c:v>1648485.392</c:v>
                </c:pt>
                <c:pt idx="258">
                  <c:v>1648485.392</c:v>
                </c:pt>
                <c:pt idx="259">
                  <c:v>1648485.392</c:v>
                </c:pt>
                <c:pt idx="260">
                  <c:v>1648485.392</c:v>
                </c:pt>
                <c:pt idx="261">
                  <c:v>1648485.392</c:v>
                </c:pt>
                <c:pt idx="262">
                  <c:v>1648485.392</c:v>
                </c:pt>
                <c:pt idx="263">
                  <c:v>1648485.392</c:v>
                </c:pt>
                <c:pt idx="264">
                  <c:v>1648485.392</c:v>
                </c:pt>
                <c:pt idx="265">
                  <c:v>1648485.392</c:v>
                </c:pt>
                <c:pt idx="266">
                  <c:v>1648485.392</c:v>
                </c:pt>
                <c:pt idx="267">
                  <c:v>1648485.392</c:v>
                </c:pt>
                <c:pt idx="268">
                  <c:v>1648485.392</c:v>
                </c:pt>
                <c:pt idx="269">
                  <c:v>1648485.392</c:v>
                </c:pt>
                <c:pt idx="270">
                  <c:v>1648485.392</c:v>
                </c:pt>
                <c:pt idx="271">
                  <c:v>1648485.392</c:v>
                </c:pt>
                <c:pt idx="272">
                  <c:v>1648485.392</c:v>
                </c:pt>
                <c:pt idx="273">
                  <c:v>1648485.392</c:v>
                </c:pt>
                <c:pt idx="274">
                  <c:v>1648323.7250000001</c:v>
                </c:pt>
                <c:pt idx="275">
                  <c:v>1630963.7250000001</c:v>
                </c:pt>
                <c:pt idx="276">
                  <c:v>1653888.7250000001</c:v>
                </c:pt>
                <c:pt idx="277">
                  <c:v>1677713.7250000001</c:v>
                </c:pt>
                <c:pt idx="278">
                  <c:v>1672483.7250000001</c:v>
                </c:pt>
                <c:pt idx="279">
                  <c:v>1693692.504</c:v>
                </c:pt>
                <c:pt idx="280">
                  <c:v>1693692.504</c:v>
                </c:pt>
                <c:pt idx="281">
                  <c:v>1693692.504</c:v>
                </c:pt>
                <c:pt idx="282">
                  <c:v>1693692.504</c:v>
                </c:pt>
                <c:pt idx="283">
                  <c:v>1693692.504</c:v>
                </c:pt>
                <c:pt idx="284">
                  <c:v>1693692.504</c:v>
                </c:pt>
                <c:pt idx="285">
                  <c:v>1693692.504</c:v>
                </c:pt>
                <c:pt idx="286">
                  <c:v>1693692.504</c:v>
                </c:pt>
                <c:pt idx="287">
                  <c:v>1693692.504</c:v>
                </c:pt>
                <c:pt idx="288">
                  <c:v>1693692.504</c:v>
                </c:pt>
                <c:pt idx="289">
                  <c:v>1693692.504</c:v>
                </c:pt>
                <c:pt idx="290">
                  <c:v>1693692.504</c:v>
                </c:pt>
                <c:pt idx="291">
                  <c:v>1693692.504</c:v>
                </c:pt>
                <c:pt idx="292">
                  <c:v>1693692.504</c:v>
                </c:pt>
                <c:pt idx="293">
                  <c:v>1693692.504</c:v>
                </c:pt>
                <c:pt idx="294">
                  <c:v>1693692.504</c:v>
                </c:pt>
                <c:pt idx="295">
                  <c:v>1693692.504</c:v>
                </c:pt>
                <c:pt idx="296">
                  <c:v>1693692.504</c:v>
                </c:pt>
                <c:pt idx="297">
                  <c:v>1693692.504</c:v>
                </c:pt>
                <c:pt idx="298">
                  <c:v>1693692.504</c:v>
                </c:pt>
                <c:pt idx="299">
                  <c:v>1693692.504</c:v>
                </c:pt>
                <c:pt idx="300">
                  <c:v>1693692.504</c:v>
                </c:pt>
                <c:pt idx="301">
                  <c:v>1693692.504</c:v>
                </c:pt>
                <c:pt idx="302">
                  <c:v>1693692.504</c:v>
                </c:pt>
                <c:pt idx="303">
                  <c:v>1693692.504</c:v>
                </c:pt>
                <c:pt idx="304">
                  <c:v>1693692.504</c:v>
                </c:pt>
                <c:pt idx="305">
                  <c:v>1693692.504</c:v>
                </c:pt>
                <c:pt idx="306">
                  <c:v>1693692.504</c:v>
                </c:pt>
                <c:pt idx="307">
                  <c:v>1693692.504</c:v>
                </c:pt>
                <c:pt idx="308">
                  <c:v>1693692.504</c:v>
                </c:pt>
                <c:pt idx="309">
                  <c:v>1693692.504</c:v>
                </c:pt>
                <c:pt idx="310">
                  <c:v>1693692.504</c:v>
                </c:pt>
                <c:pt idx="311">
                  <c:v>1693692.504</c:v>
                </c:pt>
                <c:pt idx="312">
                  <c:v>1693692.504</c:v>
                </c:pt>
                <c:pt idx="313">
                  <c:v>1693692.504</c:v>
                </c:pt>
                <c:pt idx="314">
                  <c:v>1693692.504</c:v>
                </c:pt>
                <c:pt idx="315">
                  <c:v>1693692.504</c:v>
                </c:pt>
                <c:pt idx="316">
                  <c:v>1693692.504</c:v>
                </c:pt>
                <c:pt idx="317">
                  <c:v>1693692.504</c:v>
                </c:pt>
                <c:pt idx="318">
                  <c:v>1693692.504</c:v>
                </c:pt>
                <c:pt idx="319">
                  <c:v>1693692.504</c:v>
                </c:pt>
                <c:pt idx="320">
                  <c:v>1693692.504</c:v>
                </c:pt>
                <c:pt idx="321">
                  <c:v>1693692.504</c:v>
                </c:pt>
                <c:pt idx="322">
                  <c:v>1693692.504</c:v>
                </c:pt>
                <c:pt idx="323">
                  <c:v>1693692.504</c:v>
                </c:pt>
                <c:pt idx="324">
                  <c:v>1693692.504</c:v>
                </c:pt>
                <c:pt idx="325">
                  <c:v>1693692.504</c:v>
                </c:pt>
                <c:pt idx="326">
                  <c:v>1693692.504</c:v>
                </c:pt>
                <c:pt idx="327">
                  <c:v>1693692.504</c:v>
                </c:pt>
                <c:pt idx="328">
                  <c:v>1693692.504</c:v>
                </c:pt>
                <c:pt idx="329">
                  <c:v>1693692.504</c:v>
                </c:pt>
                <c:pt idx="330">
                  <c:v>1693692.504</c:v>
                </c:pt>
                <c:pt idx="331">
                  <c:v>1693692.504</c:v>
                </c:pt>
                <c:pt idx="332">
                  <c:v>1693692.504</c:v>
                </c:pt>
                <c:pt idx="333">
                  <c:v>1693692.504</c:v>
                </c:pt>
                <c:pt idx="334">
                  <c:v>1693692.504</c:v>
                </c:pt>
                <c:pt idx="335">
                  <c:v>1693692.504</c:v>
                </c:pt>
                <c:pt idx="336">
                  <c:v>1693692.504</c:v>
                </c:pt>
                <c:pt idx="337">
                  <c:v>1693692.504</c:v>
                </c:pt>
                <c:pt idx="338">
                  <c:v>1693692.504</c:v>
                </c:pt>
                <c:pt idx="339">
                  <c:v>1693692.504</c:v>
                </c:pt>
                <c:pt idx="340">
                  <c:v>1693692.504</c:v>
                </c:pt>
                <c:pt idx="341">
                  <c:v>1693692.504</c:v>
                </c:pt>
                <c:pt idx="342">
                  <c:v>1693692.504</c:v>
                </c:pt>
                <c:pt idx="343">
                  <c:v>1693692.504</c:v>
                </c:pt>
                <c:pt idx="344">
                  <c:v>1693692.504</c:v>
                </c:pt>
                <c:pt idx="345">
                  <c:v>1693692.504</c:v>
                </c:pt>
                <c:pt idx="346">
                  <c:v>1693692.504</c:v>
                </c:pt>
                <c:pt idx="347">
                  <c:v>1693692.504</c:v>
                </c:pt>
                <c:pt idx="348">
                  <c:v>1693692.504</c:v>
                </c:pt>
                <c:pt idx="349">
                  <c:v>1693692.504</c:v>
                </c:pt>
                <c:pt idx="350">
                  <c:v>1693692.504</c:v>
                </c:pt>
                <c:pt idx="351">
                  <c:v>1693692.504</c:v>
                </c:pt>
                <c:pt idx="352">
                  <c:v>1693692.504</c:v>
                </c:pt>
                <c:pt idx="353">
                  <c:v>1693692.504</c:v>
                </c:pt>
                <c:pt idx="354">
                  <c:v>1693692.504</c:v>
                </c:pt>
                <c:pt idx="355">
                  <c:v>1693692.504</c:v>
                </c:pt>
                <c:pt idx="356">
                  <c:v>1693692.504</c:v>
                </c:pt>
                <c:pt idx="357">
                  <c:v>1693692.504</c:v>
                </c:pt>
                <c:pt idx="358">
                  <c:v>1693692.504</c:v>
                </c:pt>
                <c:pt idx="359">
                  <c:v>1693692.504</c:v>
                </c:pt>
                <c:pt idx="360">
                  <c:v>1693692.504</c:v>
                </c:pt>
                <c:pt idx="361">
                  <c:v>1693692.504</c:v>
                </c:pt>
                <c:pt idx="362">
                  <c:v>1693692.504</c:v>
                </c:pt>
                <c:pt idx="363">
                  <c:v>1693692.504</c:v>
                </c:pt>
                <c:pt idx="364">
                  <c:v>1693692.504</c:v>
                </c:pt>
                <c:pt idx="365">
                  <c:v>1693692.504</c:v>
                </c:pt>
                <c:pt idx="366">
                  <c:v>1693692.504</c:v>
                </c:pt>
                <c:pt idx="367">
                  <c:v>1693692.504</c:v>
                </c:pt>
                <c:pt idx="368">
                  <c:v>1693692.504</c:v>
                </c:pt>
                <c:pt idx="369">
                  <c:v>1693692.504</c:v>
                </c:pt>
                <c:pt idx="370">
                  <c:v>1693692.504</c:v>
                </c:pt>
                <c:pt idx="371">
                  <c:v>1693692.504</c:v>
                </c:pt>
                <c:pt idx="372">
                  <c:v>1693692.504</c:v>
                </c:pt>
                <c:pt idx="373">
                  <c:v>1693692.504</c:v>
                </c:pt>
                <c:pt idx="374">
                  <c:v>1693692.504</c:v>
                </c:pt>
                <c:pt idx="375">
                  <c:v>1693692.504</c:v>
                </c:pt>
                <c:pt idx="376">
                  <c:v>1693692.504</c:v>
                </c:pt>
                <c:pt idx="377">
                  <c:v>1693692.504</c:v>
                </c:pt>
                <c:pt idx="378">
                  <c:v>1693692.504</c:v>
                </c:pt>
                <c:pt idx="379">
                  <c:v>1693692.504</c:v>
                </c:pt>
                <c:pt idx="380">
                  <c:v>1693692.504</c:v>
                </c:pt>
                <c:pt idx="381">
                  <c:v>1693692.504</c:v>
                </c:pt>
                <c:pt idx="382">
                  <c:v>1693692.504</c:v>
                </c:pt>
                <c:pt idx="383">
                  <c:v>1693692.504</c:v>
                </c:pt>
                <c:pt idx="384">
                  <c:v>1693692.504</c:v>
                </c:pt>
                <c:pt idx="385">
                  <c:v>1693692.504</c:v>
                </c:pt>
                <c:pt idx="386">
                  <c:v>1693692.504</c:v>
                </c:pt>
                <c:pt idx="387">
                  <c:v>1693692.504</c:v>
                </c:pt>
                <c:pt idx="388">
                  <c:v>1693692.504</c:v>
                </c:pt>
                <c:pt idx="389">
                  <c:v>1693692.504</c:v>
                </c:pt>
                <c:pt idx="390">
                  <c:v>1693692.504</c:v>
                </c:pt>
                <c:pt idx="391">
                  <c:v>1693692.504</c:v>
                </c:pt>
                <c:pt idx="392">
                  <c:v>1693692.504</c:v>
                </c:pt>
                <c:pt idx="393">
                  <c:v>1693549.726</c:v>
                </c:pt>
                <c:pt idx="394">
                  <c:v>1726814.726</c:v>
                </c:pt>
                <c:pt idx="395">
                  <c:v>1736919.726</c:v>
                </c:pt>
                <c:pt idx="396">
                  <c:v>1734454.726</c:v>
                </c:pt>
                <c:pt idx="397">
                  <c:v>1743474.726</c:v>
                </c:pt>
                <c:pt idx="398">
                  <c:v>1714939.726</c:v>
                </c:pt>
                <c:pt idx="399">
                  <c:v>1713869.726</c:v>
                </c:pt>
                <c:pt idx="400">
                  <c:v>1721689.726</c:v>
                </c:pt>
                <c:pt idx="401">
                  <c:v>1687284.726</c:v>
                </c:pt>
                <c:pt idx="402">
                  <c:v>1690819.726</c:v>
                </c:pt>
                <c:pt idx="403">
                  <c:v>1695059.726</c:v>
                </c:pt>
                <c:pt idx="404">
                  <c:v>1723279.726</c:v>
                </c:pt>
                <c:pt idx="405">
                  <c:v>1717369.726</c:v>
                </c:pt>
                <c:pt idx="406">
                  <c:v>1707794.726</c:v>
                </c:pt>
                <c:pt idx="407">
                  <c:v>1726469.726</c:v>
                </c:pt>
                <c:pt idx="408">
                  <c:v>1725879.726</c:v>
                </c:pt>
                <c:pt idx="409">
                  <c:v>1753319.726</c:v>
                </c:pt>
                <c:pt idx="410">
                  <c:v>1757329.726</c:v>
                </c:pt>
                <c:pt idx="411">
                  <c:v>1756259.726</c:v>
                </c:pt>
                <c:pt idx="412">
                  <c:v>1729004.726</c:v>
                </c:pt>
                <c:pt idx="413">
                  <c:v>1732049.726</c:v>
                </c:pt>
                <c:pt idx="414">
                  <c:v>1746934.726</c:v>
                </c:pt>
                <c:pt idx="415">
                  <c:v>1748279.726</c:v>
                </c:pt>
                <c:pt idx="416">
                  <c:v>1722369.726</c:v>
                </c:pt>
                <c:pt idx="417">
                  <c:v>1694669.726</c:v>
                </c:pt>
                <c:pt idx="418">
                  <c:v>1696459.726</c:v>
                </c:pt>
                <c:pt idx="419">
                  <c:v>1690689.726</c:v>
                </c:pt>
                <c:pt idx="420">
                  <c:v>1694514.726</c:v>
                </c:pt>
                <c:pt idx="421">
                  <c:v>1718289.726</c:v>
                </c:pt>
                <c:pt idx="422">
                  <c:v>1706229.726</c:v>
                </c:pt>
                <c:pt idx="423">
                  <c:v>1703179.726</c:v>
                </c:pt>
                <c:pt idx="424">
                  <c:v>1733559.726</c:v>
                </c:pt>
                <c:pt idx="425">
                  <c:v>1787889.726</c:v>
                </c:pt>
                <c:pt idx="426">
                  <c:v>1832224.726</c:v>
                </c:pt>
                <c:pt idx="427">
                  <c:v>1852139.726</c:v>
                </c:pt>
                <c:pt idx="428">
                  <c:v>1874564.726</c:v>
                </c:pt>
                <c:pt idx="429">
                  <c:v>1877844.726</c:v>
                </c:pt>
                <c:pt idx="430">
                  <c:v>1929614.726</c:v>
                </c:pt>
                <c:pt idx="431">
                  <c:v>1918854.726</c:v>
                </c:pt>
                <c:pt idx="432">
                  <c:v>1953609.726</c:v>
                </c:pt>
                <c:pt idx="433">
                  <c:v>1964214.726</c:v>
                </c:pt>
                <c:pt idx="434">
                  <c:v>1953119.726</c:v>
                </c:pt>
                <c:pt idx="435">
                  <c:v>1955104.726</c:v>
                </c:pt>
                <c:pt idx="436">
                  <c:v>2006314.726</c:v>
                </c:pt>
                <c:pt idx="437">
                  <c:v>1998814.726</c:v>
                </c:pt>
                <c:pt idx="438">
                  <c:v>1967709.726</c:v>
                </c:pt>
                <c:pt idx="439">
                  <c:v>1964619.726</c:v>
                </c:pt>
                <c:pt idx="440">
                  <c:v>1955764.726</c:v>
                </c:pt>
                <c:pt idx="441">
                  <c:v>2002274.726</c:v>
                </c:pt>
                <c:pt idx="442">
                  <c:v>1997339.726</c:v>
                </c:pt>
                <c:pt idx="443">
                  <c:v>1975944.726</c:v>
                </c:pt>
                <c:pt idx="444">
                  <c:v>2006029.726</c:v>
                </c:pt>
                <c:pt idx="445">
                  <c:v>2026174.726</c:v>
                </c:pt>
                <c:pt idx="446">
                  <c:v>2040059.726</c:v>
                </c:pt>
                <c:pt idx="447">
                  <c:v>2027749.726</c:v>
                </c:pt>
                <c:pt idx="448">
                  <c:v>2015329.726</c:v>
                </c:pt>
                <c:pt idx="449">
                  <c:v>2020764.726</c:v>
                </c:pt>
                <c:pt idx="450">
                  <c:v>1911689.726</c:v>
                </c:pt>
                <c:pt idx="451">
                  <c:v>1923219.726</c:v>
                </c:pt>
                <c:pt idx="452">
                  <c:v>1850544.726</c:v>
                </c:pt>
                <c:pt idx="453">
                  <c:v>1817729.726</c:v>
                </c:pt>
                <c:pt idx="454">
                  <c:v>1839754.726</c:v>
                </c:pt>
                <c:pt idx="455">
                  <c:v>1855199.726</c:v>
                </c:pt>
                <c:pt idx="456">
                  <c:v>1851744.726</c:v>
                </c:pt>
                <c:pt idx="457">
                  <c:v>1819364.726</c:v>
                </c:pt>
                <c:pt idx="458">
                  <c:v>1854294.726</c:v>
                </c:pt>
                <c:pt idx="459">
                  <c:v>1877514.726</c:v>
                </c:pt>
                <c:pt idx="460">
                  <c:v>1863199.726</c:v>
                </c:pt>
                <c:pt idx="461">
                  <c:v>1860799.726</c:v>
                </c:pt>
                <c:pt idx="462">
                  <c:v>1834269.726</c:v>
                </c:pt>
                <c:pt idx="463">
                  <c:v>1833784.726</c:v>
                </c:pt>
                <c:pt idx="464">
                  <c:v>1843304.726</c:v>
                </c:pt>
                <c:pt idx="465">
                  <c:v>1844854.726</c:v>
                </c:pt>
                <c:pt idx="466">
                  <c:v>1848559.726</c:v>
                </c:pt>
                <c:pt idx="467">
                  <c:v>1865944.726</c:v>
                </c:pt>
                <c:pt idx="468">
                  <c:v>1851714.726</c:v>
                </c:pt>
                <c:pt idx="469">
                  <c:v>1827459.726</c:v>
                </c:pt>
                <c:pt idx="470">
                  <c:v>1846764.726</c:v>
                </c:pt>
                <c:pt idx="471">
                  <c:v>1896304.726</c:v>
                </c:pt>
                <c:pt idx="472">
                  <c:v>1900509.726</c:v>
                </c:pt>
                <c:pt idx="473">
                  <c:v>1889594.726</c:v>
                </c:pt>
                <c:pt idx="474">
                  <c:v>1881109.726</c:v>
                </c:pt>
                <c:pt idx="475">
                  <c:v>1878604.726</c:v>
                </c:pt>
                <c:pt idx="476">
                  <c:v>1855104.726</c:v>
                </c:pt>
                <c:pt idx="477">
                  <c:v>1890529.726</c:v>
                </c:pt>
                <c:pt idx="478">
                  <c:v>1873338.9539999999</c:v>
                </c:pt>
                <c:pt idx="479">
                  <c:v>1873338.9539999999</c:v>
                </c:pt>
                <c:pt idx="480">
                  <c:v>1873338.9539999999</c:v>
                </c:pt>
                <c:pt idx="481">
                  <c:v>1873338.9539999999</c:v>
                </c:pt>
                <c:pt idx="482">
                  <c:v>1873338.9539999999</c:v>
                </c:pt>
                <c:pt idx="483">
                  <c:v>1873338.9539999999</c:v>
                </c:pt>
                <c:pt idx="484">
                  <c:v>1873338.9539999999</c:v>
                </c:pt>
                <c:pt idx="485">
                  <c:v>1873338.9539999999</c:v>
                </c:pt>
                <c:pt idx="486">
                  <c:v>1873338.9539999999</c:v>
                </c:pt>
                <c:pt idx="487">
                  <c:v>1873338.9539999999</c:v>
                </c:pt>
                <c:pt idx="488">
                  <c:v>1873338.9539999999</c:v>
                </c:pt>
                <c:pt idx="489">
                  <c:v>1873338.9539999999</c:v>
                </c:pt>
                <c:pt idx="490">
                  <c:v>1873338.9539999999</c:v>
                </c:pt>
                <c:pt idx="491">
                  <c:v>1873338.9539999999</c:v>
                </c:pt>
                <c:pt idx="492">
                  <c:v>1873338.9539999999</c:v>
                </c:pt>
                <c:pt idx="493">
                  <c:v>1873338.9539999999</c:v>
                </c:pt>
                <c:pt idx="494">
                  <c:v>1873338.9539999999</c:v>
                </c:pt>
                <c:pt idx="495">
                  <c:v>1873160.493</c:v>
                </c:pt>
                <c:pt idx="496">
                  <c:v>1875140.493</c:v>
                </c:pt>
                <c:pt idx="497">
                  <c:v>1915460.493</c:v>
                </c:pt>
                <c:pt idx="498">
                  <c:v>1855376.493</c:v>
                </c:pt>
                <c:pt idx="499">
                  <c:v>1878626.493</c:v>
                </c:pt>
                <c:pt idx="500">
                  <c:v>1861088.493</c:v>
                </c:pt>
                <c:pt idx="501">
                  <c:v>1851740.493</c:v>
                </c:pt>
                <c:pt idx="502">
                  <c:v>1875608.493</c:v>
                </c:pt>
                <c:pt idx="503">
                  <c:v>1904432.493</c:v>
                </c:pt>
                <c:pt idx="504">
                  <c:v>1910594.493</c:v>
                </c:pt>
                <c:pt idx="505">
                  <c:v>1934456.493</c:v>
                </c:pt>
                <c:pt idx="506">
                  <c:v>1934918.493</c:v>
                </c:pt>
                <c:pt idx="507">
                  <c:v>1913120.493</c:v>
                </c:pt>
                <c:pt idx="508">
                  <c:v>1951046.493</c:v>
                </c:pt>
                <c:pt idx="509">
                  <c:v>1961126.493</c:v>
                </c:pt>
                <c:pt idx="510">
                  <c:v>2020034.493</c:v>
                </c:pt>
                <c:pt idx="511">
                  <c:v>2019152.493</c:v>
                </c:pt>
                <c:pt idx="512">
                  <c:v>2037668.493</c:v>
                </c:pt>
                <c:pt idx="513">
                  <c:v>2036096.493</c:v>
                </c:pt>
                <c:pt idx="514">
                  <c:v>2015678.493</c:v>
                </c:pt>
                <c:pt idx="515">
                  <c:v>2043296.493</c:v>
                </c:pt>
                <c:pt idx="516">
                  <c:v>1986698.493</c:v>
                </c:pt>
                <c:pt idx="517">
                  <c:v>1993394.493</c:v>
                </c:pt>
                <c:pt idx="518">
                  <c:v>2003114.493</c:v>
                </c:pt>
                <c:pt idx="519">
                  <c:v>2007122.493</c:v>
                </c:pt>
                <c:pt idx="520">
                  <c:v>2032286.493</c:v>
                </c:pt>
                <c:pt idx="521">
                  <c:v>2041484.493</c:v>
                </c:pt>
                <c:pt idx="522">
                  <c:v>2034530.493</c:v>
                </c:pt>
                <c:pt idx="523">
                  <c:v>2021582.493</c:v>
                </c:pt>
                <c:pt idx="524">
                  <c:v>2050952.493</c:v>
                </c:pt>
                <c:pt idx="525">
                  <c:v>2089256.493</c:v>
                </c:pt>
                <c:pt idx="526">
                  <c:v>2091026.493</c:v>
                </c:pt>
                <c:pt idx="527">
                  <c:v>2091866.493</c:v>
                </c:pt>
                <c:pt idx="528">
                  <c:v>2056706.493</c:v>
                </c:pt>
                <c:pt idx="529">
                  <c:v>2036978.493</c:v>
                </c:pt>
                <c:pt idx="530">
                  <c:v>2046302.493</c:v>
                </c:pt>
                <c:pt idx="531">
                  <c:v>2010926.493</c:v>
                </c:pt>
                <c:pt idx="532">
                  <c:v>2037470.493</c:v>
                </c:pt>
                <c:pt idx="533">
                  <c:v>2006810.493</c:v>
                </c:pt>
                <c:pt idx="534">
                  <c:v>2017964.493</c:v>
                </c:pt>
                <c:pt idx="535">
                  <c:v>2012816.493</c:v>
                </c:pt>
                <c:pt idx="536">
                  <c:v>2022326.493</c:v>
                </c:pt>
                <c:pt idx="537">
                  <c:v>2047508.493</c:v>
                </c:pt>
                <c:pt idx="538">
                  <c:v>2039366.493</c:v>
                </c:pt>
                <c:pt idx="539">
                  <c:v>2065238.493</c:v>
                </c:pt>
                <c:pt idx="540">
                  <c:v>2062892.493</c:v>
                </c:pt>
                <c:pt idx="541">
                  <c:v>2043338.493</c:v>
                </c:pt>
                <c:pt idx="542">
                  <c:v>2042198.493</c:v>
                </c:pt>
                <c:pt idx="543">
                  <c:v>2022524.493</c:v>
                </c:pt>
                <c:pt idx="544">
                  <c:v>2052188.493</c:v>
                </c:pt>
                <c:pt idx="545">
                  <c:v>2075192.493</c:v>
                </c:pt>
                <c:pt idx="546">
                  <c:v>2083202.493</c:v>
                </c:pt>
                <c:pt idx="547">
                  <c:v>2100566.4929999998</c:v>
                </c:pt>
                <c:pt idx="548">
                  <c:v>2088608.493</c:v>
                </c:pt>
                <c:pt idx="549">
                  <c:v>2084612.493</c:v>
                </c:pt>
                <c:pt idx="550">
                  <c:v>2111768.4929999998</c:v>
                </c:pt>
                <c:pt idx="551">
                  <c:v>2100686.4929999998</c:v>
                </c:pt>
                <c:pt idx="552">
                  <c:v>2103914.4929999998</c:v>
                </c:pt>
                <c:pt idx="553">
                  <c:v>2104214.4929999998</c:v>
                </c:pt>
                <c:pt idx="554">
                  <c:v>2066036.493</c:v>
                </c:pt>
                <c:pt idx="555">
                  <c:v>2066006.493</c:v>
                </c:pt>
                <c:pt idx="556">
                  <c:v>2078972.493</c:v>
                </c:pt>
                <c:pt idx="557">
                  <c:v>2068514.493</c:v>
                </c:pt>
                <c:pt idx="558">
                  <c:v>2038292.493</c:v>
                </c:pt>
                <c:pt idx="559">
                  <c:v>2027126.493</c:v>
                </c:pt>
                <c:pt idx="560">
                  <c:v>2014250.493</c:v>
                </c:pt>
                <c:pt idx="561">
                  <c:v>1985618.493</c:v>
                </c:pt>
                <c:pt idx="562">
                  <c:v>2004182.493</c:v>
                </c:pt>
                <c:pt idx="563">
                  <c:v>2015228.493</c:v>
                </c:pt>
                <c:pt idx="564">
                  <c:v>1965968.493</c:v>
                </c:pt>
                <c:pt idx="565">
                  <c:v>1964222.493</c:v>
                </c:pt>
                <c:pt idx="566">
                  <c:v>1961390.493</c:v>
                </c:pt>
                <c:pt idx="567">
                  <c:v>1966406.493</c:v>
                </c:pt>
                <c:pt idx="568">
                  <c:v>1980482.493</c:v>
                </c:pt>
                <c:pt idx="569">
                  <c:v>1975604.493</c:v>
                </c:pt>
                <c:pt idx="570">
                  <c:v>1949510.493</c:v>
                </c:pt>
                <c:pt idx="571">
                  <c:v>1965404.493</c:v>
                </c:pt>
                <c:pt idx="572">
                  <c:v>1948826.493</c:v>
                </c:pt>
                <c:pt idx="573">
                  <c:v>1958168.493</c:v>
                </c:pt>
                <c:pt idx="574">
                  <c:v>1972178.493</c:v>
                </c:pt>
                <c:pt idx="575">
                  <c:v>1960934.493</c:v>
                </c:pt>
                <c:pt idx="576">
                  <c:v>1961510.493</c:v>
                </c:pt>
                <c:pt idx="577">
                  <c:v>1902338.493</c:v>
                </c:pt>
                <c:pt idx="578">
                  <c:v>1904282.493</c:v>
                </c:pt>
                <c:pt idx="579">
                  <c:v>1882754.493</c:v>
                </c:pt>
                <c:pt idx="580">
                  <c:v>1875578.493</c:v>
                </c:pt>
                <c:pt idx="581">
                  <c:v>1866536.493</c:v>
                </c:pt>
                <c:pt idx="582">
                  <c:v>1861256.493</c:v>
                </c:pt>
                <c:pt idx="583">
                  <c:v>1889486.493</c:v>
                </c:pt>
                <c:pt idx="584">
                  <c:v>1891052.493</c:v>
                </c:pt>
                <c:pt idx="585">
                  <c:v>1861976.493</c:v>
                </c:pt>
                <c:pt idx="586">
                  <c:v>1880360.493</c:v>
                </c:pt>
                <c:pt idx="587">
                  <c:v>1891106.493</c:v>
                </c:pt>
                <c:pt idx="588">
                  <c:v>1893740.493</c:v>
                </c:pt>
                <c:pt idx="589">
                  <c:v>1859684.493</c:v>
                </c:pt>
                <c:pt idx="590">
                  <c:v>1865708.493</c:v>
                </c:pt>
                <c:pt idx="591">
                  <c:v>1858760.493</c:v>
                </c:pt>
                <c:pt idx="592">
                  <c:v>1884686.493</c:v>
                </c:pt>
                <c:pt idx="593">
                  <c:v>1866422.493</c:v>
                </c:pt>
                <c:pt idx="594">
                  <c:v>1839098.493</c:v>
                </c:pt>
                <c:pt idx="595">
                  <c:v>1823846.493</c:v>
                </c:pt>
                <c:pt idx="596">
                  <c:v>1813490.493</c:v>
                </c:pt>
                <c:pt idx="597">
                  <c:v>1833992.493</c:v>
                </c:pt>
                <c:pt idx="598">
                  <c:v>1833698.493</c:v>
                </c:pt>
                <c:pt idx="599">
                  <c:v>1863128.493</c:v>
                </c:pt>
                <c:pt idx="600">
                  <c:v>1905032.493</c:v>
                </c:pt>
                <c:pt idx="601">
                  <c:v>1910444.493</c:v>
                </c:pt>
                <c:pt idx="602">
                  <c:v>1913588.493</c:v>
                </c:pt>
                <c:pt idx="603">
                  <c:v>1888652.493</c:v>
                </c:pt>
                <c:pt idx="604">
                  <c:v>1915004.493</c:v>
                </c:pt>
                <c:pt idx="605">
                  <c:v>1918400.493</c:v>
                </c:pt>
                <c:pt idx="606">
                  <c:v>1961738.493</c:v>
                </c:pt>
                <c:pt idx="607">
                  <c:v>1962050.493</c:v>
                </c:pt>
                <c:pt idx="608">
                  <c:v>1956776.493</c:v>
                </c:pt>
                <c:pt idx="609">
                  <c:v>1949558.493</c:v>
                </c:pt>
                <c:pt idx="610">
                  <c:v>1954058.493</c:v>
                </c:pt>
                <c:pt idx="611">
                  <c:v>1956476.493</c:v>
                </c:pt>
                <c:pt idx="612">
                  <c:v>1922696.493</c:v>
                </c:pt>
                <c:pt idx="613">
                  <c:v>1952300.493</c:v>
                </c:pt>
                <c:pt idx="614">
                  <c:v>1958000.493</c:v>
                </c:pt>
                <c:pt idx="615">
                  <c:v>1965884.493</c:v>
                </c:pt>
                <c:pt idx="616">
                  <c:v>1962110.493</c:v>
                </c:pt>
                <c:pt idx="617">
                  <c:v>1945628.493</c:v>
                </c:pt>
                <c:pt idx="618">
                  <c:v>1943492.493</c:v>
                </c:pt>
                <c:pt idx="619">
                  <c:v>1924034.493</c:v>
                </c:pt>
                <c:pt idx="620">
                  <c:v>1929344.493</c:v>
                </c:pt>
                <c:pt idx="621">
                  <c:v>1869524.493</c:v>
                </c:pt>
                <c:pt idx="622">
                  <c:v>1875212.493</c:v>
                </c:pt>
                <c:pt idx="623">
                  <c:v>1888580.493</c:v>
                </c:pt>
                <c:pt idx="624">
                  <c:v>1877150.493</c:v>
                </c:pt>
                <c:pt idx="625">
                  <c:v>1871798.493</c:v>
                </c:pt>
                <c:pt idx="626">
                  <c:v>1875182.493</c:v>
                </c:pt>
                <c:pt idx="627">
                  <c:v>1862378.493</c:v>
                </c:pt>
                <c:pt idx="628">
                  <c:v>1861472.493</c:v>
                </c:pt>
                <c:pt idx="629">
                  <c:v>1864736.493</c:v>
                </c:pt>
                <c:pt idx="630">
                  <c:v>1827002.493</c:v>
                </c:pt>
                <c:pt idx="631">
                  <c:v>1764890.493</c:v>
                </c:pt>
                <c:pt idx="632">
                  <c:v>1767464.493</c:v>
                </c:pt>
                <c:pt idx="633">
                  <c:v>1782853.0449999999</c:v>
                </c:pt>
                <c:pt idx="634">
                  <c:v>1782853.0449999999</c:v>
                </c:pt>
                <c:pt idx="635">
                  <c:v>1782853.0449999999</c:v>
                </c:pt>
                <c:pt idx="636">
                  <c:v>1782853.0449999999</c:v>
                </c:pt>
                <c:pt idx="637">
                  <c:v>1782853.0449999999</c:v>
                </c:pt>
                <c:pt idx="638">
                  <c:v>1782853.0449999999</c:v>
                </c:pt>
                <c:pt idx="639">
                  <c:v>1782853.0449999999</c:v>
                </c:pt>
                <c:pt idx="640">
                  <c:v>1782853.0449999999</c:v>
                </c:pt>
                <c:pt idx="641">
                  <c:v>1782853.0449999999</c:v>
                </c:pt>
                <c:pt idx="642">
                  <c:v>1782853.0449999999</c:v>
                </c:pt>
                <c:pt idx="643">
                  <c:v>1782853.0449999999</c:v>
                </c:pt>
                <c:pt idx="644">
                  <c:v>1782853.0449999999</c:v>
                </c:pt>
                <c:pt idx="645">
                  <c:v>1782853.0449999999</c:v>
                </c:pt>
                <c:pt idx="646">
                  <c:v>1782853.0449999999</c:v>
                </c:pt>
                <c:pt idx="647">
                  <c:v>1782853.0449999999</c:v>
                </c:pt>
                <c:pt idx="648">
                  <c:v>1782853.0449999999</c:v>
                </c:pt>
                <c:pt idx="649">
                  <c:v>1782853.0449999999</c:v>
                </c:pt>
                <c:pt idx="650">
                  <c:v>1782853.0449999999</c:v>
                </c:pt>
                <c:pt idx="651">
                  <c:v>1782853.0449999999</c:v>
                </c:pt>
                <c:pt idx="652">
                  <c:v>1782853.0449999999</c:v>
                </c:pt>
                <c:pt idx="653">
                  <c:v>1782853.0449999999</c:v>
                </c:pt>
                <c:pt idx="654">
                  <c:v>1782853.0449999999</c:v>
                </c:pt>
                <c:pt idx="655">
                  <c:v>1782853.0449999999</c:v>
                </c:pt>
                <c:pt idx="656">
                  <c:v>1782853.0449999999</c:v>
                </c:pt>
                <c:pt idx="657">
                  <c:v>1782689.0589999999</c:v>
                </c:pt>
                <c:pt idx="658">
                  <c:v>1780253.0589999999</c:v>
                </c:pt>
                <c:pt idx="659">
                  <c:v>1783217.0589999999</c:v>
                </c:pt>
                <c:pt idx="660">
                  <c:v>1750385.0589999999</c:v>
                </c:pt>
                <c:pt idx="661">
                  <c:v>1756733.0589999999</c:v>
                </c:pt>
                <c:pt idx="662">
                  <c:v>1805429.0589999999</c:v>
                </c:pt>
                <c:pt idx="663">
                  <c:v>1754237.0589999999</c:v>
                </c:pt>
                <c:pt idx="664">
                  <c:v>1744511.0589999999</c:v>
                </c:pt>
                <c:pt idx="665">
                  <c:v>1709375.0589999999</c:v>
                </c:pt>
                <c:pt idx="666">
                  <c:v>1725551.0589999999</c:v>
                </c:pt>
                <c:pt idx="667">
                  <c:v>1709177.0589999999</c:v>
                </c:pt>
                <c:pt idx="668">
                  <c:v>1695737.0589999999</c:v>
                </c:pt>
                <c:pt idx="669">
                  <c:v>1691633.0589999999</c:v>
                </c:pt>
                <c:pt idx="670">
                  <c:v>1677071.0589999999</c:v>
                </c:pt>
                <c:pt idx="671">
                  <c:v>1674017.0589999999</c:v>
                </c:pt>
                <c:pt idx="672">
                  <c:v>1729679.0589999999</c:v>
                </c:pt>
                <c:pt idx="673">
                  <c:v>1740383.0589999999</c:v>
                </c:pt>
                <c:pt idx="674">
                  <c:v>1735091.0589999999</c:v>
                </c:pt>
                <c:pt idx="675">
                  <c:v>1742993.0589999999</c:v>
                </c:pt>
                <c:pt idx="676">
                  <c:v>1698149.0589999999</c:v>
                </c:pt>
                <c:pt idx="677">
                  <c:v>1692671.0589999999</c:v>
                </c:pt>
                <c:pt idx="678">
                  <c:v>1655141.0589999999</c:v>
                </c:pt>
                <c:pt idx="679">
                  <c:v>1647551.0589999999</c:v>
                </c:pt>
                <c:pt idx="680">
                  <c:v>1688825.0589999999</c:v>
                </c:pt>
                <c:pt idx="681">
                  <c:v>1718081.0589999999</c:v>
                </c:pt>
                <c:pt idx="682">
                  <c:v>1733813.0589999999</c:v>
                </c:pt>
                <c:pt idx="683">
                  <c:v>1737311.0589999999</c:v>
                </c:pt>
                <c:pt idx="684">
                  <c:v>1768072.5179999999</c:v>
                </c:pt>
                <c:pt idx="685">
                  <c:v>1768072.5179999999</c:v>
                </c:pt>
                <c:pt idx="686">
                  <c:v>1768072.5179999999</c:v>
                </c:pt>
                <c:pt idx="687">
                  <c:v>1768072.5179999999</c:v>
                </c:pt>
                <c:pt idx="688">
                  <c:v>1768072.5179999999</c:v>
                </c:pt>
                <c:pt idx="689">
                  <c:v>1768072.5179999999</c:v>
                </c:pt>
                <c:pt idx="690">
                  <c:v>1768072.5179999999</c:v>
                </c:pt>
                <c:pt idx="691">
                  <c:v>1768072.5179999999</c:v>
                </c:pt>
                <c:pt idx="692">
                  <c:v>1768072.5179999999</c:v>
                </c:pt>
                <c:pt idx="693">
                  <c:v>1768072.5179999999</c:v>
                </c:pt>
                <c:pt idx="694">
                  <c:v>1768072.5179999999</c:v>
                </c:pt>
                <c:pt idx="695">
                  <c:v>1768072.5179999999</c:v>
                </c:pt>
                <c:pt idx="696">
                  <c:v>1768072.5179999999</c:v>
                </c:pt>
                <c:pt idx="697">
                  <c:v>1768072.5179999999</c:v>
                </c:pt>
                <c:pt idx="698">
                  <c:v>1768072.5179999999</c:v>
                </c:pt>
                <c:pt idx="699">
                  <c:v>1768072.5179999999</c:v>
                </c:pt>
                <c:pt idx="700">
                  <c:v>1768072.5179999999</c:v>
                </c:pt>
                <c:pt idx="701">
                  <c:v>1768072.5179999999</c:v>
                </c:pt>
                <c:pt idx="702">
                  <c:v>1768072.5179999999</c:v>
                </c:pt>
                <c:pt idx="703">
                  <c:v>1768072.5179999999</c:v>
                </c:pt>
                <c:pt idx="704">
                  <c:v>1768072.5179999999</c:v>
                </c:pt>
                <c:pt idx="705">
                  <c:v>1768072.5179999999</c:v>
                </c:pt>
                <c:pt idx="706">
                  <c:v>1768072.5179999999</c:v>
                </c:pt>
                <c:pt idx="707">
                  <c:v>1768072.5179999999</c:v>
                </c:pt>
                <c:pt idx="708">
                  <c:v>1768072.5179999999</c:v>
                </c:pt>
                <c:pt idx="709">
                  <c:v>1768072.5179999999</c:v>
                </c:pt>
                <c:pt idx="710">
                  <c:v>1768072.5179999999</c:v>
                </c:pt>
                <c:pt idx="711">
                  <c:v>1768072.5179999999</c:v>
                </c:pt>
                <c:pt idx="712">
                  <c:v>1768072.5179999999</c:v>
                </c:pt>
                <c:pt idx="713">
                  <c:v>1768072.5179999999</c:v>
                </c:pt>
                <c:pt idx="714">
                  <c:v>1768072.5179999999</c:v>
                </c:pt>
                <c:pt idx="715">
                  <c:v>1767899.0789999999</c:v>
                </c:pt>
                <c:pt idx="716">
                  <c:v>1728867.0789999999</c:v>
                </c:pt>
                <c:pt idx="717">
                  <c:v>1711752.0789999999</c:v>
                </c:pt>
                <c:pt idx="718">
                  <c:v>1672069.0789999999</c:v>
                </c:pt>
                <c:pt idx="719">
                  <c:v>1706607.0789999999</c:v>
                </c:pt>
                <c:pt idx="720">
                  <c:v>1702603.0789999999</c:v>
                </c:pt>
                <c:pt idx="721">
                  <c:v>1697465.0789999999</c:v>
                </c:pt>
                <c:pt idx="722">
                  <c:v>1670893.0789999999</c:v>
                </c:pt>
                <c:pt idx="723">
                  <c:v>1672454.0789999999</c:v>
                </c:pt>
                <c:pt idx="724">
                  <c:v>1684928.0789999999</c:v>
                </c:pt>
                <c:pt idx="725">
                  <c:v>1668506.0789999999</c:v>
                </c:pt>
                <c:pt idx="726">
                  <c:v>1647044.0789999999</c:v>
                </c:pt>
                <c:pt idx="727">
                  <c:v>1649067.0789999999</c:v>
                </c:pt>
                <c:pt idx="728">
                  <c:v>1651468.0789999999</c:v>
                </c:pt>
                <c:pt idx="729">
                  <c:v>1675534.0789999999</c:v>
                </c:pt>
                <c:pt idx="730">
                  <c:v>1642641.0789999999</c:v>
                </c:pt>
                <c:pt idx="731">
                  <c:v>1626989.0789999999</c:v>
                </c:pt>
                <c:pt idx="732">
                  <c:v>1636936.0789999999</c:v>
                </c:pt>
                <c:pt idx="733">
                  <c:v>1691515.0789999999</c:v>
                </c:pt>
                <c:pt idx="734">
                  <c:v>1746661.0789999999</c:v>
                </c:pt>
                <c:pt idx="735">
                  <c:v>1738443.0789999999</c:v>
                </c:pt>
                <c:pt idx="736">
                  <c:v>1738170.0789999999</c:v>
                </c:pt>
                <c:pt idx="737">
                  <c:v>1709547.0789999999</c:v>
                </c:pt>
                <c:pt idx="738">
                  <c:v>1675471.0789999999</c:v>
                </c:pt>
                <c:pt idx="739">
                  <c:v>1755936.0789999999</c:v>
                </c:pt>
                <c:pt idx="740">
                  <c:v>1729049.0789999999</c:v>
                </c:pt>
                <c:pt idx="741">
                  <c:v>1761361.0789999999</c:v>
                </c:pt>
                <c:pt idx="742">
                  <c:v>1786379.0789999999</c:v>
                </c:pt>
                <c:pt idx="743">
                  <c:v>1756020.0789999999</c:v>
                </c:pt>
                <c:pt idx="744">
                  <c:v>1758498.0789999999</c:v>
                </c:pt>
                <c:pt idx="745">
                  <c:v>1733809.0789999999</c:v>
                </c:pt>
                <c:pt idx="746">
                  <c:v>1773884.0789999999</c:v>
                </c:pt>
                <c:pt idx="747">
                  <c:v>1787779.0789999999</c:v>
                </c:pt>
                <c:pt idx="748">
                  <c:v>1786540.0789999999</c:v>
                </c:pt>
                <c:pt idx="749">
                  <c:v>1754081.0789999999</c:v>
                </c:pt>
                <c:pt idx="750">
                  <c:v>1803284.0789999999</c:v>
                </c:pt>
                <c:pt idx="751">
                  <c:v>1803977.0789999999</c:v>
                </c:pt>
                <c:pt idx="752">
                  <c:v>1807050.0789999999</c:v>
                </c:pt>
                <c:pt idx="753">
                  <c:v>1805902.0789999999</c:v>
                </c:pt>
                <c:pt idx="754">
                  <c:v>1798816.5319999999</c:v>
                </c:pt>
                <c:pt idx="755">
                  <c:v>1798816.5319999999</c:v>
                </c:pt>
                <c:pt idx="756">
                  <c:v>1798816.5319999999</c:v>
                </c:pt>
                <c:pt idx="757">
                  <c:v>1798816.5319999999</c:v>
                </c:pt>
                <c:pt idx="758">
                  <c:v>1798816.5319999999</c:v>
                </c:pt>
                <c:pt idx="759">
                  <c:v>1798816.5319999999</c:v>
                </c:pt>
                <c:pt idx="760">
                  <c:v>1798816.5319999999</c:v>
                </c:pt>
                <c:pt idx="761">
                  <c:v>1798816.5319999999</c:v>
                </c:pt>
                <c:pt idx="762">
                  <c:v>1798816.5319999999</c:v>
                </c:pt>
                <c:pt idx="763">
                  <c:v>1798816.5319999999</c:v>
                </c:pt>
                <c:pt idx="764">
                  <c:v>1798816.5319999999</c:v>
                </c:pt>
                <c:pt idx="765">
                  <c:v>1798816.5319999999</c:v>
                </c:pt>
                <c:pt idx="766">
                  <c:v>1798816.5319999999</c:v>
                </c:pt>
                <c:pt idx="767">
                  <c:v>1798816.5319999999</c:v>
                </c:pt>
                <c:pt idx="768">
                  <c:v>1798816.5319999999</c:v>
                </c:pt>
                <c:pt idx="769">
                  <c:v>1798816.5319999999</c:v>
                </c:pt>
                <c:pt idx="770">
                  <c:v>1798816.5319999999</c:v>
                </c:pt>
                <c:pt idx="771">
                  <c:v>1798816.5319999999</c:v>
                </c:pt>
                <c:pt idx="772">
                  <c:v>1798816.5319999999</c:v>
                </c:pt>
                <c:pt idx="773">
                  <c:v>1798816.5319999999</c:v>
                </c:pt>
                <c:pt idx="774">
                  <c:v>1798816.5319999999</c:v>
                </c:pt>
                <c:pt idx="775">
                  <c:v>1798816.5319999999</c:v>
                </c:pt>
                <c:pt idx="776">
                  <c:v>1798816.5319999999</c:v>
                </c:pt>
                <c:pt idx="777">
                  <c:v>1798816.5319999999</c:v>
                </c:pt>
                <c:pt idx="778">
                  <c:v>1798816.5319999999</c:v>
                </c:pt>
                <c:pt idx="779">
                  <c:v>1798816.5319999999</c:v>
                </c:pt>
                <c:pt idx="780">
                  <c:v>1798816.5319999999</c:v>
                </c:pt>
                <c:pt idx="781">
                  <c:v>1798816.5319999999</c:v>
                </c:pt>
                <c:pt idx="782">
                  <c:v>1798816.5319999999</c:v>
                </c:pt>
                <c:pt idx="783">
                  <c:v>1798816.5319999999</c:v>
                </c:pt>
                <c:pt idx="784">
                  <c:v>1798816.5319999999</c:v>
                </c:pt>
                <c:pt idx="785">
                  <c:v>1798643.2890000001</c:v>
                </c:pt>
                <c:pt idx="786">
                  <c:v>1776397.2890000001</c:v>
                </c:pt>
                <c:pt idx="787">
                  <c:v>1784643.2890000001</c:v>
                </c:pt>
                <c:pt idx="788">
                  <c:v>1825194.2890000001</c:v>
                </c:pt>
                <c:pt idx="789">
                  <c:v>1830094.2890000001</c:v>
                </c:pt>
                <c:pt idx="790">
                  <c:v>1812818.2890000001</c:v>
                </c:pt>
                <c:pt idx="791">
                  <c:v>1830066.2890000001</c:v>
                </c:pt>
                <c:pt idx="792">
                  <c:v>1830241.2890000001</c:v>
                </c:pt>
                <c:pt idx="793">
                  <c:v>1865521.2890000001</c:v>
                </c:pt>
                <c:pt idx="794">
                  <c:v>1872528.2879999999</c:v>
                </c:pt>
                <c:pt idx="795">
                  <c:v>1868041.2890000001</c:v>
                </c:pt>
                <c:pt idx="796">
                  <c:v>1845529.2890000001</c:v>
                </c:pt>
                <c:pt idx="797">
                  <c:v>1886150.2890000001</c:v>
                </c:pt>
                <c:pt idx="798">
                  <c:v>1883455.2890000001</c:v>
                </c:pt>
                <c:pt idx="799">
                  <c:v>1905001.2890000001</c:v>
                </c:pt>
                <c:pt idx="800">
                  <c:v>1890441.2890000001</c:v>
                </c:pt>
                <c:pt idx="801">
                  <c:v>1889622.2890000001</c:v>
                </c:pt>
                <c:pt idx="802">
                  <c:v>1904406.2879999999</c:v>
                </c:pt>
                <c:pt idx="803">
                  <c:v>1908256.2879999999</c:v>
                </c:pt>
                <c:pt idx="804">
                  <c:v>1904525.2890000001</c:v>
                </c:pt>
                <c:pt idx="805">
                  <c:v>1944656.2879999999</c:v>
                </c:pt>
                <c:pt idx="806">
                  <c:v>1950277.2890000001</c:v>
                </c:pt>
                <c:pt idx="807">
                  <c:v>1967329.2890000001</c:v>
                </c:pt>
                <c:pt idx="808">
                  <c:v>1968659.2890000001</c:v>
                </c:pt>
                <c:pt idx="809">
                  <c:v>1962597.2890000001</c:v>
                </c:pt>
                <c:pt idx="810">
                  <c:v>1926470.2890000001</c:v>
                </c:pt>
                <c:pt idx="811">
                  <c:v>1926260.2890000001</c:v>
                </c:pt>
                <c:pt idx="812">
                  <c:v>1912057.2890000001</c:v>
                </c:pt>
                <c:pt idx="813">
                  <c:v>1897084.2890000001</c:v>
                </c:pt>
                <c:pt idx="814">
                  <c:v>1898372.2890000001</c:v>
                </c:pt>
                <c:pt idx="815">
                  <c:v>1868468.2890000001</c:v>
                </c:pt>
                <c:pt idx="816">
                  <c:v>1895971.2890000001</c:v>
                </c:pt>
                <c:pt idx="817">
                  <c:v>1867999.2890000001</c:v>
                </c:pt>
                <c:pt idx="818">
                  <c:v>1877274.2890000001</c:v>
                </c:pt>
                <c:pt idx="819">
                  <c:v>1905484.2890000001</c:v>
                </c:pt>
                <c:pt idx="820">
                  <c:v>1898022.2890000001</c:v>
                </c:pt>
                <c:pt idx="821">
                  <c:v>1882895.2890000001</c:v>
                </c:pt>
                <c:pt idx="822">
                  <c:v>1867383.2890000001</c:v>
                </c:pt>
                <c:pt idx="823">
                  <c:v>1896496.2890000001</c:v>
                </c:pt>
                <c:pt idx="824">
                  <c:v>1921808.2890000001</c:v>
                </c:pt>
                <c:pt idx="825">
                  <c:v>1915795.2890000001</c:v>
                </c:pt>
                <c:pt idx="826">
                  <c:v>1908641.2890000001</c:v>
                </c:pt>
                <c:pt idx="827">
                  <c:v>1909313.2890000001</c:v>
                </c:pt>
                <c:pt idx="828">
                  <c:v>1857534.2890000001</c:v>
                </c:pt>
                <c:pt idx="829">
                  <c:v>1857401.2890000001</c:v>
                </c:pt>
                <c:pt idx="830">
                  <c:v>1856393.2890000001</c:v>
                </c:pt>
                <c:pt idx="831">
                  <c:v>1845739.2890000001</c:v>
                </c:pt>
                <c:pt idx="832">
                  <c:v>1833244.2890000001</c:v>
                </c:pt>
                <c:pt idx="833">
                  <c:v>1857002.2890000001</c:v>
                </c:pt>
                <c:pt idx="834">
                  <c:v>1844339.2890000001</c:v>
                </c:pt>
                <c:pt idx="835">
                  <c:v>1872661.2890000001</c:v>
                </c:pt>
                <c:pt idx="836">
                  <c:v>1858507.2890000001</c:v>
                </c:pt>
                <c:pt idx="837">
                  <c:v>1863848.2890000001</c:v>
                </c:pt>
                <c:pt idx="838">
                  <c:v>1873060.2890000001</c:v>
                </c:pt>
                <c:pt idx="839">
                  <c:v>1857247.2890000001</c:v>
                </c:pt>
                <c:pt idx="840">
                  <c:v>1853040.2890000001</c:v>
                </c:pt>
                <c:pt idx="841">
                  <c:v>1824746.2890000001</c:v>
                </c:pt>
                <c:pt idx="842">
                  <c:v>1785777.2890000001</c:v>
                </c:pt>
                <c:pt idx="843">
                  <c:v>1784657.2890000001</c:v>
                </c:pt>
                <c:pt idx="844">
                  <c:v>1779253.2879999999</c:v>
                </c:pt>
                <c:pt idx="845">
                  <c:v>1764224.2890000001</c:v>
                </c:pt>
                <c:pt idx="846">
                  <c:v>1789340.2890000001</c:v>
                </c:pt>
                <c:pt idx="847">
                  <c:v>1791881.2879999999</c:v>
                </c:pt>
                <c:pt idx="848">
                  <c:v>1794317.2879999999</c:v>
                </c:pt>
                <c:pt idx="849">
                  <c:v>1791657.2890000001</c:v>
                </c:pt>
                <c:pt idx="850">
                  <c:v>1767472.2890000001</c:v>
                </c:pt>
                <c:pt idx="851">
                  <c:v>1797040.2890000001</c:v>
                </c:pt>
                <c:pt idx="852">
                  <c:v>1757441.2890000001</c:v>
                </c:pt>
                <c:pt idx="853">
                  <c:v>1750910.2890000001</c:v>
                </c:pt>
                <c:pt idx="854">
                  <c:v>1764112.2890000001</c:v>
                </c:pt>
                <c:pt idx="855">
                  <c:v>1780639.2890000001</c:v>
                </c:pt>
                <c:pt idx="856">
                  <c:v>1781654.2890000001</c:v>
                </c:pt>
                <c:pt idx="857">
                  <c:v>1746024.2890000001</c:v>
                </c:pt>
                <c:pt idx="858">
                  <c:v>1756153.2879999999</c:v>
                </c:pt>
                <c:pt idx="859">
                  <c:v>1756251.2890000001</c:v>
                </c:pt>
                <c:pt idx="860">
                  <c:v>1763237.2890000001</c:v>
                </c:pt>
                <c:pt idx="861">
                  <c:v>1745135.2890000001</c:v>
                </c:pt>
                <c:pt idx="862">
                  <c:v>1722014.2890000001</c:v>
                </c:pt>
                <c:pt idx="863">
                  <c:v>1729406.2879999999</c:v>
                </c:pt>
                <c:pt idx="864">
                  <c:v>1718269.2890000001</c:v>
                </c:pt>
                <c:pt idx="865">
                  <c:v>1709456.2879999999</c:v>
                </c:pt>
                <c:pt idx="866">
                  <c:v>1710590.2890000001</c:v>
                </c:pt>
                <c:pt idx="867">
                  <c:v>1701266.2890000001</c:v>
                </c:pt>
                <c:pt idx="868">
                  <c:v>1699257.2890000001</c:v>
                </c:pt>
                <c:pt idx="869">
                  <c:v>1717268.2890000001</c:v>
                </c:pt>
                <c:pt idx="870">
                  <c:v>1700629.2890000001</c:v>
                </c:pt>
                <c:pt idx="871">
                  <c:v>1713831.2879999999</c:v>
                </c:pt>
                <c:pt idx="872">
                  <c:v>1736140.2890000001</c:v>
                </c:pt>
                <c:pt idx="873">
                  <c:v>1738422.2890000001</c:v>
                </c:pt>
                <c:pt idx="874">
                  <c:v>1739073.2890000001</c:v>
                </c:pt>
                <c:pt idx="875">
                  <c:v>1754403.2879999999</c:v>
                </c:pt>
                <c:pt idx="876">
                  <c:v>1746038.2890000001</c:v>
                </c:pt>
                <c:pt idx="877">
                  <c:v>1712564.2890000001</c:v>
                </c:pt>
                <c:pt idx="878">
                  <c:v>1716127.2890000001</c:v>
                </c:pt>
                <c:pt idx="879">
                  <c:v>1698340.2890000001</c:v>
                </c:pt>
                <c:pt idx="880">
                  <c:v>1689982.2890000001</c:v>
                </c:pt>
                <c:pt idx="881">
                  <c:v>1685649.2890000001</c:v>
                </c:pt>
                <c:pt idx="882">
                  <c:v>1677466.2890000001</c:v>
                </c:pt>
                <c:pt idx="883">
                  <c:v>1685803.2879999999</c:v>
                </c:pt>
                <c:pt idx="884">
                  <c:v>1673126.2890000001</c:v>
                </c:pt>
                <c:pt idx="885">
                  <c:v>1677753.2879999999</c:v>
                </c:pt>
                <c:pt idx="886">
                  <c:v>1659189.2890000001</c:v>
                </c:pt>
                <c:pt idx="887">
                  <c:v>1625953.2879999999</c:v>
                </c:pt>
                <c:pt idx="888">
                  <c:v>1633100.2890000001</c:v>
                </c:pt>
                <c:pt idx="889">
                  <c:v>1616580.2890000001</c:v>
                </c:pt>
                <c:pt idx="890">
                  <c:v>1614172.2890000001</c:v>
                </c:pt>
                <c:pt idx="891">
                  <c:v>1609622.2890000001</c:v>
                </c:pt>
                <c:pt idx="892">
                  <c:v>1626072.2890000001</c:v>
                </c:pt>
                <c:pt idx="893">
                  <c:v>1609300.2890000001</c:v>
                </c:pt>
                <c:pt idx="894">
                  <c:v>1606129.2890000001</c:v>
                </c:pt>
                <c:pt idx="895">
                  <c:v>1618687.2890000001</c:v>
                </c:pt>
                <c:pt idx="896">
                  <c:v>1688239.2890000001</c:v>
                </c:pt>
                <c:pt idx="897">
                  <c:v>1694882.2890000001</c:v>
                </c:pt>
                <c:pt idx="898">
                  <c:v>1684536.2890000001</c:v>
                </c:pt>
                <c:pt idx="899">
                  <c:v>1690262.2890000001</c:v>
                </c:pt>
                <c:pt idx="900">
                  <c:v>1675135.2890000001</c:v>
                </c:pt>
                <c:pt idx="901">
                  <c:v>1687091.2890000001</c:v>
                </c:pt>
                <c:pt idx="902">
                  <c:v>1647310.2890000001</c:v>
                </c:pt>
                <c:pt idx="903">
                  <c:v>1630881.2879999999</c:v>
                </c:pt>
                <c:pt idx="904">
                  <c:v>1638581.2879999999</c:v>
                </c:pt>
                <c:pt idx="905">
                  <c:v>1603378.2879999999</c:v>
                </c:pt>
                <c:pt idx="906">
                  <c:v>1605555.2890000001</c:v>
                </c:pt>
                <c:pt idx="907">
                  <c:v>1617077.2890000001</c:v>
                </c:pt>
                <c:pt idx="908">
                  <c:v>1613318.2890000001</c:v>
                </c:pt>
                <c:pt idx="909">
                  <c:v>1595636.2890000001</c:v>
                </c:pt>
                <c:pt idx="910">
                  <c:v>1642417.2879999999</c:v>
                </c:pt>
                <c:pt idx="911">
                  <c:v>1671390.2890000001</c:v>
                </c:pt>
                <c:pt idx="912">
                  <c:v>1655248.2890000001</c:v>
                </c:pt>
                <c:pt idx="913">
                  <c:v>1690325.2890000001</c:v>
                </c:pt>
                <c:pt idx="914">
                  <c:v>1693097.2890000001</c:v>
                </c:pt>
                <c:pt idx="915">
                  <c:v>1677984.2890000001</c:v>
                </c:pt>
                <c:pt idx="916">
                  <c:v>1679384.2890000001</c:v>
                </c:pt>
                <c:pt idx="917">
                  <c:v>1672615.2890000001</c:v>
                </c:pt>
                <c:pt idx="918">
                  <c:v>1674925.2890000001</c:v>
                </c:pt>
                <c:pt idx="919">
                  <c:v>1676773.2890000001</c:v>
                </c:pt>
                <c:pt idx="920">
                  <c:v>1701469.2890000001</c:v>
                </c:pt>
                <c:pt idx="921">
                  <c:v>1698942.2879999999</c:v>
                </c:pt>
                <c:pt idx="922">
                  <c:v>1705326.2890000001</c:v>
                </c:pt>
                <c:pt idx="923">
                  <c:v>1684669.2890000001</c:v>
                </c:pt>
                <c:pt idx="924">
                  <c:v>1681659.2890000001</c:v>
                </c:pt>
                <c:pt idx="925">
                  <c:v>1670081.2879999999</c:v>
                </c:pt>
                <c:pt idx="926">
                  <c:v>1639750.2890000001</c:v>
                </c:pt>
                <c:pt idx="927">
                  <c:v>1631308.2890000001</c:v>
                </c:pt>
                <c:pt idx="928">
                  <c:v>1634129.2890000001</c:v>
                </c:pt>
                <c:pt idx="929">
                  <c:v>1644587.2890000001</c:v>
                </c:pt>
                <c:pt idx="930">
                  <c:v>1674729.2890000001</c:v>
                </c:pt>
                <c:pt idx="931">
                  <c:v>1680952.2890000001</c:v>
                </c:pt>
                <c:pt idx="932">
                  <c:v>1677529.2890000001</c:v>
                </c:pt>
                <c:pt idx="933">
                  <c:v>1670760.2890000001</c:v>
                </c:pt>
                <c:pt idx="934">
                  <c:v>1667470.2890000001</c:v>
                </c:pt>
                <c:pt idx="935">
                  <c:v>1638000.2890000001</c:v>
                </c:pt>
                <c:pt idx="936">
                  <c:v>1634857.2890000001</c:v>
                </c:pt>
                <c:pt idx="937">
                  <c:v>1642508.2890000001</c:v>
                </c:pt>
                <c:pt idx="938">
                  <c:v>1614921.2890000001</c:v>
                </c:pt>
                <c:pt idx="939">
                  <c:v>1622390.2890000001</c:v>
                </c:pt>
                <c:pt idx="940">
                  <c:v>1601747.2890000001</c:v>
                </c:pt>
                <c:pt idx="941">
                  <c:v>1590281.2879999999</c:v>
                </c:pt>
                <c:pt idx="942">
                  <c:v>1588706.2879999999</c:v>
                </c:pt>
                <c:pt idx="943">
                  <c:v>1581629.2890000001</c:v>
                </c:pt>
                <c:pt idx="944">
                  <c:v>1602643.2890000001</c:v>
                </c:pt>
                <c:pt idx="945">
                  <c:v>1590498.2890000001</c:v>
                </c:pt>
                <c:pt idx="946">
                  <c:v>1601089.2890000001</c:v>
                </c:pt>
                <c:pt idx="947">
                  <c:v>1589133.2890000001</c:v>
                </c:pt>
                <c:pt idx="948">
                  <c:v>1571661.2890000001</c:v>
                </c:pt>
                <c:pt idx="949">
                  <c:v>1556625.2890000001</c:v>
                </c:pt>
                <c:pt idx="950">
                  <c:v>1547189.2890000001</c:v>
                </c:pt>
                <c:pt idx="951">
                  <c:v>1563975.2890000001</c:v>
                </c:pt>
                <c:pt idx="952">
                  <c:v>1542408.2890000001</c:v>
                </c:pt>
                <c:pt idx="953">
                  <c:v>1558242.2879999999</c:v>
                </c:pt>
                <c:pt idx="954">
                  <c:v>1611729.2890000001</c:v>
                </c:pt>
                <c:pt idx="955">
                  <c:v>1608733.2890000001</c:v>
                </c:pt>
                <c:pt idx="956">
                  <c:v>1638945.2890000001</c:v>
                </c:pt>
                <c:pt idx="957">
                  <c:v>1655948.2890000001</c:v>
                </c:pt>
                <c:pt idx="958">
                  <c:v>1647163.2890000001</c:v>
                </c:pt>
                <c:pt idx="959">
                  <c:v>1653652.2890000001</c:v>
                </c:pt>
                <c:pt idx="960">
                  <c:v>1636061.2890000001</c:v>
                </c:pt>
                <c:pt idx="961">
                  <c:v>1715315.2890000001</c:v>
                </c:pt>
                <c:pt idx="962">
                  <c:v>1722903.2879999999</c:v>
                </c:pt>
                <c:pt idx="963">
                  <c:v>1723897.2890000001</c:v>
                </c:pt>
                <c:pt idx="964">
                  <c:v>1725990.2890000001</c:v>
                </c:pt>
                <c:pt idx="965">
                  <c:v>1735587.2890000001</c:v>
                </c:pt>
                <c:pt idx="966">
                  <c:v>1726613.2890000001</c:v>
                </c:pt>
                <c:pt idx="967">
                  <c:v>1733067.2879999999</c:v>
                </c:pt>
                <c:pt idx="968">
                  <c:v>1780093.2890000001</c:v>
                </c:pt>
                <c:pt idx="969">
                  <c:v>1786547.2890000001</c:v>
                </c:pt>
                <c:pt idx="970">
                  <c:v>1777426.2890000001</c:v>
                </c:pt>
                <c:pt idx="971">
                  <c:v>1802248.2890000001</c:v>
                </c:pt>
                <c:pt idx="972">
                  <c:v>1832278.2879999999</c:v>
                </c:pt>
                <c:pt idx="973">
                  <c:v>1833300.2890000001</c:v>
                </c:pt>
                <c:pt idx="974">
                  <c:v>1841406.2879999999</c:v>
                </c:pt>
                <c:pt idx="975">
                  <c:v>1833944.2890000001</c:v>
                </c:pt>
                <c:pt idx="976">
                  <c:v>1834504.2890000001</c:v>
                </c:pt>
                <c:pt idx="977">
                  <c:v>1837612.2890000001</c:v>
                </c:pt>
                <c:pt idx="978">
                  <c:v>1804474.2890000001</c:v>
                </c:pt>
                <c:pt idx="979">
                  <c:v>1870624.2890000001</c:v>
                </c:pt>
                <c:pt idx="980">
                  <c:v>1883315.2890000001</c:v>
                </c:pt>
                <c:pt idx="981">
                  <c:v>1870176.2890000001</c:v>
                </c:pt>
                <c:pt idx="982">
                  <c:v>1853145.2890000001</c:v>
                </c:pt>
                <c:pt idx="983">
                  <c:v>1883021.2890000001</c:v>
                </c:pt>
                <c:pt idx="984">
                  <c:v>1893843.2890000001</c:v>
                </c:pt>
                <c:pt idx="985">
                  <c:v>1884043.2890000001</c:v>
                </c:pt>
                <c:pt idx="986">
                  <c:v>1891435.2890000001</c:v>
                </c:pt>
                <c:pt idx="987">
                  <c:v>1874145.2890000001</c:v>
                </c:pt>
                <c:pt idx="988">
                  <c:v>1866382.2890000001</c:v>
                </c:pt>
                <c:pt idx="989">
                  <c:v>1922515.2890000001</c:v>
                </c:pt>
                <c:pt idx="990">
                  <c:v>1939322.2890000001</c:v>
                </c:pt>
                <c:pt idx="991">
                  <c:v>1948310.2890000001</c:v>
                </c:pt>
                <c:pt idx="992">
                  <c:v>1947029.2890000001</c:v>
                </c:pt>
                <c:pt idx="993">
                  <c:v>1986537.2890000001</c:v>
                </c:pt>
                <c:pt idx="994">
                  <c:v>1989834.2890000001</c:v>
                </c:pt>
                <c:pt idx="995">
                  <c:v>2006389.2890000001</c:v>
                </c:pt>
                <c:pt idx="996">
                  <c:v>2009301.2890000001</c:v>
                </c:pt>
                <c:pt idx="997">
                  <c:v>1998122.2890000001</c:v>
                </c:pt>
                <c:pt idx="998">
                  <c:v>2006424.2890000001</c:v>
                </c:pt>
                <c:pt idx="999">
                  <c:v>1982442.2879999999</c:v>
                </c:pt>
                <c:pt idx="1000">
                  <c:v>1946140.2890000001</c:v>
                </c:pt>
                <c:pt idx="1001">
                  <c:v>1958061.2890000001</c:v>
                </c:pt>
                <c:pt idx="1002">
                  <c:v>1893598.2890000001</c:v>
                </c:pt>
                <c:pt idx="1003">
                  <c:v>1883833.2890000001</c:v>
                </c:pt>
                <c:pt idx="1004">
                  <c:v>1889685.2890000001</c:v>
                </c:pt>
                <c:pt idx="1005">
                  <c:v>1863526.2890000001</c:v>
                </c:pt>
                <c:pt idx="1006">
                  <c:v>1882489.2890000001</c:v>
                </c:pt>
                <c:pt idx="1007">
                  <c:v>1937544.2890000001</c:v>
                </c:pt>
                <c:pt idx="1008">
                  <c:v>1934401.2890000001</c:v>
                </c:pt>
                <c:pt idx="1009">
                  <c:v>1848217.2879999999</c:v>
                </c:pt>
                <c:pt idx="1010">
                  <c:v>1902180.2890000001</c:v>
                </c:pt>
                <c:pt idx="1011">
                  <c:v>1921353.2879999999</c:v>
                </c:pt>
                <c:pt idx="1012">
                  <c:v>1899849.2890000001</c:v>
                </c:pt>
                <c:pt idx="1013">
                  <c:v>1891064.2890000001</c:v>
                </c:pt>
                <c:pt idx="1014">
                  <c:v>1880872.2890000001</c:v>
                </c:pt>
                <c:pt idx="1015">
                  <c:v>1855140.2890000001</c:v>
                </c:pt>
                <c:pt idx="1016">
                  <c:v>1835456.2879999999</c:v>
                </c:pt>
                <c:pt idx="1017">
                  <c:v>1840202.2890000001</c:v>
                </c:pt>
                <c:pt idx="1018">
                  <c:v>1844122.2890000001</c:v>
                </c:pt>
                <c:pt idx="1019">
                  <c:v>1817956.2879999999</c:v>
                </c:pt>
                <c:pt idx="1020">
                  <c:v>1833783.2890000001</c:v>
                </c:pt>
                <c:pt idx="1021">
                  <c:v>1893332.2890000001</c:v>
                </c:pt>
                <c:pt idx="1022">
                  <c:v>1896706.2879999999</c:v>
                </c:pt>
                <c:pt idx="1023">
                  <c:v>1899030.2890000001</c:v>
                </c:pt>
                <c:pt idx="1024">
                  <c:v>1895383.2890000001</c:v>
                </c:pt>
                <c:pt idx="1025">
                  <c:v>1868748.2890000001</c:v>
                </c:pt>
                <c:pt idx="1026">
                  <c:v>1874684.2890000001</c:v>
                </c:pt>
                <c:pt idx="1027">
                  <c:v>1815723.2890000001</c:v>
                </c:pt>
                <c:pt idx="1028">
                  <c:v>1812769.2890000001</c:v>
                </c:pt>
                <c:pt idx="1029">
                  <c:v>1811446.2890000001</c:v>
                </c:pt>
                <c:pt idx="1030">
                  <c:v>1806686.2890000001</c:v>
                </c:pt>
                <c:pt idx="1031">
                  <c:v>1804698.2890000001</c:v>
                </c:pt>
                <c:pt idx="1032">
                  <c:v>1796823.2890000001</c:v>
                </c:pt>
                <c:pt idx="1033">
                  <c:v>1808814.2890000001</c:v>
                </c:pt>
                <c:pt idx="1034">
                  <c:v>1805930.2890000001</c:v>
                </c:pt>
                <c:pt idx="1035">
                  <c:v>1800729.2890000001</c:v>
                </c:pt>
                <c:pt idx="1036">
                  <c:v>1789690.2890000001</c:v>
                </c:pt>
                <c:pt idx="1037">
                  <c:v>1771987.2890000001</c:v>
                </c:pt>
                <c:pt idx="1038">
                  <c:v>1787926.2890000001</c:v>
                </c:pt>
                <c:pt idx="1039">
                  <c:v>1787142.2879999999</c:v>
                </c:pt>
                <c:pt idx="1040">
                  <c:v>1791608.2890000001</c:v>
                </c:pt>
                <c:pt idx="1041">
                  <c:v>1839894.2890000001</c:v>
                </c:pt>
                <c:pt idx="1042">
                  <c:v>1837682.2890000001</c:v>
                </c:pt>
                <c:pt idx="1043">
                  <c:v>1780842.2879999999</c:v>
                </c:pt>
                <c:pt idx="1044">
                  <c:v>1813119.2890000001</c:v>
                </c:pt>
                <c:pt idx="1045">
                  <c:v>1793729.2890000001</c:v>
                </c:pt>
                <c:pt idx="1046">
                  <c:v>1779330.2890000001</c:v>
                </c:pt>
                <c:pt idx="1047">
                  <c:v>1780961.2890000001</c:v>
                </c:pt>
                <c:pt idx="1048">
                  <c:v>1811250.2890000001</c:v>
                </c:pt>
                <c:pt idx="1049">
                  <c:v>1834399.2890000001</c:v>
                </c:pt>
                <c:pt idx="1050">
                  <c:v>1837171.2890000001</c:v>
                </c:pt>
                <c:pt idx="1051">
                  <c:v>1846173.2890000001</c:v>
                </c:pt>
                <c:pt idx="1052">
                  <c:v>1835666.2890000001</c:v>
                </c:pt>
                <c:pt idx="1053">
                  <c:v>1844801.2890000001</c:v>
                </c:pt>
                <c:pt idx="1054">
                  <c:v>1837752.2890000001</c:v>
                </c:pt>
                <c:pt idx="1055">
                  <c:v>1811551.2890000001</c:v>
                </c:pt>
                <c:pt idx="1056">
                  <c:v>1821064.2890000001</c:v>
                </c:pt>
                <c:pt idx="1057">
                  <c:v>1853110.2890000001</c:v>
                </c:pt>
                <c:pt idx="1058">
                  <c:v>1880466.845</c:v>
                </c:pt>
                <c:pt idx="1059">
                  <c:v>1880466.845</c:v>
                </c:pt>
                <c:pt idx="1060">
                  <c:v>1880466.845</c:v>
                </c:pt>
                <c:pt idx="1061">
                  <c:v>1880466.845</c:v>
                </c:pt>
                <c:pt idx="1062">
                  <c:v>1880466.845</c:v>
                </c:pt>
                <c:pt idx="1063">
                  <c:v>1880466.845</c:v>
                </c:pt>
                <c:pt idx="1064">
                  <c:v>1880466.845</c:v>
                </c:pt>
                <c:pt idx="1065">
                  <c:v>1880466.845</c:v>
                </c:pt>
                <c:pt idx="1066">
                  <c:v>1880466.845</c:v>
                </c:pt>
                <c:pt idx="1067">
                  <c:v>1880466.845</c:v>
                </c:pt>
                <c:pt idx="1068">
                  <c:v>1880466.845</c:v>
                </c:pt>
                <c:pt idx="1069">
                  <c:v>1880466.845</c:v>
                </c:pt>
                <c:pt idx="1070">
                  <c:v>1880466.845</c:v>
                </c:pt>
                <c:pt idx="1071">
                  <c:v>1880466.845</c:v>
                </c:pt>
                <c:pt idx="1072">
                  <c:v>1880466.845</c:v>
                </c:pt>
                <c:pt idx="1073">
                  <c:v>1880466.845</c:v>
                </c:pt>
                <c:pt idx="1074">
                  <c:v>1880466.845</c:v>
                </c:pt>
                <c:pt idx="1075">
                  <c:v>1880466.845</c:v>
                </c:pt>
                <c:pt idx="1076">
                  <c:v>1880466.845</c:v>
                </c:pt>
                <c:pt idx="1077">
                  <c:v>1880466.845</c:v>
                </c:pt>
                <c:pt idx="1078">
                  <c:v>1880466.845</c:v>
                </c:pt>
                <c:pt idx="1079">
                  <c:v>1880466.845</c:v>
                </c:pt>
                <c:pt idx="1080">
                  <c:v>1880466.845</c:v>
                </c:pt>
                <c:pt idx="1081">
                  <c:v>1880466.845</c:v>
                </c:pt>
                <c:pt idx="1082">
                  <c:v>1880466.845</c:v>
                </c:pt>
                <c:pt idx="1083">
                  <c:v>1880466.845</c:v>
                </c:pt>
                <c:pt idx="1084">
                  <c:v>1880466.845</c:v>
                </c:pt>
                <c:pt idx="1085">
                  <c:v>1880466.845</c:v>
                </c:pt>
                <c:pt idx="1086">
                  <c:v>1880466.845</c:v>
                </c:pt>
                <c:pt idx="1087">
                  <c:v>1880466.845</c:v>
                </c:pt>
                <c:pt idx="1088">
                  <c:v>1880466.845</c:v>
                </c:pt>
                <c:pt idx="1089">
                  <c:v>1880466.845</c:v>
                </c:pt>
                <c:pt idx="1090">
                  <c:v>1880466.845</c:v>
                </c:pt>
                <c:pt idx="1091">
                  <c:v>1880466.845</c:v>
                </c:pt>
                <c:pt idx="1092">
                  <c:v>1880466.845</c:v>
                </c:pt>
                <c:pt idx="1093">
                  <c:v>1880466.845</c:v>
                </c:pt>
                <c:pt idx="1094">
                  <c:v>1880466.845</c:v>
                </c:pt>
                <c:pt idx="1095">
                  <c:v>1880466.845</c:v>
                </c:pt>
                <c:pt idx="1096">
                  <c:v>1880466.845</c:v>
                </c:pt>
                <c:pt idx="1097">
                  <c:v>1880466.845</c:v>
                </c:pt>
                <c:pt idx="1098">
                  <c:v>1880466.845</c:v>
                </c:pt>
                <c:pt idx="1099">
                  <c:v>1880466.845</c:v>
                </c:pt>
                <c:pt idx="1100">
                  <c:v>1880466.845</c:v>
                </c:pt>
                <c:pt idx="1101">
                  <c:v>1880466.845</c:v>
                </c:pt>
                <c:pt idx="1102">
                  <c:v>1880466.845</c:v>
                </c:pt>
                <c:pt idx="1103">
                  <c:v>1880466.845</c:v>
                </c:pt>
                <c:pt idx="1104">
                  <c:v>1880466.845</c:v>
                </c:pt>
                <c:pt idx="1105">
                  <c:v>1880466.845</c:v>
                </c:pt>
                <c:pt idx="1106">
                  <c:v>1880466.845</c:v>
                </c:pt>
                <c:pt idx="1107">
                  <c:v>1880466.845</c:v>
                </c:pt>
                <c:pt idx="1108">
                  <c:v>1880466.845</c:v>
                </c:pt>
                <c:pt idx="1109">
                  <c:v>1880466.845</c:v>
                </c:pt>
                <c:pt idx="1110">
                  <c:v>1880466.845</c:v>
                </c:pt>
                <c:pt idx="1111">
                  <c:v>1880466.845</c:v>
                </c:pt>
                <c:pt idx="1112">
                  <c:v>1880466.845</c:v>
                </c:pt>
                <c:pt idx="1113">
                  <c:v>1880466.845</c:v>
                </c:pt>
                <c:pt idx="1114">
                  <c:v>1880466.845</c:v>
                </c:pt>
                <c:pt idx="1115">
                  <c:v>1880466.845</c:v>
                </c:pt>
                <c:pt idx="1116">
                  <c:v>1880466.845</c:v>
                </c:pt>
                <c:pt idx="1117">
                  <c:v>1880466.845</c:v>
                </c:pt>
                <c:pt idx="1118">
                  <c:v>1880466.845</c:v>
                </c:pt>
                <c:pt idx="1119">
                  <c:v>1880466.845</c:v>
                </c:pt>
                <c:pt idx="1120">
                  <c:v>1880466.845</c:v>
                </c:pt>
                <c:pt idx="1121">
                  <c:v>1880466.845</c:v>
                </c:pt>
                <c:pt idx="1122">
                  <c:v>1880466.845</c:v>
                </c:pt>
                <c:pt idx="1123">
                  <c:v>1880466.845</c:v>
                </c:pt>
                <c:pt idx="1124">
                  <c:v>1880466.845</c:v>
                </c:pt>
                <c:pt idx="1125">
                  <c:v>1880466.845</c:v>
                </c:pt>
                <c:pt idx="1126">
                  <c:v>1880466.845</c:v>
                </c:pt>
                <c:pt idx="1127">
                  <c:v>1880466.845</c:v>
                </c:pt>
                <c:pt idx="1128">
                  <c:v>1880466.845</c:v>
                </c:pt>
                <c:pt idx="1129">
                  <c:v>1880466.845</c:v>
                </c:pt>
                <c:pt idx="1130">
                  <c:v>1880466.845</c:v>
                </c:pt>
                <c:pt idx="1131">
                  <c:v>1880466.845</c:v>
                </c:pt>
                <c:pt idx="1132">
                  <c:v>1880466.845</c:v>
                </c:pt>
                <c:pt idx="1133">
                  <c:v>1880466.845</c:v>
                </c:pt>
                <c:pt idx="1134">
                  <c:v>1880466.845</c:v>
                </c:pt>
                <c:pt idx="1135">
                  <c:v>1880466.845</c:v>
                </c:pt>
                <c:pt idx="1136">
                  <c:v>1880466.845</c:v>
                </c:pt>
                <c:pt idx="1137">
                  <c:v>1880466.845</c:v>
                </c:pt>
                <c:pt idx="1138">
                  <c:v>1880466.845</c:v>
                </c:pt>
                <c:pt idx="1139">
                  <c:v>1880466.845</c:v>
                </c:pt>
                <c:pt idx="1140">
                  <c:v>1880466.845</c:v>
                </c:pt>
                <c:pt idx="1141">
                  <c:v>1880466.845</c:v>
                </c:pt>
                <c:pt idx="1142">
                  <c:v>1880466.845</c:v>
                </c:pt>
                <c:pt idx="1143">
                  <c:v>1880466.845</c:v>
                </c:pt>
                <c:pt idx="1144">
                  <c:v>1880466.845</c:v>
                </c:pt>
                <c:pt idx="1145">
                  <c:v>1880466.845</c:v>
                </c:pt>
                <c:pt idx="1146">
                  <c:v>1880466.845</c:v>
                </c:pt>
                <c:pt idx="1147">
                  <c:v>1880466.845</c:v>
                </c:pt>
                <c:pt idx="1148">
                  <c:v>1880466.845</c:v>
                </c:pt>
                <c:pt idx="1149">
                  <c:v>1880466.845</c:v>
                </c:pt>
                <c:pt idx="1150">
                  <c:v>1880466.845</c:v>
                </c:pt>
                <c:pt idx="1151">
                  <c:v>1880466.845</c:v>
                </c:pt>
                <c:pt idx="1152">
                  <c:v>1880466.845</c:v>
                </c:pt>
                <c:pt idx="1153">
                  <c:v>1880294.0490000001</c:v>
                </c:pt>
                <c:pt idx="1154">
                  <c:v>1883115.0490000001</c:v>
                </c:pt>
                <c:pt idx="1155">
                  <c:v>1879601.0490000001</c:v>
                </c:pt>
                <c:pt idx="1156">
                  <c:v>1847296.0490000001</c:v>
                </c:pt>
                <c:pt idx="1157">
                  <c:v>1841668.0490000001</c:v>
                </c:pt>
                <c:pt idx="1158">
                  <c:v>1850572.0490000001</c:v>
                </c:pt>
                <c:pt idx="1159">
                  <c:v>1882261.0490000001</c:v>
                </c:pt>
                <c:pt idx="1160">
                  <c:v>1864460.0490000001</c:v>
                </c:pt>
                <c:pt idx="1161">
                  <c:v>1845280.0490000001</c:v>
                </c:pt>
                <c:pt idx="1162">
                  <c:v>1832694.0490000001</c:v>
                </c:pt>
                <c:pt idx="1163">
                  <c:v>1810329.0490000001</c:v>
                </c:pt>
                <c:pt idx="1164">
                  <c:v>1808502.0490000001</c:v>
                </c:pt>
                <c:pt idx="1165">
                  <c:v>1812772.0490000001</c:v>
                </c:pt>
                <c:pt idx="1166">
                  <c:v>1837566.0490000001</c:v>
                </c:pt>
                <c:pt idx="1167">
                  <c:v>1813941.0490000001</c:v>
                </c:pt>
                <c:pt idx="1168">
                  <c:v>1821809.0490000001</c:v>
                </c:pt>
                <c:pt idx="1169">
                  <c:v>1818652.0490000001</c:v>
                </c:pt>
                <c:pt idx="1170">
                  <c:v>1820976.0490000001</c:v>
                </c:pt>
                <c:pt idx="1171">
                  <c:v>1799836.0490000001</c:v>
                </c:pt>
                <c:pt idx="1172">
                  <c:v>1790722.0490000001</c:v>
                </c:pt>
                <c:pt idx="1173">
                  <c:v>1767902.0490000001</c:v>
                </c:pt>
                <c:pt idx="1174">
                  <c:v>1773460.0490000001</c:v>
                </c:pt>
                <c:pt idx="1175">
                  <c:v>1790337.0490000001</c:v>
                </c:pt>
                <c:pt idx="1176">
                  <c:v>1754021.0490000001</c:v>
                </c:pt>
                <c:pt idx="1177">
                  <c:v>1765487.0490000001</c:v>
                </c:pt>
                <c:pt idx="1178">
                  <c:v>1797848.0490000001</c:v>
                </c:pt>
                <c:pt idx="1179">
                  <c:v>1852567.0490000001</c:v>
                </c:pt>
                <c:pt idx="1180">
                  <c:v>1840849.0490000001</c:v>
                </c:pt>
                <c:pt idx="1181">
                  <c:v>1849732.0490000001</c:v>
                </c:pt>
                <c:pt idx="1182">
                  <c:v>1839330.0490000001</c:v>
                </c:pt>
                <c:pt idx="1183">
                  <c:v>1830909.0490000001</c:v>
                </c:pt>
                <c:pt idx="1184">
                  <c:v>1824378.0490000001</c:v>
                </c:pt>
                <c:pt idx="1185">
                  <c:v>1823531.0490000001</c:v>
                </c:pt>
                <c:pt idx="1186">
                  <c:v>1842473.0490000001</c:v>
                </c:pt>
                <c:pt idx="1187">
                  <c:v>1860008.0490000001</c:v>
                </c:pt>
                <c:pt idx="1188">
                  <c:v>1859595.0490000001</c:v>
                </c:pt>
                <c:pt idx="1189">
                  <c:v>1845490.0490000001</c:v>
                </c:pt>
                <c:pt idx="1190">
                  <c:v>1862283.0490000001</c:v>
                </c:pt>
                <c:pt idx="1191">
                  <c:v>1884935.0490000001</c:v>
                </c:pt>
                <c:pt idx="1192">
                  <c:v>1880077.0490000001</c:v>
                </c:pt>
                <c:pt idx="1193">
                  <c:v>1868940.0490000001</c:v>
                </c:pt>
                <c:pt idx="1194">
                  <c:v>1867946.0490000001</c:v>
                </c:pt>
                <c:pt idx="1195">
                  <c:v>1869661.0490000001</c:v>
                </c:pt>
                <c:pt idx="1196">
                  <c:v>1841269.0490000001</c:v>
                </c:pt>
                <c:pt idx="1197">
                  <c:v>1839351.0490000001</c:v>
                </c:pt>
                <c:pt idx="1198">
                  <c:v>1836985.0490000001</c:v>
                </c:pt>
                <c:pt idx="1199">
                  <c:v>1809881.0490000001</c:v>
                </c:pt>
                <c:pt idx="1200">
                  <c:v>1801803.0490000001</c:v>
                </c:pt>
                <c:pt idx="1201">
                  <c:v>1802398.0490000001</c:v>
                </c:pt>
                <c:pt idx="1202">
                  <c:v>1785024.0490000001</c:v>
                </c:pt>
                <c:pt idx="1203">
                  <c:v>1747035.0490000001</c:v>
                </c:pt>
                <c:pt idx="1204">
                  <c:v>1751557.0490000001</c:v>
                </c:pt>
                <c:pt idx="1205">
                  <c:v>1754112.0490000001</c:v>
                </c:pt>
                <c:pt idx="1206">
                  <c:v>1765914.0490000001</c:v>
                </c:pt>
                <c:pt idx="1207">
                  <c:v>1738068.0490000001</c:v>
                </c:pt>
                <c:pt idx="1208">
                  <c:v>1764773.0490000001</c:v>
                </c:pt>
                <c:pt idx="1209">
                  <c:v>1761959.0490000001</c:v>
                </c:pt>
                <c:pt idx="1210">
                  <c:v>1783358.0490000001</c:v>
                </c:pt>
                <c:pt idx="1211">
                  <c:v>1777723.0490000001</c:v>
                </c:pt>
                <c:pt idx="1212">
                  <c:v>1755883.0490000001</c:v>
                </c:pt>
                <c:pt idx="1213">
                  <c:v>1719385.0490000001</c:v>
                </c:pt>
                <c:pt idx="1214">
                  <c:v>1718937.0490000001</c:v>
                </c:pt>
                <c:pt idx="1215">
                  <c:v>1721674.0490000001</c:v>
                </c:pt>
                <c:pt idx="1216">
                  <c:v>1707891.0490000001</c:v>
                </c:pt>
                <c:pt idx="1217">
                  <c:v>1695732.0490000001</c:v>
                </c:pt>
                <c:pt idx="1218">
                  <c:v>1687913.0490000001</c:v>
                </c:pt>
                <c:pt idx="1219">
                  <c:v>1701332.0490000001</c:v>
                </c:pt>
                <c:pt idx="1220">
                  <c:v>1698595.0490000001</c:v>
                </c:pt>
                <c:pt idx="1221">
                  <c:v>1700625.0490000001</c:v>
                </c:pt>
                <c:pt idx="1222">
                  <c:v>1677280.0490000001</c:v>
                </c:pt>
                <c:pt idx="1223">
                  <c:v>1668530.0490000001</c:v>
                </c:pt>
                <c:pt idx="1224">
                  <c:v>1683524.0490000001</c:v>
                </c:pt>
                <c:pt idx="1225">
                  <c:v>1722997.0490000001</c:v>
                </c:pt>
                <c:pt idx="1226">
                  <c:v>1714660.0490000001</c:v>
                </c:pt>
                <c:pt idx="1227">
                  <c:v>1724313.0490000001</c:v>
                </c:pt>
                <c:pt idx="1228">
                  <c:v>1703481.0490000001</c:v>
                </c:pt>
                <c:pt idx="1229">
                  <c:v>1706239.0490000001</c:v>
                </c:pt>
                <c:pt idx="1230">
                  <c:v>1711783.0490000001</c:v>
                </c:pt>
                <c:pt idx="1231">
                  <c:v>1694052.0490000001</c:v>
                </c:pt>
                <c:pt idx="1232">
                  <c:v>1701073.0490000001</c:v>
                </c:pt>
                <c:pt idx="1233">
                  <c:v>1739608.0490000001</c:v>
                </c:pt>
                <c:pt idx="1234">
                  <c:v>1752229.0490000001</c:v>
                </c:pt>
                <c:pt idx="1235">
                  <c:v>1756212.0490000001</c:v>
                </c:pt>
                <c:pt idx="1236">
                  <c:v>1748022.0490000001</c:v>
                </c:pt>
                <c:pt idx="1237">
                  <c:v>1759236.0490000001</c:v>
                </c:pt>
                <c:pt idx="1238">
                  <c:v>1770492.0490000001</c:v>
                </c:pt>
                <c:pt idx="1239">
                  <c:v>1750045.0490000001</c:v>
                </c:pt>
                <c:pt idx="1240">
                  <c:v>1768399.0490000001</c:v>
                </c:pt>
                <c:pt idx="1241">
                  <c:v>1753545.0490000001</c:v>
                </c:pt>
                <c:pt idx="1242">
                  <c:v>1737340.0490000001</c:v>
                </c:pt>
                <c:pt idx="1243">
                  <c:v>1702494.0490000001</c:v>
                </c:pt>
                <c:pt idx="1244">
                  <c:v>1662874.0490000001</c:v>
                </c:pt>
                <c:pt idx="1245">
                  <c:v>1666724.0490000001</c:v>
                </c:pt>
                <c:pt idx="1246">
                  <c:v>1660214.0490000001</c:v>
                </c:pt>
                <c:pt idx="1247">
                  <c:v>1677616.0490000001</c:v>
                </c:pt>
                <c:pt idx="1248">
                  <c:v>1685596.0490000001</c:v>
                </c:pt>
                <c:pt idx="1249">
                  <c:v>1681326.0490000001</c:v>
                </c:pt>
                <c:pt idx="1250">
                  <c:v>1667123.0490000001</c:v>
                </c:pt>
                <c:pt idx="1251">
                  <c:v>1673878.0490000001</c:v>
                </c:pt>
                <c:pt idx="1252">
                  <c:v>1670189.0490000001</c:v>
                </c:pt>
                <c:pt idx="1253">
                  <c:v>1620790.0490000001</c:v>
                </c:pt>
                <c:pt idx="1254">
                  <c:v>1628399.0490000001</c:v>
                </c:pt>
                <c:pt idx="1255">
                  <c:v>1632228.0490000001</c:v>
                </c:pt>
                <c:pt idx="1256">
                  <c:v>1650568.0490000001</c:v>
                </c:pt>
                <c:pt idx="1257">
                  <c:v>1638325.0490000001</c:v>
                </c:pt>
                <c:pt idx="1258">
                  <c:v>1652465.0490000001</c:v>
                </c:pt>
                <c:pt idx="1259">
                  <c:v>1649028.0490000001</c:v>
                </c:pt>
                <c:pt idx="1260">
                  <c:v>1636946.0490000001</c:v>
                </c:pt>
                <c:pt idx="1261">
                  <c:v>1613216.0490000001</c:v>
                </c:pt>
                <c:pt idx="1262">
                  <c:v>1663497.0490000001</c:v>
                </c:pt>
                <c:pt idx="1263">
                  <c:v>1675769.6910000001</c:v>
                </c:pt>
                <c:pt idx="1264">
                  <c:v>1675769.6910000001</c:v>
                </c:pt>
                <c:pt idx="1265">
                  <c:v>1675769.6910000001</c:v>
                </c:pt>
                <c:pt idx="1266">
                  <c:v>1675769.6910000001</c:v>
                </c:pt>
                <c:pt idx="1267">
                  <c:v>1675769.6910000001</c:v>
                </c:pt>
                <c:pt idx="1268">
                  <c:v>1675769.6910000001</c:v>
                </c:pt>
                <c:pt idx="1269">
                  <c:v>1675769.6910000001</c:v>
                </c:pt>
                <c:pt idx="1270">
                  <c:v>1675769.6910000001</c:v>
                </c:pt>
                <c:pt idx="1271">
                  <c:v>1675769.6910000001</c:v>
                </c:pt>
                <c:pt idx="1272">
                  <c:v>1675769.6910000001</c:v>
                </c:pt>
                <c:pt idx="1273">
                  <c:v>1675769.6910000001</c:v>
                </c:pt>
                <c:pt idx="1274">
                  <c:v>1675769.6910000001</c:v>
                </c:pt>
                <c:pt idx="1275">
                  <c:v>1675769.6910000001</c:v>
                </c:pt>
                <c:pt idx="1276">
                  <c:v>1675769.6910000001</c:v>
                </c:pt>
                <c:pt idx="1277">
                  <c:v>1675769.6910000001</c:v>
                </c:pt>
                <c:pt idx="1278">
                  <c:v>1675769.6910000001</c:v>
                </c:pt>
                <c:pt idx="1279">
                  <c:v>1675769.6910000001</c:v>
                </c:pt>
                <c:pt idx="1280">
                  <c:v>1675769.6910000001</c:v>
                </c:pt>
                <c:pt idx="1281">
                  <c:v>1675769.6910000001</c:v>
                </c:pt>
                <c:pt idx="1282">
                  <c:v>1675769.6910000001</c:v>
                </c:pt>
                <c:pt idx="1283">
                  <c:v>1675769.6910000001</c:v>
                </c:pt>
                <c:pt idx="1284">
                  <c:v>1675769.6910000001</c:v>
                </c:pt>
                <c:pt idx="1285">
                  <c:v>1675769.6910000001</c:v>
                </c:pt>
                <c:pt idx="1286">
                  <c:v>1675769.6910000001</c:v>
                </c:pt>
                <c:pt idx="1287">
                  <c:v>1675769.6910000001</c:v>
                </c:pt>
                <c:pt idx="1288">
                  <c:v>1675769.6910000001</c:v>
                </c:pt>
                <c:pt idx="1289">
                  <c:v>1675769.6910000001</c:v>
                </c:pt>
                <c:pt idx="1290">
                  <c:v>1675769.6910000001</c:v>
                </c:pt>
                <c:pt idx="1291">
                  <c:v>1675769.6910000001</c:v>
                </c:pt>
                <c:pt idx="1292">
                  <c:v>1675769.6910000001</c:v>
                </c:pt>
                <c:pt idx="1293">
                  <c:v>1675769.6910000001</c:v>
                </c:pt>
                <c:pt idx="1294">
                  <c:v>1675769.6910000001</c:v>
                </c:pt>
                <c:pt idx="1295">
                  <c:v>1675769.6910000001</c:v>
                </c:pt>
                <c:pt idx="1296">
                  <c:v>1675769.6910000001</c:v>
                </c:pt>
                <c:pt idx="1297">
                  <c:v>1675769.6910000001</c:v>
                </c:pt>
                <c:pt idx="1298">
                  <c:v>1675769.6910000001</c:v>
                </c:pt>
                <c:pt idx="1299">
                  <c:v>1675769.6910000001</c:v>
                </c:pt>
                <c:pt idx="1300">
                  <c:v>1675769.6910000001</c:v>
                </c:pt>
                <c:pt idx="1301">
                  <c:v>1675769.6910000001</c:v>
                </c:pt>
                <c:pt idx="1302">
                  <c:v>1675769.6910000001</c:v>
                </c:pt>
                <c:pt idx="1303">
                  <c:v>1675769.6910000001</c:v>
                </c:pt>
                <c:pt idx="1304">
                  <c:v>1675769.6910000001</c:v>
                </c:pt>
                <c:pt idx="1305">
                  <c:v>1675769.6910000001</c:v>
                </c:pt>
                <c:pt idx="1306">
                  <c:v>1675769.6910000001</c:v>
                </c:pt>
                <c:pt idx="1307">
                  <c:v>1675769.6910000001</c:v>
                </c:pt>
                <c:pt idx="1308">
                  <c:v>1675769.6910000001</c:v>
                </c:pt>
                <c:pt idx="1309">
                  <c:v>1675769.6910000001</c:v>
                </c:pt>
                <c:pt idx="1310">
                  <c:v>1675769.6910000001</c:v>
                </c:pt>
                <c:pt idx="1311">
                  <c:v>1675769.6910000001</c:v>
                </c:pt>
                <c:pt idx="1312">
                  <c:v>1675769.6910000001</c:v>
                </c:pt>
                <c:pt idx="1313">
                  <c:v>1675769.6910000001</c:v>
                </c:pt>
                <c:pt idx="1314">
                  <c:v>1675769.6910000001</c:v>
                </c:pt>
                <c:pt idx="1315">
                  <c:v>1675769.6910000001</c:v>
                </c:pt>
                <c:pt idx="1316">
                  <c:v>1675769.6910000001</c:v>
                </c:pt>
                <c:pt idx="1317">
                  <c:v>1675769.6910000001</c:v>
                </c:pt>
                <c:pt idx="1318">
                  <c:v>1675769.6910000001</c:v>
                </c:pt>
                <c:pt idx="1319">
                  <c:v>1675769.6910000001</c:v>
                </c:pt>
                <c:pt idx="1320">
                  <c:v>1675769.6910000001</c:v>
                </c:pt>
                <c:pt idx="1321">
                  <c:v>1675769.6910000001</c:v>
                </c:pt>
                <c:pt idx="1322">
                  <c:v>1675769.6910000001</c:v>
                </c:pt>
                <c:pt idx="1323">
                  <c:v>1675769.6910000001</c:v>
                </c:pt>
                <c:pt idx="1324">
                  <c:v>1675769.6910000001</c:v>
                </c:pt>
                <c:pt idx="1325">
                  <c:v>1675769.6910000001</c:v>
                </c:pt>
                <c:pt idx="1326">
                  <c:v>1675769.6910000001</c:v>
                </c:pt>
                <c:pt idx="1327">
                  <c:v>1675769.6910000001</c:v>
                </c:pt>
                <c:pt idx="1328">
                  <c:v>1675769.6910000001</c:v>
                </c:pt>
                <c:pt idx="1329">
                  <c:v>1675769.6910000001</c:v>
                </c:pt>
                <c:pt idx="1330">
                  <c:v>1675769.6910000001</c:v>
                </c:pt>
                <c:pt idx="1331">
                  <c:v>1675769.6910000001</c:v>
                </c:pt>
                <c:pt idx="1332">
                  <c:v>1675769.6910000001</c:v>
                </c:pt>
                <c:pt idx="1333">
                  <c:v>1675769.6910000001</c:v>
                </c:pt>
                <c:pt idx="1334">
                  <c:v>1675769.6910000001</c:v>
                </c:pt>
                <c:pt idx="1335">
                  <c:v>1675769.6910000001</c:v>
                </c:pt>
                <c:pt idx="1336">
                  <c:v>1675769.6910000001</c:v>
                </c:pt>
                <c:pt idx="1337">
                  <c:v>1675769.6910000001</c:v>
                </c:pt>
                <c:pt idx="1338">
                  <c:v>1675769.6910000001</c:v>
                </c:pt>
                <c:pt idx="1339">
                  <c:v>1675769.6910000001</c:v>
                </c:pt>
                <c:pt idx="1340">
                  <c:v>1675769.6910000001</c:v>
                </c:pt>
                <c:pt idx="1341">
                  <c:v>1675769.6910000001</c:v>
                </c:pt>
                <c:pt idx="1342">
                  <c:v>1675769.6910000001</c:v>
                </c:pt>
                <c:pt idx="1343">
                  <c:v>1675769.6910000001</c:v>
                </c:pt>
                <c:pt idx="1344">
                  <c:v>1675769.6910000001</c:v>
                </c:pt>
                <c:pt idx="1345">
                  <c:v>1675769.6910000001</c:v>
                </c:pt>
                <c:pt idx="1346">
                  <c:v>1675769.6910000001</c:v>
                </c:pt>
                <c:pt idx="1347">
                  <c:v>1675769.6910000001</c:v>
                </c:pt>
                <c:pt idx="1348">
                  <c:v>1675769.6910000001</c:v>
                </c:pt>
                <c:pt idx="1349">
                  <c:v>1675769.6910000001</c:v>
                </c:pt>
                <c:pt idx="1350">
                  <c:v>1675769.6910000001</c:v>
                </c:pt>
                <c:pt idx="1351">
                  <c:v>1675769.6910000001</c:v>
                </c:pt>
                <c:pt idx="1352">
                  <c:v>1675769.6910000001</c:v>
                </c:pt>
                <c:pt idx="1353">
                  <c:v>1675769.6910000001</c:v>
                </c:pt>
                <c:pt idx="1354">
                  <c:v>1675769.6910000001</c:v>
                </c:pt>
                <c:pt idx="1355">
                  <c:v>1675769.6910000001</c:v>
                </c:pt>
                <c:pt idx="1356">
                  <c:v>1675769.6910000001</c:v>
                </c:pt>
                <c:pt idx="1357">
                  <c:v>1675606.7690000001</c:v>
                </c:pt>
                <c:pt idx="1358">
                  <c:v>1678175.7690000001</c:v>
                </c:pt>
                <c:pt idx="1359">
                  <c:v>1702129.7690000001</c:v>
                </c:pt>
                <c:pt idx="1360">
                  <c:v>1696319.7690000001</c:v>
                </c:pt>
                <c:pt idx="1361">
                  <c:v>1697614.7690000001</c:v>
                </c:pt>
                <c:pt idx="1362">
                  <c:v>1681549.7690000001</c:v>
                </c:pt>
                <c:pt idx="1363">
                  <c:v>1698832.7690000001</c:v>
                </c:pt>
                <c:pt idx="1364">
                  <c:v>1708576.7690000001</c:v>
                </c:pt>
                <c:pt idx="1365">
                  <c:v>1708723.7690000001</c:v>
                </c:pt>
                <c:pt idx="1366">
                  <c:v>1702682.7690000001</c:v>
                </c:pt>
                <c:pt idx="1367">
                  <c:v>1694352.7690000001</c:v>
                </c:pt>
                <c:pt idx="1368">
                  <c:v>1702136.7690000001</c:v>
                </c:pt>
                <c:pt idx="1369">
                  <c:v>1686386.7690000001</c:v>
                </c:pt>
                <c:pt idx="1370">
                  <c:v>1673247.7690000001</c:v>
                </c:pt>
                <c:pt idx="1371">
                  <c:v>1675697.7690000001</c:v>
                </c:pt>
                <c:pt idx="1372">
                  <c:v>1664280.7690000001</c:v>
                </c:pt>
                <c:pt idx="1373">
                  <c:v>1683187.7690000001</c:v>
                </c:pt>
                <c:pt idx="1374">
                  <c:v>1695108.7690000001</c:v>
                </c:pt>
                <c:pt idx="1375">
                  <c:v>1716906.7690000001</c:v>
                </c:pt>
                <c:pt idx="1376">
                  <c:v>1732572.7690000001</c:v>
                </c:pt>
                <c:pt idx="1377">
                  <c:v>1744738.7690000001</c:v>
                </c:pt>
                <c:pt idx="1378">
                  <c:v>1760866.7690000001</c:v>
                </c:pt>
                <c:pt idx="1379">
                  <c:v>1758038.7690000001</c:v>
                </c:pt>
                <c:pt idx="1380">
                  <c:v>1749085.7690000001</c:v>
                </c:pt>
                <c:pt idx="1381">
                  <c:v>1742799.7690000001</c:v>
                </c:pt>
                <c:pt idx="1382">
                  <c:v>1753236.7690000001</c:v>
                </c:pt>
                <c:pt idx="1383">
                  <c:v>1752417.7690000001</c:v>
                </c:pt>
                <c:pt idx="1384">
                  <c:v>1718523.7690000001</c:v>
                </c:pt>
                <c:pt idx="1385">
                  <c:v>1727315.7690000001</c:v>
                </c:pt>
                <c:pt idx="1386">
                  <c:v>1732446.7690000001</c:v>
                </c:pt>
                <c:pt idx="1387">
                  <c:v>1744031.7690000001</c:v>
                </c:pt>
                <c:pt idx="1388">
                  <c:v>1711628.7690000001</c:v>
                </c:pt>
                <c:pt idx="1389">
                  <c:v>1726006.7690000001</c:v>
                </c:pt>
                <c:pt idx="1390">
                  <c:v>1755686.7690000001</c:v>
                </c:pt>
                <c:pt idx="1391">
                  <c:v>1752263.7690000001</c:v>
                </c:pt>
                <c:pt idx="1392">
                  <c:v>1752424.7690000001</c:v>
                </c:pt>
                <c:pt idx="1393">
                  <c:v>1759844.7690000001</c:v>
                </c:pt>
                <c:pt idx="1394">
                  <c:v>1762077.7690000001</c:v>
                </c:pt>
                <c:pt idx="1395">
                  <c:v>1781250.7690000001</c:v>
                </c:pt>
                <c:pt idx="1396">
                  <c:v>1783756.7690000001</c:v>
                </c:pt>
                <c:pt idx="1397">
                  <c:v>1773137.7690000001</c:v>
                </c:pt>
                <c:pt idx="1398">
                  <c:v>1764849.7690000001</c:v>
                </c:pt>
                <c:pt idx="1399">
                  <c:v>1758976.7690000001</c:v>
                </c:pt>
                <c:pt idx="1400">
                  <c:v>1771093.7690000001</c:v>
                </c:pt>
                <c:pt idx="1401">
                  <c:v>1757464.7690000001</c:v>
                </c:pt>
                <c:pt idx="1402">
                  <c:v>1755595.7690000001</c:v>
                </c:pt>
                <c:pt idx="1403">
                  <c:v>1764681.7690000001</c:v>
                </c:pt>
                <c:pt idx="1404">
                  <c:v>1749757.7690000001</c:v>
                </c:pt>
                <c:pt idx="1405">
                  <c:v>1739432.7690000001</c:v>
                </c:pt>
                <c:pt idx="1406">
                  <c:v>1723542.7690000001</c:v>
                </c:pt>
                <c:pt idx="1407">
                  <c:v>1719881.7690000001</c:v>
                </c:pt>
                <c:pt idx="1408">
                  <c:v>1704565.7690000001</c:v>
                </c:pt>
                <c:pt idx="1409">
                  <c:v>1738039.7690000001</c:v>
                </c:pt>
                <c:pt idx="1410">
                  <c:v>1762350.7690000001</c:v>
                </c:pt>
                <c:pt idx="1411">
                  <c:v>1774635.7690000001</c:v>
                </c:pt>
                <c:pt idx="1412">
                  <c:v>1802208.7690000001</c:v>
                </c:pt>
                <c:pt idx="1413">
                  <c:v>1805169.7690000001</c:v>
                </c:pt>
                <c:pt idx="1414">
                  <c:v>1805603.7690000001</c:v>
                </c:pt>
                <c:pt idx="1415">
                  <c:v>1798799.7690000001</c:v>
                </c:pt>
                <c:pt idx="1416">
                  <c:v>1800633.7690000001</c:v>
                </c:pt>
                <c:pt idx="1417">
                  <c:v>1797889.7690000001</c:v>
                </c:pt>
                <c:pt idx="1418">
                  <c:v>1842395.7690000001</c:v>
                </c:pt>
                <c:pt idx="1419">
                  <c:v>1837411.7690000001</c:v>
                </c:pt>
                <c:pt idx="1420">
                  <c:v>1862408.7690000001</c:v>
                </c:pt>
                <c:pt idx="1421">
                  <c:v>1852209.7690000001</c:v>
                </c:pt>
                <c:pt idx="1422">
                  <c:v>1853147.7690000001</c:v>
                </c:pt>
                <c:pt idx="1423">
                  <c:v>1843354.7690000001</c:v>
                </c:pt>
                <c:pt idx="1424">
                  <c:v>1825378.7690000001</c:v>
                </c:pt>
                <c:pt idx="1425">
                  <c:v>1822438.7690000001</c:v>
                </c:pt>
                <c:pt idx="1426">
                  <c:v>1822354.7690000001</c:v>
                </c:pt>
                <c:pt idx="1427">
                  <c:v>1854806.7690000001</c:v>
                </c:pt>
                <c:pt idx="1428">
                  <c:v>1900866.7690000001</c:v>
                </c:pt>
                <c:pt idx="1429">
                  <c:v>1926276.7690000001</c:v>
                </c:pt>
                <c:pt idx="1430">
                  <c:v>1952498.7690000001</c:v>
                </c:pt>
                <c:pt idx="1431">
                  <c:v>1974527.7690000001</c:v>
                </c:pt>
                <c:pt idx="1432">
                  <c:v>2012558.7690000001</c:v>
                </c:pt>
                <c:pt idx="1433">
                  <c:v>2020251.7690000001</c:v>
                </c:pt>
                <c:pt idx="1434">
                  <c:v>2093142.7690000001</c:v>
                </c:pt>
                <c:pt idx="1435">
                  <c:v>2123669.7689999999</c:v>
                </c:pt>
                <c:pt idx="1436">
                  <c:v>2219429.7689999999</c:v>
                </c:pt>
                <c:pt idx="1437">
                  <c:v>2233807.7689999999</c:v>
                </c:pt>
                <c:pt idx="1438">
                  <c:v>2323400.7689999999</c:v>
                </c:pt>
                <c:pt idx="1439">
                  <c:v>2221221.7689999999</c:v>
                </c:pt>
                <c:pt idx="1440">
                  <c:v>2301469.7689999999</c:v>
                </c:pt>
                <c:pt idx="1441">
                  <c:v>2274491.7689999999</c:v>
                </c:pt>
                <c:pt idx="1442">
                  <c:v>2281645.7689999999</c:v>
                </c:pt>
                <c:pt idx="1443">
                  <c:v>2298445.7689999999</c:v>
                </c:pt>
                <c:pt idx="1444">
                  <c:v>2358764.7689999999</c:v>
                </c:pt>
                <c:pt idx="1445">
                  <c:v>2398804.7689999999</c:v>
                </c:pt>
                <c:pt idx="1446">
                  <c:v>2388535.7689999999</c:v>
                </c:pt>
                <c:pt idx="1447">
                  <c:v>2414603.7689999999</c:v>
                </c:pt>
                <c:pt idx="1448">
                  <c:v>2422520.7689999999</c:v>
                </c:pt>
                <c:pt idx="1449">
                  <c:v>2373828.7689999999</c:v>
                </c:pt>
                <c:pt idx="1450">
                  <c:v>2307657.7689999999</c:v>
                </c:pt>
                <c:pt idx="1451">
                  <c:v>2381178.7689999999</c:v>
                </c:pt>
                <c:pt idx="1452">
                  <c:v>2458472.7689999999</c:v>
                </c:pt>
                <c:pt idx="1453">
                  <c:v>2465206.7689999999</c:v>
                </c:pt>
                <c:pt idx="1454">
                  <c:v>2466669.7689999999</c:v>
                </c:pt>
                <c:pt idx="1455">
                  <c:v>2519981.7689999999</c:v>
                </c:pt>
                <c:pt idx="1456">
                  <c:v>2595462.7689999999</c:v>
                </c:pt>
                <c:pt idx="1457">
                  <c:v>2595126.7689999999</c:v>
                </c:pt>
                <c:pt idx="1458">
                  <c:v>2597037.7689999999</c:v>
                </c:pt>
                <c:pt idx="1459">
                  <c:v>2537866.7689999999</c:v>
                </c:pt>
                <c:pt idx="1460">
                  <c:v>2529088.7689999999</c:v>
                </c:pt>
                <c:pt idx="1461">
                  <c:v>2505890.7689999999</c:v>
                </c:pt>
                <c:pt idx="1462">
                  <c:v>2506212.7689999999</c:v>
                </c:pt>
                <c:pt idx="1463">
                  <c:v>2498078.7689999999</c:v>
                </c:pt>
                <c:pt idx="1464">
                  <c:v>2569268.7689999999</c:v>
                </c:pt>
                <c:pt idx="1465">
                  <c:v>2590989.7689999999</c:v>
                </c:pt>
                <c:pt idx="1466">
                  <c:v>2394996.7689999999</c:v>
                </c:pt>
                <c:pt idx="1467">
                  <c:v>2423738.7689999999</c:v>
                </c:pt>
                <c:pt idx="1468">
                  <c:v>2530607.7689999999</c:v>
                </c:pt>
                <c:pt idx="1469">
                  <c:v>2543711.7689999999</c:v>
                </c:pt>
                <c:pt idx="1470">
                  <c:v>2546595.7689999999</c:v>
                </c:pt>
                <c:pt idx="1471">
                  <c:v>2571977.7689999999</c:v>
                </c:pt>
                <c:pt idx="1472">
                  <c:v>2548835.7689999999</c:v>
                </c:pt>
                <c:pt idx="1473">
                  <c:v>2514108.7689999999</c:v>
                </c:pt>
                <c:pt idx="1474">
                  <c:v>2483644.7689999999</c:v>
                </c:pt>
                <c:pt idx="1475">
                  <c:v>2450457.7689999999</c:v>
                </c:pt>
                <c:pt idx="1476">
                  <c:v>2394156.7689999999</c:v>
                </c:pt>
                <c:pt idx="1477">
                  <c:v>2452599.7689999999</c:v>
                </c:pt>
                <c:pt idx="1478">
                  <c:v>2427623.7689999999</c:v>
                </c:pt>
                <c:pt idx="1479">
                  <c:v>2403249.7689999999</c:v>
                </c:pt>
                <c:pt idx="1480">
                  <c:v>2365078.7689999999</c:v>
                </c:pt>
                <c:pt idx="1481">
                  <c:v>2388528.7689999999</c:v>
                </c:pt>
                <c:pt idx="1482">
                  <c:v>2431242.7689999999</c:v>
                </c:pt>
                <c:pt idx="1483">
                  <c:v>2450268.7689999999</c:v>
                </c:pt>
                <c:pt idx="1484">
                  <c:v>2456393.7689999999</c:v>
                </c:pt>
                <c:pt idx="1485">
                  <c:v>2475265.7689999999</c:v>
                </c:pt>
                <c:pt idx="1486">
                  <c:v>2496020.7689999999</c:v>
                </c:pt>
                <c:pt idx="1487">
                  <c:v>2512008.7689999999</c:v>
                </c:pt>
                <c:pt idx="1488">
                  <c:v>2481495.7689999999</c:v>
                </c:pt>
                <c:pt idx="1489">
                  <c:v>2542794.7689999999</c:v>
                </c:pt>
                <c:pt idx="1490">
                  <c:v>2547372.7689999999</c:v>
                </c:pt>
                <c:pt idx="1491">
                  <c:v>2567273.7689999999</c:v>
                </c:pt>
                <c:pt idx="1492">
                  <c:v>2501914.7689999999</c:v>
                </c:pt>
                <c:pt idx="1493">
                  <c:v>2517958.7689999999</c:v>
                </c:pt>
                <c:pt idx="1494">
                  <c:v>2493822.7689999999</c:v>
                </c:pt>
                <c:pt idx="1495">
                  <c:v>2481348.7689999999</c:v>
                </c:pt>
                <c:pt idx="1496">
                  <c:v>2522809.7689999999</c:v>
                </c:pt>
                <c:pt idx="1497">
                  <c:v>2510811.7689999999</c:v>
                </c:pt>
                <c:pt idx="1498">
                  <c:v>2513639.7689999999</c:v>
                </c:pt>
                <c:pt idx="1499">
                  <c:v>2561372.7689999999</c:v>
                </c:pt>
                <c:pt idx="1500">
                  <c:v>2578746.7689999999</c:v>
                </c:pt>
                <c:pt idx="1501">
                  <c:v>2640353.7689999999</c:v>
                </c:pt>
                <c:pt idx="1502">
                  <c:v>2676368.7689999999</c:v>
                </c:pt>
                <c:pt idx="1503">
                  <c:v>2738626.7689999999</c:v>
                </c:pt>
                <c:pt idx="1504">
                  <c:v>2734202.7689999999</c:v>
                </c:pt>
                <c:pt idx="1505">
                  <c:v>2771183.7689999999</c:v>
                </c:pt>
                <c:pt idx="1506">
                  <c:v>2826826.7689999999</c:v>
                </c:pt>
                <c:pt idx="1507">
                  <c:v>2827519.7689999999</c:v>
                </c:pt>
                <c:pt idx="1508">
                  <c:v>2804671.7689999999</c:v>
                </c:pt>
                <c:pt idx="1509">
                  <c:v>2811384.7689999999</c:v>
                </c:pt>
                <c:pt idx="1510">
                  <c:v>2826574.7689999999</c:v>
                </c:pt>
                <c:pt idx="1511">
                  <c:v>2908110.7689999999</c:v>
                </c:pt>
                <c:pt idx="1512">
                  <c:v>2882224.7689999999</c:v>
                </c:pt>
                <c:pt idx="1513">
                  <c:v>2933114.7689999999</c:v>
                </c:pt>
                <c:pt idx="1514">
                  <c:v>2933730.7689999999</c:v>
                </c:pt>
                <c:pt idx="1515">
                  <c:v>2965762.7689999999</c:v>
                </c:pt>
                <c:pt idx="1516">
                  <c:v>3028412.7689999999</c:v>
                </c:pt>
                <c:pt idx="1517">
                  <c:v>3053444.7689999999</c:v>
                </c:pt>
                <c:pt idx="1518">
                  <c:v>3029882.7689999999</c:v>
                </c:pt>
                <c:pt idx="1519">
                  <c:v>3087478.7689999999</c:v>
                </c:pt>
                <c:pt idx="1520">
                  <c:v>3141133.7689999999</c:v>
                </c:pt>
                <c:pt idx="1521">
                  <c:v>3153110.7689999999</c:v>
                </c:pt>
                <c:pt idx="1522">
                  <c:v>3112741.7689999999</c:v>
                </c:pt>
                <c:pt idx="1523">
                  <c:v>3205869.7689999999</c:v>
                </c:pt>
                <c:pt idx="1524">
                  <c:v>3263682.7689999999</c:v>
                </c:pt>
                <c:pt idx="1525">
                  <c:v>3211728.7689999999</c:v>
                </c:pt>
                <c:pt idx="1526">
                  <c:v>3279796.7689999999</c:v>
                </c:pt>
                <c:pt idx="1527">
                  <c:v>3364251.7689999999</c:v>
                </c:pt>
                <c:pt idx="1528">
                  <c:v>3365007.7689999999</c:v>
                </c:pt>
                <c:pt idx="1529">
                  <c:v>3338232.7689999999</c:v>
                </c:pt>
                <c:pt idx="1530">
                  <c:v>3411697.7689999999</c:v>
                </c:pt>
                <c:pt idx="1531">
                  <c:v>3365686.7689999999</c:v>
                </c:pt>
                <c:pt idx="1532">
                  <c:v>3388415.7689999999</c:v>
                </c:pt>
                <c:pt idx="1533">
                  <c:v>3371307.7689999999</c:v>
                </c:pt>
                <c:pt idx="1534">
                  <c:v>3397802.7689999999</c:v>
                </c:pt>
                <c:pt idx="1535">
                  <c:v>3264172.7689999999</c:v>
                </c:pt>
                <c:pt idx="1536">
                  <c:v>3233715.7689999999</c:v>
                </c:pt>
                <c:pt idx="1537">
                  <c:v>3175447.7689999999</c:v>
                </c:pt>
                <c:pt idx="1538">
                  <c:v>3237264.7689999999</c:v>
                </c:pt>
                <c:pt idx="1539">
                  <c:v>3329755.7689999999</c:v>
                </c:pt>
                <c:pt idx="1540">
                  <c:v>3369578.7689999999</c:v>
                </c:pt>
                <c:pt idx="1541">
                  <c:v>3349292.7689999999</c:v>
                </c:pt>
                <c:pt idx="1542">
                  <c:v>3336930.7689999999</c:v>
                </c:pt>
                <c:pt idx="1543">
                  <c:v>3278613.7689999999</c:v>
                </c:pt>
                <c:pt idx="1544">
                  <c:v>3248982.7689999999</c:v>
                </c:pt>
                <c:pt idx="1545">
                  <c:v>3358238.7689999999</c:v>
                </c:pt>
                <c:pt idx="1546">
                  <c:v>3374828.7689999999</c:v>
                </c:pt>
                <c:pt idx="1547">
                  <c:v>3435070.7689999999</c:v>
                </c:pt>
                <c:pt idx="1548">
                  <c:v>3512322.7689999999</c:v>
                </c:pt>
                <c:pt idx="1549">
                  <c:v>3616034.7689999999</c:v>
                </c:pt>
                <c:pt idx="1550">
                  <c:v>3685628.7689999999</c:v>
                </c:pt>
                <c:pt idx="1551">
                  <c:v>3673385.7689999999</c:v>
                </c:pt>
                <c:pt idx="1552">
                  <c:v>3430191.7689999999</c:v>
                </c:pt>
                <c:pt idx="1553">
                  <c:v>3434965.7689999999</c:v>
                </c:pt>
                <c:pt idx="1554">
                  <c:v>3599710.7689999999</c:v>
                </c:pt>
                <c:pt idx="1555">
                  <c:v>3659693.7689999999</c:v>
                </c:pt>
                <c:pt idx="1556">
                  <c:v>3646897.7689999999</c:v>
                </c:pt>
                <c:pt idx="1557">
                  <c:v>3673378.7689999999</c:v>
                </c:pt>
                <c:pt idx="1558">
                  <c:v>3707769.7689999999</c:v>
                </c:pt>
                <c:pt idx="1559">
                  <c:v>3794009.7689999999</c:v>
                </c:pt>
                <c:pt idx="1560">
                  <c:v>3768606.7689999999</c:v>
                </c:pt>
                <c:pt idx="1561">
                  <c:v>3762761.7689999999</c:v>
                </c:pt>
                <c:pt idx="1562">
                  <c:v>3760997.7689999999</c:v>
                </c:pt>
                <c:pt idx="1563">
                  <c:v>3780968.7689999999</c:v>
                </c:pt>
                <c:pt idx="1564">
                  <c:v>3701203.7689999999</c:v>
                </c:pt>
                <c:pt idx="1565">
                  <c:v>3591758.7689999999</c:v>
                </c:pt>
                <c:pt idx="1566">
                  <c:v>3643565.7689999999</c:v>
                </c:pt>
                <c:pt idx="1567">
                  <c:v>3497769.7689999999</c:v>
                </c:pt>
                <c:pt idx="1568">
                  <c:v>3292319.7689999999</c:v>
                </c:pt>
                <c:pt idx="1569">
                  <c:v>3396312.7420000001</c:v>
                </c:pt>
                <c:pt idx="1570">
                  <c:v>3396312.7420000001</c:v>
                </c:pt>
                <c:pt idx="1571">
                  <c:v>3396312.7420000001</c:v>
                </c:pt>
                <c:pt idx="1572">
                  <c:v>3396312.7420000001</c:v>
                </c:pt>
                <c:pt idx="1573">
                  <c:v>3396312.7420000001</c:v>
                </c:pt>
                <c:pt idx="1574">
                  <c:v>3396312.7420000001</c:v>
                </c:pt>
                <c:pt idx="1575">
                  <c:v>3396312.7420000001</c:v>
                </c:pt>
                <c:pt idx="1576">
                  <c:v>3396312.7420000001</c:v>
                </c:pt>
                <c:pt idx="1577">
                  <c:v>3396312.7420000001</c:v>
                </c:pt>
                <c:pt idx="1578">
                  <c:v>3396312.7420000001</c:v>
                </c:pt>
                <c:pt idx="1579">
                  <c:v>3396312.7420000001</c:v>
                </c:pt>
                <c:pt idx="1580">
                  <c:v>3396312.7420000001</c:v>
                </c:pt>
                <c:pt idx="1581">
                  <c:v>3396312.7420000001</c:v>
                </c:pt>
                <c:pt idx="1582">
                  <c:v>3396312.7420000001</c:v>
                </c:pt>
                <c:pt idx="1583">
                  <c:v>3396312.7420000001</c:v>
                </c:pt>
                <c:pt idx="1584">
                  <c:v>3396312.7420000001</c:v>
                </c:pt>
                <c:pt idx="1585">
                  <c:v>3396312.7420000001</c:v>
                </c:pt>
                <c:pt idx="1586">
                  <c:v>3396312.7420000001</c:v>
                </c:pt>
                <c:pt idx="1587">
                  <c:v>3396312.7420000001</c:v>
                </c:pt>
                <c:pt idx="1588">
                  <c:v>3396312.7420000001</c:v>
                </c:pt>
                <c:pt idx="1589">
                  <c:v>3396312.7420000001</c:v>
                </c:pt>
                <c:pt idx="1590">
                  <c:v>3396312.7420000001</c:v>
                </c:pt>
                <c:pt idx="1591">
                  <c:v>3396312.7420000001</c:v>
                </c:pt>
                <c:pt idx="1592">
                  <c:v>3396312.7420000001</c:v>
                </c:pt>
                <c:pt idx="1593">
                  <c:v>3396312.7420000001</c:v>
                </c:pt>
                <c:pt idx="1594">
                  <c:v>3396312.7420000001</c:v>
                </c:pt>
                <c:pt idx="1595">
                  <c:v>3396312.7420000001</c:v>
                </c:pt>
                <c:pt idx="1596">
                  <c:v>3396312.7420000001</c:v>
                </c:pt>
                <c:pt idx="1597">
                  <c:v>3396312.7420000001</c:v>
                </c:pt>
                <c:pt idx="1598">
                  <c:v>3396312.7420000001</c:v>
                </c:pt>
                <c:pt idx="1599">
                  <c:v>3396312.7420000001</c:v>
                </c:pt>
                <c:pt idx="1600">
                  <c:v>3396312.7420000001</c:v>
                </c:pt>
                <c:pt idx="1601">
                  <c:v>3396312.7420000001</c:v>
                </c:pt>
                <c:pt idx="1602">
                  <c:v>3396312.7420000001</c:v>
                </c:pt>
                <c:pt idx="1603">
                  <c:v>3396312.7420000001</c:v>
                </c:pt>
                <c:pt idx="1604">
                  <c:v>3396312.7420000001</c:v>
                </c:pt>
                <c:pt idx="1605">
                  <c:v>3396312.7420000001</c:v>
                </c:pt>
                <c:pt idx="1606">
                  <c:v>3396312.7420000001</c:v>
                </c:pt>
                <c:pt idx="1607">
                  <c:v>3396312.7420000001</c:v>
                </c:pt>
                <c:pt idx="1608">
                  <c:v>3396312.7420000001</c:v>
                </c:pt>
                <c:pt idx="1609">
                  <c:v>3396312.7420000001</c:v>
                </c:pt>
                <c:pt idx="1610">
                  <c:v>3396312.7420000001</c:v>
                </c:pt>
                <c:pt idx="1611">
                  <c:v>3396312.7420000001</c:v>
                </c:pt>
                <c:pt idx="1612">
                  <c:v>3396312.7420000001</c:v>
                </c:pt>
                <c:pt idx="1613">
                  <c:v>3396312.7420000001</c:v>
                </c:pt>
                <c:pt idx="1614">
                  <c:v>3396312.7420000001</c:v>
                </c:pt>
                <c:pt idx="1615">
                  <c:v>3396312.7420000001</c:v>
                </c:pt>
                <c:pt idx="1616">
                  <c:v>3396312.7420000001</c:v>
                </c:pt>
                <c:pt idx="1617">
                  <c:v>3396312.7420000001</c:v>
                </c:pt>
                <c:pt idx="1618">
                  <c:v>3396312.7420000001</c:v>
                </c:pt>
                <c:pt idx="1619">
                  <c:v>3396312.7420000001</c:v>
                </c:pt>
                <c:pt idx="1620">
                  <c:v>3396312.7420000001</c:v>
                </c:pt>
                <c:pt idx="1621">
                  <c:v>3396312.7420000001</c:v>
                </c:pt>
                <c:pt idx="1622">
                  <c:v>3396312.7420000001</c:v>
                </c:pt>
                <c:pt idx="1623">
                  <c:v>3396312.7420000001</c:v>
                </c:pt>
                <c:pt idx="1624">
                  <c:v>3396312.7420000001</c:v>
                </c:pt>
                <c:pt idx="1625">
                  <c:v>3396312.7420000001</c:v>
                </c:pt>
                <c:pt idx="1626">
                  <c:v>3396312.7420000001</c:v>
                </c:pt>
                <c:pt idx="1627">
                  <c:v>3395997.5189999999</c:v>
                </c:pt>
                <c:pt idx="1628">
                  <c:v>3553017.5189999999</c:v>
                </c:pt>
                <c:pt idx="1629">
                  <c:v>3480767.5189999999</c:v>
                </c:pt>
                <c:pt idx="1630">
                  <c:v>3495037.5189999999</c:v>
                </c:pt>
                <c:pt idx="1631">
                  <c:v>3551686.6940000001</c:v>
                </c:pt>
                <c:pt idx="1632">
                  <c:v>3551686.6940000001</c:v>
                </c:pt>
                <c:pt idx="1633">
                  <c:v>3551686.6940000001</c:v>
                </c:pt>
                <c:pt idx="1634">
                  <c:v>3551686.6940000001</c:v>
                </c:pt>
                <c:pt idx="1635">
                  <c:v>3551686.6940000001</c:v>
                </c:pt>
                <c:pt idx="1636">
                  <c:v>3551686.6940000001</c:v>
                </c:pt>
                <c:pt idx="1637">
                  <c:v>3551686.6940000001</c:v>
                </c:pt>
                <c:pt idx="1638">
                  <c:v>3551686.6940000001</c:v>
                </c:pt>
                <c:pt idx="1639">
                  <c:v>3551686.6940000001</c:v>
                </c:pt>
                <c:pt idx="1640">
                  <c:v>3551686.6940000001</c:v>
                </c:pt>
                <c:pt idx="1641">
                  <c:v>3551686.6940000001</c:v>
                </c:pt>
                <c:pt idx="1642">
                  <c:v>3551686.6940000001</c:v>
                </c:pt>
                <c:pt idx="1643">
                  <c:v>3551686.6940000001</c:v>
                </c:pt>
                <c:pt idx="1644">
                  <c:v>3551686.6940000001</c:v>
                </c:pt>
                <c:pt idx="1645">
                  <c:v>3551686.6940000001</c:v>
                </c:pt>
                <c:pt idx="1646">
                  <c:v>3551686.6940000001</c:v>
                </c:pt>
                <c:pt idx="1647">
                  <c:v>3551686.6940000001</c:v>
                </c:pt>
                <c:pt idx="1648">
                  <c:v>3551339.3689999999</c:v>
                </c:pt>
                <c:pt idx="1649">
                  <c:v>3602619.3689999999</c:v>
                </c:pt>
                <c:pt idx="1650">
                  <c:v>3649329.3689999999</c:v>
                </c:pt>
                <c:pt idx="1651">
                  <c:v>3667349.3689999999</c:v>
                </c:pt>
                <c:pt idx="1652">
                  <c:v>3670969.3689999999</c:v>
                </c:pt>
                <c:pt idx="1653">
                  <c:v>3603009.3689999999</c:v>
                </c:pt>
                <c:pt idx="1654">
                  <c:v>3611399.3689999999</c:v>
                </c:pt>
                <c:pt idx="1655">
                  <c:v>3612169.3689999999</c:v>
                </c:pt>
                <c:pt idx="1656">
                  <c:v>3554049.3689999999</c:v>
                </c:pt>
                <c:pt idx="1657">
                  <c:v>3543579.3689999999</c:v>
                </c:pt>
                <c:pt idx="1658">
                  <c:v>3706629.3689999999</c:v>
                </c:pt>
                <c:pt idx="1659">
                  <c:v>3784059.3689999999</c:v>
                </c:pt>
                <c:pt idx="1660">
                  <c:v>3871459.3689999999</c:v>
                </c:pt>
                <c:pt idx="1661">
                  <c:v>3918439.3689999999</c:v>
                </c:pt>
                <c:pt idx="1662">
                  <c:v>3911329.3689999999</c:v>
                </c:pt>
                <c:pt idx="1663">
                  <c:v>3911739.3689999999</c:v>
                </c:pt>
                <c:pt idx="1664">
                  <c:v>3873409.3689999999</c:v>
                </c:pt>
                <c:pt idx="1665">
                  <c:v>3824329.3689999999</c:v>
                </c:pt>
                <c:pt idx="1666">
                  <c:v>3842219.3689999999</c:v>
                </c:pt>
                <c:pt idx="1667">
                  <c:v>3836479.3689999999</c:v>
                </c:pt>
                <c:pt idx="1668">
                  <c:v>3793669.3689999999</c:v>
                </c:pt>
                <c:pt idx="1669">
                  <c:v>3853059.3689999999</c:v>
                </c:pt>
                <c:pt idx="1670">
                  <c:v>3852469.3689999999</c:v>
                </c:pt>
                <c:pt idx="1671">
                  <c:v>3831429.3689999999</c:v>
                </c:pt>
                <c:pt idx="1672">
                  <c:v>3831979.3689999999</c:v>
                </c:pt>
                <c:pt idx="1673">
                  <c:v>3859699.3689999999</c:v>
                </c:pt>
                <c:pt idx="1674">
                  <c:v>3837519.3689999999</c:v>
                </c:pt>
                <c:pt idx="1675">
                  <c:v>3635079.3689999999</c:v>
                </c:pt>
                <c:pt idx="1676">
                  <c:v>3644142.7280000001</c:v>
                </c:pt>
                <c:pt idx="1677">
                  <c:v>3644142.7280000001</c:v>
                </c:pt>
                <c:pt idx="1678">
                  <c:v>3644142.7280000001</c:v>
                </c:pt>
                <c:pt idx="1679">
                  <c:v>3644142.7280000001</c:v>
                </c:pt>
                <c:pt idx="1680">
                  <c:v>3644142.7280000001</c:v>
                </c:pt>
                <c:pt idx="1681">
                  <c:v>3644142.7280000001</c:v>
                </c:pt>
                <c:pt idx="1682">
                  <c:v>3644142.7280000001</c:v>
                </c:pt>
                <c:pt idx="1683">
                  <c:v>3644142.7280000001</c:v>
                </c:pt>
                <c:pt idx="1684">
                  <c:v>3644142.7280000001</c:v>
                </c:pt>
                <c:pt idx="1685">
                  <c:v>3644142.7280000001</c:v>
                </c:pt>
                <c:pt idx="1686">
                  <c:v>3644142.7280000001</c:v>
                </c:pt>
                <c:pt idx="1687">
                  <c:v>3644142.7280000001</c:v>
                </c:pt>
                <c:pt idx="1688">
                  <c:v>3644142.7280000001</c:v>
                </c:pt>
                <c:pt idx="1689">
                  <c:v>3644142.7280000001</c:v>
                </c:pt>
                <c:pt idx="1690">
                  <c:v>3644142.7280000001</c:v>
                </c:pt>
                <c:pt idx="1691">
                  <c:v>3644142.7280000001</c:v>
                </c:pt>
                <c:pt idx="1692">
                  <c:v>3644142.7280000001</c:v>
                </c:pt>
                <c:pt idx="1693">
                  <c:v>3644142.7280000001</c:v>
                </c:pt>
                <c:pt idx="1694">
                  <c:v>3644142.7280000001</c:v>
                </c:pt>
                <c:pt idx="1695">
                  <c:v>3644142.7280000001</c:v>
                </c:pt>
                <c:pt idx="1696">
                  <c:v>3644142.7280000001</c:v>
                </c:pt>
                <c:pt idx="1697">
                  <c:v>3644142.7280000001</c:v>
                </c:pt>
                <c:pt idx="1698">
                  <c:v>3644142.7280000001</c:v>
                </c:pt>
                <c:pt idx="1699">
                  <c:v>3644142.7280000001</c:v>
                </c:pt>
                <c:pt idx="1700">
                  <c:v>3644142.7280000001</c:v>
                </c:pt>
                <c:pt idx="1701">
                  <c:v>3644142.7280000001</c:v>
                </c:pt>
                <c:pt idx="1702">
                  <c:v>3644142.7280000001</c:v>
                </c:pt>
                <c:pt idx="1703">
                  <c:v>3644142.7280000001</c:v>
                </c:pt>
                <c:pt idx="1704">
                  <c:v>3644142.7280000001</c:v>
                </c:pt>
                <c:pt idx="1705">
                  <c:v>3644142.7280000001</c:v>
                </c:pt>
                <c:pt idx="1706">
                  <c:v>3644142.7280000001</c:v>
                </c:pt>
                <c:pt idx="1707">
                  <c:v>3644142.7280000001</c:v>
                </c:pt>
                <c:pt idx="1708">
                  <c:v>3644142.7280000001</c:v>
                </c:pt>
                <c:pt idx="1709">
                  <c:v>3644142.7280000001</c:v>
                </c:pt>
                <c:pt idx="1710">
                  <c:v>3644142.7280000001</c:v>
                </c:pt>
                <c:pt idx="1711">
                  <c:v>3644142.7280000001</c:v>
                </c:pt>
                <c:pt idx="1712">
                  <c:v>3644142.7280000001</c:v>
                </c:pt>
                <c:pt idx="1713">
                  <c:v>3644142.7280000001</c:v>
                </c:pt>
                <c:pt idx="1714">
                  <c:v>3644142.7280000001</c:v>
                </c:pt>
                <c:pt idx="1715">
                  <c:v>3644142.7280000001</c:v>
                </c:pt>
                <c:pt idx="1716">
                  <c:v>3644142.7280000001</c:v>
                </c:pt>
                <c:pt idx="1717">
                  <c:v>3644142.7280000001</c:v>
                </c:pt>
                <c:pt idx="1718">
                  <c:v>3643800.2769999998</c:v>
                </c:pt>
                <c:pt idx="1719">
                  <c:v>3754596.2769999998</c:v>
                </c:pt>
                <c:pt idx="1720">
                  <c:v>3700548.2769999998</c:v>
                </c:pt>
                <c:pt idx="1721">
                  <c:v>3772884.2769999998</c:v>
                </c:pt>
                <c:pt idx="1722">
                  <c:v>3757656.2769999998</c:v>
                </c:pt>
                <c:pt idx="1723">
                  <c:v>3801000.2769999998</c:v>
                </c:pt>
                <c:pt idx="1724">
                  <c:v>3775836.2769999998</c:v>
                </c:pt>
                <c:pt idx="1725">
                  <c:v>3755340.2769999998</c:v>
                </c:pt>
                <c:pt idx="1726">
                  <c:v>3863736.2769999998</c:v>
                </c:pt>
                <c:pt idx="1727">
                  <c:v>3895272.2769999998</c:v>
                </c:pt>
                <c:pt idx="1728">
                  <c:v>3883728.2769999998</c:v>
                </c:pt>
                <c:pt idx="1729">
                  <c:v>3881196.2769999998</c:v>
                </c:pt>
                <c:pt idx="1730">
                  <c:v>3961932.2769999998</c:v>
                </c:pt>
                <c:pt idx="1731">
                  <c:v>3926520.2769999998</c:v>
                </c:pt>
                <c:pt idx="1732">
                  <c:v>3950748.2769999998</c:v>
                </c:pt>
                <c:pt idx="1733">
                  <c:v>3721788.2769999998</c:v>
                </c:pt>
                <c:pt idx="1734">
                  <c:v>3756924.2769999998</c:v>
                </c:pt>
                <c:pt idx="1735">
                  <c:v>3672252.2769999998</c:v>
                </c:pt>
                <c:pt idx="1736">
                  <c:v>3736116.2769999998</c:v>
                </c:pt>
                <c:pt idx="1737">
                  <c:v>3880884.2769999998</c:v>
                </c:pt>
                <c:pt idx="1738">
                  <c:v>3889392.2769999998</c:v>
                </c:pt>
                <c:pt idx="1739">
                  <c:v>3931956.2769999998</c:v>
                </c:pt>
                <c:pt idx="1740">
                  <c:v>3945096.2769999998</c:v>
                </c:pt>
                <c:pt idx="1741">
                  <c:v>3948492.2769999998</c:v>
                </c:pt>
                <c:pt idx="1742">
                  <c:v>3905580.2769999998</c:v>
                </c:pt>
                <c:pt idx="1743">
                  <c:v>3834706.699</c:v>
                </c:pt>
                <c:pt idx="1744">
                  <c:v>3834706.699</c:v>
                </c:pt>
                <c:pt idx="1745">
                  <c:v>3834706.699</c:v>
                </c:pt>
                <c:pt idx="1746">
                  <c:v>3834706.699</c:v>
                </c:pt>
                <c:pt idx="1747">
                  <c:v>3834706.699</c:v>
                </c:pt>
                <c:pt idx="1748">
                  <c:v>3834706.699</c:v>
                </c:pt>
                <c:pt idx="1749">
                  <c:v>3834706.699</c:v>
                </c:pt>
                <c:pt idx="1750">
                  <c:v>3834706.699</c:v>
                </c:pt>
                <c:pt idx="1751">
                  <c:v>3834706.699</c:v>
                </c:pt>
                <c:pt idx="1752">
                  <c:v>3834706.699</c:v>
                </c:pt>
                <c:pt idx="1753">
                  <c:v>3834706.699</c:v>
                </c:pt>
                <c:pt idx="1754">
                  <c:v>3834706.699</c:v>
                </c:pt>
                <c:pt idx="1755">
                  <c:v>3834706.699</c:v>
                </c:pt>
                <c:pt idx="1756">
                  <c:v>3834706.699</c:v>
                </c:pt>
                <c:pt idx="1757">
                  <c:v>3834706.699</c:v>
                </c:pt>
                <c:pt idx="1758">
                  <c:v>3834706.699</c:v>
                </c:pt>
                <c:pt idx="1759">
                  <c:v>3834706.699</c:v>
                </c:pt>
                <c:pt idx="1760">
                  <c:v>3834706.699</c:v>
                </c:pt>
                <c:pt idx="1761">
                  <c:v>3834706.699</c:v>
                </c:pt>
                <c:pt idx="1762">
                  <c:v>3834706.699</c:v>
                </c:pt>
                <c:pt idx="1763">
                  <c:v>3834706.699</c:v>
                </c:pt>
                <c:pt idx="1764">
                  <c:v>3834706.699</c:v>
                </c:pt>
                <c:pt idx="1765">
                  <c:v>3834706.699</c:v>
                </c:pt>
                <c:pt idx="1766">
                  <c:v>3834706.699</c:v>
                </c:pt>
                <c:pt idx="1767">
                  <c:v>3834706.699</c:v>
                </c:pt>
                <c:pt idx="1768">
                  <c:v>3834706.699</c:v>
                </c:pt>
                <c:pt idx="1769">
                  <c:v>3834706.699</c:v>
                </c:pt>
                <c:pt idx="1770">
                  <c:v>3834706.699</c:v>
                </c:pt>
                <c:pt idx="1771">
                  <c:v>3834706.699</c:v>
                </c:pt>
                <c:pt idx="1772">
                  <c:v>3834706.699</c:v>
                </c:pt>
                <c:pt idx="1773">
                  <c:v>3834706.699</c:v>
                </c:pt>
                <c:pt idx="1774">
                  <c:v>3834706.699</c:v>
                </c:pt>
                <c:pt idx="1775">
                  <c:v>3834706.699</c:v>
                </c:pt>
                <c:pt idx="1776">
                  <c:v>3834706.699</c:v>
                </c:pt>
                <c:pt idx="1777">
                  <c:v>3834706.699</c:v>
                </c:pt>
                <c:pt idx="1778">
                  <c:v>3834706.699</c:v>
                </c:pt>
                <c:pt idx="1779">
                  <c:v>3834706.699</c:v>
                </c:pt>
                <c:pt idx="1780">
                  <c:v>3834706.699</c:v>
                </c:pt>
                <c:pt idx="1781">
                  <c:v>3834706.699</c:v>
                </c:pt>
                <c:pt idx="1782">
                  <c:v>3834706.699</c:v>
                </c:pt>
                <c:pt idx="1783">
                  <c:v>3834706.699</c:v>
                </c:pt>
                <c:pt idx="1784">
                  <c:v>3834706.699</c:v>
                </c:pt>
                <c:pt idx="1785">
                  <c:v>3834706.699</c:v>
                </c:pt>
                <c:pt idx="1786">
                  <c:v>3834706.699</c:v>
                </c:pt>
                <c:pt idx="1787">
                  <c:v>3834706.699</c:v>
                </c:pt>
                <c:pt idx="1788">
                  <c:v>3834706.699</c:v>
                </c:pt>
                <c:pt idx="1789">
                  <c:v>3834706.699</c:v>
                </c:pt>
                <c:pt idx="1790">
                  <c:v>3834706.699</c:v>
                </c:pt>
                <c:pt idx="1791">
                  <c:v>3834706.699</c:v>
                </c:pt>
                <c:pt idx="1792">
                  <c:v>3834706.699</c:v>
                </c:pt>
                <c:pt idx="1793">
                  <c:v>3834706.699</c:v>
                </c:pt>
                <c:pt idx="1794">
                  <c:v>3834706.699</c:v>
                </c:pt>
                <c:pt idx="1795">
                  <c:v>3834706.699</c:v>
                </c:pt>
                <c:pt idx="1796">
                  <c:v>3834706.699</c:v>
                </c:pt>
                <c:pt idx="1797">
                  <c:v>3834706.699</c:v>
                </c:pt>
                <c:pt idx="1798">
                  <c:v>3834706.699</c:v>
                </c:pt>
                <c:pt idx="1799">
                  <c:v>3834706.699</c:v>
                </c:pt>
                <c:pt idx="1800">
                  <c:v>3834327.4330000002</c:v>
                </c:pt>
                <c:pt idx="1801">
                  <c:v>3842187.4330000002</c:v>
                </c:pt>
                <c:pt idx="1802">
                  <c:v>3868863.4330000002</c:v>
                </c:pt>
                <c:pt idx="1803">
                  <c:v>3856215.4330000002</c:v>
                </c:pt>
                <c:pt idx="1804">
                  <c:v>3854127.4330000002</c:v>
                </c:pt>
                <c:pt idx="1805">
                  <c:v>3838455.4330000002</c:v>
                </c:pt>
                <c:pt idx="1806">
                  <c:v>3721275.4330000002</c:v>
                </c:pt>
                <c:pt idx="1807">
                  <c:v>3732843.4330000002</c:v>
                </c:pt>
                <c:pt idx="1808">
                  <c:v>3781311.4330000002</c:v>
                </c:pt>
                <c:pt idx="1809">
                  <c:v>3755271.4330000002</c:v>
                </c:pt>
                <c:pt idx="1810">
                  <c:v>3774099.4330000002</c:v>
                </c:pt>
                <c:pt idx="1811">
                  <c:v>3776871.4330000002</c:v>
                </c:pt>
                <c:pt idx="1812">
                  <c:v>3769251.4330000002</c:v>
                </c:pt>
                <c:pt idx="1813">
                  <c:v>3802419.4330000002</c:v>
                </c:pt>
                <c:pt idx="1814">
                  <c:v>3782451.4330000002</c:v>
                </c:pt>
                <c:pt idx="1815">
                  <c:v>3734259.4330000002</c:v>
                </c:pt>
                <c:pt idx="1816">
                  <c:v>3786315.4330000002</c:v>
                </c:pt>
                <c:pt idx="1817">
                  <c:v>3805347.4330000002</c:v>
                </c:pt>
                <c:pt idx="1818">
                  <c:v>3822957.2659999998</c:v>
                </c:pt>
                <c:pt idx="1819">
                  <c:v>3822957.2659999998</c:v>
                </c:pt>
                <c:pt idx="1820">
                  <c:v>3822957.2659999998</c:v>
                </c:pt>
                <c:pt idx="1821">
                  <c:v>3822957.2659999998</c:v>
                </c:pt>
                <c:pt idx="1822">
                  <c:v>3822957.2659999998</c:v>
                </c:pt>
                <c:pt idx="1823">
                  <c:v>3822957.2659999998</c:v>
                </c:pt>
                <c:pt idx="1824">
                  <c:v>3822957.2659999998</c:v>
                </c:pt>
                <c:pt idx="1825">
                  <c:v>3822957.2659999998</c:v>
                </c:pt>
                <c:pt idx="1826">
                  <c:v>3822957.2659999998</c:v>
                </c:pt>
                <c:pt idx="1827">
                  <c:v>3822957.2659999998</c:v>
                </c:pt>
                <c:pt idx="1828">
                  <c:v>3822957.2659999998</c:v>
                </c:pt>
                <c:pt idx="1829">
                  <c:v>3822957.2659999998</c:v>
                </c:pt>
                <c:pt idx="1830">
                  <c:v>3822957.2659999998</c:v>
                </c:pt>
                <c:pt idx="1831">
                  <c:v>3822957.2659999998</c:v>
                </c:pt>
                <c:pt idx="1832">
                  <c:v>3822957.2659999998</c:v>
                </c:pt>
                <c:pt idx="1833">
                  <c:v>3822957.2659999998</c:v>
                </c:pt>
                <c:pt idx="1834">
                  <c:v>3822957.2659999998</c:v>
                </c:pt>
                <c:pt idx="1835">
                  <c:v>3822957.2659999998</c:v>
                </c:pt>
                <c:pt idx="1836">
                  <c:v>3822957.2659999998</c:v>
                </c:pt>
                <c:pt idx="1837">
                  <c:v>3822957.2659999998</c:v>
                </c:pt>
                <c:pt idx="1838">
                  <c:v>3822957.2659999998</c:v>
                </c:pt>
                <c:pt idx="1839">
                  <c:v>3822957.2659999998</c:v>
                </c:pt>
                <c:pt idx="1840">
                  <c:v>3822957.2659999998</c:v>
                </c:pt>
                <c:pt idx="1841">
                  <c:v>3822957.2659999998</c:v>
                </c:pt>
                <c:pt idx="1842">
                  <c:v>3822957.2659999998</c:v>
                </c:pt>
                <c:pt idx="1843">
                  <c:v>3822957.2659999998</c:v>
                </c:pt>
                <c:pt idx="1844">
                  <c:v>3822957.2659999998</c:v>
                </c:pt>
                <c:pt idx="1845">
                  <c:v>3822957.2659999998</c:v>
                </c:pt>
                <c:pt idx="1846">
                  <c:v>3822957.2659999998</c:v>
                </c:pt>
                <c:pt idx="1847">
                  <c:v>3822957.2659999998</c:v>
                </c:pt>
                <c:pt idx="1848">
                  <c:v>3822957.2659999998</c:v>
                </c:pt>
                <c:pt idx="1849">
                  <c:v>3822957.2659999998</c:v>
                </c:pt>
                <c:pt idx="1850">
                  <c:v>3822957.2659999998</c:v>
                </c:pt>
                <c:pt idx="1851">
                  <c:v>3822957.2659999998</c:v>
                </c:pt>
                <c:pt idx="1852">
                  <c:v>3822585.659</c:v>
                </c:pt>
                <c:pt idx="1853">
                  <c:v>3816865.659</c:v>
                </c:pt>
                <c:pt idx="1854">
                  <c:v>3807449.659</c:v>
                </c:pt>
                <c:pt idx="1855">
                  <c:v>3808032.659</c:v>
                </c:pt>
                <c:pt idx="1856">
                  <c:v>3776979.659</c:v>
                </c:pt>
                <c:pt idx="1857">
                  <c:v>3782523.659</c:v>
                </c:pt>
                <c:pt idx="1858">
                  <c:v>3769356.659</c:v>
                </c:pt>
                <c:pt idx="1859">
                  <c:v>3746377.659</c:v>
                </c:pt>
                <c:pt idx="1860">
                  <c:v>3744309.659</c:v>
                </c:pt>
                <c:pt idx="1861">
                  <c:v>3745068.659</c:v>
                </c:pt>
                <c:pt idx="1862">
                  <c:v>3749699.659</c:v>
                </c:pt>
                <c:pt idx="1863">
                  <c:v>3767079.659</c:v>
                </c:pt>
                <c:pt idx="1864">
                  <c:v>3738248.659</c:v>
                </c:pt>
                <c:pt idx="1865">
                  <c:v>3752031.659</c:v>
                </c:pt>
                <c:pt idx="1866">
                  <c:v>3758158.659</c:v>
                </c:pt>
                <c:pt idx="1867">
                  <c:v>3783403.659</c:v>
                </c:pt>
                <c:pt idx="1868">
                  <c:v>3781412.659</c:v>
                </c:pt>
                <c:pt idx="1869">
                  <c:v>3780026.659</c:v>
                </c:pt>
                <c:pt idx="1870">
                  <c:v>3756354.659</c:v>
                </c:pt>
                <c:pt idx="1871">
                  <c:v>3695370.659</c:v>
                </c:pt>
                <c:pt idx="1872">
                  <c:v>3692873.659</c:v>
                </c:pt>
                <c:pt idx="1873">
                  <c:v>3669113.659</c:v>
                </c:pt>
                <c:pt idx="1874">
                  <c:v>3695942.659</c:v>
                </c:pt>
                <c:pt idx="1875">
                  <c:v>3689650.659</c:v>
                </c:pt>
                <c:pt idx="1876">
                  <c:v>3699814.659</c:v>
                </c:pt>
                <c:pt idx="1877">
                  <c:v>3726742.659</c:v>
                </c:pt>
                <c:pt idx="1878">
                  <c:v>3709747.659</c:v>
                </c:pt>
                <c:pt idx="1879">
                  <c:v>3648818.659</c:v>
                </c:pt>
                <c:pt idx="1880">
                  <c:v>3671335.659</c:v>
                </c:pt>
                <c:pt idx="1881">
                  <c:v>3660489.659</c:v>
                </c:pt>
                <c:pt idx="1882">
                  <c:v>3675339.659</c:v>
                </c:pt>
                <c:pt idx="1883">
                  <c:v>3685118.659</c:v>
                </c:pt>
                <c:pt idx="1884">
                  <c:v>3729767.659</c:v>
                </c:pt>
                <c:pt idx="1885">
                  <c:v>3743726.659</c:v>
                </c:pt>
                <c:pt idx="1886">
                  <c:v>3736521.659</c:v>
                </c:pt>
                <c:pt idx="1887">
                  <c:v>3739425.659</c:v>
                </c:pt>
                <c:pt idx="1888">
                  <c:v>3742945.659</c:v>
                </c:pt>
                <c:pt idx="1889">
                  <c:v>3712178.659</c:v>
                </c:pt>
                <c:pt idx="1890">
                  <c:v>3759973.659</c:v>
                </c:pt>
                <c:pt idx="1891">
                  <c:v>3754374.659</c:v>
                </c:pt>
                <c:pt idx="1892">
                  <c:v>3756970.659</c:v>
                </c:pt>
                <c:pt idx="1893">
                  <c:v>3767024.659</c:v>
                </c:pt>
                <c:pt idx="1894">
                  <c:v>3810848.659</c:v>
                </c:pt>
                <c:pt idx="1895">
                  <c:v>3810705.659</c:v>
                </c:pt>
                <c:pt idx="1896">
                  <c:v>3796790.659</c:v>
                </c:pt>
                <c:pt idx="1897">
                  <c:v>3786780.659</c:v>
                </c:pt>
                <c:pt idx="1898">
                  <c:v>3780653.659</c:v>
                </c:pt>
                <c:pt idx="1899">
                  <c:v>3776418.659</c:v>
                </c:pt>
                <c:pt idx="1900">
                  <c:v>3801465.659</c:v>
                </c:pt>
                <c:pt idx="1901">
                  <c:v>3773195.659</c:v>
                </c:pt>
                <c:pt idx="1902">
                  <c:v>3808109.659</c:v>
                </c:pt>
                <c:pt idx="1903">
                  <c:v>3796097.659</c:v>
                </c:pt>
                <c:pt idx="1904">
                  <c:v>3798759.659</c:v>
                </c:pt>
                <c:pt idx="1905">
                  <c:v>3814742.659</c:v>
                </c:pt>
                <c:pt idx="1906">
                  <c:v>3794865.659</c:v>
                </c:pt>
                <c:pt idx="1907">
                  <c:v>3836181.659</c:v>
                </c:pt>
                <c:pt idx="1908">
                  <c:v>3865452.659</c:v>
                </c:pt>
                <c:pt idx="1909">
                  <c:v>3879785.659</c:v>
                </c:pt>
                <c:pt idx="1910">
                  <c:v>3879367.659</c:v>
                </c:pt>
                <c:pt idx="1911">
                  <c:v>3879059.659</c:v>
                </c:pt>
                <c:pt idx="1912">
                  <c:v>3886704.659</c:v>
                </c:pt>
                <c:pt idx="1913">
                  <c:v>3865716.659</c:v>
                </c:pt>
                <c:pt idx="1914">
                  <c:v>3891731.659</c:v>
                </c:pt>
                <c:pt idx="1915">
                  <c:v>3921706.659</c:v>
                </c:pt>
                <c:pt idx="1916">
                  <c:v>3928713.659</c:v>
                </c:pt>
                <c:pt idx="1917">
                  <c:v>3944124.659</c:v>
                </c:pt>
                <c:pt idx="1918">
                  <c:v>3979940.659</c:v>
                </c:pt>
                <c:pt idx="1919">
                  <c:v>3995098.659</c:v>
                </c:pt>
                <c:pt idx="1920">
                  <c:v>4026954.659</c:v>
                </c:pt>
                <c:pt idx="1921">
                  <c:v>3998310.659</c:v>
                </c:pt>
                <c:pt idx="1922">
                  <c:v>4028054.659</c:v>
                </c:pt>
                <c:pt idx="1923">
                  <c:v>3988355.659</c:v>
                </c:pt>
                <c:pt idx="1924">
                  <c:v>3922861.659</c:v>
                </c:pt>
                <c:pt idx="1925">
                  <c:v>3911575.659</c:v>
                </c:pt>
                <c:pt idx="1926">
                  <c:v>3929835.659</c:v>
                </c:pt>
                <c:pt idx="1927">
                  <c:v>3923664.659</c:v>
                </c:pt>
                <c:pt idx="1928">
                  <c:v>3949580.659</c:v>
                </c:pt>
                <c:pt idx="1929">
                  <c:v>3856608.659</c:v>
                </c:pt>
                <c:pt idx="1930">
                  <c:v>3852054.659</c:v>
                </c:pt>
                <c:pt idx="1931">
                  <c:v>3823355.659</c:v>
                </c:pt>
                <c:pt idx="1932">
                  <c:v>3780983.659</c:v>
                </c:pt>
                <c:pt idx="1933">
                  <c:v>3787143.659</c:v>
                </c:pt>
                <c:pt idx="1934">
                  <c:v>3768388.659</c:v>
                </c:pt>
                <c:pt idx="1935">
                  <c:v>3746476.659</c:v>
                </c:pt>
                <c:pt idx="1936">
                  <c:v>3778904.659</c:v>
                </c:pt>
                <c:pt idx="1937">
                  <c:v>3775747.659</c:v>
                </c:pt>
                <c:pt idx="1938">
                  <c:v>3744870.659</c:v>
                </c:pt>
                <c:pt idx="1939">
                  <c:v>3761150.659</c:v>
                </c:pt>
                <c:pt idx="1940">
                  <c:v>3754539.659</c:v>
                </c:pt>
                <c:pt idx="1941">
                  <c:v>3738589.659</c:v>
                </c:pt>
                <c:pt idx="1942">
                  <c:v>3734046.659</c:v>
                </c:pt>
                <c:pt idx="1943">
                  <c:v>3747598.659</c:v>
                </c:pt>
                <c:pt idx="1944">
                  <c:v>3782963.659</c:v>
                </c:pt>
                <c:pt idx="1945">
                  <c:v>3811651.659</c:v>
                </c:pt>
                <c:pt idx="1946">
                  <c:v>3811079.659</c:v>
                </c:pt>
                <c:pt idx="1947">
                  <c:v>3788947.659</c:v>
                </c:pt>
                <c:pt idx="1948">
                  <c:v>3806800.659</c:v>
                </c:pt>
                <c:pt idx="1949">
                  <c:v>3800607.659</c:v>
                </c:pt>
                <c:pt idx="1950">
                  <c:v>3774460.659</c:v>
                </c:pt>
                <c:pt idx="1951">
                  <c:v>3755892.659</c:v>
                </c:pt>
                <c:pt idx="1952">
                  <c:v>3758411.659</c:v>
                </c:pt>
                <c:pt idx="1953">
                  <c:v>3757905.659</c:v>
                </c:pt>
                <c:pt idx="1954">
                  <c:v>3765506.659</c:v>
                </c:pt>
                <c:pt idx="1955">
                  <c:v>3779817.659</c:v>
                </c:pt>
                <c:pt idx="1956">
                  <c:v>3768729.659</c:v>
                </c:pt>
                <c:pt idx="1957">
                  <c:v>3796889.659</c:v>
                </c:pt>
                <c:pt idx="1958">
                  <c:v>3806998.659</c:v>
                </c:pt>
                <c:pt idx="1959">
                  <c:v>3807405.659</c:v>
                </c:pt>
                <c:pt idx="1960">
                  <c:v>3820000.659</c:v>
                </c:pt>
                <c:pt idx="1961">
                  <c:v>3833266.659</c:v>
                </c:pt>
                <c:pt idx="1962">
                  <c:v>3807449.659</c:v>
                </c:pt>
                <c:pt idx="1963">
                  <c:v>3817041.659</c:v>
                </c:pt>
                <c:pt idx="1964">
                  <c:v>3808758.659</c:v>
                </c:pt>
                <c:pt idx="1965">
                  <c:v>3828129.659</c:v>
                </c:pt>
                <c:pt idx="1966">
                  <c:v>3842429.659</c:v>
                </c:pt>
                <c:pt idx="1967">
                  <c:v>3861349.659</c:v>
                </c:pt>
                <c:pt idx="1968">
                  <c:v>3886418.659</c:v>
                </c:pt>
                <c:pt idx="1969">
                  <c:v>3885890.659</c:v>
                </c:pt>
                <c:pt idx="1970">
                  <c:v>3870391.659</c:v>
                </c:pt>
                <c:pt idx="1971">
                  <c:v>3891533.659</c:v>
                </c:pt>
                <c:pt idx="1972">
                  <c:v>3870094.659</c:v>
                </c:pt>
                <c:pt idx="1973">
                  <c:v>3925039.659</c:v>
                </c:pt>
                <c:pt idx="1974">
                  <c:v>3937612.659</c:v>
                </c:pt>
                <c:pt idx="1975">
                  <c:v>3945246.659</c:v>
                </c:pt>
                <c:pt idx="1976">
                  <c:v>3927162.659</c:v>
                </c:pt>
                <c:pt idx="1977">
                  <c:v>3927745.659</c:v>
                </c:pt>
                <c:pt idx="1978">
                  <c:v>3897352.659</c:v>
                </c:pt>
                <c:pt idx="1979">
                  <c:v>3904601.659</c:v>
                </c:pt>
                <c:pt idx="1980">
                  <c:v>3910794.659</c:v>
                </c:pt>
                <c:pt idx="1981">
                  <c:v>3885120.659</c:v>
                </c:pt>
                <c:pt idx="1982">
                  <c:v>3877156.659</c:v>
                </c:pt>
                <c:pt idx="1983">
                  <c:v>3897638.659</c:v>
                </c:pt>
                <c:pt idx="1984">
                  <c:v>3905866.659</c:v>
                </c:pt>
                <c:pt idx="1985">
                  <c:v>3900113.659</c:v>
                </c:pt>
                <c:pt idx="1986">
                  <c:v>3876144.659</c:v>
                </c:pt>
                <c:pt idx="1987">
                  <c:v>3877189.659</c:v>
                </c:pt>
                <c:pt idx="1988">
                  <c:v>3910420.659</c:v>
                </c:pt>
                <c:pt idx="1989">
                  <c:v>3908869.659</c:v>
                </c:pt>
                <c:pt idx="1990">
                  <c:v>3916514.659</c:v>
                </c:pt>
                <c:pt idx="1991">
                  <c:v>3936171.659</c:v>
                </c:pt>
                <c:pt idx="1992">
                  <c:v>3896901.659</c:v>
                </c:pt>
                <c:pt idx="1993">
                  <c:v>3901081.659</c:v>
                </c:pt>
                <c:pt idx="1994">
                  <c:v>3919495.659</c:v>
                </c:pt>
                <c:pt idx="1995">
                  <c:v>3901565.659</c:v>
                </c:pt>
                <c:pt idx="1996">
                  <c:v>3914688.659</c:v>
                </c:pt>
                <c:pt idx="1997">
                  <c:v>3945070.659</c:v>
                </c:pt>
                <c:pt idx="1998">
                  <c:v>3932354.659</c:v>
                </c:pt>
                <c:pt idx="1999">
                  <c:v>3923301.659</c:v>
                </c:pt>
                <c:pt idx="2000">
                  <c:v>3918219.659</c:v>
                </c:pt>
                <c:pt idx="2001">
                  <c:v>3886946.659</c:v>
                </c:pt>
                <c:pt idx="2002">
                  <c:v>3908165.659</c:v>
                </c:pt>
                <c:pt idx="2003">
                  <c:v>3960789.659</c:v>
                </c:pt>
                <c:pt idx="2004">
                  <c:v>3971965.659</c:v>
                </c:pt>
                <c:pt idx="2005">
                  <c:v>3975716.659</c:v>
                </c:pt>
                <c:pt idx="2006">
                  <c:v>3962164.659</c:v>
                </c:pt>
                <c:pt idx="2007">
                  <c:v>3975573.659</c:v>
                </c:pt>
                <c:pt idx="2008">
                  <c:v>3966894.659</c:v>
                </c:pt>
                <c:pt idx="2009">
                  <c:v>3972537.659</c:v>
                </c:pt>
                <c:pt idx="2010">
                  <c:v>3941660.659</c:v>
                </c:pt>
                <c:pt idx="2011">
                  <c:v>3934444.659</c:v>
                </c:pt>
                <c:pt idx="2012">
                  <c:v>3915524.659</c:v>
                </c:pt>
                <c:pt idx="2013">
                  <c:v>3896978.659</c:v>
                </c:pt>
                <c:pt idx="2014">
                  <c:v>3914215.659</c:v>
                </c:pt>
                <c:pt idx="2015">
                  <c:v>3919979.659</c:v>
                </c:pt>
                <c:pt idx="2016">
                  <c:v>3880896.659</c:v>
                </c:pt>
                <c:pt idx="2017">
                  <c:v>3891577.659</c:v>
                </c:pt>
                <c:pt idx="2018">
                  <c:v>3896208.659</c:v>
                </c:pt>
                <c:pt idx="2019">
                  <c:v>3897902.659</c:v>
                </c:pt>
                <c:pt idx="2020">
                  <c:v>3890235.659</c:v>
                </c:pt>
                <c:pt idx="2021">
                  <c:v>3875748.659</c:v>
                </c:pt>
                <c:pt idx="2022">
                  <c:v>3860953.659</c:v>
                </c:pt>
                <c:pt idx="2023">
                  <c:v>3851339.659</c:v>
                </c:pt>
                <c:pt idx="2024">
                  <c:v>3827315.659</c:v>
                </c:pt>
                <c:pt idx="2025">
                  <c:v>3801201.659</c:v>
                </c:pt>
                <c:pt idx="2026">
                  <c:v>3794293.659</c:v>
                </c:pt>
                <c:pt idx="2027">
                  <c:v>3777980.659</c:v>
                </c:pt>
                <c:pt idx="2028">
                  <c:v>3798825.659</c:v>
                </c:pt>
                <c:pt idx="2029">
                  <c:v>3830428.659</c:v>
                </c:pt>
                <c:pt idx="2030">
                  <c:v>3845619.659</c:v>
                </c:pt>
                <c:pt idx="2031">
                  <c:v>3878025.659</c:v>
                </c:pt>
                <c:pt idx="2032">
                  <c:v>3857477.659</c:v>
                </c:pt>
                <c:pt idx="2033">
                  <c:v>3844431.659</c:v>
                </c:pt>
                <c:pt idx="2034">
                  <c:v>3850745.659</c:v>
                </c:pt>
                <c:pt idx="2035">
                  <c:v>3858874.659</c:v>
                </c:pt>
                <c:pt idx="2036">
                  <c:v>3873119.659</c:v>
                </c:pt>
                <c:pt idx="2037">
                  <c:v>3873097.659</c:v>
                </c:pt>
                <c:pt idx="2038">
                  <c:v>3940736.659</c:v>
                </c:pt>
                <c:pt idx="2039">
                  <c:v>3934983.659</c:v>
                </c:pt>
                <c:pt idx="2040">
                  <c:v>3948678.659</c:v>
                </c:pt>
                <c:pt idx="2041">
                  <c:v>3954024.659</c:v>
                </c:pt>
                <c:pt idx="2042">
                  <c:v>3941671.659</c:v>
                </c:pt>
                <c:pt idx="2043">
                  <c:v>3922135.659</c:v>
                </c:pt>
                <c:pt idx="2044">
                  <c:v>3948678.659</c:v>
                </c:pt>
                <c:pt idx="2045">
                  <c:v>3993767.659</c:v>
                </c:pt>
                <c:pt idx="2046">
                  <c:v>4023588.659</c:v>
                </c:pt>
                <c:pt idx="2047">
                  <c:v>4040297.659</c:v>
                </c:pt>
                <c:pt idx="2048">
                  <c:v>4038339.659</c:v>
                </c:pt>
                <c:pt idx="2049">
                  <c:v>4047007.659</c:v>
                </c:pt>
                <c:pt idx="2050">
                  <c:v>3995340.659</c:v>
                </c:pt>
                <c:pt idx="2051">
                  <c:v>3988179.659</c:v>
                </c:pt>
                <c:pt idx="2052">
                  <c:v>3977146.659</c:v>
                </c:pt>
                <c:pt idx="2053">
                  <c:v>4015547.659</c:v>
                </c:pt>
                <c:pt idx="2054">
                  <c:v>4007649.659</c:v>
                </c:pt>
                <c:pt idx="2055">
                  <c:v>4053266.659</c:v>
                </c:pt>
                <c:pt idx="2056">
                  <c:v>4055884.659</c:v>
                </c:pt>
                <c:pt idx="2057">
                  <c:v>4091678.659</c:v>
                </c:pt>
                <c:pt idx="2058">
                  <c:v>4141409.659</c:v>
                </c:pt>
                <c:pt idx="2059">
                  <c:v>4148702.659</c:v>
                </c:pt>
                <c:pt idx="2060">
                  <c:v>4117297.659</c:v>
                </c:pt>
                <c:pt idx="2061">
                  <c:v>4142223.659</c:v>
                </c:pt>
                <c:pt idx="2062">
                  <c:v>4139990.659</c:v>
                </c:pt>
                <c:pt idx="2063">
                  <c:v>4122445.659</c:v>
                </c:pt>
                <c:pt idx="2064">
                  <c:v>4088488.659</c:v>
                </c:pt>
                <c:pt idx="2065">
                  <c:v>4132158.659</c:v>
                </c:pt>
                <c:pt idx="2066">
                  <c:v>4132620.659</c:v>
                </c:pt>
                <c:pt idx="2067">
                  <c:v>4128033.659</c:v>
                </c:pt>
                <c:pt idx="2068">
                  <c:v>4125569.659</c:v>
                </c:pt>
                <c:pt idx="2069">
                  <c:v>4144401.659</c:v>
                </c:pt>
                <c:pt idx="2070">
                  <c:v>4131212.659</c:v>
                </c:pt>
                <c:pt idx="2071">
                  <c:v>4162122.659</c:v>
                </c:pt>
                <c:pt idx="2072">
                  <c:v>4179909.659</c:v>
                </c:pt>
                <c:pt idx="2073">
                  <c:v>4136426.659</c:v>
                </c:pt>
                <c:pt idx="2074">
                  <c:v>4140408.659</c:v>
                </c:pt>
                <c:pt idx="2075">
                  <c:v>4209235.659</c:v>
                </c:pt>
                <c:pt idx="2076">
                  <c:v>4229178.659</c:v>
                </c:pt>
                <c:pt idx="2077">
                  <c:v>4207970.659</c:v>
                </c:pt>
                <c:pt idx="2078">
                  <c:v>4224327.659</c:v>
                </c:pt>
                <c:pt idx="2079">
                  <c:v>4198026.659</c:v>
                </c:pt>
                <c:pt idx="2080">
                  <c:v>4182439.659</c:v>
                </c:pt>
                <c:pt idx="2081">
                  <c:v>4189919.659</c:v>
                </c:pt>
                <c:pt idx="2082">
                  <c:v>4200589.659</c:v>
                </c:pt>
                <c:pt idx="2083">
                  <c:v>4218167.659</c:v>
                </c:pt>
                <c:pt idx="2084">
                  <c:v>4253928.659</c:v>
                </c:pt>
                <c:pt idx="2085">
                  <c:v>4243445.659</c:v>
                </c:pt>
                <c:pt idx="2086">
                  <c:v>4207123.659</c:v>
                </c:pt>
                <c:pt idx="2087">
                  <c:v>4184848.659</c:v>
                </c:pt>
                <c:pt idx="2088">
                  <c:v>4205979.659</c:v>
                </c:pt>
                <c:pt idx="2089">
                  <c:v>4211941.659</c:v>
                </c:pt>
                <c:pt idx="2090">
                  <c:v>4210654.659</c:v>
                </c:pt>
                <c:pt idx="2091">
                  <c:v>4194022.659</c:v>
                </c:pt>
                <c:pt idx="2092">
                  <c:v>4118595.659</c:v>
                </c:pt>
                <c:pt idx="2093">
                  <c:v>4170658.659</c:v>
                </c:pt>
                <c:pt idx="2094">
                  <c:v>4183176.659</c:v>
                </c:pt>
                <c:pt idx="2095">
                  <c:v>4178072.659</c:v>
                </c:pt>
                <c:pt idx="2096">
                  <c:v>4199918.659</c:v>
                </c:pt>
                <c:pt idx="2097">
                  <c:v>4203647.659</c:v>
                </c:pt>
                <c:pt idx="2098">
                  <c:v>4221599.659</c:v>
                </c:pt>
                <c:pt idx="2099">
                  <c:v>4234040.659</c:v>
                </c:pt>
                <c:pt idx="2100">
                  <c:v>4238209.659</c:v>
                </c:pt>
                <c:pt idx="2101">
                  <c:v>4214625.659</c:v>
                </c:pt>
                <c:pt idx="2102">
                  <c:v>4281835.659</c:v>
                </c:pt>
                <c:pt idx="2103">
                  <c:v>4333491.659</c:v>
                </c:pt>
                <c:pt idx="2104">
                  <c:v>4324504.659</c:v>
                </c:pt>
                <c:pt idx="2105">
                  <c:v>4324240.659</c:v>
                </c:pt>
                <c:pt idx="2106">
                  <c:v>4310809.659</c:v>
                </c:pt>
                <c:pt idx="2107">
                  <c:v>4320104.659</c:v>
                </c:pt>
                <c:pt idx="2108">
                  <c:v>4336692.659</c:v>
                </c:pt>
                <c:pt idx="2109">
                  <c:v>4349265.659</c:v>
                </c:pt>
                <c:pt idx="2110">
                  <c:v>4340905.659</c:v>
                </c:pt>
                <c:pt idx="2111">
                  <c:v>4319367.659</c:v>
                </c:pt>
                <c:pt idx="2112">
                  <c:v>4315099.659</c:v>
                </c:pt>
                <c:pt idx="2113">
                  <c:v>4314725.659</c:v>
                </c:pt>
                <c:pt idx="2114">
                  <c:v>4328233.659</c:v>
                </c:pt>
                <c:pt idx="2115">
                  <c:v>4333381.659</c:v>
                </c:pt>
                <c:pt idx="2116">
                  <c:v>4319466.659</c:v>
                </c:pt>
                <c:pt idx="2117">
                  <c:v>4320940.659</c:v>
                </c:pt>
                <c:pt idx="2118">
                  <c:v>4333964.659</c:v>
                </c:pt>
                <c:pt idx="2119">
                  <c:v>4321842.659</c:v>
                </c:pt>
                <c:pt idx="2120">
                  <c:v>4333194.659</c:v>
                </c:pt>
                <c:pt idx="2121">
                  <c:v>4328112.659</c:v>
                </c:pt>
                <c:pt idx="2122">
                  <c:v>4328013.659</c:v>
                </c:pt>
                <c:pt idx="2123">
                  <c:v>4306079.659</c:v>
                </c:pt>
                <c:pt idx="2124">
                  <c:v>4309368.659</c:v>
                </c:pt>
                <c:pt idx="2125">
                  <c:v>4309830.659</c:v>
                </c:pt>
                <c:pt idx="2126">
                  <c:v>4311304.659</c:v>
                </c:pt>
                <c:pt idx="2127">
                  <c:v>4326660.659</c:v>
                </c:pt>
                <c:pt idx="2128">
                  <c:v>4376941.659</c:v>
                </c:pt>
                <c:pt idx="2129">
                  <c:v>4385356.659</c:v>
                </c:pt>
                <c:pt idx="2130">
                  <c:v>4399469.659</c:v>
                </c:pt>
                <c:pt idx="2131">
                  <c:v>4410755.659</c:v>
                </c:pt>
                <c:pt idx="2132">
                  <c:v>4419610.659</c:v>
                </c:pt>
                <c:pt idx="2133">
                  <c:v>4411305.659</c:v>
                </c:pt>
                <c:pt idx="2134">
                  <c:v>4410887.659</c:v>
                </c:pt>
                <c:pt idx="2135">
                  <c:v>4445086.659</c:v>
                </c:pt>
                <c:pt idx="2136">
                  <c:v>4430885.659</c:v>
                </c:pt>
                <c:pt idx="2137">
                  <c:v>4426045.659</c:v>
                </c:pt>
                <c:pt idx="2138">
                  <c:v>4430390.659</c:v>
                </c:pt>
                <c:pt idx="2139">
                  <c:v>4461850.659</c:v>
                </c:pt>
                <c:pt idx="2140">
                  <c:v>4481155.659</c:v>
                </c:pt>
                <c:pt idx="2141">
                  <c:v>4499448.659</c:v>
                </c:pt>
                <c:pt idx="2142">
                  <c:v>4530677.659</c:v>
                </c:pt>
                <c:pt idx="2143">
                  <c:v>4517202.659</c:v>
                </c:pt>
                <c:pt idx="2144">
                  <c:v>4513902.659</c:v>
                </c:pt>
                <c:pt idx="2145">
                  <c:v>4502792.659</c:v>
                </c:pt>
                <c:pt idx="2146">
                  <c:v>4503353.659</c:v>
                </c:pt>
                <c:pt idx="2147">
                  <c:v>4498480.659</c:v>
                </c:pt>
                <c:pt idx="2148">
                  <c:v>4529489.659</c:v>
                </c:pt>
                <c:pt idx="2149">
                  <c:v>4566185.659</c:v>
                </c:pt>
                <c:pt idx="2150">
                  <c:v>4559321.659</c:v>
                </c:pt>
                <c:pt idx="2151">
                  <c:v>4590000.659</c:v>
                </c:pt>
                <c:pt idx="2152">
                  <c:v>4629611.659</c:v>
                </c:pt>
                <c:pt idx="2153">
                  <c:v>4647387.659</c:v>
                </c:pt>
                <c:pt idx="2154">
                  <c:v>4615795.659</c:v>
                </c:pt>
                <c:pt idx="2155">
                  <c:v>4587547.659</c:v>
                </c:pt>
                <c:pt idx="2156">
                  <c:v>4622021.659</c:v>
                </c:pt>
                <c:pt idx="2157">
                  <c:v>4639445.659</c:v>
                </c:pt>
                <c:pt idx="2158">
                  <c:v>4664723.659</c:v>
                </c:pt>
                <c:pt idx="2159">
                  <c:v>4745980.659</c:v>
                </c:pt>
                <c:pt idx="2160">
                  <c:v>4756837.659</c:v>
                </c:pt>
                <c:pt idx="2161">
                  <c:v>4619150.659</c:v>
                </c:pt>
                <c:pt idx="2162">
                  <c:v>4621130.659</c:v>
                </c:pt>
                <c:pt idx="2163">
                  <c:v>4561455.659</c:v>
                </c:pt>
                <c:pt idx="2164">
                  <c:v>4567912.659</c:v>
                </c:pt>
                <c:pt idx="2165">
                  <c:v>4565635.659</c:v>
                </c:pt>
                <c:pt idx="2166">
                  <c:v>4513220.659</c:v>
                </c:pt>
                <c:pt idx="2167">
                  <c:v>4504464.659</c:v>
                </c:pt>
                <c:pt idx="2168">
                  <c:v>4527256.659</c:v>
                </c:pt>
                <c:pt idx="2169">
                  <c:v>4550697.659</c:v>
                </c:pt>
                <c:pt idx="2170">
                  <c:v>4523912.659</c:v>
                </c:pt>
                <c:pt idx="2171">
                  <c:v>4474676.659</c:v>
                </c:pt>
                <c:pt idx="2172">
                  <c:v>4510228.659</c:v>
                </c:pt>
                <c:pt idx="2173">
                  <c:v>4582960.659</c:v>
                </c:pt>
                <c:pt idx="2174">
                  <c:v>4524132.659</c:v>
                </c:pt>
                <c:pt idx="2175">
                  <c:v>4561609.659</c:v>
                </c:pt>
                <c:pt idx="2176">
                  <c:v>4535275.659</c:v>
                </c:pt>
                <c:pt idx="2177">
                  <c:v>4485456.659</c:v>
                </c:pt>
                <c:pt idx="2178">
                  <c:v>4490329.659</c:v>
                </c:pt>
                <c:pt idx="2179">
                  <c:v>4545373.659</c:v>
                </c:pt>
                <c:pt idx="2180">
                  <c:v>4540049.659</c:v>
                </c:pt>
                <c:pt idx="2181">
                  <c:v>4581145.659</c:v>
                </c:pt>
                <c:pt idx="2182">
                  <c:v>4566570.659</c:v>
                </c:pt>
                <c:pt idx="2183">
                  <c:v>4552204.659</c:v>
                </c:pt>
                <c:pt idx="2184">
                  <c:v>4565492.659</c:v>
                </c:pt>
                <c:pt idx="2185">
                  <c:v>4496841.659</c:v>
                </c:pt>
                <c:pt idx="2186">
                  <c:v>4527300.659</c:v>
                </c:pt>
                <c:pt idx="2187">
                  <c:v>4540445.659</c:v>
                </c:pt>
                <c:pt idx="2188">
                  <c:v>4602650.659</c:v>
                </c:pt>
                <c:pt idx="2189">
                  <c:v>4629039.659</c:v>
                </c:pt>
                <c:pt idx="2190">
                  <c:v>4648201.659</c:v>
                </c:pt>
                <c:pt idx="2191">
                  <c:v>4659135.659</c:v>
                </c:pt>
                <c:pt idx="2192">
                  <c:v>4682686.659</c:v>
                </c:pt>
                <c:pt idx="2193">
                  <c:v>4714740.659</c:v>
                </c:pt>
                <c:pt idx="2194">
                  <c:v>4735101.659</c:v>
                </c:pt>
                <c:pt idx="2195">
                  <c:v>4732659.659</c:v>
                </c:pt>
                <c:pt idx="2196">
                  <c:v>4754010.659</c:v>
                </c:pt>
                <c:pt idx="2197">
                  <c:v>4754274.659</c:v>
                </c:pt>
                <c:pt idx="2198">
                  <c:v>4790827.659</c:v>
                </c:pt>
                <c:pt idx="2199">
                  <c:v>4779442.659</c:v>
                </c:pt>
                <c:pt idx="2200">
                  <c:v>4805072.659</c:v>
                </c:pt>
                <c:pt idx="2201">
                  <c:v>4820450.659</c:v>
                </c:pt>
                <c:pt idx="2202">
                  <c:v>4876770.659</c:v>
                </c:pt>
                <c:pt idx="2203">
                  <c:v>4927381.659</c:v>
                </c:pt>
                <c:pt idx="2204">
                  <c:v>4935389.659</c:v>
                </c:pt>
                <c:pt idx="2205">
                  <c:v>4908098.659</c:v>
                </c:pt>
                <c:pt idx="2206">
                  <c:v>4925940.659</c:v>
                </c:pt>
                <c:pt idx="2207">
                  <c:v>4838732.659</c:v>
                </c:pt>
                <c:pt idx="2208">
                  <c:v>4788220.659</c:v>
                </c:pt>
                <c:pt idx="2209">
                  <c:v>4810000.659</c:v>
                </c:pt>
                <c:pt idx="2210">
                  <c:v>4777000.659</c:v>
                </c:pt>
                <c:pt idx="2211">
                  <c:v>4804863.659</c:v>
                </c:pt>
                <c:pt idx="2212">
                  <c:v>4808075.659</c:v>
                </c:pt>
                <c:pt idx="2213">
                  <c:v>4670289.659</c:v>
                </c:pt>
                <c:pt idx="2214">
                  <c:v>4562060.659</c:v>
                </c:pt>
                <c:pt idx="2215">
                  <c:v>4519765.659</c:v>
                </c:pt>
                <c:pt idx="2216">
                  <c:v>4331225.659</c:v>
                </c:pt>
                <c:pt idx="2217">
                  <c:v>4385620.659</c:v>
                </c:pt>
                <c:pt idx="2218">
                  <c:v>4435703.659</c:v>
                </c:pt>
                <c:pt idx="2219">
                  <c:v>4470166.659</c:v>
                </c:pt>
                <c:pt idx="2220">
                  <c:v>4564513.659</c:v>
                </c:pt>
                <c:pt idx="2221">
                  <c:v>4584709.659</c:v>
                </c:pt>
                <c:pt idx="2222">
                  <c:v>4636772.659</c:v>
                </c:pt>
                <c:pt idx="2223">
                  <c:v>4571388.659</c:v>
                </c:pt>
                <c:pt idx="2224">
                  <c:v>4532514.659</c:v>
                </c:pt>
                <c:pt idx="2225">
                  <c:v>4560509.659</c:v>
                </c:pt>
                <c:pt idx="2226">
                  <c:v>4524616.659</c:v>
                </c:pt>
                <c:pt idx="2227">
                  <c:v>4526420.659</c:v>
                </c:pt>
                <c:pt idx="2228">
                  <c:v>4579726.659</c:v>
                </c:pt>
                <c:pt idx="2229">
                  <c:v>4546825.659</c:v>
                </c:pt>
                <c:pt idx="2230">
                  <c:v>4591870.659</c:v>
                </c:pt>
                <c:pt idx="2231">
                  <c:v>4626267.659</c:v>
                </c:pt>
                <c:pt idx="2232">
                  <c:v>4646947.659</c:v>
                </c:pt>
                <c:pt idx="2233">
                  <c:v>4606885.659</c:v>
                </c:pt>
                <c:pt idx="2234">
                  <c:v>4587184.659</c:v>
                </c:pt>
                <c:pt idx="2235">
                  <c:v>4612286.659</c:v>
                </c:pt>
                <c:pt idx="2236">
                  <c:v>4568572.659</c:v>
                </c:pt>
                <c:pt idx="2237">
                  <c:v>4588185.659</c:v>
                </c:pt>
                <c:pt idx="2238">
                  <c:v>4591980.659</c:v>
                </c:pt>
                <c:pt idx="2239">
                  <c:v>4573665.659</c:v>
                </c:pt>
                <c:pt idx="2240">
                  <c:v>4528895.659</c:v>
                </c:pt>
                <c:pt idx="2241">
                  <c:v>4401944.659</c:v>
                </c:pt>
                <c:pt idx="2242">
                  <c:v>4374389.659</c:v>
                </c:pt>
                <c:pt idx="2243">
                  <c:v>4411107.659</c:v>
                </c:pt>
                <c:pt idx="2244">
                  <c:v>4333502.659</c:v>
                </c:pt>
                <c:pt idx="2245">
                  <c:v>4389965.659</c:v>
                </c:pt>
                <c:pt idx="2246">
                  <c:v>4394860.659</c:v>
                </c:pt>
                <c:pt idx="2247">
                  <c:v>4382122.659</c:v>
                </c:pt>
                <c:pt idx="2248">
                  <c:v>4355238.659</c:v>
                </c:pt>
                <c:pt idx="2249">
                  <c:v>4346856.659</c:v>
                </c:pt>
                <c:pt idx="2250">
                  <c:v>4344733.659</c:v>
                </c:pt>
                <c:pt idx="2251">
                  <c:v>4426397.659</c:v>
                </c:pt>
                <c:pt idx="2252">
                  <c:v>4438684.659</c:v>
                </c:pt>
                <c:pt idx="2253">
                  <c:v>4395014.659</c:v>
                </c:pt>
                <c:pt idx="2254">
                  <c:v>4364764.659</c:v>
                </c:pt>
                <c:pt idx="2255">
                  <c:v>4296256.659</c:v>
                </c:pt>
                <c:pt idx="2256">
                  <c:v>4230014.659</c:v>
                </c:pt>
                <c:pt idx="2257">
                  <c:v>4249418.659</c:v>
                </c:pt>
                <c:pt idx="2258">
                  <c:v>4299534.659</c:v>
                </c:pt>
                <c:pt idx="2259">
                  <c:v>4243445.659</c:v>
                </c:pt>
                <c:pt idx="2260">
                  <c:v>4249473.659</c:v>
                </c:pt>
                <c:pt idx="2261">
                  <c:v>4334349.659</c:v>
                </c:pt>
                <c:pt idx="2262">
                  <c:v>4318080.659</c:v>
                </c:pt>
                <c:pt idx="2263">
                  <c:v>4237549.659</c:v>
                </c:pt>
                <c:pt idx="2264">
                  <c:v>4239078.659</c:v>
                </c:pt>
                <c:pt idx="2265">
                  <c:v>4246525.659</c:v>
                </c:pt>
                <c:pt idx="2266">
                  <c:v>4278810.659</c:v>
                </c:pt>
                <c:pt idx="2267">
                  <c:v>4258570.659</c:v>
                </c:pt>
                <c:pt idx="2268">
                  <c:v>4324119.659</c:v>
                </c:pt>
                <c:pt idx="2269">
                  <c:v>4373058.659</c:v>
                </c:pt>
                <c:pt idx="2270">
                  <c:v>4365292.659</c:v>
                </c:pt>
                <c:pt idx="2271">
                  <c:v>4388876.659</c:v>
                </c:pt>
                <c:pt idx="2272">
                  <c:v>4366634.659</c:v>
                </c:pt>
                <c:pt idx="2273">
                  <c:v>4406729.659</c:v>
                </c:pt>
                <c:pt idx="2274">
                  <c:v>4423020.659</c:v>
                </c:pt>
                <c:pt idx="2275">
                  <c:v>4388634.659</c:v>
                </c:pt>
                <c:pt idx="2276">
                  <c:v>4356965.659</c:v>
                </c:pt>
                <c:pt idx="2277">
                  <c:v>4399876.659</c:v>
                </c:pt>
                <c:pt idx="2278">
                  <c:v>4419874.659</c:v>
                </c:pt>
                <c:pt idx="2279">
                  <c:v>4403341.659</c:v>
                </c:pt>
                <c:pt idx="2280">
                  <c:v>4346548.659</c:v>
                </c:pt>
                <c:pt idx="2281">
                  <c:v>4316452.659</c:v>
                </c:pt>
                <c:pt idx="2282">
                  <c:v>4304660.659</c:v>
                </c:pt>
                <c:pt idx="2283">
                  <c:v>4323096.659</c:v>
                </c:pt>
                <c:pt idx="2284">
                  <c:v>4290921.659</c:v>
                </c:pt>
                <c:pt idx="2285">
                  <c:v>4202217.659</c:v>
                </c:pt>
                <c:pt idx="2286">
                  <c:v>4289128.659</c:v>
                </c:pt>
                <c:pt idx="2287">
                  <c:v>4254159.659</c:v>
                </c:pt>
                <c:pt idx="2288">
                  <c:v>4294848.659</c:v>
                </c:pt>
                <c:pt idx="2289">
                  <c:v>4336362.659</c:v>
                </c:pt>
                <c:pt idx="2290">
                  <c:v>4327595.659</c:v>
                </c:pt>
                <c:pt idx="2291">
                  <c:v>4320621.659</c:v>
                </c:pt>
                <c:pt idx="2292">
                  <c:v>4264092.659</c:v>
                </c:pt>
                <c:pt idx="2293">
                  <c:v>4264488.659</c:v>
                </c:pt>
                <c:pt idx="2294">
                  <c:v>4315055.659</c:v>
                </c:pt>
                <c:pt idx="2295">
                  <c:v>4273684.659</c:v>
                </c:pt>
                <c:pt idx="2296">
                  <c:v>4257217.659</c:v>
                </c:pt>
                <c:pt idx="2297">
                  <c:v>4235283.659</c:v>
                </c:pt>
                <c:pt idx="2298">
                  <c:v>4089742.659</c:v>
                </c:pt>
                <c:pt idx="2299">
                  <c:v>4105094.76</c:v>
                </c:pt>
                <c:pt idx="2300">
                  <c:v>4105094.76</c:v>
                </c:pt>
                <c:pt idx="2301">
                  <c:v>4105094.76</c:v>
                </c:pt>
                <c:pt idx="2302">
                  <c:v>4105094.76</c:v>
                </c:pt>
                <c:pt idx="2303">
                  <c:v>4105094.76</c:v>
                </c:pt>
                <c:pt idx="2304">
                  <c:v>4105094.76</c:v>
                </c:pt>
                <c:pt idx="2305">
                  <c:v>4105094.76</c:v>
                </c:pt>
                <c:pt idx="2306">
                  <c:v>4105094.76</c:v>
                </c:pt>
                <c:pt idx="2307">
                  <c:v>4105094.76</c:v>
                </c:pt>
                <c:pt idx="2308">
                  <c:v>4105094.76</c:v>
                </c:pt>
                <c:pt idx="2309">
                  <c:v>4105094.76</c:v>
                </c:pt>
                <c:pt idx="2310">
                  <c:v>4105094.76</c:v>
                </c:pt>
                <c:pt idx="2311">
                  <c:v>4105094.76</c:v>
                </c:pt>
                <c:pt idx="2312">
                  <c:v>4105094.76</c:v>
                </c:pt>
                <c:pt idx="2313">
                  <c:v>4105094.76</c:v>
                </c:pt>
                <c:pt idx="2314">
                  <c:v>4105094.76</c:v>
                </c:pt>
                <c:pt idx="2315">
                  <c:v>4105094.76</c:v>
                </c:pt>
                <c:pt idx="2316">
                  <c:v>4105094.76</c:v>
                </c:pt>
                <c:pt idx="2317">
                  <c:v>4105094.76</c:v>
                </c:pt>
                <c:pt idx="2318">
                  <c:v>4105094.76</c:v>
                </c:pt>
                <c:pt idx="2319">
                  <c:v>4105094.76</c:v>
                </c:pt>
                <c:pt idx="2320">
                  <c:v>4105094.76</c:v>
                </c:pt>
                <c:pt idx="2321">
                  <c:v>4105094.76</c:v>
                </c:pt>
                <c:pt idx="2322">
                  <c:v>4105094.76</c:v>
                </c:pt>
                <c:pt idx="2323">
                  <c:v>4105094.76</c:v>
                </c:pt>
                <c:pt idx="2324">
                  <c:v>4105094.76</c:v>
                </c:pt>
                <c:pt idx="2325">
                  <c:v>4105094.76</c:v>
                </c:pt>
                <c:pt idx="2326">
                  <c:v>4105094.76</c:v>
                </c:pt>
                <c:pt idx="2327">
                  <c:v>4105094.76</c:v>
                </c:pt>
                <c:pt idx="2328">
                  <c:v>4105094.76</c:v>
                </c:pt>
                <c:pt idx="2329">
                  <c:v>4105094.76</c:v>
                </c:pt>
                <c:pt idx="2330">
                  <c:v>4105094.76</c:v>
                </c:pt>
                <c:pt idx="2331">
                  <c:v>4105094.76</c:v>
                </c:pt>
                <c:pt idx="2332">
                  <c:v>4105094.76</c:v>
                </c:pt>
                <c:pt idx="2333">
                  <c:v>4105094.76</c:v>
                </c:pt>
                <c:pt idx="2334">
                  <c:v>4105094.76</c:v>
                </c:pt>
                <c:pt idx="2335">
                  <c:v>4105094.76</c:v>
                </c:pt>
                <c:pt idx="2336">
                  <c:v>4105094.76</c:v>
                </c:pt>
                <c:pt idx="2337">
                  <c:v>4105094.76</c:v>
                </c:pt>
                <c:pt idx="2338">
                  <c:v>4105094.76</c:v>
                </c:pt>
                <c:pt idx="2339">
                  <c:v>4105094.76</c:v>
                </c:pt>
                <c:pt idx="2340">
                  <c:v>4105094.76</c:v>
                </c:pt>
                <c:pt idx="2341">
                  <c:v>4105094.76</c:v>
                </c:pt>
                <c:pt idx="2342">
                  <c:v>4105094.76</c:v>
                </c:pt>
                <c:pt idx="2343">
                  <c:v>4105094.76</c:v>
                </c:pt>
                <c:pt idx="2344">
                  <c:v>4105094.76</c:v>
                </c:pt>
                <c:pt idx="2345">
                  <c:v>4105094.76</c:v>
                </c:pt>
                <c:pt idx="2346">
                  <c:v>4105094.76</c:v>
                </c:pt>
                <c:pt idx="2347">
                  <c:v>4105094.76</c:v>
                </c:pt>
                <c:pt idx="2348">
                  <c:v>4105094.76</c:v>
                </c:pt>
                <c:pt idx="2349">
                  <c:v>4105094.76</c:v>
                </c:pt>
                <c:pt idx="2350">
                  <c:v>4105094.76</c:v>
                </c:pt>
                <c:pt idx="2351">
                  <c:v>4105094.76</c:v>
                </c:pt>
                <c:pt idx="2352">
                  <c:v>4105094.76</c:v>
                </c:pt>
                <c:pt idx="2353">
                  <c:v>4105094.76</c:v>
                </c:pt>
                <c:pt idx="2354">
                  <c:v>4105094.76</c:v>
                </c:pt>
                <c:pt idx="2355">
                  <c:v>4105094.76</c:v>
                </c:pt>
                <c:pt idx="2356">
                  <c:v>4105094.76</c:v>
                </c:pt>
                <c:pt idx="2357">
                  <c:v>4105094.76</c:v>
                </c:pt>
                <c:pt idx="2358">
                  <c:v>4105094.76</c:v>
                </c:pt>
                <c:pt idx="2359">
                  <c:v>4105094.76</c:v>
                </c:pt>
                <c:pt idx="2360">
                  <c:v>4105094.76</c:v>
                </c:pt>
                <c:pt idx="2361">
                  <c:v>4105094.76</c:v>
                </c:pt>
                <c:pt idx="2362">
                  <c:v>4105094.76</c:v>
                </c:pt>
                <c:pt idx="2363">
                  <c:v>4104702.429</c:v>
                </c:pt>
                <c:pt idx="2364">
                  <c:v>4156362.429</c:v>
                </c:pt>
                <c:pt idx="2365">
                  <c:v>4153542.429</c:v>
                </c:pt>
                <c:pt idx="2366">
                  <c:v>4273974.4289999995</c:v>
                </c:pt>
                <c:pt idx="2367">
                  <c:v>4237146.4289999995</c:v>
                </c:pt>
                <c:pt idx="2368">
                  <c:v>4282074.4289999995</c:v>
                </c:pt>
                <c:pt idx="2369">
                  <c:v>4265694.4289999995</c:v>
                </c:pt>
                <c:pt idx="2370">
                  <c:v>4308018.4289999995</c:v>
                </c:pt>
                <c:pt idx="2371">
                  <c:v>4130466.429</c:v>
                </c:pt>
                <c:pt idx="2372">
                  <c:v>4127814.429</c:v>
                </c:pt>
                <c:pt idx="2373">
                  <c:v>4119306.429</c:v>
                </c:pt>
                <c:pt idx="2374">
                  <c:v>3930318.429</c:v>
                </c:pt>
                <c:pt idx="2375">
                  <c:v>3986262.429</c:v>
                </c:pt>
                <c:pt idx="2376">
                  <c:v>3933126.429</c:v>
                </c:pt>
                <c:pt idx="2377">
                  <c:v>3902550.429</c:v>
                </c:pt>
                <c:pt idx="2378">
                  <c:v>3923286.429</c:v>
                </c:pt>
                <c:pt idx="2379">
                  <c:v>3834654.429</c:v>
                </c:pt>
                <c:pt idx="2380">
                  <c:v>3943326.429</c:v>
                </c:pt>
                <c:pt idx="2381">
                  <c:v>4105710.429</c:v>
                </c:pt>
                <c:pt idx="2382">
                  <c:v>4001502.429</c:v>
                </c:pt>
                <c:pt idx="2383">
                  <c:v>4007226.429</c:v>
                </c:pt>
                <c:pt idx="2384">
                  <c:v>4014558.429</c:v>
                </c:pt>
                <c:pt idx="2385">
                  <c:v>3989754.429</c:v>
                </c:pt>
                <c:pt idx="2386">
                  <c:v>3873654.429</c:v>
                </c:pt>
                <c:pt idx="2387">
                  <c:v>3913698.429</c:v>
                </c:pt>
                <c:pt idx="2388">
                  <c:v>3965970.429</c:v>
                </c:pt>
                <c:pt idx="2389">
                  <c:v>3993822.429</c:v>
                </c:pt>
                <c:pt idx="2390">
                  <c:v>4129686.429</c:v>
                </c:pt>
                <c:pt idx="2391">
                  <c:v>4096794.429</c:v>
                </c:pt>
                <c:pt idx="2392">
                  <c:v>4073166.429</c:v>
                </c:pt>
                <c:pt idx="2393">
                  <c:v>4047678.429</c:v>
                </c:pt>
                <c:pt idx="2394">
                  <c:v>4036710.429</c:v>
                </c:pt>
                <c:pt idx="2395">
                  <c:v>3982314.429</c:v>
                </c:pt>
                <c:pt idx="2396">
                  <c:v>4027554.429</c:v>
                </c:pt>
                <c:pt idx="2397">
                  <c:v>4066242.429</c:v>
                </c:pt>
                <c:pt idx="2398">
                  <c:v>4027314.429</c:v>
                </c:pt>
                <c:pt idx="2399">
                  <c:v>4072230.429</c:v>
                </c:pt>
                <c:pt idx="2400">
                  <c:v>4090590.429</c:v>
                </c:pt>
                <c:pt idx="2401">
                  <c:v>4134906.429</c:v>
                </c:pt>
                <c:pt idx="2402">
                  <c:v>4043478.429</c:v>
                </c:pt>
                <c:pt idx="2403">
                  <c:v>4053174.429</c:v>
                </c:pt>
                <c:pt idx="2404">
                  <c:v>4038702.429</c:v>
                </c:pt>
                <c:pt idx="2405">
                  <c:v>3953562.429</c:v>
                </c:pt>
                <c:pt idx="2406">
                  <c:v>3950874.429</c:v>
                </c:pt>
                <c:pt idx="2407">
                  <c:v>3946074.429</c:v>
                </c:pt>
                <c:pt idx="2408">
                  <c:v>3996102.429</c:v>
                </c:pt>
                <c:pt idx="2409">
                  <c:v>3946566.429</c:v>
                </c:pt>
                <c:pt idx="2410">
                  <c:v>3988614.429</c:v>
                </c:pt>
                <c:pt idx="2411">
                  <c:v>4094526.429</c:v>
                </c:pt>
                <c:pt idx="2412">
                  <c:v>4102638.429</c:v>
                </c:pt>
                <c:pt idx="2413">
                  <c:v>4083786.429</c:v>
                </c:pt>
                <c:pt idx="2414">
                  <c:v>3999390.429</c:v>
                </c:pt>
                <c:pt idx="2415">
                  <c:v>3999258.429</c:v>
                </c:pt>
                <c:pt idx="2416">
                  <c:v>3955098.429</c:v>
                </c:pt>
                <c:pt idx="2417">
                  <c:v>3973170.429</c:v>
                </c:pt>
                <c:pt idx="2418">
                  <c:v>3986118.429</c:v>
                </c:pt>
                <c:pt idx="2419">
                  <c:v>4045014.429</c:v>
                </c:pt>
                <c:pt idx="2420">
                  <c:v>3980478.429</c:v>
                </c:pt>
                <c:pt idx="2421">
                  <c:v>3974826.429</c:v>
                </c:pt>
                <c:pt idx="2422">
                  <c:v>3935502.429</c:v>
                </c:pt>
                <c:pt idx="2423">
                  <c:v>3890742.429</c:v>
                </c:pt>
                <c:pt idx="2424">
                  <c:v>3862290.429</c:v>
                </c:pt>
                <c:pt idx="2425">
                  <c:v>3816666.429</c:v>
                </c:pt>
                <c:pt idx="2426">
                  <c:v>3827226.429</c:v>
                </c:pt>
                <c:pt idx="2427">
                  <c:v>3802122.429</c:v>
                </c:pt>
                <c:pt idx="2428">
                  <c:v>3783822.429</c:v>
                </c:pt>
                <c:pt idx="2429">
                  <c:v>3769998.429</c:v>
                </c:pt>
                <c:pt idx="2430">
                  <c:v>3794166.429</c:v>
                </c:pt>
                <c:pt idx="2431">
                  <c:v>3744834.429</c:v>
                </c:pt>
                <c:pt idx="2432">
                  <c:v>3739194.429</c:v>
                </c:pt>
                <c:pt idx="2433">
                  <c:v>3824430.429</c:v>
                </c:pt>
                <c:pt idx="2434">
                  <c:v>3846546.429</c:v>
                </c:pt>
                <c:pt idx="2435">
                  <c:v>3838626.429</c:v>
                </c:pt>
                <c:pt idx="2436">
                  <c:v>3875562.429</c:v>
                </c:pt>
                <c:pt idx="2437">
                  <c:v>3868614.429</c:v>
                </c:pt>
                <c:pt idx="2438">
                  <c:v>3895122.429</c:v>
                </c:pt>
                <c:pt idx="2439">
                  <c:v>3862722.429</c:v>
                </c:pt>
                <c:pt idx="2440">
                  <c:v>3934974.429</c:v>
                </c:pt>
                <c:pt idx="2441">
                  <c:v>3935766.429</c:v>
                </c:pt>
                <c:pt idx="2442">
                  <c:v>3915090.429</c:v>
                </c:pt>
                <c:pt idx="2443">
                  <c:v>3983190.429</c:v>
                </c:pt>
                <c:pt idx="2444">
                  <c:v>4004154.429</c:v>
                </c:pt>
                <c:pt idx="2445">
                  <c:v>3953370.429</c:v>
                </c:pt>
                <c:pt idx="2446">
                  <c:v>3950646.429</c:v>
                </c:pt>
                <c:pt idx="2447">
                  <c:v>3971922.429</c:v>
                </c:pt>
                <c:pt idx="2448">
                  <c:v>4002750.429</c:v>
                </c:pt>
                <c:pt idx="2449">
                  <c:v>4001922.429</c:v>
                </c:pt>
                <c:pt idx="2450">
                  <c:v>4014150.429</c:v>
                </c:pt>
                <c:pt idx="2451">
                  <c:v>3983562.429</c:v>
                </c:pt>
                <c:pt idx="2452">
                  <c:v>4023342.429</c:v>
                </c:pt>
                <c:pt idx="2453">
                  <c:v>4078266.429</c:v>
                </c:pt>
                <c:pt idx="2454">
                  <c:v>4149150.429</c:v>
                </c:pt>
                <c:pt idx="2455">
                  <c:v>4177794.429</c:v>
                </c:pt>
                <c:pt idx="2456">
                  <c:v>4257822.4289999995</c:v>
                </c:pt>
                <c:pt idx="2457">
                  <c:v>4263954.4289999995</c:v>
                </c:pt>
                <c:pt idx="2458">
                  <c:v>4187826.429</c:v>
                </c:pt>
                <c:pt idx="2459">
                  <c:v>4316274.4289999995</c:v>
                </c:pt>
                <c:pt idx="2460">
                  <c:v>4308918.4289999995</c:v>
                </c:pt>
                <c:pt idx="2461">
                  <c:v>4323702.4289999995</c:v>
                </c:pt>
                <c:pt idx="2462">
                  <c:v>4312638.4289999995</c:v>
                </c:pt>
                <c:pt idx="2463">
                  <c:v>4405530.4289999995</c:v>
                </c:pt>
                <c:pt idx="2464">
                  <c:v>4656762.4289999995</c:v>
                </c:pt>
                <c:pt idx="2465">
                  <c:v>4603014.4289999995</c:v>
                </c:pt>
                <c:pt idx="2466">
                  <c:v>4595454.4289999995</c:v>
                </c:pt>
                <c:pt idx="2467">
                  <c:v>4584630.4289999995</c:v>
                </c:pt>
                <c:pt idx="2468">
                  <c:v>4681038.4289999995</c:v>
                </c:pt>
                <c:pt idx="2469">
                  <c:v>4734306.4289999995</c:v>
                </c:pt>
                <c:pt idx="2470">
                  <c:v>4760598.4289999995</c:v>
                </c:pt>
                <c:pt idx="2471">
                  <c:v>4799094.4289999995</c:v>
                </c:pt>
                <c:pt idx="2472">
                  <c:v>4752006.4289999995</c:v>
                </c:pt>
                <c:pt idx="2473">
                  <c:v>4570482.4289999995</c:v>
                </c:pt>
                <c:pt idx="2474">
                  <c:v>4657326.4289999995</c:v>
                </c:pt>
                <c:pt idx="2475">
                  <c:v>4687806.4289999995</c:v>
                </c:pt>
                <c:pt idx="2476">
                  <c:v>4650414.4289999995</c:v>
                </c:pt>
                <c:pt idx="2477">
                  <c:v>4619574.4289999995</c:v>
                </c:pt>
                <c:pt idx="2478">
                  <c:v>4675398.4289999995</c:v>
                </c:pt>
                <c:pt idx="2479">
                  <c:v>4803486.4289999995</c:v>
                </c:pt>
                <c:pt idx="2480">
                  <c:v>4782138.4289999995</c:v>
                </c:pt>
                <c:pt idx="2481">
                  <c:v>4783914.4289999995</c:v>
                </c:pt>
                <c:pt idx="2482">
                  <c:v>4785654.4289999995</c:v>
                </c:pt>
                <c:pt idx="2483">
                  <c:v>4781946.4289999995</c:v>
                </c:pt>
                <c:pt idx="2484">
                  <c:v>4672782.4289999995</c:v>
                </c:pt>
                <c:pt idx="2485">
                  <c:v>4621914.4289999995</c:v>
                </c:pt>
                <c:pt idx="2486">
                  <c:v>4673454.4289999995</c:v>
                </c:pt>
                <c:pt idx="2487">
                  <c:v>4655466.4289999995</c:v>
                </c:pt>
                <c:pt idx="2488">
                  <c:v>4828194.4289999995</c:v>
                </c:pt>
                <c:pt idx="2489">
                  <c:v>4950102.4289999995</c:v>
                </c:pt>
                <c:pt idx="2490">
                  <c:v>4946934.4289999995</c:v>
                </c:pt>
                <c:pt idx="2491">
                  <c:v>5007978.4289999995</c:v>
                </c:pt>
                <c:pt idx="2492">
                  <c:v>5056062.4289999995</c:v>
                </c:pt>
                <c:pt idx="2493">
                  <c:v>5050062.4289999995</c:v>
                </c:pt>
                <c:pt idx="2494">
                  <c:v>5071902.4289999995</c:v>
                </c:pt>
                <c:pt idx="2495">
                  <c:v>5084406.4289999995</c:v>
                </c:pt>
                <c:pt idx="2496">
                  <c:v>4978482.4289999995</c:v>
                </c:pt>
                <c:pt idx="2497">
                  <c:v>4967730.4289999995</c:v>
                </c:pt>
                <c:pt idx="2498">
                  <c:v>4952010.4289999995</c:v>
                </c:pt>
                <c:pt idx="2499">
                  <c:v>5084334.4289999995</c:v>
                </c:pt>
                <c:pt idx="2500">
                  <c:v>5086074.4289999995</c:v>
                </c:pt>
                <c:pt idx="2501">
                  <c:v>5067882.4289999995</c:v>
                </c:pt>
                <c:pt idx="2502">
                  <c:v>5126118.4289999995</c:v>
                </c:pt>
                <c:pt idx="2503">
                  <c:v>5012118.4289999995</c:v>
                </c:pt>
                <c:pt idx="2504">
                  <c:v>5004198.4289999995</c:v>
                </c:pt>
                <c:pt idx="2505">
                  <c:v>5017494.4289999995</c:v>
                </c:pt>
                <c:pt idx="2506">
                  <c:v>4911570.4289999995</c:v>
                </c:pt>
                <c:pt idx="2507">
                  <c:v>4848510.4289999995</c:v>
                </c:pt>
                <c:pt idx="2508">
                  <c:v>4861782.4289999995</c:v>
                </c:pt>
                <c:pt idx="2509">
                  <c:v>4877238.4289999995</c:v>
                </c:pt>
                <c:pt idx="2510">
                  <c:v>4602930.4289999995</c:v>
                </c:pt>
                <c:pt idx="2511">
                  <c:v>4646190.4289999995</c:v>
                </c:pt>
                <c:pt idx="2512">
                  <c:v>4582338.4289999995</c:v>
                </c:pt>
                <c:pt idx="2513">
                  <c:v>4501026.4289999995</c:v>
                </c:pt>
                <c:pt idx="2514">
                  <c:v>4657926.4289999995</c:v>
                </c:pt>
                <c:pt idx="2515">
                  <c:v>4583862.4289999995</c:v>
                </c:pt>
                <c:pt idx="2516">
                  <c:v>4555566.4289999995</c:v>
                </c:pt>
                <c:pt idx="2517">
                  <c:v>4653894.4289999995</c:v>
                </c:pt>
                <c:pt idx="2518">
                  <c:v>4674138.4289999995</c:v>
                </c:pt>
                <c:pt idx="2519">
                  <c:v>4559898.4289999995</c:v>
                </c:pt>
                <c:pt idx="2520">
                  <c:v>4522734.4289999995</c:v>
                </c:pt>
                <c:pt idx="2521">
                  <c:v>4581522.4289999995</c:v>
                </c:pt>
                <c:pt idx="2522">
                  <c:v>4560642.4289999995</c:v>
                </c:pt>
                <c:pt idx="2523">
                  <c:v>4482138.4289999995</c:v>
                </c:pt>
                <c:pt idx="2524">
                  <c:v>4494078.4289999995</c:v>
                </c:pt>
                <c:pt idx="2525">
                  <c:v>4546026.4289999995</c:v>
                </c:pt>
                <c:pt idx="2526">
                  <c:v>4588098.4289999995</c:v>
                </c:pt>
                <c:pt idx="2527">
                  <c:v>4578078.4289999995</c:v>
                </c:pt>
                <c:pt idx="2528">
                  <c:v>4550802.4289999995</c:v>
                </c:pt>
                <c:pt idx="2529">
                  <c:v>4537134.4289999995</c:v>
                </c:pt>
                <c:pt idx="2530">
                  <c:v>4539798.4289999995</c:v>
                </c:pt>
                <c:pt idx="2531">
                  <c:v>4499550.4289999995</c:v>
                </c:pt>
                <c:pt idx="2532">
                  <c:v>4497918.4289999995</c:v>
                </c:pt>
                <c:pt idx="2533">
                  <c:v>4459002.4289999995</c:v>
                </c:pt>
                <c:pt idx="2534">
                  <c:v>4514274.4289999995</c:v>
                </c:pt>
                <c:pt idx="2535">
                  <c:v>4644522.4289999995</c:v>
                </c:pt>
                <c:pt idx="2536">
                  <c:v>4610706.4289999995</c:v>
                </c:pt>
                <c:pt idx="2537">
                  <c:v>4603854.4289999995</c:v>
                </c:pt>
                <c:pt idx="2538">
                  <c:v>4567242.4289999995</c:v>
                </c:pt>
                <c:pt idx="2539">
                  <c:v>4567170.4289999995</c:v>
                </c:pt>
                <c:pt idx="2540">
                  <c:v>4582530.4289999995</c:v>
                </c:pt>
                <c:pt idx="2541">
                  <c:v>4640514.4289999995</c:v>
                </c:pt>
                <c:pt idx="2542">
                  <c:v>4775610.4289999995</c:v>
                </c:pt>
                <c:pt idx="2543">
                  <c:v>4782114.4289999995</c:v>
                </c:pt>
                <c:pt idx="2544">
                  <c:v>4790910.4289999995</c:v>
                </c:pt>
                <c:pt idx="2545">
                  <c:v>4742958.4289999995</c:v>
                </c:pt>
                <c:pt idx="2546">
                  <c:v>4734582.4289999995</c:v>
                </c:pt>
                <c:pt idx="2547">
                  <c:v>4783170.4289999995</c:v>
                </c:pt>
                <c:pt idx="2548">
                  <c:v>4772094.4289999995</c:v>
                </c:pt>
                <c:pt idx="2549">
                  <c:v>4904358.4289999995</c:v>
                </c:pt>
                <c:pt idx="2550">
                  <c:v>4905990.4289999995</c:v>
                </c:pt>
                <c:pt idx="2551">
                  <c:v>4853622.4289999995</c:v>
                </c:pt>
                <c:pt idx="2552">
                  <c:v>4829106.4289999995</c:v>
                </c:pt>
                <c:pt idx="2553">
                  <c:v>4853226.4289999995</c:v>
                </c:pt>
                <c:pt idx="2554">
                  <c:v>4744734.4289999995</c:v>
                </c:pt>
                <c:pt idx="2555">
                  <c:v>4733142.4289999995</c:v>
                </c:pt>
                <c:pt idx="2556">
                  <c:v>4725474.4289999995</c:v>
                </c:pt>
                <c:pt idx="2557">
                  <c:v>4723650.4289999995</c:v>
                </c:pt>
                <c:pt idx="2558">
                  <c:v>4751862.4289999995</c:v>
                </c:pt>
                <c:pt idx="2559">
                  <c:v>4770414.4289999995</c:v>
                </c:pt>
                <c:pt idx="2560">
                  <c:v>4749594.4289999995</c:v>
                </c:pt>
                <c:pt idx="2561">
                  <c:v>4746954.4289999995</c:v>
                </c:pt>
                <c:pt idx="2562">
                  <c:v>4703466.4289999995</c:v>
                </c:pt>
                <c:pt idx="2563">
                  <c:v>4750938.4289999995</c:v>
                </c:pt>
                <c:pt idx="2564">
                  <c:v>4719402.4289999995</c:v>
                </c:pt>
                <c:pt idx="2565">
                  <c:v>4729278.4289999995</c:v>
                </c:pt>
                <c:pt idx="2566">
                  <c:v>4765182.4289999995</c:v>
                </c:pt>
                <c:pt idx="2567">
                  <c:v>4802670.4289999995</c:v>
                </c:pt>
                <c:pt idx="2568">
                  <c:v>4811670.4289999995</c:v>
                </c:pt>
                <c:pt idx="2569">
                  <c:v>4806510.4289999995</c:v>
                </c:pt>
                <c:pt idx="2570">
                  <c:v>4825770.4289999995</c:v>
                </c:pt>
                <c:pt idx="2571">
                  <c:v>4783818.4289999995</c:v>
                </c:pt>
                <c:pt idx="2572">
                  <c:v>4745550.4289999995</c:v>
                </c:pt>
                <c:pt idx="2573">
                  <c:v>4678314.4289999995</c:v>
                </c:pt>
                <c:pt idx="2574">
                  <c:v>4592214.4289999995</c:v>
                </c:pt>
                <c:pt idx="2575">
                  <c:v>4544982.4289999995</c:v>
                </c:pt>
                <c:pt idx="2576">
                  <c:v>4527102.4289999995</c:v>
                </c:pt>
                <c:pt idx="2577">
                  <c:v>4584534.4289999995</c:v>
                </c:pt>
                <c:pt idx="2578">
                  <c:v>4541622.4289999995</c:v>
                </c:pt>
                <c:pt idx="2579">
                  <c:v>4620306.4289999995</c:v>
                </c:pt>
                <c:pt idx="2580">
                  <c:v>4580286.4289999995</c:v>
                </c:pt>
                <c:pt idx="2581">
                  <c:v>4600266.4289999995</c:v>
                </c:pt>
                <c:pt idx="2582">
                  <c:v>4614186.4289999995</c:v>
                </c:pt>
                <c:pt idx="2583">
                  <c:v>4634034.4289999995</c:v>
                </c:pt>
                <c:pt idx="2584">
                  <c:v>4730694.4289999995</c:v>
                </c:pt>
                <c:pt idx="2585">
                  <c:v>4726662.4289999995</c:v>
                </c:pt>
                <c:pt idx="2586">
                  <c:v>4719498.4289999995</c:v>
                </c:pt>
                <c:pt idx="2587">
                  <c:v>4733598.4289999995</c:v>
                </c:pt>
                <c:pt idx="2588">
                  <c:v>4766418.4289999995</c:v>
                </c:pt>
                <c:pt idx="2589">
                  <c:v>4700478.4289999995</c:v>
                </c:pt>
                <c:pt idx="2590">
                  <c:v>4761726.4289999995</c:v>
                </c:pt>
                <c:pt idx="2591">
                  <c:v>4744482.4289999995</c:v>
                </c:pt>
                <c:pt idx="2592">
                  <c:v>4729614.4289999995</c:v>
                </c:pt>
                <c:pt idx="2593">
                  <c:v>4740894.4289999995</c:v>
                </c:pt>
                <c:pt idx="2594">
                  <c:v>4799370.4289999995</c:v>
                </c:pt>
                <c:pt idx="2595">
                  <c:v>4805718.4289999995</c:v>
                </c:pt>
                <c:pt idx="2596">
                  <c:v>4844586.4289999995</c:v>
                </c:pt>
                <c:pt idx="2597">
                  <c:v>4891770.4289999995</c:v>
                </c:pt>
                <c:pt idx="2598">
                  <c:v>4919598.4289999995</c:v>
                </c:pt>
                <c:pt idx="2599">
                  <c:v>4948926.4289999995</c:v>
                </c:pt>
                <c:pt idx="2600">
                  <c:v>4932510.4289999995</c:v>
                </c:pt>
                <c:pt idx="2601">
                  <c:v>4897506.4289999995</c:v>
                </c:pt>
                <c:pt idx="2602">
                  <c:v>4948242.4289999995</c:v>
                </c:pt>
                <c:pt idx="2603">
                  <c:v>4930650.4289999995</c:v>
                </c:pt>
                <c:pt idx="2604">
                  <c:v>4850850.4289999995</c:v>
                </c:pt>
                <c:pt idx="2605">
                  <c:v>4873482.4289999995</c:v>
                </c:pt>
                <c:pt idx="2606">
                  <c:v>4890642.4289999995</c:v>
                </c:pt>
                <c:pt idx="2607">
                  <c:v>4904166.4289999995</c:v>
                </c:pt>
                <c:pt idx="2608">
                  <c:v>4850178.4289999995</c:v>
                </c:pt>
                <c:pt idx="2609">
                  <c:v>4862682.4289999995</c:v>
                </c:pt>
                <c:pt idx="2610">
                  <c:v>4826562.4289999995</c:v>
                </c:pt>
                <c:pt idx="2611">
                  <c:v>4790754.4289999995</c:v>
                </c:pt>
                <c:pt idx="2612">
                  <c:v>4804566.4289999995</c:v>
                </c:pt>
                <c:pt idx="2613">
                  <c:v>4758822.4289999995</c:v>
                </c:pt>
                <c:pt idx="2614">
                  <c:v>4786602.4289999995</c:v>
                </c:pt>
                <c:pt idx="2615">
                  <c:v>4793274.4289999995</c:v>
                </c:pt>
                <c:pt idx="2616">
                  <c:v>4830954.4289999995</c:v>
                </c:pt>
                <c:pt idx="2617">
                  <c:v>4875462.4289999995</c:v>
                </c:pt>
                <c:pt idx="2618">
                  <c:v>4925274.4289999995</c:v>
                </c:pt>
                <c:pt idx="2619">
                  <c:v>4904886.4289999995</c:v>
                </c:pt>
                <c:pt idx="2620">
                  <c:v>4888614.4289999995</c:v>
                </c:pt>
                <c:pt idx="2621">
                  <c:v>4891650.4289999995</c:v>
                </c:pt>
                <c:pt idx="2622">
                  <c:v>4824642.4289999995</c:v>
                </c:pt>
                <c:pt idx="2623">
                  <c:v>4838394.4289999995</c:v>
                </c:pt>
                <c:pt idx="2624">
                  <c:v>4856442.4289999995</c:v>
                </c:pt>
                <c:pt idx="2625">
                  <c:v>4826682.4289999995</c:v>
                </c:pt>
                <c:pt idx="2626">
                  <c:v>4826190.4289999995</c:v>
                </c:pt>
                <c:pt idx="2627">
                  <c:v>4857534.4289999995</c:v>
                </c:pt>
                <c:pt idx="2628">
                  <c:v>4893294.4289999995</c:v>
                </c:pt>
                <c:pt idx="2629">
                  <c:v>4873662.4289999995</c:v>
                </c:pt>
                <c:pt idx="2630">
                  <c:v>4850862.4289999995</c:v>
                </c:pt>
                <c:pt idx="2631">
                  <c:v>4845486.4289999995</c:v>
                </c:pt>
                <c:pt idx="2632">
                  <c:v>4924254.4289999995</c:v>
                </c:pt>
                <c:pt idx="2633">
                  <c:v>4955130.4289999995</c:v>
                </c:pt>
                <c:pt idx="2634">
                  <c:v>4984758.4289999995</c:v>
                </c:pt>
                <c:pt idx="2635">
                  <c:v>4963242.4289999995</c:v>
                </c:pt>
                <c:pt idx="2636">
                  <c:v>4971630.4289999995</c:v>
                </c:pt>
                <c:pt idx="2637">
                  <c:v>4948998.4289999995</c:v>
                </c:pt>
                <c:pt idx="2638">
                  <c:v>4864962.4289999995</c:v>
                </c:pt>
                <c:pt idx="2639">
                  <c:v>4865814.4289999995</c:v>
                </c:pt>
                <c:pt idx="2640">
                  <c:v>4861362.4289999995</c:v>
                </c:pt>
                <c:pt idx="2641">
                  <c:v>4868418.4289999995</c:v>
                </c:pt>
                <c:pt idx="2642">
                  <c:v>4833894.4289999995</c:v>
                </c:pt>
                <c:pt idx="2643">
                  <c:v>4870902.4289999995</c:v>
                </c:pt>
                <c:pt idx="2644">
                  <c:v>4917834.4289999995</c:v>
                </c:pt>
                <c:pt idx="2645">
                  <c:v>4870818.4289999995</c:v>
                </c:pt>
                <c:pt idx="2646">
                  <c:v>4848906.4289999995</c:v>
                </c:pt>
                <c:pt idx="2647">
                  <c:v>4801374.4289999995</c:v>
                </c:pt>
                <c:pt idx="2648">
                  <c:v>4835238.4289999995</c:v>
                </c:pt>
                <c:pt idx="2649">
                  <c:v>4851366.4289999995</c:v>
                </c:pt>
                <c:pt idx="2650">
                  <c:v>4832130.4289999995</c:v>
                </c:pt>
                <c:pt idx="2651">
                  <c:v>4816146.4289999995</c:v>
                </c:pt>
                <c:pt idx="2652">
                  <c:v>4775790.4289999995</c:v>
                </c:pt>
                <c:pt idx="2653">
                  <c:v>4784658.4289999995</c:v>
                </c:pt>
                <c:pt idx="2654">
                  <c:v>4802694.4289999995</c:v>
                </c:pt>
                <c:pt idx="2655">
                  <c:v>4801170.4289999995</c:v>
                </c:pt>
                <c:pt idx="2656">
                  <c:v>4836618.4289999995</c:v>
                </c:pt>
                <c:pt idx="2657">
                  <c:v>4864254.4289999995</c:v>
                </c:pt>
                <c:pt idx="2658">
                  <c:v>4855926.4289999995</c:v>
                </c:pt>
                <c:pt idx="2659">
                  <c:v>4861842.4289999995</c:v>
                </c:pt>
                <c:pt idx="2660">
                  <c:v>4864686.4289999995</c:v>
                </c:pt>
                <c:pt idx="2661">
                  <c:v>4850610.4289999995</c:v>
                </c:pt>
                <c:pt idx="2662">
                  <c:v>4943250.4289999995</c:v>
                </c:pt>
                <c:pt idx="2663">
                  <c:v>4966446.4289999995</c:v>
                </c:pt>
                <c:pt idx="2664">
                  <c:v>5031546.4289999995</c:v>
                </c:pt>
                <c:pt idx="2665">
                  <c:v>5020722.4289999995</c:v>
                </c:pt>
                <c:pt idx="2666">
                  <c:v>5013966.4289999995</c:v>
                </c:pt>
                <c:pt idx="2667">
                  <c:v>5002086.4289999995</c:v>
                </c:pt>
                <c:pt idx="2668">
                  <c:v>4941906.4289999995</c:v>
                </c:pt>
                <c:pt idx="2669">
                  <c:v>4972938.4289999995</c:v>
                </c:pt>
                <c:pt idx="2670">
                  <c:v>4970430.4289999995</c:v>
                </c:pt>
                <c:pt idx="2671">
                  <c:v>5012574.4289999995</c:v>
                </c:pt>
                <c:pt idx="2672">
                  <c:v>5007822.4289999995</c:v>
                </c:pt>
                <c:pt idx="2673">
                  <c:v>5079342.4289999995</c:v>
                </c:pt>
                <c:pt idx="2674">
                  <c:v>5097282.4289999995</c:v>
                </c:pt>
                <c:pt idx="2675">
                  <c:v>5164074.4289999995</c:v>
                </c:pt>
                <c:pt idx="2676">
                  <c:v>5155338.4289999995</c:v>
                </c:pt>
                <c:pt idx="2677">
                  <c:v>5136546.4289999995</c:v>
                </c:pt>
                <c:pt idx="2678">
                  <c:v>5173662.4289999995</c:v>
                </c:pt>
                <c:pt idx="2679">
                  <c:v>5116170.4289999995</c:v>
                </c:pt>
                <c:pt idx="2680">
                  <c:v>5178630.4289999995</c:v>
                </c:pt>
                <c:pt idx="2681">
                  <c:v>5177202.4289999995</c:v>
                </c:pt>
                <c:pt idx="2682">
                  <c:v>5226174.4289999995</c:v>
                </c:pt>
                <c:pt idx="2683">
                  <c:v>5209254.4289999995</c:v>
                </c:pt>
                <c:pt idx="2684">
                  <c:v>5181462.4289999995</c:v>
                </c:pt>
                <c:pt idx="2685">
                  <c:v>5160234.4289999995</c:v>
                </c:pt>
                <c:pt idx="2686">
                  <c:v>5167206.4289999995</c:v>
                </c:pt>
                <c:pt idx="2687">
                  <c:v>5204382.4289999995</c:v>
                </c:pt>
                <c:pt idx="2688">
                  <c:v>5118558.4289999995</c:v>
                </c:pt>
                <c:pt idx="2689">
                  <c:v>5139702.4289999995</c:v>
                </c:pt>
                <c:pt idx="2690">
                  <c:v>4985585.9610000001</c:v>
                </c:pt>
                <c:pt idx="2691">
                  <c:v>4985585.9610000001</c:v>
                </c:pt>
                <c:pt idx="2692">
                  <c:v>4985585.9610000001</c:v>
                </c:pt>
                <c:pt idx="2693">
                  <c:v>4985585.9610000001</c:v>
                </c:pt>
                <c:pt idx="2694">
                  <c:v>4985585.9610000001</c:v>
                </c:pt>
                <c:pt idx="2695">
                  <c:v>4985585.9610000001</c:v>
                </c:pt>
                <c:pt idx="2696">
                  <c:v>4985585.9610000001</c:v>
                </c:pt>
                <c:pt idx="2697">
                  <c:v>4985585.9610000001</c:v>
                </c:pt>
                <c:pt idx="2698">
                  <c:v>4985585.9610000001</c:v>
                </c:pt>
                <c:pt idx="2699">
                  <c:v>4985585.9610000001</c:v>
                </c:pt>
                <c:pt idx="2700">
                  <c:v>4985585.9610000001</c:v>
                </c:pt>
                <c:pt idx="2701">
                  <c:v>4985585.9610000001</c:v>
                </c:pt>
                <c:pt idx="2702">
                  <c:v>4985585.9610000001</c:v>
                </c:pt>
                <c:pt idx="2703">
                  <c:v>4985585.9610000001</c:v>
                </c:pt>
                <c:pt idx="2704">
                  <c:v>4985585.9610000001</c:v>
                </c:pt>
                <c:pt idx="2705">
                  <c:v>4985585.9610000001</c:v>
                </c:pt>
                <c:pt idx="2706">
                  <c:v>4985585.9610000001</c:v>
                </c:pt>
                <c:pt idx="2707">
                  <c:v>4985585.9610000001</c:v>
                </c:pt>
                <c:pt idx="2708">
                  <c:v>4985585.9610000001</c:v>
                </c:pt>
                <c:pt idx="2709">
                  <c:v>4985585.9610000001</c:v>
                </c:pt>
                <c:pt idx="2710">
                  <c:v>4985585.9610000001</c:v>
                </c:pt>
                <c:pt idx="2711">
                  <c:v>4985585.9610000001</c:v>
                </c:pt>
                <c:pt idx="2712">
                  <c:v>4985585.9610000001</c:v>
                </c:pt>
                <c:pt idx="2713">
                  <c:v>4985585.9610000001</c:v>
                </c:pt>
                <c:pt idx="2714">
                  <c:v>4985585.9610000001</c:v>
                </c:pt>
                <c:pt idx="2715">
                  <c:v>4985585.9610000001</c:v>
                </c:pt>
                <c:pt idx="2716">
                  <c:v>4985585.9610000001</c:v>
                </c:pt>
                <c:pt idx="2717">
                  <c:v>4985585.9610000001</c:v>
                </c:pt>
                <c:pt idx="2718">
                  <c:v>4985585.9610000001</c:v>
                </c:pt>
                <c:pt idx="2719">
                  <c:v>4985585.9610000001</c:v>
                </c:pt>
                <c:pt idx="2720">
                  <c:v>4985585.9610000001</c:v>
                </c:pt>
                <c:pt idx="2721">
                  <c:v>4985585.9610000001</c:v>
                </c:pt>
                <c:pt idx="2722">
                  <c:v>4985585.9610000001</c:v>
                </c:pt>
                <c:pt idx="2723">
                  <c:v>4985585.9610000001</c:v>
                </c:pt>
                <c:pt idx="2724">
                  <c:v>4985585.9610000001</c:v>
                </c:pt>
                <c:pt idx="2725">
                  <c:v>4985585.9610000001</c:v>
                </c:pt>
                <c:pt idx="2726">
                  <c:v>4985585.9610000001</c:v>
                </c:pt>
                <c:pt idx="2727">
                  <c:v>4985585.9610000001</c:v>
                </c:pt>
                <c:pt idx="2728">
                  <c:v>4985585.9610000001</c:v>
                </c:pt>
                <c:pt idx="2729">
                  <c:v>4985585.9610000001</c:v>
                </c:pt>
                <c:pt idx="2730">
                  <c:v>4985585.9610000001</c:v>
                </c:pt>
                <c:pt idx="2731">
                  <c:v>4985585.9610000001</c:v>
                </c:pt>
                <c:pt idx="2732">
                  <c:v>4985585.9610000001</c:v>
                </c:pt>
                <c:pt idx="2733">
                  <c:v>4985585.9610000001</c:v>
                </c:pt>
                <c:pt idx="2734">
                  <c:v>4985585.9610000001</c:v>
                </c:pt>
                <c:pt idx="2735">
                  <c:v>4985585.9610000001</c:v>
                </c:pt>
                <c:pt idx="2736">
                  <c:v>4985585.9610000001</c:v>
                </c:pt>
                <c:pt idx="2737">
                  <c:v>4985585.9610000001</c:v>
                </c:pt>
                <c:pt idx="2738">
                  <c:v>4985585.9610000001</c:v>
                </c:pt>
                <c:pt idx="2739">
                  <c:v>4985585.9610000001</c:v>
                </c:pt>
                <c:pt idx="2740">
                  <c:v>4985585.9610000001</c:v>
                </c:pt>
                <c:pt idx="2741">
                  <c:v>4985585.9610000001</c:v>
                </c:pt>
                <c:pt idx="2742">
                  <c:v>4985585.9610000001</c:v>
                </c:pt>
                <c:pt idx="2743">
                  <c:v>4985585.9610000001</c:v>
                </c:pt>
                <c:pt idx="2744">
                  <c:v>4985585.9610000001</c:v>
                </c:pt>
                <c:pt idx="2745">
                  <c:v>4985585.9610000001</c:v>
                </c:pt>
                <c:pt idx="2746">
                  <c:v>4985585.9610000001</c:v>
                </c:pt>
                <c:pt idx="2747">
                  <c:v>4985585.9610000001</c:v>
                </c:pt>
                <c:pt idx="2748">
                  <c:v>4985585.9610000001</c:v>
                </c:pt>
                <c:pt idx="2749">
                  <c:v>4985585.9610000001</c:v>
                </c:pt>
                <c:pt idx="2750">
                  <c:v>4985585.9610000001</c:v>
                </c:pt>
                <c:pt idx="2751">
                  <c:v>4985585.9610000001</c:v>
                </c:pt>
                <c:pt idx="2752">
                  <c:v>4985585.9610000001</c:v>
                </c:pt>
                <c:pt idx="2753">
                  <c:v>4985585.9610000001</c:v>
                </c:pt>
                <c:pt idx="2754">
                  <c:v>4985585.9610000001</c:v>
                </c:pt>
                <c:pt idx="2755">
                  <c:v>4985585.9610000001</c:v>
                </c:pt>
                <c:pt idx="2756">
                  <c:v>4985585.9610000001</c:v>
                </c:pt>
                <c:pt idx="2757">
                  <c:v>4985585.9610000001</c:v>
                </c:pt>
                <c:pt idx="2758">
                  <c:v>4985585.9610000001</c:v>
                </c:pt>
                <c:pt idx="2759">
                  <c:v>4985585.9610000001</c:v>
                </c:pt>
                <c:pt idx="2760">
                  <c:v>4985585.9610000001</c:v>
                </c:pt>
                <c:pt idx="2761">
                  <c:v>4985585.9610000001</c:v>
                </c:pt>
                <c:pt idx="2762">
                  <c:v>4985585.9610000001</c:v>
                </c:pt>
                <c:pt idx="2763">
                  <c:v>4985585.9610000001</c:v>
                </c:pt>
                <c:pt idx="2764">
                  <c:v>4985585.9610000001</c:v>
                </c:pt>
                <c:pt idx="2765">
                  <c:v>4985585.9610000001</c:v>
                </c:pt>
                <c:pt idx="2766">
                  <c:v>4985585.9610000001</c:v>
                </c:pt>
                <c:pt idx="2767">
                  <c:v>4985585.9610000001</c:v>
                </c:pt>
                <c:pt idx="2768">
                  <c:v>4985585.9610000001</c:v>
                </c:pt>
                <c:pt idx="2769">
                  <c:v>4985585.9610000001</c:v>
                </c:pt>
                <c:pt idx="2770">
                  <c:v>4985585.9610000001</c:v>
                </c:pt>
                <c:pt idx="2771">
                  <c:v>4985585.9610000001</c:v>
                </c:pt>
                <c:pt idx="2772">
                  <c:v>4985585.9610000001</c:v>
                </c:pt>
                <c:pt idx="2773">
                  <c:v>4985585.9610000001</c:v>
                </c:pt>
                <c:pt idx="2774">
                  <c:v>4985585.9610000001</c:v>
                </c:pt>
                <c:pt idx="2775">
                  <c:v>4985585.9610000001</c:v>
                </c:pt>
                <c:pt idx="2776">
                  <c:v>4985585.9610000001</c:v>
                </c:pt>
                <c:pt idx="2777">
                  <c:v>4985585.9610000001</c:v>
                </c:pt>
                <c:pt idx="2778">
                  <c:v>4985585.9610000001</c:v>
                </c:pt>
                <c:pt idx="2779">
                  <c:v>4985585.9610000001</c:v>
                </c:pt>
                <c:pt idx="2780">
                  <c:v>4985585.9610000001</c:v>
                </c:pt>
                <c:pt idx="2781">
                  <c:v>4985585.9610000001</c:v>
                </c:pt>
                <c:pt idx="2782">
                  <c:v>4985585.9610000001</c:v>
                </c:pt>
                <c:pt idx="2783">
                  <c:v>4985585.9610000001</c:v>
                </c:pt>
                <c:pt idx="2784">
                  <c:v>4985585.9610000001</c:v>
                </c:pt>
                <c:pt idx="2785">
                  <c:v>4985585.9610000001</c:v>
                </c:pt>
                <c:pt idx="2786">
                  <c:v>4985585.9610000001</c:v>
                </c:pt>
                <c:pt idx="2787">
                  <c:v>4985585.9610000001</c:v>
                </c:pt>
                <c:pt idx="2788">
                  <c:v>4985585.9610000001</c:v>
                </c:pt>
                <c:pt idx="2789">
                  <c:v>4985585.9610000001</c:v>
                </c:pt>
                <c:pt idx="2790">
                  <c:v>4985585.9610000001</c:v>
                </c:pt>
                <c:pt idx="2791">
                  <c:v>4985585.9610000001</c:v>
                </c:pt>
                <c:pt idx="2792">
                  <c:v>4985585.9610000001</c:v>
                </c:pt>
                <c:pt idx="2793">
                  <c:v>4985585.9610000001</c:v>
                </c:pt>
                <c:pt idx="2794">
                  <c:v>4985585.9610000001</c:v>
                </c:pt>
                <c:pt idx="2795">
                  <c:v>4985118.9519999996</c:v>
                </c:pt>
                <c:pt idx="2796">
                  <c:v>5013158.9519999996</c:v>
                </c:pt>
                <c:pt idx="2797">
                  <c:v>5089028.9519999996</c:v>
                </c:pt>
                <c:pt idx="2798">
                  <c:v>5155798.9519999996</c:v>
                </c:pt>
                <c:pt idx="2799">
                  <c:v>5068158.9519999996</c:v>
                </c:pt>
                <c:pt idx="2800">
                  <c:v>5167988.9519999996</c:v>
                </c:pt>
                <c:pt idx="2801">
                  <c:v>5121718.9519999996</c:v>
                </c:pt>
                <c:pt idx="2802">
                  <c:v>5059498.9519999996</c:v>
                </c:pt>
                <c:pt idx="2803">
                  <c:v>4831278.9519999996</c:v>
                </c:pt>
                <c:pt idx="2804">
                  <c:v>4859728.9519999996</c:v>
                </c:pt>
                <c:pt idx="2805">
                  <c:v>4995328.9519999996</c:v>
                </c:pt>
                <c:pt idx="2806">
                  <c:v>5006068.9519999996</c:v>
                </c:pt>
                <c:pt idx="2807">
                  <c:v>5029478.9519999996</c:v>
                </c:pt>
                <c:pt idx="2808">
                  <c:v>5027468.9519999996</c:v>
                </c:pt>
                <c:pt idx="2809">
                  <c:v>4820618.9519999996</c:v>
                </c:pt>
                <c:pt idx="2810">
                  <c:v>4843478.9519999996</c:v>
                </c:pt>
                <c:pt idx="2811">
                  <c:v>4883288.9519999996</c:v>
                </c:pt>
                <c:pt idx="2812">
                  <c:v>4994038.9519999996</c:v>
                </c:pt>
                <c:pt idx="2813">
                  <c:v>4971178.9519999996</c:v>
                </c:pt>
                <c:pt idx="2814">
                  <c:v>5010078.9519999996</c:v>
                </c:pt>
                <c:pt idx="2815">
                  <c:v>5086338.9519999996</c:v>
                </c:pt>
                <c:pt idx="2816">
                  <c:v>5090828.9519999996</c:v>
                </c:pt>
                <c:pt idx="2817">
                  <c:v>5092138.9519999996</c:v>
                </c:pt>
                <c:pt idx="2818">
                  <c:v>5077788.9519999996</c:v>
                </c:pt>
                <c:pt idx="2819">
                  <c:v>5022958.9519999996</c:v>
                </c:pt>
                <c:pt idx="2820">
                  <c:v>5039898.9519999996</c:v>
                </c:pt>
                <c:pt idx="2821">
                  <c:v>4996808.9519999996</c:v>
                </c:pt>
                <c:pt idx="2822">
                  <c:v>4962668.9519999996</c:v>
                </c:pt>
                <c:pt idx="2823">
                  <c:v>4950738.9519999996</c:v>
                </c:pt>
                <c:pt idx="2824">
                  <c:v>5019658.9519999996</c:v>
                </c:pt>
                <c:pt idx="2825">
                  <c:v>5130258.9519999996</c:v>
                </c:pt>
                <c:pt idx="2826">
                  <c:v>5127788.9519999996</c:v>
                </c:pt>
                <c:pt idx="2827">
                  <c:v>5055708.9519999996</c:v>
                </c:pt>
                <c:pt idx="2828">
                  <c:v>4994178.9519999996</c:v>
                </c:pt>
                <c:pt idx="2829">
                  <c:v>5033868.9519999996</c:v>
                </c:pt>
                <c:pt idx="2830">
                  <c:v>5070403.3669999996</c:v>
                </c:pt>
                <c:pt idx="2831">
                  <c:v>5070403.3669999996</c:v>
                </c:pt>
                <c:pt idx="2832">
                  <c:v>5070403.3669999996</c:v>
                </c:pt>
                <c:pt idx="2833">
                  <c:v>5070403.3669999996</c:v>
                </c:pt>
                <c:pt idx="2834">
                  <c:v>5070403.3669999996</c:v>
                </c:pt>
                <c:pt idx="2835">
                  <c:v>5070403.3669999996</c:v>
                </c:pt>
                <c:pt idx="2836">
                  <c:v>5070403.3669999996</c:v>
                </c:pt>
                <c:pt idx="2837">
                  <c:v>5070403.3669999996</c:v>
                </c:pt>
                <c:pt idx="2838">
                  <c:v>5070403.3669999996</c:v>
                </c:pt>
                <c:pt idx="2839">
                  <c:v>5070403.3669999996</c:v>
                </c:pt>
                <c:pt idx="2840">
                  <c:v>5070403.3669999996</c:v>
                </c:pt>
                <c:pt idx="2841">
                  <c:v>5070403.3669999996</c:v>
                </c:pt>
                <c:pt idx="2842">
                  <c:v>5070403.3669999996</c:v>
                </c:pt>
                <c:pt idx="2843">
                  <c:v>5070403.3669999996</c:v>
                </c:pt>
                <c:pt idx="2844">
                  <c:v>5070403.3669999996</c:v>
                </c:pt>
                <c:pt idx="2845">
                  <c:v>5070403.3669999996</c:v>
                </c:pt>
                <c:pt idx="2846">
                  <c:v>5070403.3669999996</c:v>
                </c:pt>
                <c:pt idx="2847">
                  <c:v>5070403.3669999996</c:v>
                </c:pt>
                <c:pt idx="2848">
                  <c:v>5070403.3669999996</c:v>
                </c:pt>
                <c:pt idx="2849">
                  <c:v>5070403.3669999996</c:v>
                </c:pt>
                <c:pt idx="2850">
                  <c:v>5070403.3669999996</c:v>
                </c:pt>
                <c:pt idx="2851">
                  <c:v>5070403.3669999996</c:v>
                </c:pt>
                <c:pt idx="2852">
                  <c:v>5070403.3669999996</c:v>
                </c:pt>
                <c:pt idx="2853">
                  <c:v>5070403.3669999996</c:v>
                </c:pt>
                <c:pt idx="2854">
                  <c:v>5070403.3669999996</c:v>
                </c:pt>
                <c:pt idx="2855">
                  <c:v>5070403.3669999996</c:v>
                </c:pt>
                <c:pt idx="2856">
                  <c:v>5069898.2690000003</c:v>
                </c:pt>
                <c:pt idx="2857">
                  <c:v>5065058.2690000003</c:v>
                </c:pt>
                <c:pt idx="2858">
                  <c:v>5168172.2690000003</c:v>
                </c:pt>
                <c:pt idx="2859">
                  <c:v>5324394.2690000003</c:v>
                </c:pt>
                <c:pt idx="2860">
                  <c:v>5342038.2690000003</c:v>
                </c:pt>
                <c:pt idx="2861">
                  <c:v>5306728.2690000003</c:v>
                </c:pt>
                <c:pt idx="2862">
                  <c:v>5297532.2690000003</c:v>
                </c:pt>
                <c:pt idx="2863">
                  <c:v>5289766.2690000003</c:v>
                </c:pt>
                <c:pt idx="2864">
                  <c:v>5249957.2690000003</c:v>
                </c:pt>
                <c:pt idx="2865">
                  <c:v>5291735.2690000003</c:v>
                </c:pt>
                <c:pt idx="2866">
                  <c:v>5291031.2690000003</c:v>
                </c:pt>
                <c:pt idx="2867">
                  <c:v>5274696.2690000003</c:v>
                </c:pt>
                <c:pt idx="2868">
                  <c:v>5209257.2690000003</c:v>
                </c:pt>
                <c:pt idx="2869">
                  <c:v>5179282.2690000003</c:v>
                </c:pt>
                <c:pt idx="2870">
                  <c:v>5188126.2690000003</c:v>
                </c:pt>
                <c:pt idx="2871">
                  <c:v>5229915.2690000003</c:v>
                </c:pt>
                <c:pt idx="2872">
                  <c:v>5269130.2690000003</c:v>
                </c:pt>
                <c:pt idx="2873">
                  <c:v>5183781.2690000003</c:v>
                </c:pt>
                <c:pt idx="2874">
                  <c:v>5211831.2690000003</c:v>
                </c:pt>
                <c:pt idx="2875">
                  <c:v>5274234.2690000003</c:v>
                </c:pt>
                <c:pt idx="2876">
                  <c:v>5313944.2690000003</c:v>
                </c:pt>
                <c:pt idx="2877">
                  <c:v>5392539.2690000003</c:v>
                </c:pt>
                <c:pt idx="2878">
                  <c:v>5393210.2690000003</c:v>
                </c:pt>
                <c:pt idx="2879">
                  <c:v>5498403.2690000003</c:v>
                </c:pt>
                <c:pt idx="2880">
                  <c:v>5468186.2690000003</c:v>
                </c:pt>
                <c:pt idx="2881">
                  <c:v>5414308.2690000003</c:v>
                </c:pt>
                <c:pt idx="2882">
                  <c:v>5418224.2690000003</c:v>
                </c:pt>
                <c:pt idx="2883">
                  <c:v>5361453.2690000003</c:v>
                </c:pt>
                <c:pt idx="2884">
                  <c:v>5413505.2690000003</c:v>
                </c:pt>
                <c:pt idx="2885">
                  <c:v>5403187.2690000003</c:v>
                </c:pt>
                <c:pt idx="2886">
                  <c:v>5399755.2690000003</c:v>
                </c:pt>
                <c:pt idx="2887">
                  <c:v>5439707.2690000003</c:v>
                </c:pt>
                <c:pt idx="2888">
                  <c:v>5456537.2690000003</c:v>
                </c:pt>
                <c:pt idx="2889">
                  <c:v>5524451.2690000003</c:v>
                </c:pt>
                <c:pt idx="2890">
                  <c:v>5490637.2690000003</c:v>
                </c:pt>
                <c:pt idx="2891">
                  <c:v>5420688.2690000003</c:v>
                </c:pt>
                <c:pt idx="2892">
                  <c:v>5430467.2690000003</c:v>
                </c:pt>
                <c:pt idx="2893">
                  <c:v>5497765.2690000003</c:v>
                </c:pt>
                <c:pt idx="2894">
                  <c:v>5475193.2690000003</c:v>
                </c:pt>
                <c:pt idx="2895">
                  <c:v>5592728.2690000003</c:v>
                </c:pt>
                <c:pt idx="2896">
                  <c:v>5592772.2690000003</c:v>
                </c:pt>
                <c:pt idx="2897">
                  <c:v>5581684.2690000003</c:v>
                </c:pt>
                <c:pt idx="2898">
                  <c:v>5591430.2690000003</c:v>
                </c:pt>
                <c:pt idx="2899">
                  <c:v>5543382.2690000003</c:v>
                </c:pt>
                <c:pt idx="2900">
                  <c:v>5529786.2690000003</c:v>
                </c:pt>
                <c:pt idx="2901">
                  <c:v>5455888.2690000003</c:v>
                </c:pt>
                <c:pt idx="2902">
                  <c:v>5453490.2690000003</c:v>
                </c:pt>
                <c:pt idx="2903">
                  <c:v>5397511.2690000003</c:v>
                </c:pt>
                <c:pt idx="2904">
                  <c:v>5447242.2690000003</c:v>
                </c:pt>
                <c:pt idx="2905">
                  <c:v>5458528.2690000003</c:v>
                </c:pt>
                <c:pt idx="2906">
                  <c:v>5468175.2690000003</c:v>
                </c:pt>
                <c:pt idx="2907">
                  <c:v>5538146.2690000003</c:v>
                </c:pt>
                <c:pt idx="2908">
                  <c:v>5518885.2690000003</c:v>
                </c:pt>
                <c:pt idx="2909">
                  <c:v>5570442.2690000003</c:v>
                </c:pt>
                <c:pt idx="2910">
                  <c:v>5480165.2690000003</c:v>
                </c:pt>
                <c:pt idx="2911">
                  <c:v>5526750.2690000003</c:v>
                </c:pt>
                <c:pt idx="2912">
                  <c:v>5518940.2690000003</c:v>
                </c:pt>
                <c:pt idx="2913">
                  <c:v>5565129.2690000003</c:v>
                </c:pt>
                <c:pt idx="2914">
                  <c:v>5589769.2690000003</c:v>
                </c:pt>
                <c:pt idx="2915">
                  <c:v>5566152.2690000003</c:v>
                </c:pt>
                <c:pt idx="2916">
                  <c:v>5643999.2690000003</c:v>
                </c:pt>
                <c:pt idx="2917">
                  <c:v>5751337.2690000003</c:v>
                </c:pt>
                <c:pt idx="2918">
                  <c:v>5813410.2690000003</c:v>
                </c:pt>
                <c:pt idx="2919">
                  <c:v>5924268.2690000003</c:v>
                </c:pt>
                <c:pt idx="2920">
                  <c:v>5978355.2690000003</c:v>
                </c:pt>
                <c:pt idx="2921">
                  <c:v>6083944.2690000003</c:v>
                </c:pt>
                <c:pt idx="2922">
                  <c:v>6063891.2690000003</c:v>
                </c:pt>
                <c:pt idx="2923">
                  <c:v>6004194.2690000003</c:v>
                </c:pt>
                <c:pt idx="2924">
                  <c:v>6174903.2690000003</c:v>
                </c:pt>
                <c:pt idx="2925">
                  <c:v>6154685.2690000003</c:v>
                </c:pt>
                <c:pt idx="2926">
                  <c:v>6036424.2690000003</c:v>
                </c:pt>
                <c:pt idx="2927">
                  <c:v>6022806.2690000003</c:v>
                </c:pt>
                <c:pt idx="2928">
                  <c:v>6089290.2690000003</c:v>
                </c:pt>
                <c:pt idx="2929">
                  <c:v>6000190.2690000003</c:v>
                </c:pt>
                <c:pt idx="2930">
                  <c:v>6042991.2690000003</c:v>
                </c:pt>
                <c:pt idx="2931">
                  <c:v>6140385.2690000003</c:v>
                </c:pt>
                <c:pt idx="2932">
                  <c:v>6145676.2690000003</c:v>
                </c:pt>
                <c:pt idx="2933">
                  <c:v>6207430.2690000003</c:v>
                </c:pt>
                <c:pt idx="2934">
                  <c:v>6083185.2690000003</c:v>
                </c:pt>
                <c:pt idx="2935">
                  <c:v>6099718.2690000003</c:v>
                </c:pt>
                <c:pt idx="2936">
                  <c:v>5933772.2690000003</c:v>
                </c:pt>
                <c:pt idx="2937">
                  <c:v>5906074.2690000003</c:v>
                </c:pt>
                <c:pt idx="2938">
                  <c:v>5978333.2690000003</c:v>
                </c:pt>
                <c:pt idx="2939">
                  <c:v>6070117.2690000003</c:v>
                </c:pt>
                <c:pt idx="2940">
                  <c:v>6052638.2690000003</c:v>
                </c:pt>
                <c:pt idx="2941">
                  <c:v>6040263.2690000003</c:v>
                </c:pt>
                <c:pt idx="2942">
                  <c:v>6050669.2690000003</c:v>
                </c:pt>
                <c:pt idx="2943">
                  <c:v>6139934.2690000003</c:v>
                </c:pt>
                <c:pt idx="2944">
                  <c:v>6273793.2690000003</c:v>
                </c:pt>
                <c:pt idx="2945">
                  <c:v>6407410.2690000003</c:v>
                </c:pt>
                <c:pt idx="2946">
                  <c:v>6364136.2690000003</c:v>
                </c:pt>
                <c:pt idx="2947">
                  <c:v>6375642.2690000003</c:v>
                </c:pt>
                <c:pt idx="2948">
                  <c:v>6175981.2690000003</c:v>
                </c:pt>
                <c:pt idx="2949">
                  <c:v>6156555.2690000003</c:v>
                </c:pt>
                <c:pt idx="2950">
                  <c:v>6000245.2690000003</c:v>
                </c:pt>
                <c:pt idx="2951">
                  <c:v>6035434.2690000003</c:v>
                </c:pt>
                <c:pt idx="2952">
                  <c:v>5889354.2690000003</c:v>
                </c:pt>
                <c:pt idx="2953">
                  <c:v>5979576.2690000003</c:v>
                </c:pt>
                <c:pt idx="2954">
                  <c:v>5903511.2690000003</c:v>
                </c:pt>
                <c:pt idx="2955">
                  <c:v>6016349.2690000003</c:v>
                </c:pt>
                <c:pt idx="2956">
                  <c:v>5827699.2690000003</c:v>
                </c:pt>
                <c:pt idx="2957">
                  <c:v>5807998.2690000003</c:v>
                </c:pt>
                <c:pt idx="2958">
                  <c:v>5606940.2690000003</c:v>
                </c:pt>
                <c:pt idx="2959">
                  <c:v>5487018.2690000003</c:v>
                </c:pt>
                <c:pt idx="2960">
                  <c:v>5522889.2690000003</c:v>
                </c:pt>
                <c:pt idx="2961">
                  <c:v>5659960.2690000003</c:v>
                </c:pt>
                <c:pt idx="2962">
                  <c:v>5679936.2690000003</c:v>
                </c:pt>
                <c:pt idx="2963">
                  <c:v>5558012.2690000003</c:v>
                </c:pt>
                <c:pt idx="2964">
                  <c:v>5606214.2690000003</c:v>
                </c:pt>
                <c:pt idx="2965">
                  <c:v>5629864.2690000003</c:v>
                </c:pt>
                <c:pt idx="2966">
                  <c:v>5674865.2690000003</c:v>
                </c:pt>
                <c:pt idx="2967">
                  <c:v>5526717.2690000003</c:v>
                </c:pt>
                <c:pt idx="2968">
                  <c:v>5581783.2690000003</c:v>
                </c:pt>
                <c:pt idx="2969">
                  <c:v>5529093.2690000003</c:v>
                </c:pt>
                <c:pt idx="2970">
                  <c:v>5440477.2690000003</c:v>
                </c:pt>
                <c:pt idx="2971">
                  <c:v>5437903.2690000003</c:v>
                </c:pt>
                <c:pt idx="2972">
                  <c:v>5560707.2690000003</c:v>
                </c:pt>
                <c:pt idx="2973">
                  <c:v>5570486.2690000003</c:v>
                </c:pt>
                <c:pt idx="2974">
                  <c:v>5623121.2690000003</c:v>
                </c:pt>
                <c:pt idx="2975">
                  <c:v>5572114.2690000003</c:v>
                </c:pt>
                <c:pt idx="2976">
                  <c:v>5640776.2690000003</c:v>
                </c:pt>
                <c:pt idx="2977">
                  <c:v>5696634.2690000003</c:v>
                </c:pt>
                <c:pt idx="2978">
                  <c:v>5673292.2690000003</c:v>
                </c:pt>
                <c:pt idx="2979">
                  <c:v>5633032.2690000003</c:v>
                </c:pt>
                <c:pt idx="2980">
                  <c:v>5642349.2690000003</c:v>
                </c:pt>
                <c:pt idx="2981">
                  <c:v>5557792.2690000003</c:v>
                </c:pt>
                <c:pt idx="2982">
                  <c:v>5461443.2690000003</c:v>
                </c:pt>
                <c:pt idx="2983">
                  <c:v>5452522.2690000003</c:v>
                </c:pt>
                <c:pt idx="2984">
                  <c:v>5497611.2690000003</c:v>
                </c:pt>
                <c:pt idx="2985">
                  <c:v>5462785.2690000003</c:v>
                </c:pt>
                <c:pt idx="2986">
                  <c:v>5481716.2690000003</c:v>
                </c:pt>
                <c:pt idx="2987">
                  <c:v>5614640.2690000003</c:v>
                </c:pt>
                <c:pt idx="2988">
                  <c:v>5610625.2690000003</c:v>
                </c:pt>
                <c:pt idx="2989">
                  <c:v>5627532.2690000003</c:v>
                </c:pt>
                <c:pt idx="2990">
                  <c:v>5617082.2690000003</c:v>
                </c:pt>
                <c:pt idx="2991">
                  <c:v>5667913.2690000003</c:v>
                </c:pt>
                <c:pt idx="2992">
                  <c:v>5603882.2690000003</c:v>
                </c:pt>
                <c:pt idx="2993">
                  <c:v>5618490.2690000003</c:v>
                </c:pt>
                <c:pt idx="2994">
                  <c:v>5650082.2690000003</c:v>
                </c:pt>
                <c:pt idx="2995">
                  <c:v>5699505.2690000003</c:v>
                </c:pt>
                <c:pt idx="2996">
                  <c:v>5654757.2690000003</c:v>
                </c:pt>
                <c:pt idx="2997">
                  <c:v>5586150.2690000003</c:v>
                </c:pt>
                <c:pt idx="2998">
                  <c:v>5514573.2690000003</c:v>
                </c:pt>
                <c:pt idx="2999">
                  <c:v>5510580.2690000003</c:v>
                </c:pt>
                <c:pt idx="3000">
                  <c:v>5544284.2690000003</c:v>
                </c:pt>
                <c:pt idx="3001">
                  <c:v>5567923.2690000003</c:v>
                </c:pt>
                <c:pt idx="3002">
                  <c:v>5511185.2690000003</c:v>
                </c:pt>
                <c:pt idx="3003">
                  <c:v>5640567.2690000003</c:v>
                </c:pt>
                <c:pt idx="3004">
                  <c:v>5722407.2690000003</c:v>
                </c:pt>
                <c:pt idx="3005">
                  <c:v>5725278.2690000003</c:v>
                </c:pt>
                <c:pt idx="3006">
                  <c:v>5708415.2690000003</c:v>
                </c:pt>
                <c:pt idx="3007">
                  <c:v>5723969.2690000003</c:v>
                </c:pt>
                <c:pt idx="3008">
                  <c:v>5666483.2690000003</c:v>
                </c:pt>
                <c:pt idx="3009">
                  <c:v>5690067.2690000003</c:v>
                </c:pt>
                <c:pt idx="3010">
                  <c:v>5869246.2690000003</c:v>
                </c:pt>
                <c:pt idx="3011">
                  <c:v>5871567.2690000003</c:v>
                </c:pt>
                <c:pt idx="3012">
                  <c:v>5890971.2690000003</c:v>
                </c:pt>
                <c:pt idx="3013">
                  <c:v>5872117.2690000003</c:v>
                </c:pt>
                <c:pt idx="3014">
                  <c:v>5883645.2690000003</c:v>
                </c:pt>
                <c:pt idx="3015">
                  <c:v>5894766.2690000003</c:v>
                </c:pt>
                <c:pt idx="3016">
                  <c:v>5837885.2690000003</c:v>
                </c:pt>
                <c:pt idx="3017">
                  <c:v>5799737.2690000003</c:v>
                </c:pt>
                <c:pt idx="3018">
                  <c:v>5829426.2690000003</c:v>
                </c:pt>
                <c:pt idx="3019">
                  <c:v>5824311.2690000003</c:v>
                </c:pt>
                <c:pt idx="3020">
                  <c:v>5774250.2690000003</c:v>
                </c:pt>
                <c:pt idx="3021">
                  <c:v>5779013.2690000003</c:v>
                </c:pt>
                <c:pt idx="3022">
                  <c:v>5817535.2690000003</c:v>
                </c:pt>
                <c:pt idx="3023">
                  <c:v>5766088.2690000003</c:v>
                </c:pt>
                <c:pt idx="3024">
                  <c:v>5702134.2690000003</c:v>
                </c:pt>
                <c:pt idx="3025">
                  <c:v>5607457.2690000003</c:v>
                </c:pt>
                <c:pt idx="3026">
                  <c:v>5630997.2690000003</c:v>
                </c:pt>
                <c:pt idx="3027">
                  <c:v>5631635.2690000003</c:v>
                </c:pt>
                <c:pt idx="3028">
                  <c:v>5618347.2690000003</c:v>
                </c:pt>
                <c:pt idx="3029">
                  <c:v>5653294.2690000003</c:v>
                </c:pt>
                <c:pt idx="3030">
                  <c:v>5681047.2690000003</c:v>
                </c:pt>
                <c:pt idx="3031">
                  <c:v>5690485.2690000003</c:v>
                </c:pt>
                <c:pt idx="3032">
                  <c:v>5782885.2690000003</c:v>
                </c:pt>
                <c:pt idx="3033">
                  <c:v>5795854.2690000003</c:v>
                </c:pt>
                <c:pt idx="3034">
                  <c:v>5728512.2690000003</c:v>
                </c:pt>
                <c:pt idx="3035">
                  <c:v>5765362.2690000003</c:v>
                </c:pt>
                <c:pt idx="3036">
                  <c:v>5771544.2690000003</c:v>
                </c:pt>
                <c:pt idx="3037">
                  <c:v>5608150.2690000003</c:v>
                </c:pt>
                <c:pt idx="3038">
                  <c:v>5613287.2690000003</c:v>
                </c:pt>
                <c:pt idx="3039">
                  <c:v>5610328.2690000003</c:v>
                </c:pt>
                <c:pt idx="3040">
                  <c:v>5673457.2690000003</c:v>
                </c:pt>
                <c:pt idx="3041">
                  <c:v>5616004.2690000003</c:v>
                </c:pt>
                <c:pt idx="3042">
                  <c:v>5595302.2690000003</c:v>
                </c:pt>
                <c:pt idx="3043">
                  <c:v>5664899.2690000003</c:v>
                </c:pt>
                <c:pt idx="3044">
                  <c:v>5675228.2690000003</c:v>
                </c:pt>
                <c:pt idx="3045">
                  <c:v>5610306.2690000003</c:v>
                </c:pt>
                <c:pt idx="3046">
                  <c:v>5685524.2690000003</c:v>
                </c:pt>
                <c:pt idx="3047">
                  <c:v>5623165.2690000003</c:v>
                </c:pt>
                <c:pt idx="3048">
                  <c:v>5643757.2690000003</c:v>
                </c:pt>
                <c:pt idx="3049">
                  <c:v>5638807.2690000003</c:v>
                </c:pt>
                <c:pt idx="3050">
                  <c:v>5677362.2690000003</c:v>
                </c:pt>
                <c:pt idx="3051">
                  <c:v>5685843.2690000003</c:v>
                </c:pt>
                <c:pt idx="3052">
                  <c:v>5617071.2690000003</c:v>
                </c:pt>
                <c:pt idx="3053">
                  <c:v>5436748.2690000003</c:v>
                </c:pt>
                <c:pt idx="3054">
                  <c:v>5244836.625</c:v>
                </c:pt>
                <c:pt idx="3055">
                  <c:v>5244836.625</c:v>
                </c:pt>
                <c:pt idx="3056">
                  <c:v>5244836.625</c:v>
                </c:pt>
                <c:pt idx="3057">
                  <c:v>5244836.625</c:v>
                </c:pt>
                <c:pt idx="3058">
                  <c:v>5244836.625</c:v>
                </c:pt>
                <c:pt idx="3059">
                  <c:v>5244836.625</c:v>
                </c:pt>
                <c:pt idx="3060">
                  <c:v>5244836.625</c:v>
                </c:pt>
                <c:pt idx="3061">
                  <c:v>5244836.625</c:v>
                </c:pt>
                <c:pt idx="3062">
                  <c:v>5244836.625</c:v>
                </c:pt>
                <c:pt idx="3063">
                  <c:v>5244836.625</c:v>
                </c:pt>
                <c:pt idx="3064">
                  <c:v>5244836.625</c:v>
                </c:pt>
                <c:pt idx="3065">
                  <c:v>5244836.625</c:v>
                </c:pt>
                <c:pt idx="3066">
                  <c:v>5244836.625</c:v>
                </c:pt>
                <c:pt idx="3067">
                  <c:v>5244836.625</c:v>
                </c:pt>
                <c:pt idx="3068">
                  <c:v>5244836.625</c:v>
                </c:pt>
                <c:pt idx="3069">
                  <c:v>5244836.625</c:v>
                </c:pt>
                <c:pt idx="3070">
                  <c:v>5244836.625</c:v>
                </c:pt>
                <c:pt idx="3071">
                  <c:v>5244836.625</c:v>
                </c:pt>
                <c:pt idx="3072">
                  <c:v>5244836.625</c:v>
                </c:pt>
                <c:pt idx="3073">
                  <c:v>5244836.625</c:v>
                </c:pt>
                <c:pt idx="3074">
                  <c:v>5244836.625</c:v>
                </c:pt>
                <c:pt idx="3075">
                  <c:v>5244836.625</c:v>
                </c:pt>
                <c:pt idx="3076">
                  <c:v>5244836.625</c:v>
                </c:pt>
                <c:pt idx="3077">
                  <c:v>5244836.625</c:v>
                </c:pt>
                <c:pt idx="3078">
                  <c:v>5244836.625</c:v>
                </c:pt>
                <c:pt idx="3079">
                  <c:v>5244836.625</c:v>
                </c:pt>
                <c:pt idx="3080">
                  <c:v>5244836.625</c:v>
                </c:pt>
                <c:pt idx="3081">
                  <c:v>5244836.625</c:v>
                </c:pt>
                <c:pt idx="3082">
                  <c:v>5244836.625</c:v>
                </c:pt>
                <c:pt idx="3083">
                  <c:v>5244836.625</c:v>
                </c:pt>
                <c:pt idx="3084">
                  <c:v>5244836.625</c:v>
                </c:pt>
                <c:pt idx="3085">
                  <c:v>5244836.625</c:v>
                </c:pt>
                <c:pt idx="3086">
                  <c:v>5244836.625</c:v>
                </c:pt>
                <c:pt idx="3087">
                  <c:v>5244836.625</c:v>
                </c:pt>
                <c:pt idx="3088">
                  <c:v>5244836.625</c:v>
                </c:pt>
                <c:pt idx="3089">
                  <c:v>5244836.625</c:v>
                </c:pt>
                <c:pt idx="3090">
                  <c:v>5244836.625</c:v>
                </c:pt>
                <c:pt idx="3091">
                  <c:v>5244836.625</c:v>
                </c:pt>
                <c:pt idx="3092">
                  <c:v>5244836.625</c:v>
                </c:pt>
                <c:pt idx="3093">
                  <c:v>5244836.625</c:v>
                </c:pt>
                <c:pt idx="3094">
                  <c:v>5244836.625</c:v>
                </c:pt>
                <c:pt idx="3095">
                  <c:v>5244836.625</c:v>
                </c:pt>
                <c:pt idx="3096">
                  <c:v>5244836.625</c:v>
                </c:pt>
                <c:pt idx="3097">
                  <c:v>5244836.625</c:v>
                </c:pt>
                <c:pt idx="3098">
                  <c:v>5244836.625</c:v>
                </c:pt>
                <c:pt idx="3099">
                  <c:v>5244836.625</c:v>
                </c:pt>
                <c:pt idx="3100">
                  <c:v>5244836.625</c:v>
                </c:pt>
                <c:pt idx="3101">
                  <c:v>5244836.625</c:v>
                </c:pt>
                <c:pt idx="3102">
                  <c:v>5244836.625</c:v>
                </c:pt>
                <c:pt idx="3103">
                  <c:v>5244836.625</c:v>
                </c:pt>
                <c:pt idx="3104">
                  <c:v>5244836.625</c:v>
                </c:pt>
                <c:pt idx="3105">
                  <c:v>5244836.625</c:v>
                </c:pt>
                <c:pt idx="3106">
                  <c:v>5244836.625</c:v>
                </c:pt>
                <c:pt idx="3107">
                  <c:v>5244836.625</c:v>
                </c:pt>
                <c:pt idx="3108">
                  <c:v>5244836.625</c:v>
                </c:pt>
                <c:pt idx="3109">
                  <c:v>5244836.625</c:v>
                </c:pt>
                <c:pt idx="3110">
                  <c:v>5244836.625</c:v>
                </c:pt>
                <c:pt idx="3111">
                  <c:v>5244836.625</c:v>
                </c:pt>
                <c:pt idx="3112">
                  <c:v>5244836.625</c:v>
                </c:pt>
                <c:pt idx="3113">
                  <c:v>5244836.625</c:v>
                </c:pt>
                <c:pt idx="3114">
                  <c:v>5244836.625</c:v>
                </c:pt>
                <c:pt idx="3115">
                  <c:v>5244836.625</c:v>
                </c:pt>
                <c:pt idx="3116">
                  <c:v>5244836.625</c:v>
                </c:pt>
                <c:pt idx="3117">
                  <c:v>5244836.625</c:v>
                </c:pt>
                <c:pt idx="3118">
                  <c:v>5244836.625</c:v>
                </c:pt>
                <c:pt idx="3119">
                  <c:v>5244836.625</c:v>
                </c:pt>
                <c:pt idx="3120">
                  <c:v>5244836.625</c:v>
                </c:pt>
                <c:pt idx="3121">
                  <c:v>5244836.625</c:v>
                </c:pt>
                <c:pt idx="3122">
                  <c:v>5244836.625</c:v>
                </c:pt>
                <c:pt idx="3123">
                  <c:v>5244836.625</c:v>
                </c:pt>
                <c:pt idx="3124">
                  <c:v>5244836.625</c:v>
                </c:pt>
                <c:pt idx="3125">
                  <c:v>5244836.625</c:v>
                </c:pt>
                <c:pt idx="3126">
                  <c:v>5244836.625</c:v>
                </c:pt>
                <c:pt idx="3127">
                  <c:v>5244836.625</c:v>
                </c:pt>
                <c:pt idx="3128">
                  <c:v>5244836.625</c:v>
                </c:pt>
                <c:pt idx="3129">
                  <c:v>5244836.625</c:v>
                </c:pt>
                <c:pt idx="3130">
                  <c:v>5244836.625</c:v>
                </c:pt>
                <c:pt idx="3131">
                  <c:v>5244836.625</c:v>
                </c:pt>
                <c:pt idx="3132">
                  <c:v>5244836.625</c:v>
                </c:pt>
                <c:pt idx="3133">
                  <c:v>5244836.625</c:v>
                </c:pt>
                <c:pt idx="3134">
                  <c:v>5244836.625</c:v>
                </c:pt>
                <c:pt idx="3135">
                  <c:v>5244836.625</c:v>
                </c:pt>
                <c:pt idx="3136">
                  <c:v>5244836.625</c:v>
                </c:pt>
                <c:pt idx="3137">
                  <c:v>5244836.625</c:v>
                </c:pt>
                <c:pt idx="3138">
                  <c:v>5244836.625</c:v>
                </c:pt>
                <c:pt idx="3139">
                  <c:v>5244836.625</c:v>
                </c:pt>
                <c:pt idx="3140">
                  <c:v>5244836.625</c:v>
                </c:pt>
                <c:pt idx="3141">
                  <c:v>5244836.625</c:v>
                </c:pt>
                <c:pt idx="3142">
                  <c:v>5244836.625</c:v>
                </c:pt>
                <c:pt idx="3143">
                  <c:v>5244836.625</c:v>
                </c:pt>
                <c:pt idx="3144">
                  <c:v>5244836.625</c:v>
                </c:pt>
                <c:pt idx="3145">
                  <c:v>5244836.625</c:v>
                </c:pt>
                <c:pt idx="3146">
                  <c:v>5244836.625</c:v>
                </c:pt>
                <c:pt idx="3147">
                  <c:v>5244836.625</c:v>
                </c:pt>
                <c:pt idx="3148">
                  <c:v>5244836.625</c:v>
                </c:pt>
                <c:pt idx="3149">
                  <c:v>5244836.625</c:v>
                </c:pt>
                <c:pt idx="3150">
                  <c:v>5244836.625</c:v>
                </c:pt>
                <c:pt idx="3151">
                  <c:v>5244836.625</c:v>
                </c:pt>
                <c:pt idx="3152">
                  <c:v>5244836.625</c:v>
                </c:pt>
                <c:pt idx="3153">
                  <c:v>5244836.625</c:v>
                </c:pt>
                <c:pt idx="3154">
                  <c:v>5244836.625</c:v>
                </c:pt>
                <c:pt idx="3155">
                  <c:v>5244836.625</c:v>
                </c:pt>
                <c:pt idx="3156">
                  <c:v>5244836.625</c:v>
                </c:pt>
                <c:pt idx="3157">
                  <c:v>5244341.0290000001</c:v>
                </c:pt>
                <c:pt idx="3158">
                  <c:v>5171861.0290000001</c:v>
                </c:pt>
                <c:pt idx="3159">
                  <c:v>5209891.0290000001</c:v>
                </c:pt>
                <c:pt idx="3160">
                  <c:v>5228751.0290000001</c:v>
                </c:pt>
                <c:pt idx="3161">
                  <c:v>5206151.0290000001</c:v>
                </c:pt>
                <c:pt idx="3162">
                  <c:v>5156501.0290000001</c:v>
                </c:pt>
                <c:pt idx="3163">
                  <c:v>5106611.0290000001</c:v>
                </c:pt>
                <c:pt idx="3164">
                  <c:v>5110751.0290000001</c:v>
                </c:pt>
                <c:pt idx="3165">
                  <c:v>5132431.0290000001</c:v>
                </c:pt>
                <c:pt idx="3166">
                  <c:v>5086151.0290000001</c:v>
                </c:pt>
                <c:pt idx="3167">
                  <c:v>5133961.0290000001</c:v>
                </c:pt>
                <c:pt idx="3168">
                  <c:v>5054301.0290000001</c:v>
                </c:pt>
                <c:pt idx="3169">
                  <c:v>5015111.0290000001</c:v>
                </c:pt>
                <c:pt idx="3170">
                  <c:v>5055661.0290000001</c:v>
                </c:pt>
                <c:pt idx="3171">
                  <c:v>5101731.0290000001</c:v>
                </c:pt>
                <c:pt idx="3172">
                  <c:v>5068761.0290000001</c:v>
                </c:pt>
                <c:pt idx="3173">
                  <c:v>5111891.0290000001</c:v>
                </c:pt>
                <c:pt idx="3174">
                  <c:v>5067691.0290000001</c:v>
                </c:pt>
                <c:pt idx="3175">
                  <c:v>5075121.0290000001</c:v>
                </c:pt>
                <c:pt idx="3176">
                  <c:v>4966831.0290000001</c:v>
                </c:pt>
                <c:pt idx="3177">
                  <c:v>5000691.0290000001</c:v>
                </c:pt>
                <c:pt idx="3178">
                  <c:v>4908261.0290000001</c:v>
                </c:pt>
                <c:pt idx="3179">
                  <c:v>4852151.0290000001</c:v>
                </c:pt>
                <c:pt idx="3180">
                  <c:v>4922471.0290000001</c:v>
                </c:pt>
                <c:pt idx="3181">
                  <c:v>4897151.0290000001</c:v>
                </c:pt>
                <c:pt idx="3182">
                  <c:v>4940441.0290000001</c:v>
                </c:pt>
                <c:pt idx="3183">
                  <c:v>4928241.0290000001</c:v>
                </c:pt>
                <c:pt idx="3184">
                  <c:v>4889781.0290000001</c:v>
                </c:pt>
                <c:pt idx="3185">
                  <c:v>4840071.0290000001</c:v>
                </c:pt>
                <c:pt idx="3186">
                  <c:v>4888481.0290000001</c:v>
                </c:pt>
                <c:pt idx="3187">
                  <c:v>4906371.0290000001</c:v>
                </c:pt>
                <c:pt idx="3188">
                  <c:v>4917541.0290000001</c:v>
                </c:pt>
                <c:pt idx="3189">
                  <c:v>4939621.0290000001</c:v>
                </c:pt>
                <c:pt idx="3190">
                  <c:v>4922691.0290000001</c:v>
                </c:pt>
                <c:pt idx="3191">
                  <c:v>4862531.0290000001</c:v>
                </c:pt>
                <c:pt idx="3192">
                  <c:v>4911431.0290000001</c:v>
                </c:pt>
                <c:pt idx="3193">
                  <c:v>4817701.0290000001</c:v>
                </c:pt>
                <c:pt idx="3194">
                  <c:v>4861801.0290000001</c:v>
                </c:pt>
                <c:pt idx="3195">
                  <c:v>4870031.0290000001</c:v>
                </c:pt>
                <c:pt idx="3196">
                  <c:v>4908071.0290000001</c:v>
                </c:pt>
                <c:pt idx="3197">
                  <c:v>4866981.0290000001</c:v>
                </c:pt>
                <c:pt idx="3198">
                  <c:v>4840011.0290000001</c:v>
                </c:pt>
                <c:pt idx="3199">
                  <c:v>4784811.0290000001</c:v>
                </c:pt>
                <c:pt idx="3200">
                  <c:v>4641161.0290000001</c:v>
                </c:pt>
                <c:pt idx="3201">
                  <c:v>4553771.0290000001</c:v>
                </c:pt>
                <c:pt idx="3202">
                  <c:v>4514731.0290000001</c:v>
                </c:pt>
                <c:pt idx="3203">
                  <c:v>4580791.7450000001</c:v>
                </c:pt>
                <c:pt idx="3204">
                  <c:v>4580791.7450000001</c:v>
                </c:pt>
                <c:pt idx="3205">
                  <c:v>4580791.7450000001</c:v>
                </c:pt>
                <c:pt idx="3206">
                  <c:v>4580791.7450000001</c:v>
                </c:pt>
                <c:pt idx="3207">
                  <c:v>4580791.7450000001</c:v>
                </c:pt>
                <c:pt idx="3208">
                  <c:v>4580791.7450000001</c:v>
                </c:pt>
                <c:pt idx="3209">
                  <c:v>4580791.7450000001</c:v>
                </c:pt>
                <c:pt idx="3210">
                  <c:v>4580791.7450000001</c:v>
                </c:pt>
                <c:pt idx="3211">
                  <c:v>4580791.7450000001</c:v>
                </c:pt>
                <c:pt idx="3212">
                  <c:v>4580791.7450000001</c:v>
                </c:pt>
                <c:pt idx="3213">
                  <c:v>4580791.7450000001</c:v>
                </c:pt>
                <c:pt idx="3214">
                  <c:v>4580791.7450000001</c:v>
                </c:pt>
                <c:pt idx="3215">
                  <c:v>4580791.7450000001</c:v>
                </c:pt>
                <c:pt idx="3216">
                  <c:v>4580791.7450000001</c:v>
                </c:pt>
                <c:pt idx="3217">
                  <c:v>4580791.7450000001</c:v>
                </c:pt>
                <c:pt idx="3218">
                  <c:v>4580791.7450000001</c:v>
                </c:pt>
                <c:pt idx="3219">
                  <c:v>4580791.7450000001</c:v>
                </c:pt>
                <c:pt idx="3220">
                  <c:v>4580791.7450000001</c:v>
                </c:pt>
                <c:pt idx="3221">
                  <c:v>4580791.7450000001</c:v>
                </c:pt>
                <c:pt idx="3222">
                  <c:v>4580791.7450000001</c:v>
                </c:pt>
              </c:numCache>
            </c:numRef>
          </c:val>
          <c:smooth val="0"/>
          <c:extLst>
            <c:ext xmlns:c16="http://schemas.microsoft.com/office/drawing/2014/chart" uri="{C3380CC4-5D6E-409C-BE32-E72D297353CC}">
              <c16:uniqueId val="{00000003-AD3B-41BE-96AE-C0728EE915FA}"/>
            </c:ext>
          </c:extLst>
        </c:ser>
        <c:dLbls>
          <c:showLegendKey val="0"/>
          <c:showVal val="0"/>
          <c:showCatName val="0"/>
          <c:showSerName val="0"/>
          <c:showPercent val="0"/>
          <c:showBubbleSize val="0"/>
        </c:dLbls>
        <c:smooth val="0"/>
        <c:axId val="652174864"/>
        <c:axId val="652176144"/>
      </c:lineChart>
      <c:dateAx>
        <c:axId val="652174864"/>
        <c:scaling>
          <c:orientation val="minMax"/>
        </c:scaling>
        <c:delete val="0"/>
        <c:axPos val="b"/>
        <c:numFmt formatCode="yyyy\-mm\-dd;@"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zh-CN"/>
          </a:p>
        </c:txPr>
        <c:crossAx val="652176144"/>
        <c:crosses val="autoZero"/>
        <c:auto val="1"/>
        <c:lblOffset val="100"/>
        <c:baseTimeUnit val="days"/>
      </c:dateAx>
      <c:valAx>
        <c:axId val="652176144"/>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zh-CN"/>
          </a:p>
        </c:txPr>
        <c:crossAx val="65217486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pPr>
      <a:endParaRPr lang="zh-C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ltLang="zh-CN" dirty="0"/>
              <a:t>Performance</a:t>
            </a:r>
            <a:r>
              <a:rPr lang="en-US" altLang="zh-CN" baseline="0" dirty="0"/>
              <a:t> on HS300</a:t>
            </a:r>
            <a:endParaRPr lang="zh-CN" altLang="en-US"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zh-CN"/>
        </a:p>
      </c:txPr>
    </c:title>
    <c:autoTitleDeleted val="0"/>
    <c:plotArea>
      <c:layout/>
      <c:lineChart>
        <c:grouping val="standard"/>
        <c:varyColors val="0"/>
        <c:ser>
          <c:idx val="0"/>
          <c:order val="0"/>
          <c:tx>
            <c:strRef>
              <c:f>beta_benchmark!$C$1</c:f>
              <c:strCache>
                <c:ptCount val="1"/>
                <c:pt idx="0">
                  <c:v>斜率</c:v>
                </c:pt>
              </c:strCache>
            </c:strRef>
          </c:tx>
          <c:spPr>
            <a:ln w="28575" cap="rnd">
              <a:solidFill>
                <a:srgbClr val="FF0000"/>
              </a:solidFill>
              <a:round/>
            </a:ln>
            <a:effectLst/>
          </c:spPr>
          <c:marker>
            <c:symbol val="none"/>
          </c:marker>
          <c:cat>
            <c:numRef>
              <c:f>beta_benchmark!$B$2:$B$3224</c:f>
              <c:numCache>
                <c:formatCode>m/d/yyyy</c:formatCode>
                <c:ptCount val="3223"/>
                <c:pt idx="0">
                  <c:v>39818</c:v>
                </c:pt>
                <c:pt idx="1">
                  <c:v>39819</c:v>
                </c:pt>
                <c:pt idx="2">
                  <c:v>39820</c:v>
                </c:pt>
                <c:pt idx="3">
                  <c:v>39821</c:v>
                </c:pt>
                <c:pt idx="4">
                  <c:v>39822</c:v>
                </c:pt>
                <c:pt idx="5">
                  <c:v>39825</c:v>
                </c:pt>
                <c:pt idx="6">
                  <c:v>39826</c:v>
                </c:pt>
                <c:pt idx="7">
                  <c:v>39827</c:v>
                </c:pt>
                <c:pt idx="8">
                  <c:v>39828</c:v>
                </c:pt>
                <c:pt idx="9">
                  <c:v>39829</c:v>
                </c:pt>
                <c:pt idx="10">
                  <c:v>39832</c:v>
                </c:pt>
                <c:pt idx="11">
                  <c:v>39833</c:v>
                </c:pt>
                <c:pt idx="12">
                  <c:v>39834</c:v>
                </c:pt>
                <c:pt idx="13">
                  <c:v>39835</c:v>
                </c:pt>
                <c:pt idx="14">
                  <c:v>39836</c:v>
                </c:pt>
                <c:pt idx="15">
                  <c:v>39846</c:v>
                </c:pt>
                <c:pt idx="16">
                  <c:v>39847</c:v>
                </c:pt>
                <c:pt idx="17">
                  <c:v>39848</c:v>
                </c:pt>
                <c:pt idx="18">
                  <c:v>39849</c:v>
                </c:pt>
                <c:pt idx="19">
                  <c:v>39850</c:v>
                </c:pt>
                <c:pt idx="20">
                  <c:v>39853</c:v>
                </c:pt>
                <c:pt idx="21">
                  <c:v>39854</c:v>
                </c:pt>
                <c:pt idx="22">
                  <c:v>39855</c:v>
                </c:pt>
                <c:pt idx="23">
                  <c:v>39856</c:v>
                </c:pt>
                <c:pt idx="24">
                  <c:v>39857</c:v>
                </c:pt>
                <c:pt idx="25">
                  <c:v>39860</c:v>
                </c:pt>
                <c:pt idx="26">
                  <c:v>39861</c:v>
                </c:pt>
                <c:pt idx="27">
                  <c:v>39862</c:v>
                </c:pt>
                <c:pt idx="28">
                  <c:v>39863</c:v>
                </c:pt>
                <c:pt idx="29">
                  <c:v>39864</c:v>
                </c:pt>
                <c:pt idx="30">
                  <c:v>39867</c:v>
                </c:pt>
                <c:pt idx="31">
                  <c:v>39868</c:v>
                </c:pt>
                <c:pt idx="32">
                  <c:v>39869</c:v>
                </c:pt>
                <c:pt idx="33">
                  <c:v>39870</c:v>
                </c:pt>
                <c:pt idx="34">
                  <c:v>39871</c:v>
                </c:pt>
                <c:pt idx="35">
                  <c:v>39874</c:v>
                </c:pt>
                <c:pt idx="36">
                  <c:v>39875</c:v>
                </c:pt>
                <c:pt idx="37">
                  <c:v>39876</c:v>
                </c:pt>
                <c:pt idx="38">
                  <c:v>39877</c:v>
                </c:pt>
                <c:pt idx="39">
                  <c:v>39878</c:v>
                </c:pt>
                <c:pt idx="40">
                  <c:v>39881</c:v>
                </c:pt>
                <c:pt idx="41">
                  <c:v>39882</c:v>
                </c:pt>
                <c:pt idx="42">
                  <c:v>39883</c:v>
                </c:pt>
                <c:pt idx="43">
                  <c:v>39884</c:v>
                </c:pt>
                <c:pt idx="44">
                  <c:v>39885</c:v>
                </c:pt>
                <c:pt idx="45">
                  <c:v>39888</c:v>
                </c:pt>
                <c:pt idx="46">
                  <c:v>39889</c:v>
                </c:pt>
                <c:pt idx="47">
                  <c:v>39890</c:v>
                </c:pt>
                <c:pt idx="48">
                  <c:v>39891</c:v>
                </c:pt>
                <c:pt idx="49">
                  <c:v>39892</c:v>
                </c:pt>
                <c:pt idx="50">
                  <c:v>39895</c:v>
                </c:pt>
                <c:pt idx="51">
                  <c:v>39896</c:v>
                </c:pt>
                <c:pt idx="52">
                  <c:v>39897</c:v>
                </c:pt>
                <c:pt idx="53">
                  <c:v>39898</c:v>
                </c:pt>
                <c:pt idx="54">
                  <c:v>39899</c:v>
                </c:pt>
                <c:pt idx="55">
                  <c:v>39902</c:v>
                </c:pt>
                <c:pt idx="56">
                  <c:v>39903</c:v>
                </c:pt>
                <c:pt idx="57">
                  <c:v>39904</c:v>
                </c:pt>
                <c:pt idx="58">
                  <c:v>39905</c:v>
                </c:pt>
                <c:pt idx="59">
                  <c:v>39906</c:v>
                </c:pt>
                <c:pt idx="60">
                  <c:v>39910</c:v>
                </c:pt>
                <c:pt idx="61">
                  <c:v>39911</c:v>
                </c:pt>
                <c:pt idx="62">
                  <c:v>39912</c:v>
                </c:pt>
                <c:pt idx="63">
                  <c:v>39913</c:v>
                </c:pt>
                <c:pt idx="64">
                  <c:v>39916</c:v>
                </c:pt>
                <c:pt idx="65">
                  <c:v>39917</c:v>
                </c:pt>
                <c:pt idx="66">
                  <c:v>39918</c:v>
                </c:pt>
                <c:pt idx="67">
                  <c:v>39919</c:v>
                </c:pt>
                <c:pt idx="68">
                  <c:v>39920</c:v>
                </c:pt>
                <c:pt idx="69">
                  <c:v>39923</c:v>
                </c:pt>
                <c:pt idx="70">
                  <c:v>39924</c:v>
                </c:pt>
                <c:pt idx="71">
                  <c:v>39925</c:v>
                </c:pt>
                <c:pt idx="72">
                  <c:v>39926</c:v>
                </c:pt>
                <c:pt idx="73">
                  <c:v>39927</c:v>
                </c:pt>
                <c:pt idx="74">
                  <c:v>39930</c:v>
                </c:pt>
                <c:pt idx="75">
                  <c:v>39931</c:v>
                </c:pt>
                <c:pt idx="76">
                  <c:v>39932</c:v>
                </c:pt>
                <c:pt idx="77">
                  <c:v>39933</c:v>
                </c:pt>
                <c:pt idx="78">
                  <c:v>39937</c:v>
                </c:pt>
                <c:pt idx="79">
                  <c:v>39938</c:v>
                </c:pt>
                <c:pt idx="80">
                  <c:v>39939</c:v>
                </c:pt>
                <c:pt idx="81">
                  <c:v>39940</c:v>
                </c:pt>
                <c:pt idx="82">
                  <c:v>39941</c:v>
                </c:pt>
                <c:pt idx="83">
                  <c:v>39944</c:v>
                </c:pt>
                <c:pt idx="84">
                  <c:v>39945</c:v>
                </c:pt>
                <c:pt idx="85">
                  <c:v>39946</c:v>
                </c:pt>
                <c:pt idx="86">
                  <c:v>39947</c:v>
                </c:pt>
                <c:pt idx="87">
                  <c:v>39948</c:v>
                </c:pt>
                <c:pt idx="88">
                  <c:v>39951</c:v>
                </c:pt>
                <c:pt idx="89">
                  <c:v>39952</c:v>
                </c:pt>
                <c:pt idx="90">
                  <c:v>39953</c:v>
                </c:pt>
                <c:pt idx="91">
                  <c:v>39954</c:v>
                </c:pt>
                <c:pt idx="92">
                  <c:v>39955</c:v>
                </c:pt>
                <c:pt idx="93">
                  <c:v>39958</c:v>
                </c:pt>
                <c:pt idx="94">
                  <c:v>39959</c:v>
                </c:pt>
                <c:pt idx="95">
                  <c:v>39960</c:v>
                </c:pt>
                <c:pt idx="96">
                  <c:v>39965</c:v>
                </c:pt>
                <c:pt idx="97">
                  <c:v>39966</c:v>
                </c:pt>
                <c:pt idx="98">
                  <c:v>39967</c:v>
                </c:pt>
                <c:pt idx="99">
                  <c:v>39968</c:v>
                </c:pt>
                <c:pt idx="100">
                  <c:v>39969</c:v>
                </c:pt>
                <c:pt idx="101">
                  <c:v>39972</c:v>
                </c:pt>
                <c:pt idx="102">
                  <c:v>39973</c:v>
                </c:pt>
                <c:pt idx="103">
                  <c:v>39974</c:v>
                </c:pt>
                <c:pt idx="104">
                  <c:v>39975</c:v>
                </c:pt>
                <c:pt idx="105">
                  <c:v>39976</c:v>
                </c:pt>
                <c:pt idx="106">
                  <c:v>39979</c:v>
                </c:pt>
                <c:pt idx="107">
                  <c:v>39980</c:v>
                </c:pt>
                <c:pt idx="108">
                  <c:v>39981</c:v>
                </c:pt>
                <c:pt idx="109">
                  <c:v>39982</c:v>
                </c:pt>
                <c:pt idx="110">
                  <c:v>39983</c:v>
                </c:pt>
                <c:pt idx="111">
                  <c:v>39986</c:v>
                </c:pt>
                <c:pt idx="112">
                  <c:v>39987</c:v>
                </c:pt>
                <c:pt idx="113">
                  <c:v>39988</c:v>
                </c:pt>
                <c:pt idx="114">
                  <c:v>39989</c:v>
                </c:pt>
                <c:pt idx="115">
                  <c:v>39990</c:v>
                </c:pt>
                <c:pt idx="116">
                  <c:v>39993</c:v>
                </c:pt>
                <c:pt idx="117">
                  <c:v>39994</c:v>
                </c:pt>
                <c:pt idx="118">
                  <c:v>39995</c:v>
                </c:pt>
                <c:pt idx="119">
                  <c:v>39996</c:v>
                </c:pt>
                <c:pt idx="120">
                  <c:v>39997</c:v>
                </c:pt>
                <c:pt idx="121">
                  <c:v>40000</c:v>
                </c:pt>
                <c:pt idx="122">
                  <c:v>40001</c:v>
                </c:pt>
                <c:pt idx="123">
                  <c:v>40002</c:v>
                </c:pt>
                <c:pt idx="124">
                  <c:v>40003</c:v>
                </c:pt>
                <c:pt idx="125">
                  <c:v>40004</c:v>
                </c:pt>
                <c:pt idx="126">
                  <c:v>40007</c:v>
                </c:pt>
                <c:pt idx="127">
                  <c:v>40008</c:v>
                </c:pt>
                <c:pt idx="128">
                  <c:v>40009</c:v>
                </c:pt>
                <c:pt idx="129">
                  <c:v>40010</c:v>
                </c:pt>
                <c:pt idx="130">
                  <c:v>40011</c:v>
                </c:pt>
                <c:pt idx="131">
                  <c:v>40014</c:v>
                </c:pt>
                <c:pt idx="132">
                  <c:v>40015</c:v>
                </c:pt>
                <c:pt idx="133">
                  <c:v>40016</c:v>
                </c:pt>
                <c:pt idx="134">
                  <c:v>40017</c:v>
                </c:pt>
                <c:pt idx="135">
                  <c:v>40018</c:v>
                </c:pt>
                <c:pt idx="136">
                  <c:v>40021</c:v>
                </c:pt>
                <c:pt idx="137">
                  <c:v>40022</c:v>
                </c:pt>
                <c:pt idx="138">
                  <c:v>40023</c:v>
                </c:pt>
                <c:pt idx="139">
                  <c:v>40024</c:v>
                </c:pt>
                <c:pt idx="140">
                  <c:v>40025</c:v>
                </c:pt>
                <c:pt idx="141">
                  <c:v>40028</c:v>
                </c:pt>
                <c:pt idx="142">
                  <c:v>40029</c:v>
                </c:pt>
                <c:pt idx="143">
                  <c:v>40030</c:v>
                </c:pt>
                <c:pt idx="144">
                  <c:v>40031</c:v>
                </c:pt>
                <c:pt idx="145">
                  <c:v>40032</c:v>
                </c:pt>
                <c:pt idx="146">
                  <c:v>40035</c:v>
                </c:pt>
                <c:pt idx="147">
                  <c:v>40036</c:v>
                </c:pt>
                <c:pt idx="148">
                  <c:v>40037</c:v>
                </c:pt>
                <c:pt idx="149">
                  <c:v>40038</c:v>
                </c:pt>
                <c:pt idx="150">
                  <c:v>40039</c:v>
                </c:pt>
                <c:pt idx="151">
                  <c:v>40042</c:v>
                </c:pt>
                <c:pt idx="152">
                  <c:v>40043</c:v>
                </c:pt>
                <c:pt idx="153">
                  <c:v>40044</c:v>
                </c:pt>
                <c:pt idx="154">
                  <c:v>40045</c:v>
                </c:pt>
                <c:pt idx="155">
                  <c:v>40046</c:v>
                </c:pt>
                <c:pt idx="156">
                  <c:v>40049</c:v>
                </c:pt>
                <c:pt idx="157">
                  <c:v>40050</c:v>
                </c:pt>
                <c:pt idx="158">
                  <c:v>40051</c:v>
                </c:pt>
                <c:pt idx="159">
                  <c:v>40052</c:v>
                </c:pt>
                <c:pt idx="160">
                  <c:v>40053</c:v>
                </c:pt>
                <c:pt idx="161">
                  <c:v>40056</c:v>
                </c:pt>
                <c:pt idx="162">
                  <c:v>40057</c:v>
                </c:pt>
                <c:pt idx="163">
                  <c:v>40058</c:v>
                </c:pt>
                <c:pt idx="164">
                  <c:v>40059</c:v>
                </c:pt>
                <c:pt idx="165">
                  <c:v>40060</c:v>
                </c:pt>
                <c:pt idx="166">
                  <c:v>40063</c:v>
                </c:pt>
                <c:pt idx="167">
                  <c:v>40064</c:v>
                </c:pt>
                <c:pt idx="168">
                  <c:v>40065</c:v>
                </c:pt>
                <c:pt idx="169">
                  <c:v>40066</c:v>
                </c:pt>
                <c:pt idx="170">
                  <c:v>40067</c:v>
                </c:pt>
                <c:pt idx="171">
                  <c:v>40070</c:v>
                </c:pt>
                <c:pt idx="172">
                  <c:v>40071</c:v>
                </c:pt>
                <c:pt idx="173">
                  <c:v>40072</c:v>
                </c:pt>
                <c:pt idx="174">
                  <c:v>40073</c:v>
                </c:pt>
                <c:pt idx="175">
                  <c:v>40074</c:v>
                </c:pt>
                <c:pt idx="176">
                  <c:v>40077</c:v>
                </c:pt>
                <c:pt idx="177">
                  <c:v>40078</c:v>
                </c:pt>
                <c:pt idx="178">
                  <c:v>40079</c:v>
                </c:pt>
                <c:pt idx="179">
                  <c:v>40080</c:v>
                </c:pt>
                <c:pt idx="180">
                  <c:v>40081</c:v>
                </c:pt>
                <c:pt idx="181">
                  <c:v>40084</c:v>
                </c:pt>
                <c:pt idx="182">
                  <c:v>40085</c:v>
                </c:pt>
                <c:pt idx="183">
                  <c:v>40086</c:v>
                </c:pt>
                <c:pt idx="184">
                  <c:v>40095</c:v>
                </c:pt>
                <c:pt idx="185">
                  <c:v>40098</c:v>
                </c:pt>
                <c:pt idx="186">
                  <c:v>40099</c:v>
                </c:pt>
                <c:pt idx="187">
                  <c:v>40100</c:v>
                </c:pt>
                <c:pt idx="188">
                  <c:v>40101</c:v>
                </c:pt>
                <c:pt idx="189">
                  <c:v>40102</c:v>
                </c:pt>
                <c:pt idx="190">
                  <c:v>40105</c:v>
                </c:pt>
                <c:pt idx="191">
                  <c:v>40106</c:v>
                </c:pt>
                <c:pt idx="192">
                  <c:v>40107</c:v>
                </c:pt>
                <c:pt idx="193">
                  <c:v>40108</c:v>
                </c:pt>
                <c:pt idx="194">
                  <c:v>40109</c:v>
                </c:pt>
                <c:pt idx="195">
                  <c:v>40112</c:v>
                </c:pt>
                <c:pt idx="196">
                  <c:v>40113</c:v>
                </c:pt>
                <c:pt idx="197">
                  <c:v>40114</c:v>
                </c:pt>
                <c:pt idx="198">
                  <c:v>40115</c:v>
                </c:pt>
                <c:pt idx="199">
                  <c:v>40116</c:v>
                </c:pt>
                <c:pt idx="200">
                  <c:v>40119</c:v>
                </c:pt>
                <c:pt idx="201">
                  <c:v>40120</c:v>
                </c:pt>
                <c:pt idx="202">
                  <c:v>40121</c:v>
                </c:pt>
                <c:pt idx="203">
                  <c:v>40122</c:v>
                </c:pt>
                <c:pt idx="204">
                  <c:v>40123</c:v>
                </c:pt>
                <c:pt idx="205">
                  <c:v>40126</c:v>
                </c:pt>
                <c:pt idx="206">
                  <c:v>40127</c:v>
                </c:pt>
                <c:pt idx="207">
                  <c:v>40128</c:v>
                </c:pt>
                <c:pt idx="208">
                  <c:v>40129</c:v>
                </c:pt>
                <c:pt idx="209">
                  <c:v>40130</c:v>
                </c:pt>
                <c:pt idx="210">
                  <c:v>40133</c:v>
                </c:pt>
                <c:pt idx="211">
                  <c:v>40134</c:v>
                </c:pt>
                <c:pt idx="212">
                  <c:v>40135</c:v>
                </c:pt>
                <c:pt idx="213">
                  <c:v>40136</c:v>
                </c:pt>
                <c:pt idx="214">
                  <c:v>40137</c:v>
                </c:pt>
                <c:pt idx="215">
                  <c:v>40140</c:v>
                </c:pt>
                <c:pt idx="216">
                  <c:v>40141</c:v>
                </c:pt>
                <c:pt idx="217">
                  <c:v>40142</c:v>
                </c:pt>
                <c:pt idx="218">
                  <c:v>40143</c:v>
                </c:pt>
                <c:pt idx="219">
                  <c:v>40144</c:v>
                </c:pt>
                <c:pt idx="220">
                  <c:v>40147</c:v>
                </c:pt>
                <c:pt idx="221">
                  <c:v>40148</c:v>
                </c:pt>
                <c:pt idx="222">
                  <c:v>40149</c:v>
                </c:pt>
                <c:pt idx="223">
                  <c:v>40150</c:v>
                </c:pt>
                <c:pt idx="224">
                  <c:v>40151</c:v>
                </c:pt>
                <c:pt idx="225">
                  <c:v>40154</c:v>
                </c:pt>
                <c:pt idx="226">
                  <c:v>40155</c:v>
                </c:pt>
                <c:pt idx="227">
                  <c:v>40156</c:v>
                </c:pt>
                <c:pt idx="228">
                  <c:v>40157</c:v>
                </c:pt>
                <c:pt idx="229">
                  <c:v>40158</c:v>
                </c:pt>
                <c:pt idx="230">
                  <c:v>40161</c:v>
                </c:pt>
                <c:pt idx="231">
                  <c:v>40162</c:v>
                </c:pt>
                <c:pt idx="232">
                  <c:v>40163</c:v>
                </c:pt>
                <c:pt idx="233">
                  <c:v>40164</c:v>
                </c:pt>
                <c:pt idx="234">
                  <c:v>40165</c:v>
                </c:pt>
                <c:pt idx="235">
                  <c:v>40168</c:v>
                </c:pt>
                <c:pt idx="236">
                  <c:v>40169</c:v>
                </c:pt>
                <c:pt idx="237">
                  <c:v>40170</c:v>
                </c:pt>
                <c:pt idx="238">
                  <c:v>40171</c:v>
                </c:pt>
                <c:pt idx="239">
                  <c:v>40172</c:v>
                </c:pt>
                <c:pt idx="240">
                  <c:v>40175</c:v>
                </c:pt>
                <c:pt idx="241">
                  <c:v>40176</c:v>
                </c:pt>
                <c:pt idx="242">
                  <c:v>40177</c:v>
                </c:pt>
                <c:pt idx="243">
                  <c:v>40178</c:v>
                </c:pt>
                <c:pt idx="244">
                  <c:v>40182</c:v>
                </c:pt>
                <c:pt idx="245">
                  <c:v>40183</c:v>
                </c:pt>
                <c:pt idx="246">
                  <c:v>40184</c:v>
                </c:pt>
                <c:pt idx="247">
                  <c:v>40185</c:v>
                </c:pt>
                <c:pt idx="248">
                  <c:v>40186</c:v>
                </c:pt>
                <c:pt idx="249">
                  <c:v>40189</c:v>
                </c:pt>
                <c:pt idx="250">
                  <c:v>40190</c:v>
                </c:pt>
                <c:pt idx="251">
                  <c:v>40191</c:v>
                </c:pt>
                <c:pt idx="252">
                  <c:v>40192</c:v>
                </c:pt>
                <c:pt idx="253">
                  <c:v>40193</c:v>
                </c:pt>
                <c:pt idx="254">
                  <c:v>40196</c:v>
                </c:pt>
                <c:pt idx="255">
                  <c:v>40197</c:v>
                </c:pt>
                <c:pt idx="256">
                  <c:v>40198</c:v>
                </c:pt>
                <c:pt idx="257">
                  <c:v>40199</c:v>
                </c:pt>
                <c:pt idx="258">
                  <c:v>40200</c:v>
                </c:pt>
                <c:pt idx="259">
                  <c:v>40203</c:v>
                </c:pt>
                <c:pt idx="260">
                  <c:v>40204</c:v>
                </c:pt>
                <c:pt idx="261">
                  <c:v>40205</c:v>
                </c:pt>
                <c:pt idx="262">
                  <c:v>40206</c:v>
                </c:pt>
                <c:pt idx="263">
                  <c:v>40207</c:v>
                </c:pt>
                <c:pt idx="264">
                  <c:v>40210</c:v>
                </c:pt>
                <c:pt idx="265">
                  <c:v>40211</c:v>
                </c:pt>
                <c:pt idx="266">
                  <c:v>40212</c:v>
                </c:pt>
                <c:pt idx="267">
                  <c:v>40213</c:v>
                </c:pt>
                <c:pt idx="268">
                  <c:v>40214</c:v>
                </c:pt>
                <c:pt idx="269">
                  <c:v>40217</c:v>
                </c:pt>
                <c:pt idx="270">
                  <c:v>40218</c:v>
                </c:pt>
                <c:pt idx="271">
                  <c:v>40219</c:v>
                </c:pt>
                <c:pt idx="272">
                  <c:v>40220</c:v>
                </c:pt>
                <c:pt idx="273">
                  <c:v>40221</c:v>
                </c:pt>
                <c:pt idx="274">
                  <c:v>40231</c:v>
                </c:pt>
                <c:pt idx="275">
                  <c:v>40232</c:v>
                </c:pt>
                <c:pt idx="276">
                  <c:v>40233</c:v>
                </c:pt>
                <c:pt idx="277">
                  <c:v>40234</c:v>
                </c:pt>
                <c:pt idx="278">
                  <c:v>40235</c:v>
                </c:pt>
                <c:pt idx="279">
                  <c:v>40238</c:v>
                </c:pt>
                <c:pt idx="280">
                  <c:v>40239</c:v>
                </c:pt>
                <c:pt idx="281">
                  <c:v>40240</c:v>
                </c:pt>
                <c:pt idx="282">
                  <c:v>40241</c:v>
                </c:pt>
                <c:pt idx="283">
                  <c:v>40242</c:v>
                </c:pt>
                <c:pt idx="284">
                  <c:v>40245</c:v>
                </c:pt>
                <c:pt idx="285">
                  <c:v>40246</c:v>
                </c:pt>
                <c:pt idx="286">
                  <c:v>40247</c:v>
                </c:pt>
                <c:pt idx="287">
                  <c:v>40248</c:v>
                </c:pt>
                <c:pt idx="288">
                  <c:v>40249</c:v>
                </c:pt>
                <c:pt idx="289">
                  <c:v>40252</c:v>
                </c:pt>
                <c:pt idx="290">
                  <c:v>40253</c:v>
                </c:pt>
                <c:pt idx="291">
                  <c:v>40254</c:v>
                </c:pt>
                <c:pt idx="292">
                  <c:v>40255</c:v>
                </c:pt>
                <c:pt idx="293">
                  <c:v>40256</c:v>
                </c:pt>
                <c:pt idx="294">
                  <c:v>40259</c:v>
                </c:pt>
                <c:pt idx="295">
                  <c:v>40260</c:v>
                </c:pt>
                <c:pt idx="296">
                  <c:v>40261</c:v>
                </c:pt>
                <c:pt idx="297">
                  <c:v>40262</c:v>
                </c:pt>
                <c:pt idx="298">
                  <c:v>40263</c:v>
                </c:pt>
                <c:pt idx="299">
                  <c:v>40266</c:v>
                </c:pt>
                <c:pt idx="300">
                  <c:v>40267</c:v>
                </c:pt>
                <c:pt idx="301">
                  <c:v>40268</c:v>
                </c:pt>
                <c:pt idx="302">
                  <c:v>40269</c:v>
                </c:pt>
                <c:pt idx="303">
                  <c:v>40270</c:v>
                </c:pt>
                <c:pt idx="304">
                  <c:v>40274</c:v>
                </c:pt>
                <c:pt idx="305">
                  <c:v>40275</c:v>
                </c:pt>
                <c:pt idx="306">
                  <c:v>40276</c:v>
                </c:pt>
                <c:pt idx="307">
                  <c:v>40277</c:v>
                </c:pt>
                <c:pt idx="308">
                  <c:v>40280</c:v>
                </c:pt>
                <c:pt idx="309">
                  <c:v>40281</c:v>
                </c:pt>
                <c:pt idx="310">
                  <c:v>40282</c:v>
                </c:pt>
                <c:pt idx="311">
                  <c:v>40283</c:v>
                </c:pt>
                <c:pt idx="312">
                  <c:v>40284</c:v>
                </c:pt>
                <c:pt idx="313">
                  <c:v>40287</c:v>
                </c:pt>
                <c:pt idx="314">
                  <c:v>40288</c:v>
                </c:pt>
                <c:pt idx="315">
                  <c:v>40289</c:v>
                </c:pt>
                <c:pt idx="316">
                  <c:v>40290</c:v>
                </c:pt>
                <c:pt idx="317">
                  <c:v>40291</c:v>
                </c:pt>
                <c:pt idx="318">
                  <c:v>40294</c:v>
                </c:pt>
                <c:pt idx="319">
                  <c:v>40295</c:v>
                </c:pt>
                <c:pt idx="320">
                  <c:v>40296</c:v>
                </c:pt>
                <c:pt idx="321">
                  <c:v>40297</c:v>
                </c:pt>
                <c:pt idx="322">
                  <c:v>40298</c:v>
                </c:pt>
                <c:pt idx="323">
                  <c:v>40302</c:v>
                </c:pt>
                <c:pt idx="324">
                  <c:v>40303</c:v>
                </c:pt>
                <c:pt idx="325">
                  <c:v>40304</c:v>
                </c:pt>
                <c:pt idx="326">
                  <c:v>40305</c:v>
                </c:pt>
                <c:pt idx="327">
                  <c:v>40308</c:v>
                </c:pt>
                <c:pt idx="328">
                  <c:v>40309</c:v>
                </c:pt>
                <c:pt idx="329">
                  <c:v>40310</c:v>
                </c:pt>
                <c:pt idx="330">
                  <c:v>40311</c:v>
                </c:pt>
                <c:pt idx="331">
                  <c:v>40312</c:v>
                </c:pt>
                <c:pt idx="332">
                  <c:v>40315</c:v>
                </c:pt>
                <c:pt idx="333">
                  <c:v>40316</c:v>
                </c:pt>
                <c:pt idx="334">
                  <c:v>40317</c:v>
                </c:pt>
                <c:pt idx="335">
                  <c:v>40318</c:v>
                </c:pt>
                <c:pt idx="336">
                  <c:v>40319</c:v>
                </c:pt>
                <c:pt idx="337">
                  <c:v>40322</c:v>
                </c:pt>
                <c:pt idx="338">
                  <c:v>40323</c:v>
                </c:pt>
                <c:pt idx="339">
                  <c:v>40324</c:v>
                </c:pt>
                <c:pt idx="340">
                  <c:v>40325</c:v>
                </c:pt>
                <c:pt idx="341">
                  <c:v>40326</c:v>
                </c:pt>
                <c:pt idx="342">
                  <c:v>40329</c:v>
                </c:pt>
                <c:pt idx="343">
                  <c:v>40330</c:v>
                </c:pt>
                <c:pt idx="344">
                  <c:v>40331</c:v>
                </c:pt>
                <c:pt idx="345">
                  <c:v>40332</c:v>
                </c:pt>
                <c:pt idx="346">
                  <c:v>40333</c:v>
                </c:pt>
                <c:pt idx="347">
                  <c:v>40336</c:v>
                </c:pt>
                <c:pt idx="348">
                  <c:v>40337</c:v>
                </c:pt>
                <c:pt idx="349">
                  <c:v>40338</c:v>
                </c:pt>
                <c:pt idx="350">
                  <c:v>40339</c:v>
                </c:pt>
                <c:pt idx="351">
                  <c:v>40340</c:v>
                </c:pt>
                <c:pt idx="352">
                  <c:v>40346</c:v>
                </c:pt>
                <c:pt idx="353">
                  <c:v>40347</c:v>
                </c:pt>
                <c:pt idx="354">
                  <c:v>40350</c:v>
                </c:pt>
                <c:pt idx="355">
                  <c:v>40351</c:v>
                </c:pt>
                <c:pt idx="356">
                  <c:v>40352</c:v>
                </c:pt>
                <c:pt idx="357">
                  <c:v>40353</c:v>
                </c:pt>
                <c:pt idx="358">
                  <c:v>40354</c:v>
                </c:pt>
                <c:pt idx="359">
                  <c:v>40357</c:v>
                </c:pt>
                <c:pt idx="360">
                  <c:v>40358</c:v>
                </c:pt>
                <c:pt idx="361">
                  <c:v>40359</c:v>
                </c:pt>
                <c:pt idx="362">
                  <c:v>40360</c:v>
                </c:pt>
                <c:pt idx="363">
                  <c:v>40361</c:v>
                </c:pt>
                <c:pt idx="364">
                  <c:v>40364</c:v>
                </c:pt>
                <c:pt idx="365">
                  <c:v>40365</c:v>
                </c:pt>
                <c:pt idx="366">
                  <c:v>40366</c:v>
                </c:pt>
                <c:pt idx="367">
                  <c:v>40367</c:v>
                </c:pt>
                <c:pt idx="368">
                  <c:v>40368</c:v>
                </c:pt>
                <c:pt idx="369">
                  <c:v>40371</c:v>
                </c:pt>
                <c:pt idx="370">
                  <c:v>40372</c:v>
                </c:pt>
                <c:pt idx="371">
                  <c:v>40373</c:v>
                </c:pt>
                <c:pt idx="372">
                  <c:v>40374</c:v>
                </c:pt>
                <c:pt idx="373">
                  <c:v>40375</c:v>
                </c:pt>
                <c:pt idx="374">
                  <c:v>40378</c:v>
                </c:pt>
                <c:pt idx="375">
                  <c:v>40379</c:v>
                </c:pt>
                <c:pt idx="376">
                  <c:v>40380</c:v>
                </c:pt>
                <c:pt idx="377">
                  <c:v>40381</c:v>
                </c:pt>
                <c:pt idx="378">
                  <c:v>40382</c:v>
                </c:pt>
                <c:pt idx="379">
                  <c:v>40385</c:v>
                </c:pt>
                <c:pt idx="380">
                  <c:v>40386</c:v>
                </c:pt>
                <c:pt idx="381">
                  <c:v>40387</c:v>
                </c:pt>
                <c:pt idx="382">
                  <c:v>40388</c:v>
                </c:pt>
                <c:pt idx="383">
                  <c:v>40389</c:v>
                </c:pt>
                <c:pt idx="384">
                  <c:v>40392</c:v>
                </c:pt>
                <c:pt idx="385">
                  <c:v>40393</c:v>
                </c:pt>
                <c:pt idx="386">
                  <c:v>40394</c:v>
                </c:pt>
                <c:pt idx="387">
                  <c:v>40395</c:v>
                </c:pt>
                <c:pt idx="388">
                  <c:v>40396</c:v>
                </c:pt>
                <c:pt idx="389">
                  <c:v>40399</c:v>
                </c:pt>
                <c:pt idx="390">
                  <c:v>40400</c:v>
                </c:pt>
                <c:pt idx="391">
                  <c:v>40401</c:v>
                </c:pt>
                <c:pt idx="392">
                  <c:v>40402</c:v>
                </c:pt>
                <c:pt idx="393">
                  <c:v>40403</c:v>
                </c:pt>
                <c:pt idx="394">
                  <c:v>40406</c:v>
                </c:pt>
                <c:pt idx="395">
                  <c:v>40407</c:v>
                </c:pt>
                <c:pt idx="396">
                  <c:v>40408</c:v>
                </c:pt>
                <c:pt idx="397">
                  <c:v>40409</c:v>
                </c:pt>
                <c:pt idx="398">
                  <c:v>40410</c:v>
                </c:pt>
                <c:pt idx="399">
                  <c:v>40413</c:v>
                </c:pt>
                <c:pt idx="400">
                  <c:v>40414</c:v>
                </c:pt>
                <c:pt idx="401">
                  <c:v>40415</c:v>
                </c:pt>
                <c:pt idx="402">
                  <c:v>40416</c:v>
                </c:pt>
                <c:pt idx="403">
                  <c:v>40417</c:v>
                </c:pt>
                <c:pt idx="404">
                  <c:v>40420</c:v>
                </c:pt>
                <c:pt idx="405">
                  <c:v>40421</c:v>
                </c:pt>
                <c:pt idx="406">
                  <c:v>40422</c:v>
                </c:pt>
                <c:pt idx="407">
                  <c:v>40423</c:v>
                </c:pt>
                <c:pt idx="408">
                  <c:v>40424</c:v>
                </c:pt>
                <c:pt idx="409">
                  <c:v>40427</c:v>
                </c:pt>
                <c:pt idx="410">
                  <c:v>40428</c:v>
                </c:pt>
                <c:pt idx="411">
                  <c:v>40429</c:v>
                </c:pt>
                <c:pt idx="412">
                  <c:v>40430</c:v>
                </c:pt>
                <c:pt idx="413">
                  <c:v>40431</c:v>
                </c:pt>
                <c:pt idx="414">
                  <c:v>40434</c:v>
                </c:pt>
                <c:pt idx="415">
                  <c:v>40435</c:v>
                </c:pt>
                <c:pt idx="416">
                  <c:v>40436</c:v>
                </c:pt>
                <c:pt idx="417">
                  <c:v>40437</c:v>
                </c:pt>
                <c:pt idx="418">
                  <c:v>40438</c:v>
                </c:pt>
                <c:pt idx="419">
                  <c:v>40441</c:v>
                </c:pt>
                <c:pt idx="420">
                  <c:v>40442</c:v>
                </c:pt>
                <c:pt idx="421">
                  <c:v>40448</c:v>
                </c:pt>
                <c:pt idx="422">
                  <c:v>40449</c:v>
                </c:pt>
                <c:pt idx="423">
                  <c:v>40450</c:v>
                </c:pt>
                <c:pt idx="424">
                  <c:v>40451</c:v>
                </c:pt>
                <c:pt idx="425">
                  <c:v>40459</c:v>
                </c:pt>
                <c:pt idx="426">
                  <c:v>40462</c:v>
                </c:pt>
                <c:pt idx="427">
                  <c:v>40463</c:v>
                </c:pt>
                <c:pt idx="428">
                  <c:v>40464</c:v>
                </c:pt>
                <c:pt idx="429">
                  <c:v>40465</c:v>
                </c:pt>
                <c:pt idx="430">
                  <c:v>40466</c:v>
                </c:pt>
                <c:pt idx="431">
                  <c:v>40469</c:v>
                </c:pt>
                <c:pt idx="432">
                  <c:v>40470</c:v>
                </c:pt>
                <c:pt idx="433">
                  <c:v>40471</c:v>
                </c:pt>
                <c:pt idx="434">
                  <c:v>40472</c:v>
                </c:pt>
                <c:pt idx="435">
                  <c:v>40473</c:v>
                </c:pt>
                <c:pt idx="436">
                  <c:v>40476</c:v>
                </c:pt>
                <c:pt idx="437">
                  <c:v>40477</c:v>
                </c:pt>
                <c:pt idx="438">
                  <c:v>40478</c:v>
                </c:pt>
                <c:pt idx="439">
                  <c:v>40479</c:v>
                </c:pt>
                <c:pt idx="440">
                  <c:v>40480</c:v>
                </c:pt>
                <c:pt idx="441">
                  <c:v>40483</c:v>
                </c:pt>
                <c:pt idx="442">
                  <c:v>40484</c:v>
                </c:pt>
                <c:pt idx="443">
                  <c:v>40485</c:v>
                </c:pt>
                <c:pt idx="444">
                  <c:v>40486</c:v>
                </c:pt>
                <c:pt idx="445">
                  <c:v>40487</c:v>
                </c:pt>
                <c:pt idx="446">
                  <c:v>40490</c:v>
                </c:pt>
                <c:pt idx="447">
                  <c:v>40491</c:v>
                </c:pt>
                <c:pt idx="448">
                  <c:v>40492</c:v>
                </c:pt>
                <c:pt idx="449">
                  <c:v>40493</c:v>
                </c:pt>
                <c:pt idx="450">
                  <c:v>40494</c:v>
                </c:pt>
                <c:pt idx="451">
                  <c:v>40497</c:v>
                </c:pt>
                <c:pt idx="452">
                  <c:v>40498</c:v>
                </c:pt>
                <c:pt idx="453">
                  <c:v>40499</c:v>
                </c:pt>
                <c:pt idx="454">
                  <c:v>40500</c:v>
                </c:pt>
                <c:pt idx="455">
                  <c:v>40501</c:v>
                </c:pt>
                <c:pt idx="456">
                  <c:v>40504</c:v>
                </c:pt>
                <c:pt idx="457">
                  <c:v>40505</c:v>
                </c:pt>
                <c:pt idx="458">
                  <c:v>40506</c:v>
                </c:pt>
                <c:pt idx="459">
                  <c:v>40507</c:v>
                </c:pt>
                <c:pt idx="460">
                  <c:v>40508</c:v>
                </c:pt>
                <c:pt idx="461">
                  <c:v>40511</c:v>
                </c:pt>
                <c:pt idx="462">
                  <c:v>40512</c:v>
                </c:pt>
                <c:pt idx="463">
                  <c:v>40513</c:v>
                </c:pt>
                <c:pt idx="464">
                  <c:v>40514</c:v>
                </c:pt>
                <c:pt idx="465">
                  <c:v>40515</c:v>
                </c:pt>
                <c:pt idx="466">
                  <c:v>40518</c:v>
                </c:pt>
                <c:pt idx="467">
                  <c:v>40519</c:v>
                </c:pt>
                <c:pt idx="468">
                  <c:v>40520</c:v>
                </c:pt>
                <c:pt idx="469">
                  <c:v>40521</c:v>
                </c:pt>
                <c:pt idx="470">
                  <c:v>40522</c:v>
                </c:pt>
                <c:pt idx="471">
                  <c:v>40525</c:v>
                </c:pt>
                <c:pt idx="472">
                  <c:v>40526</c:v>
                </c:pt>
                <c:pt idx="473">
                  <c:v>40527</c:v>
                </c:pt>
                <c:pt idx="474">
                  <c:v>40528</c:v>
                </c:pt>
                <c:pt idx="475">
                  <c:v>40529</c:v>
                </c:pt>
                <c:pt idx="476">
                  <c:v>40532</c:v>
                </c:pt>
                <c:pt idx="477">
                  <c:v>40533</c:v>
                </c:pt>
                <c:pt idx="478">
                  <c:v>40534</c:v>
                </c:pt>
                <c:pt idx="479">
                  <c:v>40535</c:v>
                </c:pt>
                <c:pt idx="480">
                  <c:v>40536</c:v>
                </c:pt>
                <c:pt idx="481">
                  <c:v>40539</c:v>
                </c:pt>
                <c:pt idx="482">
                  <c:v>40540</c:v>
                </c:pt>
                <c:pt idx="483">
                  <c:v>40541</c:v>
                </c:pt>
                <c:pt idx="484">
                  <c:v>40542</c:v>
                </c:pt>
                <c:pt idx="485">
                  <c:v>40543</c:v>
                </c:pt>
                <c:pt idx="486">
                  <c:v>40547</c:v>
                </c:pt>
                <c:pt idx="487">
                  <c:v>40548</c:v>
                </c:pt>
                <c:pt idx="488">
                  <c:v>40549</c:v>
                </c:pt>
                <c:pt idx="489">
                  <c:v>40550</c:v>
                </c:pt>
                <c:pt idx="490">
                  <c:v>40553</c:v>
                </c:pt>
                <c:pt idx="491">
                  <c:v>40554</c:v>
                </c:pt>
                <c:pt idx="492">
                  <c:v>40555</c:v>
                </c:pt>
                <c:pt idx="493">
                  <c:v>40556</c:v>
                </c:pt>
                <c:pt idx="494">
                  <c:v>40557</c:v>
                </c:pt>
                <c:pt idx="495">
                  <c:v>40560</c:v>
                </c:pt>
                <c:pt idx="496">
                  <c:v>40561</c:v>
                </c:pt>
                <c:pt idx="497">
                  <c:v>40562</c:v>
                </c:pt>
                <c:pt idx="498">
                  <c:v>40563</c:v>
                </c:pt>
                <c:pt idx="499">
                  <c:v>40564</c:v>
                </c:pt>
                <c:pt idx="500">
                  <c:v>40567</c:v>
                </c:pt>
                <c:pt idx="501">
                  <c:v>40568</c:v>
                </c:pt>
                <c:pt idx="502">
                  <c:v>40569</c:v>
                </c:pt>
                <c:pt idx="503">
                  <c:v>40570</c:v>
                </c:pt>
                <c:pt idx="504">
                  <c:v>40571</c:v>
                </c:pt>
                <c:pt idx="505">
                  <c:v>40574</c:v>
                </c:pt>
                <c:pt idx="506">
                  <c:v>40575</c:v>
                </c:pt>
                <c:pt idx="507">
                  <c:v>40583</c:v>
                </c:pt>
                <c:pt idx="508">
                  <c:v>40584</c:v>
                </c:pt>
                <c:pt idx="509">
                  <c:v>40585</c:v>
                </c:pt>
                <c:pt idx="510">
                  <c:v>40588</c:v>
                </c:pt>
                <c:pt idx="511">
                  <c:v>40589</c:v>
                </c:pt>
                <c:pt idx="512">
                  <c:v>40590</c:v>
                </c:pt>
                <c:pt idx="513">
                  <c:v>40591</c:v>
                </c:pt>
                <c:pt idx="514">
                  <c:v>40592</c:v>
                </c:pt>
                <c:pt idx="515">
                  <c:v>40595</c:v>
                </c:pt>
                <c:pt idx="516">
                  <c:v>40596</c:v>
                </c:pt>
                <c:pt idx="517">
                  <c:v>40597</c:v>
                </c:pt>
                <c:pt idx="518">
                  <c:v>40598</c:v>
                </c:pt>
                <c:pt idx="519">
                  <c:v>40599</c:v>
                </c:pt>
                <c:pt idx="520">
                  <c:v>40602</c:v>
                </c:pt>
                <c:pt idx="521">
                  <c:v>40603</c:v>
                </c:pt>
                <c:pt idx="522">
                  <c:v>40604</c:v>
                </c:pt>
                <c:pt idx="523">
                  <c:v>40605</c:v>
                </c:pt>
                <c:pt idx="524">
                  <c:v>40606</c:v>
                </c:pt>
                <c:pt idx="525">
                  <c:v>40609</c:v>
                </c:pt>
                <c:pt idx="526">
                  <c:v>40610</c:v>
                </c:pt>
                <c:pt idx="527">
                  <c:v>40611</c:v>
                </c:pt>
                <c:pt idx="528">
                  <c:v>40612</c:v>
                </c:pt>
                <c:pt idx="529">
                  <c:v>40613</c:v>
                </c:pt>
                <c:pt idx="530">
                  <c:v>40616</c:v>
                </c:pt>
                <c:pt idx="531">
                  <c:v>40617</c:v>
                </c:pt>
                <c:pt idx="532">
                  <c:v>40618</c:v>
                </c:pt>
                <c:pt idx="533">
                  <c:v>40619</c:v>
                </c:pt>
                <c:pt idx="534">
                  <c:v>40620</c:v>
                </c:pt>
                <c:pt idx="535">
                  <c:v>40623</c:v>
                </c:pt>
                <c:pt idx="536">
                  <c:v>40624</c:v>
                </c:pt>
                <c:pt idx="537">
                  <c:v>40625</c:v>
                </c:pt>
                <c:pt idx="538">
                  <c:v>40626</c:v>
                </c:pt>
                <c:pt idx="539">
                  <c:v>40627</c:v>
                </c:pt>
                <c:pt idx="540">
                  <c:v>40630</c:v>
                </c:pt>
                <c:pt idx="541">
                  <c:v>40631</c:v>
                </c:pt>
                <c:pt idx="542">
                  <c:v>40632</c:v>
                </c:pt>
                <c:pt idx="543">
                  <c:v>40633</c:v>
                </c:pt>
                <c:pt idx="544">
                  <c:v>40634</c:v>
                </c:pt>
                <c:pt idx="545">
                  <c:v>40639</c:v>
                </c:pt>
                <c:pt idx="546">
                  <c:v>40640</c:v>
                </c:pt>
                <c:pt idx="547">
                  <c:v>40641</c:v>
                </c:pt>
                <c:pt idx="548">
                  <c:v>40644</c:v>
                </c:pt>
                <c:pt idx="549">
                  <c:v>40645</c:v>
                </c:pt>
                <c:pt idx="550">
                  <c:v>40646</c:v>
                </c:pt>
                <c:pt idx="551">
                  <c:v>40647</c:v>
                </c:pt>
                <c:pt idx="552">
                  <c:v>40648</c:v>
                </c:pt>
                <c:pt idx="553">
                  <c:v>40651</c:v>
                </c:pt>
                <c:pt idx="554">
                  <c:v>40652</c:v>
                </c:pt>
                <c:pt idx="555">
                  <c:v>40653</c:v>
                </c:pt>
                <c:pt idx="556">
                  <c:v>40654</c:v>
                </c:pt>
                <c:pt idx="557">
                  <c:v>40655</c:v>
                </c:pt>
                <c:pt idx="558">
                  <c:v>40658</c:v>
                </c:pt>
                <c:pt idx="559">
                  <c:v>40659</c:v>
                </c:pt>
                <c:pt idx="560">
                  <c:v>40660</c:v>
                </c:pt>
                <c:pt idx="561">
                  <c:v>40661</c:v>
                </c:pt>
                <c:pt idx="562">
                  <c:v>40662</c:v>
                </c:pt>
                <c:pt idx="563">
                  <c:v>40666</c:v>
                </c:pt>
                <c:pt idx="564">
                  <c:v>40667</c:v>
                </c:pt>
                <c:pt idx="565">
                  <c:v>40668</c:v>
                </c:pt>
                <c:pt idx="566">
                  <c:v>40669</c:v>
                </c:pt>
                <c:pt idx="567">
                  <c:v>40672</c:v>
                </c:pt>
                <c:pt idx="568">
                  <c:v>40673</c:v>
                </c:pt>
                <c:pt idx="569">
                  <c:v>40674</c:v>
                </c:pt>
                <c:pt idx="570">
                  <c:v>40675</c:v>
                </c:pt>
                <c:pt idx="571">
                  <c:v>40676</c:v>
                </c:pt>
                <c:pt idx="572">
                  <c:v>40679</c:v>
                </c:pt>
                <c:pt idx="573">
                  <c:v>40680</c:v>
                </c:pt>
                <c:pt idx="574">
                  <c:v>40681</c:v>
                </c:pt>
                <c:pt idx="575">
                  <c:v>40682</c:v>
                </c:pt>
                <c:pt idx="576">
                  <c:v>40683</c:v>
                </c:pt>
                <c:pt idx="577">
                  <c:v>40686</c:v>
                </c:pt>
                <c:pt idx="578">
                  <c:v>40687</c:v>
                </c:pt>
                <c:pt idx="579">
                  <c:v>40688</c:v>
                </c:pt>
                <c:pt idx="580">
                  <c:v>40689</c:v>
                </c:pt>
                <c:pt idx="581">
                  <c:v>40690</c:v>
                </c:pt>
                <c:pt idx="582">
                  <c:v>40693</c:v>
                </c:pt>
                <c:pt idx="583">
                  <c:v>40694</c:v>
                </c:pt>
                <c:pt idx="584">
                  <c:v>40695</c:v>
                </c:pt>
                <c:pt idx="585">
                  <c:v>40696</c:v>
                </c:pt>
                <c:pt idx="586">
                  <c:v>40697</c:v>
                </c:pt>
                <c:pt idx="587">
                  <c:v>40701</c:v>
                </c:pt>
                <c:pt idx="588">
                  <c:v>40702</c:v>
                </c:pt>
                <c:pt idx="589">
                  <c:v>40703</c:v>
                </c:pt>
                <c:pt idx="590">
                  <c:v>40704</c:v>
                </c:pt>
                <c:pt idx="591">
                  <c:v>40707</c:v>
                </c:pt>
                <c:pt idx="592">
                  <c:v>40708</c:v>
                </c:pt>
                <c:pt idx="593">
                  <c:v>40709</c:v>
                </c:pt>
                <c:pt idx="594">
                  <c:v>40710</c:v>
                </c:pt>
                <c:pt idx="595">
                  <c:v>40711</c:v>
                </c:pt>
                <c:pt idx="596">
                  <c:v>40714</c:v>
                </c:pt>
                <c:pt idx="597">
                  <c:v>40715</c:v>
                </c:pt>
                <c:pt idx="598">
                  <c:v>40716</c:v>
                </c:pt>
                <c:pt idx="599">
                  <c:v>40717</c:v>
                </c:pt>
                <c:pt idx="600">
                  <c:v>40718</c:v>
                </c:pt>
                <c:pt idx="601">
                  <c:v>40721</c:v>
                </c:pt>
                <c:pt idx="602">
                  <c:v>40722</c:v>
                </c:pt>
                <c:pt idx="603">
                  <c:v>40723</c:v>
                </c:pt>
                <c:pt idx="604">
                  <c:v>40724</c:v>
                </c:pt>
                <c:pt idx="605">
                  <c:v>40725</c:v>
                </c:pt>
                <c:pt idx="606">
                  <c:v>40728</c:v>
                </c:pt>
                <c:pt idx="607">
                  <c:v>40729</c:v>
                </c:pt>
                <c:pt idx="608">
                  <c:v>40730</c:v>
                </c:pt>
                <c:pt idx="609">
                  <c:v>40731</c:v>
                </c:pt>
                <c:pt idx="610">
                  <c:v>40732</c:v>
                </c:pt>
                <c:pt idx="611">
                  <c:v>40735</c:v>
                </c:pt>
                <c:pt idx="612">
                  <c:v>40736</c:v>
                </c:pt>
                <c:pt idx="613">
                  <c:v>40737</c:v>
                </c:pt>
                <c:pt idx="614">
                  <c:v>40738</c:v>
                </c:pt>
                <c:pt idx="615">
                  <c:v>40739</c:v>
                </c:pt>
                <c:pt idx="616">
                  <c:v>40742</c:v>
                </c:pt>
                <c:pt idx="617">
                  <c:v>40743</c:v>
                </c:pt>
                <c:pt idx="618">
                  <c:v>40744</c:v>
                </c:pt>
                <c:pt idx="619">
                  <c:v>40745</c:v>
                </c:pt>
                <c:pt idx="620">
                  <c:v>40746</c:v>
                </c:pt>
                <c:pt idx="621">
                  <c:v>40749</c:v>
                </c:pt>
                <c:pt idx="622">
                  <c:v>40750</c:v>
                </c:pt>
                <c:pt idx="623">
                  <c:v>40751</c:v>
                </c:pt>
                <c:pt idx="624">
                  <c:v>40752</c:v>
                </c:pt>
                <c:pt idx="625">
                  <c:v>40753</c:v>
                </c:pt>
                <c:pt idx="626">
                  <c:v>40756</c:v>
                </c:pt>
                <c:pt idx="627">
                  <c:v>40757</c:v>
                </c:pt>
                <c:pt idx="628">
                  <c:v>40758</c:v>
                </c:pt>
                <c:pt idx="629">
                  <c:v>40759</c:v>
                </c:pt>
                <c:pt idx="630">
                  <c:v>40760</c:v>
                </c:pt>
                <c:pt idx="631">
                  <c:v>40763</c:v>
                </c:pt>
                <c:pt idx="632">
                  <c:v>40764</c:v>
                </c:pt>
                <c:pt idx="633">
                  <c:v>40765</c:v>
                </c:pt>
                <c:pt idx="634">
                  <c:v>40766</c:v>
                </c:pt>
                <c:pt idx="635">
                  <c:v>40767</c:v>
                </c:pt>
                <c:pt idx="636">
                  <c:v>40770</c:v>
                </c:pt>
                <c:pt idx="637">
                  <c:v>40771</c:v>
                </c:pt>
                <c:pt idx="638">
                  <c:v>40772</c:v>
                </c:pt>
                <c:pt idx="639">
                  <c:v>40773</c:v>
                </c:pt>
                <c:pt idx="640">
                  <c:v>40774</c:v>
                </c:pt>
                <c:pt idx="641">
                  <c:v>40777</c:v>
                </c:pt>
                <c:pt idx="642">
                  <c:v>40778</c:v>
                </c:pt>
                <c:pt idx="643">
                  <c:v>40779</c:v>
                </c:pt>
                <c:pt idx="644">
                  <c:v>40780</c:v>
                </c:pt>
                <c:pt idx="645">
                  <c:v>40781</c:v>
                </c:pt>
                <c:pt idx="646">
                  <c:v>40784</c:v>
                </c:pt>
                <c:pt idx="647">
                  <c:v>40785</c:v>
                </c:pt>
                <c:pt idx="648">
                  <c:v>40786</c:v>
                </c:pt>
                <c:pt idx="649">
                  <c:v>40787</c:v>
                </c:pt>
                <c:pt idx="650">
                  <c:v>40788</c:v>
                </c:pt>
                <c:pt idx="651">
                  <c:v>40791</c:v>
                </c:pt>
                <c:pt idx="652">
                  <c:v>40792</c:v>
                </c:pt>
                <c:pt idx="653">
                  <c:v>40793</c:v>
                </c:pt>
                <c:pt idx="654">
                  <c:v>40794</c:v>
                </c:pt>
                <c:pt idx="655">
                  <c:v>40795</c:v>
                </c:pt>
                <c:pt idx="656">
                  <c:v>40799</c:v>
                </c:pt>
                <c:pt idx="657">
                  <c:v>40800</c:v>
                </c:pt>
                <c:pt idx="658">
                  <c:v>40801</c:v>
                </c:pt>
                <c:pt idx="659">
                  <c:v>40802</c:v>
                </c:pt>
                <c:pt idx="660">
                  <c:v>40805</c:v>
                </c:pt>
                <c:pt idx="661">
                  <c:v>40806</c:v>
                </c:pt>
                <c:pt idx="662">
                  <c:v>40807</c:v>
                </c:pt>
                <c:pt idx="663">
                  <c:v>40808</c:v>
                </c:pt>
                <c:pt idx="664">
                  <c:v>40809</c:v>
                </c:pt>
                <c:pt idx="665">
                  <c:v>40812</c:v>
                </c:pt>
                <c:pt idx="666">
                  <c:v>40813</c:v>
                </c:pt>
                <c:pt idx="667">
                  <c:v>40814</c:v>
                </c:pt>
                <c:pt idx="668">
                  <c:v>40815</c:v>
                </c:pt>
                <c:pt idx="669">
                  <c:v>40816</c:v>
                </c:pt>
                <c:pt idx="670">
                  <c:v>40826</c:v>
                </c:pt>
                <c:pt idx="671">
                  <c:v>40827</c:v>
                </c:pt>
                <c:pt idx="672">
                  <c:v>40828</c:v>
                </c:pt>
                <c:pt idx="673">
                  <c:v>40829</c:v>
                </c:pt>
                <c:pt idx="674">
                  <c:v>40830</c:v>
                </c:pt>
                <c:pt idx="675">
                  <c:v>40833</c:v>
                </c:pt>
                <c:pt idx="676">
                  <c:v>40834</c:v>
                </c:pt>
                <c:pt idx="677">
                  <c:v>40835</c:v>
                </c:pt>
                <c:pt idx="678">
                  <c:v>40836</c:v>
                </c:pt>
                <c:pt idx="679">
                  <c:v>40837</c:v>
                </c:pt>
                <c:pt idx="680">
                  <c:v>40840</c:v>
                </c:pt>
                <c:pt idx="681">
                  <c:v>40841</c:v>
                </c:pt>
                <c:pt idx="682">
                  <c:v>40842</c:v>
                </c:pt>
                <c:pt idx="683">
                  <c:v>40843</c:v>
                </c:pt>
                <c:pt idx="684">
                  <c:v>40844</c:v>
                </c:pt>
                <c:pt idx="685">
                  <c:v>40847</c:v>
                </c:pt>
                <c:pt idx="686">
                  <c:v>40848</c:v>
                </c:pt>
                <c:pt idx="687">
                  <c:v>40849</c:v>
                </c:pt>
                <c:pt idx="688">
                  <c:v>40850</c:v>
                </c:pt>
                <c:pt idx="689">
                  <c:v>40851</c:v>
                </c:pt>
                <c:pt idx="690">
                  <c:v>40854</c:v>
                </c:pt>
                <c:pt idx="691">
                  <c:v>40855</c:v>
                </c:pt>
                <c:pt idx="692">
                  <c:v>40856</c:v>
                </c:pt>
                <c:pt idx="693">
                  <c:v>40857</c:v>
                </c:pt>
                <c:pt idx="694">
                  <c:v>40858</c:v>
                </c:pt>
                <c:pt idx="695">
                  <c:v>40861</c:v>
                </c:pt>
                <c:pt idx="696">
                  <c:v>40862</c:v>
                </c:pt>
                <c:pt idx="697">
                  <c:v>40863</c:v>
                </c:pt>
                <c:pt idx="698">
                  <c:v>40864</c:v>
                </c:pt>
                <c:pt idx="699">
                  <c:v>40865</c:v>
                </c:pt>
                <c:pt idx="700">
                  <c:v>40868</c:v>
                </c:pt>
                <c:pt idx="701">
                  <c:v>40869</c:v>
                </c:pt>
                <c:pt idx="702">
                  <c:v>40870</c:v>
                </c:pt>
                <c:pt idx="703">
                  <c:v>40871</c:v>
                </c:pt>
                <c:pt idx="704">
                  <c:v>40872</c:v>
                </c:pt>
                <c:pt idx="705">
                  <c:v>40875</c:v>
                </c:pt>
                <c:pt idx="706">
                  <c:v>40876</c:v>
                </c:pt>
                <c:pt idx="707">
                  <c:v>40877</c:v>
                </c:pt>
                <c:pt idx="708">
                  <c:v>40878</c:v>
                </c:pt>
                <c:pt idx="709">
                  <c:v>40879</c:v>
                </c:pt>
                <c:pt idx="710">
                  <c:v>40882</c:v>
                </c:pt>
                <c:pt idx="711">
                  <c:v>40883</c:v>
                </c:pt>
                <c:pt idx="712">
                  <c:v>40884</c:v>
                </c:pt>
                <c:pt idx="713">
                  <c:v>40885</c:v>
                </c:pt>
                <c:pt idx="714">
                  <c:v>40886</c:v>
                </c:pt>
                <c:pt idx="715">
                  <c:v>40889</c:v>
                </c:pt>
                <c:pt idx="716">
                  <c:v>40890</c:v>
                </c:pt>
                <c:pt idx="717">
                  <c:v>40891</c:v>
                </c:pt>
                <c:pt idx="718">
                  <c:v>40892</c:v>
                </c:pt>
                <c:pt idx="719">
                  <c:v>40893</c:v>
                </c:pt>
                <c:pt idx="720">
                  <c:v>40896</c:v>
                </c:pt>
                <c:pt idx="721">
                  <c:v>40897</c:v>
                </c:pt>
                <c:pt idx="722">
                  <c:v>40898</c:v>
                </c:pt>
                <c:pt idx="723">
                  <c:v>40899</c:v>
                </c:pt>
                <c:pt idx="724">
                  <c:v>40900</c:v>
                </c:pt>
                <c:pt idx="725">
                  <c:v>40903</c:v>
                </c:pt>
                <c:pt idx="726">
                  <c:v>40904</c:v>
                </c:pt>
                <c:pt idx="727">
                  <c:v>40905</c:v>
                </c:pt>
                <c:pt idx="728">
                  <c:v>40906</c:v>
                </c:pt>
                <c:pt idx="729">
                  <c:v>40907</c:v>
                </c:pt>
                <c:pt idx="730">
                  <c:v>40912</c:v>
                </c:pt>
                <c:pt idx="731">
                  <c:v>40913</c:v>
                </c:pt>
                <c:pt idx="732">
                  <c:v>40914</c:v>
                </c:pt>
                <c:pt idx="733">
                  <c:v>40917</c:v>
                </c:pt>
                <c:pt idx="734">
                  <c:v>40918</c:v>
                </c:pt>
                <c:pt idx="735">
                  <c:v>40919</c:v>
                </c:pt>
                <c:pt idx="736">
                  <c:v>40920</c:v>
                </c:pt>
                <c:pt idx="737">
                  <c:v>40921</c:v>
                </c:pt>
                <c:pt idx="738">
                  <c:v>40924</c:v>
                </c:pt>
                <c:pt idx="739">
                  <c:v>40925</c:v>
                </c:pt>
                <c:pt idx="740">
                  <c:v>40926</c:v>
                </c:pt>
                <c:pt idx="741">
                  <c:v>40927</c:v>
                </c:pt>
                <c:pt idx="742">
                  <c:v>40928</c:v>
                </c:pt>
                <c:pt idx="743">
                  <c:v>40938</c:v>
                </c:pt>
                <c:pt idx="744">
                  <c:v>40939</c:v>
                </c:pt>
                <c:pt idx="745">
                  <c:v>40940</c:v>
                </c:pt>
                <c:pt idx="746">
                  <c:v>40941</c:v>
                </c:pt>
                <c:pt idx="747">
                  <c:v>40942</c:v>
                </c:pt>
                <c:pt idx="748">
                  <c:v>40945</c:v>
                </c:pt>
                <c:pt idx="749">
                  <c:v>40946</c:v>
                </c:pt>
                <c:pt idx="750">
                  <c:v>40947</c:v>
                </c:pt>
                <c:pt idx="751">
                  <c:v>40948</c:v>
                </c:pt>
                <c:pt idx="752">
                  <c:v>40949</c:v>
                </c:pt>
                <c:pt idx="753">
                  <c:v>40952</c:v>
                </c:pt>
                <c:pt idx="754">
                  <c:v>40953</c:v>
                </c:pt>
                <c:pt idx="755">
                  <c:v>40954</c:v>
                </c:pt>
                <c:pt idx="756">
                  <c:v>40955</c:v>
                </c:pt>
                <c:pt idx="757">
                  <c:v>40956</c:v>
                </c:pt>
                <c:pt idx="758">
                  <c:v>40959</c:v>
                </c:pt>
                <c:pt idx="759">
                  <c:v>40960</c:v>
                </c:pt>
                <c:pt idx="760">
                  <c:v>40961</c:v>
                </c:pt>
                <c:pt idx="761">
                  <c:v>40962</c:v>
                </c:pt>
                <c:pt idx="762">
                  <c:v>40963</c:v>
                </c:pt>
                <c:pt idx="763">
                  <c:v>40966</c:v>
                </c:pt>
                <c:pt idx="764">
                  <c:v>40967</c:v>
                </c:pt>
                <c:pt idx="765">
                  <c:v>40968</c:v>
                </c:pt>
                <c:pt idx="766">
                  <c:v>40969</c:v>
                </c:pt>
                <c:pt idx="767">
                  <c:v>40970</c:v>
                </c:pt>
                <c:pt idx="768">
                  <c:v>40973</c:v>
                </c:pt>
                <c:pt idx="769">
                  <c:v>40974</c:v>
                </c:pt>
                <c:pt idx="770">
                  <c:v>40975</c:v>
                </c:pt>
                <c:pt idx="771">
                  <c:v>40976</c:v>
                </c:pt>
                <c:pt idx="772">
                  <c:v>40977</c:v>
                </c:pt>
                <c:pt idx="773">
                  <c:v>40980</c:v>
                </c:pt>
                <c:pt idx="774">
                  <c:v>40981</c:v>
                </c:pt>
                <c:pt idx="775">
                  <c:v>40982</c:v>
                </c:pt>
                <c:pt idx="776">
                  <c:v>40983</c:v>
                </c:pt>
                <c:pt idx="777">
                  <c:v>40984</c:v>
                </c:pt>
                <c:pt idx="778">
                  <c:v>40987</c:v>
                </c:pt>
                <c:pt idx="779">
                  <c:v>40988</c:v>
                </c:pt>
                <c:pt idx="780">
                  <c:v>40989</c:v>
                </c:pt>
                <c:pt idx="781">
                  <c:v>40990</c:v>
                </c:pt>
                <c:pt idx="782">
                  <c:v>40991</c:v>
                </c:pt>
                <c:pt idx="783">
                  <c:v>40994</c:v>
                </c:pt>
                <c:pt idx="784">
                  <c:v>40995</c:v>
                </c:pt>
                <c:pt idx="785">
                  <c:v>40996</c:v>
                </c:pt>
                <c:pt idx="786">
                  <c:v>40997</c:v>
                </c:pt>
                <c:pt idx="787">
                  <c:v>40998</c:v>
                </c:pt>
                <c:pt idx="788">
                  <c:v>41004</c:v>
                </c:pt>
                <c:pt idx="789">
                  <c:v>41005</c:v>
                </c:pt>
                <c:pt idx="790">
                  <c:v>41008</c:v>
                </c:pt>
                <c:pt idx="791">
                  <c:v>41009</c:v>
                </c:pt>
                <c:pt idx="792">
                  <c:v>41010</c:v>
                </c:pt>
                <c:pt idx="793">
                  <c:v>41011</c:v>
                </c:pt>
                <c:pt idx="794">
                  <c:v>41012</c:v>
                </c:pt>
                <c:pt idx="795">
                  <c:v>41015</c:v>
                </c:pt>
                <c:pt idx="796">
                  <c:v>41016</c:v>
                </c:pt>
                <c:pt idx="797">
                  <c:v>41017</c:v>
                </c:pt>
                <c:pt idx="798">
                  <c:v>41018</c:v>
                </c:pt>
                <c:pt idx="799">
                  <c:v>41019</c:v>
                </c:pt>
                <c:pt idx="800">
                  <c:v>41022</c:v>
                </c:pt>
                <c:pt idx="801">
                  <c:v>41023</c:v>
                </c:pt>
                <c:pt idx="802">
                  <c:v>41024</c:v>
                </c:pt>
                <c:pt idx="803">
                  <c:v>41025</c:v>
                </c:pt>
                <c:pt idx="804">
                  <c:v>41026</c:v>
                </c:pt>
                <c:pt idx="805">
                  <c:v>41031</c:v>
                </c:pt>
                <c:pt idx="806">
                  <c:v>41032</c:v>
                </c:pt>
                <c:pt idx="807">
                  <c:v>41033</c:v>
                </c:pt>
                <c:pt idx="808">
                  <c:v>41036</c:v>
                </c:pt>
                <c:pt idx="809">
                  <c:v>41037</c:v>
                </c:pt>
                <c:pt idx="810">
                  <c:v>41038</c:v>
                </c:pt>
                <c:pt idx="811">
                  <c:v>41039</c:v>
                </c:pt>
                <c:pt idx="812">
                  <c:v>41040</c:v>
                </c:pt>
                <c:pt idx="813">
                  <c:v>41043</c:v>
                </c:pt>
                <c:pt idx="814">
                  <c:v>41044</c:v>
                </c:pt>
                <c:pt idx="815">
                  <c:v>41045</c:v>
                </c:pt>
                <c:pt idx="816">
                  <c:v>41046</c:v>
                </c:pt>
                <c:pt idx="817">
                  <c:v>41047</c:v>
                </c:pt>
                <c:pt idx="818">
                  <c:v>41050</c:v>
                </c:pt>
                <c:pt idx="819">
                  <c:v>41051</c:v>
                </c:pt>
                <c:pt idx="820">
                  <c:v>41052</c:v>
                </c:pt>
                <c:pt idx="821">
                  <c:v>41053</c:v>
                </c:pt>
                <c:pt idx="822">
                  <c:v>41054</c:v>
                </c:pt>
                <c:pt idx="823">
                  <c:v>41057</c:v>
                </c:pt>
                <c:pt idx="824">
                  <c:v>41058</c:v>
                </c:pt>
                <c:pt idx="825">
                  <c:v>41059</c:v>
                </c:pt>
                <c:pt idx="826">
                  <c:v>41060</c:v>
                </c:pt>
                <c:pt idx="827">
                  <c:v>41061</c:v>
                </c:pt>
                <c:pt idx="828">
                  <c:v>41064</c:v>
                </c:pt>
                <c:pt idx="829">
                  <c:v>41065</c:v>
                </c:pt>
                <c:pt idx="830">
                  <c:v>41066</c:v>
                </c:pt>
                <c:pt idx="831">
                  <c:v>41067</c:v>
                </c:pt>
                <c:pt idx="832">
                  <c:v>41068</c:v>
                </c:pt>
                <c:pt idx="833">
                  <c:v>41071</c:v>
                </c:pt>
                <c:pt idx="834">
                  <c:v>41072</c:v>
                </c:pt>
                <c:pt idx="835">
                  <c:v>41073</c:v>
                </c:pt>
                <c:pt idx="836">
                  <c:v>41074</c:v>
                </c:pt>
                <c:pt idx="837">
                  <c:v>41075</c:v>
                </c:pt>
                <c:pt idx="838">
                  <c:v>41078</c:v>
                </c:pt>
                <c:pt idx="839">
                  <c:v>41079</c:v>
                </c:pt>
                <c:pt idx="840">
                  <c:v>41080</c:v>
                </c:pt>
                <c:pt idx="841">
                  <c:v>41081</c:v>
                </c:pt>
                <c:pt idx="842">
                  <c:v>41085</c:v>
                </c:pt>
                <c:pt idx="843">
                  <c:v>41086</c:v>
                </c:pt>
                <c:pt idx="844">
                  <c:v>41087</c:v>
                </c:pt>
                <c:pt idx="845">
                  <c:v>41088</c:v>
                </c:pt>
                <c:pt idx="846">
                  <c:v>41089</c:v>
                </c:pt>
                <c:pt idx="847">
                  <c:v>41092</c:v>
                </c:pt>
                <c:pt idx="848">
                  <c:v>41093</c:v>
                </c:pt>
                <c:pt idx="849">
                  <c:v>41094</c:v>
                </c:pt>
                <c:pt idx="850">
                  <c:v>41095</c:v>
                </c:pt>
                <c:pt idx="851">
                  <c:v>41096</c:v>
                </c:pt>
                <c:pt idx="852">
                  <c:v>41099</c:v>
                </c:pt>
                <c:pt idx="853">
                  <c:v>41100</c:v>
                </c:pt>
                <c:pt idx="854">
                  <c:v>41101</c:v>
                </c:pt>
                <c:pt idx="855">
                  <c:v>41102</c:v>
                </c:pt>
                <c:pt idx="856">
                  <c:v>41103</c:v>
                </c:pt>
                <c:pt idx="857">
                  <c:v>41106</c:v>
                </c:pt>
                <c:pt idx="858">
                  <c:v>41107</c:v>
                </c:pt>
                <c:pt idx="859">
                  <c:v>41108</c:v>
                </c:pt>
                <c:pt idx="860">
                  <c:v>41109</c:v>
                </c:pt>
                <c:pt idx="861">
                  <c:v>41110</c:v>
                </c:pt>
                <c:pt idx="862">
                  <c:v>41113</c:v>
                </c:pt>
                <c:pt idx="863">
                  <c:v>41114</c:v>
                </c:pt>
                <c:pt idx="864">
                  <c:v>41115</c:v>
                </c:pt>
                <c:pt idx="865">
                  <c:v>41116</c:v>
                </c:pt>
                <c:pt idx="866">
                  <c:v>41117</c:v>
                </c:pt>
                <c:pt idx="867">
                  <c:v>41120</c:v>
                </c:pt>
                <c:pt idx="868">
                  <c:v>41121</c:v>
                </c:pt>
                <c:pt idx="869">
                  <c:v>41122</c:v>
                </c:pt>
                <c:pt idx="870">
                  <c:v>41123</c:v>
                </c:pt>
                <c:pt idx="871">
                  <c:v>41124</c:v>
                </c:pt>
                <c:pt idx="872">
                  <c:v>41127</c:v>
                </c:pt>
                <c:pt idx="873">
                  <c:v>41128</c:v>
                </c:pt>
                <c:pt idx="874">
                  <c:v>41129</c:v>
                </c:pt>
                <c:pt idx="875">
                  <c:v>41130</c:v>
                </c:pt>
                <c:pt idx="876">
                  <c:v>41131</c:v>
                </c:pt>
                <c:pt idx="877">
                  <c:v>41134</c:v>
                </c:pt>
                <c:pt idx="878">
                  <c:v>41135</c:v>
                </c:pt>
                <c:pt idx="879">
                  <c:v>41136</c:v>
                </c:pt>
                <c:pt idx="880">
                  <c:v>41137</c:v>
                </c:pt>
                <c:pt idx="881">
                  <c:v>41138</c:v>
                </c:pt>
                <c:pt idx="882">
                  <c:v>41141</c:v>
                </c:pt>
                <c:pt idx="883">
                  <c:v>41142</c:v>
                </c:pt>
                <c:pt idx="884">
                  <c:v>41143</c:v>
                </c:pt>
                <c:pt idx="885">
                  <c:v>41144</c:v>
                </c:pt>
                <c:pt idx="886">
                  <c:v>41145</c:v>
                </c:pt>
                <c:pt idx="887">
                  <c:v>41148</c:v>
                </c:pt>
                <c:pt idx="888">
                  <c:v>41149</c:v>
                </c:pt>
                <c:pt idx="889">
                  <c:v>41150</c:v>
                </c:pt>
                <c:pt idx="890">
                  <c:v>41151</c:v>
                </c:pt>
                <c:pt idx="891">
                  <c:v>41152</c:v>
                </c:pt>
                <c:pt idx="892">
                  <c:v>41155</c:v>
                </c:pt>
                <c:pt idx="893">
                  <c:v>41156</c:v>
                </c:pt>
                <c:pt idx="894">
                  <c:v>41157</c:v>
                </c:pt>
                <c:pt idx="895">
                  <c:v>41158</c:v>
                </c:pt>
                <c:pt idx="896">
                  <c:v>41159</c:v>
                </c:pt>
                <c:pt idx="897">
                  <c:v>41162</c:v>
                </c:pt>
                <c:pt idx="898">
                  <c:v>41163</c:v>
                </c:pt>
                <c:pt idx="899">
                  <c:v>41164</c:v>
                </c:pt>
                <c:pt idx="900">
                  <c:v>41165</c:v>
                </c:pt>
                <c:pt idx="901">
                  <c:v>41166</c:v>
                </c:pt>
                <c:pt idx="902">
                  <c:v>41169</c:v>
                </c:pt>
                <c:pt idx="903">
                  <c:v>41170</c:v>
                </c:pt>
                <c:pt idx="904">
                  <c:v>41171</c:v>
                </c:pt>
                <c:pt idx="905">
                  <c:v>41172</c:v>
                </c:pt>
                <c:pt idx="906">
                  <c:v>41173</c:v>
                </c:pt>
                <c:pt idx="907">
                  <c:v>41176</c:v>
                </c:pt>
                <c:pt idx="908">
                  <c:v>41177</c:v>
                </c:pt>
                <c:pt idx="909">
                  <c:v>41178</c:v>
                </c:pt>
                <c:pt idx="910">
                  <c:v>41179</c:v>
                </c:pt>
                <c:pt idx="911">
                  <c:v>41180</c:v>
                </c:pt>
                <c:pt idx="912">
                  <c:v>41190</c:v>
                </c:pt>
                <c:pt idx="913">
                  <c:v>41191</c:v>
                </c:pt>
                <c:pt idx="914">
                  <c:v>41192</c:v>
                </c:pt>
                <c:pt idx="915">
                  <c:v>41193</c:v>
                </c:pt>
                <c:pt idx="916">
                  <c:v>41194</c:v>
                </c:pt>
                <c:pt idx="917">
                  <c:v>41197</c:v>
                </c:pt>
                <c:pt idx="918">
                  <c:v>41198</c:v>
                </c:pt>
                <c:pt idx="919">
                  <c:v>41199</c:v>
                </c:pt>
                <c:pt idx="920">
                  <c:v>41200</c:v>
                </c:pt>
                <c:pt idx="921">
                  <c:v>41201</c:v>
                </c:pt>
                <c:pt idx="922">
                  <c:v>41204</c:v>
                </c:pt>
                <c:pt idx="923">
                  <c:v>41205</c:v>
                </c:pt>
                <c:pt idx="924">
                  <c:v>41206</c:v>
                </c:pt>
                <c:pt idx="925">
                  <c:v>41207</c:v>
                </c:pt>
                <c:pt idx="926">
                  <c:v>41208</c:v>
                </c:pt>
                <c:pt idx="927">
                  <c:v>41211</c:v>
                </c:pt>
                <c:pt idx="928">
                  <c:v>41212</c:v>
                </c:pt>
                <c:pt idx="929">
                  <c:v>41213</c:v>
                </c:pt>
                <c:pt idx="930">
                  <c:v>41214</c:v>
                </c:pt>
                <c:pt idx="931">
                  <c:v>41215</c:v>
                </c:pt>
                <c:pt idx="932">
                  <c:v>41218</c:v>
                </c:pt>
                <c:pt idx="933">
                  <c:v>41219</c:v>
                </c:pt>
                <c:pt idx="934">
                  <c:v>41220</c:v>
                </c:pt>
                <c:pt idx="935">
                  <c:v>41221</c:v>
                </c:pt>
                <c:pt idx="936">
                  <c:v>41222</c:v>
                </c:pt>
                <c:pt idx="937">
                  <c:v>41225</c:v>
                </c:pt>
                <c:pt idx="938">
                  <c:v>41226</c:v>
                </c:pt>
                <c:pt idx="939">
                  <c:v>41227</c:v>
                </c:pt>
                <c:pt idx="940">
                  <c:v>41228</c:v>
                </c:pt>
                <c:pt idx="941">
                  <c:v>41229</c:v>
                </c:pt>
                <c:pt idx="942">
                  <c:v>41232</c:v>
                </c:pt>
                <c:pt idx="943">
                  <c:v>41233</c:v>
                </c:pt>
                <c:pt idx="944">
                  <c:v>41234</c:v>
                </c:pt>
                <c:pt idx="945">
                  <c:v>41235</c:v>
                </c:pt>
                <c:pt idx="946">
                  <c:v>41236</c:v>
                </c:pt>
                <c:pt idx="947">
                  <c:v>41239</c:v>
                </c:pt>
                <c:pt idx="948">
                  <c:v>41240</c:v>
                </c:pt>
                <c:pt idx="949">
                  <c:v>41241</c:v>
                </c:pt>
                <c:pt idx="950">
                  <c:v>41242</c:v>
                </c:pt>
                <c:pt idx="951">
                  <c:v>41243</c:v>
                </c:pt>
                <c:pt idx="952">
                  <c:v>41246</c:v>
                </c:pt>
                <c:pt idx="953">
                  <c:v>41247</c:v>
                </c:pt>
                <c:pt idx="954">
                  <c:v>41248</c:v>
                </c:pt>
                <c:pt idx="955">
                  <c:v>41249</c:v>
                </c:pt>
                <c:pt idx="956">
                  <c:v>41250</c:v>
                </c:pt>
                <c:pt idx="957">
                  <c:v>41253</c:v>
                </c:pt>
                <c:pt idx="958">
                  <c:v>41254</c:v>
                </c:pt>
                <c:pt idx="959">
                  <c:v>41255</c:v>
                </c:pt>
                <c:pt idx="960">
                  <c:v>41256</c:v>
                </c:pt>
                <c:pt idx="961">
                  <c:v>41257</c:v>
                </c:pt>
                <c:pt idx="962">
                  <c:v>41260</c:v>
                </c:pt>
                <c:pt idx="963">
                  <c:v>41261</c:v>
                </c:pt>
                <c:pt idx="964">
                  <c:v>41262</c:v>
                </c:pt>
                <c:pt idx="965">
                  <c:v>41263</c:v>
                </c:pt>
                <c:pt idx="966">
                  <c:v>41264</c:v>
                </c:pt>
                <c:pt idx="967">
                  <c:v>41267</c:v>
                </c:pt>
                <c:pt idx="968">
                  <c:v>41268</c:v>
                </c:pt>
                <c:pt idx="969">
                  <c:v>41269</c:v>
                </c:pt>
                <c:pt idx="970">
                  <c:v>41270</c:v>
                </c:pt>
                <c:pt idx="971">
                  <c:v>41271</c:v>
                </c:pt>
                <c:pt idx="972">
                  <c:v>41274</c:v>
                </c:pt>
                <c:pt idx="973">
                  <c:v>41278</c:v>
                </c:pt>
                <c:pt idx="974">
                  <c:v>41281</c:v>
                </c:pt>
                <c:pt idx="975">
                  <c:v>41282</c:v>
                </c:pt>
                <c:pt idx="976">
                  <c:v>41283</c:v>
                </c:pt>
                <c:pt idx="977">
                  <c:v>41284</c:v>
                </c:pt>
                <c:pt idx="978">
                  <c:v>41285</c:v>
                </c:pt>
                <c:pt idx="979">
                  <c:v>41288</c:v>
                </c:pt>
                <c:pt idx="980">
                  <c:v>41289</c:v>
                </c:pt>
                <c:pt idx="981">
                  <c:v>41290</c:v>
                </c:pt>
                <c:pt idx="982">
                  <c:v>41291</c:v>
                </c:pt>
                <c:pt idx="983">
                  <c:v>41292</c:v>
                </c:pt>
                <c:pt idx="984">
                  <c:v>41295</c:v>
                </c:pt>
                <c:pt idx="985">
                  <c:v>41296</c:v>
                </c:pt>
                <c:pt idx="986">
                  <c:v>41297</c:v>
                </c:pt>
                <c:pt idx="987">
                  <c:v>41298</c:v>
                </c:pt>
                <c:pt idx="988">
                  <c:v>41299</c:v>
                </c:pt>
                <c:pt idx="989">
                  <c:v>41302</c:v>
                </c:pt>
                <c:pt idx="990">
                  <c:v>41303</c:v>
                </c:pt>
                <c:pt idx="991">
                  <c:v>41304</c:v>
                </c:pt>
                <c:pt idx="992">
                  <c:v>41305</c:v>
                </c:pt>
                <c:pt idx="993">
                  <c:v>41306</c:v>
                </c:pt>
                <c:pt idx="994">
                  <c:v>41309</c:v>
                </c:pt>
                <c:pt idx="995">
                  <c:v>41310</c:v>
                </c:pt>
                <c:pt idx="996">
                  <c:v>41311</c:v>
                </c:pt>
                <c:pt idx="997">
                  <c:v>41312</c:v>
                </c:pt>
                <c:pt idx="998">
                  <c:v>41313</c:v>
                </c:pt>
                <c:pt idx="999">
                  <c:v>41323</c:v>
                </c:pt>
                <c:pt idx="1000">
                  <c:v>41324</c:v>
                </c:pt>
                <c:pt idx="1001">
                  <c:v>41325</c:v>
                </c:pt>
                <c:pt idx="1002">
                  <c:v>41326</c:v>
                </c:pt>
                <c:pt idx="1003">
                  <c:v>41327</c:v>
                </c:pt>
                <c:pt idx="1004">
                  <c:v>41330</c:v>
                </c:pt>
                <c:pt idx="1005">
                  <c:v>41331</c:v>
                </c:pt>
                <c:pt idx="1006">
                  <c:v>41332</c:v>
                </c:pt>
                <c:pt idx="1007">
                  <c:v>41333</c:v>
                </c:pt>
                <c:pt idx="1008">
                  <c:v>41334</c:v>
                </c:pt>
                <c:pt idx="1009">
                  <c:v>41337</c:v>
                </c:pt>
                <c:pt idx="1010">
                  <c:v>41338</c:v>
                </c:pt>
                <c:pt idx="1011">
                  <c:v>41339</c:v>
                </c:pt>
                <c:pt idx="1012">
                  <c:v>41340</c:v>
                </c:pt>
                <c:pt idx="1013">
                  <c:v>41341</c:v>
                </c:pt>
                <c:pt idx="1014">
                  <c:v>41344</c:v>
                </c:pt>
                <c:pt idx="1015">
                  <c:v>41345</c:v>
                </c:pt>
                <c:pt idx="1016">
                  <c:v>41346</c:v>
                </c:pt>
                <c:pt idx="1017">
                  <c:v>41347</c:v>
                </c:pt>
                <c:pt idx="1018">
                  <c:v>41348</c:v>
                </c:pt>
                <c:pt idx="1019">
                  <c:v>41351</c:v>
                </c:pt>
                <c:pt idx="1020">
                  <c:v>41352</c:v>
                </c:pt>
                <c:pt idx="1021">
                  <c:v>41353</c:v>
                </c:pt>
                <c:pt idx="1022">
                  <c:v>41354</c:v>
                </c:pt>
                <c:pt idx="1023">
                  <c:v>41355</c:v>
                </c:pt>
                <c:pt idx="1024">
                  <c:v>41358</c:v>
                </c:pt>
                <c:pt idx="1025">
                  <c:v>41359</c:v>
                </c:pt>
                <c:pt idx="1026">
                  <c:v>41360</c:v>
                </c:pt>
                <c:pt idx="1027">
                  <c:v>41361</c:v>
                </c:pt>
                <c:pt idx="1028">
                  <c:v>41362</c:v>
                </c:pt>
                <c:pt idx="1029">
                  <c:v>41365</c:v>
                </c:pt>
                <c:pt idx="1030">
                  <c:v>41366</c:v>
                </c:pt>
                <c:pt idx="1031">
                  <c:v>41367</c:v>
                </c:pt>
                <c:pt idx="1032">
                  <c:v>41372</c:v>
                </c:pt>
                <c:pt idx="1033">
                  <c:v>41373</c:v>
                </c:pt>
                <c:pt idx="1034">
                  <c:v>41374</c:v>
                </c:pt>
                <c:pt idx="1035">
                  <c:v>41375</c:v>
                </c:pt>
                <c:pt idx="1036">
                  <c:v>41376</c:v>
                </c:pt>
                <c:pt idx="1037">
                  <c:v>41379</c:v>
                </c:pt>
                <c:pt idx="1038">
                  <c:v>41380</c:v>
                </c:pt>
                <c:pt idx="1039">
                  <c:v>41381</c:v>
                </c:pt>
                <c:pt idx="1040">
                  <c:v>41382</c:v>
                </c:pt>
                <c:pt idx="1041">
                  <c:v>41383</c:v>
                </c:pt>
                <c:pt idx="1042">
                  <c:v>41386</c:v>
                </c:pt>
                <c:pt idx="1043">
                  <c:v>41387</c:v>
                </c:pt>
                <c:pt idx="1044">
                  <c:v>41388</c:v>
                </c:pt>
                <c:pt idx="1045">
                  <c:v>41389</c:v>
                </c:pt>
                <c:pt idx="1046">
                  <c:v>41390</c:v>
                </c:pt>
                <c:pt idx="1047">
                  <c:v>41396</c:v>
                </c:pt>
                <c:pt idx="1048">
                  <c:v>41397</c:v>
                </c:pt>
                <c:pt idx="1049">
                  <c:v>41400</c:v>
                </c:pt>
                <c:pt idx="1050">
                  <c:v>41401</c:v>
                </c:pt>
                <c:pt idx="1051">
                  <c:v>41402</c:v>
                </c:pt>
                <c:pt idx="1052">
                  <c:v>41403</c:v>
                </c:pt>
                <c:pt idx="1053">
                  <c:v>41404</c:v>
                </c:pt>
                <c:pt idx="1054">
                  <c:v>41407</c:v>
                </c:pt>
                <c:pt idx="1055">
                  <c:v>41408</c:v>
                </c:pt>
                <c:pt idx="1056">
                  <c:v>41409</c:v>
                </c:pt>
                <c:pt idx="1057">
                  <c:v>41410</c:v>
                </c:pt>
                <c:pt idx="1058">
                  <c:v>41411</c:v>
                </c:pt>
                <c:pt idx="1059">
                  <c:v>41414</c:v>
                </c:pt>
                <c:pt idx="1060">
                  <c:v>41415</c:v>
                </c:pt>
                <c:pt idx="1061">
                  <c:v>41416</c:v>
                </c:pt>
                <c:pt idx="1062">
                  <c:v>41417</c:v>
                </c:pt>
                <c:pt idx="1063">
                  <c:v>41418</c:v>
                </c:pt>
                <c:pt idx="1064">
                  <c:v>41421</c:v>
                </c:pt>
                <c:pt idx="1065">
                  <c:v>41422</c:v>
                </c:pt>
                <c:pt idx="1066">
                  <c:v>41423</c:v>
                </c:pt>
                <c:pt idx="1067">
                  <c:v>41424</c:v>
                </c:pt>
                <c:pt idx="1068">
                  <c:v>41425</c:v>
                </c:pt>
                <c:pt idx="1069">
                  <c:v>41428</c:v>
                </c:pt>
                <c:pt idx="1070">
                  <c:v>41429</c:v>
                </c:pt>
                <c:pt idx="1071">
                  <c:v>41430</c:v>
                </c:pt>
                <c:pt idx="1072">
                  <c:v>41431</c:v>
                </c:pt>
                <c:pt idx="1073">
                  <c:v>41432</c:v>
                </c:pt>
                <c:pt idx="1074">
                  <c:v>41438</c:v>
                </c:pt>
                <c:pt idx="1075">
                  <c:v>41439</c:v>
                </c:pt>
                <c:pt idx="1076">
                  <c:v>41442</c:v>
                </c:pt>
                <c:pt idx="1077">
                  <c:v>41443</c:v>
                </c:pt>
                <c:pt idx="1078">
                  <c:v>41444</c:v>
                </c:pt>
                <c:pt idx="1079">
                  <c:v>41445</c:v>
                </c:pt>
                <c:pt idx="1080">
                  <c:v>41446</c:v>
                </c:pt>
                <c:pt idx="1081">
                  <c:v>41449</c:v>
                </c:pt>
                <c:pt idx="1082">
                  <c:v>41450</c:v>
                </c:pt>
                <c:pt idx="1083">
                  <c:v>41451</c:v>
                </c:pt>
                <c:pt idx="1084">
                  <c:v>41452</c:v>
                </c:pt>
                <c:pt idx="1085">
                  <c:v>41453</c:v>
                </c:pt>
                <c:pt idx="1086">
                  <c:v>41456</c:v>
                </c:pt>
                <c:pt idx="1087">
                  <c:v>41457</c:v>
                </c:pt>
                <c:pt idx="1088">
                  <c:v>41458</c:v>
                </c:pt>
                <c:pt idx="1089">
                  <c:v>41459</c:v>
                </c:pt>
                <c:pt idx="1090">
                  <c:v>41460</c:v>
                </c:pt>
                <c:pt idx="1091">
                  <c:v>41463</c:v>
                </c:pt>
                <c:pt idx="1092">
                  <c:v>41464</c:v>
                </c:pt>
                <c:pt idx="1093">
                  <c:v>41465</c:v>
                </c:pt>
                <c:pt idx="1094">
                  <c:v>41466</c:v>
                </c:pt>
                <c:pt idx="1095">
                  <c:v>41467</c:v>
                </c:pt>
                <c:pt idx="1096">
                  <c:v>41470</c:v>
                </c:pt>
                <c:pt idx="1097">
                  <c:v>41471</c:v>
                </c:pt>
                <c:pt idx="1098">
                  <c:v>41472</c:v>
                </c:pt>
                <c:pt idx="1099">
                  <c:v>41473</c:v>
                </c:pt>
                <c:pt idx="1100">
                  <c:v>41474</c:v>
                </c:pt>
                <c:pt idx="1101">
                  <c:v>41477</c:v>
                </c:pt>
                <c:pt idx="1102">
                  <c:v>41478</c:v>
                </c:pt>
                <c:pt idx="1103">
                  <c:v>41479</c:v>
                </c:pt>
                <c:pt idx="1104">
                  <c:v>41480</c:v>
                </c:pt>
                <c:pt idx="1105">
                  <c:v>41481</c:v>
                </c:pt>
                <c:pt idx="1106">
                  <c:v>41484</c:v>
                </c:pt>
                <c:pt idx="1107">
                  <c:v>41485</c:v>
                </c:pt>
                <c:pt idx="1108">
                  <c:v>41486</c:v>
                </c:pt>
                <c:pt idx="1109">
                  <c:v>41487</c:v>
                </c:pt>
                <c:pt idx="1110">
                  <c:v>41488</c:v>
                </c:pt>
                <c:pt idx="1111">
                  <c:v>41491</c:v>
                </c:pt>
                <c:pt idx="1112">
                  <c:v>41492</c:v>
                </c:pt>
                <c:pt idx="1113">
                  <c:v>41493</c:v>
                </c:pt>
                <c:pt idx="1114">
                  <c:v>41494</c:v>
                </c:pt>
                <c:pt idx="1115">
                  <c:v>41495</c:v>
                </c:pt>
                <c:pt idx="1116">
                  <c:v>41498</c:v>
                </c:pt>
                <c:pt idx="1117">
                  <c:v>41499</c:v>
                </c:pt>
                <c:pt idx="1118">
                  <c:v>41500</c:v>
                </c:pt>
                <c:pt idx="1119">
                  <c:v>41501</c:v>
                </c:pt>
                <c:pt idx="1120">
                  <c:v>41502</c:v>
                </c:pt>
                <c:pt idx="1121">
                  <c:v>41505</c:v>
                </c:pt>
                <c:pt idx="1122">
                  <c:v>41506</c:v>
                </c:pt>
                <c:pt idx="1123">
                  <c:v>41507</c:v>
                </c:pt>
                <c:pt idx="1124">
                  <c:v>41508</c:v>
                </c:pt>
                <c:pt idx="1125">
                  <c:v>41509</c:v>
                </c:pt>
                <c:pt idx="1126">
                  <c:v>41512</c:v>
                </c:pt>
                <c:pt idx="1127">
                  <c:v>41513</c:v>
                </c:pt>
                <c:pt idx="1128">
                  <c:v>41514</c:v>
                </c:pt>
                <c:pt idx="1129">
                  <c:v>41515</c:v>
                </c:pt>
                <c:pt idx="1130">
                  <c:v>41516</c:v>
                </c:pt>
                <c:pt idx="1131">
                  <c:v>41519</c:v>
                </c:pt>
                <c:pt idx="1132">
                  <c:v>41520</c:v>
                </c:pt>
                <c:pt idx="1133">
                  <c:v>41521</c:v>
                </c:pt>
                <c:pt idx="1134">
                  <c:v>41522</c:v>
                </c:pt>
                <c:pt idx="1135">
                  <c:v>41523</c:v>
                </c:pt>
                <c:pt idx="1136">
                  <c:v>41526</c:v>
                </c:pt>
                <c:pt idx="1137">
                  <c:v>41527</c:v>
                </c:pt>
                <c:pt idx="1138">
                  <c:v>41528</c:v>
                </c:pt>
                <c:pt idx="1139">
                  <c:v>41529</c:v>
                </c:pt>
                <c:pt idx="1140">
                  <c:v>41530</c:v>
                </c:pt>
                <c:pt idx="1141">
                  <c:v>41533</c:v>
                </c:pt>
                <c:pt idx="1142">
                  <c:v>41534</c:v>
                </c:pt>
                <c:pt idx="1143">
                  <c:v>41535</c:v>
                </c:pt>
                <c:pt idx="1144">
                  <c:v>41540</c:v>
                </c:pt>
                <c:pt idx="1145">
                  <c:v>41541</c:v>
                </c:pt>
                <c:pt idx="1146">
                  <c:v>41542</c:v>
                </c:pt>
                <c:pt idx="1147">
                  <c:v>41543</c:v>
                </c:pt>
                <c:pt idx="1148">
                  <c:v>41544</c:v>
                </c:pt>
                <c:pt idx="1149">
                  <c:v>41547</c:v>
                </c:pt>
                <c:pt idx="1150">
                  <c:v>41555</c:v>
                </c:pt>
                <c:pt idx="1151">
                  <c:v>41556</c:v>
                </c:pt>
                <c:pt idx="1152">
                  <c:v>41557</c:v>
                </c:pt>
                <c:pt idx="1153">
                  <c:v>41558</c:v>
                </c:pt>
                <c:pt idx="1154">
                  <c:v>41561</c:v>
                </c:pt>
                <c:pt idx="1155">
                  <c:v>41562</c:v>
                </c:pt>
                <c:pt idx="1156">
                  <c:v>41563</c:v>
                </c:pt>
                <c:pt idx="1157">
                  <c:v>41564</c:v>
                </c:pt>
                <c:pt idx="1158">
                  <c:v>41565</c:v>
                </c:pt>
                <c:pt idx="1159">
                  <c:v>41568</c:v>
                </c:pt>
                <c:pt idx="1160">
                  <c:v>41569</c:v>
                </c:pt>
                <c:pt idx="1161">
                  <c:v>41570</c:v>
                </c:pt>
                <c:pt idx="1162">
                  <c:v>41571</c:v>
                </c:pt>
                <c:pt idx="1163">
                  <c:v>41572</c:v>
                </c:pt>
                <c:pt idx="1164">
                  <c:v>41575</c:v>
                </c:pt>
                <c:pt idx="1165">
                  <c:v>41576</c:v>
                </c:pt>
                <c:pt idx="1166">
                  <c:v>41577</c:v>
                </c:pt>
                <c:pt idx="1167">
                  <c:v>41578</c:v>
                </c:pt>
                <c:pt idx="1168">
                  <c:v>41579</c:v>
                </c:pt>
                <c:pt idx="1169">
                  <c:v>41582</c:v>
                </c:pt>
                <c:pt idx="1170">
                  <c:v>41583</c:v>
                </c:pt>
                <c:pt idx="1171">
                  <c:v>41584</c:v>
                </c:pt>
                <c:pt idx="1172">
                  <c:v>41585</c:v>
                </c:pt>
                <c:pt idx="1173">
                  <c:v>41586</c:v>
                </c:pt>
                <c:pt idx="1174">
                  <c:v>41589</c:v>
                </c:pt>
                <c:pt idx="1175">
                  <c:v>41590</c:v>
                </c:pt>
                <c:pt idx="1176">
                  <c:v>41591</c:v>
                </c:pt>
                <c:pt idx="1177">
                  <c:v>41592</c:v>
                </c:pt>
                <c:pt idx="1178">
                  <c:v>41593</c:v>
                </c:pt>
                <c:pt idx="1179">
                  <c:v>41596</c:v>
                </c:pt>
                <c:pt idx="1180">
                  <c:v>41597</c:v>
                </c:pt>
                <c:pt idx="1181">
                  <c:v>41598</c:v>
                </c:pt>
                <c:pt idx="1182">
                  <c:v>41599</c:v>
                </c:pt>
                <c:pt idx="1183">
                  <c:v>41600</c:v>
                </c:pt>
                <c:pt idx="1184">
                  <c:v>41603</c:v>
                </c:pt>
                <c:pt idx="1185">
                  <c:v>41604</c:v>
                </c:pt>
                <c:pt idx="1186">
                  <c:v>41605</c:v>
                </c:pt>
                <c:pt idx="1187">
                  <c:v>41606</c:v>
                </c:pt>
                <c:pt idx="1188">
                  <c:v>41607</c:v>
                </c:pt>
                <c:pt idx="1189">
                  <c:v>41610</c:v>
                </c:pt>
                <c:pt idx="1190">
                  <c:v>41611</c:v>
                </c:pt>
                <c:pt idx="1191">
                  <c:v>41612</c:v>
                </c:pt>
                <c:pt idx="1192">
                  <c:v>41613</c:v>
                </c:pt>
                <c:pt idx="1193">
                  <c:v>41614</c:v>
                </c:pt>
                <c:pt idx="1194">
                  <c:v>41617</c:v>
                </c:pt>
                <c:pt idx="1195">
                  <c:v>41618</c:v>
                </c:pt>
                <c:pt idx="1196">
                  <c:v>41619</c:v>
                </c:pt>
                <c:pt idx="1197">
                  <c:v>41620</c:v>
                </c:pt>
                <c:pt idx="1198">
                  <c:v>41621</c:v>
                </c:pt>
                <c:pt idx="1199">
                  <c:v>41624</c:v>
                </c:pt>
                <c:pt idx="1200">
                  <c:v>41625</c:v>
                </c:pt>
                <c:pt idx="1201">
                  <c:v>41626</c:v>
                </c:pt>
                <c:pt idx="1202">
                  <c:v>41627</c:v>
                </c:pt>
                <c:pt idx="1203">
                  <c:v>41628</c:v>
                </c:pt>
                <c:pt idx="1204">
                  <c:v>41631</c:v>
                </c:pt>
                <c:pt idx="1205">
                  <c:v>41632</c:v>
                </c:pt>
                <c:pt idx="1206">
                  <c:v>41633</c:v>
                </c:pt>
                <c:pt idx="1207">
                  <c:v>41634</c:v>
                </c:pt>
                <c:pt idx="1208">
                  <c:v>41635</c:v>
                </c:pt>
                <c:pt idx="1209">
                  <c:v>41638</c:v>
                </c:pt>
                <c:pt idx="1210">
                  <c:v>41639</c:v>
                </c:pt>
                <c:pt idx="1211">
                  <c:v>41641</c:v>
                </c:pt>
                <c:pt idx="1212">
                  <c:v>41642</c:v>
                </c:pt>
                <c:pt idx="1213">
                  <c:v>41645</c:v>
                </c:pt>
                <c:pt idx="1214">
                  <c:v>41646</c:v>
                </c:pt>
                <c:pt idx="1215">
                  <c:v>41647</c:v>
                </c:pt>
                <c:pt idx="1216">
                  <c:v>41648</c:v>
                </c:pt>
                <c:pt idx="1217">
                  <c:v>41649</c:v>
                </c:pt>
                <c:pt idx="1218">
                  <c:v>41652</c:v>
                </c:pt>
                <c:pt idx="1219">
                  <c:v>41653</c:v>
                </c:pt>
                <c:pt idx="1220">
                  <c:v>41654</c:v>
                </c:pt>
                <c:pt idx="1221">
                  <c:v>41655</c:v>
                </c:pt>
                <c:pt idx="1222">
                  <c:v>41656</c:v>
                </c:pt>
                <c:pt idx="1223">
                  <c:v>41659</c:v>
                </c:pt>
                <c:pt idx="1224">
                  <c:v>41660</c:v>
                </c:pt>
                <c:pt idx="1225">
                  <c:v>41661</c:v>
                </c:pt>
                <c:pt idx="1226">
                  <c:v>41662</c:v>
                </c:pt>
                <c:pt idx="1227">
                  <c:v>41663</c:v>
                </c:pt>
                <c:pt idx="1228">
                  <c:v>41666</c:v>
                </c:pt>
                <c:pt idx="1229">
                  <c:v>41667</c:v>
                </c:pt>
                <c:pt idx="1230">
                  <c:v>41668</c:v>
                </c:pt>
                <c:pt idx="1231">
                  <c:v>41669</c:v>
                </c:pt>
                <c:pt idx="1232">
                  <c:v>41677</c:v>
                </c:pt>
                <c:pt idx="1233">
                  <c:v>41680</c:v>
                </c:pt>
                <c:pt idx="1234">
                  <c:v>41681</c:v>
                </c:pt>
                <c:pt idx="1235">
                  <c:v>41682</c:v>
                </c:pt>
                <c:pt idx="1236">
                  <c:v>41683</c:v>
                </c:pt>
                <c:pt idx="1237">
                  <c:v>41684</c:v>
                </c:pt>
                <c:pt idx="1238">
                  <c:v>41687</c:v>
                </c:pt>
                <c:pt idx="1239">
                  <c:v>41688</c:v>
                </c:pt>
                <c:pt idx="1240">
                  <c:v>41689</c:v>
                </c:pt>
                <c:pt idx="1241">
                  <c:v>41690</c:v>
                </c:pt>
                <c:pt idx="1242">
                  <c:v>41691</c:v>
                </c:pt>
                <c:pt idx="1243">
                  <c:v>41694</c:v>
                </c:pt>
                <c:pt idx="1244">
                  <c:v>41695</c:v>
                </c:pt>
                <c:pt idx="1245">
                  <c:v>41696</c:v>
                </c:pt>
                <c:pt idx="1246">
                  <c:v>41697</c:v>
                </c:pt>
                <c:pt idx="1247">
                  <c:v>41698</c:v>
                </c:pt>
                <c:pt idx="1248">
                  <c:v>41701</c:v>
                </c:pt>
                <c:pt idx="1249">
                  <c:v>41702</c:v>
                </c:pt>
                <c:pt idx="1250">
                  <c:v>41703</c:v>
                </c:pt>
                <c:pt idx="1251">
                  <c:v>41704</c:v>
                </c:pt>
                <c:pt idx="1252">
                  <c:v>41705</c:v>
                </c:pt>
                <c:pt idx="1253">
                  <c:v>41708</c:v>
                </c:pt>
                <c:pt idx="1254">
                  <c:v>41709</c:v>
                </c:pt>
                <c:pt idx="1255">
                  <c:v>41710</c:v>
                </c:pt>
                <c:pt idx="1256">
                  <c:v>41711</c:v>
                </c:pt>
                <c:pt idx="1257">
                  <c:v>41712</c:v>
                </c:pt>
                <c:pt idx="1258">
                  <c:v>41715</c:v>
                </c:pt>
                <c:pt idx="1259">
                  <c:v>41716</c:v>
                </c:pt>
                <c:pt idx="1260">
                  <c:v>41717</c:v>
                </c:pt>
                <c:pt idx="1261">
                  <c:v>41718</c:v>
                </c:pt>
                <c:pt idx="1262">
                  <c:v>41719</c:v>
                </c:pt>
                <c:pt idx="1263">
                  <c:v>41722</c:v>
                </c:pt>
                <c:pt idx="1264">
                  <c:v>41723</c:v>
                </c:pt>
                <c:pt idx="1265">
                  <c:v>41724</c:v>
                </c:pt>
                <c:pt idx="1266">
                  <c:v>41725</c:v>
                </c:pt>
                <c:pt idx="1267">
                  <c:v>41726</c:v>
                </c:pt>
                <c:pt idx="1268">
                  <c:v>41729</c:v>
                </c:pt>
                <c:pt idx="1269">
                  <c:v>41730</c:v>
                </c:pt>
                <c:pt idx="1270">
                  <c:v>41731</c:v>
                </c:pt>
                <c:pt idx="1271">
                  <c:v>41732</c:v>
                </c:pt>
                <c:pt idx="1272">
                  <c:v>41733</c:v>
                </c:pt>
                <c:pt idx="1273">
                  <c:v>41737</c:v>
                </c:pt>
                <c:pt idx="1274">
                  <c:v>41738</c:v>
                </c:pt>
                <c:pt idx="1275">
                  <c:v>41739</c:v>
                </c:pt>
                <c:pt idx="1276">
                  <c:v>41740</c:v>
                </c:pt>
                <c:pt idx="1277">
                  <c:v>41743</c:v>
                </c:pt>
                <c:pt idx="1278">
                  <c:v>41744</c:v>
                </c:pt>
                <c:pt idx="1279">
                  <c:v>41745</c:v>
                </c:pt>
                <c:pt idx="1280">
                  <c:v>41746</c:v>
                </c:pt>
                <c:pt idx="1281">
                  <c:v>41747</c:v>
                </c:pt>
                <c:pt idx="1282">
                  <c:v>41750</c:v>
                </c:pt>
                <c:pt idx="1283">
                  <c:v>41751</c:v>
                </c:pt>
                <c:pt idx="1284">
                  <c:v>41752</c:v>
                </c:pt>
                <c:pt idx="1285">
                  <c:v>41753</c:v>
                </c:pt>
                <c:pt idx="1286">
                  <c:v>41754</c:v>
                </c:pt>
                <c:pt idx="1287">
                  <c:v>41757</c:v>
                </c:pt>
                <c:pt idx="1288">
                  <c:v>41758</c:v>
                </c:pt>
                <c:pt idx="1289">
                  <c:v>41759</c:v>
                </c:pt>
                <c:pt idx="1290">
                  <c:v>41764</c:v>
                </c:pt>
                <c:pt idx="1291">
                  <c:v>41765</c:v>
                </c:pt>
                <c:pt idx="1292">
                  <c:v>41766</c:v>
                </c:pt>
                <c:pt idx="1293">
                  <c:v>41767</c:v>
                </c:pt>
                <c:pt idx="1294">
                  <c:v>41768</c:v>
                </c:pt>
                <c:pt idx="1295">
                  <c:v>41771</c:v>
                </c:pt>
                <c:pt idx="1296">
                  <c:v>41772</c:v>
                </c:pt>
                <c:pt idx="1297">
                  <c:v>41773</c:v>
                </c:pt>
                <c:pt idx="1298">
                  <c:v>41774</c:v>
                </c:pt>
                <c:pt idx="1299">
                  <c:v>41775</c:v>
                </c:pt>
                <c:pt idx="1300">
                  <c:v>41778</c:v>
                </c:pt>
                <c:pt idx="1301">
                  <c:v>41779</c:v>
                </c:pt>
                <c:pt idx="1302">
                  <c:v>41780</c:v>
                </c:pt>
                <c:pt idx="1303">
                  <c:v>41781</c:v>
                </c:pt>
                <c:pt idx="1304">
                  <c:v>41782</c:v>
                </c:pt>
                <c:pt idx="1305">
                  <c:v>41785</c:v>
                </c:pt>
                <c:pt idx="1306">
                  <c:v>41786</c:v>
                </c:pt>
                <c:pt idx="1307">
                  <c:v>41787</c:v>
                </c:pt>
                <c:pt idx="1308">
                  <c:v>41788</c:v>
                </c:pt>
                <c:pt idx="1309">
                  <c:v>41789</c:v>
                </c:pt>
                <c:pt idx="1310">
                  <c:v>41793</c:v>
                </c:pt>
                <c:pt idx="1311">
                  <c:v>41794</c:v>
                </c:pt>
                <c:pt idx="1312">
                  <c:v>41795</c:v>
                </c:pt>
                <c:pt idx="1313">
                  <c:v>41796</c:v>
                </c:pt>
                <c:pt idx="1314">
                  <c:v>41799</c:v>
                </c:pt>
                <c:pt idx="1315">
                  <c:v>41800</c:v>
                </c:pt>
                <c:pt idx="1316">
                  <c:v>41801</c:v>
                </c:pt>
                <c:pt idx="1317">
                  <c:v>41802</c:v>
                </c:pt>
                <c:pt idx="1318">
                  <c:v>41803</c:v>
                </c:pt>
                <c:pt idx="1319">
                  <c:v>41806</c:v>
                </c:pt>
                <c:pt idx="1320">
                  <c:v>41807</c:v>
                </c:pt>
                <c:pt idx="1321">
                  <c:v>41808</c:v>
                </c:pt>
                <c:pt idx="1322">
                  <c:v>41809</c:v>
                </c:pt>
                <c:pt idx="1323">
                  <c:v>41810</c:v>
                </c:pt>
                <c:pt idx="1324">
                  <c:v>41813</c:v>
                </c:pt>
                <c:pt idx="1325">
                  <c:v>41814</c:v>
                </c:pt>
                <c:pt idx="1326">
                  <c:v>41815</c:v>
                </c:pt>
                <c:pt idx="1327">
                  <c:v>41816</c:v>
                </c:pt>
                <c:pt idx="1328">
                  <c:v>41817</c:v>
                </c:pt>
                <c:pt idx="1329">
                  <c:v>41820</c:v>
                </c:pt>
                <c:pt idx="1330">
                  <c:v>41821</c:v>
                </c:pt>
                <c:pt idx="1331">
                  <c:v>41822</c:v>
                </c:pt>
                <c:pt idx="1332">
                  <c:v>41823</c:v>
                </c:pt>
                <c:pt idx="1333">
                  <c:v>41824</c:v>
                </c:pt>
                <c:pt idx="1334">
                  <c:v>41827</c:v>
                </c:pt>
                <c:pt idx="1335">
                  <c:v>41828</c:v>
                </c:pt>
                <c:pt idx="1336">
                  <c:v>41829</c:v>
                </c:pt>
                <c:pt idx="1337">
                  <c:v>41830</c:v>
                </c:pt>
                <c:pt idx="1338">
                  <c:v>41831</c:v>
                </c:pt>
                <c:pt idx="1339">
                  <c:v>41834</c:v>
                </c:pt>
                <c:pt idx="1340">
                  <c:v>41835</c:v>
                </c:pt>
                <c:pt idx="1341">
                  <c:v>41836</c:v>
                </c:pt>
                <c:pt idx="1342">
                  <c:v>41837</c:v>
                </c:pt>
                <c:pt idx="1343">
                  <c:v>41838</c:v>
                </c:pt>
                <c:pt idx="1344">
                  <c:v>41841</c:v>
                </c:pt>
                <c:pt idx="1345">
                  <c:v>41842</c:v>
                </c:pt>
                <c:pt idx="1346">
                  <c:v>41843</c:v>
                </c:pt>
                <c:pt idx="1347">
                  <c:v>41844</c:v>
                </c:pt>
                <c:pt idx="1348">
                  <c:v>41845</c:v>
                </c:pt>
                <c:pt idx="1349">
                  <c:v>41848</c:v>
                </c:pt>
                <c:pt idx="1350">
                  <c:v>41849</c:v>
                </c:pt>
                <c:pt idx="1351">
                  <c:v>41850</c:v>
                </c:pt>
                <c:pt idx="1352">
                  <c:v>41851</c:v>
                </c:pt>
                <c:pt idx="1353">
                  <c:v>41852</c:v>
                </c:pt>
                <c:pt idx="1354">
                  <c:v>41855</c:v>
                </c:pt>
                <c:pt idx="1355">
                  <c:v>41856</c:v>
                </c:pt>
                <c:pt idx="1356">
                  <c:v>41857</c:v>
                </c:pt>
                <c:pt idx="1357">
                  <c:v>41858</c:v>
                </c:pt>
                <c:pt idx="1358">
                  <c:v>41859</c:v>
                </c:pt>
                <c:pt idx="1359">
                  <c:v>41862</c:v>
                </c:pt>
                <c:pt idx="1360">
                  <c:v>41863</c:v>
                </c:pt>
                <c:pt idx="1361">
                  <c:v>41864</c:v>
                </c:pt>
                <c:pt idx="1362">
                  <c:v>41865</c:v>
                </c:pt>
                <c:pt idx="1363">
                  <c:v>41866</c:v>
                </c:pt>
                <c:pt idx="1364">
                  <c:v>41869</c:v>
                </c:pt>
                <c:pt idx="1365">
                  <c:v>41870</c:v>
                </c:pt>
                <c:pt idx="1366">
                  <c:v>41871</c:v>
                </c:pt>
                <c:pt idx="1367">
                  <c:v>41872</c:v>
                </c:pt>
                <c:pt idx="1368">
                  <c:v>41873</c:v>
                </c:pt>
                <c:pt idx="1369">
                  <c:v>41876</c:v>
                </c:pt>
                <c:pt idx="1370">
                  <c:v>41877</c:v>
                </c:pt>
                <c:pt idx="1371">
                  <c:v>41878</c:v>
                </c:pt>
                <c:pt idx="1372">
                  <c:v>41879</c:v>
                </c:pt>
                <c:pt idx="1373">
                  <c:v>41880</c:v>
                </c:pt>
                <c:pt idx="1374">
                  <c:v>41883</c:v>
                </c:pt>
                <c:pt idx="1375">
                  <c:v>41884</c:v>
                </c:pt>
                <c:pt idx="1376">
                  <c:v>41885</c:v>
                </c:pt>
                <c:pt idx="1377">
                  <c:v>41886</c:v>
                </c:pt>
                <c:pt idx="1378">
                  <c:v>41887</c:v>
                </c:pt>
                <c:pt idx="1379">
                  <c:v>41891</c:v>
                </c:pt>
                <c:pt idx="1380">
                  <c:v>41892</c:v>
                </c:pt>
                <c:pt idx="1381">
                  <c:v>41893</c:v>
                </c:pt>
                <c:pt idx="1382">
                  <c:v>41894</c:v>
                </c:pt>
                <c:pt idx="1383">
                  <c:v>41897</c:v>
                </c:pt>
                <c:pt idx="1384">
                  <c:v>41898</c:v>
                </c:pt>
                <c:pt idx="1385">
                  <c:v>41899</c:v>
                </c:pt>
                <c:pt idx="1386">
                  <c:v>41900</c:v>
                </c:pt>
                <c:pt idx="1387">
                  <c:v>41901</c:v>
                </c:pt>
                <c:pt idx="1388">
                  <c:v>41904</c:v>
                </c:pt>
                <c:pt idx="1389">
                  <c:v>41905</c:v>
                </c:pt>
                <c:pt idx="1390">
                  <c:v>41906</c:v>
                </c:pt>
                <c:pt idx="1391">
                  <c:v>41907</c:v>
                </c:pt>
                <c:pt idx="1392">
                  <c:v>41908</c:v>
                </c:pt>
                <c:pt idx="1393">
                  <c:v>41911</c:v>
                </c:pt>
                <c:pt idx="1394">
                  <c:v>41912</c:v>
                </c:pt>
                <c:pt idx="1395">
                  <c:v>41920</c:v>
                </c:pt>
                <c:pt idx="1396">
                  <c:v>41921</c:v>
                </c:pt>
                <c:pt idx="1397">
                  <c:v>41922</c:v>
                </c:pt>
                <c:pt idx="1398">
                  <c:v>41925</c:v>
                </c:pt>
                <c:pt idx="1399">
                  <c:v>41926</c:v>
                </c:pt>
                <c:pt idx="1400">
                  <c:v>41927</c:v>
                </c:pt>
                <c:pt idx="1401">
                  <c:v>41928</c:v>
                </c:pt>
                <c:pt idx="1402">
                  <c:v>41929</c:v>
                </c:pt>
                <c:pt idx="1403">
                  <c:v>41932</c:v>
                </c:pt>
                <c:pt idx="1404">
                  <c:v>41933</c:v>
                </c:pt>
                <c:pt idx="1405">
                  <c:v>41934</c:v>
                </c:pt>
                <c:pt idx="1406">
                  <c:v>41935</c:v>
                </c:pt>
                <c:pt idx="1407">
                  <c:v>41936</c:v>
                </c:pt>
                <c:pt idx="1408">
                  <c:v>41939</c:v>
                </c:pt>
                <c:pt idx="1409">
                  <c:v>41940</c:v>
                </c:pt>
                <c:pt idx="1410">
                  <c:v>41941</c:v>
                </c:pt>
                <c:pt idx="1411">
                  <c:v>41942</c:v>
                </c:pt>
                <c:pt idx="1412">
                  <c:v>41943</c:v>
                </c:pt>
                <c:pt idx="1413">
                  <c:v>41946</c:v>
                </c:pt>
                <c:pt idx="1414">
                  <c:v>41947</c:v>
                </c:pt>
                <c:pt idx="1415">
                  <c:v>41948</c:v>
                </c:pt>
                <c:pt idx="1416">
                  <c:v>41949</c:v>
                </c:pt>
                <c:pt idx="1417">
                  <c:v>41950</c:v>
                </c:pt>
                <c:pt idx="1418">
                  <c:v>41953</c:v>
                </c:pt>
                <c:pt idx="1419">
                  <c:v>41954</c:v>
                </c:pt>
                <c:pt idx="1420">
                  <c:v>41955</c:v>
                </c:pt>
                <c:pt idx="1421">
                  <c:v>41956</c:v>
                </c:pt>
                <c:pt idx="1422">
                  <c:v>41957</c:v>
                </c:pt>
                <c:pt idx="1423">
                  <c:v>41960</c:v>
                </c:pt>
                <c:pt idx="1424">
                  <c:v>41961</c:v>
                </c:pt>
                <c:pt idx="1425">
                  <c:v>41962</c:v>
                </c:pt>
                <c:pt idx="1426">
                  <c:v>41963</c:v>
                </c:pt>
                <c:pt idx="1427">
                  <c:v>41964</c:v>
                </c:pt>
                <c:pt idx="1428">
                  <c:v>41967</c:v>
                </c:pt>
                <c:pt idx="1429">
                  <c:v>41968</c:v>
                </c:pt>
                <c:pt idx="1430">
                  <c:v>41969</c:v>
                </c:pt>
                <c:pt idx="1431">
                  <c:v>41970</c:v>
                </c:pt>
                <c:pt idx="1432">
                  <c:v>41971</c:v>
                </c:pt>
                <c:pt idx="1433">
                  <c:v>41974</c:v>
                </c:pt>
                <c:pt idx="1434">
                  <c:v>41975</c:v>
                </c:pt>
                <c:pt idx="1435">
                  <c:v>41976</c:v>
                </c:pt>
                <c:pt idx="1436">
                  <c:v>41977</c:v>
                </c:pt>
                <c:pt idx="1437">
                  <c:v>41978</c:v>
                </c:pt>
                <c:pt idx="1438">
                  <c:v>41981</c:v>
                </c:pt>
                <c:pt idx="1439">
                  <c:v>41982</c:v>
                </c:pt>
                <c:pt idx="1440">
                  <c:v>41983</c:v>
                </c:pt>
                <c:pt idx="1441">
                  <c:v>41984</c:v>
                </c:pt>
                <c:pt idx="1442">
                  <c:v>41985</c:v>
                </c:pt>
                <c:pt idx="1443">
                  <c:v>41988</c:v>
                </c:pt>
                <c:pt idx="1444">
                  <c:v>41989</c:v>
                </c:pt>
                <c:pt idx="1445">
                  <c:v>41990</c:v>
                </c:pt>
                <c:pt idx="1446">
                  <c:v>41991</c:v>
                </c:pt>
                <c:pt idx="1447">
                  <c:v>41992</c:v>
                </c:pt>
                <c:pt idx="1448">
                  <c:v>41995</c:v>
                </c:pt>
                <c:pt idx="1449">
                  <c:v>41996</c:v>
                </c:pt>
                <c:pt idx="1450">
                  <c:v>41997</c:v>
                </c:pt>
                <c:pt idx="1451">
                  <c:v>41998</c:v>
                </c:pt>
                <c:pt idx="1452">
                  <c:v>41999</c:v>
                </c:pt>
                <c:pt idx="1453">
                  <c:v>42002</c:v>
                </c:pt>
                <c:pt idx="1454">
                  <c:v>42003</c:v>
                </c:pt>
                <c:pt idx="1455">
                  <c:v>42004</c:v>
                </c:pt>
                <c:pt idx="1456">
                  <c:v>42009</c:v>
                </c:pt>
                <c:pt idx="1457">
                  <c:v>42010</c:v>
                </c:pt>
                <c:pt idx="1458">
                  <c:v>42011</c:v>
                </c:pt>
                <c:pt idx="1459">
                  <c:v>42012</c:v>
                </c:pt>
                <c:pt idx="1460">
                  <c:v>42013</c:v>
                </c:pt>
                <c:pt idx="1461">
                  <c:v>42016</c:v>
                </c:pt>
                <c:pt idx="1462">
                  <c:v>42017</c:v>
                </c:pt>
                <c:pt idx="1463">
                  <c:v>42018</c:v>
                </c:pt>
                <c:pt idx="1464">
                  <c:v>42019</c:v>
                </c:pt>
                <c:pt idx="1465">
                  <c:v>42020</c:v>
                </c:pt>
                <c:pt idx="1466">
                  <c:v>42023</c:v>
                </c:pt>
                <c:pt idx="1467">
                  <c:v>42024</c:v>
                </c:pt>
                <c:pt idx="1468">
                  <c:v>42025</c:v>
                </c:pt>
                <c:pt idx="1469">
                  <c:v>42026</c:v>
                </c:pt>
                <c:pt idx="1470">
                  <c:v>42027</c:v>
                </c:pt>
                <c:pt idx="1471">
                  <c:v>42030</c:v>
                </c:pt>
                <c:pt idx="1472">
                  <c:v>42031</c:v>
                </c:pt>
                <c:pt idx="1473">
                  <c:v>42032</c:v>
                </c:pt>
                <c:pt idx="1474">
                  <c:v>42033</c:v>
                </c:pt>
                <c:pt idx="1475">
                  <c:v>42034</c:v>
                </c:pt>
                <c:pt idx="1476">
                  <c:v>42037</c:v>
                </c:pt>
                <c:pt idx="1477">
                  <c:v>42038</c:v>
                </c:pt>
                <c:pt idx="1478">
                  <c:v>42039</c:v>
                </c:pt>
                <c:pt idx="1479">
                  <c:v>42040</c:v>
                </c:pt>
                <c:pt idx="1480">
                  <c:v>42041</c:v>
                </c:pt>
                <c:pt idx="1481">
                  <c:v>42044</c:v>
                </c:pt>
                <c:pt idx="1482">
                  <c:v>42045</c:v>
                </c:pt>
                <c:pt idx="1483">
                  <c:v>42046</c:v>
                </c:pt>
                <c:pt idx="1484">
                  <c:v>42047</c:v>
                </c:pt>
                <c:pt idx="1485">
                  <c:v>42048</c:v>
                </c:pt>
                <c:pt idx="1486">
                  <c:v>42051</c:v>
                </c:pt>
                <c:pt idx="1487">
                  <c:v>42052</c:v>
                </c:pt>
                <c:pt idx="1488">
                  <c:v>42060</c:v>
                </c:pt>
                <c:pt idx="1489">
                  <c:v>42061</c:v>
                </c:pt>
                <c:pt idx="1490">
                  <c:v>42062</c:v>
                </c:pt>
                <c:pt idx="1491">
                  <c:v>42065</c:v>
                </c:pt>
                <c:pt idx="1492">
                  <c:v>42066</c:v>
                </c:pt>
                <c:pt idx="1493">
                  <c:v>42067</c:v>
                </c:pt>
                <c:pt idx="1494">
                  <c:v>42068</c:v>
                </c:pt>
                <c:pt idx="1495">
                  <c:v>42069</c:v>
                </c:pt>
                <c:pt idx="1496">
                  <c:v>42072</c:v>
                </c:pt>
                <c:pt idx="1497">
                  <c:v>42073</c:v>
                </c:pt>
                <c:pt idx="1498">
                  <c:v>42074</c:v>
                </c:pt>
                <c:pt idx="1499">
                  <c:v>42075</c:v>
                </c:pt>
                <c:pt idx="1500">
                  <c:v>42076</c:v>
                </c:pt>
                <c:pt idx="1501">
                  <c:v>42079</c:v>
                </c:pt>
                <c:pt idx="1502">
                  <c:v>42080</c:v>
                </c:pt>
                <c:pt idx="1503">
                  <c:v>42081</c:v>
                </c:pt>
                <c:pt idx="1504">
                  <c:v>42082</c:v>
                </c:pt>
                <c:pt idx="1505">
                  <c:v>42083</c:v>
                </c:pt>
                <c:pt idx="1506">
                  <c:v>42086</c:v>
                </c:pt>
                <c:pt idx="1507">
                  <c:v>42087</c:v>
                </c:pt>
                <c:pt idx="1508">
                  <c:v>42088</c:v>
                </c:pt>
                <c:pt idx="1509">
                  <c:v>42089</c:v>
                </c:pt>
                <c:pt idx="1510">
                  <c:v>42090</c:v>
                </c:pt>
                <c:pt idx="1511">
                  <c:v>42093</c:v>
                </c:pt>
                <c:pt idx="1512">
                  <c:v>42094</c:v>
                </c:pt>
                <c:pt idx="1513">
                  <c:v>42095</c:v>
                </c:pt>
                <c:pt idx="1514">
                  <c:v>42096</c:v>
                </c:pt>
                <c:pt idx="1515">
                  <c:v>42097</c:v>
                </c:pt>
                <c:pt idx="1516">
                  <c:v>42101</c:v>
                </c:pt>
                <c:pt idx="1517">
                  <c:v>42102</c:v>
                </c:pt>
                <c:pt idx="1518">
                  <c:v>42103</c:v>
                </c:pt>
                <c:pt idx="1519">
                  <c:v>42104</c:v>
                </c:pt>
                <c:pt idx="1520">
                  <c:v>42107</c:v>
                </c:pt>
                <c:pt idx="1521">
                  <c:v>42108</c:v>
                </c:pt>
                <c:pt idx="1522">
                  <c:v>42109</c:v>
                </c:pt>
                <c:pt idx="1523">
                  <c:v>42110</c:v>
                </c:pt>
                <c:pt idx="1524">
                  <c:v>42111</c:v>
                </c:pt>
                <c:pt idx="1525">
                  <c:v>42114</c:v>
                </c:pt>
                <c:pt idx="1526">
                  <c:v>42115</c:v>
                </c:pt>
                <c:pt idx="1527">
                  <c:v>42116</c:v>
                </c:pt>
                <c:pt idx="1528">
                  <c:v>42117</c:v>
                </c:pt>
                <c:pt idx="1529">
                  <c:v>42118</c:v>
                </c:pt>
                <c:pt idx="1530">
                  <c:v>42121</c:v>
                </c:pt>
                <c:pt idx="1531">
                  <c:v>42122</c:v>
                </c:pt>
                <c:pt idx="1532">
                  <c:v>42123</c:v>
                </c:pt>
                <c:pt idx="1533">
                  <c:v>42124</c:v>
                </c:pt>
                <c:pt idx="1534">
                  <c:v>42128</c:v>
                </c:pt>
                <c:pt idx="1535">
                  <c:v>42129</c:v>
                </c:pt>
                <c:pt idx="1536">
                  <c:v>42130</c:v>
                </c:pt>
                <c:pt idx="1537">
                  <c:v>42131</c:v>
                </c:pt>
                <c:pt idx="1538">
                  <c:v>42132</c:v>
                </c:pt>
                <c:pt idx="1539">
                  <c:v>42135</c:v>
                </c:pt>
                <c:pt idx="1540">
                  <c:v>42136</c:v>
                </c:pt>
                <c:pt idx="1541">
                  <c:v>42137</c:v>
                </c:pt>
                <c:pt idx="1542">
                  <c:v>42138</c:v>
                </c:pt>
                <c:pt idx="1543">
                  <c:v>42139</c:v>
                </c:pt>
                <c:pt idx="1544">
                  <c:v>42142</c:v>
                </c:pt>
                <c:pt idx="1545">
                  <c:v>42143</c:v>
                </c:pt>
                <c:pt idx="1546">
                  <c:v>42144</c:v>
                </c:pt>
                <c:pt idx="1547">
                  <c:v>42145</c:v>
                </c:pt>
                <c:pt idx="1548">
                  <c:v>42146</c:v>
                </c:pt>
                <c:pt idx="1549">
                  <c:v>42149</c:v>
                </c:pt>
                <c:pt idx="1550">
                  <c:v>42150</c:v>
                </c:pt>
                <c:pt idx="1551">
                  <c:v>42151</c:v>
                </c:pt>
                <c:pt idx="1552">
                  <c:v>42152</c:v>
                </c:pt>
                <c:pt idx="1553">
                  <c:v>42153</c:v>
                </c:pt>
                <c:pt idx="1554">
                  <c:v>42156</c:v>
                </c:pt>
                <c:pt idx="1555">
                  <c:v>42157</c:v>
                </c:pt>
                <c:pt idx="1556">
                  <c:v>42158</c:v>
                </c:pt>
                <c:pt idx="1557">
                  <c:v>42159</c:v>
                </c:pt>
                <c:pt idx="1558">
                  <c:v>42160</c:v>
                </c:pt>
                <c:pt idx="1559">
                  <c:v>42163</c:v>
                </c:pt>
                <c:pt idx="1560">
                  <c:v>42164</c:v>
                </c:pt>
                <c:pt idx="1561">
                  <c:v>42165</c:v>
                </c:pt>
                <c:pt idx="1562">
                  <c:v>42166</c:v>
                </c:pt>
                <c:pt idx="1563">
                  <c:v>42167</c:v>
                </c:pt>
                <c:pt idx="1564">
                  <c:v>42170</c:v>
                </c:pt>
                <c:pt idx="1565">
                  <c:v>42171</c:v>
                </c:pt>
                <c:pt idx="1566">
                  <c:v>42172</c:v>
                </c:pt>
                <c:pt idx="1567">
                  <c:v>42173</c:v>
                </c:pt>
                <c:pt idx="1568">
                  <c:v>42174</c:v>
                </c:pt>
                <c:pt idx="1569">
                  <c:v>42178</c:v>
                </c:pt>
                <c:pt idx="1570">
                  <c:v>42179</c:v>
                </c:pt>
                <c:pt idx="1571">
                  <c:v>42180</c:v>
                </c:pt>
                <c:pt idx="1572">
                  <c:v>42181</c:v>
                </c:pt>
                <c:pt idx="1573">
                  <c:v>42184</c:v>
                </c:pt>
                <c:pt idx="1574">
                  <c:v>42185</c:v>
                </c:pt>
                <c:pt idx="1575">
                  <c:v>42186</c:v>
                </c:pt>
                <c:pt idx="1576">
                  <c:v>42187</c:v>
                </c:pt>
                <c:pt idx="1577">
                  <c:v>42188</c:v>
                </c:pt>
                <c:pt idx="1578">
                  <c:v>42191</c:v>
                </c:pt>
                <c:pt idx="1579">
                  <c:v>42192</c:v>
                </c:pt>
                <c:pt idx="1580">
                  <c:v>42193</c:v>
                </c:pt>
                <c:pt idx="1581">
                  <c:v>42194</c:v>
                </c:pt>
                <c:pt idx="1582">
                  <c:v>42195</c:v>
                </c:pt>
                <c:pt idx="1583">
                  <c:v>42198</c:v>
                </c:pt>
                <c:pt idx="1584">
                  <c:v>42199</c:v>
                </c:pt>
                <c:pt idx="1585">
                  <c:v>42200</c:v>
                </c:pt>
                <c:pt idx="1586">
                  <c:v>42201</c:v>
                </c:pt>
                <c:pt idx="1587">
                  <c:v>42202</c:v>
                </c:pt>
                <c:pt idx="1588">
                  <c:v>42205</c:v>
                </c:pt>
                <c:pt idx="1589">
                  <c:v>42206</c:v>
                </c:pt>
                <c:pt idx="1590">
                  <c:v>42207</c:v>
                </c:pt>
                <c:pt idx="1591">
                  <c:v>42208</c:v>
                </c:pt>
                <c:pt idx="1592">
                  <c:v>42209</c:v>
                </c:pt>
                <c:pt idx="1593">
                  <c:v>42212</c:v>
                </c:pt>
                <c:pt idx="1594">
                  <c:v>42213</c:v>
                </c:pt>
                <c:pt idx="1595">
                  <c:v>42214</c:v>
                </c:pt>
                <c:pt idx="1596">
                  <c:v>42215</c:v>
                </c:pt>
                <c:pt idx="1597">
                  <c:v>42216</c:v>
                </c:pt>
                <c:pt idx="1598">
                  <c:v>42219</c:v>
                </c:pt>
                <c:pt idx="1599">
                  <c:v>42220</c:v>
                </c:pt>
                <c:pt idx="1600">
                  <c:v>42221</c:v>
                </c:pt>
                <c:pt idx="1601">
                  <c:v>42222</c:v>
                </c:pt>
                <c:pt idx="1602">
                  <c:v>42223</c:v>
                </c:pt>
                <c:pt idx="1603">
                  <c:v>42226</c:v>
                </c:pt>
                <c:pt idx="1604">
                  <c:v>42227</c:v>
                </c:pt>
                <c:pt idx="1605">
                  <c:v>42228</c:v>
                </c:pt>
                <c:pt idx="1606">
                  <c:v>42229</c:v>
                </c:pt>
                <c:pt idx="1607">
                  <c:v>42230</c:v>
                </c:pt>
                <c:pt idx="1608">
                  <c:v>42233</c:v>
                </c:pt>
                <c:pt idx="1609">
                  <c:v>42234</c:v>
                </c:pt>
                <c:pt idx="1610">
                  <c:v>42235</c:v>
                </c:pt>
                <c:pt idx="1611">
                  <c:v>42236</c:v>
                </c:pt>
                <c:pt idx="1612">
                  <c:v>42237</c:v>
                </c:pt>
                <c:pt idx="1613">
                  <c:v>42240</c:v>
                </c:pt>
                <c:pt idx="1614">
                  <c:v>42241</c:v>
                </c:pt>
                <c:pt idx="1615">
                  <c:v>42242</c:v>
                </c:pt>
                <c:pt idx="1616">
                  <c:v>42243</c:v>
                </c:pt>
                <c:pt idx="1617">
                  <c:v>42244</c:v>
                </c:pt>
                <c:pt idx="1618">
                  <c:v>42247</c:v>
                </c:pt>
                <c:pt idx="1619">
                  <c:v>42248</c:v>
                </c:pt>
                <c:pt idx="1620">
                  <c:v>42249</c:v>
                </c:pt>
                <c:pt idx="1621">
                  <c:v>42254</c:v>
                </c:pt>
                <c:pt idx="1622">
                  <c:v>42255</c:v>
                </c:pt>
                <c:pt idx="1623">
                  <c:v>42256</c:v>
                </c:pt>
                <c:pt idx="1624">
                  <c:v>42257</c:v>
                </c:pt>
                <c:pt idx="1625">
                  <c:v>42258</c:v>
                </c:pt>
                <c:pt idx="1626">
                  <c:v>42261</c:v>
                </c:pt>
                <c:pt idx="1627">
                  <c:v>42262</c:v>
                </c:pt>
                <c:pt idx="1628">
                  <c:v>42263</c:v>
                </c:pt>
                <c:pt idx="1629">
                  <c:v>42264</c:v>
                </c:pt>
                <c:pt idx="1630">
                  <c:v>42265</c:v>
                </c:pt>
                <c:pt idx="1631">
                  <c:v>42268</c:v>
                </c:pt>
                <c:pt idx="1632">
                  <c:v>42269</c:v>
                </c:pt>
                <c:pt idx="1633">
                  <c:v>42270</c:v>
                </c:pt>
                <c:pt idx="1634">
                  <c:v>42271</c:v>
                </c:pt>
                <c:pt idx="1635">
                  <c:v>42272</c:v>
                </c:pt>
                <c:pt idx="1636">
                  <c:v>42275</c:v>
                </c:pt>
                <c:pt idx="1637">
                  <c:v>42276</c:v>
                </c:pt>
                <c:pt idx="1638">
                  <c:v>42277</c:v>
                </c:pt>
                <c:pt idx="1639">
                  <c:v>42285</c:v>
                </c:pt>
                <c:pt idx="1640">
                  <c:v>42286</c:v>
                </c:pt>
                <c:pt idx="1641">
                  <c:v>42289</c:v>
                </c:pt>
                <c:pt idx="1642">
                  <c:v>42290</c:v>
                </c:pt>
                <c:pt idx="1643">
                  <c:v>42291</c:v>
                </c:pt>
                <c:pt idx="1644">
                  <c:v>42292</c:v>
                </c:pt>
                <c:pt idx="1645">
                  <c:v>42293</c:v>
                </c:pt>
                <c:pt idx="1646">
                  <c:v>42296</c:v>
                </c:pt>
                <c:pt idx="1647">
                  <c:v>42297</c:v>
                </c:pt>
                <c:pt idx="1648">
                  <c:v>42298</c:v>
                </c:pt>
                <c:pt idx="1649">
                  <c:v>42299</c:v>
                </c:pt>
                <c:pt idx="1650">
                  <c:v>42300</c:v>
                </c:pt>
                <c:pt idx="1651">
                  <c:v>42303</c:v>
                </c:pt>
                <c:pt idx="1652">
                  <c:v>42304</c:v>
                </c:pt>
                <c:pt idx="1653">
                  <c:v>42305</c:v>
                </c:pt>
                <c:pt idx="1654">
                  <c:v>42306</c:v>
                </c:pt>
                <c:pt idx="1655">
                  <c:v>42307</c:v>
                </c:pt>
                <c:pt idx="1656">
                  <c:v>42310</c:v>
                </c:pt>
                <c:pt idx="1657">
                  <c:v>42311</c:v>
                </c:pt>
                <c:pt idx="1658">
                  <c:v>42312</c:v>
                </c:pt>
                <c:pt idx="1659">
                  <c:v>42313</c:v>
                </c:pt>
                <c:pt idx="1660">
                  <c:v>42314</c:v>
                </c:pt>
                <c:pt idx="1661">
                  <c:v>42317</c:v>
                </c:pt>
                <c:pt idx="1662">
                  <c:v>42318</c:v>
                </c:pt>
                <c:pt idx="1663">
                  <c:v>42319</c:v>
                </c:pt>
                <c:pt idx="1664">
                  <c:v>42320</c:v>
                </c:pt>
                <c:pt idx="1665">
                  <c:v>42321</c:v>
                </c:pt>
                <c:pt idx="1666">
                  <c:v>42324</c:v>
                </c:pt>
                <c:pt idx="1667">
                  <c:v>42325</c:v>
                </c:pt>
                <c:pt idx="1668">
                  <c:v>42326</c:v>
                </c:pt>
                <c:pt idx="1669">
                  <c:v>42327</c:v>
                </c:pt>
                <c:pt idx="1670">
                  <c:v>42328</c:v>
                </c:pt>
                <c:pt idx="1671">
                  <c:v>42331</c:v>
                </c:pt>
                <c:pt idx="1672">
                  <c:v>42332</c:v>
                </c:pt>
                <c:pt idx="1673">
                  <c:v>42333</c:v>
                </c:pt>
                <c:pt idx="1674">
                  <c:v>42334</c:v>
                </c:pt>
                <c:pt idx="1675">
                  <c:v>42335</c:v>
                </c:pt>
                <c:pt idx="1676">
                  <c:v>42338</c:v>
                </c:pt>
                <c:pt idx="1677">
                  <c:v>42339</c:v>
                </c:pt>
                <c:pt idx="1678">
                  <c:v>42340</c:v>
                </c:pt>
                <c:pt idx="1679">
                  <c:v>42341</c:v>
                </c:pt>
                <c:pt idx="1680">
                  <c:v>42342</c:v>
                </c:pt>
                <c:pt idx="1681">
                  <c:v>42345</c:v>
                </c:pt>
                <c:pt idx="1682">
                  <c:v>42346</c:v>
                </c:pt>
                <c:pt idx="1683">
                  <c:v>42347</c:v>
                </c:pt>
                <c:pt idx="1684">
                  <c:v>42348</c:v>
                </c:pt>
                <c:pt idx="1685">
                  <c:v>42349</c:v>
                </c:pt>
                <c:pt idx="1686">
                  <c:v>42352</c:v>
                </c:pt>
                <c:pt idx="1687">
                  <c:v>42353</c:v>
                </c:pt>
                <c:pt idx="1688">
                  <c:v>42354</c:v>
                </c:pt>
                <c:pt idx="1689">
                  <c:v>42355</c:v>
                </c:pt>
                <c:pt idx="1690">
                  <c:v>42356</c:v>
                </c:pt>
                <c:pt idx="1691">
                  <c:v>42359</c:v>
                </c:pt>
                <c:pt idx="1692">
                  <c:v>42360</c:v>
                </c:pt>
                <c:pt idx="1693">
                  <c:v>42361</c:v>
                </c:pt>
                <c:pt idx="1694">
                  <c:v>42362</c:v>
                </c:pt>
                <c:pt idx="1695">
                  <c:v>42363</c:v>
                </c:pt>
                <c:pt idx="1696">
                  <c:v>42366</c:v>
                </c:pt>
                <c:pt idx="1697">
                  <c:v>42367</c:v>
                </c:pt>
                <c:pt idx="1698">
                  <c:v>42368</c:v>
                </c:pt>
                <c:pt idx="1699">
                  <c:v>42369</c:v>
                </c:pt>
                <c:pt idx="1700">
                  <c:v>42373</c:v>
                </c:pt>
                <c:pt idx="1701">
                  <c:v>42374</c:v>
                </c:pt>
                <c:pt idx="1702">
                  <c:v>42375</c:v>
                </c:pt>
                <c:pt idx="1703">
                  <c:v>42376</c:v>
                </c:pt>
                <c:pt idx="1704">
                  <c:v>42377</c:v>
                </c:pt>
                <c:pt idx="1705">
                  <c:v>42380</c:v>
                </c:pt>
                <c:pt idx="1706">
                  <c:v>42381</c:v>
                </c:pt>
                <c:pt idx="1707">
                  <c:v>42382</c:v>
                </c:pt>
                <c:pt idx="1708">
                  <c:v>42383</c:v>
                </c:pt>
                <c:pt idx="1709">
                  <c:v>42384</c:v>
                </c:pt>
                <c:pt idx="1710">
                  <c:v>42387</c:v>
                </c:pt>
                <c:pt idx="1711">
                  <c:v>42388</c:v>
                </c:pt>
                <c:pt idx="1712">
                  <c:v>42389</c:v>
                </c:pt>
                <c:pt idx="1713">
                  <c:v>42390</c:v>
                </c:pt>
                <c:pt idx="1714">
                  <c:v>42391</c:v>
                </c:pt>
                <c:pt idx="1715">
                  <c:v>42394</c:v>
                </c:pt>
                <c:pt idx="1716">
                  <c:v>42395</c:v>
                </c:pt>
                <c:pt idx="1717">
                  <c:v>42396</c:v>
                </c:pt>
                <c:pt idx="1718">
                  <c:v>42397</c:v>
                </c:pt>
                <c:pt idx="1719">
                  <c:v>42398</c:v>
                </c:pt>
                <c:pt idx="1720">
                  <c:v>42401</c:v>
                </c:pt>
                <c:pt idx="1721">
                  <c:v>42402</c:v>
                </c:pt>
                <c:pt idx="1722">
                  <c:v>42403</c:v>
                </c:pt>
                <c:pt idx="1723">
                  <c:v>42404</c:v>
                </c:pt>
                <c:pt idx="1724">
                  <c:v>42405</c:v>
                </c:pt>
                <c:pt idx="1725">
                  <c:v>42415</c:v>
                </c:pt>
                <c:pt idx="1726">
                  <c:v>42416</c:v>
                </c:pt>
                <c:pt idx="1727">
                  <c:v>42417</c:v>
                </c:pt>
                <c:pt idx="1728">
                  <c:v>42418</c:v>
                </c:pt>
                <c:pt idx="1729">
                  <c:v>42419</c:v>
                </c:pt>
                <c:pt idx="1730">
                  <c:v>42422</c:v>
                </c:pt>
                <c:pt idx="1731">
                  <c:v>42423</c:v>
                </c:pt>
                <c:pt idx="1732">
                  <c:v>42424</c:v>
                </c:pt>
                <c:pt idx="1733">
                  <c:v>42425</c:v>
                </c:pt>
                <c:pt idx="1734">
                  <c:v>42426</c:v>
                </c:pt>
                <c:pt idx="1735">
                  <c:v>42429</c:v>
                </c:pt>
                <c:pt idx="1736">
                  <c:v>42430</c:v>
                </c:pt>
                <c:pt idx="1737">
                  <c:v>42431</c:v>
                </c:pt>
                <c:pt idx="1738">
                  <c:v>42432</c:v>
                </c:pt>
                <c:pt idx="1739">
                  <c:v>42433</c:v>
                </c:pt>
                <c:pt idx="1740">
                  <c:v>42436</c:v>
                </c:pt>
                <c:pt idx="1741">
                  <c:v>42437</c:v>
                </c:pt>
                <c:pt idx="1742">
                  <c:v>42438</c:v>
                </c:pt>
                <c:pt idx="1743">
                  <c:v>42439</c:v>
                </c:pt>
                <c:pt idx="1744">
                  <c:v>42440</c:v>
                </c:pt>
                <c:pt idx="1745">
                  <c:v>42443</c:v>
                </c:pt>
                <c:pt idx="1746">
                  <c:v>42444</c:v>
                </c:pt>
                <c:pt idx="1747">
                  <c:v>42445</c:v>
                </c:pt>
                <c:pt idx="1748">
                  <c:v>42446</c:v>
                </c:pt>
                <c:pt idx="1749">
                  <c:v>42447</c:v>
                </c:pt>
                <c:pt idx="1750">
                  <c:v>42450</c:v>
                </c:pt>
                <c:pt idx="1751">
                  <c:v>42451</c:v>
                </c:pt>
                <c:pt idx="1752">
                  <c:v>42452</c:v>
                </c:pt>
                <c:pt idx="1753">
                  <c:v>42453</c:v>
                </c:pt>
                <c:pt idx="1754">
                  <c:v>42454</c:v>
                </c:pt>
                <c:pt idx="1755">
                  <c:v>42457</c:v>
                </c:pt>
                <c:pt idx="1756">
                  <c:v>42458</c:v>
                </c:pt>
                <c:pt idx="1757">
                  <c:v>42459</c:v>
                </c:pt>
                <c:pt idx="1758">
                  <c:v>42460</c:v>
                </c:pt>
                <c:pt idx="1759">
                  <c:v>42461</c:v>
                </c:pt>
                <c:pt idx="1760">
                  <c:v>42465</c:v>
                </c:pt>
                <c:pt idx="1761">
                  <c:v>42466</c:v>
                </c:pt>
                <c:pt idx="1762">
                  <c:v>42467</c:v>
                </c:pt>
                <c:pt idx="1763">
                  <c:v>42468</c:v>
                </c:pt>
                <c:pt idx="1764">
                  <c:v>42471</c:v>
                </c:pt>
                <c:pt idx="1765">
                  <c:v>42472</c:v>
                </c:pt>
                <c:pt idx="1766">
                  <c:v>42473</c:v>
                </c:pt>
                <c:pt idx="1767">
                  <c:v>42474</c:v>
                </c:pt>
                <c:pt idx="1768">
                  <c:v>42475</c:v>
                </c:pt>
                <c:pt idx="1769">
                  <c:v>42478</c:v>
                </c:pt>
                <c:pt idx="1770">
                  <c:v>42479</c:v>
                </c:pt>
                <c:pt idx="1771">
                  <c:v>42480</c:v>
                </c:pt>
                <c:pt idx="1772">
                  <c:v>42481</c:v>
                </c:pt>
                <c:pt idx="1773">
                  <c:v>42482</c:v>
                </c:pt>
                <c:pt idx="1774">
                  <c:v>42485</c:v>
                </c:pt>
                <c:pt idx="1775">
                  <c:v>42486</c:v>
                </c:pt>
                <c:pt idx="1776">
                  <c:v>42487</c:v>
                </c:pt>
                <c:pt idx="1777">
                  <c:v>42488</c:v>
                </c:pt>
                <c:pt idx="1778">
                  <c:v>42489</c:v>
                </c:pt>
                <c:pt idx="1779">
                  <c:v>42493</c:v>
                </c:pt>
                <c:pt idx="1780">
                  <c:v>42494</c:v>
                </c:pt>
                <c:pt idx="1781">
                  <c:v>42495</c:v>
                </c:pt>
                <c:pt idx="1782">
                  <c:v>42496</c:v>
                </c:pt>
                <c:pt idx="1783">
                  <c:v>42499</c:v>
                </c:pt>
                <c:pt idx="1784">
                  <c:v>42500</c:v>
                </c:pt>
                <c:pt idx="1785">
                  <c:v>42501</c:v>
                </c:pt>
                <c:pt idx="1786">
                  <c:v>42502</c:v>
                </c:pt>
                <c:pt idx="1787">
                  <c:v>42503</c:v>
                </c:pt>
                <c:pt idx="1788">
                  <c:v>42506</c:v>
                </c:pt>
                <c:pt idx="1789">
                  <c:v>42507</c:v>
                </c:pt>
                <c:pt idx="1790">
                  <c:v>42508</c:v>
                </c:pt>
                <c:pt idx="1791">
                  <c:v>42509</c:v>
                </c:pt>
                <c:pt idx="1792">
                  <c:v>42510</c:v>
                </c:pt>
                <c:pt idx="1793">
                  <c:v>42513</c:v>
                </c:pt>
                <c:pt idx="1794">
                  <c:v>42514</c:v>
                </c:pt>
                <c:pt idx="1795">
                  <c:v>42515</c:v>
                </c:pt>
                <c:pt idx="1796">
                  <c:v>42516</c:v>
                </c:pt>
                <c:pt idx="1797">
                  <c:v>42517</c:v>
                </c:pt>
                <c:pt idx="1798">
                  <c:v>42520</c:v>
                </c:pt>
                <c:pt idx="1799">
                  <c:v>42521</c:v>
                </c:pt>
                <c:pt idx="1800">
                  <c:v>42522</c:v>
                </c:pt>
                <c:pt idx="1801">
                  <c:v>42523</c:v>
                </c:pt>
                <c:pt idx="1802">
                  <c:v>42524</c:v>
                </c:pt>
                <c:pt idx="1803">
                  <c:v>42527</c:v>
                </c:pt>
                <c:pt idx="1804">
                  <c:v>42528</c:v>
                </c:pt>
                <c:pt idx="1805">
                  <c:v>42529</c:v>
                </c:pt>
                <c:pt idx="1806">
                  <c:v>42534</c:v>
                </c:pt>
                <c:pt idx="1807">
                  <c:v>42535</c:v>
                </c:pt>
                <c:pt idx="1808">
                  <c:v>42536</c:v>
                </c:pt>
                <c:pt idx="1809">
                  <c:v>42537</c:v>
                </c:pt>
                <c:pt idx="1810">
                  <c:v>42538</c:v>
                </c:pt>
                <c:pt idx="1811">
                  <c:v>42541</c:v>
                </c:pt>
                <c:pt idx="1812">
                  <c:v>42542</c:v>
                </c:pt>
                <c:pt idx="1813">
                  <c:v>42543</c:v>
                </c:pt>
                <c:pt idx="1814">
                  <c:v>42544</c:v>
                </c:pt>
                <c:pt idx="1815">
                  <c:v>42545</c:v>
                </c:pt>
                <c:pt idx="1816">
                  <c:v>42548</c:v>
                </c:pt>
                <c:pt idx="1817">
                  <c:v>42549</c:v>
                </c:pt>
                <c:pt idx="1818">
                  <c:v>42550</c:v>
                </c:pt>
                <c:pt idx="1819">
                  <c:v>42551</c:v>
                </c:pt>
                <c:pt idx="1820">
                  <c:v>42552</c:v>
                </c:pt>
                <c:pt idx="1821">
                  <c:v>42555</c:v>
                </c:pt>
                <c:pt idx="1822">
                  <c:v>42556</c:v>
                </c:pt>
                <c:pt idx="1823">
                  <c:v>42557</c:v>
                </c:pt>
                <c:pt idx="1824">
                  <c:v>42558</c:v>
                </c:pt>
                <c:pt idx="1825">
                  <c:v>42559</c:v>
                </c:pt>
                <c:pt idx="1826">
                  <c:v>42562</c:v>
                </c:pt>
                <c:pt idx="1827">
                  <c:v>42563</c:v>
                </c:pt>
                <c:pt idx="1828">
                  <c:v>42564</c:v>
                </c:pt>
                <c:pt idx="1829">
                  <c:v>42565</c:v>
                </c:pt>
                <c:pt idx="1830">
                  <c:v>42566</c:v>
                </c:pt>
                <c:pt idx="1831">
                  <c:v>42569</c:v>
                </c:pt>
                <c:pt idx="1832">
                  <c:v>42570</c:v>
                </c:pt>
                <c:pt idx="1833">
                  <c:v>42571</c:v>
                </c:pt>
                <c:pt idx="1834">
                  <c:v>42572</c:v>
                </c:pt>
                <c:pt idx="1835">
                  <c:v>42573</c:v>
                </c:pt>
                <c:pt idx="1836">
                  <c:v>42576</c:v>
                </c:pt>
                <c:pt idx="1837">
                  <c:v>42577</c:v>
                </c:pt>
                <c:pt idx="1838">
                  <c:v>42578</c:v>
                </c:pt>
                <c:pt idx="1839">
                  <c:v>42579</c:v>
                </c:pt>
                <c:pt idx="1840">
                  <c:v>42580</c:v>
                </c:pt>
                <c:pt idx="1841">
                  <c:v>42583</c:v>
                </c:pt>
                <c:pt idx="1842">
                  <c:v>42584</c:v>
                </c:pt>
                <c:pt idx="1843">
                  <c:v>42585</c:v>
                </c:pt>
                <c:pt idx="1844">
                  <c:v>42586</c:v>
                </c:pt>
                <c:pt idx="1845">
                  <c:v>42587</c:v>
                </c:pt>
                <c:pt idx="1846">
                  <c:v>42590</c:v>
                </c:pt>
                <c:pt idx="1847">
                  <c:v>42591</c:v>
                </c:pt>
                <c:pt idx="1848">
                  <c:v>42592</c:v>
                </c:pt>
                <c:pt idx="1849">
                  <c:v>42593</c:v>
                </c:pt>
                <c:pt idx="1850">
                  <c:v>42594</c:v>
                </c:pt>
                <c:pt idx="1851">
                  <c:v>42597</c:v>
                </c:pt>
                <c:pt idx="1852">
                  <c:v>42598</c:v>
                </c:pt>
                <c:pt idx="1853">
                  <c:v>42599</c:v>
                </c:pt>
                <c:pt idx="1854">
                  <c:v>42600</c:v>
                </c:pt>
                <c:pt idx="1855">
                  <c:v>42601</c:v>
                </c:pt>
                <c:pt idx="1856">
                  <c:v>42604</c:v>
                </c:pt>
                <c:pt idx="1857">
                  <c:v>42605</c:v>
                </c:pt>
                <c:pt idx="1858">
                  <c:v>42606</c:v>
                </c:pt>
                <c:pt idx="1859">
                  <c:v>42607</c:v>
                </c:pt>
                <c:pt idx="1860">
                  <c:v>42608</c:v>
                </c:pt>
                <c:pt idx="1861">
                  <c:v>42611</c:v>
                </c:pt>
                <c:pt idx="1862">
                  <c:v>42612</c:v>
                </c:pt>
                <c:pt idx="1863">
                  <c:v>42613</c:v>
                </c:pt>
                <c:pt idx="1864">
                  <c:v>42614</c:v>
                </c:pt>
                <c:pt idx="1865">
                  <c:v>42615</c:v>
                </c:pt>
                <c:pt idx="1866">
                  <c:v>42618</c:v>
                </c:pt>
                <c:pt idx="1867">
                  <c:v>42619</c:v>
                </c:pt>
                <c:pt idx="1868">
                  <c:v>42620</c:v>
                </c:pt>
                <c:pt idx="1869">
                  <c:v>42621</c:v>
                </c:pt>
                <c:pt idx="1870">
                  <c:v>42622</c:v>
                </c:pt>
                <c:pt idx="1871">
                  <c:v>42625</c:v>
                </c:pt>
                <c:pt idx="1872">
                  <c:v>42626</c:v>
                </c:pt>
                <c:pt idx="1873">
                  <c:v>42627</c:v>
                </c:pt>
                <c:pt idx="1874">
                  <c:v>42632</c:v>
                </c:pt>
                <c:pt idx="1875">
                  <c:v>42633</c:v>
                </c:pt>
                <c:pt idx="1876">
                  <c:v>42634</c:v>
                </c:pt>
                <c:pt idx="1877">
                  <c:v>42635</c:v>
                </c:pt>
                <c:pt idx="1878">
                  <c:v>42636</c:v>
                </c:pt>
                <c:pt idx="1879">
                  <c:v>42639</c:v>
                </c:pt>
                <c:pt idx="1880">
                  <c:v>42640</c:v>
                </c:pt>
                <c:pt idx="1881">
                  <c:v>42641</c:v>
                </c:pt>
                <c:pt idx="1882">
                  <c:v>42642</c:v>
                </c:pt>
                <c:pt idx="1883">
                  <c:v>42643</c:v>
                </c:pt>
                <c:pt idx="1884">
                  <c:v>42653</c:v>
                </c:pt>
                <c:pt idx="1885">
                  <c:v>42654</c:v>
                </c:pt>
                <c:pt idx="1886">
                  <c:v>42655</c:v>
                </c:pt>
                <c:pt idx="1887">
                  <c:v>42656</c:v>
                </c:pt>
                <c:pt idx="1888">
                  <c:v>42657</c:v>
                </c:pt>
                <c:pt idx="1889">
                  <c:v>42660</c:v>
                </c:pt>
                <c:pt idx="1890">
                  <c:v>42661</c:v>
                </c:pt>
                <c:pt idx="1891">
                  <c:v>42662</c:v>
                </c:pt>
                <c:pt idx="1892">
                  <c:v>42663</c:v>
                </c:pt>
                <c:pt idx="1893">
                  <c:v>42664</c:v>
                </c:pt>
                <c:pt idx="1894">
                  <c:v>42667</c:v>
                </c:pt>
                <c:pt idx="1895">
                  <c:v>42668</c:v>
                </c:pt>
                <c:pt idx="1896">
                  <c:v>42669</c:v>
                </c:pt>
                <c:pt idx="1897">
                  <c:v>42670</c:v>
                </c:pt>
                <c:pt idx="1898">
                  <c:v>42671</c:v>
                </c:pt>
                <c:pt idx="1899">
                  <c:v>42674</c:v>
                </c:pt>
                <c:pt idx="1900">
                  <c:v>42675</c:v>
                </c:pt>
                <c:pt idx="1901">
                  <c:v>42676</c:v>
                </c:pt>
                <c:pt idx="1902">
                  <c:v>42677</c:v>
                </c:pt>
                <c:pt idx="1903">
                  <c:v>42678</c:v>
                </c:pt>
                <c:pt idx="1904">
                  <c:v>42681</c:v>
                </c:pt>
                <c:pt idx="1905">
                  <c:v>42682</c:v>
                </c:pt>
                <c:pt idx="1906">
                  <c:v>42683</c:v>
                </c:pt>
                <c:pt idx="1907">
                  <c:v>42684</c:v>
                </c:pt>
                <c:pt idx="1908">
                  <c:v>42685</c:v>
                </c:pt>
                <c:pt idx="1909">
                  <c:v>42688</c:v>
                </c:pt>
                <c:pt idx="1910">
                  <c:v>42689</c:v>
                </c:pt>
                <c:pt idx="1911">
                  <c:v>42690</c:v>
                </c:pt>
                <c:pt idx="1912">
                  <c:v>42691</c:v>
                </c:pt>
                <c:pt idx="1913">
                  <c:v>42692</c:v>
                </c:pt>
                <c:pt idx="1914">
                  <c:v>42695</c:v>
                </c:pt>
                <c:pt idx="1915">
                  <c:v>42696</c:v>
                </c:pt>
                <c:pt idx="1916">
                  <c:v>42697</c:v>
                </c:pt>
                <c:pt idx="1917">
                  <c:v>42698</c:v>
                </c:pt>
                <c:pt idx="1918">
                  <c:v>42699</c:v>
                </c:pt>
                <c:pt idx="1919">
                  <c:v>42702</c:v>
                </c:pt>
                <c:pt idx="1920">
                  <c:v>42703</c:v>
                </c:pt>
                <c:pt idx="1921">
                  <c:v>42704</c:v>
                </c:pt>
                <c:pt idx="1922">
                  <c:v>42705</c:v>
                </c:pt>
                <c:pt idx="1923">
                  <c:v>42706</c:v>
                </c:pt>
                <c:pt idx="1924">
                  <c:v>42709</c:v>
                </c:pt>
                <c:pt idx="1925">
                  <c:v>42710</c:v>
                </c:pt>
                <c:pt idx="1926">
                  <c:v>42711</c:v>
                </c:pt>
                <c:pt idx="1927">
                  <c:v>42712</c:v>
                </c:pt>
                <c:pt idx="1928">
                  <c:v>42713</c:v>
                </c:pt>
                <c:pt idx="1929">
                  <c:v>42716</c:v>
                </c:pt>
                <c:pt idx="1930">
                  <c:v>42717</c:v>
                </c:pt>
                <c:pt idx="1931">
                  <c:v>42718</c:v>
                </c:pt>
                <c:pt idx="1932">
                  <c:v>42719</c:v>
                </c:pt>
                <c:pt idx="1933">
                  <c:v>42720</c:v>
                </c:pt>
                <c:pt idx="1934">
                  <c:v>42723</c:v>
                </c:pt>
                <c:pt idx="1935">
                  <c:v>42724</c:v>
                </c:pt>
                <c:pt idx="1936">
                  <c:v>42725</c:v>
                </c:pt>
                <c:pt idx="1937">
                  <c:v>42726</c:v>
                </c:pt>
                <c:pt idx="1938">
                  <c:v>42727</c:v>
                </c:pt>
                <c:pt idx="1939">
                  <c:v>42730</c:v>
                </c:pt>
                <c:pt idx="1940">
                  <c:v>42731</c:v>
                </c:pt>
                <c:pt idx="1941">
                  <c:v>42732</c:v>
                </c:pt>
                <c:pt idx="1942">
                  <c:v>42733</c:v>
                </c:pt>
                <c:pt idx="1943">
                  <c:v>42734</c:v>
                </c:pt>
                <c:pt idx="1944">
                  <c:v>42738</c:v>
                </c:pt>
                <c:pt idx="1945">
                  <c:v>42739</c:v>
                </c:pt>
                <c:pt idx="1946">
                  <c:v>42740</c:v>
                </c:pt>
                <c:pt idx="1947">
                  <c:v>42741</c:v>
                </c:pt>
                <c:pt idx="1948">
                  <c:v>42744</c:v>
                </c:pt>
                <c:pt idx="1949">
                  <c:v>42745</c:v>
                </c:pt>
                <c:pt idx="1950">
                  <c:v>42746</c:v>
                </c:pt>
                <c:pt idx="1951">
                  <c:v>42747</c:v>
                </c:pt>
                <c:pt idx="1952">
                  <c:v>42748</c:v>
                </c:pt>
                <c:pt idx="1953">
                  <c:v>42751</c:v>
                </c:pt>
                <c:pt idx="1954">
                  <c:v>42752</c:v>
                </c:pt>
                <c:pt idx="1955">
                  <c:v>42753</c:v>
                </c:pt>
                <c:pt idx="1956">
                  <c:v>42754</c:v>
                </c:pt>
                <c:pt idx="1957">
                  <c:v>42755</c:v>
                </c:pt>
                <c:pt idx="1958">
                  <c:v>42758</c:v>
                </c:pt>
                <c:pt idx="1959">
                  <c:v>42759</c:v>
                </c:pt>
                <c:pt idx="1960">
                  <c:v>42760</c:v>
                </c:pt>
                <c:pt idx="1961">
                  <c:v>42761</c:v>
                </c:pt>
                <c:pt idx="1962">
                  <c:v>42769</c:v>
                </c:pt>
                <c:pt idx="1963">
                  <c:v>42772</c:v>
                </c:pt>
                <c:pt idx="1964">
                  <c:v>42773</c:v>
                </c:pt>
                <c:pt idx="1965">
                  <c:v>42774</c:v>
                </c:pt>
                <c:pt idx="1966">
                  <c:v>42775</c:v>
                </c:pt>
                <c:pt idx="1967">
                  <c:v>42776</c:v>
                </c:pt>
                <c:pt idx="1968">
                  <c:v>42779</c:v>
                </c:pt>
                <c:pt idx="1969">
                  <c:v>42780</c:v>
                </c:pt>
                <c:pt idx="1970">
                  <c:v>42781</c:v>
                </c:pt>
                <c:pt idx="1971">
                  <c:v>42782</c:v>
                </c:pt>
                <c:pt idx="1972">
                  <c:v>42783</c:v>
                </c:pt>
                <c:pt idx="1973">
                  <c:v>42786</c:v>
                </c:pt>
                <c:pt idx="1974">
                  <c:v>42787</c:v>
                </c:pt>
                <c:pt idx="1975">
                  <c:v>42788</c:v>
                </c:pt>
                <c:pt idx="1976">
                  <c:v>42789</c:v>
                </c:pt>
                <c:pt idx="1977">
                  <c:v>42790</c:v>
                </c:pt>
                <c:pt idx="1978">
                  <c:v>42793</c:v>
                </c:pt>
                <c:pt idx="1979">
                  <c:v>42794</c:v>
                </c:pt>
                <c:pt idx="1980">
                  <c:v>42795</c:v>
                </c:pt>
                <c:pt idx="1981">
                  <c:v>42796</c:v>
                </c:pt>
                <c:pt idx="1982">
                  <c:v>42797</c:v>
                </c:pt>
                <c:pt idx="1983">
                  <c:v>42800</c:v>
                </c:pt>
                <c:pt idx="1984">
                  <c:v>42801</c:v>
                </c:pt>
                <c:pt idx="1985">
                  <c:v>42802</c:v>
                </c:pt>
                <c:pt idx="1986">
                  <c:v>42803</c:v>
                </c:pt>
                <c:pt idx="1987">
                  <c:v>42804</c:v>
                </c:pt>
                <c:pt idx="1988">
                  <c:v>42807</c:v>
                </c:pt>
                <c:pt idx="1989">
                  <c:v>42808</c:v>
                </c:pt>
                <c:pt idx="1990">
                  <c:v>42809</c:v>
                </c:pt>
                <c:pt idx="1991">
                  <c:v>42810</c:v>
                </c:pt>
                <c:pt idx="1992">
                  <c:v>42811</c:v>
                </c:pt>
                <c:pt idx="1993">
                  <c:v>42814</c:v>
                </c:pt>
                <c:pt idx="1994">
                  <c:v>42815</c:v>
                </c:pt>
                <c:pt idx="1995">
                  <c:v>42816</c:v>
                </c:pt>
                <c:pt idx="1996">
                  <c:v>42817</c:v>
                </c:pt>
                <c:pt idx="1997">
                  <c:v>42818</c:v>
                </c:pt>
                <c:pt idx="1998">
                  <c:v>42821</c:v>
                </c:pt>
                <c:pt idx="1999">
                  <c:v>42822</c:v>
                </c:pt>
                <c:pt idx="2000">
                  <c:v>42823</c:v>
                </c:pt>
                <c:pt idx="2001">
                  <c:v>42824</c:v>
                </c:pt>
                <c:pt idx="2002">
                  <c:v>42825</c:v>
                </c:pt>
                <c:pt idx="2003">
                  <c:v>42830</c:v>
                </c:pt>
                <c:pt idx="2004">
                  <c:v>42831</c:v>
                </c:pt>
                <c:pt idx="2005">
                  <c:v>42832</c:v>
                </c:pt>
                <c:pt idx="2006">
                  <c:v>42835</c:v>
                </c:pt>
                <c:pt idx="2007">
                  <c:v>42836</c:v>
                </c:pt>
                <c:pt idx="2008">
                  <c:v>42837</c:v>
                </c:pt>
                <c:pt idx="2009">
                  <c:v>42838</c:v>
                </c:pt>
                <c:pt idx="2010">
                  <c:v>42839</c:v>
                </c:pt>
                <c:pt idx="2011">
                  <c:v>42842</c:v>
                </c:pt>
                <c:pt idx="2012">
                  <c:v>42843</c:v>
                </c:pt>
                <c:pt idx="2013">
                  <c:v>42844</c:v>
                </c:pt>
                <c:pt idx="2014">
                  <c:v>42845</c:v>
                </c:pt>
                <c:pt idx="2015">
                  <c:v>42846</c:v>
                </c:pt>
                <c:pt idx="2016">
                  <c:v>42849</c:v>
                </c:pt>
                <c:pt idx="2017">
                  <c:v>42850</c:v>
                </c:pt>
                <c:pt idx="2018">
                  <c:v>42851</c:v>
                </c:pt>
                <c:pt idx="2019">
                  <c:v>42852</c:v>
                </c:pt>
                <c:pt idx="2020">
                  <c:v>42853</c:v>
                </c:pt>
                <c:pt idx="2021">
                  <c:v>42857</c:v>
                </c:pt>
                <c:pt idx="2022">
                  <c:v>42858</c:v>
                </c:pt>
                <c:pt idx="2023">
                  <c:v>42859</c:v>
                </c:pt>
                <c:pt idx="2024">
                  <c:v>42860</c:v>
                </c:pt>
                <c:pt idx="2025">
                  <c:v>42863</c:v>
                </c:pt>
                <c:pt idx="2026">
                  <c:v>42864</c:v>
                </c:pt>
                <c:pt idx="2027">
                  <c:v>42865</c:v>
                </c:pt>
                <c:pt idx="2028">
                  <c:v>42866</c:v>
                </c:pt>
                <c:pt idx="2029">
                  <c:v>42867</c:v>
                </c:pt>
                <c:pt idx="2030">
                  <c:v>42870</c:v>
                </c:pt>
                <c:pt idx="2031">
                  <c:v>42871</c:v>
                </c:pt>
                <c:pt idx="2032">
                  <c:v>42872</c:v>
                </c:pt>
                <c:pt idx="2033">
                  <c:v>42873</c:v>
                </c:pt>
                <c:pt idx="2034">
                  <c:v>42874</c:v>
                </c:pt>
                <c:pt idx="2035">
                  <c:v>42877</c:v>
                </c:pt>
                <c:pt idx="2036">
                  <c:v>42878</c:v>
                </c:pt>
                <c:pt idx="2037">
                  <c:v>42879</c:v>
                </c:pt>
                <c:pt idx="2038">
                  <c:v>42880</c:v>
                </c:pt>
                <c:pt idx="2039">
                  <c:v>42881</c:v>
                </c:pt>
                <c:pt idx="2040">
                  <c:v>42886</c:v>
                </c:pt>
                <c:pt idx="2041">
                  <c:v>42887</c:v>
                </c:pt>
                <c:pt idx="2042">
                  <c:v>42888</c:v>
                </c:pt>
                <c:pt idx="2043">
                  <c:v>42891</c:v>
                </c:pt>
                <c:pt idx="2044">
                  <c:v>42892</c:v>
                </c:pt>
                <c:pt idx="2045">
                  <c:v>42893</c:v>
                </c:pt>
                <c:pt idx="2046">
                  <c:v>42894</c:v>
                </c:pt>
                <c:pt idx="2047">
                  <c:v>42895</c:v>
                </c:pt>
                <c:pt idx="2048">
                  <c:v>42898</c:v>
                </c:pt>
                <c:pt idx="2049">
                  <c:v>42899</c:v>
                </c:pt>
                <c:pt idx="2050">
                  <c:v>42900</c:v>
                </c:pt>
                <c:pt idx="2051">
                  <c:v>42901</c:v>
                </c:pt>
                <c:pt idx="2052">
                  <c:v>42902</c:v>
                </c:pt>
                <c:pt idx="2053">
                  <c:v>42905</c:v>
                </c:pt>
                <c:pt idx="2054">
                  <c:v>42906</c:v>
                </c:pt>
                <c:pt idx="2055">
                  <c:v>42907</c:v>
                </c:pt>
                <c:pt idx="2056">
                  <c:v>42908</c:v>
                </c:pt>
                <c:pt idx="2057">
                  <c:v>42909</c:v>
                </c:pt>
                <c:pt idx="2058">
                  <c:v>42912</c:v>
                </c:pt>
                <c:pt idx="2059">
                  <c:v>42913</c:v>
                </c:pt>
                <c:pt idx="2060">
                  <c:v>42914</c:v>
                </c:pt>
                <c:pt idx="2061">
                  <c:v>42915</c:v>
                </c:pt>
                <c:pt idx="2062">
                  <c:v>42916</c:v>
                </c:pt>
                <c:pt idx="2063">
                  <c:v>42919</c:v>
                </c:pt>
                <c:pt idx="2064">
                  <c:v>42920</c:v>
                </c:pt>
                <c:pt idx="2065">
                  <c:v>42921</c:v>
                </c:pt>
                <c:pt idx="2066">
                  <c:v>42922</c:v>
                </c:pt>
                <c:pt idx="2067">
                  <c:v>42923</c:v>
                </c:pt>
                <c:pt idx="2068">
                  <c:v>42926</c:v>
                </c:pt>
                <c:pt idx="2069">
                  <c:v>42927</c:v>
                </c:pt>
                <c:pt idx="2070">
                  <c:v>42928</c:v>
                </c:pt>
                <c:pt idx="2071">
                  <c:v>42929</c:v>
                </c:pt>
                <c:pt idx="2072">
                  <c:v>42930</c:v>
                </c:pt>
                <c:pt idx="2073">
                  <c:v>42933</c:v>
                </c:pt>
                <c:pt idx="2074">
                  <c:v>42934</c:v>
                </c:pt>
                <c:pt idx="2075">
                  <c:v>42935</c:v>
                </c:pt>
                <c:pt idx="2076">
                  <c:v>42936</c:v>
                </c:pt>
                <c:pt idx="2077">
                  <c:v>42937</c:v>
                </c:pt>
                <c:pt idx="2078">
                  <c:v>42940</c:v>
                </c:pt>
                <c:pt idx="2079">
                  <c:v>42941</c:v>
                </c:pt>
                <c:pt idx="2080">
                  <c:v>42942</c:v>
                </c:pt>
                <c:pt idx="2081">
                  <c:v>42943</c:v>
                </c:pt>
                <c:pt idx="2082">
                  <c:v>42944</c:v>
                </c:pt>
                <c:pt idx="2083">
                  <c:v>42947</c:v>
                </c:pt>
                <c:pt idx="2084">
                  <c:v>42948</c:v>
                </c:pt>
                <c:pt idx="2085">
                  <c:v>42949</c:v>
                </c:pt>
                <c:pt idx="2086">
                  <c:v>42950</c:v>
                </c:pt>
                <c:pt idx="2087">
                  <c:v>42951</c:v>
                </c:pt>
                <c:pt idx="2088">
                  <c:v>42954</c:v>
                </c:pt>
                <c:pt idx="2089">
                  <c:v>42955</c:v>
                </c:pt>
                <c:pt idx="2090">
                  <c:v>42956</c:v>
                </c:pt>
                <c:pt idx="2091">
                  <c:v>42957</c:v>
                </c:pt>
                <c:pt idx="2092">
                  <c:v>42958</c:v>
                </c:pt>
                <c:pt idx="2093">
                  <c:v>42961</c:v>
                </c:pt>
                <c:pt idx="2094">
                  <c:v>42962</c:v>
                </c:pt>
                <c:pt idx="2095">
                  <c:v>42963</c:v>
                </c:pt>
                <c:pt idx="2096">
                  <c:v>42964</c:v>
                </c:pt>
                <c:pt idx="2097">
                  <c:v>42965</c:v>
                </c:pt>
                <c:pt idx="2098">
                  <c:v>42968</c:v>
                </c:pt>
                <c:pt idx="2099">
                  <c:v>42969</c:v>
                </c:pt>
                <c:pt idx="2100">
                  <c:v>42970</c:v>
                </c:pt>
                <c:pt idx="2101">
                  <c:v>42971</c:v>
                </c:pt>
                <c:pt idx="2102">
                  <c:v>42972</c:v>
                </c:pt>
                <c:pt idx="2103">
                  <c:v>42975</c:v>
                </c:pt>
                <c:pt idx="2104">
                  <c:v>42976</c:v>
                </c:pt>
                <c:pt idx="2105">
                  <c:v>42977</c:v>
                </c:pt>
                <c:pt idx="2106">
                  <c:v>42978</c:v>
                </c:pt>
                <c:pt idx="2107">
                  <c:v>42979</c:v>
                </c:pt>
                <c:pt idx="2108">
                  <c:v>42982</c:v>
                </c:pt>
                <c:pt idx="2109">
                  <c:v>42983</c:v>
                </c:pt>
                <c:pt idx="2110">
                  <c:v>42984</c:v>
                </c:pt>
                <c:pt idx="2111">
                  <c:v>42985</c:v>
                </c:pt>
                <c:pt idx="2112">
                  <c:v>42986</c:v>
                </c:pt>
                <c:pt idx="2113">
                  <c:v>42989</c:v>
                </c:pt>
                <c:pt idx="2114">
                  <c:v>42990</c:v>
                </c:pt>
                <c:pt idx="2115">
                  <c:v>42991</c:v>
                </c:pt>
                <c:pt idx="2116">
                  <c:v>42992</c:v>
                </c:pt>
                <c:pt idx="2117">
                  <c:v>42993</c:v>
                </c:pt>
                <c:pt idx="2118">
                  <c:v>42996</c:v>
                </c:pt>
                <c:pt idx="2119">
                  <c:v>42997</c:v>
                </c:pt>
                <c:pt idx="2120">
                  <c:v>42998</c:v>
                </c:pt>
                <c:pt idx="2121">
                  <c:v>42999</c:v>
                </c:pt>
                <c:pt idx="2122">
                  <c:v>43000</c:v>
                </c:pt>
                <c:pt idx="2123">
                  <c:v>43003</c:v>
                </c:pt>
                <c:pt idx="2124">
                  <c:v>43004</c:v>
                </c:pt>
                <c:pt idx="2125">
                  <c:v>43005</c:v>
                </c:pt>
                <c:pt idx="2126">
                  <c:v>43006</c:v>
                </c:pt>
                <c:pt idx="2127">
                  <c:v>43007</c:v>
                </c:pt>
                <c:pt idx="2128">
                  <c:v>43017</c:v>
                </c:pt>
                <c:pt idx="2129">
                  <c:v>43018</c:v>
                </c:pt>
                <c:pt idx="2130">
                  <c:v>43019</c:v>
                </c:pt>
                <c:pt idx="2131">
                  <c:v>43020</c:v>
                </c:pt>
                <c:pt idx="2132">
                  <c:v>43021</c:v>
                </c:pt>
                <c:pt idx="2133">
                  <c:v>43024</c:v>
                </c:pt>
                <c:pt idx="2134">
                  <c:v>43025</c:v>
                </c:pt>
                <c:pt idx="2135">
                  <c:v>43026</c:v>
                </c:pt>
                <c:pt idx="2136">
                  <c:v>43027</c:v>
                </c:pt>
                <c:pt idx="2137">
                  <c:v>43028</c:v>
                </c:pt>
                <c:pt idx="2138">
                  <c:v>43031</c:v>
                </c:pt>
                <c:pt idx="2139">
                  <c:v>43032</c:v>
                </c:pt>
                <c:pt idx="2140">
                  <c:v>43033</c:v>
                </c:pt>
                <c:pt idx="2141">
                  <c:v>43034</c:v>
                </c:pt>
                <c:pt idx="2142">
                  <c:v>43035</c:v>
                </c:pt>
                <c:pt idx="2143">
                  <c:v>43038</c:v>
                </c:pt>
                <c:pt idx="2144">
                  <c:v>43039</c:v>
                </c:pt>
                <c:pt idx="2145">
                  <c:v>43040</c:v>
                </c:pt>
                <c:pt idx="2146">
                  <c:v>43041</c:v>
                </c:pt>
                <c:pt idx="2147">
                  <c:v>43042</c:v>
                </c:pt>
                <c:pt idx="2148">
                  <c:v>43045</c:v>
                </c:pt>
                <c:pt idx="2149">
                  <c:v>43046</c:v>
                </c:pt>
                <c:pt idx="2150">
                  <c:v>43047</c:v>
                </c:pt>
                <c:pt idx="2151">
                  <c:v>43048</c:v>
                </c:pt>
                <c:pt idx="2152">
                  <c:v>43049</c:v>
                </c:pt>
                <c:pt idx="2153">
                  <c:v>43052</c:v>
                </c:pt>
                <c:pt idx="2154">
                  <c:v>43053</c:v>
                </c:pt>
                <c:pt idx="2155">
                  <c:v>43054</c:v>
                </c:pt>
                <c:pt idx="2156">
                  <c:v>43055</c:v>
                </c:pt>
                <c:pt idx="2157">
                  <c:v>43056</c:v>
                </c:pt>
                <c:pt idx="2158">
                  <c:v>43059</c:v>
                </c:pt>
                <c:pt idx="2159">
                  <c:v>43060</c:v>
                </c:pt>
                <c:pt idx="2160">
                  <c:v>43061</c:v>
                </c:pt>
                <c:pt idx="2161">
                  <c:v>43062</c:v>
                </c:pt>
                <c:pt idx="2162">
                  <c:v>43063</c:v>
                </c:pt>
                <c:pt idx="2163">
                  <c:v>43066</c:v>
                </c:pt>
                <c:pt idx="2164">
                  <c:v>43067</c:v>
                </c:pt>
                <c:pt idx="2165">
                  <c:v>43068</c:v>
                </c:pt>
                <c:pt idx="2166">
                  <c:v>43069</c:v>
                </c:pt>
                <c:pt idx="2167">
                  <c:v>43070</c:v>
                </c:pt>
                <c:pt idx="2168">
                  <c:v>43073</c:v>
                </c:pt>
                <c:pt idx="2169">
                  <c:v>43074</c:v>
                </c:pt>
                <c:pt idx="2170">
                  <c:v>43075</c:v>
                </c:pt>
                <c:pt idx="2171">
                  <c:v>43076</c:v>
                </c:pt>
                <c:pt idx="2172">
                  <c:v>43077</c:v>
                </c:pt>
                <c:pt idx="2173">
                  <c:v>43080</c:v>
                </c:pt>
                <c:pt idx="2174">
                  <c:v>43081</c:v>
                </c:pt>
                <c:pt idx="2175">
                  <c:v>43082</c:v>
                </c:pt>
                <c:pt idx="2176">
                  <c:v>43083</c:v>
                </c:pt>
                <c:pt idx="2177">
                  <c:v>43084</c:v>
                </c:pt>
                <c:pt idx="2178">
                  <c:v>43087</c:v>
                </c:pt>
                <c:pt idx="2179">
                  <c:v>43088</c:v>
                </c:pt>
                <c:pt idx="2180">
                  <c:v>43089</c:v>
                </c:pt>
                <c:pt idx="2181">
                  <c:v>43090</c:v>
                </c:pt>
                <c:pt idx="2182">
                  <c:v>43091</c:v>
                </c:pt>
                <c:pt idx="2183">
                  <c:v>43094</c:v>
                </c:pt>
                <c:pt idx="2184">
                  <c:v>43095</c:v>
                </c:pt>
                <c:pt idx="2185">
                  <c:v>43096</c:v>
                </c:pt>
                <c:pt idx="2186">
                  <c:v>43097</c:v>
                </c:pt>
                <c:pt idx="2187">
                  <c:v>43098</c:v>
                </c:pt>
                <c:pt idx="2188">
                  <c:v>43102</c:v>
                </c:pt>
                <c:pt idx="2189">
                  <c:v>43103</c:v>
                </c:pt>
                <c:pt idx="2190">
                  <c:v>43104</c:v>
                </c:pt>
                <c:pt idx="2191">
                  <c:v>43105</c:v>
                </c:pt>
                <c:pt idx="2192">
                  <c:v>43108</c:v>
                </c:pt>
                <c:pt idx="2193">
                  <c:v>43109</c:v>
                </c:pt>
                <c:pt idx="2194">
                  <c:v>43110</c:v>
                </c:pt>
                <c:pt idx="2195">
                  <c:v>43111</c:v>
                </c:pt>
                <c:pt idx="2196">
                  <c:v>43112</c:v>
                </c:pt>
                <c:pt idx="2197">
                  <c:v>43115</c:v>
                </c:pt>
                <c:pt idx="2198">
                  <c:v>43116</c:v>
                </c:pt>
                <c:pt idx="2199">
                  <c:v>43117</c:v>
                </c:pt>
                <c:pt idx="2200">
                  <c:v>43118</c:v>
                </c:pt>
                <c:pt idx="2201">
                  <c:v>43119</c:v>
                </c:pt>
                <c:pt idx="2202">
                  <c:v>43122</c:v>
                </c:pt>
                <c:pt idx="2203">
                  <c:v>43123</c:v>
                </c:pt>
                <c:pt idx="2204">
                  <c:v>43124</c:v>
                </c:pt>
                <c:pt idx="2205">
                  <c:v>43125</c:v>
                </c:pt>
                <c:pt idx="2206">
                  <c:v>43126</c:v>
                </c:pt>
                <c:pt idx="2207">
                  <c:v>43129</c:v>
                </c:pt>
                <c:pt idx="2208">
                  <c:v>43130</c:v>
                </c:pt>
                <c:pt idx="2209">
                  <c:v>43131</c:v>
                </c:pt>
                <c:pt idx="2210">
                  <c:v>43132</c:v>
                </c:pt>
                <c:pt idx="2211">
                  <c:v>43133</c:v>
                </c:pt>
                <c:pt idx="2212">
                  <c:v>43136</c:v>
                </c:pt>
                <c:pt idx="2213">
                  <c:v>43137</c:v>
                </c:pt>
                <c:pt idx="2214">
                  <c:v>43138</c:v>
                </c:pt>
                <c:pt idx="2215">
                  <c:v>43139</c:v>
                </c:pt>
                <c:pt idx="2216">
                  <c:v>43140</c:v>
                </c:pt>
                <c:pt idx="2217">
                  <c:v>43143</c:v>
                </c:pt>
                <c:pt idx="2218">
                  <c:v>43144</c:v>
                </c:pt>
                <c:pt idx="2219">
                  <c:v>43145</c:v>
                </c:pt>
                <c:pt idx="2220">
                  <c:v>43153</c:v>
                </c:pt>
                <c:pt idx="2221">
                  <c:v>43154</c:v>
                </c:pt>
                <c:pt idx="2222">
                  <c:v>43157</c:v>
                </c:pt>
                <c:pt idx="2223">
                  <c:v>43158</c:v>
                </c:pt>
                <c:pt idx="2224">
                  <c:v>43159</c:v>
                </c:pt>
                <c:pt idx="2225">
                  <c:v>43160</c:v>
                </c:pt>
                <c:pt idx="2226">
                  <c:v>43161</c:v>
                </c:pt>
                <c:pt idx="2227">
                  <c:v>43164</c:v>
                </c:pt>
                <c:pt idx="2228">
                  <c:v>43165</c:v>
                </c:pt>
                <c:pt idx="2229">
                  <c:v>43166</c:v>
                </c:pt>
                <c:pt idx="2230">
                  <c:v>43167</c:v>
                </c:pt>
                <c:pt idx="2231">
                  <c:v>43168</c:v>
                </c:pt>
                <c:pt idx="2232">
                  <c:v>43171</c:v>
                </c:pt>
                <c:pt idx="2233">
                  <c:v>43172</c:v>
                </c:pt>
                <c:pt idx="2234">
                  <c:v>43173</c:v>
                </c:pt>
                <c:pt idx="2235">
                  <c:v>43174</c:v>
                </c:pt>
                <c:pt idx="2236">
                  <c:v>43175</c:v>
                </c:pt>
                <c:pt idx="2237">
                  <c:v>43178</c:v>
                </c:pt>
                <c:pt idx="2238">
                  <c:v>43179</c:v>
                </c:pt>
                <c:pt idx="2239">
                  <c:v>43180</c:v>
                </c:pt>
                <c:pt idx="2240">
                  <c:v>43181</c:v>
                </c:pt>
                <c:pt idx="2241">
                  <c:v>43182</c:v>
                </c:pt>
                <c:pt idx="2242">
                  <c:v>43185</c:v>
                </c:pt>
                <c:pt idx="2243">
                  <c:v>43186</c:v>
                </c:pt>
                <c:pt idx="2244">
                  <c:v>43187</c:v>
                </c:pt>
                <c:pt idx="2245">
                  <c:v>43188</c:v>
                </c:pt>
                <c:pt idx="2246">
                  <c:v>43189</c:v>
                </c:pt>
                <c:pt idx="2247">
                  <c:v>43192</c:v>
                </c:pt>
                <c:pt idx="2248">
                  <c:v>43193</c:v>
                </c:pt>
                <c:pt idx="2249">
                  <c:v>43194</c:v>
                </c:pt>
                <c:pt idx="2250">
                  <c:v>43199</c:v>
                </c:pt>
                <c:pt idx="2251">
                  <c:v>43200</c:v>
                </c:pt>
                <c:pt idx="2252">
                  <c:v>43201</c:v>
                </c:pt>
                <c:pt idx="2253">
                  <c:v>43202</c:v>
                </c:pt>
                <c:pt idx="2254">
                  <c:v>43203</c:v>
                </c:pt>
                <c:pt idx="2255">
                  <c:v>43206</c:v>
                </c:pt>
                <c:pt idx="2256">
                  <c:v>43207</c:v>
                </c:pt>
                <c:pt idx="2257">
                  <c:v>43208</c:v>
                </c:pt>
                <c:pt idx="2258">
                  <c:v>43209</c:v>
                </c:pt>
                <c:pt idx="2259">
                  <c:v>43210</c:v>
                </c:pt>
                <c:pt idx="2260">
                  <c:v>43213</c:v>
                </c:pt>
                <c:pt idx="2261">
                  <c:v>43214</c:v>
                </c:pt>
                <c:pt idx="2262">
                  <c:v>43215</c:v>
                </c:pt>
                <c:pt idx="2263">
                  <c:v>43216</c:v>
                </c:pt>
                <c:pt idx="2264">
                  <c:v>43217</c:v>
                </c:pt>
                <c:pt idx="2265">
                  <c:v>43222</c:v>
                </c:pt>
                <c:pt idx="2266">
                  <c:v>43223</c:v>
                </c:pt>
                <c:pt idx="2267">
                  <c:v>43224</c:v>
                </c:pt>
                <c:pt idx="2268">
                  <c:v>43227</c:v>
                </c:pt>
                <c:pt idx="2269">
                  <c:v>43228</c:v>
                </c:pt>
                <c:pt idx="2270">
                  <c:v>43229</c:v>
                </c:pt>
                <c:pt idx="2271">
                  <c:v>43230</c:v>
                </c:pt>
                <c:pt idx="2272">
                  <c:v>43231</c:v>
                </c:pt>
                <c:pt idx="2273">
                  <c:v>43234</c:v>
                </c:pt>
                <c:pt idx="2274">
                  <c:v>43235</c:v>
                </c:pt>
                <c:pt idx="2275">
                  <c:v>43236</c:v>
                </c:pt>
                <c:pt idx="2276">
                  <c:v>43237</c:v>
                </c:pt>
                <c:pt idx="2277">
                  <c:v>43238</c:v>
                </c:pt>
                <c:pt idx="2278">
                  <c:v>43241</c:v>
                </c:pt>
                <c:pt idx="2279">
                  <c:v>43242</c:v>
                </c:pt>
                <c:pt idx="2280">
                  <c:v>43243</c:v>
                </c:pt>
                <c:pt idx="2281">
                  <c:v>43244</c:v>
                </c:pt>
                <c:pt idx="2282">
                  <c:v>43245</c:v>
                </c:pt>
                <c:pt idx="2283">
                  <c:v>43248</c:v>
                </c:pt>
                <c:pt idx="2284">
                  <c:v>43249</c:v>
                </c:pt>
                <c:pt idx="2285">
                  <c:v>43250</c:v>
                </c:pt>
                <c:pt idx="2286">
                  <c:v>43251</c:v>
                </c:pt>
                <c:pt idx="2287">
                  <c:v>43252</c:v>
                </c:pt>
                <c:pt idx="2288">
                  <c:v>43255</c:v>
                </c:pt>
                <c:pt idx="2289">
                  <c:v>43256</c:v>
                </c:pt>
                <c:pt idx="2290">
                  <c:v>43257</c:v>
                </c:pt>
                <c:pt idx="2291">
                  <c:v>43258</c:v>
                </c:pt>
                <c:pt idx="2292">
                  <c:v>43259</c:v>
                </c:pt>
                <c:pt idx="2293">
                  <c:v>43262</c:v>
                </c:pt>
                <c:pt idx="2294">
                  <c:v>43263</c:v>
                </c:pt>
                <c:pt idx="2295">
                  <c:v>43264</c:v>
                </c:pt>
                <c:pt idx="2296">
                  <c:v>43265</c:v>
                </c:pt>
                <c:pt idx="2297">
                  <c:v>43266</c:v>
                </c:pt>
                <c:pt idx="2298">
                  <c:v>43270</c:v>
                </c:pt>
                <c:pt idx="2299">
                  <c:v>43271</c:v>
                </c:pt>
                <c:pt idx="2300">
                  <c:v>43272</c:v>
                </c:pt>
                <c:pt idx="2301">
                  <c:v>43273</c:v>
                </c:pt>
                <c:pt idx="2302">
                  <c:v>43276</c:v>
                </c:pt>
                <c:pt idx="2303">
                  <c:v>43277</c:v>
                </c:pt>
                <c:pt idx="2304">
                  <c:v>43278</c:v>
                </c:pt>
                <c:pt idx="2305">
                  <c:v>43279</c:v>
                </c:pt>
                <c:pt idx="2306">
                  <c:v>43280</c:v>
                </c:pt>
                <c:pt idx="2307">
                  <c:v>43283</c:v>
                </c:pt>
                <c:pt idx="2308">
                  <c:v>43284</c:v>
                </c:pt>
                <c:pt idx="2309">
                  <c:v>43285</c:v>
                </c:pt>
                <c:pt idx="2310">
                  <c:v>43286</c:v>
                </c:pt>
                <c:pt idx="2311">
                  <c:v>43287</c:v>
                </c:pt>
                <c:pt idx="2312">
                  <c:v>43290</c:v>
                </c:pt>
                <c:pt idx="2313">
                  <c:v>43291</c:v>
                </c:pt>
                <c:pt idx="2314">
                  <c:v>43292</c:v>
                </c:pt>
                <c:pt idx="2315">
                  <c:v>43293</c:v>
                </c:pt>
                <c:pt idx="2316">
                  <c:v>43294</c:v>
                </c:pt>
                <c:pt idx="2317">
                  <c:v>43297</c:v>
                </c:pt>
                <c:pt idx="2318">
                  <c:v>43298</c:v>
                </c:pt>
                <c:pt idx="2319">
                  <c:v>43299</c:v>
                </c:pt>
                <c:pt idx="2320">
                  <c:v>43300</c:v>
                </c:pt>
                <c:pt idx="2321">
                  <c:v>43301</c:v>
                </c:pt>
                <c:pt idx="2322">
                  <c:v>43304</c:v>
                </c:pt>
                <c:pt idx="2323">
                  <c:v>43305</c:v>
                </c:pt>
                <c:pt idx="2324">
                  <c:v>43306</c:v>
                </c:pt>
                <c:pt idx="2325">
                  <c:v>43307</c:v>
                </c:pt>
                <c:pt idx="2326">
                  <c:v>43308</c:v>
                </c:pt>
                <c:pt idx="2327">
                  <c:v>43311</c:v>
                </c:pt>
                <c:pt idx="2328">
                  <c:v>43312</c:v>
                </c:pt>
                <c:pt idx="2329">
                  <c:v>43313</c:v>
                </c:pt>
                <c:pt idx="2330">
                  <c:v>43314</c:v>
                </c:pt>
                <c:pt idx="2331">
                  <c:v>43315</c:v>
                </c:pt>
                <c:pt idx="2332">
                  <c:v>43318</c:v>
                </c:pt>
                <c:pt idx="2333">
                  <c:v>43319</c:v>
                </c:pt>
                <c:pt idx="2334">
                  <c:v>43320</c:v>
                </c:pt>
                <c:pt idx="2335">
                  <c:v>43321</c:v>
                </c:pt>
                <c:pt idx="2336">
                  <c:v>43322</c:v>
                </c:pt>
                <c:pt idx="2337">
                  <c:v>43325</c:v>
                </c:pt>
                <c:pt idx="2338">
                  <c:v>43326</c:v>
                </c:pt>
                <c:pt idx="2339">
                  <c:v>43327</c:v>
                </c:pt>
                <c:pt idx="2340">
                  <c:v>43328</c:v>
                </c:pt>
                <c:pt idx="2341">
                  <c:v>43329</c:v>
                </c:pt>
                <c:pt idx="2342">
                  <c:v>43332</c:v>
                </c:pt>
                <c:pt idx="2343">
                  <c:v>43333</c:v>
                </c:pt>
                <c:pt idx="2344">
                  <c:v>43334</c:v>
                </c:pt>
                <c:pt idx="2345">
                  <c:v>43335</c:v>
                </c:pt>
                <c:pt idx="2346">
                  <c:v>43336</c:v>
                </c:pt>
                <c:pt idx="2347">
                  <c:v>43339</c:v>
                </c:pt>
                <c:pt idx="2348">
                  <c:v>43340</c:v>
                </c:pt>
                <c:pt idx="2349">
                  <c:v>43341</c:v>
                </c:pt>
                <c:pt idx="2350">
                  <c:v>43342</c:v>
                </c:pt>
                <c:pt idx="2351">
                  <c:v>43343</c:v>
                </c:pt>
                <c:pt idx="2352">
                  <c:v>43346</c:v>
                </c:pt>
                <c:pt idx="2353">
                  <c:v>43347</c:v>
                </c:pt>
                <c:pt idx="2354">
                  <c:v>43348</c:v>
                </c:pt>
                <c:pt idx="2355">
                  <c:v>43349</c:v>
                </c:pt>
                <c:pt idx="2356">
                  <c:v>43350</c:v>
                </c:pt>
                <c:pt idx="2357">
                  <c:v>43353</c:v>
                </c:pt>
                <c:pt idx="2358">
                  <c:v>43354</c:v>
                </c:pt>
                <c:pt idx="2359">
                  <c:v>43355</c:v>
                </c:pt>
                <c:pt idx="2360">
                  <c:v>43356</c:v>
                </c:pt>
                <c:pt idx="2361">
                  <c:v>43357</c:v>
                </c:pt>
                <c:pt idx="2362">
                  <c:v>43360</c:v>
                </c:pt>
                <c:pt idx="2363">
                  <c:v>43361</c:v>
                </c:pt>
                <c:pt idx="2364">
                  <c:v>43362</c:v>
                </c:pt>
                <c:pt idx="2365">
                  <c:v>43363</c:v>
                </c:pt>
                <c:pt idx="2366">
                  <c:v>43364</c:v>
                </c:pt>
                <c:pt idx="2367">
                  <c:v>43368</c:v>
                </c:pt>
                <c:pt idx="2368">
                  <c:v>43369</c:v>
                </c:pt>
                <c:pt idx="2369">
                  <c:v>43370</c:v>
                </c:pt>
                <c:pt idx="2370">
                  <c:v>43371</c:v>
                </c:pt>
                <c:pt idx="2371">
                  <c:v>43381</c:v>
                </c:pt>
                <c:pt idx="2372">
                  <c:v>43382</c:v>
                </c:pt>
                <c:pt idx="2373">
                  <c:v>43383</c:v>
                </c:pt>
                <c:pt idx="2374">
                  <c:v>43384</c:v>
                </c:pt>
                <c:pt idx="2375">
                  <c:v>43385</c:v>
                </c:pt>
                <c:pt idx="2376">
                  <c:v>43388</c:v>
                </c:pt>
                <c:pt idx="2377">
                  <c:v>43389</c:v>
                </c:pt>
                <c:pt idx="2378">
                  <c:v>43390</c:v>
                </c:pt>
                <c:pt idx="2379">
                  <c:v>43391</c:v>
                </c:pt>
                <c:pt idx="2380">
                  <c:v>43392</c:v>
                </c:pt>
                <c:pt idx="2381">
                  <c:v>43395</c:v>
                </c:pt>
                <c:pt idx="2382">
                  <c:v>43396</c:v>
                </c:pt>
                <c:pt idx="2383">
                  <c:v>43397</c:v>
                </c:pt>
                <c:pt idx="2384">
                  <c:v>43398</c:v>
                </c:pt>
                <c:pt idx="2385">
                  <c:v>43399</c:v>
                </c:pt>
                <c:pt idx="2386">
                  <c:v>43402</c:v>
                </c:pt>
                <c:pt idx="2387">
                  <c:v>43403</c:v>
                </c:pt>
                <c:pt idx="2388">
                  <c:v>43404</c:v>
                </c:pt>
                <c:pt idx="2389">
                  <c:v>43405</c:v>
                </c:pt>
                <c:pt idx="2390">
                  <c:v>43406</c:v>
                </c:pt>
                <c:pt idx="2391">
                  <c:v>43409</c:v>
                </c:pt>
                <c:pt idx="2392">
                  <c:v>43410</c:v>
                </c:pt>
                <c:pt idx="2393">
                  <c:v>43411</c:v>
                </c:pt>
                <c:pt idx="2394">
                  <c:v>43412</c:v>
                </c:pt>
                <c:pt idx="2395">
                  <c:v>43413</c:v>
                </c:pt>
                <c:pt idx="2396">
                  <c:v>43416</c:v>
                </c:pt>
                <c:pt idx="2397">
                  <c:v>43417</c:v>
                </c:pt>
                <c:pt idx="2398">
                  <c:v>43418</c:v>
                </c:pt>
                <c:pt idx="2399">
                  <c:v>43419</c:v>
                </c:pt>
                <c:pt idx="2400">
                  <c:v>43420</c:v>
                </c:pt>
                <c:pt idx="2401">
                  <c:v>43423</c:v>
                </c:pt>
                <c:pt idx="2402">
                  <c:v>43424</c:v>
                </c:pt>
                <c:pt idx="2403">
                  <c:v>43425</c:v>
                </c:pt>
                <c:pt idx="2404">
                  <c:v>43426</c:v>
                </c:pt>
                <c:pt idx="2405">
                  <c:v>43427</c:v>
                </c:pt>
                <c:pt idx="2406">
                  <c:v>43430</c:v>
                </c:pt>
                <c:pt idx="2407">
                  <c:v>43431</c:v>
                </c:pt>
                <c:pt idx="2408">
                  <c:v>43432</c:v>
                </c:pt>
                <c:pt idx="2409">
                  <c:v>43433</c:v>
                </c:pt>
                <c:pt idx="2410">
                  <c:v>43434</c:v>
                </c:pt>
                <c:pt idx="2411">
                  <c:v>43437</c:v>
                </c:pt>
                <c:pt idx="2412">
                  <c:v>43438</c:v>
                </c:pt>
                <c:pt idx="2413">
                  <c:v>43439</c:v>
                </c:pt>
                <c:pt idx="2414">
                  <c:v>43440</c:v>
                </c:pt>
                <c:pt idx="2415">
                  <c:v>43441</c:v>
                </c:pt>
                <c:pt idx="2416">
                  <c:v>43444</c:v>
                </c:pt>
                <c:pt idx="2417">
                  <c:v>43445</c:v>
                </c:pt>
                <c:pt idx="2418">
                  <c:v>43446</c:v>
                </c:pt>
                <c:pt idx="2419">
                  <c:v>43447</c:v>
                </c:pt>
                <c:pt idx="2420">
                  <c:v>43448</c:v>
                </c:pt>
                <c:pt idx="2421">
                  <c:v>43451</c:v>
                </c:pt>
                <c:pt idx="2422">
                  <c:v>43452</c:v>
                </c:pt>
                <c:pt idx="2423">
                  <c:v>43453</c:v>
                </c:pt>
                <c:pt idx="2424">
                  <c:v>43454</c:v>
                </c:pt>
                <c:pt idx="2425">
                  <c:v>43455</c:v>
                </c:pt>
                <c:pt idx="2426">
                  <c:v>43458</c:v>
                </c:pt>
                <c:pt idx="2427">
                  <c:v>43459</c:v>
                </c:pt>
                <c:pt idx="2428">
                  <c:v>43460</c:v>
                </c:pt>
                <c:pt idx="2429">
                  <c:v>43461</c:v>
                </c:pt>
                <c:pt idx="2430">
                  <c:v>43462</c:v>
                </c:pt>
                <c:pt idx="2431">
                  <c:v>43467</c:v>
                </c:pt>
                <c:pt idx="2432">
                  <c:v>43468</c:v>
                </c:pt>
                <c:pt idx="2433">
                  <c:v>43469</c:v>
                </c:pt>
                <c:pt idx="2434">
                  <c:v>43472</c:v>
                </c:pt>
                <c:pt idx="2435">
                  <c:v>43473</c:v>
                </c:pt>
                <c:pt idx="2436">
                  <c:v>43474</c:v>
                </c:pt>
                <c:pt idx="2437">
                  <c:v>43475</c:v>
                </c:pt>
                <c:pt idx="2438">
                  <c:v>43476</c:v>
                </c:pt>
                <c:pt idx="2439">
                  <c:v>43479</c:v>
                </c:pt>
                <c:pt idx="2440">
                  <c:v>43480</c:v>
                </c:pt>
                <c:pt idx="2441">
                  <c:v>43481</c:v>
                </c:pt>
                <c:pt idx="2442">
                  <c:v>43482</c:v>
                </c:pt>
                <c:pt idx="2443">
                  <c:v>43483</c:v>
                </c:pt>
                <c:pt idx="2444">
                  <c:v>43486</c:v>
                </c:pt>
                <c:pt idx="2445">
                  <c:v>43487</c:v>
                </c:pt>
                <c:pt idx="2446">
                  <c:v>43488</c:v>
                </c:pt>
                <c:pt idx="2447">
                  <c:v>43489</c:v>
                </c:pt>
                <c:pt idx="2448">
                  <c:v>43490</c:v>
                </c:pt>
                <c:pt idx="2449">
                  <c:v>43493</c:v>
                </c:pt>
                <c:pt idx="2450">
                  <c:v>43494</c:v>
                </c:pt>
                <c:pt idx="2451">
                  <c:v>43495</c:v>
                </c:pt>
                <c:pt idx="2452">
                  <c:v>43496</c:v>
                </c:pt>
                <c:pt idx="2453">
                  <c:v>43497</c:v>
                </c:pt>
                <c:pt idx="2454">
                  <c:v>43507</c:v>
                </c:pt>
                <c:pt idx="2455">
                  <c:v>43508</c:v>
                </c:pt>
                <c:pt idx="2456">
                  <c:v>43509</c:v>
                </c:pt>
                <c:pt idx="2457">
                  <c:v>43510</c:v>
                </c:pt>
                <c:pt idx="2458">
                  <c:v>43511</c:v>
                </c:pt>
                <c:pt idx="2459">
                  <c:v>43514</c:v>
                </c:pt>
                <c:pt idx="2460">
                  <c:v>43515</c:v>
                </c:pt>
                <c:pt idx="2461">
                  <c:v>43516</c:v>
                </c:pt>
                <c:pt idx="2462">
                  <c:v>43517</c:v>
                </c:pt>
                <c:pt idx="2463">
                  <c:v>43518</c:v>
                </c:pt>
                <c:pt idx="2464">
                  <c:v>43521</c:v>
                </c:pt>
                <c:pt idx="2465">
                  <c:v>43522</c:v>
                </c:pt>
                <c:pt idx="2466">
                  <c:v>43523</c:v>
                </c:pt>
                <c:pt idx="2467">
                  <c:v>43524</c:v>
                </c:pt>
                <c:pt idx="2468">
                  <c:v>43525</c:v>
                </c:pt>
                <c:pt idx="2469">
                  <c:v>43528</c:v>
                </c:pt>
                <c:pt idx="2470">
                  <c:v>43529</c:v>
                </c:pt>
                <c:pt idx="2471">
                  <c:v>43530</c:v>
                </c:pt>
                <c:pt idx="2472">
                  <c:v>43531</c:v>
                </c:pt>
                <c:pt idx="2473">
                  <c:v>43532</c:v>
                </c:pt>
                <c:pt idx="2474">
                  <c:v>43535</c:v>
                </c:pt>
                <c:pt idx="2475">
                  <c:v>43536</c:v>
                </c:pt>
                <c:pt idx="2476">
                  <c:v>43537</c:v>
                </c:pt>
                <c:pt idx="2477">
                  <c:v>43538</c:v>
                </c:pt>
                <c:pt idx="2478">
                  <c:v>43539</c:v>
                </c:pt>
                <c:pt idx="2479">
                  <c:v>43542</c:v>
                </c:pt>
                <c:pt idx="2480">
                  <c:v>43543</c:v>
                </c:pt>
                <c:pt idx="2481">
                  <c:v>43544</c:v>
                </c:pt>
                <c:pt idx="2482">
                  <c:v>43545</c:v>
                </c:pt>
                <c:pt idx="2483">
                  <c:v>43546</c:v>
                </c:pt>
                <c:pt idx="2484">
                  <c:v>43549</c:v>
                </c:pt>
                <c:pt idx="2485">
                  <c:v>43550</c:v>
                </c:pt>
                <c:pt idx="2486">
                  <c:v>43551</c:v>
                </c:pt>
                <c:pt idx="2487">
                  <c:v>43552</c:v>
                </c:pt>
                <c:pt idx="2488">
                  <c:v>43553</c:v>
                </c:pt>
                <c:pt idx="2489">
                  <c:v>43556</c:v>
                </c:pt>
                <c:pt idx="2490">
                  <c:v>43557</c:v>
                </c:pt>
                <c:pt idx="2491">
                  <c:v>43558</c:v>
                </c:pt>
                <c:pt idx="2492">
                  <c:v>43559</c:v>
                </c:pt>
                <c:pt idx="2493">
                  <c:v>43563</c:v>
                </c:pt>
                <c:pt idx="2494">
                  <c:v>43564</c:v>
                </c:pt>
                <c:pt idx="2495">
                  <c:v>43565</c:v>
                </c:pt>
                <c:pt idx="2496">
                  <c:v>43566</c:v>
                </c:pt>
                <c:pt idx="2497">
                  <c:v>43567</c:v>
                </c:pt>
                <c:pt idx="2498">
                  <c:v>43570</c:v>
                </c:pt>
                <c:pt idx="2499">
                  <c:v>43571</c:v>
                </c:pt>
                <c:pt idx="2500">
                  <c:v>43572</c:v>
                </c:pt>
                <c:pt idx="2501">
                  <c:v>43573</c:v>
                </c:pt>
                <c:pt idx="2502">
                  <c:v>43574</c:v>
                </c:pt>
                <c:pt idx="2503">
                  <c:v>43577</c:v>
                </c:pt>
                <c:pt idx="2504">
                  <c:v>43578</c:v>
                </c:pt>
                <c:pt idx="2505">
                  <c:v>43579</c:v>
                </c:pt>
                <c:pt idx="2506">
                  <c:v>43580</c:v>
                </c:pt>
                <c:pt idx="2507">
                  <c:v>43581</c:v>
                </c:pt>
                <c:pt idx="2508">
                  <c:v>43584</c:v>
                </c:pt>
                <c:pt idx="2509">
                  <c:v>43585</c:v>
                </c:pt>
                <c:pt idx="2510">
                  <c:v>43591</c:v>
                </c:pt>
                <c:pt idx="2511">
                  <c:v>43592</c:v>
                </c:pt>
                <c:pt idx="2512">
                  <c:v>43593</c:v>
                </c:pt>
                <c:pt idx="2513">
                  <c:v>43594</c:v>
                </c:pt>
                <c:pt idx="2514">
                  <c:v>43595</c:v>
                </c:pt>
                <c:pt idx="2515">
                  <c:v>43598</c:v>
                </c:pt>
                <c:pt idx="2516">
                  <c:v>43599</c:v>
                </c:pt>
                <c:pt idx="2517">
                  <c:v>43600</c:v>
                </c:pt>
                <c:pt idx="2518">
                  <c:v>43601</c:v>
                </c:pt>
                <c:pt idx="2519">
                  <c:v>43602</c:v>
                </c:pt>
                <c:pt idx="2520">
                  <c:v>43605</c:v>
                </c:pt>
                <c:pt idx="2521">
                  <c:v>43606</c:v>
                </c:pt>
                <c:pt idx="2522">
                  <c:v>43607</c:v>
                </c:pt>
                <c:pt idx="2523">
                  <c:v>43608</c:v>
                </c:pt>
                <c:pt idx="2524">
                  <c:v>43609</c:v>
                </c:pt>
                <c:pt idx="2525">
                  <c:v>43612</c:v>
                </c:pt>
                <c:pt idx="2526">
                  <c:v>43613</c:v>
                </c:pt>
                <c:pt idx="2527">
                  <c:v>43614</c:v>
                </c:pt>
                <c:pt idx="2528">
                  <c:v>43615</c:v>
                </c:pt>
                <c:pt idx="2529">
                  <c:v>43616</c:v>
                </c:pt>
                <c:pt idx="2530">
                  <c:v>43619</c:v>
                </c:pt>
                <c:pt idx="2531">
                  <c:v>43620</c:v>
                </c:pt>
                <c:pt idx="2532">
                  <c:v>43621</c:v>
                </c:pt>
                <c:pt idx="2533">
                  <c:v>43622</c:v>
                </c:pt>
                <c:pt idx="2534">
                  <c:v>43626</c:v>
                </c:pt>
                <c:pt idx="2535">
                  <c:v>43627</c:v>
                </c:pt>
                <c:pt idx="2536">
                  <c:v>43628</c:v>
                </c:pt>
                <c:pt idx="2537">
                  <c:v>43629</c:v>
                </c:pt>
                <c:pt idx="2538">
                  <c:v>43630</c:v>
                </c:pt>
                <c:pt idx="2539">
                  <c:v>43633</c:v>
                </c:pt>
                <c:pt idx="2540">
                  <c:v>43634</c:v>
                </c:pt>
                <c:pt idx="2541">
                  <c:v>43635</c:v>
                </c:pt>
                <c:pt idx="2542">
                  <c:v>43636</c:v>
                </c:pt>
                <c:pt idx="2543">
                  <c:v>43637</c:v>
                </c:pt>
                <c:pt idx="2544">
                  <c:v>43640</c:v>
                </c:pt>
                <c:pt idx="2545">
                  <c:v>43641</c:v>
                </c:pt>
                <c:pt idx="2546">
                  <c:v>43642</c:v>
                </c:pt>
                <c:pt idx="2547">
                  <c:v>43643</c:v>
                </c:pt>
                <c:pt idx="2548">
                  <c:v>43644</c:v>
                </c:pt>
                <c:pt idx="2549">
                  <c:v>43647</c:v>
                </c:pt>
                <c:pt idx="2550">
                  <c:v>43648</c:v>
                </c:pt>
                <c:pt idx="2551">
                  <c:v>43649</c:v>
                </c:pt>
                <c:pt idx="2552">
                  <c:v>43650</c:v>
                </c:pt>
                <c:pt idx="2553">
                  <c:v>43651</c:v>
                </c:pt>
                <c:pt idx="2554">
                  <c:v>43654</c:v>
                </c:pt>
                <c:pt idx="2555">
                  <c:v>43655</c:v>
                </c:pt>
                <c:pt idx="2556">
                  <c:v>43656</c:v>
                </c:pt>
                <c:pt idx="2557">
                  <c:v>43657</c:v>
                </c:pt>
                <c:pt idx="2558">
                  <c:v>43658</c:v>
                </c:pt>
                <c:pt idx="2559">
                  <c:v>43661</c:v>
                </c:pt>
                <c:pt idx="2560">
                  <c:v>43662</c:v>
                </c:pt>
                <c:pt idx="2561">
                  <c:v>43663</c:v>
                </c:pt>
                <c:pt idx="2562">
                  <c:v>43664</c:v>
                </c:pt>
                <c:pt idx="2563">
                  <c:v>43665</c:v>
                </c:pt>
                <c:pt idx="2564">
                  <c:v>43668</c:v>
                </c:pt>
                <c:pt idx="2565">
                  <c:v>43669</c:v>
                </c:pt>
                <c:pt idx="2566">
                  <c:v>43670</c:v>
                </c:pt>
                <c:pt idx="2567">
                  <c:v>43671</c:v>
                </c:pt>
                <c:pt idx="2568">
                  <c:v>43672</c:v>
                </c:pt>
                <c:pt idx="2569">
                  <c:v>43675</c:v>
                </c:pt>
                <c:pt idx="2570">
                  <c:v>43676</c:v>
                </c:pt>
                <c:pt idx="2571">
                  <c:v>43677</c:v>
                </c:pt>
                <c:pt idx="2572">
                  <c:v>43678</c:v>
                </c:pt>
                <c:pt idx="2573">
                  <c:v>43679</c:v>
                </c:pt>
                <c:pt idx="2574">
                  <c:v>43682</c:v>
                </c:pt>
                <c:pt idx="2575">
                  <c:v>43683</c:v>
                </c:pt>
                <c:pt idx="2576">
                  <c:v>43684</c:v>
                </c:pt>
                <c:pt idx="2577">
                  <c:v>43685</c:v>
                </c:pt>
                <c:pt idx="2578">
                  <c:v>43686</c:v>
                </c:pt>
                <c:pt idx="2579">
                  <c:v>43689</c:v>
                </c:pt>
                <c:pt idx="2580">
                  <c:v>43690</c:v>
                </c:pt>
                <c:pt idx="2581">
                  <c:v>43691</c:v>
                </c:pt>
                <c:pt idx="2582">
                  <c:v>43692</c:v>
                </c:pt>
                <c:pt idx="2583">
                  <c:v>43693</c:v>
                </c:pt>
                <c:pt idx="2584">
                  <c:v>43696</c:v>
                </c:pt>
                <c:pt idx="2585">
                  <c:v>43697</c:v>
                </c:pt>
                <c:pt idx="2586">
                  <c:v>43698</c:v>
                </c:pt>
                <c:pt idx="2587">
                  <c:v>43699</c:v>
                </c:pt>
                <c:pt idx="2588">
                  <c:v>43700</c:v>
                </c:pt>
                <c:pt idx="2589">
                  <c:v>43703</c:v>
                </c:pt>
                <c:pt idx="2590">
                  <c:v>43704</c:v>
                </c:pt>
                <c:pt idx="2591">
                  <c:v>43705</c:v>
                </c:pt>
                <c:pt idx="2592">
                  <c:v>43706</c:v>
                </c:pt>
                <c:pt idx="2593">
                  <c:v>43707</c:v>
                </c:pt>
                <c:pt idx="2594">
                  <c:v>43710</c:v>
                </c:pt>
                <c:pt idx="2595">
                  <c:v>43711</c:v>
                </c:pt>
                <c:pt idx="2596">
                  <c:v>43712</c:v>
                </c:pt>
                <c:pt idx="2597">
                  <c:v>43713</c:v>
                </c:pt>
                <c:pt idx="2598">
                  <c:v>43714</c:v>
                </c:pt>
                <c:pt idx="2599">
                  <c:v>43717</c:v>
                </c:pt>
                <c:pt idx="2600">
                  <c:v>43718</c:v>
                </c:pt>
                <c:pt idx="2601">
                  <c:v>43719</c:v>
                </c:pt>
                <c:pt idx="2602">
                  <c:v>43720</c:v>
                </c:pt>
                <c:pt idx="2603">
                  <c:v>43724</c:v>
                </c:pt>
                <c:pt idx="2604">
                  <c:v>43725</c:v>
                </c:pt>
                <c:pt idx="2605">
                  <c:v>43726</c:v>
                </c:pt>
                <c:pt idx="2606">
                  <c:v>43727</c:v>
                </c:pt>
                <c:pt idx="2607">
                  <c:v>43728</c:v>
                </c:pt>
                <c:pt idx="2608">
                  <c:v>43731</c:v>
                </c:pt>
                <c:pt idx="2609">
                  <c:v>43732</c:v>
                </c:pt>
                <c:pt idx="2610">
                  <c:v>43733</c:v>
                </c:pt>
                <c:pt idx="2611">
                  <c:v>43734</c:v>
                </c:pt>
                <c:pt idx="2612">
                  <c:v>43735</c:v>
                </c:pt>
                <c:pt idx="2613">
                  <c:v>43738</c:v>
                </c:pt>
                <c:pt idx="2614">
                  <c:v>43746</c:v>
                </c:pt>
                <c:pt idx="2615">
                  <c:v>43747</c:v>
                </c:pt>
                <c:pt idx="2616">
                  <c:v>43748</c:v>
                </c:pt>
                <c:pt idx="2617">
                  <c:v>43749</c:v>
                </c:pt>
                <c:pt idx="2618">
                  <c:v>43752</c:v>
                </c:pt>
                <c:pt idx="2619">
                  <c:v>43753</c:v>
                </c:pt>
                <c:pt idx="2620">
                  <c:v>43754</c:v>
                </c:pt>
                <c:pt idx="2621">
                  <c:v>43755</c:v>
                </c:pt>
                <c:pt idx="2622">
                  <c:v>43756</c:v>
                </c:pt>
                <c:pt idx="2623">
                  <c:v>43759</c:v>
                </c:pt>
                <c:pt idx="2624">
                  <c:v>43760</c:v>
                </c:pt>
                <c:pt idx="2625">
                  <c:v>43761</c:v>
                </c:pt>
                <c:pt idx="2626">
                  <c:v>43762</c:v>
                </c:pt>
                <c:pt idx="2627">
                  <c:v>43763</c:v>
                </c:pt>
                <c:pt idx="2628">
                  <c:v>43766</c:v>
                </c:pt>
                <c:pt idx="2629">
                  <c:v>43767</c:v>
                </c:pt>
                <c:pt idx="2630">
                  <c:v>43768</c:v>
                </c:pt>
                <c:pt idx="2631">
                  <c:v>43769</c:v>
                </c:pt>
                <c:pt idx="2632">
                  <c:v>43770</c:v>
                </c:pt>
                <c:pt idx="2633">
                  <c:v>43773</c:v>
                </c:pt>
                <c:pt idx="2634">
                  <c:v>43774</c:v>
                </c:pt>
                <c:pt idx="2635">
                  <c:v>43775</c:v>
                </c:pt>
                <c:pt idx="2636">
                  <c:v>43776</c:v>
                </c:pt>
                <c:pt idx="2637">
                  <c:v>43777</c:v>
                </c:pt>
                <c:pt idx="2638">
                  <c:v>43780</c:v>
                </c:pt>
                <c:pt idx="2639">
                  <c:v>43781</c:v>
                </c:pt>
                <c:pt idx="2640">
                  <c:v>43782</c:v>
                </c:pt>
                <c:pt idx="2641">
                  <c:v>43783</c:v>
                </c:pt>
                <c:pt idx="2642">
                  <c:v>43784</c:v>
                </c:pt>
                <c:pt idx="2643">
                  <c:v>43787</c:v>
                </c:pt>
                <c:pt idx="2644">
                  <c:v>43788</c:v>
                </c:pt>
                <c:pt idx="2645">
                  <c:v>43789</c:v>
                </c:pt>
                <c:pt idx="2646">
                  <c:v>43790</c:v>
                </c:pt>
                <c:pt idx="2647">
                  <c:v>43791</c:v>
                </c:pt>
                <c:pt idx="2648">
                  <c:v>43794</c:v>
                </c:pt>
                <c:pt idx="2649">
                  <c:v>43795</c:v>
                </c:pt>
                <c:pt idx="2650">
                  <c:v>43796</c:v>
                </c:pt>
                <c:pt idx="2651">
                  <c:v>43797</c:v>
                </c:pt>
                <c:pt idx="2652">
                  <c:v>43798</c:v>
                </c:pt>
                <c:pt idx="2653">
                  <c:v>43801</c:v>
                </c:pt>
                <c:pt idx="2654">
                  <c:v>43802</c:v>
                </c:pt>
                <c:pt idx="2655">
                  <c:v>43803</c:v>
                </c:pt>
                <c:pt idx="2656">
                  <c:v>43804</c:v>
                </c:pt>
                <c:pt idx="2657">
                  <c:v>43805</c:v>
                </c:pt>
                <c:pt idx="2658">
                  <c:v>43808</c:v>
                </c:pt>
                <c:pt idx="2659">
                  <c:v>43809</c:v>
                </c:pt>
                <c:pt idx="2660">
                  <c:v>43810</c:v>
                </c:pt>
                <c:pt idx="2661">
                  <c:v>43811</c:v>
                </c:pt>
                <c:pt idx="2662">
                  <c:v>43812</c:v>
                </c:pt>
                <c:pt idx="2663">
                  <c:v>43815</c:v>
                </c:pt>
                <c:pt idx="2664">
                  <c:v>43816</c:v>
                </c:pt>
                <c:pt idx="2665">
                  <c:v>43817</c:v>
                </c:pt>
                <c:pt idx="2666">
                  <c:v>43818</c:v>
                </c:pt>
                <c:pt idx="2667">
                  <c:v>43819</c:v>
                </c:pt>
                <c:pt idx="2668">
                  <c:v>43822</c:v>
                </c:pt>
                <c:pt idx="2669">
                  <c:v>43823</c:v>
                </c:pt>
                <c:pt idx="2670">
                  <c:v>43824</c:v>
                </c:pt>
                <c:pt idx="2671">
                  <c:v>43825</c:v>
                </c:pt>
                <c:pt idx="2672">
                  <c:v>43826</c:v>
                </c:pt>
                <c:pt idx="2673">
                  <c:v>43829</c:v>
                </c:pt>
                <c:pt idx="2674">
                  <c:v>43830</c:v>
                </c:pt>
                <c:pt idx="2675">
                  <c:v>43832</c:v>
                </c:pt>
                <c:pt idx="2676">
                  <c:v>43833</c:v>
                </c:pt>
                <c:pt idx="2677">
                  <c:v>43836</c:v>
                </c:pt>
                <c:pt idx="2678">
                  <c:v>43837</c:v>
                </c:pt>
                <c:pt idx="2679">
                  <c:v>43838</c:v>
                </c:pt>
                <c:pt idx="2680">
                  <c:v>43839</c:v>
                </c:pt>
                <c:pt idx="2681">
                  <c:v>43840</c:v>
                </c:pt>
                <c:pt idx="2682">
                  <c:v>43843</c:v>
                </c:pt>
                <c:pt idx="2683">
                  <c:v>43844</c:v>
                </c:pt>
                <c:pt idx="2684">
                  <c:v>43845</c:v>
                </c:pt>
                <c:pt idx="2685">
                  <c:v>43846</c:v>
                </c:pt>
                <c:pt idx="2686">
                  <c:v>43847</c:v>
                </c:pt>
                <c:pt idx="2687">
                  <c:v>43850</c:v>
                </c:pt>
                <c:pt idx="2688">
                  <c:v>43851</c:v>
                </c:pt>
                <c:pt idx="2689">
                  <c:v>43852</c:v>
                </c:pt>
                <c:pt idx="2690">
                  <c:v>43853</c:v>
                </c:pt>
                <c:pt idx="2691">
                  <c:v>43864</c:v>
                </c:pt>
                <c:pt idx="2692">
                  <c:v>43865</c:v>
                </c:pt>
                <c:pt idx="2693">
                  <c:v>43866</c:v>
                </c:pt>
                <c:pt idx="2694">
                  <c:v>43867</c:v>
                </c:pt>
                <c:pt idx="2695">
                  <c:v>43868</c:v>
                </c:pt>
                <c:pt idx="2696">
                  <c:v>43871</c:v>
                </c:pt>
                <c:pt idx="2697">
                  <c:v>43872</c:v>
                </c:pt>
                <c:pt idx="2698">
                  <c:v>43873</c:v>
                </c:pt>
                <c:pt idx="2699">
                  <c:v>43874</c:v>
                </c:pt>
                <c:pt idx="2700">
                  <c:v>43875</c:v>
                </c:pt>
                <c:pt idx="2701">
                  <c:v>43878</c:v>
                </c:pt>
                <c:pt idx="2702">
                  <c:v>43879</c:v>
                </c:pt>
                <c:pt idx="2703">
                  <c:v>43880</c:v>
                </c:pt>
                <c:pt idx="2704">
                  <c:v>43881</c:v>
                </c:pt>
                <c:pt idx="2705">
                  <c:v>43882</c:v>
                </c:pt>
                <c:pt idx="2706">
                  <c:v>43885</c:v>
                </c:pt>
                <c:pt idx="2707">
                  <c:v>43886</c:v>
                </c:pt>
                <c:pt idx="2708">
                  <c:v>43887</c:v>
                </c:pt>
                <c:pt idx="2709">
                  <c:v>43888</c:v>
                </c:pt>
                <c:pt idx="2710">
                  <c:v>43889</c:v>
                </c:pt>
                <c:pt idx="2711">
                  <c:v>43892</c:v>
                </c:pt>
                <c:pt idx="2712">
                  <c:v>43893</c:v>
                </c:pt>
                <c:pt idx="2713">
                  <c:v>43894</c:v>
                </c:pt>
                <c:pt idx="2714">
                  <c:v>43895</c:v>
                </c:pt>
                <c:pt idx="2715">
                  <c:v>43896</c:v>
                </c:pt>
                <c:pt idx="2716">
                  <c:v>43899</c:v>
                </c:pt>
                <c:pt idx="2717">
                  <c:v>43900</c:v>
                </c:pt>
                <c:pt idx="2718">
                  <c:v>43901</c:v>
                </c:pt>
                <c:pt idx="2719">
                  <c:v>43902</c:v>
                </c:pt>
                <c:pt idx="2720">
                  <c:v>43903</c:v>
                </c:pt>
                <c:pt idx="2721">
                  <c:v>43906</c:v>
                </c:pt>
                <c:pt idx="2722">
                  <c:v>43907</c:v>
                </c:pt>
                <c:pt idx="2723">
                  <c:v>43908</c:v>
                </c:pt>
                <c:pt idx="2724">
                  <c:v>43909</c:v>
                </c:pt>
                <c:pt idx="2725">
                  <c:v>43910</c:v>
                </c:pt>
                <c:pt idx="2726">
                  <c:v>43913</c:v>
                </c:pt>
                <c:pt idx="2727">
                  <c:v>43914</c:v>
                </c:pt>
                <c:pt idx="2728">
                  <c:v>43915</c:v>
                </c:pt>
                <c:pt idx="2729">
                  <c:v>43916</c:v>
                </c:pt>
                <c:pt idx="2730">
                  <c:v>43917</c:v>
                </c:pt>
                <c:pt idx="2731">
                  <c:v>43920</c:v>
                </c:pt>
                <c:pt idx="2732">
                  <c:v>43921</c:v>
                </c:pt>
                <c:pt idx="2733">
                  <c:v>43922</c:v>
                </c:pt>
                <c:pt idx="2734">
                  <c:v>43923</c:v>
                </c:pt>
                <c:pt idx="2735">
                  <c:v>43924</c:v>
                </c:pt>
                <c:pt idx="2736">
                  <c:v>43928</c:v>
                </c:pt>
                <c:pt idx="2737">
                  <c:v>43929</c:v>
                </c:pt>
                <c:pt idx="2738">
                  <c:v>43930</c:v>
                </c:pt>
                <c:pt idx="2739">
                  <c:v>43931</c:v>
                </c:pt>
                <c:pt idx="2740">
                  <c:v>43934</c:v>
                </c:pt>
                <c:pt idx="2741">
                  <c:v>43935</c:v>
                </c:pt>
                <c:pt idx="2742">
                  <c:v>43936</c:v>
                </c:pt>
                <c:pt idx="2743">
                  <c:v>43937</c:v>
                </c:pt>
                <c:pt idx="2744">
                  <c:v>43938</c:v>
                </c:pt>
                <c:pt idx="2745">
                  <c:v>43941</c:v>
                </c:pt>
                <c:pt idx="2746">
                  <c:v>43942</c:v>
                </c:pt>
                <c:pt idx="2747">
                  <c:v>43943</c:v>
                </c:pt>
                <c:pt idx="2748">
                  <c:v>43944</c:v>
                </c:pt>
                <c:pt idx="2749">
                  <c:v>43945</c:v>
                </c:pt>
                <c:pt idx="2750">
                  <c:v>43948</c:v>
                </c:pt>
                <c:pt idx="2751">
                  <c:v>43949</c:v>
                </c:pt>
                <c:pt idx="2752">
                  <c:v>43950</c:v>
                </c:pt>
                <c:pt idx="2753">
                  <c:v>43951</c:v>
                </c:pt>
                <c:pt idx="2754">
                  <c:v>43957</c:v>
                </c:pt>
                <c:pt idx="2755">
                  <c:v>43958</c:v>
                </c:pt>
                <c:pt idx="2756">
                  <c:v>43959</c:v>
                </c:pt>
                <c:pt idx="2757">
                  <c:v>43962</c:v>
                </c:pt>
                <c:pt idx="2758">
                  <c:v>43963</c:v>
                </c:pt>
                <c:pt idx="2759">
                  <c:v>43964</c:v>
                </c:pt>
                <c:pt idx="2760">
                  <c:v>43965</c:v>
                </c:pt>
                <c:pt idx="2761">
                  <c:v>43966</c:v>
                </c:pt>
                <c:pt idx="2762">
                  <c:v>43969</c:v>
                </c:pt>
                <c:pt idx="2763">
                  <c:v>43970</c:v>
                </c:pt>
                <c:pt idx="2764">
                  <c:v>43971</c:v>
                </c:pt>
                <c:pt idx="2765">
                  <c:v>43972</c:v>
                </c:pt>
                <c:pt idx="2766">
                  <c:v>43973</c:v>
                </c:pt>
                <c:pt idx="2767">
                  <c:v>43976</c:v>
                </c:pt>
                <c:pt idx="2768">
                  <c:v>43977</c:v>
                </c:pt>
                <c:pt idx="2769">
                  <c:v>43978</c:v>
                </c:pt>
                <c:pt idx="2770">
                  <c:v>43979</c:v>
                </c:pt>
                <c:pt idx="2771">
                  <c:v>43980</c:v>
                </c:pt>
                <c:pt idx="2772">
                  <c:v>43983</c:v>
                </c:pt>
                <c:pt idx="2773">
                  <c:v>43984</c:v>
                </c:pt>
                <c:pt idx="2774">
                  <c:v>43985</c:v>
                </c:pt>
                <c:pt idx="2775">
                  <c:v>43986</c:v>
                </c:pt>
                <c:pt idx="2776">
                  <c:v>43987</c:v>
                </c:pt>
                <c:pt idx="2777">
                  <c:v>43990</c:v>
                </c:pt>
                <c:pt idx="2778">
                  <c:v>43991</c:v>
                </c:pt>
                <c:pt idx="2779">
                  <c:v>43992</c:v>
                </c:pt>
                <c:pt idx="2780">
                  <c:v>43993</c:v>
                </c:pt>
                <c:pt idx="2781">
                  <c:v>43994</c:v>
                </c:pt>
                <c:pt idx="2782">
                  <c:v>43997</c:v>
                </c:pt>
                <c:pt idx="2783">
                  <c:v>43998</c:v>
                </c:pt>
                <c:pt idx="2784">
                  <c:v>43999</c:v>
                </c:pt>
                <c:pt idx="2785">
                  <c:v>44000</c:v>
                </c:pt>
                <c:pt idx="2786">
                  <c:v>44001</c:v>
                </c:pt>
                <c:pt idx="2787">
                  <c:v>44004</c:v>
                </c:pt>
                <c:pt idx="2788">
                  <c:v>44005</c:v>
                </c:pt>
                <c:pt idx="2789">
                  <c:v>44006</c:v>
                </c:pt>
                <c:pt idx="2790">
                  <c:v>44011</c:v>
                </c:pt>
                <c:pt idx="2791">
                  <c:v>44012</c:v>
                </c:pt>
                <c:pt idx="2792">
                  <c:v>44013</c:v>
                </c:pt>
                <c:pt idx="2793">
                  <c:v>44014</c:v>
                </c:pt>
                <c:pt idx="2794">
                  <c:v>44015</c:v>
                </c:pt>
                <c:pt idx="2795">
                  <c:v>44018</c:v>
                </c:pt>
                <c:pt idx="2796">
                  <c:v>44019</c:v>
                </c:pt>
                <c:pt idx="2797">
                  <c:v>44020</c:v>
                </c:pt>
                <c:pt idx="2798">
                  <c:v>44021</c:v>
                </c:pt>
                <c:pt idx="2799">
                  <c:v>44022</c:v>
                </c:pt>
                <c:pt idx="2800">
                  <c:v>44025</c:v>
                </c:pt>
                <c:pt idx="2801">
                  <c:v>44026</c:v>
                </c:pt>
                <c:pt idx="2802">
                  <c:v>44027</c:v>
                </c:pt>
                <c:pt idx="2803">
                  <c:v>44028</c:v>
                </c:pt>
                <c:pt idx="2804">
                  <c:v>44029</c:v>
                </c:pt>
                <c:pt idx="2805">
                  <c:v>44032</c:v>
                </c:pt>
                <c:pt idx="2806">
                  <c:v>44033</c:v>
                </c:pt>
                <c:pt idx="2807">
                  <c:v>44034</c:v>
                </c:pt>
                <c:pt idx="2808">
                  <c:v>44035</c:v>
                </c:pt>
                <c:pt idx="2809">
                  <c:v>44036</c:v>
                </c:pt>
                <c:pt idx="2810">
                  <c:v>44039</c:v>
                </c:pt>
                <c:pt idx="2811">
                  <c:v>44040</c:v>
                </c:pt>
                <c:pt idx="2812">
                  <c:v>44041</c:v>
                </c:pt>
                <c:pt idx="2813">
                  <c:v>44042</c:v>
                </c:pt>
                <c:pt idx="2814">
                  <c:v>44043</c:v>
                </c:pt>
                <c:pt idx="2815">
                  <c:v>44046</c:v>
                </c:pt>
                <c:pt idx="2816">
                  <c:v>44047</c:v>
                </c:pt>
                <c:pt idx="2817">
                  <c:v>44048</c:v>
                </c:pt>
                <c:pt idx="2818">
                  <c:v>44049</c:v>
                </c:pt>
                <c:pt idx="2819">
                  <c:v>44050</c:v>
                </c:pt>
                <c:pt idx="2820">
                  <c:v>44053</c:v>
                </c:pt>
                <c:pt idx="2821">
                  <c:v>44054</c:v>
                </c:pt>
                <c:pt idx="2822">
                  <c:v>44055</c:v>
                </c:pt>
                <c:pt idx="2823">
                  <c:v>44056</c:v>
                </c:pt>
                <c:pt idx="2824">
                  <c:v>44057</c:v>
                </c:pt>
                <c:pt idx="2825">
                  <c:v>44060</c:v>
                </c:pt>
                <c:pt idx="2826">
                  <c:v>44061</c:v>
                </c:pt>
                <c:pt idx="2827">
                  <c:v>44062</c:v>
                </c:pt>
                <c:pt idx="2828">
                  <c:v>44063</c:v>
                </c:pt>
                <c:pt idx="2829">
                  <c:v>44064</c:v>
                </c:pt>
                <c:pt idx="2830">
                  <c:v>44067</c:v>
                </c:pt>
                <c:pt idx="2831">
                  <c:v>44068</c:v>
                </c:pt>
                <c:pt idx="2832">
                  <c:v>44069</c:v>
                </c:pt>
                <c:pt idx="2833">
                  <c:v>44070</c:v>
                </c:pt>
                <c:pt idx="2834">
                  <c:v>44071</c:v>
                </c:pt>
                <c:pt idx="2835">
                  <c:v>44074</c:v>
                </c:pt>
                <c:pt idx="2836">
                  <c:v>44075</c:v>
                </c:pt>
                <c:pt idx="2837">
                  <c:v>44076</c:v>
                </c:pt>
                <c:pt idx="2838">
                  <c:v>44077</c:v>
                </c:pt>
                <c:pt idx="2839">
                  <c:v>44078</c:v>
                </c:pt>
                <c:pt idx="2840">
                  <c:v>44081</c:v>
                </c:pt>
                <c:pt idx="2841">
                  <c:v>44082</c:v>
                </c:pt>
                <c:pt idx="2842">
                  <c:v>44083</c:v>
                </c:pt>
                <c:pt idx="2843">
                  <c:v>44084</c:v>
                </c:pt>
                <c:pt idx="2844">
                  <c:v>44085</c:v>
                </c:pt>
                <c:pt idx="2845">
                  <c:v>44088</c:v>
                </c:pt>
                <c:pt idx="2846">
                  <c:v>44089</c:v>
                </c:pt>
                <c:pt idx="2847">
                  <c:v>44090</c:v>
                </c:pt>
                <c:pt idx="2848">
                  <c:v>44091</c:v>
                </c:pt>
                <c:pt idx="2849">
                  <c:v>44092</c:v>
                </c:pt>
                <c:pt idx="2850">
                  <c:v>44095</c:v>
                </c:pt>
                <c:pt idx="2851">
                  <c:v>44096</c:v>
                </c:pt>
                <c:pt idx="2852">
                  <c:v>44097</c:v>
                </c:pt>
                <c:pt idx="2853">
                  <c:v>44098</c:v>
                </c:pt>
                <c:pt idx="2854">
                  <c:v>44099</c:v>
                </c:pt>
                <c:pt idx="2855">
                  <c:v>44102</c:v>
                </c:pt>
                <c:pt idx="2856">
                  <c:v>44103</c:v>
                </c:pt>
                <c:pt idx="2857">
                  <c:v>44104</c:v>
                </c:pt>
                <c:pt idx="2858">
                  <c:v>44113</c:v>
                </c:pt>
                <c:pt idx="2859">
                  <c:v>44116</c:v>
                </c:pt>
                <c:pt idx="2860">
                  <c:v>44117</c:v>
                </c:pt>
                <c:pt idx="2861">
                  <c:v>44118</c:v>
                </c:pt>
                <c:pt idx="2862">
                  <c:v>44119</c:v>
                </c:pt>
                <c:pt idx="2863">
                  <c:v>44120</c:v>
                </c:pt>
                <c:pt idx="2864">
                  <c:v>44123</c:v>
                </c:pt>
                <c:pt idx="2865">
                  <c:v>44124</c:v>
                </c:pt>
                <c:pt idx="2866">
                  <c:v>44125</c:v>
                </c:pt>
                <c:pt idx="2867">
                  <c:v>44126</c:v>
                </c:pt>
                <c:pt idx="2868">
                  <c:v>44127</c:v>
                </c:pt>
                <c:pt idx="2869">
                  <c:v>44130</c:v>
                </c:pt>
                <c:pt idx="2870">
                  <c:v>44131</c:v>
                </c:pt>
                <c:pt idx="2871">
                  <c:v>44132</c:v>
                </c:pt>
                <c:pt idx="2872">
                  <c:v>44133</c:v>
                </c:pt>
                <c:pt idx="2873">
                  <c:v>44134</c:v>
                </c:pt>
                <c:pt idx="2874">
                  <c:v>44137</c:v>
                </c:pt>
                <c:pt idx="2875">
                  <c:v>44138</c:v>
                </c:pt>
                <c:pt idx="2876">
                  <c:v>44139</c:v>
                </c:pt>
                <c:pt idx="2877">
                  <c:v>44140</c:v>
                </c:pt>
                <c:pt idx="2878">
                  <c:v>44141</c:v>
                </c:pt>
                <c:pt idx="2879">
                  <c:v>44144</c:v>
                </c:pt>
                <c:pt idx="2880">
                  <c:v>44145</c:v>
                </c:pt>
                <c:pt idx="2881">
                  <c:v>44146</c:v>
                </c:pt>
                <c:pt idx="2882">
                  <c:v>44147</c:v>
                </c:pt>
                <c:pt idx="2883">
                  <c:v>44148</c:v>
                </c:pt>
                <c:pt idx="2884">
                  <c:v>44151</c:v>
                </c:pt>
                <c:pt idx="2885">
                  <c:v>44152</c:v>
                </c:pt>
                <c:pt idx="2886">
                  <c:v>44153</c:v>
                </c:pt>
                <c:pt idx="2887">
                  <c:v>44154</c:v>
                </c:pt>
                <c:pt idx="2888">
                  <c:v>44155</c:v>
                </c:pt>
                <c:pt idx="2889">
                  <c:v>44158</c:v>
                </c:pt>
                <c:pt idx="2890">
                  <c:v>44159</c:v>
                </c:pt>
                <c:pt idx="2891">
                  <c:v>44160</c:v>
                </c:pt>
                <c:pt idx="2892">
                  <c:v>44161</c:v>
                </c:pt>
                <c:pt idx="2893">
                  <c:v>44162</c:v>
                </c:pt>
                <c:pt idx="2894">
                  <c:v>44165</c:v>
                </c:pt>
                <c:pt idx="2895">
                  <c:v>44166</c:v>
                </c:pt>
                <c:pt idx="2896">
                  <c:v>44167</c:v>
                </c:pt>
                <c:pt idx="2897">
                  <c:v>44168</c:v>
                </c:pt>
                <c:pt idx="2898">
                  <c:v>44169</c:v>
                </c:pt>
                <c:pt idx="2899">
                  <c:v>44172</c:v>
                </c:pt>
                <c:pt idx="2900">
                  <c:v>44173</c:v>
                </c:pt>
                <c:pt idx="2901">
                  <c:v>44174</c:v>
                </c:pt>
                <c:pt idx="2902">
                  <c:v>44175</c:v>
                </c:pt>
                <c:pt idx="2903">
                  <c:v>44176</c:v>
                </c:pt>
                <c:pt idx="2904">
                  <c:v>44179</c:v>
                </c:pt>
                <c:pt idx="2905">
                  <c:v>44180</c:v>
                </c:pt>
                <c:pt idx="2906">
                  <c:v>44181</c:v>
                </c:pt>
                <c:pt idx="2907">
                  <c:v>44182</c:v>
                </c:pt>
                <c:pt idx="2908">
                  <c:v>44183</c:v>
                </c:pt>
                <c:pt idx="2909">
                  <c:v>44186</c:v>
                </c:pt>
                <c:pt idx="2910">
                  <c:v>44187</c:v>
                </c:pt>
                <c:pt idx="2911">
                  <c:v>44188</c:v>
                </c:pt>
                <c:pt idx="2912">
                  <c:v>44189</c:v>
                </c:pt>
                <c:pt idx="2913">
                  <c:v>44190</c:v>
                </c:pt>
                <c:pt idx="2914">
                  <c:v>44193</c:v>
                </c:pt>
                <c:pt idx="2915">
                  <c:v>44194</c:v>
                </c:pt>
                <c:pt idx="2916">
                  <c:v>44195</c:v>
                </c:pt>
                <c:pt idx="2917">
                  <c:v>44196</c:v>
                </c:pt>
                <c:pt idx="2918">
                  <c:v>44200</c:v>
                </c:pt>
                <c:pt idx="2919">
                  <c:v>44201</c:v>
                </c:pt>
                <c:pt idx="2920">
                  <c:v>44202</c:v>
                </c:pt>
                <c:pt idx="2921">
                  <c:v>44203</c:v>
                </c:pt>
                <c:pt idx="2922">
                  <c:v>44204</c:v>
                </c:pt>
                <c:pt idx="2923">
                  <c:v>44207</c:v>
                </c:pt>
                <c:pt idx="2924">
                  <c:v>44208</c:v>
                </c:pt>
                <c:pt idx="2925">
                  <c:v>44209</c:v>
                </c:pt>
                <c:pt idx="2926">
                  <c:v>44210</c:v>
                </c:pt>
                <c:pt idx="2927">
                  <c:v>44211</c:v>
                </c:pt>
                <c:pt idx="2928">
                  <c:v>44214</c:v>
                </c:pt>
                <c:pt idx="2929">
                  <c:v>44215</c:v>
                </c:pt>
                <c:pt idx="2930">
                  <c:v>44216</c:v>
                </c:pt>
                <c:pt idx="2931">
                  <c:v>44217</c:v>
                </c:pt>
                <c:pt idx="2932">
                  <c:v>44218</c:v>
                </c:pt>
                <c:pt idx="2933">
                  <c:v>44221</c:v>
                </c:pt>
                <c:pt idx="2934">
                  <c:v>44222</c:v>
                </c:pt>
                <c:pt idx="2935">
                  <c:v>44223</c:v>
                </c:pt>
                <c:pt idx="2936">
                  <c:v>44224</c:v>
                </c:pt>
                <c:pt idx="2937">
                  <c:v>44225</c:v>
                </c:pt>
                <c:pt idx="2938">
                  <c:v>44228</c:v>
                </c:pt>
                <c:pt idx="2939">
                  <c:v>44229</c:v>
                </c:pt>
                <c:pt idx="2940">
                  <c:v>44230</c:v>
                </c:pt>
                <c:pt idx="2941">
                  <c:v>44231</c:v>
                </c:pt>
                <c:pt idx="2942">
                  <c:v>44232</c:v>
                </c:pt>
                <c:pt idx="2943">
                  <c:v>44235</c:v>
                </c:pt>
                <c:pt idx="2944">
                  <c:v>44236</c:v>
                </c:pt>
                <c:pt idx="2945">
                  <c:v>44237</c:v>
                </c:pt>
                <c:pt idx="2946">
                  <c:v>44245</c:v>
                </c:pt>
                <c:pt idx="2947">
                  <c:v>44246</c:v>
                </c:pt>
                <c:pt idx="2948">
                  <c:v>44249</c:v>
                </c:pt>
                <c:pt idx="2949">
                  <c:v>44250</c:v>
                </c:pt>
                <c:pt idx="2950">
                  <c:v>44251</c:v>
                </c:pt>
                <c:pt idx="2951">
                  <c:v>44252</c:v>
                </c:pt>
                <c:pt idx="2952">
                  <c:v>44253</c:v>
                </c:pt>
                <c:pt idx="2953">
                  <c:v>44256</c:v>
                </c:pt>
                <c:pt idx="2954">
                  <c:v>44257</c:v>
                </c:pt>
                <c:pt idx="2955">
                  <c:v>44258</c:v>
                </c:pt>
                <c:pt idx="2956">
                  <c:v>44259</c:v>
                </c:pt>
                <c:pt idx="2957">
                  <c:v>44260</c:v>
                </c:pt>
                <c:pt idx="2958">
                  <c:v>44263</c:v>
                </c:pt>
                <c:pt idx="2959">
                  <c:v>44264</c:v>
                </c:pt>
                <c:pt idx="2960">
                  <c:v>44265</c:v>
                </c:pt>
                <c:pt idx="2961">
                  <c:v>44266</c:v>
                </c:pt>
                <c:pt idx="2962">
                  <c:v>44267</c:v>
                </c:pt>
                <c:pt idx="2963">
                  <c:v>44270</c:v>
                </c:pt>
                <c:pt idx="2964">
                  <c:v>44271</c:v>
                </c:pt>
                <c:pt idx="2965">
                  <c:v>44272</c:v>
                </c:pt>
                <c:pt idx="2966">
                  <c:v>44273</c:v>
                </c:pt>
                <c:pt idx="2967">
                  <c:v>44274</c:v>
                </c:pt>
                <c:pt idx="2968">
                  <c:v>44277</c:v>
                </c:pt>
                <c:pt idx="2969">
                  <c:v>44278</c:v>
                </c:pt>
                <c:pt idx="2970">
                  <c:v>44279</c:v>
                </c:pt>
                <c:pt idx="2971">
                  <c:v>44280</c:v>
                </c:pt>
                <c:pt idx="2972">
                  <c:v>44281</c:v>
                </c:pt>
                <c:pt idx="2973">
                  <c:v>44284</c:v>
                </c:pt>
                <c:pt idx="2974">
                  <c:v>44285</c:v>
                </c:pt>
                <c:pt idx="2975">
                  <c:v>44286</c:v>
                </c:pt>
                <c:pt idx="2976">
                  <c:v>44287</c:v>
                </c:pt>
                <c:pt idx="2977">
                  <c:v>44288</c:v>
                </c:pt>
                <c:pt idx="2978">
                  <c:v>44292</c:v>
                </c:pt>
                <c:pt idx="2979">
                  <c:v>44293</c:v>
                </c:pt>
                <c:pt idx="2980">
                  <c:v>44294</c:v>
                </c:pt>
                <c:pt idx="2981">
                  <c:v>44295</c:v>
                </c:pt>
                <c:pt idx="2982">
                  <c:v>44298</c:v>
                </c:pt>
                <c:pt idx="2983">
                  <c:v>44299</c:v>
                </c:pt>
                <c:pt idx="2984">
                  <c:v>44300</c:v>
                </c:pt>
                <c:pt idx="2985">
                  <c:v>44301</c:v>
                </c:pt>
                <c:pt idx="2986">
                  <c:v>44302</c:v>
                </c:pt>
                <c:pt idx="2987">
                  <c:v>44305</c:v>
                </c:pt>
                <c:pt idx="2988">
                  <c:v>44306</c:v>
                </c:pt>
                <c:pt idx="2989">
                  <c:v>44307</c:v>
                </c:pt>
                <c:pt idx="2990">
                  <c:v>44308</c:v>
                </c:pt>
                <c:pt idx="2991">
                  <c:v>44309</c:v>
                </c:pt>
                <c:pt idx="2992">
                  <c:v>44312</c:v>
                </c:pt>
                <c:pt idx="2993">
                  <c:v>44313</c:v>
                </c:pt>
                <c:pt idx="2994">
                  <c:v>44314</c:v>
                </c:pt>
                <c:pt idx="2995">
                  <c:v>44315</c:v>
                </c:pt>
                <c:pt idx="2996">
                  <c:v>44316</c:v>
                </c:pt>
                <c:pt idx="2997">
                  <c:v>44322</c:v>
                </c:pt>
                <c:pt idx="2998">
                  <c:v>44323</c:v>
                </c:pt>
                <c:pt idx="2999">
                  <c:v>44326</c:v>
                </c:pt>
                <c:pt idx="3000">
                  <c:v>44327</c:v>
                </c:pt>
                <c:pt idx="3001">
                  <c:v>44328</c:v>
                </c:pt>
                <c:pt idx="3002">
                  <c:v>44329</c:v>
                </c:pt>
                <c:pt idx="3003">
                  <c:v>44330</c:v>
                </c:pt>
                <c:pt idx="3004">
                  <c:v>44333</c:v>
                </c:pt>
                <c:pt idx="3005">
                  <c:v>44334</c:v>
                </c:pt>
                <c:pt idx="3006">
                  <c:v>44335</c:v>
                </c:pt>
                <c:pt idx="3007">
                  <c:v>44336</c:v>
                </c:pt>
                <c:pt idx="3008">
                  <c:v>44337</c:v>
                </c:pt>
                <c:pt idx="3009">
                  <c:v>44340</c:v>
                </c:pt>
                <c:pt idx="3010">
                  <c:v>44341</c:v>
                </c:pt>
                <c:pt idx="3011">
                  <c:v>44342</c:v>
                </c:pt>
                <c:pt idx="3012">
                  <c:v>44343</c:v>
                </c:pt>
                <c:pt idx="3013">
                  <c:v>44344</c:v>
                </c:pt>
                <c:pt idx="3014">
                  <c:v>44347</c:v>
                </c:pt>
                <c:pt idx="3015">
                  <c:v>44348</c:v>
                </c:pt>
                <c:pt idx="3016">
                  <c:v>44349</c:v>
                </c:pt>
                <c:pt idx="3017">
                  <c:v>44350</c:v>
                </c:pt>
                <c:pt idx="3018">
                  <c:v>44351</c:v>
                </c:pt>
                <c:pt idx="3019">
                  <c:v>44354</c:v>
                </c:pt>
                <c:pt idx="3020">
                  <c:v>44355</c:v>
                </c:pt>
                <c:pt idx="3021">
                  <c:v>44356</c:v>
                </c:pt>
                <c:pt idx="3022">
                  <c:v>44357</c:v>
                </c:pt>
                <c:pt idx="3023">
                  <c:v>44358</c:v>
                </c:pt>
                <c:pt idx="3024">
                  <c:v>44362</c:v>
                </c:pt>
                <c:pt idx="3025">
                  <c:v>44363</c:v>
                </c:pt>
                <c:pt idx="3026">
                  <c:v>44364</c:v>
                </c:pt>
                <c:pt idx="3027">
                  <c:v>44365</c:v>
                </c:pt>
                <c:pt idx="3028">
                  <c:v>44368</c:v>
                </c:pt>
                <c:pt idx="3029">
                  <c:v>44369</c:v>
                </c:pt>
                <c:pt idx="3030">
                  <c:v>44370</c:v>
                </c:pt>
                <c:pt idx="3031">
                  <c:v>44371</c:v>
                </c:pt>
                <c:pt idx="3032">
                  <c:v>44372</c:v>
                </c:pt>
                <c:pt idx="3033">
                  <c:v>44375</c:v>
                </c:pt>
                <c:pt idx="3034">
                  <c:v>44376</c:v>
                </c:pt>
                <c:pt idx="3035">
                  <c:v>44377</c:v>
                </c:pt>
                <c:pt idx="3036">
                  <c:v>44378</c:v>
                </c:pt>
                <c:pt idx="3037">
                  <c:v>44379</c:v>
                </c:pt>
                <c:pt idx="3038">
                  <c:v>44382</c:v>
                </c:pt>
                <c:pt idx="3039">
                  <c:v>44383</c:v>
                </c:pt>
                <c:pt idx="3040">
                  <c:v>44384</c:v>
                </c:pt>
                <c:pt idx="3041">
                  <c:v>44385</c:v>
                </c:pt>
                <c:pt idx="3042">
                  <c:v>44386</c:v>
                </c:pt>
                <c:pt idx="3043">
                  <c:v>44389</c:v>
                </c:pt>
                <c:pt idx="3044">
                  <c:v>44390</c:v>
                </c:pt>
                <c:pt idx="3045">
                  <c:v>44391</c:v>
                </c:pt>
                <c:pt idx="3046">
                  <c:v>44392</c:v>
                </c:pt>
                <c:pt idx="3047">
                  <c:v>44393</c:v>
                </c:pt>
                <c:pt idx="3048">
                  <c:v>44396</c:v>
                </c:pt>
                <c:pt idx="3049">
                  <c:v>44397</c:v>
                </c:pt>
                <c:pt idx="3050">
                  <c:v>44398</c:v>
                </c:pt>
                <c:pt idx="3051">
                  <c:v>44399</c:v>
                </c:pt>
                <c:pt idx="3052">
                  <c:v>44400</c:v>
                </c:pt>
                <c:pt idx="3053">
                  <c:v>44403</c:v>
                </c:pt>
                <c:pt idx="3054">
                  <c:v>44404</c:v>
                </c:pt>
                <c:pt idx="3055">
                  <c:v>44405</c:v>
                </c:pt>
                <c:pt idx="3056">
                  <c:v>44406</c:v>
                </c:pt>
                <c:pt idx="3057">
                  <c:v>44407</c:v>
                </c:pt>
                <c:pt idx="3058">
                  <c:v>44410</c:v>
                </c:pt>
                <c:pt idx="3059">
                  <c:v>44411</c:v>
                </c:pt>
                <c:pt idx="3060">
                  <c:v>44412</c:v>
                </c:pt>
                <c:pt idx="3061">
                  <c:v>44413</c:v>
                </c:pt>
                <c:pt idx="3062">
                  <c:v>44414</c:v>
                </c:pt>
                <c:pt idx="3063">
                  <c:v>44417</c:v>
                </c:pt>
                <c:pt idx="3064">
                  <c:v>44418</c:v>
                </c:pt>
                <c:pt idx="3065">
                  <c:v>44419</c:v>
                </c:pt>
                <c:pt idx="3066">
                  <c:v>44420</c:v>
                </c:pt>
                <c:pt idx="3067">
                  <c:v>44421</c:v>
                </c:pt>
                <c:pt idx="3068">
                  <c:v>44424</c:v>
                </c:pt>
                <c:pt idx="3069">
                  <c:v>44425</c:v>
                </c:pt>
                <c:pt idx="3070">
                  <c:v>44426</c:v>
                </c:pt>
                <c:pt idx="3071">
                  <c:v>44427</c:v>
                </c:pt>
                <c:pt idx="3072">
                  <c:v>44428</c:v>
                </c:pt>
                <c:pt idx="3073">
                  <c:v>44431</c:v>
                </c:pt>
                <c:pt idx="3074">
                  <c:v>44432</c:v>
                </c:pt>
                <c:pt idx="3075">
                  <c:v>44433</c:v>
                </c:pt>
                <c:pt idx="3076">
                  <c:v>44434</c:v>
                </c:pt>
                <c:pt idx="3077">
                  <c:v>44435</c:v>
                </c:pt>
                <c:pt idx="3078">
                  <c:v>44438</c:v>
                </c:pt>
                <c:pt idx="3079">
                  <c:v>44439</c:v>
                </c:pt>
                <c:pt idx="3080">
                  <c:v>44440</c:v>
                </c:pt>
                <c:pt idx="3081">
                  <c:v>44441</c:v>
                </c:pt>
                <c:pt idx="3082">
                  <c:v>44442</c:v>
                </c:pt>
                <c:pt idx="3083">
                  <c:v>44445</c:v>
                </c:pt>
                <c:pt idx="3084">
                  <c:v>44446</c:v>
                </c:pt>
                <c:pt idx="3085">
                  <c:v>44447</c:v>
                </c:pt>
                <c:pt idx="3086">
                  <c:v>44448</c:v>
                </c:pt>
                <c:pt idx="3087">
                  <c:v>44449</c:v>
                </c:pt>
                <c:pt idx="3088">
                  <c:v>44452</c:v>
                </c:pt>
                <c:pt idx="3089">
                  <c:v>44453</c:v>
                </c:pt>
                <c:pt idx="3090">
                  <c:v>44454</c:v>
                </c:pt>
                <c:pt idx="3091">
                  <c:v>44455</c:v>
                </c:pt>
                <c:pt idx="3092">
                  <c:v>44456</c:v>
                </c:pt>
                <c:pt idx="3093">
                  <c:v>44461</c:v>
                </c:pt>
                <c:pt idx="3094">
                  <c:v>44462</c:v>
                </c:pt>
                <c:pt idx="3095">
                  <c:v>44463</c:v>
                </c:pt>
                <c:pt idx="3096">
                  <c:v>44466</c:v>
                </c:pt>
                <c:pt idx="3097">
                  <c:v>44467</c:v>
                </c:pt>
                <c:pt idx="3098">
                  <c:v>44468</c:v>
                </c:pt>
                <c:pt idx="3099">
                  <c:v>44469</c:v>
                </c:pt>
                <c:pt idx="3100">
                  <c:v>44477</c:v>
                </c:pt>
                <c:pt idx="3101">
                  <c:v>44480</c:v>
                </c:pt>
                <c:pt idx="3102">
                  <c:v>44481</c:v>
                </c:pt>
                <c:pt idx="3103">
                  <c:v>44482</c:v>
                </c:pt>
                <c:pt idx="3104">
                  <c:v>44483</c:v>
                </c:pt>
                <c:pt idx="3105">
                  <c:v>44484</c:v>
                </c:pt>
                <c:pt idx="3106">
                  <c:v>44487</c:v>
                </c:pt>
                <c:pt idx="3107">
                  <c:v>44488</c:v>
                </c:pt>
                <c:pt idx="3108">
                  <c:v>44489</c:v>
                </c:pt>
                <c:pt idx="3109">
                  <c:v>44490</c:v>
                </c:pt>
                <c:pt idx="3110">
                  <c:v>44491</c:v>
                </c:pt>
                <c:pt idx="3111">
                  <c:v>44494</c:v>
                </c:pt>
                <c:pt idx="3112">
                  <c:v>44495</c:v>
                </c:pt>
                <c:pt idx="3113">
                  <c:v>44496</c:v>
                </c:pt>
                <c:pt idx="3114">
                  <c:v>44497</c:v>
                </c:pt>
                <c:pt idx="3115">
                  <c:v>44498</c:v>
                </c:pt>
                <c:pt idx="3116">
                  <c:v>44501</c:v>
                </c:pt>
                <c:pt idx="3117">
                  <c:v>44502</c:v>
                </c:pt>
                <c:pt idx="3118">
                  <c:v>44503</c:v>
                </c:pt>
                <c:pt idx="3119">
                  <c:v>44504</c:v>
                </c:pt>
                <c:pt idx="3120">
                  <c:v>44505</c:v>
                </c:pt>
                <c:pt idx="3121">
                  <c:v>44508</c:v>
                </c:pt>
                <c:pt idx="3122">
                  <c:v>44509</c:v>
                </c:pt>
                <c:pt idx="3123">
                  <c:v>44510</c:v>
                </c:pt>
                <c:pt idx="3124">
                  <c:v>44511</c:v>
                </c:pt>
                <c:pt idx="3125">
                  <c:v>44512</c:v>
                </c:pt>
                <c:pt idx="3126">
                  <c:v>44515</c:v>
                </c:pt>
                <c:pt idx="3127">
                  <c:v>44516</c:v>
                </c:pt>
                <c:pt idx="3128">
                  <c:v>44517</c:v>
                </c:pt>
                <c:pt idx="3129">
                  <c:v>44518</c:v>
                </c:pt>
                <c:pt idx="3130">
                  <c:v>44519</c:v>
                </c:pt>
                <c:pt idx="3131">
                  <c:v>44522</c:v>
                </c:pt>
                <c:pt idx="3132">
                  <c:v>44523</c:v>
                </c:pt>
                <c:pt idx="3133">
                  <c:v>44524</c:v>
                </c:pt>
                <c:pt idx="3134">
                  <c:v>44525</c:v>
                </c:pt>
                <c:pt idx="3135">
                  <c:v>44526</c:v>
                </c:pt>
                <c:pt idx="3136">
                  <c:v>44529</c:v>
                </c:pt>
                <c:pt idx="3137">
                  <c:v>44530</c:v>
                </c:pt>
                <c:pt idx="3138">
                  <c:v>44531</c:v>
                </c:pt>
                <c:pt idx="3139">
                  <c:v>44532</c:v>
                </c:pt>
                <c:pt idx="3140">
                  <c:v>44533</c:v>
                </c:pt>
                <c:pt idx="3141">
                  <c:v>44536</c:v>
                </c:pt>
                <c:pt idx="3142">
                  <c:v>44537</c:v>
                </c:pt>
                <c:pt idx="3143">
                  <c:v>44538</c:v>
                </c:pt>
                <c:pt idx="3144">
                  <c:v>44539</c:v>
                </c:pt>
                <c:pt idx="3145">
                  <c:v>44540</c:v>
                </c:pt>
                <c:pt idx="3146">
                  <c:v>44543</c:v>
                </c:pt>
                <c:pt idx="3147">
                  <c:v>44544</c:v>
                </c:pt>
                <c:pt idx="3148">
                  <c:v>44545</c:v>
                </c:pt>
                <c:pt idx="3149">
                  <c:v>44546</c:v>
                </c:pt>
                <c:pt idx="3150">
                  <c:v>44547</c:v>
                </c:pt>
                <c:pt idx="3151">
                  <c:v>44550</c:v>
                </c:pt>
                <c:pt idx="3152">
                  <c:v>44551</c:v>
                </c:pt>
                <c:pt idx="3153">
                  <c:v>44552</c:v>
                </c:pt>
                <c:pt idx="3154">
                  <c:v>44553</c:v>
                </c:pt>
                <c:pt idx="3155">
                  <c:v>44554</c:v>
                </c:pt>
                <c:pt idx="3156">
                  <c:v>44557</c:v>
                </c:pt>
                <c:pt idx="3157">
                  <c:v>44558</c:v>
                </c:pt>
                <c:pt idx="3158">
                  <c:v>44559</c:v>
                </c:pt>
                <c:pt idx="3159">
                  <c:v>44560</c:v>
                </c:pt>
                <c:pt idx="3160">
                  <c:v>44561</c:v>
                </c:pt>
                <c:pt idx="3161">
                  <c:v>44565</c:v>
                </c:pt>
                <c:pt idx="3162">
                  <c:v>44566</c:v>
                </c:pt>
                <c:pt idx="3163">
                  <c:v>44567</c:v>
                </c:pt>
                <c:pt idx="3164">
                  <c:v>44568</c:v>
                </c:pt>
                <c:pt idx="3165">
                  <c:v>44571</c:v>
                </c:pt>
                <c:pt idx="3166">
                  <c:v>44572</c:v>
                </c:pt>
                <c:pt idx="3167">
                  <c:v>44573</c:v>
                </c:pt>
                <c:pt idx="3168">
                  <c:v>44574</c:v>
                </c:pt>
                <c:pt idx="3169">
                  <c:v>44575</c:v>
                </c:pt>
                <c:pt idx="3170">
                  <c:v>44578</c:v>
                </c:pt>
                <c:pt idx="3171">
                  <c:v>44579</c:v>
                </c:pt>
                <c:pt idx="3172">
                  <c:v>44580</c:v>
                </c:pt>
                <c:pt idx="3173">
                  <c:v>44581</c:v>
                </c:pt>
                <c:pt idx="3174">
                  <c:v>44582</c:v>
                </c:pt>
                <c:pt idx="3175">
                  <c:v>44585</c:v>
                </c:pt>
                <c:pt idx="3176">
                  <c:v>44586</c:v>
                </c:pt>
                <c:pt idx="3177">
                  <c:v>44587</c:v>
                </c:pt>
                <c:pt idx="3178">
                  <c:v>44588</c:v>
                </c:pt>
                <c:pt idx="3179">
                  <c:v>44589</c:v>
                </c:pt>
                <c:pt idx="3180">
                  <c:v>44599</c:v>
                </c:pt>
                <c:pt idx="3181">
                  <c:v>44600</c:v>
                </c:pt>
                <c:pt idx="3182">
                  <c:v>44601</c:v>
                </c:pt>
                <c:pt idx="3183">
                  <c:v>44602</c:v>
                </c:pt>
                <c:pt idx="3184">
                  <c:v>44603</c:v>
                </c:pt>
                <c:pt idx="3185">
                  <c:v>44606</c:v>
                </c:pt>
                <c:pt idx="3186">
                  <c:v>44607</c:v>
                </c:pt>
                <c:pt idx="3187">
                  <c:v>44608</c:v>
                </c:pt>
                <c:pt idx="3188">
                  <c:v>44609</c:v>
                </c:pt>
                <c:pt idx="3189">
                  <c:v>44610</c:v>
                </c:pt>
                <c:pt idx="3190">
                  <c:v>44613</c:v>
                </c:pt>
                <c:pt idx="3191">
                  <c:v>44614</c:v>
                </c:pt>
                <c:pt idx="3192">
                  <c:v>44615</c:v>
                </c:pt>
                <c:pt idx="3193">
                  <c:v>44616</c:v>
                </c:pt>
                <c:pt idx="3194">
                  <c:v>44617</c:v>
                </c:pt>
                <c:pt idx="3195">
                  <c:v>44620</c:v>
                </c:pt>
                <c:pt idx="3196">
                  <c:v>44621</c:v>
                </c:pt>
                <c:pt idx="3197">
                  <c:v>44622</c:v>
                </c:pt>
                <c:pt idx="3198">
                  <c:v>44623</c:v>
                </c:pt>
                <c:pt idx="3199">
                  <c:v>44624</c:v>
                </c:pt>
                <c:pt idx="3200">
                  <c:v>44627</c:v>
                </c:pt>
                <c:pt idx="3201">
                  <c:v>44628</c:v>
                </c:pt>
                <c:pt idx="3202">
                  <c:v>44629</c:v>
                </c:pt>
                <c:pt idx="3203">
                  <c:v>44630</c:v>
                </c:pt>
                <c:pt idx="3204">
                  <c:v>44631</c:v>
                </c:pt>
                <c:pt idx="3205">
                  <c:v>44634</c:v>
                </c:pt>
                <c:pt idx="3206">
                  <c:v>44635</c:v>
                </c:pt>
                <c:pt idx="3207">
                  <c:v>44636</c:v>
                </c:pt>
                <c:pt idx="3208">
                  <c:v>44637</c:v>
                </c:pt>
                <c:pt idx="3209">
                  <c:v>44638</c:v>
                </c:pt>
                <c:pt idx="3210">
                  <c:v>44641</c:v>
                </c:pt>
                <c:pt idx="3211">
                  <c:v>44642</c:v>
                </c:pt>
                <c:pt idx="3212">
                  <c:v>44643</c:v>
                </c:pt>
                <c:pt idx="3213">
                  <c:v>44644</c:v>
                </c:pt>
                <c:pt idx="3214">
                  <c:v>44645</c:v>
                </c:pt>
                <c:pt idx="3215">
                  <c:v>44648</c:v>
                </c:pt>
                <c:pt idx="3216">
                  <c:v>44649</c:v>
                </c:pt>
                <c:pt idx="3217">
                  <c:v>44650</c:v>
                </c:pt>
                <c:pt idx="3218">
                  <c:v>44651</c:v>
                </c:pt>
                <c:pt idx="3219">
                  <c:v>44652</c:v>
                </c:pt>
                <c:pt idx="3220">
                  <c:v>44657</c:v>
                </c:pt>
                <c:pt idx="3221">
                  <c:v>44658</c:v>
                </c:pt>
                <c:pt idx="3222">
                  <c:v>44659</c:v>
                </c:pt>
              </c:numCache>
            </c:numRef>
          </c:cat>
          <c:val>
            <c:numRef>
              <c:f>beta_benchmark!$C$2:$C$3224</c:f>
              <c:numCache>
                <c:formatCode>General</c:formatCode>
                <c:ptCount val="3223"/>
                <c:pt idx="0">
                  <c:v>1000000</c:v>
                </c:pt>
                <c:pt idx="1">
                  <c:v>1029825.852</c:v>
                </c:pt>
                <c:pt idx="2">
                  <c:v>1024015.852</c:v>
                </c:pt>
                <c:pt idx="3">
                  <c:v>1002420.852</c:v>
                </c:pt>
                <c:pt idx="4">
                  <c:v>1017610.852</c:v>
                </c:pt>
                <c:pt idx="5">
                  <c:v>1018770.852</c:v>
                </c:pt>
                <c:pt idx="6">
                  <c:v>996520.85199999996</c:v>
                </c:pt>
                <c:pt idx="7">
                  <c:v>1036045.852</c:v>
                </c:pt>
                <c:pt idx="8">
                  <c:v>1035860.852</c:v>
                </c:pt>
                <c:pt idx="9">
                  <c:v>1053530.852</c:v>
                </c:pt>
                <c:pt idx="10">
                  <c:v>1064660.852</c:v>
                </c:pt>
                <c:pt idx="11">
                  <c:v>1071020.852</c:v>
                </c:pt>
                <c:pt idx="12">
                  <c:v>1069280.852</c:v>
                </c:pt>
                <c:pt idx="13">
                  <c:v>1080700.852</c:v>
                </c:pt>
                <c:pt idx="14">
                  <c:v>1074765.852</c:v>
                </c:pt>
                <c:pt idx="15">
                  <c:v>1086955.852</c:v>
                </c:pt>
                <c:pt idx="16">
                  <c:v>1112880.852</c:v>
                </c:pt>
                <c:pt idx="17">
                  <c:v>1141630.852</c:v>
                </c:pt>
                <c:pt idx="18">
                  <c:v>1133910.852</c:v>
                </c:pt>
                <c:pt idx="19">
                  <c:v>1177065.852</c:v>
                </c:pt>
                <c:pt idx="20">
                  <c:v>1206760.852</c:v>
                </c:pt>
                <c:pt idx="21">
                  <c:v>1221805.852</c:v>
                </c:pt>
                <c:pt idx="22">
                  <c:v>1223995.852</c:v>
                </c:pt>
                <c:pt idx="23">
                  <c:v>1217595.852</c:v>
                </c:pt>
                <c:pt idx="24">
                  <c:v>1257960.852</c:v>
                </c:pt>
                <c:pt idx="25">
                  <c:v>1289550.852</c:v>
                </c:pt>
                <c:pt idx="26">
                  <c:v>1251070.852</c:v>
                </c:pt>
                <c:pt idx="27">
                  <c:v>1196345.852</c:v>
                </c:pt>
                <c:pt idx="28">
                  <c:v>1207630.852</c:v>
                </c:pt>
                <c:pt idx="29">
                  <c:v>1230585.852</c:v>
                </c:pt>
                <c:pt idx="30">
                  <c:v>1263665.852</c:v>
                </c:pt>
                <c:pt idx="31">
                  <c:v>1209350.852</c:v>
                </c:pt>
                <c:pt idx="32">
                  <c:v>1210550.852</c:v>
                </c:pt>
                <c:pt idx="33">
                  <c:v>1153520.852</c:v>
                </c:pt>
                <c:pt idx="34">
                  <c:v>1128670.852</c:v>
                </c:pt>
                <c:pt idx="35">
                  <c:v>1140760.852</c:v>
                </c:pt>
                <c:pt idx="36">
                  <c:v>1129500.852</c:v>
                </c:pt>
                <c:pt idx="37">
                  <c:v>1201000.852</c:v>
                </c:pt>
                <c:pt idx="38">
                  <c:v>1210885.852</c:v>
                </c:pt>
                <c:pt idx="39">
                  <c:v>1201715.852</c:v>
                </c:pt>
                <c:pt idx="40">
                  <c:v>1159690.852</c:v>
                </c:pt>
                <c:pt idx="41">
                  <c:v>1178815.852</c:v>
                </c:pt>
                <c:pt idx="42">
                  <c:v>1168615.852</c:v>
                </c:pt>
                <c:pt idx="43">
                  <c:v>1166275.852</c:v>
                </c:pt>
                <c:pt idx="44">
                  <c:v>1161135.852</c:v>
                </c:pt>
                <c:pt idx="45">
                  <c:v>1179230.852</c:v>
                </c:pt>
                <c:pt idx="46">
                  <c:v>1219625.852</c:v>
                </c:pt>
                <c:pt idx="47">
                  <c:v>1224750.852</c:v>
                </c:pt>
                <c:pt idx="48">
                  <c:v>1249705.852</c:v>
                </c:pt>
                <c:pt idx="49">
                  <c:v>1248345.852</c:v>
                </c:pt>
                <c:pt idx="50">
                  <c:v>1278125.852</c:v>
                </c:pt>
                <c:pt idx="51">
                  <c:v>1284315.852</c:v>
                </c:pt>
                <c:pt idx="52">
                  <c:v>1259090.852</c:v>
                </c:pt>
                <c:pt idx="53">
                  <c:v>1298320.852</c:v>
                </c:pt>
                <c:pt idx="54">
                  <c:v>1307890.852</c:v>
                </c:pt>
                <c:pt idx="55">
                  <c:v>1300670.852</c:v>
                </c:pt>
                <c:pt idx="56">
                  <c:v>1312320.852</c:v>
                </c:pt>
                <c:pt idx="57">
                  <c:v>1332535.852</c:v>
                </c:pt>
                <c:pt idx="58">
                  <c:v>1346625.852</c:v>
                </c:pt>
                <c:pt idx="59">
                  <c:v>1343675.852</c:v>
                </c:pt>
                <c:pt idx="60">
                  <c:v>1346900.852</c:v>
                </c:pt>
                <c:pt idx="61">
                  <c:v>1298100.852</c:v>
                </c:pt>
                <c:pt idx="62">
                  <c:v>1317260.852</c:v>
                </c:pt>
                <c:pt idx="63">
                  <c:v>1356190.852</c:v>
                </c:pt>
                <c:pt idx="64">
                  <c:v>1386685.852</c:v>
                </c:pt>
                <c:pt idx="65">
                  <c:v>1396860.852</c:v>
                </c:pt>
                <c:pt idx="66">
                  <c:v>1401920.852</c:v>
                </c:pt>
                <c:pt idx="67">
                  <c:v>1401980.852</c:v>
                </c:pt>
                <c:pt idx="68">
                  <c:v>1383770.852</c:v>
                </c:pt>
                <c:pt idx="69">
                  <c:v>1412260.852</c:v>
                </c:pt>
                <c:pt idx="70">
                  <c:v>1396145.852</c:v>
                </c:pt>
                <c:pt idx="71">
                  <c:v>1346565.852</c:v>
                </c:pt>
                <c:pt idx="72">
                  <c:v>1355205.852</c:v>
                </c:pt>
                <c:pt idx="73">
                  <c:v>1344870.852</c:v>
                </c:pt>
                <c:pt idx="74">
                  <c:v>1315070.852</c:v>
                </c:pt>
                <c:pt idx="75">
                  <c:v>1317690.852</c:v>
                </c:pt>
                <c:pt idx="76">
                  <c:v>1361110.852</c:v>
                </c:pt>
                <c:pt idx="77">
                  <c:v>1369890.852</c:v>
                </c:pt>
                <c:pt idx="78">
                  <c:v>1415575.852</c:v>
                </c:pt>
                <c:pt idx="79">
                  <c:v>1421930.852</c:v>
                </c:pt>
                <c:pt idx="80">
                  <c:v>1440915.852</c:v>
                </c:pt>
                <c:pt idx="81">
                  <c:v>1441965.852</c:v>
                </c:pt>
                <c:pt idx="82">
                  <c:v>1453035.852</c:v>
                </c:pt>
                <c:pt idx="83">
                  <c:v>1421085.852</c:v>
                </c:pt>
                <c:pt idx="84">
                  <c:v>1452705.852</c:v>
                </c:pt>
                <c:pt idx="85">
                  <c:v>1465430.852</c:v>
                </c:pt>
                <c:pt idx="86">
                  <c:v>1454725.852</c:v>
                </c:pt>
                <c:pt idx="87">
                  <c:v>1456485.852</c:v>
                </c:pt>
                <c:pt idx="88">
                  <c:v>1463710.852</c:v>
                </c:pt>
                <c:pt idx="89">
                  <c:v>1478465.852</c:v>
                </c:pt>
                <c:pt idx="90">
                  <c:v>1464860.852</c:v>
                </c:pt>
                <c:pt idx="91">
                  <c:v>1433430.852</c:v>
                </c:pt>
                <c:pt idx="92">
                  <c:v>1428765.852</c:v>
                </c:pt>
                <c:pt idx="93">
                  <c:v>1434785.852</c:v>
                </c:pt>
                <c:pt idx="94">
                  <c:v>1418305.852</c:v>
                </c:pt>
                <c:pt idx="95">
                  <c:v>1438280.852</c:v>
                </c:pt>
                <c:pt idx="96">
                  <c:v>1487452.9350000001</c:v>
                </c:pt>
                <c:pt idx="97">
                  <c:v>1487452.9350000001</c:v>
                </c:pt>
                <c:pt idx="98">
                  <c:v>1487452.9350000001</c:v>
                </c:pt>
                <c:pt idx="99">
                  <c:v>1487452.9350000001</c:v>
                </c:pt>
                <c:pt idx="100">
                  <c:v>1487452.9350000001</c:v>
                </c:pt>
                <c:pt idx="101">
                  <c:v>1487452.9350000001</c:v>
                </c:pt>
                <c:pt idx="102">
                  <c:v>1487452.9350000001</c:v>
                </c:pt>
                <c:pt idx="103">
                  <c:v>1487452.9350000001</c:v>
                </c:pt>
                <c:pt idx="104">
                  <c:v>1487452.9350000001</c:v>
                </c:pt>
                <c:pt idx="105">
                  <c:v>1487452.9350000001</c:v>
                </c:pt>
                <c:pt idx="106">
                  <c:v>1487452.9350000001</c:v>
                </c:pt>
                <c:pt idx="107">
                  <c:v>1487452.9350000001</c:v>
                </c:pt>
                <c:pt idx="108">
                  <c:v>1487452.9350000001</c:v>
                </c:pt>
                <c:pt idx="109">
                  <c:v>1487452.9350000001</c:v>
                </c:pt>
                <c:pt idx="110">
                  <c:v>1487452.9350000001</c:v>
                </c:pt>
                <c:pt idx="111">
                  <c:v>1487452.9350000001</c:v>
                </c:pt>
                <c:pt idx="112">
                  <c:v>1487452.9350000001</c:v>
                </c:pt>
                <c:pt idx="113">
                  <c:v>1487452.9350000001</c:v>
                </c:pt>
                <c:pt idx="114">
                  <c:v>1487452.9350000001</c:v>
                </c:pt>
                <c:pt idx="115">
                  <c:v>1487452.9350000001</c:v>
                </c:pt>
                <c:pt idx="116">
                  <c:v>1487452.9350000001</c:v>
                </c:pt>
                <c:pt idx="117">
                  <c:v>1487452.9350000001</c:v>
                </c:pt>
                <c:pt idx="118">
                  <c:v>1487452.9350000001</c:v>
                </c:pt>
                <c:pt idx="119">
                  <c:v>1487452.9350000001</c:v>
                </c:pt>
                <c:pt idx="120">
                  <c:v>1487452.9350000001</c:v>
                </c:pt>
                <c:pt idx="121">
                  <c:v>1487452.9350000001</c:v>
                </c:pt>
                <c:pt idx="122">
                  <c:v>1487452.9350000001</c:v>
                </c:pt>
                <c:pt idx="123">
                  <c:v>1487452.9350000001</c:v>
                </c:pt>
                <c:pt idx="124">
                  <c:v>1487452.9350000001</c:v>
                </c:pt>
                <c:pt idx="125">
                  <c:v>1487317.003</c:v>
                </c:pt>
                <c:pt idx="126">
                  <c:v>1472397.003</c:v>
                </c:pt>
                <c:pt idx="127">
                  <c:v>1509893.003</c:v>
                </c:pt>
                <c:pt idx="128">
                  <c:v>1525317.003</c:v>
                </c:pt>
                <c:pt idx="129">
                  <c:v>1528489.003</c:v>
                </c:pt>
                <c:pt idx="130">
                  <c:v>1535917.003</c:v>
                </c:pt>
                <c:pt idx="131">
                  <c:v>1564441.003</c:v>
                </c:pt>
                <c:pt idx="132">
                  <c:v>1543925.003</c:v>
                </c:pt>
                <c:pt idx="133">
                  <c:v>1570761.003</c:v>
                </c:pt>
                <c:pt idx="134">
                  <c:v>1588781.003</c:v>
                </c:pt>
                <c:pt idx="135">
                  <c:v>1595017.003</c:v>
                </c:pt>
                <c:pt idx="136">
                  <c:v>1625445.003</c:v>
                </c:pt>
                <c:pt idx="137">
                  <c:v>1630321.003</c:v>
                </c:pt>
                <c:pt idx="138">
                  <c:v>1551397.003</c:v>
                </c:pt>
                <c:pt idx="139">
                  <c:v>1581921.003</c:v>
                </c:pt>
                <c:pt idx="140">
                  <c:v>1621841.003</c:v>
                </c:pt>
                <c:pt idx="141">
                  <c:v>1642805.003</c:v>
                </c:pt>
                <c:pt idx="142">
                  <c:v>1642641.003</c:v>
                </c:pt>
                <c:pt idx="143">
                  <c:v>1624369.003</c:v>
                </c:pt>
                <c:pt idx="144">
                  <c:v>1593241.003</c:v>
                </c:pt>
                <c:pt idx="145">
                  <c:v>1550033.003</c:v>
                </c:pt>
                <c:pt idx="146">
                  <c:v>1545809.003</c:v>
                </c:pt>
                <c:pt idx="147">
                  <c:v>1550402.747</c:v>
                </c:pt>
                <c:pt idx="148">
                  <c:v>1550402.747</c:v>
                </c:pt>
                <c:pt idx="149">
                  <c:v>1550402.747</c:v>
                </c:pt>
                <c:pt idx="150">
                  <c:v>1550402.747</c:v>
                </c:pt>
                <c:pt idx="151">
                  <c:v>1550402.747</c:v>
                </c:pt>
                <c:pt idx="152">
                  <c:v>1550402.747</c:v>
                </c:pt>
                <c:pt idx="153">
                  <c:v>1550402.747</c:v>
                </c:pt>
                <c:pt idx="154">
                  <c:v>1550402.747</c:v>
                </c:pt>
                <c:pt idx="155">
                  <c:v>1550402.747</c:v>
                </c:pt>
                <c:pt idx="156">
                  <c:v>1550402.747</c:v>
                </c:pt>
                <c:pt idx="157">
                  <c:v>1550402.747</c:v>
                </c:pt>
                <c:pt idx="158">
                  <c:v>1550402.747</c:v>
                </c:pt>
                <c:pt idx="159">
                  <c:v>1550402.747</c:v>
                </c:pt>
                <c:pt idx="160">
                  <c:v>1550402.747</c:v>
                </c:pt>
                <c:pt idx="161">
                  <c:v>1550402.747</c:v>
                </c:pt>
                <c:pt idx="162">
                  <c:v>1550402.747</c:v>
                </c:pt>
                <c:pt idx="163">
                  <c:v>1550402.747</c:v>
                </c:pt>
                <c:pt idx="164">
                  <c:v>1550402.747</c:v>
                </c:pt>
                <c:pt idx="165">
                  <c:v>1550402.747</c:v>
                </c:pt>
                <c:pt idx="166">
                  <c:v>1550402.747</c:v>
                </c:pt>
                <c:pt idx="167">
                  <c:v>1550402.747</c:v>
                </c:pt>
                <c:pt idx="168">
                  <c:v>1550402.747</c:v>
                </c:pt>
                <c:pt idx="169">
                  <c:v>1550402.747</c:v>
                </c:pt>
                <c:pt idx="170">
                  <c:v>1550402.747</c:v>
                </c:pt>
                <c:pt idx="171">
                  <c:v>1550402.747</c:v>
                </c:pt>
                <c:pt idx="172">
                  <c:v>1550402.747</c:v>
                </c:pt>
                <c:pt idx="173">
                  <c:v>1550402.747</c:v>
                </c:pt>
                <c:pt idx="174">
                  <c:v>1550402.747</c:v>
                </c:pt>
                <c:pt idx="175">
                  <c:v>1550402.747</c:v>
                </c:pt>
                <c:pt idx="176">
                  <c:v>1550402.747</c:v>
                </c:pt>
                <c:pt idx="177">
                  <c:v>1550402.747</c:v>
                </c:pt>
                <c:pt idx="178">
                  <c:v>1550402.747</c:v>
                </c:pt>
                <c:pt idx="179">
                  <c:v>1550402.747</c:v>
                </c:pt>
                <c:pt idx="180">
                  <c:v>1550402.747</c:v>
                </c:pt>
                <c:pt idx="181">
                  <c:v>1550402.747</c:v>
                </c:pt>
                <c:pt idx="182">
                  <c:v>1550402.747</c:v>
                </c:pt>
                <c:pt idx="183">
                  <c:v>1550402.747</c:v>
                </c:pt>
                <c:pt idx="184">
                  <c:v>1550402.747</c:v>
                </c:pt>
                <c:pt idx="185">
                  <c:v>1550402.747</c:v>
                </c:pt>
                <c:pt idx="186">
                  <c:v>1550402.747</c:v>
                </c:pt>
                <c:pt idx="187">
                  <c:v>1550402.747</c:v>
                </c:pt>
                <c:pt idx="188">
                  <c:v>1550402.747</c:v>
                </c:pt>
                <c:pt idx="189">
                  <c:v>1550402.747</c:v>
                </c:pt>
                <c:pt idx="190">
                  <c:v>1550402.747</c:v>
                </c:pt>
                <c:pt idx="191">
                  <c:v>1550402.747</c:v>
                </c:pt>
                <c:pt idx="192">
                  <c:v>1550402.747</c:v>
                </c:pt>
                <c:pt idx="193">
                  <c:v>1550402.747</c:v>
                </c:pt>
                <c:pt idx="194">
                  <c:v>1550402.747</c:v>
                </c:pt>
                <c:pt idx="195">
                  <c:v>1550402.747</c:v>
                </c:pt>
                <c:pt idx="196">
                  <c:v>1550402.747</c:v>
                </c:pt>
                <c:pt idx="197">
                  <c:v>1550402.747</c:v>
                </c:pt>
                <c:pt idx="198">
                  <c:v>1550402.747</c:v>
                </c:pt>
                <c:pt idx="199">
                  <c:v>1550402.747</c:v>
                </c:pt>
                <c:pt idx="200">
                  <c:v>1550402.747</c:v>
                </c:pt>
                <c:pt idx="201">
                  <c:v>1550402.747</c:v>
                </c:pt>
                <c:pt idx="202">
                  <c:v>1550402.747</c:v>
                </c:pt>
                <c:pt idx="203">
                  <c:v>1550402.747</c:v>
                </c:pt>
                <c:pt idx="204">
                  <c:v>1550402.747</c:v>
                </c:pt>
                <c:pt idx="205">
                  <c:v>1550402.747</c:v>
                </c:pt>
                <c:pt idx="206">
                  <c:v>1550402.747</c:v>
                </c:pt>
                <c:pt idx="207">
                  <c:v>1550402.747</c:v>
                </c:pt>
                <c:pt idx="208">
                  <c:v>1550402.747</c:v>
                </c:pt>
                <c:pt idx="209">
                  <c:v>1550402.747</c:v>
                </c:pt>
                <c:pt idx="210">
                  <c:v>1550402.747</c:v>
                </c:pt>
                <c:pt idx="211">
                  <c:v>1550402.747</c:v>
                </c:pt>
                <c:pt idx="212">
                  <c:v>1550402.747</c:v>
                </c:pt>
                <c:pt idx="213">
                  <c:v>1550402.747</c:v>
                </c:pt>
                <c:pt idx="214">
                  <c:v>1550402.747</c:v>
                </c:pt>
                <c:pt idx="215">
                  <c:v>1550402.747</c:v>
                </c:pt>
                <c:pt idx="216">
                  <c:v>1550402.747</c:v>
                </c:pt>
                <c:pt idx="217">
                  <c:v>1550402.747</c:v>
                </c:pt>
                <c:pt idx="218">
                  <c:v>1550402.747</c:v>
                </c:pt>
                <c:pt idx="219">
                  <c:v>1550402.747</c:v>
                </c:pt>
                <c:pt idx="220">
                  <c:v>1550402.747</c:v>
                </c:pt>
                <c:pt idx="221">
                  <c:v>1550402.747</c:v>
                </c:pt>
                <c:pt idx="222">
                  <c:v>1550402.747</c:v>
                </c:pt>
                <c:pt idx="223">
                  <c:v>1550402.747</c:v>
                </c:pt>
                <c:pt idx="224">
                  <c:v>1550402.747</c:v>
                </c:pt>
                <c:pt idx="225">
                  <c:v>1550402.747</c:v>
                </c:pt>
                <c:pt idx="226">
                  <c:v>1550402.747</c:v>
                </c:pt>
                <c:pt idx="227">
                  <c:v>1550402.747</c:v>
                </c:pt>
                <c:pt idx="228">
                  <c:v>1550402.747</c:v>
                </c:pt>
                <c:pt idx="229">
                  <c:v>1550402.747</c:v>
                </c:pt>
                <c:pt idx="230">
                  <c:v>1550402.747</c:v>
                </c:pt>
                <c:pt idx="231">
                  <c:v>1550402.747</c:v>
                </c:pt>
                <c:pt idx="232">
                  <c:v>1550402.747</c:v>
                </c:pt>
                <c:pt idx="233">
                  <c:v>1550402.747</c:v>
                </c:pt>
                <c:pt idx="234">
                  <c:v>1550402.747</c:v>
                </c:pt>
                <c:pt idx="235">
                  <c:v>1550402.747</c:v>
                </c:pt>
                <c:pt idx="236">
                  <c:v>1550402.747</c:v>
                </c:pt>
                <c:pt idx="237">
                  <c:v>1550402.747</c:v>
                </c:pt>
                <c:pt idx="238">
                  <c:v>1550402.747</c:v>
                </c:pt>
                <c:pt idx="239">
                  <c:v>1550402.747</c:v>
                </c:pt>
                <c:pt idx="240">
                  <c:v>1550402.747</c:v>
                </c:pt>
                <c:pt idx="241">
                  <c:v>1550402.747</c:v>
                </c:pt>
                <c:pt idx="242">
                  <c:v>1550402.747</c:v>
                </c:pt>
                <c:pt idx="243">
                  <c:v>1550402.747</c:v>
                </c:pt>
                <c:pt idx="244">
                  <c:v>1550402.747</c:v>
                </c:pt>
                <c:pt idx="245">
                  <c:v>1550402.747</c:v>
                </c:pt>
                <c:pt idx="246">
                  <c:v>1550402.747</c:v>
                </c:pt>
                <c:pt idx="247">
                  <c:v>1550402.747</c:v>
                </c:pt>
                <c:pt idx="248">
                  <c:v>1550402.747</c:v>
                </c:pt>
                <c:pt idx="249">
                  <c:v>1550402.747</c:v>
                </c:pt>
                <c:pt idx="250">
                  <c:v>1550402.747</c:v>
                </c:pt>
                <c:pt idx="251">
                  <c:v>1550402.747</c:v>
                </c:pt>
                <c:pt idx="252">
                  <c:v>1550402.747</c:v>
                </c:pt>
                <c:pt idx="253">
                  <c:v>1550402.747</c:v>
                </c:pt>
                <c:pt idx="254">
                  <c:v>1550402.747</c:v>
                </c:pt>
                <c:pt idx="255">
                  <c:v>1550402.747</c:v>
                </c:pt>
                <c:pt idx="256">
                  <c:v>1550402.747</c:v>
                </c:pt>
                <c:pt idx="257">
                  <c:v>1550402.747</c:v>
                </c:pt>
                <c:pt idx="258">
                  <c:v>1550402.747</c:v>
                </c:pt>
                <c:pt idx="259">
                  <c:v>1550402.747</c:v>
                </c:pt>
                <c:pt idx="260">
                  <c:v>1550402.747</c:v>
                </c:pt>
                <c:pt idx="261">
                  <c:v>1550402.747</c:v>
                </c:pt>
                <c:pt idx="262">
                  <c:v>1550402.747</c:v>
                </c:pt>
                <c:pt idx="263">
                  <c:v>1550402.747</c:v>
                </c:pt>
                <c:pt idx="264">
                  <c:v>1550402.747</c:v>
                </c:pt>
                <c:pt idx="265">
                  <c:v>1550402.747</c:v>
                </c:pt>
                <c:pt idx="266">
                  <c:v>1550402.747</c:v>
                </c:pt>
                <c:pt idx="267">
                  <c:v>1550402.747</c:v>
                </c:pt>
                <c:pt idx="268">
                  <c:v>1550402.747</c:v>
                </c:pt>
                <c:pt idx="269">
                  <c:v>1550402.747</c:v>
                </c:pt>
                <c:pt idx="270">
                  <c:v>1550402.747</c:v>
                </c:pt>
                <c:pt idx="271">
                  <c:v>1550402.747</c:v>
                </c:pt>
                <c:pt idx="272">
                  <c:v>1550402.747</c:v>
                </c:pt>
                <c:pt idx="273">
                  <c:v>1550402.747</c:v>
                </c:pt>
                <c:pt idx="274">
                  <c:v>1550273.4129999999</c:v>
                </c:pt>
                <c:pt idx="275">
                  <c:v>1536385.4129999999</c:v>
                </c:pt>
                <c:pt idx="276">
                  <c:v>1554725.4129999999</c:v>
                </c:pt>
                <c:pt idx="277">
                  <c:v>1573653.7279999999</c:v>
                </c:pt>
                <c:pt idx="278">
                  <c:v>1573653.7279999999</c:v>
                </c:pt>
                <c:pt idx="279">
                  <c:v>1573653.7279999999</c:v>
                </c:pt>
                <c:pt idx="280">
                  <c:v>1573653.7279999999</c:v>
                </c:pt>
                <c:pt idx="281">
                  <c:v>1573653.7279999999</c:v>
                </c:pt>
                <c:pt idx="282">
                  <c:v>1573653.7279999999</c:v>
                </c:pt>
                <c:pt idx="283">
                  <c:v>1573653.7279999999</c:v>
                </c:pt>
                <c:pt idx="284">
                  <c:v>1573653.7279999999</c:v>
                </c:pt>
                <c:pt idx="285">
                  <c:v>1573653.7279999999</c:v>
                </c:pt>
                <c:pt idx="286">
                  <c:v>1573653.7279999999</c:v>
                </c:pt>
                <c:pt idx="287">
                  <c:v>1573653.7279999999</c:v>
                </c:pt>
                <c:pt idx="288">
                  <c:v>1573653.7279999999</c:v>
                </c:pt>
                <c:pt idx="289">
                  <c:v>1573653.7279999999</c:v>
                </c:pt>
                <c:pt idx="290">
                  <c:v>1573653.7279999999</c:v>
                </c:pt>
                <c:pt idx="291">
                  <c:v>1573653.7279999999</c:v>
                </c:pt>
                <c:pt idx="292">
                  <c:v>1573653.7279999999</c:v>
                </c:pt>
                <c:pt idx="293">
                  <c:v>1573653.7279999999</c:v>
                </c:pt>
                <c:pt idx="294">
                  <c:v>1573653.7279999999</c:v>
                </c:pt>
                <c:pt idx="295">
                  <c:v>1573653.7279999999</c:v>
                </c:pt>
                <c:pt idx="296">
                  <c:v>1573653.7279999999</c:v>
                </c:pt>
                <c:pt idx="297">
                  <c:v>1573653.7279999999</c:v>
                </c:pt>
                <c:pt idx="298">
                  <c:v>1573653.7279999999</c:v>
                </c:pt>
                <c:pt idx="299">
                  <c:v>1573653.7279999999</c:v>
                </c:pt>
                <c:pt idx="300">
                  <c:v>1573653.7279999999</c:v>
                </c:pt>
                <c:pt idx="301">
                  <c:v>1573653.7279999999</c:v>
                </c:pt>
                <c:pt idx="302">
                  <c:v>1573653.7279999999</c:v>
                </c:pt>
                <c:pt idx="303">
                  <c:v>1573653.7279999999</c:v>
                </c:pt>
                <c:pt idx="304">
                  <c:v>1573653.7279999999</c:v>
                </c:pt>
                <c:pt idx="305">
                  <c:v>1573653.7279999999</c:v>
                </c:pt>
                <c:pt idx="306">
                  <c:v>1573653.7279999999</c:v>
                </c:pt>
                <c:pt idx="307">
                  <c:v>1573653.7279999999</c:v>
                </c:pt>
                <c:pt idx="308">
                  <c:v>1573653.7279999999</c:v>
                </c:pt>
                <c:pt idx="309">
                  <c:v>1573653.7279999999</c:v>
                </c:pt>
                <c:pt idx="310">
                  <c:v>1573653.7279999999</c:v>
                </c:pt>
                <c:pt idx="311">
                  <c:v>1573653.7279999999</c:v>
                </c:pt>
                <c:pt idx="312">
                  <c:v>1573653.7279999999</c:v>
                </c:pt>
                <c:pt idx="313">
                  <c:v>1573653.7279999999</c:v>
                </c:pt>
                <c:pt idx="314">
                  <c:v>1573653.7279999999</c:v>
                </c:pt>
                <c:pt idx="315">
                  <c:v>1573653.7279999999</c:v>
                </c:pt>
                <c:pt idx="316">
                  <c:v>1573653.7279999999</c:v>
                </c:pt>
                <c:pt idx="317">
                  <c:v>1573653.7279999999</c:v>
                </c:pt>
                <c:pt idx="318">
                  <c:v>1573653.7279999999</c:v>
                </c:pt>
                <c:pt idx="319">
                  <c:v>1573653.7279999999</c:v>
                </c:pt>
                <c:pt idx="320">
                  <c:v>1573653.7279999999</c:v>
                </c:pt>
                <c:pt idx="321">
                  <c:v>1573653.7279999999</c:v>
                </c:pt>
                <c:pt idx="322">
                  <c:v>1573653.7279999999</c:v>
                </c:pt>
                <c:pt idx="323">
                  <c:v>1573653.7279999999</c:v>
                </c:pt>
                <c:pt idx="324">
                  <c:v>1573653.7279999999</c:v>
                </c:pt>
                <c:pt idx="325">
                  <c:v>1573653.7279999999</c:v>
                </c:pt>
                <c:pt idx="326">
                  <c:v>1573653.7279999999</c:v>
                </c:pt>
                <c:pt idx="327">
                  <c:v>1573653.7279999999</c:v>
                </c:pt>
                <c:pt idx="328">
                  <c:v>1573653.7279999999</c:v>
                </c:pt>
                <c:pt idx="329">
                  <c:v>1573653.7279999999</c:v>
                </c:pt>
                <c:pt idx="330">
                  <c:v>1573653.7279999999</c:v>
                </c:pt>
                <c:pt idx="331">
                  <c:v>1573653.7279999999</c:v>
                </c:pt>
                <c:pt idx="332">
                  <c:v>1573653.7279999999</c:v>
                </c:pt>
                <c:pt idx="333">
                  <c:v>1573653.7279999999</c:v>
                </c:pt>
                <c:pt idx="334">
                  <c:v>1573653.7279999999</c:v>
                </c:pt>
                <c:pt idx="335">
                  <c:v>1573653.7279999999</c:v>
                </c:pt>
                <c:pt idx="336">
                  <c:v>1573653.7279999999</c:v>
                </c:pt>
                <c:pt idx="337">
                  <c:v>1573653.7279999999</c:v>
                </c:pt>
                <c:pt idx="338">
                  <c:v>1573653.7279999999</c:v>
                </c:pt>
                <c:pt idx="339">
                  <c:v>1573653.7279999999</c:v>
                </c:pt>
                <c:pt idx="340">
                  <c:v>1573653.7279999999</c:v>
                </c:pt>
                <c:pt idx="341">
                  <c:v>1573653.7279999999</c:v>
                </c:pt>
                <c:pt idx="342">
                  <c:v>1573653.7279999999</c:v>
                </c:pt>
                <c:pt idx="343">
                  <c:v>1573653.7279999999</c:v>
                </c:pt>
                <c:pt idx="344">
                  <c:v>1573653.7279999999</c:v>
                </c:pt>
                <c:pt idx="345">
                  <c:v>1573653.7279999999</c:v>
                </c:pt>
                <c:pt idx="346">
                  <c:v>1573653.7279999999</c:v>
                </c:pt>
                <c:pt idx="347">
                  <c:v>1573653.7279999999</c:v>
                </c:pt>
                <c:pt idx="348">
                  <c:v>1573653.7279999999</c:v>
                </c:pt>
                <c:pt idx="349">
                  <c:v>1573653.7279999999</c:v>
                </c:pt>
                <c:pt idx="350">
                  <c:v>1573653.7279999999</c:v>
                </c:pt>
                <c:pt idx="351">
                  <c:v>1573653.7279999999</c:v>
                </c:pt>
                <c:pt idx="352">
                  <c:v>1573653.7279999999</c:v>
                </c:pt>
                <c:pt idx="353">
                  <c:v>1573653.7279999999</c:v>
                </c:pt>
                <c:pt idx="354">
                  <c:v>1573653.7279999999</c:v>
                </c:pt>
                <c:pt idx="355">
                  <c:v>1573653.7279999999</c:v>
                </c:pt>
                <c:pt idx="356">
                  <c:v>1573653.7279999999</c:v>
                </c:pt>
                <c:pt idx="357">
                  <c:v>1573653.7279999999</c:v>
                </c:pt>
                <c:pt idx="358">
                  <c:v>1573653.7279999999</c:v>
                </c:pt>
                <c:pt idx="359">
                  <c:v>1573653.7279999999</c:v>
                </c:pt>
                <c:pt idx="360">
                  <c:v>1573653.7279999999</c:v>
                </c:pt>
                <c:pt idx="361">
                  <c:v>1573653.7279999999</c:v>
                </c:pt>
                <c:pt idx="362">
                  <c:v>1573653.7279999999</c:v>
                </c:pt>
                <c:pt idx="363">
                  <c:v>1573653.7279999999</c:v>
                </c:pt>
                <c:pt idx="364">
                  <c:v>1573653.7279999999</c:v>
                </c:pt>
                <c:pt idx="365">
                  <c:v>1573653.7279999999</c:v>
                </c:pt>
                <c:pt idx="366">
                  <c:v>1573653.7279999999</c:v>
                </c:pt>
                <c:pt idx="367">
                  <c:v>1573653.7279999999</c:v>
                </c:pt>
                <c:pt idx="368">
                  <c:v>1573653.7279999999</c:v>
                </c:pt>
                <c:pt idx="369">
                  <c:v>1573653.7279999999</c:v>
                </c:pt>
                <c:pt idx="370">
                  <c:v>1573653.7279999999</c:v>
                </c:pt>
                <c:pt idx="371">
                  <c:v>1573653.7279999999</c:v>
                </c:pt>
                <c:pt idx="372">
                  <c:v>1573653.7279999999</c:v>
                </c:pt>
                <c:pt idx="373">
                  <c:v>1573653.7279999999</c:v>
                </c:pt>
                <c:pt idx="374">
                  <c:v>1573653.7279999999</c:v>
                </c:pt>
                <c:pt idx="375">
                  <c:v>1573653.7279999999</c:v>
                </c:pt>
                <c:pt idx="376">
                  <c:v>1573653.7279999999</c:v>
                </c:pt>
                <c:pt idx="377">
                  <c:v>1573653.7279999999</c:v>
                </c:pt>
                <c:pt idx="378">
                  <c:v>1573653.7279999999</c:v>
                </c:pt>
                <c:pt idx="379">
                  <c:v>1573653.7279999999</c:v>
                </c:pt>
                <c:pt idx="380">
                  <c:v>1573653.7279999999</c:v>
                </c:pt>
                <c:pt idx="381">
                  <c:v>1573653.7279999999</c:v>
                </c:pt>
                <c:pt idx="382">
                  <c:v>1573653.7279999999</c:v>
                </c:pt>
                <c:pt idx="383">
                  <c:v>1573653.7279999999</c:v>
                </c:pt>
                <c:pt idx="384">
                  <c:v>1573653.7279999999</c:v>
                </c:pt>
                <c:pt idx="385">
                  <c:v>1573653.7279999999</c:v>
                </c:pt>
                <c:pt idx="386">
                  <c:v>1573653.7279999999</c:v>
                </c:pt>
                <c:pt idx="387">
                  <c:v>1573653.7279999999</c:v>
                </c:pt>
                <c:pt idx="388">
                  <c:v>1573653.7279999999</c:v>
                </c:pt>
                <c:pt idx="389">
                  <c:v>1573653.7279999999</c:v>
                </c:pt>
                <c:pt idx="390">
                  <c:v>1573653.7279999999</c:v>
                </c:pt>
                <c:pt idx="391">
                  <c:v>1573653.7279999999</c:v>
                </c:pt>
                <c:pt idx="392">
                  <c:v>1573653.7279999999</c:v>
                </c:pt>
                <c:pt idx="393">
                  <c:v>1573510.9509999999</c:v>
                </c:pt>
                <c:pt idx="394">
                  <c:v>1606775.9509999999</c:v>
                </c:pt>
                <c:pt idx="395">
                  <c:v>1616880.9509999999</c:v>
                </c:pt>
                <c:pt idx="396">
                  <c:v>1614415.9509999999</c:v>
                </c:pt>
                <c:pt idx="397">
                  <c:v>1623435.9509999999</c:v>
                </c:pt>
                <c:pt idx="398">
                  <c:v>1594900.9509999999</c:v>
                </c:pt>
                <c:pt idx="399">
                  <c:v>1593686.1410000001</c:v>
                </c:pt>
                <c:pt idx="400">
                  <c:v>1593686.1410000001</c:v>
                </c:pt>
                <c:pt idx="401">
                  <c:v>1593686.1410000001</c:v>
                </c:pt>
                <c:pt idx="402">
                  <c:v>1593686.1410000001</c:v>
                </c:pt>
                <c:pt idx="403">
                  <c:v>1593686.1410000001</c:v>
                </c:pt>
                <c:pt idx="404">
                  <c:v>1593686.1410000001</c:v>
                </c:pt>
                <c:pt idx="405">
                  <c:v>1593686.1410000001</c:v>
                </c:pt>
                <c:pt idx="406">
                  <c:v>1593686.1410000001</c:v>
                </c:pt>
                <c:pt idx="407">
                  <c:v>1593686.1410000001</c:v>
                </c:pt>
                <c:pt idx="408">
                  <c:v>1593686.1410000001</c:v>
                </c:pt>
                <c:pt idx="409">
                  <c:v>1593686.1410000001</c:v>
                </c:pt>
                <c:pt idx="410">
                  <c:v>1593686.1410000001</c:v>
                </c:pt>
                <c:pt idx="411">
                  <c:v>1593686.1410000001</c:v>
                </c:pt>
                <c:pt idx="412">
                  <c:v>1593686.1410000001</c:v>
                </c:pt>
                <c:pt idx="413">
                  <c:v>1593686.1410000001</c:v>
                </c:pt>
                <c:pt idx="414">
                  <c:v>1593686.1410000001</c:v>
                </c:pt>
                <c:pt idx="415">
                  <c:v>1593686.1410000001</c:v>
                </c:pt>
                <c:pt idx="416">
                  <c:v>1593686.1410000001</c:v>
                </c:pt>
                <c:pt idx="417">
                  <c:v>1593686.1410000001</c:v>
                </c:pt>
                <c:pt idx="418">
                  <c:v>1593686.1410000001</c:v>
                </c:pt>
                <c:pt idx="419">
                  <c:v>1593686.1410000001</c:v>
                </c:pt>
                <c:pt idx="420">
                  <c:v>1593686.1410000001</c:v>
                </c:pt>
                <c:pt idx="421">
                  <c:v>1593686.1410000001</c:v>
                </c:pt>
                <c:pt idx="422">
                  <c:v>1593686.1410000001</c:v>
                </c:pt>
                <c:pt idx="423">
                  <c:v>1593686.1410000001</c:v>
                </c:pt>
                <c:pt idx="424">
                  <c:v>1593686.1410000001</c:v>
                </c:pt>
                <c:pt idx="425">
                  <c:v>1593686.1410000001</c:v>
                </c:pt>
                <c:pt idx="426">
                  <c:v>1593529.496</c:v>
                </c:pt>
                <c:pt idx="427">
                  <c:v>1613444.496</c:v>
                </c:pt>
                <c:pt idx="428">
                  <c:v>1635869.496</c:v>
                </c:pt>
                <c:pt idx="429">
                  <c:v>1639149.496</c:v>
                </c:pt>
                <c:pt idx="430">
                  <c:v>1690919.496</c:v>
                </c:pt>
                <c:pt idx="431">
                  <c:v>1680159.496</c:v>
                </c:pt>
                <c:pt idx="432">
                  <c:v>1714914.496</c:v>
                </c:pt>
                <c:pt idx="433">
                  <c:v>1725519.496</c:v>
                </c:pt>
                <c:pt idx="434">
                  <c:v>1714424.496</c:v>
                </c:pt>
                <c:pt idx="435">
                  <c:v>1716409.496</c:v>
                </c:pt>
                <c:pt idx="436">
                  <c:v>1767619.496</c:v>
                </c:pt>
                <c:pt idx="437">
                  <c:v>1760119.496</c:v>
                </c:pt>
                <c:pt idx="438">
                  <c:v>1729014.496</c:v>
                </c:pt>
                <c:pt idx="439">
                  <c:v>1725924.496</c:v>
                </c:pt>
                <c:pt idx="440">
                  <c:v>1717069.496</c:v>
                </c:pt>
                <c:pt idx="441">
                  <c:v>1763579.496</c:v>
                </c:pt>
                <c:pt idx="442">
                  <c:v>1758644.496</c:v>
                </c:pt>
                <c:pt idx="443">
                  <c:v>1737249.496</c:v>
                </c:pt>
                <c:pt idx="444">
                  <c:v>1767334.496</c:v>
                </c:pt>
                <c:pt idx="445">
                  <c:v>1787479.496</c:v>
                </c:pt>
                <c:pt idx="446">
                  <c:v>1801364.496</c:v>
                </c:pt>
                <c:pt idx="447">
                  <c:v>1789054.496</c:v>
                </c:pt>
                <c:pt idx="448">
                  <c:v>1776459.541</c:v>
                </c:pt>
                <c:pt idx="449">
                  <c:v>1776459.541</c:v>
                </c:pt>
                <c:pt idx="450">
                  <c:v>1776459.541</c:v>
                </c:pt>
                <c:pt idx="451">
                  <c:v>1776459.541</c:v>
                </c:pt>
                <c:pt idx="452">
                  <c:v>1776459.541</c:v>
                </c:pt>
                <c:pt idx="453">
                  <c:v>1776459.541</c:v>
                </c:pt>
                <c:pt idx="454">
                  <c:v>1776459.541</c:v>
                </c:pt>
                <c:pt idx="455">
                  <c:v>1776459.541</c:v>
                </c:pt>
                <c:pt idx="456">
                  <c:v>1776459.541</c:v>
                </c:pt>
                <c:pt idx="457">
                  <c:v>1776459.541</c:v>
                </c:pt>
                <c:pt idx="458">
                  <c:v>1776459.541</c:v>
                </c:pt>
                <c:pt idx="459">
                  <c:v>1776459.541</c:v>
                </c:pt>
                <c:pt idx="460">
                  <c:v>1776459.541</c:v>
                </c:pt>
                <c:pt idx="461">
                  <c:v>1776459.541</c:v>
                </c:pt>
                <c:pt idx="462">
                  <c:v>1776459.541</c:v>
                </c:pt>
                <c:pt idx="463">
                  <c:v>1776459.541</c:v>
                </c:pt>
                <c:pt idx="464">
                  <c:v>1776459.541</c:v>
                </c:pt>
                <c:pt idx="465">
                  <c:v>1776459.541</c:v>
                </c:pt>
                <c:pt idx="466">
                  <c:v>1776459.541</c:v>
                </c:pt>
                <c:pt idx="467">
                  <c:v>1776299.524</c:v>
                </c:pt>
                <c:pt idx="468">
                  <c:v>1762069.524</c:v>
                </c:pt>
                <c:pt idx="469">
                  <c:v>1737658.355</c:v>
                </c:pt>
                <c:pt idx="470">
                  <c:v>1737658.355</c:v>
                </c:pt>
                <c:pt idx="471">
                  <c:v>1737658.355</c:v>
                </c:pt>
                <c:pt idx="472">
                  <c:v>1737658.355</c:v>
                </c:pt>
                <c:pt idx="473">
                  <c:v>1737658.355</c:v>
                </c:pt>
                <c:pt idx="474">
                  <c:v>1737658.355</c:v>
                </c:pt>
                <c:pt idx="475">
                  <c:v>1737658.355</c:v>
                </c:pt>
                <c:pt idx="476">
                  <c:v>1737658.355</c:v>
                </c:pt>
                <c:pt idx="477">
                  <c:v>1737658.355</c:v>
                </c:pt>
                <c:pt idx="478">
                  <c:v>1737658.355</c:v>
                </c:pt>
                <c:pt idx="479">
                  <c:v>1737658.355</c:v>
                </c:pt>
                <c:pt idx="480">
                  <c:v>1737658.355</c:v>
                </c:pt>
                <c:pt idx="481">
                  <c:v>1737658.355</c:v>
                </c:pt>
                <c:pt idx="482">
                  <c:v>1737658.355</c:v>
                </c:pt>
                <c:pt idx="483">
                  <c:v>1737658.355</c:v>
                </c:pt>
                <c:pt idx="484">
                  <c:v>1737658.355</c:v>
                </c:pt>
                <c:pt idx="485">
                  <c:v>1737658.355</c:v>
                </c:pt>
                <c:pt idx="486">
                  <c:v>1737658.355</c:v>
                </c:pt>
                <c:pt idx="487">
                  <c:v>1737658.355</c:v>
                </c:pt>
                <c:pt idx="488">
                  <c:v>1737658.355</c:v>
                </c:pt>
                <c:pt idx="489">
                  <c:v>1737658.355</c:v>
                </c:pt>
                <c:pt idx="490">
                  <c:v>1737658.355</c:v>
                </c:pt>
                <c:pt idx="491">
                  <c:v>1737658.355</c:v>
                </c:pt>
                <c:pt idx="492">
                  <c:v>1737658.355</c:v>
                </c:pt>
                <c:pt idx="493">
                  <c:v>1737658.355</c:v>
                </c:pt>
                <c:pt idx="494">
                  <c:v>1737503.7620000001</c:v>
                </c:pt>
                <c:pt idx="495">
                  <c:v>1678748.7620000001</c:v>
                </c:pt>
                <c:pt idx="496">
                  <c:v>1680398.7620000001</c:v>
                </c:pt>
                <c:pt idx="497">
                  <c:v>1713998.7620000001</c:v>
                </c:pt>
                <c:pt idx="498">
                  <c:v>1663928.7620000001</c:v>
                </c:pt>
                <c:pt idx="499">
                  <c:v>1683303.7620000001</c:v>
                </c:pt>
                <c:pt idx="500">
                  <c:v>1668688.7620000001</c:v>
                </c:pt>
                <c:pt idx="501">
                  <c:v>1660898.7620000001</c:v>
                </c:pt>
                <c:pt idx="502">
                  <c:v>1680788.7620000001</c:v>
                </c:pt>
                <c:pt idx="503">
                  <c:v>1704808.7620000001</c:v>
                </c:pt>
                <c:pt idx="504">
                  <c:v>1709943.7620000001</c:v>
                </c:pt>
                <c:pt idx="505">
                  <c:v>1729828.7620000001</c:v>
                </c:pt>
                <c:pt idx="506">
                  <c:v>1730213.7620000001</c:v>
                </c:pt>
                <c:pt idx="507">
                  <c:v>1712048.7620000001</c:v>
                </c:pt>
                <c:pt idx="508">
                  <c:v>1743653.7620000001</c:v>
                </c:pt>
                <c:pt idx="509">
                  <c:v>1752053.7620000001</c:v>
                </c:pt>
                <c:pt idx="510">
                  <c:v>1801143.7620000001</c:v>
                </c:pt>
                <c:pt idx="511">
                  <c:v>1800408.7620000001</c:v>
                </c:pt>
                <c:pt idx="512">
                  <c:v>1815838.7620000001</c:v>
                </c:pt>
                <c:pt idx="513">
                  <c:v>1814528.7620000001</c:v>
                </c:pt>
                <c:pt idx="514">
                  <c:v>1797513.7620000001</c:v>
                </c:pt>
                <c:pt idx="515">
                  <c:v>1820528.7620000001</c:v>
                </c:pt>
                <c:pt idx="516">
                  <c:v>1773363.7620000001</c:v>
                </c:pt>
                <c:pt idx="517">
                  <c:v>1778943.7620000001</c:v>
                </c:pt>
                <c:pt idx="518">
                  <c:v>1787043.7620000001</c:v>
                </c:pt>
                <c:pt idx="519">
                  <c:v>1790383.7620000001</c:v>
                </c:pt>
                <c:pt idx="520">
                  <c:v>1811353.7620000001</c:v>
                </c:pt>
                <c:pt idx="521">
                  <c:v>1819018.7620000001</c:v>
                </c:pt>
                <c:pt idx="522">
                  <c:v>1813223.7620000001</c:v>
                </c:pt>
                <c:pt idx="523">
                  <c:v>1802433.7620000001</c:v>
                </c:pt>
                <c:pt idx="524">
                  <c:v>1826908.7620000001</c:v>
                </c:pt>
                <c:pt idx="525">
                  <c:v>1858828.7620000001</c:v>
                </c:pt>
                <c:pt idx="526">
                  <c:v>1860303.7620000001</c:v>
                </c:pt>
                <c:pt idx="527">
                  <c:v>1861003.7620000001</c:v>
                </c:pt>
                <c:pt idx="528">
                  <c:v>1831539.7490000001</c:v>
                </c:pt>
                <c:pt idx="529">
                  <c:v>1831539.7490000001</c:v>
                </c:pt>
                <c:pt idx="530">
                  <c:v>1831539.7490000001</c:v>
                </c:pt>
                <c:pt idx="531">
                  <c:v>1831539.7490000001</c:v>
                </c:pt>
                <c:pt idx="532">
                  <c:v>1831539.7490000001</c:v>
                </c:pt>
                <c:pt idx="533">
                  <c:v>1831539.7490000001</c:v>
                </c:pt>
                <c:pt idx="534">
                  <c:v>1831539.7490000001</c:v>
                </c:pt>
                <c:pt idx="535">
                  <c:v>1831539.7490000001</c:v>
                </c:pt>
                <c:pt idx="536">
                  <c:v>1831539.7490000001</c:v>
                </c:pt>
                <c:pt idx="537">
                  <c:v>1831539.7490000001</c:v>
                </c:pt>
                <c:pt idx="538">
                  <c:v>1831539.7490000001</c:v>
                </c:pt>
                <c:pt idx="539">
                  <c:v>1831539.7490000001</c:v>
                </c:pt>
                <c:pt idx="540">
                  <c:v>1831539.7490000001</c:v>
                </c:pt>
                <c:pt idx="541">
                  <c:v>1831539.7490000001</c:v>
                </c:pt>
                <c:pt idx="542">
                  <c:v>1831539.7490000001</c:v>
                </c:pt>
                <c:pt idx="543">
                  <c:v>1831539.7490000001</c:v>
                </c:pt>
                <c:pt idx="544">
                  <c:v>1831539.7490000001</c:v>
                </c:pt>
                <c:pt idx="545">
                  <c:v>1831539.7490000001</c:v>
                </c:pt>
                <c:pt idx="546">
                  <c:v>1831539.7490000001</c:v>
                </c:pt>
                <c:pt idx="547">
                  <c:v>1831539.7490000001</c:v>
                </c:pt>
                <c:pt idx="548">
                  <c:v>1831539.7490000001</c:v>
                </c:pt>
                <c:pt idx="549">
                  <c:v>1831539.7490000001</c:v>
                </c:pt>
                <c:pt idx="550">
                  <c:v>1831539.7490000001</c:v>
                </c:pt>
                <c:pt idx="551">
                  <c:v>1831539.7490000001</c:v>
                </c:pt>
                <c:pt idx="552">
                  <c:v>1831539.7490000001</c:v>
                </c:pt>
                <c:pt idx="553">
                  <c:v>1831539.7490000001</c:v>
                </c:pt>
                <c:pt idx="554">
                  <c:v>1831539.7490000001</c:v>
                </c:pt>
                <c:pt idx="555">
                  <c:v>1831539.7490000001</c:v>
                </c:pt>
                <c:pt idx="556">
                  <c:v>1831539.7490000001</c:v>
                </c:pt>
                <c:pt idx="557">
                  <c:v>1831539.7490000001</c:v>
                </c:pt>
                <c:pt idx="558">
                  <c:v>1831539.7490000001</c:v>
                </c:pt>
                <c:pt idx="559">
                  <c:v>1831539.7490000001</c:v>
                </c:pt>
                <c:pt idx="560">
                  <c:v>1831539.7490000001</c:v>
                </c:pt>
                <c:pt idx="561">
                  <c:v>1831539.7490000001</c:v>
                </c:pt>
                <c:pt idx="562">
                  <c:v>1831539.7490000001</c:v>
                </c:pt>
                <c:pt idx="563">
                  <c:v>1831539.7490000001</c:v>
                </c:pt>
                <c:pt idx="564">
                  <c:v>1831539.7490000001</c:v>
                </c:pt>
                <c:pt idx="565">
                  <c:v>1831539.7490000001</c:v>
                </c:pt>
                <c:pt idx="566">
                  <c:v>1831539.7490000001</c:v>
                </c:pt>
                <c:pt idx="567">
                  <c:v>1831539.7490000001</c:v>
                </c:pt>
                <c:pt idx="568">
                  <c:v>1831539.7490000001</c:v>
                </c:pt>
                <c:pt idx="569">
                  <c:v>1831539.7490000001</c:v>
                </c:pt>
                <c:pt idx="570">
                  <c:v>1831539.7490000001</c:v>
                </c:pt>
                <c:pt idx="571">
                  <c:v>1831539.7490000001</c:v>
                </c:pt>
                <c:pt idx="572">
                  <c:v>1831539.7490000001</c:v>
                </c:pt>
                <c:pt idx="573">
                  <c:v>1831539.7490000001</c:v>
                </c:pt>
                <c:pt idx="574">
                  <c:v>1831539.7490000001</c:v>
                </c:pt>
                <c:pt idx="575">
                  <c:v>1831539.7490000001</c:v>
                </c:pt>
                <c:pt idx="576">
                  <c:v>1831383.669</c:v>
                </c:pt>
                <c:pt idx="577">
                  <c:v>1782073.669</c:v>
                </c:pt>
                <c:pt idx="578">
                  <c:v>1783693.669</c:v>
                </c:pt>
                <c:pt idx="579">
                  <c:v>1765753.669</c:v>
                </c:pt>
                <c:pt idx="580">
                  <c:v>1759773.669</c:v>
                </c:pt>
                <c:pt idx="581">
                  <c:v>1752238.669</c:v>
                </c:pt>
                <c:pt idx="582">
                  <c:v>1747838.669</c:v>
                </c:pt>
                <c:pt idx="583">
                  <c:v>1771363.669</c:v>
                </c:pt>
                <c:pt idx="584">
                  <c:v>1772668.669</c:v>
                </c:pt>
                <c:pt idx="585">
                  <c:v>1748438.669</c:v>
                </c:pt>
                <c:pt idx="586">
                  <c:v>1763758.669</c:v>
                </c:pt>
                <c:pt idx="587">
                  <c:v>1772713.669</c:v>
                </c:pt>
                <c:pt idx="588">
                  <c:v>1774908.669</c:v>
                </c:pt>
                <c:pt idx="589">
                  <c:v>1746528.669</c:v>
                </c:pt>
                <c:pt idx="590">
                  <c:v>1751548.669</c:v>
                </c:pt>
                <c:pt idx="591">
                  <c:v>1745758.669</c:v>
                </c:pt>
                <c:pt idx="592">
                  <c:v>1767363.669</c:v>
                </c:pt>
                <c:pt idx="593">
                  <c:v>1752143.669</c:v>
                </c:pt>
                <c:pt idx="594">
                  <c:v>1729373.669</c:v>
                </c:pt>
                <c:pt idx="595">
                  <c:v>1716663.669</c:v>
                </c:pt>
                <c:pt idx="596">
                  <c:v>1708033.669</c:v>
                </c:pt>
                <c:pt idx="597">
                  <c:v>1725118.669</c:v>
                </c:pt>
                <c:pt idx="598">
                  <c:v>1724873.669</c:v>
                </c:pt>
                <c:pt idx="599">
                  <c:v>1749398.669</c:v>
                </c:pt>
                <c:pt idx="600">
                  <c:v>1784318.669</c:v>
                </c:pt>
                <c:pt idx="601">
                  <c:v>1788828.669</c:v>
                </c:pt>
                <c:pt idx="602">
                  <c:v>1791448.669</c:v>
                </c:pt>
                <c:pt idx="603">
                  <c:v>1770668.669</c:v>
                </c:pt>
                <c:pt idx="604">
                  <c:v>1792628.669</c:v>
                </c:pt>
                <c:pt idx="605">
                  <c:v>1795458.669</c:v>
                </c:pt>
                <c:pt idx="606">
                  <c:v>1831573.669</c:v>
                </c:pt>
                <c:pt idx="607">
                  <c:v>1831833.669</c:v>
                </c:pt>
                <c:pt idx="608">
                  <c:v>1827438.669</c:v>
                </c:pt>
                <c:pt idx="609">
                  <c:v>1821423.669</c:v>
                </c:pt>
                <c:pt idx="610">
                  <c:v>1825173.669</c:v>
                </c:pt>
                <c:pt idx="611">
                  <c:v>1827188.669</c:v>
                </c:pt>
                <c:pt idx="612">
                  <c:v>1799038.669</c:v>
                </c:pt>
                <c:pt idx="613">
                  <c:v>1823708.669</c:v>
                </c:pt>
                <c:pt idx="614">
                  <c:v>1828458.669</c:v>
                </c:pt>
                <c:pt idx="615">
                  <c:v>1835028.669</c:v>
                </c:pt>
                <c:pt idx="616">
                  <c:v>1831883.669</c:v>
                </c:pt>
                <c:pt idx="617">
                  <c:v>1817993.9129999999</c:v>
                </c:pt>
                <c:pt idx="618">
                  <c:v>1817993.9129999999</c:v>
                </c:pt>
                <c:pt idx="619">
                  <c:v>1817993.9129999999</c:v>
                </c:pt>
                <c:pt idx="620">
                  <c:v>1817993.9129999999</c:v>
                </c:pt>
                <c:pt idx="621">
                  <c:v>1817993.9129999999</c:v>
                </c:pt>
                <c:pt idx="622">
                  <c:v>1817993.9129999999</c:v>
                </c:pt>
                <c:pt idx="623">
                  <c:v>1817993.9129999999</c:v>
                </c:pt>
                <c:pt idx="624">
                  <c:v>1817993.9129999999</c:v>
                </c:pt>
                <c:pt idx="625">
                  <c:v>1817993.9129999999</c:v>
                </c:pt>
                <c:pt idx="626">
                  <c:v>1817993.9129999999</c:v>
                </c:pt>
                <c:pt idx="627">
                  <c:v>1817993.9129999999</c:v>
                </c:pt>
                <c:pt idx="628">
                  <c:v>1817993.9129999999</c:v>
                </c:pt>
                <c:pt idx="629">
                  <c:v>1817993.9129999999</c:v>
                </c:pt>
                <c:pt idx="630">
                  <c:v>1817993.9129999999</c:v>
                </c:pt>
                <c:pt idx="631">
                  <c:v>1817993.9129999999</c:v>
                </c:pt>
                <c:pt idx="632">
                  <c:v>1817993.9129999999</c:v>
                </c:pt>
                <c:pt idx="633">
                  <c:v>1817993.9129999999</c:v>
                </c:pt>
                <c:pt idx="634">
                  <c:v>1817993.9129999999</c:v>
                </c:pt>
                <c:pt idx="635">
                  <c:v>1817993.9129999999</c:v>
                </c:pt>
                <c:pt idx="636">
                  <c:v>1817993.9129999999</c:v>
                </c:pt>
                <c:pt idx="637">
                  <c:v>1817993.9129999999</c:v>
                </c:pt>
                <c:pt idx="638">
                  <c:v>1817993.9129999999</c:v>
                </c:pt>
                <c:pt idx="639">
                  <c:v>1817993.9129999999</c:v>
                </c:pt>
                <c:pt idx="640">
                  <c:v>1817993.9129999999</c:v>
                </c:pt>
                <c:pt idx="641">
                  <c:v>1817993.9129999999</c:v>
                </c:pt>
                <c:pt idx="642">
                  <c:v>1817993.9129999999</c:v>
                </c:pt>
                <c:pt idx="643">
                  <c:v>1817993.9129999999</c:v>
                </c:pt>
                <c:pt idx="644">
                  <c:v>1817993.9129999999</c:v>
                </c:pt>
                <c:pt idx="645">
                  <c:v>1817993.9129999999</c:v>
                </c:pt>
                <c:pt idx="646">
                  <c:v>1817993.9129999999</c:v>
                </c:pt>
                <c:pt idx="647">
                  <c:v>1817993.9129999999</c:v>
                </c:pt>
                <c:pt idx="648">
                  <c:v>1817993.9129999999</c:v>
                </c:pt>
                <c:pt idx="649">
                  <c:v>1817993.9129999999</c:v>
                </c:pt>
                <c:pt idx="650">
                  <c:v>1817993.9129999999</c:v>
                </c:pt>
                <c:pt idx="651">
                  <c:v>1817993.9129999999</c:v>
                </c:pt>
                <c:pt idx="652">
                  <c:v>1817993.9129999999</c:v>
                </c:pt>
                <c:pt idx="653">
                  <c:v>1817993.9129999999</c:v>
                </c:pt>
                <c:pt idx="654">
                  <c:v>1817993.9129999999</c:v>
                </c:pt>
                <c:pt idx="655">
                  <c:v>1817993.9129999999</c:v>
                </c:pt>
                <c:pt idx="656">
                  <c:v>1817993.9129999999</c:v>
                </c:pt>
                <c:pt idx="657">
                  <c:v>1817829.926</c:v>
                </c:pt>
                <c:pt idx="658">
                  <c:v>1815393.926</c:v>
                </c:pt>
                <c:pt idx="659">
                  <c:v>1818357.926</c:v>
                </c:pt>
                <c:pt idx="660">
                  <c:v>1785525.926</c:v>
                </c:pt>
                <c:pt idx="661">
                  <c:v>1791873.926</c:v>
                </c:pt>
                <c:pt idx="662">
                  <c:v>1840569.926</c:v>
                </c:pt>
                <c:pt idx="663">
                  <c:v>1789377.926</c:v>
                </c:pt>
                <c:pt idx="664">
                  <c:v>1779651.926</c:v>
                </c:pt>
                <c:pt idx="665">
                  <c:v>1744515.926</c:v>
                </c:pt>
                <c:pt idx="666">
                  <c:v>1760691.926</c:v>
                </c:pt>
                <c:pt idx="667">
                  <c:v>1744317.926</c:v>
                </c:pt>
                <c:pt idx="668">
                  <c:v>1730877.926</c:v>
                </c:pt>
                <c:pt idx="669">
                  <c:v>1726773.926</c:v>
                </c:pt>
                <c:pt idx="670">
                  <c:v>1712211.926</c:v>
                </c:pt>
                <c:pt idx="671">
                  <c:v>1709157.926</c:v>
                </c:pt>
                <c:pt idx="672">
                  <c:v>1764819.926</c:v>
                </c:pt>
                <c:pt idx="673">
                  <c:v>1775523.926</c:v>
                </c:pt>
                <c:pt idx="674">
                  <c:v>1770072.699</c:v>
                </c:pt>
                <c:pt idx="675">
                  <c:v>1770072.699</c:v>
                </c:pt>
                <c:pt idx="676">
                  <c:v>1770072.699</c:v>
                </c:pt>
                <c:pt idx="677">
                  <c:v>1770072.699</c:v>
                </c:pt>
                <c:pt idx="678">
                  <c:v>1770072.699</c:v>
                </c:pt>
                <c:pt idx="679">
                  <c:v>1770072.699</c:v>
                </c:pt>
                <c:pt idx="680">
                  <c:v>1770072.699</c:v>
                </c:pt>
                <c:pt idx="681">
                  <c:v>1770072.699</c:v>
                </c:pt>
                <c:pt idx="682">
                  <c:v>1770072.699</c:v>
                </c:pt>
                <c:pt idx="683">
                  <c:v>1770072.699</c:v>
                </c:pt>
                <c:pt idx="684">
                  <c:v>1770072.699</c:v>
                </c:pt>
                <c:pt idx="685">
                  <c:v>1770072.699</c:v>
                </c:pt>
                <c:pt idx="686">
                  <c:v>1770072.699</c:v>
                </c:pt>
                <c:pt idx="687">
                  <c:v>1770072.699</c:v>
                </c:pt>
                <c:pt idx="688">
                  <c:v>1770072.699</c:v>
                </c:pt>
                <c:pt idx="689">
                  <c:v>1770072.699</c:v>
                </c:pt>
                <c:pt idx="690">
                  <c:v>1770072.699</c:v>
                </c:pt>
                <c:pt idx="691">
                  <c:v>1770072.699</c:v>
                </c:pt>
                <c:pt idx="692">
                  <c:v>1770072.699</c:v>
                </c:pt>
                <c:pt idx="693">
                  <c:v>1770072.699</c:v>
                </c:pt>
                <c:pt idx="694">
                  <c:v>1770072.699</c:v>
                </c:pt>
                <c:pt idx="695">
                  <c:v>1770072.699</c:v>
                </c:pt>
                <c:pt idx="696">
                  <c:v>1770072.699</c:v>
                </c:pt>
                <c:pt idx="697">
                  <c:v>1770072.699</c:v>
                </c:pt>
                <c:pt idx="698">
                  <c:v>1770072.699</c:v>
                </c:pt>
                <c:pt idx="699">
                  <c:v>1770072.699</c:v>
                </c:pt>
                <c:pt idx="700">
                  <c:v>1770072.699</c:v>
                </c:pt>
                <c:pt idx="701">
                  <c:v>1770072.699</c:v>
                </c:pt>
                <c:pt idx="702">
                  <c:v>1770072.699</c:v>
                </c:pt>
                <c:pt idx="703">
                  <c:v>1770072.699</c:v>
                </c:pt>
                <c:pt idx="704">
                  <c:v>1770072.699</c:v>
                </c:pt>
                <c:pt idx="705">
                  <c:v>1770072.699</c:v>
                </c:pt>
                <c:pt idx="706">
                  <c:v>1770072.699</c:v>
                </c:pt>
                <c:pt idx="707">
                  <c:v>1770072.699</c:v>
                </c:pt>
                <c:pt idx="708">
                  <c:v>1770072.699</c:v>
                </c:pt>
                <c:pt idx="709">
                  <c:v>1770072.699</c:v>
                </c:pt>
                <c:pt idx="710">
                  <c:v>1770072.699</c:v>
                </c:pt>
                <c:pt idx="711">
                  <c:v>1770072.699</c:v>
                </c:pt>
                <c:pt idx="712">
                  <c:v>1770072.699</c:v>
                </c:pt>
                <c:pt idx="713">
                  <c:v>1770072.699</c:v>
                </c:pt>
                <c:pt idx="714">
                  <c:v>1770072.699</c:v>
                </c:pt>
                <c:pt idx="715">
                  <c:v>1769899.2609999999</c:v>
                </c:pt>
                <c:pt idx="716">
                  <c:v>1730867.2609999999</c:v>
                </c:pt>
                <c:pt idx="717">
                  <c:v>1713752.2609999999</c:v>
                </c:pt>
                <c:pt idx="718">
                  <c:v>1674069.2609999999</c:v>
                </c:pt>
                <c:pt idx="719">
                  <c:v>1708607.2609999999</c:v>
                </c:pt>
                <c:pt idx="720">
                  <c:v>1704603.2609999999</c:v>
                </c:pt>
                <c:pt idx="721">
                  <c:v>1699465.2609999999</c:v>
                </c:pt>
                <c:pt idx="722">
                  <c:v>1672893.2609999999</c:v>
                </c:pt>
                <c:pt idx="723">
                  <c:v>1674454.2609999999</c:v>
                </c:pt>
                <c:pt idx="724">
                  <c:v>1686928.2609999999</c:v>
                </c:pt>
                <c:pt idx="725">
                  <c:v>1670506.2609999999</c:v>
                </c:pt>
                <c:pt idx="726">
                  <c:v>1649044.2609999999</c:v>
                </c:pt>
                <c:pt idx="727">
                  <c:v>1651067.2609999999</c:v>
                </c:pt>
                <c:pt idx="728">
                  <c:v>1653468.2609999999</c:v>
                </c:pt>
                <c:pt idx="729">
                  <c:v>1677534.2609999999</c:v>
                </c:pt>
                <c:pt idx="730">
                  <c:v>1644641.2609999999</c:v>
                </c:pt>
                <c:pt idx="731">
                  <c:v>1628989.2609999999</c:v>
                </c:pt>
                <c:pt idx="732">
                  <c:v>1638936.2609999999</c:v>
                </c:pt>
                <c:pt idx="733">
                  <c:v>1693515.2609999999</c:v>
                </c:pt>
                <c:pt idx="734">
                  <c:v>1748661.2609999999</c:v>
                </c:pt>
                <c:pt idx="735">
                  <c:v>1740443.2609999999</c:v>
                </c:pt>
                <c:pt idx="736">
                  <c:v>1740170.2609999999</c:v>
                </c:pt>
                <c:pt idx="737">
                  <c:v>1711547.2609999999</c:v>
                </c:pt>
                <c:pt idx="738">
                  <c:v>1677471.2609999999</c:v>
                </c:pt>
                <c:pt idx="739">
                  <c:v>1757936.2609999999</c:v>
                </c:pt>
                <c:pt idx="740">
                  <c:v>1731049.2609999999</c:v>
                </c:pt>
                <c:pt idx="741">
                  <c:v>1763361.2609999999</c:v>
                </c:pt>
                <c:pt idx="742">
                  <c:v>1788379.2609999999</c:v>
                </c:pt>
                <c:pt idx="743">
                  <c:v>1758020.2609999999</c:v>
                </c:pt>
                <c:pt idx="744">
                  <c:v>1760498.2609999999</c:v>
                </c:pt>
                <c:pt idx="745">
                  <c:v>1735809.2609999999</c:v>
                </c:pt>
                <c:pt idx="746">
                  <c:v>1775884.2609999999</c:v>
                </c:pt>
                <c:pt idx="747">
                  <c:v>1789779.2609999999</c:v>
                </c:pt>
                <c:pt idx="748">
                  <c:v>1788540.2609999999</c:v>
                </c:pt>
                <c:pt idx="749">
                  <c:v>1756081.2609999999</c:v>
                </c:pt>
                <c:pt idx="750">
                  <c:v>1805107.284</c:v>
                </c:pt>
                <c:pt idx="751">
                  <c:v>1805107.284</c:v>
                </c:pt>
                <c:pt idx="752">
                  <c:v>1805107.284</c:v>
                </c:pt>
                <c:pt idx="753">
                  <c:v>1805107.284</c:v>
                </c:pt>
                <c:pt idx="754">
                  <c:v>1805107.284</c:v>
                </c:pt>
                <c:pt idx="755">
                  <c:v>1805107.284</c:v>
                </c:pt>
                <c:pt idx="756">
                  <c:v>1805107.284</c:v>
                </c:pt>
                <c:pt idx="757">
                  <c:v>1805107.284</c:v>
                </c:pt>
                <c:pt idx="758">
                  <c:v>1805107.284</c:v>
                </c:pt>
                <c:pt idx="759">
                  <c:v>1805107.284</c:v>
                </c:pt>
                <c:pt idx="760">
                  <c:v>1805107.284</c:v>
                </c:pt>
                <c:pt idx="761">
                  <c:v>1805107.284</c:v>
                </c:pt>
                <c:pt idx="762">
                  <c:v>1805107.284</c:v>
                </c:pt>
                <c:pt idx="763">
                  <c:v>1805107.284</c:v>
                </c:pt>
                <c:pt idx="764">
                  <c:v>1805107.284</c:v>
                </c:pt>
                <c:pt idx="765">
                  <c:v>1805107.284</c:v>
                </c:pt>
                <c:pt idx="766">
                  <c:v>1805107.284</c:v>
                </c:pt>
                <c:pt idx="767">
                  <c:v>1805107.284</c:v>
                </c:pt>
                <c:pt idx="768">
                  <c:v>1805107.284</c:v>
                </c:pt>
                <c:pt idx="769">
                  <c:v>1805107.284</c:v>
                </c:pt>
                <c:pt idx="770">
                  <c:v>1805107.284</c:v>
                </c:pt>
                <c:pt idx="771">
                  <c:v>1805107.284</c:v>
                </c:pt>
                <c:pt idx="772">
                  <c:v>1805107.284</c:v>
                </c:pt>
                <c:pt idx="773">
                  <c:v>1805107.284</c:v>
                </c:pt>
                <c:pt idx="774">
                  <c:v>1805107.284</c:v>
                </c:pt>
                <c:pt idx="775">
                  <c:v>1805107.284</c:v>
                </c:pt>
                <c:pt idx="776">
                  <c:v>1805107.284</c:v>
                </c:pt>
                <c:pt idx="777">
                  <c:v>1805107.284</c:v>
                </c:pt>
                <c:pt idx="778">
                  <c:v>1805107.284</c:v>
                </c:pt>
                <c:pt idx="779">
                  <c:v>1805107.284</c:v>
                </c:pt>
                <c:pt idx="780">
                  <c:v>1805107.284</c:v>
                </c:pt>
                <c:pt idx="781">
                  <c:v>1805107.284</c:v>
                </c:pt>
                <c:pt idx="782">
                  <c:v>1805107.284</c:v>
                </c:pt>
                <c:pt idx="783">
                  <c:v>1805107.284</c:v>
                </c:pt>
                <c:pt idx="784">
                  <c:v>1805107.284</c:v>
                </c:pt>
                <c:pt idx="785">
                  <c:v>1804934.041</c:v>
                </c:pt>
                <c:pt idx="786">
                  <c:v>1782688.041</c:v>
                </c:pt>
                <c:pt idx="787">
                  <c:v>1790934.041</c:v>
                </c:pt>
                <c:pt idx="788">
                  <c:v>1831485.041</c:v>
                </c:pt>
                <c:pt idx="789">
                  <c:v>1836385.041</c:v>
                </c:pt>
                <c:pt idx="790">
                  <c:v>1819109.041</c:v>
                </c:pt>
                <c:pt idx="791">
                  <c:v>1836357.041</c:v>
                </c:pt>
                <c:pt idx="792">
                  <c:v>1836532.041</c:v>
                </c:pt>
                <c:pt idx="793">
                  <c:v>1871812.041</c:v>
                </c:pt>
                <c:pt idx="794">
                  <c:v>1878819.041</c:v>
                </c:pt>
                <c:pt idx="795">
                  <c:v>1874332.041</c:v>
                </c:pt>
                <c:pt idx="796">
                  <c:v>1851820.041</c:v>
                </c:pt>
                <c:pt idx="797">
                  <c:v>1892441.041</c:v>
                </c:pt>
                <c:pt idx="798">
                  <c:v>1889746.041</c:v>
                </c:pt>
                <c:pt idx="799">
                  <c:v>1911292.041</c:v>
                </c:pt>
                <c:pt idx="800">
                  <c:v>1896732.041</c:v>
                </c:pt>
                <c:pt idx="801">
                  <c:v>1895913.041</c:v>
                </c:pt>
                <c:pt idx="802">
                  <c:v>1910697.041</c:v>
                </c:pt>
                <c:pt idx="803">
                  <c:v>1914547.041</c:v>
                </c:pt>
                <c:pt idx="804">
                  <c:v>1910816.041</c:v>
                </c:pt>
                <c:pt idx="805">
                  <c:v>1950947.041</c:v>
                </c:pt>
                <c:pt idx="806">
                  <c:v>1956568.041</c:v>
                </c:pt>
                <c:pt idx="807">
                  <c:v>1973620.041</c:v>
                </c:pt>
                <c:pt idx="808">
                  <c:v>1974950.041</c:v>
                </c:pt>
                <c:pt idx="809">
                  <c:v>1968888.041</c:v>
                </c:pt>
                <c:pt idx="810">
                  <c:v>1932761.041</c:v>
                </c:pt>
                <c:pt idx="811">
                  <c:v>1932551.041</c:v>
                </c:pt>
                <c:pt idx="812">
                  <c:v>1918348.041</c:v>
                </c:pt>
                <c:pt idx="813">
                  <c:v>1903375.041</c:v>
                </c:pt>
                <c:pt idx="814">
                  <c:v>1904663.041</c:v>
                </c:pt>
                <c:pt idx="815">
                  <c:v>1874759.041</c:v>
                </c:pt>
                <c:pt idx="816">
                  <c:v>1902262.041</c:v>
                </c:pt>
                <c:pt idx="817">
                  <c:v>1874290.041</c:v>
                </c:pt>
                <c:pt idx="818">
                  <c:v>1883565.041</c:v>
                </c:pt>
                <c:pt idx="819">
                  <c:v>1911775.041</c:v>
                </c:pt>
                <c:pt idx="820">
                  <c:v>1904313.041</c:v>
                </c:pt>
                <c:pt idx="821">
                  <c:v>1889186.041</c:v>
                </c:pt>
                <c:pt idx="822">
                  <c:v>1873674.041</c:v>
                </c:pt>
                <c:pt idx="823">
                  <c:v>1902787.041</c:v>
                </c:pt>
                <c:pt idx="824">
                  <c:v>1928099.041</c:v>
                </c:pt>
                <c:pt idx="825">
                  <c:v>1922086.041</c:v>
                </c:pt>
                <c:pt idx="826">
                  <c:v>1914932.041</c:v>
                </c:pt>
                <c:pt idx="827">
                  <c:v>1915604.041</c:v>
                </c:pt>
                <c:pt idx="828">
                  <c:v>1863645.909</c:v>
                </c:pt>
                <c:pt idx="829">
                  <c:v>1863645.909</c:v>
                </c:pt>
                <c:pt idx="830">
                  <c:v>1863645.909</c:v>
                </c:pt>
                <c:pt idx="831">
                  <c:v>1863645.909</c:v>
                </c:pt>
                <c:pt idx="832">
                  <c:v>1863645.909</c:v>
                </c:pt>
                <c:pt idx="833">
                  <c:v>1863645.909</c:v>
                </c:pt>
                <c:pt idx="834">
                  <c:v>1863645.909</c:v>
                </c:pt>
                <c:pt idx="835">
                  <c:v>1863645.909</c:v>
                </c:pt>
                <c:pt idx="836">
                  <c:v>1863645.909</c:v>
                </c:pt>
                <c:pt idx="837">
                  <c:v>1863645.909</c:v>
                </c:pt>
                <c:pt idx="838">
                  <c:v>1863645.909</c:v>
                </c:pt>
                <c:pt idx="839">
                  <c:v>1863645.909</c:v>
                </c:pt>
                <c:pt idx="840">
                  <c:v>1863645.909</c:v>
                </c:pt>
                <c:pt idx="841">
                  <c:v>1863645.909</c:v>
                </c:pt>
                <c:pt idx="842">
                  <c:v>1863645.909</c:v>
                </c:pt>
                <c:pt idx="843">
                  <c:v>1863645.909</c:v>
                </c:pt>
                <c:pt idx="844">
                  <c:v>1863645.909</c:v>
                </c:pt>
                <c:pt idx="845">
                  <c:v>1863645.909</c:v>
                </c:pt>
                <c:pt idx="846">
                  <c:v>1863645.909</c:v>
                </c:pt>
                <c:pt idx="847">
                  <c:v>1863645.909</c:v>
                </c:pt>
                <c:pt idx="848">
                  <c:v>1863645.909</c:v>
                </c:pt>
                <c:pt idx="849">
                  <c:v>1863645.909</c:v>
                </c:pt>
                <c:pt idx="850">
                  <c:v>1863645.909</c:v>
                </c:pt>
                <c:pt idx="851">
                  <c:v>1863645.909</c:v>
                </c:pt>
                <c:pt idx="852">
                  <c:v>1863645.909</c:v>
                </c:pt>
                <c:pt idx="853">
                  <c:v>1863645.909</c:v>
                </c:pt>
                <c:pt idx="854">
                  <c:v>1863645.909</c:v>
                </c:pt>
                <c:pt idx="855">
                  <c:v>1863645.909</c:v>
                </c:pt>
                <c:pt idx="856">
                  <c:v>1863645.909</c:v>
                </c:pt>
                <c:pt idx="857">
                  <c:v>1863645.909</c:v>
                </c:pt>
                <c:pt idx="858">
                  <c:v>1863645.909</c:v>
                </c:pt>
                <c:pt idx="859">
                  <c:v>1863645.909</c:v>
                </c:pt>
                <c:pt idx="860">
                  <c:v>1863645.909</c:v>
                </c:pt>
                <c:pt idx="861">
                  <c:v>1863645.909</c:v>
                </c:pt>
                <c:pt idx="862">
                  <c:v>1863645.909</c:v>
                </c:pt>
                <c:pt idx="863">
                  <c:v>1863645.909</c:v>
                </c:pt>
                <c:pt idx="864">
                  <c:v>1863645.909</c:v>
                </c:pt>
                <c:pt idx="865">
                  <c:v>1863645.909</c:v>
                </c:pt>
                <c:pt idx="866">
                  <c:v>1863481.4709999999</c:v>
                </c:pt>
                <c:pt idx="867">
                  <c:v>1854157.4709999999</c:v>
                </c:pt>
                <c:pt idx="868">
                  <c:v>1852148.4709999999</c:v>
                </c:pt>
                <c:pt idx="869">
                  <c:v>1870159.4709999999</c:v>
                </c:pt>
                <c:pt idx="870">
                  <c:v>1853520.4709999999</c:v>
                </c:pt>
                <c:pt idx="871">
                  <c:v>1866722.4709999999</c:v>
                </c:pt>
                <c:pt idx="872">
                  <c:v>1889031.4709999999</c:v>
                </c:pt>
                <c:pt idx="873">
                  <c:v>1891313.4709999999</c:v>
                </c:pt>
                <c:pt idx="874">
                  <c:v>1891964.4709999999</c:v>
                </c:pt>
                <c:pt idx="875">
                  <c:v>1907294.4709999999</c:v>
                </c:pt>
                <c:pt idx="876">
                  <c:v>1898929.4709999999</c:v>
                </c:pt>
                <c:pt idx="877">
                  <c:v>1865455.4709999999</c:v>
                </c:pt>
                <c:pt idx="878">
                  <c:v>1869018.4709999999</c:v>
                </c:pt>
                <c:pt idx="879">
                  <c:v>1851231.4709999999</c:v>
                </c:pt>
                <c:pt idx="880">
                  <c:v>1842873.4709999999</c:v>
                </c:pt>
                <c:pt idx="881">
                  <c:v>1838540.4709999999</c:v>
                </c:pt>
                <c:pt idx="882">
                  <c:v>1830357.4709999999</c:v>
                </c:pt>
                <c:pt idx="883">
                  <c:v>1838694.4709999999</c:v>
                </c:pt>
                <c:pt idx="884">
                  <c:v>1826017.4709999999</c:v>
                </c:pt>
                <c:pt idx="885">
                  <c:v>1830644.4709999999</c:v>
                </c:pt>
                <c:pt idx="886">
                  <c:v>1812080.4709999999</c:v>
                </c:pt>
                <c:pt idx="887">
                  <c:v>1778844.4709999999</c:v>
                </c:pt>
                <c:pt idx="888">
                  <c:v>1785991.4709999999</c:v>
                </c:pt>
                <c:pt idx="889">
                  <c:v>1769471.4709999999</c:v>
                </c:pt>
                <c:pt idx="890">
                  <c:v>1767063.4709999999</c:v>
                </c:pt>
                <c:pt idx="891">
                  <c:v>1762513.4709999999</c:v>
                </c:pt>
                <c:pt idx="892">
                  <c:v>1778963.4709999999</c:v>
                </c:pt>
                <c:pt idx="893">
                  <c:v>1762191.4709999999</c:v>
                </c:pt>
                <c:pt idx="894">
                  <c:v>1759020.4709999999</c:v>
                </c:pt>
                <c:pt idx="895">
                  <c:v>1771578.4709999999</c:v>
                </c:pt>
                <c:pt idx="896">
                  <c:v>1841130.4709999999</c:v>
                </c:pt>
                <c:pt idx="897">
                  <c:v>1847773.4709999999</c:v>
                </c:pt>
                <c:pt idx="898">
                  <c:v>1837427.4709999999</c:v>
                </c:pt>
                <c:pt idx="899">
                  <c:v>1843153.4709999999</c:v>
                </c:pt>
                <c:pt idx="900">
                  <c:v>1828026.4709999999</c:v>
                </c:pt>
                <c:pt idx="901">
                  <c:v>1839982.4709999999</c:v>
                </c:pt>
                <c:pt idx="902">
                  <c:v>1800201.4709999999</c:v>
                </c:pt>
                <c:pt idx="903">
                  <c:v>1783772.4709999999</c:v>
                </c:pt>
                <c:pt idx="904">
                  <c:v>1791472.4709999999</c:v>
                </c:pt>
                <c:pt idx="905">
                  <c:v>1756269.4709999999</c:v>
                </c:pt>
                <c:pt idx="906">
                  <c:v>1758446.4709999999</c:v>
                </c:pt>
                <c:pt idx="907">
                  <c:v>1769968.4709999999</c:v>
                </c:pt>
                <c:pt idx="908">
                  <c:v>1766209.4709999999</c:v>
                </c:pt>
                <c:pt idx="909">
                  <c:v>1748527.4709999999</c:v>
                </c:pt>
                <c:pt idx="910">
                  <c:v>1795308.4709999999</c:v>
                </c:pt>
                <c:pt idx="911">
                  <c:v>1824281.4709999999</c:v>
                </c:pt>
                <c:pt idx="912">
                  <c:v>1808139.4709999999</c:v>
                </c:pt>
                <c:pt idx="913">
                  <c:v>1843216.4709999999</c:v>
                </c:pt>
                <c:pt idx="914">
                  <c:v>1845988.4709999999</c:v>
                </c:pt>
                <c:pt idx="915">
                  <c:v>1830875.4709999999</c:v>
                </c:pt>
                <c:pt idx="916">
                  <c:v>1832275.4709999999</c:v>
                </c:pt>
                <c:pt idx="917">
                  <c:v>1825506.4709999999</c:v>
                </c:pt>
                <c:pt idx="918">
                  <c:v>1827816.4709999999</c:v>
                </c:pt>
                <c:pt idx="919">
                  <c:v>1829664.4709999999</c:v>
                </c:pt>
                <c:pt idx="920">
                  <c:v>1854360.4709999999</c:v>
                </c:pt>
                <c:pt idx="921">
                  <c:v>1851833.4709999999</c:v>
                </c:pt>
                <c:pt idx="922">
                  <c:v>1858217.4709999999</c:v>
                </c:pt>
                <c:pt idx="923">
                  <c:v>1837560.4709999999</c:v>
                </c:pt>
                <c:pt idx="924">
                  <c:v>1834550.4709999999</c:v>
                </c:pt>
                <c:pt idx="925">
                  <c:v>1822812.085</c:v>
                </c:pt>
                <c:pt idx="926">
                  <c:v>1822812.085</c:v>
                </c:pt>
                <c:pt idx="927">
                  <c:v>1822812.085</c:v>
                </c:pt>
                <c:pt idx="928">
                  <c:v>1822812.085</c:v>
                </c:pt>
                <c:pt idx="929">
                  <c:v>1822812.085</c:v>
                </c:pt>
                <c:pt idx="930">
                  <c:v>1822812.085</c:v>
                </c:pt>
                <c:pt idx="931">
                  <c:v>1822812.085</c:v>
                </c:pt>
                <c:pt idx="932">
                  <c:v>1822812.085</c:v>
                </c:pt>
                <c:pt idx="933">
                  <c:v>1822812.085</c:v>
                </c:pt>
                <c:pt idx="934">
                  <c:v>1822812.085</c:v>
                </c:pt>
                <c:pt idx="935">
                  <c:v>1822812.085</c:v>
                </c:pt>
                <c:pt idx="936">
                  <c:v>1822812.085</c:v>
                </c:pt>
                <c:pt idx="937">
                  <c:v>1822812.085</c:v>
                </c:pt>
                <c:pt idx="938">
                  <c:v>1822812.085</c:v>
                </c:pt>
                <c:pt idx="939">
                  <c:v>1822812.085</c:v>
                </c:pt>
                <c:pt idx="940">
                  <c:v>1822636.595</c:v>
                </c:pt>
                <c:pt idx="941">
                  <c:v>1809532.595</c:v>
                </c:pt>
                <c:pt idx="942">
                  <c:v>1807732.595</c:v>
                </c:pt>
                <c:pt idx="943">
                  <c:v>1799644.595</c:v>
                </c:pt>
                <c:pt idx="944">
                  <c:v>1823660.595</c:v>
                </c:pt>
                <c:pt idx="945">
                  <c:v>1809780.595</c:v>
                </c:pt>
                <c:pt idx="946">
                  <c:v>1821884.595</c:v>
                </c:pt>
                <c:pt idx="947">
                  <c:v>1808220.595</c:v>
                </c:pt>
                <c:pt idx="948">
                  <c:v>1788252.595</c:v>
                </c:pt>
                <c:pt idx="949">
                  <c:v>1771068.595</c:v>
                </c:pt>
                <c:pt idx="950">
                  <c:v>1760284.595</c:v>
                </c:pt>
                <c:pt idx="951">
                  <c:v>1779468.595</c:v>
                </c:pt>
                <c:pt idx="952">
                  <c:v>1754820.595</c:v>
                </c:pt>
                <c:pt idx="953">
                  <c:v>1772916.595</c:v>
                </c:pt>
                <c:pt idx="954">
                  <c:v>1834044.595</c:v>
                </c:pt>
                <c:pt idx="955">
                  <c:v>1830620.595</c:v>
                </c:pt>
                <c:pt idx="956">
                  <c:v>1865148.595</c:v>
                </c:pt>
                <c:pt idx="957">
                  <c:v>1884580.595</c:v>
                </c:pt>
                <c:pt idx="958">
                  <c:v>1874540.595</c:v>
                </c:pt>
                <c:pt idx="959">
                  <c:v>1881956.595</c:v>
                </c:pt>
                <c:pt idx="960">
                  <c:v>1861852.595</c:v>
                </c:pt>
                <c:pt idx="961">
                  <c:v>1952428.595</c:v>
                </c:pt>
                <c:pt idx="962">
                  <c:v>1961100.595</c:v>
                </c:pt>
                <c:pt idx="963">
                  <c:v>1962236.595</c:v>
                </c:pt>
                <c:pt idx="964">
                  <c:v>1964628.595</c:v>
                </c:pt>
                <c:pt idx="965">
                  <c:v>1975596.595</c:v>
                </c:pt>
                <c:pt idx="966">
                  <c:v>1965340.595</c:v>
                </c:pt>
                <c:pt idx="967">
                  <c:v>1972716.595</c:v>
                </c:pt>
                <c:pt idx="968">
                  <c:v>2026460.595</c:v>
                </c:pt>
                <c:pt idx="969">
                  <c:v>2033836.595</c:v>
                </c:pt>
                <c:pt idx="970">
                  <c:v>2023412.595</c:v>
                </c:pt>
                <c:pt idx="971">
                  <c:v>2051780.595</c:v>
                </c:pt>
                <c:pt idx="972">
                  <c:v>2086100.595</c:v>
                </c:pt>
                <c:pt idx="973">
                  <c:v>2087268.595</c:v>
                </c:pt>
                <c:pt idx="974">
                  <c:v>2096532.595</c:v>
                </c:pt>
                <c:pt idx="975">
                  <c:v>2088004.595</c:v>
                </c:pt>
                <c:pt idx="976">
                  <c:v>2088644.595</c:v>
                </c:pt>
                <c:pt idx="977">
                  <c:v>2092196.595</c:v>
                </c:pt>
                <c:pt idx="978">
                  <c:v>2054324.595</c:v>
                </c:pt>
                <c:pt idx="979">
                  <c:v>2129924.5950000002</c:v>
                </c:pt>
                <c:pt idx="980">
                  <c:v>2144428.5950000002</c:v>
                </c:pt>
                <c:pt idx="981">
                  <c:v>2129412.5950000002</c:v>
                </c:pt>
                <c:pt idx="982">
                  <c:v>2109948.5950000002</c:v>
                </c:pt>
                <c:pt idx="983">
                  <c:v>2144092.5950000002</c:v>
                </c:pt>
                <c:pt idx="984">
                  <c:v>2156460.5950000002</c:v>
                </c:pt>
                <c:pt idx="985">
                  <c:v>2145260.5950000002</c:v>
                </c:pt>
                <c:pt idx="986">
                  <c:v>2153708.5950000002</c:v>
                </c:pt>
                <c:pt idx="987">
                  <c:v>2133948.5950000002</c:v>
                </c:pt>
                <c:pt idx="988">
                  <c:v>2125076.5950000002</c:v>
                </c:pt>
                <c:pt idx="989">
                  <c:v>2189228.5950000002</c:v>
                </c:pt>
                <c:pt idx="990">
                  <c:v>2208436.5950000002</c:v>
                </c:pt>
                <c:pt idx="991">
                  <c:v>2218708.5950000002</c:v>
                </c:pt>
                <c:pt idx="992">
                  <c:v>2217244.5950000002</c:v>
                </c:pt>
                <c:pt idx="993">
                  <c:v>2262396.5950000002</c:v>
                </c:pt>
                <c:pt idx="994">
                  <c:v>2266164.5950000002</c:v>
                </c:pt>
                <c:pt idx="995">
                  <c:v>2285084.5950000002</c:v>
                </c:pt>
                <c:pt idx="996">
                  <c:v>2288412.5950000002</c:v>
                </c:pt>
                <c:pt idx="997">
                  <c:v>2275636.5950000002</c:v>
                </c:pt>
                <c:pt idx="998">
                  <c:v>2285124.5950000002</c:v>
                </c:pt>
                <c:pt idx="999">
                  <c:v>2257716.5950000002</c:v>
                </c:pt>
                <c:pt idx="1000">
                  <c:v>2216228.5950000002</c:v>
                </c:pt>
                <c:pt idx="1001">
                  <c:v>2229852.5950000002</c:v>
                </c:pt>
                <c:pt idx="1002">
                  <c:v>2156180.5950000002</c:v>
                </c:pt>
                <c:pt idx="1003">
                  <c:v>2145020.5950000002</c:v>
                </c:pt>
                <c:pt idx="1004">
                  <c:v>2151708.5950000002</c:v>
                </c:pt>
                <c:pt idx="1005">
                  <c:v>2121812.5950000002</c:v>
                </c:pt>
                <c:pt idx="1006">
                  <c:v>2143484.5950000002</c:v>
                </c:pt>
                <c:pt idx="1007">
                  <c:v>2206404.5950000002</c:v>
                </c:pt>
                <c:pt idx="1008">
                  <c:v>2202812.5950000002</c:v>
                </c:pt>
                <c:pt idx="1009">
                  <c:v>2104316.5950000002</c:v>
                </c:pt>
                <c:pt idx="1010">
                  <c:v>2165988.5950000002</c:v>
                </c:pt>
                <c:pt idx="1011">
                  <c:v>2187900.5950000002</c:v>
                </c:pt>
                <c:pt idx="1012">
                  <c:v>2163324.5950000002</c:v>
                </c:pt>
                <c:pt idx="1013">
                  <c:v>2153284.5950000002</c:v>
                </c:pt>
                <c:pt idx="1014">
                  <c:v>2141636.5950000002</c:v>
                </c:pt>
                <c:pt idx="1015">
                  <c:v>2112228.5950000002</c:v>
                </c:pt>
                <c:pt idx="1016">
                  <c:v>2089732.595</c:v>
                </c:pt>
                <c:pt idx="1017">
                  <c:v>2095156.595</c:v>
                </c:pt>
                <c:pt idx="1018">
                  <c:v>2099636.5950000002</c:v>
                </c:pt>
                <c:pt idx="1019">
                  <c:v>2069532.3959999999</c:v>
                </c:pt>
                <c:pt idx="1020">
                  <c:v>2069532.3959999999</c:v>
                </c:pt>
                <c:pt idx="1021">
                  <c:v>2069532.3959999999</c:v>
                </c:pt>
                <c:pt idx="1022">
                  <c:v>2069532.3959999999</c:v>
                </c:pt>
                <c:pt idx="1023">
                  <c:v>2069532.3959999999</c:v>
                </c:pt>
                <c:pt idx="1024">
                  <c:v>2069532.3959999999</c:v>
                </c:pt>
                <c:pt idx="1025">
                  <c:v>2069532.3959999999</c:v>
                </c:pt>
                <c:pt idx="1026">
                  <c:v>2069532.3959999999</c:v>
                </c:pt>
                <c:pt idx="1027">
                  <c:v>2069532.3959999999</c:v>
                </c:pt>
                <c:pt idx="1028">
                  <c:v>2069532.3959999999</c:v>
                </c:pt>
                <c:pt idx="1029">
                  <c:v>2069532.3959999999</c:v>
                </c:pt>
                <c:pt idx="1030">
                  <c:v>2069532.3959999999</c:v>
                </c:pt>
                <c:pt idx="1031">
                  <c:v>2069532.3959999999</c:v>
                </c:pt>
                <c:pt idx="1032">
                  <c:v>2069532.3959999999</c:v>
                </c:pt>
                <c:pt idx="1033">
                  <c:v>2069532.3959999999</c:v>
                </c:pt>
                <c:pt idx="1034">
                  <c:v>2069532.3959999999</c:v>
                </c:pt>
                <c:pt idx="1035">
                  <c:v>2069532.3959999999</c:v>
                </c:pt>
                <c:pt idx="1036">
                  <c:v>2069532.3959999999</c:v>
                </c:pt>
                <c:pt idx="1037">
                  <c:v>2069337.45</c:v>
                </c:pt>
                <c:pt idx="1038">
                  <c:v>2087553.45</c:v>
                </c:pt>
                <c:pt idx="1039">
                  <c:v>2086657.45</c:v>
                </c:pt>
                <c:pt idx="1040">
                  <c:v>2091761.45</c:v>
                </c:pt>
                <c:pt idx="1041">
                  <c:v>2146945.4500000002</c:v>
                </c:pt>
                <c:pt idx="1042">
                  <c:v>2144417.4500000002</c:v>
                </c:pt>
                <c:pt idx="1043">
                  <c:v>2079457.45</c:v>
                </c:pt>
                <c:pt idx="1044">
                  <c:v>2116345.4500000002</c:v>
                </c:pt>
                <c:pt idx="1045">
                  <c:v>2093988.02</c:v>
                </c:pt>
                <c:pt idx="1046">
                  <c:v>2093988.02</c:v>
                </c:pt>
                <c:pt idx="1047">
                  <c:v>2093988.02</c:v>
                </c:pt>
                <c:pt idx="1048">
                  <c:v>2093988.02</c:v>
                </c:pt>
                <c:pt idx="1049">
                  <c:v>2093988.02</c:v>
                </c:pt>
                <c:pt idx="1050">
                  <c:v>2093988.02</c:v>
                </c:pt>
                <c:pt idx="1051">
                  <c:v>2093988.02</c:v>
                </c:pt>
                <c:pt idx="1052">
                  <c:v>2093988.02</c:v>
                </c:pt>
                <c:pt idx="1053">
                  <c:v>2093988.02</c:v>
                </c:pt>
                <c:pt idx="1054">
                  <c:v>2093988.02</c:v>
                </c:pt>
                <c:pt idx="1055">
                  <c:v>2093988.02</c:v>
                </c:pt>
                <c:pt idx="1056">
                  <c:v>2093988.02</c:v>
                </c:pt>
                <c:pt idx="1057">
                  <c:v>2093988.02</c:v>
                </c:pt>
                <c:pt idx="1058">
                  <c:v>2093988.02</c:v>
                </c:pt>
                <c:pt idx="1059">
                  <c:v>2093988.02</c:v>
                </c:pt>
                <c:pt idx="1060">
                  <c:v>2093988.02</c:v>
                </c:pt>
                <c:pt idx="1061">
                  <c:v>2093988.02</c:v>
                </c:pt>
                <c:pt idx="1062">
                  <c:v>2093988.02</c:v>
                </c:pt>
                <c:pt idx="1063">
                  <c:v>2093988.02</c:v>
                </c:pt>
                <c:pt idx="1064">
                  <c:v>2093988.02</c:v>
                </c:pt>
                <c:pt idx="1065">
                  <c:v>2093988.02</c:v>
                </c:pt>
                <c:pt idx="1066">
                  <c:v>2093988.02</c:v>
                </c:pt>
                <c:pt idx="1067">
                  <c:v>2093988.02</c:v>
                </c:pt>
                <c:pt idx="1068">
                  <c:v>2093988.02</c:v>
                </c:pt>
                <c:pt idx="1069">
                  <c:v>2093988.02</c:v>
                </c:pt>
                <c:pt idx="1070">
                  <c:v>2093988.02</c:v>
                </c:pt>
                <c:pt idx="1071">
                  <c:v>2093988.02</c:v>
                </c:pt>
                <c:pt idx="1072">
                  <c:v>2093988.02</c:v>
                </c:pt>
                <c:pt idx="1073">
                  <c:v>2093988.02</c:v>
                </c:pt>
                <c:pt idx="1074">
                  <c:v>2093988.02</c:v>
                </c:pt>
                <c:pt idx="1075">
                  <c:v>2093988.02</c:v>
                </c:pt>
                <c:pt idx="1076">
                  <c:v>2093988.02</c:v>
                </c:pt>
                <c:pt idx="1077">
                  <c:v>2093988.02</c:v>
                </c:pt>
                <c:pt idx="1078">
                  <c:v>2093988.02</c:v>
                </c:pt>
                <c:pt idx="1079">
                  <c:v>2093988.02</c:v>
                </c:pt>
                <c:pt idx="1080">
                  <c:v>2093988.02</c:v>
                </c:pt>
                <c:pt idx="1081">
                  <c:v>2093988.02</c:v>
                </c:pt>
                <c:pt idx="1082">
                  <c:v>2093988.02</c:v>
                </c:pt>
                <c:pt idx="1083">
                  <c:v>2093988.02</c:v>
                </c:pt>
                <c:pt idx="1084">
                  <c:v>2093988.02</c:v>
                </c:pt>
                <c:pt idx="1085">
                  <c:v>2093988.02</c:v>
                </c:pt>
                <c:pt idx="1086">
                  <c:v>2093988.02</c:v>
                </c:pt>
                <c:pt idx="1087">
                  <c:v>2093988.02</c:v>
                </c:pt>
                <c:pt idx="1088">
                  <c:v>2093988.02</c:v>
                </c:pt>
                <c:pt idx="1089">
                  <c:v>2093988.02</c:v>
                </c:pt>
                <c:pt idx="1090">
                  <c:v>2093988.02</c:v>
                </c:pt>
                <c:pt idx="1091">
                  <c:v>2093988.02</c:v>
                </c:pt>
                <c:pt idx="1092">
                  <c:v>2093988.02</c:v>
                </c:pt>
                <c:pt idx="1093">
                  <c:v>2093988.02</c:v>
                </c:pt>
                <c:pt idx="1094">
                  <c:v>2093988.02</c:v>
                </c:pt>
                <c:pt idx="1095">
                  <c:v>2093988.02</c:v>
                </c:pt>
                <c:pt idx="1096">
                  <c:v>2093988.02</c:v>
                </c:pt>
                <c:pt idx="1097">
                  <c:v>2093988.02</c:v>
                </c:pt>
                <c:pt idx="1098">
                  <c:v>2093988.02</c:v>
                </c:pt>
                <c:pt idx="1099">
                  <c:v>2093988.02</c:v>
                </c:pt>
                <c:pt idx="1100">
                  <c:v>2093988.02</c:v>
                </c:pt>
                <c:pt idx="1101">
                  <c:v>2093988.02</c:v>
                </c:pt>
                <c:pt idx="1102">
                  <c:v>2093988.02</c:v>
                </c:pt>
                <c:pt idx="1103">
                  <c:v>2093988.02</c:v>
                </c:pt>
                <c:pt idx="1104">
                  <c:v>2093786.629</c:v>
                </c:pt>
                <c:pt idx="1105">
                  <c:v>2081483.629</c:v>
                </c:pt>
                <c:pt idx="1106">
                  <c:v>2038247.629</c:v>
                </c:pt>
                <c:pt idx="1107">
                  <c:v>2050325.629</c:v>
                </c:pt>
                <c:pt idx="1108">
                  <c:v>2053592.629</c:v>
                </c:pt>
                <c:pt idx="1109">
                  <c:v>2100698.6290000002</c:v>
                </c:pt>
                <c:pt idx="1110">
                  <c:v>2102408.6290000002</c:v>
                </c:pt>
                <c:pt idx="1111">
                  <c:v>2130371.6290000002</c:v>
                </c:pt>
                <c:pt idx="1112">
                  <c:v>2144150.6290000002</c:v>
                </c:pt>
                <c:pt idx="1113">
                  <c:v>2132432.6290000002</c:v>
                </c:pt>
                <c:pt idx="1114">
                  <c:v>2128976.6290000002</c:v>
                </c:pt>
                <c:pt idx="1115">
                  <c:v>2137283.6290000002</c:v>
                </c:pt>
                <c:pt idx="1116">
                  <c:v>2197385.6290000002</c:v>
                </c:pt>
                <c:pt idx="1117">
                  <c:v>2203037.6290000002</c:v>
                </c:pt>
                <c:pt idx="1118">
                  <c:v>2194046.6290000002</c:v>
                </c:pt>
                <c:pt idx="1119">
                  <c:v>2169296.6290000002</c:v>
                </c:pt>
                <c:pt idx="1120">
                  <c:v>2153600.6290000002</c:v>
                </c:pt>
                <c:pt idx="1121">
                  <c:v>2178161.6290000002</c:v>
                </c:pt>
                <c:pt idx="1122">
                  <c:v>2161097.6290000002</c:v>
                </c:pt>
                <c:pt idx="1123">
                  <c:v>2157605.6290000002</c:v>
                </c:pt>
                <c:pt idx="1124">
                  <c:v>2153411.6290000002</c:v>
                </c:pt>
                <c:pt idx="1125">
                  <c:v>2138111.6290000002</c:v>
                </c:pt>
                <c:pt idx="1126">
                  <c:v>2181932.6290000002</c:v>
                </c:pt>
                <c:pt idx="1127">
                  <c:v>2186666.6290000002</c:v>
                </c:pt>
                <c:pt idx="1128">
                  <c:v>2175128.6290000002</c:v>
                </c:pt>
                <c:pt idx="1129">
                  <c:v>2166353.6290000002</c:v>
                </c:pt>
                <c:pt idx="1130">
                  <c:v>2162185.3769999999</c:v>
                </c:pt>
                <c:pt idx="1131">
                  <c:v>2162185.3769999999</c:v>
                </c:pt>
                <c:pt idx="1132">
                  <c:v>2162185.3769999999</c:v>
                </c:pt>
                <c:pt idx="1133">
                  <c:v>2162185.3769999999</c:v>
                </c:pt>
                <c:pt idx="1134">
                  <c:v>2162185.3769999999</c:v>
                </c:pt>
                <c:pt idx="1135">
                  <c:v>2162185.3769999999</c:v>
                </c:pt>
                <c:pt idx="1136">
                  <c:v>2162185.3769999999</c:v>
                </c:pt>
                <c:pt idx="1137">
                  <c:v>2162185.3769999999</c:v>
                </c:pt>
                <c:pt idx="1138">
                  <c:v>2162185.3769999999</c:v>
                </c:pt>
                <c:pt idx="1139">
                  <c:v>2162185.3769999999</c:v>
                </c:pt>
                <c:pt idx="1140">
                  <c:v>2161986.2650000001</c:v>
                </c:pt>
                <c:pt idx="1141">
                  <c:v>2153578.2650000001</c:v>
                </c:pt>
                <c:pt idx="1142">
                  <c:v>2112722.2650000001</c:v>
                </c:pt>
                <c:pt idx="1143">
                  <c:v>2116874.2650000001</c:v>
                </c:pt>
                <c:pt idx="1144">
                  <c:v>2148698.2650000001</c:v>
                </c:pt>
                <c:pt idx="1145">
                  <c:v>2125978.2650000001</c:v>
                </c:pt>
                <c:pt idx="1146">
                  <c:v>2114090.2650000001</c:v>
                </c:pt>
                <c:pt idx="1147">
                  <c:v>2078418.2649999999</c:v>
                </c:pt>
                <c:pt idx="1148">
                  <c:v>2086842.2649999999</c:v>
                </c:pt>
                <c:pt idx="1149">
                  <c:v>2098098.2650000001</c:v>
                </c:pt>
                <c:pt idx="1150">
                  <c:v>2124314.2650000001</c:v>
                </c:pt>
                <c:pt idx="1151">
                  <c:v>2133730.2650000001</c:v>
                </c:pt>
                <c:pt idx="1152">
                  <c:v>2114322.2650000001</c:v>
                </c:pt>
                <c:pt idx="1153">
                  <c:v>2145674.2650000001</c:v>
                </c:pt>
                <c:pt idx="1154">
                  <c:v>2148898.2650000001</c:v>
                </c:pt>
                <c:pt idx="1155">
                  <c:v>2144882.2650000001</c:v>
                </c:pt>
                <c:pt idx="1156">
                  <c:v>2107962.2650000001</c:v>
                </c:pt>
                <c:pt idx="1157">
                  <c:v>2101530.2650000001</c:v>
                </c:pt>
                <c:pt idx="1158">
                  <c:v>2111706.2650000001</c:v>
                </c:pt>
                <c:pt idx="1159">
                  <c:v>2147922.2650000001</c:v>
                </c:pt>
                <c:pt idx="1160">
                  <c:v>2127578.2650000001</c:v>
                </c:pt>
                <c:pt idx="1161">
                  <c:v>2105658.2650000001</c:v>
                </c:pt>
                <c:pt idx="1162">
                  <c:v>2091274.2649999999</c:v>
                </c:pt>
                <c:pt idx="1163">
                  <c:v>2065714.2649999999</c:v>
                </c:pt>
                <c:pt idx="1164">
                  <c:v>2063626.2649999999</c:v>
                </c:pt>
                <c:pt idx="1165">
                  <c:v>2068506.2649999999</c:v>
                </c:pt>
                <c:pt idx="1166">
                  <c:v>2096649.6669999999</c:v>
                </c:pt>
                <c:pt idx="1167">
                  <c:v>2096649.6669999999</c:v>
                </c:pt>
                <c:pt idx="1168">
                  <c:v>2096649.6669999999</c:v>
                </c:pt>
                <c:pt idx="1169">
                  <c:v>2096649.6669999999</c:v>
                </c:pt>
                <c:pt idx="1170">
                  <c:v>2096649.6669999999</c:v>
                </c:pt>
                <c:pt idx="1171">
                  <c:v>2096649.6669999999</c:v>
                </c:pt>
                <c:pt idx="1172">
                  <c:v>2096649.6669999999</c:v>
                </c:pt>
                <c:pt idx="1173">
                  <c:v>2096649.6669999999</c:v>
                </c:pt>
                <c:pt idx="1174">
                  <c:v>2096649.6669999999</c:v>
                </c:pt>
                <c:pt idx="1175">
                  <c:v>2096649.6669999999</c:v>
                </c:pt>
                <c:pt idx="1176">
                  <c:v>2096443.736</c:v>
                </c:pt>
                <c:pt idx="1177">
                  <c:v>2111185.736</c:v>
                </c:pt>
                <c:pt idx="1178">
                  <c:v>2152792.736</c:v>
                </c:pt>
                <c:pt idx="1179">
                  <c:v>2223145.736</c:v>
                </c:pt>
                <c:pt idx="1180">
                  <c:v>2208079.736</c:v>
                </c:pt>
                <c:pt idx="1181">
                  <c:v>2219500.736</c:v>
                </c:pt>
                <c:pt idx="1182">
                  <c:v>2206126.736</c:v>
                </c:pt>
                <c:pt idx="1183">
                  <c:v>2195299.736</c:v>
                </c:pt>
                <c:pt idx="1184">
                  <c:v>2186902.736</c:v>
                </c:pt>
                <c:pt idx="1185">
                  <c:v>2185813.736</c:v>
                </c:pt>
                <c:pt idx="1186">
                  <c:v>2210167.736</c:v>
                </c:pt>
                <c:pt idx="1187">
                  <c:v>2232712.736</c:v>
                </c:pt>
                <c:pt idx="1188">
                  <c:v>2232181.736</c:v>
                </c:pt>
                <c:pt idx="1189">
                  <c:v>2214046.736</c:v>
                </c:pt>
                <c:pt idx="1190">
                  <c:v>2235637.736</c:v>
                </c:pt>
                <c:pt idx="1191">
                  <c:v>2264761.736</c:v>
                </c:pt>
                <c:pt idx="1192">
                  <c:v>2258515.736</c:v>
                </c:pt>
                <c:pt idx="1193">
                  <c:v>2244196.736</c:v>
                </c:pt>
                <c:pt idx="1194">
                  <c:v>2242918.736</c:v>
                </c:pt>
                <c:pt idx="1195">
                  <c:v>2245123.736</c:v>
                </c:pt>
                <c:pt idx="1196">
                  <c:v>2208402.588</c:v>
                </c:pt>
                <c:pt idx="1197">
                  <c:v>2208402.588</c:v>
                </c:pt>
                <c:pt idx="1198">
                  <c:v>2208402.588</c:v>
                </c:pt>
                <c:pt idx="1199">
                  <c:v>2208402.588</c:v>
                </c:pt>
                <c:pt idx="1200">
                  <c:v>2208402.588</c:v>
                </c:pt>
                <c:pt idx="1201">
                  <c:v>2208402.588</c:v>
                </c:pt>
                <c:pt idx="1202">
                  <c:v>2208402.588</c:v>
                </c:pt>
                <c:pt idx="1203">
                  <c:v>2208402.588</c:v>
                </c:pt>
                <c:pt idx="1204">
                  <c:v>2208402.588</c:v>
                </c:pt>
                <c:pt idx="1205">
                  <c:v>2208402.588</c:v>
                </c:pt>
                <c:pt idx="1206">
                  <c:v>2208402.588</c:v>
                </c:pt>
                <c:pt idx="1207">
                  <c:v>2208402.588</c:v>
                </c:pt>
                <c:pt idx="1208">
                  <c:v>2208402.588</c:v>
                </c:pt>
                <c:pt idx="1209">
                  <c:v>2208402.588</c:v>
                </c:pt>
                <c:pt idx="1210">
                  <c:v>2208402.588</c:v>
                </c:pt>
                <c:pt idx="1211">
                  <c:v>2208402.588</c:v>
                </c:pt>
                <c:pt idx="1212">
                  <c:v>2208402.588</c:v>
                </c:pt>
                <c:pt idx="1213">
                  <c:v>2208402.588</c:v>
                </c:pt>
                <c:pt idx="1214">
                  <c:v>2208402.588</c:v>
                </c:pt>
                <c:pt idx="1215">
                  <c:v>2208402.588</c:v>
                </c:pt>
                <c:pt idx="1216">
                  <c:v>2208402.588</c:v>
                </c:pt>
                <c:pt idx="1217">
                  <c:v>2208402.588</c:v>
                </c:pt>
                <c:pt idx="1218">
                  <c:v>2208402.588</c:v>
                </c:pt>
                <c:pt idx="1219">
                  <c:v>2208402.588</c:v>
                </c:pt>
                <c:pt idx="1220">
                  <c:v>2208402.588</c:v>
                </c:pt>
                <c:pt idx="1221">
                  <c:v>2208203.5219999999</c:v>
                </c:pt>
                <c:pt idx="1222">
                  <c:v>2178188.5219999999</c:v>
                </c:pt>
                <c:pt idx="1223">
                  <c:v>2166938.5219999999</c:v>
                </c:pt>
                <c:pt idx="1224">
                  <c:v>2186216.5219999999</c:v>
                </c:pt>
                <c:pt idx="1225">
                  <c:v>2236967.5219999999</c:v>
                </c:pt>
                <c:pt idx="1226">
                  <c:v>2226248.5219999999</c:v>
                </c:pt>
                <c:pt idx="1227">
                  <c:v>2238659.5219999999</c:v>
                </c:pt>
                <c:pt idx="1228">
                  <c:v>2211875.5219999999</c:v>
                </c:pt>
                <c:pt idx="1229">
                  <c:v>2215421.5219999999</c:v>
                </c:pt>
                <c:pt idx="1230">
                  <c:v>2222549.5219999999</c:v>
                </c:pt>
                <c:pt idx="1231">
                  <c:v>2199752.5219999999</c:v>
                </c:pt>
                <c:pt idx="1232">
                  <c:v>2208779.5219999999</c:v>
                </c:pt>
                <c:pt idx="1233">
                  <c:v>2258324.5219999999</c:v>
                </c:pt>
                <c:pt idx="1234">
                  <c:v>2274551.5219999999</c:v>
                </c:pt>
                <c:pt idx="1235">
                  <c:v>2279672.5219999999</c:v>
                </c:pt>
                <c:pt idx="1236">
                  <c:v>2269142.5219999999</c:v>
                </c:pt>
                <c:pt idx="1237">
                  <c:v>2283560.5219999999</c:v>
                </c:pt>
                <c:pt idx="1238">
                  <c:v>2298032.5219999999</c:v>
                </c:pt>
                <c:pt idx="1239">
                  <c:v>2271743.5219999999</c:v>
                </c:pt>
                <c:pt idx="1240">
                  <c:v>2295341.5219999999</c:v>
                </c:pt>
                <c:pt idx="1241">
                  <c:v>2276243.5219999999</c:v>
                </c:pt>
                <c:pt idx="1242">
                  <c:v>2255408.5219999999</c:v>
                </c:pt>
                <c:pt idx="1243">
                  <c:v>2210606.5219999999</c:v>
                </c:pt>
                <c:pt idx="1244">
                  <c:v>2159666.5219999999</c:v>
                </c:pt>
                <c:pt idx="1245">
                  <c:v>2164616.5219999999</c:v>
                </c:pt>
                <c:pt idx="1246">
                  <c:v>2156246.5219999999</c:v>
                </c:pt>
                <c:pt idx="1247">
                  <c:v>2178620.5219999999</c:v>
                </c:pt>
                <c:pt idx="1248">
                  <c:v>2188880.5219999999</c:v>
                </c:pt>
                <c:pt idx="1249">
                  <c:v>2183390.5219999999</c:v>
                </c:pt>
                <c:pt idx="1250">
                  <c:v>2165129.5219999999</c:v>
                </c:pt>
                <c:pt idx="1251">
                  <c:v>2173814.5219999999</c:v>
                </c:pt>
                <c:pt idx="1252">
                  <c:v>2169071.5219999999</c:v>
                </c:pt>
                <c:pt idx="1253">
                  <c:v>2105558.5219999999</c:v>
                </c:pt>
                <c:pt idx="1254">
                  <c:v>2115341.5219999999</c:v>
                </c:pt>
                <c:pt idx="1255">
                  <c:v>2120264.5219999999</c:v>
                </c:pt>
                <c:pt idx="1256">
                  <c:v>2143844.5219999999</c:v>
                </c:pt>
                <c:pt idx="1257">
                  <c:v>2128103.5219999999</c:v>
                </c:pt>
                <c:pt idx="1258">
                  <c:v>2146283.5219999999</c:v>
                </c:pt>
                <c:pt idx="1259">
                  <c:v>2141864.5219999999</c:v>
                </c:pt>
                <c:pt idx="1260">
                  <c:v>2126330.5219999999</c:v>
                </c:pt>
                <c:pt idx="1261">
                  <c:v>2095820.5220000001</c:v>
                </c:pt>
                <c:pt idx="1262">
                  <c:v>2160467.5219999999</c:v>
                </c:pt>
                <c:pt idx="1263">
                  <c:v>2176246.6329999999</c:v>
                </c:pt>
                <c:pt idx="1264">
                  <c:v>2176246.6329999999</c:v>
                </c:pt>
                <c:pt idx="1265">
                  <c:v>2176246.6329999999</c:v>
                </c:pt>
                <c:pt idx="1266">
                  <c:v>2176246.6329999999</c:v>
                </c:pt>
                <c:pt idx="1267">
                  <c:v>2176246.6329999999</c:v>
                </c:pt>
                <c:pt idx="1268">
                  <c:v>2176246.6329999999</c:v>
                </c:pt>
                <c:pt idx="1269">
                  <c:v>2176246.6329999999</c:v>
                </c:pt>
                <c:pt idx="1270">
                  <c:v>2176246.6329999999</c:v>
                </c:pt>
                <c:pt idx="1271">
                  <c:v>2176246.6329999999</c:v>
                </c:pt>
                <c:pt idx="1272">
                  <c:v>2176246.6329999999</c:v>
                </c:pt>
                <c:pt idx="1273">
                  <c:v>2176246.6329999999</c:v>
                </c:pt>
                <c:pt idx="1274">
                  <c:v>2176246.6329999999</c:v>
                </c:pt>
                <c:pt idx="1275">
                  <c:v>2176246.6329999999</c:v>
                </c:pt>
                <c:pt idx="1276">
                  <c:v>2176246.6329999999</c:v>
                </c:pt>
                <c:pt idx="1277">
                  <c:v>2176246.6329999999</c:v>
                </c:pt>
                <c:pt idx="1278">
                  <c:v>2176246.6329999999</c:v>
                </c:pt>
                <c:pt idx="1279">
                  <c:v>2176246.6329999999</c:v>
                </c:pt>
                <c:pt idx="1280">
                  <c:v>2176246.6329999999</c:v>
                </c:pt>
                <c:pt idx="1281">
                  <c:v>2176246.6329999999</c:v>
                </c:pt>
                <c:pt idx="1282">
                  <c:v>2176246.6329999999</c:v>
                </c:pt>
                <c:pt idx="1283">
                  <c:v>2176246.6329999999</c:v>
                </c:pt>
                <c:pt idx="1284">
                  <c:v>2176246.6329999999</c:v>
                </c:pt>
                <c:pt idx="1285">
                  <c:v>2176246.6329999999</c:v>
                </c:pt>
                <c:pt idx="1286">
                  <c:v>2176246.6329999999</c:v>
                </c:pt>
                <c:pt idx="1287">
                  <c:v>2176246.6329999999</c:v>
                </c:pt>
                <c:pt idx="1288">
                  <c:v>2176246.6329999999</c:v>
                </c:pt>
                <c:pt idx="1289">
                  <c:v>2176246.6329999999</c:v>
                </c:pt>
                <c:pt idx="1290">
                  <c:v>2176246.6329999999</c:v>
                </c:pt>
                <c:pt idx="1291">
                  <c:v>2176246.6329999999</c:v>
                </c:pt>
                <c:pt idx="1292">
                  <c:v>2176246.6329999999</c:v>
                </c:pt>
                <c:pt idx="1293">
                  <c:v>2176033.0830000001</c:v>
                </c:pt>
                <c:pt idx="1294">
                  <c:v>2174443.0830000001</c:v>
                </c:pt>
                <c:pt idx="1295">
                  <c:v>2220583.0830000001</c:v>
                </c:pt>
                <c:pt idx="1296">
                  <c:v>2215383.0830000001</c:v>
                </c:pt>
                <c:pt idx="1297">
                  <c:v>2212903.0830000001</c:v>
                </c:pt>
                <c:pt idx="1298">
                  <c:v>2184613.0830000001</c:v>
                </c:pt>
                <c:pt idx="1299">
                  <c:v>2186483.0830000001</c:v>
                </c:pt>
                <c:pt idx="1300">
                  <c:v>2155673.0830000001</c:v>
                </c:pt>
                <c:pt idx="1301">
                  <c:v>2156303.0830000001</c:v>
                </c:pt>
                <c:pt idx="1302">
                  <c:v>2176443.0830000001</c:v>
                </c:pt>
                <c:pt idx="1303">
                  <c:v>2171403.0830000001</c:v>
                </c:pt>
                <c:pt idx="1304">
                  <c:v>2188943.0830000001</c:v>
                </c:pt>
                <c:pt idx="1305">
                  <c:v>2196297.4849999999</c:v>
                </c:pt>
                <c:pt idx="1306">
                  <c:v>2196297.4849999999</c:v>
                </c:pt>
                <c:pt idx="1307">
                  <c:v>2196297.4849999999</c:v>
                </c:pt>
                <c:pt idx="1308">
                  <c:v>2196297.4849999999</c:v>
                </c:pt>
                <c:pt idx="1309">
                  <c:v>2196297.4849999999</c:v>
                </c:pt>
                <c:pt idx="1310">
                  <c:v>2196297.4849999999</c:v>
                </c:pt>
                <c:pt idx="1311">
                  <c:v>2196297.4849999999</c:v>
                </c:pt>
                <c:pt idx="1312">
                  <c:v>2196297.4849999999</c:v>
                </c:pt>
                <c:pt idx="1313">
                  <c:v>2196297.4849999999</c:v>
                </c:pt>
                <c:pt idx="1314">
                  <c:v>2196297.4849999999</c:v>
                </c:pt>
                <c:pt idx="1315">
                  <c:v>2196297.4849999999</c:v>
                </c:pt>
                <c:pt idx="1316">
                  <c:v>2196297.4849999999</c:v>
                </c:pt>
                <c:pt idx="1317">
                  <c:v>2196297.4849999999</c:v>
                </c:pt>
                <c:pt idx="1318">
                  <c:v>2196297.4849999999</c:v>
                </c:pt>
                <c:pt idx="1319">
                  <c:v>2196297.4849999999</c:v>
                </c:pt>
                <c:pt idx="1320">
                  <c:v>2196297.4849999999</c:v>
                </c:pt>
                <c:pt idx="1321">
                  <c:v>2196297.4849999999</c:v>
                </c:pt>
                <c:pt idx="1322">
                  <c:v>2196297.4849999999</c:v>
                </c:pt>
                <c:pt idx="1323">
                  <c:v>2196297.4849999999</c:v>
                </c:pt>
                <c:pt idx="1324">
                  <c:v>2196297.4849999999</c:v>
                </c:pt>
                <c:pt idx="1325">
                  <c:v>2196297.4849999999</c:v>
                </c:pt>
                <c:pt idx="1326">
                  <c:v>2196297.4849999999</c:v>
                </c:pt>
                <c:pt idx="1327">
                  <c:v>2196297.4849999999</c:v>
                </c:pt>
                <c:pt idx="1328">
                  <c:v>2196297.4849999999</c:v>
                </c:pt>
                <c:pt idx="1329">
                  <c:v>2196297.4849999999</c:v>
                </c:pt>
                <c:pt idx="1330">
                  <c:v>2196297.4849999999</c:v>
                </c:pt>
                <c:pt idx="1331">
                  <c:v>2196297.4849999999</c:v>
                </c:pt>
                <c:pt idx="1332">
                  <c:v>2196297.4849999999</c:v>
                </c:pt>
                <c:pt idx="1333">
                  <c:v>2196297.4849999999</c:v>
                </c:pt>
                <c:pt idx="1334">
                  <c:v>2196297.4849999999</c:v>
                </c:pt>
                <c:pt idx="1335">
                  <c:v>2196297.4849999999</c:v>
                </c:pt>
                <c:pt idx="1336">
                  <c:v>2196297.4849999999</c:v>
                </c:pt>
                <c:pt idx="1337">
                  <c:v>2196297.4849999999</c:v>
                </c:pt>
                <c:pt idx="1338">
                  <c:v>2196297.4849999999</c:v>
                </c:pt>
                <c:pt idx="1339">
                  <c:v>2196297.4849999999</c:v>
                </c:pt>
                <c:pt idx="1340">
                  <c:v>2196297.4849999999</c:v>
                </c:pt>
                <c:pt idx="1341">
                  <c:v>2196297.4849999999</c:v>
                </c:pt>
                <c:pt idx="1342">
                  <c:v>2196297.4849999999</c:v>
                </c:pt>
                <c:pt idx="1343">
                  <c:v>2196297.4849999999</c:v>
                </c:pt>
                <c:pt idx="1344">
                  <c:v>2196297.4849999999</c:v>
                </c:pt>
                <c:pt idx="1345">
                  <c:v>2196297.4849999999</c:v>
                </c:pt>
                <c:pt idx="1346">
                  <c:v>2196297.4849999999</c:v>
                </c:pt>
                <c:pt idx="1347">
                  <c:v>2196297.4849999999</c:v>
                </c:pt>
                <c:pt idx="1348">
                  <c:v>2196094.0440000002</c:v>
                </c:pt>
                <c:pt idx="1349">
                  <c:v>2253199.0440000002</c:v>
                </c:pt>
                <c:pt idx="1350">
                  <c:v>2259922.0440000002</c:v>
                </c:pt>
                <c:pt idx="1351">
                  <c:v>2251498.0440000002</c:v>
                </c:pt>
                <c:pt idx="1352">
                  <c:v>2276914.0440000002</c:v>
                </c:pt>
                <c:pt idx="1353">
                  <c:v>2258149.0440000002</c:v>
                </c:pt>
                <c:pt idx="1354">
                  <c:v>2299747.0440000002</c:v>
                </c:pt>
                <c:pt idx="1355">
                  <c:v>2294104.0440000002</c:v>
                </c:pt>
                <c:pt idx="1356">
                  <c:v>2288587.0440000002</c:v>
                </c:pt>
                <c:pt idx="1357">
                  <c:v>2256403.0440000002</c:v>
                </c:pt>
                <c:pt idx="1358">
                  <c:v>2259706.0440000002</c:v>
                </c:pt>
                <c:pt idx="1359">
                  <c:v>2290504.0440000002</c:v>
                </c:pt>
                <c:pt idx="1360">
                  <c:v>2283034.0440000002</c:v>
                </c:pt>
                <c:pt idx="1361">
                  <c:v>2284699.0440000002</c:v>
                </c:pt>
                <c:pt idx="1362">
                  <c:v>2264044.0440000002</c:v>
                </c:pt>
                <c:pt idx="1363">
                  <c:v>2286265.0440000002</c:v>
                </c:pt>
                <c:pt idx="1364">
                  <c:v>2298793.0440000002</c:v>
                </c:pt>
                <c:pt idx="1365">
                  <c:v>2298982.0440000002</c:v>
                </c:pt>
                <c:pt idx="1366">
                  <c:v>2291215.0440000002</c:v>
                </c:pt>
                <c:pt idx="1367">
                  <c:v>2280293.1630000002</c:v>
                </c:pt>
                <c:pt idx="1368">
                  <c:v>2280293.1630000002</c:v>
                </c:pt>
                <c:pt idx="1369">
                  <c:v>2280293.1630000002</c:v>
                </c:pt>
                <c:pt idx="1370">
                  <c:v>2280293.1630000002</c:v>
                </c:pt>
                <c:pt idx="1371">
                  <c:v>2280293.1630000002</c:v>
                </c:pt>
                <c:pt idx="1372">
                  <c:v>2280293.1630000002</c:v>
                </c:pt>
                <c:pt idx="1373">
                  <c:v>2280293.1630000002</c:v>
                </c:pt>
                <c:pt idx="1374">
                  <c:v>2280293.1630000002</c:v>
                </c:pt>
                <c:pt idx="1375">
                  <c:v>2280293.1630000002</c:v>
                </c:pt>
                <c:pt idx="1376">
                  <c:v>2280293.1630000002</c:v>
                </c:pt>
                <c:pt idx="1377">
                  <c:v>2280293.1630000002</c:v>
                </c:pt>
                <c:pt idx="1378">
                  <c:v>2280293.1630000002</c:v>
                </c:pt>
                <c:pt idx="1379">
                  <c:v>2280293.1630000002</c:v>
                </c:pt>
                <c:pt idx="1380">
                  <c:v>2280293.1630000002</c:v>
                </c:pt>
                <c:pt idx="1381">
                  <c:v>2280293.1630000002</c:v>
                </c:pt>
                <c:pt idx="1382">
                  <c:v>2280293.1630000002</c:v>
                </c:pt>
                <c:pt idx="1383">
                  <c:v>2280293.1630000002</c:v>
                </c:pt>
                <c:pt idx="1384">
                  <c:v>2280293.1630000002</c:v>
                </c:pt>
                <c:pt idx="1385">
                  <c:v>2280293.1630000002</c:v>
                </c:pt>
                <c:pt idx="1386">
                  <c:v>2280293.1630000002</c:v>
                </c:pt>
                <c:pt idx="1387">
                  <c:v>2280293.1630000002</c:v>
                </c:pt>
                <c:pt idx="1388">
                  <c:v>2280293.1630000002</c:v>
                </c:pt>
                <c:pt idx="1389">
                  <c:v>2280293.1630000002</c:v>
                </c:pt>
                <c:pt idx="1390">
                  <c:v>2280293.1630000002</c:v>
                </c:pt>
                <c:pt idx="1391">
                  <c:v>2280293.1630000002</c:v>
                </c:pt>
                <c:pt idx="1392">
                  <c:v>2280293.1630000002</c:v>
                </c:pt>
                <c:pt idx="1393">
                  <c:v>2280293.1630000002</c:v>
                </c:pt>
                <c:pt idx="1394">
                  <c:v>2280293.1630000002</c:v>
                </c:pt>
                <c:pt idx="1395">
                  <c:v>2280293.1630000002</c:v>
                </c:pt>
                <c:pt idx="1396">
                  <c:v>2280293.1630000002</c:v>
                </c:pt>
                <c:pt idx="1397">
                  <c:v>2280293.1630000002</c:v>
                </c:pt>
                <c:pt idx="1398">
                  <c:v>2280293.1630000002</c:v>
                </c:pt>
                <c:pt idx="1399">
                  <c:v>2280293.1630000002</c:v>
                </c:pt>
                <c:pt idx="1400">
                  <c:v>2280293.1630000002</c:v>
                </c:pt>
                <c:pt idx="1401">
                  <c:v>2280293.1630000002</c:v>
                </c:pt>
                <c:pt idx="1402">
                  <c:v>2280293.1630000002</c:v>
                </c:pt>
                <c:pt idx="1403">
                  <c:v>2280293.1630000002</c:v>
                </c:pt>
                <c:pt idx="1404">
                  <c:v>2280293.1630000002</c:v>
                </c:pt>
                <c:pt idx="1405">
                  <c:v>2280293.1630000002</c:v>
                </c:pt>
                <c:pt idx="1406">
                  <c:v>2280293.1630000002</c:v>
                </c:pt>
                <c:pt idx="1407">
                  <c:v>2280293.1630000002</c:v>
                </c:pt>
                <c:pt idx="1408">
                  <c:v>2280293.1630000002</c:v>
                </c:pt>
                <c:pt idx="1409">
                  <c:v>2280075.6639999999</c:v>
                </c:pt>
                <c:pt idx="1410">
                  <c:v>2311332.6639999999</c:v>
                </c:pt>
                <c:pt idx="1411">
                  <c:v>2327127.6639999999</c:v>
                </c:pt>
                <c:pt idx="1412">
                  <c:v>2362578.6639999999</c:v>
                </c:pt>
                <c:pt idx="1413">
                  <c:v>2366385.6639999999</c:v>
                </c:pt>
                <c:pt idx="1414">
                  <c:v>2366943.6639999999</c:v>
                </c:pt>
                <c:pt idx="1415">
                  <c:v>2358195.6639999999</c:v>
                </c:pt>
                <c:pt idx="1416">
                  <c:v>2360553.6639999999</c:v>
                </c:pt>
                <c:pt idx="1417">
                  <c:v>2357025.6639999999</c:v>
                </c:pt>
                <c:pt idx="1418">
                  <c:v>2414247.6639999999</c:v>
                </c:pt>
                <c:pt idx="1419">
                  <c:v>2407839.6639999999</c:v>
                </c:pt>
                <c:pt idx="1420">
                  <c:v>2439978.6639999999</c:v>
                </c:pt>
                <c:pt idx="1421">
                  <c:v>2426865.6639999999</c:v>
                </c:pt>
                <c:pt idx="1422">
                  <c:v>2428071.6639999999</c:v>
                </c:pt>
                <c:pt idx="1423">
                  <c:v>2415480.6639999999</c:v>
                </c:pt>
                <c:pt idx="1424">
                  <c:v>2392368.6639999999</c:v>
                </c:pt>
                <c:pt idx="1425">
                  <c:v>2388588.6639999999</c:v>
                </c:pt>
                <c:pt idx="1426">
                  <c:v>2388480.6639999999</c:v>
                </c:pt>
                <c:pt idx="1427">
                  <c:v>2430204.6639999999</c:v>
                </c:pt>
                <c:pt idx="1428">
                  <c:v>2489424.6639999999</c:v>
                </c:pt>
                <c:pt idx="1429">
                  <c:v>2522094.6639999999</c:v>
                </c:pt>
                <c:pt idx="1430">
                  <c:v>2555808.6639999999</c:v>
                </c:pt>
                <c:pt idx="1431">
                  <c:v>2584131.6639999999</c:v>
                </c:pt>
                <c:pt idx="1432">
                  <c:v>2633028.6639999999</c:v>
                </c:pt>
                <c:pt idx="1433">
                  <c:v>2642919.6639999999</c:v>
                </c:pt>
                <c:pt idx="1434">
                  <c:v>2736636.6639999999</c:v>
                </c:pt>
                <c:pt idx="1435">
                  <c:v>2775885.6639999999</c:v>
                </c:pt>
                <c:pt idx="1436">
                  <c:v>2899005.6639999999</c:v>
                </c:pt>
                <c:pt idx="1437">
                  <c:v>2917491.6639999999</c:v>
                </c:pt>
                <c:pt idx="1438">
                  <c:v>3032682.6639999999</c:v>
                </c:pt>
                <c:pt idx="1439">
                  <c:v>2901309.6639999999</c:v>
                </c:pt>
                <c:pt idx="1440">
                  <c:v>3004485.6639999999</c:v>
                </c:pt>
                <c:pt idx="1441">
                  <c:v>2969799.6639999999</c:v>
                </c:pt>
                <c:pt idx="1442">
                  <c:v>2978997.6639999999</c:v>
                </c:pt>
                <c:pt idx="1443">
                  <c:v>3000597.6639999999</c:v>
                </c:pt>
                <c:pt idx="1444">
                  <c:v>3078150.6639999999</c:v>
                </c:pt>
                <c:pt idx="1445">
                  <c:v>3129630.6639999999</c:v>
                </c:pt>
                <c:pt idx="1446">
                  <c:v>3116427.6639999999</c:v>
                </c:pt>
                <c:pt idx="1447">
                  <c:v>3149943.6639999999</c:v>
                </c:pt>
                <c:pt idx="1448">
                  <c:v>3160122.6639999999</c:v>
                </c:pt>
                <c:pt idx="1449">
                  <c:v>3097518.6639999999</c:v>
                </c:pt>
                <c:pt idx="1450">
                  <c:v>3012441.6639999999</c:v>
                </c:pt>
                <c:pt idx="1451">
                  <c:v>3106968.6639999999</c:v>
                </c:pt>
                <c:pt idx="1452">
                  <c:v>3206346.6639999999</c:v>
                </c:pt>
                <c:pt idx="1453">
                  <c:v>3215004.6639999999</c:v>
                </c:pt>
                <c:pt idx="1454">
                  <c:v>3216574.4849999999</c:v>
                </c:pt>
                <c:pt idx="1455">
                  <c:v>3216574.4849999999</c:v>
                </c:pt>
                <c:pt idx="1456">
                  <c:v>3216574.4849999999</c:v>
                </c:pt>
                <c:pt idx="1457">
                  <c:v>3216574.4849999999</c:v>
                </c:pt>
                <c:pt idx="1458">
                  <c:v>3216574.4849999999</c:v>
                </c:pt>
                <c:pt idx="1459">
                  <c:v>3216574.4849999999</c:v>
                </c:pt>
                <c:pt idx="1460">
                  <c:v>3216574.4849999999</c:v>
                </c:pt>
                <c:pt idx="1461">
                  <c:v>3216574.4849999999</c:v>
                </c:pt>
                <c:pt idx="1462">
                  <c:v>3216574.4849999999</c:v>
                </c:pt>
                <c:pt idx="1463">
                  <c:v>3216574.4849999999</c:v>
                </c:pt>
                <c:pt idx="1464">
                  <c:v>3216574.4849999999</c:v>
                </c:pt>
                <c:pt idx="1465">
                  <c:v>3216574.4849999999</c:v>
                </c:pt>
                <c:pt idx="1466">
                  <c:v>3216574.4849999999</c:v>
                </c:pt>
                <c:pt idx="1467">
                  <c:v>3216574.4849999999</c:v>
                </c:pt>
                <c:pt idx="1468">
                  <c:v>3216574.4849999999</c:v>
                </c:pt>
                <c:pt idx="1469">
                  <c:v>3216574.4849999999</c:v>
                </c:pt>
                <c:pt idx="1470">
                  <c:v>3216574.4849999999</c:v>
                </c:pt>
                <c:pt idx="1471">
                  <c:v>3216574.4849999999</c:v>
                </c:pt>
                <c:pt idx="1472">
                  <c:v>3216574.4849999999</c:v>
                </c:pt>
                <c:pt idx="1473">
                  <c:v>3216574.4849999999</c:v>
                </c:pt>
                <c:pt idx="1474">
                  <c:v>3216574.4849999999</c:v>
                </c:pt>
                <c:pt idx="1475">
                  <c:v>3216574.4849999999</c:v>
                </c:pt>
                <c:pt idx="1476">
                  <c:v>3216574.4849999999</c:v>
                </c:pt>
                <c:pt idx="1477">
                  <c:v>3216574.4849999999</c:v>
                </c:pt>
                <c:pt idx="1478">
                  <c:v>3216574.4849999999</c:v>
                </c:pt>
                <c:pt idx="1479">
                  <c:v>3216574.4849999999</c:v>
                </c:pt>
                <c:pt idx="1480">
                  <c:v>3216574.4849999999</c:v>
                </c:pt>
                <c:pt idx="1481">
                  <c:v>3216574.4849999999</c:v>
                </c:pt>
                <c:pt idx="1482">
                  <c:v>3216574.4849999999</c:v>
                </c:pt>
                <c:pt idx="1483">
                  <c:v>3216574.4849999999</c:v>
                </c:pt>
                <c:pt idx="1484">
                  <c:v>3216574.4849999999</c:v>
                </c:pt>
                <c:pt idx="1485">
                  <c:v>3216574.4849999999</c:v>
                </c:pt>
                <c:pt idx="1486">
                  <c:v>3216574.4849999999</c:v>
                </c:pt>
                <c:pt idx="1487">
                  <c:v>3216574.4849999999</c:v>
                </c:pt>
                <c:pt idx="1488">
                  <c:v>3216574.4849999999</c:v>
                </c:pt>
                <c:pt idx="1489">
                  <c:v>3216574.4849999999</c:v>
                </c:pt>
                <c:pt idx="1490">
                  <c:v>3216574.4849999999</c:v>
                </c:pt>
                <c:pt idx="1491">
                  <c:v>3216574.4849999999</c:v>
                </c:pt>
                <c:pt idx="1492">
                  <c:v>3216574.4849999999</c:v>
                </c:pt>
                <c:pt idx="1493">
                  <c:v>3216574.4849999999</c:v>
                </c:pt>
                <c:pt idx="1494">
                  <c:v>3216574.4849999999</c:v>
                </c:pt>
                <c:pt idx="1495">
                  <c:v>3216574.4849999999</c:v>
                </c:pt>
                <c:pt idx="1496">
                  <c:v>3216574.4849999999</c:v>
                </c:pt>
                <c:pt idx="1497">
                  <c:v>3216574.4849999999</c:v>
                </c:pt>
                <c:pt idx="1498">
                  <c:v>3216574.4849999999</c:v>
                </c:pt>
                <c:pt idx="1499">
                  <c:v>3216574.4849999999</c:v>
                </c:pt>
                <c:pt idx="1500">
                  <c:v>3216574.4849999999</c:v>
                </c:pt>
                <c:pt idx="1501">
                  <c:v>3216574.4849999999</c:v>
                </c:pt>
                <c:pt idx="1502">
                  <c:v>3216574.4849999999</c:v>
                </c:pt>
                <c:pt idx="1503">
                  <c:v>3216574.4849999999</c:v>
                </c:pt>
                <c:pt idx="1504">
                  <c:v>3216574.4849999999</c:v>
                </c:pt>
                <c:pt idx="1505">
                  <c:v>3216574.4849999999</c:v>
                </c:pt>
                <c:pt idx="1506">
                  <c:v>3216574.4849999999</c:v>
                </c:pt>
                <c:pt idx="1507">
                  <c:v>3216574.4849999999</c:v>
                </c:pt>
                <c:pt idx="1508">
                  <c:v>3216259.2519999999</c:v>
                </c:pt>
                <c:pt idx="1509">
                  <c:v>3223931.2519999999</c:v>
                </c:pt>
                <c:pt idx="1510">
                  <c:v>3241291.2519999999</c:v>
                </c:pt>
                <c:pt idx="1511">
                  <c:v>3334475.2519999999</c:v>
                </c:pt>
                <c:pt idx="1512">
                  <c:v>3304891.2519999999</c:v>
                </c:pt>
                <c:pt idx="1513">
                  <c:v>3363051.2519999999</c:v>
                </c:pt>
                <c:pt idx="1514">
                  <c:v>3363755.2519999999</c:v>
                </c:pt>
                <c:pt idx="1515">
                  <c:v>3400363.2519999999</c:v>
                </c:pt>
                <c:pt idx="1516">
                  <c:v>3471963.2519999999</c:v>
                </c:pt>
                <c:pt idx="1517">
                  <c:v>3500571.2519999999</c:v>
                </c:pt>
                <c:pt idx="1518">
                  <c:v>3473643.2519999999</c:v>
                </c:pt>
                <c:pt idx="1519">
                  <c:v>3539467.2519999999</c:v>
                </c:pt>
                <c:pt idx="1520">
                  <c:v>3600787.2519999999</c:v>
                </c:pt>
                <c:pt idx="1521">
                  <c:v>3614475.2519999999</c:v>
                </c:pt>
                <c:pt idx="1522">
                  <c:v>3568339.2519999999</c:v>
                </c:pt>
                <c:pt idx="1523">
                  <c:v>3674771.2519999999</c:v>
                </c:pt>
                <c:pt idx="1524">
                  <c:v>3740843.2519999999</c:v>
                </c:pt>
                <c:pt idx="1525">
                  <c:v>3681467.2519999999</c:v>
                </c:pt>
                <c:pt idx="1526">
                  <c:v>3759259.2519999999</c:v>
                </c:pt>
                <c:pt idx="1527">
                  <c:v>3855779.2519999999</c:v>
                </c:pt>
                <c:pt idx="1528">
                  <c:v>3856643.2519999999</c:v>
                </c:pt>
                <c:pt idx="1529">
                  <c:v>3826043.2519999999</c:v>
                </c:pt>
                <c:pt idx="1530">
                  <c:v>3910003.2519999999</c:v>
                </c:pt>
                <c:pt idx="1531">
                  <c:v>3857419.2519999999</c:v>
                </c:pt>
                <c:pt idx="1532">
                  <c:v>3883395.2519999999</c:v>
                </c:pt>
                <c:pt idx="1533">
                  <c:v>3863843.2519999999</c:v>
                </c:pt>
                <c:pt idx="1534">
                  <c:v>3894123.2519999999</c:v>
                </c:pt>
                <c:pt idx="1535">
                  <c:v>3741403.2519999999</c:v>
                </c:pt>
                <c:pt idx="1536">
                  <c:v>3706595.2519999999</c:v>
                </c:pt>
                <c:pt idx="1537">
                  <c:v>3640003.2519999999</c:v>
                </c:pt>
                <c:pt idx="1538">
                  <c:v>3710651.2519999999</c:v>
                </c:pt>
                <c:pt idx="1539">
                  <c:v>3816355.2519999999</c:v>
                </c:pt>
                <c:pt idx="1540">
                  <c:v>3861867.2519999999</c:v>
                </c:pt>
                <c:pt idx="1541">
                  <c:v>3838683.2519999999</c:v>
                </c:pt>
                <c:pt idx="1542">
                  <c:v>3824555.2519999999</c:v>
                </c:pt>
                <c:pt idx="1543">
                  <c:v>3757537.8539999998</c:v>
                </c:pt>
                <c:pt idx="1544">
                  <c:v>3757537.8539999998</c:v>
                </c:pt>
                <c:pt idx="1545">
                  <c:v>3757537.8539999998</c:v>
                </c:pt>
                <c:pt idx="1546">
                  <c:v>3757537.8539999998</c:v>
                </c:pt>
                <c:pt idx="1547">
                  <c:v>3757537.8539999998</c:v>
                </c:pt>
                <c:pt idx="1548">
                  <c:v>3757537.8539999998</c:v>
                </c:pt>
                <c:pt idx="1549">
                  <c:v>3757537.8539999998</c:v>
                </c:pt>
                <c:pt idx="1550">
                  <c:v>3757537.8539999998</c:v>
                </c:pt>
                <c:pt idx="1551">
                  <c:v>3757537.8539999998</c:v>
                </c:pt>
                <c:pt idx="1552">
                  <c:v>3757537.8539999998</c:v>
                </c:pt>
                <c:pt idx="1553">
                  <c:v>3757198.9959999998</c:v>
                </c:pt>
                <c:pt idx="1554">
                  <c:v>3921943.9959999998</c:v>
                </c:pt>
                <c:pt idx="1555">
                  <c:v>3981926.9959999998</c:v>
                </c:pt>
                <c:pt idx="1556">
                  <c:v>3969130.9959999998</c:v>
                </c:pt>
                <c:pt idx="1557">
                  <c:v>3995611.9959999998</c:v>
                </c:pt>
                <c:pt idx="1558">
                  <c:v>4030002.9959999998</c:v>
                </c:pt>
                <c:pt idx="1559">
                  <c:v>4116242.9959999998</c:v>
                </c:pt>
                <c:pt idx="1560">
                  <c:v>4090839.9959999998</c:v>
                </c:pt>
                <c:pt idx="1561">
                  <c:v>4084994.9959999998</c:v>
                </c:pt>
                <c:pt idx="1562">
                  <c:v>4083230.9959999998</c:v>
                </c:pt>
                <c:pt idx="1563">
                  <c:v>4103201.9959999998</c:v>
                </c:pt>
                <c:pt idx="1564">
                  <c:v>4023436.9959999998</c:v>
                </c:pt>
                <c:pt idx="1565">
                  <c:v>3913637.4589999998</c:v>
                </c:pt>
                <c:pt idx="1566">
                  <c:v>3913637.4589999998</c:v>
                </c:pt>
                <c:pt idx="1567">
                  <c:v>3913637.4589999998</c:v>
                </c:pt>
                <c:pt idx="1568">
                  <c:v>3913637.4589999998</c:v>
                </c:pt>
                <c:pt idx="1569">
                  <c:v>3913637.4589999998</c:v>
                </c:pt>
                <c:pt idx="1570">
                  <c:v>3913637.4589999998</c:v>
                </c:pt>
                <c:pt idx="1571">
                  <c:v>3913637.4589999998</c:v>
                </c:pt>
                <c:pt idx="1572">
                  <c:v>3913637.4589999998</c:v>
                </c:pt>
                <c:pt idx="1573">
                  <c:v>3913637.4589999998</c:v>
                </c:pt>
                <c:pt idx="1574">
                  <c:v>3913637.4589999998</c:v>
                </c:pt>
                <c:pt idx="1575">
                  <c:v>3913637.4589999998</c:v>
                </c:pt>
                <c:pt idx="1576">
                  <c:v>3913637.4589999998</c:v>
                </c:pt>
                <c:pt idx="1577">
                  <c:v>3913637.4589999998</c:v>
                </c:pt>
                <c:pt idx="1578">
                  <c:v>3913637.4589999998</c:v>
                </c:pt>
                <c:pt idx="1579">
                  <c:v>3913637.4589999998</c:v>
                </c:pt>
                <c:pt idx="1580">
                  <c:v>3913637.4589999998</c:v>
                </c:pt>
                <c:pt idx="1581">
                  <c:v>3913637.4589999998</c:v>
                </c:pt>
                <c:pt idx="1582">
                  <c:v>3913637.4589999998</c:v>
                </c:pt>
                <c:pt idx="1583">
                  <c:v>3913637.4589999998</c:v>
                </c:pt>
                <c:pt idx="1584">
                  <c:v>3913637.4589999998</c:v>
                </c:pt>
                <c:pt idx="1585">
                  <c:v>3913637.4589999998</c:v>
                </c:pt>
                <c:pt idx="1586">
                  <c:v>3913637.4589999998</c:v>
                </c:pt>
                <c:pt idx="1587">
                  <c:v>3913637.4589999998</c:v>
                </c:pt>
                <c:pt idx="1588">
                  <c:v>3913637.4589999998</c:v>
                </c:pt>
                <c:pt idx="1589">
                  <c:v>3913637.4589999998</c:v>
                </c:pt>
                <c:pt idx="1590">
                  <c:v>3913637.4589999998</c:v>
                </c:pt>
                <c:pt idx="1591">
                  <c:v>3913637.4589999998</c:v>
                </c:pt>
                <c:pt idx="1592">
                  <c:v>3913637.4589999998</c:v>
                </c:pt>
                <c:pt idx="1593">
                  <c:v>3913637.4589999998</c:v>
                </c:pt>
                <c:pt idx="1594">
                  <c:v>3913637.4589999998</c:v>
                </c:pt>
                <c:pt idx="1595">
                  <c:v>3913637.4589999998</c:v>
                </c:pt>
                <c:pt idx="1596">
                  <c:v>3913637.4589999998</c:v>
                </c:pt>
                <c:pt idx="1597">
                  <c:v>3913637.4589999998</c:v>
                </c:pt>
                <c:pt idx="1598">
                  <c:v>3913637.4589999998</c:v>
                </c:pt>
                <c:pt idx="1599">
                  <c:v>3913637.4589999998</c:v>
                </c:pt>
                <c:pt idx="1600">
                  <c:v>3913637.4589999998</c:v>
                </c:pt>
                <c:pt idx="1601">
                  <c:v>3913637.4589999998</c:v>
                </c:pt>
                <c:pt idx="1602">
                  <c:v>3913637.4589999998</c:v>
                </c:pt>
                <c:pt idx="1603">
                  <c:v>3913637.4589999998</c:v>
                </c:pt>
                <c:pt idx="1604">
                  <c:v>3913637.4589999998</c:v>
                </c:pt>
                <c:pt idx="1605">
                  <c:v>3913637.4589999998</c:v>
                </c:pt>
                <c:pt idx="1606">
                  <c:v>3913637.4589999998</c:v>
                </c:pt>
                <c:pt idx="1607">
                  <c:v>3913637.4589999998</c:v>
                </c:pt>
                <c:pt idx="1608">
                  <c:v>3913637.4589999998</c:v>
                </c:pt>
                <c:pt idx="1609">
                  <c:v>3913637.4589999998</c:v>
                </c:pt>
                <c:pt idx="1610">
                  <c:v>3913637.4589999998</c:v>
                </c:pt>
                <c:pt idx="1611">
                  <c:v>3913637.4589999998</c:v>
                </c:pt>
                <c:pt idx="1612">
                  <c:v>3913637.4589999998</c:v>
                </c:pt>
                <c:pt idx="1613">
                  <c:v>3913637.4589999998</c:v>
                </c:pt>
                <c:pt idx="1614">
                  <c:v>3913637.4589999998</c:v>
                </c:pt>
                <c:pt idx="1615">
                  <c:v>3913637.4589999998</c:v>
                </c:pt>
                <c:pt idx="1616">
                  <c:v>3913637.4589999998</c:v>
                </c:pt>
                <c:pt idx="1617">
                  <c:v>3913637.4589999998</c:v>
                </c:pt>
                <c:pt idx="1618">
                  <c:v>3913637.4589999998</c:v>
                </c:pt>
                <c:pt idx="1619">
                  <c:v>3913637.4589999998</c:v>
                </c:pt>
                <c:pt idx="1620">
                  <c:v>3913637.4589999998</c:v>
                </c:pt>
                <c:pt idx="1621">
                  <c:v>3913637.4589999998</c:v>
                </c:pt>
                <c:pt idx="1622">
                  <c:v>3913637.4589999998</c:v>
                </c:pt>
                <c:pt idx="1623">
                  <c:v>3913637.4589999998</c:v>
                </c:pt>
                <c:pt idx="1624">
                  <c:v>3913637.4589999998</c:v>
                </c:pt>
                <c:pt idx="1625">
                  <c:v>3913637.4589999998</c:v>
                </c:pt>
                <c:pt idx="1626">
                  <c:v>3913637.4589999998</c:v>
                </c:pt>
                <c:pt idx="1627">
                  <c:v>3913259.1910000001</c:v>
                </c:pt>
                <c:pt idx="1628">
                  <c:v>4101683.1910000001</c:v>
                </c:pt>
                <c:pt idx="1629">
                  <c:v>4014983.1910000001</c:v>
                </c:pt>
                <c:pt idx="1630">
                  <c:v>4032107.1910000001</c:v>
                </c:pt>
                <c:pt idx="1631">
                  <c:v>4100086.2009999999</c:v>
                </c:pt>
                <c:pt idx="1632">
                  <c:v>4100086.2009999999</c:v>
                </c:pt>
                <c:pt idx="1633">
                  <c:v>4100086.2009999999</c:v>
                </c:pt>
                <c:pt idx="1634">
                  <c:v>4100086.2009999999</c:v>
                </c:pt>
                <c:pt idx="1635">
                  <c:v>4100086.2009999999</c:v>
                </c:pt>
                <c:pt idx="1636">
                  <c:v>4100086.2009999999</c:v>
                </c:pt>
                <c:pt idx="1637">
                  <c:v>4100086.2009999999</c:v>
                </c:pt>
                <c:pt idx="1638">
                  <c:v>4100086.2009999999</c:v>
                </c:pt>
                <c:pt idx="1639">
                  <c:v>4100086.2009999999</c:v>
                </c:pt>
                <c:pt idx="1640">
                  <c:v>4100086.2009999999</c:v>
                </c:pt>
                <c:pt idx="1641">
                  <c:v>4100086.2009999999</c:v>
                </c:pt>
                <c:pt idx="1642">
                  <c:v>4100086.2009999999</c:v>
                </c:pt>
                <c:pt idx="1643">
                  <c:v>4100086.2009999999</c:v>
                </c:pt>
                <c:pt idx="1644">
                  <c:v>4100086.2009999999</c:v>
                </c:pt>
                <c:pt idx="1645">
                  <c:v>4100086.2009999999</c:v>
                </c:pt>
                <c:pt idx="1646">
                  <c:v>4100086.2009999999</c:v>
                </c:pt>
                <c:pt idx="1647">
                  <c:v>4100086.2009999999</c:v>
                </c:pt>
                <c:pt idx="1648">
                  <c:v>4099704.1439999999</c:v>
                </c:pt>
                <c:pt idx="1649">
                  <c:v>4156112.1439999999</c:v>
                </c:pt>
                <c:pt idx="1650">
                  <c:v>4207493.1440000003</c:v>
                </c:pt>
                <c:pt idx="1651">
                  <c:v>4227315.1440000003</c:v>
                </c:pt>
                <c:pt idx="1652">
                  <c:v>4231297.1440000003</c:v>
                </c:pt>
                <c:pt idx="1653">
                  <c:v>4156541.1439999999</c:v>
                </c:pt>
                <c:pt idx="1654">
                  <c:v>4165770.1439999999</c:v>
                </c:pt>
                <c:pt idx="1655">
                  <c:v>4166617.1439999999</c:v>
                </c:pt>
                <c:pt idx="1656">
                  <c:v>4102685.1439999999</c:v>
                </c:pt>
                <c:pt idx="1657">
                  <c:v>4091168.1439999999</c:v>
                </c:pt>
                <c:pt idx="1658">
                  <c:v>4270523.1440000003</c:v>
                </c:pt>
                <c:pt idx="1659">
                  <c:v>4355288.4869999997</c:v>
                </c:pt>
                <c:pt idx="1660">
                  <c:v>4354871.216</c:v>
                </c:pt>
                <c:pt idx="1661">
                  <c:v>4406549.216</c:v>
                </c:pt>
                <c:pt idx="1662">
                  <c:v>4398728.216</c:v>
                </c:pt>
                <c:pt idx="1663">
                  <c:v>4399179.216</c:v>
                </c:pt>
                <c:pt idx="1664">
                  <c:v>4357016.216</c:v>
                </c:pt>
                <c:pt idx="1665">
                  <c:v>4303028.216</c:v>
                </c:pt>
                <c:pt idx="1666">
                  <c:v>4322707.216</c:v>
                </c:pt>
                <c:pt idx="1667">
                  <c:v>4316393.216</c:v>
                </c:pt>
                <c:pt idx="1668">
                  <c:v>4269302.216</c:v>
                </c:pt>
                <c:pt idx="1669">
                  <c:v>4334631.216</c:v>
                </c:pt>
                <c:pt idx="1670">
                  <c:v>4333982.216</c:v>
                </c:pt>
                <c:pt idx="1671">
                  <c:v>4310838.216</c:v>
                </c:pt>
                <c:pt idx="1672">
                  <c:v>4311443.216</c:v>
                </c:pt>
                <c:pt idx="1673">
                  <c:v>4341935.216</c:v>
                </c:pt>
                <c:pt idx="1674">
                  <c:v>4317537.216</c:v>
                </c:pt>
                <c:pt idx="1675">
                  <c:v>4094853.216</c:v>
                </c:pt>
                <c:pt idx="1676">
                  <c:v>4104822.9109999998</c:v>
                </c:pt>
                <c:pt idx="1677">
                  <c:v>4104822.9109999998</c:v>
                </c:pt>
                <c:pt idx="1678">
                  <c:v>4104822.9109999998</c:v>
                </c:pt>
                <c:pt idx="1679">
                  <c:v>4104822.9109999998</c:v>
                </c:pt>
                <c:pt idx="1680">
                  <c:v>4104822.9109999998</c:v>
                </c:pt>
                <c:pt idx="1681">
                  <c:v>4104822.9109999998</c:v>
                </c:pt>
                <c:pt idx="1682">
                  <c:v>4104822.9109999998</c:v>
                </c:pt>
                <c:pt idx="1683">
                  <c:v>4104822.9109999998</c:v>
                </c:pt>
                <c:pt idx="1684">
                  <c:v>4104822.9109999998</c:v>
                </c:pt>
                <c:pt idx="1685">
                  <c:v>4104822.9109999998</c:v>
                </c:pt>
                <c:pt idx="1686">
                  <c:v>4104822.9109999998</c:v>
                </c:pt>
                <c:pt idx="1687">
                  <c:v>4104822.9109999998</c:v>
                </c:pt>
                <c:pt idx="1688">
                  <c:v>4104822.9109999998</c:v>
                </c:pt>
                <c:pt idx="1689">
                  <c:v>4104822.9109999998</c:v>
                </c:pt>
                <c:pt idx="1690">
                  <c:v>4104822.9109999998</c:v>
                </c:pt>
                <c:pt idx="1691">
                  <c:v>4104822.9109999998</c:v>
                </c:pt>
                <c:pt idx="1692">
                  <c:v>4104822.9109999998</c:v>
                </c:pt>
                <c:pt idx="1693">
                  <c:v>4104822.9109999998</c:v>
                </c:pt>
                <c:pt idx="1694">
                  <c:v>4104822.9109999998</c:v>
                </c:pt>
                <c:pt idx="1695">
                  <c:v>4104822.9109999998</c:v>
                </c:pt>
                <c:pt idx="1696">
                  <c:v>4104822.9109999998</c:v>
                </c:pt>
                <c:pt idx="1697">
                  <c:v>4104822.9109999998</c:v>
                </c:pt>
                <c:pt idx="1698">
                  <c:v>4104822.9109999998</c:v>
                </c:pt>
                <c:pt idx="1699">
                  <c:v>4104822.9109999998</c:v>
                </c:pt>
                <c:pt idx="1700">
                  <c:v>4104822.9109999998</c:v>
                </c:pt>
                <c:pt idx="1701">
                  <c:v>4104822.9109999998</c:v>
                </c:pt>
                <c:pt idx="1702">
                  <c:v>4104822.9109999998</c:v>
                </c:pt>
                <c:pt idx="1703">
                  <c:v>4104822.9109999998</c:v>
                </c:pt>
                <c:pt idx="1704">
                  <c:v>4104822.9109999998</c:v>
                </c:pt>
                <c:pt idx="1705">
                  <c:v>4104822.9109999998</c:v>
                </c:pt>
                <c:pt idx="1706">
                  <c:v>4104822.9109999998</c:v>
                </c:pt>
                <c:pt idx="1707">
                  <c:v>4104822.9109999998</c:v>
                </c:pt>
                <c:pt idx="1708">
                  <c:v>4104822.9109999998</c:v>
                </c:pt>
                <c:pt idx="1709">
                  <c:v>4104822.9109999998</c:v>
                </c:pt>
                <c:pt idx="1710">
                  <c:v>4104822.9109999998</c:v>
                </c:pt>
                <c:pt idx="1711">
                  <c:v>4104822.9109999998</c:v>
                </c:pt>
                <c:pt idx="1712">
                  <c:v>4104822.9109999998</c:v>
                </c:pt>
                <c:pt idx="1713">
                  <c:v>4104822.9109999998</c:v>
                </c:pt>
                <c:pt idx="1714">
                  <c:v>4104822.9109999998</c:v>
                </c:pt>
                <c:pt idx="1715">
                  <c:v>4104822.9109999998</c:v>
                </c:pt>
                <c:pt idx="1716">
                  <c:v>4104822.9109999998</c:v>
                </c:pt>
                <c:pt idx="1717">
                  <c:v>4104412.662</c:v>
                </c:pt>
                <c:pt idx="1718">
                  <c:v>3997186.662</c:v>
                </c:pt>
                <c:pt idx="1719">
                  <c:v>4126448.662</c:v>
                </c:pt>
                <c:pt idx="1720">
                  <c:v>4063392.662</c:v>
                </c:pt>
                <c:pt idx="1721">
                  <c:v>4147784.662</c:v>
                </c:pt>
                <c:pt idx="1722">
                  <c:v>4130018.662</c:v>
                </c:pt>
                <c:pt idx="1723">
                  <c:v>4180586.662</c:v>
                </c:pt>
                <c:pt idx="1724">
                  <c:v>4151228.662</c:v>
                </c:pt>
                <c:pt idx="1725">
                  <c:v>4127316.662</c:v>
                </c:pt>
                <c:pt idx="1726">
                  <c:v>4253778.6619999995</c:v>
                </c:pt>
                <c:pt idx="1727">
                  <c:v>4290570.6619999995</c:v>
                </c:pt>
                <c:pt idx="1728">
                  <c:v>4277102.6619999995</c:v>
                </c:pt>
                <c:pt idx="1729">
                  <c:v>4274148.6619999995</c:v>
                </c:pt>
                <c:pt idx="1730">
                  <c:v>4368340.6619999995</c:v>
                </c:pt>
                <c:pt idx="1731">
                  <c:v>4327026.6619999995</c:v>
                </c:pt>
                <c:pt idx="1732">
                  <c:v>4354857.3250000002</c:v>
                </c:pt>
                <c:pt idx="1733">
                  <c:v>4354857.3250000002</c:v>
                </c:pt>
                <c:pt idx="1734">
                  <c:v>4354857.3250000002</c:v>
                </c:pt>
                <c:pt idx="1735">
                  <c:v>4354857.3250000002</c:v>
                </c:pt>
                <c:pt idx="1736">
                  <c:v>4354857.3250000002</c:v>
                </c:pt>
                <c:pt idx="1737">
                  <c:v>4354857.3250000002</c:v>
                </c:pt>
                <c:pt idx="1738">
                  <c:v>4354857.3250000002</c:v>
                </c:pt>
                <c:pt idx="1739">
                  <c:v>4354857.3250000002</c:v>
                </c:pt>
                <c:pt idx="1740">
                  <c:v>4354857.3250000002</c:v>
                </c:pt>
                <c:pt idx="1741">
                  <c:v>4354857.3250000002</c:v>
                </c:pt>
                <c:pt idx="1742">
                  <c:v>4354857.3250000002</c:v>
                </c:pt>
                <c:pt idx="1743">
                  <c:v>4354857.3250000002</c:v>
                </c:pt>
                <c:pt idx="1744">
                  <c:v>4354857.3250000002</c:v>
                </c:pt>
                <c:pt idx="1745">
                  <c:v>4354857.3250000002</c:v>
                </c:pt>
                <c:pt idx="1746">
                  <c:v>4354857.3250000002</c:v>
                </c:pt>
                <c:pt idx="1747">
                  <c:v>4354857.3250000002</c:v>
                </c:pt>
                <c:pt idx="1748">
                  <c:v>4354857.3250000002</c:v>
                </c:pt>
                <c:pt idx="1749">
                  <c:v>4354857.3250000002</c:v>
                </c:pt>
                <c:pt idx="1750">
                  <c:v>4354857.3250000002</c:v>
                </c:pt>
                <c:pt idx="1751">
                  <c:v>4354857.3250000002</c:v>
                </c:pt>
                <c:pt idx="1752">
                  <c:v>4354857.3250000002</c:v>
                </c:pt>
                <c:pt idx="1753">
                  <c:v>4354857.3250000002</c:v>
                </c:pt>
                <c:pt idx="1754">
                  <c:v>4354857.3250000002</c:v>
                </c:pt>
                <c:pt idx="1755">
                  <c:v>4354857.3250000002</c:v>
                </c:pt>
                <c:pt idx="1756">
                  <c:v>4354857.3250000002</c:v>
                </c:pt>
                <c:pt idx="1757">
                  <c:v>4354857.3250000002</c:v>
                </c:pt>
                <c:pt idx="1758">
                  <c:v>4354857.3250000002</c:v>
                </c:pt>
                <c:pt idx="1759">
                  <c:v>4354857.3250000002</c:v>
                </c:pt>
                <c:pt idx="1760">
                  <c:v>4354857.3250000002</c:v>
                </c:pt>
                <c:pt idx="1761">
                  <c:v>4354857.3250000002</c:v>
                </c:pt>
                <c:pt idx="1762">
                  <c:v>4354857.3250000002</c:v>
                </c:pt>
                <c:pt idx="1763">
                  <c:v>4354857.3250000002</c:v>
                </c:pt>
                <c:pt idx="1764">
                  <c:v>4354857.3250000002</c:v>
                </c:pt>
                <c:pt idx="1765">
                  <c:v>4354857.3250000002</c:v>
                </c:pt>
                <c:pt idx="1766">
                  <c:v>4354857.3250000002</c:v>
                </c:pt>
                <c:pt idx="1767">
                  <c:v>4354857.3250000002</c:v>
                </c:pt>
                <c:pt idx="1768">
                  <c:v>4354857.3250000002</c:v>
                </c:pt>
                <c:pt idx="1769">
                  <c:v>4354857.3250000002</c:v>
                </c:pt>
                <c:pt idx="1770">
                  <c:v>4354857.3250000002</c:v>
                </c:pt>
                <c:pt idx="1771">
                  <c:v>4354857.3250000002</c:v>
                </c:pt>
                <c:pt idx="1772">
                  <c:v>4354857.3250000002</c:v>
                </c:pt>
                <c:pt idx="1773">
                  <c:v>4354857.3250000002</c:v>
                </c:pt>
                <c:pt idx="1774">
                  <c:v>4354857.3250000002</c:v>
                </c:pt>
                <c:pt idx="1775">
                  <c:v>4354857.3250000002</c:v>
                </c:pt>
                <c:pt idx="1776">
                  <c:v>4354857.3250000002</c:v>
                </c:pt>
                <c:pt idx="1777">
                  <c:v>4354857.3250000002</c:v>
                </c:pt>
                <c:pt idx="1778">
                  <c:v>4354857.3250000002</c:v>
                </c:pt>
                <c:pt idx="1779">
                  <c:v>4354857.3250000002</c:v>
                </c:pt>
                <c:pt idx="1780">
                  <c:v>4354857.3250000002</c:v>
                </c:pt>
                <c:pt idx="1781">
                  <c:v>4354857.3250000002</c:v>
                </c:pt>
                <c:pt idx="1782">
                  <c:v>4354857.3250000002</c:v>
                </c:pt>
                <c:pt idx="1783">
                  <c:v>4354857.3250000002</c:v>
                </c:pt>
                <c:pt idx="1784">
                  <c:v>4354857.3250000002</c:v>
                </c:pt>
                <c:pt idx="1785">
                  <c:v>4354857.3250000002</c:v>
                </c:pt>
                <c:pt idx="1786">
                  <c:v>4354857.3250000002</c:v>
                </c:pt>
                <c:pt idx="1787">
                  <c:v>4354857.3250000002</c:v>
                </c:pt>
                <c:pt idx="1788">
                  <c:v>4354857.3250000002</c:v>
                </c:pt>
                <c:pt idx="1789">
                  <c:v>4354857.3250000002</c:v>
                </c:pt>
                <c:pt idx="1790">
                  <c:v>4354857.3250000002</c:v>
                </c:pt>
                <c:pt idx="1791">
                  <c:v>4354857.3250000002</c:v>
                </c:pt>
                <c:pt idx="1792">
                  <c:v>4354857.3250000002</c:v>
                </c:pt>
                <c:pt idx="1793">
                  <c:v>4354857.3250000002</c:v>
                </c:pt>
                <c:pt idx="1794">
                  <c:v>4354857.3250000002</c:v>
                </c:pt>
                <c:pt idx="1795">
                  <c:v>4354857.3250000002</c:v>
                </c:pt>
                <c:pt idx="1796">
                  <c:v>4354857.3250000002</c:v>
                </c:pt>
                <c:pt idx="1797">
                  <c:v>4354857.3250000002</c:v>
                </c:pt>
                <c:pt idx="1798">
                  <c:v>4354857.3250000002</c:v>
                </c:pt>
                <c:pt idx="1799">
                  <c:v>4354445.2819999997</c:v>
                </c:pt>
                <c:pt idx="1800">
                  <c:v>4342732.2819999997</c:v>
                </c:pt>
                <c:pt idx="1801">
                  <c:v>4351247.2819999997</c:v>
                </c:pt>
                <c:pt idx="1802">
                  <c:v>4380146.2819999997</c:v>
                </c:pt>
                <c:pt idx="1803">
                  <c:v>4366444.2819999997</c:v>
                </c:pt>
                <c:pt idx="1804">
                  <c:v>4364182.2819999997</c:v>
                </c:pt>
                <c:pt idx="1805">
                  <c:v>4347204.2819999997</c:v>
                </c:pt>
                <c:pt idx="1806">
                  <c:v>4220259.2819999997</c:v>
                </c:pt>
                <c:pt idx="1807">
                  <c:v>4232791.2819999997</c:v>
                </c:pt>
                <c:pt idx="1808">
                  <c:v>4285298.2819999997</c:v>
                </c:pt>
                <c:pt idx="1809">
                  <c:v>4257088.2819999997</c:v>
                </c:pt>
                <c:pt idx="1810">
                  <c:v>4277485.2819999997</c:v>
                </c:pt>
                <c:pt idx="1811">
                  <c:v>4280488.2819999997</c:v>
                </c:pt>
                <c:pt idx="1812">
                  <c:v>4272233.2819999997</c:v>
                </c:pt>
                <c:pt idx="1813">
                  <c:v>4307757.8679999998</c:v>
                </c:pt>
                <c:pt idx="1814">
                  <c:v>4307757.8679999998</c:v>
                </c:pt>
                <c:pt idx="1815">
                  <c:v>4307757.8679999998</c:v>
                </c:pt>
                <c:pt idx="1816">
                  <c:v>4307757.8679999998</c:v>
                </c:pt>
                <c:pt idx="1817">
                  <c:v>4307757.8679999998</c:v>
                </c:pt>
                <c:pt idx="1818">
                  <c:v>4307757.8679999998</c:v>
                </c:pt>
                <c:pt idx="1819">
                  <c:v>4307757.8679999998</c:v>
                </c:pt>
                <c:pt idx="1820">
                  <c:v>4307757.8679999998</c:v>
                </c:pt>
                <c:pt idx="1821">
                  <c:v>4307757.8679999998</c:v>
                </c:pt>
                <c:pt idx="1822">
                  <c:v>4307757.8679999998</c:v>
                </c:pt>
                <c:pt idx="1823">
                  <c:v>4307757.8679999998</c:v>
                </c:pt>
                <c:pt idx="1824">
                  <c:v>4307757.8679999998</c:v>
                </c:pt>
                <c:pt idx="1825">
                  <c:v>4307757.8679999998</c:v>
                </c:pt>
                <c:pt idx="1826">
                  <c:v>4307757.8679999998</c:v>
                </c:pt>
                <c:pt idx="1827">
                  <c:v>4307757.8679999998</c:v>
                </c:pt>
                <c:pt idx="1828">
                  <c:v>4307757.8679999998</c:v>
                </c:pt>
                <c:pt idx="1829">
                  <c:v>4307757.8679999998</c:v>
                </c:pt>
                <c:pt idx="1830">
                  <c:v>4307757.8679999998</c:v>
                </c:pt>
                <c:pt idx="1831">
                  <c:v>4307757.8679999998</c:v>
                </c:pt>
                <c:pt idx="1832">
                  <c:v>4307757.8679999998</c:v>
                </c:pt>
                <c:pt idx="1833">
                  <c:v>4307757.8679999998</c:v>
                </c:pt>
                <c:pt idx="1834">
                  <c:v>4307757.8679999998</c:v>
                </c:pt>
                <c:pt idx="1835">
                  <c:v>4307757.8679999998</c:v>
                </c:pt>
                <c:pt idx="1836">
                  <c:v>4307757.8679999998</c:v>
                </c:pt>
                <c:pt idx="1837">
                  <c:v>4307757.8679999998</c:v>
                </c:pt>
                <c:pt idx="1838">
                  <c:v>4307757.8679999998</c:v>
                </c:pt>
                <c:pt idx="1839">
                  <c:v>4307757.8679999998</c:v>
                </c:pt>
                <c:pt idx="1840">
                  <c:v>4307757.8679999998</c:v>
                </c:pt>
                <c:pt idx="1841">
                  <c:v>4307757.8679999998</c:v>
                </c:pt>
                <c:pt idx="1842">
                  <c:v>4307757.8679999998</c:v>
                </c:pt>
                <c:pt idx="1843">
                  <c:v>4307757.8679999998</c:v>
                </c:pt>
                <c:pt idx="1844">
                  <c:v>4307757.8679999998</c:v>
                </c:pt>
                <c:pt idx="1845">
                  <c:v>4307757.8679999998</c:v>
                </c:pt>
                <c:pt idx="1846">
                  <c:v>4307757.8679999998</c:v>
                </c:pt>
                <c:pt idx="1847">
                  <c:v>4307757.8679999998</c:v>
                </c:pt>
                <c:pt idx="1848">
                  <c:v>4307757.8679999998</c:v>
                </c:pt>
                <c:pt idx="1849">
                  <c:v>4307757.8679999998</c:v>
                </c:pt>
                <c:pt idx="1850">
                  <c:v>4307757.8679999998</c:v>
                </c:pt>
                <c:pt idx="1851">
                  <c:v>4307757.8679999998</c:v>
                </c:pt>
                <c:pt idx="1852">
                  <c:v>4307352.4780000001</c:v>
                </c:pt>
                <c:pt idx="1853">
                  <c:v>4301112.4780000001</c:v>
                </c:pt>
                <c:pt idx="1854">
                  <c:v>4290840.4780000001</c:v>
                </c:pt>
                <c:pt idx="1855">
                  <c:v>4291476.4780000001</c:v>
                </c:pt>
                <c:pt idx="1856">
                  <c:v>4257600.4780000001</c:v>
                </c:pt>
                <c:pt idx="1857">
                  <c:v>4263648.4780000001</c:v>
                </c:pt>
                <c:pt idx="1858">
                  <c:v>4249284.4780000001</c:v>
                </c:pt>
                <c:pt idx="1859">
                  <c:v>4224216.4780000001</c:v>
                </c:pt>
                <c:pt idx="1860">
                  <c:v>4221960.4780000001</c:v>
                </c:pt>
                <c:pt idx="1861">
                  <c:v>4222788.4780000001</c:v>
                </c:pt>
                <c:pt idx="1862">
                  <c:v>4227840.4780000001</c:v>
                </c:pt>
                <c:pt idx="1863">
                  <c:v>4246800.4780000001</c:v>
                </c:pt>
                <c:pt idx="1864">
                  <c:v>4215348.4780000001</c:v>
                </c:pt>
                <c:pt idx="1865">
                  <c:v>4230384.4780000001</c:v>
                </c:pt>
                <c:pt idx="1866">
                  <c:v>4237068.4780000001</c:v>
                </c:pt>
                <c:pt idx="1867">
                  <c:v>4264608.4780000001</c:v>
                </c:pt>
                <c:pt idx="1868">
                  <c:v>4262436.4780000001</c:v>
                </c:pt>
                <c:pt idx="1869">
                  <c:v>4260924.4780000001</c:v>
                </c:pt>
                <c:pt idx="1870">
                  <c:v>4235100.4780000001</c:v>
                </c:pt>
                <c:pt idx="1871">
                  <c:v>4168572.4780000001</c:v>
                </c:pt>
                <c:pt idx="1872">
                  <c:v>4165848.4780000001</c:v>
                </c:pt>
                <c:pt idx="1873">
                  <c:v>4139928.4780000001</c:v>
                </c:pt>
                <c:pt idx="1874">
                  <c:v>4169196.4780000001</c:v>
                </c:pt>
                <c:pt idx="1875">
                  <c:v>4162332.4780000001</c:v>
                </c:pt>
                <c:pt idx="1876">
                  <c:v>4173420.4780000001</c:v>
                </c:pt>
                <c:pt idx="1877">
                  <c:v>4202796.4780000001</c:v>
                </c:pt>
                <c:pt idx="1878">
                  <c:v>4184256.4780000001</c:v>
                </c:pt>
                <c:pt idx="1879">
                  <c:v>4117788.4780000001</c:v>
                </c:pt>
                <c:pt idx="1880">
                  <c:v>4142352.4780000001</c:v>
                </c:pt>
                <c:pt idx="1881">
                  <c:v>4130520.4780000001</c:v>
                </c:pt>
                <c:pt idx="1882">
                  <c:v>4146720.4780000001</c:v>
                </c:pt>
                <c:pt idx="1883">
                  <c:v>4157388.4780000001</c:v>
                </c:pt>
                <c:pt idx="1884">
                  <c:v>4206096.4780000001</c:v>
                </c:pt>
                <c:pt idx="1885">
                  <c:v>4221324.4780000001</c:v>
                </c:pt>
                <c:pt idx="1886">
                  <c:v>4213464.4780000001</c:v>
                </c:pt>
                <c:pt idx="1887">
                  <c:v>4216632.4780000001</c:v>
                </c:pt>
                <c:pt idx="1888">
                  <c:v>4220472.4780000001</c:v>
                </c:pt>
                <c:pt idx="1889">
                  <c:v>4186908.4780000001</c:v>
                </c:pt>
                <c:pt idx="1890">
                  <c:v>4239048.4780000001</c:v>
                </c:pt>
                <c:pt idx="1891">
                  <c:v>4232940.4780000001</c:v>
                </c:pt>
                <c:pt idx="1892">
                  <c:v>4235772.4780000001</c:v>
                </c:pt>
                <c:pt idx="1893">
                  <c:v>4246740.4780000001</c:v>
                </c:pt>
                <c:pt idx="1894">
                  <c:v>4294548.4780000001</c:v>
                </c:pt>
                <c:pt idx="1895">
                  <c:v>4294392.4780000001</c:v>
                </c:pt>
                <c:pt idx="1896">
                  <c:v>4279212.4780000001</c:v>
                </c:pt>
                <c:pt idx="1897">
                  <c:v>4268292.4780000001</c:v>
                </c:pt>
                <c:pt idx="1898">
                  <c:v>4261608.4780000001</c:v>
                </c:pt>
                <c:pt idx="1899">
                  <c:v>4256988.4780000001</c:v>
                </c:pt>
                <c:pt idx="1900">
                  <c:v>4284312.4780000001</c:v>
                </c:pt>
                <c:pt idx="1901">
                  <c:v>4253472.4780000001</c:v>
                </c:pt>
                <c:pt idx="1902">
                  <c:v>4291560.4780000001</c:v>
                </c:pt>
                <c:pt idx="1903">
                  <c:v>4278456.4780000001</c:v>
                </c:pt>
                <c:pt idx="1904">
                  <c:v>4281360.4780000001</c:v>
                </c:pt>
                <c:pt idx="1905">
                  <c:v>4298796.4780000001</c:v>
                </c:pt>
                <c:pt idx="1906">
                  <c:v>4277112.4780000001</c:v>
                </c:pt>
                <c:pt idx="1907">
                  <c:v>4321777.6040000003</c:v>
                </c:pt>
                <c:pt idx="1908">
                  <c:v>4321777.6040000003</c:v>
                </c:pt>
                <c:pt idx="1909">
                  <c:v>4321777.6040000003</c:v>
                </c:pt>
                <c:pt idx="1910">
                  <c:v>4321366.0199999996</c:v>
                </c:pt>
                <c:pt idx="1911">
                  <c:v>4321030.0199999996</c:v>
                </c:pt>
                <c:pt idx="1912">
                  <c:v>4329370.0199999996</c:v>
                </c:pt>
                <c:pt idx="1913">
                  <c:v>4306474.0199999996</c:v>
                </c:pt>
                <c:pt idx="1914">
                  <c:v>4334854.0199999996</c:v>
                </c:pt>
                <c:pt idx="1915">
                  <c:v>4367554.0199999996</c:v>
                </c:pt>
                <c:pt idx="1916">
                  <c:v>4375198.0199999996</c:v>
                </c:pt>
                <c:pt idx="1917">
                  <c:v>4392010.0199999996</c:v>
                </c:pt>
                <c:pt idx="1918">
                  <c:v>4431082.0199999996</c:v>
                </c:pt>
                <c:pt idx="1919">
                  <c:v>4447618.0199999996</c:v>
                </c:pt>
                <c:pt idx="1920">
                  <c:v>4482370.0199999996</c:v>
                </c:pt>
                <c:pt idx="1921">
                  <c:v>4451122.0199999996</c:v>
                </c:pt>
                <c:pt idx="1922">
                  <c:v>4483570.0199999996</c:v>
                </c:pt>
                <c:pt idx="1923">
                  <c:v>4440262.0199999996</c:v>
                </c:pt>
                <c:pt idx="1924">
                  <c:v>4368814.0199999996</c:v>
                </c:pt>
                <c:pt idx="1925">
                  <c:v>4356502.0199999996</c:v>
                </c:pt>
                <c:pt idx="1926">
                  <c:v>4376422.0199999996</c:v>
                </c:pt>
                <c:pt idx="1927">
                  <c:v>4369690.0199999996</c:v>
                </c:pt>
                <c:pt idx="1928">
                  <c:v>4397962.0199999996</c:v>
                </c:pt>
                <c:pt idx="1929">
                  <c:v>4296538.0199999996</c:v>
                </c:pt>
                <c:pt idx="1930">
                  <c:v>4291570.0199999996</c:v>
                </c:pt>
                <c:pt idx="1931">
                  <c:v>4260262.0199999996</c:v>
                </c:pt>
                <c:pt idx="1932">
                  <c:v>4214038.0199999996</c:v>
                </c:pt>
                <c:pt idx="1933">
                  <c:v>4220758.0199999996</c:v>
                </c:pt>
                <c:pt idx="1934">
                  <c:v>4200298.0199999996</c:v>
                </c:pt>
                <c:pt idx="1935">
                  <c:v>4176394.02</c:v>
                </c:pt>
                <c:pt idx="1936">
                  <c:v>4211770.0199999996</c:v>
                </c:pt>
                <c:pt idx="1937">
                  <c:v>4208326.0199999996</c:v>
                </c:pt>
                <c:pt idx="1938">
                  <c:v>4174642.02</c:v>
                </c:pt>
                <c:pt idx="1939">
                  <c:v>4192402.02</c:v>
                </c:pt>
                <c:pt idx="1940">
                  <c:v>4185190.02</c:v>
                </c:pt>
                <c:pt idx="1941">
                  <c:v>4167790.02</c:v>
                </c:pt>
                <c:pt idx="1942">
                  <c:v>4162834.02</c:v>
                </c:pt>
                <c:pt idx="1943">
                  <c:v>4177618.02</c:v>
                </c:pt>
                <c:pt idx="1944">
                  <c:v>4216198.0199999996</c:v>
                </c:pt>
                <c:pt idx="1945">
                  <c:v>4247494.0199999996</c:v>
                </c:pt>
                <c:pt idx="1946">
                  <c:v>4246870.0199999996</c:v>
                </c:pt>
                <c:pt idx="1947">
                  <c:v>4222726.0199999996</c:v>
                </c:pt>
                <c:pt idx="1948">
                  <c:v>4242202.0199999996</c:v>
                </c:pt>
                <c:pt idx="1949">
                  <c:v>4235446.0199999996</c:v>
                </c:pt>
                <c:pt idx="1950">
                  <c:v>4206521.88</c:v>
                </c:pt>
                <c:pt idx="1951">
                  <c:v>4206521.88</c:v>
                </c:pt>
                <c:pt idx="1952">
                  <c:v>4206521.88</c:v>
                </c:pt>
                <c:pt idx="1953">
                  <c:v>4206521.88</c:v>
                </c:pt>
                <c:pt idx="1954">
                  <c:v>4206521.88</c:v>
                </c:pt>
                <c:pt idx="1955">
                  <c:v>4206521.88</c:v>
                </c:pt>
                <c:pt idx="1956">
                  <c:v>4206521.88</c:v>
                </c:pt>
                <c:pt idx="1957">
                  <c:v>4206521.88</c:v>
                </c:pt>
                <c:pt idx="1958">
                  <c:v>4206521.88</c:v>
                </c:pt>
                <c:pt idx="1959">
                  <c:v>4206521.88</c:v>
                </c:pt>
                <c:pt idx="1960">
                  <c:v>4206521.88</c:v>
                </c:pt>
                <c:pt idx="1961">
                  <c:v>4206521.88</c:v>
                </c:pt>
                <c:pt idx="1962">
                  <c:v>4206521.88</c:v>
                </c:pt>
                <c:pt idx="1963">
                  <c:v>4206521.88</c:v>
                </c:pt>
                <c:pt idx="1964">
                  <c:v>4206521.88</c:v>
                </c:pt>
                <c:pt idx="1965">
                  <c:v>4206521.88</c:v>
                </c:pt>
                <c:pt idx="1966">
                  <c:v>4206521.88</c:v>
                </c:pt>
                <c:pt idx="1967">
                  <c:v>4206521.88</c:v>
                </c:pt>
                <c:pt idx="1968">
                  <c:v>4206521.88</c:v>
                </c:pt>
                <c:pt idx="1969">
                  <c:v>4206521.88</c:v>
                </c:pt>
                <c:pt idx="1970">
                  <c:v>4206521.88</c:v>
                </c:pt>
                <c:pt idx="1971">
                  <c:v>4206521.88</c:v>
                </c:pt>
                <c:pt idx="1972">
                  <c:v>4206521.88</c:v>
                </c:pt>
                <c:pt idx="1973">
                  <c:v>4206521.88</c:v>
                </c:pt>
                <c:pt idx="1974">
                  <c:v>4206103.9419999998</c:v>
                </c:pt>
                <c:pt idx="1975">
                  <c:v>4214431.9419999998</c:v>
                </c:pt>
                <c:pt idx="1976">
                  <c:v>4194703.9419999998</c:v>
                </c:pt>
                <c:pt idx="1977">
                  <c:v>4195339.9419999998</c:v>
                </c:pt>
                <c:pt idx="1978">
                  <c:v>4162183.9419999998</c:v>
                </c:pt>
                <c:pt idx="1979">
                  <c:v>4170091.9419999998</c:v>
                </c:pt>
                <c:pt idx="1980">
                  <c:v>4176847.9419999998</c:v>
                </c:pt>
                <c:pt idx="1981">
                  <c:v>4148839.9419999998</c:v>
                </c:pt>
                <c:pt idx="1982">
                  <c:v>4140151.9419999998</c:v>
                </c:pt>
                <c:pt idx="1983">
                  <c:v>4162495.9419999998</c:v>
                </c:pt>
                <c:pt idx="1984">
                  <c:v>4171471.9419999998</c:v>
                </c:pt>
                <c:pt idx="1985">
                  <c:v>4165195.9419999998</c:v>
                </c:pt>
                <c:pt idx="1986">
                  <c:v>4139047.9419999998</c:v>
                </c:pt>
                <c:pt idx="1987">
                  <c:v>4140187.9419999998</c:v>
                </c:pt>
                <c:pt idx="1988">
                  <c:v>4176439.9419999998</c:v>
                </c:pt>
                <c:pt idx="1989">
                  <c:v>4174333.139</c:v>
                </c:pt>
                <c:pt idx="1990">
                  <c:v>4174333.139</c:v>
                </c:pt>
                <c:pt idx="1991">
                  <c:v>4174333.139</c:v>
                </c:pt>
                <c:pt idx="1992">
                  <c:v>4174333.139</c:v>
                </c:pt>
                <c:pt idx="1993">
                  <c:v>4174333.139</c:v>
                </c:pt>
                <c:pt idx="1994">
                  <c:v>4174333.139</c:v>
                </c:pt>
                <c:pt idx="1995">
                  <c:v>4174333.139</c:v>
                </c:pt>
                <c:pt idx="1996">
                  <c:v>4174333.139</c:v>
                </c:pt>
                <c:pt idx="1997">
                  <c:v>4174333.139</c:v>
                </c:pt>
                <c:pt idx="1998">
                  <c:v>4174333.139</c:v>
                </c:pt>
                <c:pt idx="1999">
                  <c:v>4174333.139</c:v>
                </c:pt>
                <c:pt idx="2000">
                  <c:v>4174333.139</c:v>
                </c:pt>
                <c:pt idx="2001">
                  <c:v>4174333.139</c:v>
                </c:pt>
                <c:pt idx="2002">
                  <c:v>4174333.139</c:v>
                </c:pt>
                <c:pt idx="2003">
                  <c:v>4174333.139</c:v>
                </c:pt>
                <c:pt idx="2004">
                  <c:v>4174333.139</c:v>
                </c:pt>
                <c:pt idx="2005">
                  <c:v>4174333.139</c:v>
                </c:pt>
                <c:pt idx="2006">
                  <c:v>4174333.139</c:v>
                </c:pt>
                <c:pt idx="2007">
                  <c:v>4174333.139</c:v>
                </c:pt>
                <c:pt idx="2008">
                  <c:v>4174333.139</c:v>
                </c:pt>
                <c:pt idx="2009">
                  <c:v>4174333.139</c:v>
                </c:pt>
                <c:pt idx="2010">
                  <c:v>4174333.139</c:v>
                </c:pt>
                <c:pt idx="2011">
                  <c:v>4174333.139</c:v>
                </c:pt>
                <c:pt idx="2012">
                  <c:v>4174333.139</c:v>
                </c:pt>
                <c:pt idx="2013">
                  <c:v>4174333.139</c:v>
                </c:pt>
                <c:pt idx="2014">
                  <c:v>4174333.139</c:v>
                </c:pt>
                <c:pt idx="2015">
                  <c:v>4174333.139</c:v>
                </c:pt>
                <c:pt idx="2016">
                  <c:v>4174333.139</c:v>
                </c:pt>
                <c:pt idx="2017">
                  <c:v>4174333.139</c:v>
                </c:pt>
                <c:pt idx="2018">
                  <c:v>4174333.139</c:v>
                </c:pt>
                <c:pt idx="2019">
                  <c:v>4174333.139</c:v>
                </c:pt>
                <c:pt idx="2020">
                  <c:v>4174333.139</c:v>
                </c:pt>
                <c:pt idx="2021">
                  <c:v>4174333.139</c:v>
                </c:pt>
                <c:pt idx="2022">
                  <c:v>4174333.139</c:v>
                </c:pt>
                <c:pt idx="2023">
                  <c:v>4174333.139</c:v>
                </c:pt>
                <c:pt idx="2024">
                  <c:v>4174333.139</c:v>
                </c:pt>
                <c:pt idx="2025">
                  <c:v>4174333.139</c:v>
                </c:pt>
                <c:pt idx="2026">
                  <c:v>4174333.139</c:v>
                </c:pt>
                <c:pt idx="2027">
                  <c:v>4174333.139</c:v>
                </c:pt>
                <c:pt idx="2028">
                  <c:v>4174333.139</c:v>
                </c:pt>
                <c:pt idx="2029">
                  <c:v>4174333.139</c:v>
                </c:pt>
                <c:pt idx="2030">
                  <c:v>4174333.139</c:v>
                </c:pt>
                <c:pt idx="2031">
                  <c:v>4174333.139</c:v>
                </c:pt>
                <c:pt idx="2032">
                  <c:v>4174333.139</c:v>
                </c:pt>
                <c:pt idx="2033">
                  <c:v>4174333.139</c:v>
                </c:pt>
                <c:pt idx="2034">
                  <c:v>4174333.139</c:v>
                </c:pt>
                <c:pt idx="2035">
                  <c:v>4174333.139</c:v>
                </c:pt>
                <c:pt idx="2036">
                  <c:v>4174333.139</c:v>
                </c:pt>
                <c:pt idx="2037">
                  <c:v>4174333.139</c:v>
                </c:pt>
                <c:pt idx="2038">
                  <c:v>4174333.139</c:v>
                </c:pt>
                <c:pt idx="2039">
                  <c:v>4174333.139</c:v>
                </c:pt>
                <c:pt idx="2040">
                  <c:v>4174333.139</c:v>
                </c:pt>
                <c:pt idx="2041">
                  <c:v>4174333.139</c:v>
                </c:pt>
                <c:pt idx="2042">
                  <c:v>4174333.139</c:v>
                </c:pt>
                <c:pt idx="2043">
                  <c:v>4174333.139</c:v>
                </c:pt>
                <c:pt idx="2044">
                  <c:v>4174333.139</c:v>
                </c:pt>
                <c:pt idx="2045">
                  <c:v>4174333.139</c:v>
                </c:pt>
                <c:pt idx="2046">
                  <c:v>4174333.139</c:v>
                </c:pt>
                <c:pt idx="2047">
                  <c:v>4174333.139</c:v>
                </c:pt>
                <c:pt idx="2048">
                  <c:v>4174333.139</c:v>
                </c:pt>
                <c:pt idx="2049">
                  <c:v>4174333.139</c:v>
                </c:pt>
                <c:pt idx="2050">
                  <c:v>4174333.139</c:v>
                </c:pt>
                <c:pt idx="2051">
                  <c:v>4174333.139</c:v>
                </c:pt>
                <c:pt idx="2052">
                  <c:v>4174333.139</c:v>
                </c:pt>
                <c:pt idx="2053">
                  <c:v>4174333.139</c:v>
                </c:pt>
                <c:pt idx="2054">
                  <c:v>4174333.139</c:v>
                </c:pt>
                <c:pt idx="2055">
                  <c:v>4174333.139</c:v>
                </c:pt>
                <c:pt idx="2056">
                  <c:v>4174333.139</c:v>
                </c:pt>
                <c:pt idx="2057">
                  <c:v>4173934.622</c:v>
                </c:pt>
                <c:pt idx="2058">
                  <c:v>4223665.6220000004</c:v>
                </c:pt>
                <c:pt idx="2059">
                  <c:v>4230958.6220000004</c:v>
                </c:pt>
                <c:pt idx="2060">
                  <c:v>4199553.6220000004</c:v>
                </c:pt>
                <c:pt idx="2061">
                  <c:v>4224479.6220000004</c:v>
                </c:pt>
                <c:pt idx="2062">
                  <c:v>4222246.6220000004</c:v>
                </c:pt>
                <c:pt idx="2063">
                  <c:v>4204701.6220000004</c:v>
                </c:pt>
                <c:pt idx="2064">
                  <c:v>4170744.622</c:v>
                </c:pt>
                <c:pt idx="2065">
                  <c:v>4214414.6220000004</c:v>
                </c:pt>
                <c:pt idx="2066">
                  <c:v>4214876.6220000004</c:v>
                </c:pt>
                <c:pt idx="2067">
                  <c:v>4210289.6220000004</c:v>
                </c:pt>
                <c:pt idx="2068">
                  <c:v>4207825.6220000004</c:v>
                </c:pt>
                <c:pt idx="2069">
                  <c:v>4226657.6220000004</c:v>
                </c:pt>
                <c:pt idx="2070">
                  <c:v>4213468.6220000004</c:v>
                </c:pt>
                <c:pt idx="2071">
                  <c:v>4244378.6220000004</c:v>
                </c:pt>
                <c:pt idx="2072">
                  <c:v>4262165.6220000004</c:v>
                </c:pt>
                <c:pt idx="2073">
                  <c:v>4218682.6220000004</c:v>
                </c:pt>
                <c:pt idx="2074">
                  <c:v>4222261.2319999998</c:v>
                </c:pt>
                <c:pt idx="2075">
                  <c:v>4222261.2319999998</c:v>
                </c:pt>
                <c:pt idx="2076">
                  <c:v>4222261.2319999998</c:v>
                </c:pt>
                <c:pt idx="2077">
                  <c:v>4222261.2319999998</c:v>
                </c:pt>
                <c:pt idx="2078">
                  <c:v>4222261.2319999998</c:v>
                </c:pt>
                <c:pt idx="2079">
                  <c:v>4222261.2319999998</c:v>
                </c:pt>
                <c:pt idx="2080">
                  <c:v>4222261.2319999998</c:v>
                </c:pt>
                <c:pt idx="2081">
                  <c:v>4222261.2319999998</c:v>
                </c:pt>
                <c:pt idx="2082">
                  <c:v>4222261.2319999998</c:v>
                </c:pt>
                <c:pt idx="2083">
                  <c:v>4222261.2319999998</c:v>
                </c:pt>
                <c:pt idx="2084">
                  <c:v>4222261.2319999998</c:v>
                </c:pt>
                <c:pt idx="2085">
                  <c:v>4222261.2319999998</c:v>
                </c:pt>
                <c:pt idx="2086">
                  <c:v>4222261.2319999998</c:v>
                </c:pt>
                <c:pt idx="2087">
                  <c:v>4222261.2319999998</c:v>
                </c:pt>
                <c:pt idx="2088">
                  <c:v>4222261.2319999998</c:v>
                </c:pt>
                <c:pt idx="2089">
                  <c:v>4222261.2319999998</c:v>
                </c:pt>
                <c:pt idx="2090">
                  <c:v>4222261.2319999998</c:v>
                </c:pt>
                <c:pt idx="2091">
                  <c:v>4222261.2319999998</c:v>
                </c:pt>
                <c:pt idx="2092">
                  <c:v>4222261.2319999998</c:v>
                </c:pt>
                <c:pt idx="2093">
                  <c:v>4222261.2319999998</c:v>
                </c:pt>
                <c:pt idx="2094">
                  <c:v>4222261.2319999998</c:v>
                </c:pt>
                <c:pt idx="2095">
                  <c:v>4222261.2319999998</c:v>
                </c:pt>
                <c:pt idx="2096">
                  <c:v>4222261.2319999998</c:v>
                </c:pt>
                <c:pt idx="2097">
                  <c:v>4222261.2319999998</c:v>
                </c:pt>
                <c:pt idx="2098">
                  <c:v>4222261.2319999998</c:v>
                </c:pt>
                <c:pt idx="2099">
                  <c:v>4222261.2319999998</c:v>
                </c:pt>
                <c:pt idx="2100">
                  <c:v>4222261.2319999998</c:v>
                </c:pt>
                <c:pt idx="2101">
                  <c:v>4222261.2319999998</c:v>
                </c:pt>
                <c:pt idx="2102">
                  <c:v>4222261.2319999998</c:v>
                </c:pt>
                <c:pt idx="2103">
                  <c:v>4222261.2319999998</c:v>
                </c:pt>
                <c:pt idx="2104">
                  <c:v>4221839.4330000002</c:v>
                </c:pt>
                <c:pt idx="2105">
                  <c:v>4221575.4330000002</c:v>
                </c:pt>
                <c:pt idx="2106">
                  <c:v>4208144.4330000002</c:v>
                </c:pt>
                <c:pt idx="2107">
                  <c:v>4217439.4330000002</c:v>
                </c:pt>
                <c:pt idx="2108">
                  <c:v>4234027.4330000002</c:v>
                </c:pt>
                <c:pt idx="2109">
                  <c:v>4246600.4330000002</c:v>
                </c:pt>
                <c:pt idx="2110">
                  <c:v>4238240.4330000002</c:v>
                </c:pt>
                <c:pt idx="2111">
                  <c:v>4216702.4330000002</c:v>
                </c:pt>
                <c:pt idx="2112">
                  <c:v>4212434.4330000002</c:v>
                </c:pt>
                <c:pt idx="2113">
                  <c:v>4212060.4330000002</c:v>
                </c:pt>
                <c:pt idx="2114">
                  <c:v>4225568.4330000002</c:v>
                </c:pt>
                <c:pt idx="2115">
                  <c:v>4230716.4330000002</c:v>
                </c:pt>
                <c:pt idx="2116">
                  <c:v>4216801.4330000002</c:v>
                </c:pt>
                <c:pt idx="2117">
                  <c:v>4218275.4330000002</c:v>
                </c:pt>
                <c:pt idx="2118">
                  <c:v>4231299.4330000002</c:v>
                </c:pt>
                <c:pt idx="2119">
                  <c:v>4218755.9000000004</c:v>
                </c:pt>
                <c:pt idx="2120">
                  <c:v>4218755.9000000004</c:v>
                </c:pt>
                <c:pt idx="2121">
                  <c:v>4218755.9000000004</c:v>
                </c:pt>
                <c:pt idx="2122">
                  <c:v>4218755.9000000004</c:v>
                </c:pt>
                <c:pt idx="2123">
                  <c:v>4218755.9000000004</c:v>
                </c:pt>
                <c:pt idx="2124">
                  <c:v>4218755.9000000004</c:v>
                </c:pt>
                <c:pt idx="2125">
                  <c:v>4218755.9000000004</c:v>
                </c:pt>
                <c:pt idx="2126">
                  <c:v>4218335.42</c:v>
                </c:pt>
                <c:pt idx="2127">
                  <c:v>4233691.42</c:v>
                </c:pt>
                <c:pt idx="2128">
                  <c:v>4283972.42</c:v>
                </c:pt>
                <c:pt idx="2129">
                  <c:v>4292387.42</c:v>
                </c:pt>
                <c:pt idx="2130">
                  <c:v>4306500.42</c:v>
                </c:pt>
                <c:pt idx="2131">
                  <c:v>4317786.42</c:v>
                </c:pt>
                <c:pt idx="2132">
                  <c:v>4326641.42</c:v>
                </c:pt>
                <c:pt idx="2133">
                  <c:v>4318336.42</c:v>
                </c:pt>
                <c:pt idx="2134">
                  <c:v>4317918.42</c:v>
                </c:pt>
                <c:pt idx="2135">
                  <c:v>4352117.42</c:v>
                </c:pt>
                <c:pt idx="2136">
                  <c:v>4337916.42</c:v>
                </c:pt>
                <c:pt idx="2137">
                  <c:v>4333076.42</c:v>
                </c:pt>
                <c:pt idx="2138">
                  <c:v>4337421.42</c:v>
                </c:pt>
                <c:pt idx="2139">
                  <c:v>4368881.42</c:v>
                </c:pt>
                <c:pt idx="2140">
                  <c:v>4388186.42</c:v>
                </c:pt>
                <c:pt idx="2141">
                  <c:v>4406479.42</c:v>
                </c:pt>
                <c:pt idx="2142">
                  <c:v>4437708.42</c:v>
                </c:pt>
                <c:pt idx="2143">
                  <c:v>4424233.42</c:v>
                </c:pt>
                <c:pt idx="2144">
                  <c:v>4420933.42</c:v>
                </c:pt>
                <c:pt idx="2145">
                  <c:v>4409823.42</c:v>
                </c:pt>
                <c:pt idx="2146">
                  <c:v>4410384.42</c:v>
                </c:pt>
                <c:pt idx="2147">
                  <c:v>4405511.42</c:v>
                </c:pt>
                <c:pt idx="2148">
                  <c:v>4436520.42</c:v>
                </c:pt>
                <c:pt idx="2149">
                  <c:v>4473216.42</c:v>
                </c:pt>
                <c:pt idx="2150">
                  <c:v>4466352.42</c:v>
                </c:pt>
                <c:pt idx="2151">
                  <c:v>4497031.42</c:v>
                </c:pt>
                <c:pt idx="2152">
                  <c:v>4536642.42</c:v>
                </c:pt>
                <c:pt idx="2153">
                  <c:v>4554418.42</c:v>
                </c:pt>
                <c:pt idx="2154">
                  <c:v>4522826.42</c:v>
                </c:pt>
                <c:pt idx="2155">
                  <c:v>4494578.42</c:v>
                </c:pt>
                <c:pt idx="2156">
                  <c:v>4529052.42</c:v>
                </c:pt>
                <c:pt idx="2157">
                  <c:v>4546476.42</c:v>
                </c:pt>
                <c:pt idx="2158">
                  <c:v>4571754.42</c:v>
                </c:pt>
                <c:pt idx="2159">
                  <c:v>4653011.42</c:v>
                </c:pt>
                <c:pt idx="2160">
                  <c:v>4663868.42</c:v>
                </c:pt>
                <c:pt idx="2161">
                  <c:v>4526181.42</c:v>
                </c:pt>
                <c:pt idx="2162">
                  <c:v>4528161.42</c:v>
                </c:pt>
                <c:pt idx="2163">
                  <c:v>4468486.42</c:v>
                </c:pt>
                <c:pt idx="2164">
                  <c:v>4474943.42</c:v>
                </c:pt>
                <c:pt idx="2165">
                  <c:v>4472666.42</c:v>
                </c:pt>
                <c:pt idx="2166">
                  <c:v>4420251.42</c:v>
                </c:pt>
                <c:pt idx="2167">
                  <c:v>4411495.42</c:v>
                </c:pt>
                <c:pt idx="2168">
                  <c:v>4434287.42</c:v>
                </c:pt>
                <c:pt idx="2169">
                  <c:v>4457728.42</c:v>
                </c:pt>
                <c:pt idx="2170">
                  <c:v>4430943.42</c:v>
                </c:pt>
                <c:pt idx="2171">
                  <c:v>4381707.42</c:v>
                </c:pt>
                <c:pt idx="2172">
                  <c:v>4417259.42</c:v>
                </c:pt>
                <c:pt idx="2173">
                  <c:v>4489991.42</c:v>
                </c:pt>
                <c:pt idx="2174">
                  <c:v>4431163.42</c:v>
                </c:pt>
                <c:pt idx="2175">
                  <c:v>4468640.42</c:v>
                </c:pt>
                <c:pt idx="2176">
                  <c:v>4442306.42</c:v>
                </c:pt>
                <c:pt idx="2177">
                  <c:v>4392487.42</c:v>
                </c:pt>
                <c:pt idx="2178">
                  <c:v>4397360.42</c:v>
                </c:pt>
                <c:pt idx="2179">
                  <c:v>4452404.42</c:v>
                </c:pt>
                <c:pt idx="2180">
                  <c:v>4447080.42</c:v>
                </c:pt>
                <c:pt idx="2181">
                  <c:v>4488176.42</c:v>
                </c:pt>
                <c:pt idx="2182">
                  <c:v>4473601.42</c:v>
                </c:pt>
                <c:pt idx="2183">
                  <c:v>4458790.8509999998</c:v>
                </c:pt>
                <c:pt idx="2184">
                  <c:v>4458790.8509999998</c:v>
                </c:pt>
                <c:pt idx="2185">
                  <c:v>4458790.8509999998</c:v>
                </c:pt>
                <c:pt idx="2186">
                  <c:v>4458790.8509999998</c:v>
                </c:pt>
                <c:pt idx="2187">
                  <c:v>4458790.8509999998</c:v>
                </c:pt>
                <c:pt idx="2188">
                  <c:v>4458790.8509999998</c:v>
                </c:pt>
                <c:pt idx="2189">
                  <c:v>4458790.8509999998</c:v>
                </c:pt>
                <c:pt idx="2190">
                  <c:v>4458790.8509999998</c:v>
                </c:pt>
                <c:pt idx="2191">
                  <c:v>4458790.8509999998</c:v>
                </c:pt>
                <c:pt idx="2192">
                  <c:v>4458790.8509999998</c:v>
                </c:pt>
                <c:pt idx="2193">
                  <c:v>4458790.8509999998</c:v>
                </c:pt>
                <c:pt idx="2194">
                  <c:v>4458790.8509999998</c:v>
                </c:pt>
                <c:pt idx="2195">
                  <c:v>4458790.8509999998</c:v>
                </c:pt>
                <c:pt idx="2196">
                  <c:v>4458790.8509999998</c:v>
                </c:pt>
                <c:pt idx="2197">
                  <c:v>4458790.8509999998</c:v>
                </c:pt>
                <c:pt idx="2198">
                  <c:v>4458790.8509999998</c:v>
                </c:pt>
                <c:pt idx="2199">
                  <c:v>4458790.8509999998</c:v>
                </c:pt>
                <c:pt idx="2200">
                  <c:v>4458790.8509999998</c:v>
                </c:pt>
                <c:pt idx="2201">
                  <c:v>4458790.8509999998</c:v>
                </c:pt>
                <c:pt idx="2202">
                  <c:v>4458790.8509999998</c:v>
                </c:pt>
                <c:pt idx="2203">
                  <c:v>4458352.59</c:v>
                </c:pt>
                <c:pt idx="2204">
                  <c:v>4465632.59</c:v>
                </c:pt>
                <c:pt idx="2205">
                  <c:v>4440822.59</c:v>
                </c:pt>
                <c:pt idx="2206">
                  <c:v>4457042.59</c:v>
                </c:pt>
                <c:pt idx="2207">
                  <c:v>4377762.59</c:v>
                </c:pt>
                <c:pt idx="2208">
                  <c:v>4331842.59</c:v>
                </c:pt>
                <c:pt idx="2209">
                  <c:v>4351642.59</c:v>
                </c:pt>
                <c:pt idx="2210">
                  <c:v>4321642.59</c:v>
                </c:pt>
                <c:pt idx="2211">
                  <c:v>4346972.59</c:v>
                </c:pt>
                <c:pt idx="2212">
                  <c:v>4349892.59</c:v>
                </c:pt>
                <c:pt idx="2213">
                  <c:v>4224632.59</c:v>
                </c:pt>
                <c:pt idx="2214">
                  <c:v>4126242.59</c:v>
                </c:pt>
                <c:pt idx="2215">
                  <c:v>4087391.3849999998</c:v>
                </c:pt>
                <c:pt idx="2216">
                  <c:v>4087391.3849999998</c:v>
                </c:pt>
                <c:pt idx="2217">
                  <c:v>4087391.3849999998</c:v>
                </c:pt>
                <c:pt idx="2218">
                  <c:v>4087391.3849999998</c:v>
                </c:pt>
                <c:pt idx="2219">
                  <c:v>4087391.3849999998</c:v>
                </c:pt>
                <c:pt idx="2220">
                  <c:v>4087391.3849999998</c:v>
                </c:pt>
                <c:pt idx="2221">
                  <c:v>4087391.3849999998</c:v>
                </c:pt>
                <c:pt idx="2222">
                  <c:v>4087391.3849999998</c:v>
                </c:pt>
                <c:pt idx="2223">
                  <c:v>4087391.3849999998</c:v>
                </c:pt>
                <c:pt idx="2224">
                  <c:v>4087391.3849999998</c:v>
                </c:pt>
                <c:pt idx="2225">
                  <c:v>4087391.3849999998</c:v>
                </c:pt>
                <c:pt idx="2226">
                  <c:v>4087391.3849999998</c:v>
                </c:pt>
                <c:pt idx="2227">
                  <c:v>4087391.3849999998</c:v>
                </c:pt>
                <c:pt idx="2228">
                  <c:v>4087391.3849999998</c:v>
                </c:pt>
                <c:pt idx="2229">
                  <c:v>4087391.3849999998</c:v>
                </c:pt>
                <c:pt idx="2230">
                  <c:v>4087391.3849999998</c:v>
                </c:pt>
                <c:pt idx="2231">
                  <c:v>4087391.3849999998</c:v>
                </c:pt>
                <c:pt idx="2232">
                  <c:v>4087391.3849999998</c:v>
                </c:pt>
                <c:pt idx="2233">
                  <c:v>4087391.3849999998</c:v>
                </c:pt>
                <c:pt idx="2234">
                  <c:v>4087391.3849999998</c:v>
                </c:pt>
                <c:pt idx="2235">
                  <c:v>4087391.3849999998</c:v>
                </c:pt>
                <c:pt idx="2236">
                  <c:v>4087391.3849999998</c:v>
                </c:pt>
                <c:pt idx="2237">
                  <c:v>4087391.3849999998</c:v>
                </c:pt>
                <c:pt idx="2238">
                  <c:v>4087391.3849999998</c:v>
                </c:pt>
                <c:pt idx="2239">
                  <c:v>4087391.3849999998</c:v>
                </c:pt>
                <c:pt idx="2240">
                  <c:v>4087391.3849999998</c:v>
                </c:pt>
                <c:pt idx="2241">
                  <c:v>4087391.3849999998</c:v>
                </c:pt>
                <c:pt idx="2242">
                  <c:v>4087391.3849999998</c:v>
                </c:pt>
                <c:pt idx="2243">
                  <c:v>4087391.3849999998</c:v>
                </c:pt>
                <c:pt idx="2244">
                  <c:v>4087391.3849999998</c:v>
                </c:pt>
                <c:pt idx="2245">
                  <c:v>4087391.3849999998</c:v>
                </c:pt>
                <c:pt idx="2246">
                  <c:v>4087391.3849999998</c:v>
                </c:pt>
                <c:pt idx="2247">
                  <c:v>4087391.3849999998</c:v>
                </c:pt>
                <c:pt idx="2248">
                  <c:v>4087391.3849999998</c:v>
                </c:pt>
                <c:pt idx="2249">
                  <c:v>4087391.3849999998</c:v>
                </c:pt>
                <c:pt idx="2250">
                  <c:v>4087391.3849999998</c:v>
                </c:pt>
                <c:pt idx="2251">
                  <c:v>4087391.3849999998</c:v>
                </c:pt>
                <c:pt idx="2252">
                  <c:v>4087391.3849999998</c:v>
                </c:pt>
                <c:pt idx="2253">
                  <c:v>4087391.3849999998</c:v>
                </c:pt>
                <c:pt idx="2254">
                  <c:v>4087391.3849999998</c:v>
                </c:pt>
                <c:pt idx="2255">
                  <c:v>4087391.3849999998</c:v>
                </c:pt>
                <c:pt idx="2256">
                  <c:v>4087391.3849999998</c:v>
                </c:pt>
                <c:pt idx="2257">
                  <c:v>4087391.3849999998</c:v>
                </c:pt>
                <c:pt idx="2258">
                  <c:v>4087391.3849999998</c:v>
                </c:pt>
                <c:pt idx="2259">
                  <c:v>4087391.3849999998</c:v>
                </c:pt>
                <c:pt idx="2260">
                  <c:v>4087391.3849999998</c:v>
                </c:pt>
                <c:pt idx="2261">
                  <c:v>4087391.3849999998</c:v>
                </c:pt>
                <c:pt idx="2262">
                  <c:v>4087391.3849999998</c:v>
                </c:pt>
                <c:pt idx="2263">
                  <c:v>4087391.3849999998</c:v>
                </c:pt>
                <c:pt idx="2264">
                  <c:v>4087391.3849999998</c:v>
                </c:pt>
                <c:pt idx="2265">
                  <c:v>4087391.3849999998</c:v>
                </c:pt>
                <c:pt idx="2266">
                  <c:v>4087391.3849999998</c:v>
                </c:pt>
                <c:pt idx="2267">
                  <c:v>4087391.3849999998</c:v>
                </c:pt>
                <c:pt idx="2268">
                  <c:v>4087391.3849999998</c:v>
                </c:pt>
                <c:pt idx="2269">
                  <c:v>4087391.3849999998</c:v>
                </c:pt>
                <c:pt idx="2270">
                  <c:v>4087391.3849999998</c:v>
                </c:pt>
                <c:pt idx="2271">
                  <c:v>4087391.3849999998</c:v>
                </c:pt>
                <c:pt idx="2272">
                  <c:v>4087391.3849999998</c:v>
                </c:pt>
                <c:pt idx="2273">
                  <c:v>4087391.3849999998</c:v>
                </c:pt>
                <c:pt idx="2274">
                  <c:v>4087391.3849999998</c:v>
                </c:pt>
                <c:pt idx="2275">
                  <c:v>4087391.3849999998</c:v>
                </c:pt>
                <c:pt idx="2276">
                  <c:v>4087391.3849999998</c:v>
                </c:pt>
                <c:pt idx="2277">
                  <c:v>4087391.3849999998</c:v>
                </c:pt>
                <c:pt idx="2278">
                  <c:v>4087391.3849999998</c:v>
                </c:pt>
                <c:pt idx="2279">
                  <c:v>4087391.3849999998</c:v>
                </c:pt>
                <c:pt idx="2280">
                  <c:v>4087391.3849999998</c:v>
                </c:pt>
                <c:pt idx="2281">
                  <c:v>4087391.3849999998</c:v>
                </c:pt>
                <c:pt idx="2282">
                  <c:v>4087391.3849999998</c:v>
                </c:pt>
                <c:pt idx="2283">
                  <c:v>4087391.3849999998</c:v>
                </c:pt>
                <c:pt idx="2284">
                  <c:v>4087391.3849999998</c:v>
                </c:pt>
                <c:pt idx="2285">
                  <c:v>4087391.3849999998</c:v>
                </c:pt>
                <c:pt idx="2286">
                  <c:v>4087391.3849999998</c:v>
                </c:pt>
                <c:pt idx="2287">
                  <c:v>4087391.3849999998</c:v>
                </c:pt>
                <c:pt idx="2288">
                  <c:v>4087391.3849999998</c:v>
                </c:pt>
                <c:pt idx="2289">
                  <c:v>4087391.3849999998</c:v>
                </c:pt>
                <c:pt idx="2290">
                  <c:v>4087391.3849999998</c:v>
                </c:pt>
                <c:pt idx="2291">
                  <c:v>4087391.3849999998</c:v>
                </c:pt>
                <c:pt idx="2292">
                  <c:v>4087391.3849999998</c:v>
                </c:pt>
                <c:pt idx="2293">
                  <c:v>4087391.3849999998</c:v>
                </c:pt>
                <c:pt idx="2294">
                  <c:v>4087391.3849999998</c:v>
                </c:pt>
                <c:pt idx="2295">
                  <c:v>4087391.3849999998</c:v>
                </c:pt>
                <c:pt idx="2296">
                  <c:v>4087391.3849999998</c:v>
                </c:pt>
                <c:pt idx="2297">
                  <c:v>4087391.3849999998</c:v>
                </c:pt>
                <c:pt idx="2298">
                  <c:v>4087391.3849999998</c:v>
                </c:pt>
                <c:pt idx="2299">
                  <c:v>4087391.3849999998</c:v>
                </c:pt>
                <c:pt idx="2300">
                  <c:v>4087391.3849999998</c:v>
                </c:pt>
                <c:pt idx="2301">
                  <c:v>4087391.3849999998</c:v>
                </c:pt>
                <c:pt idx="2302">
                  <c:v>4087391.3849999998</c:v>
                </c:pt>
                <c:pt idx="2303">
                  <c:v>4087391.3849999998</c:v>
                </c:pt>
                <c:pt idx="2304">
                  <c:v>4087391.3849999998</c:v>
                </c:pt>
                <c:pt idx="2305">
                  <c:v>4087391.3849999998</c:v>
                </c:pt>
                <c:pt idx="2306">
                  <c:v>4087391.3849999998</c:v>
                </c:pt>
                <c:pt idx="2307">
                  <c:v>4087391.3849999998</c:v>
                </c:pt>
                <c:pt idx="2308">
                  <c:v>4087391.3849999998</c:v>
                </c:pt>
                <c:pt idx="2309">
                  <c:v>4087391.3849999998</c:v>
                </c:pt>
                <c:pt idx="2310">
                  <c:v>4087391.3849999998</c:v>
                </c:pt>
                <c:pt idx="2311">
                  <c:v>4087391.3849999998</c:v>
                </c:pt>
                <c:pt idx="2312">
                  <c:v>4087391.3849999998</c:v>
                </c:pt>
                <c:pt idx="2313">
                  <c:v>4087391.3849999998</c:v>
                </c:pt>
                <c:pt idx="2314">
                  <c:v>4087391.3849999998</c:v>
                </c:pt>
                <c:pt idx="2315">
                  <c:v>4087391.3849999998</c:v>
                </c:pt>
                <c:pt idx="2316">
                  <c:v>4087007.1889999998</c:v>
                </c:pt>
                <c:pt idx="2317">
                  <c:v>4064347.1889999998</c:v>
                </c:pt>
                <c:pt idx="2318">
                  <c:v>4039366.1889999998</c:v>
                </c:pt>
                <c:pt idx="2319">
                  <c:v>4019500.1889999998</c:v>
                </c:pt>
                <c:pt idx="2320">
                  <c:v>4016222.1889999998</c:v>
                </c:pt>
                <c:pt idx="2321">
                  <c:v>4086842.9709999999</c:v>
                </c:pt>
                <c:pt idx="2322">
                  <c:v>4086842.9709999999</c:v>
                </c:pt>
                <c:pt idx="2323">
                  <c:v>4086842.9709999999</c:v>
                </c:pt>
                <c:pt idx="2324">
                  <c:v>4086842.9709999999</c:v>
                </c:pt>
                <c:pt idx="2325">
                  <c:v>4086842.9709999999</c:v>
                </c:pt>
                <c:pt idx="2326">
                  <c:v>4086842.9709999999</c:v>
                </c:pt>
                <c:pt idx="2327">
                  <c:v>4086842.9709999999</c:v>
                </c:pt>
                <c:pt idx="2328">
                  <c:v>4086842.9709999999</c:v>
                </c:pt>
                <c:pt idx="2329">
                  <c:v>4086842.9709999999</c:v>
                </c:pt>
                <c:pt idx="2330">
                  <c:v>4086842.9709999999</c:v>
                </c:pt>
                <c:pt idx="2331">
                  <c:v>4086842.9709999999</c:v>
                </c:pt>
                <c:pt idx="2332">
                  <c:v>4086842.9709999999</c:v>
                </c:pt>
                <c:pt idx="2333">
                  <c:v>4086842.9709999999</c:v>
                </c:pt>
                <c:pt idx="2334">
                  <c:v>4086842.9709999999</c:v>
                </c:pt>
                <c:pt idx="2335">
                  <c:v>4086842.9709999999</c:v>
                </c:pt>
                <c:pt idx="2336">
                  <c:v>4086842.9709999999</c:v>
                </c:pt>
                <c:pt idx="2337">
                  <c:v>4086842.9709999999</c:v>
                </c:pt>
                <c:pt idx="2338">
                  <c:v>4086842.9709999999</c:v>
                </c:pt>
                <c:pt idx="2339">
                  <c:v>4086842.9709999999</c:v>
                </c:pt>
                <c:pt idx="2340">
                  <c:v>4086842.9709999999</c:v>
                </c:pt>
                <c:pt idx="2341">
                  <c:v>4086842.9709999999</c:v>
                </c:pt>
                <c:pt idx="2342">
                  <c:v>4086842.9709999999</c:v>
                </c:pt>
                <c:pt idx="2343">
                  <c:v>4086842.9709999999</c:v>
                </c:pt>
                <c:pt idx="2344">
                  <c:v>4086842.9709999999</c:v>
                </c:pt>
                <c:pt idx="2345">
                  <c:v>4086842.9709999999</c:v>
                </c:pt>
                <c:pt idx="2346">
                  <c:v>4086842.9709999999</c:v>
                </c:pt>
                <c:pt idx="2347">
                  <c:v>4086842.9709999999</c:v>
                </c:pt>
                <c:pt idx="2348">
                  <c:v>4086842.9709999999</c:v>
                </c:pt>
                <c:pt idx="2349">
                  <c:v>4086842.9709999999</c:v>
                </c:pt>
                <c:pt idx="2350">
                  <c:v>4086842.9709999999</c:v>
                </c:pt>
                <c:pt idx="2351">
                  <c:v>4086842.9709999999</c:v>
                </c:pt>
                <c:pt idx="2352">
                  <c:v>4086842.9709999999</c:v>
                </c:pt>
                <c:pt idx="2353">
                  <c:v>4086842.9709999999</c:v>
                </c:pt>
                <c:pt idx="2354">
                  <c:v>4086842.9709999999</c:v>
                </c:pt>
                <c:pt idx="2355">
                  <c:v>4086842.9709999999</c:v>
                </c:pt>
                <c:pt idx="2356">
                  <c:v>4086842.9709999999</c:v>
                </c:pt>
                <c:pt idx="2357">
                  <c:v>4086842.9709999999</c:v>
                </c:pt>
                <c:pt idx="2358">
                  <c:v>4086842.9709999999</c:v>
                </c:pt>
                <c:pt idx="2359">
                  <c:v>4086842.9709999999</c:v>
                </c:pt>
                <c:pt idx="2360">
                  <c:v>4086842.9709999999</c:v>
                </c:pt>
                <c:pt idx="2361">
                  <c:v>4086842.9709999999</c:v>
                </c:pt>
                <c:pt idx="2362">
                  <c:v>4086842.9709999999</c:v>
                </c:pt>
                <c:pt idx="2363">
                  <c:v>4086450.639</c:v>
                </c:pt>
                <c:pt idx="2364">
                  <c:v>4138110.639</c:v>
                </c:pt>
                <c:pt idx="2365">
                  <c:v>4135290.639</c:v>
                </c:pt>
                <c:pt idx="2366">
                  <c:v>4255722.6390000004</c:v>
                </c:pt>
                <c:pt idx="2367">
                  <c:v>4218894.6390000004</c:v>
                </c:pt>
                <c:pt idx="2368">
                  <c:v>4263822.6390000004</c:v>
                </c:pt>
                <c:pt idx="2369">
                  <c:v>4247442.6390000004</c:v>
                </c:pt>
                <c:pt idx="2370">
                  <c:v>4289766.6390000004</c:v>
                </c:pt>
                <c:pt idx="2371">
                  <c:v>4112214.639</c:v>
                </c:pt>
                <c:pt idx="2372">
                  <c:v>4109562.639</c:v>
                </c:pt>
                <c:pt idx="2373">
                  <c:v>4101054.639</c:v>
                </c:pt>
                <c:pt idx="2374">
                  <c:v>3912066.639</c:v>
                </c:pt>
                <c:pt idx="2375">
                  <c:v>3968010.639</c:v>
                </c:pt>
                <c:pt idx="2376">
                  <c:v>3914874.639</c:v>
                </c:pt>
                <c:pt idx="2377">
                  <c:v>3884298.639</c:v>
                </c:pt>
                <c:pt idx="2378">
                  <c:v>3905034.639</c:v>
                </c:pt>
                <c:pt idx="2379">
                  <c:v>3816402.639</c:v>
                </c:pt>
                <c:pt idx="2380">
                  <c:v>3925074.639</c:v>
                </c:pt>
                <c:pt idx="2381">
                  <c:v>4087458.639</c:v>
                </c:pt>
                <c:pt idx="2382">
                  <c:v>3983250.639</c:v>
                </c:pt>
                <c:pt idx="2383">
                  <c:v>3988974.639</c:v>
                </c:pt>
                <c:pt idx="2384">
                  <c:v>3996306.639</c:v>
                </c:pt>
                <c:pt idx="2385">
                  <c:v>3971502.639</c:v>
                </c:pt>
                <c:pt idx="2386">
                  <c:v>3855402.639</c:v>
                </c:pt>
                <c:pt idx="2387">
                  <c:v>3895446.639</c:v>
                </c:pt>
                <c:pt idx="2388">
                  <c:v>3947718.639</c:v>
                </c:pt>
                <c:pt idx="2389">
                  <c:v>3975570.639</c:v>
                </c:pt>
                <c:pt idx="2390">
                  <c:v>4111434.639</c:v>
                </c:pt>
                <c:pt idx="2391">
                  <c:v>4078542.639</c:v>
                </c:pt>
                <c:pt idx="2392">
                  <c:v>4054914.639</c:v>
                </c:pt>
                <c:pt idx="2393">
                  <c:v>4029426.639</c:v>
                </c:pt>
                <c:pt idx="2394">
                  <c:v>4018458.639</c:v>
                </c:pt>
                <c:pt idx="2395">
                  <c:v>3963682.5469999998</c:v>
                </c:pt>
                <c:pt idx="2396">
                  <c:v>3963682.5469999998</c:v>
                </c:pt>
                <c:pt idx="2397">
                  <c:v>3963682.5469999998</c:v>
                </c:pt>
                <c:pt idx="2398">
                  <c:v>3963682.5469999998</c:v>
                </c:pt>
                <c:pt idx="2399">
                  <c:v>3963682.5469999998</c:v>
                </c:pt>
                <c:pt idx="2400">
                  <c:v>3963682.5469999998</c:v>
                </c:pt>
                <c:pt idx="2401">
                  <c:v>3963682.5469999998</c:v>
                </c:pt>
                <c:pt idx="2402">
                  <c:v>3963682.5469999998</c:v>
                </c:pt>
                <c:pt idx="2403">
                  <c:v>3963682.5469999998</c:v>
                </c:pt>
                <c:pt idx="2404">
                  <c:v>3963682.5469999998</c:v>
                </c:pt>
                <c:pt idx="2405">
                  <c:v>3963682.5469999998</c:v>
                </c:pt>
                <c:pt idx="2406">
                  <c:v>3963682.5469999998</c:v>
                </c:pt>
                <c:pt idx="2407">
                  <c:v>3963682.5469999998</c:v>
                </c:pt>
                <c:pt idx="2408">
                  <c:v>3963682.5469999998</c:v>
                </c:pt>
                <c:pt idx="2409">
                  <c:v>3963682.5469999998</c:v>
                </c:pt>
                <c:pt idx="2410">
                  <c:v>3963682.5469999998</c:v>
                </c:pt>
                <c:pt idx="2411">
                  <c:v>3963682.5469999998</c:v>
                </c:pt>
                <c:pt idx="2412">
                  <c:v>3963682.5469999998</c:v>
                </c:pt>
                <c:pt idx="2413">
                  <c:v>3963682.5469999998</c:v>
                </c:pt>
                <c:pt idx="2414">
                  <c:v>3963682.5469999998</c:v>
                </c:pt>
                <c:pt idx="2415">
                  <c:v>3963682.5469999998</c:v>
                </c:pt>
                <c:pt idx="2416">
                  <c:v>3963682.5469999998</c:v>
                </c:pt>
                <c:pt idx="2417">
                  <c:v>3963682.5469999998</c:v>
                </c:pt>
                <c:pt idx="2418">
                  <c:v>3963682.5469999998</c:v>
                </c:pt>
                <c:pt idx="2419">
                  <c:v>3963682.5469999998</c:v>
                </c:pt>
                <c:pt idx="2420">
                  <c:v>3963682.5469999998</c:v>
                </c:pt>
                <c:pt idx="2421">
                  <c:v>3963682.5469999998</c:v>
                </c:pt>
                <c:pt idx="2422">
                  <c:v>3963682.5469999998</c:v>
                </c:pt>
                <c:pt idx="2423">
                  <c:v>3963682.5469999998</c:v>
                </c:pt>
                <c:pt idx="2424">
                  <c:v>3963682.5469999998</c:v>
                </c:pt>
                <c:pt idx="2425">
                  <c:v>3963682.5469999998</c:v>
                </c:pt>
                <c:pt idx="2426">
                  <c:v>3963682.5469999998</c:v>
                </c:pt>
                <c:pt idx="2427">
                  <c:v>3963682.5469999998</c:v>
                </c:pt>
                <c:pt idx="2428">
                  <c:v>3963682.5469999998</c:v>
                </c:pt>
                <c:pt idx="2429">
                  <c:v>3963682.5469999998</c:v>
                </c:pt>
                <c:pt idx="2430">
                  <c:v>3963682.5469999998</c:v>
                </c:pt>
                <c:pt idx="2431">
                  <c:v>3963682.5469999998</c:v>
                </c:pt>
                <c:pt idx="2432">
                  <c:v>3963682.5469999998</c:v>
                </c:pt>
                <c:pt idx="2433">
                  <c:v>3963682.5469999998</c:v>
                </c:pt>
                <c:pt idx="2434">
                  <c:v>3963682.5469999998</c:v>
                </c:pt>
                <c:pt idx="2435">
                  <c:v>3963682.5469999998</c:v>
                </c:pt>
                <c:pt idx="2436">
                  <c:v>3963682.5469999998</c:v>
                </c:pt>
                <c:pt idx="2437">
                  <c:v>3963682.5469999998</c:v>
                </c:pt>
                <c:pt idx="2438">
                  <c:v>3963682.5469999998</c:v>
                </c:pt>
                <c:pt idx="2439">
                  <c:v>3963682.5469999998</c:v>
                </c:pt>
                <c:pt idx="2440">
                  <c:v>3963682.5469999998</c:v>
                </c:pt>
                <c:pt idx="2441">
                  <c:v>3963682.5469999998</c:v>
                </c:pt>
                <c:pt idx="2442">
                  <c:v>3963682.5469999998</c:v>
                </c:pt>
                <c:pt idx="2443">
                  <c:v>3963682.5469999998</c:v>
                </c:pt>
                <c:pt idx="2444">
                  <c:v>3963682.5469999998</c:v>
                </c:pt>
                <c:pt idx="2445">
                  <c:v>3963682.5469999998</c:v>
                </c:pt>
                <c:pt idx="2446">
                  <c:v>3963682.5469999998</c:v>
                </c:pt>
                <c:pt idx="2447">
                  <c:v>3963682.5469999998</c:v>
                </c:pt>
                <c:pt idx="2448">
                  <c:v>3963682.5469999998</c:v>
                </c:pt>
                <c:pt idx="2449">
                  <c:v>3963682.5469999998</c:v>
                </c:pt>
                <c:pt idx="2450">
                  <c:v>3963682.5469999998</c:v>
                </c:pt>
                <c:pt idx="2451">
                  <c:v>3963682.5469999998</c:v>
                </c:pt>
                <c:pt idx="2452">
                  <c:v>3963298.3509999998</c:v>
                </c:pt>
                <c:pt idx="2453">
                  <c:v>4018222.3509999998</c:v>
                </c:pt>
                <c:pt idx="2454">
                  <c:v>4089106.3509999998</c:v>
                </c:pt>
                <c:pt idx="2455">
                  <c:v>4117750.3509999998</c:v>
                </c:pt>
                <c:pt idx="2456">
                  <c:v>4197778.3509999998</c:v>
                </c:pt>
                <c:pt idx="2457">
                  <c:v>4203910.3509999998</c:v>
                </c:pt>
                <c:pt idx="2458">
                  <c:v>4127782.3509999998</c:v>
                </c:pt>
                <c:pt idx="2459">
                  <c:v>4256230.3509999998</c:v>
                </c:pt>
                <c:pt idx="2460">
                  <c:v>4248874.3509999998</c:v>
                </c:pt>
                <c:pt idx="2461">
                  <c:v>4263658.3509999998</c:v>
                </c:pt>
                <c:pt idx="2462">
                  <c:v>4252594.3509999998</c:v>
                </c:pt>
                <c:pt idx="2463">
                  <c:v>4345486.3509999998</c:v>
                </c:pt>
                <c:pt idx="2464">
                  <c:v>4596718.3509999998</c:v>
                </c:pt>
                <c:pt idx="2465">
                  <c:v>4542970.3509999998</c:v>
                </c:pt>
                <c:pt idx="2466">
                  <c:v>4535410.3509999998</c:v>
                </c:pt>
                <c:pt idx="2467">
                  <c:v>4524586.3509999998</c:v>
                </c:pt>
                <c:pt idx="2468">
                  <c:v>4620994.3509999998</c:v>
                </c:pt>
                <c:pt idx="2469">
                  <c:v>4674262.3509999998</c:v>
                </c:pt>
                <c:pt idx="2470">
                  <c:v>4700554.3509999998</c:v>
                </c:pt>
                <c:pt idx="2471">
                  <c:v>4739050.3509999998</c:v>
                </c:pt>
                <c:pt idx="2472">
                  <c:v>4691962.3509999998</c:v>
                </c:pt>
                <c:pt idx="2473">
                  <c:v>4510438.3509999998</c:v>
                </c:pt>
                <c:pt idx="2474">
                  <c:v>4597282.3509999998</c:v>
                </c:pt>
                <c:pt idx="2475">
                  <c:v>4627762.3509999998</c:v>
                </c:pt>
                <c:pt idx="2476">
                  <c:v>4590370.3509999998</c:v>
                </c:pt>
                <c:pt idx="2477">
                  <c:v>4559530.3509999998</c:v>
                </c:pt>
                <c:pt idx="2478">
                  <c:v>4615354.3509999998</c:v>
                </c:pt>
                <c:pt idx="2479">
                  <c:v>4743442.3509999998</c:v>
                </c:pt>
                <c:pt idx="2480">
                  <c:v>4722094.3509999998</c:v>
                </c:pt>
                <c:pt idx="2481">
                  <c:v>4723870.3509999998</c:v>
                </c:pt>
                <c:pt idx="2482">
                  <c:v>4725149.9239999996</c:v>
                </c:pt>
                <c:pt idx="2483">
                  <c:v>4725149.9239999996</c:v>
                </c:pt>
                <c:pt idx="2484">
                  <c:v>4725149.9239999996</c:v>
                </c:pt>
                <c:pt idx="2485">
                  <c:v>4725149.9239999996</c:v>
                </c:pt>
                <c:pt idx="2486">
                  <c:v>4725149.9239999996</c:v>
                </c:pt>
                <c:pt idx="2487">
                  <c:v>4725149.9239999996</c:v>
                </c:pt>
                <c:pt idx="2488">
                  <c:v>4725149.9239999996</c:v>
                </c:pt>
                <c:pt idx="2489">
                  <c:v>4725149.9239999996</c:v>
                </c:pt>
                <c:pt idx="2490">
                  <c:v>4725149.9239999996</c:v>
                </c:pt>
                <c:pt idx="2491">
                  <c:v>4725149.9239999996</c:v>
                </c:pt>
                <c:pt idx="2492">
                  <c:v>4725149.9239999996</c:v>
                </c:pt>
                <c:pt idx="2493">
                  <c:v>4725149.9239999996</c:v>
                </c:pt>
                <c:pt idx="2494">
                  <c:v>4725149.9239999996</c:v>
                </c:pt>
                <c:pt idx="2495">
                  <c:v>4725149.9239999996</c:v>
                </c:pt>
                <c:pt idx="2496">
                  <c:v>4725149.9239999996</c:v>
                </c:pt>
                <c:pt idx="2497">
                  <c:v>4725149.9239999996</c:v>
                </c:pt>
                <c:pt idx="2498">
                  <c:v>4724712.6169999996</c:v>
                </c:pt>
                <c:pt idx="2499">
                  <c:v>4846009.6169999996</c:v>
                </c:pt>
                <c:pt idx="2500">
                  <c:v>4847604.6169999996</c:v>
                </c:pt>
                <c:pt idx="2501">
                  <c:v>4830928.6169999996</c:v>
                </c:pt>
                <c:pt idx="2502">
                  <c:v>4884311.6169999996</c:v>
                </c:pt>
                <c:pt idx="2503">
                  <c:v>4779811.6169999996</c:v>
                </c:pt>
                <c:pt idx="2504">
                  <c:v>4772551.6169999996</c:v>
                </c:pt>
                <c:pt idx="2505">
                  <c:v>4784739.6169999996</c:v>
                </c:pt>
                <c:pt idx="2506">
                  <c:v>4687209.017</c:v>
                </c:pt>
                <c:pt idx="2507">
                  <c:v>4687209.017</c:v>
                </c:pt>
                <c:pt idx="2508">
                  <c:v>4687209.017</c:v>
                </c:pt>
                <c:pt idx="2509">
                  <c:v>4687209.017</c:v>
                </c:pt>
                <c:pt idx="2510">
                  <c:v>4687209.017</c:v>
                </c:pt>
                <c:pt idx="2511">
                  <c:v>4687209.017</c:v>
                </c:pt>
                <c:pt idx="2512">
                  <c:v>4687209.017</c:v>
                </c:pt>
                <c:pt idx="2513">
                  <c:v>4687209.017</c:v>
                </c:pt>
                <c:pt idx="2514">
                  <c:v>4687209.017</c:v>
                </c:pt>
                <c:pt idx="2515">
                  <c:v>4687209.017</c:v>
                </c:pt>
                <c:pt idx="2516">
                  <c:v>4687209.017</c:v>
                </c:pt>
                <c:pt idx="2517">
                  <c:v>4687209.017</c:v>
                </c:pt>
                <c:pt idx="2518">
                  <c:v>4687209.017</c:v>
                </c:pt>
                <c:pt idx="2519">
                  <c:v>4687209.017</c:v>
                </c:pt>
                <c:pt idx="2520">
                  <c:v>4687209.017</c:v>
                </c:pt>
                <c:pt idx="2521">
                  <c:v>4687209.017</c:v>
                </c:pt>
                <c:pt idx="2522">
                  <c:v>4687209.017</c:v>
                </c:pt>
                <c:pt idx="2523">
                  <c:v>4687209.017</c:v>
                </c:pt>
                <c:pt idx="2524">
                  <c:v>4687209.017</c:v>
                </c:pt>
                <c:pt idx="2525">
                  <c:v>4687209.017</c:v>
                </c:pt>
                <c:pt idx="2526">
                  <c:v>4687209.017</c:v>
                </c:pt>
                <c:pt idx="2527">
                  <c:v>4687209.017</c:v>
                </c:pt>
                <c:pt idx="2528">
                  <c:v>4687209.017</c:v>
                </c:pt>
                <c:pt idx="2529">
                  <c:v>4687209.017</c:v>
                </c:pt>
                <c:pt idx="2530">
                  <c:v>4687209.017</c:v>
                </c:pt>
                <c:pt idx="2531">
                  <c:v>4687209.017</c:v>
                </c:pt>
                <c:pt idx="2532">
                  <c:v>4687209.017</c:v>
                </c:pt>
                <c:pt idx="2533">
                  <c:v>4687209.017</c:v>
                </c:pt>
                <c:pt idx="2534">
                  <c:v>4687209.017</c:v>
                </c:pt>
                <c:pt idx="2535">
                  <c:v>4687209.017</c:v>
                </c:pt>
                <c:pt idx="2536">
                  <c:v>4687209.017</c:v>
                </c:pt>
                <c:pt idx="2537">
                  <c:v>4687209.017</c:v>
                </c:pt>
                <c:pt idx="2538">
                  <c:v>4687209.017</c:v>
                </c:pt>
                <c:pt idx="2539">
                  <c:v>4687209.017</c:v>
                </c:pt>
                <c:pt idx="2540">
                  <c:v>4687209.017</c:v>
                </c:pt>
                <c:pt idx="2541">
                  <c:v>4687209.017</c:v>
                </c:pt>
                <c:pt idx="2542">
                  <c:v>4687209.017</c:v>
                </c:pt>
                <c:pt idx="2543">
                  <c:v>4686748.9440000001</c:v>
                </c:pt>
                <c:pt idx="2544">
                  <c:v>4695544.9440000001</c:v>
                </c:pt>
                <c:pt idx="2545">
                  <c:v>4647592.9440000001</c:v>
                </c:pt>
                <c:pt idx="2546">
                  <c:v>4639216.9440000001</c:v>
                </c:pt>
                <c:pt idx="2547">
                  <c:v>4687804.9440000001</c:v>
                </c:pt>
                <c:pt idx="2548">
                  <c:v>4676728.9440000001</c:v>
                </c:pt>
                <c:pt idx="2549">
                  <c:v>4808992.9440000001</c:v>
                </c:pt>
                <c:pt idx="2550">
                  <c:v>4810624.9440000001</c:v>
                </c:pt>
                <c:pt idx="2551">
                  <c:v>4758256.9440000001</c:v>
                </c:pt>
                <c:pt idx="2552">
                  <c:v>4733740.9440000001</c:v>
                </c:pt>
                <c:pt idx="2553">
                  <c:v>4757860.9440000001</c:v>
                </c:pt>
                <c:pt idx="2554">
                  <c:v>4649368.9440000001</c:v>
                </c:pt>
                <c:pt idx="2555">
                  <c:v>4637776.9440000001</c:v>
                </c:pt>
                <c:pt idx="2556">
                  <c:v>4630108.9440000001</c:v>
                </c:pt>
                <c:pt idx="2557">
                  <c:v>4628284.9440000001</c:v>
                </c:pt>
                <c:pt idx="2558">
                  <c:v>4656496.9440000001</c:v>
                </c:pt>
                <c:pt idx="2559">
                  <c:v>4674590.0410000002</c:v>
                </c:pt>
                <c:pt idx="2560">
                  <c:v>4674590.0410000002</c:v>
                </c:pt>
                <c:pt idx="2561">
                  <c:v>4674590.0410000002</c:v>
                </c:pt>
                <c:pt idx="2562">
                  <c:v>4674590.0410000002</c:v>
                </c:pt>
                <c:pt idx="2563">
                  <c:v>4674590.0410000002</c:v>
                </c:pt>
                <c:pt idx="2564">
                  <c:v>4674590.0410000002</c:v>
                </c:pt>
                <c:pt idx="2565">
                  <c:v>4674590.0410000002</c:v>
                </c:pt>
                <c:pt idx="2566">
                  <c:v>4674590.0410000002</c:v>
                </c:pt>
                <c:pt idx="2567">
                  <c:v>4674590.0410000002</c:v>
                </c:pt>
                <c:pt idx="2568">
                  <c:v>4674590.0410000002</c:v>
                </c:pt>
                <c:pt idx="2569">
                  <c:v>4674590.0410000002</c:v>
                </c:pt>
                <c:pt idx="2570">
                  <c:v>4674590.0410000002</c:v>
                </c:pt>
                <c:pt idx="2571">
                  <c:v>4674590.0410000002</c:v>
                </c:pt>
                <c:pt idx="2572">
                  <c:v>4674590.0410000002</c:v>
                </c:pt>
                <c:pt idx="2573">
                  <c:v>4674590.0410000002</c:v>
                </c:pt>
                <c:pt idx="2574">
                  <c:v>4674590.0410000002</c:v>
                </c:pt>
                <c:pt idx="2575">
                  <c:v>4674590.0410000002</c:v>
                </c:pt>
                <c:pt idx="2576">
                  <c:v>4674590.0410000002</c:v>
                </c:pt>
                <c:pt idx="2577">
                  <c:v>4674590.0410000002</c:v>
                </c:pt>
                <c:pt idx="2578">
                  <c:v>4674590.0410000002</c:v>
                </c:pt>
                <c:pt idx="2579">
                  <c:v>4674590.0410000002</c:v>
                </c:pt>
                <c:pt idx="2580">
                  <c:v>4674590.0410000002</c:v>
                </c:pt>
                <c:pt idx="2581">
                  <c:v>4674590.0410000002</c:v>
                </c:pt>
                <c:pt idx="2582">
                  <c:v>4674590.0410000002</c:v>
                </c:pt>
                <c:pt idx="2583">
                  <c:v>4674590.0410000002</c:v>
                </c:pt>
                <c:pt idx="2584">
                  <c:v>4674590.0410000002</c:v>
                </c:pt>
                <c:pt idx="2585">
                  <c:v>4674590.0410000002</c:v>
                </c:pt>
                <c:pt idx="2586">
                  <c:v>4674590.0410000002</c:v>
                </c:pt>
                <c:pt idx="2587">
                  <c:v>4674590.0410000002</c:v>
                </c:pt>
                <c:pt idx="2588">
                  <c:v>4674590.0410000002</c:v>
                </c:pt>
                <c:pt idx="2589">
                  <c:v>4674590.0410000002</c:v>
                </c:pt>
                <c:pt idx="2590">
                  <c:v>4674590.0410000002</c:v>
                </c:pt>
                <c:pt idx="2591">
                  <c:v>4674590.0410000002</c:v>
                </c:pt>
                <c:pt idx="2592">
                  <c:v>4674590.0410000002</c:v>
                </c:pt>
                <c:pt idx="2593">
                  <c:v>4674590.0410000002</c:v>
                </c:pt>
                <c:pt idx="2594">
                  <c:v>4674590.0410000002</c:v>
                </c:pt>
                <c:pt idx="2595">
                  <c:v>4674590.0410000002</c:v>
                </c:pt>
                <c:pt idx="2596">
                  <c:v>4674590.0410000002</c:v>
                </c:pt>
                <c:pt idx="2597">
                  <c:v>4674590.0410000002</c:v>
                </c:pt>
                <c:pt idx="2598">
                  <c:v>4674590.0410000002</c:v>
                </c:pt>
                <c:pt idx="2599">
                  <c:v>4674590.0410000002</c:v>
                </c:pt>
                <c:pt idx="2600">
                  <c:v>4674590.0410000002</c:v>
                </c:pt>
                <c:pt idx="2601">
                  <c:v>4674590.0410000002</c:v>
                </c:pt>
                <c:pt idx="2602">
                  <c:v>4674590.0410000002</c:v>
                </c:pt>
                <c:pt idx="2603">
                  <c:v>4674154.6919999998</c:v>
                </c:pt>
                <c:pt idx="2604">
                  <c:v>4601004.6919999998</c:v>
                </c:pt>
                <c:pt idx="2605">
                  <c:v>4621750.6919999998</c:v>
                </c:pt>
                <c:pt idx="2606">
                  <c:v>4637480.6919999998</c:v>
                </c:pt>
                <c:pt idx="2607">
                  <c:v>4649877.6919999998</c:v>
                </c:pt>
                <c:pt idx="2608">
                  <c:v>4600388.6919999998</c:v>
                </c:pt>
                <c:pt idx="2609">
                  <c:v>4611850.6919999998</c:v>
                </c:pt>
                <c:pt idx="2610">
                  <c:v>4578740.6919999998</c:v>
                </c:pt>
                <c:pt idx="2611">
                  <c:v>4545916.6919999998</c:v>
                </c:pt>
                <c:pt idx="2612">
                  <c:v>4558577.6919999998</c:v>
                </c:pt>
                <c:pt idx="2613">
                  <c:v>4516645.6919999998</c:v>
                </c:pt>
                <c:pt idx="2614">
                  <c:v>4542110.6919999998</c:v>
                </c:pt>
                <c:pt idx="2615">
                  <c:v>4548226.6919999998</c:v>
                </c:pt>
                <c:pt idx="2616">
                  <c:v>4582766.6919999998</c:v>
                </c:pt>
                <c:pt idx="2617">
                  <c:v>4623565.6919999998</c:v>
                </c:pt>
                <c:pt idx="2618">
                  <c:v>4669226.6919999998</c:v>
                </c:pt>
                <c:pt idx="2619">
                  <c:v>4650537.6919999998</c:v>
                </c:pt>
                <c:pt idx="2620">
                  <c:v>4635621.6919999998</c:v>
                </c:pt>
                <c:pt idx="2621">
                  <c:v>4638404.6919999998</c:v>
                </c:pt>
                <c:pt idx="2622">
                  <c:v>4576980.6919999998</c:v>
                </c:pt>
                <c:pt idx="2623">
                  <c:v>4589586.6919999998</c:v>
                </c:pt>
                <c:pt idx="2624">
                  <c:v>4606130.6919999998</c:v>
                </c:pt>
                <c:pt idx="2625">
                  <c:v>4578850.6919999998</c:v>
                </c:pt>
                <c:pt idx="2626">
                  <c:v>4578399.6919999998</c:v>
                </c:pt>
                <c:pt idx="2627">
                  <c:v>4607131.6919999998</c:v>
                </c:pt>
                <c:pt idx="2628">
                  <c:v>4639911.6919999998</c:v>
                </c:pt>
                <c:pt idx="2629">
                  <c:v>4621915.6919999998</c:v>
                </c:pt>
                <c:pt idx="2630">
                  <c:v>4601015.6919999998</c:v>
                </c:pt>
                <c:pt idx="2631">
                  <c:v>4596087.6919999998</c:v>
                </c:pt>
                <c:pt idx="2632">
                  <c:v>4668291.6919999998</c:v>
                </c:pt>
                <c:pt idx="2633">
                  <c:v>4696594.6919999998</c:v>
                </c:pt>
                <c:pt idx="2634">
                  <c:v>4723753.6919999998</c:v>
                </c:pt>
                <c:pt idx="2635">
                  <c:v>4704030.6919999998</c:v>
                </c:pt>
                <c:pt idx="2636">
                  <c:v>4711719.6919999998</c:v>
                </c:pt>
                <c:pt idx="2637">
                  <c:v>4690973.6919999998</c:v>
                </c:pt>
                <c:pt idx="2638">
                  <c:v>4613940.6919999998</c:v>
                </c:pt>
                <c:pt idx="2639">
                  <c:v>4614721.6919999998</c:v>
                </c:pt>
                <c:pt idx="2640">
                  <c:v>4610640.6919999998</c:v>
                </c:pt>
                <c:pt idx="2641">
                  <c:v>4617108.6919999998</c:v>
                </c:pt>
                <c:pt idx="2642">
                  <c:v>4585461.6919999998</c:v>
                </c:pt>
                <c:pt idx="2643">
                  <c:v>4619385.6919999998</c:v>
                </c:pt>
                <c:pt idx="2644">
                  <c:v>4662406.6919999998</c:v>
                </c:pt>
                <c:pt idx="2645">
                  <c:v>4619308.6919999998</c:v>
                </c:pt>
                <c:pt idx="2646">
                  <c:v>4599222.6919999998</c:v>
                </c:pt>
                <c:pt idx="2647">
                  <c:v>4555651.6919999998</c:v>
                </c:pt>
                <c:pt idx="2648">
                  <c:v>4586693.6919999998</c:v>
                </c:pt>
                <c:pt idx="2649">
                  <c:v>4601477.6919999998</c:v>
                </c:pt>
                <c:pt idx="2650">
                  <c:v>4583844.6919999998</c:v>
                </c:pt>
                <c:pt idx="2651">
                  <c:v>4569192.6919999998</c:v>
                </c:pt>
                <c:pt idx="2652">
                  <c:v>4532199.6919999998</c:v>
                </c:pt>
                <c:pt idx="2653">
                  <c:v>4540328.6919999998</c:v>
                </c:pt>
                <c:pt idx="2654">
                  <c:v>4556861.6919999998</c:v>
                </c:pt>
                <c:pt idx="2655">
                  <c:v>4555464.6919999998</c:v>
                </c:pt>
                <c:pt idx="2656">
                  <c:v>4587958.6919999998</c:v>
                </c:pt>
                <c:pt idx="2657">
                  <c:v>4613291.6919999998</c:v>
                </c:pt>
                <c:pt idx="2658">
                  <c:v>4605657.6919999998</c:v>
                </c:pt>
                <c:pt idx="2659">
                  <c:v>4611080.6919999998</c:v>
                </c:pt>
                <c:pt idx="2660">
                  <c:v>4613687.6919999998</c:v>
                </c:pt>
                <c:pt idx="2661">
                  <c:v>4600784.6919999998</c:v>
                </c:pt>
                <c:pt idx="2662">
                  <c:v>4685268.1880000001</c:v>
                </c:pt>
                <c:pt idx="2663">
                  <c:v>4685268.1880000001</c:v>
                </c:pt>
                <c:pt idx="2664">
                  <c:v>4685268.1880000001</c:v>
                </c:pt>
                <c:pt idx="2665">
                  <c:v>4684824.5820000004</c:v>
                </c:pt>
                <c:pt idx="2666">
                  <c:v>4678631.5820000004</c:v>
                </c:pt>
                <c:pt idx="2667">
                  <c:v>4667741.5820000004</c:v>
                </c:pt>
                <c:pt idx="2668">
                  <c:v>4612576.5820000004</c:v>
                </c:pt>
                <c:pt idx="2669">
                  <c:v>4641022.5820000004</c:v>
                </c:pt>
                <c:pt idx="2670">
                  <c:v>4638723.5820000004</c:v>
                </c:pt>
                <c:pt idx="2671">
                  <c:v>4677355.5820000004</c:v>
                </c:pt>
                <c:pt idx="2672">
                  <c:v>4672999.5820000004</c:v>
                </c:pt>
                <c:pt idx="2673">
                  <c:v>4738559.5820000004</c:v>
                </c:pt>
                <c:pt idx="2674">
                  <c:v>4755004.5820000004</c:v>
                </c:pt>
                <c:pt idx="2675">
                  <c:v>4816230.5820000004</c:v>
                </c:pt>
                <c:pt idx="2676">
                  <c:v>4808222.5820000004</c:v>
                </c:pt>
                <c:pt idx="2677">
                  <c:v>4790996.5820000004</c:v>
                </c:pt>
                <c:pt idx="2678">
                  <c:v>4825019.5820000004</c:v>
                </c:pt>
                <c:pt idx="2679">
                  <c:v>4772318.5820000004</c:v>
                </c:pt>
                <c:pt idx="2680">
                  <c:v>4829573.5820000004</c:v>
                </c:pt>
                <c:pt idx="2681">
                  <c:v>4828264.5820000004</c:v>
                </c:pt>
                <c:pt idx="2682">
                  <c:v>4873155.5820000004</c:v>
                </c:pt>
                <c:pt idx="2683">
                  <c:v>4857645.5820000004</c:v>
                </c:pt>
                <c:pt idx="2684">
                  <c:v>4832169.5820000004</c:v>
                </c:pt>
                <c:pt idx="2685">
                  <c:v>4812710.5820000004</c:v>
                </c:pt>
                <c:pt idx="2686">
                  <c:v>4819101.5820000004</c:v>
                </c:pt>
                <c:pt idx="2687">
                  <c:v>4853179.5820000004</c:v>
                </c:pt>
                <c:pt idx="2688">
                  <c:v>4774507.5820000004</c:v>
                </c:pt>
                <c:pt idx="2689">
                  <c:v>4793889.5820000004</c:v>
                </c:pt>
                <c:pt idx="2690">
                  <c:v>4652616.1529999999</c:v>
                </c:pt>
                <c:pt idx="2691">
                  <c:v>4652616.1529999999</c:v>
                </c:pt>
                <c:pt idx="2692">
                  <c:v>4652616.1529999999</c:v>
                </c:pt>
                <c:pt idx="2693">
                  <c:v>4652616.1529999999</c:v>
                </c:pt>
                <c:pt idx="2694">
                  <c:v>4652616.1529999999</c:v>
                </c:pt>
                <c:pt idx="2695">
                  <c:v>4652616.1529999999</c:v>
                </c:pt>
                <c:pt idx="2696">
                  <c:v>4652616.1529999999</c:v>
                </c:pt>
                <c:pt idx="2697">
                  <c:v>4652616.1529999999</c:v>
                </c:pt>
                <c:pt idx="2698">
                  <c:v>4652616.1529999999</c:v>
                </c:pt>
                <c:pt idx="2699">
                  <c:v>4652616.1529999999</c:v>
                </c:pt>
                <c:pt idx="2700">
                  <c:v>4652616.1529999999</c:v>
                </c:pt>
                <c:pt idx="2701">
                  <c:v>4652616.1529999999</c:v>
                </c:pt>
                <c:pt idx="2702">
                  <c:v>4652616.1529999999</c:v>
                </c:pt>
                <c:pt idx="2703">
                  <c:v>4652616.1529999999</c:v>
                </c:pt>
                <c:pt idx="2704">
                  <c:v>4652616.1529999999</c:v>
                </c:pt>
                <c:pt idx="2705">
                  <c:v>4652616.1529999999</c:v>
                </c:pt>
                <c:pt idx="2706">
                  <c:v>4652616.1529999999</c:v>
                </c:pt>
                <c:pt idx="2707">
                  <c:v>4652616.1529999999</c:v>
                </c:pt>
                <c:pt idx="2708">
                  <c:v>4652616.1529999999</c:v>
                </c:pt>
                <c:pt idx="2709">
                  <c:v>4652616.1529999999</c:v>
                </c:pt>
                <c:pt idx="2710">
                  <c:v>4652616.1529999999</c:v>
                </c:pt>
                <c:pt idx="2711">
                  <c:v>4652616.1529999999</c:v>
                </c:pt>
                <c:pt idx="2712">
                  <c:v>4652616.1529999999</c:v>
                </c:pt>
                <c:pt idx="2713">
                  <c:v>4652163.4979999997</c:v>
                </c:pt>
                <c:pt idx="2714">
                  <c:v>4753011.4970000004</c:v>
                </c:pt>
                <c:pt idx="2715">
                  <c:v>4677969.4979999997</c:v>
                </c:pt>
                <c:pt idx="2716">
                  <c:v>4522451.4979999997</c:v>
                </c:pt>
                <c:pt idx="2717">
                  <c:v>4616611.4979999997</c:v>
                </c:pt>
                <c:pt idx="2718">
                  <c:v>4556438.37</c:v>
                </c:pt>
                <c:pt idx="2719">
                  <c:v>4556438.37</c:v>
                </c:pt>
                <c:pt idx="2720">
                  <c:v>4556438.37</c:v>
                </c:pt>
                <c:pt idx="2721">
                  <c:v>4556438.37</c:v>
                </c:pt>
                <c:pt idx="2722">
                  <c:v>4556438.37</c:v>
                </c:pt>
                <c:pt idx="2723">
                  <c:v>4556438.37</c:v>
                </c:pt>
                <c:pt idx="2724">
                  <c:v>4556438.37</c:v>
                </c:pt>
                <c:pt idx="2725">
                  <c:v>4556438.37</c:v>
                </c:pt>
                <c:pt idx="2726">
                  <c:v>4556438.37</c:v>
                </c:pt>
                <c:pt idx="2727">
                  <c:v>4556438.37</c:v>
                </c:pt>
                <c:pt idx="2728">
                  <c:v>4556438.37</c:v>
                </c:pt>
                <c:pt idx="2729">
                  <c:v>4556438.37</c:v>
                </c:pt>
                <c:pt idx="2730">
                  <c:v>4556438.37</c:v>
                </c:pt>
                <c:pt idx="2731">
                  <c:v>4556438.37</c:v>
                </c:pt>
                <c:pt idx="2732">
                  <c:v>4556438.37</c:v>
                </c:pt>
                <c:pt idx="2733">
                  <c:v>4556438.37</c:v>
                </c:pt>
                <c:pt idx="2734">
                  <c:v>4556438.37</c:v>
                </c:pt>
                <c:pt idx="2735">
                  <c:v>4556438.37</c:v>
                </c:pt>
                <c:pt idx="2736">
                  <c:v>4556438.37</c:v>
                </c:pt>
                <c:pt idx="2737">
                  <c:v>4556438.37</c:v>
                </c:pt>
                <c:pt idx="2738">
                  <c:v>4556438.37</c:v>
                </c:pt>
                <c:pt idx="2739">
                  <c:v>4556438.37</c:v>
                </c:pt>
                <c:pt idx="2740">
                  <c:v>4556438.37</c:v>
                </c:pt>
                <c:pt idx="2741">
                  <c:v>4556438.37</c:v>
                </c:pt>
                <c:pt idx="2742">
                  <c:v>4556438.37</c:v>
                </c:pt>
                <c:pt idx="2743">
                  <c:v>4556438.37</c:v>
                </c:pt>
                <c:pt idx="2744">
                  <c:v>4556438.37</c:v>
                </c:pt>
                <c:pt idx="2745">
                  <c:v>4556438.37</c:v>
                </c:pt>
                <c:pt idx="2746">
                  <c:v>4556438.37</c:v>
                </c:pt>
                <c:pt idx="2747">
                  <c:v>4556438.37</c:v>
                </c:pt>
                <c:pt idx="2748">
                  <c:v>4556438.37</c:v>
                </c:pt>
                <c:pt idx="2749">
                  <c:v>4556438.37</c:v>
                </c:pt>
                <c:pt idx="2750">
                  <c:v>4556438.37</c:v>
                </c:pt>
                <c:pt idx="2751">
                  <c:v>4556438.37</c:v>
                </c:pt>
                <c:pt idx="2752">
                  <c:v>4556438.37</c:v>
                </c:pt>
                <c:pt idx="2753">
                  <c:v>4556438.37</c:v>
                </c:pt>
                <c:pt idx="2754">
                  <c:v>4556438.37</c:v>
                </c:pt>
                <c:pt idx="2755">
                  <c:v>4556438.37</c:v>
                </c:pt>
                <c:pt idx="2756">
                  <c:v>4556438.37</c:v>
                </c:pt>
                <c:pt idx="2757">
                  <c:v>4556438.37</c:v>
                </c:pt>
                <c:pt idx="2758">
                  <c:v>4556438.37</c:v>
                </c:pt>
                <c:pt idx="2759">
                  <c:v>4556438.37</c:v>
                </c:pt>
                <c:pt idx="2760">
                  <c:v>4556438.37</c:v>
                </c:pt>
                <c:pt idx="2761">
                  <c:v>4556438.37</c:v>
                </c:pt>
                <c:pt idx="2762">
                  <c:v>4556438.37</c:v>
                </c:pt>
                <c:pt idx="2763">
                  <c:v>4556438.37</c:v>
                </c:pt>
                <c:pt idx="2764">
                  <c:v>4556438.37</c:v>
                </c:pt>
                <c:pt idx="2765">
                  <c:v>4556438.37</c:v>
                </c:pt>
                <c:pt idx="2766">
                  <c:v>4556438.37</c:v>
                </c:pt>
                <c:pt idx="2767">
                  <c:v>4556438.37</c:v>
                </c:pt>
                <c:pt idx="2768">
                  <c:v>4556438.37</c:v>
                </c:pt>
                <c:pt idx="2769">
                  <c:v>4556438.37</c:v>
                </c:pt>
                <c:pt idx="2770">
                  <c:v>4556438.37</c:v>
                </c:pt>
                <c:pt idx="2771">
                  <c:v>4556438.37</c:v>
                </c:pt>
                <c:pt idx="2772">
                  <c:v>4556438.37</c:v>
                </c:pt>
                <c:pt idx="2773">
                  <c:v>4556438.37</c:v>
                </c:pt>
                <c:pt idx="2774">
                  <c:v>4556438.37</c:v>
                </c:pt>
                <c:pt idx="2775">
                  <c:v>4556438.37</c:v>
                </c:pt>
                <c:pt idx="2776">
                  <c:v>4556438.37</c:v>
                </c:pt>
                <c:pt idx="2777">
                  <c:v>4556438.37</c:v>
                </c:pt>
                <c:pt idx="2778">
                  <c:v>4556438.37</c:v>
                </c:pt>
                <c:pt idx="2779">
                  <c:v>4556438.37</c:v>
                </c:pt>
                <c:pt idx="2780">
                  <c:v>4556438.37</c:v>
                </c:pt>
                <c:pt idx="2781">
                  <c:v>4556438.37</c:v>
                </c:pt>
                <c:pt idx="2782">
                  <c:v>4556438.37</c:v>
                </c:pt>
                <c:pt idx="2783">
                  <c:v>4556438.37</c:v>
                </c:pt>
                <c:pt idx="2784">
                  <c:v>4556438.37</c:v>
                </c:pt>
                <c:pt idx="2785">
                  <c:v>4556438.37</c:v>
                </c:pt>
                <c:pt idx="2786">
                  <c:v>4556438.37</c:v>
                </c:pt>
                <c:pt idx="2787">
                  <c:v>4556438.37</c:v>
                </c:pt>
                <c:pt idx="2788">
                  <c:v>4556438.37</c:v>
                </c:pt>
                <c:pt idx="2789">
                  <c:v>4556438.37</c:v>
                </c:pt>
                <c:pt idx="2790">
                  <c:v>4556438.37</c:v>
                </c:pt>
                <c:pt idx="2791">
                  <c:v>4556438.37</c:v>
                </c:pt>
                <c:pt idx="2792">
                  <c:v>4556438.37</c:v>
                </c:pt>
                <c:pt idx="2793">
                  <c:v>4556004.7860000003</c:v>
                </c:pt>
                <c:pt idx="2794">
                  <c:v>4639764.7860000003</c:v>
                </c:pt>
                <c:pt idx="2795">
                  <c:v>4890254.7860000003</c:v>
                </c:pt>
                <c:pt idx="2796">
                  <c:v>4918294.7860000003</c:v>
                </c:pt>
                <c:pt idx="2797">
                  <c:v>4994164.7860000003</c:v>
                </c:pt>
                <c:pt idx="2798">
                  <c:v>5060934.7860000003</c:v>
                </c:pt>
                <c:pt idx="2799">
                  <c:v>4973294.7860000003</c:v>
                </c:pt>
                <c:pt idx="2800">
                  <c:v>5073124.7860000003</c:v>
                </c:pt>
                <c:pt idx="2801">
                  <c:v>5026854.7860000003</c:v>
                </c:pt>
                <c:pt idx="2802">
                  <c:v>4964634.7860000003</c:v>
                </c:pt>
                <c:pt idx="2803">
                  <c:v>4736414.7860000003</c:v>
                </c:pt>
                <c:pt idx="2804">
                  <c:v>4764864.7860000003</c:v>
                </c:pt>
                <c:pt idx="2805">
                  <c:v>4900464.7860000003</c:v>
                </c:pt>
                <c:pt idx="2806">
                  <c:v>4911204.7860000003</c:v>
                </c:pt>
                <c:pt idx="2807">
                  <c:v>4934614.7860000003</c:v>
                </c:pt>
                <c:pt idx="2808">
                  <c:v>4932604.7860000003</c:v>
                </c:pt>
                <c:pt idx="2809">
                  <c:v>4725754.7860000003</c:v>
                </c:pt>
                <c:pt idx="2810">
                  <c:v>4748614.7860000003</c:v>
                </c:pt>
                <c:pt idx="2811">
                  <c:v>4788424.7860000003</c:v>
                </c:pt>
                <c:pt idx="2812">
                  <c:v>4899174.7860000003</c:v>
                </c:pt>
                <c:pt idx="2813">
                  <c:v>4875849.1710000001</c:v>
                </c:pt>
                <c:pt idx="2814">
                  <c:v>4875849.1710000001</c:v>
                </c:pt>
                <c:pt idx="2815">
                  <c:v>4875849.1710000001</c:v>
                </c:pt>
                <c:pt idx="2816">
                  <c:v>4875849.1710000001</c:v>
                </c:pt>
                <c:pt idx="2817">
                  <c:v>4875849.1710000001</c:v>
                </c:pt>
                <c:pt idx="2818">
                  <c:v>4875849.1710000001</c:v>
                </c:pt>
                <c:pt idx="2819">
                  <c:v>4875849.1710000001</c:v>
                </c:pt>
                <c:pt idx="2820">
                  <c:v>4875849.1710000001</c:v>
                </c:pt>
                <c:pt idx="2821">
                  <c:v>4875849.1710000001</c:v>
                </c:pt>
                <c:pt idx="2822">
                  <c:v>4875849.1710000001</c:v>
                </c:pt>
                <c:pt idx="2823">
                  <c:v>4875849.1710000001</c:v>
                </c:pt>
                <c:pt idx="2824">
                  <c:v>4875849.1710000001</c:v>
                </c:pt>
                <c:pt idx="2825">
                  <c:v>4875849.1710000001</c:v>
                </c:pt>
                <c:pt idx="2826">
                  <c:v>4875849.1710000001</c:v>
                </c:pt>
                <c:pt idx="2827">
                  <c:v>4875849.1710000001</c:v>
                </c:pt>
                <c:pt idx="2828">
                  <c:v>4875849.1710000001</c:v>
                </c:pt>
                <c:pt idx="2829">
                  <c:v>4875849.1710000001</c:v>
                </c:pt>
                <c:pt idx="2830">
                  <c:v>4875849.1710000001</c:v>
                </c:pt>
                <c:pt idx="2831">
                  <c:v>4875849.1710000001</c:v>
                </c:pt>
                <c:pt idx="2832">
                  <c:v>4875849.1710000001</c:v>
                </c:pt>
                <c:pt idx="2833">
                  <c:v>4875849.1710000001</c:v>
                </c:pt>
                <c:pt idx="2834">
                  <c:v>4875849.1710000001</c:v>
                </c:pt>
                <c:pt idx="2835">
                  <c:v>4875849.1710000001</c:v>
                </c:pt>
                <c:pt idx="2836">
                  <c:v>4875849.1710000001</c:v>
                </c:pt>
                <c:pt idx="2837">
                  <c:v>4875849.1710000001</c:v>
                </c:pt>
                <c:pt idx="2838">
                  <c:v>4875849.1710000001</c:v>
                </c:pt>
                <c:pt idx="2839">
                  <c:v>4875849.1710000001</c:v>
                </c:pt>
                <c:pt idx="2840">
                  <c:v>4875849.1710000001</c:v>
                </c:pt>
                <c:pt idx="2841">
                  <c:v>4875849.1710000001</c:v>
                </c:pt>
                <c:pt idx="2842">
                  <c:v>4875849.1710000001</c:v>
                </c:pt>
                <c:pt idx="2843">
                  <c:v>4875849.1710000001</c:v>
                </c:pt>
                <c:pt idx="2844">
                  <c:v>4875849.1710000001</c:v>
                </c:pt>
                <c:pt idx="2845">
                  <c:v>4875849.1710000001</c:v>
                </c:pt>
                <c:pt idx="2846">
                  <c:v>4875849.1710000001</c:v>
                </c:pt>
                <c:pt idx="2847">
                  <c:v>4875849.1710000001</c:v>
                </c:pt>
                <c:pt idx="2848">
                  <c:v>4875849.1710000001</c:v>
                </c:pt>
                <c:pt idx="2849">
                  <c:v>4875375.4620000003</c:v>
                </c:pt>
                <c:pt idx="2850">
                  <c:v>4829715.4620000003</c:v>
                </c:pt>
                <c:pt idx="2851">
                  <c:v>4774045.4620000003</c:v>
                </c:pt>
                <c:pt idx="2852">
                  <c:v>4790615.4620000003</c:v>
                </c:pt>
                <c:pt idx="2853">
                  <c:v>4701355.4620000003</c:v>
                </c:pt>
                <c:pt idx="2854">
                  <c:v>4708305.4620000003</c:v>
                </c:pt>
                <c:pt idx="2855">
                  <c:v>4720195.4620000003</c:v>
                </c:pt>
                <c:pt idx="2856">
                  <c:v>4730085.4620000003</c:v>
                </c:pt>
                <c:pt idx="2857">
                  <c:v>4725685.4620000003</c:v>
                </c:pt>
                <c:pt idx="2858">
                  <c:v>4819425.4620000003</c:v>
                </c:pt>
                <c:pt idx="2859">
                  <c:v>4961445.4620000003</c:v>
                </c:pt>
                <c:pt idx="2860">
                  <c:v>4977485.4620000003</c:v>
                </c:pt>
                <c:pt idx="2861">
                  <c:v>4945385.4620000003</c:v>
                </c:pt>
                <c:pt idx="2862">
                  <c:v>4937025.4620000003</c:v>
                </c:pt>
                <c:pt idx="2863">
                  <c:v>4929965.4620000003</c:v>
                </c:pt>
                <c:pt idx="2864">
                  <c:v>4893775.4620000003</c:v>
                </c:pt>
                <c:pt idx="2865">
                  <c:v>4931755.4620000003</c:v>
                </c:pt>
                <c:pt idx="2866">
                  <c:v>4931115.4620000003</c:v>
                </c:pt>
                <c:pt idx="2867">
                  <c:v>4916265.4620000003</c:v>
                </c:pt>
                <c:pt idx="2868">
                  <c:v>4856775.4620000003</c:v>
                </c:pt>
                <c:pt idx="2869">
                  <c:v>4829525.4620000003</c:v>
                </c:pt>
                <c:pt idx="2870">
                  <c:v>4837565.4620000003</c:v>
                </c:pt>
                <c:pt idx="2871">
                  <c:v>4875555.4620000003</c:v>
                </c:pt>
                <c:pt idx="2872">
                  <c:v>4911205.4620000003</c:v>
                </c:pt>
                <c:pt idx="2873">
                  <c:v>4833615.4620000003</c:v>
                </c:pt>
                <c:pt idx="2874">
                  <c:v>4859115.4620000003</c:v>
                </c:pt>
                <c:pt idx="2875">
                  <c:v>4915845.4620000003</c:v>
                </c:pt>
                <c:pt idx="2876">
                  <c:v>4951945.4620000003</c:v>
                </c:pt>
                <c:pt idx="2877">
                  <c:v>5022906.9510000004</c:v>
                </c:pt>
                <c:pt idx="2878">
                  <c:v>5022906.9510000004</c:v>
                </c:pt>
                <c:pt idx="2879">
                  <c:v>5022906.9510000004</c:v>
                </c:pt>
                <c:pt idx="2880">
                  <c:v>5022906.9510000004</c:v>
                </c:pt>
                <c:pt idx="2881">
                  <c:v>5022906.9510000004</c:v>
                </c:pt>
                <c:pt idx="2882">
                  <c:v>5022906.9510000004</c:v>
                </c:pt>
                <c:pt idx="2883">
                  <c:v>5022906.9510000004</c:v>
                </c:pt>
                <c:pt idx="2884">
                  <c:v>5022906.9510000004</c:v>
                </c:pt>
                <c:pt idx="2885">
                  <c:v>5022906.9510000004</c:v>
                </c:pt>
                <c:pt idx="2886">
                  <c:v>5022906.9510000004</c:v>
                </c:pt>
                <c:pt idx="2887">
                  <c:v>5022906.9510000004</c:v>
                </c:pt>
                <c:pt idx="2888">
                  <c:v>5022906.9510000004</c:v>
                </c:pt>
                <c:pt idx="2889">
                  <c:v>5022906.9510000004</c:v>
                </c:pt>
                <c:pt idx="2890">
                  <c:v>5022906.9510000004</c:v>
                </c:pt>
                <c:pt idx="2891">
                  <c:v>5022906.9510000004</c:v>
                </c:pt>
                <c:pt idx="2892">
                  <c:v>5022414.9919999996</c:v>
                </c:pt>
                <c:pt idx="2893">
                  <c:v>5083594.9919999996</c:v>
                </c:pt>
                <c:pt idx="2894">
                  <c:v>5063074.9919999996</c:v>
                </c:pt>
                <c:pt idx="2895">
                  <c:v>5169924.9919999996</c:v>
                </c:pt>
                <c:pt idx="2896">
                  <c:v>5169964.9919999996</c:v>
                </c:pt>
                <c:pt idx="2897">
                  <c:v>5159884.9919999996</c:v>
                </c:pt>
                <c:pt idx="2898">
                  <c:v>5168744.9919999996</c:v>
                </c:pt>
                <c:pt idx="2899">
                  <c:v>5125064.9919999996</c:v>
                </c:pt>
                <c:pt idx="2900">
                  <c:v>5112704.9919999996</c:v>
                </c:pt>
                <c:pt idx="2901">
                  <c:v>5045524.9919999996</c:v>
                </c:pt>
                <c:pt idx="2902">
                  <c:v>5043344.9919999996</c:v>
                </c:pt>
                <c:pt idx="2903">
                  <c:v>4992454.9919999996</c:v>
                </c:pt>
                <c:pt idx="2904">
                  <c:v>5037664.9919999996</c:v>
                </c:pt>
                <c:pt idx="2905">
                  <c:v>5047924.9919999996</c:v>
                </c:pt>
                <c:pt idx="2906">
                  <c:v>5056694.9919999996</c:v>
                </c:pt>
                <c:pt idx="2907">
                  <c:v>5120304.9919999996</c:v>
                </c:pt>
                <c:pt idx="2908">
                  <c:v>5102794.9919999996</c:v>
                </c:pt>
                <c:pt idx="2909">
                  <c:v>5149664.9919999996</c:v>
                </c:pt>
                <c:pt idx="2910">
                  <c:v>5067594.9919999996</c:v>
                </c:pt>
                <c:pt idx="2911">
                  <c:v>5109944.9919999996</c:v>
                </c:pt>
                <c:pt idx="2912">
                  <c:v>5102844.9919999996</c:v>
                </c:pt>
                <c:pt idx="2913">
                  <c:v>5144834.9919999996</c:v>
                </c:pt>
                <c:pt idx="2914">
                  <c:v>5167234.9919999996</c:v>
                </c:pt>
                <c:pt idx="2915">
                  <c:v>5145764.9919999996</c:v>
                </c:pt>
                <c:pt idx="2916">
                  <c:v>5216534.9919999996</c:v>
                </c:pt>
                <c:pt idx="2917">
                  <c:v>5314114.9919999996</c:v>
                </c:pt>
                <c:pt idx="2918">
                  <c:v>5370544.9919999996</c:v>
                </c:pt>
                <c:pt idx="2919">
                  <c:v>5471324.9919999996</c:v>
                </c:pt>
                <c:pt idx="2920">
                  <c:v>5520494.9919999996</c:v>
                </c:pt>
                <c:pt idx="2921">
                  <c:v>5616484.9919999996</c:v>
                </c:pt>
                <c:pt idx="2922">
                  <c:v>5598254.9919999996</c:v>
                </c:pt>
                <c:pt idx="2923">
                  <c:v>5543984.9919999996</c:v>
                </c:pt>
                <c:pt idx="2924">
                  <c:v>5699174.9919999996</c:v>
                </c:pt>
                <c:pt idx="2925">
                  <c:v>5680794.9919999996</c:v>
                </c:pt>
                <c:pt idx="2926">
                  <c:v>5573284.9919999996</c:v>
                </c:pt>
                <c:pt idx="2927">
                  <c:v>5560904.9919999996</c:v>
                </c:pt>
                <c:pt idx="2928">
                  <c:v>5621344.9919999996</c:v>
                </c:pt>
                <c:pt idx="2929">
                  <c:v>5540344.9919999996</c:v>
                </c:pt>
                <c:pt idx="2930">
                  <c:v>5579254.9919999996</c:v>
                </c:pt>
                <c:pt idx="2931">
                  <c:v>5667794.9919999996</c:v>
                </c:pt>
                <c:pt idx="2932">
                  <c:v>5672604.9919999996</c:v>
                </c:pt>
                <c:pt idx="2933">
                  <c:v>5728744.9919999996</c:v>
                </c:pt>
                <c:pt idx="2934">
                  <c:v>5615794.9919999996</c:v>
                </c:pt>
                <c:pt idx="2935">
                  <c:v>5630824.9919999996</c:v>
                </c:pt>
                <c:pt idx="2936">
                  <c:v>5479964.9919999996</c:v>
                </c:pt>
                <c:pt idx="2937">
                  <c:v>5454784.9919999996</c:v>
                </c:pt>
                <c:pt idx="2938">
                  <c:v>5520474.9919999996</c:v>
                </c:pt>
                <c:pt idx="2939">
                  <c:v>5603914.9919999996</c:v>
                </c:pt>
                <c:pt idx="2940">
                  <c:v>5588024.9919999996</c:v>
                </c:pt>
                <c:pt idx="2941">
                  <c:v>5576774.9919999996</c:v>
                </c:pt>
                <c:pt idx="2942">
                  <c:v>5586234.9919999996</c:v>
                </c:pt>
                <c:pt idx="2943">
                  <c:v>5667384.9919999996</c:v>
                </c:pt>
                <c:pt idx="2944">
                  <c:v>5789074.9919999996</c:v>
                </c:pt>
                <c:pt idx="2945">
                  <c:v>5910544.9919999996</c:v>
                </c:pt>
                <c:pt idx="2946">
                  <c:v>5871204.9919999996</c:v>
                </c:pt>
                <c:pt idx="2947">
                  <c:v>5881664.9919999996</c:v>
                </c:pt>
                <c:pt idx="2948">
                  <c:v>5700154.9919999996</c:v>
                </c:pt>
                <c:pt idx="2949">
                  <c:v>5682494.9919999996</c:v>
                </c:pt>
                <c:pt idx="2950">
                  <c:v>5540394.9919999996</c:v>
                </c:pt>
                <c:pt idx="2951">
                  <c:v>5572384.9919999996</c:v>
                </c:pt>
                <c:pt idx="2952">
                  <c:v>5439584.9919999996</c:v>
                </c:pt>
                <c:pt idx="2953">
                  <c:v>5521604.9919999996</c:v>
                </c:pt>
                <c:pt idx="2954">
                  <c:v>5452454.9919999996</c:v>
                </c:pt>
                <c:pt idx="2955">
                  <c:v>5555034.9919999996</c:v>
                </c:pt>
                <c:pt idx="2956">
                  <c:v>5383534.9919999996</c:v>
                </c:pt>
                <c:pt idx="2957">
                  <c:v>5365624.9919999996</c:v>
                </c:pt>
                <c:pt idx="2958">
                  <c:v>5182844.9919999996</c:v>
                </c:pt>
                <c:pt idx="2959">
                  <c:v>5073824.9919999996</c:v>
                </c:pt>
                <c:pt idx="2960">
                  <c:v>5106434.9919999996</c:v>
                </c:pt>
                <c:pt idx="2961">
                  <c:v>5231044.9919999996</c:v>
                </c:pt>
                <c:pt idx="2962">
                  <c:v>5249204.9919999996</c:v>
                </c:pt>
                <c:pt idx="2963">
                  <c:v>5138364.9919999996</c:v>
                </c:pt>
                <c:pt idx="2964">
                  <c:v>5182184.9919999996</c:v>
                </c:pt>
                <c:pt idx="2965">
                  <c:v>5203684.9919999996</c:v>
                </c:pt>
                <c:pt idx="2966">
                  <c:v>5244594.9919999996</c:v>
                </c:pt>
                <c:pt idx="2967">
                  <c:v>5109914.9919999996</c:v>
                </c:pt>
                <c:pt idx="2968">
                  <c:v>5159974.9919999996</c:v>
                </c:pt>
                <c:pt idx="2969">
                  <c:v>5112074.9919999996</c:v>
                </c:pt>
                <c:pt idx="2970">
                  <c:v>5031514.9919999996</c:v>
                </c:pt>
                <c:pt idx="2971">
                  <c:v>5029174.9919999996</c:v>
                </c:pt>
                <c:pt idx="2972">
                  <c:v>5140814.9919999996</c:v>
                </c:pt>
                <c:pt idx="2973">
                  <c:v>5149704.9919999996</c:v>
                </c:pt>
                <c:pt idx="2974">
                  <c:v>5197554.9919999996</c:v>
                </c:pt>
                <c:pt idx="2975">
                  <c:v>5151184.9919999996</c:v>
                </c:pt>
                <c:pt idx="2976">
                  <c:v>5213604.9919999996</c:v>
                </c:pt>
                <c:pt idx="2977">
                  <c:v>5263868.8360000001</c:v>
                </c:pt>
                <c:pt idx="2978">
                  <c:v>5263868.8360000001</c:v>
                </c:pt>
                <c:pt idx="2979">
                  <c:v>5263868.8360000001</c:v>
                </c:pt>
                <c:pt idx="2980">
                  <c:v>5263868.8360000001</c:v>
                </c:pt>
                <c:pt idx="2981">
                  <c:v>5263868.8360000001</c:v>
                </c:pt>
                <c:pt idx="2982">
                  <c:v>5263868.8360000001</c:v>
                </c:pt>
                <c:pt idx="2983">
                  <c:v>5263868.8360000001</c:v>
                </c:pt>
                <c:pt idx="2984">
                  <c:v>5263868.8360000001</c:v>
                </c:pt>
                <c:pt idx="2985">
                  <c:v>5263868.8360000001</c:v>
                </c:pt>
                <c:pt idx="2986">
                  <c:v>5263868.8360000001</c:v>
                </c:pt>
                <c:pt idx="2987">
                  <c:v>5263868.8360000001</c:v>
                </c:pt>
                <c:pt idx="2988">
                  <c:v>5263868.8360000001</c:v>
                </c:pt>
                <c:pt idx="2989">
                  <c:v>5263868.8360000001</c:v>
                </c:pt>
                <c:pt idx="2990">
                  <c:v>5263868.8360000001</c:v>
                </c:pt>
                <c:pt idx="2991">
                  <c:v>5263868.8360000001</c:v>
                </c:pt>
                <c:pt idx="2992">
                  <c:v>5263868.8360000001</c:v>
                </c:pt>
                <c:pt idx="2993">
                  <c:v>5263868.8360000001</c:v>
                </c:pt>
                <c:pt idx="2994">
                  <c:v>5263868.8360000001</c:v>
                </c:pt>
                <c:pt idx="2995">
                  <c:v>5263868.8360000001</c:v>
                </c:pt>
                <c:pt idx="2996">
                  <c:v>5263868.8360000001</c:v>
                </c:pt>
                <c:pt idx="2997">
                  <c:v>5263868.8360000001</c:v>
                </c:pt>
                <c:pt idx="2998">
                  <c:v>5263868.8360000001</c:v>
                </c:pt>
                <c:pt idx="2999">
                  <c:v>5263868.8360000001</c:v>
                </c:pt>
                <c:pt idx="3000">
                  <c:v>5263868.8360000001</c:v>
                </c:pt>
                <c:pt idx="3001">
                  <c:v>5263868.8360000001</c:v>
                </c:pt>
                <c:pt idx="3002">
                  <c:v>5263868.8360000001</c:v>
                </c:pt>
                <c:pt idx="3003">
                  <c:v>5263868.8360000001</c:v>
                </c:pt>
                <c:pt idx="3004">
                  <c:v>5263868.8360000001</c:v>
                </c:pt>
                <c:pt idx="3005">
                  <c:v>5263868.8360000001</c:v>
                </c:pt>
                <c:pt idx="3006">
                  <c:v>5263868.8360000001</c:v>
                </c:pt>
                <c:pt idx="3007">
                  <c:v>5263868.8360000001</c:v>
                </c:pt>
                <c:pt idx="3008">
                  <c:v>5263868.8360000001</c:v>
                </c:pt>
                <c:pt idx="3009">
                  <c:v>5263868.8360000001</c:v>
                </c:pt>
                <c:pt idx="3010">
                  <c:v>5263868.8360000001</c:v>
                </c:pt>
                <c:pt idx="3011">
                  <c:v>5263868.8360000001</c:v>
                </c:pt>
                <c:pt idx="3012">
                  <c:v>5263868.8360000001</c:v>
                </c:pt>
                <c:pt idx="3013">
                  <c:v>5263868.8360000001</c:v>
                </c:pt>
                <c:pt idx="3014">
                  <c:v>5263868.8360000001</c:v>
                </c:pt>
                <c:pt idx="3015">
                  <c:v>5263868.8360000001</c:v>
                </c:pt>
                <c:pt idx="3016">
                  <c:v>5263868.8360000001</c:v>
                </c:pt>
                <c:pt idx="3017">
                  <c:v>5263868.8360000001</c:v>
                </c:pt>
                <c:pt idx="3018">
                  <c:v>5263868.8360000001</c:v>
                </c:pt>
                <c:pt idx="3019">
                  <c:v>5263868.8360000001</c:v>
                </c:pt>
                <c:pt idx="3020">
                  <c:v>5263868.8360000001</c:v>
                </c:pt>
                <c:pt idx="3021">
                  <c:v>5263868.8360000001</c:v>
                </c:pt>
                <c:pt idx="3022">
                  <c:v>5263868.8360000001</c:v>
                </c:pt>
                <c:pt idx="3023">
                  <c:v>5263868.8360000001</c:v>
                </c:pt>
                <c:pt idx="3024">
                  <c:v>5263868.8360000001</c:v>
                </c:pt>
                <c:pt idx="3025">
                  <c:v>5263868.8360000001</c:v>
                </c:pt>
                <c:pt idx="3026">
                  <c:v>5263868.8360000001</c:v>
                </c:pt>
                <c:pt idx="3027">
                  <c:v>5263868.8360000001</c:v>
                </c:pt>
                <c:pt idx="3028">
                  <c:v>5263868.8360000001</c:v>
                </c:pt>
                <c:pt idx="3029">
                  <c:v>5263868.8360000001</c:v>
                </c:pt>
                <c:pt idx="3030">
                  <c:v>5263354.0970000001</c:v>
                </c:pt>
                <c:pt idx="3031">
                  <c:v>5271934.0970000001</c:v>
                </c:pt>
                <c:pt idx="3032">
                  <c:v>5355934.0970000001</c:v>
                </c:pt>
                <c:pt idx="3033">
                  <c:v>5367724.0970000001</c:v>
                </c:pt>
                <c:pt idx="3034">
                  <c:v>5306504.0970000001</c:v>
                </c:pt>
                <c:pt idx="3035">
                  <c:v>5340004.0970000001</c:v>
                </c:pt>
                <c:pt idx="3036">
                  <c:v>5345624.0970000001</c:v>
                </c:pt>
                <c:pt idx="3037">
                  <c:v>5197084.0970000001</c:v>
                </c:pt>
                <c:pt idx="3038">
                  <c:v>5201754.0970000001</c:v>
                </c:pt>
                <c:pt idx="3039">
                  <c:v>5199064.0970000001</c:v>
                </c:pt>
                <c:pt idx="3040">
                  <c:v>5256454.0970000001</c:v>
                </c:pt>
                <c:pt idx="3041">
                  <c:v>5204224.0970000001</c:v>
                </c:pt>
                <c:pt idx="3042">
                  <c:v>5185404.0970000001</c:v>
                </c:pt>
                <c:pt idx="3043">
                  <c:v>5248674.0970000001</c:v>
                </c:pt>
                <c:pt idx="3044">
                  <c:v>5258064.0970000001</c:v>
                </c:pt>
                <c:pt idx="3045">
                  <c:v>5199044.0970000001</c:v>
                </c:pt>
                <c:pt idx="3046">
                  <c:v>5267424.0970000001</c:v>
                </c:pt>
                <c:pt idx="3047">
                  <c:v>5210734.0970000001</c:v>
                </c:pt>
                <c:pt idx="3048">
                  <c:v>5229454.0970000001</c:v>
                </c:pt>
                <c:pt idx="3049">
                  <c:v>5224954.0970000001</c:v>
                </c:pt>
                <c:pt idx="3050">
                  <c:v>5260004.0970000001</c:v>
                </c:pt>
                <c:pt idx="3051">
                  <c:v>5267714.0970000001</c:v>
                </c:pt>
                <c:pt idx="3052">
                  <c:v>5205194.0970000001</c:v>
                </c:pt>
                <c:pt idx="3053">
                  <c:v>5040771.5669999998</c:v>
                </c:pt>
                <c:pt idx="3054">
                  <c:v>5040771.5669999998</c:v>
                </c:pt>
                <c:pt idx="3055">
                  <c:v>5040771.5669999998</c:v>
                </c:pt>
                <c:pt idx="3056">
                  <c:v>5040771.5669999998</c:v>
                </c:pt>
                <c:pt idx="3057">
                  <c:v>5040771.5669999998</c:v>
                </c:pt>
                <c:pt idx="3058">
                  <c:v>5040771.5669999998</c:v>
                </c:pt>
                <c:pt idx="3059">
                  <c:v>5040771.5669999998</c:v>
                </c:pt>
                <c:pt idx="3060">
                  <c:v>5040771.5669999998</c:v>
                </c:pt>
                <c:pt idx="3061">
                  <c:v>5040771.5669999998</c:v>
                </c:pt>
                <c:pt idx="3062">
                  <c:v>5040771.5669999998</c:v>
                </c:pt>
                <c:pt idx="3063">
                  <c:v>5040771.5669999998</c:v>
                </c:pt>
                <c:pt idx="3064">
                  <c:v>5040771.5669999998</c:v>
                </c:pt>
                <c:pt idx="3065">
                  <c:v>5040771.5669999998</c:v>
                </c:pt>
                <c:pt idx="3066">
                  <c:v>5040771.5669999998</c:v>
                </c:pt>
                <c:pt idx="3067">
                  <c:v>5040771.5669999998</c:v>
                </c:pt>
                <c:pt idx="3068">
                  <c:v>5040771.5669999998</c:v>
                </c:pt>
                <c:pt idx="3069">
                  <c:v>5040771.5669999998</c:v>
                </c:pt>
                <c:pt idx="3070">
                  <c:v>5040771.5669999998</c:v>
                </c:pt>
                <c:pt idx="3071">
                  <c:v>5040771.5669999998</c:v>
                </c:pt>
                <c:pt idx="3072">
                  <c:v>5040771.5669999998</c:v>
                </c:pt>
                <c:pt idx="3073">
                  <c:v>5040771.5669999998</c:v>
                </c:pt>
                <c:pt idx="3074">
                  <c:v>5040771.5669999998</c:v>
                </c:pt>
                <c:pt idx="3075">
                  <c:v>5040771.5669999998</c:v>
                </c:pt>
                <c:pt idx="3076">
                  <c:v>5040771.5669999998</c:v>
                </c:pt>
                <c:pt idx="3077">
                  <c:v>5040771.5669999998</c:v>
                </c:pt>
                <c:pt idx="3078">
                  <c:v>5040771.5669999998</c:v>
                </c:pt>
                <c:pt idx="3079">
                  <c:v>5040771.5669999998</c:v>
                </c:pt>
                <c:pt idx="3080">
                  <c:v>5040771.5669999998</c:v>
                </c:pt>
                <c:pt idx="3081">
                  <c:v>5040771.5669999998</c:v>
                </c:pt>
                <c:pt idx="3082">
                  <c:v>5040771.5669999998</c:v>
                </c:pt>
                <c:pt idx="3083">
                  <c:v>5040771.5669999998</c:v>
                </c:pt>
                <c:pt idx="3084">
                  <c:v>5040771.5669999998</c:v>
                </c:pt>
                <c:pt idx="3085">
                  <c:v>5040771.5669999998</c:v>
                </c:pt>
                <c:pt idx="3086">
                  <c:v>5040771.5669999998</c:v>
                </c:pt>
                <c:pt idx="3087">
                  <c:v>5040771.5669999998</c:v>
                </c:pt>
                <c:pt idx="3088">
                  <c:v>5040771.5669999998</c:v>
                </c:pt>
                <c:pt idx="3089">
                  <c:v>5040771.5669999998</c:v>
                </c:pt>
                <c:pt idx="3090">
                  <c:v>5040771.5669999998</c:v>
                </c:pt>
                <c:pt idx="3091">
                  <c:v>5040771.5669999998</c:v>
                </c:pt>
                <c:pt idx="3092">
                  <c:v>5040771.5669999998</c:v>
                </c:pt>
                <c:pt idx="3093">
                  <c:v>5040771.5669999998</c:v>
                </c:pt>
                <c:pt idx="3094">
                  <c:v>5040771.5669999998</c:v>
                </c:pt>
                <c:pt idx="3095">
                  <c:v>5040771.5669999998</c:v>
                </c:pt>
                <c:pt idx="3096">
                  <c:v>5040771.5669999998</c:v>
                </c:pt>
                <c:pt idx="3097">
                  <c:v>5040771.5669999998</c:v>
                </c:pt>
                <c:pt idx="3098">
                  <c:v>5040771.5669999998</c:v>
                </c:pt>
                <c:pt idx="3099">
                  <c:v>5040284.9289999995</c:v>
                </c:pt>
                <c:pt idx="3100">
                  <c:v>5103844.9289999995</c:v>
                </c:pt>
                <c:pt idx="3101">
                  <c:v>5110094.9289999995</c:v>
                </c:pt>
                <c:pt idx="3102">
                  <c:v>5057744.9289999995</c:v>
                </c:pt>
                <c:pt idx="3103">
                  <c:v>5114014.9289999995</c:v>
                </c:pt>
                <c:pt idx="3104">
                  <c:v>5087514.9289999995</c:v>
                </c:pt>
                <c:pt idx="3105">
                  <c:v>5106014.9289999995</c:v>
                </c:pt>
                <c:pt idx="3106">
                  <c:v>5048684.9289999995</c:v>
                </c:pt>
                <c:pt idx="3107">
                  <c:v>5096624.9289999995</c:v>
                </c:pt>
                <c:pt idx="3108">
                  <c:v>5084084.9289999995</c:v>
                </c:pt>
                <c:pt idx="3109">
                  <c:v>5101924.9289999995</c:v>
                </c:pt>
                <c:pt idx="3110">
                  <c:v>5133634.9289999995</c:v>
                </c:pt>
                <c:pt idx="3111">
                  <c:v>5153424.9289999995</c:v>
                </c:pt>
                <c:pt idx="3112">
                  <c:v>5137004.9289999995</c:v>
                </c:pt>
                <c:pt idx="3113">
                  <c:v>5072064.9289999995</c:v>
                </c:pt>
                <c:pt idx="3114">
                  <c:v>5038044.9289999995</c:v>
                </c:pt>
                <c:pt idx="3115">
                  <c:v>5082674.9289999995</c:v>
                </c:pt>
                <c:pt idx="3116">
                  <c:v>5064594.9289999995</c:v>
                </c:pt>
                <c:pt idx="3117">
                  <c:v>5013754.9289999995</c:v>
                </c:pt>
                <c:pt idx="3118">
                  <c:v>4994532.818</c:v>
                </c:pt>
                <c:pt idx="3119">
                  <c:v>4994532.818</c:v>
                </c:pt>
                <c:pt idx="3120">
                  <c:v>4994532.818</c:v>
                </c:pt>
                <c:pt idx="3121">
                  <c:v>4994532.818</c:v>
                </c:pt>
                <c:pt idx="3122">
                  <c:v>4994532.818</c:v>
                </c:pt>
                <c:pt idx="3123">
                  <c:v>4994532.818</c:v>
                </c:pt>
                <c:pt idx="3124">
                  <c:v>4994532.818</c:v>
                </c:pt>
                <c:pt idx="3125">
                  <c:v>4994532.818</c:v>
                </c:pt>
                <c:pt idx="3126">
                  <c:v>4994532.818</c:v>
                </c:pt>
                <c:pt idx="3127">
                  <c:v>4994532.818</c:v>
                </c:pt>
                <c:pt idx="3128">
                  <c:v>4994532.818</c:v>
                </c:pt>
                <c:pt idx="3129">
                  <c:v>4994532.818</c:v>
                </c:pt>
                <c:pt idx="3130">
                  <c:v>4994532.818</c:v>
                </c:pt>
                <c:pt idx="3131">
                  <c:v>4994532.818</c:v>
                </c:pt>
                <c:pt idx="3132">
                  <c:v>4994532.818</c:v>
                </c:pt>
                <c:pt idx="3133">
                  <c:v>4994532.818</c:v>
                </c:pt>
                <c:pt idx="3134">
                  <c:v>4994532.818</c:v>
                </c:pt>
                <c:pt idx="3135">
                  <c:v>4994532.818</c:v>
                </c:pt>
                <c:pt idx="3136">
                  <c:v>4994532.818</c:v>
                </c:pt>
                <c:pt idx="3137">
                  <c:v>4994532.818</c:v>
                </c:pt>
                <c:pt idx="3138">
                  <c:v>4994532.818</c:v>
                </c:pt>
                <c:pt idx="3139">
                  <c:v>4994532.818</c:v>
                </c:pt>
                <c:pt idx="3140">
                  <c:v>4994532.818</c:v>
                </c:pt>
                <c:pt idx="3141">
                  <c:v>4994532.818</c:v>
                </c:pt>
                <c:pt idx="3142">
                  <c:v>4994532.818</c:v>
                </c:pt>
                <c:pt idx="3143">
                  <c:v>4994532.818</c:v>
                </c:pt>
                <c:pt idx="3144">
                  <c:v>4994075.7359999996</c:v>
                </c:pt>
                <c:pt idx="3145">
                  <c:v>4972862.7359999996</c:v>
                </c:pt>
                <c:pt idx="3146">
                  <c:v>4998674.7359999996</c:v>
                </c:pt>
                <c:pt idx="3147">
                  <c:v>4967984.7359999996</c:v>
                </c:pt>
                <c:pt idx="3148">
                  <c:v>4928564.7359999996</c:v>
                </c:pt>
                <c:pt idx="3149">
                  <c:v>4954511.7359999996</c:v>
                </c:pt>
                <c:pt idx="3150">
                  <c:v>4882538.7359999996</c:v>
                </c:pt>
                <c:pt idx="3151">
                  <c:v>4815632.7359999996</c:v>
                </c:pt>
                <c:pt idx="3152">
                  <c:v>4845395.7359999996</c:v>
                </c:pt>
                <c:pt idx="3153">
                  <c:v>4846259.7359999996</c:v>
                </c:pt>
                <c:pt idx="3154">
                  <c:v>4877120.7359999996</c:v>
                </c:pt>
                <c:pt idx="3155">
                  <c:v>4852460.7359999996</c:v>
                </c:pt>
                <c:pt idx="3156">
                  <c:v>4850642.7359999996</c:v>
                </c:pt>
                <c:pt idx="3157">
                  <c:v>4883618.7359999996</c:v>
                </c:pt>
                <c:pt idx="3158">
                  <c:v>4818386.7359999996</c:v>
                </c:pt>
                <c:pt idx="3159">
                  <c:v>4852613.7359999996</c:v>
                </c:pt>
                <c:pt idx="3160">
                  <c:v>4869587.7359999996</c:v>
                </c:pt>
                <c:pt idx="3161">
                  <c:v>4849247.7359999996</c:v>
                </c:pt>
                <c:pt idx="3162">
                  <c:v>4804562.7359999996</c:v>
                </c:pt>
                <c:pt idx="3163">
                  <c:v>4759661.7359999996</c:v>
                </c:pt>
                <c:pt idx="3164">
                  <c:v>4763387.7359999996</c:v>
                </c:pt>
                <c:pt idx="3165">
                  <c:v>4782899.7359999996</c:v>
                </c:pt>
                <c:pt idx="3166">
                  <c:v>4741247.7359999996</c:v>
                </c:pt>
                <c:pt idx="3167">
                  <c:v>4784276.7359999996</c:v>
                </c:pt>
                <c:pt idx="3168">
                  <c:v>4712582.7359999996</c:v>
                </c:pt>
                <c:pt idx="3169">
                  <c:v>4677311.7359999996</c:v>
                </c:pt>
                <c:pt idx="3170">
                  <c:v>4713806.7359999996</c:v>
                </c:pt>
                <c:pt idx="3171">
                  <c:v>4755269.7359999996</c:v>
                </c:pt>
                <c:pt idx="3172">
                  <c:v>4725596.7359999996</c:v>
                </c:pt>
                <c:pt idx="3173">
                  <c:v>4764413.7359999996</c:v>
                </c:pt>
                <c:pt idx="3174">
                  <c:v>4724633.7359999996</c:v>
                </c:pt>
                <c:pt idx="3175">
                  <c:v>4731320.7359999996</c:v>
                </c:pt>
                <c:pt idx="3176">
                  <c:v>4633859.7359999996</c:v>
                </c:pt>
                <c:pt idx="3177">
                  <c:v>4664333.7359999996</c:v>
                </c:pt>
                <c:pt idx="3178">
                  <c:v>4581146.7359999996</c:v>
                </c:pt>
                <c:pt idx="3179">
                  <c:v>4530647.7359999996</c:v>
                </c:pt>
                <c:pt idx="3180">
                  <c:v>4593935.7359999996</c:v>
                </c:pt>
                <c:pt idx="3181">
                  <c:v>4571147.7359999996</c:v>
                </c:pt>
                <c:pt idx="3182">
                  <c:v>4610108.7359999996</c:v>
                </c:pt>
                <c:pt idx="3183">
                  <c:v>4599128.7359999996</c:v>
                </c:pt>
                <c:pt idx="3184">
                  <c:v>4564514.7359999996</c:v>
                </c:pt>
                <c:pt idx="3185">
                  <c:v>4519775.7359999996</c:v>
                </c:pt>
                <c:pt idx="3186">
                  <c:v>4563344.7359999996</c:v>
                </c:pt>
                <c:pt idx="3187">
                  <c:v>4579445.7359999996</c:v>
                </c:pt>
                <c:pt idx="3188">
                  <c:v>4589498.7359999996</c:v>
                </c:pt>
                <c:pt idx="3189">
                  <c:v>4609370.7359999996</c:v>
                </c:pt>
                <c:pt idx="3190">
                  <c:v>4594133.7359999996</c:v>
                </c:pt>
                <c:pt idx="3191">
                  <c:v>4539989.7359999996</c:v>
                </c:pt>
                <c:pt idx="3192">
                  <c:v>4583999.7359999996</c:v>
                </c:pt>
                <c:pt idx="3193">
                  <c:v>4499642.7359999996</c:v>
                </c:pt>
                <c:pt idx="3194">
                  <c:v>4539332.7359999996</c:v>
                </c:pt>
                <c:pt idx="3195">
                  <c:v>4546327.3880000003</c:v>
                </c:pt>
                <c:pt idx="3196">
                  <c:v>4546327.3880000003</c:v>
                </c:pt>
                <c:pt idx="3197">
                  <c:v>4546327.3880000003</c:v>
                </c:pt>
                <c:pt idx="3198">
                  <c:v>4546327.3880000003</c:v>
                </c:pt>
                <c:pt idx="3199">
                  <c:v>4546327.3880000003</c:v>
                </c:pt>
                <c:pt idx="3200">
                  <c:v>4546327.3880000003</c:v>
                </c:pt>
                <c:pt idx="3201">
                  <c:v>4546327.3880000003</c:v>
                </c:pt>
                <c:pt idx="3202">
                  <c:v>4546327.3880000003</c:v>
                </c:pt>
                <c:pt idx="3203">
                  <c:v>4546327.3880000003</c:v>
                </c:pt>
                <c:pt idx="3204">
                  <c:v>4546327.3880000003</c:v>
                </c:pt>
                <c:pt idx="3205">
                  <c:v>4546327.3880000003</c:v>
                </c:pt>
                <c:pt idx="3206">
                  <c:v>4546327.3880000003</c:v>
                </c:pt>
                <c:pt idx="3207">
                  <c:v>4546327.3880000003</c:v>
                </c:pt>
                <c:pt idx="3208">
                  <c:v>4546327.3880000003</c:v>
                </c:pt>
                <c:pt idx="3209">
                  <c:v>4546327.3880000003</c:v>
                </c:pt>
                <c:pt idx="3210">
                  <c:v>4546327.3880000003</c:v>
                </c:pt>
                <c:pt idx="3211">
                  <c:v>4546327.3880000003</c:v>
                </c:pt>
                <c:pt idx="3212">
                  <c:v>4546327.3880000003</c:v>
                </c:pt>
                <c:pt idx="3213">
                  <c:v>4546327.3880000003</c:v>
                </c:pt>
                <c:pt idx="3214">
                  <c:v>4546327.3880000003</c:v>
                </c:pt>
                <c:pt idx="3215">
                  <c:v>4546327.3880000003</c:v>
                </c:pt>
                <c:pt idx="3216">
                  <c:v>4546327.3880000003</c:v>
                </c:pt>
                <c:pt idx="3217">
                  <c:v>4546327.3880000003</c:v>
                </c:pt>
                <c:pt idx="3218">
                  <c:v>4546327.3880000003</c:v>
                </c:pt>
                <c:pt idx="3219">
                  <c:v>4546327.3880000003</c:v>
                </c:pt>
                <c:pt idx="3220">
                  <c:v>4546327.3880000003</c:v>
                </c:pt>
                <c:pt idx="3221">
                  <c:v>4546327.3880000003</c:v>
                </c:pt>
                <c:pt idx="3222">
                  <c:v>4546327.3880000003</c:v>
                </c:pt>
              </c:numCache>
            </c:numRef>
          </c:val>
          <c:smooth val="0"/>
          <c:extLst>
            <c:ext xmlns:c16="http://schemas.microsoft.com/office/drawing/2014/chart" uri="{C3380CC4-5D6E-409C-BE32-E72D297353CC}">
              <c16:uniqueId val="{00000000-E975-419F-8594-7CBBAA84EA25}"/>
            </c:ext>
          </c:extLst>
        </c:ser>
        <c:ser>
          <c:idx val="1"/>
          <c:order val="1"/>
          <c:tx>
            <c:strRef>
              <c:f>beta_benchmark!$D$1</c:f>
              <c:strCache>
                <c:ptCount val="1"/>
                <c:pt idx="0">
                  <c:v>rsrs</c:v>
                </c:pt>
              </c:strCache>
            </c:strRef>
          </c:tx>
          <c:spPr>
            <a:ln w="28575" cap="rnd">
              <a:solidFill>
                <a:srgbClr val="00B050"/>
              </a:solidFill>
              <a:round/>
            </a:ln>
            <a:effectLst/>
          </c:spPr>
          <c:marker>
            <c:symbol val="none"/>
          </c:marker>
          <c:cat>
            <c:numRef>
              <c:f>beta_benchmark!$B$2:$B$3224</c:f>
              <c:numCache>
                <c:formatCode>m/d/yyyy</c:formatCode>
                <c:ptCount val="3223"/>
                <c:pt idx="0">
                  <c:v>39818</c:v>
                </c:pt>
                <c:pt idx="1">
                  <c:v>39819</c:v>
                </c:pt>
                <c:pt idx="2">
                  <c:v>39820</c:v>
                </c:pt>
                <c:pt idx="3">
                  <c:v>39821</c:v>
                </c:pt>
                <c:pt idx="4">
                  <c:v>39822</c:v>
                </c:pt>
                <c:pt idx="5">
                  <c:v>39825</c:v>
                </c:pt>
                <c:pt idx="6">
                  <c:v>39826</c:v>
                </c:pt>
                <c:pt idx="7">
                  <c:v>39827</c:v>
                </c:pt>
                <c:pt idx="8">
                  <c:v>39828</c:v>
                </c:pt>
                <c:pt idx="9">
                  <c:v>39829</c:v>
                </c:pt>
                <c:pt idx="10">
                  <c:v>39832</c:v>
                </c:pt>
                <c:pt idx="11">
                  <c:v>39833</c:v>
                </c:pt>
                <c:pt idx="12">
                  <c:v>39834</c:v>
                </c:pt>
                <c:pt idx="13">
                  <c:v>39835</c:v>
                </c:pt>
                <c:pt idx="14">
                  <c:v>39836</c:v>
                </c:pt>
                <c:pt idx="15">
                  <c:v>39846</c:v>
                </c:pt>
                <c:pt idx="16">
                  <c:v>39847</c:v>
                </c:pt>
                <c:pt idx="17">
                  <c:v>39848</c:v>
                </c:pt>
                <c:pt idx="18">
                  <c:v>39849</c:v>
                </c:pt>
                <c:pt idx="19">
                  <c:v>39850</c:v>
                </c:pt>
                <c:pt idx="20">
                  <c:v>39853</c:v>
                </c:pt>
                <c:pt idx="21">
                  <c:v>39854</c:v>
                </c:pt>
                <c:pt idx="22">
                  <c:v>39855</c:v>
                </c:pt>
                <c:pt idx="23">
                  <c:v>39856</c:v>
                </c:pt>
                <c:pt idx="24">
                  <c:v>39857</c:v>
                </c:pt>
                <c:pt idx="25">
                  <c:v>39860</c:v>
                </c:pt>
                <c:pt idx="26">
                  <c:v>39861</c:v>
                </c:pt>
                <c:pt idx="27">
                  <c:v>39862</c:v>
                </c:pt>
                <c:pt idx="28">
                  <c:v>39863</c:v>
                </c:pt>
                <c:pt idx="29">
                  <c:v>39864</c:v>
                </c:pt>
                <c:pt idx="30">
                  <c:v>39867</c:v>
                </c:pt>
                <c:pt idx="31">
                  <c:v>39868</c:v>
                </c:pt>
                <c:pt idx="32">
                  <c:v>39869</c:v>
                </c:pt>
                <c:pt idx="33">
                  <c:v>39870</c:v>
                </c:pt>
                <c:pt idx="34">
                  <c:v>39871</c:v>
                </c:pt>
                <c:pt idx="35">
                  <c:v>39874</c:v>
                </c:pt>
                <c:pt idx="36">
                  <c:v>39875</c:v>
                </c:pt>
                <c:pt idx="37">
                  <c:v>39876</c:v>
                </c:pt>
                <c:pt idx="38">
                  <c:v>39877</c:v>
                </c:pt>
                <c:pt idx="39">
                  <c:v>39878</c:v>
                </c:pt>
                <c:pt idx="40">
                  <c:v>39881</c:v>
                </c:pt>
                <c:pt idx="41">
                  <c:v>39882</c:v>
                </c:pt>
                <c:pt idx="42">
                  <c:v>39883</c:v>
                </c:pt>
                <c:pt idx="43">
                  <c:v>39884</c:v>
                </c:pt>
                <c:pt idx="44">
                  <c:v>39885</c:v>
                </c:pt>
                <c:pt idx="45">
                  <c:v>39888</c:v>
                </c:pt>
                <c:pt idx="46">
                  <c:v>39889</c:v>
                </c:pt>
                <c:pt idx="47">
                  <c:v>39890</c:v>
                </c:pt>
                <c:pt idx="48">
                  <c:v>39891</c:v>
                </c:pt>
                <c:pt idx="49">
                  <c:v>39892</c:v>
                </c:pt>
                <c:pt idx="50">
                  <c:v>39895</c:v>
                </c:pt>
                <c:pt idx="51">
                  <c:v>39896</c:v>
                </c:pt>
                <c:pt idx="52">
                  <c:v>39897</c:v>
                </c:pt>
                <c:pt idx="53">
                  <c:v>39898</c:v>
                </c:pt>
                <c:pt idx="54">
                  <c:v>39899</c:v>
                </c:pt>
                <c:pt idx="55">
                  <c:v>39902</c:v>
                </c:pt>
                <c:pt idx="56">
                  <c:v>39903</c:v>
                </c:pt>
                <c:pt idx="57">
                  <c:v>39904</c:v>
                </c:pt>
                <c:pt idx="58">
                  <c:v>39905</c:v>
                </c:pt>
                <c:pt idx="59">
                  <c:v>39906</c:v>
                </c:pt>
                <c:pt idx="60">
                  <c:v>39910</c:v>
                </c:pt>
                <c:pt idx="61">
                  <c:v>39911</c:v>
                </c:pt>
                <c:pt idx="62">
                  <c:v>39912</c:v>
                </c:pt>
                <c:pt idx="63">
                  <c:v>39913</c:v>
                </c:pt>
                <c:pt idx="64">
                  <c:v>39916</c:v>
                </c:pt>
                <c:pt idx="65">
                  <c:v>39917</c:v>
                </c:pt>
                <c:pt idx="66">
                  <c:v>39918</c:v>
                </c:pt>
                <c:pt idx="67">
                  <c:v>39919</c:v>
                </c:pt>
                <c:pt idx="68">
                  <c:v>39920</c:v>
                </c:pt>
                <c:pt idx="69">
                  <c:v>39923</c:v>
                </c:pt>
                <c:pt idx="70">
                  <c:v>39924</c:v>
                </c:pt>
                <c:pt idx="71">
                  <c:v>39925</c:v>
                </c:pt>
                <c:pt idx="72">
                  <c:v>39926</c:v>
                </c:pt>
                <c:pt idx="73">
                  <c:v>39927</c:v>
                </c:pt>
                <c:pt idx="74">
                  <c:v>39930</c:v>
                </c:pt>
                <c:pt idx="75">
                  <c:v>39931</c:v>
                </c:pt>
                <c:pt idx="76">
                  <c:v>39932</c:v>
                </c:pt>
                <c:pt idx="77">
                  <c:v>39933</c:v>
                </c:pt>
                <c:pt idx="78">
                  <c:v>39937</c:v>
                </c:pt>
                <c:pt idx="79">
                  <c:v>39938</c:v>
                </c:pt>
                <c:pt idx="80">
                  <c:v>39939</c:v>
                </c:pt>
                <c:pt idx="81">
                  <c:v>39940</c:v>
                </c:pt>
                <c:pt idx="82">
                  <c:v>39941</c:v>
                </c:pt>
                <c:pt idx="83">
                  <c:v>39944</c:v>
                </c:pt>
                <c:pt idx="84">
                  <c:v>39945</c:v>
                </c:pt>
                <c:pt idx="85">
                  <c:v>39946</c:v>
                </c:pt>
                <c:pt idx="86">
                  <c:v>39947</c:v>
                </c:pt>
                <c:pt idx="87">
                  <c:v>39948</c:v>
                </c:pt>
                <c:pt idx="88">
                  <c:v>39951</c:v>
                </c:pt>
                <c:pt idx="89">
                  <c:v>39952</c:v>
                </c:pt>
                <c:pt idx="90">
                  <c:v>39953</c:v>
                </c:pt>
                <c:pt idx="91">
                  <c:v>39954</c:v>
                </c:pt>
                <c:pt idx="92">
                  <c:v>39955</c:v>
                </c:pt>
                <c:pt idx="93">
                  <c:v>39958</c:v>
                </c:pt>
                <c:pt idx="94">
                  <c:v>39959</c:v>
                </c:pt>
                <c:pt idx="95">
                  <c:v>39960</c:v>
                </c:pt>
                <c:pt idx="96">
                  <c:v>39965</c:v>
                </c:pt>
                <c:pt idx="97">
                  <c:v>39966</c:v>
                </c:pt>
                <c:pt idx="98">
                  <c:v>39967</c:v>
                </c:pt>
                <c:pt idx="99">
                  <c:v>39968</c:v>
                </c:pt>
                <c:pt idx="100">
                  <c:v>39969</c:v>
                </c:pt>
                <c:pt idx="101">
                  <c:v>39972</c:v>
                </c:pt>
                <c:pt idx="102">
                  <c:v>39973</c:v>
                </c:pt>
                <c:pt idx="103">
                  <c:v>39974</c:v>
                </c:pt>
                <c:pt idx="104">
                  <c:v>39975</c:v>
                </c:pt>
                <c:pt idx="105">
                  <c:v>39976</c:v>
                </c:pt>
                <c:pt idx="106">
                  <c:v>39979</c:v>
                </c:pt>
                <c:pt idx="107">
                  <c:v>39980</c:v>
                </c:pt>
                <c:pt idx="108">
                  <c:v>39981</c:v>
                </c:pt>
                <c:pt idx="109">
                  <c:v>39982</c:v>
                </c:pt>
                <c:pt idx="110">
                  <c:v>39983</c:v>
                </c:pt>
                <c:pt idx="111">
                  <c:v>39986</c:v>
                </c:pt>
                <c:pt idx="112">
                  <c:v>39987</c:v>
                </c:pt>
                <c:pt idx="113">
                  <c:v>39988</c:v>
                </c:pt>
                <c:pt idx="114">
                  <c:v>39989</c:v>
                </c:pt>
                <c:pt idx="115">
                  <c:v>39990</c:v>
                </c:pt>
                <c:pt idx="116">
                  <c:v>39993</c:v>
                </c:pt>
                <c:pt idx="117">
                  <c:v>39994</c:v>
                </c:pt>
                <c:pt idx="118">
                  <c:v>39995</c:v>
                </c:pt>
                <c:pt idx="119">
                  <c:v>39996</c:v>
                </c:pt>
                <c:pt idx="120">
                  <c:v>39997</c:v>
                </c:pt>
                <c:pt idx="121">
                  <c:v>40000</c:v>
                </c:pt>
                <c:pt idx="122">
                  <c:v>40001</c:v>
                </c:pt>
                <c:pt idx="123">
                  <c:v>40002</c:v>
                </c:pt>
                <c:pt idx="124">
                  <c:v>40003</c:v>
                </c:pt>
                <c:pt idx="125">
                  <c:v>40004</c:v>
                </c:pt>
                <c:pt idx="126">
                  <c:v>40007</c:v>
                </c:pt>
                <c:pt idx="127">
                  <c:v>40008</c:v>
                </c:pt>
                <c:pt idx="128">
                  <c:v>40009</c:v>
                </c:pt>
                <c:pt idx="129">
                  <c:v>40010</c:v>
                </c:pt>
                <c:pt idx="130">
                  <c:v>40011</c:v>
                </c:pt>
                <c:pt idx="131">
                  <c:v>40014</c:v>
                </c:pt>
                <c:pt idx="132">
                  <c:v>40015</c:v>
                </c:pt>
                <c:pt idx="133">
                  <c:v>40016</c:v>
                </c:pt>
                <c:pt idx="134">
                  <c:v>40017</c:v>
                </c:pt>
                <c:pt idx="135">
                  <c:v>40018</c:v>
                </c:pt>
                <c:pt idx="136">
                  <c:v>40021</c:v>
                </c:pt>
                <c:pt idx="137">
                  <c:v>40022</c:v>
                </c:pt>
                <c:pt idx="138">
                  <c:v>40023</c:v>
                </c:pt>
                <c:pt idx="139">
                  <c:v>40024</c:v>
                </c:pt>
                <c:pt idx="140">
                  <c:v>40025</c:v>
                </c:pt>
                <c:pt idx="141">
                  <c:v>40028</c:v>
                </c:pt>
                <c:pt idx="142">
                  <c:v>40029</c:v>
                </c:pt>
                <c:pt idx="143">
                  <c:v>40030</c:v>
                </c:pt>
                <c:pt idx="144">
                  <c:v>40031</c:v>
                </c:pt>
                <c:pt idx="145">
                  <c:v>40032</c:v>
                </c:pt>
                <c:pt idx="146">
                  <c:v>40035</c:v>
                </c:pt>
                <c:pt idx="147">
                  <c:v>40036</c:v>
                </c:pt>
                <c:pt idx="148">
                  <c:v>40037</c:v>
                </c:pt>
                <c:pt idx="149">
                  <c:v>40038</c:v>
                </c:pt>
                <c:pt idx="150">
                  <c:v>40039</c:v>
                </c:pt>
                <c:pt idx="151">
                  <c:v>40042</c:v>
                </c:pt>
                <c:pt idx="152">
                  <c:v>40043</c:v>
                </c:pt>
                <c:pt idx="153">
                  <c:v>40044</c:v>
                </c:pt>
                <c:pt idx="154">
                  <c:v>40045</c:v>
                </c:pt>
                <c:pt idx="155">
                  <c:v>40046</c:v>
                </c:pt>
                <c:pt idx="156">
                  <c:v>40049</c:v>
                </c:pt>
                <c:pt idx="157">
                  <c:v>40050</c:v>
                </c:pt>
                <c:pt idx="158">
                  <c:v>40051</c:v>
                </c:pt>
                <c:pt idx="159">
                  <c:v>40052</c:v>
                </c:pt>
                <c:pt idx="160">
                  <c:v>40053</c:v>
                </c:pt>
                <c:pt idx="161">
                  <c:v>40056</c:v>
                </c:pt>
                <c:pt idx="162">
                  <c:v>40057</c:v>
                </c:pt>
                <c:pt idx="163">
                  <c:v>40058</c:v>
                </c:pt>
                <c:pt idx="164">
                  <c:v>40059</c:v>
                </c:pt>
                <c:pt idx="165">
                  <c:v>40060</c:v>
                </c:pt>
                <c:pt idx="166">
                  <c:v>40063</c:v>
                </c:pt>
                <c:pt idx="167">
                  <c:v>40064</c:v>
                </c:pt>
                <c:pt idx="168">
                  <c:v>40065</c:v>
                </c:pt>
                <c:pt idx="169">
                  <c:v>40066</c:v>
                </c:pt>
                <c:pt idx="170">
                  <c:v>40067</c:v>
                </c:pt>
                <c:pt idx="171">
                  <c:v>40070</c:v>
                </c:pt>
                <c:pt idx="172">
                  <c:v>40071</c:v>
                </c:pt>
                <c:pt idx="173">
                  <c:v>40072</c:v>
                </c:pt>
                <c:pt idx="174">
                  <c:v>40073</c:v>
                </c:pt>
                <c:pt idx="175">
                  <c:v>40074</c:v>
                </c:pt>
                <c:pt idx="176">
                  <c:v>40077</c:v>
                </c:pt>
                <c:pt idx="177">
                  <c:v>40078</c:v>
                </c:pt>
                <c:pt idx="178">
                  <c:v>40079</c:v>
                </c:pt>
                <c:pt idx="179">
                  <c:v>40080</c:v>
                </c:pt>
                <c:pt idx="180">
                  <c:v>40081</c:v>
                </c:pt>
                <c:pt idx="181">
                  <c:v>40084</c:v>
                </c:pt>
                <c:pt idx="182">
                  <c:v>40085</c:v>
                </c:pt>
                <c:pt idx="183">
                  <c:v>40086</c:v>
                </c:pt>
                <c:pt idx="184">
                  <c:v>40095</c:v>
                </c:pt>
                <c:pt idx="185">
                  <c:v>40098</c:v>
                </c:pt>
                <c:pt idx="186">
                  <c:v>40099</c:v>
                </c:pt>
                <c:pt idx="187">
                  <c:v>40100</c:v>
                </c:pt>
                <c:pt idx="188">
                  <c:v>40101</c:v>
                </c:pt>
                <c:pt idx="189">
                  <c:v>40102</c:v>
                </c:pt>
                <c:pt idx="190">
                  <c:v>40105</c:v>
                </c:pt>
                <c:pt idx="191">
                  <c:v>40106</c:v>
                </c:pt>
                <c:pt idx="192">
                  <c:v>40107</c:v>
                </c:pt>
                <c:pt idx="193">
                  <c:v>40108</c:v>
                </c:pt>
                <c:pt idx="194">
                  <c:v>40109</c:v>
                </c:pt>
                <c:pt idx="195">
                  <c:v>40112</c:v>
                </c:pt>
                <c:pt idx="196">
                  <c:v>40113</c:v>
                </c:pt>
                <c:pt idx="197">
                  <c:v>40114</c:v>
                </c:pt>
                <c:pt idx="198">
                  <c:v>40115</c:v>
                </c:pt>
                <c:pt idx="199">
                  <c:v>40116</c:v>
                </c:pt>
                <c:pt idx="200">
                  <c:v>40119</c:v>
                </c:pt>
                <c:pt idx="201">
                  <c:v>40120</c:v>
                </c:pt>
                <c:pt idx="202">
                  <c:v>40121</c:v>
                </c:pt>
                <c:pt idx="203">
                  <c:v>40122</c:v>
                </c:pt>
                <c:pt idx="204">
                  <c:v>40123</c:v>
                </c:pt>
                <c:pt idx="205">
                  <c:v>40126</c:v>
                </c:pt>
                <c:pt idx="206">
                  <c:v>40127</c:v>
                </c:pt>
                <c:pt idx="207">
                  <c:v>40128</c:v>
                </c:pt>
                <c:pt idx="208">
                  <c:v>40129</c:v>
                </c:pt>
                <c:pt idx="209">
                  <c:v>40130</c:v>
                </c:pt>
                <c:pt idx="210">
                  <c:v>40133</c:v>
                </c:pt>
                <c:pt idx="211">
                  <c:v>40134</c:v>
                </c:pt>
                <c:pt idx="212">
                  <c:v>40135</c:v>
                </c:pt>
                <c:pt idx="213">
                  <c:v>40136</c:v>
                </c:pt>
                <c:pt idx="214">
                  <c:v>40137</c:v>
                </c:pt>
                <c:pt idx="215">
                  <c:v>40140</c:v>
                </c:pt>
                <c:pt idx="216">
                  <c:v>40141</c:v>
                </c:pt>
                <c:pt idx="217">
                  <c:v>40142</c:v>
                </c:pt>
                <c:pt idx="218">
                  <c:v>40143</c:v>
                </c:pt>
                <c:pt idx="219">
                  <c:v>40144</c:v>
                </c:pt>
                <c:pt idx="220">
                  <c:v>40147</c:v>
                </c:pt>
                <c:pt idx="221">
                  <c:v>40148</c:v>
                </c:pt>
                <c:pt idx="222">
                  <c:v>40149</c:v>
                </c:pt>
                <c:pt idx="223">
                  <c:v>40150</c:v>
                </c:pt>
                <c:pt idx="224">
                  <c:v>40151</c:v>
                </c:pt>
                <c:pt idx="225">
                  <c:v>40154</c:v>
                </c:pt>
                <c:pt idx="226">
                  <c:v>40155</c:v>
                </c:pt>
                <c:pt idx="227">
                  <c:v>40156</c:v>
                </c:pt>
                <c:pt idx="228">
                  <c:v>40157</c:v>
                </c:pt>
                <c:pt idx="229">
                  <c:v>40158</c:v>
                </c:pt>
                <c:pt idx="230">
                  <c:v>40161</c:v>
                </c:pt>
                <c:pt idx="231">
                  <c:v>40162</c:v>
                </c:pt>
                <c:pt idx="232">
                  <c:v>40163</c:v>
                </c:pt>
                <c:pt idx="233">
                  <c:v>40164</c:v>
                </c:pt>
                <c:pt idx="234">
                  <c:v>40165</c:v>
                </c:pt>
                <c:pt idx="235">
                  <c:v>40168</c:v>
                </c:pt>
                <c:pt idx="236">
                  <c:v>40169</c:v>
                </c:pt>
                <c:pt idx="237">
                  <c:v>40170</c:v>
                </c:pt>
                <c:pt idx="238">
                  <c:v>40171</c:v>
                </c:pt>
                <c:pt idx="239">
                  <c:v>40172</c:v>
                </c:pt>
                <c:pt idx="240">
                  <c:v>40175</c:v>
                </c:pt>
                <c:pt idx="241">
                  <c:v>40176</c:v>
                </c:pt>
                <c:pt idx="242">
                  <c:v>40177</c:v>
                </c:pt>
                <c:pt idx="243">
                  <c:v>40178</c:v>
                </c:pt>
                <c:pt idx="244">
                  <c:v>40182</c:v>
                </c:pt>
                <c:pt idx="245">
                  <c:v>40183</c:v>
                </c:pt>
                <c:pt idx="246">
                  <c:v>40184</c:v>
                </c:pt>
                <c:pt idx="247">
                  <c:v>40185</c:v>
                </c:pt>
                <c:pt idx="248">
                  <c:v>40186</c:v>
                </c:pt>
                <c:pt idx="249">
                  <c:v>40189</c:v>
                </c:pt>
                <c:pt idx="250">
                  <c:v>40190</c:v>
                </c:pt>
                <c:pt idx="251">
                  <c:v>40191</c:v>
                </c:pt>
                <c:pt idx="252">
                  <c:v>40192</c:v>
                </c:pt>
                <c:pt idx="253">
                  <c:v>40193</c:v>
                </c:pt>
                <c:pt idx="254">
                  <c:v>40196</c:v>
                </c:pt>
                <c:pt idx="255">
                  <c:v>40197</c:v>
                </c:pt>
                <c:pt idx="256">
                  <c:v>40198</c:v>
                </c:pt>
                <c:pt idx="257">
                  <c:v>40199</c:v>
                </c:pt>
                <c:pt idx="258">
                  <c:v>40200</c:v>
                </c:pt>
                <c:pt idx="259">
                  <c:v>40203</c:v>
                </c:pt>
                <c:pt idx="260">
                  <c:v>40204</c:v>
                </c:pt>
                <c:pt idx="261">
                  <c:v>40205</c:v>
                </c:pt>
                <c:pt idx="262">
                  <c:v>40206</c:v>
                </c:pt>
                <c:pt idx="263">
                  <c:v>40207</c:v>
                </c:pt>
                <c:pt idx="264">
                  <c:v>40210</c:v>
                </c:pt>
                <c:pt idx="265">
                  <c:v>40211</c:v>
                </c:pt>
                <c:pt idx="266">
                  <c:v>40212</c:v>
                </c:pt>
                <c:pt idx="267">
                  <c:v>40213</c:v>
                </c:pt>
                <c:pt idx="268">
                  <c:v>40214</c:v>
                </c:pt>
                <c:pt idx="269">
                  <c:v>40217</c:v>
                </c:pt>
                <c:pt idx="270">
                  <c:v>40218</c:v>
                </c:pt>
                <c:pt idx="271">
                  <c:v>40219</c:v>
                </c:pt>
                <c:pt idx="272">
                  <c:v>40220</c:v>
                </c:pt>
                <c:pt idx="273">
                  <c:v>40221</c:v>
                </c:pt>
                <c:pt idx="274">
                  <c:v>40231</c:v>
                </c:pt>
                <c:pt idx="275">
                  <c:v>40232</c:v>
                </c:pt>
                <c:pt idx="276">
                  <c:v>40233</c:v>
                </c:pt>
                <c:pt idx="277">
                  <c:v>40234</c:v>
                </c:pt>
                <c:pt idx="278">
                  <c:v>40235</c:v>
                </c:pt>
                <c:pt idx="279">
                  <c:v>40238</c:v>
                </c:pt>
                <c:pt idx="280">
                  <c:v>40239</c:v>
                </c:pt>
                <c:pt idx="281">
                  <c:v>40240</c:v>
                </c:pt>
                <c:pt idx="282">
                  <c:v>40241</c:v>
                </c:pt>
                <c:pt idx="283">
                  <c:v>40242</c:v>
                </c:pt>
                <c:pt idx="284">
                  <c:v>40245</c:v>
                </c:pt>
                <c:pt idx="285">
                  <c:v>40246</c:v>
                </c:pt>
                <c:pt idx="286">
                  <c:v>40247</c:v>
                </c:pt>
                <c:pt idx="287">
                  <c:v>40248</c:v>
                </c:pt>
                <c:pt idx="288">
                  <c:v>40249</c:v>
                </c:pt>
                <c:pt idx="289">
                  <c:v>40252</c:v>
                </c:pt>
                <c:pt idx="290">
                  <c:v>40253</c:v>
                </c:pt>
                <c:pt idx="291">
                  <c:v>40254</c:v>
                </c:pt>
                <c:pt idx="292">
                  <c:v>40255</c:v>
                </c:pt>
                <c:pt idx="293">
                  <c:v>40256</c:v>
                </c:pt>
                <c:pt idx="294">
                  <c:v>40259</c:v>
                </c:pt>
                <c:pt idx="295">
                  <c:v>40260</c:v>
                </c:pt>
                <c:pt idx="296">
                  <c:v>40261</c:v>
                </c:pt>
                <c:pt idx="297">
                  <c:v>40262</c:v>
                </c:pt>
                <c:pt idx="298">
                  <c:v>40263</c:v>
                </c:pt>
                <c:pt idx="299">
                  <c:v>40266</c:v>
                </c:pt>
                <c:pt idx="300">
                  <c:v>40267</c:v>
                </c:pt>
                <c:pt idx="301">
                  <c:v>40268</c:v>
                </c:pt>
                <c:pt idx="302">
                  <c:v>40269</c:v>
                </c:pt>
                <c:pt idx="303">
                  <c:v>40270</c:v>
                </c:pt>
                <c:pt idx="304">
                  <c:v>40274</c:v>
                </c:pt>
                <c:pt idx="305">
                  <c:v>40275</c:v>
                </c:pt>
                <c:pt idx="306">
                  <c:v>40276</c:v>
                </c:pt>
                <c:pt idx="307">
                  <c:v>40277</c:v>
                </c:pt>
                <c:pt idx="308">
                  <c:v>40280</c:v>
                </c:pt>
                <c:pt idx="309">
                  <c:v>40281</c:v>
                </c:pt>
                <c:pt idx="310">
                  <c:v>40282</c:v>
                </c:pt>
                <c:pt idx="311">
                  <c:v>40283</c:v>
                </c:pt>
                <c:pt idx="312">
                  <c:v>40284</c:v>
                </c:pt>
                <c:pt idx="313">
                  <c:v>40287</c:v>
                </c:pt>
                <c:pt idx="314">
                  <c:v>40288</c:v>
                </c:pt>
                <c:pt idx="315">
                  <c:v>40289</c:v>
                </c:pt>
                <c:pt idx="316">
                  <c:v>40290</c:v>
                </c:pt>
                <c:pt idx="317">
                  <c:v>40291</c:v>
                </c:pt>
                <c:pt idx="318">
                  <c:v>40294</c:v>
                </c:pt>
                <c:pt idx="319">
                  <c:v>40295</c:v>
                </c:pt>
                <c:pt idx="320">
                  <c:v>40296</c:v>
                </c:pt>
                <c:pt idx="321">
                  <c:v>40297</c:v>
                </c:pt>
                <c:pt idx="322">
                  <c:v>40298</c:v>
                </c:pt>
                <c:pt idx="323">
                  <c:v>40302</c:v>
                </c:pt>
                <c:pt idx="324">
                  <c:v>40303</c:v>
                </c:pt>
                <c:pt idx="325">
                  <c:v>40304</c:v>
                </c:pt>
                <c:pt idx="326">
                  <c:v>40305</c:v>
                </c:pt>
                <c:pt idx="327">
                  <c:v>40308</c:v>
                </c:pt>
                <c:pt idx="328">
                  <c:v>40309</c:v>
                </c:pt>
                <c:pt idx="329">
                  <c:v>40310</c:v>
                </c:pt>
                <c:pt idx="330">
                  <c:v>40311</c:v>
                </c:pt>
                <c:pt idx="331">
                  <c:v>40312</c:v>
                </c:pt>
                <c:pt idx="332">
                  <c:v>40315</c:v>
                </c:pt>
                <c:pt idx="333">
                  <c:v>40316</c:v>
                </c:pt>
                <c:pt idx="334">
                  <c:v>40317</c:v>
                </c:pt>
                <c:pt idx="335">
                  <c:v>40318</c:v>
                </c:pt>
                <c:pt idx="336">
                  <c:v>40319</c:v>
                </c:pt>
                <c:pt idx="337">
                  <c:v>40322</c:v>
                </c:pt>
                <c:pt idx="338">
                  <c:v>40323</c:v>
                </c:pt>
                <c:pt idx="339">
                  <c:v>40324</c:v>
                </c:pt>
                <c:pt idx="340">
                  <c:v>40325</c:v>
                </c:pt>
                <c:pt idx="341">
                  <c:v>40326</c:v>
                </c:pt>
                <c:pt idx="342">
                  <c:v>40329</c:v>
                </c:pt>
                <c:pt idx="343">
                  <c:v>40330</c:v>
                </c:pt>
                <c:pt idx="344">
                  <c:v>40331</c:v>
                </c:pt>
                <c:pt idx="345">
                  <c:v>40332</c:v>
                </c:pt>
                <c:pt idx="346">
                  <c:v>40333</c:v>
                </c:pt>
                <c:pt idx="347">
                  <c:v>40336</c:v>
                </c:pt>
                <c:pt idx="348">
                  <c:v>40337</c:v>
                </c:pt>
                <c:pt idx="349">
                  <c:v>40338</c:v>
                </c:pt>
                <c:pt idx="350">
                  <c:v>40339</c:v>
                </c:pt>
                <c:pt idx="351">
                  <c:v>40340</c:v>
                </c:pt>
                <c:pt idx="352">
                  <c:v>40346</c:v>
                </c:pt>
                <c:pt idx="353">
                  <c:v>40347</c:v>
                </c:pt>
                <c:pt idx="354">
                  <c:v>40350</c:v>
                </c:pt>
                <c:pt idx="355">
                  <c:v>40351</c:v>
                </c:pt>
                <c:pt idx="356">
                  <c:v>40352</c:v>
                </c:pt>
                <c:pt idx="357">
                  <c:v>40353</c:v>
                </c:pt>
                <c:pt idx="358">
                  <c:v>40354</c:v>
                </c:pt>
                <c:pt idx="359">
                  <c:v>40357</c:v>
                </c:pt>
                <c:pt idx="360">
                  <c:v>40358</c:v>
                </c:pt>
                <c:pt idx="361">
                  <c:v>40359</c:v>
                </c:pt>
                <c:pt idx="362">
                  <c:v>40360</c:v>
                </c:pt>
                <c:pt idx="363">
                  <c:v>40361</c:v>
                </c:pt>
                <c:pt idx="364">
                  <c:v>40364</c:v>
                </c:pt>
                <c:pt idx="365">
                  <c:v>40365</c:v>
                </c:pt>
                <c:pt idx="366">
                  <c:v>40366</c:v>
                </c:pt>
                <c:pt idx="367">
                  <c:v>40367</c:v>
                </c:pt>
                <c:pt idx="368">
                  <c:v>40368</c:v>
                </c:pt>
                <c:pt idx="369">
                  <c:v>40371</c:v>
                </c:pt>
                <c:pt idx="370">
                  <c:v>40372</c:v>
                </c:pt>
                <c:pt idx="371">
                  <c:v>40373</c:v>
                </c:pt>
                <c:pt idx="372">
                  <c:v>40374</c:v>
                </c:pt>
                <c:pt idx="373">
                  <c:v>40375</c:v>
                </c:pt>
                <c:pt idx="374">
                  <c:v>40378</c:v>
                </c:pt>
                <c:pt idx="375">
                  <c:v>40379</c:v>
                </c:pt>
                <c:pt idx="376">
                  <c:v>40380</c:v>
                </c:pt>
                <c:pt idx="377">
                  <c:v>40381</c:v>
                </c:pt>
                <c:pt idx="378">
                  <c:v>40382</c:v>
                </c:pt>
                <c:pt idx="379">
                  <c:v>40385</c:v>
                </c:pt>
                <c:pt idx="380">
                  <c:v>40386</c:v>
                </c:pt>
                <c:pt idx="381">
                  <c:v>40387</c:v>
                </c:pt>
                <c:pt idx="382">
                  <c:v>40388</c:v>
                </c:pt>
                <c:pt idx="383">
                  <c:v>40389</c:v>
                </c:pt>
                <c:pt idx="384">
                  <c:v>40392</c:v>
                </c:pt>
                <c:pt idx="385">
                  <c:v>40393</c:v>
                </c:pt>
                <c:pt idx="386">
                  <c:v>40394</c:v>
                </c:pt>
                <c:pt idx="387">
                  <c:v>40395</c:v>
                </c:pt>
                <c:pt idx="388">
                  <c:v>40396</c:v>
                </c:pt>
                <c:pt idx="389">
                  <c:v>40399</c:v>
                </c:pt>
                <c:pt idx="390">
                  <c:v>40400</c:v>
                </c:pt>
                <c:pt idx="391">
                  <c:v>40401</c:v>
                </c:pt>
                <c:pt idx="392">
                  <c:v>40402</c:v>
                </c:pt>
                <c:pt idx="393">
                  <c:v>40403</c:v>
                </c:pt>
                <c:pt idx="394">
                  <c:v>40406</c:v>
                </c:pt>
                <c:pt idx="395">
                  <c:v>40407</c:v>
                </c:pt>
                <c:pt idx="396">
                  <c:v>40408</c:v>
                </c:pt>
                <c:pt idx="397">
                  <c:v>40409</c:v>
                </c:pt>
                <c:pt idx="398">
                  <c:v>40410</c:v>
                </c:pt>
                <c:pt idx="399">
                  <c:v>40413</c:v>
                </c:pt>
                <c:pt idx="400">
                  <c:v>40414</c:v>
                </c:pt>
                <c:pt idx="401">
                  <c:v>40415</c:v>
                </c:pt>
                <c:pt idx="402">
                  <c:v>40416</c:v>
                </c:pt>
                <c:pt idx="403">
                  <c:v>40417</c:v>
                </c:pt>
                <c:pt idx="404">
                  <c:v>40420</c:v>
                </c:pt>
                <c:pt idx="405">
                  <c:v>40421</c:v>
                </c:pt>
                <c:pt idx="406">
                  <c:v>40422</c:v>
                </c:pt>
                <c:pt idx="407">
                  <c:v>40423</c:v>
                </c:pt>
                <c:pt idx="408">
                  <c:v>40424</c:v>
                </c:pt>
                <c:pt idx="409">
                  <c:v>40427</c:v>
                </c:pt>
                <c:pt idx="410">
                  <c:v>40428</c:v>
                </c:pt>
                <c:pt idx="411">
                  <c:v>40429</c:v>
                </c:pt>
                <c:pt idx="412">
                  <c:v>40430</c:v>
                </c:pt>
                <c:pt idx="413">
                  <c:v>40431</c:v>
                </c:pt>
                <c:pt idx="414">
                  <c:v>40434</c:v>
                </c:pt>
                <c:pt idx="415">
                  <c:v>40435</c:v>
                </c:pt>
                <c:pt idx="416">
                  <c:v>40436</c:v>
                </c:pt>
                <c:pt idx="417">
                  <c:v>40437</c:v>
                </c:pt>
                <c:pt idx="418">
                  <c:v>40438</c:v>
                </c:pt>
                <c:pt idx="419">
                  <c:v>40441</c:v>
                </c:pt>
                <c:pt idx="420">
                  <c:v>40442</c:v>
                </c:pt>
                <c:pt idx="421">
                  <c:v>40448</c:v>
                </c:pt>
                <c:pt idx="422">
                  <c:v>40449</c:v>
                </c:pt>
                <c:pt idx="423">
                  <c:v>40450</c:v>
                </c:pt>
                <c:pt idx="424">
                  <c:v>40451</c:v>
                </c:pt>
                <c:pt idx="425">
                  <c:v>40459</c:v>
                </c:pt>
                <c:pt idx="426">
                  <c:v>40462</c:v>
                </c:pt>
                <c:pt idx="427">
                  <c:v>40463</c:v>
                </c:pt>
                <c:pt idx="428">
                  <c:v>40464</c:v>
                </c:pt>
                <c:pt idx="429">
                  <c:v>40465</c:v>
                </c:pt>
                <c:pt idx="430">
                  <c:v>40466</c:v>
                </c:pt>
                <c:pt idx="431">
                  <c:v>40469</c:v>
                </c:pt>
                <c:pt idx="432">
                  <c:v>40470</c:v>
                </c:pt>
                <c:pt idx="433">
                  <c:v>40471</c:v>
                </c:pt>
                <c:pt idx="434">
                  <c:v>40472</c:v>
                </c:pt>
                <c:pt idx="435">
                  <c:v>40473</c:v>
                </c:pt>
                <c:pt idx="436">
                  <c:v>40476</c:v>
                </c:pt>
                <c:pt idx="437">
                  <c:v>40477</c:v>
                </c:pt>
                <c:pt idx="438">
                  <c:v>40478</c:v>
                </c:pt>
                <c:pt idx="439">
                  <c:v>40479</c:v>
                </c:pt>
                <c:pt idx="440">
                  <c:v>40480</c:v>
                </c:pt>
                <c:pt idx="441">
                  <c:v>40483</c:v>
                </c:pt>
                <c:pt idx="442">
                  <c:v>40484</c:v>
                </c:pt>
                <c:pt idx="443">
                  <c:v>40485</c:v>
                </c:pt>
                <c:pt idx="444">
                  <c:v>40486</c:v>
                </c:pt>
                <c:pt idx="445">
                  <c:v>40487</c:v>
                </c:pt>
                <c:pt idx="446">
                  <c:v>40490</c:v>
                </c:pt>
                <c:pt idx="447">
                  <c:v>40491</c:v>
                </c:pt>
                <c:pt idx="448">
                  <c:v>40492</c:v>
                </c:pt>
                <c:pt idx="449">
                  <c:v>40493</c:v>
                </c:pt>
                <c:pt idx="450">
                  <c:v>40494</c:v>
                </c:pt>
                <c:pt idx="451">
                  <c:v>40497</c:v>
                </c:pt>
                <c:pt idx="452">
                  <c:v>40498</c:v>
                </c:pt>
                <c:pt idx="453">
                  <c:v>40499</c:v>
                </c:pt>
                <c:pt idx="454">
                  <c:v>40500</c:v>
                </c:pt>
                <c:pt idx="455">
                  <c:v>40501</c:v>
                </c:pt>
                <c:pt idx="456">
                  <c:v>40504</c:v>
                </c:pt>
                <c:pt idx="457">
                  <c:v>40505</c:v>
                </c:pt>
                <c:pt idx="458">
                  <c:v>40506</c:v>
                </c:pt>
                <c:pt idx="459">
                  <c:v>40507</c:v>
                </c:pt>
                <c:pt idx="460">
                  <c:v>40508</c:v>
                </c:pt>
                <c:pt idx="461">
                  <c:v>40511</c:v>
                </c:pt>
                <c:pt idx="462">
                  <c:v>40512</c:v>
                </c:pt>
                <c:pt idx="463">
                  <c:v>40513</c:v>
                </c:pt>
                <c:pt idx="464">
                  <c:v>40514</c:v>
                </c:pt>
                <c:pt idx="465">
                  <c:v>40515</c:v>
                </c:pt>
                <c:pt idx="466">
                  <c:v>40518</c:v>
                </c:pt>
                <c:pt idx="467">
                  <c:v>40519</c:v>
                </c:pt>
                <c:pt idx="468">
                  <c:v>40520</c:v>
                </c:pt>
                <c:pt idx="469">
                  <c:v>40521</c:v>
                </c:pt>
                <c:pt idx="470">
                  <c:v>40522</c:v>
                </c:pt>
                <c:pt idx="471">
                  <c:v>40525</c:v>
                </c:pt>
                <c:pt idx="472">
                  <c:v>40526</c:v>
                </c:pt>
                <c:pt idx="473">
                  <c:v>40527</c:v>
                </c:pt>
                <c:pt idx="474">
                  <c:v>40528</c:v>
                </c:pt>
                <c:pt idx="475">
                  <c:v>40529</c:v>
                </c:pt>
                <c:pt idx="476">
                  <c:v>40532</c:v>
                </c:pt>
                <c:pt idx="477">
                  <c:v>40533</c:v>
                </c:pt>
                <c:pt idx="478">
                  <c:v>40534</c:v>
                </c:pt>
                <c:pt idx="479">
                  <c:v>40535</c:v>
                </c:pt>
                <c:pt idx="480">
                  <c:v>40536</c:v>
                </c:pt>
                <c:pt idx="481">
                  <c:v>40539</c:v>
                </c:pt>
                <c:pt idx="482">
                  <c:v>40540</c:v>
                </c:pt>
                <c:pt idx="483">
                  <c:v>40541</c:v>
                </c:pt>
                <c:pt idx="484">
                  <c:v>40542</c:v>
                </c:pt>
                <c:pt idx="485">
                  <c:v>40543</c:v>
                </c:pt>
                <c:pt idx="486">
                  <c:v>40547</c:v>
                </c:pt>
                <c:pt idx="487">
                  <c:v>40548</c:v>
                </c:pt>
                <c:pt idx="488">
                  <c:v>40549</c:v>
                </c:pt>
                <c:pt idx="489">
                  <c:v>40550</c:v>
                </c:pt>
                <c:pt idx="490">
                  <c:v>40553</c:v>
                </c:pt>
                <c:pt idx="491">
                  <c:v>40554</c:v>
                </c:pt>
                <c:pt idx="492">
                  <c:v>40555</c:v>
                </c:pt>
                <c:pt idx="493">
                  <c:v>40556</c:v>
                </c:pt>
                <c:pt idx="494">
                  <c:v>40557</c:v>
                </c:pt>
                <c:pt idx="495">
                  <c:v>40560</c:v>
                </c:pt>
                <c:pt idx="496">
                  <c:v>40561</c:v>
                </c:pt>
                <c:pt idx="497">
                  <c:v>40562</c:v>
                </c:pt>
                <c:pt idx="498">
                  <c:v>40563</c:v>
                </c:pt>
                <c:pt idx="499">
                  <c:v>40564</c:v>
                </c:pt>
                <c:pt idx="500">
                  <c:v>40567</c:v>
                </c:pt>
                <c:pt idx="501">
                  <c:v>40568</c:v>
                </c:pt>
                <c:pt idx="502">
                  <c:v>40569</c:v>
                </c:pt>
                <c:pt idx="503">
                  <c:v>40570</c:v>
                </c:pt>
                <c:pt idx="504">
                  <c:v>40571</c:v>
                </c:pt>
                <c:pt idx="505">
                  <c:v>40574</c:v>
                </c:pt>
                <c:pt idx="506">
                  <c:v>40575</c:v>
                </c:pt>
                <c:pt idx="507">
                  <c:v>40583</c:v>
                </c:pt>
                <c:pt idx="508">
                  <c:v>40584</c:v>
                </c:pt>
                <c:pt idx="509">
                  <c:v>40585</c:v>
                </c:pt>
                <c:pt idx="510">
                  <c:v>40588</c:v>
                </c:pt>
                <c:pt idx="511">
                  <c:v>40589</c:v>
                </c:pt>
                <c:pt idx="512">
                  <c:v>40590</c:v>
                </c:pt>
                <c:pt idx="513">
                  <c:v>40591</c:v>
                </c:pt>
                <c:pt idx="514">
                  <c:v>40592</c:v>
                </c:pt>
                <c:pt idx="515">
                  <c:v>40595</c:v>
                </c:pt>
                <c:pt idx="516">
                  <c:v>40596</c:v>
                </c:pt>
                <c:pt idx="517">
                  <c:v>40597</c:v>
                </c:pt>
                <c:pt idx="518">
                  <c:v>40598</c:v>
                </c:pt>
                <c:pt idx="519">
                  <c:v>40599</c:v>
                </c:pt>
                <c:pt idx="520">
                  <c:v>40602</c:v>
                </c:pt>
                <c:pt idx="521">
                  <c:v>40603</c:v>
                </c:pt>
                <c:pt idx="522">
                  <c:v>40604</c:v>
                </c:pt>
                <c:pt idx="523">
                  <c:v>40605</c:v>
                </c:pt>
                <c:pt idx="524">
                  <c:v>40606</c:v>
                </c:pt>
                <c:pt idx="525">
                  <c:v>40609</c:v>
                </c:pt>
                <c:pt idx="526">
                  <c:v>40610</c:v>
                </c:pt>
                <c:pt idx="527">
                  <c:v>40611</c:v>
                </c:pt>
                <c:pt idx="528">
                  <c:v>40612</c:v>
                </c:pt>
                <c:pt idx="529">
                  <c:v>40613</c:v>
                </c:pt>
                <c:pt idx="530">
                  <c:v>40616</c:v>
                </c:pt>
                <c:pt idx="531">
                  <c:v>40617</c:v>
                </c:pt>
                <c:pt idx="532">
                  <c:v>40618</c:v>
                </c:pt>
                <c:pt idx="533">
                  <c:v>40619</c:v>
                </c:pt>
                <c:pt idx="534">
                  <c:v>40620</c:v>
                </c:pt>
                <c:pt idx="535">
                  <c:v>40623</c:v>
                </c:pt>
                <c:pt idx="536">
                  <c:v>40624</c:v>
                </c:pt>
                <c:pt idx="537">
                  <c:v>40625</c:v>
                </c:pt>
                <c:pt idx="538">
                  <c:v>40626</c:v>
                </c:pt>
                <c:pt idx="539">
                  <c:v>40627</c:v>
                </c:pt>
                <c:pt idx="540">
                  <c:v>40630</c:v>
                </c:pt>
                <c:pt idx="541">
                  <c:v>40631</c:v>
                </c:pt>
                <c:pt idx="542">
                  <c:v>40632</c:v>
                </c:pt>
                <c:pt idx="543">
                  <c:v>40633</c:v>
                </c:pt>
                <c:pt idx="544">
                  <c:v>40634</c:v>
                </c:pt>
                <c:pt idx="545">
                  <c:v>40639</c:v>
                </c:pt>
                <c:pt idx="546">
                  <c:v>40640</c:v>
                </c:pt>
                <c:pt idx="547">
                  <c:v>40641</c:v>
                </c:pt>
                <c:pt idx="548">
                  <c:v>40644</c:v>
                </c:pt>
                <c:pt idx="549">
                  <c:v>40645</c:v>
                </c:pt>
                <c:pt idx="550">
                  <c:v>40646</c:v>
                </c:pt>
                <c:pt idx="551">
                  <c:v>40647</c:v>
                </c:pt>
                <c:pt idx="552">
                  <c:v>40648</c:v>
                </c:pt>
                <c:pt idx="553">
                  <c:v>40651</c:v>
                </c:pt>
                <c:pt idx="554">
                  <c:v>40652</c:v>
                </c:pt>
                <c:pt idx="555">
                  <c:v>40653</c:v>
                </c:pt>
                <c:pt idx="556">
                  <c:v>40654</c:v>
                </c:pt>
                <c:pt idx="557">
                  <c:v>40655</c:v>
                </c:pt>
                <c:pt idx="558">
                  <c:v>40658</c:v>
                </c:pt>
                <c:pt idx="559">
                  <c:v>40659</c:v>
                </c:pt>
                <c:pt idx="560">
                  <c:v>40660</c:v>
                </c:pt>
                <c:pt idx="561">
                  <c:v>40661</c:v>
                </c:pt>
                <c:pt idx="562">
                  <c:v>40662</c:v>
                </c:pt>
                <c:pt idx="563">
                  <c:v>40666</c:v>
                </c:pt>
                <c:pt idx="564">
                  <c:v>40667</c:v>
                </c:pt>
                <c:pt idx="565">
                  <c:v>40668</c:v>
                </c:pt>
                <c:pt idx="566">
                  <c:v>40669</c:v>
                </c:pt>
                <c:pt idx="567">
                  <c:v>40672</c:v>
                </c:pt>
                <c:pt idx="568">
                  <c:v>40673</c:v>
                </c:pt>
                <c:pt idx="569">
                  <c:v>40674</c:v>
                </c:pt>
                <c:pt idx="570">
                  <c:v>40675</c:v>
                </c:pt>
                <c:pt idx="571">
                  <c:v>40676</c:v>
                </c:pt>
                <c:pt idx="572">
                  <c:v>40679</c:v>
                </c:pt>
                <c:pt idx="573">
                  <c:v>40680</c:v>
                </c:pt>
                <c:pt idx="574">
                  <c:v>40681</c:v>
                </c:pt>
                <c:pt idx="575">
                  <c:v>40682</c:v>
                </c:pt>
                <c:pt idx="576">
                  <c:v>40683</c:v>
                </c:pt>
                <c:pt idx="577">
                  <c:v>40686</c:v>
                </c:pt>
                <c:pt idx="578">
                  <c:v>40687</c:v>
                </c:pt>
                <c:pt idx="579">
                  <c:v>40688</c:v>
                </c:pt>
                <c:pt idx="580">
                  <c:v>40689</c:v>
                </c:pt>
                <c:pt idx="581">
                  <c:v>40690</c:v>
                </c:pt>
                <c:pt idx="582">
                  <c:v>40693</c:v>
                </c:pt>
                <c:pt idx="583">
                  <c:v>40694</c:v>
                </c:pt>
                <c:pt idx="584">
                  <c:v>40695</c:v>
                </c:pt>
                <c:pt idx="585">
                  <c:v>40696</c:v>
                </c:pt>
                <c:pt idx="586">
                  <c:v>40697</c:v>
                </c:pt>
                <c:pt idx="587">
                  <c:v>40701</c:v>
                </c:pt>
                <c:pt idx="588">
                  <c:v>40702</c:v>
                </c:pt>
                <c:pt idx="589">
                  <c:v>40703</c:v>
                </c:pt>
                <c:pt idx="590">
                  <c:v>40704</c:v>
                </c:pt>
                <c:pt idx="591">
                  <c:v>40707</c:v>
                </c:pt>
                <c:pt idx="592">
                  <c:v>40708</c:v>
                </c:pt>
                <c:pt idx="593">
                  <c:v>40709</c:v>
                </c:pt>
                <c:pt idx="594">
                  <c:v>40710</c:v>
                </c:pt>
                <c:pt idx="595">
                  <c:v>40711</c:v>
                </c:pt>
                <c:pt idx="596">
                  <c:v>40714</c:v>
                </c:pt>
                <c:pt idx="597">
                  <c:v>40715</c:v>
                </c:pt>
                <c:pt idx="598">
                  <c:v>40716</c:v>
                </c:pt>
                <c:pt idx="599">
                  <c:v>40717</c:v>
                </c:pt>
                <c:pt idx="600">
                  <c:v>40718</c:v>
                </c:pt>
                <c:pt idx="601">
                  <c:v>40721</c:v>
                </c:pt>
                <c:pt idx="602">
                  <c:v>40722</c:v>
                </c:pt>
                <c:pt idx="603">
                  <c:v>40723</c:v>
                </c:pt>
                <c:pt idx="604">
                  <c:v>40724</c:v>
                </c:pt>
                <c:pt idx="605">
                  <c:v>40725</c:v>
                </c:pt>
                <c:pt idx="606">
                  <c:v>40728</c:v>
                </c:pt>
                <c:pt idx="607">
                  <c:v>40729</c:v>
                </c:pt>
                <c:pt idx="608">
                  <c:v>40730</c:v>
                </c:pt>
                <c:pt idx="609">
                  <c:v>40731</c:v>
                </c:pt>
                <c:pt idx="610">
                  <c:v>40732</c:v>
                </c:pt>
                <c:pt idx="611">
                  <c:v>40735</c:v>
                </c:pt>
                <c:pt idx="612">
                  <c:v>40736</c:v>
                </c:pt>
                <c:pt idx="613">
                  <c:v>40737</c:v>
                </c:pt>
                <c:pt idx="614">
                  <c:v>40738</c:v>
                </c:pt>
                <c:pt idx="615">
                  <c:v>40739</c:v>
                </c:pt>
                <c:pt idx="616">
                  <c:v>40742</c:v>
                </c:pt>
                <c:pt idx="617">
                  <c:v>40743</c:v>
                </c:pt>
                <c:pt idx="618">
                  <c:v>40744</c:v>
                </c:pt>
                <c:pt idx="619">
                  <c:v>40745</c:v>
                </c:pt>
                <c:pt idx="620">
                  <c:v>40746</c:v>
                </c:pt>
                <c:pt idx="621">
                  <c:v>40749</c:v>
                </c:pt>
                <c:pt idx="622">
                  <c:v>40750</c:v>
                </c:pt>
                <c:pt idx="623">
                  <c:v>40751</c:v>
                </c:pt>
                <c:pt idx="624">
                  <c:v>40752</c:v>
                </c:pt>
                <c:pt idx="625">
                  <c:v>40753</c:v>
                </c:pt>
                <c:pt idx="626">
                  <c:v>40756</c:v>
                </c:pt>
                <c:pt idx="627">
                  <c:v>40757</c:v>
                </c:pt>
                <c:pt idx="628">
                  <c:v>40758</c:v>
                </c:pt>
                <c:pt idx="629">
                  <c:v>40759</c:v>
                </c:pt>
                <c:pt idx="630">
                  <c:v>40760</c:v>
                </c:pt>
                <c:pt idx="631">
                  <c:v>40763</c:v>
                </c:pt>
                <c:pt idx="632">
                  <c:v>40764</c:v>
                </c:pt>
                <c:pt idx="633">
                  <c:v>40765</c:v>
                </c:pt>
                <c:pt idx="634">
                  <c:v>40766</c:v>
                </c:pt>
                <c:pt idx="635">
                  <c:v>40767</c:v>
                </c:pt>
                <c:pt idx="636">
                  <c:v>40770</c:v>
                </c:pt>
                <c:pt idx="637">
                  <c:v>40771</c:v>
                </c:pt>
                <c:pt idx="638">
                  <c:v>40772</c:v>
                </c:pt>
                <c:pt idx="639">
                  <c:v>40773</c:v>
                </c:pt>
                <c:pt idx="640">
                  <c:v>40774</c:v>
                </c:pt>
                <c:pt idx="641">
                  <c:v>40777</c:v>
                </c:pt>
                <c:pt idx="642">
                  <c:v>40778</c:v>
                </c:pt>
                <c:pt idx="643">
                  <c:v>40779</c:v>
                </c:pt>
                <c:pt idx="644">
                  <c:v>40780</c:v>
                </c:pt>
                <c:pt idx="645">
                  <c:v>40781</c:v>
                </c:pt>
                <c:pt idx="646">
                  <c:v>40784</c:v>
                </c:pt>
                <c:pt idx="647">
                  <c:v>40785</c:v>
                </c:pt>
                <c:pt idx="648">
                  <c:v>40786</c:v>
                </c:pt>
                <c:pt idx="649">
                  <c:v>40787</c:v>
                </c:pt>
                <c:pt idx="650">
                  <c:v>40788</c:v>
                </c:pt>
                <c:pt idx="651">
                  <c:v>40791</c:v>
                </c:pt>
                <c:pt idx="652">
                  <c:v>40792</c:v>
                </c:pt>
                <c:pt idx="653">
                  <c:v>40793</c:v>
                </c:pt>
                <c:pt idx="654">
                  <c:v>40794</c:v>
                </c:pt>
                <c:pt idx="655">
                  <c:v>40795</c:v>
                </c:pt>
                <c:pt idx="656">
                  <c:v>40799</c:v>
                </c:pt>
                <c:pt idx="657">
                  <c:v>40800</c:v>
                </c:pt>
                <c:pt idx="658">
                  <c:v>40801</c:v>
                </c:pt>
                <c:pt idx="659">
                  <c:v>40802</c:v>
                </c:pt>
                <c:pt idx="660">
                  <c:v>40805</c:v>
                </c:pt>
                <c:pt idx="661">
                  <c:v>40806</c:v>
                </c:pt>
                <c:pt idx="662">
                  <c:v>40807</c:v>
                </c:pt>
                <c:pt idx="663">
                  <c:v>40808</c:v>
                </c:pt>
                <c:pt idx="664">
                  <c:v>40809</c:v>
                </c:pt>
                <c:pt idx="665">
                  <c:v>40812</c:v>
                </c:pt>
                <c:pt idx="666">
                  <c:v>40813</c:v>
                </c:pt>
                <c:pt idx="667">
                  <c:v>40814</c:v>
                </c:pt>
                <c:pt idx="668">
                  <c:v>40815</c:v>
                </c:pt>
                <c:pt idx="669">
                  <c:v>40816</c:v>
                </c:pt>
                <c:pt idx="670">
                  <c:v>40826</c:v>
                </c:pt>
                <c:pt idx="671">
                  <c:v>40827</c:v>
                </c:pt>
                <c:pt idx="672">
                  <c:v>40828</c:v>
                </c:pt>
                <c:pt idx="673">
                  <c:v>40829</c:v>
                </c:pt>
                <c:pt idx="674">
                  <c:v>40830</c:v>
                </c:pt>
                <c:pt idx="675">
                  <c:v>40833</c:v>
                </c:pt>
                <c:pt idx="676">
                  <c:v>40834</c:v>
                </c:pt>
                <c:pt idx="677">
                  <c:v>40835</c:v>
                </c:pt>
                <c:pt idx="678">
                  <c:v>40836</c:v>
                </c:pt>
                <c:pt idx="679">
                  <c:v>40837</c:v>
                </c:pt>
                <c:pt idx="680">
                  <c:v>40840</c:v>
                </c:pt>
                <c:pt idx="681">
                  <c:v>40841</c:v>
                </c:pt>
                <c:pt idx="682">
                  <c:v>40842</c:v>
                </c:pt>
                <c:pt idx="683">
                  <c:v>40843</c:v>
                </c:pt>
                <c:pt idx="684">
                  <c:v>40844</c:v>
                </c:pt>
                <c:pt idx="685">
                  <c:v>40847</c:v>
                </c:pt>
                <c:pt idx="686">
                  <c:v>40848</c:v>
                </c:pt>
                <c:pt idx="687">
                  <c:v>40849</c:v>
                </c:pt>
                <c:pt idx="688">
                  <c:v>40850</c:v>
                </c:pt>
                <c:pt idx="689">
                  <c:v>40851</c:v>
                </c:pt>
                <c:pt idx="690">
                  <c:v>40854</c:v>
                </c:pt>
                <c:pt idx="691">
                  <c:v>40855</c:v>
                </c:pt>
                <c:pt idx="692">
                  <c:v>40856</c:v>
                </c:pt>
                <c:pt idx="693">
                  <c:v>40857</c:v>
                </c:pt>
                <c:pt idx="694">
                  <c:v>40858</c:v>
                </c:pt>
                <c:pt idx="695">
                  <c:v>40861</c:v>
                </c:pt>
                <c:pt idx="696">
                  <c:v>40862</c:v>
                </c:pt>
                <c:pt idx="697">
                  <c:v>40863</c:v>
                </c:pt>
                <c:pt idx="698">
                  <c:v>40864</c:v>
                </c:pt>
                <c:pt idx="699">
                  <c:v>40865</c:v>
                </c:pt>
                <c:pt idx="700">
                  <c:v>40868</c:v>
                </c:pt>
                <c:pt idx="701">
                  <c:v>40869</c:v>
                </c:pt>
                <c:pt idx="702">
                  <c:v>40870</c:v>
                </c:pt>
                <c:pt idx="703">
                  <c:v>40871</c:v>
                </c:pt>
                <c:pt idx="704">
                  <c:v>40872</c:v>
                </c:pt>
                <c:pt idx="705">
                  <c:v>40875</c:v>
                </c:pt>
                <c:pt idx="706">
                  <c:v>40876</c:v>
                </c:pt>
                <c:pt idx="707">
                  <c:v>40877</c:v>
                </c:pt>
                <c:pt idx="708">
                  <c:v>40878</c:v>
                </c:pt>
                <c:pt idx="709">
                  <c:v>40879</c:v>
                </c:pt>
                <c:pt idx="710">
                  <c:v>40882</c:v>
                </c:pt>
                <c:pt idx="711">
                  <c:v>40883</c:v>
                </c:pt>
                <c:pt idx="712">
                  <c:v>40884</c:v>
                </c:pt>
                <c:pt idx="713">
                  <c:v>40885</c:v>
                </c:pt>
                <c:pt idx="714">
                  <c:v>40886</c:v>
                </c:pt>
                <c:pt idx="715">
                  <c:v>40889</c:v>
                </c:pt>
                <c:pt idx="716">
                  <c:v>40890</c:v>
                </c:pt>
                <c:pt idx="717">
                  <c:v>40891</c:v>
                </c:pt>
                <c:pt idx="718">
                  <c:v>40892</c:v>
                </c:pt>
                <c:pt idx="719">
                  <c:v>40893</c:v>
                </c:pt>
                <c:pt idx="720">
                  <c:v>40896</c:v>
                </c:pt>
                <c:pt idx="721">
                  <c:v>40897</c:v>
                </c:pt>
                <c:pt idx="722">
                  <c:v>40898</c:v>
                </c:pt>
                <c:pt idx="723">
                  <c:v>40899</c:v>
                </c:pt>
                <c:pt idx="724">
                  <c:v>40900</c:v>
                </c:pt>
                <c:pt idx="725">
                  <c:v>40903</c:v>
                </c:pt>
                <c:pt idx="726">
                  <c:v>40904</c:v>
                </c:pt>
                <c:pt idx="727">
                  <c:v>40905</c:v>
                </c:pt>
                <c:pt idx="728">
                  <c:v>40906</c:v>
                </c:pt>
                <c:pt idx="729">
                  <c:v>40907</c:v>
                </c:pt>
                <c:pt idx="730">
                  <c:v>40912</c:v>
                </c:pt>
                <c:pt idx="731">
                  <c:v>40913</c:v>
                </c:pt>
                <c:pt idx="732">
                  <c:v>40914</c:v>
                </c:pt>
                <c:pt idx="733">
                  <c:v>40917</c:v>
                </c:pt>
                <c:pt idx="734">
                  <c:v>40918</c:v>
                </c:pt>
                <c:pt idx="735">
                  <c:v>40919</c:v>
                </c:pt>
                <c:pt idx="736">
                  <c:v>40920</c:v>
                </c:pt>
                <c:pt idx="737">
                  <c:v>40921</c:v>
                </c:pt>
                <c:pt idx="738">
                  <c:v>40924</c:v>
                </c:pt>
                <c:pt idx="739">
                  <c:v>40925</c:v>
                </c:pt>
                <c:pt idx="740">
                  <c:v>40926</c:v>
                </c:pt>
                <c:pt idx="741">
                  <c:v>40927</c:v>
                </c:pt>
                <c:pt idx="742">
                  <c:v>40928</c:v>
                </c:pt>
                <c:pt idx="743">
                  <c:v>40938</c:v>
                </c:pt>
                <c:pt idx="744">
                  <c:v>40939</c:v>
                </c:pt>
                <c:pt idx="745">
                  <c:v>40940</c:v>
                </c:pt>
                <c:pt idx="746">
                  <c:v>40941</c:v>
                </c:pt>
                <c:pt idx="747">
                  <c:v>40942</c:v>
                </c:pt>
                <c:pt idx="748">
                  <c:v>40945</c:v>
                </c:pt>
                <c:pt idx="749">
                  <c:v>40946</c:v>
                </c:pt>
                <c:pt idx="750">
                  <c:v>40947</c:v>
                </c:pt>
                <c:pt idx="751">
                  <c:v>40948</c:v>
                </c:pt>
                <c:pt idx="752">
                  <c:v>40949</c:v>
                </c:pt>
                <c:pt idx="753">
                  <c:v>40952</c:v>
                </c:pt>
                <c:pt idx="754">
                  <c:v>40953</c:v>
                </c:pt>
                <c:pt idx="755">
                  <c:v>40954</c:v>
                </c:pt>
                <c:pt idx="756">
                  <c:v>40955</c:v>
                </c:pt>
                <c:pt idx="757">
                  <c:v>40956</c:v>
                </c:pt>
                <c:pt idx="758">
                  <c:v>40959</c:v>
                </c:pt>
                <c:pt idx="759">
                  <c:v>40960</c:v>
                </c:pt>
                <c:pt idx="760">
                  <c:v>40961</c:v>
                </c:pt>
                <c:pt idx="761">
                  <c:v>40962</c:v>
                </c:pt>
                <c:pt idx="762">
                  <c:v>40963</c:v>
                </c:pt>
                <c:pt idx="763">
                  <c:v>40966</c:v>
                </c:pt>
                <c:pt idx="764">
                  <c:v>40967</c:v>
                </c:pt>
                <c:pt idx="765">
                  <c:v>40968</c:v>
                </c:pt>
                <c:pt idx="766">
                  <c:v>40969</c:v>
                </c:pt>
                <c:pt idx="767">
                  <c:v>40970</c:v>
                </c:pt>
                <c:pt idx="768">
                  <c:v>40973</c:v>
                </c:pt>
                <c:pt idx="769">
                  <c:v>40974</c:v>
                </c:pt>
                <c:pt idx="770">
                  <c:v>40975</c:v>
                </c:pt>
                <c:pt idx="771">
                  <c:v>40976</c:v>
                </c:pt>
                <c:pt idx="772">
                  <c:v>40977</c:v>
                </c:pt>
                <c:pt idx="773">
                  <c:v>40980</c:v>
                </c:pt>
                <c:pt idx="774">
                  <c:v>40981</c:v>
                </c:pt>
                <c:pt idx="775">
                  <c:v>40982</c:v>
                </c:pt>
                <c:pt idx="776">
                  <c:v>40983</c:v>
                </c:pt>
                <c:pt idx="777">
                  <c:v>40984</c:v>
                </c:pt>
                <c:pt idx="778">
                  <c:v>40987</c:v>
                </c:pt>
                <c:pt idx="779">
                  <c:v>40988</c:v>
                </c:pt>
                <c:pt idx="780">
                  <c:v>40989</c:v>
                </c:pt>
                <c:pt idx="781">
                  <c:v>40990</c:v>
                </c:pt>
                <c:pt idx="782">
                  <c:v>40991</c:v>
                </c:pt>
                <c:pt idx="783">
                  <c:v>40994</c:v>
                </c:pt>
                <c:pt idx="784">
                  <c:v>40995</c:v>
                </c:pt>
                <c:pt idx="785">
                  <c:v>40996</c:v>
                </c:pt>
                <c:pt idx="786">
                  <c:v>40997</c:v>
                </c:pt>
                <c:pt idx="787">
                  <c:v>40998</c:v>
                </c:pt>
                <c:pt idx="788">
                  <c:v>41004</c:v>
                </c:pt>
                <c:pt idx="789">
                  <c:v>41005</c:v>
                </c:pt>
                <c:pt idx="790">
                  <c:v>41008</c:v>
                </c:pt>
                <c:pt idx="791">
                  <c:v>41009</c:v>
                </c:pt>
                <c:pt idx="792">
                  <c:v>41010</c:v>
                </c:pt>
                <c:pt idx="793">
                  <c:v>41011</c:v>
                </c:pt>
                <c:pt idx="794">
                  <c:v>41012</c:v>
                </c:pt>
                <c:pt idx="795">
                  <c:v>41015</c:v>
                </c:pt>
                <c:pt idx="796">
                  <c:v>41016</c:v>
                </c:pt>
                <c:pt idx="797">
                  <c:v>41017</c:v>
                </c:pt>
                <c:pt idx="798">
                  <c:v>41018</c:v>
                </c:pt>
                <c:pt idx="799">
                  <c:v>41019</c:v>
                </c:pt>
                <c:pt idx="800">
                  <c:v>41022</c:v>
                </c:pt>
                <c:pt idx="801">
                  <c:v>41023</c:v>
                </c:pt>
                <c:pt idx="802">
                  <c:v>41024</c:v>
                </c:pt>
                <c:pt idx="803">
                  <c:v>41025</c:v>
                </c:pt>
                <c:pt idx="804">
                  <c:v>41026</c:v>
                </c:pt>
                <c:pt idx="805">
                  <c:v>41031</c:v>
                </c:pt>
                <c:pt idx="806">
                  <c:v>41032</c:v>
                </c:pt>
                <c:pt idx="807">
                  <c:v>41033</c:v>
                </c:pt>
                <c:pt idx="808">
                  <c:v>41036</c:v>
                </c:pt>
                <c:pt idx="809">
                  <c:v>41037</c:v>
                </c:pt>
                <c:pt idx="810">
                  <c:v>41038</c:v>
                </c:pt>
                <c:pt idx="811">
                  <c:v>41039</c:v>
                </c:pt>
                <c:pt idx="812">
                  <c:v>41040</c:v>
                </c:pt>
                <c:pt idx="813">
                  <c:v>41043</c:v>
                </c:pt>
                <c:pt idx="814">
                  <c:v>41044</c:v>
                </c:pt>
                <c:pt idx="815">
                  <c:v>41045</c:v>
                </c:pt>
                <c:pt idx="816">
                  <c:v>41046</c:v>
                </c:pt>
                <c:pt idx="817">
                  <c:v>41047</c:v>
                </c:pt>
                <c:pt idx="818">
                  <c:v>41050</c:v>
                </c:pt>
                <c:pt idx="819">
                  <c:v>41051</c:v>
                </c:pt>
                <c:pt idx="820">
                  <c:v>41052</c:v>
                </c:pt>
                <c:pt idx="821">
                  <c:v>41053</c:v>
                </c:pt>
                <c:pt idx="822">
                  <c:v>41054</c:v>
                </c:pt>
                <c:pt idx="823">
                  <c:v>41057</c:v>
                </c:pt>
                <c:pt idx="824">
                  <c:v>41058</c:v>
                </c:pt>
                <c:pt idx="825">
                  <c:v>41059</c:v>
                </c:pt>
                <c:pt idx="826">
                  <c:v>41060</c:v>
                </c:pt>
                <c:pt idx="827">
                  <c:v>41061</c:v>
                </c:pt>
                <c:pt idx="828">
                  <c:v>41064</c:v>
                </c:pt>
                <c:pt idx="829">
                  <c:v>41065</c:v>
                </c:pt>
                <c:pt idx="830">
                  <c:v>41066</c:v>
                </c:pt>
                <c:pt idx="831">
                  <c:v>41067</c:v>
                </c:pt>
                <c:pt idx="832">
                  <c:v>41068</c:v>
                </c:pt>
                <c:pt idx="833">
                  <c:v>41071</c:v>
                </c:pt>
                <c:pt idx="834">
                  <c:v>41072</c:v>
                </c:pt>
                <c:pt idx="835">
                  <c:v>41073</c:v>
                </c:pt>
                <c:pt idx="836">
                  <c:v>41074</c:v>
                </c:pt>
                <c:pt idx="837">
                  <c:v>41075</c:v>
                </c:pt>
                <c:pt idx="838">
                  <c:v>41078</c:v>
                </c:pt>
                <c:pt idx="839">
                  <c:v>41079</c:v>
                </c:pt>
                <c:pt idx="840">
                  <c:v>41080</c:v>
                </c:pt>
                <c:pt idx="841">
                  <c:v>41081</c:v>
                </c:pt>
                <c:pt idx="842">
                  <c:v>41085</c:v>
                </c:pt>
                <c:pt idx="843">
                  <c:v>41086</c:v>
                </c:pt>
                <c:pt idx="844">
                  <c:v>41087</c:v>
                </c:pt>
                <c:pt idx="845">
                  <c:v>41088</c:v>
                </c:pt>
                <c:pt idx="846">
                  <c:v>41089</c:v>
                </c:pt>
                <c:pt idx="847">
                  <c:v>41092</c:v>
                </c:pt>
                <c:pt idx="848">
                  <c:v>41093</c:v>
                </c:pt>
                <c:pt idx="849">
                  <c:v>41094</c:v>
                </c:pt>
                <c:pt idx="850">
                  <c:v>41095</c:v>
                </c:pt>
                <c:pt idx="851">
                  <c:v>41096</c:v>
                </c:pt>
                <c:pt idx="852">
                  <c:v>41099</c:v>
                </c:pt>
                <c:pt idx="853">
                  <c:v>41100</c:v>
                </c:pt>
                <c:pt idx="854">
                  <c:v>41101</c:v>
                </c:pt>
                <c:pt idx="855">
                  <c:v>41102</c:v>
                </c:pt>
                <c:pt idx="856">
                  <c:v>41103</c:v>
                </c:pt>
                <c:pt idx="857">
                  <c:v>41106</c:v>
                </c:pt>
                <c:pt idx="858">
                  <c:v>41107</c:v>
                </c:pt>
                <c:pt idx="859">
                  <c:v>41108</c:v>
                </c:pt>
                <c:pt idx="860">
                  <c:v>41109</c:v>
                </c:pt>
                <c:pt idx="861">
                  <c:v>41110</c:v>
                </c:pt>
                <c:pt idx="862">
                  <c:v>41113</c:v>
                </c:pt>
                <c:pt idx="863">
                  <c:v>41114</c:v>
                </c:pt>
                <c:pt idx="864">
                  <c:v>41115</c:v>
                </c:pt>
                <c:pt idx="865">
                  <c:v>41116</c:v>
                </c:pt>
                <c:pt idx="866">
                  <c:v>41117</c:v>
                </c:pt>
                <c:pt idx="867">
                  <c:v>41120</c:v>
                </c:pt>
                <c:pt idx="868">
                  <c:v>41121</c:v>
                </c:pt>
                <c:pt idx="869">
                  <c:v>41122</c:v>
                </c:pt>
                <c:pt idx="870">
                  <c:v>41123</c:v>
                </c:pt>
                <c:pt idx="871">
                  <c:v>41124</c:v>
                </c:pt>
                <c:pt idx="872">
                  <c:v>41127</c:v>
                </c:pt>
                <c:pt idx="873">
                  <c:v>41128</c:v>
                </c:pt>
                <c:pt idx="874">
                  <c:v>41129</c:v>
                </c:pt>
                <c:pt idx="875">
                  <c:v>41130</c:v>
                </c:pt>
                <c:pt idx="876">
                  <c:v>41131</c:v>
                </c:pt>
                <c:pt idx="877">
                  <c:v>41134</c:v>
                </c:pt>
                <c:pt idx="878">
                  <c:v>41135</c:v>
                </c:pt>
                <c:pt idx="879">
                  <c:v>41136</c:v>
                </c:pt>
                <c:pt idx="880">
                  <c:v>41137</c:v>
                </c:pt>
                <c:pt idx="881">
                  <c:v>41138</c:v>
                </c:pt>
                <c:pt idx="882">
                  <c:v>41141</c:v>
                </c:pt>
                <c:pt idx="883">
                  <c:v>41142</c:v>
                </c:pt>
                <c:pt idx="884">
                  <c:v>41143</c:v>
                </c:pt>
                <c:pt idx="885">
                  <c:v>41144</c:v>
                </c:pt>
                <c:pt idx="886">
                  <c:v>41145</c:v>
                </c:pt>
                <c:pt idx="887">
                  <c:v>41148</c:v>
                </c:pt>
                <c:pt idx="888">
                  <c:v>41149</c:v>
                </c:pt>
                <c:pt idx="889">
                  <c:v>41150</c:v>
                </c:pt>
                <c:pt idx="890">
                  <c:v>41151</c:v>
                </c:pt>
                <c:pt idx="891">
                  <c:v>41152</c:v>
                </c:pt>
                <c:pt idx="892">
                  <c:v>41155</c:v>
                </c:pt>
                <c:pt idx="893">
                  <c:v>41156</c:v>
                </c:pt>
                <c:pt idx="894">
                  <c:v>41157</c:v>
                </c:pt>
                <c:pt idx="895">
                  <c:v>41158</c:v>
                </c:pt>
                <c:pt idx="896">
                  <c:v>41159</c:v>
                </c:pt>
                <c:pt idx="897">
                  <c:v>41162</c:v>
                </c:pt>
                <c:pt idx="898">
                  <c:v>41163</c:v>
                </c:pt>
                <c:pt idx="899">
                  <c:v>41164</c:v>
                </c:pt>
                <c:pt idx="900">
                  <c:v>41165</c:v>
                </c:pt>
                <c:pt idx="901">
                  <c:v>41166</c:v>
                </c:pt>
                <c:pt idx="902">
                  <c:v>41169</c:v>
                </c:pt>
                <c:pt idx="903">
                  <c:v>41170</c:v>
                </c:pt>
                <c:pt idx="904">
                  <c:v>41171</c:v>
                </c:pt>
                <c:pt idx="905">
                  <c:v>41172</c:v>
                </c:pt>
                <c:pt idx="906">
                  <c:v>41173</c:v>
                </c:pt>
                <c:pt idx="907">
                  <c:v>41176</c:v>
                </c:pt>
                <c:pt idx="908">
                  <c:v>41177</c:v>
                </c:pt>
                <c:pt idx="909">
                  <c:v>41178</c:v>
                </c:pt>
                <c:pt idx="910">
                  <c:v>41179</c:v>
                </c:pt>
                <c:pt idx="911">
                  <c:v>41180</c:v>
                </c:pt>
                <c:pt idx="912">
                  <c:v>41190</c:v>
                </c:pt>
                <c:pt idx="913">
                  <c:v>41191</c:v>
                </c:pt>
                <c:pt idx="914">
                  <c:v>41192</c:v>
                </c:pt>
                <c:pt idx="915">
                  <c:v>41193</c:v>
                </c:pt>
                <c:pt idx="916">
                  <c:v>41194</c:v>
                </c:pt>
                <c:pt idx="917">
                  <c:v>41197</c:v>
                </c:pt>
                <c:pt idx="918">
                  <c:v>41198</c:v>
                </c:pt>
                <c:pt idx="919">
                  <c:v>41199</c:v>
                </c:pt>
                <c:pt idx="920">
                  <c:v>41200</c:v>
                </c:pt>
                <c:pt idx="921">
                  <c:v>41201</c:v>
                </c:pt>
                <c:pt idx="922">
                  <c:v>41204</c:v>
                </c:pt>
                <c:pt idx="923">
                  <c:v>41205</c:v>
                </c:pt>
                <c:pt idx="924">
                  <c:v>41206</c:v>
                </c:pt>
                <c:pt idx="925">
                  <c:v>41207</c:v>
                </c:pt>
                <c:pt idx="926">
                  <c:v>41208</c:v>
                </c:pt>
                <c:pt idx="927">
                  <c:v>41211</c:v>
                </c:pt>
                <c:pt idx="928">
                  <c:v>41212</c:v>
                </c:pt>
                <c:pt idx="929">
                  <c:v>41213</c:v>
                </c:pt>
                <c:pt idx="930">
                  <c:v>41214</c:v>
                </c:pt>
                <c:pt idx="931">
                  <c:v>41215</c:v>
                </c:pt>
                <c:pt idx="932">
                  <c:v>41218</c:v>
                </c:pt>
                <c:pt idx="933">
                  <c:v>41219</c:v>
                </c:pt>
                <c:pt idx="934">
                  <c:v>41220</c:v>
                </c:pt>
                <c:pt idx="935">
                  <c:v>41221</c:v>
                </c:pt>
                <c:pt idx="936">
                  <c:v>41222</c:v>
                </c:pt>
                <c:pt idx="937">
                  <c:v>41225</c:v>
                </c:pt>
                <c:pt idx="938">
                  <c:v>41226</c:v>
                </c:pt>
                <c:pt idx="939">
                  <c:v>41227</c:v>
                </c:pt>
                <c:pt idx="940">
                  <c:v>41228</c:v>
                </c:pt>
                <c:pt idx="941">
                  <c:v>41229</c:v>
                </c:pt>
                <c:pt idx="942">
                  <c:v>41232</c:v>
                </c:pt>
                <c:pt idx="943">
                  <c:v>41233</c:v>
                </c:pt>
                <c:pt idx="944">
                  <c:v>41234</c:v>
                </c:pt>
                <c:pt idx="945">
                  <c:v>41235</c:v>
                </c:pt>
                <c:pt idx="946">
                  <c:v>41236</c:v>
                </c:pt>
                <c:pt idx="947">
                  <c:v>41239</c:v>
                </c:pt>
                <c:pt idx="948">
                  <c:v>41240</c:v>
                </c:pt>
                <c:pt idx="949">
                  <c:v>41241</c:v>
                </c:pt>
                <c:pt idx="950">
                  <c:v>41242</c:v>
                </c:pt>
                <c:pt idx="951">
                  <c:v>41243</c:v>
                </c:pt>
                <c:pt idx="952">
                  <c:v>41246</c:v>
                </c:pt>
                <c:pt idx="953">
                  <c:v>41247</c:v>
                </c:pt>
                <c:pt idx="954">
                  <c:v>41248</c:v>
                </c:pt>
                <c:pt idx="955">
                  <c:v>41249</c:v>
                </c:pt>
                <c:pt idx="956">
                  <c:v>41250</c:v>
                </c:pt>
                <c:pt idx="957">
                  <c:v>41253</c:v>
                </c:pt>
                <c:pt idx="958">
                  <c:v>41254</c:v>
                </c:pt>
                <c:pt idx="959">
                  <c:v>41255</c:v>
                </c:pt>
                <c:pt idx="960">
                  <c:v>41256</c:v>
                </c:pt>
                <c:pt idx="961">
                  <c:v>41257</c:v>
                </c:pt>
                <c:pt idx="962">
                  <c:v>41260</c:v>
                </c:pt>
                <c:pt idx="963">
                  <c:v>41261</c:v>
                </c:pt>
                <c:pt idx="964">
                  <c:v>41262</c:v>
                </c:pt>
                <c:pt idx="965">
                  <c:v>41263</c:v>
                </c:pt>
                <c:pt idx="966">
                  <c:v>41264</c:v>
                </c:pt>
                <c:pt idx="967">
                  <c:v>41267</c:v>
                </c:pt>
                <c:pt idx="968">
                  <c:v>41268</c:v>
                </c:pt>
                <c:pt idx="969">
                  <c:v>41269</c:v>
                </c:pt>
                <c:pt idx="970">
                  <c:v>41270</c:v>
                </c:pt>
                <c:pt idx="971">
                  <c:v>41271</c:v>
                </c:pt>
                <c:pt idx="972">
                  <c:v>41274</c:v>
                </c:pt>
                <c:pt idx="973">
                  <c:v>41278</c:v>
                </c:pt>
                <c:pt idx="974">
                  <c:v>41281</c:v>
                </c:pt>
                <c:pt idx="975">
                  <c:v>41282</c:v>
                </c:pt>
                <c:pt idx="976">
                  <c:v>41283</c:v>
                </c:pt>
                <c:pt idx="977">
                  <c:v>41284</c:v>
                </c:pt>
                <c:pt idx="978">
                  <c:v>41285</c:v>
                </c:pt>
                <c:pt idx="979">
                  <c:v>41288</c:v>
                </c:pt>
                <c:pt idx="980">
                  <c:v>41289</c:v>
                </c:pt>
                <c:pt idx="981">
                  <c:v>41290</c:v>
                </c:pt>
                <c:pt idx="982">
                  <c:v>41291</c:v>
                </c:pt>
                <c:pt idx="983">
                  <c:v>41292</c:v>
                </c:pt>
                <c:pt idx="984">
                  <c:v>41295</c:v>
                </c:pt>
                <c:pt idx="985">
                  <c:v>41296</c:v>
                </c:pt>
                <c:pt idx="986">
                  <c:v>41297</c:v>
                </c:pt>
                <c:pt idx="987">
                  <c:v>41298</c:v>
                </c:pt>
                <c:pt idx="988">
                  <c:v>41299</c:v>
                </c:pt>
                <c:pt idx="989">
                  <c:v>41302</c:v>
                </c:pt>
                <c:pt idx="990">
                  <c:v>41303</c:v>
                </c:pt>
                <c:pt idx="991">
                  <c:v>41304</c:v>
                </c:pt>
                <c:pt idx="992">
                  <c:v>41305</c:v>
                </c:pt>
                <c:pt idx="993">
                  <c:v>41306</c:v>
                </c:pt>
                <c:pt idx="994">
                  <c:v>41309</c:v>
                </c:pt>
                <c:pt idx="995">
                  <c:v>41310</c:v>
                </c:pt>
                <c:pt idx="996">
                  <c:v>41311</c:v>
                </c:pt>
                <c:pt idx="997">
                  <c:v>41312</c:v>
                </c:pt>
                <c:pt idx="998">
                  <c:v>41313</c:v>
                </c:pt>
                <c:pt idx="999">
                  <c:v>41323</c:v>
                </c:pt>
                <c:pt idx="1000">
                  <c:v>41324</c:v>
                </c:pt>
                <c:pt idx="1001">
                  <c:v>41325</c:v>
                </c:pt>
                <c:pt idx="1002">
                  <c:v>41326</c:v>
                </c:pt>
                <c:pt idx="1003">
                  <c:v>41327</c:v>
                </c:pt>
                <c:pt idx="1004">
                  <c:v>41330</c:v>
                </c:pt>
                <c:pt idx="1005">
                  <c:v>41331</c:v>
                </c:pt>
                <c:pt idx="1006">
                  <c:v>41332</c:v>
                </c:pt>
                <c:pt idx="1007">
                  <c:v>41333</c:v>
                </c:pt>
                <c:pt idx="1008">
                  <c:v>41334</c:v>
                </c:pt>
                <c:pt idx="1009">
                  <c:v>41337</c:v>
                </c:pt>
                <c:pt idx="1010">
                  <c:v>41338</c:v>
                </c:pt>
                <c:pt idx="1011">
                  <c:v>41339</c:v>
                </c:pt>
                <c:pt idx="1012">
                  <c:v>41340</c:v>
                </c:pt>
                <c:pt idx="1013">
                  <c:v>41341</c:v>
                </c:pt>
                <c:pt idx="1014">
                  <c:v>41344</c:v>
                </c:pt>
                <c:pt idx="1015">
                  <c:v>41345</c:v>
                </c:pt>
                <c:pt idx="1016">
                  <c:v>41346</c:v>
                </c:pt>
                <c:pt idx="1017">
                  <c:v>41347</c:v>
                </c:pt>
                <c:pt idx="1018">
                  <c:v>41348</c:v>
                </c:pt>
                <c:pt idx="1019">
                  <c:v>41351</c:v>
                </c:pt>
                <c:pt idx="1020">
                  <c:v>41352</c:v>
                </c:pt>
                <c:pt idx="1021">
                  <c:v>41353</c:v>
                </c:pt>
                <c:pt idx="1022">
                  <c:v>41354</c:v>
                </c:pt>
                <c:pt idx="1023">
                  <c:v>41355</c:v>
                </c:pt>
                <c:pt idx="1024">
                  <c:v>41358</c:v>
                </c:pt>
                <c:pt idx="1025">
                  <c:v>41359</c:v>
                </c:pt>
                <c:pt idx="1026">
                  <c:v>41360</c:v>
                </c:pt>
                <c:pt idx="1027">
                  <c:v>41361</c:v>
                </c:pt>
                <c:pt idx="1028">
                  <c:v>41362</c:v>
                </c:pt>
                <c:pt idx="1029">
                  <c:v>41365</c:v>
                </c:pt>
                <c:pt idx="1030">
                  <c:v>41366</c:v>
                </c:pt>
                <c:pt idx="1031">
                  <c:v>41367</c:v>
                </c:pt>
                <c:pt idx="1032">
                  <c:v>41372</c:v>
                </c:pt>
                <c:pt idx="1033">
                  <c:v>41373</c:v>
                </c:pt>
                <c:pt idx="1034">
                  <c:v>41374</c:v>
                </c:pt>
                <c:pt idx="1035">
                  <c:v>41375</c:v>
                </c:pt>
                <c:pt idx="1036">
                  <c:v>41376</c:v>
                </c:pt>
                <c:pt idx="1037">
                  <c:v>41379</c:v>
                </c:pt>
                <c:pt idx="1038">
                  <c:v>41380</c:v>
                </c:pt>
                <c:pt idx="1039">
                  <c:v>41381</c:v>
                </c:pt>
                <c:pt idx="1040">
                  <c:v>41382</c:v>
                </c:pt>
                <c:pt idx="1041">
                  <c:v>41383</c:v>
                </c:pt>
                <c:pt idx="1042">
                  <c:v>41386</c:v>
                </c:pt>
                <c:pt idx="1043">
                  <c:v>41387</c:v>
                </c:pt>
                <c:pt idx="1044">
                  <c:v>41388</c:v>
                </c:pt>
                <c:pt idx="1045">
                  <c:v>41389</c:v>
                </c:pt>
                <c:pt idx="1046">
                  <c:v>41390</c:v>
                </c:pt>
                <c:pt idx="1047">
                  <c:v>41396</c:v>
                </c:pt>
                <c:pt idx="1048">
                  <c:v>41397</c:v>
                </c:pt>
                <c:pt idx="1049">
                  <c:v>41400</c:v>
                </c:pt>
                <c:pt idx="1050">
                  <c:v>41401</c:v>
                </c:pt>
                <c:pt idx="1051">
                  <c:v>41402</c:v>
                </c:pt>
                <c:pt idx="1052">
                  <c:v>41403</c:v>
                </c:pt>
                <c:pt idx="1053">
                  <c:v>41404</c:v>
                </c:pt>
                <c:pt idx="1054">
                  <c:v>41407</c:v>
                </c:pt>
                <c:pt idx="1055">
                  <c:v>41408</c:v>
                </c:pt>
                <c:pt idx="1056">
                  <c:v>41409</c:v>
                </c:pt>
                <c:pt idx="1057">
                  <c:v>41410</c:v>
                </c:pt>
                <c:pt idx="1058">
                  <c:v>41411</c:v>
                </c:pt>
                <c:pt idx="1059">
                  <c:v>41414</c:v>
                </c:pt>
                <c:pt idx="1060">
                  <c:v>41415</c:v>
                </c:pt>
                <c:pt idx="1061">
                  <c:v>41416</c:v>
                </c:pt>
                <c:pt idx="1062">
                  <c:v>41417</c:v>
                </c:pt>
                <c:pt idx="1063">
                  <c:v>41418</c:v>
                </c:pt>
                <c:pt idx="1064">
                  <c:v>41421</c:v>
                </c:pt>
                <c:pt idx="1065">
                  <c:v>41422</c:v>
                </c:pt>
                <c:pt idx="1066">
                  <c:v>41423</c:v>
                </c:pt>
                <c:pt idx="1067">
                  <c:v>41424</c:v>
                </c:pt>
                <c:pt idx="1068">
                  <c:v>41425</c:v>
                </c:pt>
                <c:pt idx="1069">
                  <c:v>41428</c:v>
                </c:pt>
                <c:pt idx="1070">
                  <c:v>41429</c:v>
                </c:pt>
                <c:pt idx="1071">
                  <c:v>41430</c:v>
                </c:pt>
                <c:pt idx="1072">
                  <c:v>41431</c:v>
                </c:pt>
                <c:pt idx="1073">
                  <c:v>41432</c:v>
                </c:pt>
                <c:pt idx="1074">
                  <c:v>41438</c:v>
                </c:pt>
                <c:pt idx="1075">
                  <c:v>41439</c:v>
                </c:pt>
                <c:pt idx="1076">
                  <c:v>41442</c:v>
                </c:pt>
                <c:pt idx="1077">
                  <c:v>41443</c:v>
                </c:pt>
                <c:pt idx="1078">
                  <c:v>41444</c:v>
                </c:pt>
                <c:pt idx="1079">
                  <c:v>41445</c:v>
                </c:pt>
                <c:pt idx="1080">
                  <c:v>41446</c:v>
                </c:pt>
                <c:pt idx="1081">
                  <c:v>41449</c:v>
                </c:pt>
                <c:pt idx="1082">
                  <c:v>41450</c:v>
                </c:pt>
                <c:pt idx="1083">
                  <c:v>41451</c:v>
                </c:pt>
                <c:pt idx="1084">
                  <c:v>41452</c:v>
                </c:pt>
                <c:pt idx="1085">
                  <c:v>41453</c:v>
                </c:pt>
                <c:pt idx="1086">
                  <c:v>41456</c:v>
                </c:pt>
                <c:pt idx="1087">
                  <c:v>41457</c:v>
                </c:pt>
                <c:pt idx="1088">
                  <c:v>41458</c:v>
                </c:pt>
                <c:pt idx="1089">
                  <c:v>41459</c:v>
                </c:pt>
                <c:pt idx="1090">
                  <c:v>41460</c:v>
                </c:pt>
                <c:pt idx="1091">
                  <c:v>41463</c:v>
                </c:pt>
                <c:pt idx="1092">
                  <c:v>41464</c:v>
                </c:pt>
                <c:pt idx="1093">
                  <c:v>41465</c:v>
                </c:pt>
                <c:pt idx="1094">
                  <c:v>41466</c:v>
                </c:pt>
                <c:pt idx="1095">
                  <c:v>41467</c:v>
                </c:pt>
                <c:pt idx="1096">
                  <c:v>41470</c:v>
                </c:pt>
                <c:pt idx="1097">
                  <c:v>41471</c:v>
                </c:pt>
                <c:pt idx="1098">
                  <c:v>41472</c:v>
                </c:pt>
                <c:pt idx="1099">
                  <c:v>41473</c:v>
                </c:pt>
                <c:pt idx="1100">
                  <c:v>41474</c:v>
                </c:pt>
                <c:pt idx="1101">
                  <c:v>41477</c:v>
                </c:pt>
                <c:pt idx="1102">
                  <c:v>41478</c:v>
                </c:pt>
                <c:pt idx="1103">
                  <c:v>41479</c:v>
                </c:pt>
                <c:pt idx="1104">
                  <c:v>41480</c:v>
                </c:pt>
                <c:pt idx="1105">
                  <c:v>41481</c:v>
                </c:pt>
                <c:pt idx="1106">
                  <c:v>41484</c:v>
                </c:pt>
                <c:pt idx="1107">
                  <c:v>41485</c:v>
                </c:pt>
                <c:pt idx="1108">
                  <c:v>41486</c:v>
                </c:pt>
                <c:pt idx="1109">
                  <c:v>41487</c:v>
                </c:pt>
                <c:pt idx="1110">
                  <c:v>41488</c:v>
                </c:pt>
                <c:pt idx="1111">
                  <c:v>41491</c:v>
                </c:pt>
                <c:pt idx="1112">
                  <c:v>41492</c:v>
                </c:pt>
                <c:pt idx="1113">
                  <c:v>41493</c:v>
                </c:pt>
                <c:pt idx="1114">
                  <c:v>41494</c:v>
                </c:pt>
                <c:pt idx="1115">
                  <c:v>41495</c:v>
                </c:pt>
                <c:pt idx="1116">
                  <c:v>41498</c:v>
                </c:pt>
                <c:pt idx="1117">
                  <c:v>41499</c:v>
                </c:pt>
                <c:pt idx="1118">
                  <c:v>41500</c:v>
                </c:pt>
                <c:pt idx="1119">
                  <c:v>41501</c:v>
                </c:pt>
                <c:pt idx="1120">
                  <c:v>41502</c:v>
                </c:pt>
                <c:pt idx="1121">
                  <c:v>41505</c:v>
                </c:pt>
                <c:pt idx="1122">
                  <c:v>41506</c:v>
                </c:pt>
                <c:pt idx="1123">
                  <c:v>41507</c:v>
                </c:pt>
                <c:pt idx="1124">
                  <c:v>41508</c:v>
                </c:pt>
                <c:pt idx="1125">
                  <c:v>41509</c:v>
                </c:pt>
                <c:pt idx="1126">
                  <c:v>41512</c:v>
                </c:pt>
                <c:pt idx="1127">
                  <c:v>41513</c:v>
                </c:pt>
                <c:pt idx="1128">
                  <c:v>41514</c:v>
                </c:pt>
                <c:pt idx="1129">
                  <c:v>41515</c:v>
                </c:pt>
                <c:pt idx="1130">
                  <c:v>41516</c:v>
                </c:pt>
                <c:pt idx="1131">
                  <c:v>41519</c:v>
                </c:pt>
                <c:pt idx="1132">
                  <c:v>41520</c:v>
                </c:pt>
                <c:pt idx="1133">
                  <c:v>41521</c:v>
                </c:pt>
                <c:pt idx="1134">
                  <c:v>41522</c:v>
                </c:pt>
                <c:pt idx="1135">
                  <c:v>41523</c:v>
                </c:pt>
                <c:pt idx="1136">
                  <c:v>41526</c:v>
                </c:pt>
                <c:pt idx="1137">
                  <c:v>41527</c:v>
                </c:pt>
                <c:pt idx="1138">
                  <c:v>41528</c:v>
                </c:pt>
                <c:pt idx="1139">
                  <c:v>41529</c:v>
                </c:pt>
                <c:pt idx="1140">
                  <c:v>41530</c:v>
                </c:pt>
                <c:pt idx="1141">
                  <c:v>41533</c:v>
                </c:pt>
                <c:pt idx="1142">
                  <c:v>41534</c:v>
                </c:pt>
                <c:pt idx="1143">
                  <c:v>41535</c:v>
                </c:pt>
                <c:pt idx="1144">
                  <c:v>41540</c:v>
                </c:pt>
                <c:pt idx="1145">
                  <c:v>41541</c:v>
                </c:pt>
                <c:pt idx="1146">
                  <c:v>41542</c:v>
                </c:pt>
                <c:pt idx="1147">
                  <c:v>41543</c:v>
                </c:pt>
                <c:pt idx="1148">
                  <c:v>41544</c:v>
                </c:pt>
                <c:pt idx="1149">
                  <c:v>41547</c:v>
                </c:pt>
                <c:pt idx="1150">
                  <c:v>41555</c:v>
                </c:pt>
                <c:pt idx="1151">
                  <c:v>41556</c:v>
                </c:pt>
                <c:pt idx="1152">
                  <c:v>41557</c:v>
                </c:pt>
                <c:pt idx="1153">
                  <c:v>41558</c:v>
                </c:pt>
                <c:pt idx="1154">
                  <c:v>41561</c:v>
                </c:pt>
                <c:pt idx="1155">
                  <c:v>41562</c:v>
                </c:pt>
                <c:pt idx="1156">
                  <c:v>41563</c:v>
                </c:pt>
                <c:pt idx="1157">
                  <c:v>41564</c:v>
                </c:pt>
                <c:pt idx="1158">
                  <c:v>41565</c:v>
                </c:pt>
                <c:pt idx="1159">
                  <c:v>41568</c:v>
                </c:pt>
                <c:pt idx="1160">
                  <c:v>41569</c:v>
                </c:pt>
                <c:pt idx="1161">
                  <c:v>41570</c:v>
                </c:pt>
                <c:pt idx="1162">
                  <c:v>41571</c:v>
                </c:pt>
                <c:pt idx="1163">
                  <c:v>41572</c:v>
                </c:pt>
                <c:pt idx="1164">
                  <c:v>41575</c:v>
                </c:pt>
                <c:pt idx="1165">
                  <c:v>41576</c:v>
                </c:pt>
                <c:pt idx="1166">
                  <c:v>41577</c:v>
                </c:pt>
                <c:pt idx="1167">
                  <c:v>41578</c:v>
                </c:pt>
                <c:pt idx="1168">
                  <c:v>41579</c:v>
                </c:pt>
                <c:pt idx="1169">
                  <c:v>41582</c:v>
                </c:pt>
                <c:pt idx="1170">
                  <c:v>41583</c:v>
                </c:pt>
                <c:pt idx="1171">
                  <c:v>41584</c:v>
                </c:pt>
                <c:pt idx="1172">
                  <c:v>41585</c:v>
                </c:pt>
                <c:pt idx="1173">
                  <c:v>41586</c:v>
                </c:pt>
                <c:pt idx="1174">
                  <c:v>41589</c:v>
                </c:pt>
                <c:pt idx="1175">
                  <c:v>41590</c:v>
                </c:pt>
                <c:pt idx="1176">
                  <c:v>41591</c:v>
                </c:pt>
                <c:pt idx="1177">
                  <c:v>41592</c:v>
                </c:pt>
                <c:pt idx="1178">
                  <c:v>41593</c:v>
                </c:pt>
                <c:pt idx="1179">
                  <c:v>41596</c:v>
                </c:pt>
                <c:pt idx="1180">
                  <c:v>41597</c:v>
                </c:pt>
                <c:pt idx="1181">
                  <c:v>41598</c:v>
                </c:pt>
                <c:pt idx="1182">
                  <c:v>41599</c:v>
                </c:pt>
                <c:pt idx="1183">
                  <c:v>41600</c:v>
                </c:pt>
                <c:pt idx="1184">
                  <c:v>41603</c:v>
                </c:pt>
                <c:pt idx="1185">
                  <c:v>41604</c:v>
                </c:pt>
                <c:pt idx="1186">
                  <c:v>41605</c:v>
                </c:pt>
                <c:pt idx="1187">
                  <c:v>41606</c:v>
                </c:pt>
                <c:pt idx="1188">
                  <c:v>41607</c:v>
                </c:pt>
                <c:pt idx="1189">
                  <c:v>41610</c:v>
                </c:pt>
                <c:pt idx="1190">
                  <c:v>41611</c:v>
                </c:pt>
                <c:pt idx="1191">
                  <c:v>41612</c:v>
                </c:pt>
                <c:pt idx="1192">
                  <c:v>41613</c:v>
                </c:pt>
                <c:pt idx="1193">
                  <c:v>41614</c:v>
                </c:pt>
                <c:pt idx="1194">
                  <c:v>41617</c:v>
                </c:pt>
                <c:pt idx="1195">
                  <c:v>41618</c:v>
                </c:pt>
                <c:pt idx="1196">
                  <c:v>41619</c:v>
                </c:pt>
                <c:pt idx="1197">
                  <c:v>41620</c:v>
                </c:pt>
                <c:pt idx="1198">
                  <c:v>41621</c:v>
                </c:pt>
                <c:pt idx="1199">
                  <c:v>41624</c:v>
                </c:pt>
                <c:pt idx="1200">
                  <c:v>41625</c:v>
                </c:pt>
                <c:pt idx="1201">
                  <c:v>41626</c:v>
                </c:pt>
                <c:pt idx="1202">
                  <c:v>41627</c:v>
                </c:pt>
                <c:pt idx="1203">
                  <c:v>41628</c:v>
                </c:pt>
                <c:pt idx="1204">
                  <c:v>41631</c:v>
                </c:pt>
                <c:pt idx="1205">
                  <c:v>41632</c:v>
                </c:pt>
                <c:pt idx="1206">
                  <c:v>41633</c:v>
                </c:pt>
                <c:pt idx="1207">
                  <c:v>41634</c:v>
                </c:pt>
                <c:pt idx="1208">
                  <c:v>41635</c:v>
                </c:pt>
                <c:pt idx="1209">
                  <c:v>41638</c:v>
                </c:pt>
                <c:pt idx="1210">
                  <c:v>41639</c:v>
                </c:pt>
                <c:pt idx="1211">
                  <c:v>41641</c:v>
                </c:pt>
                <c:pt idx="1212">
                  <c:v>41642</c:v>
                </c:pt>
                <c:pt idx="1213">
                  <c:v>41645</c:v>
                </c:pt>
                <c:pt idx="1214">
                  <c:v>41646</c:v>
                </c:pt>
                <c:pt idx="1215">
                  <c:v>41647</c:v>
                </c:pt>
                <c:pt idx="1216">
                  <c:v>41648</c:v>
                </c:pt>
                <c:pt idx="1217">
                  <c:v>41649</c:v>
                </c:pt>
                <c:pt idx="1218">
                  <c:v>41652</c:v>
                </c:pt>
                <c:pt idx="1219">
                  <c:v>41653</c:v>
                </c:pt>
                <c:pt idx="1220">
                  <c:v>41654</c:v>
                </c:pt>
                <c:pt idx="1221">
                  <c:v>41655</c:v>
                </c:pt>
                <c:pt idx="1222">
                  <c:v>41656</c:v>
                </c:pt>
                <c:pt idx="1223">
                  <c:v>41659</c:v>
                </c:pt>
                <c:pt idx="1224">
                  <c:v>41660</c:v>
                </c:pt>
                <c:pt idx="1225">
                  <c:v>41661</c:v>
                </c:pt>
                <c:pt idx="1226">
                  <c:v>41662</c:v>
                </c:pt>
                <c:pt idx="1227">
                  <c:v>41663</c:v>
                </c:pt>
                <c:pt idx="1228">
                  <c:v>41666</c:v>
                </c:pt>
                <c:pt idx="1229">
                  <c:v>41667</c:v>
                </c:pt>
                <c:pt idx="1230">
                  <c:v>41668</c:v>
                </c:pt>
                <c:pt idx="1231">
                  <c:v>41669</c:v>
                </c:pt>
                <c:pt idx="1232">
                  <c:v>41677</c:v>
                </c:pt>
                <c:pt idx="1233">
                  <c:v>41680</c:v>
                </c:pt>
                <c:pt idx="1234">
                  <c:v>41681</c:v>
                </c:pt>
                <c:pt idx="1235">
                  <c:v>41682</c:v>
                </c:pt>
                <c:pt idx="1236">
                  <c:v>41683</c:v>
                </c:pt>
                <c:pt idx="1237">
                  <c:v>41684</c:v>
                </c:pt>
                <c:pt idx="1238">
                  <c:v>41687</c:v>
                </c:pt>
                <c:pt idx="1239">
                  <c:v>41688</c:v>
                </c:pt>
                <c:pt idx="1240">
                  <c:v>41689</c:v>
                </c:pt>
                <c:pt idx="1241">
                  <c:v>41690</c:v>
                </c:pt>
                <c:pt idx="1242">
                  <c:v>41691</c:v>
                </c:pt>
                <c:pt idx="1243">
                  <c:v>41694</c:v>
                </c:pt>
                <c:pt idx="1244">
                  <c:v>41695</c:v>
                </c:pt>
                <c:pt idx="1245">
                  <c:v>41696</c:v>
                </c:pt>
                <c:pt idx="1246">
                  <c:v>41697</c:v>
                </c:pt>
                <c:pt idx="1247">
                  <c:v>41698</c:v>
                </c:pt>
                <c:pt idx="1248">
                  <c:v>41701</c:v>
                </c:pt>
                <c:pt idx="1249">
                  <c:v>41702</c:v>
                </c:pt>
                <c:pt idx="1250">
                  <c:v>41703</c:v>
                </c:pt>
                <c:pt idx="1251">
                  <c:v>41704</c:v>
                </c:pt>
                <c:pt idx="1252">
                  <c:v>41705</c:v>
                </c:pt>
                <c:pt idx="1253">
                  <c:v>41708</c:v>
                </c:pt>
                <c:pt idx="1254">
                  <c:v>41709</c:v>
                </c:pt>
                <c:pt idx="1255">
                  <c:v>41710</c:v>
                </c:pt>
                <c:pt idx="1256">
                  <c:v>41711</c:v>
                </c:pt>
                <c:pt idx="1257">
                  <c:v>41712</c:v>
                </c:pt>
                <c:pt idx="1258">
                  <c:v>41715</c:v>
                </c:pt>
                <c:pt idx="1259">
                  <c:v>41716</c:v>
                </c:pt>
                <c:pt idx="1260">
                  <c:v>41717</c:v>
                </c:pt>
                <c:pt idx="1261">
                  <c:v>41718</c:v>
                </c:pt>
                <c:pt idx="1262">
                  <c:v>41719</c:v>
                </c:pt>
                <c:pt idx="1263">
                  <c:v>41722</c:v>
                </c:pt>
                <c:pt idx="1264">
                  <c:v>41723</c:v>
                </c:pt>
                <c:pt idx="1265">
                  <c:v>41724</c:v>
                </c:pt>
                <c:pt idx="1266">
                  <c:v>41725</c:v>
                </c:pt>
                <c:pt idx="1267">
                  <c:v>41726</c:v>
                </c:pt>
                <c:pt idx="1268">
                  <c:v>41729</c:v>
                </c:pt>
                <c:pt idx="1269">
                  <c:v>41730</c:v>
                </c:pt>
                <c:pt idx="1270">
                  <c:v>41731</c:v>
                </c:pt>
                <c:pt idx="1271">
                  <c:v>41732</c:v>
                </c:pt>
                <c:pt idx="1272">
                  <c:v>41733</c:v>
                </c:pt>
                <c:pt idx="1273">
                  <c:v>41737</c:v>
                </c:pt>
                <c:pt idx="1274">
                  <c:v>41738</c:v>
                </c:pt>
                <c:pt idx="1275">
                  <c:v>41739</c:v>
                </c:pt>
                <c:pt idx="1276">
                  <c:v>41740</c:v>
                </c:pt>
                <c:pt idx="1277">
                  <c:v>41743</c:v>
                </c:pt>
                <c:pt idx="1278">
                  <c:v>41744</c:v>
                </c:pt>
                <c:pt idx="1279">
                  <c:v>41745</c:v>
                </c:pt>
                <c:pt idx="1280">
                  <c:v>41746</c:v>
                </c:pt>
                <c:pt idx="1281">
                  <c:v>41747</c:v>
                </c:pt>
                <c:pt idx="1282">
                  <c:v>41750</c:v>
                </c:pt>
                <c:pt idx="1283">
                  <c:v>41751</c:v>
                </c:pt>
                <c:pt idx="1284">
                  <c:v>41752</c:v>
                </c:pt>
                <c:pt idx="1285">
                  <c:v>41753</c:v>
                </c:pt>
                <c:pt idx="1286">
                  <c:v>41754</c:v>
                </c:pt>
                <c:pt idx="1287">
                  <c:v>41757</c:v>
                </c:pt>
                <c:pt idx="1288">
                  <c:v>41758</c:v>
                </c:pt>
                <c:pt idx="1289">
                  <c:v>41759</c:v>
                </c:pt>
                <c:pt idx="1290">
                  <c:v>41764</c:v>
                </c:pt>
                <c:pt idx="1291">
                  <c:v>41765</c:v>
                </c:pt>
                <c:pt idx="1292">
                  <c:v>41766</c:v>
                </c:pt>
                <c:pt idx="1293">
                  <c:v>41767</c:v>
                </c:pt>
                <c:pt idx="1294">
                  <c:v>41768</c:v>
                </c:pt>
                <c:pt idx="1295">
                  <c:v>41771</c:v>
                </c:pt>
                <c:pt idx="1296">
                  <c:v>41772</c:v>
                </c:pt>
                <c:pt idx="1297">
                  <c:v>41773</c:v>
                </c:pt>
                <c:pt idx="1298">
                  <c:v>41774</c:v>
                </c:pt>
                <c:pt idx="1299">
                  <c:v>41775</c:v>
                </c:pt>
                <c:pt idx="1300">
                  <c:v>41778</c:v>
                </c:pt>
                <c:pt idx="1301">
                  <c:v>41779</c:v>
                </c:pt>
                <c:pt idx="1302">
                  <c:v>41780</c:v>
                </c:pt>
                <c:pt idx="1303">
                  <c:v>41781</c:v>
                </c:pt>
                <c:pt idx="1304">
                  <c:v>41782</c:v>
                </c:pt>
                <c:pt idx="1305">
                  <c:v>41785</c:v>
                </c:pt>
                <c:pt idx="1306">
                  <c:v>41786</c:v>
                </c:pt>
                <c:pt idx="1307">
                  <c:v>41787</c:v>
                </c:pt>
                <c:pt idx="1308">
                  <c:v>41788</c:v>
                </c:pt>
                <c:pt idx="1309">
                  <c:v>41789</c:v>
                </c:pt>
                <c:pt idx="1310">
                  <c:v>41793</c:v>
                </c:pt>
                <c:pt idx="1311">
                  <c:v>41794</c:v>
                </c:pt>
                <c:pt idx="1312">
                  <c:v>41795</c:v>
                </c:pt>
                <c:pt idx="1313">
                  <c:v>41796</c:v>
                </c:pt>
                <c:pt idx="1314">
                  <c:v>41799</c:v>
                </c:pt>
                <c:pt idx="1315">
                  <c:v>41800</c:v>
                </c:pt>
                <c:pt idx="1316">
                  <c:v>41801</c:v>
                </c:pt>
                <c:pt idx="1317">
                  <c:v>41802</c:v>
                </c:pt>
                <c:pt idx="1318">
                  <c:v>41803</c:v>
                </c:pt>
                <c:pt idx="1319">
                  <c:v>41806</c:v>
                </c:pt>
                <c:pt idx="1320">
                  <c:v>41807</c:v>
                </c:pt>
                <c:pt idx="1321">
                  <c:v>41808</c:v>
                </c:pt>
                <c:pt idx="1322">
                  <c:v>41809</c:v>
                </c:pt>
                <c:pt idx="1323">
                  <c:v>41810</c:v>
                </c:pt>
                <c:pt idx="1324">
                  <c:v>41813</c:v>
                </c:pt>
                <c:pt idx="1325">
                  <c:v>41814</c:v>
                </c:pt>
                <c:pt idx="1326">
                  <c:v>41815</c:v>
                </c:pt>
                <c:pt idx="1327">
                  <c:v>41816</c:v>
                </c:pt>
                <c:pt idx="1328">
                  <c:v>41817</c:v>
                </c:pt>
                <c:pt idx="1329">
                  <c:v>41820</c:v>
                </c:pt>
                <c:pt idx="1330">
                  <c:v>41821</c:v>
                </c:pt>
                <c:pt idx="1331">
                  <c:v>41822</c:v>
                </c:pt>
                <c:pt idx="1332">
                  <c:v>41823</c:v>
                </c:pt>
                <c:pt idx="1333">
                  <c:v>41824</c:v>
                </c:pt>
                <c:pt idx="1334">
                  <c:v>41827</c:v>
                </c:pt>
                <c:pt idx="1335">
                  <c:v>41828</c:v>
                </c:pt>
                <c:pt idx="1336">
                  <c:v>41829</c:v>
                </c:pt>
                <c:pt idx="1337">
                  <c:v>41830</c:v>
                </c:pt>
                <c:pt idx="1338">
                  <c:v>41831</c:v>
                </c:pt>
                <c:pt idx="1339">
                  <c:v>41834</c:v>
                </c:pt>
                <c:pt idx="1340">
                  <c:v>41835</c:v>
                </c:pt>
                <c:pt idx="1341">
                  <c:v>41836</c:v>
                </c:pt>
                <c:pt idx="1342">
                  <c:v>41837</c:v>
                </c:pt>
                <c:pt idx="1343">
                  <c:v>41838</c:v>
                </c:pt>
                <c:pt idx="1344">
                  <c:v>41841</c:v>
                </c:pt>
                <c:pt idx="1345">
                  <c:v>41842</c:v>
                </c:pt>
                <c:pt idx="1346">
                  <c:v>41843</c:v>
                </c:pt>
                <c:pt idx="1347">
                  <c:v>41844</c:v>
                </c:pt>
                <c:pt idx="1348">
                  <c:v>41845</c:v>
                </c:pt>
                <c:pt idx="1349">
                  <c:v>41848</c:v>
                </c:pt>
                <c:pt idx="1350">
                  <c:v>41849</c:v>
                </c:pt>
                <c:pt idx="1351">
                  <c:v>41850</c:v>
                </c:pt>
                <c:pt idx="1352">
                  <c:v>41851</c:v>
                </c:pt>
                <c:pt idx="1353">
                  <c:v>41852</c:v>
                </c:pt>
                <c:pt idx="1354">
                  <c:v>41855</c:v>
                </c:pt>
                <c:pt idx="1355">
                  <c:v>41856</c:v>
                </c:pt>
                <c:pt idx="1356">
                  <c:v>41857</c:v>
                </c:pt>
                <c:pt idx="1357">
                  <c:v>41858</c:v>
                </c:pt>
                <c:pt idx="1358">
                  <c:v>41859</c:v>
                </c:pt>
                <c:pt idx="1359">
                  <c:v>41862</c:v>
                </c:pt>
                <c:pt idx="1360">
                  <c:v>41863</c:v>
                </c:pt>
                <c:pt idx="1361">
                  <c:v>41864</c:v>
                </c:pt>
                <c:pt idx="1362">
                  <c:v>41865</c:v>
                </c:pt>
                <c:pt idx="1363">
                  <c:v>41866</c:v>
                </c:pt>
                <c:pt idx="1364">
                  <c:v>41869</c:v>
                </c:pt>
                <c:pt idx="1365">
                  <c:v>41870</c:v>
                </c:pt>
                <c:pt idx="1366">
                  <c:v>41871</c:v>
                </c:pt>
                <c:pt idx="1367">
                  <c:v>41872</c:v>
                </c:pt>
                <c:pt idx="1368">
                  <c:v>41873</c:v>
                </c:pt>
                <c:pt idx="1369">
                  <c:v>41876</c:v>
                </c:pt>
                <c:pt idx="1370">
                  <c:v>41877</c:v>
                </c:pt>
                <c:pt idx="1371">
                  <c:v>41878</c:v>
                </c:pt>
                <c:pt idx="1372">
                  <c:v>41879</c:v>
                </c:pt>
                <c:pt idx="1373">
                  <c:v>41880</c:v>
                </c:pt>
                <c:pt idx="1374">
                  <c:v>41883</c:v>
                </c:pt>
                <c:pt idx="1375">
                  <c:v>41884</c:v>
                </c:pt>
                <c:pt idx="1376">
                  <c:v>41885</c:v>
                </c:pt>
                <c:pt idx="1377">
                  <c:v>41886</c:v>
                </c:pt>
                <c:pt idx="1378">
                  <c:v>41887</c:v>
                </c:pt>
                <c:pt idx="1379">
                  <c:v>41891</c:v>
                </c:pt>
                <c:pt idx="1380">
                  <c:v>41892</c:v>
                </c:pt>
                <c:pt idx="1381">
                  <c:v>41893</c:v>
                </c:pt>
                <c:pt idx="1382">
                  <c:v>41894</c:v>
                </c:pt>
                <c:pt idx="1383">
                  <c:v>41897</c:v>
                </c:pt>
                <c:pt idx="1384">
                  <c:v>41898</c:v>
                </c:pt>
                <c:pt idx="1385">
                  <c:v>41899</c:v>
                </c:pt>
                <c:pt idx="1386">
                  <c:v>41900</c:v>
                </c:pt>
                <c:pt idx="1387">
                  <c:v>41901</c:v>
                </c:pt>
                <c:pt idx="1388">
                  <c:v>41904</c:v>
                </c:pt>
                <c:pt idx="1389">
                  <c:v>41905</c:v>
                </c:pt>
                <c:pt idx="1390">
                  <c:v>41906</c:v>
                </c:pt>
                <c:pt idx="1391">
                  <c:v>41907</c:v>
                </c:pt>
                <c:pt idx="1392">
                  <c:v>41908</c:v>
                </c:pt>
                <c:pt idx="1393">
                  <c:v>41911</c:v>
                </c:pt>
                <c:pt idx="1394">
                  <c:v>41912</c:v>
                </c:pt>
                <c:pt idx="1395">
                  <c:v>41920</c:v>
                </c:pt>
                <c:pt idx="1396">
                  <c:v>41921</c:v>
                </c:pt>
                <c:pt idx="1397">
                  <c:v>41922</c:v>
                </c:pt>
                <c:pt idx="1398">
                  <c:v>41925</c:v>
                </c:pt>
                <c:pt idx="1399">
                  <c:v>41926</c:v>
                </c:pt>
                <c:pt idx="1400">
                  <c:v>41927</c:v>
                </c:pt>
                <c:pt idx="1401">
                  <c:v>41928</c:v>
                </c:pt>
                <c:pt idx="1402">
                  <c:v>41929</c:v>
                </c:pt>
                <c:pt idx="1403">
                  <c:v>41932</c:v>
                </c:pt>
                <c:pt idx="1404">
                  <c:v>41933</c:v>
                </c:pt>
                <c:pt idx="1405">
                  <c:v>41934</c:v>
                </c:pt>
                <c:pt idx="1406">
                  <c:v>41935</c:v>
                </c:pt>
                <c:pt idx="1407">
                  <c:v>41936</c:v>
                </c:pt>
                <c:pt idx="1408">
                  <c:v>41939</c:v>
                </c:pt>
                <c:pt idx="1409">
                  <c:v>41940</c:v>
                </c:pt>
                <c:pt idx="1410">
                  <c:v>41941</c:v>
                </c:pt>
                <c:pt idx="1411">
                  <c:v>41942</c:v>
                </c:pt>
                <c:pt idx="1412">
                  <c:v>41943</c:v>
                </c:pt>
                <c:pt idx="1413">
                  <c:v>41946</c:v>
                </c:pt>
                <c:pt idx="1414">
                  <c:v>41947</c:v>
                </c:pt>
                <c:pt idx="1415">
                  <c:v>41948</c:v>
                </c:pt>
                <c:pt idx="1416">
                  <c:v>41949</c:v>
                </c:pt>
                <c:pt idx="1417">
                  <c:v>41950</c:v>
                </c:pt>
                <c:pt idx="1418">
                  <c:v>41953</c:v>
                </c:pt>
                <c:pt idx="1419">
                  <c:v>41954</c:v>
                </c:pt>
                <c:pt idx="1420">
                  <c:v>41955</c:v>
                </c:pt>
                <c:pt idx="1421">
                  <c:v>41956</c:v>
                </c:pt>
                <c:pt idx="1422">
                  <c:v>41957</c:v>
                </c:pt>
                <c:pt idx="1423">
                  <c:v>41960</c:v>
                </c:pt>
                <c:pt idx="1424">
                  <c:v>41961</c:v>
                </c:pt>
                <c:pt idx="1425">
                  <c:v>41962</c:v>
                </c:pt>
                <c:pt idx="1426">
                  <c:v>41963</c:v>
                </c:pt>
                <c:pt idx="1427">
                  <c:v>41964</c:v>
                </c:pt>
                <c:pt idx="1428">
                  <c:v>41967</c:v>
                </c:pt>
                <c:pt idx="1429">
                  <c:v>41968</c:v>
                </c:pt>
                <c:pt idx="1430">
                  <c:v>41969</c:v>
                </c:pt>
                <c:pt idx="1431">
                  <c:v>41970</c:v>
                </c:pt>
                <c:pt idx="1432">
                  <c:v>41971</c:v>
                </c:pt>
                <c:pt idx="1433">
                  <c:v>41974</c:v>
                </c:pt>
                <c:pt idx="1434">
                  <c:v>41975</c:v>
                </c:pt>
                <c:pt idx="1435">
                  <c:v>41976</c:v>
                </c:pt>
                <c:pt idx="1436">
                  <c:v>41977</c:v>
                </c:pt>
                <c:pt idx="1437">
                  <c:v>41978</c:v>
                </c:pt>
                <c:pt idx="1438">
                  <c:v>41981</c:v>
                </c:pt>
                <c:pt idx="1439">
                  <c:v>41982</c:v>
                </c:pt>
                <c:pt idx="1440">
                  <c:v>41983</c:v>
                </c:pt>
                <c:pt idx="1441">
                  <c:v>41984</c:v>
                </c:pt>
                <c:pt idx="1442">
                  <c:v>41985</c:v>
                </c:pt>
                <c:pt idx="1443">
                  <c:v>41988</c:v>
                </c:pt>
                <c:pt idx="1444">
                  <c:v>41989</c:v>
                </c:pt>
                <c:pt idx="1445">
                  <c:v>41990</c:v>
                </c:pt>
                <c:pt idx="1446">
                  <c:v>41991</c:v>
                </c:pt>
                <c:pt idx="1447">
                  <c:v>41992</c:v>
                </c:pt>
                <c:pt idx="1448">
                  <c:v>41995</c:v>
                </c:pt>
                <c:pt idx="1449">
                  <c:v>41996</c:v>
                </c:pt>
                <c:pt idx="1450">
                  <c:v>41997</c:v>
                </c:pt>
                <c:pt idx="1451">
                  <c:v>41998</c:v>
                </c:pt>
                <c:pt idx="1452">
                  <c:v>41999</c:v>
                </c:pt>
                <c:pt idx="1453">
                  <c:v>42002</c:v>
                </c:pt>
                <c:pt idx="1454">
                  <c:v>42003</c:v>
                </c:pt>
                <c:pt idx="1455">
                  <c:v>42004</c:v>
                </c:pt>
                <c:pt idx="1456">
                  <c:v>42009</c:v>
                </c:pt>
                <c:pt idx="1457">
                  <c:v>42010</c:v>
                </c:pt>
                <c:pt idx="1458">
                  <c:v>42011</c:v>
                </c:pt>
                <c:pt idx="1459">
                  <c:v>42012</c:v>
                </c:pt>
                <c:pt idx="1460">
                  <c:v>42013</c:v>
                </c:pt>
                <c:pt idx="1461">
                  <c:v>42016</c:v>
                </c:pt>
                <c:pt idx="1462">
                  <c:v>42017</c:v>
                </c:pt>
                <c:pt idx="1463">
                  <c:v>42018</c:v>
                </c:pt>
                <c:pt idx="1464">
                  <c:v>42019</c:v>
                </c:pt>
                <c:pt idx="1465">
                  <c:v>42020</c:v>
                </c:pt>
                <c:pt idx="1466">
                  <c:v>42023</c:v>
                </c:pt>
                <c:pt idx="1467">
                  <c:v>42024</c:v>
                </c:pt>
                <c:pt idx="1468">
                  <c:v>42025</c:v>
                </c:pt>
                <c:pt idx="1469">
                  <c:v>42026</c:v>
                </c:pt>
                <c:pt idx="1470">
                  <c:v>42027</c:v>
                </c:pt>
                <c:pt idx="1471">
                  <c:v>42030</c:v>
                </c:pt>
                <c:pt idx="1472">
                  <c:v>42031</c:v>
                </c:pt>
                <c:pt idx="1473">
                  <c:v>42032</c:v>
                </c:pt>
                <c:pt idx="1474">
                  <c:v>42033</c:v>
                </c:pt>
                <c:pt idx="1475">
                  <c:v>42034</c:v>
                </c:pt>
                <c:pt idx="1476">
                  <c:v>42037</c:v>
                </c:pt>
                <c:pt idx="1477">
                  <c:v>42038</c:v>
                </c:pt>
                <c:pt idx="1478">
                  <c:v>42039</c:v>
                </c:pt>
                <c:pt idx="1479">
                  <c:v>42040</c:v>
                </c:pt>
                <c:pt idx="1480">
                  <c:v>42041</c:v>
                </c:pt>
                <c:pt idx="1481">
                  <c:v>42044</c:v>
                </c:pt>
                <c:pt idx="1482">
                  <c:v>42045</c:v>
                </c:pt>
                <c:pt idx="1483">
                  <c:v>42046</c:v>
                </c:pt>
                <c:pt idx="1484">
                  <c:v>42047</c:v>
                </c:pt>
                <c:pt idx="1485">
                  <c:v>42048</c:v>
                </c:pt>
                <c:pt idx="1486">
                  <c:v>42051</c:v>
                </c:pt>
                <c:pt idx="1487">
                  <c:v>42052</c:v>
                </c:pt>
                <c:pt idx="1488">
                  <c:v>42060</c:v>
                </c:pt>
                <c:pt idx="1489">
                  <c:v>42061</c:v>
                </c:pt>
                <c:pt idx="1490">
                  <c:v>42062</c:v>
                </c:pt>
                <c:pt idx="1491">
                  <c:v>42065</c:v>
                </c:pt>
                <c:pt idx="1492">
                  <c:v>42066</c:v>
                </c:pt>
                <c:pt idx="1493">
                  <c:v>42067</c:v>
                </c:pt>
                <c:pt idx="1494">
                  <c:v>42068</c:v>
                </c:pt>
                <c:pt idx="1495">
                  <c:v>42069</c:v>
                </c:pt>
                <c:pt idx="1496">
                  <c:v>42072</c:v>
                </c:pt>
                <c:pt idx="1497">
                  <c:v>42073</c:v>
                </c:pt>
                <c:pt idx="1498">
                  <c:v>42074</c:v>
                </c:pt>
                <c:pt idx="1499">
                  <c:v>42075</c:v>
                </c:pt>
                <c:pt idx="1500">
                  <c:v>42076</c:v>
                </c:pt>
                <c:pt idx="1501">
                  <c:v>42079</c:v>
                </c:pt>
                <c:pt idx="1502">
                  <c:v>42080</c:v>
                </c:pt>
                <c:pt idx="1503">
                  <c:v>42081</c:v>
                </c:pt>
                <c:pt idx="1504">
                  <c:v>42082</c:v>
                </c:pt>
                <c:pt idx="1505">
                  <c:v>42083</c:v>
                </c:pt>
                <c:pt idx="1506">
                  <c:v>42086</c:v>
                </c:pt>
                <c:pt idx="1507">
                  <c:v>42087</c:v>
                </c:pt>
                <c:pt idx="1508">
                  <c:v>42088</c:v>
                </c:pt>
                <c:pt idx="1509">
                  <c:v>42089</c:v>
                </c:pt>
                <c:pt idx="1510">
                  <c:v>42090</c:v>
                </c:pt>
                <c:pt idx="1511">
                  <c:v>42093</c:v>
                </c:pt>
                <c:pt idx="1512">
                  <c:v>42094</c:v>
                </c:pt>
                <c:pt idx="1513">
                  <c:v>42095</c:v>
                </c:pt>
                <c:pt idx="1514">
                  <c:v>42096</c:v>
                </c:pt>
                <c:pt idx="1515">
                  <c:v>42097</c:v>
                </c:pt>
                <c:pt idx="1516">
                  <c:v>42101</c:v>
                </c:pt>
                <c:pt idx="1517">
                  <c:v>42102</c:v>
                </c:pt>
                <c:pt idx="1518">
                  <c:v>42103</c:v>
                </c:pt>
                <c:pt idx="1519">
                  <c:v>42104</c:v>
                </c:pt>
                <c:pt idx="1520">
                  <c:v>42107</c:v>
                </c:pt>
                <c:pt idx="1521">
                  <c:v>42108</c:v>
                </c:pt>
                <c:pt idx="1522">
                  <c:v>42109</c:v>
                </c:pt>
                <c:pt idx="1523">
                  <c:v>42110</c:v>
                </c:pt>
                <c:pt idx="1524">
                  <c:v>42111</c:v>
                </c:pt>
                <c:pt idx="1525">
                  <c:v>42114</c:v>
                </c:pt>
                <c:pt idx="1526">
                  <c:v>42115</c:v>
                </c:pt>
                <c:pt idx="1527">
                  <c:v>42116</c:v>
                </c:pt>
                <c:pt idx="1528">
                  <c:v>42117</c:v>
                </c:pt>
                <c:pt idx="1529">
                  <c:v>42118</c:v>
                </c:pt>
                <c:pt idx="1530">
                  <c:v>42121</c:v>
                </c:pt>
                <c:pt idx="1531">
                  <c:v>42122</c:v>
                </c:pt>
                <c:pt idx="1532">
                  <c:v>42123</c:v>
                </c:pt>
                <c:pt idx="1533">
                  <c:v>42124</c:v>
                </c:pt>
                <c:pt idx="1534">
                  <c:v>42128</c:v>
                </c:pt>
                <c:pt idx="1535">
                  <c:v>42129</c:v>
                </c:pt>
                <c:pt idx="1536">
                  <c:v>42130</c:v>
                </c:pt>
                <c:pt idx="1537">
                  <c:v>42131</c:v>
                </c:pt>
                <c:pt idx="1538">
                  <c:v>42132</c:v>
                </c:pt>
                <c:pt idx="1539">
                  <c:v>42135</c:v>
                </c:pt>
                <c:pt idx="1540">
                  <c:v>42136</c:v>
                </c:pt>
                <c:pt idx="1541">
                  <c:v>42137</c:v>
                </c:pt>
                <c:pt idx="1542">
                  <c:v>42138</c:v>
                </c:pt>
                <c:pt idx="1543">
                  <c:v>42139</c:v>
                </c:pt>
                <c:pt idx="1544">
                  <c:v>42142</c:v>
                </c:pt>
                <c:pt idx="1545">
                  <c:v>42143</c:v>
                </c:pt>
                <c:pt idx="1546">
                  <c:v>42144</c:v>
                </c:pt>
                <c:pt idx="1547">
                  <c:v>42145</c:v>
                </c:pt>
                <c:pt idx="1548">
                  <c:v>42146</c:v>
                </c:pt>
                <c:pt idx="1549">
                  <c:v>42149</c:v>
                </c:pt>
                <c:pt idx="1550">
                  <c:v>42150</c:v>
                </c:pt>
                <c:pt idx="1551">
                  <c:v>42151</c:v>
                </c:pt>
                <c:pt idx="1552">
                  <c:v>42152</c:v>
                </c:pt>
                <c:pt idx="1553">
                  <c:v>42153</c:v>
                </c:pt>
                <c:pt idx="1554">
                  <c:v>42156</c:v>
                </c:pt>
                <c:pt idx="1555">
                  <c:v>42157</c:v>
                </c:pt>
                <c:pt idx="1556">
                  <c:v>42158</c:v>
                </c:pt>
                <c:pt idx="1557">
                  <c:v>42159</c:v>
                </c:pt>
                <c:pt idx="1558">
                  <c:v>42160</c:v>
                </c:pt>
                <c:pt idx="1559">
                  <c:v>42163</c:v>
                </c:pt>
                <c:pt idx="1560">
                  <c:v>42164</c:v>
                </c:pt>
                <c:pt idx="1561">
                  <c:v>42165</c:v>
                </c:pt>
                <c:pt idx="1562">
                  <c:v>42166</c:v>
                </c:pt>
                <c:pt idx="1563">
                  <c:v>42167</c:v>
                </c:pt>
                <c:pt idx="1564">
                  <c:v>42170</c:v>
                </c:pt>
                <c:pt idx="1565">
                  <c:v>42171</c:v>
                </c:pt>
                <c:pt idx="1566">
                  <c:v>42172</c:v>
                </c:pt>
                <c:pt idx="1567">
                  <c:v>42173</c:v>
                </c:pt>
                <c:pt idx="1568">
                  <c:v>42174</c:v>
                </c:pt>
                <c:pt idx="1569">
                  <c:v>42178</c:v>
                </c:pt>
                <c:pt idx="1570">
                  <c:v>42179</c:v>
                </c:pt>
                <c:pt idx="1571">
                  <c:v>42180</c:v>
                </c:pt>
                <c:pt idx="1572">
                  <c:v>42181</c:v>
                </c:pt>
                <c:pt idx="1573">
                  <c:v>42184</c:v>
                </c:pt>
                <c:pt idx="1574">
                  <c:v>42185</c:v>
                </c:pt>
                <c:pt idx="1575">
                  <c:v>42186</c:v>
                </c:pt>
                <c:pt idx="1576">
                  <c:v>42187</c:v>
                </c:pt>
                <c:pt idx="1577">
                  <c:v>42188</c:v>
                </c:pt>
                <c:pt idx="1578">
                  <c:v>42191</c:v>
                </c:pt>
                <c:pt idx="1579">
                  <c:v>42192</c:v>
                </c:pt>
                <c:pt idx="1580">
                  <c:v>42193</c:v>
                </c:pt>
                <c:pt idx="1581">
                  <c:v>42194</c:v>
                </c:pt>
                <c:pt idx="1582">
                  <c:v>42195</c:v>
                </c:pt>
                <c:pt idx="1583">
                  <c:v>42198</c:v>
                </c:pt>
                <c:pt idx="1584">
                  <c:v>42199</c:v>
                </c:pt>
                <c:pt idx="1585">
                  <c:v>42200</c:v>
                </c:pt>
                <c:pt idx="1586">
                  <c:v>42201</c:v>
                </c:pt>
                <c:pt idx="1587">
                  <c:v>42202</c:v>
                </c:pt>
                <c:pt idx="1588">
                  <c:v>42205</c:v>
                </c:pt>
                <c:pt idx="1589">
                  <c:v>42206</c:v>
                </c:pt>
                <c:pt idx="1590">
                  <c:v>42207</c:v>
                </c:pt>
                <c:pt idx="1591">
                  <c:v>42208</c:v>
                </c:pt>
                <c:pt idx="1592">
                  <c:v>42209</c:v>
                </c:pt>
                <c:pt idx="1593">
                  <c:v>42212</c:v>
                </c:pt>
                <c:pt idx="1594">
                  <c:v>42213</c:v>
                </c:pt>
                <c:pt idx="1595">
                  <c:v>42214</c:v>
                </c:pt>
                <c:pt idx="1596">
                  <c:v>42215</c:v>
                </c:pt>
                <c:pt idx="1597">
                  <c:v>42216</c:v>
                </c:pt>
                <c:pt idx="1598">
                  <c:v>42219</c:v>
                </c:pt>
                <c:pt idx="1599">
                  <c:v>42220</c:v>
                </c:pt>
                <c:pt idx="1600">
                  <c:v>42221</c:v>
                </c:pt>
                <c:pt idx="1601">
                  <c:v>42222</c:v>
                </c:pt>
                <c:pt idx="1602">
                  <c:v>42223</c:v>
                </c:pt>
                <c:pt idx="1603">
                  <c:v>42226</c:v>
                </c:pt>
                <c:pt idx="1604">
                  <c:v>42227</c:v>
                </c:pt>
                <c:pt idx="1605">
                  <c:v>42228</c:v>
                </c:pt>
                <c:pt idx="1606">
                  <c:v>42229</c:v>
                </c:pt>
                <c:pt idx="1607">
                  <c:v>42230</c:v>
                </c:pt>
                <c:pt idx="1608">
                  <c:v>42233</c:v>
                </c:pt>
                <c:pt idx="1609">
                  <c:v>42234</c:v>
                </c:pt>
                <c:pt idx="1610">
                  <c:v>42235</c:v>
                </c:pt>
                <c:pt idx="1611">
                  <c:v>42236</c:v>
                </c:pt>
                <c:pt idx="1612">
                  <c:v>42237</c:v>
                </c:pt>
                <c:pt idx="1613">
                  <c:v>42240</c:v>
                </c:pt>
                <c:pt idx="1614">
                  <c:v>42241</c:v>
                </c:pt>
                <c:pt idx="1615">
                  <c:v>42242</c:v>
                </c:pt>
                <c:pt idx="1616">
                  <c:v>42243</c:v>
                </c:pt>
                <c:pt idx="1617">
                  <c:v>42244</c:v>
                </c:pt>
                <c:pt idx="1618">
                  <c:v>42247</c:v>
                </c:pt>
                <c:pt idx="1619">
                  <c:v>42248</c:v>
                </c:pt>
                <c:pt idx="1620">
                  <c:v>42249</c:v>
                </c:pt>
                <c:pt idx="1621">
                  <c:v>42254</c:v>
                </c:pt>
                <c:pt idx="1622">
                  <c:v>42255</c:v>
                </c:pt>
                <c:pt idx="1623">
                  <c:v>42256</c:v>
                </c:pt>
                <c:pt idx="1624">
                  <c:v>42257</c:v>
                </c:pt>
                <c:pt idx="1625">
                  <c:v>42258</c:v>
                </c:pt>
                <c:pt idx="1626">
                  <c:v>42261</c:v>
                </c:pt>
                <c:pt idx="1627">
                  <c:v>42262</c:v>
                </c:pt>
                <c:pt idx="1628">
                  <c:v>42263</c:v>
                </c:pt>
                <c:pt idx="1629">
                  <c:v>42264</c:v>
                </c:pt>
                <c:pt idx="1630">
                  <c:v>42265</c:v>
                </c:pt>
                <c:pt idx="1631">
                  <c:v>42268</c:v>
                </c:pt>
                <c:pt idx="1632">
                  <c:v>42269</c:v>
                </c:pt>
                <c:pt idx="1633">
                  <c:v>42270</c:v>
                </c:pt>
                <c:pt idx="1634">
                  <c:v>42271</c:v>
                </c:pt>
                <c:pt idx="1635">
                  <c:v>42272</c:v>
                </c:pt>
                <c:pt idx="1636">
                  <c:v>42275</c:v>
                </c:pt>
                <c:pt idx="1637">
                  <c:v>42276</c:v>
                </c:pt>
                <c:pt idx="1638">
                  <c:v>42277</c:v>
                </c:pt>
                <c:pt idx="1639">
                  <c:v>42285</c:v>
                </c:pt>
                <c:pt idx="1640">
                  <c:v>42286</c:v>
                </c:pt>
                <c:pt idx="1641">
                  <c:v>42289</c:v>
                </c:pt>
                <c:pt idx="1642">
                  <c:v>42290</c:v>
                </c:pt>
                <c:pt idx="1643">
                  <c:v>42291</c:v>
                </c:pt>
                <c:pt idx="1644">
                  <c:v>42292</c:v>
                </c:pt>
                <c:pt idx="1645">
                  <c:v>42293</c:v>
                </c:pt>
                <c:pt idx="1646">
                  <c:v>42296</c:v>
                </c:pt>
                <c:pt idx="1647">
                  <c:v>42297</c:v>
                </c:pt>
                <c:pt idx="1648">
                  <c:v>42298</c:v>
                </c:pt>
                <c:pt idx="1649">
                  <c:v>42299</c:v>
                </c:pt>
                <c:pt idx="1650">
                  <c:v>42300</c:v>
                </c:pt>
                <c:pt idx="1651">
                  <c:v>42303</c:v>
                </c:pt>
                <c:pt idx="1652">
                  <c:v>42304</c:v>
                </c:pt>
                <c:pt idx="1653">
                  <c:v>42305</c:v>
                </c:pt>
                <c:pt idx="1654">
                  <c:v>42306</c:v>
                </c:pt>
                <c:pt idx="1655">
                  <c:v>42307</c:v>
                </c:pt>
                <c:pt idx="1656">
                  <c:v>42310</c:v>
                </c:pt>
                <c:pt idx="1657">
                  <c:v>42311</c:v>
                </c:pt>
                <c:pt idx="1658">
                  <c:v>42312</c:v>
                </c:pt>
                <c:pt idx="1659">
                  <c:v>42313</c:v>
                </c:pt>
                <c:pt idx="1660">
                  <c:v>42314</c:v>
                </c:pt>
                <c:pt idx="1661">
                  <c:v>42317</c:v>
                </c:pt>
                <c:pt idx="1662">
                  <c:v>42318</c:v>
                </c:pt>
                <c:pt idx="1663">
                  <c:v>42319</c:v>
                </c:pt>
                <c:pt idx="1664">
                  <c:v>42320</c:v>
                </c:pt>
                <c:pt idx="1665">
                  <c:v>42321</c:v>
                </c:pt>
                <c:pt idx="1666">
                  <c:v>42324</c:v>
                </c:pt>
                <c:pt idx="1667">
                  <c:v>42325</c:v>
                </c:pt>
                <c:pt idx="1668">
                  <c:v>42326</c:v>
                </c:pt>
                <c:pt idx="1669">
                  <c:v>42327</c:v>
                </c:pt>
                <c:pt idx="1670">
                  <c:v>42328</c:v>
                </c:pt>
                <c:pt idx="1671">
                  <c:v>42331</c:v>
                </c:pt>
                <c:pt idx="1672">
                  <c:v>42332</c:v>
                </c:pt>
                <c:pt idx="1673">
                  <c:v>42333</c:v>
                </c:pt>
                <c:pt idx="1674">
                  <c:v>42334</c:v>
                </c:pt>
                <c:pt idx="1675">
                  <c:v>42335</c:v>
                </c:pt>
                <c:pt idx="1676">
                  <c:v>42338</c:v>
                </c:pt>
                <c:pt idx="1677">
                  <c:v>42339</c:v>
                </c:pt>
                <c:pt idx="1678">
                  <c:v>42340</c:v>
                </c:pt>
                <c:pt idx="1679">
                  <c:v>42341</c:v>
                </c:pt>
                <c:pt idx="1680">
                  <c:v>42342</c:v>
                </c:pt>
                <c:pt idx="1681">
                  <c:v>42345</c:v>
                </c:pt>
                <c:pt idx="1682">
                  <c:v>42346</c:v>
                </c:pt>
                <c:pt idx="1683">
                  <c:v>42347</c:v>
                </c:pt>
                <c:pt idx="1684">
                  <c:v>42348</c:v>
                </c:pt>
                <c:pt idx="1685">
                  <c:v>42349</c:v>
                </c:pt>
                <c:pt idx="1686">
                  <c:v>42352</c:v>
                </c:pt>
                <c:pt idx="1687">
                  <c:v>42353</c:v>
                </c:pt>
                <c:pt idx="1688">
                  <c:v>42354</c:v>
                </c:pt>
                <c:pt idx="1689">
                  <c:v>42355</c:v>
                </c:pt>
                <c:pt idx="1690">
                  <c:v>42356</c:v>
                </c:pt>
                <c:pt idx="1691">
                  <c:v>42359</c:v>
                </c:pt>
                <c:pt idx="1692">
                  <c:v>42360</c:v>
                </c:pt>
                <c:pt idx="1693">
                  <c:v>42361</c:v>
                </c:pt>
                <c:pt idx="1694">
                  <c:v>42362</c:v>
                </c:pt>
                <c:pt idx="1695">
                  <c:v>42363</c:v>
                </c:pt>
                <c:pt idx="1696">
                  <c:v>42366</c:v>
                </c:pt>
                <c:pt idx="1697">
                  <c:v>42367</c:v>
                </c:pt>
                <c:pt idx="1698">
                  <c:v>42368</c:v>
                </c:pt>
                <c:pt idx="1699">
                  <c:v>42369</c:v>
                </c:pt>
                <c:pt idx="1700">
                  <c:v>42373</c:v>
                </c:pt>
                <c:pt idx="1701">
                  <c:v>42374</c:v>
                </c:pt>
                <c:pt idx="1702">
                  <c:v>42375</c:v>
                </c:pt>
                <c:pt idx="1703">
                  <c:v>42376</c:v>
                </c:pt>
                <c:pt idx="1704">
                  <c:v>42377</c:v>
                </c:pt>
                <c:pt idx="1705">
                  <c:v>42380</c:v>
                </c:pt>
                <c:pt idx="1706">
                  <c:v>42381</c:v>
                </c:pt>
                <c:pt idx="1707">
                  <c:v>42382</c:v>
                </c:pt>
                <c:pt idx="1708">
                  <c:v>42383</c:v>
                </c:pt>
                <c:pt idx="1709">
                  <c:v>42384</c:v>
                </c:pt>
                <c:pt idx="1710">
                  <c:v>42387</c:v>
                </c:pt>
                <c:pt idx="1711">
                  <c:v>42388</c:v>
                </c:pt>
                <c:pt idx="1712">
                  <c:v>42389</c:v>
                </c:pt>
                <c:pt idx="1713">
                  <c:v>42390</c:v>
                </c:pt>
                <c:pt idx="1714">
                  <c:v>42391</c:v>
                </c:pt>
                <c:pt idx="1715">
                  <c:v>42394</c:v>
                </c:pt>
                <c:pt idx="1716">
                  <c:v>42395</c:v>
                </c:pt>
                <c:pt idx="1717">
                  <c:v>42396</c:v>
                </c:pt>
                <c:pt idx="1718">
                  <c:v>42397</c:v>
                </c:pt>
                <c:pt idx="1719">
                  <c:v>42398</c:v>
                </c:pt>
                <c:pt idx="1720">
                  <c:v>42401</c:v>
                </c:pt>
                <c:pt idx="1721">
                  <c:v>42402</c:v>
                </c:pt>
                <c:pt idx="1722">
                  <c:v>42403</c:v>
                </c:pt>
                <c:pt idx="1723">
                  <c:v>42404</c:v>
                </c:pt>
                <c:pt idx="1724">
                  <c:v>42405</c:v>
                </c:pt>
                <c:pt idx="1725">
                  <c:v>42415</c:v>
                </c:pt>
                <c:pt idx="1726">
                  <c:v>42416</c:v>
                </c:pt>
                <c:pt idx="1727">
                  <c:v>42417</c:v>
                </c:pt>
                <c:pt idx="1728">
                  <c:v>42418</c:v>
                </c:pt>
                <c:pt idx="1729">
                  <c:v>42419</c:v>
                </c:pt>
                <c:pt idx="1730">
                  <c:v>42422</c:v>
                </c:pt>
                <c:pt idx="1731">
                  <c:v>42423</c:v>
                </c:pt>
                <c:pt idx="1732">
                  <c:v>42424</c:v>
                </c:pt>
                <c:pt idx="1733">
                  <c:v>42425</c:v>
                </c:pt>
                <c:pt idx="1734">
                  <c:v>42426</c:v>
                </c:pt>
                <c:pt idx="1735">
                  <c:v>42429</c:v>
                </c:pt>
                <c:pt idx="1736">
                  <c:v>42430</c:v>
                </c:pt>
                <c:pt idx="1737">
                  <c:v>42431</c:v>
                </c:pt>
                <c:pt idx="1738">
                  <c:v>42432</c:v>
                </c:pt>
                <c:pt idx="1739">
                  <c:v>42433</c:v>
                </c:pt>
                <c:pt idx="1740">
                  <c:v>42436</c:v>
                </c:pt>
                <c:pt idx="1741">
                  <c:v>42437</c:v>
                </c:pt>
                <c:pt idx="1742">
                  <c:v>42438</c:v>
                </c:pt>
                <c:pt idx="1743">
                  <c:v>42439</c:v>
                </c:pt>
                <c:pt idx="1744">
                  <c:v>42440</c:v>
                </c:pt>
                <c:pt idx="1745">
                  <c:v>42443</c:v>
                </c:pt>
                <c:pt idx="1746">
                  <c:v>42444</c:v>
                </c:pt>
                <c:pt idx="1747">
                  <c:v>42445</c:v>
                </c:pt>
                <c:pt idx="1748">
                  <c:v>42446</c:v>
                </c:pt>
                <c:pt idx="1749">
                  <c:v>42447</c:v>
                </c:pt>
                <c:pt idx="1750">
                  <c:v>42450</c:v>
                </c:pt>
                <c:pt idx="1751">
                  <c:v>42451</c:v>
                </c:pt>
                <c:pt idx="1752">
                  <c:v>42452</c:v>
                </c:pt>
                <c:pt idx="1753">
                  <c:v>42453</c:v>
                </c:pt>
                <c:pt idx="1754">
                  <c:v>42454</c:v>
                </c:pt>
                <c:pt idx="1755">
                  <c:v>42457</c:v>
                </c:pt>
                <c:pt idx="1756">
                  <c:v>42458</c:v>
                </c:pt>
                <c:pt idx="1757">
                  <c:v>42459</c:v>
                </c:pt>
                <c:pt idx="1758">
                  <c:v>42460</c:v>
                </c:pt>
                <c:pt idx="1759">
                  <c:v>42461</c:v>
                </c:pt>
                <c:pt idx="1760">
                  <c:v>42465</c:v>
                </c:pt>
                <c:pt idx="1761">
                  <c:v>42466</c:v>
                </c:pt>
                <c:pt idx="1762">
                  <c:v>42467</c:v>
                </c:pt>
                <c:pt idx="1763">
                  <c:v>42468</c:v>
                </c:pt>
                <c:pt idx="1764">
                  <c:v>42471</c:v>
                </c:pt>
                <c:pt idx="1765">
                  <c:v>42472</c:v>
                </c:pt>
                <c:pt idx="1766">
                  <c:v>42473</c:v>
                </c:pt>
                <c:pt idx="1767">
                  <c:v>42474</c:v>
                </c:pt>
                <c:pt idx="1768">
                  <c:v>42475</c:v>
                </c:pt>
                <c:pt idx="1769">
                  <c:v>42478</c:v>
                </c:pt>
                <c:pt idx="1770">
                  <c:v>42479</c:v>
                </c:pt>
                <c:pt idx="1771">
                  <c:v>42480</c:v>
                </c:pt>
                <c:pt idx="1772">
                  <c:v>42481</c:v>
                </c:pt>
                <c:pt idx="1773">
                  <c:v>42482</c:v>
                </c:pt>
                <c:pt idx="1774">
                  <c:v>42485</c:v>
                </c:pt>
                <c:pt idx="1775">
                  <c:v>42486</c:v>
                </c:pt>
                <c:pt idx="1776">
                  <c:v>42487</c:v>
                </c:pt>
                <c:pt idx="1777">
                  <c:v>42488</c:v>
                </c:pt>
                <c:pt idx="1778">
                  <c:v>42489</c:v>
                </c:pt>
                <c:pt idx="1779">
                  <c:v>42493</c:v>
                </c:pt>
                <c:pt idx="1780">
                  <c:v>42494</c:v>
                </c:pt>
                <c:pt idx="1781">
                  <c:v>42495</c:v>
                </c:pt>
                <c:pt idx="1782">
                  <c:v>42496</c:v>
                </c:pt>
                <c:pt idx="1783">
                  <c:v>42499</c:v>
                </c:pt>
                <c:pt idx="1784">
                  <c:v>42500</c:v>
                </c:pt>
                <c:pt idx="1785">
                  <c:v>42501</c:v>
                </c:pt>
                <c:pt idx="1786">
                  <c:v>42502</c:v>
                </c:pt>
                <c:pt idx="1787">
                  <c:v>42503</c:v>
                </c:pt>
                <c:pt idx="1788">
                  <c:v>42506</c:v>
                </c:pt>
                <c:pt idx="1789">
                  <c:v>42507</c:v>
                </c:pt>
                <c:pt idx="1790">
                  <c:v>42508</c:v>
                </c:pt>
                <c:pt idx="1791">
                  <c:v>42509</c:v>
                </c:pt>
                <c:pt idx="1792">
                  <c:v>42510</c:v>
                </c:pt>
                <c:pt idx="1793">
                  <c:v>42513</c:v>
                </c:pt>
                <c:pt idx="1794">
                  <c:v>42514</c:v>
                </c:pt>
                <c:pt idx="1795">
                  <c:v>42515</c:v>
                </c:pt>
                <c:pt idx="1796">
                  <c:v>42516</c:v>
                </c:pt>
                <c:pt idx="1797">
                  <c:v>42517</c:v>
                </c:pt>
                <c:pt idx="1798">
                  <c:v>42520</c:v>
                </c:pt>
                <c:pt idx="1799">
                  <c:v>42521</c:v>
                </c:pt>
                <c:pt idx="1800">
                  <c:v>42522</c:v>
                </c:pt>
                <c:pt idx="1801">
                  <c:v>42523</c:v>
                </c:pt>
                <c:pt idx="1802">
                  <c:v>42524</c:v>
                </c:pt>
                <c:pt idx="1803">
                  <c:v>42527</c:v>
                </c:pt>
                <c:pt idx="1804">
                  <c:v>42528</c:v>
                </c:pt>
                <c:pt idx="1805">
                  <c:v>42529</c:v>
                </c:pt>
                <c:pt idx="1806">
                  <c:v>42534</c:v>
                </c:pt>
                <c:pt idx="1807">
                  <c:v>42535</c:v>
                </c:pt>
                <c:pt idx="1808">
                  <c:v>42536</c:v>
                </c:pt>
                <c:pt idx="1809">
                  <c:v>42537</c:v>
                </c:pt>
                <c:pt idx="1810">
                  <c:v>42538</c:v>
                </c:pt>
                <c:pt idx="1811">
                  <c:v>42541</c:v>
                </c:pt>
                <c:pt idx="1812">
                  <c:v>42542</c:v>
                </c:pt>
                <c:pt idx="1813">
                  <c:v>42543</c:v>
                </c:pt>
                <c:pt idx="1814">
                  <c:v>42544</c:v>
                </c:pt>
                <c:pt idx="1815">
                  <c:v>42545</c:v>
                </c:pt>
                <c:pt idx="1816">
                  <c:v>42548</c:v>
                </c:pt>
                <c:pt idx="1817">
                  <c:v>42549</c:v>
                </c:pt>
                <c:pt idx="1818">
                  <c:v>42550</c:v>
                </c:pt>
                <c:pt idx="1819">
                  <c:v>42551</c:v>
                </c:pt>
                <c:pt idx="1820">
                  <c:v>42552</c:v>
                </c:pt>
                <c:pt idx="1821">
                  <c:v>42555</c:v>
                </c:pt>
                <c:pt idx="1822">
                  <c:v>42556</c:v>
                </c:pt>
                <c:pt idx="1823">
                  <c:v>42557</c:v>
                </c:pt>
                <c:pt idx="1824">
                  <c:v>42558</c:v>
                </c:pt>
                <c:pt idx="1825">
                  <c:v>42559</c:v>
                </c:pt>
                <c:pt idx="1826">
                  <c:v>42562</c:v>
                </c:pt>
                <c:pt idx="1827">
                  <c:v>42563</c:v>
                </c:pt>
                <c:pt idx="1828">
                  <c:v>42564</c:v>
                </c:pt>
                <c:pt idx="1829">
                  <c:v>42565</c:v>
                </c:pt>
                <c:pt idx="1830">
                  <c:v>42566</c:v>
                </c:pt>
                <c:pt idx="1831">
                  <c:v>42569</c:v>
                </c:pt>
                <c:pt idx="1832">
                  <c:v>42570</c:v>
                </c:pt>
                <c:pt idx="1833">
                  <c:v>42571</c:v>
                </c:pt>
                <c:pt idx="1834">
                  <c:v>42572</c:v>
                </c:pt>
                <c:pt idx="1835">
                  <c:v>42573</c:v>
                </c:pt>
                <c:pt idx="1836">
                  <c:v>42576</c:v>
                </c:pt>
                <c:pt idx="1837">
                  <c:v>42577</c:v>
                </c:pt>
                <c:pt idx="1838">
                  <c:v>42578</c:v>
                </c:pt>
                <c:pt idx="1839">
                  <c:v>42579</c:v>
                </c:pt>
                <c:pt idx="1840">
                  <c:v>42580</c:v>
                </c:pt>
                <c:pt idx="1841">
                  <c:v>42583</c:v>
                </c:pt>
                <c:pt idx="1842">
                  <c:v>42584</c:v>
                </c:pt>
                <c:pt idx="1843">
                  <c:v>42585</c:v>
                </c:pt>
                <c:pt idx="1844">
                  <c:v>42586</c:v>
                </c:pt>
                <c:pt idx="1845">
                  <c:v>42587</c:v>
                </c:pt>
                <c:pt idx="1846">
                  <c:v>42590</c:v>
                </c:pt>
                <c:pt idx="1847">
                  <c:v>42591</c:v>
                </c:pt>
                <c:pt idx="1848">
                  <c:v>42592</c:v>
                </c:pt>
                <c:pt idx="1849">
                  <c:v>42593</c:v>
                </c:pt>
                <c:pt idx="1850">
                  <c:v>42594</c:v>
                </c:pt>
                <c:pt idx="1851">
                  <c:v>42597</c:v>
                </c:pt>
                <c:pt idx="1852">
                  <c:v>42598</c:v>
                </c:pt>
                <c:pt idx="1853">
                  <c:v>42599</c:v>
                </c:pt>
                <c:pt idx="1854">
                  <c:v>42600</c:v>
                </c:pt>
                <c:pt idx="1855">
                  <c:v>42601</c:v>
                </c:pt>
                <c:pt idx="1856">
                  <c:v>42604</c:v>
                </c:pt>
                <c:pt idx="1857">
                  <c:v>42605</c:v>
                </c:pt>
                <c:pt idx="1858">
                  <c:v>42606</c:v>
                </c:pt>
                <c:pt idx="1859">
                  <c:v>42607</c:v>
                </c:pt>
                <c:pt idx="1860">
                  <c:v>42608</c:v>
                </c:pt>
                <c:pt idx="1861">
                  <c:v>42611</c:v>
                </c:pt>
                <c:pt idx="1862">
                  <c:v>42612</c:v>
                </c:pt>
                <c:pt idx="1863">
                  <c:v>42613</c:v>
                </c:pt>
                <c:pt idx="1864">
                  <c:v>42614</c:v>
                </c:pt>
                <c:pt idx="1865">
                  <c:v>42615</c:v>
                </c:pt>
                <c:pt idx="1866">
                  <c:v>42618</c:v>
                </c:pt>
                <c:pt idx="1867">
                  <c:v>42619</c:v>
                </c:pt>
                <c:pt idx="1868">
                  <c:v>42620</c:v>
                </c:pt>
                <c:pt idx="1869">
                  <c:v>42621</c:v>
                </c:pt>
                <c:pt idx="1870">
                  <c:v>42622</c:v>
                </c:pt>
                <c:pt idx="1871">
                  <c:v>42625</c:v>
                </c:pt>
                <c:pt idx="1872">
                  <c:v>42626</c:v>
                </c:pt>
                <c:pt idx="1873">
                  <c:v>42627</c:v>
                </c:pt>
                <c:pt idx="1874">
                  <c:v>42632</c:v>
                </c:pt>
                <c:pt idx="1875">
                  <c:v>42633</c:v>
                </c:pt>
                <c:pt idx="1876">
                  <c:v>42634</c:v>
                </c:pt>
                <c:pt idx="1877">
                  <c:v>42635</c:v>
                </c:pt>
                <c:pt idx="1878">
                  <c:v>42636</c:v>
                </c:pt>
                <c:pt idx="1879">
                  <c:v>42639</c:v>
                </c:pt>
                <c:pt idx="1880">
                  <c:v>42640</c:v>
                </c:pt>
                <c:pt idx="1881">
                  <c:v>42641</c:v>
                </c:pt>
                <c:pt idx="1882">
                  <c:v>42642</c:v>
                </c:pt>
                <c:pt idx="1883">
                  <c:v>42643</c:v>
                </c:pt>
                <c:pt idx="1884">
                  <c:v>42653</c:v>
                </c:pt>
                <c:pt idx="1885">
                  <c:v>42654</c:v>
                </c:pt>
                <c:pt idx="1886">
                  <c:v>42655</c:v>
                </c:pt>
                <c:pt idx="1887">
                  <c:v>42656</c:v>
                </c:pt>
                <c:pt idx="1888">
                  <c:v>42657</c:v>
                </c:pt>
                <c:pt idx="1889">
                  <c:v>42660</c:v>
                </c:pt>
                <c:pt idx="1890">
                  <c:v>42661</c:v>
                </c:pt>
                <c:pt idx="1891">
                  <c:v>42662</c:v>
                </c:pt>
                <c:pt idx="1892">
                  <c:v>42663</c:v>
                </c:pt>
                <c:pt idx="1893">
                  <c:v>42664</c:v>
                </c:pt>
                <c:pt idx="1894">
                  <c:v>42667</c:v>
                </c:pt>
                <c:pt idx="1895">
                  <c:v>42668</c:v>
                </c:pt>
                <c:pt idx="1896">
                  <c:v>42669</c:v>
                </c:pt>
                <c:pt idx="1897">
                  <c:v>42670</c:v>
                </c:pt>
                <c:pt idx="1898">
                  <c:v>42671</c:v>
                </c:pt>
                <c:pt idx="1899">
                  <c:v>42674</c:v>
                </c:pt>
                <c:pt idx="1900">
                  <c:v>42675</c:v>
                </c:pt>
                <c:pt idx="1901">
                  <c:v>42676</c:v>
                </c:pt>
                <c:pt idx="1902">
                  <c:v>42677</c:v>
                </c:pt>
                <c:pt idx="1903">
                  <c:v>42678</c:v>
                </c:pt>
                <c:pt idx="1904">
                  <c:v>42681</c:v>
                </c:pt>
                <c:pt idx="1905">
                  <c:v>42682</c:v>
                </c:pt>
                <c:pt idx="1906">
                  <c:v>42683</c:v>
                </c:pt>
                <c:pt idx="1907">
                  <c:v>42684</c:v>
                </c:pt>
                <c:pt idx="1908">
                  <c:v>42685</c:v>
                </c:pt>
                <c:pt idx="1909">
                  <c:v>42688</c:v>
                </c:pt>
                <c:pt idx="1910">
                  <c:v>42689</c:v>
                </c:pt>
                <c:pt idx="1911">
                  <c:v>42690</c:v>
                </c:pt>
                <c:pt idx="1912">
                  <c:v>42691</c:v>
                </c:pt>
                <c:pt idx="1913">
                  <c:v>42692</c:v>
                </c:pt>
                <c:pt idx="1914">
                  <c:v>42695</c:v>
                </c:pt>
                <c:pt idx="1915">
                  <c:v>42696</c:v>
                </c:pt>
                <c:pt idx="1916">
                  <c:v>42697</c:v>
                </c:pt>
                <c:pt idx="1917">
                  <c:v>42698</c:v>
                </c:pt>
                <c:pt idx="1918">
                  <c:v>42699</c:v>
                </c:pt>
                <c:pt idx="1919">
                  <c:v>42702</c:v>
                </c:pt>
                <c:pt idx="1920">
                  <c:v>42703</c:v>
                </c:pt>
                <c:pt idx="1921">
                  <c:v>42704</c:v>
                </c:pt>
                <c:pt idx="1922">
                  <c:v>42705</c:v>
                </c:pt>
                <c:pt idx="1923">
                  <c:v>42706</c:v>
                </c:pt>
                <c:pt idx="1924">
                  <c:v>42709</c:v>
                </c:pt>
                <c:pt idx="1925">
                  <c:v>42710</c:v>
                </c:pt>
                <c:pt idx="1926">
                  <c:v>42711</c:v>
                </c:pt>
                <c:pt idx="1927">
                  <c:v>42712</c:v>
                </c:pt>
                <c:pt idx="1928">
                  <c:v>42713</c:v>
                </c:pt>
                <c:pt idx="1929">
                  <c:v>42716</c:v>
                </c:pt>
                <c:pt idx="1930">
                  <c:v>42717</c:v>
                </c:pt>
                <c:pt idx="1931">
                  <c:v>42718</c:v>
                </c:pt>
                <c:pt idx="1932">
                  <c:v>42719</c:v>
                </c:pt>
                <c:pt idx="1933">
                  <c:v>42720</c:v>
                </c:pt>
                <c:pt idx="1934">
                  <c:v>42723</c:v>
                </c:pt>
                <c:pt idx="1935">
                  <c:v>42724</c:v>
                </c:pt>
                <c:pt idx="1936">
                  <c:v>42725</c:v>
                </c:pt>
                <c:pt idx="1937">
                  <c:v>42726</c:v>
                </c:pt>
                <c:pt idx="1938">
                  <c:v>42727</c:v>
                </c:pt>
                <c:pt idx="1939">
                  <c:v>42730</c:v>
                </c:pt>
                <c:pt idx="1940">
                  <c:v>42731</c:v>
                </c:pt>
                <c:pt idx="1941">
                  <c:v>42732</c:v>
                </c:pt>
                <c:pt idx="1942">
                  <c:v>42733</c:v>
                </c:pt>
                <c:pt idx="1943">
                  <c:v>42734</c:v>
                </c:pt>
                <c:pt idx="1944">
                  <c:v>42738</c:v>
                </c:pt>
                <c:pt idx="1945">
                  <c:v>42739</c:v>
                </c:pt>
                <c:pt idx="1946">
                  <c:v>42740</c:v>
                </c:pt>
                <c:pt idx="1947">
                  <c:v>42741</c:v>
                </c:pt>
                <c:pt idx="1948">
                  <c:v>42744</c:v>
                </c:pt>
                <c:pt idx="1949">
                  <c:v>42745</c:v>
                </c:pt>
                <c:pt idx="1950">
                  <c:v>42746</c:v>
                </c:pt>
                <c:pt idx="1951">
                  <c:v>42747</c:v>
                </c:pt>
                <c:pt idx="1952">
                  <c:v>42748</c:v>
                </c:pt>
                <c:pt idx="1953">
                  <c:v>42751</c:v>
                </c:pt>
                <c:pt idx="1954">
                  <c:v>42752</c:v>
                </c:pt>
                <c:pt idx="1955">
                  <c:v>42753</c:v>
                </c:pt>
                <c:pt idx="1956">
                  <c:v>42754</c:v>
                </c:pt>
                <c:pt idx="1957">
                  <c:v>42755</c:v>
                </c:pt>
                <c:pt idx="1958">
                  <c:v>42758</c:v>
                </c:pt>
                <c:pt idx="1959">
                  <c:v>42759</c:v>
                </c:pt>
                <c:pt idx="1960">
                  <c:v>42760</c:v>
                </c:pt>
                <c:pt idx="1961">
                  <c:v>42761</c:v>
                </c:pt>
                <c:pt idx="1962">
                  <c:v>42769</c:v>
                </c:pt>
                <c:pt idx="1963">
                  <c:v>42772</c:v>
                </c:pt>
                <c:pt idx="1964">
                  <c:v>42773</c:v>
                </c:pt>
                <c:pt idx="1965">
                  <c:v>42774</c:v>
                </c:pt>
                <c:pt idx="1966">
                  <c:v>42775</c:v>
                </c:pt>
                <c:pt idx="1967">
                  <c:v>42776</c:v>
                </c:pt>
                <c:pt idx="1968">
                  <c:v>42779</c:v>
                </c:pt>
                <c:pt idx="1969">
                  <c:v>42780</c:v>
                </c:pt>
                <c:pt idx="1970">
                  <c:v>42781</c:v>
                </c:pt>
                <c:pt idx="1971">
                  <c:v>42782</c:v>
                </c:pt>
                <c:pt idx="1972">
                  <c:v>42783</c:v>
                </c:pt>
                <c:pt idx="1973">
                  <c:v>42786</c:v>
                </c:pt>
                <c:pt idx="1974">
                  <c:v>42787</c:v>
                </c:pt>
                <c:pt idx="1975">
                  <c:v>42788</c:v>
                </c:pt>
                <c:pt idx="1976">
                  <c:v>42789</c:v>
                </c:pt>
                <c:pt idx="1977">
                  <c:v>42790</c:v>
                </c:pt>
                <c:pt idx="1978">
                  <c:v>42793</c:v>
                </c:pt>
                <c:pt idx="1979">
                  <c:v>42794</c:v>
                </c:pt>
                <c:pt idx="1980">
                  <c:v>42795</c:v>
                </c:pt>
                <c:pt idx="1981">
                  <c:v>42796</c:v>
                </c:pt>
                <c:pt idx="1982">
                  <c:v>42797</c:v>
                </c:pt>
                <c:pt idx="1983">
                  <c:v>42800</c:v>
                </c:pt>
                <c:pt idx="1984">
                  <c:v>42801</c:v>
                </c:pt>
                <c:pt idx="1985">
                  <c:v>42802</c:v>
                </c:pt>
                <c:pt idx="1986">
                  <c:v>42803</c:v>
                </c:pt>
                <c:pt idx="1987">
                  <c:v>42804</c:v>
                </c:pt>
                <c:pt idx="1988">
                  <c:v>42807</c:v>
                </c:pt>
                <c:pt idx="1989">
                  <c:v>42808</c:v>
                </c:pt>
                <c:pt idx="1990">
                  <c:v>42809</c:v>
                </c:pt>
                <c:pt idx="1991">
                  <c:v>42810</c:v>
                </c:pt>
                <c:pt idx="1992">
                  <c:v>42811</c:v>
                </c:pt>
                <c:pt idx="1993">
                  <c:v>42814</c:v>
                </c:pt>
                <c:pt idx="1994">
                  <c:v>42815</c:v>
                </c:pt>
                <c:pt idx="1995">
                  <c:v>42816</c:v>
                </c:pt>
                <c:pt idx="1996">
                  <c:v>42817</c:v>
                </c:pt>
                <c:pt idx="1997">
                  <c:v>42818</c:v>
                </c:pt>
                <c:pt idx="1998">
                  <c:v>42821</c:v>
                </c:pt>
                <c:pt idx="1999">
                  <c:v>42822</c:v>
                </c:pt>
                <c:pt idx="2000">
                  <c:v>42823</c:v>
                </c:pt>
                <c:pt idx="2001">
                  <c:v>42824</c:v>
                </c:pt>
                <c:pt idx="2002">
                  <c:v>42825</c:v>
                </c:pt>
                <c:pt idx="2003">
                  <c:v>42830</c:v>
                </c:pt>
                <c:pt idx="2004">
                  <c:v>42831</c:v>
                </c:pt>
                <c:pt idx="2005">
                  <c:v>42832</c:v>
                </c:pt>
                <c:pt idx="2006">
                  <c:v>42835</c:v>
                </c:pt>
                <c:pt idx="2007">
                  <c:v>42836</c:v>
                </c:pt>
                <c:pt idx="2008">
                  <c:v>42837</c:v>
                </c:pt>
                <c:pt idx="2009">
                  <c:v>42838</c:v>
                </c:pt>
                <c:pt idx="2010">
                  <c:v>42839</c:v>
                </c:pt>
                <c:pt idx="2011">
                  <c:v>42842</c:v>
                </c:pt>
                <c:pt idx="2012">
                  <c:v>42843</c:v>
                </c:pt>
                <c:pt idx="2013">
                  <c:v>42844</c:v>
                </c:pt>
                <c:pt idx="2014">
                  <c:v>42845</c:v>
                </c:pt>
                <c:pt idx="2015">
                  <c:v>42846</c:v>
                </c:pt>
                <c:pt idx="2016">
                  <c:v>42849</c:v>
                </c:pt>
                <c:pt idx="2017">
                  <c:v>42850</c:v>
                </c:pt>
                <c:pt idx="2018">
                  <c:v>42851</c:v>
                </c:pt>
                <c:pt idx="2019">
                  <c:v>42852</c:v>
                </c:pt>
                <c:pt idx="2020">
                  <c:v>42853</c:v>
                </c:pt>
                <c:pt idx="2021">
                  <c:v>42857</c:v>
                </c:pt>
                <c:pt idx="2022">
                  <c:v>42858</c:v>
                </c:pt>
                <c:pt idx="2023">
                  <c:v>42859</c:v>
                </c:pt>
                <c:pt idx="2024">
                  <c:v>42860</c:v>
                </c:pt>
                <c:pt idx="2025">
                  <c:v>42863</c:v>
                </c:pt>
                <c:pt idx="2026">
                  <c:v>42864</c:v>
                </c:pt>
                <c:pt idx="2027">
                  <c:v>42865</c:v>
                </c:pt>
                <c:pt idx="2028">
                  <c:v>42866</c:v>
                </c:pt>
                <c:pt idx="2029">
                  <c:v>42867</c:v>
                </c:pt>
                <c:pt idx="2030">
                  <c:v>42870</c:v>
                </c:pt>
                <c:pt idx="2031">
                  <c:v>42871</c:v>
                </c:pt>
                <c:pt idx="2032">
                  <c:v>42872</c:v>
                </c:pt>
                <c:pt idx="2033">
                  <c:v>42873</c:v>
                </c:pt>
                <c:pt idx="2034">
                  <c:v>42874</c:v>
                </c:pt>
                <c:pt idx="2035">
                  <c:v>42877</c:v>
                </c:pt>
                <c:pt idx="2036">
                  <c:v>42878</c:v>
                </c:pt>
                <c:pt idx="2037">
                  <c:v>42879</c:v>
                </c:pt>
                <c:pt idx="2038">
                  <c:v>42880</c:v>
                </c:pt>
                <c:pt idx="2039">
                  <c:v>42881</c:v>
                </c:pt>
                <c:pt idx="2040">
                  <c:v>42886</c:v>
                </c:pt>
                <c:pt idx="2041">
                  <c:v>42887</c:v>
                </c:pt>
                <c:pt idx="2042">
                  <c:v>42888</c:v>
                </c:pt>
                <c:pt idx="2043">
                  <c:v>42891</c:v>
                </c:pt>
                <c:pt idx="2044">
                  <c:v>42892</c:v>
                </c:pt>
                <c:pt idx="2045">
                  <c:v>42893</c:v>
                </c:pt>
                <c:pt idx="2046">
                  <c:v>42894</c:v>
                </c:pt>
                <c:pt idx="2047">
                  <c:v>42895</c:v>
                </c:pt>
                <c:pt idx="2048">
                  <c:v>42898</c:v>
                </c:pt>
                <c:pt idx="2049">
                  <c:v>42899</c:v>
                </c:pt>
                <c:pt idx="2050">
                  <c:v>42900</c:v>
                </c:pt>
                <c:pt idx="2051">
                  <c:v>42901</c:v>
                </c:pt>
                <c:pt idx="2052">
                  <c:v>42902</c:v>
                </c:pt>
                <c:pt idx="2053">
                  <c:v>42905</c:v>
                </c:pt>
                <c:pt idx="2054">
                  <c:v>42906</c:v>
                </c:pt>
                <c:pt idx="2055">
                  <c:v>42907</c:v>
                </c:pt>
                <c:pt idx="2056">
                  <c:v>42908</c:v>
                </c:pt>
                <c:pt idx="2057">
                  <c:v>42909</c:v>
                </c:pt>
                <c:pt idx="2058">
                  <c:v>42912</c:v>
                </c:pt>
                <c:pt idx="2059">
                  <c:v>42913</c:v>
                </c:pt>
                <c:pt idx="2060">
                  <c:v>42914</c:v>
                </c:pt>
                <c:pt idx="2061">
                  <c:v>42915</c:v>
                </c:pt>
                <c:pt idx="2062">
                  <c:v>42916</c:v>
                </c:pt>
                <c:pt idx="2063">
                  <c:v>42919</c:v>
                </c:pt>
                <c:pt idx="2064">
                  <c:v>42920</c:v>
                </c:pt>
                <c:pt idx="2065">
                  <c:v>42921</c:v>
                </c:pt>
                <c:pt idx="2066">
                  <c:v>42922</c:v>
                </c:pt>
                <c:pt idx="2067">
                  <c:v>42923</c:v>
                </c:pt>
                <c:pt idx="2068">
                  <c:v>42926</c:v>
                </c:pt>
                <c:pt idx="2069">
                  <c:v>42927</c:v>
                </c:pt>
                <c:pt idx="2070">
                  <c:v>42928</c:v>
                </c:pt>
                <c:pt idx="2071">
                  <c:v>42929</c:v>
                </c:pt>
                <c:pt idx="2072">
                  <c:v>42930</c:v>
                </c:pt>
                <c:pt idx="2073">
                  <c:v>42933</c:v>
                </c:pt>
                <c:pt idx="2074">
                  <c:v>42934</c:v>
                </c:pt>
                <c:pt idx="2075">
                  <c:v>42935</c:v>
                </c:pt>
                <c:pt idx="2076">
                  <c:v>42936</c:v>
                </c:pt>
                <c:pt idx="2077">
                  <c:v>42937</c:v>
                </c:pt>
                <c:pt idx="2078">
                  <c:v>42940</c:v>
                </c:pt>
                <c:pt idx="2079">
                  <c:v>42941</c:v>
                </c:pt>
                <c:pt idx="2080">
                  <c:v>42942</c:v>
                </c:pt>
                <c:pt idx="2081">
                  <c:v>42943</c:v>
                </c:pt>
                <c:pt idx="2082">
                  <c:v>42944</c:v>
                </c:pt>
                <c:pt idx="2083">
                  <c:v>42947</c:v>
                </c:pt>
                <c:pt idx="2084">
                  <c:v>42948</c:v>
                </c:pt>
                <c:pt idx="2085">
                  <c:v>42949</c:v>
                </c:pt>
                <c:pt idx="2086">
                  <c:v>42950</c:v>
                </c:pt>
                <c:pt idx="2087">
                  <c:v>42951</c:v>
                </c:pt>
                <c:pt idx="2088">
                  <c:v>42954</c:v>
                </c:pt>
                <c:pt idx="2089">
                  <c:v>42955</c:v>
                </c:pt>
                <c:pt idx="2090">
                  <c:v>42956</c:v>
                </c:pt>
                <c:pt idx="2091">
                  <c:v>42957</c:v>
                </c:pt>
                <c:pt idx="2092">
                  <c:v>42958</c:v>
                </c:pt>
                <c:pt idx="2093">
                  <c:v>42961</c:v>
                </c:pt>
                <c:pt idx="2094">
                  <c:v>42962</c:v>
                </c:pt>
                <c:pt idx="2095">
                  <c:v>42963</c:v>
                </c:pt>
                <c:pt idx="2096">
                  <c:v>42964</c:v>
                </c:pt>
                <c:pt idx="2097">
                  <c:v>42965</c:v>
                </c:pt>
                <c:pt idx="2098">
                  <c:v>42968</c:v>
                </c:pt>
                <c:pt idx="2099">
                  <c:v>42969</c:v>
                </c:pt>
                <c:pt idx="2100">
                  <c:v>42970</c:v>
                </c:pt>
                <c:pt idx="2101">
                  <c:v>42971</c:v>
                </c:pt>
                <c:pt idx="2102">
                  <c:v>42972</c:v>
                </c:pt>
                <c:pt idx="2103">
                  <c:v>42975</c:v>
                </c:pt>
                <c:pt idx="2104">
                  <c:v>42976</c:v>
                </c:pt>
                <c:pt idx="2105">
                  <c:v>42977</c:v>
                </c:pt>
                <c:pt idx="2106">
                  <c:v>42978</c:v>
                </c:pt>
                <c:pt idx="2107">
                  <c:v>42979</c:v>
                </c:pt>
                <c:pt idx="2108">
                  <c:v>42982</c:v>
                </c:pt>
                <c:pt idx="2109">
                  <c:v>42983</c:v>
                </c:pt>
                <c:pt idx="2110">
                  <c:v>42984</c:v>
                </c:pt>
                <c:pt idx="2111">
                  <c:v>42985</c:v>
                </c:pt>
                <c:pt idx="2112">
                  <c:v>42986</c:v>
                </c:pt>
                <c:pt idx="2113">
                  <c:v>42989</c:v>
                </c:pt>
                <c:pt idx="2114">
                  <c:v>42990</c:v>
                </c:pt>
                <c:pt idx="2115">
                  <c:v>42991</c:v>
                </c:pt>
                <c:pt idx="2116">
                  <c:v>42992</c:v>
                </c:pt>
                <c:pt idx="2117">
                  <c:v>42993</c:v>
                </c:pt>
                <c:pt idx="2118">
                  <c:v>42996</c:v>
                </c:pt>
                <c:pt idx="2119">
                  <c:v>42997</c:v>
                </c:pt>
                <c:pt idx="2120">
                  <c:v>42998</c:v>
                </c:pt>
                <c:pt idx="2121">
                  <c:v>42999</c:v>
                </c:pt>
                <c:pt idx="2122">
                  <c:v>43000</c:v>
                </c:pt>
                <c:pt idx="2123">
                  <c:v>43003</c:v>
                </c:pt>
                <c:pt idx="2124">
                  <c:v>43004</c:v>
                </c:pt>
                <c:pt idx="2125">
                  <c:v>43005</c:v>
                </c:pt>
                <c:pt idx="2126">
                  <c:v>43006</c:v>
                </c:pt>
                <c:pt idx="2127">
                  <c:v>43007</c:v>
                </c:pt>
                <c:pt idx="2128">
                  <c:v>43017</c:v>
                </c:pt>
                <c:pt idx="2129">
                  <c:v>43018</c:v>
                </c:pt>
                <c:pt idx="2130">
                  <c:v>43019</c:v>
                </c:pt>
                <c:pt idx="2131">
                  <c:v>43020</c:v>
                </c:pt>
                <c:pt idx="2132">
                  <c:v>43021</c:v>
                </c:pt>
                <c:pt idx="2133">
                  <c:v>43024</c:v>
                </c:pt>
                <c:pt idx="2134">
                  <c:v>43025</c:v>
                </c:pt>
                <c:pt idx="2135">
                  <c:v>43026</c:v>
                </c:pt>
                <c:pt idx="2136">
                  <c:v>43027</c:v>
                </c:pt>
                <c:pt idx="2137">
                  <c:v>43028</c:v>
                </c:pt>
                <c:pt idx="2138">
                  <c:v>43031</c:v>
                </c:pt>
                <c:pt idx="2139">
                  <c:v>43032</c:v>
                </c:pt>
                <c:pt idx="2140">
                  <c:v>43033</c:v>
                </c:pt>
                <c:pt idx="2141">
                  <c:v>43034</c:v>
                </c:pt>
                <c:pt idx="2142">
                  <c:v>43035</c:v>
                </c:pt>
                <c:pt idx="2143">
                  <c:v>43038</c:v>
                </c:pt>
                <c:pt idx="2144">
                  <c:v>43039</c:v>
                </c:pt>
                <c:pt idx="2145">
                  <c:v>43040</c:v>
                </c:pt>
                <c:pt idx="2146">
                  <c:v>43041</c:v>
                </c:pt>
                <c:pt idx="2147">
                  <c:v>43042</c:v>
                </c:pt>
                <c:pt idx="2148">
                  <c:v>43045</c:v>
                </c:pt>
                <c:pt idx="2149">
                  <c:v>43046</c:v>
                </c:pt>
                <c:pt idx="2150">
                  <c:v>43047</c:v>
                </c:pt>
                <c:pt idx="2151">
                  <c:v>43048</c:v>
                </c:pt>
                <c:pt idx="2152">
                  <c:v>43049</c:v>
                </c:pt>
                <c:pt idx="2153">
                  <c:v>43052</c:v>
                </c:pt>
                <c:pt idx="2154">
                  <c:v>43053</c:v>
                </c:pt>
                <c:pt idx="2155">
                  <c:v>43054</c:v>
                </c:pt>
                <c:pt idx="2156">
                  <c:v>43055</c:v>
                </c:pt>
                <c:pt idx="2157">
                  <c:v>43056</c:v>
                </c:pt>
                <c:pt idx="2158">
                  <c:v>43059</c:v>
                </c:pt>
                <c:pt idx="2159">
                  <c:v>43060</c:v>
                </c:pt>
                <c:pt idx="2160">
                  <c:v>43061</c:v>
                </c:pt>
                <c:pt idx="2161">
                  <c:v>43062</c:v>
                </c:pt>
                <c:pt idx="2162">
                  <c:v>43063</c:v>
                </c:pt>
                <c:pt idx="2163">
                  <c:v>43066</c:v>
                </c:pt>
                <c:pt idx="2164">
                  <c:v>43067</c:v>
                </c:pt>
                <c:pt idx="2165">
                  <c:v>43068</c:v>
                </c:pt>
                <c:pt idx="2166">
                  <c:v>43069</c:v>
                </c:pt>
                <c:pt idx="2167">
                  <c:v>43070</c:v>
                </c:pt>
                <c:pt idx="2168">
                  <c:v>43073</c:v>
                </c:pt>
                <c:pt idx="2169">
                  <c:v>43074</c:v>
                </c:pt>
                <c:pt idx="2170">
                  <c:v>43075</c:v>
                </c:pt>
                <c:pt idx="2171">
                  <c:v>43076</c:v>
                </c:pt>
                <c:pt idx="2172">
                  <c:v>43077</c:v>
                </c:pt>
                <c:pt idx="2173">
                  <c:v>43080</c:v>
                </c:pt>
                <c:pt idx="2174">
                  <c:v>43081</c:v>
                </c:pt>
                <c:pt idx="2175">
                  <c:v>43082</c:v>
                </c:pt>
                <c:pt idx="2176">
                  <c:v>43083</c:v>
                </c:pt>
                <c:pt idx="2177">
                  <c:v>43084</c:v>
                </c:pt>
                <c:pt idx="2178">
                  <c:v>43087</c:v>
                </c:pt>
                <c:pt idx="2179">
                  <c:v>43088</c:v>
                </c:pt>
                <c:pt idx="2180">
                  <c:v>43089</c:v>
                </c:pt>
                <c:pt idx="2181">
                  <c:v>43090</c:v>
                </c:pt>
                <c:pt idx="2182">
                  <c:v>43091</c:v>
                </c:pt>
                <c:pt idx="2183">
                  <c:v>43094</c:v>
                </c:pt>
                <c:pt idx="2184">
                  <c:v>43095</c:v>
                </c:pt>
                <c:pt idx="2185">
                  <c:v>43096</c:v>
                </c:pt>
                <c:pt idx="2186">
                  <c:v>43097</c:v>
                </c:pt>
                <c:pt idx="2187">
                  <c:v>43098</c:v>
                </c:pt>
                <c:pt idx="2188">
                  <c:v>43102</c:v>
                </c:pt>
                <c:pt idx="2189">
                  <c:v>43103</c:v>
                </c:pt>
                <c:pt idx="2190">
                  <c:v>43104</c:v>
                </c:pt>
                <c:pt idx="2191">
                  <c:v>43105</c:v>
                </c:pt>
                <c:pt idx="2192">
                  <c:v>43108</c:v>
                </c:pt>
                <c:pt idx="2193">
                  <c:v>43109</c:v>
                </c:pt>
                <c:pt idx="2194">
                  <c:v>43110</c:v>
                </c:pt>
                <c:pt idx="2195">
                  <c:v>43111</c:v>
                </c:pt>
                <c:pt idx="2196">
                  <c:v>43112</c:v>
                </c:pt>
                <c:pt idx="2197">
                  <c:v>43115</c:v>
                </c:pt>
                <c:pt idx="2198">
                  <c:v>43116</c:v>
                </c:pt>
                <c:pt idx="2199">
                  <c:v>43117</c:v>
                </c:pt>
                <c:pt idx="2200">
                  <c:v>43118</c:v>
                </c:pt>
                <c:pt idx="2201">
                  <c:v>43119</c:v>
                </c:pt>
                <c:pt idx="2202">
                  <c:v>43122</c:v>
                </c:pt>
                <c:pt idx="2203">
                  <c:v>43123</c:v>
                </c:pt>
                <c:pt idx="2204">
                  <c:v>43124</c:v>
                </c:pt>
                <c:pt idx="2205">
                  <c:v>43125</c:v>
                </c:pt>
                <c:pt idx="2206">
                  <c:v>43126</c:v>
                </c:pt>
                <c:pt idx="2207">
                  <c:v>43129</c:v>
                </c:pt>
                <c:pt idx="2208">
                  <c:v>43130</c:v>
                </c:pt>
                <c:pt idx="2209">
                  <c:v>43131</c:v>
                </c:pt>
                <c:pt idx="2210">
                  <c:v>43132</c:v>
                </c:pt>
                <c:pt idx="2211">
                  <c:v>43133</c:v>
                </c:pt>
                <c:pt idx="2212">
                  <c:v>43136</c:v>
                </c:pt>
                <c:pt idx="2213">
                  <c:v>43137</c:v>
                </c:pt>
                <c:pt idx="2214">
                  <c:v>43138</c:v>
                </c:pt>
                <c:pt idx="2215">
                  <c:v>43139</c:v>
                </c:pt>
                <c:pt idx="2216">
                  <c:v>43140</c:v>
                </c:pt>
                <c:pt idx="2217">
                  <c:v>43143</c:v>
                </c:pt>
                <c:pt idx="2218">
                  <c:v>43144</c:v>
                </c:pt>
                <c:pt idx="2219">
                  <c:v>43145</c:v>
                </c:pt>
                <c:pt idx="2220">
                  <c:v>43153</c:v>
                </c:pt>
                <c:pt idx="2221">
                  <c:v>43154</c:v>
                </c:pt>
                <c:pt idx="2222">
                  <c:v>43157</c:v>
                </c:pt>
                <c:pt idx="2223">
                  <c:v>43158</c:v>
                </c:pt>
                <c:pt idx="2224">
                  <c:v>43159</c:v>
                </c:pt>
                <c:pt idx="2225">
                  <c:v>43160</c:v>
                </c:pt>
                <c:pt idx="2226">
                  <c:v>43161</c:v>
                </c:pt>
                <c:pt idx="2227">
                  <c:v>43164</c:v>
                </c:pt>
                <c:pt idx="2228">
                  <c:v>43165</c:v>
                </c:pt>
                <c:pt idx="2229">
                  <c:v>43166</c:v>
                </c:pt>
                <c:pt idx="2230">
                  <c:v>43167</c:v>
                </c:pt>
                <c:pt idx="2231">
                  <c:v>43168</c:v>
                </c:pt>
                <c:pt idx="2232">
                  <c:v>43171</c:v>
                </c:pt>
                <c:pt idx="2233">
                  <c:v>43172</c:v>
                </c:pt>
                <c:pt idx="2234">
                  <c:v>43173</c:v>
                </c:pt>
                <c:pt idx="2235">
                  <c:v>43174</c:v>
                </c:pt>
                <c:pt idx="2236">
                  <c:v>43175</c:v>
                </c:pt>
                <c:pt idx="2237">
                  <c:v>43178</c:v>
                </c:pt>
                <c:pt idx="2238">
                  <c:v>43179</c:v>
                </c:pt>
                <c:pt idx="2239">
                  <c:v>43180</c:v>
                </c:pt>
                <c:pt idx="2240">
                  <c:v>43181</c:v>
                </c:pt>
                <c:pt idx="2241">
                  <c:v>43182</c:v>
                </c:pt>
                <c:pt idx="2242">
                  <c:v>43185</c:v>
                </c:pt>
                <c:pt idx="2243">
                  <c:v>43186</c:v>
                </c:pt>
                <c:pt idx="2244">
                  <c:v>43187</c:v>
                </c:pt>
                <c:pt idx="2245">
                  <c:v>43188</c:v>
                </c:pt>
                <c:pt idx="2246">
                  <c:v>43189</c:v>
                </c:pt>
                <c:pt idx="2247">
                  <c:v>43192</c:v>
                </c:pt>
                <c:pt idx="2248">
                  <c:v>43193</c:v>
                </c:pt>
                <c:pt idx="2249">
                  <c:v>43194</c:v>
                </c:pt>
                <c:pt idx="2250">
                  <c:v>43199</c:v>
                </c:pt>
                <c:pt idx="2251">
                  <c:v>43200</c:v>
                </c:pt>
                <c:pt idx="2252">
                  <c:v>43201</c:v>
                </c:pt>
                <c:pt idx="2253">
                  <c:v>43202</c:v>
                </c:pt>
                <c:pt idx="2254">
                  <c:v>43203</c:v>
                </c:pt>
                <c:pt idx="2255">
                  <c:v>43206</c:v>
                </c:pt>
                <c:pt idx="2256">
                  <c:v>43207</c:v>
                </c:pt>
                <c:pt idx="2257">
                  <c:v>43208</c:v>
                </c:pt>
                <c:pt idx="2258">
                  <c:v>43209</c:v>
                </c:pt>
                <c:pt idx="2259">
                  <c:v>43210</c:v>
                </c:pt>
                <c:pt idx="2260">
                  <c:v>43213</c:v>
                </c:pt>
                <c:pt idx="2261">
                  <c:v>43214</c:v>
                </c:pt>
                <c:pt idx="2262">
                  <c:v>43215</c:v>
                </c:pt>
                <c:pt idx="2263">
                  <c:v>43216</c:v>
                </c:pt>
                <c:pt idx="2264">
                  <c:v>43217</c:v>
                </c:pt>
                <c:pt idx="2265">
                  <c:v>43222</c:v>
                </c:pt>
                <c:pt idx="2266">
                  <c:v>43223</c:v>
                </c:pt>
                <c:pt idx="2267">
                  <c:v>43224</c:v>
                </c:pt>
                <c:pt idx="2268">
                  <c:v>43227</c:v>
                </c:pt>
                <c:pt idx="2269">
                  <c:v>43228</c:v>
                </c:pt>
                <c:pt idx="2270">
                  <c:v>43229</c:v>
                </c:pt>
                <c:pt idx="2271">
                  <c:v>43230</c:v>
                </c:pt>
                <c:pt idx="2272">
                  <c:v>43231</c:v>
                </c:pt>
                <c:pt idx="2273">
                  <c:v>43234</c:v>
                </c:pt>
                <c:pt idx="2274">
                  <c:v>43235</c:v>
                </c:pt>
                <c:pt idx="2275">
                  <c:v>43236</c:v>
                </c:pt>
                <c:pt idx="2276">
                  <c:v>43237</c:v>
                </c:pt>
                <c:pt idx="2277">
                  <c:v>43238</c:v>
                </c:pt>
                <c:pt idx="2278">
                  <c:v>43241</c:v>
                </c:pt>
                <c:pt idx="2279">
                  <c:v>43242</c:v>
                </c:pt>
                <c:pt idx="2280">
                  <c:v>43243</c:v>
                </c:pt>
                <c:pt idx="2281">
                  <c:v>43244</c:v>
                </c:pt>
                <c:pt idx="2282">
                  <c:v>43245</c:v>
                </c:pt>
                <c:pt idx="2283">
                  <c:v>43248</c:v>
                </c:pt>
                <c:pt idx="2284">
                  <c:v>43249</c:v>
                </c:pt>
                <c:pt idx="2285">
                  <c:v>43250</c:v>
                </c:pt>
                <c:pt idx="2286">
                  <c:v>43251</c:v>
                </c:pt>
                <c:pt idx="2287">
                  <c:v>43252</c:v>
                </c:pt>
                <c:pt idx="2288">
                  <c:v>43255</c:v>
                </c:pt>
                <c:pt idx="2289">
                  <c:v>43256</c:v>
                </c:pt>
                <c:pt idx="2290">
                  <c:v>43257</c:v>
                </c:pt>
                <c:pt idx="2291">
                  <c:v>43258</c:v>
                </c:pt>
                <c:pt idx="2292">
                  <c:v>43259</c:v>
                </c:pt>
                <c:pt idx="2293">
                  <c:v>43262</c:v>
                </c:pt>
                <c:pt idx="2294">
                  <c:v>43263</c:v>
                </c:pt>
                <c:pt idx="2295">
                  <c:v>43264</c:v>
                </c:pt>
                <c:pt idx="2296">
                  <c:v>43265</c:v>
                </c:pt>
                <c:pt idx="2297">
                  <c:v>43266</c:v>
                </c:pt>
                <c:pt idx="2298">
                  <c:v>43270</c:v>
                </c:pt>
                <c:pt idx="2299">
                  <c:v>43271</c:v>
                </c:pt>
                <c:pt idx="2300">
                  <c:v>43272</c:v>
                </c:pt>
                <c:pt idx="2301">
                  <c:v>43273</c:v>
                </c:pt>
                <c:pt idx="2302">
                  <c:v>43276</c:v>
                </c:pt>
                <c:pt idx="2303">
                  <c:v>43277</c:v>
                </c:pt>
                <c:pt idx="2304">
                  <c:v>43278</c:v>
                </c:pt>
                <c:pt idx="2305">
                  <c:v>43279</c:v>
                </c:pt>
                <c:pt idx="2306">
                  <c:v>43280</c:v>
                </c:pt>
                <c:pt idx="2307">
                  <c:v>43283</c:v>
                </c:pt>
                <c:pt idx="2308">
                  <c:v>43284</c:v>
                </c:pt>
                <c:pt idx="2309">
                  <c:v>43285</c:v>
                </c:pt>
                <c:pt idx="2310">
                  <c:v>43286</c:v>
                </c:pt>
                <c:pt idx="2311">
                  <c:v>43287</c:v>
                </c:pt>
                <c:pt idx="2312">
                  <c:v>43290</c:v>
                </c:pt>
                <c:pt idx="2313">
                  <c:v>43291</c:v>
                </c:pt>
                <c:pt idx="2314">
                  <c:v>43292</c:v>
                </c:pt>
                <c:pt idx="2315">
                  <c:v>43293</c:v>
                </c:pt>
                <c:pt idx="2316">
                  <c:v>43294</c:v>
                </c:pt>
                <c:pt idx="2317">
                  <c:v>43297</c:v>
                </c:pt>
                <c:pt idx="2318">
                  <c:v>43298</c:v>
                </c:pt>
                <c:pt idx="2319">
                  <c:v>43299</c:v>
                </c:pt>
                <c:pt idx="2320">
                  <c:v>43300</c:v>
                </c:pt>
                <c:pt idx="2321">
                  <c:v>43301</c:v>
                </c:pt>
                <c:pt idx="2322">
                  <c:v>43304</c:v>
                </c:pt>
                <c:pt idx="2323">
                  <c:v>43305</c:v>
                </c:pt>
                <c:pt idx="2324">
                  <c:v>43306</c:v>
                </c:pt>
                <c:pt idx="2325">
                  <c:v>43307</c:v>
                </c:pt>
                <c:pt idx="2326">
                  <c:v>43308</c:v>
                </c:pt>
                <c:pt idx="2327">
                  <c:v>43311</c:v>
                </c:pt>
                <c:pt idx="2328">
                  <c:v>43312</c:v>
                </c:pt>
                <c:pt idx="2329">
                  <c:v>43313</c:v>
                </c:pt>
                <c:pt idx="2330">
                  <c:v>43314</c:v>
                </c:pt>
                <c:pt idx="2331">
                  <c:v>43315</c:v>
                </c:pt>
                <c:pt idx="2332">
                  <c:v>43318</c:v>
                </c:pt>
                <c:pt idx="2333">
                  <c:v>43319</c:v>
                </c:pt>
                <c:pt idx="2334">
                  <c:v>43320</c:v>
                </c:pt>
                <c:pt idx="2335">
                  <c:v>43321</c:v>
                </c:pt>
                <c:pt idx="2336">
                  <c:v>43322</c:v>
                </c:pt>
                <c:pt idx="2337">
                  <c:v>43325</c:v>
                </c:pt>
                <c:pt idx="2338">
                  <c:v>43326</c:v>
                </c:pt>
                <c:pt idx="2339">
                  <c:v>43327</c:v>
                </c:pt>
                <c:pt idx="2340">
                  <c:v>43328</c:v>
                </c:pt>
                <c:pt idx="2341">
                  <c:v>43329</c:v>
                </c:pt>
                <c:pt idx="2342">
                  <c:v>43332</c:v>
                </c:pt>
                <c:pt idx="2343">
                  <c:v>43333</c:v>
                </c:pt>
                <c:pt idx="2344">
                  <c:v>43334</c:v>
                </c:pt>
                <c:pt idx="2345">
                  <c:v>43335</c:v>
                </c:pt>
                <c:pt idx="2346">
                  <c:v>43336</c:v>
                </c:pt>
                <c:pt idx="2347">
                  <c:v>43339</c:v>
                </c:pt>
                <c:pt idx="2348">
                  <c:v>43340</c:v>
                </c:pt>
                <c:pt idx="2349">
                  <c:v>43341</c:v>
                </c:pt>
                <c:pt idx="2350">
                  <c:v>43342</c:v>
                </c:pt>
                <c:pt idx="2351">
                  <c:v>43343</c:v>
                </c:pt>
                <c:pt idx="2352">
                  <c:v>43346</c:v>
                </c:pt>
                <c:pt idx="2353">
                  <c:v>43347</c:v>
                </c:pt>
                <c:pt idx="2354">
                  <c:v>43348</c:v>
                </c:pt>
                <c:pt idx="2355">
                  <c:v>43349</c:v>
                </c:pt>
                <c:pt idx="2356">
                  <c:v>43350</c:v>
                </c:pt>
                <c:pt idx="2357">
                  <c:v>43353</c:v>
                </c:pt>
                <c:pt idx="2358">
                  <c:v>43354</c:v>
                </c:pt>
                <c:pt idx="2359">
                  <c:v>43355</c:v>
                </c:pt>
                <c:pt idx="2360">
                  <c:v>43356</c:v>
                </c:pt>
                <c:pt idx="2361">
                  <c:v>43357</c:v>
                </c:pt>
                <c:pt idx="2362">
                  <c:v>43360</c:v>
                </c:pt>
                <c:pt idx="2363">
                  <c:v>43361</c:v>
                </c:pt>
                <c:pt idx="2364">
                  <c:v>43362</c:v>
                </c:pt>
                <c:pt idx="2365">
                  <c:v>43363</c:v>
                </c:pt>
                <c:pt idx="2366">
                  <c:v>43364</c:v>
                </c:pt>
                <c:pt idx="2367">
                  <c:v>43368</c:v>
                </c:pt>
                <c:pt idx="2368">
                  <c:v>43369</c:v>
                </c:pt>
                <c:pt idx="2369">
                  <c:v>43370</c:v>
                </c:pt>
                <c:pt idx="2370">
                  <c:v>43371</c:v>
                </c:pt>
                <c:pt idx="2371">
                  <c:v>43381</c:v>
                </c:pt>
                <c:pt idx="2372">
                  <c:v>43382</c:v>
                </c:pt>
                <c:pt idx="2373">
                  <c:v>43383</c:v>
                </c:pt>
                <c:pt idx="2374">
                  <c:v>43384</c:v>
                </c:pt>
                <c:pt idx="2375">
                  <c:v>43385</c:v>
                </c:pt>
                <c:pt idx="2376">
                  <c:v>43388</c:v>
                </c:pt>
                <c:pt idx="2377">
                  <c:v>43389</c:v>
                </c:pt>
                <c:pt idx="2378">
                  <c:v>43390</c:v>
                </c:pt>
                <c:pt idx="2379">
                  <c:v>43391</c:v>
                </c:pt>
                <c:pt idx="2380">
                  <c:v>43392</c:v>
                </c:pt>
                <c:pt idx="2381">
                  <c:v>43395</c:v>
                </c:pt>
                <c:pt idx="2382">
                  <c:v>43396</c:v>
                </c:pt>
                <c:pt idx="2383">
                  <c:v>43397</c:v>
                </c:pt>
                <c:pt idx="2384">
                  <c:v>43398</c:v>
                </c:pt>
                <c:pt idx="2385">
                  <c:v>43399</c:v>
                </c:pt>
                <c:pt idx="2386">
                  <c:v>43402</c:v>
                </c:pt>
                <c:pt idx="2387">
                  <c:v>43403</c:v>
                </c:pt>
                <c:pt idx="2388">
                  <c:v>43404</c:v>
                </c:pt>
                <c:pt idx="2389">
                  <c:v>43405</c:v>
                </c:pt>
                <c:pt idx="2390">
                  <c:v>43406</c:v>
                </c:pt>
                <c:pt idx="2391">
                  <c:v>43409</c:v>
                </c:pt>
                <c:pt idx="2392">
                  <c:v>43410</c:v>
                </c:pt>
                <c:pt idx="2393">
                  <c:v>43411</c:v>
                </c:pt>
                <c:pt idx="2394">
                  <c:v>43412</c:v>
                </c:pt>
                <c:pt idx="2395">
                  <c:v>43413</c:v>
                </c:pt>
                <c:pt idx="2396">
                  <c:v>43416</c:v>
                </c:pt>
                <c:pt idx="2397">
                  <c:v>43417</c:v>
                </c:pt>
                <c:pt idx="2398">
                  <c:v>43418</c:v>
                </c:pt>
                <c:pt idx="2399">
                  <c:v>43419</c:v>
                </c:pt>
                <c:pt idx="2400">
                  <c:v>43420</c:v>
                </c:pt>
                <c:pt idx="2401">
                  <c:v>43423</c:v>
                </c:pt>
                <c:pt idx="2402">
                  <c:v>43424</c:v>
                </c:pt>
                <c:pt idx="2403">
                  <c:v>43425</c:v>
                </c:pt>
                <c:pt idx="2404">
                  <c:v>43426</c:v>
                </c:pt>
                <c:pt idx="2405">
                  <c:v>43427</c:v>
                </c:pt>
                <c:pt idx="2406">
                  <c:v>43430</c:v>
                </c:pt>
                <c:pt idx="2407">
                  <c:v>43431</c:v>
                </c:pt>
                <c:pt idx="2408">
                  <c:v>43432</c:v>
                </c:pt>
                <c:pt idx="2409">
                  <c:v>43433</c:v>
                </c:pt>
                <c:pt idx="2410">
                  <c:v>43434</c:v>
                </c:pt>
                <c:pt idx="2411">
                  <c:v>43437</c:v>
                </c:pt>
                <c:pt idx="2412">
                  <c:v>43438</c:v>
                </c:pt>
                <c:pt idx="2413">
                  <c:v>43439</c:v>
                </c:pt>
                <c:pt idx="2414">
                  <c:v>43440</c:v>
                </c:pt>
                <c:pt idx="2415">
                  <c:v>43441</c:v>
                </c:pt>
                <c:pt idx="2416">
                  <c:v>43444</c:v>
                </c:pt>
                <c:pt idx="2417">
                  <c:v>43445</c:v>
                </c:pt>
                <c:pt idx="2418">
                  <c:v>43446</c:v>
                </c:pt>
                <c:pt idx="2419">
                  <c:v>43447</c:v>
                </c:pt>
                <c:pt idx="2420">
                  <c:v>43448</c:v>
                </c:pt>
                <c:pt idx="2421">
                  <c:v>43451</c:v>
                </c:pt>
                <c:pt idx="2422">
                  <c:v>43452</c:v>
                </c:pt>
                <c:pt idx="2423">
                  <c:v>43453</c:v>
                </c:pt>
                <c:pt idx="2424">
                  <c:v>43454</c:v>
                </c:pt>
                <c:pt idx="2425">
                  <c:v>43455</c:v>
                </c:pt>
                <c:pt idx="2426">
                  <c:v>43458</c:v>
                </c:pt>
                <c:pt idx="2427">
                  <c:v>43459</c:v>
                </c:pt>
                <c:pt idx="2428">
                  <c:v>43460</c:v>
                </c:pt>
                <c:pt idx="2429">
                  <c:v>43461</c:v>
                </c:pt>
                <c:pt idx="2430">
                  <c:v>43462</c:v>
                </c:pt>
                <c:pt idx="2431">
                  <c:v>43467</c:v>
                </c:pt>
                <c:pt idx="2432">
                  <c:v>43468</c:v>
                </c:pt>
                <c:pt idx="2433">
                  <c:v>43469</c:v>
                </c:pt>
                <c:pt idx="2434">
                  <c:v>43472</c:v>
                </c:pt>
                <c:pt idx="2435">
                  <c:v>43473</c:v>
                </c:pt>
                <c:pt idx="2436">
                  <c:v>43474</c:v>
                </c:pt>
                <c:pt idx="2437">
                  <c:v>43475</c:v>
                </c:pt>
                <c:pt idx="2438">
                  <c:v>43476</c:v>
                </c:pt>
                <c:pt idx="2439">
                  <c:v>43479</c:v>
                </c:pt>
                <c:pt idx="2440">
                  <c:v>43480</c:v>
                </c:pt>
                <c:pt idx="2441">
                  <c:v>43481</c:v>
                </c:pt>
                <c:pt idx="2442">
                  <c:v>43482</c:v>
                </c:pt>
                <c:pt idx="2443">
                  <c:v>43483</c:v>
                </c:pt>
                <c:pt idx="2444">
                  <c:v>43486</c:v>
                </c:pt>
                <c:pt idx="2445">
                  <c:v>43487</c:v>
                </c:pt>
                <c:pt idx="2446">
                  <c:v>43488</c:v>
                </c:pt>
                <c:pt idx="2447">
                  <c:v>43489</c:v>
                </c:pt>
                <c:pt idx="2448">
                  <c:v>43490</c:v>
                </c:pt>
                <c:pt idx="2449">
                  <c:v>43493</c:v>
                </c:pt>
                <c:pt idx="2450">
                  <c:v>43494</c:v>
                </c:pt>
                <c:pt idx="2451">
                  <c:v>43495</c:v>
                </c:pt>
                <c:pt idx="2452">
                  <c:v>43496</c:v>
                </c:pt>
                <c:pt idx="2453">
                  <c:v>43497</c:v>
                </c:pt>
                <c:pt idx="2454">
                  <c:v>43507</c:v>
                </c:pt>
                <c:pt idx="2455">
                  <c:v>43508</c:v>
                </c:pt>
                <c:pt idx="2456">
                  <c:v>43509</c:v>
                </c:pt>
                <c:pt idx="2457">
                  <c:v>43510</c:v>
                </c:pt>
                <c:pt idx="2458">
                  <c:v>43511</c:v>
                </c:pt>
                <c:pt idx="2459">
                  <c:v>43514</c:v>
                </c:pt>
                <c:pt idx="2460">
                  <c:v>43515</c:v>
                </c:pt>
                <c:pt idx="2461">
                  <c:v>43516</c:v>
                </c:pt>
                <c:pt idx="2462">
                  <c:v>43517</c:v>
                </c:pt>
                <c:pt idx="2463">
                  <c:v>43518</c:v>
                </c:pt>
                <c:pt idx="2464">
                  <c:v>43521</c:v>
                </c:pt>
                <c:pt idx="2465">
                  <c:v>43522</c:v>
                </c:pt>
                <c:pt idx="2466">
                  <c:v>43523</c:v>
                </c:pt>
                <c:pt idx="2467">
                  <c:v>43524</c:v>
                </c:pt>
                <c:pt idx="2468">
                  <c:v>43525</c:v>
                </c:pt>
                <c:pt idx="2469">
                  <c:v>43528</c:v>
                </c:pt>
                <c:pt idx="2470">
                  <c:v>43529</c:v>
                </c:pt>
                <c:pt idx="2471">
                  <c:v>43530</c:v>
                </c:pt>
                <c:pt idx="2472">
                  <c:v>43531</c:v>
                </c:pt>
                <c:pt idx="2473">
                  <c:v>43532</c:v>
                </c:pt>
                <c:pt idx="2474">
                  <c:v>43535</c:v>
                </c:pt>
                <c:pt idx="2475">
                  <c:v>43536</c:v>
                </c:pt>
                <c:pt idx="2476">
                  <c:v>43537</c:v>
                </c:pt>
                <c:pt idx="2477">
                  <c:v>43538</c:v>
                </c:pt>
                <c:pt idx="2478">
                  <c:v>43539</c:v>
                </c:pt>
                <c:pt idx="2479">
                  <c:v>43542</c:v>
                </c:pt>
                <c:pt idx="2480">
                  <c:v>43543</c:v>
                </c:pt>
                <c:pt idx="2481">
                  <c:v>43544</c:v>
                </c:pt>
                <c:pt idx="2482">
                  <c:v>43545</c:v>
                </c:pt>
                <c:pt idx="2483">
                  <c:v>43546</c:v>
                </c:pt>
                <c:pt idx="2484">
                  <c:v>43549</c:v>
                </c:pt>
                <c:pt idx="2485">
                  <c:v>43550</c:v>
                </c:pt>
                <c:pt idx="2486">
                  <c:v>43551</c:v>
                </c:pt>
                <c:pt idx="2487">
                  <c:v>43552</c:v>
                </c:pt>
                <c:pt idx="2488">
                  <c:v>43553</c:v>
                </c:pt>
                <c:pt idx="2489">
                  <c:v>43556</c:v>
                </c:pt>
                <c:pt idx="2490">
                  <c:v>43557</c:v>
                </c:pt>
                <c:pt idx="2491">
                  <c:v>43558</c:v>
                </c:pt>
                <c:pt idx="2492">
                  <c:v>43559</c:v>
                </c:pt>
                <c:pt idx="2493">
                  <c:v>43563</c:v>
                </c:pt>
                <c:pt idx="2494">
                  <c:v>43564</c:v>
                </c:pt>
                <c:pt idx="2495">
                  <c:v>43565</c:v>
                </c:pt>
                <c:pt idx="2496">
                  <c:v>43566</c:v>
                </c:pt>
                <c:pt idx="2497">
                  <c:v>43567</c:v>
                </c:pt>
                <c:pt idx="2498">
                  <c:v>43570</c:v>
                </c:pt>
                <c:pt idx="2499">
                  <c:v>43571</c:v>
                </c:pt>
                <c:pt idx="2500">
                  <c:v>43572</c:v>
                </c:pt>
                <c:pt idx="2501">
                  <c:v>43573</c:v>
                </c:pt>
                <c:pt idx="2502">
                  <c:v>43574</c:v>
                </c:pt>
                <c:pt idx="2503">
                  <c:v>43577</c:v>
                </c:pt>
                <c:pt idx="2504">
                  <c:v>43578</c:v>
                </c:pt>
                <c:pt idx="2505">
                  <c:v>43579</c:v>
                </c:pt>
                <c:pt idx="2506">
                  <c:v>43580</c:v>
                </c:pt>
                <c:pt idx="2507">
                  <c:v>43581</c:v>
                </c:pt>
                <c:pt idx="2508">
                  <c:v>43584</c:v>
                </c:pt>
                <c:pt idx="2509">
                  <c:v>43585</c:v>
                </c:pt>
                <c:pt idx="2510">
                  <c:v>43591</c:v>
                </c:pt>
                <c:pt idx="2511">
                  <c:v>43592</c:v>
                </c:pt>
                <c:pt idx="2512">
                  <c:v>43593</c:v>
                </c:pt>
                <c:pt idx="2513">
                  <c:v>43594</c:v>
                </c:pt>
                <c:pt idx="2514">
                  <c:v>43595</c:v>
                </c:pt>
                <c:pt idx="2515">
                  <c:v>43598</c:v>
                </c:pt>
                <c:pt idx="2516">
                  <c:v>43599</c:v>
                </c:pt>
                <c:pt idx="2517">
                  <c:v>43600</c:v>
                </c:pt>
                <c:pt idx="2518">
                  <c:v>43601</c:v>
                </c:pt>
                <c:pt idx="2519">
                  <c:v>43602</c:v>
                </c:pt>
                <c:pt idx="2520">
                  <c:v>43605</c:v>
                </c:pt>
                <c:pt idx="2521">
                  <c:v>43606</c:v>
                </c:pt>
                <c:pt idx="2522">
                  <c:v>43607</c:v>
                </c:pt>
                <c:pt idx="2523">
                  <c:v>43608</c:v>
                </c:pt>
                <c:pt idx="2524">
                  <c:v>43609</c:v>
                </c:pt>
                <c:pt idx="2525">
                  <c:v>43612</c:v>
                </c:pt>
                <c:pt idx="2526">
                  <c:v>43613</c:v>
                </c:pt>
                <c:pt idx="2527">
                  <c:v>43614</c:v>
                </c:pt>
                <c:pt idx="2528">
                  <c:v>43615</c:v>
                </c:pt>
                <c:pt idx="2529">
                  <c:v>43616</c:v>
                </c:pt>
                <c:pt idx="2530">
                  <c:v>43619</c:v>
                </c:pt>
                <c:pt idx="2531">
                  <c:v>43620</c:v>
                </c:pt>
                <c:pt idx="2532">
                  <c:v>43621</c:v>
                </c:pt>
                <c:pt idx="2533">
                  <c:v>43622</c:v>
                </c:pt>
                <c:pt idx="2534">
                  <c:v>43626</c:v>
                </c:pt>
                <c:pt idx="2535">
                  <c:v>43627</c:v>
                </c:pt>
                <c:pt idx="2536">
                  <c:v>43628</c:v>
                </c:pt>
                <c:pt idx="2537">
                  <c:v>43629</c:v>
                </c:pt>
                <c:pt idx="2538">
                  <c:v>43630</c:v>
                </c:pt>
                <c:pt idx="2539">
                  <c:v>43633</c:v>
                </c:pt>
                <c:pt idx="2540">
                  <c:v>43634</c:v>
                </c:pt>
                <c:pt idx="2541">
                  <c:v>43635</c:v>
                </c:pt>
                <c:pt idx="2542">
                  <c:v>43636</c:v>
                </c:pt>
                <c:pt idx="2543">
                  <c:v>43637</c:v>
                </c:pt>
                <c:pt idx="2544">
                  <c:v>43640</c:v>
                </c:pt>
                <c:pt idx="2545">
                  <c:v>43641</c:v>
                </c:pt>
                <c:pt idx="2546">
                  <c:v>43642</c:v>
                </c:pt>
                <c:pt idx="2547">
                  <c:v>43643</c:v>
                </c:pt>
                <c:pt idx="2548">
                  <c:v>43644</c:v>
                </c:pt>
                <c:pt idx="2549">
                  <c:v>43647</c:v>
                </c:pt>
                <c:pt idx="2550">
                  <c:v>43648</c:v>
                </c:pt>
                <c:pt idx="2551">
                  <c:v>43649</c:v>
                </c:pt>
                <c:pt idx="2552">
                  <c:v>43650</c:v>
                </c:pt>
                <c:pt idx="2553">
                  <c:v>43651</c:v>
                </c:pt>
                <c:pt idx="2554">
                  <c:v>43654</c:v>
                </c:pt>
                <c:pt idx="2555">
                  <c:v>43655</c:v>
                </c:pt>
                <c:pt idx="2556">
                  <c:v>43656</c:v>
                </c:pt>
                <c:pt idx="2557">
                  <c:v>43657</c:v>
                </c:pt>
                <c:pt idx="2558">
                  <c:v>43658</c:v>
                </c:pt>
                <c:pt idx="2559">
                  <c:v>43661</c:v>
                </c:pt>
                <c:pt idx="2560">
                  <c:v>43662</c:v>
                </c:pt>
                <c:pt idx="2561">
                  <c:v>43663</c:v>
                </c:pt>
                <c:pt idx="2562">
                  <c:v>43664</c:v>
                </c:pt>
                <c:pt idx="2563">
                  <c:v>43665</c:v>
                </c:pt>
                <c:pt idx="2564">
                  <c:v>43668</c:v>
                </c:pt>
                <c:pt idx="2565">
                  <c:v>43669</c:v>
                </c:pt>
                <c:pt idx="2566">
                  <c:v>43670</c:v>
                </c:pt>
                <c:pt idx="2567">
                  <c:v>43671</c:v>
                </c:pt>
                <c:pt idx="2568">
                  <c:v>43672</c:v>
                </c:pt>
                <c:pt idx="2569">
                  <c:v>43675</c:v>
                </c:pt>
                <c:pt idx="2570">
                  <c:v>43676</c:v>
                </c:pt>
                <c:pt idx="2571">
                  <c:v>43677</c:v>
                </c:pt>
                <c:pt idx="2572">
                  <c:v>43678</c:v>
                </c:pt>
                <c:pt idx="2573">
                  <c:v>43679</c:v>
                </c:pt>
                <c:pt idx="2574">
                  <c:v>43682</c:v>
                </c:pt>
                <c:pt idx="2575">
                  <c:v>43683</c:v>
                </c:pt>
                <c:pt idx="2576">
                  <c:v>43684</c:v>
                </c:pt>
                <c:pt idx="2577">
                  <c:v>43685</c:v>
                </c:pt>
                <c:pt idx="2578">
                  <c:v>43686</c:v>
                </c:pt>
                <c:pt idx="2579">
                  <c:v>43689</c:v>
                </c:pt>
                <c:pt idx="2580">
                  <c:v>43690</c:v>
                </c:pt>
                <c:pt idx="2581">
                  <c:v>43691</c:v>
                </c:pt>
                <c:pt idx="2582">
                  <c:v>43692</c:v>
                </c:pt>
                <c:pt idx="2583">
                  <c:v>43693</c:v>
                </c:pt>
                <c:pt idx="2584">
                  <c:v>43696</c:v>
                </c:pt>
                <c:pt idx="2585">
                  <c:v>43697</c:v>
                </c:pt>
                <c:pt idx="2586">
                  <c:v>43698</c:v>
                </c:pt>
                <c:pt idx="2587">
                  <c:v>43699</c:v>
                </c:pt>
                <c:pt idx="2588">
                  <c:v>43700</c:v>
                </c:pt>
                <c:pt idx="2589">
                  <c:v>43703</c:v>
                </c:pt>
                <c:pt idx="2590">
                  <c:v>43704</c:v>
                </c:pt>
                <c:pt idx="2591">
                  <c:v>43705</c:v>
                </c:pt>
                <c:pt idx="2592">
                  <c:v>43706</c:v>
                </c:pt>
                <c:pt idx="2593">
                  <c:v>43707</c:v>
                </c:pt>
                <c:pt idx="2594">
                  <c:v>43710</c:v>
                </c:pt>
                <c:pt idx="2595">
                  <c:v>43711</c:v>
                </c:pt>
                <c:pt idx="2596">
                  <c:v>43712</c:v>
                </c:pt>
                <c:pt idx="2597">
                  <c:v>43713</c:v>
                </c:pt>
                <c:pt idx="2598">
                  <c:v>43714</c:v>
                </c:pt>
                <c:pt idx="2599">
                  <c:v>43717</c:v>
                </c:pt>
                <c:pt idx="2600">
                  <c:v>43718</c:v>
                </c:pt>
                <c:pt idx="2601">
                  <c:v>43719</c:v>
                </c:pt>
                <c:pt idx="2602">
                  <c:v>43720</c:v>
                </c:pt>
                <c:pt idx="2603">
                  <c:v>43724</c:v>
                </c:pt>
                <c:pt idx="2604">
                  <c:v>43725</c:v>
                </c:pt>
                <c:pt idx="2605">
                  <c:v>43726</c:v>
                </c:pt>
                <c:pt idx="2606">
                  <c:v>43727</c:v>
                </c:pt>
                <c:pt idx="2607">
                  <c:v>43728</c:v>
                </c:pt>
                <c:pt idx="2608">
                  <c:v>43731</c:v>
                </c:pt>
                <c:pt idx="2609">
                  <c:v>43732</c:v>
                </c:pt>
                <c:pt idx="2610">
                  <c:v>43733</c:v>
                </c:pt>
                <c:pt idx="2611">
                  <c:v>43734</c:v>
                </c:pt>
                <c:pt idx="2612">
                  <c:v>43735</c:v>
                </c:pt>
                <c:pt idx="2613">
                  <c:v>43738</c:v>
                </c:pt>
                <c:pt idx="2614">
                  <c:v>43746</c:v>
                </c:pt>
                <c:pt idx="2615">
                  <c:v>43747</c:v>
                </c:pt>
                <c:pt idx="2616">
                  <c:v>43748</c:v>
                </c:pt>
                <c:pt idx="2617">
                  <c:v>43749</c:v>
                </c:pt>
                <c:pt idx="2618">
                  <c:v>43752</c:v>
                </c:pt>
                <c:pt idx="2619">
                  <c:v>43753</c:v>
                </c:pt>
                <c:pt idx="2620">
                  <c:v>43754</c:v>
                </c:pt>
                <c:pt idx="2621">
                  <c:v>43755</c:v>
                </c:pt>
                <c:pt idx="2622">
                  <c:v>43756</c:v>
                </c:pt>
                <c:pt idx="2623">
                  <c:v>43759</c:v>
                </c:pt>
                <c:pt idx="2624">
                  <c:v>43760</c:v>
                </c:pt>
                <c:pt idx="2625">
                  <c:v>43761</c:v>
                </c:pt>
                <c:pt idx="2626">
                  <c:v>43762</c:v>
                </c:pt>
                <c:pt idx="2627">
                  <c:v>43763</c:v>
                </c:pt>
                <c:pt idx="2628">
                  <c:v>43766</c:v>
                </c:pt>
                <c:pt idx="2629">
                  <c:v>43767</c:v>
                </c:pt>
                <c:pt idx="2630">
                  <c:v>43768</c:v>
                </c:pt>
                <c:pt idx="2631">
                  <c:v>43769</c:v>
                </c:pt>
                <c:pt idx="2632">
                  <c:v>43770</c:v>
                </c:pt>
                <c:pt idx="2633">
                  <c:v>43773</c:v>
                </c:pt>
                <c:pt idx="2634">
                  <c:v>43774</c:v>
                </c:pt>
                <c:pt idx="2635">
                  <c:v>43775</c:v>
                </c:pt>
                <c:pt idx="2636">
                  <c:v>43776</c:v>
                </c:pt>
                <c:pt idx="2637">
                  <c:v>43777</c:v>
                </c:pt>
                <c:pt idx="2638">
                  <c:v>43780</c:v>
                </c:pt>
                <c:pt idx="2639">
                  <c:v>43781</c:v>
                </c:pt>
                <c:pt idx="2640">
                  <c:v>43782</c:v>
                </c:pt>
                <c:pt idx="2641">
                  <c:v>43783</c:v>
                </c:pt>
                <c:pt idx="2642">
                  <c:v>43784</c:v>
                </c:pt>
                <c:pt idx="2643">
                  <c:v>43787</c:v>
                </c:pt>
                <c:pt idx="2644">
                  <c:v>43788</c:v>
                </c:pt>
                <c:pt idx="2645">
                  <c:v>43789</c:v>
                </c:pt>
                <c:pt idx="2646">
                  <c:v>43790</c:v>
                </c:pt>
                <c:pt idx="2647">
                  <c:v>43791</c:v>
                </c:pt>
                <c:pt idx="2648">
                  <c:v>43794</c:v>
                </c:pt>
                <c:pt idx="2649">
                  <c:v>43795</c:v>
                </c:pt>
                <c:pt idx="2650">
                  <c:v>43796</c:v>
                </c:pt>
                <c:pt idx="2651">
                  <c:v>43797</c:v>
                </c:pt>
                <c:pt idx="2652">
                  <c:v>43798</c:v>
                </c:pt>
                <c:pt idx="2653">
                  <c:v>43801</c:v>
                </c:pt>
                <c:pt idx="2654">
                  <c:v>43802</c:v>
                </c:pt>
                <c:pt idx="2655">
                  <c:v>43803</c:v>
                </c:pt>
                <c:pt idx="2656">
                  <c:v>43804</c:v>
                </c:pt>
                <c:pt idx="2657">
                  <c:v>43805</c:v>
                </c:pt>
                <c:pt idx="2658">
                  <c:v>43808</c:v>
                </c:pt>
                <c:pt idx="2659">
                  <c:v>43809</c:v>
                </c:pt>
                <c:pt idx="2660">
                  <c:v>43810</c:v>
                </c:pt>
                <c:pt idx="2661">
                  <c:v>43811</c:v>
                </c:pt>
                <c:pt idx="2662">
                  <c:v>43812</c:v>
                </c:pt>
                <c:pt idx="2663">
                  <c:v>43815</c:v>
                </c:pt>
                <c:pt idx="2664">
                  <c:v>43816</c:v>
                </c:pt>
                <c:pt idx="2665">
                  <c:v>43817</c:v>
                </c:pt>
                <c:pt idx="2666">
                  <c:v>43818</c:v>
                </c:pt>
                <c:pt idx="2667">
                  <c:v>43819</c:v>
                </c:pt>
                <c:pt idx="2668">
                  <c:v>43822</c:v>
                </c:pt>
                <c:pt idx="2669">
                  <c:v>43823</c:v>
                </c:pt>
                <c:pt idx="2670">
                  <c:v>43824</c:v>
                </c:pt>
                <c:pt idx="2671">
                  <c:v>43825</c:v>
                </c:pt>
                <c:pt idx="2672">
                  <c:v>43826</c:v>
                </c:pt>
                <c:pt idx="2673">
                  <c:v>43829</c:v>
                </c:pt>
                <c:pt idx="2674">
                  <c:v>43830</c:v>
                </c:pt>
                <c:pt idx="2675">
                  <c:v>43832</c:v>
                </c:pt>
                <c:pt idx="2676">
                  <c:v>43833</c:v>
                </c:pt>
                <c:pt idx="2677">
                  <c:v>43836</c:v>
                </c:pt>
                <c:pt idx="2678">
                  <c:v>43837</c:v>
                </c:pt>
                <c:pt idx="2679">
                  <c:v>43838</c:v>
                </c:pt>
                <c:pt idx="2680">
                  <c:v>43839</c:v>
                </c:pt>
                <c:pt idx="2681">
                  <c:v>43840</c:v>
                </c:pt>
                <c:pt idx="2682">
                  <c:v>43843</c:v>
                </c:pt>
                <c:pt idx="2683">
                  <c:v>43844</c:v>
                </c:pt>
                <c:pt idx="2684">
                  <c:v>43845</c:v>
                </c:pt>
                <c:pt idx="2685">
                  <c:v>43846</c:v>
                </c:pt>
                <c:pt idx="2686">
                  <c:v>43847</c:v>
                </c:pt>
                <c:pt idx="2687">
                  <c:v>43850</c:v>
                </c:pt>
                <c:pt idx="2688">
                  <c:v>43851</c:v>
                </c:pt>
                <c:pt idx="2689">
                  <c:v>43852</c:v>
                </c:pt>
                <c:pt idx="2690">
                  <c:v>43853</c:v>
                </c:pt>
                <c:pt idx="2691">
                  <c:v>43864</c:v>
                </c:pt>
                <c:pt idx="2692">
                  <c:v>43865</c:v>
                </c:pt>
                <c:pt idx="2693">
                  <c:v>43866</c:v>
                </c:pt>
                <c:pt idx="2694">
                  <c:v>43867</c:v>
                </c:pt>
                <c:pt idx="2695">
                  <c:v>43868</c:v>
                </c:pt>
                <c:pt idx="2696">
                  <c:v>43871</c:v>
                </c:pt>
                <c:pt idx="2697">
                  <c:v>43872</c:v>
                </c:pt>
                <c:pt idx="2698">
                  <c:v>43873</c:v>
                </c:pt>
                <c:pt idx="2699">
                  <c:v>43874</c:v>
                </c:pt>
                <c:pt idx="2700">
                  <c:v>43875</c:v>
                </c:pt>
                <c:pt idx="2701">
                  <c:v>43878</c:v>
                </c:pt>
                <c:pt idx="2702">
                  <c:v>43879</c:v>
                </c:pt>
                <c:pt idx="2703">
                  <c:v>43880</c:v>
                </c:pt>
                <c:pt idx="2704">
                  <c:v>43881</c:v>
                </c:pt>
                <c:pt idx="2705">
                  <c:v>43882</c:v>
                </c:pt>
                <c:pt idx="2706">
                  <c:v>43885</c:v>
                </c:pt>
                <c:pt idx="2707">
                  <c:v>43886</c:v>
                </c:pt>
                <c:pt idx="2708">
                  <c:v>43887</c:v>
                </c:pt>
                <c:pt idx="2709">
                  <c:v>43888</c:v>
                </c:pt>
                <c:pt idx="2710">
                  <c:v>43889</c:v>
                </c:pt>
                <c:pt idx="2711">
                  <c:v>43892</c:v>
                </c:pt>
                <c:pt idx="2712">
                  <c:v>43893</c:v>
                </c:pt>
                <c:pt idx="2713">
                  <c:v>43894</c:v>
                </c:pt>
                <c:pt idx="2714">
                  <c:v>43895</c:v>
                </c:pt>
                <c:pt idx="2715">
                  <c:v>43896</c:v>
                </c:pt>
                <c:pt idx="2716">
                  <c:v>43899</c:v>
                </c:pt>
                <c:pt idx="2717">
                  <c:v>43900</c:v>
                </c:pt>
                <c:pt idx="2718">
                  <c:v>43901</c:v>
                </c:pt>
                <c:pt idx="2719">
                  <c:v>43902</c:v>
                </c:pt>
                <c:pt idx="2720">
                  <c:v>43903</c:v>
                </c:pt>
                <c:pt idx="2721">
                  <c:v>43906</c:v>
                </c:pt>
                <c:pt idx="2722">
                  <c:v>43907</c:v>
                </c:pt>
                <c:pt idx="2723">
                  <c:v>43908</c:v>
                </c:pt>
                <c:pt idx="2724">
                  <c:v>43909</c:v>
                </c:pt>
                <c:pt idx="2725">
                  <c:v>43910</c:v>
                </c:pt>
                <c:pt idx="2726">
                  <c:v>43913</c:v>
                </c:pt>
                <c:pt idx="2727">
                  <c:v>43914</c:v>
                </c:pt>
                <c:pt idx="2728">
                  <c:v>43915</c:v>
                </c:pt>
                <c:pt idx="2729">
                  <c:v>43916</c:v>
                </c:pt>
                <c:pt idx="2730">
                  <c:v>43917</c:v>
                </c:pt>
                <c:pt idx="2731">
                  <c:v>43920</c:v>
                </c:pt>
                <c:pt idx="2732">
                  <c:v>43921</c:v>
                </c:pt>
                <c:pt idx="2733">
                  <c:v>43922</c:v>
                </c:pt>
                <c:pt idx="2734">
                  <c:v>43923</c:v>
                </c:pt>
                <c:pt idx="2735">
                  <c:v>43924</c:v>
                </c:pt>
                <c:pt idx="2736">
                  <c:v>43928</c:v>
                </c:pt>
                <c:pt idx="2737">
                  <c:v>43929</c:v>
                </c:pt>
                <c:pt idx="2738">
                  <c:v>43930</c:v>
                </c:pt>
                <c:pt idx="2739">
                  <c:v>43931</c:v>
                </c:pt>
                <c:pt idx="2740">
                  <c:v>43934</c:v>
                </c:pt>
                <c:pt idx="2741">
                  <c:v>43935</c:v>
                </c:pt>
                <c:pt idx="2742">
                  <c:v>43936</c:v>
                </c:pt>
                <c:pt idx="2743">
                  <c:v>43937</c:v>
                </c:pt>
                <c:pt idx="2744">
                  <c:v>43938</c:v>
                </c:pt>
                <c:pt idx="2745">
                  <c:v>43941</c:v>
                </c:pt>
                <c:pt idx="2746">
                  <c:v>43942</c:v>
                </c:pt>
                <c:pt idx="2747">
                  <c:v>43943</c:v>
                </c:pt>
                <c:pt idx="2748">
                  <c:v>43944</c:v>
                </c:pt>
                <c:pt idx="2749">
                  <c:v>43945</c:v>
                </c:pt>
                <c:pt idx="2750">
                  <c:v>43948</c:v>
                </c:pt>
                <c:pt idx="2751">
                  <c:v>43949</c:v>
                </c:pt>
                <c:pt idx="2752">
                  <c:v>43950</c:v>
                </c:pt>
                <c:pt idx="2753">
                  <c:v>43951</c:v>
                </c:pt>
                <c:pt idx="2754">
                  <c:v>43957</c:v>
                </c:pt>
                <c:pt idx="2755">
                  <c:v>43958</c:v>
                </c:pt>
                <c:pt idx="2756">
                  <c:v>43959</c:v>
                </c:pt>
                <c:pt idx="2757">
                  <c:v>43962</c:v>
                </c:pt>
                <c:pt idx="2758">
                  <c:v>43963</c:v>
                </c:pt>
                <c:pt idx="2759">
                  <c:v>43964</c:v>
                </c:pt>
                <c:pt idx="2760">
                  <c:v>43965</c:v>
                </c:pt>
                <c:pt idx="2761">
                  <c:v>43966</c:v>
                </c:pt>
                <c:pt idx="2762">
                  <c:v>43969</c:v>
                </c:pt>
                <c:pt idx="2763">
                  <c:v>43970</c:v>
                </c:pt>
                <c:pt idx="2764">
                  <c:v>43971</c:v>
                </c:pt>
                <c:pt idx="2765">
                  <c:v>43972</c:v>
                </c:pt>
                <c:pt idx="2766">
                  <c:v>43973</c:v>
                </c:pt>
                <c:pt idx="2767">
                  <c:v>43976</c:v>
                </c:pt>
                <c:pt idx="2768">
                  <c:v>43977</c:v>
                </c:pt>
                <c:pt idx="2769">
                  <c:v>43978</c:v>
                </c:pt>
                <c:pt idx="2770">
                  <c:v>43979</c:v>
                </c:pt>
                <c:pt idx="2771">
                  <c:v>43980</c:v>
                </c:pt>
                <c:pt idx="2772">
                  <c:v>43983</c:v>
                </c:pt>
                <c:pt idx="2773">
                  <c:v>43984</c:v>
                </c:pt>
                <c:pt idx="2774">
                  <c:v>43985</c:v>
                </c:pt>
                <c:pt idx="2775">
                  <c:v>43986</c:v>
                </c:pt>
                <c:pt idx="2776">
                  <c:v>43987</c:v>
                </c:pt>
                <c:pt idx="2777">
                  <c:v>43990</c:v>
                </c:pt>
                <c:pt idx="2778">
                  <c:v>43991</c:v>
                </c:pt>
                <c:pt idx="2779">
                  <c:v>43992</c:v>
                </c:pt>
                <c:pt idx="2780">
                  <c:v>43993</c:v>
                </c:pt>
                <c:pt idx="2781">
                  <c:v>43994</c:v>
                </c:pt>
                <c:pt idx="2782">
                  <c:v>43997</c:v>
                </c:pt>
                <c:pt idx="2783">
                  <c:v>43998</c:v>
                </c:pt>
                <c:pt idx="2784">
                  <c:v>43999</c:v>
                </c:pt>
                <c:pt idx="2785">
                  <c:v>44000</c:v>
                </c:pt>
                <c:pt idx="2786">
                  <c:v>44001</c:v>
                </c:pt>
                <c:pt idx="2787">
                  <c:v>44004</c:v>
                </c:pt>
                <c:pt idx="2788">
                  <c:v>44005</c:v>
                </c:pt>
                <c:pt idx="2789">
                  <c:v>44006</c:v>
                </c:pt>
                <c:pt idx="2790">
                  <c:v>44011</c:v>
                </c:pt>
                <c:pt idx="2791">
                  <c:v>44012</c:v>
                </c:pt>
                <c:pt idx="2792">
                  <c:v>44013</c:v>
                </c:pt>
                <c:pt idx="2793">
                  <c:v>44014</c:v>
                </c:pt>
                <c:pt idx="2794">
                  <c:v>44015</c:v>
                </c:pt>
                <c:pt idx="2795">
                  <c:v>44018</c:v>
                </c:pt>
                <c:pt idx="2796">
                  <c:v>44019</c:v>
                </c:pt>
                <c:pt idx="2797">
                  <c:v>44020</c:v>
                </c:pt>
                <c:pt idx="2798">
                  <c:v>44021</c:v>
                </c:pt>
                <c:pt idx="2799">
                  <c:v>44022</c:v>
                </c:pt>
                <c:pt idx="2800">
                  <c:v>44025</c:v>
                </c:pt>
                <c:pt idx="2801">
                  <c:v>44026</c:v>
                </c:pt>
                <c:pt idx="2802">
                  <c:v>44027</c:v>
                </c:pt>
                <c:pt idx="2803">
                  <c:v>44028</c:v>
                </c:pt>
                <c:pt idx="2804">
                  <c:v>44029</c:v>
                </c:pt>
                <c:pt idx="2805">
                  <c:v>44032</c:v>
                </c:pt>
                <c:pt idx="2806">
                  <c:v>44033</c:v>
                </c:pt>
                <c:pt idx="2807">
                  <c:v>44034</c:v>
                </c:pt>
                <c:pt idx="2808">
                  <c:v>44035</c:v>
                </c:pt>
                <c:pt idx="2809">
                  <c:v>44036</c:v>
                </c:pt>
                <c:pt idx="2810">
                  <c:v>44039</c:v>
                </c:pt>
                <c:pt idx="2811">
                  <c:v>44040</c:v>
                </c:pt>
                <c:pt idx="2812">
                  <c:v>44041</c:v>
                </c:pt>
                <c:pt idx="2813">
                  <c:v>44042</c:v>
                </c:pt>
                <c:pt idx="2814">
                  <c:v>44043</c:v>
                </c:pt>
                <c:pt idx="2815">
                  <c:v>44046</c:v>
                </c:pt>
                <c:pt idx="2816">
                  <c:v>44047</c:v>
                </c:pt>
                <c:pt idx="2817">
                  <c:v>44048</c:v>
                </c:pt>
                <c:pt idx="2818">
                  <c:v>44049</c:v>
                </c:pt>
                <c:pt idx="2819">
                  <c:v>44050</c:v>
                </c:pt>
                <c:pt idx="2820">
                  <c:v>44053</c:v>
                </c:pt>
                <c:pt idx="2821">
                  <c:v>44054</c:v>
                </c:pt>
                <c:pt idx="2822">
                  <c:v>44055</c:v>
                </c:pt>
                <c:pt idx="2823">
                  <c:v>44056</c:v>
                </c:pt>
                <c:pt idx="2824">
                  <c:v>44057</c:v>
                </c:pt>
                <c:pt idx="2825">
                  <c:v>44060</c:v>
                </c:pt>
                <c:pt idx="2826">
                  <c:v>44061</c:v>
                </c:pt>
                <c:pt idx="2827">
                  <c:v>44062</c:v>
                </c:pt>
                <c:pt idx="2828">
                  <c:v>44063</c:v>
                </c:pt>
                <c:pt idx="2829">
                  <c:v>44064</c:v>
                </c:pt>
                <c:pt idx="2830">
                  <c:v>44067</c:v>
                </c:pt>
                <c:pt idx="2831">
                  <c:v>44068</c:v>
                </c:pt>
                <c:pt idx="2832">
                  <c:v>44069</c:v>
                </c:pt>
                <c:pt idx="2833">
                  <c:v>44070</c:v>
                </c:pt>
                <c:pt idx="2834">
                  <c:v>44071</c:v>
                </c:pt>
                <c:pt idx="2835">
                  <c:v>44074</c:v>
                </c:pt>
                <c:pt idx="2836">
                  <c:v>44075</c:v>
                </c:pt>
                <c:pt idx="2837">
                  <c:v>44076</c:v>
                </c:pt>
                <c:pt idx="2838">
                  <c:v>44077</c:v>
                </c:pt>
                <c:pt idx="2839">
                  <c:v>44078</c:v>
                </c:pt>
                <c:pt idx="2840">
                  <c:v>44081</c:v>
                </c:pt>
                <c:pt idx="2841">
                  <c:v>44082</c:v>
                </c:pt>
                <c:pt idx="2842">
                  <c:v>44083</c:v>
                </c:pt>
                <c:pt idx="2843">
                  <c:v>44084</c:v>
                </c:pt>
                <c:pt idx="2844">
                  <c:v>44085</c:v>
                </c:pt>
                <c:pt idx="2845">
                  <c:v>44088</c:v>
                </c:pt>
                <c:pt idx="2846">
                  <c:v>44089</c:v>
                </c:pt>
                <c:pt idx="2847">
                  <c:v>44090</c:v>
                </c:pt>
                <c:pt idx="2848">
                  <c:v>44091</c:v>
                </c:pt>
                <c:pt idx="2849">
                  <c:v>44092</c:v>
                </c:pt>
                <c:pt idx="2850">
                  <c:v>44095</c:v>
                </c:pt>
                <c:pt idx="2851">
                  <c:v>44096</c:v>
                </c:pt>
                <c:pt idx="2852">
                  <c:v>44097</c:v>
                </c:pt>
                <c:pt idx="2853">
                  <c:v>44098</c:v>
                </c:pt>
                <c:pt idx="2854">
                  <c:v>44099</c:v>
                </c:pt>
                <c:pt idx="2855">
                  <c:v>44102</c:v>
                </c:pt>
                <c:pt idx="2856">
                  <c:v>44103</c:v>
                </c:pt>
                <c:pt idx="2857">
                  <c:v>44104</c:v>
                </c:pt>
                <c:pt idx="2858">
                  <c:v>44113</c:v>
                </c:pt>
                <c:pt idx="2859">
                  <c:v>44116</c:v>
                </c:pt>
                <c:pt idx="2860">
                  <c:v>44117</c:v>
                </c:pt>
                <c:pt idx="2861">
                  <c:v>44118</c:v>
                </c:pt>
                <c:pt idx="2862">
                  <c:v>44119</c:v>
                </c:pt>
                <c:pt idx="2863">
                  <c:v>44120</c:v>
                </c:pt>
                <c:pt idx="2864">
                  <c:v>44123</c:v>
                </c:pt>
                <c:pt idx="2865">
                  <c:v>44124</c:v>
                </c:pt>
                <c:pt idx="2866">
                  <c:v>44125</c:v>
                </c:pt>
                <c:pt idx="2867">
                  <c:v>44126</c:v>
                </c:pt>
                <c:pt idx="2868">
                  <c:v>44127</c:v>
                </c:pt>
                <c:pt idx="2869">
                  <c:v>44130</c:v>
                </c:pt>
                <c:pt idx="2870">
                  <c:v>44131</c:v>
                </c:pt>
                <c:pt idx="2871">
                  <c:v>44132</c:v>
                </c:pt>
                <c:pt idx="2872">
                  <c:v>44133</c:v>
                </c:pt>
                <c:pt idx="2873">
                  <c:v>44134</c:v>
                </c:pt>
                <c:pt idx="2874">
                  <c:v>44137</c:v>
                </c:pt>
                <c:pt idx="2875">
                  <c:v>44138</c:v>
                </c:pt>
                <c:pt idx="2876">
                  <c:v>44139</c:v>
                </c:pt>
                <c:pt idx="2877">
                  <c:v>44140</c:v>
                </c:pt>
                <c:pt idx="2878">
                  <c:v>44141</c:v>
                </c:pt>
                <c:pt idx="2879">
                  <c:v>44144</c:v>
                </c:pt>
                <c:pt idx="2880">
                  <c:v>44145</c:v>
                </c:pt>
                <c:pt idx="2881">
                  <c:v>44146</c:v>
                </c:pt>
                <c:pt idx="2882">
                  <c:v>44147</c:v>
                </c:pt>
                <c:pt idx="2883">
                  <c:v>44148</c:v>
                </c:pt>
                <c:pt idx="2884">
                  <c:v>44151</c:v>
                </c:pt>
                <c:pt idx="2885">
                  <c:v>44152</c:v>
                </c:pt>
                <c:pt idx="2886">
                  <c:v>44153</c:v>
                </c:pt>
                <c:pt idx="2887">
                  <c:v>44154</c:v>
                </c:pt>
                <c:pt idx="2888">
                  <c:v>44155</c:v>
                </c:pt>
                <c:pt idx="2889">
                  <c:v>44158</c:v>
                </c:pt>
                <c:pt idx="2890">
                  <c:v>44159</c:v>
                </c:pt>
                <c:pt idx="2891">
                  <c:v>44160</c:v>
                </c:pt>
                <c:pt idx="2892">
                  <c:v>44161</c:v>
                </c:pt>
                <c:pt idx="2893">
                  <c:v>44162</c:v>
                </c:pt>
                <c:pt idx="2894">
                  <c:v>44165</c:v>
                </c:pt>
                <c:pt idx="2895">
                  <c:v>44166</c:v>
                </c:pt>
                <c:pt idx="2896">
                  <c:v>44167</c:v>
                </c:pt>
                <c:pt idx="2897">
                  <c:v>44168</c:v>
                </c:pt>
                <c:pt idx="2898">
                  <c:v>44169</c:v>
                </c:pt>
                <c:pt idx="2899">
                  <c:v>44172</c:v>
                </c:pt>
                <c:pt idx="2900">
                  <c:v>44173</c:v>
                </c:pt>
                <c:pt idx="2901">
                  <c:v>44174</c:v>
                </c:pt>
                <c:pt idx="2902">
                  <c:v>44175</c:v>
                </c:pt>
                <c:pt idx="2903">
                  <c:v>44176</c:v>
                </c:pt>
                <c:pt idx="2904">
                  <c:v>44179</c:v>
                </c:pt>
                <c:pt idx="2905">
                  <c:v>44180</c:v>
                </c:pt>
                <c:pt idx="2906">
                  <c:v>44181</c:v>
                </c:pt>
                <c:pt idx="2907">
                  <c:v>44182</c:v>
                </c:pt>
                <c:pt idx="2908">
                  <c:v>44183</c:v>
                </c:pt>
                <c:pt idx="2909">
                  <c:v>44186</c:v>
                </c:pt>
                <c:pt idx="2910">
                  <c:v>44187</c:v>
                </c:pt>
                <c:pt idx="2911">
                  <c:v>44188</c:v>
                </c:pt>
                <c:pt idx="2912">
                  <c:v>44189</c:v>
                </c:pt>
                <c:pt idx="2913">
                  <c:v>44190</c:v>
                </c:pt>
                <c:pt idx="2914">
                  <c:v>44193</c:v>
                </c:pt>
                <c:pt idx="2915">
                  <c:v>44194</c:v>
                </c:pt>
                <c:pt idx="2916">
                  <c:v>44195</c:v>
                </c:pt>
                <c:pt idx="2917">
                  <c:v>44196</c:v>
                </c:pt>
                <c:pt idx="2918">
                  <c:v>44200</c:v>
                </c:pt>
                <c:pt idx="2919">
                  <c:v>44201</c:v>
                </c:pt>
                <c:pt idx="2920">
                  <c:v>44202</c:v>
                </c:pt>
                <c:pt idx="2921">
                  <c:v>44203</c:v>
                </c:pt>
                <c:pt idx="2922">
                  <c:v>44204</c:v>
                </c:pt>
                <c:pt idx="2923">
                  <c:v>44207</c:v>
                </c:pt>
                <c:pt idx="2924">
                  <c:v>44208</c:v>
                </c:pt>
                <c:pt idx="2925">
                  <c:v>44209</c:v>
                </c:pt>
                <c:pt idx="2926">
                  <c:v>44210</c:v>
                </c:pt>
                <c:pt idx="2927">
                  <c:v>44211</c:v>
                </c:pt>
                <c:pt idx="2928">
                  <c:v>44214</c:v>
                </c:pt>
                <c:pt idx="2929">
                  <c:v>44215</c:v>
                </c:pt>
                <c:pt idx="2930">
                  <c:v>44216</c:v>
                </c:pt>
                <c:pt idx="2931">
                  <c:v>44217</c:v>
                </c:pt>
                <c:pt idx="2932">
                  <c:v>44218</c:v>
                </c:pt>
                <c:pt idx="2933">
                  <c:v>44221</c:v>
                </c:pt>
                <c:pt idx="2934">
                  <c:v>44222</c:v>
                </c:pt>
                <c:pt idx="2935">
                  <c:v>44223</c:v>
                </c:pt>
                <c:pt idx="2936">
                  <c:v>44224</c:v>
                </c:pt>
                <c:pt idx="2937">
                  <c:v>44225</c:v>
                </c:pt>
                <c:pt idx="2938">
                  <c:v>44228</c:v>
                </c:pt>
                <c:pt idx="2939">
                  <c:v>44229</c:v>
                </c:pt>
                <c:pt idx="2940">
                  <c:v>44230</c:v>
                </c:pt>
                <c:pt idx="2941">
                  <c:v>44231</c:v>
                </c:pt>
                <c:pt idx="2942">
                  <c:v>44232</c:v>
                </c:pt>
                <c:pt idx="2943">
                  <c:v>44235</c:v>
                </c:pt>
                <c:pt idx="2944">
                  <c:v>44236</c:v>
                </c:pt>
                <c:pt idx="2945">
                  <c:v>44237</c:v>
                </c:pt>
                <c:pt idx="2946">
                  <c:v>44245</c:v>
                </c:pt>
                <c:pt idx="2947">
                  <c:v>44246</c:v>
                </c:pt>
                <c:pt idx="2948">
                  <c:v>44249</c:v>
                </c:pt>
                <c:pt idx="2949">
                  <c:v>44250</c:v>
                </c:pt>
                <c:pt idx="2950">
                  <c:v>44251</c:v>
                </c:pt>
                <c:pt idx="2951">
                  <c:v>44252</c:v>
                </c:pt>
                <c:pt idx="2952">
                  <c:v>44253</c:v>
                </c:pt>
                <c:pt idx="2953">
                  <c:v>44256</c:v>
                </c:pt>
                <c:pt idx="2954">
                  <c:v>44257</c:v>
                </c:pt>
                <c:pt idx="2955">
                  <c:v>44258</c:v>
                </c:pt>
                <c:pt idx="2956">
                  <c:v>44259</c:v>
                </c:pt>
                <c:pt idx="2957">
                  <c:v>44260</c:v>
                </c:pt>
                <c:pt idx="2958">
                  <c:v>44263</c:v>
                </c:pt>
                <c:pt idx="2959">
                  <c:v>44264</c:v>
                </c:pt>
                <c:pt idx="2960">
                  <c:v>44265</c:v>
                </c:pt>
                <c:pt idx="2961">
                  <c:v>44266</c:v>
                </c:pt>
                <c:pt idx="2962">
                  <c:v>44267</c:v>
                </c:pt>
                <c:pt idx="2963">
                  <c:v>44270</c:v>
                </c:pt>
                <c:pt idx="2964">
                  <c:v>44271</c:v>
                </c:pt>
                <c:pt idx="2965">
                  <c:v>44272</c:v>
                </c:pt>
                <c:pt idx="2966">
                  <c:v>44273</c:v>
                </c:pt>
                <c:pt idx="2967">
                  <c:v>44274</c:v>
                </c:pt>
                <c:pt idx="2968">
                  <c:v>44277</c:v>
                </c:pt>
                <c:pt idx="2969">
                  <c:v>44278</c:v>
                </c:pt>
                <c:pt idx="2970">
                  <c:v>44279</c:v>
                </c:pt>
                <c:pt idx="2971">
                  <c:v>44280</c:v>
                </c:pt>
                <c:pt idx="2972">
                  <c:v>44281</c:v>
                </c:pt>
                <c:pt idx="2973">
                  <c:v>44284</c:v>
                </c:pt>
                <c:pt idx="2974">
                  <c:v>44285</c:v>
                </c:pt>
                <c:pt idx="2975">
                  <c:v>44286</c:v>
                </c:pt>
                <c:pt idx="2976">
                  <c:v>44287</c:v>
                </c:pt>
                <c:pt idx="2977">
                  <c:v>44288</c:v>
                </c:pt>
                <c:pt idx="2978">
                  <c:v>44292</c:v>
                </c:pt>
                <c:pt idx="2979">
                  <c:v>44293</c:v>
                </c:pt>
                <c:pt idx="2980">
                  <c:v>44294</c:v>
                </c:pt>
                <c:pt idx="2981">
                  <c:v>44295</c:v>
                </c:pt>
                <c:pt idx="2982">
                  <c:v>44298</c:v>
                </c:pt>
                <c:pt idx="2983">
                  <c:v>44299</c:v>
                </c:pt>
                <c:pt idx="2984">
                  <c:v>44300</c:v>
                </c:pt>
                <c:pt idx="2985">
                  <c:v>44301</c:v>
                </c:pt>
                <c:pt idx="2986">
                  <c:v>44302</c:v>
                </c:pt>
                <c:pt idx="2987">
                  <c:v>44305</c:v>
                </c:pt>
                <c:pt idx="2988">
                  <c:v>44306</c:v>
                </c:pt>
                <c:pt idx="2989">
                  <c:v>44307</c:v>
                </c:pt>
                <c:pt idx="2990">
                  <c:v>44308</c:v>
                </c:pt>
                <c:pt idx="2991">
                  <c:v>44309</c:v>
                </c:pt>
                <c:pt idx="2992">
                  <c:v>44312</c:v>
                </c:pt>
                <c:pt idx="2993">
                  <c:v>44313</c:v>
                </c:pt>
                <c:pt idx="2994">
                  <c:v>44314</c:v>
                </c:pt>
                <c:pt idx="2995">
                  <c:v>44315</c:v>
                </c:pt>
                <c:pt idx="2996">
                  <c:v>44316</c:v>
                </c:pt>
                <c:pt idx="2997">
                  <c:v>44322</c:v>
                </c:pt>
                <c:pt idx="2998">
                  <c:v>44323</c:v>
                </c:pt>
                <c:pt idx="2999">
                  <c:v>44326</c:v>
                </c:pt>
                <c:pt idx="3000">
                  <c:v>44327</c:v>
                </c:pt>
                <c:pt idx="3001">
                  <c:v>44328</c:v>
                </c:pt>
                <c:pt idx="3002">
                  <c:v>44329</c:v>
                </c:pt>
                <c:pt idx="3003">
                  <c:v>44330</c:v>
                </c:pt>
                <c:pt idx="3004">
                  <c:v>44333</c:v>
                </c:pt>
                <c:pt idx="3005">
                  <c:v>44334</c:v>
                </c:pt>
                <c:pt idx="3006">
                  <c:v>44335</c:v>
                </c:pt>
                <c:pt idx="3007">
                  <c:v>44336</c:v>
                </c:pt>
                <c:pt idx="3008">
                  <c:v>44337</c:v>
                </c:pt>
                <c:pt idx="3009">
                  <c:v>44340</c:v>
                </c:pt>
                <c:pt idx="3010">
                  <c:v>44341</c:v>
                </c:pt>
                <c:pt idx="3011">
                  <c:v>44342</c:v>
                </c:pt>
                <c:pt idx="3012">
                  <c:v>44343</c:v>
                </c:pt>
                <c:pt idx="3013">
                  <c:v>44344</c:v>
                </c:pt>
                <c:pt idx="3014">
                  <c:v>44347</c:v>
                </c:pt>
                <c:pt idx="3015">
                  <c:v>44348</c:v>
                </c:pt>
                <c:pt idx="3016">
                  <c:v>44349</c:v>
                </c:pt>
                <c:pt idx="3017">
                  <c:v>44350</c:v>
                </c:pt>
                <c:pt idx="3018">
                  <c:v>44351</c:v>
                </c:pt>
                <c:pt idx="3019">
                  <c:v>44354</c:v>
                </c:pt>
                <c:pt idx="3020">
                  <c:v>44355</c:v>
                </c:pt>
                <c:pt idx="3021">
                  <c:v>44356</c:v>
                </c:pt>
                <c:pt idx="3022">
                  <c:v>44357</c:v>
                </c:pt>
                <c:pt idx="3023">
                  <c:v>44358</c:v>
                </c:pt>
                <c:pt idx="3024">
                  <c:v>44362</c:v>
                </c:pt>
                <c:pt idx="3025">
                  <c:v>44363</c:v>
                </c:pt>
                <c:pt idx="3026">
                  <c:v>44364</c:v>
                </c:pt>
                <c:pt idx="3027">
                  <c:v>44365</c:v>
                </c:pt>
                <c:pt idx="3028">
                  <c:v>44368</c:v>
                </c:pt>
                <c:pt idx="3029">
                  <c:v>44369</c:v>
                </c:pt>
                <c:pt idx="3030">
                  <c:v>44370</c:v>
                </c:pt>
                <c:pt idx="3031">
                  <c:v>44371</c:v>
                </c:pt>
                <c:pt idx="3032">
                  <c:v>44372</c:v>
                </c:pt>
                <c:pt idx="3033">
                  <c:v>44375</c:v>
                </c:pt>
                <c:pt idx="3034">
                  <c:v>44376</c:v>
                </c:pt>
                <c:pt idx="3035">
                  <c:v>44377</c:v>
                </c:pt>
                <c:pt idx="3036">
                  <c:v>44378</c:v>
                </c:pt>
                <c:pt idx="3037">
                  <c:v>44379</c:v>
                </c:pt>
                <c:pt idx="3038">
                  <c:v>44382</c:v>
                </c:pt>
                <c:pt idx="3039">
                  <c:v>44383</c:v>
                </c:pt>
                <c:pt idx="3040">
                  <c:v>44384</c:v>
                </c:pt>
                <c:pt idx="3041">
                  <c:v>44385</c:v>
                </c:pt>
                <c:pt idx="3042">
                  <c:v>44386</c:v>
                </c:pt>
                <c:pt idx="3043">
                  <c:v>44389</c:v>
                </c:pt>
                <c:pt idx="3044">
                  <c:v>44390</c:v>
                </c:pt>
                <c:pt idx="3045">
                  <c:v>44391</c:v>
                </c:pt>
                <c:pt idx="3046">
                  <c:v>44392</c:v>
                </c:pt>
                <c:pt idx="3047">
                  <c:v>44393</c:v>
                </c:pt>
                <c:pt idx="3048">
                  <c:v>44396</c:v>
                </c:pt>
                <c:pt idx="3049">
                  <c:v>44397</c:v>
                </c:pt>
                <c:pt idx="3050">
                  <c:v>44398</c:v>
                </c:pt>
                <c:pt idx="3051">
                  <c:v>44399</c:v>
                </c:pt>
                <c:pt idx="3052">
                  <c:v>44400</c:v>
                </c:pt>
                <c:pt idx="3053">
                  <c:v>44403</c:v>
                </c:pt>
                <c:pt idx="3054">
                  <c:v>44404</c:v>
                </c:pt>
                <c:pt idx="3055">
                  <c:v>44405</c:v>
                </c:pt>
                <c:pt idx="3056">
                  <c:v>44406</c:v>
                </c:pt>
                <c:pt idx="3057">
                  <c:v>44407</c:v>
                </c:pt>
                <c:pt idx="3058">
                  <c:v>44410</c:v>
                </c:pt>
                <c:pt idx="3059">
                  <c:v>44411</c:v>
                </c:pt>
                <c:pt idx="3060">
                  <c:v>44412</c:v>
                </c:pt>
                <c:pt idx="3061">
                  <c:v>44413</c:v>
                </c:pt>
                <c:pt idx="3062">
                  <c:v>44414</c:v>
                </c:pt>
                <c:pt idx="3063">
                  <c:v>44417</c:v>
                </c:pt>
                <c:pt idx="3064">
                  <c:v>44418</c:v>
                </c:pt>
                <c:pt idx="3065">
                  <c:v>44419</c:v>
                </c:pt>
                <c:pt idx="3066">
                  <c:v>44420</c:v>
                </c:pt>
                <c:pt idx="3067">
                  <c:v>44421</c:v>
                </c:pt>
                <c:pt idx="3068">
                  <c:v>44424</c:v>
                </c:pt>
                <c:pt idx="3069">
                  <c:v>44425</c:v>
                </c:pt>
                <c:pt idx="3070">
                  <c:v>44426</c:v>
                </c:pt>
                <c:pt idx="3071">
                  <c:v>44427</c:v>
                </c:pt>
                <c:pt idx="3072">
                  <c:v>44428</c:v>
                </c:pt>
                <c:pt idx="3073">
                  <c:v>44431</c:v>
                </c:pt>
                <c:pt idx="3074">
                  <c:v>44432</c:v>
                </c:pt>
                <c:pt idx="3075">
                  <c:v>44433</c:v>
                </c:pt>
                <c:pt idx="3076">
                  <c:v>44434</c:v>
                </c:pt>
                <c:pt idx="3077">
                  <c:v>44435</c:v>
                </c:pt>
                <c:pt idx="3078">
                  <c:v>44438</c:v>
                </c:pt>
                <c:pt idx="3079">
                  <c:v>44439</c:v>
                </c:pt>
                <c:pt idx="3080">
                  <c:v>44440</c:v>
                </c:pt>
                <c:pt idx="3081">
                  <c:v>44441</c:v>
                </c:pt>
                <c:pt idx="3082">
                  <c:v>44442</c:v>
                </c:pt>
                <c:pt idx="3083">
                  <c:v>44445</c:v>
                </c:pt>
                <c:pt idx="3084">
                  <c:v>44446</c:v>
                </c:pt>
                <c:pt idx="3085">
                  <c:v>44447</c:v>
                </c:pt>
                <c:pt idx="3086">
                  <c:v>44448</c:v>
                </c:pt>
                <c:pt idx="3087">
                  <c:v>44449</c:v>
                </c:pt>
                <c:pt idx="3088">
                  <c:v>44452</c:v>
                </c:pt>
                <c:pt idx="3089">
                  <c:v>44453</c:v>
                </c:pt>
                <c:pt idx="3090">
                  <c:v>44454</c:v>
                </c:pt>
                <c:pt idx="3091">
                  <c:v>44455</c:v>
                </c:pt>
                <c:pt idx="3092">
                  <c:v>44456</c:v>
                </c:pt>
                <c:pt idx="3093">
                  <c:v>44461</c:v>
                </c:pt>
                <c:pt idx="3094">
                  <c:v>44462</c:v>
                </c:pt>
                <c:pt idx="3095">
                  <c:v>44463</c:v>
                </c:pt>
                <c:pt idx="3096">
                  <c:v>44466</c:v>
                </c:pt>
                <c:pt idx="3097">
                  <c:v>44467</c:v>
                </c:pt>
                <c:pt idx="3098">
                  <c:v>44468</c:v>
                </c:pt>
                <c:pt idx="3099">
                  <c:v>44469</c:v>
                </c:pt>
                <c:pt idx="3100">
                  <c:v>44477</c:v>
                </c:pt>
                <c:pt idx="3101">
                  <c:v>44480</c:v>
                </c:pt>
                <c:pt idx="3102">
                  <c:v>44481</c:v>
                </c:pt>
                <c:pt idx="3103">
                  <c:v>44482</c:v>
                </c:pt>
                <c:pt idx="3104">
                  <c:v>44483</c:v>
                </c:pt>
                <c:pt idx="3105">
                  <c:v>44484</c:v>
                </c:pt>
                <c:pt idx="3106">
                  <c:v>44487</c:v>
                </c:pt>
                <c:pt idx="3107">
                  <c:v>44488</c:v>
                </c:pt>
                <c:pt idx="3108">
                  <c:v>44489</c:v>
                </c:pt>
                <c:pt idx="3109">
                  <c:v>44490</c:v>
                </c:pt>
                <c:pt idx="3110">
                  <c:v>44491</c:v>
                </c:pt>
                <c:pt idx="3111">
                  <c:v>44494</c:v>
                </c:pt>
                <c:pt idx="3112">
                  <c:v>44495</c:v>
                </c:pt>
                <c:pt idx="3113">
                  <c:v>44496</c:v>
                </c:pt>
                <c:pt idx="3114">
                  <c:v>44497</c:v>
                </c:pt>
                <c:pt idx="3115">
                  <c:v>44498</c:v>
                </c:pt>
                <c:pt idx="3116">
                  <c:v>44501</c:v>
                </c:pt>
                <c:pt idx="3117">
                  <c:v>44502</c:v>
                </c:pt>
                <c:pt idx="3118">
                  <c:v>44503</c:v>
                </c:pt>
                <c:pt idx="3119">
                  <c:v>44504</c:v>
                </c:pt>
                <c:pt idx="3120">
                  <c:v>44505</c:v>
                </c:pt>
                <c:pt idx="3121">
                  <c:v>44508</c:v>
                </c:pt>
                <c:pt idx="3122">
                  <c:v>44509</c:v>
                </c:pt>
                <c:pt idx="3123">
                  <c:v>44510</c:v>
                </c:pt>
                <c:pt idx="3124">
                  <c:v>44511</c:v>
                </c:pt>
                <c:pt idx="3125">
                  <c:v>44512</c:v>
                </c:pt>
                <c:pt idx="3126">
                  <c:v>44515</c:v>
                </c:pt>
                <c:pt idx="3127">
                  <c:v>44516</c:v>
                </c:pt>
                <c:pt idx="3128">
                  <c:v>44517</c:v>
                </c:pt>
                <c:pt idx="3129">
                  <c:v>44518</c:v>
                </c:pt>
                <c:pt idx="3130">
                  <c:v>44519</c:v>
                </c:pt>
                <c:pt idx="3131">
                  <c:v>44522</c:v>
                </c:pt>
                <c:pt idx="3132">
                  <c:v>44523</c:v>
                </c:pt>
                <c:pt idx="3133">
                  <c:v>44524</c:v>
                </c:pt>
                <c:pt idx="3134">
                  <c:v>44525</c:v>
                </c:pt>
                <c:pt idx="3135">
                  <c:v>44526</c:v>
                </c:pt>
                <c:pt idx="3136">
                  <c:v>44529</c:v>
                </c:pt>
                <c:pt idx="3137">
                  <c:v>44530</c:v>
                </c:pt>
                <c:pt idx="3138">
                  <c:v>44531</c:v>
                </c:pt>
                <c:pt idx="3139">
                  <c:v>44532</c:v>
                </c:pt>
                <c:pt idx="3140">
                  <c:v>44533</c:v>
                </c:pt>
                <c:pt idx="3141">
                  <c:v>44536</c:v>
                </c:pt>
                <c:pt idx="3142">
                  <c:v>44537</c:v>
                </c:pt>
                <c:pt idx="3143">
                  <c:v>44538</c:v>
                </c:pt>
                <c:pt idx="3144">
                  <c:v>44539</c:v>
                </c:pt>
                <c:pt idx="3145">
                  <c:v>44540</c:v>
                </c:pt>
                <c:pt idx="3146">
                  <c:v>44543</c:v>
                </c:pt>
                <c:pt idx="3147">
                  <c:v>44544</c:v>
                </c:pt>
                <c:pt idx="3148">
                  <c:v>44545</c:v>
                </c:pt>
                <c:pt idx="3149">
                  <c:v>44546</c:v>
                </c:pt>
                <c:pt idx="3150">
                  <c:v>44547</c:v>
                </c:pt>
                <c:pt idx="3151">
                  <c:v>44550</c:v>
                </c:pt>
                <c:pt idx="3152">
                  <c:v>44551</c:v>
                </c:pt>
                <c:pt idx="3153">
                  <c:v>44552</c:v>
                </c:pt>
                <c:pt idx="3154">
                  <c:v>44553</c:v>
                </c:pt>
                <c:pt idx="3155">
                  <c:v>44554</c:v>
                </c:pt>
                <c:pt idx="3156">
                  <c:v>44557</c:v>
                </c:pt>
                <c:pt idx="3157">
                  <c:v>44558</c:v>
                </c:pt>
                <c:pt idx="3158">
                  <c:v>44559</c:v>
                </c:pt>
                <c:pt idx="3159">
                  <c:v>44560</c:v>
                </c:pt>
                <c:pt idx="3160">
                  <c:v>44561</c:v>
                </c:pt>
                <c:pt idx="3161">
                  <c:v>44565</c:v>
                </c:pt>
                <c:pt idx="3162">
                  <c:v>44566</c:v>
                </c:pt>
                <c:pt idx="3163">
                  <c:v>44567</c:v>
                </c:pt>
                <c:pt idx="3164">
                  <c:v>44568</c:v>
                </c:pt>
                <c:pt idx="3165">
                  <c:v>44571</c:v>
                </c:pt>
                <c:pt idx="3166">
                  <c:v>44572</c:v>
                </c:pt>
                <c:pt idx="3167">
                  <c:v>44573</c:v>
                </c:pt>
                <c:pt idx="3168">
                  <c:v>44574</c:v>
                </c:pt>
                <c:pt idx="3169">
                  <c:v>44575</c:v>
                </c:pt>
                <c:pt idx="3170">
                  <c:v>44578</c:v>
                </c:pt>
                <c:pt idx="3171">
                  <c:v>44579</c:v>
                </c:pt>
                <c:pt idx="3172">
                  <c:v>44580</c:v>
                </c:pt>
                <c:pt idx="3173">
                  <c:v>44581</c:v>
                </c:pt>
                <c:pt idx="3174">
                  <c:v>44582</c:v>
                </c:pt>
                <c:pt idx="3175">
                  <c:v>44585</c:v>
                </c:pt>
                <c:pt idx="3176">
                  <c:v>44586</c:v>
                </c:pt>
                <c:pt idx="3177">
                  <c:v>44587</c:v>
                </c:pt>
                <c:pt idx="3178">
                  <c:v>44588</c:v>
                </c:pt>
                <c:pt idx="3179">
                  <c:v>44589</c:v>
                </c:pt>
                <c:pt idx="3180">
                  <c:v>44599</c:v>
                </c:pt>
                <c:pt idx="3181">
                  <c:v>44600</c:v>
                </c:pt>
                <c:pt idx="3182">
                  <c:v>44601</c:v>
                </c:pt>
                <c:pt idx="3183">
                  <c:v>44602</c:v>
                </c:pt>
                <c:pt idx="3184">
                  <c:v>44603</c:v>
                </c:pt>
                <c:pt idx="3185">
                  <c:v>44606</c:v>
                </c:pt>
                <c:pt idx="3186">
                  <c:v>44607</c:v>
                </c:pt>
                <c:pt idx="3187">
                  <c:v>44608</c:v>
                </c:pt>
                <c:pt idx="3188">
                  <c:v>44609</c:v>
                </c:pt>
                <c:pt idx="3189">
                  <c:v>44610</c:v>
                </c:pt>
                <c:pt idx="3190">
                  <c:v>44613</c:v>
                </c:pt>
                <c:pt idx="3191">
                  <c:v>44614</c:v>
                </c:pt>
                <c:pt idx="3192">
                  <c:v>44615</c:v>
                </c:pt>
                <c:pt idx="3193">
                  <c:v>44616</c:v>
                </c:pt>
                <c:pt idx="3194">
                  <c:v>44617</c:v>
                </c:pt>
                <c:pt idx="3195">
                  <c:v>44620</c:v>
                </c:pt>
                <c:pt idx="3196">
                  <c:v>44621</c:v>
                </c:pt>
                <c:pt idx="3197">
                  <c:v>44622</c:v>
                </c:pt>
                <c:pt idx="3198">
                  <c:v>44623</c:v>
                </c:pt>
                <c:pt idx="3199">
                  <c:v>44624</c:v>
                </c:pt>
                <c:pt idx="3200">
                  <c:v>44627</c:v>
                </c:pt>
                <c:pt idx="3201">
                  <c:v>44628</c:v>
                </c:pt>
                <c:pt idx="3202">
                  <c:v>44629</c:v>
                </c:pt>
                <c:pt idx="3203">
                  <c:v>44630</c:v>
                </c:pt>
                <c:pt idx="3204">
                  <c:v>44631</c:v>
                </c:pt>
                <c:pt idx="3205">
                  <c:v>44634</c:v>
                </c:pt>
                <c:pt idx="3206">
                  <c:v>44635</c:v>
                </c:pt>
                <c:pt idx="3207">
                  <c:v>44636</c:v>
                </c:pt>
                <c:pt idx="3208">
                  <c:v>44637</c:v>
                </c:pt>
                <c:pt idx="3209">
                  <c:v>44638</c:v>
                </c:pt>
                <c:pt idx="3210">
                  <c:v>44641</c:v>
                </c:pt>
                <c:pt idx="3211">
                  <c:v>44642</c:v>
                </c:pt>
                <c:pt idx="3212">
                  <c:v>44643</c:v>
                </c:pt>
                <c:pt idx="3213">
                  <c:v>44644</c:v>
                </c:pt>
                <c:pt idx="3214">
                  <c:v>44645</c:v>
                </c:pt>
                <c:pt idx="3215">
                  <c:v>44648</c:v>
                </c:pt>
                <c:pt idx="3216">
                  <c:v>44649</c:v>
                </c:pt>
                <c:pt idx="3217">
                  <c:v>44650</c:v>
                </c:pt>
                <c:pt idx="3218">
                  <c:v>44651</c:v>
                </c:pt>
                <c:pt idx="3219">
                  <c:v>44652</c:v>
                </c:pt>
                <c:pt idx="3220">
                  <c:v>44657</c:v>
                </c:pt>
                <c:pt idx="3221">
                  <c:v>44658</c:v>
                </c:pt>
                <c:pt idx="3222">
                  <c:v>44659</c:v>
                </c:pt>
              </c:numCache>
            </c:numRef>
          </c:cat>
          <c:val>
            <c:numRef>
              <c:f>beta_benchmark!$D$2:$D$3224</c:f>
              <c:numCache>
                <c:formatCode>General</c:formatCode>
                <c:ptCount val="3223"/>
                <c:pt idx="0">
                  <c:v>1000000</c:v>
                </c:pt>
                <c:pt idx="1">
                  <c:v>1029825.852</c:v>
                </c:pt>
                <c:pt idx="2">
                  <c:v>1024015.852</c:v>
                </c:pt>
                <c:pt idx="3">
                  <c:v>1002420.852</c:v>
                </c:pt>
                <c:pt idx="4">
                  <c:v>1017610.852</c:v>
                </c:pt>
                <c:pt idx="5">
                  <c:v>1018770.852</c:v>
                </c:pt>
                <c:pt idx="6">
                  <c:v>996520.85199999996</c:v>
                </c:pt>
                <c:pt idx="7">
                  <c:v>1036045.852</c:v>
                </c:pt>
                <c:pt idx="8">
                  <c:v>1035860.852</c:v>
                </c:pt>
                <c:pt idx="9">
                  <c:v>1053530.852</c:v>
                </c:pt>
                <c:pt idx="10">
                  <c:v>1064660.852</c:v>
                </c:pt>
                <c:pt idx="11">
                  <c:v>1071020.852</c:v>
                </c:pt>
                <c:pt idx="12">
                  <c:v>1069280.852</c:v>
                </c:pt>
                <c:pt idx="13">
                  <c:v>1080700.852</c:v>
                </c:pt>
                <c:pt idx="14">
                  <c:v>1074765.852</c:v>
                </c:pt>
                <c:pt idx="15">
                  <c:v>1086955.852</c:v>
                </c:pt>
                <c:pt idx="16">
                  <c:v>1112880.852</c:v>
                </c:pt>
                <c:pt idx="17">
                  <c:v>1141630.852</c:v>
                </c:pt>
                <c:pt idx="18">
                  <c:v>1133910.852</c:v>
                </c:pt>
                <c:pt idx="19">
                  <c:v>1177065.852</c:v>
                </c:pt>
                <c:pt idx="20">
                  <c:v>1206760.852</c:v>
                </c:pt>
                <c:pt idx="21">
                  <c:v>1221805.852</c:v>
                </c:pt>
                <c:pt idx="22">
                  <c:v>1223995.852</c:v>
                </c:pt>
                <c:pt idx="23">
                  <c:v>1217595.852</c:v>
                </c:pt>
                <c:pt idx="24">
                  <c:v>1257960.852</c:v>
                </c:pt>
                <c:pt idx="25">
                  <c:v>1289550.852</c:v>
                </c:pt>
                <c:pt idx="26">
                  <c:v>1251070.852</c:v>
                </c:pt>
                <c:pt idx="27">
                  <c:v>1196345.852</c:v>
                </c:pt>
                <c:pt idx="28">
                  <c:v>1207630.852</c:v>
                </c:pt>
                <c:pt idx="29">
                  <c:v>1230585.852</c:v>
                </c:pt>
                <c:pt idx="30">
                  <c:v>1263665.852</c:v>
                </c:pt>
                <c:pt idx="31">
                  <c:v>1209350.852</c:v>
                </c:pt>
                <c:pt idx="32">
                  <c:v>1210550.852</c:v>
                </c:pt>
                <c:pt idx="33">
                  <c:v>1153520.852</c:v>
                </c:pt>
                <c:pt idx="34">
                  <c:v>1128670.852</c:v>
                </c:pt>
                <c:pt idx="35">
                  <c:v>1140760.852</c:v>
                </c:pt>
                <c:pt idx="36">
                  <c:v>1129500.852</c:v>
                </c:pt>
                <c:pt idx="37">
                  <c:v>1201000.852</c:v>
                </c:pt>
                <c:pt idx="38">
                  <c:v>1210885.852</c:v>
                </c:pt>
                <c:pt idx="39">
                  <c:v>1201715.852</c:v>
                </c:pt>
                <c:pt idx="40">
                  <c:v>1159690.852</c:v>
                </c:pt>
                <c:pt idx="41">
                  <c:v>1178815.852</c:v>
                </c:pt>
                <c:pt idx="42">
                  <c:v>1168615.852</c:v>
                </c:pt>
                <c:pt idx="43">
                  <c:v>1166275.852</c:v>
                </c:pt>
                <c:pt idx="44">
                  <c:v>1161135.852</c:v>
                </c:pt>
                <c:pt idx="45">
                  <c:v>1179230.852</c:v>
                </c:pt>
                <c:pt idx="46">
                  <c:v>1219625.852</c:v>
                </c:pt>
                <c:pt idx="47">
                  <c:v>1224750.852</c:v>
                </c:pt>
                <c:pt idx="48">
                  <c:v>1249705.852</c:v>
                </c:pt>
                <c:pt idx="49">
                  <c:v>1248345.852</c:v>
                </c:pt>
                <c:pt idx="50">
                  <c:v>1278125.852</c:v>
                </c:pt>
                <c:pt idx="51">
                  <c:v>1284315.852</c:v>
                </c:pt>
                <c:pt idx="52">
                  <c:v>1259090.852</c:v>
                </c:pt>
                <c:pt idx="53">
                  <c:v>1298320.852</c:v>
                </c:pt>
                <c:pt idx="54">
                  <c:v>1307890.852</c:v>
                </c:pt>
                <c:pt idx="55">
                  <c:v>1300670.852</c:v>
                </c:pt>
                <c:pt idx="56">
                  <c:v>1312320.852</c:v>
                </c:pt>
                <c:pt idx="57">
                  <c:v>1332535.852</c:v>
                </c:pt>
                <c:pt idx="58">
                  <c:v>1346625.852</c:v>
                </c:pt>
                <c:pt idx="59">
                  <c:v>1343675.852</c:v>
                </c:pt>
                <c:pt idx="60">
                  <c:v>1346900.852</c:v>
                </c:pt>
                <c:pt idx="61">
                  <c:v>1298100.852</c:v>
                </c:pt>
                <c:pt idx="62">
                  <c:v>1317260.852</c:v>
                </c:pt>
                <c:pt idx="63">
                  <c:v>1356190.852</c:v>
                </c:pt>
                <c:pt idx="64">
                  <c:v>1386685.852</c:v>
                </c:pt>
                <c:pt idx="65">
                  <c:v>1396860.852</c:v>
                </c:pt>
                <c:pt idx="66">
                  <c:v>1401920.852</c:v>
                </c:pt>
                <c:pt idx="67">
                  <c:v>1401980.852</c:v>
                </c:pt>
                <c:pt idx="68">
                  <c:v>1383770.852</c:v>
                </c:pt>
                <c:pt idx="69">
                  <c:v>1412260.852</c:v>
                </c:pt>
                <c:pt idx="70">
                  <c:v>1396145.852</c:v>
                </c:pt>
                <c:pt idx="71">
                  <c:v>1346565.852</c:v>
                </c:pt>
                <c:pt idx="72">
                  <c:v>1355205.852</c:v>
                </c:pt>
                <c:pt idx="73">
                  <c:v>1344870.852</c:v>
                </c:pt>
                <c:pt idx="74">
                  <c:v>1315070.852</c:v>
                </c:pt>
                <c:pt idx="75">
                  <c:v>1317690.852</c:v>
                </c:pt>
                <c:pt idx="76">
                  <c:v>1361110.852</c:v>
                </c:pt>
                <c:pt idx="77">
                  <c:v>1369890.852</c:v>
                </c:pt>
                <c:pt idx="78">
                  <c:v>1415575.852</c:v>
                </c:pt>
                <c:pt idx="79">
                  <c:v>1421930.852</c:v>
                </c:pt>
                <c:pt idx="80">
                  <c:v>1440915.852</c:v>
                </c:pt>
                <c:pt idx="81">
                  <c:v>1441965.852</c:v>
                </c:pt>
                <c:pt idx="82">
                  <c:v>1453035.852</c:v>
                </c:pt>
                <c:pt idx="83">
                  <c:v>1421085.852</c:v>
                </c:pt>
                <c:pt idx="84">
                  <c:v>1452705.852</c:v>
                </c:pt>
                <c:pt idx="85">
                  <c:v>1465430.852</c:v>
                </c:pt>
                <c:pt idx="86">
                  <c:v>1454725.852</c:v>
                </c:pt>
                <c:pt idx="87">
                  <c:v>1456485.852</c:v>
                </c:pt>
                <c:pt idx="88">
                  <c:v>1463710.852</c:v>
                </c:pt>
                <c:pt idx="89">
                  <c:v>1478465.852</c:v>
                </c:pt>
                <c:pt idx="90">
                  <c:v>1464860.852</c:v>
                </c:pt>
                <c:pt idx="91">
                  <c:v>1433430.852</c:v>
                </c:pt>
                <c:pt idx="92">
                  <c:v>1428765.852</c:v>
                </c:pt>
                <c:pt idx="93">
                  <c:v>1434785.852</c:v>
                </c:pt>
                <c:pt idx="94">
                  <c:v>1418305.852</c:v>
                </c:pt>
                <c:pt idx="95">
                  <c:v>1438280.852</c:v>
                </c:pt>
                <c:pt idx="96">
                  <c:v>1487452.9350000001</c:v>
                </c:pt>
                <c:pt idx="97">
                  <c:v>1487452.9350000001</c:v>
                </c:pt>
                <c:pt idx="98">
                  <c:v>1487452.9350000001</c:v>
                </c:pt>
                <c:pt idx="99">
                  <c:v>1487452.9350000001</c:v>
                </c:pt>
                <c:pt idx="100">
                  <c:v>1487452.9350000001</c:v>
                </c:pt>
                <c:pt idx="101">
                  <c:v>1487452.9350000001</c:v>
                </c:pt>
                <c:pt idx="102">
                  <c:v>1487452.9350000001</c:v>
                </c:pt>
                <c:pt idx="103">
                  <c:v>1487452.9350000001</c:v>
                </c:pt>
                <c:pt idx="104">
                  <c:v>1487452.9350000001</c:v>
                </c:pt>
                <c:pt idx="105">
                  <c:v>1487452.9350000001</c:v>
                </c:pt>
                <c:pt idx="106">
                  <c:v>1487452.9350000001</c:v>
                </c:pt>
                <c:pt idx="107">
                  <c:v>1487452.9350000001</c:v>
                </c:pt>
                <c:pt idx="108">
                  <c:v>1487452.9350000001</c:v>
                </c:pt>
                <c:pt idx="109">
                  <c:v>1487452.9350000001</c:v>
                </c:pt>
                <c:pt idx="110">
                  <c:v>1487452.9350000001</c:v>
                </c:pt>
                <c:pt idx="111">
                  <c:v>1487452.9350000001</c:v>
                </c:pt>
                <c:pt idx="112">
                  <c:v>1487452.9350000001</c:v>
                </c:pt>
                <c:pt idx="113">
                  <c:v>1487452.9350000001</c:v>
                </c:pt>
                <c:pt idx="114">
                  <c:v>1487452.9350000001</c:v>
                </c:pt>
                <c:pt idx="115">
                  <c:v>1487452.9350000001</c:v>
                </c:pt>
                <c:pt idx="116">
                  <c:v>1487452.9350000001</c:v>
                </c:pt>
                <c:pt idx="117">
                  <c:v>1487452.9350000001</c:v>
                </c:pt>
                <c:pt idx="118">
                  <c:v>1487452.9350000001</c:v>
                </c:pt>
                <c:pt idx="119">
                  <c:v>1487452.9350000001</c:v>
                </c:pt>
                <c:pt idx="120">
                  <c:v>1487452.9350000001</c:v>
                </c:pt>
                <c:pt idx="121">
                  <c:v>1487452.9350000001</c:v>
                </c:pt>
                <c:pt idx="122">
                  <c:v>1487452.9350000001</c:v>
                </c:pt>
                <c:pt idx="123">
                  <c:v>1487452.9350000001</c:v>
                </c:pt>
                <c:pt idx="124">
                  <c:v>1487452.9350000001</c:v>
                </c:pt>
                <c:pt idx="125">
                  <c:v>1487452.9350000001</c:v>
                </c:pt>
                <c:pt idx="126">
                  <c:v>1487452.9350000001</c:v>
                </c:pt>
                <c:pt idx="127">
                  <c:v>1487452.9350000001</c:v>
                </c:pt>
                <c:pt idx="128">
                  <c:v>1487452.9350000001</c:v>
                </c:pt>
                <c:pt idx="129">
                  <c:v>1487452.9350000001</c:v>
                </c:pt>
                <c:pt idx="130">
                  <c:v>1487452.9350000001</c:v>
                </c:pt>
                <c:pt idx="131">
                  <c:v>1487452.9350000001</c:v>
                </c:pt>
                <c:pt idx="132">
                  <c:v>1487452.9350000001</c:v>
                </c:pt>
                <c:pt idx="133">
                  <c:v>1487452.9350000001</c:v>
                </c:pt>
                <c:pt idx="134">
                  <c:v>1487452.9350000001</c:v>
                </c:pt>
                <c:pt idx="135">
                  <c:v>1487452.9350000001</c:v>
                </c:pt>
                <c:pt idx="136">
                  <c:v>1487452.9350000001</c:v>
                </c:pt>
                <c:pt idx="137">
                  <c:v>1487452.9350000001</c:v>
                </c:pt>
                <c:pt idx="138">
                  <c:v>1487452.9350000001</c:v>
                </c:pt>
                <c:pt idx="139">
                  <c:v>1487452.9350000001</c:v>
                </c:pt>
                <c:pt idx="140">
                  <c:v>1487452.9350000001</c:v>
                </c:pt>
                <c:pt idx="141">
                  <c:v>1487452.9350000001</c:v>
                </c:pt>
                <c:pt idx="142">
                  <c:v>1487452.9350000001</c:v>
                </c:pt>
                <c:pt idx="143">
                  <c:v>1487452.9350000001</c:v>
                </c:pt>
                <c:pt idx="144">
                  <c:v>1487452.9350000001</c:v>
                </c:pt>
                <c:pt idx="145">
                  <c:v>1487452.9350000001</c:v>
                </c:pt>
                <c:pt idx="146">
                  <c:v>1487452.9350000001</c:v>
                </c:pt>
                <c:pt idx="147">
                  <c:v>1487452.9350000001</c:v>
                </c:pt>
                <c:pt idx="148">
                  <c:v>1487452.9350000001</c:v>
                </c:pt>
                <c:pt idx="149">
                  <c:v>1487452.9350000001</c:v>
                </c:pt>
                <c:pt idx="150">
                  <c:v>1487452.9350000001</c:v>
                </c:pt>
                <c:pt idx="151">
                  <c:v>1487452.9350000001</c:v>
                </c:pt>
                <c:pt idx="152">
                  <c:v>1487452.9350000001</c:v>
                </c:pt>
                <c:pt idx="153">
                  <c:v>1487452.9350000001</c:v>
                </c:pt>
                <c:pt idx="154">
                  <c:v>1487452.9350000001</c:v>
                </c:pt>
                <c:pt idx="155">
                  <c:v>1487452.9350000001</c:v>
                </c:pt>
                <c:pt idx="156">
                  <c:v>1487452.9350000001</c:v>
                </c:pt>
                <c:pt idx="157">
                  <c:v>1487452.9350000001</c:v>
                </c:pt>
                <c:pt idx="158">
                  <c:v>1487452.9350000001</c:v>
                </c:pt>
                <c:pt idx="159">
                  <c:v>1487452.9350000001</c:v>
                </c:pt>
                <c:pt idx="160">
                  <c:v>1487452.9350000001</c:v>
                </c:pt>
                <c:pt idx="161">
                  <c:v>1487452.9350000001</c:v>
                </c:pt>
                <c:pt idx="162">
                  <c:v>1487452.9350000001</c:v>
                </c:pt>
                <c:pt idx="163">
                  <c:v>1487452.9350000001</c:v>
                </c:pt>
                <c:pt idx="164">
                  <c:v>1487452.9350000001</c:v>
                </c:pt>
                <c:pt idx="165">
                  <c:v>1487452.9350000001</c:v>
                </c:pt>
                <c:pt idx="166">
                  <c:v>1487452.9350000001</c:v>
                </c:pt>
                <c:pt idx="167">
                  <c:v>1487452.9350000001</c:v>
                </c:pt>
                <c:pt idx="168">
                  <c:v>1487452.9350000001</c:v>
                </c:pt>
                <c:pt idx="169">
                  <c:v>1487452.9350000001</c:v>
                </c:pt>
                <c:pt idx="170">
                  <c:v>1487452.9350000001</c:v>
                </c:pt>
                <c:pt idx="171">
                  <c:v>1487452.9350000001</c:v>
                </c:pt>
                <c:pt idx="172">
                  <c:v>1487452.9350000001</c:v>
                </c:pt>
                <c:pt idx="173">
                  <c:v>1487452.9350000001</c:v>
                </c:pt>
                <c:pt idx="174">
                  <c:v>1487452.9350000001</c:v>
                </c:pt>
                <c:pt idx="175">
                  <c:v>1487452.9350000001</c:v>
                </c:pt>
                <c:pt idx="176">
                  <c:v>1487452.9350000001</c:v>
                </c:pt>
                <c:pt idx="177">
                  <c:v>1487452.9350000001</c:v>
                </c:pt>
                <c:pt idx="178">
                  <c:v>1487452.9350000001</c:v>
                </c:pt>
                <c:pt idx="179">
                  <c:v>1487452.9350000001</c:v>
                </c:pt>
                <c:pt idx="180">
                  <c:v>1487452.9350000001</c:v>
                </c:pt>
                <c:pt idx="181">
                  <c:v>1487452.9350000001</c:v>
                </c:pt>
                <c:pt idx="182">
                  <c:v>1487452.9350000001</c:v>
                </c:pt>
                <c:pt idx="183">
                  <c:v>1487452.9350000001</c:v>
                </c:pt>
                <c:pt idx="184">
                  <c:v>1487452.9350000001</c:v>
                </c:pt>
                <c:pt idx="185">
                  <c:v>1487452.9350000001</c:v>
                </c:pt>
                <c:pt idx="186">
                  <c:v>1487452.9350000001</c:v>
                </c:pt>
                <c:pt idx="187">
                  <c:v>1487452.9350000001</c:v>
                </c:pt>
                <c:pt idx="188">
                  <c:v>1487452.9350000001</c:v>
                </c:pt>
                <c:pt idx="189">
                  <c:v>1487452.9350000001</c:v>
                </c:pt>
                <c:pt idx="190">
                  <c:v>1487452.9350000001</c:v>
                </c:pt>
                <c:pt idx="191">
                  <c:v>1487452.9350000001</c:v>
                </c:pt>
                <c:pt idx="192">
                  <c:v>1487452.9350000001</c:v>
                </c:pt>
                <c:pt idx="193">
                  <c:v>1487452.9350000001</c:v>
                </c:pt>
                <c:pt idx="194">
                  <c:v>1487452.9350000001</c:v>
                </c:pt>
                <c:pt idx="195">
                  <c:v>1487452.9350000001</c:v>
                </c:pt>
                <c:pt idx="196">
                  <c:v>1487452.9350000001</c:v>
                </c:pt>
                <c:pt idx="197">
                  <c:v>1487452.9350000001</c:v>
                </c:pt>
                <c:pt idx="198">
                  <c:v>1487452.9350000001</c:v>
                </c:pt>
                <c:pt idx="199">
                  <c:v>1487452.9350000001</c:v>
                </c:pt>
                <c:pt idx="200">
                  <c:v>1487452.9350000001</c:v>
                </c:pt>
                <c:pt idx="201">
                  <c:v>1487452.9350000001</c:v>
                </c:pt>
                <c:pt idx="202">
                  <c:v>1487452.9350000001</c:v>
                </c:pt>
                <c:pt idx="203">
                  <c:v>1487452.9350000001</c:v>
                </c:pt>
                <c:pt idx="204">
                  <c:v>1487452.9350000001</c:v>
                </c:pt>
                <c:pt idx="205">
                  <c:v>1487452.9350000001</c:v>
                </c:pt>
                <c:pt idx="206">
                  <c:v>1487452.9350000001</c:v>
                </c:pt>
                <c:pt idx="207">
                  <c:v>1487452.9350000001</c:v>
                </c:pt>
                <c:pt idx="208">
                  <c:v>1487452.9350000001</c:v>
                </c:pt>
                <c:pt idx="209">
                  <c:v>1487452.9350000001</c:v>
                </c:pt>
                <c:pt idx="210">
                  <c:v>1487452.9350000001</c:v>
                </c:pt>
                <c:pt idx="211">
                  <c:v>1487452.9350000001</c:v>
                </c:pt>
                <c:pt idx="212">
                  <c:v>1487452.9350000001</c:v>
                </c:pt>
                <c:pt idx="213">
                  <c:v>1487452.9350000001</c:v>
                </c:pt>
                <c:pt idx="214">
                  <c:v>1487452.9350000001</c:v>
                </c:pt>
                <c:pt idx="215">
                  <c:v>1487452.9350000001</c:v>
                </c:pt>
                <c:pt idx="216">
                  <c:v>1487452.9350000001</c:v>
                </c:pt>
                <c:pt idx="217">
                  <c:v>1487452.9350000001</c:v>
                </c:pt>
                <c:pt idx="218">
                  <c:v>1487452.9350000001</c:v>
                </c:pt>
                <c:pt idx="219">
                  <c:v>1487452.9350000001</c:v>
                </c:pt>
                <c:pt idx="220">
                  <c:v>1487452.9350000001</c:v>
                </c:pt>
                <c:pt idx="221">
                  <c:v>1487452.9350000001</c:v>
                </c:pt>
                <c:pt idx="222">
                  <c:v>1487452.9350000001</c:v>
                </c:pt>
                <c:pt idx="223">
                  <c:v>1487452.9350000001</c:v>
                </c:pt>
                <c:pt idx="224">
                  <c:v>1487452.9350000001</c:v>
                </c:pt>
                <c:pt idx="225">
                  <c:v>1487452.9350000001</c:v>
                </c:pt>
                <c:pt idx="226">
                  <c:v>1487452.9350000001</c:v>
                </c:pt>
                <c:pt idx="227">
                  <c:v>1487452.9350000001</c:v>
                </c:pt>
                <c:pt idx="228">
                  <c:v>1487452.9350000001</c:v>
                </c:pt>
                <c:pt idx="229">
                  <c:v>1487452.9350000001</c:v>
                </c:pt>
                <c:pt idx="230">
                  <c:v>1487452.9350000001</c:v>
                </c:pt>
                <c:pt idx="231">
                  <c:v>1487452.9350000001</c:v>
                </c:pt>
                <c:pt idx="232">
                  <c:v>1487452.9350000001</c:v>
                </c:pt>
                <c:pt idx="233">
                  <c:v>1487452.9350000001</c:v>
                </c:pt>
                <c:pt idx="234">
                  <c:v>1487452.9350000001</c:v>
                </c:pt>
                <c:pt idx="235">
                  <c:v>1487452.9350000001</c:v>
                </c:pt>
                <c:pt idx="236">
                  <c:v>1487452.9350000001</c:v>
                </c:pt>
                <c:pt idx="237">
                  <c:v>1487452.9350000001</c:v>
                </c:pt>
                <c:pt idx="238">
                  <c:v>1487452.9350000001</c:v>
                </c:pt>
                <c:pt idx="239">
                  <c:v>1487452.9350000001</c:v>
                </c:pt>
                <c:pt idx="240">
                  <c:v>1487452.9350000001</c:v>
                </c:pt>
                <c:pt idx="241">
                  <c:v>1487452.9350000001</c:v>
                </c:pt>
                <c:pt idx="242">
                  <c:v>1487452.9350000001</c:v>
                </c:pt>
                <c:pt idx="243">
                  <c:v>1487452.9350000001</c:v>
                </c:pt>
                <c:pt idx="244">
                  <c:v>1487452.9350000001</c:v>
                </c:pt>
                <c:pt idx="245">
                  <c:v>1487452.9350000001</c:v>
                </c:pt>
                <c:pt idx="246">
                  <c:v>1487452.9350000001</c:v>
                </c:pt>
                <c:pt idx="247">
                  <c:v>1487452.9350000001</c:v>
                </c:pt>
                <c:pt idx="248">
                  <c:v>1487452.9350000001</c:v>
                </c:pt>
                <c:pt idx="249">
                  <c:v>1487452.9350000001</c:v>
                </c:pt>
                <c:pt idx="250">
                  <c:v>1487452.9350000001</c:v>
                </c:pt>
                <c:pt idx="251">
                  <c:v>1487452.9350000001</c:v>
                </c:pt>
                <c:pt idx="252">
                  <c:v>1487452.9350000001</c:v>
                </c:pt>
                <c:pt idx="253">
                  <c:v>1487452.9350000001</c:v>
                </c:pt>
                <c:pt idx="254">
                  <c:v>1487452.9350000001</c:v>
                </c:pt>
                <c:pt idx="255">
                  <c:v>1487452.9350000001</c:v>
                </c:pt>
                <c:pt idx="256">
                  <c:v>1487452.9350000001</c:v>
                </c:pt>
                <c:pt idx="257">
                  <c:v>1487452.9350000001</c:v>
                </c:pt>
                <c:pt idx="258">
                  <c:v>1487452.9350000001</c:v>
                </c:pt>
                <c:pt idx="259">
                  <c:v>1487452.9350000001</c:v>
                </c:pt>
                <c:pt idx="260">
                  <c:v>1487452.9350000001</c:v>
                </c:pt>
                <c:pt idx="261">
                  <c:v>1487452.9350000001</c:v>
                </c:pt>
                <c:pt idx="262">
                  <c:v>1487452.9350000001</c:v>
                </c:pt>
                <c:pt idx="263">
                  <c:v>1487452.9350000001</c:v>
                </c:pt>
                <c:pt idx="264">
                  <c:v>1487452.9350000001</c:v>
                </c:pt>
                <c:pt idx="265">
                  <c:v>1487452.9350000001</c:v>
                </c:pt>
                <c:pt idx="266">
                  <c:v>1487452.9350000001</c:v>
                </c:pt>
                <c:pt idx="267">
                  <c:v>1487452.9350000001</c:v>
                </c:pt>
                <c:pt idx="268">
                  <c:v>1487452.9350000001</c:v>
                </c:pt>
                <c:pt idx="269">
                  <c:v>1487452.9350000001</c:v>
                </c:pt>
                <c:pt idx="270">
                  <c:v>1487452.9350000001</c:v>
                </c:pt>
                <c:pt idx="271">
                  <c:v>1487452.9350000001</c:v>
                </c:pt>
                <c:pt idx="272">
                  <c:v>1487452.9350000001</c:v>
                </c:pt>
                <c:pt idx="273">
                  <c:v>1487452.9350000001</c:v>
                </c:pt>
                <c:pt idx="274">
                  <c:v>1487323.601</c:v>
                </c:pt>
                <c:pt idx="275">
                  <c:v>1473435.601</c:v>
                </c:pt>
                <c:pt idx="276">
                  <c:v>1491775.601</c:v>
                </c:pt>
                <c:pt idx="277">
                  <c:v>1510835.601</c:v>
                </c:pt>
                <c:pt idx="278">
                  <c:v>1506651.601</c:v>
                </c:pt>
                <c:pt idx="279">
                  <c:v>1523618.6240000001</c:v>
                </c:pt>
                <c:pt idx="280">
                  <c:v>1523618.6240000001</c:v>
                </c:pt>
                <c:pt idx="281">
                  <c:v>1523618.6240000001</c:v>
                </c:pt>
                <c:pt idx="282">
                  <c:v>1523618.6240000001</c:v>
                </c:pt>
                <c:pt idx="283">
                  <c:v>1523618.6240000001</c:v>
                </c:pt>
                <c:pt idx="284">
                  <c:v>1523618.6240000001</c:v>
                </c:pt>
                <c:pt idx="285">
                  <c:v>1523618.6240000001</c:v>
                </c:pt>
                <c:pt idx="286">
                  <c:v>1523618.6240000001</c:v>
                </c:pt>
                <c:pt idx="287">
                  <c:v>1523618.6240000001</c:v>
                </c:pt>
                <c:pt idx="288">
                  <c:v>1523618.6240000001</c:v>
                </c:pt>
                <c:pt idx="289">
                  <c:v>1523618.6240000001</c:v>
                </c:pt>
                <c:pt idx="290">
                  <c:v>1523618.6240000001</c:v>
                </c:pt>
                <c:pt idx="291">
                  <c:v>1523618.6240000001</c:v>
                </c:pt>
                <c:pt idx="292">
                  <c:v>1523618.6240000001</c:v>
                </c:pt>
                <c:pt idx="293">
                  <c:v>1523618.6240000001</c:v>
                </c:pt>
                <c:pt idx="294">
                  <c:v>1523618.6240000001</c:v>
                </c:pt>
                <c:pt idx="295">
                  <c:v>1523618.6240000001</c:v>
                </c:pt>
                <c:pt idx="296">
                  <c:v>1523618.6240000001</c:v>
                </c:pt>
                <c:pt idx="297">
                  <c:v>1523618.6240000001</c:v>
                </c:pt>
                <c:pt idx="298">
                  <c:v>1523618.6240000001</c:v>
                </c:pt>
                <c:pt idx="299">
                  <c:v>1523618.6240000001</c:v>
                </c:pt>
                <c:pt idx="300">
                  <c:v>1523618.6240000001</c:v>
                </c:pt>
                <c:pt idx="301">
                  <c:v>1523618.6240000001</c:v>
                </c:pt>
                <c:pt idx="302">
                  <c:v>1523618.6240000001</c:v>
                </c:pt>
                <c:pt idx="303">
                  <c:v>1523618.6240000001</c:v>
                </c:pt>
                <c:pt idx="304">
                  <c:v>1523618.6240000001</c:v>
                </c:pt>
                <c:pt idx="305">
                  <c:v>1523618.6240000001</c:v>
                </c:pt>
                <c:pt idx="306">
                  <c:v>1523618.6240000001</c:v>
                </c:pt>
                <c:pt idx="307">
                  <c:v>1523618.6240000001</c:v>
                </c:pt>
                <c:pt idx="308">
                  <c:v>1523618.6240000001</c:v>
                </c:pt>
                <c:pt idx="309">
                  <c:v>1523618.6240000001</c:v>
                </c:pt>
                <c:pt idx="310">
                  <c:v>1523618.6240000001</c:v>
                </c:pt>
                <c:pt idx="311">
                  <c:v>1523618.6240000001</c:v>
                </c:pt>
                <c:pt idx="312">
                  <c:v>1523618.6240000001</c:v>
                </c:pt>
                <c:pt idx="313">
                  <c:v>1523618.6240000001</c:v>
                </c:pt>
                <c:pt idx="314">
                  <c:v>1523618.6240000001</c:v>
                </c:pt>
                <c:pt idx="315">
                  <c:v>1523618.6240000001</c:v>
                </c:pt>
                <c:pt idx="316">
                  <c:v>1523618.6240000001</c:v>
                </c:pt>
                <c:pt idx="317">
                  <c:v>1523618.6240000001</c:v>
                </c:pt>
                <c:pt idx="318">
                  <c:v>1523618.6240000001</c:v>
                </c:pt>
                <c:pt idx="319">
                  <c:v>1523618.6240000001</c:v>
                </c:pt>
                <c:pt idx="320">
                  <c:v>1523618.6240000001</c:v>
                </c:pt>
                <c:pt idx="321">
                  <c:v>1523618.6240000001</c:v>
                </c:pt>
                <c:pt idx="322">
                  <c:v>1523618.6240000001</c:v>
                </c:pt>
                <c:pt idx="323">
                  <c:v>1523618.6240000001</c:v>
                </c:pt>
                <c:pt idx="324">
                  <c:v>1523618.6240000001</c:v>
                </c:pt>
                <c:pt idx="325">
                  <c:v>1523618.6240000001</c:v>
                </c:pt>
                <c:pt idx="326">
                  <c:v>1523618.6240000001</c:v>
                </c:pt>
                <c:pt idx="327">
                  <c:v>1523618.6240000001</c:v>
                </c:pt>
                <c:pt idx="328">
                  <c:v>1523618.6240000001</c:v>
                </c:pt>
                <c:pt idx="329">
                  <c:v>1523618.6240000001</c:v>
                </c:pt>
                <c:pt idx="330">
                  <c:v>1523618.6240000001</c:v>
                </c:pt>
                <c:pt idx="331">
                  <c:v>1523618.6240000001</c:v>
                </c:pt>
                <c:pt idx="332">
                  <c:v>1523618.6240000001</c:v>
                </c:pt>
                <c:pt idx="333">
                  <c:v>1523618.6240000001</c:v>
                </c:pt>
                <c:pt idx="334">
                  <c:v>1523618.6240000001</c:v>
                </c:pt>
                <c:pt idx="335">
                  <c:v>1523618.6240000001</c:v>
                </c:pt>
                <c:pt idx="336">
                  <c:v>1523618.6240000001</c:v>
                </c:pt>
                <c:pt idx="337">
                  <c:v>1523618.6240000001</c:v>
                </c:pt>
                <c:pt idx="338">
                  <c:v>1523618.6240000001</c:v>
                </c:pt>
                <c:pt idx="339">
                  <c:v>1523618.6240000001</c:v>
                </c:pt>
                <c:pt idx="340">
                  <c:v>1523618.6240000001</c:v>
                </c:pt>
                <c:pt idx="341">
                  <c:v>1523618.6240000001</c:v>
                </c:pt>
                <c:pt idx="342">
                  <c:v>1523618.6240000001</c:v>
                </c:pt>
                <c:pt idx="343">
                  <c:v>1523618.6240000001</c:v>
                </c:pt>
                <c:pt idx="344">
                  <c:v>1523618.6240000001</c:v>
                </c:pt>
                <c:pt idx="345">
                  <c:v>1523618.6240000001</c:v>
                </c:pt>
                <c:pt idx="346">
                  <c:v>1523618.6240000001</c:v>
                </c:pt>
                <c:pt idx="347">
                  <c:v>1523618.6240000001</c:v>
                </c:pt>
                <c:pt idx="348">
                  <c:v>1523618.6240000001</c:v>
                </c:pt>
                <c:pt idx="349">
                  <c:v>1523618.6240000001</c:v>
                </c:pt>
                <c:pt idx="350">
                  <c:v>1523618.6240000001</c:v>
                </c:pt>
                <c:pt idx="351">
                  <c:v>1523618.6240000001</c:v>
                </c:pt>
                <c:pt idx="352">
                  <c:v>1523618.6240000001</c:v>
                </c:pt>
                <c:pt idx="353">
                  <c:v>1523618.6240000001</c:v>
                </c:pt>
                <c:pt idx="354">
                  <c:v>1523618.6240000001</c:v>
                </c:pt>
                <c:pt idx="355">
                  <c:v>1523618.6240000001</c:v>
                </c:pt>
                <c:pt idx="356">
                  <c:v>1523618.6240000001</c:v>
                </c:pt>
                <c:pt idx="357">
                  <c:v>1523618.6240000001</c:v>
                </c:pt>
                <c:pt idx="358">
                  <c:v>1523618.6240000001</c:v>
                </c:pt>
                <c:pt idx="359">
                  <c:v>1523618.6240000001</c:v>
                </c:pt>
                <c:pt idx="360">
                  <c:v>1523618.6240000001</c:v>
                </c:pt>
                <c:pt idx="361">
                  <c:v>1523618.6240000001</c:v>
                </c:pt>
                <c:pt idx="362">
                  <c:v>1523618.6240000001</c:v>
                </c:pt>
                <c:pt idx="363">
                  <c:v>1523618.6240000001</c:v>
                </c:pt>
                <c:pt idx="364">
                  <c:v>1523618.6240000001</c:v>
                </c:pt>
                <c:pt idx="365">
                  <c:v>1523618.6240000001</c:v>
                </c:pt>
                <c:pt idx="366">
                  <c:v>1523618.6240000001</c:v>
                </c:pt>
                <c:pt idx="367">
                  <c:v>1523618.6240000001</c:v>
                </c:pt>
                <c:pt idx="368">
                  <c:v>1523618.6240000001</c:v>
                </c:pt>
                <c:pt idx="369">
                  <c:v>1523618.6240000001</c:v>
                </c:pt>
                <c:pt idx="370">
                  <c:v>1523618.6240000001</c:v>
                </c:pt>
                <c:pt idx="371">
                  <c:v>1523618.6240000001</c:v>
                </c:pt>
                <c:pt idx="372">
                  <c:v>1523618.6240000001</c:v>
                </c:pt>
                <c:pt idx="373">
                  <c:v>1523618.6240000001</c:v>
                </c:pt>
                <c:pt idx="374">
                  <c:v>1523618.6240000001</c:v>
                </c:pt>
                <c:pt idx="375">
                  <c:v>1523618.6240000001</c:v>
                </c:pt>
                <c:pt idx="376">
                  <c:v>1523618.6240000001</c:v>
                </c:pt>
                <c:pt idx="377">
                  <c:v>1523618.6240000001</c:v>
                </c:pt>
                <c:pt idx="378">
                  <c:v>1523618.6240000001</c:v>
                </c:pt>
                <c:pt idx="379">
                  <c:v>1523618.6240000001</c:v>
                </c:pt>
                <c:pt idx="380">
                  <c:v>1523618.6240000001</c:v>
                </c:pt>
                <c:pt idx="381">
                  <c:v>1523618.6240000001</c:v>
                </c:pt>
                <c:pt idx="382">
                  <c:v>1523618.6240000001</c:v>
                </c:pt>
                <c:pt idx="383">
                  <c:v>1523618.6240000001</c:v>
                </c:pt>
                <c:pt idx="384">
                  <c:v>1523618.6240000001</c:v>
                </c:pt>
                <c:pt idx="385">
                  <c:v>1523618.6240000001</c:v>
                </c:pt>
                <c:pt idx="386">
                  <c:v>1523618.6240000001</c:v>
                </c:pt>
                <c:pt idx="387">
                  <c:v>1523618.6240000001</c:v>
                </c:pt>
                <c:pt idx="388">
                  <c:v>1523618.6240000001</c:v>
                </c:pt>
                <c:pt idx="389">
                  <c:v>1523618.6240000001</c:v>
                </c:pt>
                <c:pt idx="390">
                  <c:v>1523618.6240000001</c:v>
                </c:pt>
                <c:pt idx="391">
                  <c:v>1523618.6240000001</c:v>
                </c:pt>
                <c:pt idx="392">
                  <c:v>1523618.6240000001</c:v>
                </c:pt>
                <c:pt idx="393">
                  <c:v>1523475.8470000001</c:v>
                </c:pt>
                <c:pt idx="394">
                  <c:v>1556740.8470000001</c:v>
                </c:pt>
                <c:pt idx="395">
                  <c:v>1566845.8470000001</c:v>
                </c:pt>
                <c:pt idx="396">
                  <c:v>1564380.8470000001</c:v>
                </c:pt>
                <c:pt idx="397">
                  <c:v>1573400.8470000001</c:v>
                </c:pt>
                <c:pt idx="398">
                  <c:v>1544865.8470000001</c:v>
                </c:pt>
                <c:pt idx="399">
                  <c:v>1543795.8470000001</c:v>
                </c:pt>
                <c:pt idx="400">
                  <c:v>1551615.8470000001</c:v>
                </c:pt>
                <c:pt idx="401">
                  <c:v>1517210.8470000001</c:v>
                </c:pt>
                <c:pt idx="402">
                  <c:v>1520745.8470000001</c:v>
                </c:pt>
                <c:pt idx="403">
                  <c:v>1524985.8470000001</c:v>
                </c:pt>
                <c:pt idx="404">
                  <c:v>1553205.8470000001</c:v>
                </c:pt>
                <c:pt idx="405">
                  <c:v>1547295.8470000001</c:v>
                </c:pt>
                <c:pt idx="406">
                  <c:v>1537720.8470000001</c:v>
                </c:pt>
                <c:pt idx="407">
                  <c:v>1556395.8470000001</c:v>
                </c:pt>
                <c:pt idx="408">
                  <c:v>1555805.8470000001</c:v>
                </c:pt>
                <c:pt idx="409">
                  <c:v>1583245.8470000001</c:v>
                </c:pt>
                <c:pt idx="410">
                  <c:v>1587255.8470000001</c:v>
                </c:pt>
                <c:pt idx="411">
                  <c:v>1586185.8470000001</c:v>
                </c:pt>
                <c:pt idx="412">
                  <c:v>1558930.8470000001</c:v>
                </c:pt>
                <c:pt idx="413">
                  <c:v>1561975.8470000001</c:v>
                </c:pt>
                <c:pt idx="414">
                  <c:v>1576860.8470000001</c:v>
                </c:pt>
                <c:pt idx="415">
                  <c:v>1578205.8470000001</c:v>
                </c:pt>
                <c:pt idx="416">
                  <c:v>1552295.8470000001</c:v>
                </c:pt>
                <c:pt idx="417">
                  <c:v>1524595.8470000001</c:v>
                </c:pt>
                <c:pt idx="418">
                  <c:v>1526385.8470000001</c:v>
                </c:pt>
                <c:pt idx="419">
                  <c:v>1520615.8470000001</c:v>
                </c:pt>
                <c:pt idx="420">
                  <c:v>1524440.8470000001</c:v>
                </c:pt>
                <c:pt idx="421">
                  <c:v>1548215.8470000001</c:v>
                </c:pt>
                <c:pt idx="422">
                  <c:v>1536155.8470000001</c:v>
                </c:pt>
                <c:pt idx="423">
                  <c:v>1533105.8470000001</c:v>
                </c:pt>
                <c:pt idx="424">
                  <c:v>1563485.8470000001</c:v>
                </c:pt>
                <c:pt idx="425">
                  <c:v>1617815.8470000001</c:v>
                </c:pt>
                <c:pt idx="426">
                  <c:v>1662150.8470000001</c:v>
                </c:pt>
                <c:pt idx="427">
                  <c:v>1682065.8470000001</c:v>
                </c:pt>
                <c:pt idx="428">
                  <c:v>1704490.8470000001</c:v>
                </c:pt>
                <c:pt idx="429">
                  <c:v>1707770.8470000001</c:v>
                </c:pt>
                <c:pt idx="430">
                  <c:v>1759540.8470000001</c:v>
                </c:pt>
                <c:pt idx="431">
                  <c:v>1748780.8470000001</c:v>
                </c:pt>
                <c:pt idx="432">
                  <c:v>1783535.8470000001</c:v>
                </c:pt>
                <c:pt idx="433">
                  <c:v>1794140.8470000001</c:v>
                </c:pt>
                <c:pt idx="434">
                  <c:v>1783045.8470000001</c:v>
                </c:pt>
                <c:pt idx="435">
                  <c:v>1785030.8470000001</c:v>
                </c:pt>
                <c:pt idx="436">
                  <c:v>1836240.8470000001</c:v>
                </c:pt>
                <c:pt idx="437">
                  <c:v>1828740.8470000001</c:v>
                </c:pt>
                <c:pt idx="438">
                  <c:v>1797635.8470000001</c:v>
                </c:pt>
                <c:pt idx="439">
                  <c:v>1794545.8470000001</c:v>
                </c:pt>
                <c:pt idx="440">
                  <c:v>1785690.8470000001</c:v>
                </c:pt>
                <c:pt idx="441">
                  <c:v>1832200.8470000001</c:v>
                </c:pt>
                <c:pt idx="442">
                  <c:v>1827265.8470000001</c:v>
                </c:pt>
                <c:pt idx="443">
                  <c:v>1805870.8470000001</c:v>
                </c:pt>
                <c:pt idx="444">
                  <c:v>1835955.8470000001</c:v>
                </c:pt>
                <c:pt idx="445">
                  <c:v>1856100.8470000001</c:v>
                </c:pt>
                <c:pt idx="446">
                  <c:v>1869985.8470000001</c:v>
                </c:pt>
                <c:pt idx="447">
                  <c:v>1857675.8470000001</c:v>
                </c:pt>
                <c:pt idx="448">
                  <c:v>1845080.8910000001</c:v>
                </c:pt>
                <c:pt idx="449">
                  <c:v>1845080.8910000001</c:v>
                </c:pt>
                <c:pt idx="450">
                  <c:v>1845080.8910000001</c:v>
                </c:pt>
                <c:pt idx="451">
                  <c:v>1845080.8910000001</c:v>
                </c:pt>
                <c:pt idx="452">
                  <c:v>1845080.8910000001</c:v>
                </c:pt>
                <c:pt idx="453">
                  <c:v>1845080.8910000001</c:v>
                </c:pt>
                <c:pt idx="454">
                  <c:v>1845080.8910000001</c:v>
                </c:pt>
                <c:pt idx="455">
                  <c:v>1845080.8910000001</c:v>
                </c:pt>
                <c:pt idx="456">
                  <c:v>1845080.8910000001</c:v>
                </c:pt>
                <c:pt idx="457">
                  <c:v>1845080.8910000001</c:v>
                </c:pt>
                <c:pt idx="458">
                  <c:v>1845080.8910000001</c:v>
                </c:pt>
                <c:pt idx="459">
                  <c:v>1845080.8910000001</c:v>
                </c:pt>
                <c:pt idx="460">
                  <c:v>1845080.8910000001</c:v>
                </c:pt>
                <c:pt idx="461">
                  <c:v>1845080.8910000001</c:v>
                </c:pt>
                <c:pt idx="462">
                  <c:v>1845080.8910000001</c:v>
                </c:pt>
                <c:pt idx="463">
                  <c:v>1845080.8910000001</c:v>
                </c:pt>
                <c:pt idx="464">
                  <c:v>1845080.8910000001</c:v>
                </c:pt>
                <c:pt idx="465">
                  <c:v>1845080.8910000001</c:v>
                </c:pt>
                <c:pt idx="466">
                  <c:v>1845080.8910000001</c:v>
                </c:pt>
                <c:pt idx="467">
                  <c:v>1844920.8740000001</c:v>
                </c:pt>
                <c:pt idx="468">
                  <c:v>1830690.8740000001</c:v>
                </c:pt>
                <c:pt idx="469">
                  <c:v>1806435.8740000001</c:v>
                </c:pt>
                <c:pt idx="470">
                  <c:v>1825740.8740000001</c:v>
                </c:pt>
                <c:pt idx="471">
                  <c:v>1875280.8740000001</c:v>
                </c:pt>
                <c:pt idx="472">
                  <c:v>1879485.8740000001</c:v>
                </c:pt>
                <c:pt idx="473">
                  <c:v>1868408.4920000001</c:v>
                </c:pt>
                <c:pt idx="474">
                  <c:v>1868408.4920000001</c:v>
                </c:pt>
                <c:pt idx="475">
                  <c:v>1868408.4920000001</c:v>
                </c:pt>
                <c:pt idx="476">
                  <c:v>1868408.4920000001</c:v>
                </c:pt>
                <c:pt idx="477">
                  <c:v>1868408.4920000001</c:v>
                </c:pt>
                <c:pt idx="478">
                  <c:v>1868408.4920000001</c:v>
                </c:pt>
                <c:pt idx="479">
                  <c:v>1868408.4920000001</c:v>
                </c:pt>
                <c:pt idx="480">
                  <c:v>1868408.4920000001</c:v>
                </c:pt>
                <c:pt idx="481">
                  <c:v>1868408.4920000001</c:v>
                </c:pt>
                <c:pt idx="482">
                  <c:v>1868408.4920000001</c:v>
                </c:pt>
                <c:pt idx="483">
                  <c:v>1868408.4920000001</c:v>
                </c:pt>
                <c:pt idx="484">
                  <c:v>1868408.4920000001</c:v>
                </c:pt>
                <c:pt idx="485">
                  <c:v>1868408.4920000001</c:v>
                </c:pt>
                <c:pt idx="486">
                  <c:v>1868408.4920000001</c:v>
                </c:pt>
                <c:pt idx="487">
                  <c:v>1868408.4920000001</c:v>
                </c:pt>
                <c:pt idx="488">
                  <c:v>1868408.4920000001</c:v>
                </c:pt>
                <c:pt idx="489">
                  <c:v>1868408.4920000001</c:v>
                </c:pt>
                <c:pt idx="490">
                  <c:v>1868408.4920000001</c:v>
                </c:pt>
                <c:pt idx="491">
                  <c:v>1868408.4920000001</c:v>
                </c:pt>
                <c:pt idx="492">
                  <c:v>1868408.4920000001</c:v>
                </c:pt>
                <c:pt idx="493">
                  <c:v>1868408.4920000001</c:v>
                </c:pt>
                <c:pt idx="494">
                  <c:v>1868408.4920000001</c:v>
                </c:pt>
                <c:pt idx="495">
                  <c:v>1868230.031</c:v>
                </c:pt>
                <c:pt idx="496">
                  <c:v>1870210.031</c:v>
                </c:pt>
                <c:pt idx="497">
                  <c:v>1910530.031</c:v>
                </c:pt>
                <c:pt idx="498">
                  <c:v>1850446.031</c:v>
                </c:pt>
                <c:pt idx="499">
                  <c:v>1873696.031</c:v>
                </c:pt>
                <c:pt idx="500">
                  <c:v>1856158.031</c:v>
                </c:pt>
                <c:pt idx="501">
                  <c:v>1846810.031</c:v>
                </c:pt>
                <c:pt idx="502">
                  <c:v>1870678.031</c:v>
                </c:pt>
                <c:pt idx="503">
                  <c:v>1899502.031</c:v>
                </c:pt>
                <c:pt idx="504">
                  <c:v>1905664.031</c:v>
                </c:pt>
                <c:pt idx="505">
                  <c:v>1929526.031</c:v>
                </c:pt>
                <c:pt idx="506">
                  <c:v>1929988.031</c:v>
                </c:pt>
                <c:pt idx="507">
                  <c:v>1908190.031</c:v>
                </c:pt>
                <c:pt idx="508">
                  <c:v>1946116.031</c:v>
                </c:pt>
                <c:pt idx="509">
                  <c:v>1956196.031</c:v>
                </c:pt>
                <c:pt idx="510">
                  <c:v>2015104.031</c:v>
                </c:pt>
                <c:pt idx="511">
                  <c:v>2014222.031</c:v>
                </c:pt>
                <c:pt idx="512">
                  <c:v>2032738.031</c:v>
                </c:pt>
                <c:pt idx="513">
                  <c:v>2031166.031</c:v>
                </c:pt>
                <c:pt idx="514">
                  <c:v>2010748.031</c:v>
                </c:pt>
                <c:pt idx="515">
                  <c:v>2038366.031</c:v>
                </c:pt>
                <c:pt idx="516">
                  <c:v>1981768.031</c:v>
                </c:pt>
                <c:pt idx="517">
                  <c:v>1988464.031</c:v>
                </c:pt>
                <c:pt idx="518">
                  <c:v>1998184.031</c:v>
                </c:pt>
                <c:pt idx="519">
                  <c:v>2002192.031</c:v>
                </c:pt>
                <c:pt idx="520">
                  <c:v>2027356.031</c:v>
                </c:pt>
                <c:pt idx="521">
                  <c:v>2036554.031</c:v>
                </c:pt>
                <c:pt idx="522">
                  <c:v>2029600.031</c:v>
                </c:pt>
                <c:pt idx="523">
                  <c:v>2016652.031</c:v>
                </c:pt>
                <c:pt idx="524">
                  <c:v>2046022.031</c:v>
                </c:pt>
                <c:pt idx="525">
                  <c:v>2084326.031</c:v>
                </c:pt>
                <c:pt idx="526">
                  <c:v>2086096.031</c:v>
                </c:pt>
                <c:pt idx="527">
                  <c:v>2086936.031</c:v>
                </c:pt>
                <c:pt idx="528">
                  <c:v>2051776.031</c:v>
                </c:pt>
                <c:pt idx="529">
                  <c:v>2032048.031</c:v>
                </c:pt>
                <c:pt idx="530">
                  <c:v>2041372.031</c:v>
                </c:pt>
                <c:pt idx="531">
                  <c:v>2005996.031</c:v>
                </c:pt>
                <c:pt idx="532">
                  <c:v>2032540.031</c:v>
                </c:pt>
                <c:pt idx="533">
                  <c:v>2001880.031</c:v>
                </c:pt>
                <c:pt idx="534">
                  <c:v>2013034.031</c:v>
                </c:pt>
                <c:pt idx="535">
                  <c:v>2007886.031</c:v>
                </c:pt>
                <c:pt idx="536">
                  <c:v>2017396.031</c:v>
                </c:pt>
                <c:pt idx="537">
                  <c:v>2042578.031</c:v>
                </c:pt>
                <c:pt idx="538">
                  <c:v>2034436.031</c:v>
                </c:pt>
                <c:pt idx="539">
                  <c:v>2060308.031</c:v>
                </c:pt>
                <c:pt idx="540">
                  <c:v>2057962.031</c:v>
                </c:pt>
                <c:pt idx="541">
                  <c:v>2038408.031</c:v>
                </c:pt>
                <c:pt idx="542">
                  <c:v>2037268.031</c:v>
                </c:pt>
                <c:pt idx="543">
                  <c:v>2017594.031</c:v>
                </c:pt>
                <c:pt idx="544">
                  <c:v>2047258.031</c:v>
                </c:pt>
                <c:pt idx="545">
                  <c:v>2070262.031</c:v>
                </c:pt>
                <c:pt idx="546">
                  <c:v>2078272.031</c:v>
                </c:pt>
                <c:pt idx="547">
                  <c:v>2095434.83</c:v>
                </c:pt>
                <c:pt idx="548">
                  <c:v>2095434.83</c:v>
                </c:pt>
                <c:pt idx="549">
                  <c:v>2095434.83</c:v>
                </c:pt>
                <c:pt idx="550">
                  <c:v>2095434.83</c:v>
                </c:pt>
                <c:pt idx="551">
                  <c:v>2095434.83</c:v>
                </c:pt>
                <c:pt idx="552">
                  <c:v>2095434.83</c:v>
                </c:pt>
                <c:pt idx="553">
                  <c:v>2095434.83</c:v>
                </c:pt>
                <c:pt idx="554">
                  <c:v>2095434.83</c:v>
                </c:pt>
                <c:pt idx="555">
                  <c:v>2095434.83</c:v>
                </c:pt>
                <c:pt idx="556">
                  <c:v>2095434.83</c:v>
                </c:pt>
                <c:pt idx="557">
                  <c:v>2095434.83</c:v>
                </c:pt>
                <c:pt idx="558">
                  <c:v>2095434.83</c:v>
                </c:pt>
                <c:pt idx="559">
                  <c:v>2095434.83</c:v>
                </c:pt>
                <c:pt idx="560">
                  <c:v>2095434.83</c:v>
                </c:pt>
                <c:pt idx="561">
                  <c:v>2095434.83</c:v>
                </c:pt>
                <c:pt idx="562">
                  <c:v>2095434.83</c:v>
                </c:pt>
                <c:pt idx="563">
                  <c:v>2095434.83</c:v>
                </c:pt>
                <c:pt idx="564">
                  <c:v>2095434.83</c:v>
                </c:pt>
                <c:pt idx="565">
                  <c:v>2095434.83</c:v>
                </c:pt>
                <c:pt idx="566">
                  <c:v>2095434.83</c:v>
                </c:pt>
                <c:pt idx="567">
                  <c:v>2095434.83</c:v>
                </c:pt>
                <c:pt idx="568">
                  <c:v>2095434.83</c:v>
                </c:pt>
                <c:pt idx="569">
                  <c:v>2095434.83</c:v>
                </c:pt>
                <c:pt idx="570">
                  <c:v>2095434.83</c:v>
                </c:pt>
                <c:pt idx="571">
                  <c:v>2095434.83</c:v>
                </c:pt>
                <c:pt idx="572">
                  <c:v>2095434.83</c:v>
                </c:pt>
                <c:pt idx="573">
                  <c:v>2095434.83</c:v>
                </c:pt>
                <c:pt idx="574">
                  <c:v>2095434.83</c:v>
                </c:pt>
                <c:pt idx="575">
                  <c:v>2095434.83</c:v>
                </c:pt>
                <c:pt idx="576">
                  <c:v>2095247.534</c:v>
                </c:pt>
                <c:pt idx="577">
                  <c:v>2036075.534</c:v>
                </c:pt>
                <c:pt idx="578">
                  <c:v>2038019.534</c:v>
                </c:pt>
                <c:pt idx="579">
                  <c:v>2016491.534</c:v>
                </c:pt>
                <c:pt idx="580">
                  <c:v>2009315.534</c:v>
                </c:pt>
                <c:pt idx="581">
                  <c:v>2000273.534</c:v>
                </c:pt>
                <c:pt idx="582">
                  <c:v>1994993.534</c:v>
                </c:pt>
                <c:pt idx="583">
                  <c:v>2023223.534</c:v>
                </c:pt>
                <c:pt idx="584">
                  <c:v>2024789.534</c:v>
                </c:pt>
                <c:pt idx="585">
                  <c:v>1995713.534</c:v>
                </c:pt>
                <c:pt idx="586">
                  <c:v>2014097.534</c:v>
                </c:pt>
                <c:pt idx="587">
                  <c:v>2024843.534</c:v>
                </c:pt>
                <c:pt idx="588">
                  <c:v>2027477.534</c:v>
                </c:pt>
                <c:pt idx="589">
                  <c:v>1993421.534</c:v>
                </c:pt>
                <c:pt idx="590">
                  <c:v>1999445.534</c:v>
                </c:pt>
                <c:pt idx="591">
                  <c:v>1992497.534</c:v>
                </c:pt>
                <c:pt idx="592">
                  <c:v>2018423.534</c:v>
                </c:pt>
                <c:pt idx="593">
                  <c:v>2000159.534</c:v>
                </c:pt>
                <c:pt idx="594">
                  <c:v>1972835.534</c:v>
                </c:pt>
                <c:pt idx="595">
                  <c:v>1957583.534</c:v>
                </c:pt>
                <c:pt idx="596">
                  <c:v>1947227.534</c:v>
                </c:pt>
                <c:pt idx="597">
                  <c:v>1967729.534</c:v>
                </c:pt>
                <c:pt idx="598">
                  <c:v>1967435.534</c:v>
                </c:pt>
                <c:pt idx="599">
                  <c:v>1996865.534</c:v>
                </c:pt>
                <c:pt idx="600">
                  <c:v>2038769.534</c:v>
                </c:pt>
                <c:pt idx="601">
                  <c:v>2044181.534</c:v>
                </c:pt>
                <c:pt idx="602">
                  <c:v>2047325.534</c:v>
                </c:pt>
                <c:pt idx="603">
                  <c:v>2022389.534</c:v>
                </c:pt>
                <c:pt idx="604">
                  <c:v>2048741.534</c:v>
                </c:pt>
                <c:pt idx="605">
                  <c:v>2052137.534</c:v>
                </c:pt>
                <c:pt idx="606">
                  <c:v>2095475.534</c:v>
                </c:pt>
                <c:pt idx="607">
                  <c:v>2095787.534</c:v>
                </c:pt>
                <c:pt idx="608">
                  <c:v>2090513.534</c:v>
                </c:pt>
                <c:pt idx="609">
                  <c:v>2083295.534</c:v>
                </c:pt>
                <c:pt idx="610">
                  <c:v>2087795.534</c:v>
                </c:pt>
                <c:pt idx="611">
                  <c:v>2090213.534</c:v>
                </c:pt>
                <c:pt idx="612">
                  <c:v>2056433.534</c:v>
                </c:pt>
                <c:pt idx="613">
                  <c:v>2086037.534</c:v>
                </c:pt>
                <c:pt idx="614">
                  <c:v>2091737.534</c:v>
                </c:pt>
                <c:pt idx="615">
                  <c:v>2099621.534</c:v>
                </c:pt>
                <c:pt idx="616">
                  <c:v>2095847.534</c:v>
                </c:pt>
                <c:pt idx="617">
                  <c:v>2079179.8259999999</c:v>
                </c:pt>
                <c:pt idx="618">
                  <c:v>2079179.8259999999</c:v>
                </c:pt>
                <c:pt idx="619">
                  <c:v>2079179.8259999999</c:v>
                </c:pt>
                <c:pt idx="620">
                  <c:v>2079179.8259999999</c:v>
                </c:pt>
                <c:pt idx="621">
                  <c:v>2079179.8259999999</c:v>
                </c:pt>
                <c:pt idx="622">
                  <c:v>2079179.8259999999</c:v>
                </c:pt>
                <c:pt idx="623">
                  <c:v>2079179.8259999999</c:v>
                </c:pt>
                <c:pt idx="624">
                  <c:v>2079179.8259999999</c:v>
                </c:pt>
                <c:pt idx="625">
                  <c:v>2079179.8259999999</c:v>
                </c:pt>
                <c:pt idx="626">
                  <c:v>2079179.8259999999</c:v>
                </c:pt>
                <c:pt idx="627">
                  <c:v>2079179.8259999999</c:v>
                </c:pt>
                <c:pt idx="628">
                  <c:v>2079179.8259999999</c:v>
                </c:pt>
                <c:pt idx="629">
                  <c:v>2079179.8259999999</c:v>
                </c:pt>
                <c:pt idx="630">
                  <c:v>2079179.8259999999</c:v>
                </c:pt>
                <c:pt idx="631">
                  <c:v>2079179.8259999999</c:v>
                </c:pt>
                <c:pt idx="632">
                  <c:v>2079179.8259999999</c:v>
                </c:pt>
                <c:pt idx="633">
                  <c:v>2079179.8259999999</c:v>
                </c:pt>
                <c:pt idx="634">
                  <c:v>2079179.8259999999</c:v>
                </c:pt>
                <c:pt idx="635">
                  <c:v>2079179.8259999999</c:v>
                </c:pt>
                <c:pt idx="636">
                  <c:v>2079179.8259999999</c:v>
                </c:pt>
                <c:pt idx="637">
                  <c:v>2079179.8259999999</c:v>
                </c:pt>
                <c:pt idx="638">
                  <c:v>2079179.8259999999</c:v>
                </c:pt>
                <c:pt idx="639">
                  <c:v>2079179.8259999999</c:v>
                </c:pt>
                <c:pt idx="640">
                  <c:v>2079179.8259999999</c:v>
                </c:pt>
                <c:pt idx="641">
                  <c:v>2079179.8259999999</c:v>
                </c:pt>
                <c:pt idx="642">
                  <c:v>2079179.8259999999</c:v>
                </c:pt>
                <c:pt idx="643">
                  <c:v>2079179.8259999999</c:v>
                </c:pt>
                <c:pt idx="644">
                  <c:v>2079179.8259999999</c:v>
                </c:pt>
                <c:pt idx="645">
                  <c:v>2079179.8259999999</c:v>
                </c:pt>
                <c:pt idx="646">
                  <c:v>2079179.8259999999</c:v>
                </c:pt>
                <c:pt idx="647">
                  <c:v>2079179.8259999999</c:v>
                </c:pt>
                <c:pt idx="648">
                  <c:v>2079179.8259999999</c:v>
                </c:pt>
                <c:pt idx="649">
                  <c:v>2079179.8259999999</c:v>
                </c:pt>
                <c:pt idx="650">
                  <c:v>2079179.8259999999</c:v>
                </c:pt>
                <c:pt idx="651">
                  <c:v>2079179.8259999999</c:v>
                </c:pt>
                <c:pt idx="652">
                  <c:v>2079179.8259999999</c:v>
                </c:pt>
                <c:pt idx="653">
                  <c:v>2079179.8259999999</c:v>
                </c:pt>
                <c:pt idx="654">
                  <c:v>2079179.8259999999</c:v>
                </c:pt>
                <c:pt idx="655">
                  <c:v>2079179.8259999999</c:v>
                </c:pt>
                <c:pt idx="656">
                  <c:v>2079179.8259999999</c:v>
                </c:pt>
                <c:pt idx="657">
                  <c:v>2078988.5079999999</c:v>
                </c:pt>
                <c:pt idx="658">
                  <c:v>2076146.5079999999</c:v>
                </c:pt>
                <c:pt idx="659">
                  <c:v>2079604.5079999999</c:v>
                </c:pt>
                <c:pt idx="660">
                  <c:v>2041300.5079999999</c:v>
                </c:pt>
                <c:pt idx="661">
                  <c:v>2048706.5079999999</c:v>
                </c:pt>
                <c:pt idx="662">
                  <c:v>2105518.5079999999</c:v>
                </c:pt>
                <c:pt idx="663">
                  <c:v>2045794.5079999999</c:v>
                </c:pt>
                <c:pt idx="664">
                  <c:v>2034447.5079999999</c:v>
                </c:pt>
                <c:pt idx="665">
                  <c:v>1993455.5079999999</c:v>
                </c:pt>
                <c:pt idx="666">
                  <c:v>2012327.5079999999</c:v>
                </c:pt>
                <c:pt idx="667">
                  <c:v>1993224.5079999999</c:v>
                </c:pt>
                <c:pt idx="668">
                  <c:v>1977544.5079999999</c:v>
                </c:pt>
                <c:pt idx="669">
                  <c:v>1972756.5079999999</c:v>
                </c:pt>
                <c:pt idx="670">
                  <c:v>1955767.5079999999</c:v>
                </c:pt>
                <c:pt idx="671">
                  <c:v>1952204.5079999999</c:v>
                </c:pt>
                <c:pt idx="672">
                  <c:v>2017143.5079999999</c:v>
                </c:pt>
                <c:pt idx="673">
                  <c:v>2029631.5079999999</c:v>
                </c:pt>
                <c:pt idx="674">
                  <c:v>2023457.5079999999</c:v>
                </c:pt>
                <c:pt idx="675">
                  <c:v>2032676.5079999999</c:v>
                </c:pt>
                <c:pt idx="676">
                  <c:v>1980358.5079999999</c:v>
                </c:pt>
                <c:pt idx="677">
                  <c:v>1973967.5079999999</c:v>
                </c:pt>
                <c:pt idx="678">
                  <c:v>1930182.5079999999</c:v>
                </c:pt>
                <c:pt idx="679">
                  <c:v>1921327.5079999999</c:v>
                </c:pt>
                <c:pt idx="680">
                  <c:v>1969480.5079999999</c:v>
                </c:pt>
                <c:pt idx="681">
                  <c:v>2003612.5079999999</c:v>
                </c:pt>
                <c:pt idx="682">
                  <c:v>2021966.5079999999</c:v>
                </c:pt>
                <c:pt idx="683">
                  <c:v>2026047.5079999999</c:v>
                </c:pt>
                <c:pt idx="684">
                  <c:v>2061935.8770000001</c:v>
                </c:pt>
                <c:pt idx="685">
                  <c:v>2061935.8770000001</c:v>
                </c:pt>
                <c:pt idx="686">
                  <c:v>2061935.8770000001</c:v>
                </c:pt>
                <c:pt idx="687">
                  <c:v>2061935.8770000001</c:v>
                </c:pt>
                <c:pt idx="688">
                  <c:v>2061935.8770000001</c:v>
                </c:pt>
                <c:pt idx="689">
                  <c:v>2061935.8770000001</c:v>
                </c:pt>
                <c:pt idx="690">
                  <c:v>2061935.8770000001</c:v>
                </c:pt>
                <c:pt idx="691">
                  <c:v>2061935.8770000001</c:v>
                </c:pt>
                <c:pt idx="692">
                  <c:v>2061935.8770000001</c:v>
                </c:pt>
                <c:pt idx="693">
                  <c:v>2061935.8770000001</c:v>
                </c:pt>
                <c:pt idx="694">
                  <c:v>2061935.8770000001</c:v>
                </c:pt>
                <c:pt idx="695">
                  <c:v>2061935.8770000001</c:v>
                </c:pt>
                <c:pt idx="696">
                  <c:v>2061935.8770000001</c:v>
                </c:pt>
                <c:pt idx="697">
                  <c:v>2061935.8770000001</c:v>
                </c:pt>
                <c:pt idx="698">
                  <c:v>2061935.8770000001</c:v>
                </c:pt>
                <c:pt idx="699">
                  <c:v>2061935.8770000001</c:v>
                </c:pt>
                <c:pt idx="700">
                  <c:v>2061935.8770000001</c:v>
                </c:pt>
                <c:pt idx="701">
                  <c:v>2061935.8770000001</c:v>
                </c:pt>
                <c:pt idx="702">
                  <c:v>2061935.8770000001</c:v>
                </c:pt>
                <c:pt idx="703">
                  <c:v>2061935.8770000001</c:v>
                </c:pt>
                <c:pt idx="704">
                  <c:v>2061935.8770000001</c:v>
                </c:pt>
                <c:pt idx="705">
                  <c:v>2061935.8770000001</c:v>
                </c:pt>
                <c:pt idx="706">
                  <c:v>2061935.8770000001</c:v>
                </c:pt>
                <c:pt idx="707">
                  <c:v>2061935.8770000001</c:v>
                </c:pt>
                <c:pt idx="708">
                  <c:v>2061935.8770000001</c:v>
                </c:pt>
                <c:pt idx="709">
                  <c:v>2061935.8770000001</c:v>
                </c:pt>
                <c:pt idx="710">
                  <c:v>2061935.8770000001</c:v>
                </c:pt>
                <c:pt idx="711">
                  <c:v>2061935.8770000001</c:v>
                </c:pt>
                <c:pt idx="712">
                  <c:v>2061935.8770000001</c:v>
                </c:pt>
                <c:pt idx="713">
                  <c:v>2061935.8770000001</c:v>
                </c:pt>
                <c:pt idx="714">
                  <c:v>2061935.8770000001</c:v>
                </c:pt>
                <c:pt idx="715">
                  <c:v>2061737.662</c:v>
                </c:pt>
                <c:pt idx="716">
                  <c:v>2017129.6610000001</c:v>
                </c:pt>
                <c:pt idx="717">
                  <c:v>1997569.662</c:v>
                </c:pt>
                <c:pt idx="718">
                  <c:v>1952217.662</c:v>
                </c:pt>
                <c:pt idx="719">
                  <c:v>1991689.662</c:v>
                </c:pt>
                <c:pt idx="720">
                  <c:v>1987113.662</c:v>
                </c:pt>
                <c:pt idx="721">
                  <c:v>1981241.662</c:v>
                </c:pt>
                <c:pt idx="722">
                  <c:v>1950873.662</c:v>
                </c:pt>
                <c:pt idx="723">
                  <c:v>1952657.662</c:v>
                </c:pt>
                <c:pt idx="724">
                  <c:v>1966913.662</c:v>
                </c:pt>
                <c:pt idx="725">
                  <c:v>1948145.6610000001</c:v>
                </c:pt>
                <c:pt idx="726">
                  <c:v>1923617.662</c:v>
                </c:pt>
                <c:pt idx="727">
                  <c:v>1925929.6610000001</c:v>
                </c:pt>
                <c:pt idx="728">
                  <c:v>1928673.662</c:v>
                </c:pt>
                <c:pt idx="729">
                  <c:v>1956177.6610000001</c:v>
                </c:pt>
                <c:pt idx="730">
                  <c:v>1918585.662</c:v>
                </c:pt>
                <c:pt idx="731">
                  <c:v>1900697.662</c:v>
                </c:pt>
                <c:pt idx="732">
                  <c:v>1912065.662</c:v>
                </c:pt>
                <c:pt idx="733">
                  <c:v>1974441.662</c:v>
                </c:pt>
                <c:pt idx="734">
                  <c:v>2037465.662</c:v>
                </c:pt>
                <c:pt idx="735">
                  <c:v>2028073.662</c:v>
                </c:pt>
                <c:pt idx="736">
                  <c:v>2027761.6610000001</c:v>
                </c:pt>
                <c:pt idx="737">
                  <c:v>1995049.662</c:v>
                </c:pt>
                <c:pt idx="738">
                  <c:v>1956105.662</c:v>
                </c:pt>
                <c:pt idx="739">
                  <c:v>2048065.662</c:v>
                </c:pt>
                <c:pt idx="740">
                  <c:v>2017337.662</c:v>
                </c:pt>
                <c:pt idx="741">
                  <c:v>2054265.662</c:v>
                </c:pt>
                <c:pt idx="742">
                  <c:v>2082857.662</c:v>
                </c:pt>
                <c:pt idx="743">
                  <c:v>2048161.6610000001</c:v>
                </c:pt>
                <c:pt idx="744">
                  <c:v>2050993.662</c:v>
                </c:pt>
                <c:pt idx="745">
                  <c:v>2022777.6610000001</c:v>
                </c:pt>
                <c:pt idx="746">
                  <c:v>2068577.6610000001</c:v>
                </c:pt>
                <c:pt idx="747">
                  <c:v>2084457.662</c:v>
                </c:pt>
                <c:pt idx="748">
                  <c:v>2083041.662</c:v>
                </c:pt>
                <c:pt idx="749">
                  <c:v>2045945.6610000001</c:v>
                </c:pt>
                <c:pt idx="750">
                  <c:v>2102177.6609999998</c:v>
                </c:pt>
                <c:pt idx="751">
                  <c:v>2102767.3229999999</c:v>
                </c:pt>
                <c:pt idx="752">
                  <c:v>2102767.3229999999</c:v>
                </c:pt>
                <c:pt idx="753">
                  <c:v>2102767.3229999999</c:v>
                </c:pt>
                <c:pt idx="754">
                  <c:v>2102767.3229999999</c:v>
                </c:pt>
                <c:pt idx="755">
                  <c:v>2102767.3229999999</c:v>
                </c:pt>
                <c:pt idx="756">
                  <c:v>2102767.3229999999</c:v>
                </c:pt>
                <c:pt idx="757">
                  <c:v>2102767.3229999999</c:v>
                </c:pt>
                <c:pt idx="758">
                  <c:v>2102767.3229999999</c:v>
                </c:pt>
                <c:pt idx="759">
                  <c:v>2102767.3229999999</c:v>
                </c:pt>
                <c:pt idx="760">
                  <c:v>2102767.3229999999</c:v>
                </c:pt>
                <c:pt idx="761">
                  <c:v>2102767.3229999999</c:v>
                </c:pt>
                <c:pt idx="762">
                  <c:v>2102767.3229999999</c:v>
                </c:pt>
                <c:pt idx="763">
                  <c:v>2102767.3229999999</c:v>
                </c:pt>
                <c:pt idx="764">
                  <c:v>2102767.3229999999</c:v>
                </c:pt>
                <c:pt idx="765">
                  <c:v>2102767.3229999999</c:v>
                </c:pt>
                <c:pt idx="766">
                  <c:v>2102767.3229999999</c:v>
                </c:pt>
                <c:pt idx="767">
                  <c:v>2102767.3229999999</c:v>
                </c:pt>
                <c:pt idx="768">
                  <c:v>2102767.3229999999</c:v>
                </c:pt>
                <c:pt idx="769">
                  <c:v>2102767.3229999999</c:v>
                </c:pt>
                <c:pt idx="770">
                  <c:v>2102767.3229999999</c:v>
                </c:pt>
                <c:pt idx="771">
                  <c:v>2102767.3229999999</c:v>
                </c:pt>
                <c:pt idx="772">
                  <c:v>2102767.3229999999</c:v>
                </c:pt>
                <c:pt idx="773">
                  <c:v>2102767.3229999999</c:v>
                </c:pt>
                <c:pt idx="774">
                  <c:v>2102767.3229999999</c:v>
                </c:pt>
                <c:pt idx="775">
                  <c:v>2102767.3229999999</c:v>
                </c:pt>
                <c:pt idx="776">
                  <c:v>2102767.3229999999</c:v>
                </c:pt>
                <c:pt idx="777">
                  <c:v>2102767.3229999999</c:v>
                </c:pt>
                <c:pt idx="778">
                  <c:v>2102767.3229999999</c:v>
                </c:pt>
                <c:pt idx="779">
                  <c:v>2102767.3229999999</c:v>
                </c:pt>
                <c:pt idx="780">
                  <c:v>2102767.3229999999</c:v>
                </c:pt>
                <c:pt idx="781">
                  <c:v>2102767.3229999999</c:v>
                </c:pt>
                <c:pt idx="782">
                  <c:v>2102767.3229999999</c:v>
                </c:pt>
                <c:pt idx="783">
                  <c:v>2102767.3229999999</c:v>
                </c:pt>
                <c:pt idx="784">
                  <c:v>2102767.3229999999</c:v>
                </c:pt>
                <c:pt idx="785">
                  <c:v>2102569.3309999998</c:v>
                </c:pt>
                <c:pt idx="786">
                  <c:v>2077145.331</c:v>
                </c:pt>
                <c:pt idx="787">
                  <c:v>2086569.331</c:v>
                </c:pt>
                <c:pt idx="788">
                  <c:v>2132913.3309999998</c:v>
                </c:pt>
                <c:pt idx="789">
                  <c:v>2138513.3309999998</c:v>
                </c:pt>
                <c:pt idx="790">
                  <c:v>2118769.3309999998</c:v>
                </c:pt>
                <c:pt idx="791">
                  <c:v>2138481.3309999998</c:v>
                </c:pt>
                <c:pt idx="792">
                  <c:v>2138681.3309999998</c:v>
                </c:pt>
                <c:pt idx="793">
                  <c:v>2179001.3309999998</c:v>
                </c:pt>
                <c:pt idx="794">
                  <c:v>2187009.3309999998</c:v>
                </c:pt>
                <c:pt idx="795">
                  <c:v>2181881.3309999998</c:v>
                </c:pt>
                <c:pt idx="796">
                  <c:v>2156153.3309999998</c:v>
                </c:pt>
                <c:pt idx="797">
                  <c:v>2202577.3309999998</c:v>
                </c:pt>
                <c:pt idx="798">
                  <c:v>2199497.3309999998</c:v>
                </c:pt>
                <c:pt idx="799">
                  <c:v>2224121.3309999998</c:v>
                </c:pt>
                <c:pt idx="800">
                  <c:v>2207481.3309999998</c:v>
                </c:pt>
                <c:pt idx="801">
                  <c:v>2206545.3309999998</c:v>
                </c:pt>
                <c:pt idx="802">
                  <c:v>2223441.3309999998</c:v>
                </c:pt>
                <c:pt idx="803">
                  <c:v>2227841.3309999998</c:v>
                </c:pt>
                <c:pt idx="804">
                  <c:v>2223577.3309999998</c:v>
                </c:pt>
                <c:pt idx="805">
                  <c:v>2269441.3309999998</c:v>
                </c:pt>
                <c:pt idx="806">
                  <c:v>2275865.3309999998</c:v>
                </c:pt>
                <c:pt idx="807">
                  <c:v>2295353.3309999998</c:v>
                </c:pt>
                <c:pt idx="808">
                  <c:v>2296873.3309999998</c:v>
                </c:pt>
                <c:pt idx="809">
                  <c:v>2289945.3309999998</c:v>
                </c:pt>
                <c:pt idx="810">
                  <c:v>2248657.3309999998</c:v>
                </c:pt>
                <c:pt idx="811">
                  <c:v>2248417.3309999998</c:v>
                </c:pt>
                <c:pt idx="812">
                  <c:v>2232185.3309999998</c:v>
                </c:pt>
                <c:pt idx="813">
                  <c:v>2215073.3309999998</c:v>
                </c:pt>
                <c:pt idx="814">
                  <c:v>2216545.3309999998</c:v>
                </c:pt>
                <c:pt idx="815">
                  <c:v>2182369.3309999998</c:v>
                </c:pt>
                <c:pt idx="816">
                  <c:v>2213801.3309999998</c:v>
                </c:pt>
                <c:pt idx="817">
                  <c:v>2181833.3309999998</c:v>
                </c:pt>
                <c:pt idx="818">
                  <c:v>2192433.3309999998</c:v>
                </c:pt>
                <c:pt idx="819">
                  <c:v>2224673.3309999998</c:v>
                </c:pt>
                <c:pt idx="820">
                  <c:v>2216145.3309999998</c:v>
                </c:pt>
                <c:pt idx="821">
                  <c:v>2198857.3309999998</c:v>
                </c:pt>
                <c:pt idx="822">
                  <c:v>2181129.3309999998</c:v>
                </c:pt>
                <c:pt idx="823">
                  <c:v>2214401.3309999998</c:v>
                </c:pt>
                <c:pt idx="824">
                  <c:v>2243329.3309999998</c:v>
                </c:pt>
                <c:pt idx="825">
                  <c:v>2236457.3309999998</c:v>
                </c:pt>
                <c:pt idx="826">
                  <c:v>2228281.3309999998</c:v>
                </c:pt>
                <c:pt idx="827">
                  <c:v>2229049.3309999998</c:v>
                </c:pt>
                <c:pt idx="828">
                  <c:v>2169668.6090000002</c:v>
                </c:pt>
                <c:pt idx="829">
                  <c:v>2169668.6090000002</c:v>
                </c:pt>
                <c:pt idx="830">
                  <c:v>2169668.6090000002</c:v>
                </c:pt>
                <c:pt idx="831">
                  <c:v>2169668.6090000002</c:v>
                </c:pt>
                <c:pt idx="832">
                  <c:v>2169668.6090000002</c:v>
                </c:pt>
                <c:pt idx="833">
                  <c:v>2169668.6090000002</c:v>
                </c:pt>
                <c:pt idx="834">
                  <c:v>2169668.6090000002</c:v>
                </c:pt>
                <c:pt idx="835">
                  <c:v>2169668.6090000002</c:v>
                </c:pt>
                <c:pt idx="836">
                  <c:v>2169668.6090000002</c:v>
                </c:pt>
                <c:pt idx="837">
                  <c:v>2169668.6090000002</c:v>
                </c:pt>
                <c:pt idx="838">
                  <c:v>2169668.6090000002</c:v>
                </c:pt>
                <c:pt idx="839">
                  <c:v>2169668.6090000002</c:v>
                </c:pt>
                <c:pt idx="840">
                  <c:v>2169668.6090000002</c:v>
                </c:pt>
                <c:pt idx="841">
                  <c:v>2169668.6090000002</c:v>
                </c:pt>
                <c:pt idx="842">
                  <c:v>2169668.6090000002</c:v>
                </c:pt>
                <c:pt idx="843">
                  <c:v>2169668.6090000002</c:v>
                </c:pt>
                <c:pt idx="844">
                  <c:v>2169668.6090000002</c:v>
                </c:pt>
                <c:pt idx="845">
                  <c:v>2169668.6090000002</c:v>
                </c:pt>
                <c:pt idx="846">
                  <c:v>2169668.6090000002</c:v>
                </c:pt>
                <c:pt idx="847">
                  <c:v>2169668.6090000002</c:v>
                </c:pt>
                <c:pt idx="848">
                  <c:v>2169668.6090000002</c:v>
                </c:pt>
                <c:pt idx="849">
                  <c:v>2169668.6090000002</c:v>
                </c:pt>
                <c:pt idx="850">
                  <c:v>2169668.6090000002</c:v>
                </c:pt>
                <c:pt idx="851">
                  <c:v>2169668.6090000002</c:v>
                </c:pt>
                <c:pt idx="852">
                  <c:v>2169668.6090000002</c:v>
                </c:pt>
                <c:pt idx="853">
                  <c:v>2169668.6090000002</c:v>
                </c:pt>
                <c:pt idx="854">
                  <c:v>2169668.6090000002</c:v>
                </c:pt>
                <c:pt idx="855">
                  <c:v>2169668.6090000002</c:v>
                </c:pt>
                <c:pt idx="856">
                  <c:v>2169668.6090000002</c:v>
                </c:pt>
                <c:pt idx="857">
                  <c:v>2169668.6090000002</c:v>
                </c:pt>
                <c:pt idx="858">
                  <c:v>2169668.6090000002</c:v>
                </c:pt>
                <c:pt idx="859">
                  <c:v>2169668.6090000002</c:v>
                </c:pt>
                <c:pt idx="860">
                  <c:v>2169668.6090000002</c:v>
                </c:pt>
                <c:pt idx="861">
                  <c:v>2169668.6090000002</c:v>
                </c:pt>
                <c:pt idx="862">
                  <c:v>2169668.6090000002</c:v>
                </c:pt>
                <c:pt idx="863">
                  <c:v>2169668.6090000002</c:v>
                </c:pt>
                <c:pt idx="864">
                  <c:v>2169668.6090000002</c:v>
                </c:pt>
                <c:pt idx="865">
                  <c:v>2169668.6090000002</c:v>
                </c:pt>
                <c:pt idx="866">
                  <c:v>2169457.1889999998</c:v>
                </c:pt>
                <c:pt idx="867">
                  <c:v>2157469.1889999998</c:v>
                </c:pt>
                <c:pt idx="868">
                  <c:v>2154886.1889999998</c:v>
                </c:pt>
                <c:pt idx="869">
                  <c:v>2178043.1889999998</c:v>
                </c:pt>
                <c:pt idx="870">
                  <c:v>2156650.1889999998</c:v>
                </c:pt>
                <c:pt idx="871">
                  <c:v>2173624.1889999998</c:v>
                </c:pt>
                <c:pt idx="872">
                  <c:v>2202307.1889999998</c:v>
                </c:pt>
                <c:pt idx="873">
                  <c:v>2205241.1889999998</c:v>
                </c:pt>
                <c:pt idx="874">
                  <c:v>2206078.1889999998</c:v>
                </c:pt>
                <c:pt idx="875">
                  <c:v>2225788.1889999998</c:v>
                </c:pt>
                <c:pt idx="876">
                  <c:v>2215033.1889999998</c:v>
                </c:pt>
                <c:pt idx="877">
                  <c:v>2171995.1889999998</c:v>
                </c:pt>
                <c:pt idx="878">
                  <c:v>2176576.1889999998</c:v>
                </c:pt>
                <c:pt idx="879">
                  <c:v>2153707.1889999998</c:v>
                </c:pt>
                <c:pt idx="880">
                  <c:v>2142961.1889999998</c:v>
                </c:pt>
                <c:pt idx="881">
                  <c:v>2137390.1889999998</c:v>
                </c:pt>
                <c:pt idx="882">
                  <c:v>2126869.1889999998</c:v>
                </c:pt>
                <c:pt idx="883">
                  <c:v>2137588.1889999998</c:v>
                </c:pt>
                <c:pt idx="884">
                  <c:v>2121289.1889999998</c:v>
                </c:pt>
                <c:pt idx="885">
                  <c:v>2127238.1889999998</c:v>
                </c:pt>
                <c:pt idx="886">
                  <c:v>2103370.1889999998</c:v>
                </c:pt>
                <c:pt idx="887">
                  <c:v>2060638.189</c:v>
                </c:pt>
                <c:pt idx="888">
                  <c:v>2069827.189</c:v>
                </c:pt>
                <c:pt idx="889">
                  <c:v>2048587.189</c:v>
                </c:pt>
                <c:pt idx="890">
                  <c:v>2045491.189</c:v>
                </c:pt>
                <c:pt idx="891">
                  <c:v>2039641.189</c:v>
                </c:pt>
                <c:pt idx="892">
                  <c:v>2060791.189</c:v>
                </c:pt>
                <c:pt idx="893">
                  <c:v>2039227.189</c:v>
                </c:pt>
                <c:pt idx="894">
                  <c:v>2035150.189</c:v>
                </c:pt>
                <c:pt idx="895">
                  <c:v>2051296.189</c:v>
                </c:pt>
                <c:pt idx="896">
                  <c:v>2140720.1889999998</c:v>
                </c:pt>
                <c:pt idx="897">
                  <c:v>2149261.1889999998</c:v>
                </c:pt>
                <c:pt idx="898">
                  <c:v>2135959.1889999998</c:v>
                </c:pt>
                <c:pt idx="899">
                  <c:v>2143321.1889999998</c:v>
                </c:pt>
                <c:pt idx="900">
                  <c:v>2123872.1889999998</c:v>
                </c:pt>
                <c:pt idx="901">
                  <c:v>2139244.1889999998</c:v>
                </c:pt>
                <c:pt idx="902">
                  <c:v>2088097.189</c:v>
                </c:pt>
                <c:pt idx="903">
                  <c:v>2066974.189</c:v>
                </c:pt>
                <c:pt idx="904">
                  <c:v>2076874.189</c:v>
                </c:pt>
                <c:pt idx="905">
                  <c:v>2031613.189</c:v>
                </c:pt>
                <c:pt idx="906">
                  <c:v>2034412.189</c:v>
                </c:pt>
                <c:pt idx="907">
                  <c:v>2049226.189</c:v>
                </c:pt>
                <c:pt idx="908">
                  <c:v>2044393.189</c:v>
                </c:pt>
                <c:pt idx="909">
                  <c:v>2021659.189</c:v>
                </c:pt>
                <c:pt idx="910">
                  <c:v>2081806.189</c:v>
                </c:pt>
                <c:pt idx="911">
                  <c:v>2119057.1889999998</c:v>
                </c:pt>
                <c:pt idx="912">
                  <c:v>2098303.1889999998</c:v>
                </c:pt>
                <c:pt idx="913">
                  <c:v>2143402.1889999998</c:v>
                </c:pt>
                <c:pt idx="914">
                  <c:v>2146966.1889999998</c:v>
                </c:pt>
                <c:pt idx="915">
                  <c:v>2127535.1889999998</c:v>
                </c:pt>
                <c:pt idx="916">
                  <c:v>2129335.1889999998</c:v>
                </c:pt>
                <c:pt idx="917">
                  <c:v>2120632.1889999998</c:v>
                </c:pt>
                <c:pt idx="918">
                  <c:v>2123602.1889999998</c:v>
                </c:pt>
                <c:pt idx="919">
                  <c:v>2125978.1889999998</c:v>
                </c:pt>
                <c:pt idx="920">
                  <c:v>2157730.1889999998</c:v>
                </c:pt>
                <c:pt idx="921">
                  <c:v>2154481.1889999998</c:v>
                </c:pt>
                <c:pt idx="922">
                  <c:v>2162689.1889999998</c:v>
                </c:pt>
                <c:pt idx="923">
                  <c:v>2136130.1889999998</c:v>
                </c:pt>
                <c:pt idx="924">
                  <c:v>2132260.1889999998</c:v>
                </c:pt>
                <c:pt idx="925">
                  <c:v>2117374.1889999998</c:v>
                </c:pt>
                <c:pt idx="926">
                  <c:v>2078377.189</c:v>
                </c:pt>
                <c:pt idx="927">
                  <c:v>2067321.9620000001</c:v>
                </c:pt>
                <c:pt idx="928">
                  <c:v>2067321.9620000001</c:v>
                </c:pt>
                <c:pt idx="929">
                  <c:v>2067321.9620000001</c:v>
                </c:pt>
                <c:pt idx="930">
                  <c:v>2067321.9620000001</c:v>
                </c:pt>
                <c:pt idx="931">
                  <c:v>2067321.9620000001</c:v>
                </c:pt>
                <c:pt idx="932">
                  <c:v>2067321.9620000001</c:v>
                </c:pt>
                <c:pt idx="933">
                  <c:v>2067321.9620000001</c:v>
                </c:pt>
                <c:pt idx="934">
                  <c:v>2067321.9620000001</c:v>
                </c:pt>
                <c:pt idx="935">
                  <c:v>2067321.9620000001</c:v>
                </c:pt>
                <c:pt idx="936">
                  <c:v>2067321.9620000001</c:v>
                </c:pt>
                <c:pt idx="937">
                  <c:v>2067321.9620000001</c:v>
                </c:pt>
                <c:pt idx="938">
                  <c:v>2067321.9620000001</c:v>
                </c:pt>
                <c:pt idx="939">
                  <c:v>2067321.9620000001</c:v>
                </c:pt>
                <c:pt idx="940">
                  <c:v>2067124.5360000001</c:v>
                </c:pt>
                <c:pt idx="941">
                  <c:v>2052382.5360000001</c:v>
                </c:pt>
                <c:pt idx="942">
                  <c:v>2050357.5360000001</c:v>
                </c:pt>
                <c:pt idx="943">
                  <c:v>2041258.5360000001</c:v>
                </c:pt>
                <c:pt idx="944">
                  <c:v>2068276.5360000001</c:v>
                </c:pt>
                <c:pt idx="945">
                  <c:v>2052661.537</c:v>
                </c:pt>
                <c:pt idx="946">
                  <c:v>2066278.5360000001</c:v>
                </c:pt>
                <c:pt idx="947">
                  <c:v>2050906.5360000001</c:v>
                </c:pt>
                <c:pt idx="948">
                  <c:v>2028442.5360000001</c:v>
                </c:pt>
                <c:pt idx="949">
                  <c:v>2009110.5360000001</c:v>
                </c:pt>
                <c:pt idx="950">
                  <c:v>1996978.5360000001</c:v>
                </c:pt>
                <c:pt idx="951">
                  <c:v>2018560.5360000001</c:v>
                </c:pt>
                <c:pt idx="952">
                  <c:v>1990831.5360000001</c:v>
                </c:pt>
                <c:pt idx="953">
                  <c:v>2011189.5360000001</c:v>
                </c:pt>
                <c:pt idx="954">
                  <c:v>2079958.5360000001</c:v>
                </c:pt>
                <c:pt idx="955">
                  <c:v>2076106.5360000001</c:v>
                </c:pt>
                <c:pt idx="956">
                  <c:v>2114950.537</c:v>
                </c:pt>
                <c:pt idx="957">
                  <c:v>2136811.537</c:v>
                </c:pt>
                <c:pt idx="958">
                  <c:v>2125516.5359999998</c:v>
                </c:pt>
                <c:pt idx="959">
                  <c:v>2133859.5359999998</c:v>
                </c:pt>
                <c:pt idx="960">
                  <c:v>2111242.5359999998</c:v>
                </c:pt>
                <c:pt idx="961">
                  <c:v>2213140.5359999998</c:v>
                </c:pt>
                <c:pt idx="962">
                  <c:v>2222896.5359999998</c:v>
                </c:pt>
                <c:pt idx="963">
                  <c:v>2224174.5359999998</c:v>
                </c:pt>
                <c:pt idx="964">
                  <c:v>2226865.5359999998</c:v>
                </c:pt>
                <c:pt idx="965">
                  <c:v>2239204.5359999998</c:v>
                </c:pt>
                <c:pt idx="966">
                  <c:v>2227666.5359999998</c:v>
                </c:pt>
                <c:pt idx="967">
                  <c:v>2235964.5359999998</c:v>
                </c:pt>
                <c:pt idx="968">
                  <c:v>2296426.5359999998</c:v>
                </c:pt>
                <c:pt idx="969">
                  <c:v>2304724.5359999998</c:v>
                </c:pt>
                <c:pt idx="970">
                  <c:v>2292997.5359999998</c:v>
                </c:pt>
                <c:pt idx="971">
                  <c:v>2324911.5359999998</c:v>
                </c:pt>
                <c:pt idx="972">
                  <c:v>2363521.5359999998</c:v>
                </c:pt>
                <c:pt idx="973">
                  <c:v>2364835.5359999998</c:v>
                </c:pt>
                <c:pt idx="974">
                  <c:v>2375257.5359999998</c:v>
                </c:pt>
                <c:pt idx="975">
                  <c:v>2365663.5359999998</c:v>
                </c:pt>
                <c:pt idx="976">
                  <c:v>2366383.5359999998</c:v>
                </c:pt>
                <c:pt idx="977">
                  <c:v>2370379.5359999998</c:v>
                </c:pt>
                <c:pt idx="978">
                  <c:v>2327773.5359999998</c:v>
                </c:pt>
                <c:pt idx="979">
                  <c:v>2412823.5359999998</c:v>
                </c:pt>
                <c:pt idx="980">
                  <c:v>2429140.5359999998</c:v>
                </c:pt>
                <c:pt idx="981">
                  <c:v>2412247.5359999998</c:v>
                </c:pt>
                <c:pt idx="982">
                  <c:v>2390350.5359999998</c:v>
                </c:pt>
                <c:pt idx="983">
                  <c:v>2428762.5359999998</c:v>
                </c:pt>
                <c:pt idx="984">
                  <c:v>2442676.5359999998</c:v>
                </c:pt>
                <c:pt idx="985">
                  <c:v>2430076.5359999998</c:v>
                </c:pt>
                <c:pt idx="986">
                  <c:v>2439580.5359999998</c:v>
                </c:pt>
                <c:pt idx="987">
                  <c:v>2417350.5359999998</c:v>
                </c:pt>
                <c:pt idx="988">
                  <c:v>2407369.5359999998</c:v>
                </c:pt>
                <c:pt idx="989">
                  <c:v>2479540.5359999998</c:v>
                </c:pt>
                <c:pt idx="990">
                  <c:v>2501149.5359999998</c:v>
                </c:pt>
                <c:pt idx="991">
                  <c:v>2512705.5359999998</c:v>
                </c:pt>
                <c:pt idx="992">
                  <c:v>2511058.5359999998</c:v>
                </c:pt>
                <c:pt idx="993">
                  <c:v>2561854.5359999998</c:v>
                </c:pt>
                <c:pt idx="994">
                  <c:v>2566093.5359999998</c:v>
                </c:pt>
                <c:pt idx="995">
                  <c:v>2587378.5359999998</c:v>
                </c:pt>
                <c:pt idx="996">
                  <c:v>2591122.5359999998</c:v>
                </c:pt>
                <c:pt idx="997">
                  <c:v>2576749.5359999998</c:v>
                </c:pt>
                <c:pt idx="998">
                  <c:v>2587423.5359999998</c:v>
                </c:pt>
                <c:pt idx="999">
                  <c:v>2556589.5359999998</c:v>
                </c:pt>
                <c:pt idx="1000">
                  <c:v>2509915.5359999998</c:v>
                </c:pt>
                <c:pt idx="1001">
                  <c:v>2525242.5359999998</c:v>
                </c:pt>
                <c:pt idx="1002">
                  <c:v>2442361.5359999998</c:v>
                </c:pt>
                <c:pt idx="1003">
                  <c:v>2429806.5359999998</c:v>
                </c:pt>
                <c:pt idx="1004">
                  <c:v>2437330.5359999998</c:v>
                </c:pt>
                <c:pt idx="1005">
                  <c:v>2403697.5359999998</c:v>
                </c:pt>
                <c:pt idx="1006">
                  <c:v>2428078.5359999998</c:v>
                </c:pt>
                <c:pt idx="1007">
                  <c:v>2498863.5359999998</c:v>
                </c:pt>
                <c:pt idx="1008">
                  <c:v>2494822.5359999998</c:v>
                </c:pt>
                <c:pt idx="1009">
                  <c:v>2384014.5359999998</c:v>
                </c:pt>
                <c:pt idx="1010">
                  <c:v>2453395.5359999998</c:v>
                </c:pt>
                <c:pt idx="1011">
                  <c:v>2478046.5359999998</c:v>
                </c:pt>
                <c:pt idx="1012">
                  <c:v>2450398.5359999998</c:v>
                </c:pt>
                <c:pt idx="1013">
                  <c:v>2439103.5359999998</c:v>
                </c:pt>
                <c:pt idx="1014">
                  <c:v>2425999.5359999998</c:v>
                </c:pt>
                <c:pt idx="1015">
                  <c:v>2392915.5359999998</c:v>
                </c:pt>
                <c:pt idx="1016">
                  <c:v>2367607.5359999998</c:v>
                </c:pt>
                <c:pt idx="1017">
                  <c:v>2373709.5359999998</c:v>
                </c:pt>
                <c:pt idx="1018">
                  <c:v>2378749.5359999998</c:v>
                </c:pt>
                <c:pt idx="1019">
                  <c:v>2345107.5359999998</c:v>
                </c:pt>
                <c:pt idx="1020">
                  <c:v>2365456.5359999998</c:v>
                </c:pt>
                <c:pt idx="1021">
                  <c:v>2442019.5359999998</c:v>
                </c:pt>
                <c:pt idx="1022">
                  <c:v>2446357.5359999998</c:v>
                </c:pt>
                <c:pt idx="1023">
                  <c:v>2449345.5359999998</c:v>
                </c:pt>
                <c:pt idx="1024">
                  <c:v>2444656.5359999998</c:v>
                </c:pt>
                <c:pt idx="1025">
                  <c:v>2410411.5359999998</c:v>
                </c:pt>
                <c:pt idx="1026">
                  <c:v>2418043.5359999998</c:v>
                </c:pt>
                <c:pt idx="1027">
                  <c:v>2342236.5359999998</c:v>
                </c:pt>
                <c:pt idx="1028">
                  <c:v>2338438.5359999998</c:v>
                </c:pt>
                <c:pt idx="1029">
                  <c:v>2336737.5359999998</c:v>
                </c:pt>
                <c:pt idx="1030">
                  <c:v>2330617.5359999998</c:v>
                </c:pt>
                <c:pt idx="1031">
                  <c:v>2328061.5359999998</c:v>
                </c:pt>
                <c:pt idx="1032">
                  <c:v>2317936.5359999998</c:v>
                </c:pt>
                <c:pt idx="1033">
                  <c:v>2333353.5359999998</c:v>
                </c:pt>
                <c:pt idx="1034">
                  <c:v>2329645.5359999998</c:v>
                </c:pt>
                <c:pt idx="1035">
                  <c:v>2322958.5359999998</c:v>
                </c:pt>
                <c:pt idx="1036">
                  <c:v>2308765.5359999998</c:v>
                </c:pt>
                <c:pt idx="1037">
                  <c:v>2286004.5359999998</c:v>
                </c:pt>
                <c:pt idx="1038">
                  <c:v>2306497.5359999998</c:v>
                </c:pt>
                <c:pt idx="1039">
                  <c:v>2305489.5359999998</c:v>
                </c:pt>
                <c:pt idx="1040">
                  <c:v>2311231.5359999998</c:v>
                </c:pt>
                <c:pt idx="1041">
                  <c:v>2373313.5359999998</c:v>
                </c:pt>
                <c:pt idx="1042">
                  <c:v>2370469.5359999998</c:v>
                </c:pt>
                <c:pt idx="1043">
                  <c:v>2297389.5359999998</c:v>
                </c:pt>
                <c:pt idx="1044">
                  <c:v>2338888.5359999998</c:v>
                </c:pt>
                <c:pt idx="1045">
                  <c:v>2313958.5359999998</c:v>
                </c:pt>
                <c:pt idx="1046">
                  <c:v>2295445.5359999998</c:v>
                </c:pt>
                <c:pt idx="1047">
                  <c:v>2297542.5359999998</c:v>
                </c:pt>
                <c:pt idx="1048">
                  <c:v>2336485.5359999998</c:v>
                </c:pt>
                <c:pt idx="1049">
                  <c:v>2366248.5359999998</c:v>
                </c:pt>
                <c:pt idx="1050">
                  <c:v>2369812.5359999998</c:v>
                </c:pt>
                <c:pt idx="1051">
                  <c:v>2381386.5359999998</c:v>
                </c:pt>
                <c:pt idx="1052">
                  <c:v>2367877.5359999998</c:v>
                </c:pt>
                <c:pt idx="1053">
                  <c:v>2379622.5359999998</c:v>
                </c:pt>
                <c:pt idx="1054">
                  <c:v>2370559.5359999998</c:v>
                </c:pt>
                <c:pt idx="1055">
                  <c:v>2336872.5359999998</c:v>
                </c:pt>
                <c:pt idx="1056">
                  <c:v>2349103.5359999998</c:v>
                </c:pt>
                <c:pt idx="1057">
                  <c:v>2390305.5359999998</c:v>
                </c:pt>
                <c:pt idx="1058">
                  <c:v>2425478.2519999999</c:v>
                </c:pt>
                <c:pt idx="1059">
                  <c:v>2425478.2519999999</c:v>
                </c:pt>
                <c:pt idx="1060">
                  <c:v>2425478.2519999999</c:v>
                </c:pt>
                <c:pt idx="1061">
                  <c:v>2425478.2519999999</c:v>
                </c:pt>
                <c:pt idx="1062">
                  <c:v>2425478.2519999999</c:v>
                </c:pt>
                <c:pt idx="1063">
                  <c:v>2425478.2519999999</c:v>
                </c:pt>
                <c:pt idx="1064">
                  <c:v>2425478.2519999999</c:v>
                </c:pt>
                <c:pt idx="1065">
                  <c:v>2425478.2519999999</c:v>
                </c:pt>
                <c:pt idx="1066">
                  <c:v>2425478.2519999999</c:v>
                </c:pt>
                <c:pt idx="1067">
                  <c:v>2425478.2519999999</c:v>
                </c:pt>
                <c:pt idx="1068">
                  <c:v>2425478.2519999999</c:v>
                </c:pt>
                <c:pt idx="1069">
                  <c:v>2425478.2519999999</c:v>
                </c:pt>
                <c:pt idx="1070">
                  <c:v>2425478.2519999999</c:v>
                </c:pt>
                <c:pt idx="1071">
                  <c:v>2425478.2519999999</c:v>
                </c:pt>
                <c:pt idx="1072">
                  <c:v>2425478.2519999999</c:v>
                </c:pt>
                <c:pt idx="1073">
                  <c:v>2425478.2519999999</c:v>
                </c:pt>
                <c:pt idx="1074">
                  <c:v>2425478.2519999999</c:v>
                </c:pt>
                <c:pt idx="1075">
                  <c:v>2425478.2519999999</c:v>
                </c:pt>
                <c:pt idx="1076">
                  <c:v>2425478.2519999999</c:v>
                </c:pt>
                <c:pt idx="1077">
                  <c:v>2425478.2519999999</c:v>
                </c:pt>
                <c:pt idx="1078">
                  <c:v>2425478.2519999999</c:v>
                </c:pt>
                <c:pt idx="1079">
                  <c:v>2425478.2519999999</c:v>
                </c:pt>
                <c:pt idx="1080">
                  <c:v>2425478.2519999999</c:v>
                </c:pt>
                <c:pt idx="1081">
                  <c:v>2425478.2519999999</c:v>
                </c:pt>
                <c:pt idx="1082">
                  <c:v>2425478.2519999999</c:v>
                </c:pt>
                <c:pt idx="1083">
                  <c:v>2425478.2519999999</c:v>
                </c:pt>
                <c:pt idx="1084">
                  <c:v>2425478.2519999999</c:v>
                </c:pt>
                <c:pt idx="1085">
                  <c:v>2425478.2519999999</c:v>
                </c:pt>
                <c:pt idx="1086">
                  <c:v>2425478.2519999999</c:v>
                </c:pt>
                <c:pt idx="1087">
                  <c:v>2425478.2519999999</c:v>
                </c:pt>
                <c:pt idx="1088">
                  <c:v>2425478.2519999999</c:v>
                </c:pt>
                <c:pt idx="1089">
                  <c:v>2425478.2519999999</c:v>
                </c:pt>
                <c:pt idx="1090">
                  <c:v>2425478.2519999999</c:v>
                </c:pt>
                <c:pt idx="1091">
                  <c:v>2425478.2519999999</c:v>
                </c:pt>
                <c:pt idx="1092">
                  <c:v>2425478.2519999999</c:v>
                </c:pt>
                <c:pt idx="1093">
                  <c:v>2425478.2519999999</c:v>
                </c:pt>
                <c:pt idx="1094">
                  <c:v>2425478.2519999999</c:v>
                </c:pt>
                <c:pt idx="1095">
                  <c:v>2425478.2519999999</c:v>
                </c:pt>
                <c:pt idx="1096">
                  <c:v>2425478.2519999999</c:v>
                </c:pt>
                <c:pt idx="1097">
                  <c:v>2425478.2519999999</c:v>
                </c:pt>
                <c:pt idx="1098">
                  <c:v>2425478.2519999999</c:v>
                </c:pt>
                <c:pt idx="1099">
                  <c:v>2425478.2519999999</c:v>
                </c:pt>
                <c:pt idx="1100">
                  <c:v>2425478.2519999999</c:v>
                </c:pt>
                <c:pt idx="1101">
                  <c:v>2425478.2519999999</c:v>
                </c:pt>
                <c:pt idx="1102">
                  <c:v>2425478.2519999999</c:v>
                </c:pt>
                <c:pt idx="1103">
                  <c:v>2425478.2519999999</c:v>
                </c:pt>
                <c:pt idx="1104">
                  <c:v>2425254.4840000002</c:v>
                </c:pt>
                <c:pt idx="1105">
                  <c:v>2411584.4840000002</c:v>
                </c:pt>
                <c:pt idx="1106">
                  <c:v>2363544.4840000002</c:v>
                </c:pt>
                <c:pt idx="1107">
                  <c:v>2376964.4840000002</c:v>
                </c:pt>
                <c:pt idx="1108">
                  <c:v>2380594.4840000002</c:v>
                </c:pt>
                <c:pt idx="1109">
                  <c:v>2432934.4840000002</c:v>
                </c:pt>
                <c:pt idx="1110">
                  <c:v>2434834.4840000002</c:v>
                </c:pt>
                <c:pt idx="1111">
                  <c:v>2465904.4840000002</c:v>
                </c:pt>
                <c:pt idx="1112">
                  <c:v>2481214.4840000002</c:v>
                </c:pt>
                <c:pt idx="1113">
                  <c:v>2468194.4840000002</c:v>
                </c:pt>
                <c:pt idx="1114">
                  <c:v>2464354.4840000002</c:v>
                </c:pt>
                <c:pt idx="1115">
                  <c:v>2473584.4840000002</c:v>
                </c:pt>
                <c:pt idx="1116">
                  <c:v>2540364.4840000002</c:v>
                </c:pt>
                <c:pt idx="1117">
                  <c:v>2546644.4840000002</c:v>
                </c:pt>
                <c:pt idx="1118">
                  <c:v>2536654.4840000002</c:v>
                </c:pt>
                <c:pt idx="1119">
                  <c:v>2509154.4840000002</c:v>
                </c:pt>
                <c:pt idx="1120">
                  <c:v>2491714.4840000002</c:v>
                </c:pt>
                <c:pt idx="1121">
                  <c:v>2519004.4840000002</c:v>
                </c:pt>
                <c:pt idx="1122">
                  <c:v>2500044.4840000002</c:v>
                </c:pt>
                <c:pt idx="1123">
                  <c:v>2496164.4840000002</c:v>
                </c:pt>
                <c:pt idx="1124">
                  <c:v>2491504.4840000002</c:v>
                </c:pt>
                <c:pt idx="1125">
                  <c:v>2474504.4840000002</c:v>
                </c:pt>
                <c:pt idx="1126">
                  <c:v>2523194.4840000002</c:v>
                </c:pt>
                <c:pt idx="1127">
                  <c:v>2528454.4840000002</c:v>
                </c:pt>
                <c:pt idx="1128">
                  <c:v>2515634.4840000002</c:v>
                </c:pt>
                <c:pt idx="1129">
                  <c:v>2505884.4840000002</c:v>
                </c:pt>
                <c:pt idx="1130">
                  <c:v>2501484.4840000002</c:v>
                </c:pt>
                <c:pt idx="1131">
                  <c:v>2507914.4840000002</c:v>
                </c:pt>
                <c:pt idx="1132">
                  <c:v>2542074.4840000002</c:v>
                </c:pt>
                <c:pt idx="1133">
                  <c:v>2538274.4840000002</c:v>
                </c:pt>
                <c:pt idx="1134">
                  <c:v>2529314.4840000002</c:v>
                </c:pt>
                <c:pt idx="1135">
                  <c:v>2545354.4840000002</c:v>
                </c:pt>
                <c:pt idx="1136">
                  <c:v>2628184.4840000002</c:v>
                </c:pt>
                <c:pt idx="1137">
                  <c:v>2662464.4840000002</c:v>
                </c:pt>
                <c:pt idx="1138">
                  <c:v>2670464.4840000002</c:v>
                </c:pt>
                <c:pt idx="1139">
                  <c:v>2695034.4840000002</c:v>
                </c:pt>
                <c:pt idx="1140">
                  <c:v>2676474.4840000002</c:v>
                </c:pt>
                <c:pt idx="1141">
                  <c:v>2665964.4840000002</c:v>
                </c:pt>
                <c:pt idx="1142">
                  <c:v>2614894.4840000002</c:v>
                </c:pt>
                <c:pt idx="1143">
                  <c:v>2620084.4840000002</c:v>
                </c:pt>
                <c:pt idx="1144">
                  <c:v>2659864.4840000002</c:v>
                </c:pt>
                <c:pt idx="1145">
                  <c:v>2631464.4840000002</c:v>
                </c:pt>
                <c:pt idx="1146">
                  <c:v>2616604.4840000002</c:v>
                </c:pt>
                <c:pt idx="1147">
                  <c:v>2572014.4840000002</c:v>
                </c:pt>
                <c:pt idx="1148">
                  <c:v>2582544.4840000002</c:v>
                </c:pt>
                <c:pt idx="1149">
                  <c:v>2596614.4840000002</c:v>
                </c:pt>
                <c:pt idx="1150">
                  <c:v>2629384.4840000002</c:v>
                </c:pt>
                <c:pt idx="1151">
                  <c:v>2641154.4840000002</c:v>
                </c:pt>
                <c:pt idx="1152">
                  <c:v>2616894.4840000002</c:v>
                </c:pt>
                <c:pt idx="1153">
                  <c:v>2656084.4840000002</c:v>
                </c:pt>
                <c:pt idx="1154">
                  <c:v>2660114.4840000002</c:v>
                </c:pt>
                <c:pt idx="1155">
                  <c:v>2655094.4840000002</c:v>
                </c:pt>
                <c:pt idx="1156">
                  <c:v>2608944.4840000002</c:v>
                </c:pt>
                <c:pt idx="1157">
                  <c:v>2600904.4840000002</c:v>
                </c:pt>
                <c:pt idx="1158">
                  <c:v>2613624.4840000002</c:v>
                </c:pt>
                <c:pt idx="1159">
                  <c:v>2658894.4840000002</c:v>
                </c:pt>
                <c:pt idx="1160">
                  <c:v>2633464.4840000002</c:v>
                </c:pt>
                <c:pt idx="1161">
                  <c:v>2606064.4840000002</c:v>
                </c:pt>
                <c:pt idx="1162">
                  <c:v>2588084.4840000002</c:v>
                </c:pt>
                <c:pt idx="1163">
                  <c:v>2556134.4840000002</c:v>
                </c:pt>
                <c:pt idx="1164">
                  <c:v>2553524.4840000002</c:v>
                </c:pt>
                <c:pt idx="1165">
                  <c:v>2559624.4840000002</c:v>
                </c:pt>
                <c:pt idx="1166">
                  <c:v>2595044.4840000002</c:v>
                </c:pt>
                <c:pt idx="1167">
                  <c:v>2561294.4840000002</c:v>
                </c:pt>
                <c:pt idx="1168">
                  <c:v>2572534.4840000002</c:v>
                </c:pt>
                <c:pt idx="1169">
                  <c:v>2568024.4840000002</c:v>
                </c:pt>
                <c:pt idx="1170">
                  <c:v>2571344.4840000002</c:v>
                </c:pt>
                <c:pt idx="1171">
                  <c:v>2541144.4840000002</c:v>
                </c:pt>
                <c:pt idx="1172">
                  <c:v>2528124.4840000002</c:v>
                </c:pt>
                <c:pt idx="1173">
                  <c:v>2495524.4840000002</c:v>
                </c:pt>
                <c:pt idx="1174">
                  <c:v>2503464.4840000002</c:v>
                </c:pt>
                <c:pt idx="1175">
                  <c:v>2527574.4840000002</c:v>
                </c:pt>
                <c:pt idx="1176">
                  <c:v>2475694.4840000002</c:v>
                </c:pt>
                <c:pt idx="1177">
                  <c:v>2492074.4840000002</c:v>
                </c:pt>
                <c:pt idx="1178">
                  <c:v>2538304.4840000002</c:v>
                </c:pt>
                <c:pt idx="1179">
                  <c:v>2616474.4840000002</c:v>
                </c:pt>
                <c:pt idx="1180">
                  <c:v>2599734.4840000002</c:v>
                </c:pt>
                <c:pt idx="1181">
                  <c:v>2612424.4840000002</c:v>
                </c:pt>
                <c:pt idx="1182">
                  <c:v>2597564.4840000002</c:v>
                </c:pt>
                <c:pt idx="1183">
                  <c:v>2585534.4840000002</c:v>
                </c:pt>
                <c:pt idx="1184">
                  <c:v>2576204.4840000002</c:v>
                </c:pt>
                <c:pt idx="1185">
                  <c:v>2574994.4840000002</c:v>
                </c:pt>
                <c:pt idx="1186">
                  <c:v>2602054.4840000002</c:v>
                </c:pt>
                <c:pt idx="1187">
                  <c:v>2627104.4840000002</c:v>
                </c:pt>
                <c:pt idx="1188">
                  <c:v>2626514.4840000002</c:v>
                </c:pt>
                <c:pt idx="1189">
                  <c:v>2606364.4840000002</c:v>
                </c:pt>
                <c:pt idx="1190">
                  <c:v>2630354.4840000002</c:v>
                </c:pt>
                <c:pt idx="1191">
                  <c:v>2662714.4840000002</c:v>
                </c:pt>
                <c:pt idx="1192">
                  <c:v>2655774.4840000002</c:v>
                </c:pt>
                <c:pt idx="1193">
                  <c:v>2639864.4840000002</c:v>
                </c:pt>
                <c:pt idx="1194">
                  <c:v>2638444.4840000002</c:v>
                </c:pt>
                <c:pt idx="1195">
                  <c:v>2640894.4840000002</c:v>
                </c:pt>
                <c:pt idx="1196">
                  <c:v>2600093.2080000001</c:v>
                </c:pt>
                <c:pt idx="1197">
                  <c:v>2600093.2080000001</c:v>
                </c:pt>
                <c:pt idx="1198">
                  <c:v>2600093.2080000001</c:v>
                </c:pt>
                <c:pt idx="1199">
                  <c:v>2600093.2080000001</c:v>
                </c:pt>
                <c:pt idx="1200">
                  <c:v>2600093.2080000001</c:v>
                </c:pt>
                <c:pt idx="1201">
                  <c:v>2600093.2080000001</c:v>
                </c:pt>
                <c:pt idx="1202">
                  <c:v>2600093.2080000001</c:v>
                </c:pt>
                <c:pt idx="1203">
                  <c:v>2600093.2080000001</c:v>
                </c:pt>
                <c:pt idx="1204">
                  <c:v>2600093.2080000001</c:v>
                </c:pt>
                <c:pt idx="1205">
                  <c:v>2600093.2080000001</c:v>
                </c:pt>
                <c:pt idx="1206">
                  <c:v>2600093.2080000001</c:v>
                </c:pt>
                <c:pt idx="1207">
                  <c:v>2600093.2080000001</c:v>
                </c:pt>
                <c:pt idx="1208">
                  <c:v>2600093.2080000001</c:v>
                </c:pt>
                <c:pt idx="1209">
                  <c:v>2600093.2080000001</c:v>
                </c:pt>
                <c:pt idx="1210">
                  <c:v>2600093.2080000001</c:v>
                </c:pt>
                <c:pt idx="1211">
                  <c:v>2600093.2080000001</c:v>
                </c:pt>
                <c:pt idx="1212">
                  <c:v>2600093.2080000001</c:v>
                </c:pt>
                <c:pt idx="1213">
                  <c:v>2600093.2080000001</c:v>
                </c:pt>
                <c:pt idx="1214">
                  <c:v>2600093.2080000001</c:v>
                </c:pt>
                <c:pt idx="1215">
                  <c:v>2600093.2080000001</c:v>
                </c:pt>
                <c:pt idx="1216">
                  <c:v>2600093.2080000001</c:v>
                </c:pt>
                <c:pt idx="1217">
                  <c:v>2600093.2080000001</c:v>
                </c:pt>
                <c:pt idx="1218">
                  <c:v>2600093.2080000001</c:v>
                </c:pt>
                <c:pt idx="1219">
                  <c:v>2600093.2080000001</c:v>
                </c:pt>
                <c:pt idx="1220">
                  <c:v>2600093.2080000001</c:v>
                </c:pt>
                <c:pt idx="1221">
                  <c:v>2599849.906</c:v>
                </c:pt>
                <c:pt idx="1222">
                  <c:v>2563164.906</c:v>
                </c:pt>
                <c:pt idx="1223">
                  <c:v>2549414.906</c:v>
                </c:pt>
                <c:pt idx="1224">
                  <c:v>2572976.906</c:v>
                </c:pt>
                <c:pt idx="1225">
                  <c:v>2635005.906</c:v>
                </c:pt>
                <c:pt idx="1226">
                  <c:v>2621904.906</c:v>
                </c:pt>
                <c:pt idx="1227">
                  <c:v>2637073.906</c:v>
                </c:pt>
                <c:pt idx="1228">
                  <c:v>2604337.906</c:v>
                </c:pt>
                <c:pt idx="1229">
                  <c:v>2608671.906</c:v>
                </c:pt>
                <c:pt idx="1230">
                  <c:v>2617383.906</c:v>
                </c:pt>
                <c:pt idx="1231">
                  <c:v>2589520.906</c:v>
                </c:pt>
                <c:pt idx="1232">
                  <c:v>2600553.906</c:v>
                </c:pt>
                <c:pt idx="1233">
                  <c:v>2661108.906</c:v>
                </c:pt>
                <c:pt idx="1234">
                  <c:v>2680941.906</c:v>
                </c:pt>
                <c:pt idx="1235">
                  <c:v>2687200.906</c:v>
                </c:pt>
                <c:pt idx="1236">
                  <c:v>2674330.906</c:v>
                </c:pt>
                <c:pt idx="1237">
                  <c:v>2691952.906</c:v>
                </c:pt>
                <c:pt idx="1238">
                  <c:v>2709640.906</c:v>
                </c:pt>
                <c:pt idx="1239">
                  <c:v>2677509.906</c:v>
                </c:pt>
                <c:pt idx="1240">
                  <c:v>2706351.906</c:v>
                </c:pt>
                <c:pt idx="1241">
                  <c:v>2683009.906</c:v>
                </c:pt>
                <c:pt idx="1242">
                  <c:v>2657544.906</c:v>
                </c:pt>
                <c:pt idx="1243">
                  <c:v>2602786.906</c:v>
                </c:pt>
                <c:pt idx="1244">
                  <c:v>2540526.906</c:v>
                </c:pt>
                <c:pt idx="1245">
                  <c:v>2546576.906</c:v>
                </c:pt>
                <c:pt idx="1246">
                  <c:v>2536346.906</c:v>
                </c:pt>
                <c:pt idx="1247">
                  <c:v>2563692.906</c:v>
                </c:pt>
                <c:pt idx="1248">
                  <c:v>2576232.906</c:v>
                </c:pt>
                <c:pt idx="1249">
                  <c:v>2569522.906</c:v>
                </c:pt>
                <c:pt idx="1250">
                  <c:v>2547203.906</c:v>
                </c:pt>
                <c:pt idx="1251">
                  <c:v>2557818.906</c:v>
                </c:pt>
                <c:pt idx="1252">
                  <c:v>2552021.906</c:v>
                </c:pt>
                <c:pt idx="1253">
                  <c:v>2474394.906</c:v>
                </c:pt>
                <c:pt idx="1254">
                  <c:v>2486351.906</c:v>
                </c:pt>
                <c:pt idx="1255">
                  <c:v>2492368.906</c:v>
                </c:pt>
                <c:pt idx="1256">
                  <c:v>2521188.906</c:v>
                </c:pt>
                <c:pt idx="1257">
                  <c:v>2501949.906</c:v>
                </c:pt>
                <c:pt idx="1258">
                  <c:v>2524169.906</c:v>
                </c:pt>
                <c:pt idx="1259">
                  <c:v>2518768.906</c:v>
                </c:pt>
                <c:pt idx="1260">
                  <c:v>2499782.906</c:v>
                </c:pt>
                <c:pt idx="1261">
                  <c:v>2462492.906</c:v>
                </c:pt>
                <c:pt idx="1262">
                  <c:v>2541505.906</c:v>
                </c:pt>
                <c:pt idx="1263">
                  <c:v>2560791.4849999999</c:v>
                </c:pt>
                <c:pt idx="1264">
                  <c:v>2560791.4849999999</c:v>
                </c:pt>
                <c:pt idx="1265">
                  <c:v>2560791.4849999999</c:v>
                </c:pt>
                <c:pt idx="1266">
                  <c:v>2560791.4849999999</c:v>
                </c:pt>
                <c:pt idx="1267">
                  <c:v>2560791.4849999999</c:v>
                </c:pt>
                <c:pt idx="1268">
                  <c:v>2560791.4849999999</c:v>
                </c:pt>
                <c:pt idx="1269">
                  <c:v>2560791.4849999999</c:v>
                </c:pt>
                <c:pt idx="1270">
                  <c:v>2560791.4849999999</c:v>
                </c:pt>
                <c:pt idx="1271">
                  <c:v>2560791.4849999999</c:v>
                </c:pt>
                <c:pt idx="1272">
                  <c:v>2560791.4849999999</c:v>
                </c:pt>
                <c:pt idx="1273">
                  <c:v>2560791.4849999999</c:v>
                </c:pt>
                <c:pt idx="1274">
                  <c:v>2560791.4849999999</c:v>
                </c:pt>
                <c:pt idx="1275">
                  <c:v>2560791.4849999999</c:v>
                </c:pt>
                <c:pt idx="1276">
                  <c:v>2560791.4849999999</c:v>
                </c:pt>
                <c:pt idx="1277">
                  <c:v>2560791.4849999999</c:v>
                </c:pt>
                <c:pt idx="1278">
                  <c:v>2560791.4849999999</c:v>
                </c:pt>
                <c:pt idx="1279">
                  <c:v>2560791.4849999999</c:v>
                </c:pt>
                <c:pt idx="1280">
                  <c:v>2560791.4849999999</c:v>
                </c:pt>
                <c:pt idx="1281">
                  <c:v>2560791.4849999999</c:v>
                </c:pt>
                <c:pt idx="1282">
                  <c:v>2560791.4849999999</c:v>
                </c:pt>
                <c:pt idx="1283">
                  <c:v>2560791.4849999999</c:v>
                </c:pt>
                <c:pt idx="1284">
                  <c:v>2560791.4849999999</c:v>
                </c:pt>
                <c:pt idx="1285">
                  <c:v>2560791.4849999999</c:v>
                </c:pt>
                <c:pt idx="1286">
                  <c:v>2560791.4849999999</c:v>
                </c:pt>
                <c:pt idx="1287">
                  <c:v>2560791.4849999999</c:v>
                </c:pt>
                <c:pt idx="1288">
                  <c:v>2560791.4849999999</c:v>
                </c:pt>
                <c:pt idx="1289">
                  <c:v>2560791.4849999999</c:v>
                </c:pt>
                <c:pt idx="1290">
                  <c:v>2560791.4849999999</c:v>
                </c:pt>
                <c:pt idx="1291">
                  <c:v>2560791.4849999999</c:v>
                </c:pt>
                <c:pt idx="1292">
                  <c:v>2560791.4849999999</c:v>
                </c:pt>
                <c:pt idx="1293">
                  <c:v>2560556.58</c:v>
                </c:pt>
                <c:pt idx="1294">
                  <c:v>2558807.58</c:v>
                </c:pt>
                <c:pt idx="1295">
                  <c:v>2609561.58</c:v>
                </c:pt>
                <c:pt idx="1296">
                  <c:v>2603841.58</c:v>
                </c:pt>
                <c:pt idx="1297">
                  <c:v>2601113.58</c:v>
                </c:pt>
                <c:pt idx="1298">
                  <c:v>2569994.58</c:v>
                </c:pt>
                <c:pt idx="1299">
                  <c:v>2572051.58</c:v>
                </c:pt>
                <c:pt idx="1300">
                  <c:v>2538160.58</c:v>
                </c:pt>
                <c:pt idx="1301">
                  <c:v>2538853.58</c:v>
                </c:pt>
                <c:pt idx="1302">
                  <c:v>2561007.58</c:v>
                </c:pt>
                <c:pt idx="1303">
                  <c:v>2555463.58</c:v>
                </c:pt>
                <c:pt idx="1304">
                  <c:v>2574757.58</c:v>
                </c:pt>
                <c:pt idx="1305">
                  <c:v>2582847.4219999998</c:v>
                </c:pt>
                <c:pt idx="1306">
                  <c:v>2582847.4219999998</c:v>
                </c:pt>
                <c:pt idx="1307">
                  <c:v>2582847.4219999998</c:v>
                </c:pt>
                <c:pt idx="1308">
                  <c:v>2582847.4219999998</c:v>
                </c:pt>
                <c:pt idx="1309">
                  <c:v>2582847.4219999998</c:v>
                </c:pt>
                <c:pt idx="1310">
                  <c:v>2582847.4219999998</c:v>
                </c:pt>
                <c:pt idx="1311">
                  <c:v>2582847.4219999998</c:v>
                </c:pt>
                <c:pt idx="1312">
                  <c:v>2582847.4219999998</c:v>
                </c:pt>
                <c:pt idx="1313">
                  <c:v>2582847.4219999998</c:v>
                </c:pt>
                <c:pt idx="1314">
                  <c:v>2582847.4219999998</c:v>
                </c:pt>
                <c:pt idx="1315">
                  <c:v>2582847.4219999998</c:v>
                </c:pt>
                <c:pt idx="1316">
                  <c:v>2582847.4219999998</c:v>
                </c:pt>
                <c:pt idx="1317">
                  <c:v>2582847.4219999998</c:v>
                </c:pt>
                <c:pt idx="1318">
                  <c:v>2582847.4219999998</c:v>
                </c:pt>
                <c:pt idx="1319">
                  <c:v>2582847.4219999998</c:v>
                </c:pt>
                <c:pt idx="1320">
                  <c:v>2582847.4219999998</c:v>
                </c:pt>
                <c:pt idx="1321">
                  <c:v>2582847.4219999998</c:v>
                </c:pt>
                <c:pt idx="1322">
                  <c:v>2582847.4219999998</c:v>
                </c:pt>
                <c:pt idx="1323">
                  <c:v>2582847.4219999998</c:v>
                </c:pt>
                <c:pt idx="1324">
                  <c:v>2582847.4219999998</c:v>
                </c:pt>
                <c:pt idx="1325">
                  <c:v>2582847.4219999998</c:v>
                </c:pt>
                <c:pt idx="1326">
                  <c:v>2582847.4219999998</c:v>
                </c:pt>
                <c:pt idx="1327">
                  <c:v>2582847.4219999998</c:v>
                </c:pt>
                <c:pt idx="1328">
                  <c:v>2582847.4219999998</c:v>
                </c:pt>
                <c:pt idx="1329">
                  <c:v>2582847.4219999998</c:v>
                </c:pt>
                <c:pt idx="1330">
                  <c:v>2582847.4219999998</c:v>
                </c:pt>
                <c:pt idx="1331">
                  <c:v>2582847.4219999998</c:v>
                </c:pt>
                <c:pt idx="1332">
                  <c:v>2582847.4219999998</c:v>
                </c:pt>
                <c:pt idx="1333">
                  <c:v>2582847.4219999998</c:v>
                </c:pt>
                <c:pt idx="1334">
                  <c:v>2582847.4219999998</c:v>
                </c:pt>
                <c:pt idx="1335">
                  <c:v>2582847.4219999998</c:v>
                </c:pt>
                <c:pt idx="1336">
                  <c:v>2582847.4219999998</c:v>
                </c:pt>
                <c:pt idx="1337">
                  <c:v>2582847.4219999998</c:v>
                </c:pt>
                <c:pt idx="1338">
                  <c:v>2582847.4219999998</c:v>
                </c:pt>
                <c:pt idx="1339">
                  <c:v>2582847.4219999998</c:v>
                </c:pt>
                <c:pt idx="1340">
                  <c:v>2582847.4219999998</c:v>
                </c:pt>
                <c:pt idx="1341">
                  <c:v>2582847.4219999998</c:v>
                </c:pt>
                <c:pt idx="1342">
                  <c:v>2582847.4219999998</c:v>
                </c:pt>
                <c:pt idx="1343">
                  <c:v>2582847.4219999998</c:v>
                </c:pt>
                <c:pt idx="1344">
                  <c:v>2582847.4219999998</c:v>
                </c:pt>
                <c:pt idx="1345">
                  <c:v>2582847.4219999998</c:v>
                </c:pt>
                <c:pt idx="1346">
                  <c:v>2582847.4219999998</c:v>
                </c:pt>
                <c:pt idx="1347">
                  <c:v>2582847.4219999998</c:v>
                </c:pt>
                <c:pt idx="1348">
                  <c:v>2582598.773</c:v>
                </c:pt>
                <c:pt idx="1349">
                  <c:v>2652393.773</c:v>
                </c:pt>
                <c:pt idx="1350">
                  <c:v>2660610.773</c:v>
                </c:pt>
                <c:pt idx="1351">
                  <c:v>2650314.773</c:v>
                </c:pt>
                <c:pt idx="1352">
                  <c:v>2681378.773</c:v>
                </c:pt>
                <c:pt idx="1353">
                  <c:v>2658443.773</c:v>
                </c:pt>
                <c:pt idx="1354">
                  <c:v>2709285.773</c:v>
                </c:pt>
                <c:pt idx="1355">
                  <c:v>2702388.773</c:v>
                </c:pt>
                <c:pt idx="1356">
                  <c:v>2695645.773</c:v>
                </c:pt>
                <c:pt idx="1357">
                  <c:v>2656309.773</c:v>
                </c:pt>
                <c:pt idx="1358">
                  <c:v>2660346.773</c:v>
                </c:pt>
                <c:pt idx="1359">
                  <c:v>2697988.773</c:v>
                </c:pt>
                <c:pt idx="1360">
                  <c:v>2688858.773</c:v>
                </c:pt>
                <c:pt idx="1361">
                  <c:v>2690893.773</c:v>
                </c:pt>
                <c:pt idx="1362">
                  <c:v>2665648.773</c:v>
                </c:pt>
                <c:pt idx="1363">
                  <c:v>2692807.773</c:v>
                </c:pt>
                <c:pt idx="1364">
                  <c:v>2708119.773</c:v>
                </c:pt>
                <c:pt idx="1365">
                  <c:v>2708350.773</c:v>
                </c:pt>
                <c:pt idx="1366">
                  <c:v>2698857.773</c:v>
                </c:pt>
                <c:pt idx="1367">
                  <c:v>2685508.8059999999</c:v>
                </c:pt>
                <c:pt idx="1368">
                  <c:v>2685508.8059999999</c:v>
                </c:pt>
                <c:pt idx="1369">
                  <c:v>2685508.8059999999</c:v>
                </c:pt>
                <c:pt idx="1370">
                  <c:v>2685508.8059999999</c:v>
                </c:pt>
                <c:pt idx="1371">
                  <c:v>2685508.8059999999</c:v>
                </c:pt>
                <c:pt idx="1372">
                  <c:v>2685508.8059999999</c:v>
                </c:pt>
                <c:pt idx="1373">
                  <c:v>2685508.8059999999</c:v>
                </c:pt>
                <c:pt idx="1374">
                  <c:v>2685508.8059999999</c:v>
                </c:pt>
                <c:pt idx="1375">
                  <c:v>2685508.8059999999</c:v>
                </c:pt>
                <c:pt idx="1376">
                  <c:v>2685508.8059999999</c:v>
                </c:pt>
                <c:pt idx="1377">
                  <c:v>2685508.8059999999</c:v>
                </c:pt>
                <c:pt idx="1378">
                  <c:v>2685508.8059999999</c:v>
                </c:pt>
                <c:pt idx="1379">
                  <c:v>2685508.8059999999</c:v>
                </c:pt>
                <c:pt idx="1380">
                  <c:v>2685508.8059999999</c:v>
                </c:pt>
                <c:pt idx="1381">
                  <c:v>2685508.8059999999</c:v>
                </c:pt>
                <c:pt idx="1382">
                  <c:v>2685508.8059999999</c:v>
                </c:pt>
                <c:pt idx="1383">
                  <c:v>2685508.8059999999</c:v>
                </c:pt>
                <c:pt idx="1384">
                  <c:v>2685508.8059999999</c:v>
                </c:pt>
                <c:pt idx="1385">
                  <c:v>2685508.8059999999</c:v>
                </c:pt>
                <c:pt idx="1386">
                  <c:v>2685243.8539999998</c:v>
                </c:pt>
                <c:pt idx="1387">
                  <c:v>2703448.8539999998</c:v>
                </c:pt>
                <c:pt idx="1388">
                  <c:v>2652529.8539999998</c:v>
                </c:pt>
                <c:pt idx="1389">
                  <c:v>2675123.8539999998</c:v>
                </c:pt>
                <c:pt idx="1390">
                  <c:v>2721763.8539999998</c:v>
                </c:pt>
                <c:pt idx="1391">
                  <c:v>2716384.8539999998</c:v>
                </c:pt>
                <c:pt idx="1392">
                  <c:v>2716637.8539999998</c:v>
                </c:pt>
                <c:pt idx="1393">
                  <c:v>2728297.8539999998</c:v>
                </c:pt>
                <c:pt idx="1394">
                  <c:v>2731806.8539999998</c:v>
                </c:pt>
                <c:pt idx="1395">
                  <c:v>2761663.2319999998</c:v>
                </c:pt>
                <c:pt idx="1396">
                  <c:v>2761663.2319999998</c:v>
                </c:pt>
                <c:pt idx="1397">
                  <c:v>2761663.2319999998</c:v>
                </c:pt>
                <c:pt idx="1398">
                  <c:v>2761663.2319999998</c:v>
                </c:pt>
                <c:pt idx="1399">
                  <c:v>2761663.2319999998</c:v>
                </c:pt>
                <c:pt idx="1400">
                  <c:v>2761663.2319999998</c:v>
                </c:pt>
                <c:pt idx="1401">
                  <c:v>2761663.2319999998</c:v>
                </c:pt>
                <c:pt idx="1402">
                  <c:v>2761663.2319999998</c:v>
                </c:pt>
                <c:pt idx="1403">
                  <c:v>2761663.2319999998</c:v>
                </c:pt>
                <c:pt idx="1404">
                  <c:v>2761663.2319999998</c:v>
                </c:pt>
                <c:pt idx="1405">
                  <c:v>2761663.2319999998</c:v>
                </c:pt>
                <c:pt idx="1406">
                  <c:v>2761663.2319999998</c:v>
                </c:pt>
                <c:pt idx="1407">
                  <c:v>2761663.2319999998</c:v>
                </c:pt>
                <c:pt idx="1408">
                  <c:v>2761663.2319999998</c:v>
                </c:pt>
                <c:pt idx="1409">
                  <c:v>2761397.4</c:v>
                </c:pt>
                <c:pt idx="1410">
                  <c:v>2799600.4</c:v>
                </c:pt>
                <c:pt idx="1411">
                  <c:v>2818905.4</c:v>
                </c:pt>
                <c:pt idx="1412">
                  <c:v>2862234.4</c:v>
                </c:pt>
                <c:pt idx="1413">
                  <c:v>2866887.4</c:v>
                </c:pt>
                <c:pt idx="1414">
                  <c:v>2867569.4</c:v>
                </c:pt>
                <c:pt idx="1415">
                  <c:v>2856877.4</c:v>
                </c:pt>
                <c:pt idx="1416">
                  <c:v>2859759.4</c:v>
                </c:pt>
                <c:pt idx="1417">
                  <c:v>2855447.4</c:v>
                </c:pt>
                <c:pt idx="1418">
                  <c:v>2925385.4</c:v>
                </c:pt>
                <c:pt idx="1419">
                  <c:v>2917553.4</c:v>
                </c:pt>
                <c:pt idx="1420">
                  <c:v>2956834.4</c:v>
                </c:pt>
                <c:pt idx="1421">
                  <c:v>2940807.4</c:v>
                </c:pt>
                <c:pt idx="1422">
                  <c:v>2942281.4</c:v>
                </c:pt>
                <c:pt idx="1423">
                  <c:v>2926892.4</c:v>
                </c:pt>
                <c:pt idx="1424">
                  <c:v>2898644.4</c:v>
                </c:pt>
                <c:pt idx="1425">
                  <c:v>2894024.4</c:v>
                </c:pt>
                <c:pt idx="1426">
                  <c:v>2893892.4</c:v>
                </c:pt>
                <c:pt idx="1427">
                  <c:v>2944888.4</c:v>
                </c:pt>
                <c:pt idx="1428">
                  <c:v>3017268.4010000001</c:v>
                </c:pt>
                <c:pt idx="1429">
                  <c:v>3057198.4</c:v>
                </c:pt>
                <c:pt idx="1430">
                  <c:v>3098404.4</c:v>
                </c:pt>
                <c:pt idx="1431">
                  <c:v>3133021.4</c:v>
                </c:pt>
                <c:pt idx="1432">
                  <c:v>3192784.4</c:v>
                </c:pt>
                <c:pt idx="1433">
                  <c:v>3204873.4</c:v>
                </c:pt>
                <c:pt idx="1434">
                  <c:v>3319416.4</c:v>
                </c:pt>
                <c:pt idx="1435">
                  <c:v>3367387.4</c:v>
                </c:pt>
                <c:pt idx="1436">
                  <c:v>3517867.4</c:v>
                </c:pt>
                <c:pt idx="1437">
                  <c:v>3540461.4</c:v>
                </c:pt>
                <c:pt idx="1438">
                  <c:v>3681250.4</c:v>
                </c:pt>
                <c:pt idx="1439">
                  <c:v>3520683.4</c:v>
                </c:pt>
                <c:pt idx="1440">
                  <c:v>3646787.4</c:v>
                </c:pt>
                <c:pt idx="1441">
                  <c:v>3604393.4010000001</c:v>
                </c:pt>
                <c:pt idx="1442">
                  <c:v>3615635.4</c:v>
                </c:pt>
                <c:pt idx="1443">
                  <c:v>3642035.4</c:v>
                </c:pt>
                <c:pt idx="1444">
                  <c:v>3736822.4</c:v>
                </c:pt>
                <c:pt idx="1445">
                  <c:v>3799742.4</c:v>
                </c:pt>
                <c:pt idx="1446">
                  <c:v>3783605.4</c:v>
                </c:pt>
                <c:pt idx="1447">
                  <c:v>3824569.4</c:v>
                </c:pt>
                <c:pt idx="1448">
                  <c:v>3837010.4</c:v>
                </c:pt>
                <c:pt idx="1449">
                  <c:v>3760494.4</c:v>
                </c:pt>
                <c:pt idx="1450">
                  <c:v>3656511.4</c:v>
                </c:pt>
                <c:pt idx="1451">
                  <c:v>3772044.4</c:v>
                </c:pt>
                <c:pt idx="1452">
                  <c:v>3893506.4</c:v>
                </c:pt>
                <c:pt idx="1453">
                  <c:v>3904088.4</c:v>
                </c:pt>
                <c:pt idx="1454">
                  <c:v>3906387.4</c:v>
                </c:pt>
                <c:pt idx="1455">
                  <c:v>3989774.6919999998</c:v>
                </c:pt>
                <c:pt idx="1456">
                  <c:v>3989774.6919999998</c:v>
                </c:pt>
                <c:pt idx="1457">
                  <c:v>3989774.6919999998</c:v>
                </c:pt>
                <c:pt idx="1458">
                  <c:v>3989774.6919999998</c:v>
                </c:pt>
                <c:pt idx="1459">
                  <c:v>3989774.6919999998</c:v>
                </c:pt>
                <c:pt idx="1460">
                  <c:v>3989774.6919999998</c:v>
                </c:pt>
                <c:pt idx="1461">
                  <c:v>3989774.6919999998</c:v>
                </c:pt>
                <c:pt idx="1462">
                  <c:v>3989774.6919999998</c:v>
                </c:pt>
                <c:pt idx="1463">
                  <c:v>3989774.6919999998</c:v>
                </c:pt>
                <c:pt idx="1464">
                  <c:v>3989774.6919999998</c:v>
                </c:pt>
                <c:pt idx="1465">
                  <c:v>3989774.6919999998</c:v>
                </c:pt>
                <c:pt idx="1466">
                  <c:v>3989774.6919999998</c:v>
                </c:pt>
                <c:pt idx="1467">
                  <c:v>3989774.6919999998</c:v>
                </c:pt>
                <c:pt idx="1468">
                  <c:v>3989774.6919999998</c:v>
                </c:pt>
                <c:pt idx="1469">
                  <c:v>3989774.6919999998</c:v>
                </c:pt>
                <c:pt idx="1470">
                  <c:v>3989774.6919999998</c:v>
                </c:pt>
                <c:pt idx="1471">
                  <c:v>3989774.6919999998</c:v>
                </c:pt>
                <c:pt idx="1472">
                  <c:v>3989774.6919999998</c:v>
                </c:pt>
                <c:pt idx="1473">
                  <c:v>3989774.6919999998</c:v>
                </c:pt>
                <c:pt idx="1474">
                  <c:v>3989774.6919999998</c:v>
                </c:pt>
                <c:pt idx="1475">
                  <c:v>3989774.6919999998</c:v>
                </c:pt>
                <c:pt idx="1476">
                  <c:v>3989774.6919999998</c:v>
                </c:pt>
                <c:pt idx="1477">
                  <c:v>3989774.6919999998</c:v>
                </c:pt>
                <c:pt idx="1478">
                  <c:v>3989774.6919999998</c:v>
                </c:pt>
                <c:pt idx="1479">
                  <c:v>3989774.6919999998</c:v>
                </c:pt>
                <c:pt idx="1480">
                  <c:v>3989774.6919999998</c:v>
                </c:pt>
                <c:pt idx="1481">
                  <c:v>3989774.6919999998</c:v>
                </c:pt>
                <c:pt idx="1482">
                  <c:v>3989774.6919999998</c:v>
                </c:pt>
                <c:pt idx="1483">
                  <c:v>3989774.6919999998</c:v>
                </c:pt>
                <c:pt idx="1484">
                  <c:v>3989774.6919999998</c:v>
                </c:pt>
                <c:pt idx="1485">
                  <c:v>3989774.6919999998</c:v>
                </c:pt>
                <c:pt idx="1486">
                  <c:v>3989774.6919999998</c:v>
                </c:pt>
                <c:pt idx="1487">
                  <c:v>3989774.6919999998</c:v>
                </c:pt>
                <c:pt idx="1488">
                  <c:v>3989774.6919999998</c:v>
                </c:pt>
                <c:pt idx="1489">
                  <c:v>3989774.6919999998</c:v>
                </c:pt>
                <c:pt idx="1490">
                  <c:v>3989774.6919999998</c:v>
                </c:pt>
                <c:pt idx="1491">
                  <c:v>3989774.6919999998</c:v>
                </c:pt>
                <c:pt idx="1492">
                  <c:v>3989774.6919999998</c:v>
                </c:pt>
                <c:pt idx="1493">
                  <c:v>3989774.6919999998</c:v>
                </c:pt>
                <c:pt idx="1494">
                  <c:v>3989774.6919999998</c:v>
                </c:pt>
                <c:pt idx="1495">
                  <c:v>3989774.6919999998</c:v>
                </c:pt>
                <c:pt idx="1496">
                  <c:v>3989774.6919999998</c:v>
                </c:pt>
                <c:pt idx="1497">
                  <c:v>3989774.6919999998</c:v>
                </c:pt>
                <c:pt idx="1498">
                  <c:v>3989774.6919999998</c:v>
                </c:pt>
                <c:pt idx="1499">
                  <c:v>3989774.6919999998</c:v>
                </c:pt>
                <c:pt idx="1500">
                  <c:v>3989774.6919999998</c:v>
                </c:pt>
                <c:pt idx="1501">
                  <c:v>3989774.6919999998</c:v>
                </c:pt>
                <c:pt idx="1502">
                  <c:v>3989774.6919999998</c:v>
                </c:pt>
                <c:pt idx="1503">
                  <c:v>3989774.6919999998</c:v>
                </c:pt>
                <c:pt idx="1504">
                  <c:v>3989774.6919999998</c:v>
                </c:pt>
                <c:pt idx="1505">
                  <c:v>3989774.6919999998</c:v>
                </c:pt>
                <c:pt idx="1506">
                  <c:v>3989774.6919999998</c:v>
                </c:pt>
                <c:pt idx="1507">
                  <c:v>3989774.6919999998</c:v>
                </c:pt>
                <c:pt idx="1508">
                  <c:v>3989380.6510000001</c:v>
                </c:pt>
                <c:pt idx="1509">
                  <c:v>3998970.6510000001</c:v>
                </c:pt>
                <c:pt idx="1510">
                  <c:v>4020670.6510000001</c:v>
                </c:pt>
                <c:pt idx="1511">
                  <c:v>4137150.6510000001</c:v>
                </c:pt>
                <c:pt idx="1512">
                  <c:v>4100170.6510000001</c:v>
                </c:pt>
                <c:pt idx="1513">
                  <c:v>4172870.6510000001</c:v>
                </c:pt>
                <c:pt idx="1514">
                  <c:v>4173750.6510000001</c:v>
                </c:pt>
                <c:pt idx="1515">
                  <c:v>4219510.6509999996</c:v>
                </c:pt>
                <c:pt idx="1516">
                  <c:v>4309010.6509999996</c:v>
                </c:pt>
                <c:pt idx="1517">
                  <c:v>4344770.6509999996</c:v>
                </c:pt>
                <c:pt idx="1518">
                  <c:v>4311110.6509999996</c:v>
                </c:pt>
                <c:pt idx="1519">
                  <c:v>4393390.6509999996</c:v>
                </c:pt>
                <c:pt idx="1520">
                  <c:v>4470040.6509999996</c:v>
                </c:pt>
                <c:pt idx="1521">
                  <c:v>4487150.6509999996</c:v>
                </c:pt>
                <c:pt idx="1522">
                  <c:v>4429480.6509999996</c:v>
                </c:pt>
                <c:pt idx="1523">
                  <c:v>4562520.6509999996</c:v>
                </c:pt>
                <c:pt idx="1524">
                  <c:v>4645110.6509999996</c:v>
                </c:pt>
                <c:pt idx="1525">
                  <c:v>4570890.6509999996</c:v>
                </c:pt>
                <c:pt idx="1526">
                  <c:v>4668130.6509999996</c:v>
                </c:pt>
                <c:pt idx="1527">
                  <c:v>4788780.6509999996</c:v>
                </c:pt>
                <c:pt idx="1528">
                  <c:v>4789860.6509999996</c:v>
                </c:pt>
                <c:pt idx="1529">
                  <c:v>4751610.6509999996</c:v>
                </c:pt>
                <c:pt idx="1530">
                  <c:v>4856560.6509999996</c:v>
                </c:pt>
                <c:pt idx="1531">
                  <c:v>4790830.6509999996</c:v>
                </c:pt>
                <c:pt idx="1532">
                  <c:v>4823300.6509999996</c:v>
                </c:pt>
                <c:pt idx="1533">
                  <c:v>4798860.6509999996</c:v>
                </c:pt>
                <c:pt idx="1534">
                  <c:v>4836710.6509999996</c:v>
                </c:pt>
                <c:pt idx="1535">
                  <c:v>4645810.6509999996</c:v>
                </c:pt>
                <c:pt idx="1536">
                  <c:v>4602300.6509999996</c:v>
                </c:pt>
                <c:pt idx="1537">
                  <c:v>4519060.6509999996</c:v>
                </c:pt>
                <c:pt idx="1538">
                  <c:v>4607370.6509999996</c:v>
                </c:pt>
                <c:pt idx="1539">
                  <c:v>4739500.6509999996</c:v>
                </c:pt>
                <c:pt idx="1540">
                  <c:v>4796390.6509999996</c:v>
                </c:pt>
                <c:pt idx="1541">
                  <c:v>4767410.6509999996</c:v>
                </c:pt>
                <c:pt idx="1542">
                  <c:v>4749750.6509999996</c:v>
                </c:pt>
                <c:pt idx="1543">
                  <c:v>4666440.6509999996</c:v>
                </c:pt>
                <c:pt idx="1544">
                  <c:v>4624110.6509999996</c:v>
                </c:pt>
                <c:pt idx="1545">
                  <c:v>4780190.6509999996</c:v>
                </c:pt>
                <c:pt idx="1546">
                  <c:v>4803890.6509999996</c:v>
                </c:pt>
                <c:pt idx="1547">
                  <c:v>4889950.6509999996</c:v>
                </c:pt>
                <c:pt idx="1548">
                  <c:v>5000310.6509999996</c:v>
                </c:pt>
                <c:pt idx="1549">
                  <c:v>5148470.6509999996</c:v>
                </c:pt>
                <c:pt idx="1550">
                  <c:v>5247890.6509999996</c:v>
                </c:pt>
                <c:pt idx="1551">
                  <c:v>5230400.6509999996</c:v>
                </c:pt>
                <c:pt idx="1552">
                  <c:v>4882980.6509999996</c:v>
                </c:pt>
                <c:pt idx="1553">
                  <c:v>4889800.6509999996</c:v>
                </c:pt>
                <c:pt idx="1554">
                  <c:v>5125150.6509999996</c:v>
                </c:pt>
                <c:pt idx="1555">
                  <c:v>5210840.6509999996</c:v>
                </c:pt>
                <c:pt idx="1556">
                  <c:v>5192560.6509999996</c:v>
                </c:pt>
                <c:pt idx="1557">
                  <c:v>5230390.6509999996</c:v>
                </c:pt>
                <c:pt idx="1558">
                  <c:v>5279520.6509999996</c:v>
                </c:pt>
                <c:pt idx="1559">
                  <c:v>5402720.6509999996</c:v>
                </c:pt>
                <c:pt idx="1560">
                  <c:v>5366430.6509999996</c:v>
                </c:pt>
                <c:pt idx="1561">
                  <c:v>5358080.6509999996</c:v>
                </c:pt>
                <c:pt idx="1562">
                  <c:v>5355560.6509999996</c:v>
                </c:pt>
                <c:pt idx="1563">
                  <c:v>5384090.6509999996</c:v>
                </c:pt>
                <c:pt idx="1564">
                  <c:v>5270140.6509999996</c:v>
                </c:pt>
                <c:pt idx="1565">
                  <c:v>5113790.6509999996</c:v>
                </c:pt>
                <c:pt idx="1566">
                  <c:v>5187286.7680000002</c:v>
                </c:pt>
                <c:pt idx="1567">
                  <c:v>5187286.7680000002</c:v>
                </c:pt>
                <c:pt idx="1568">
                  <c:v>5187286.7680000002</c:v>
                </c:pt>
                <c:pt idx="1569">
                  <c:v>5187286.7680000002</c:v>
                </c:pt>
                <c:pt idx="1570">
                  <c:v>5187286.7680000002</c:v>
                </c:pt>
                <c:pt idx="1571">
                  <c:v>5187286.7680000002</c:v>
                </c:pt>
                <c:pt idx="1572">
                  <c:v>5187286.7680000002</c:v>
                </c:pt>
                <c:pt idx="1573">
                  <c:v>5187286.7680000002</c:v>
                </c:pt>
                <c:pt idx="1574">
                  <c:v>5187286.7680000002</c:v>
                </c:pt>
                <c:pt idx="1575">
                  <c:v>5187286.7680000002</c:v>
                </c:pt>
                <c:pt idx="1576">
                  <c:v>5187286.7680000002</c:v>
                </c:pt>
                <c:pt idx="1577">
                  <c:v>5187286.7680000002</c:v>
                </c:pt>
                <c:pt idx="1578">
                  <c:v>5187286.7680000002</c:v>
                </c:pt>
                <c:pt idx="1579">
                  <c:v>5187286.7680000002</c:v>
                </c:pt>
                <c:pt idx="1580">
                  <c:v>5187286.7680000002</c:v>
                </c:pt>
                <c:pt idx="1581">
                  <c:v>5187286.7680000002</c:v>
                </c:pt>
                <c:pt idx="1582">
                  <c:v>5187286.7680000002</c:v>
                </c:pt>
                <c:pt idx="1583">
                  <c:v>5187286.7680000002</c:v>
                </c:pt>
                <c:pt idx="1584">
                  <c:v>5187286.7680000002</c:v>
                </c:pt>
                <c:pt idx="1585">
                  <c:v>5187286.7680000002</c:v>
                </c:pt>
                <c:pt idx="1586">
                  <c:v>5187286.7680000002</c:v>
                </c:pt>
                <c:pt idx="1587">
                  <c:v>5187286.7680000002</c:v>
                </c:pt>
                <c:pt idx="1588">
                  <c:v>5187286.7680000002</c:v>
                </c:pt>
                <c:pt idx="1589">
                  <c:v>5187286.7680000002</c:v>
                </c:pt>
                <c:pt idx="1590">
                  <c:v>5187286.7680000002</c:v>
                </c:pt>
                <c:pt idx="1591">
                  <c:v>5187286.7680000002</c:v>
                </c:pt>
                <c:pt idx="1592">
                  <c:v>5187286.7680000002</c:v>
                </c:pt>
                <c:pt idx="1593">
                  <c:v>5187286.7680000002</c:v>
                </c:pt>
                <c:pt idx="1594">
                  <c:v>5187286.7680000002</c:v>
                </c:pt>
                <c:pt idx="1595">
                  <c:v>5187286.7680000002</c:v>
                </c:pt>
                <c:pt idx="1596">
                  <c:v>5187286.7680000002</c:v>
                </c:pt>
                <c:pt idx="1597">
                  <c:v>5187286.7680000002</c:v>
                </c:pt>
                <c:pt idx="1598">
                  <c:v>5187286.7680000002</c:v>
                </c:pt>
                <c:pt idx="1599">
                  <c:v>5187286.7680000002</c:v>
                </c:pt>
                <c:pt idx="1600">
                  <c:v>5187286.7680000002</c:v>
                </c:pt>
                <c:pt idx="1601">
                  <c:v>5187286.7680000002</c:v>
                </c:pt>
                <c:pt idx="1602">
                  <c:v>5187286.7680000002</c:v>
                </c:pt>
                <c:pt idx="1603">
                  <c:v>5187286.7680000002</c:v>
                </c:pt>
                <c:pt idx="1604">
                  <c:v>5187286.7680000002</c:v>
                </c:pt>
                <c:pt idx="1605">
                  <c:v>5187286.7680000002</c:v>
                </c:pt>
                <c:pt idx="1606">
                  <c:v>5187286.7680000002</c:v>
                </c:pt>
                <c:pt idx="1607">
                  <c:v>5187286.7680000002</c:v>
                </c:pt>
                <c:pt idx="1608">
                  <c:v>5187286.7680000002</c:v>
                </c:pt>
                <c:pt idx="1609">
                  <c:v>5187286.7680000002</c:v>
                </c:pt>
                <c:pt idx="1610">
                  <c:v>5187286.7680000002</c:v>
                </c:pt>
                <c:pt idx="1611">
                  <c:v>5187286.7680000002</c:v>
                </c:pt>
                <c:pt idx="1612">
                  <c:v>5187286.7680000002</c:v>
                </c:pt>
                <c:pt idx="1613">
                  <c:v>5187286.7680000002</c:v>
                </c:pt>
                <c:pt idx="1614">
                  <c:v>5187286.7680000002</c:v>
                </c:pt>
                <c:pt idx="1615">
                  <c:v>5187286.7680000002</c:v>
                </c:pt>
                <c:pt idx="1616">
                  <c:v>5187286.7680000002</c:v>
                </c:pt>
                <c:pt idx="1617">
                  <c:v>5187286.7680000002</c:v>
                </c:pt>
                <c:pt idx="1618">
                  <c:v>5187286.7680000002</c:v>
                </c:pt>
                <c:pt idx="1619">
                  <c:v>5187286.7680000002</c:v>
                </c:pt>
                <c:pt idx="1620">
                  <c:v>5187286.7680000002</c:v>
                </c:pt>
                <c:pt idx="1621">
                  <c:v>5187286.7680000002</c:v>
                </c:pt>
                <c:pt idx="1622">
                  <c:v>5187286.7680000002</c:v>
                </c:pt>
                <c:pt idx="1623">
                  <c:v>5187286.7680000002</c:v>
                </c:pt>
                <c:pt idx="1624">
                  <c:v>5187286.7680000002</c:v>
                </c:pt>
                <c:pt idx="1625">
                  <c:v>5187286.7680000002</c:v>
                </c:pt>
                <c:pt idx="1626">
                  <c:v>5187286.7680000002</c:v>
                </c:pt>
                <c:pt idx="1627">
                  <c:v>5186782.4119999995</c:v>
                </c:pt>
                <c:pt idx="1628">
                  <c:v>5438014.4119999995</c:v>
                </c:pt>
                <c:pt idx="1629">
                  <c:v>5322414.4119999995</c:v>
                </c:pt>
                <c:pt idx="1630">
                  <c:v>5345246.4119999995</c:v>
                </c:pt>
                <c:pt idx="1631">
                  <c:v>5435885.0920000002</c:v>
                </c:pt>
                <c:pt idx="1632">
                  <c:v>5435885.0920000002</c:v>
                </c:pt>
                <c:pt idx="1633">
                  <c:v>5435885.0920000002</c:v>
                </c:pt>
                <c:pt idx="1634">
                  <c:v>5435885.0920000002</c:v>
                </c:pt>
                <c:pt idx="1635">
                  <c:v>5435885.0920000002</c:v>
                </c:pt>
                <c:pt idx="1636">
                  <c:v>5435885.0920000002</c:v>
                </c:pt>
                <c:pt idx="1637">
                  <c:v>5435885.0920000002</c:v>
                </c:pt>
                <c:pt idx="1638">
                  <c:v>5435885.0920000002</c:v>
                </c:pt>
                <c:pt idx="1639">
                  <c:v>5435885.0920000002</c:v>
                </c:pt>
                <c:pt idx="1640">
                  <c:v>5435885.0920000002</c:v>
                </c:pt>
                <c:pt idx="1641">
                  <c:v>5435885.0920000002</c:v>
                </c:pt>
                <c:pt idx="1642">
                  <c:v>5435885.0920000002</c:v>
                </c:pt>
                <c:pt idx="1643">
                  <c:v>5435885.0920000002</c:v>
                </c:pt>
                <c:pt idx="1644">
                  <c:v>5435885.0920000002</c:v>
                </c:pt>
                <c:pt idx="1645">
                  <c:v>5435885.0920000002</c:v>
                </c:pt>
                <c:pt idx="1646">
                  <c:v>5435885.0920000002</c:v>
                </c:pt>
                <c:pt idx="1647">
                  <c:v>5435885.0920000002</c:v>
                </c:pt>
                <c:pt idx="1648">
                  <c:v>5435364.1040000003</c:v>
                </c:pt>
                <c:pt idx="1649">
                  <c:v>5512284.1040000003</c:v>
                </c:pt>
                <c:pt idx="1650">
                  <c:v>5582349.1040000003</c:v>
                </c:pt>
                <c:pt idx="1651">
                  <c:v>5609379.1040000003</c:v>
                </c:pt>
                <c:pt idx="1652">
                  <c:v>5614809.1040000003</c:v>
                </c:pt>
                <c:pt idx="1653">
                  <c:v>5512869.1040000003</c:v>
                </c:pt>
                <c:pt idx="1654">
                  <c:v>5525454.1040000003</c:v>
                </c:pt>
                <c:pt idx="1655">
                  <c:v>5526609.1040000003</c:v>
                </c:pt>
                <c:pt idx="1656">
                  <c:v>5439429.1040000003</c:v>
                </c:pt>
                <c:pt idx="1657">
                  <c:v>5423724.1040000003</c:v>
                </c:pt>
                <c:pt idx="1658">
                  <c:v>5668299.1040000003</c:v>
                </c:pt>
                <c:pt idx="1659">
                  <c:v>5784444.1040000003</c:v>
                </c:pt>
                <c:pt idx="1660">
                  <c:v>5915544.1040000003</c:v>
                </c:pt>
                <c:pt idx="1661">
                  <c:v>5986014.1040000003</c:v>
                </c:pt>
                <c:pt idx="1662">
                  <c:v>5975349.1040000003</c:v>
                </c:pt>
                <c:pt idx="1663">
                  <c:v>5975964.1040000003</c:v>
                </c:pt>
                <c:pt idx="1664">
                  <c:v>5918469.1040000003</c:v>
                </c:pt>
                <c:pt idx="1665">
                  <c:v>5844849.1040000003</c:v>
                </c:pt>
                <c:pt idx="1666">
                  <c:v>5871684.1040000003</c:v>
                </c:pt>
                <c:pt idx="1667">
                  <c:v>5863074.1040000003</c:v>
                </c:pt>
                <c:pt idx="1668">
                  <c:v>5798859.1040000003</c:v>
                </c:pt>
                <c:pt idx="1669">
                  <c:v>5887944.1040000003</c:v>
                </c:pt>
                <c:pt idx="1670">
                  <c:v>5887059.1040000003</c:v>
                </c:pt>
                <c:pt idx="1671">
                  <c:v>5855499.1040000003</c:v>
                </c:pt>
                <c:pt idx="1672">
                  <c:v>5856324.1040000003</c:v>
                </c:pt>
                <c:pt idx="1673">
                  <c:v>5897904.1040000003</c:v>
                </c:pt>
                <c:pt idx="1674">
                  <c:v>5864634.1040000003</c:v>
                </c:pt>
                <c:pt idx="1675">
                  <c:v>5560974.1040000003</c:v>
                </c:pt>
                <c:pt idx="1676">
                  <c:v>5574569.1430000002</c:v>
                </c:pt>
                <c:pt idx="1677">
                  <c:v>5574569.1430000002</c:v>
                </c:pt>
                <c:pt idx="1678">
                  <c:v>5574569.1430000002</c:v>
                </c:pt>
                <c:pt idx="1679">
                  <c:v>5574569.1430000002</c:v>
                </c:pt>
                <c:pt idx="1680">
                  <c:v>5574569.1430000002</c:v>
                </c:pt>
                <c:pt idx="1681">
                  <c:v>5574569.1430000002</c:v>
                </c:pt>
                <c:pt idx="1682">
                  <c:v>5574569.1430000002</c:v>
                </c:pt>
                <c:pt idx="1683">
                  <c:v>5574569.1430000002</c:v>
                </c:pt>
                <c:pt idx="1684">
                  <c:v>5574569.1430000002</c:v>
                </c:pt>
                <c:pt idx="1685">
                  <c:v>5574569.1430000002</c:v>
                </c:pt>
                <c:pt idx="1686">
                  <c:v>5574569.1430000002</c:v>
                </c:pt>
                <c:pt idx="1687">
                  <c:v>5574569.1430000002</c:v>
                </c:pt>
                <c:pt idx="1688">
                  <c:v>5574569.1430000002</c:v>
                </c:pt>
                <c:pt idx="1689">
                  <c:v>5574569.1430000002</c:v>
                </c:pt>
                <c:pt idx="1690">
                  <c:v>5574569.1430000002</c:v>
                </c:pt>
                <c:pt idx="1691">
                  <c:v>5574569.1430000002</c:v>
                </c:pt>
                <c:pt idx="1692">
                  <c:v>5574569.1430000002</c:v>
                </c:pt>
                <c:pt idx="1693">
                  <c:v>5574569.1430000002</c:v>
                </c:pt>
                <c:pt idx="1694">
                  <c:v>5574569.1430000002</c:v>
                </c:pt>
                <c:pt idx="1695">
                  <c:v>5574569.1430000002</c:v>
                </c:pt>
                <c:pt idx="1696">
                  <c:v>5574569.1430000002</c:v>
                </c:pt>
                <c:pt idx="1697">
                  <c:v>5574569.1430000002</c:v>
                </c:pt>
                <c:pt idx="1698">
                  <c:v>5574569.1430000002</c:v>
                </c:pt>
                <c:pt idx="1699">
                  <c:v>5574569.1430000002</c:v>
                </c:pt>
                <c:pt idx="1700">
                  <c:v>5574569.1430000002</c:v>
                </c:pt>
                <c:pt idx="1701">
                  <c:v>5574569.1430000002</c:v>
                </c:pt>
                <c:pt idx="1702">
                  <c:v>5574569.1430000002</c:v>
                </c:pt>
                <c:pt idx="1703">
                  <c:v>5574569.1430000002</c:v>
                </c:pt>
                <c:pt idx="1704">
                  <c:v>5574569.1430000002</c:v>
                </c:pt>
                <c:pt idx="1705">
                  <c:v>5574569.1430000002</c:v>
                </c:pt>
                <c:pt idx="1706">
                  <c:v>5574569.1430000002</c:v>
                </c:pt>
                <c:pt idx="1707">
                  <c:v>5574569.1430000002</c:v>
                </c:pt>
                <c:pt idx="1708">
                  <c:v>5574569.1430000002</c:v>
                </c:pt>
                <c:pt idx="1709">
                  <c:v>5574569.1430000002</c:v>
                </c:pt>
                <c:pt idx="1710">
                  <c:v>5574569.1430000002</c:v>
                </c:pt>
                <c:pt idx="1711">
                  <c:v>5574569.1430000002</c:v>
                </c:pt>
                <c:pt idx="1712">
                  <c:v>5574569.1430000002</c:v>
                </c:pt>
                <c:pt idx="1713">
                  <c:v>5574569.1430000002</c:v>
                </c:pt>
                <c:pt idx="1714">
                  <c:v>5574569.1430000002</c:v>
                </c:pt>
                <c:pt idx="1715">
                  <c:v>5574569.1430000002</c:v>
                </c:pt>
                <c:pt idx="1716">
                  <c:v>5574569.1430000002</c:v>
                </c:pt>
                <c:pt idx="1717">
                  <c:v>5574569.1430000002</c:v>
                </c:pt>
                <c:pt idx="1718">
                  <c:v>5574026.9280000003</c:v>
                </c:pt>
                <c:pt idx="1719">
                  <c:v>5749453.9280000003</c:v>
                </c:pt>
                <c:pt idx="1720">
                  <c:v>5663877.9280000003</c:v>
                </c:pt>
                <c:pt idx="1721">
                  <c:v>5778409.9280000003</c:v>
                </c:pt>
                <c:pt idx="1722">
                  <c:v>5754298.9280000003</c:v>
                </c:pt>
                <c:pt idx="1723">
                  <c:v>5822926.9280000003</c:v>
                </c:pt>
                <c:pt idx="1724">
                  <c:v>5783083.9280000003</c:v>
                </c:pt>
                <c:pt idx="1725">
                  <c:v>5750631.9280000003</c:v>
                </c:pt>
                <c:pt idx="1726">
                  <c:v>5922258.9280000003</c:v>
                </c:pt>
                <c:pt idx="1727">
                  <c:v>5972190.9280000003</c:v>
                </c:pt>
                <c:pt idx="1728">
                  <c:v>5953912.9280000003</c:v>
                </c:pt>
                <c:pt idx="1729">
                  <c:v>5949903.9280000003</c:v>
                </c:pt>
                <c:pt idx="1730">
                  <c:v>6077735.9280000003</c:v>
                </c:pt>
                <c:pt idx="1731">
                  <c:v>6021666.9280000003</c:v>
                </c:pt>
                <c:pt idx="1732">
                  <c:v>6060027.9280000003</c:v>
                </c:pt>
                <c:pt idx="1733">
                  <c:v>5697507.9280000003</c:v>
                </c:pt>
                <c:pt idx="1734">
                  <c:v>5753139.9280000003</c:v>
                </c:pt>
                <c:pt idx="1735">
                  <c:v>5619075.9280000003</c:v>
                </c:pt>
                <c:pt idx="1736">
                  <c:v>5720193.9280000003</c:v>
                </c:pt>
                <c:pt idx="1737">
                  <c:v>5949409.9280000003</c:v>
                </c:pt>
                <c:pt idx="1738">
                  <c:v>5962880.9280000003</c:v>
                </c:pt>
                <c:pt idx="1739">
                  <c:v>6030273.9280000003</c:v>
                </c:pt>
                <c:pt idx="1740">
                  <c:v>6051078.9280000003</c:v>
                </c:pt>
                <c:pt idx="1741">
                  <c:v>6056455.9280000003</c:v>
                </c:pt>
                <c:pt idx="1742">
                  <c:v>5988511.9280000003</c:v>
                </c:pt>
                <c:pt idx="1743">
                  <c:v>5876295.4299999997</c:v>
                </c:pt>
                <c:pt idx="1744">
                  <c:v>5876295.4299999997</c:v>
                </c:pt>
                <c:pt idx="1745">
                  <c:v>5876295.4299999997</c:v>
                </c:pt>
                <c:pt idx="1746">
                  <c:v>5876295.4299999997</c:v>
                </c:pt>
                <c:pt idx="1747">
                  <c:v>5876295.4299999997</c:v>
                </c:pt>
                <c:pt idx="1748">
                  <c:v>5876295.4299999997</c:v>
                </c:pt>
                <c:pt idx="1749">
                  <c:v>5876295.4299999997</c:v>
                </c:pt>
                <c:pt idx="1750">
                  <c:v>5876295.4299999997</c:v>
                </c:pt>
                <c:pt idx="1751">
                  <c:v>5876295.4299999997</c:v>
                </c:pt>
                <c:pt idx="1752">
                  <c:v>5876295.4299999997</c:v>
                </c:pt>
                <c:pt idx="1753">
                  <c:v>5876295.4299999997</c:v>
                </c:pt>
                <c:pt idx="1754">
                  <c:v>5876295.4299999997</c:v>
                </c:pt>
                <c:pt idx="1755">
                  <c:v>5876295.4299999997</c:v>
                </c:pt>
                <c:pt idx="1756">
                  <c:v>5876295.4299999997</c:v>
                </c:pt>
                <c:pt idx="1757">
                  <c:v>5876295.4299999997</c:v>
                </c:pt>
                <c:pt idx="1758">
                  <c:v>5876295.4299999997</c:v>
                </c:pt>
                <c:pt idx="1759">
                  <c:v>5876295.4299999997</c:v>
                </c:pt>
                <c:pt idx="1760">
                  <c:v>5876295.4299999997</c:v>
                </c:pt>
                <c:pt idx="1761">
                  <c:v>5876295.4299999997</c:v>
                </c:pt>
                <c:pt idx="1762">
                  <c:v>5876295.4299999997</c:v>
                </c:pt>
                <c:pt idx="1763">
                  <c:v>5876295.4299999997</c:v>
                </c:pt>
                <c:pt idx="1764">
                  <c:v>5876295.4299999997</c:v>
                </c:pt>
                <c:pt idx="1765">
                  <c:v>5876295.4299999997</c:v>
                </c:pt>
                <c:pt idx="1766">
                  <c:v>5876295.4299999997</c:v>
                </c:pt>
                <c:pt idx="1767">
                  <c:v>5876295.4299999997</c:v>
                </c:pt>
                <c:pt idx="1768">
                  <c:v>5876295.4299999997</c:v>
                </c:pt>
                <c:pt idx="1769">
                  <c:v>5876295.4299999997</c:v>
                </c:pt>
                <c:pt idx="1770">
                  <c:v>5876295.4299999997</c:v>
                </c:pt>
                <c:pt idx="1771">
                  <c:v>5876295.4299999997</c:v>
                </c:pt>
                <c:pt idx="1772">
                  <c:v>5876295.4299999997</c:v>
                </c:pt>
                <c:pt idx="1773">
                  <c:v>5876295.4299999997</c:v>
                </c:pt>
                <c:pt idx="1774">
                  <c:v>5876295.4299999997</c:v>
                </c:pt>
                <c:pt idx="1775">
                  <c:v>5876295.4299999997</c:v>
                </c:pt>
                <c:pt idx="1776">
                  <c:v>5876295.4299999997</c:v>
                </c:pt>
                <c:pt idx="1777">
                  <c:v>5876295.4299999997</c:v>
                </c:pt>
                <c:pt idx="1778">
                  <c:v>5876295.4299999997</c:v>
                </c:pt>
                <c:pt idx="1779">
                  <c:v>5876295.4299999997</c:v>
                </c:pt>
                <c:pt idx="1780">
                  <c:v>5876295.4299999997</c:v>
                </c:pt>
                <c:pt idx="1781">
                  <c:v>5876295.4299999997</c:v>
                </c:pt>
                <c:pt idx="1782">
                  <c:v>5876295.4299999997</c:v>
                </c:pt>
                <c:pt idx="1783">
                  <c:v>5876295.4299999997</c:v>
                </c:pt>
                <c:pt idx="1784">
                  <c:v>5876295.4299999997</c:v>
                </c:pt>
                <c:pt idx="1785">
                  <c:v>5876295.4299999997</c:v>
                </c:pt>
                <c:pt idx="1786">
                  <c:v>5876295.4299999997</c:v>
                </c:pt>
                <c:pt idx="1787">
                  <c:v>5876295.4299999997</c:v>
                </c:pt>
                <c:pt idx="1788">
                  <c:v>5876295.4299999997</c:v>
                </c:pt>
                <c:pt idx="1789">
                  <c:v>5876295.4299999997</c:v>
                </c:pt>
                <c:pt idx="1790">
                  <c:v>5876295.4299999997</c:v>
                </c:pt>
                <c:pt idx="1791">
                  <c:v>5876295.4299999997</c:v>
                </c:pt>
                <c:pt idx="1792">
                  <c:v>5876295.4299999997</c:v>
                </c:pt>
                <c:pt idx="1793">
                  <c:v>5876295.4299999997</c:v>
                </c:pt>
                <c:pt idx="1794">
                  <c:v>5876295.4299999997</c:v>
                </c:pt>
                <c:pt idx="1795">
                  <c:v>5876295.4299999997</c:v>
                </c:pt>
                <c:pt idx="1796">
                  <c:v>5876295.4299999997</c:v>
                </c:pt>
                <c:pt idx="1797">
                  <c:v>5876295.4299999997</c:v>
                </c:pt>
                <c:pt idx="1798">
                  <c:v>5876295.4299999997</c:v>
                </c:pt>
                <c:pt idx="1799">
                  <c:v>5876295.4299999997</c:v>
                </c:pt>
                <c:pt idx="1800">
                  <c:v>5875726.5310000004</c:v>
                </c:pt>
                <c:pt idx="1801">
                  <c:v>5887516.5310000004</c:v>
                </c:pt>
                <c:pt idx="1802">
                  <c:v>5927530.5310000004</c:v>
                </c:pt>
                <c:pt idx="1803">
                  <c:v>5908558.5310000004</c:v>
                </c:pt>
                <c:pt idx="1804">
                  <c:v>5905426.5310000004</c:v>
                </c:pt>
                <c:pt idx="1805">
                  <c:v>5881918.5310000004</c:v>
                </c:pt>
                <c:pt idx="1806">
                  <c:v>5706148.5310000004</c:v>
                </c:pt>
                <c:pt idx="1807">
                  <c:v>5723500.5310000004</c:v>
                </c:pt>
                <c:pt idx="1808">
                  <c:v>5796202.5310000004</c:v>
                </c:pt>
                <c:pt idx="1809">
                  <c:v>5757142.5310000004</c:v>
                </c:pt>
                <c:pt idx="1810">
                  <c:v>5785384.5310000004</c:v>
                </c:pt>
                <c:pt idx="1811">
                  <c:v>5789542.5310000004</c:v>
                </c:pt>
                <c:pt idx="1812">
                  <c:v>5778112.5310000004</c:v>
                </c:pt>
                <c:pt idx="1813">
                  <c:v>5827864.5310000004</c:v>
                </c:pt>
                <c:pt idx="1814">
                  <c:v>5797912.5310000004</c:v>
                </c:pt>
                <c:pt idx="1815">
                  <c:v>5725624.5310000004</c:v>
                </c:pt>
                <c:pt idx="1816">
                  <c:v>5803708.5310000004</c:v>
                </c:pt>
                <c:pt idx="1817">
                  <c:v>5832256.5310000004</c:v>
                </c:pt>
                <c:pt idx="1818">
                  <c:v>5858671.2800000003</c:v>
                </c:pt>
                <c:pt idx="1819">
                  <c:v>5858671.2800000003</c:v>
                </c:pt>
                <c:pt idx="1820">
                  <c:v>5858671.2800000003</c:v>
                </c:pt>
                <c:pt idx="1821">
                  <c:v>5858671.2800000003</c:v>
                </c:pt>
                <c:pt idx="1822">
                  <c:v>5858671.2800000003</c:v>
                </c:pt>
                <c:pt idx="1823">
                  <c:v>5858671.2800000003</c:v>
                </c:pt>
                <c:pt idx="1824">
                  <c:v>5858671.2800000003</c:v>
                </c:pt>
                <c:pt idx="1825">
                  <c:v>5858671.2800000003</c:v>
                </c:pt>
                <c:pt idx="1826">
                  <c:v>5858671.2800000003</c:v>
                </c:pt>
                <c:pt idx="1827">
                  <c:v>5858671.2800000003</c:v>
                </c:pt>
                <c:pt idx="1828">
                  <c:v>5858671.2800000003</c:v>
                </c:pt>
                <c:pt idx="1829">
                  <c:v>5858671.2800000003</c:v>
                </c:pt>
                <c:pt idx="1830">
                  <c:v>5858671.2800000003</c:v>
                </c:pt>
                <c:pt idx="1831">
                  <c:v>5858671.2800000003</c:v>
                </c:pt>
                <c:pt idx="1832">
                  <c:v>5858671.2800000003</c:v>
                </c:pt>
                <c:pt idx="1833">
                  <c:v>5858671.2800000003</c:v>
                </c:pt>
                <c:pt idx="1834">
                  <c:v>5858671.2800000003</c:v>
                </c:pt>
                <c:pt idx="1835">
                  <c:v>5858671.2800000003</c:v>
                </c:pt>
                <c:pt idx="1836">
                  <c:v>5858671.2800000003</c:v>
                </c:pt>
                <c:pt idx="1837">
                  <c:v>5858671.2800000003</c:v>
                </c:pt>
                <c:pt idx="1838">
                  <c:v>5858671.2800000003</c:v>
                </c:pt>
                <c:pt idx="1839">
                  <c:v>5858671.2800000003</c:v>
                </c:pt>
                <c:pt idx="1840">
                  <c:v>5858671.2800000003</c:v>
                </c:pt>
                <c:pt idx="1841">
                  <c:v>5858671.2800000003</c:v>
                </c:pt>
                <c:pt idx="1842">
                  <c:v>5858671.2800000003</c:v>
                </c:pt>
                <c:pt idx="1843">
                  <c:v>5858671.2800000003</c:v>
                </c:pt>
                <c:pt idx="1844">
                  <c:v>5858671.2800000003</c:v>
                </c:pt>
                <c:pt idx="1845">
                  <c:v>5858671.2800000003</c:v>
                </c:pt>
                <c:pt idx="1846">
                  <c:v>5858671.2800000003</c:v>
                </c:pt>
                <c:pt idx="1847">
                  <c:v>5858671.2800000003</c:v>
                </c:pt>
                <c:pt idx="1848">
                  <c:v>5858671.2800000003</c:v>
                </c:pt>
                <c:pt idx="1849">
                  <c:v>5858671.2800000003</c:v>
                </c:pt>
                <c:pt idx="1850">
                  <c:v>5858671.2800000003</c:v>
                </c:pt>
                <c:pt idx="1851">
                  <c:v>5858671.2800000003</c:v>
                </c:pt>
                <c:pt idx="1852">
                  <c:v>5858096.9780000001</c:v>
                </c:pt>
                <c:pt idx="1853">
                  <c:v>5849256.9780000001</c:v>
                </c:pt>
                <c:pt idx="1854">
                  <c:v>5834704.9780000001</c:v>
                </c:pt>
                <c:pt idx="1855">
                  <c:v>5835605.9780000001</c:v>
                </c:pt>
                <c:pt idx="1856">
                  <c:v>5787614.9780000001</c:v>
                </c:pt>
                <c:pt idx="1857">
                  <c:v>5796182.9780000001</c:v>
                </c:pt>
                <c:pt idx="1858">
                  <c:v>5775833.9780000001</c:v>
                </c:pt>
                <c:pt idx="1859">
                  <c:v>5740320.9780000001</c:v>
                </c:pt>
                <c:pt idx="1860">
                  <c:v>5737124.9780000001</c:v>
                </c:pt>
                <c:pt idx="1861">
                  <c:v>5738297.9780000001</c:v>
                </c:pt>
                <c:pt idx="1862">
                  <c:v>5745454.9780000001</c:v>
                </c:pt>
                <c:pt idx="1863">
                  <c:v>5772314.9780000001</c:v>
                </c:pt>
                <c:pt idx="1864">
                  <c:v>5727757.9780000001</c:v>
                </c:pt>
                <c:pt idx="1865">
                  <c:v>5749058.9780000001</c:v>
                </c:pt>
                <c:pt idx="1866">
                  <c:v>5758527.9780000001</c:v>
                </c:pt>
                <c:pt idx="1867">
                  <c:v>5797542.9780000001</c:v>
                </c:pt>
                <c:pt idx="1868">
                  <c:v>5794465.9780000001</c:v>
                </c:pt>
                <c:pt idx="1869">
                  <c:v>5792323.9780000001</c:v>
                </c:pt>
                <c:pt idx="1870">
                  <c:v>5755739.9780000001</c:v>
                </c:pt>
                <c:pt idx="1871">
                  <c:v>5661491.9780000001</c:v>
                </c:pt>
                <c:pt idx="1872">
                  <c:v>5657632.9780000001</c:v>
                </c:pt>
                <c:pt idx="1873">
                  <c:v>5620912.9780000001</c:v>
                </c:pt>
                <c:pt idx="1874">
                  <c:v>5662375.9780000001</c:v>
                </c:pt>
                <c:pt idx="1875">
                  <c:v>5652651.9780000001</c:v>
                </c:pt>
                <c:pt idx="1876">
                  <c:v>5668359.9780000001</c:v>
                </c:pt>
                <c:pt idx="1877">
                  <c:v>5709975.9780000001</c:v>
                </c:pt>
                <c:pt idx="1878">
                  <c:v>5683710.9780000001</c:v>
                </c:pt>
                <c:pt idx="1879">
                  <c:v>5589547.9780000001</c:v>
                </c:pt>
                <c:pt idx="1880">
                  <c:v>5624346.9780000001</c:v>
                </c:pt>
                <c:pt idx="1881">
                  <c:v>5607584.9780000001</c:v>
                </c:pt>
                <c:pt idx="1882">
                  <c:v>5630534.9780000001</c:v>
                </c:pt>
                <c:pt idx="1883">
                  <c:v>5645647.9780000001</c:v>
                </c:pt>
                <c:pt idx="1884">
                  <c:v>5714650.9780000001</c:v>
                </c:pt>
                <c:pt idx="1885">
                  <c:v>5736223.9780000001</c:v>
                </c:pt>
                <c:pt idx="1886">
                  <c:v>5725088.9780000001</c:v>
                </c:pt>
                <c:pt idx="1887">
                  <c:v>5729576.9780000001</c:v>
                </c:pt>
                <c:pt idx="1888">
                  <c:v>5735016.9780000001</c:v>
                </c:pt>
                <c:pt idx="1889">
                  <c:v>5687467.9780000001</c:v>
                </c:pt>
                <c:pt idx="1890">
                  <c:v>5761332.9780000001</c:v>
                </c:pt>
                <c:pt idx="1891">
                  <c:v>5752679.9780000001</c:v>
                </c:pt>
                <c:pt idx="1892">
                  <c:v>5756691.9780000001</c:v>
                </c:pt>
                <c:pt idx="1893">
                  <c:v>5772229.9780000001</c:v>
                </c:pt>
                <c:pt idx="1894">
                  <c:v>5839957.9780000001</c:v>
                </c:pt>
                <c:pt idx="1895">
                  <c:v>5839736.9780000001</c:v>
                </c:pt>
                <c:pt idx="1896">
                  <c:v>5818231.9780000001</c:v>
                </c:pt>
                <c:pt idx="1897">
                  <c:v>5802761.9780000001</c:v>
                </c:pt>
                <c:pt idx="1898">
                  <c:v>5793292.9780000001</c:v>
                </c:pt>
                <c:pt idx="1899">
                  <c:v>5786747.9780000001</c:v>
                </c:pt>
                <c:pt idx="1900">
                  <c:v>5825456.9780000001</c:v>
                </c:pt>
                <c:pt idx="1901">
                  <c:v>5781766.9780000001</c:v>
                </c:pt>
                <c:pt idx="1902">
                  <c:v>5835724.9780000001</c:v>
                </c:pt>
                <c:pt idx="1903">
                  <c:v>5817160.9780000001</c:v>
                </c:pt>
                <c:pt idx="1904">
                  <c:v>5821274.9780000001</c:v>
                </c:pt>
                <c:pt idx="1905">
                  <c:v>5845975.9780000001</c:v>
                </c:pt>
                <c:pt idx="1906">
                  <c:v>5815256.9780000001</c:v>
                </c:pt>
                <c:pt idx="1907">
                  <c:v>5879108.9780000001</c:v>
                </c:pt>
                <c:pt idx="1908">
                  <c:v>5924345.9780000001</c:v>
                </c:pt>
                <c:pt idx="1909">
                  <c:v>5946496.9780000001</c:v>
                </c:pt>
                <c:pt idx="1910">
                  <c:v>5945850.9780000001</c:v>
                </c:pt>
                <c:pt idx="1911">
                  <c:v>5945374.9780000001</c:v>
                </c:pt>
                <c:pt idx="1912">
                  <c:v>5957189.9780000001</c:v>
                </c:pt>
                <c:pt idx="1913">
                  <c:v>5924753.9780000001</c:v>
                </c:pt>
                <c:pt idx="1914">
                  <c:v>5964958.9780000001</c:v>
                </c:pt>
                <c:pt idx="1915">
                  <c:v>6011283.9780000001</c:v>
                </c:pt>
                <c:pt idx="1916">
                  <c:v>6022112.9780000001</c:v>
                </c:pt>
                <c:pt idx="1917">
                  <c:v>6045929.9780000001</c:v>
                </c:pt>
                <c:pt idx="1918">
                  <c:v>6101281.9780000001</c:v>
                </c:pt>
                <c:pt idx="1919">
                  <c:v>6124707.9780000001</c:v>
                </c:pt>
                <c:pt idx="1920">
                  <c:v>6173939.9780000001</c:v>
                </c:pt>
                <c:pt idx="1921">
                  <c:v>6129671.9780000001</c:v>
                </c:pt>
                <c:pt idx="1922">
                  <c:v>6175639.9780000001</c:v>
                </c:pt>
                <c:pt idx="1923">
                  <c:v>6114286.9780000001</c:v>
                </c:pt>
                <c:pt idx="1924">
                  <c:v>6013068.9780000001</c:v>
                </c:pt>
                <c:pt idx="1925">
                  <c:v>5995626.9780000001</c:v>
                </c:pt>
                <c:pt idx="1926">
                  <c:v>6023846.9780000001</c:v>
                </c:pt>
                <c:pt idx="1927">
                  <c:v>6014309.9780000001</c:v>
                </c:pt>
                <c:pt idx="1928">
                  <c:v>6054361.9780000001</c:v>
                </c:pt>
                <c:pt idx="1929">
                  <c:v>5910677.9780000001</c:v>
                </c:pt>
                <c:pt idx="1930">
                  <c:v>5903639.9780000001</c:v>
                </c:pt>
                <c:pt idx="1931">
                  <c:v>5859286.9780000001</c:v>
                </c:pt>
                <c:pt idx="1932">
                  <c:v>5793802.9780000001</c:v>
                </c:pt>
                <c:pt idx="1933">
                  <c:v>5803322.9780000001</c:v>
                </c:pt>
                <c:pt idx="1934">
                  <c:v>5774337.9780000001</c:v>
                </c:pt>
                <c:pt idx="1935">
                  <c:v>5740473.9780000001</c:v>
                </c:pt>
                <c:pt idx="1936">
                  <c:v>5790589.9780000001</c:v>
                </c:pt>
                <c:pt idx="1937">
                  <c:v>5785710.9780000001</c:v>
                </c:pt>
                <c:pt idx="1938">
                  <c:v>5737991.9780000001</c:v>
                </c:pt>
                <c:pt idx="1939">
                  <c:v>5763151.9780000001</c:v>
                </c:pt>
                <c:pt idx="1940">
                  <c:v>5752934.9780000001</c:v>
                </c:pt>
                <c:pt idx="1941">
                  <c:v>5728284.9780000001</c:v>
                </c:pt>
                <c:pt idx="1942">
                  <c:v>5721263.9780000001</c:v>
                </c:pt>
                <c:pt idx="1943">
                  <c:v>5742207.9780000001</c:v>
                </c:pt>
                <c:pt idx="1944">
                  <c:v>5796862.9780000001</c:v>
                </c:pt>
                <c:pt idx="1945">
                  <c:v>5841198.9780000001</c:v>
                </c:pt>
                <c:pt idx="1946">
                  <c:v>5840314.9780000001</c:v>
                </c:pt>
                <c:pt idx="1947">
                  <c:v>5806110.9780000001</c:v>
                </c:pt>
                <c:pt idx="1948">
                  <c:v>5833701.9780000001</c:v>
                </c:pt>
                <c:pt idx="1949">
                  <c:v>5824130.9780000001</c:v>
                </c:pt>
                <c:pt idx="1950">
                  <c:v>5783721.9780000001</c:v>
                </c:pt>
                <c:pt idx="1951">
                  <c:v>5755025.9780000001</c:v>
                </c:pt>
                <c:pt idx="1952">
                  <c:v>5758918.9780000001</c:v>
                </c:pt>
                <c:pt idx="1953">
                  <c:v>5758136.9780000001</c:v>
                </c:pt>
                <c:pt idx="1954">
                  <c:v>5769883.9780000001</c:v>
                </c:pt>
                <c:pt idx="1955">
                  <c:v>5792000.9780000001</c:v>
                </c:pt>
                <c:pt idx="1956">
                  <c:v>5774864.9780000001</c:v>
                </c:pt>
                <c:pt idx="1957">
                  <c:v>5818384.9780000001</c:v>
                </c:pt>
                <c:pt idx="1958">
                  <c:v>5834007.9780000001</c:v>
                </c:pt>
                <c:pt idx="1959">
                  <c:v>5834636.9780000001</c:v>
                </c:pt>
                <c:pt idx="1960">
                  <c:v>5854101.9780000001</c:v>
                </c:pt>
                <c:pt idx="1961">
                  <c:v>5874603.9780000001</c:v>
                </c:pt>
                <c:pt idx="1962">
                  <c:v>5834133.0149999997</c:v>
                </c:pt>
                <c:pt idx="1963">
                  <c:v>5834133.0149999997</c:v>
                </c:pt>
                <c:pt idx="1964">
                  <c:v>5834133.0149999997</c:v>
                </c:pt>
                <c:pt idx="1965">
                  <c:v>5834133.0149999997</c:v>
                </c:pt>
                <c:pt idx="1966">
                  <c:v>5834133.0149999997</c:v>
                </c:pt>
                <c:pt idx="1967">
                  <c:v>5834133.0149999997</c:v>
                </c:pt>
                <c:pt idx="1968">
                  <c:v>5834133.0149999997</c:v>
                </c:pt>
                <c:pt idx="1969">
                  <c:v>5834133.0149999997</c:v>
                </c:pt>
                <c:pt idx="1970">
                  <c:v>5834133.0149999997</c:v>
                </c:pt>
                <c:pt idx="1971">
                  <c:v>5834133.0149999997</c:v>
                </c:pt>
                <c:pt idx="1972">
                  <c:v>5834133.0149999997</c:v>
                </c:pt>
                <c:pt idx="1973">
                  <c:v>5834133.0149999997</c:v>
                </c:pt>
                <c:pt idx="1974">
                  <c:v>5833575.7630000003</c:v>
                </c:pt>
                <c:pt idx="1975">
                  <c:v>5844679.7630000003</c:v>
                </c:pt>
                <c:pt idx="1976">
                  <c:v>5818375.7630000003</c:v>
                </c:pt>
                <c:pt idx="1977">
                  <c:v>5819223.7630000003</c:v>
                </c:pt>
                <c:pt idx="1978">
                  <c:v>5775015.7630000003</c:v>
                </c:pt>
                <c:pt idx="1979">
                  <c:v>5785559.7630000003</c:v>
                </c:pt>
                <c:pt idx="1980">
                  <c:v>5794567.7630000003</c:v>
                </c:pt>
                <c:pt idx="1981">
                  <c:v>5757223.7630000003</c:v>
                </c:pt>
                <c:pt idx="1982">
                  <c:v>5745639.7630000003</c:v>
                </c:pt>
                <c:pt idx="1983">
                  <c:v>5775431.7630000003</c:v>
                </c:pt>
                <c:pt idx="1984">
                  <c:v>5787399.7630000003</c:v>
                </c:pt>
                <c:pt idx="1985">
                  <c:v>5779031.7630000003</c:v>
                </c:pt>
                <c:pt idx="1986">
                  <c:v>5744167.7630000003</c:v>
                </c:pt>
                <c:pt idx="1987">
                  <c:v>5745687.7630000003</c:v>
                </c:pt>
                <c:pt idx="1988">
                  <c:v>5794023.7630000003</c:v>
                </c:pt>
                <c:pt idx="1989">
                  <c:v>5791767.7630000003</c:v>
                </c:pt>
                <c:pt idx="1990">
                  <c:v>5802887.7630000003</c:v>
                </c:pt>
                <c:pt idx="1991">
                  <c:v>5831479.7630000003</c:v>
                </c:pt>
                <c:pt idx="1992">
                  <c:v>5774359.7630000003</c:v>
                </c:pt>
                <c:pt idx="1993">
                  <c:v>5780439.7630000003</c:v>
                </c:pt>
                <c:pt idx="1994">
                  <c:v>5807223.7630000003</c:v>
                </c:pt>
                <c:pt idx="1995">
                  <c:v>5781143.7630000003</c:v>
                </c:pt>
                <c:pt idx="1996">
                  <c:v>5800231.7630000003</c:v>
                </c:pt>
                <c:pt idx="1997">
                  <c:v>5844423.7630000003</c:v>
                </c:pt>
                <c:pt idx="1998">
                  <c:v>5825927.7630000003</c:v>
                </c:pt>
                <c:pt idx="1999">
                  <c:v>5812759.7630000003</c:v>
                </c:pt>
                <c:pt idx="2000">
                  <c:v>5805367.7630000003</c:v>
                </c:pt>
                <c:pt idx="2001">
                  <c:v>5759879.7630000003</c:v>
                </c:pt>
                <c:pt idx="2002">
                  <c:v>5790743.7630000003</c:v>
                </c:pt>
                <c:pt idx="2003">
                  <c:v>5867287.7630000003</c:v>
                </c:pt>
                <c:pt idx="2004">
                  <c:v>5883543.7630000003</c:v>
                </c:pt>
                <c:pt idx="2005">
                  <c:v>5888999.7630000003</c:v>
                </c:pt>
                <c:pt idx="2006">
                  <c:v>5869287.7630000003</c:v>
                </c:pt>
                <c:pt idx="2007">
                  <c:v>5888791.7630000003</c:v>
                </c:pt>
                <c:pt idx="2008">
                  <c:v>5876167.7630000003</c:v>
                </c:pt>
                <c:pt idx="2009">
                  <c:v>5884375.7630000003</c:v>
                </c:pt>
                <c:pt idx="2010">
                  <c:v>5839463.7630000003</c:v>
                </c:pt>
                <c:pt idx="2011">
                  <c:v>5828967.7630000003</c:v>
                </c:pt>
                <c:pt idx="2012">
                  <c:v>5801447.7630000003</c:v>
                </c:pt>
                <c:pt idx="2013">
                  <c:v>5774471.7630000003</c:v>
                </c:pt>
                <c:pt idx="2014">
                  <c:v>5799543.7630000003</c:v>
                </c:pt>
                <c:pt idx="2015">
                  <c:v>5807927.7630000003</c:v>
                </c:pt>
                <c:pt idx="2016">
                  <c:v>5751079.7630000003</c:v>
                </c:pt>
                <c:pt idx="2017">
                  <c:v>5766615.7630000003</c:v>
                </c:pt>
                <c:pt idx="2018">
                  <c:v>5773351.7630000003</c:v>
                </c:pt>
                <c:pt idx="2019">
                  <c:v>5775815.7630000003</c:v>
                </c:pt>
                <c:pt idx="2020">
                  <c:v>5764663.7630000003</c:v>
                </c:pt>
                <c:pt idx="2021">
                  <c:v>5743591.7630000003</c:v>
                </c:pt>
                <c:pt idx="2022">
                  <c:v>5722071.7630000003</c:v>
                </c:pt>
                <c:pt idx="2023">
                  <c:v>5708087.7630000003</c:v>
                </c:pt>
                <c:pt idx="2024">
                  <c:v>5673143.7630000003</c:v>
                </c:pt>
                <c:pt idx="2025">
                  <c:v>5635159.7630000003</c:v>
                </c:pt>
                <c:pt idx="2026">
                  <c:v>5625111.7630000003</c:v>
                </c:pt>
                <c:pt idx="2027">
                  <c:v>5601383.7630000003</c:v>
                </c:pt>
                <c:pt idx="2028">
                  <c:v>5631703.7630000003</c:v>
                </c:pt>
                <c:pt idx="2029">
                  <c:v>5677671.7630000003</c:v>
                </c:pt>
                <c:pt idx="2030">
                  <c:v>5699767.7630000003</c:v>
                </c:pt>
                <c:pt idx="2031">
                  <c:v>5746903.7630000003</c:v>
                </c:pt>
                <c:pt idx="2032">
                  <c:v>5717015.7630000003</c:v>
                </c:pt>
                <c:pt idx="2033">
                  <c:v>5698039.7630000003</c:v>
                </c:pt>
                <c:pt idx="2034">
                  <c:v>5707223.7630000003</c:v>
                </c:pt>
                <c:pt idx="2035">
                  <c:v>5719047.7630000003</c:v>
                </c:pt>
                <c:pt idx="2036">
                  <c:v>5739767.7630000003</c:v>
                </c:pt>
                <c:pt idx="2037">
                  <c:v>5739735.7630000003</c:v>
                </c:pt>
                <c:pt idx="2038">
                  <c:v>5838119.7630000003</c:v>
                </c:pt>
                <c:pt idx="2039">
                  <c:v>5829751.7630000003</c:v>
                </c:pt>
                <c:pt idx="2040">
                  <c:v>5849671.7630000003</c:v>
                </c:pt>
                <c:pt idx="2041">
                  <c:v>5857447.7630000003</c:v>
                </c:pt>
                <c:pt idx="2042">
                  <c:v>5839479.7630000003</c:v>
                </c:pt>
                <c:pt idx="2043">
                  <c:v>5811063.7630000003</c:v>
                </c:pt>
                <c:pt idx="2044">
                  <c:v>5849671.7630000003</c:v>
                </c:pt>
                <c:pt idx="2045">
                  <c:v>5915255.7630000003</c:v>
                </c:pt>
                <c:pt idx="2046">
                  <c:v>5958631.7630000003</c:v>
                </c:pt>
                <c:pt idx="2047">
                  <c:v>5982935.7630000003</c:v>
                </c:pt>
                <c:pt idx="2048">
                  <c:v>5980087.7630000003</c:v>
                </c:pt>
                <c:pt idx="2049">
                  <c:v>5992695.7630000003</c:v>
                </c:pt>
                <c:pt idx="2050">
                  <c:v>5917543.7630000003</c:v>
                </c:pt>
                <c:pt idx="2051">
                  <c:v>5907127.7630000003</c:v>
                </c:pt>
                <c:pt idx="2052">
                  <c:v>5891079.7630000003</c:v>
                </c:pt>
                <c:pt idx="2053">
                  <c:v>5946935.7630000003</c:v>
                </c:pt>
                <c:pt idx="2054">
                  <c:v>5935447.7630000003</c:v>
                </c:pt>
                <c:pt idx="2055">
                  <c:v>6001799.7630000003</c:v>
                </c:pt>
                <c:pt idx="2056">
                  <c:v>6005607.7630000003</c:v>
                </c:pt>
                <c:pt idx="2057">
                  <c:v>6057671.7630000003</c:v>
                </c:pt>
                <c:pt idx="2058">
                  <c:v>6130007.7630000003</c:v>
                </c:pt>
                <c:pt idx="2059">
                  <c:v>6140615.7630000003</c:v>
                </c:pt>
                <c:pt idx="2060">
                  <c:v>6094935.7630000003</c:v>
                </c:pt>
                <c:pt idx="2061">
                  <c:v>6131191.7630000003</c:v>
                </c:pt>
                <c:pt idx="2062">
                  <c:v>6127943.7630000003</c:v>
                </c:pt>
                <c:pt idx="2063">
                  <c:v>6102423.7630000003</c:v>
                </c:pt>
                <c:pt idx="2064">
                  <c:v>6053031.7630000003</c:v>
                </c:pt>
                <c:pt idx="2065">
                  <c:v>6116551.7630000003</c:v>
                </c:pt>
                <c:pt idx="2066">
                  <c:v>6117223.7630000003</c:v>
                </c:pt>
                <c:pt idx="2067">
                  <c:v>6110551.7630000003</c:v>
                </c:pt>
                <c:pt idx="2068">
                  <c:v>6106967.7630000003</c:v>
                </c:pt>
                <c:pt idx="2069">
                  <c:v>6134359.7630000003</c:v>
                </c:pt>
                <c:pt idx="2070">
                  <c:v>6115175.7630000003</c:v>
                </c:pt>
                <c:pt idx="2071">
                  <c:v>6160135.7630000003</c:v>
                </c:pt>
                <c:pt idx="2072">
                  <c:v>6186007.7630000003</c:v>
                </c:pt>
                <c:pt idx="2073">
                  <c:v>6122759.7630000003</c:v>
                </c:pt>
                <c:pt idx="2074">
                  <c:v>6128551.7630000003</c:v>
                </c:pt>
                <c:pt idx="2075">
                  <c:v>6228663.7630000003</c:v>
                </c:pt>
                <c:pt idx="2076">
                  <c:v>6257671.7630000003</c:v>
                </c:pt>
                <c:pt idx="2077">
                  <c:v>6226823.7630000003</c:v>
                </c:pt>
                <c:pt idx="2078">
                  <c:v>6250615.7630000003</c:v>
                </c:pt>
                <c:pt idx="2079">
                  <c:v>6212359.7630000003</c:v>
                </c:pt>
                <c:pt idx="2080">
                  <c:v>6189687.7630000003</c:v>
                </c:pt>
                <c:pt idx="2081">
                  <c:v>6200567.7630000003</c:v>
                </c:pt>
                <c:pt idx="2082">
                  <c:v>6216087.7630000003</c:v>
                </c:pt>
                <c:pt idx="2083">
                  <c:v>6241655.7630000003</c:v>
                </c:pt>
                <c:pt idx="2084">
                  <c:v>6293671.7630000003</c:v>
                </c:pt>
                <c:pt idx="2085">
                  <c:v>6278423.7630000003</c:v>
                </c:pt>
                <c:pt idx="2086">
                  <c:v>6225591.7630000003</c:v>
                </c:pt>
                <c:pt idx="2087">
                  <c:v>6193191.7630000003</c:v>
                </c:pt>
                <c:pt idx="2088">
                  <c:v>6223927.7630000003</c:v>
                </c:pt>
                <c:pt idx="2089">
                  <c:v>6232599.7630000003</c:v>
                </c:pt>
                <c:pt idx="2090">
                  <c:v>6230130.7970000003</c:v>
                </c:pt>
                <c:pt idx="2091">
                  <c:v>6230130.7970000003</c:v>
                </c:pt>
                <c:pt idx="2092">
                  <c:v>6230130.7970000003</c:v>
                </c:pt>
                <c:pt idx="2093">
                  <c:v>6230130.7970000003</c:v>
                </c:pt>
                <c:pt idx="2094">
                  <c:v>6230130.7970000003</c:v>
                </c:pt>
                <c:pt idx="2095">
                  <c:v>6230130.7970000003</c:v>
                </c:pt>
                <c:pt idx="2096">
                  <c:v>6230130.7970000003</c:v>
                </c:pt>
                <c:pt idx="2097">
                  <c:v>6230130.7970000003</c:v>
                </c:pt>
                <c:pt idx="2098">
                  <c:v>6230130.7970000003</c:v>
                </c:pt>
                <c:pt idx="2099">
                  <c:v>6230130.7970000003</c:v>
                </c:pt>
                <c:pt idx="2100">
                  <c:v>6230130.7970000003</c:v>
                </c:pt>
                <c:pt idx="2101">
                  <c:v>6230130.7970000003</c:v>
                </c:pt>
                <c:pt idx="2102">
                  <c:v>6230130.7970000003</c:v>
                </c:pt>
                <c:pt idx="2103">
                  <c:v>6230130.7970000003</c:v>
                </c:pt>
                <c:pt idx="2104">
                  <c:v>6230130.7970000003</c:v>
                </c:pt>
                <c:pt idx="2105">
                  <c:v>6230130.7970000003</c:v>
                </c:pt>
                <c:pt idx="2106">
                  <c:v>6230130.7970000003</c:v>
                </c:pt>
                <c:pt idx="2107">
                  <c:v>6230130.7970000003</c:v>
                </c:pt>
                <c:pt idx="2108">
                  <c:v>6230130.7970000003</c:v>
                </c:pt>
                <c:pt idx="2109">
                  <c:v>6230130.7970000003</c:v>
                </c:pt>
                <c:pt idx="2110">
                  <c:v>6230130.7970000003</c:v>
                </c:pt>
                <c:pt idx="2111">
                  <c:v>6230130.7970000003</c:v>
                </c:pt>
                <c:pt idx="2112">
                  <c:v>6229518.6390000004</c:v>
                </c:pt>
                <c:pt idx="2113">
                  <c:v>6228974.6390000004</c:v>
                </c:pt>
                <c:pt idx="2114">
                  <c:v>6248622.6390000004</c:v>
                </c:pt>
                <c:pt idx="2115">
                  <c:v>6256110.6390000004</c:v>
                </c:pt>
                <c:pt idx="2116">
                  <c:v>6235870.6390000004</c:v>
                </c:pt>
                <c:pt idx="2117">
                  <c:v>6238014.6390000004</c:v>
                </c:pt>
                <c:pt idx="2118">
                  <c:v>6256958.6390000004</c:v>
                </c:pt>
                <c:pt idx="2119">
                  <c:v>6239326.6390000004</c:v>
                </c:pt>
                <c:pt idx="2120">
                  <c:v>6255223.8480000002</c:v>
                </c:pt>
                <c:pt idx="2121">
                  <c:v>6255223.8480000002</c:v>
                </c:pt>
                <c:pt idx="2122">
                  <c:v>6255223.8480000002</c:v>
                </c:pt>
                <c:pt idx="2123">
                  <c:v>6255223.8480000002</c:v>
                </c:pt>
                <c:pt idx="2124">
                  <c:v>6255223.8480000002</c:v>
                </c:pt>
                <c:pt idx="2125">
                  <c:v>6255223.8480000002</c:v>
                </c:pt>
                <c:pt idx="2126">
                  <c:v>6255223.8480000002</c:v>
                </c:pt>
                <c:pt idx="2127">
                  <c:v>6254610.0080000004</c:v>
                </c:pt>
                <c:pt idx="2128">
                  <c:v>6327746.0080000004</c:v>
                </c:pt>
                <c:pt idx="2129">
                  <c:v>6339986.0080000004</c:v>
                </c:pt>
                <c:pt idx="2130">
                  <c:v>6360514.0080000004</c:v>
                </c:pt>
                <c:pt idx="2131">
                  <c:v>6376930.0080000004</c:v>
                </c:pt>
                <c:pt idx="2132">
                  <c:v>6389810.0080000004</c:v>
                </c:pt>
                <c:pt idx="2133">
                  <c:v>6377730.0080000004</c:v>
                </c:pt>
                <c:pt idx="2134">
                  <c:v>6377122.0080000004</c:v>
                </c:pt>
                <c:pt idx="2135">
                  <c:v>6426866.0080000004</c:v>
                </c:pt>
                <c:pt idx="2136">
                  <c:v>6406210.0080000004</c:v>
                </c:pt>
                <c:pt idx="2137">
                  <c:v>6399170.0080000004</c:v>
                </c:pt>
                <c:pt idx="2138">
                  <c:v>6405490.0080000004</c:v>
                </c:pt>
                <c:pt idx="2139">
                  <c:v>6451250.0080000004</c:v>
                </c:pt>
                <c:pt idx="2140">
                  <c:v>6479330.0080000004</c:v>
                </c:pt>
                <c:pt idx="2141">
                  <c:v>6505938.0080000004</c:v>
                </c:pt>
                <c:pt idx="2142">
                  <c:v>6551362.0080000004</c:v>
                </c:pt>
                <c:pt idx="2143">
                  <c:v>6531762.0080000004</c:v>
                </c:pt>
                <c:pt idx="2144">
                  <c:v>6526962.0080000004</c:v>
                </c:pt>
                <c:pt idx="2145">
                  <c:v>6510802.0080000004</c:v>
                </c:pt>
                <c:pt idx="2146">
                  <c:v>6511618.0080000004</c:v>
                </c:pt>
                <c:pt idx="2147">
                  <c:v>6504530.0080000004</c:v>
                </c:pt>
                <c:pt idx="2148">
                  <c:v>6549634.0080000004</c:v>
                </c:pt>
                <c:pt idx="2149">
                  <c:v>6603010.0080000004</c:v>
                </c:pt>
                <c:pt idx="2150">
                  <c:v>6593026.0080000004</c:v>
                </c:pt>
                <c:pt idx="2151">
                  <c:v>6637650.0080000004</c:v>
                </c:pt>
                <c:pt idx="2152">
                  <c:v>6695266.0080000004</c:v>
                </c:pt>
                <c:pt idx="2153">
                  <c:v>6721122.0080000004</c:v>
                </c:pt>
                <c:pt idx="2154">
                  <c:v>6675170.0080000004</c:v>
                </c:pt>
                <c:pt idx="2155">
                  <c:v>6634082.0080000004</c:v>
                </c:pt>
                <c:pt idx="2156">
                  <c:v>6684226.0080000004</c:v>
                </c:pt>
                <c:pt idx="2157">
                  <c:v>6709570.0080000004</c:v>
                </c:pt>
                <c:pt idx="2158">
                  <c:v>6746338.0080000004</c:v>
                </c:pt>
                <c:pt idx="2159">
                  <c:v>6864530.0080000004</c:v>
                </c:pt>
                <c:pt idx="2160">
                  <c:v>6880322.0080000004</c:v>
                </c:pt>
                <c:pt idx="2161">
                  <c:v>6680050.0080000004</c:v>
                </c:pt>
                <c:pt idx="2162">
                  <c:v>6682930.0080000004</c:v>
                </c:pt>
                <c:pt idx="2163">
                  <c:v>6596130.0080000004</c:v>
                </c:pt>
                <c:pt idx="2164">
                  <c:v>6605522.0080000004</c:v>
                </c:pt>
                <c:pt idx="2165">
                  <c:v>6602210.0080000004</c:v>
                </c:pt>
                <c:pt idx="2166">
                  <c:v>6525970.0080000004</c:v>
                </c:pt>
                <c:pt idx="2167">
                  <c:v>6513234.0080000004</c:v>
                </c:pt>
                <c:pt idx="2168">
                  <c:v>6546386.0080000004</c:v>
                </c:pt>
                <c:pt idx="2169">
                  <c:v>6580482.0080000004</c:v>
                </c:pt>
                <c:pt idx="2170">
                  <c:v>6541522.0080000004</c:v>
                </c:pt>
                <c:pt idx="2171">
                  <c:v>6469906.0080000004</c:v>
                </c:pt>
                <c:pt idx="2172">
                  <c:v>6521618.0080000004</c:v>
                </c:pt>
                <c:pt idx="2173">
                  <c:v>6627410.0080000004</c:v>
                </c:pt>
                <c:pt idx="2174">
                  <c:v>6541842.0080000004</c:v>
                </c:pt>
                <c:pt idx="2175">
                  <c:v>6596354.0080000004</c:v>
                </c:pt>
                <c:pt idx="2176">
                  <c:v>6558050.0080000004</c:v>
                </c:pt>
                <c:pt idx="2177">
                  <c:v>6485586.0080000004</c:v>
                </c:pt>
                <c:pt idx="2178">
                  <c:v>6492674.0080000004</c:v>
                </c:pt>
                <c:pt idx="2179">
                  <c:v>6572738.0080000004</c:v>
                </c:pt>
                <c:pt idx="2180">
                  <c:v>6564994.0080000004</c:v>
                </c:pt>
                <c:pt idx="2181">
                  <c:v>6624770.0080000004</c:v>
                </c:pt>
                <c:pt idx="2182">
                  <c:v>6603570.0080000004</c:v>
                </c:pt>
                <c:pt idx="2183">
                  <c:v>6582674.0080000004</c:v>
                </c:pt>
                <c:pt idx="2184">
                  <c:v>6602002.0080000004</c:v>
                </c:pt>
                <c:pt idx="2185">
                  <c:v>6502146.0080000004</c:v>
                </c:pt>
                <c:pt idx="2186">
                  <c:v>6546450.0080000004</c:v>
                </c:pt>
                <c:pt idx="2187">
                  <c:v>6565570.0080000004</c:v>
                </c:pt>
                <c:pt idx="2188">
                  <c:v>6656050.0080000004</c:v>
                </c:pt>
                <c:pt idx="2189">
                  <c:v>6694434.0080000004</c:v>
                </c:pt>
                <c:pt idx="2190">
                  <c:v>6722306.0080000004</c:v>
                </c:pt>
                <c:pt idx="2191">
                  <c:v>6738210.0080000004</c:v>
                </c:pt>
                <c:pt idx="2192">
                  <c:v>6772466.0080000004</c:v>
                </c:pt>
                <c:pt idx="2193">
                  <c:v>6819090.0080000004</c:v>
                </c:pt>
                <c:pt idx="2194">
                  <c:v>6848706.0080000004</c:v>
                </c:pt>
                <c:pt idx="2195">
                  <c:v>6845154.0080000004</c:v>
                </c:pt>
                <c:pt idx="2196">
                  <c:v>6876210.0080000004</c:v>
                </c:pt>
                <c:pt idx="2197">
                  <c:v>6876594.0080000004</c:v>
                </c:pt>
                <c:pt idx="2198">
                  <c:v>6929762.0080000004</c:v>
                </c:pt>
                <c:pt idx="2199">
                  <c:v>6913202.0080000004</c:v>
                </c:pt>
                <c:pt idx="2200">
                  <c:v>6950482.0080000004</c:v>
                </c:pt>
                <c:pt idx="2201">
                  <c:v>6972850.0080000004</c:v>
                </c:pt>
                <c:pt idx="2202">
                  <c:v>7054770.0080000004</c:v>
                </c:pt>
                <c:pt idx="2203">
                  <c:v>7128386.0080000004</c:v>
                </c:pt>
                <c:pt idx="2204">
                  <c:v>7140034.0080000004</c:v>
                </c:pt>
                <c:pt idx="2205">
                  <c:v>7100338.0080000004</c:v>
                </c:pt>
                <c:pt idx="2206">
                  <c:v>7126290.0080000004</c:v>
                </c:pt>
                <c:pt idx="2207">
                  <c:v>6999442.0080000004</c:v>
                </c:pt>
                <c:pt idx="2208">
                  <c:v>6925970.0080000004</c:v>
                </c:pt>
                <c:pt idx="2209">
                  <c:v>6957650.0080000004</c:v>
                </c:pt>
                <c:pt idx="2210">
                  <c:v>6909650.0080000004</c:v>
                </c:pt>
                <c:pt idx="2211">
                  <c:v>6950178.0080000004</c:v>
                </c:pt>
                <c:pt idx="2212">
                  <c:v>6954850.0080000004</c:v>
                </c:pt>
                <c:pt idx="2213">
                  <c:v>6754434.0080000004</c:v>
                </c:pt>
                <c:pt idx="2214">
                  <c:v>6597010.0080000004</c:v>
                </c:pt>
                <c:pt idx="2215">
                  <c:v>6535490.0080000004</c:v>
                </c:pt>
                <c:pt idx="2216">
                  <c:v>6261250.0080000004</c:v>
                </c:pt>
                <c:pt idx="2217">
                  <c:v>6340370.0080000004</c:v>
                </c:pt>
                <c:pt idx="2218">
                  <c:v>6413218.0080000004</c:v>
                </c:pt>
                <c:pt idx="2219">
                  <c:v>6463346.0080000004</c:v>
                </c:pt>
                <c:pt idx="2220">
                  <c:v>6600578.0080000004</c:v>
                </c:pt>
                <c:pt idx="2221">
                  <c:v>6629954.0080000004</c:v>
                </c:pt>
                <c:pt idx="2222">
                  <c:v>6705682.0080000004</c:v>
                </c:pt>
                <c:pt idx="2223">
                  <c:v>6610578.0080000004</c:v>
                </c:pt>
                <c:pt idx="2224">
                  <c:v>6554034.0080000004</c:v>
                </c:pt>
                <c:pt idx="2225">
                  <c:v>6594754.0080000004</c:v>
                </c:pt>
                <c:pt idx="2226">
                  <c:v>6542546.0080000004</c:v>
                </c:pt>
                <c:pt idx="2227">
                  <c:v>6545170.0080000004</c:v>
                </c:pt>
                <c:pt idx="2228">
                  <c:v>6622706.0080000004</c:v>
                </c:pt>
                <c:pt idx="2229">
                  <c:v>6574850.0080000004</c:v>
                </c:pt>
                <c:pt idx="2230">
                  <c:v>6640370.0080000004</c:v>
                </c:pt>
                <c:pt idx="2231">
                  <c:v>6690402.0080000004</c:v>
                </c:pt>
                <c:pt idx="2232">
                  <c:v>6720482.0080000004</c:v>
                </c:pt>
                <c:pt idx="2233">
                  <c:v>6662210.0080000004</c:v>
                </c:pt>
                <c:pt idx="2234">
                  <c:v>6633554.0080000004</c:v>
                </c:pt>
                <c:pt idx="2235">
                  <c:v>6670066.0080000004</c:v>
                </c:pt>
                <c:pt idx="2236">
                  <c:v>6606482.0080000004</c:v>
                </c:pt>
                <c:pt idx="2237">
                  <c:v>6635010.0080000004</c:v>
                </c:pt>
                <c:pt idx="2238">
                  <c:v>6640530.0080000004</c:v>
                </c:pt>
                <c:pt idx="2239">
                  <c:v>6613890.0080000004</c:v>
                </c:pt>
                <c:pt idx="2240">
                  <c:v>6548770.0080000004</c:v>
                </c:pt>
                <c:pt idx="2241">
                  <c:v>6364114.0080000004</c:v>
                </c:pt>
                <c:pt idx="2242">
                  <c:v>6324034.0080000004</c:v>
                </c:pt>
                <c:pt idx="2243">
                  <c:v>6377442.0080000004</c:v>
                </c:pt>
                <c:pt idx="2244">
                  <c:v>6264562.0080000004</c:v>
                </c:pt>
                <c:pt idx="2245">
                  <c:v>6346690.0080000004</c:v>
                </c:pt>
                <c:pt idx="2246">
                  <c:v>6353810.0080000004</c:v>
                </c:pt>
                <c:pt idx="2247">
                  <c:v>6335282.0080000004</c:v>
                </c:pt>
                <c:pt idx="2248">
                  <c:v>6296178.0080000004</c:v>
                </c:pt>
                <c:pt idx="2249">
                  <c:v>6283986.0080000004</c:v>
                </c:pt>
                <c:pt idx="2250">
                  <c:v>6280898.0080000004</c:v>
                </c:pt>
                <c:pt idx="2251">
                  <c:v>6399682.0080000004</c:v>
                </c:pt>
                <c:pt idx="2252">
                  <c:v>6417554.0080000004</c:v>
                </c:pt>
                <c:pt idx="2253">
                  <c:v>6354034.0080000004</c:v>
                </c:pt>
                <c:pt idx="2254">
                  <c:v>6310034.0080000004</c:v>
                </c:pt>
                <c:pt idx="2255">
                  <c:v>6210386.0080000004</c:v>
                </c:pt>
                <c:pt idx="2256">
                  <c:v>6114034.0080000004</c:v>
                </c:pt>
                <c:pt idx="2257">
                  <c:v>6142258.0080000004</c:v>
                </c:pt>
                <c:pt idx="2258">
                  <c:v>6215154.0080000004</c:v>
                </c:pt>
                <c:pt idx="2259">
                  <c:v>6133570.0080000004</c:v>
                </c:pt>
                <c:pt idx="2260">
                  <c:v>6142338.0080000004</c:v>
                </c:pt>
                <c:pt idx="2261">
                  <c:v>6265794.0080000004</c:v>
                </c:pt>
                <c:pt idx="2262">
                  <c:v>6242130.0080000004</c:v>
                </c:pt>
                <c:pt idx="2263">
                  <c:v>6124994.0080000004</c:v>
                </c:pt>
                <c:pt idx="2264">
                  <c:v>6127218.0080000004</c:v>
                </c:pt>
                <c:pt idx="2265">
                  <c:v>6138050.0080000004</c:v>
                </c:pt>
                <c:pt idx="2266">
                  <c:v>6185010.0080000004</c:v>
                </c:pt>
                <c:pt idx="2267">
                  <c:v>6155570.0080000004</c:v>
                </c:pt>
                <c:pt idx="2268">
                  <c:v>6250914.0080000004</c:v>
                </c:pt>
                <c:pt idx="2269">
                  <c:v>6322098.0080000004</c:v>
                </c:pt>
                <c:pt idx="2270">
                  <c:v>6310802.0080000004</c:v>
                </c:pt>
                <c:pt idx="2271">
                  <c:v>6345106.0080000004</c:v>
                </c:pt>
                <c:pt idx="2272">
                  <c:v>6312754.0080000004</c:v>
                </c:pt>
                <c:pt idx="2273">
                  <c:v>6371074.0080000004</c:v>
                </c:pt>
                <c:pt idx="2274">
                  <c:v>6394770.0080000004</c:v>
                </c:pt>
                <c:pt idx="2275">
                  <c:v>6344754.0080000004</c:v>
                </c:pt>
                <c:pt idx="2276">
                  <c:v>6298690.0080000004</c:v>
                </c:pt>
                <c:pt idx="2277">
                  <c:v>6361106.0080000004</c:v>
                </c:pt>
                <c:pt idx="2278">
                  <c:v>6390194.0080000004</c:v>
                </c:pt>
                <c:pt idx="2279">
                  <c:v>6366146.0080000004</c:v>
                </c:pt>
                <c:pt idx="2280">
                  <c:v>6283538.0080000004</c:v>
                </c:pt>
                <c:pt idx="2281">
                  <c:v>6239762.0080000004</c:v>
                </c:pt>
                <c:pt idx="2282">
                  <c:v>6222610.0080000004</c:v>
                </c:pt>
                <c:pt idx="2283">
                  <c:v>6249426.0080000004</c:v>
                </c:pt>
                <c:pt idx="2284">
                  <c:v>6202626.0080000004</c:v>
                </c:pt>
                <c:pt idx="2285">
                  <c:v>6073602.0080000004</c:v>
                </c:pt>
                <c:pt idx="2286">
                  <c:v>6200018.0080000004</c:v>
                </c:pt>
                <c:pt idx="2287">
                  <c:v>6149154.0080000004</c:v>
                </c:pt>
                <c:pt idx="2288">
                  <c:v>6208338.0080000004</c:v>
                </c:pt>
                <c:pt idx="2289">
                  <c:v>6268722.0080000004</c:v>
                </c:pt>
                <c:pt idx="2290">
                  <c:v>6255970.0080000004</c:v>
                </c:pt>
                <c:pt idx="2291">
                  <c:v>6245826.0080000004</c:v>
                </c:pt>
                <c:pt idx="2292">
                  <c:v>6163602.0080000004</c:v>
                </c:pt>
                <c:pt idx="2293">
                  <c:v>6164178.0080000004</c:v>
                </c:pt>
                <c:pt idx="2294">
                  <c:v>6237730.0080000004</c:v>
                </c:pt>
                <c:pt idx="2295">
                  <c:v>6177554.0080000004</c:v>
                </c:pt>
                <c:pt idx="2296">
                  <c:v>6153602.0080000004</c:v>
                </c:pt>
                <c:pt idx="2297">
                  <c:v>6121698.0080000004</c:v>
                </c:pt>
                <c:pt idx="2298">
                  <c:v>5910002.0080000004</c:v>
                </c:pt>
                <c:pt idx="2299">
                  <c:v>5932332.3380000005</c:v>
                </c:pt>
                <c:pt idx="2300">
                  <c:v>5932332.3380000005</c:v>
                </c:pt>
                <c:pt idx="2301">
                  <c:v>5932332.3380000005</c:v>
                </c:pt>
                <c:pt idx="2302">
                  <c:v>5932332.3380000005</c:v>
                </c:pt>
                <c:pt idx="2303">
                  <c:v>5932332.3380000005</c:v>
                </c:pt>
                <c:pt idx="2304">
                  <c:v>5932332.3380000005</c:v>
                </c:pt>
                <c:pt idx="2305">
                  <c:v>5932332.3380000005</c:v>
                </c:pt>
                <c:pt idx="2306">
                  <c:v>5932332.3380000005</c:v>
                </c:pt>
                <c:pt idx="2307">
                  <c:v>5932332.3380000005</c:v>
                </c:pt>
                <c:pt idx="2308">
                  <c:v>5932332.3380000005</c:v>
                </c:pt>
                <c:pt idx="2309">
                  <c:v>5932332.3380000005</c:v>
                </c:pt>
                <c:pt idx="2310">
                  <c:v>5932332.3380000005</c:v>
                </c:pt>
                <c:pt idx="2311">
                  <c:v>5932332.3380000005</c:v>
                </c:pt>
                <c:pt idx="2312">
                  <c:v>5932332.3380000005</c:v>
                </c:pt>
                <c:pt idx="2313">
                  <c:v>5932332.3380000005</c:v>
                </c:pt>
                <c:pt idx="2314">
                  <c:v>5932332.3380000005</c:v>
                </c:pt>
                <c:pt idx="2315">
                  <c:v>5932332.3380000005</c:v>
                </c:pt>
                <c:pt idx="2316">
                  <c:v>5932332.3380000005</c:v>
                </c:pt>
                <c:pt idx="2317">
                  <c:v>5932332.3380000005</c:v>
                </c:pt>
                <c:pt idx="2318">
                  <c:v>5932332.3380000005</c:v>
                </c:pt>
                <c:pt idx="2319">
                  <c:v>5932332.3380000005</c:v>
                </c:pt>
                <c:pt idx="2320">
                  <c:v>5932332.3380000005</c:v>
                </c:pt>
                <c:pt idx="2321">
                  <c:v>5932332.3380000005</c:v>
                </c:pt>
                <c:pt idx="2322">
                  <c:v>5932332.3380000005</c:v>
                </c:pt>
                <c:pt idx="2323">
                  <c:v>5932332.3380000005</c:v>
                </c:pt>
                <c:pt idx="2324">
                  <c:v>5932332.3380000005</c:v>
                </c:pt>
                <c:pt idx="2325">
                  <c:v>5932332.3380000005</c:v>
                </c:pt>
                <c:pt idx="2326">
                  <c:v>5932332.3380000005</c:v>
                </c:pt>
                <c:pt idx="2327">
                  <c:v>5932332.3380000005</c:v>
                </c:pt>
                <c:pt idx="2328">
                  <c:v>5932332.3380000005</c:v>
                </c:pt>
                <c:pt idx="2329">
                  <c:v>5932332.3380000005</c:v>
                </c:pt>
                <c:pt idx="2330">
                  <c:v>5932332.3380000005</c:v>
                </c:pt>
                <c:pt idx="2331">
                  <c:v>5932332.3380000005</c:v>
                </c:pt>
                <c:pt idx="2332">
                  <c:v>5932332.3380000005</c:v>
                </c:pt>
                <c:pt idx="2333">
                  <c:v>5932332.3380000005</c:v>
                </c:pt>
                <c:pt idx="2334">
                  <c:v>5932332.3380000005</c:v>
                </c:pt>
                <c:pt idx="2335">
                  <c:v>5932332.3380000005</c:v>
                </c:pt>
                <c:pt idx="2336">
                  <c:v>5932332.3380000005</c:v>
                </c:pt>
                <c:pt idx="2337">
                  <c:v>5932332.3380000005</c:v>
                </c:pt>
                <c:pt idx="2338">
                  <c:v>5932332.3380000005</c:v>
                </c:pt>
                <c:pt idx="2339">
                  <c:v>5932332.3380000005</c:v>
                </c:pt>
                <c:pt idx="2340">
                  <c:v>5932332.3380000005</c:v>
                </c:pt>
                <c:pt idx="2341">
                  <c:v>5932332.3380000005</c:v>
                </c:pt>
                <c:pt idx="2342">
                  <c:v>5932332.3380000005</c:v>
                </c:pt>
                <c:pt idx="2343">
                  <c:v>5932332.3380000005</c:v>
                </c:pt>
                <c:pt idx="2344">
                  <c:v>5932332.3380000005</c:v>
                </c:pt>
                <c:pt idx="2345">
                  <c:v>5932332.3380000005</c:v>
                </c:pt>
                <c:pt idx="2346">
                  <c:v>5932332.3380000005</c:v>
                </c:pt>
                <c:pt idx="2347">
                  <c:v>5932332.3380000005</c:v>
                </c:pt>
                <c:pt idx="2348">
                  <c:v>5932332.3380000005</c:v>
                </c:pt>
                <c:pt idx="2349">
                  <c:v>5932332.3380000005</c:v>
                </c:pt>
                <c:pt idx="2350">
                  <c:v>5932332.3380000005</c:v>
                </c:pt>
                <c:pt idx="2351">
                  <c:v>5932332.3380000005</c:v>
                </c:pt>
                <c:pt idx="2352">
                  <c:v>5932332.3380000005</c:v>
                </c:pt>
                <c:pt idx="2353">
                  <c:v>5932332.3380000005</c:v>
                </c:pt>
                <c:pt idx="2354">
                  <c:v>5932332.3380000005</c:v>
                </c:pt>
                <c:pt idx="2355">
                  <c:v>5932332.3380000005</c:v>
                </c:pt>
                <c:pt idx="2356">
                  <c:v>5932332.3380000005</c:v>
                </c:pt>
                <c:pt idx="2357">
                  <c:v>5932332.3380000005</c:v>
                </c:pt>
                <c:pt idx="2358">
                  <c:v>5932332.3380000005</c:v>
                </c:pt>
                <c:pt idx="2359">
                  <c:v>5932332.3380000005</c:v>
                </c:pt>
                <c:pt idx="2360">
                  <c:v>5932332.3380000005</c:v>
                </c:pt>
                <c:pt idx="2361">
                  <c:v>5932332.3380000005</c:v>
                </c:pt>
                <c:pt idx="2362">
                  <c:v>5932332.3380000005</c:v>
                </c:pt>
                <c:pt idx="2363">
                  <c:v>5931743.8399999999</c:v>
                </c:pt>
                <c:pt idx="2364">
                  <c:v>6009233.8399999999</c:v>
                </c:pt>
                <c:pt idx="2365">
                  <c:v>6005003.8399999999</c:v>
                </c:pt>
                <c:pt idx="2366">
                  <c:v>6185651.8399999999</c:v>
                </c:pt>
                <c:pt idx="2367">
                  <c:v>6130409.8399999999</c:v>
                </c:pt>
                <c:pt idx="2368">
                  <c:v>6197801.8399999999</c:v>
                </c:pt>
                <c:pt idx="2369">
                  <c:v>6173231.8399999999</c:v>
                </c:pt>
                <c:pt idx="2370">
                  <c:v>6236717.8399999999</c:v>
                </c:pt>
                <c:pt idx="2371">
                  <c:v>5970389.8399999999</c:v>
                </c:pt>
                <c:pt idx="2372">
                  <c:v>5966411.8399999999</c:v>
                </c:pt>
                <c:pt idx="2373">
                  <c:v>5953649.8399999999</c:v>
                </c:pt>
                <c:pt idx="2374">
                  <c:v>5670167.8399999999</c:v>
                </c:pt>
                <c:pt idx="2375">
                  <c:v>5754083.8399999999</c:v>
                </c:pt>
                <c:pt idx="2376">
                  <c:v>5674379.8399999999</c:v>
                </c:pt>
                <c:pt idx="2377">
                  <c:v>5628515.8399999999</c:v>
                </c:pt>
                <c:pt idx="2378">
                  <c:v>5659619.8399999999</c:v>
                </c:pt>
                <c:pt idx="2379">
                  <c:v>5526671.8399999999</c:v>
                </c:pt>
                <c:pt idx="2380">
                  <c:v>5689679.8399999999</c:v>
                </c:pt>
                <c:pt idx="2381">
                  <c:v>5933255.8399999999</c:v>
                </c:pt>
                <c:pt idx="2382">
                  <c:v>5776943.8399999999</c:v>
                </c:pt>
                <c:pt idx="2383">
                  <c:v>5785529.8399999999</c:v>
                </c:pt>
                <c:pt idx="2384">
                  <c:v>5796527.8399999999</c:v>
                </c:pt>
                <c:pt idx="2385">
                  <c:v>5759321.8399999999</c:v>
                </c:pt>
                <c:pt idx="2386">
                  <c:v>5585171.8399999999</c:v>
                </c:pt>
                <c:pt idx="2387">
                  <c:v>5645237.8399999999</c:v>
                </c:pt>
                <c:pt idx="2388">
                  <c:v>5723645.8399999999</c:v>
                </c:pt>
                <c:pt idx="2389">
                  <c:v>5765423.8399999999</c:v>
                </c:pt>
                <c:pt idx="2390">
                  <c:v>5969219.8399999999</c:v>
                </c:pt>
                <c:pt idx="2391">
                  <c:v>5919881.8399999999</c:v>
                </c:pt>
                <c:pt idx="2392">
                  <c:v>5884439.8399999999</c:v>
                </c:pt>
                <c:pt idx="2393">
                  <c:v>5846207.8399999999</c:v>
                </c:pt>
                <c:pt idx="2394">
                  <c:v>5829755.8399999999</c:v>
                </c:pt>
                <c:pt idx="2395">
                  <c:v>5748161.8399999999</c:v>
                </c:pt>
                <c:pt idx="2396">
                  <c:v>5816021.8399999999</c:v>
                </c:pt>
                <c:pt idx="2397">
                  <c:v>5874053.8399999999</c:v>
                </c:pt>
                <c:pt idx="2398">
                  <c:v>5815661.8399999999</c:v>
                </c:pt>
                <c:pt idx="2399">
                  <c:v>5883035.8399999999</c:v>
                </c:pt>
                <c:pt idx="2400">
                  <c:v>5910575.8399999999</c:v>
                </c:pt>
                <c:pt idx="2401">
                  <c:v>5977049.8399999999</c:v>
                </c:pt>
                <c:pt idx="2402">
                  <c:v>5839907.8399999999</c:v>
                </c:pt>
                <c:pt idx="2403">
                  <c:v>5854451.8399999999</c:v>
                </c:pt>
                <c:pt idx="2404">
                  <c:v>5832743.8399999999</c:v>
                </c:pt>
                <c:pt idx="2405">
                  <c:v>5705033.8399999999</c:v>
                </c:pt>
                <c:pt idx="2406">
                  <c:v>5701001.8399999999</c:v>
                </c:pt>
                <c:pt idx="2407">
                  <c:v>5693801.8399999999</c:v>
                </c:pt>
                <c:pt idx="2408">
                  <c:v>5768843.8399999999</c:v>
                </c:pt>
                <c:pt idx="2409">
                  <c:v>5694539.8399999999</c:v>
                </c:pt>
                <c:pt idx="2410">
                  <c:v>5757611.8399999999</c:v>
                </c:pt>
                <c:pt idx="2411">
                  <c:v>5916479.8399999999</c:v>
                </c:pt>
                <c:pt idx="2412">
                  <c:v>5928647.8399999999</c:v>
                </c:pt>
                <c:pt idx="2413">
                  <c:v>5900369.8399999999</c:v>
                </c:pt>
                <c:pt idx="2414">
                  <c:v>5773775.8399999999</c:v>
                </c:pt>
                <c:pt idx="2415">
                  <c:v>5773577.8399999999</c:v>
                </c:pt>
                <c:pt idx="2416">
                  <c:v>5707337.8399999999</c:v>
                </c:pt>
                <c:pt idx="2417">
                  <c:v>5734445.8399999999</c:v>
                </c:pt>
                <c:pt idx="2418">
                  <c:v>5753867.8399999999</c:v>
                </c:pt>
                <c:pt idx="2419">
                  <c:v>5842211.8399999999</c:v>
                </c:pt>
                <c:pt idx="2420">
                  <c:v>5745407.8399999999</c:v>
                </c:pt>
                <c:pt idx="2421">
                  <c:v>5736929.8399999999</c:v>
                </c:pt>
                <c:pt idx="2422">
                  <c:v>5677943.8399999999</c:v>
                </c:pt>
                <c:pt idx="2423">
                  <c:v>5610803.8399999999</c:v>
                </c:pt>
                <c:pt idx="2424">
                  <c:v>5568125.8399999999</c:v>
                </c:pt>
                <c:pt idx="2425">
                  <c:v>5499689.8399999999</c:v>
                </c:pt>
                <c:pt idx="2426">
                  <c:v>5515529.8399999999</c:v>
                </c:pt>
                <c:pt idx="2427">
                  <c:v>5477873.8399999999</c:v>
                </c:pt>
                <c:pt idx="2428">
                  <c:v>5450423.8399999999</c:v>
                </c:pt>
                <c:pt idx="2429">
                  <c:v>5429687.8399999999</c:v>
                </c:pt>
                <c:pt idx="2430">
                  <c:v>5465939.8399999999</c:v>
                </c:pt>
                <c:pt idx="2431">
                  <c:v>5391941.8399999999</c:v>
                </c:pt>
                <c:pt idx="2432">
                  <c:v>5383481.8399999999</c:v>
                </c:pt>
                <c:pt idx="2433">
                  <c:v>5511335.8399999999</c:v>
                </c:pt>
                <c:pt idx="2434">
                  <c:v>5544509.8399999999</c:v>
                </c:pt>
                <c:pt idx="2435">
                  <c:v>5532629.8399999999</c:v>
                </c:pt>
                <c:pt idx="2436">
                  <c:v>5588033.8399999999</c:v>
                </c:pt>
                <c:pt idx="2437">
                  <c:v>5577611.8399999999</c:v>
                </c:pt>
                <c:pt idx="2438">
                  <c:v>5617373.8399999999</c:v>
                </c:pt>
                <c:pt idx="2439">
                  <c:v>5568773.8399999999</c:v>
                </c:pt>
                <c:pt idx="2440">
                  <c:v>5677151.8399999999</c:v>
                </c:pt>
                <c:pt idx="2441">
                  <c:v>5678339.8399999999</c:v>
                </c:pt>
                <c:pt idx="2442">
                  <c:v>5647325.8399999999</c:v>
                </c:pt>
                <c:pt idx="2443">
                  <c:v>5749475.8399999999</c:v>
                </c:pt>
                <c:pt idx="2444">
                  <c:v>5780921.8399999999</c:v>
                </c:pt>
                <c:pt idx="2445">
                  <c:v>5704745.8399999999</c:v>
                </c:pt>
                <c:pt idx="2446">
                  <c:v>5700659.8399999999</c:v>
                </c:pt>
                <c:pt idx="2447">
                  <c:v>5732573.8399999999</c:v>
                </c:pt>
                <c:pt idx="2448">
                  <c:v>5778815.8399999999</c:v>
                </c:pt>
                <c:pt idx="2449">
                  <c:v>5777573.8399999999</c:v>
                </c:pt>
                <c:pt idx="2450">
                  <c:v>5795915.8399999999</c:v>
                </c:pt>
                <c:pt idx="2451">
                  <c:v>5750033.8399999999</c:v>
                </c:pt>
                <c:pt idx="2452">
                  <c:v>5809703.8399999999</c:v>
                </c:pt>
                <c:pt idx="2453">
                  <c:v>5892089.8399999999</c:v>
                </c:pt>
                <c:pt idx="2454">
                  <c:v>5998415.8399999999</c:v>
                </c:pt>
                <c:pt idx="2455">
                  <c:v>6041381.8399999999</c:v>
                </c:pt>
                <c:pt idx="2456">
                  <c:v>6161423.8399999999</c:v>
                </c:pt>
                <c:pt idx="2457">
                  <c:v>6170621.8399999999</c:v>
                </c:pt>
                <c:pt idx="2458">
                  <c:v>6056429.8399999999</c:v>
                </c:pt>
                <c:pt idx="2459">
                  <c:v>6249101.8399999999</c:v>
                </c:pt>
                <c:pt idx="2460">
                  <c:v>6238067.8399999999</c:v>
                </c:pt>
                <c:pt idx="2461">
                  <c:v>6260243.8399999999</c:v>
                </c:pt>
                <c:pt idx="2462">
                  <c:v>6243647.8399999999</c:v>
                </c:pt>
                <c:pt idx="2463">
                  <c:v>6382985.8399999999</c:v>
                </c:pt>
                <c:pt idx="2464">
                  <c:v>6759833.8399999999</c:v>
                </c:pt>
                <c:pt idx="2465">
                  <c:v>6679211.8399999999</c:v>
                </c:pt>
                <c:pt idx="2466">
                  <c:v>6667871.8399999999</c:v>
                </c:pt>
                <c:pt idx="2467">
                  <c:v>6651635.8399999999</c:v>
                </c:pt>
                <c:pt idx="2468">
                  <c:v>6796247.8399999999</c:v>
                </c:pt>
                <c:pt idx="2469">
                  <c:v>6876149.8399999999</c:v>
                </c:pt>
                <c:pt idx="2470">
                  <c:v>6915587.8399999999</c:v>
                </c:pt>
                <c:pt idx="2471">
                  <c:v>6973331.8399999999</c:v>
                </c:pt>
                <c:pt idx="2472">
                  <c:v>6902699.8399999999</c:v>
                </c:pt>
                <c:pt idx="2473">
                  <c:v>6630413.8399999999</c:v>
                </c:pt>
                <c:pt idx="2474">
                  <c:v>6760679.8399999999</c:v>
                </c:pt>
                <c:pt idx="2475">
                  <c:v>6806399.8399999999</c:v>
                </c:pt>
                <c:pt idx="2476">
                  <c:v>6750311.8399999999</c:v>
                </c:pt>
                <c:pt idx="2477">
                  <c:v>6704051.8399999999</c:v>
                </c:pt>
                <c:pt idx="2478">
                  <c:v>6787787.8399999999</c:v>
                </c:pt>
                <c:pt idx="2479">
                  <c:v>6979919.8399999999</c:v>
                </c:pt>
                <c:pt idx="2480">
                  <c:v>6947897.8399999999</c:v>
                </c:pt>
                <c:pt idx="2481">
                  <c:v>6950561.8399999999</c:v>
                </c:pt>
                <c:pt idx="2482">
                  <c:v>6953171.8399999999</c:v>
                </c:pt>
                <c:pt idx="2483">
                  <c:v>6947609.8399999999</c:v>
                </c:pt>
                <c:pt idx="2484">
                  <c:v>6783863.8399999999</c:v>
                </c:pt>
                <c:pt idx="2485">
                  <c:v>6707561.8399999999</c:v>
                </c:pt>
                <c:pt idx="2486">
                  <c:v>6784871.8399999999</c:v>
                </c:pt>
                <c:pt idx="2487">
                  <c:v>6757889.8399999999</c:v>
                </c:pt>
                <c:pt idx="2488">
                  <c:v>7016981.8399999999</c:v>
                </c:pt>
                <c:pt idx="2489">
                  <c:v>7199843.8399999999</c:v>
                </c:pt>
                <c:pt idx="2490">
                  <c:v>7195091.8399999999</c:v>
                </c:pt>
                <c:pt idx="2491">
                  <c:v>7286657.8399999999</c:v>
                </c:pt>
                <c:pt idx="2492">
                  <c:v>7358783.8399999999</c:v>
                </c:pt>
                <c:pt idx="2493">
                  <c:v>7349783.8399999999</c:v>
                </c:pt>
                <c:pt idx="2494">
                  <c:v>7382543.8399999999</c:v>
                </c:pt>
                <c:pt idx="2495">
                  <c:v>7401299.8399999999</c:v>
                </c:pt>
                <c:pt idx="2496">
                  <c:v>7242413.8399999999</c:v>
                </c:pt>
                <c:pt idx="2497">
                  <c:v>7226285.8399999999</c:v>
                </c:pt>
                <c:pt idx="2498">
                  <c:v>7202705.8399999999</c:v>
                </c:pt>
                <c:pt idx="2499">
                  <c:v>7401191.8399999999</c:v>
                </c:pt>
                <c:pt idx="2500">
                  <c:v>7403801.8399999999</c:v>
                </c:pt>
                <c:pt idx="2501">
                  <c:v>7376513.8399999999</c:v>
                </c:pt>
                <c:pt idx="2502">
                  <c:v>7463867.8399999999</c:v>
                </c:pt>
                <c:pt idx="2503">
                  <c:v>7292867.8399999999</c:v>
                </c:pt>
                <c:pt idx="2504">
                  <c:v>7280987.8399999999</c:v>
                </c:pt>
                <c:pt idx="2505">
                  <c:v>7300931.8399999999</c:v>
                </c:pt>
                <c:pt idx="2506">
                  <c:v>7142045.8399999999</c:v>
                </c:pt>
                <c:pt idx="2507">
                  <c:v>7047455.8399999999</c:v>
                </c:pt>
                <c:pt idx="2508">
                  <c:v>7067363.8399999999</c:v>
                </c:pt>
                <c:pt idx="2509">
                  <c:v>7090547.8399999999</c:v>
                </c:pt>
                <c:pt idx="2510">
                  <c:v>6679085.8399999999</c:v>
                </c:pt>
                <c:pt idx="2511">
                  <c:v>6743975.8399999999</c:v>
                </c:pt>
                <c:pt idx="2512">
                  <c:v>6648197.8399999999</c:v>
                </c:pt>
                <c:pt idx="2513">
                  <c:v>6526229.8399999999</c:v>
                </c:pt>
                <c:pt idx="2514">
                  <c:v>6761579.8399999999</c:v>
                </c:pt>
                <c:pt idx="2515">
                  <c:v>6650483.8399999999</c:v>
                </c:pt>
                <c:pt idx="2516">
                  <c:v>6608039.8399999999</c:v>
                </c:pt>
                <c:pt idx="2517">
                  <c:v>6755531.8399999999</c:v>
                </c:pt>
                <c:pt idx="2518">
                  <c:v>6785897.8399999999</c:v>
                </c:pt>
                <c:pt idx="2519">
                  <c:v>6614537.8399999999</c:v>
                </c:pt>
                <c:pt idx="2520">
                  <c:v>6558791.8399999999</c:v>
                </c:pt>
                <c:pt idx="2521">
                  <c:v>6646973.8399999999</c:v>
                </c:pt>
                <c:pt idx="2522">
                  <c:v>6615653.8399999999</c:v>
                </c:pt>
                <c:pt idx="2523">
                  <c:v>6497897.8399999999</c:v>
                </c:pt>
                <c:pt idx="2524">
                  <c:v>6515807.8399999999</c:v>
                </c:pt>
                <c:pt idx="2525">
                  <c:v>6593729.8399999999</c:v>
                </c:pt>
                <c:pt idx="2526">
                  <c:v>6656837.8399999999</c:v>
                </c:pt>
                <c:pt idx="2527">
                  <c:v>6641807.8399999999</c:v>
                </c:pt>
                <c:pt idx="2528">
                  <c:v>6600893.8399999999</c:v>
                </c:pt>
                <c:pt idx="2529">
                  <c:v>6580391.8399999999</c:v>
                </c:pt>
                <c:pt idx="2530">
                  <c:v>6584387.8399999999</c:v>
                </c:pt>
                <c:pt idx="2531">
                  <c:v>6524015.8399999999</c:v>
                </c:pt>
                <c:pt idx="2532">
                  <c:v>6521567.8399999999</c:v>
                </c:pt>
                <c:pt idx="2533">
                  <c:v>6463193.8399999999</c:v>
                </c:pt>
                <c:pt idx="2534">
                  <c:v>6546101.8399999999</c:v>
                </c:pt>
                <c:pt idx="2535">
                  <c:v>6741473.8399999999</c:v>
                </c:pt>
                <c:pt idx="2536">
                  <c:v>6690749.8399999999</c:v>
                </c:pt>
                <c:pt idx="2537">
                  <c:v>6680471.8399999999</c:v>
                </c:pt>
                <c:pt idx="2538">
                  <c:v>6625553.8399999999</c:v>
                </c:pt>
                <c:pt idx="2539">
                  <c:v>6625445.8399999999</c:v>
                </c:pt>
                <c:pt idx="2540">
                  <c:v>6648485.8399999999</c:v>
                </c:pt>
                <c:pt idx="2541">
                  <c:v>6735461.8399999999</c:v>
                </c:pt>
                <c:pt idx="2542">
                  <c:v>6938105.8399999999</c:v>
                </c:pt>
                <c:pt idx="2543">
                  <c:v>6947861.8399999999</c:v>
                </c:pt>
                <c:pt idx="2544">
                  <c:v>6961055.8399999999</c:v>
                </c:pt>
                <c:pt idx="2545">
                  <c:v>6889127.8399999999</c:v>
                </c:pt>
                <c:pt idx="2546">
                  <c:v>6876563.8399999999</c:v>
                </c:pt>
                <c:pt idx="2547">
                  <c:v>6949445.8399999999</c:v>
                </c:pt>
                <c:pt idx="2548">
                  <c:v>6932831.8399999999</c:v>
                </c:pt>
                <c:pt idx="2549">
                  <c:v>7131227.8399999999</c:v>
                </c:pt>
                <c:pt idx="2550">
                  <c:v>7133675.8399999999</c:v>
                </c:pt>
                <c:pt idx="2551">
                  <c:v>7055123.8399999999</c:v>
                </c:pt>
                <c:pt idx="2552">
                  <c:v>7018349.8399999999</c:v>
                </c:pt>
                <c:pt idx="2553">
                  <c:v>7054529.8399999999</c:v>
                </c:pt>
                <c:pt idx="2554">
                  <c:v>6891791.8399999999</c:v>
                </c:pt>
                <c:pt idx="2555">
                  <c:v>6874403.8399999999</c:v>
                </c:pt>
                <c:pt idx="2556">
                  <c:v>6862901.8399999999</c:v>
                </c:pt>
                <c:pt idx="2557">
                  <c:v>6860165.8399999999</c:v>
                </c:pt>
                <c:pt idx="2558">
                  <c:v>6902483.8399999999</c:v>
                </c:pt>
                <c:pt idx="2559">
                  <c:v>6930311.8399999999</c:v>
                </c:pt>
                <c:pt idx="2560">
                  <c:v>6899081.8399999999</c:v>
                </c:pt>
                <c:pt idx="2561">
                  <c:v>6895121.8399999999</c:v>
                </c:pt>
                <c:pt idx="2562">
                  <c:v>6829889.8399999999</c:v>
                </c:pt>
                <c:pt idx="2563">
                  <c:v>6901097.8399999999</c:v>
                </c:pt>
                <c:pt idx="2564">
                  <c:v>6853793.8399999999</c:v>
                </c:pt>
                <c:pt idx="2565">
                  <c:v>6868607.8399999999</c:v>
                </c:pt>
                <c:pt idx="2566">
                  <c:v>6922463.8399999999</c:v>
                </c:pt>
                <c:pt idx="2567">
                  <c:v>6978695.8399999999</c:v>
                </c:pt>
                <c:pt idx="2568">
                  <c:v>6992195.8399999999</c:v>
                </c:pt>
                <c:pt idx="2569">
                  <c:v>6984455.8399999999</c:v>
                </c:pt>
                <c:pt idx="2570">
                  <c:v>7013345.8399999999</c:v>
                </c:pt>
                <c:pt idx="2571">
                  <c:v>6950417.8399999999</c:v>
                </c:pt>
                <c:pt idx="2572">
                  <c:v>6893015.8399999999</c:v>
                </c:pt>
                <c:pt idx="2573">
                  <c:v>6792161.8399999999</c:v>
                </c:pt>
                <c:pt idx="2574">
                  <c:v>6663011.8399999999</c:v>
                </c:pt>
                <c:pt idx="2575">
                  <c:v>6592163.8399999999</c:v>
                </c:pt>
                <c:pt idx="2576">
                  <c:v>6565343.8399999999</c:v>
                </c:pt>
                <c:pt idx="2577">
                  <c:v>6651491.8399999999</c:v>
                </c:pt>
                <c:pt idx="2578">
                  <c:v>6587123.8399999999</c:v>
                </c:pt>
                <c:pt idx="2579">
                  <c:v>6705149.8399999999</c:v>
                </c:pt>
                <c:pt idx="2580">
                  <c:v>6645119.8399999999</c:v>
                </c:pt>
                <c:pt idx="2581">
                  <c:v>6675089.8399999999</c:v>
                </c:pt>
                <c:pt idx="2582">
                  <c:v>6695969.8399999999</c:v>
                </c:pt>
                <c:pt idx="2583">
                  <c:v>6725741.8399999999</c:v>
                </c:pt>
                <c:pt idx="2584">
                  <c:v>6870731.8399999999</c:v>
                </c:pt>
                <c:pt idx="2585">
                  <c:v>6864683.8399999999</c:v>
                </c:pt>
                <c:pt idx="2586">
                  <c:v>6853937.8399999999</c:v>
                </c:pt>
                <c:pt idx="2587">
                  <c:v>6875087.8399999999</c:v>
                </c:pt>
                <c:pt idx="2588">
                  <c:v>6924317.8399999999</c:v>
                </c:pt>
                <c:pt idx="2589">
                  <c:v>6825407.8399999999</c:v>
                </c:pt>
                <c:pt idx="2590">
                  <c:v>6917279.8399999999</c:v>
                </c:pt>
                <c:pt idx="2591">
                  <c:v>6891413.8399999999</c:v>
                </c:pt>
                <c:pt idx="2592">
                  <c:v>6869111.8399999999</c:v>
                </c:pt>
                <c:pt idx="2593">
                  <c:v>6886031.8399999999</c:v>
                </c:pt>
                <c:pt idx="2594">
                  <c:v>6973745.8399999999</c:v>
                </c:pt>
                <c:pt idx="2595">
                  <c:v>6983267.8399999999</c:v>
                </c:pt>
                <c:pt idx="2596">
                  <c:v>7041569.8399999999</c:v>
                </c:pt>
                <c:pt idx="2597">
                  <c:v>7112345.8399999999</c:v>
                </c:pt>
                <c:pt idx="2598">
                  <c:v>7154087.8399999999</c:v>
                </c:pt>
                <c:pt idx="2599">
                  <c:v>7198079.8399999999</c:v>
                </c:pt>
                <c:pt idx="2600">
                  <c:v>7173455.8399999999</c:v>
                </c:pt>
                <c:pt idx="2601">
                  <c:v>7120949.8399999999</c:v>
                </c:pt>
                <c:pt idx="2602">
                  <c:v>7197053.8399999999</c:v>
                </c:pt>
                <c:pt idx="2603">
                  <c:v>7170665.8399999999</c:v>
                </c:pt>
                <c:pt idx="2604">
                  <c:v>7050965.8399999999</c:v>
                </c:pt>
                <c:pt idx="2605">
                  <c:v>7084913.8399999999</c:v>
                </c:pt>
                <c:pt idx="2606">
                  <c:v>7110653.8399999999</c:v>
                </c:pt>
                <c:pt idx="2607">
                  <c:v>7130939.8399999999</c:v>
                </c:pt>
                <c:pt idx="2608">
                  <c:v>7049957.8399999999</c:v>
                </c:pt>
                <c:pt idx="2609">
                  <c:v>7068713.8399999999</c:v>
                </c:pt>
                <c:pt idx="2610">
                  <c:v>7014533.8399999999</c:v>
                </c:pt>
                <c:pt idx="2611">
                  <c:v>6960821.8399999999</c:v>
                </c:pt>
                <c:pt idx="2612">
                  <c:v>6981539.8399999999</c:v>
                </c:pt>
                <c:pt idx="2613">
                  <c:v>6912923.8399999999</c:v>
                </c:pt>
                <c:pt idx="2614">
                  <c:v>6954593.8399999999</c:v>
                </c:pt>
                <c:pt idx="2615">
                  <c:v>6964601.8399999999</c:v>
                </c:pt>
                <c:pt idx="2616">
                  <c:v>7021121.8399999999</c:v>
                </c:pt>
                <c:pt idx="2617">
                  <c:v>7087883.8399999999</c:v>
                </c:pt>
                <c:pt idx="2618">
                  <c:v>7162601.8399999999</c:v>
                </c:pt>
                <c:pt idx="2619">
                  <c:v>7132019.8399999999</c:v>
                </c:pt>
                <c:pt idx="2620">
                  <c:v>7107611.8399999999</c:v>
                </c:pt>
                <c:pt idx="2621">
                  <c:v>7112165.8399999999</c:v>
                </c:pt>
                <c:pt idx="2622">
                  <c:v>7011653.8399999999</c:v>
                </c:pt>
                <c:pt idx="2623">
                  <c:v>7032281.8399999999</c:v>
                </c:pt>
                <c:pt idx="2624">
                  <c:v>7059353.8399999999</c:v>
                </c:pt>
                <c:pt idx="2625">
                  <c:v>7014713.8399999999</c:v>
                </c:pt>
                <c:pt idx="2626">
                  <c:v>7013975.8399999999</c:v>
                </c:pt>
                <c:pt idx="2627">
                  <c:v>7060991.8399999999</c:v>
                </c:pt>
                <c:pt idx="2628">
                  <c:v>7114631.8399999999</c:v>
                </c:pt>
                <c:pt idx="2629">
                  <c:v>7085183.8399999999</c:v>
                </c:pt>
                <c:pt idx="2630">
                  <c:v>7050983.8399999999</c:v>
                </c:pt>
                <c:pt idx="2631">
                  <c:v>7042919.8399999999</c:v>
                </c:pt>
                <c:pt idx="2632">
                  <c:v>7161071.8399999999</c:v>
                </c:pt>
                <c:pt idx="2633">
                  <c:v>7207385.8399999999</c:v>
                </c:pt>
                <c:pt idx="2634">
                  <c:v>7251827.8399999999</c:v>
                </c:pt>
                <c:pt idx="2635">
                  <c:v>7219553.8399999999</c:v>
                </c:pt>
                <c:pt idx="2636">
                  <c:v>7232135.8399999999</c:v>
                </c:pt>
                <c:pt idx="2637">
                  <c:v>7198187.8399999999</c:v>
                </c:pt>
                <c:pt idx="2638">
                  <c:v>7072133.8399999999</c:v>
                </c:pt>
                <c:pt idx="2639">
                  <c:v>7073411.8399999999</c:v>
                </c:pt>
                <c:pt idx="2640">
                  <c:v>7066733.8399999999</c:v>
                </c:pt>
                <c:pt idx="2641">
                  <c:v>7077317.8399999999</c:v>
                </c:pt>
                <c:pt idx="2642">
                  <c:v>7025531.8399999999</c:v>
                </c:pt>
                <c:pt idx="2643">
                  <c:v>7081043.8399999999</c:v>
                </c:pt>
                <c:pt idx="2644">
                  <c:v>7151441.8399999999</c:v>
                </c:pt>
                <c:pt idx="2645">
                  <c:v>7080917.8399999999</c:v>
                </c:pt>
                <c:pt idx="2646">
                  <c:v>7048049.8399999999</c:v>
                </c:pt>
                <c:pt idx="2647">
                  <c:v>6976751.8399999999</c:v>
                </c:pt>
                <c:pt idx="2648">
                  <c:v>7027547.8399999999</c:v>
                </c:pt>
                <c:pt idx="2649">
                  <c:v>7051739.8399999999</c:v>
                </c:pt>
                <c:pt idx="2650">
                  <c:v>7022885.8399999999</c:v>
                </c:pt>
                <c:pt idx="2651">
                  <c:v>6998909.8399999999</c:v>
                </c:pt>
                <c:pt idx="2652">
                  <c:v>6938375.8399999999</c:v>
                </c:pt>
                <c:pt idx="2653">
                  <c:v>6951677.8399999999</c:v>
                </c:pt>
                <c:pt idx="2654">
                  <c:v>6978731.8399999999</c:v>
                </c:pt>
                <c:pt idx="2655">
                  <c:v>6976445.8399999999</c:v>
                </c:pt>
                <c:pt idx="2656">
                  <c:v>7029617.8399999999</c:v>
                </c:pt>
                <c:pt idx="2657">
                  <c:v>7071071.8399999999</c:v>
                </c:pt>
                <c:pt idx="2658">
                  <c:v>7058579.8399999999</c:v>
                </c:pt>
                <c:pt idx="2659">
                  <c:v>7067453.8399999999</c:v>
                </c:pt>
                <c:pt idx="2660">
                  <c:v>7071719.8399999999</c:v>
                </c:pt>
                <c:pt idx="2661">
                  <c:v>7050605.8399999999</c:v>
                </c:pt>
                <c:pt idx="2662">
                  <c:v>7189565.8399999999</c:v>
                </c:pt>
                <c:pt idx="2663">
                  <c:v>7224359.8399999999</c:v>
                </c:pt>
                <c:pt idx="2664">
                  <c:v>7322009.8399999999</c:v>
                </c:pt>
                <c:pt idx="2665">
                  <c:v>7305773.8399999999</c:v>
                </c:pt>
                <c:pt idx="2666">
                  <c:v>7295639.8399999999</c:v>
                </c:pt>
                <c:pt idx="2667">
                  <c:v>7277819.8399999999</c:v>
                </c:pt>
                <c:pt idx="2668">
                  <c:v>7187549.8399999999</c:v>
                </c:pt>
                <c:pt idx="2669">
                  <c:v>7234097.8399999999</c:v>
                </c:pt>
                <c:pt idx="2670">
                  <c:v>7230335.8399999999</c:v>
                </c:pt>
                <c:pt idx="2671">
                  <c:v>7293551.8399999999</c:v>
                </c:pt>
                <c:pt idx="2672">
                  <c:v>7286423.8399999999</c:v>
                </c:pt>
                <c:pt idx="2673">
                  <c:v>7393703.8399999999</c:v>
                </c:pt>
                <c:pt idx="2674">
                  <c:v>7420613.8399999999</c:v>
                </c:pt>
                <c:pt idx="2675">
                  <c:v>7520801.8399999999</c:v>
                </c:pt>
                <c:pt idx="2676">
                  <c:v>7507697.8399999999</c:v>
                </c:pt>
                <c:pt idx="2677">
                  <c:v>7479509.8399999999</c:v>
                </c:pt>
                <c:pt idx="2678">
                  <c:v>7535183.8399999999</c:v>
                </c:pt>
                <c:pt idx="2679">
                  <c:v>7448945.8399999999</c:v>
                </c:pt>
                <c:pt idx="2680">
                  <c:v>7542635.8399999999</c:v>
                </c:pt>
                <c:pt idx="2681">
                  <c:v>7540493.841</c:v>
                </c:pt>
                <c:pt idx="2682">
                  <c:v>7613951.8399999999</c:v>
                </c:pt>
                <c:pt idx="2683">
                  <c:v>7588571.841</c:v>
                </c:pt>
                <c:pt idx="2684">
                  <c:v>7546883.8399999999</c:v>
                </c:pt>
                <c:pt idx="2685">
                  <c:v>7515041.8399999999</c:v>
                </c:pt>
                <c:pt idx="2686">
                  <c:v>7525499.841</c:v>
                </c:pt>
                <c:pt idx="2687">
                  <c:v>7581263.8399999999</c:v>
                </c:pt>
                <c:pt idx="2688">
                  <c:v>7452527.841</c:v>
                </c:pt>
                <c:pt idx="2689">
                  <c:v>7484243.841</c:v>
                </c:pt>
                <c:pt idx="2690">
                  <c:v>7253069.1380000003</c:v>
                </c:pt>
                <c:pt idx="2691">
                  <c:v>7253069.1380000003</c:v>
                </c:pt>
                <c:pt idx="2692">
                  <c:v>7253069.1380000003</c:v>
                </c:pt>
                <c:pt idx="2693">
                  <c:v>7253069.1380000003</c:v>
                </c:pt>
                <c:pt idx="2694">
                  <c:v>7253069.1380000003</c:v>
                </c:pt>
                <c:pt idx="2695">
                  <c:v>7253069.1380000003</c:v>
                </c:pt>
                <c:pt idx="2696">
                  <c:v>7253069.1380000003</c:v>
                </c:pt>
                <c:pt idx="2697">
                  <c:v>7253069.1380000003</c:v>
                </c:pt>
                <c:pt idx="2698">
                  <c:v>7253069.1380000003</c:v>
                </c:pt>
                <c:pt idx="2699">
                  <c:v>7253069.1380000003</c:v>
                </c:pt>
                <c:pt idx="2700">
                  <c:v>7253069.1380000003</c:v>
                </c:pt>
                <c:pt idx="2701">
                  <c:v>7253069.1380000003</c:v>
                </c:pt>
                <c:pt idx="2702">
                  <c:v>7253069.1380000003</c:v>
                </c:pt>
                <c:pt idx="2703">
                  <c:v>7253069.1380000003</c:v>
                </c:pt>
                <c:pt idx="2704">
                  <c:v>7253069.1380000003</c:v>
                </c:pt>
                <c:pt idx="2705">
                  <c:v>7253069.1380000003</c:v>
                </c:pt>
                <c:pt idx="2706">
                  <c:v>7253069.1380000003</c:v>
                </c:pt>
                <c:pt idx="2707">
                  <c:v>7253069.1380000003</c:v>
                </c:pt>
                <c:pt idx="2708">
                  <c:v>7253069.1380000003</c:v>
                </c:pt>
                <c:pt idx="2709">
                  <c:v>7253069.1380000003</c:v>
                </c:pt>
                <c:pt idx="2710">
                  <c:v>7253069.1380000003</c:v>
                </c:pt>
                <c:pt idx="2711">
                  <c:v>7253069.1380000003</c:v>
                </c:pt>
                <c:pt idx="2712">
                  <c:v>7253069.1380000003</c:v>
                </c:pt>
                <c:pt idx="2713">
                  <c:v>7253069.1380000003</c:v>
                </c:pt>
                <c:pt idx="2714">
                  <c:v>7253069.1380000003</c:v>
                </c:pt>
                <c:pt idx="2715">
                  <c:v>7253069.1380000003</c:v>
                </c:pt>
                <c:pt idx="2716">
                  <c:v>7253069.1380000003</c:v>
                </c:pt>
                <c:pt idx="2717">
                  <c:v>7253069.1380000003</c:v>
                </c:pt>
                <c:pt idx="2718">
                  <c:v>7253069.1380000003</c:v>
                </c:pt>
                <c:pt idx="2719">
                  <c:v>7253069.1380000003</c:v>
                </c:pt>
                <c:pt idx="2720">
                  <c:v>7253069.1380000003</c:v>
                </c:pt>
                <c:pt idx="2721">
                  <c:v>7253069.1380000003</c:v>
                </c:pt>
                <c:pt idx="2722">
                  <c:v>7253069.1380000003</c:v>
                </c:pt>
                <c:pt idx="2723">
                  <c:v>7253069.1380000003</c:v>
                </c:pt>
                <c:pt idx="2724">
                  <c:v>7253069.1380000003</c:v>
                </c:pt>
                <c:pt idx="2725">
                  <c:v>7253069.1380000003</c:v>
                </c:pt>
                <c:pt idx="2726">
                  <c:v>7253069.1380000003</c:v>
                </c:pt>
                <c:pt idx="2727">
                  <c:v>7253069.1380000003</c:v>
                </c:pt>
                <c:pt idx="2728">
                  <c:v>7253069.1380000003</c:v>
                </c:pt>
                <c:pt idx="2729">
                  <c:v>7253069.1380000003</c:v>
                </c:pt>
                <c:pt idx="2730">
                  <c:v>7253069.1380000003</c:v>
                </c:pt>
                <c:pt idx="2731">
                  <c:v>7253069.1380000003</c:v>
                </c:pt>
                <c:pt idx="2732">
                  <c:v>7253069.1380000003</c:v>
                </c:pt>
                <c:pt idx="2733">
                  <c:v>7253069.1380000003</c:v>
                </c:pt>
                <c:pt idx="2734">
                  <c:v>7253069.1380000003</c:v>
                </c:pt>
                <c:pt idx="2735">
                  <c:v>7253069.1380000003</c:v>
                </c:pt>
                <c:pt idx="2736">
                  <c:v>7253069.1380000003</c:v>
                </c:pt>
                <c:pt idx="2737">
                  <c:v>7253069.1380000003</c:v>
                </c:pt>
                <c:pt idx="2738">
                  <c:v>7253069.1380000003</c:v>
                </c:pt>
                <c:pt idx="2739">
                  <c:v>7253069.1380000003</c:v>
                </c:pt>
                <c:pt idx="2740">
                  <c:v>7253069.1380000003</c:v>
                </c:pt>
                <c:pt idx="2741">
                  <c:v>7253069.1380000003</c:v>
                </c:pt>
                <c:pt idx="2742">
                  <c:v>7253069.1380000003</c:v>
                </c:pt>
                <c:pt idx="2743">
                  <c:v>7253069.1380000003</c:v>
                </c:pt>
                <c:pt idx="2744">
                  <c:v>7253069.1380000003</c:v>
                </c:pt>
                <c:pt idx="2745">
                  <c:v>7253069.1380000003</c:v>
                </c:pt>
                <c:pt idx="2746">
                  <c:v>7253069.1380000003</c:v>
                </c:pt>
                <c:pt idx="2747">
                  <c:v>7253069.1380000003</c:v>
                </c:pt>
                <c:pt idx="2748">
                  <c:v>7253069.1380000003</c:v>
                </c:pt>
                <c:pt idx="2749">
                  <c:v>7253069.1380000003</c:v>
                </c:pt>
                <c:pt idx="2750">
                  <c:v>7253069.1380000003</c:v>
                </c:pt>
                <c:pt idx="2751">
                  <c:v>7253069.1380000003</c:v>
                </c:pt>
                <c:pt idx="2752">
                  <c:v>7253069.1380000003</c:v>
                </c:pt>
                <c:pt idx="2753">
                  <c:v>7253069.1380000003</c:v>
                </c:pt>
                <c:pt idx="2754">
                  <c:v>7253069.1380000003</c:v>
                </c:pt>
                <c:pt idx="2755">
                  <c:v>7253069.1380000003</c:v>
                </c:pt>
                <c:pt idx="2756">
                  <c:v>7253069.1380000003</c:v>
                </c:pt>
                <c:pt idx="2757">
                  <c:v>7253069.1380000003</c:v>
                </c:pt>
                <c:pt idx="2758">
                  <c:v>7253069.1380000003</c:v>
                </c:pt>
                <c:pt idx="2759">
                  <c:v>7253069.1380000003</c:v>
                </c:pt>
                <c:pt idx="2760">
                  <c:v>7253069.1380000003</c:v>
                </c:pt>
                <c:pt idx="2761">
                  <c:v>7253069.1380000003</c:v>
                </c:pt>
                <c:pt idx="2762">
                  <c:v>7253069.1380000003</c:v>
                </c:pt>
                <c:pt idx="2763">
                  <c:v>7253069.1380000003</c:v>
                </c:pt>
                <c:pt idx="2764">
                  <c:v>7253069.1380000003</c:v>
                </c:pt>
                <c:pt idx="2765">
                  <c:v>7253069.1380000003</c:v>
                </c:pt>
                <c:pt idx="2766">
                  <c:v>7253069.1380000003</c:v>
                </c:pt>
                <c:pt idx="2767">
                  <c:v>7253069.1380000003</c:v>
                </c:pt>
                <c:pt idx="2768">
                  <c:v>7253069.1380000003</c:v>
                </c:pt>
                <c:pt idx="2769">
                  <c:v>7253069.1380000003</c:v>
                </c:pt>
                <c:pt idx="2770">
                  <c:v>7253069.1380000003</c:v>
                </c:pt>
                <c:pt idx="2771">
                  <c:v>7253069.1380000003</c:v>
                </c:pt>
                <c:pt idx="2772">
                  <c:v>7253069.1380000003</c:v>
                </c:pt>
                <c:pt idx="2773">
                  <c:v>7253069.1380000003</c:v>
                </c:pt>
                <c:pt idx="2774">
                  <c:v>7253069.1380000003</c:v>
                </c:pt>
                <c:pt idx="2775">
                  <c:v>7253069.1380000003</c:v>
                </c:pt>
                <c:pt idx="2776">
                  <c:v>7253069.1380000003</c:v>
                </c:pt>
                <c:pt idx="2777">
                  <c:v>7253069.1380000003</c:v>
                </c:pt>
                <c:pt idx="2778">
                  <c:v>7253069.1380000003</c:v>
                </c:pt>
                <c:pt idx="2779">
                  <c:v>7253069.1380000003</c:v>
                </c:pt>
                <c:pt idx="2780">
                  <c:v>7253069.1380000003</c:v>
                </c:pt>
                <c:pt idx="2781">
                  <c:v>7253069.1380000003</c:v>
                </c:pt>
                <c:pt idx="2782">
                  <c:v>7253069.1380000003</c:v>
                </c:pt>
                <c:pt idx="2783">
                  <c:v>7253069.1380000003</c:v>
                </c:pt>
                <c:pt idx="2784">
                  <c:v>7253069.1380000003</c:v>
                </c:pt>
                <c:pt idx="2785">
                  <c:v>7253069.1380000003</c:v>
                </c:pt>
                <c:pt idx="2786">
                  <c:v>7253069.1380000003</c:v>
                </c:pt>
                <c:pt idx="2787">
                  <c:v>7253069.1380000003</c:v>
                </c:pt>
                <c:pt idx="2788">
                  <c:v>7253069.1380000003</c:v>
                </c:pt>
                <c:pt idx="2789">
                  <c:v>7253069.1380000003</c:v>
                </c:pt>
                <c:pt idx="2790">
                  <c:v>7253069.1380000003</c:v>
                </c:pt>
                <c:pt idx="2791">
                  <c:v>7253069.1380000003</c:v>
                </c:pt>
                <c:pt idx="2792">
                  <c:v>7253069.1380000003</c:v>
                </c:pt>
                <c:pt idx="2793">
                  <c:v>7252375.4040000001</c:v>
                </c:pt>
                <c:pt idx="2794">
                  <c:v>7386391.4040000001</c:v>
                </c:pt>
                <c:pt idx="2795">
                  <c:v>7787175.4040000001</c:v>
                </c:pt>
                <c:pt idx="2796">
                  <c:v>7832039.4040000001</c:v>
                </c:pt>
                <c:pt idx="2797">
                  <c:v>7953431.4040000001</c:v>
                </c:pt>
                <c:pt idx="2798">
                  <c:v>8060263.4040000001</c:v>
                </c:pt>
                <c:pt idx="2799">
                  <c:v>7920039.4040000001</c:v>
                </c:pt>
                <c:pt idx="2800">
                  <c:v>8079767.4040000001</c:v>
                </c:pt>
                <c:pt idx="2801">
                  <c:v>8005735.4040000001</c:v>
                </c:pt>
                <c:pt idx="2802">
                  <c:v>7906183.4040000001</c:v>
                </c:pt>
                <c:pt idx="2803">
                  <c:v>7541031.4040000001</c:v>
                </c:pt>
                <c:pt idx="2804">
                  <c:v>7586551.4040000001</c:v>
                </c:pt>
                <c:pt idx="2805">
                  <c:v>7803511.4040000001</c:v>
                </c:pt>
                <c:pt idx="2806">
                  <c:v>7820695.4040000001</c:v>
                </c:pt>
                <c:pt idx="2807">
                  <c:v>7858151.4040000001</c:v>
                </c:pt>
                <c:pt idx="2808">
                  <c:v>7854935.4040000001</c:v>
                </c:pt>
                <c:pt idx="2809">
                  <c:v>7523975.4040000001</c:v>
                </c:pt>
                <c:pt idx="2810">
                  <c:v>7560551.4040000001</c:v>
                </c:pt>
                <c:pt idx="2811">
                  <c:v>7624247.4040000001</c:v>
                </c:pt>
                <c:pt idx="2812">
                  <c:v>7801447.4040000001</c:v>
                </c:pt>
                <c:pt idx="2813">
                  <c:v>7764871.4040000001</c:v>
                </c:pt>
                <c:pt idx="2814">
                  <c:v>7827111.4040000001</c:v>
                </c:pt>
                <c:pt idx="2815">
                  <c:v>7949127.4040000001</c:v>
                </c:pt>
                <c:pt idx="2816">
                  <c:v>7956311.4040000001</c:v>
                </c:pt>
                <c:pt idx="2817">
                  <c:v>7958407.4040000001</c:v>
                </c:pt>
                <c:pt idx="2818">
                  <c:v>7935447.4040000001</c:v>
                </c:pt>
                <c:pt idx="2819">
                  <c:v>7847719.4040000001</c:v>
                </c:pt>
                <c:pt idx="2820">
                  <c:v>7874067.4249999998</c:v>
                </c:pt>
                <c:pt idx="2821">
                  <c:v>7874067.4249999998</c:v>
                </c:pt>
                <c:pt idx="2822">
                  <c:v>7874067.4249999998</c:v>
                </c:pt>
                <c:pt idx="2823">
                  <c:v>7874067.4249999998</c:v>
                </c:pt>
                <c:pt idx="2824">
                  <c:v>7874067.4249999998</c:v>
                </c:pt>
                <c:pt idx="2825">
                  <c:v>7874067.4249999998</c:v>
                </c:pt>
                <c:pt idx="2826">
                  <c:v>7874067.4249999998</c:v>
                </c:pt>
                <c:pt idx="2827">
                  <c:v>7874067.4249999998</c:v>
                </c:pt>
                <c:pt idx="2828">
                  <c:v>7874067.4249999998</c:v>
                </c:pt>
                <c:pt idx="2829">
                  <c:v>7874067.4249999998</c:v>
                </c:pt>
                <c:pt idx="2830">
                  <c:v>7874067.4249999998</c:v>
                </c:pt>
                <c:pt idx="2831">
                  <c:v>7874067.4249999998</c:v>
                </c:pt>
                <c:pt idx="2832">
                  <c:v>7874067.4249999998</c:v>
                </c:pt>
                <c:pt idx="2833">
                  <c:v>7874067.4249999998</c:v>
                </c:pt>
                <c:pt idx="2834">
                  <c:v>7874067.4249999998</c:v>
                </c:pt>
                <c:pt idx="2835">
                  <c:v>7874067.4249999998</c:v>
                </c:pt>
                <c:pt idx="2836">
                  <c:v>7874067.4249999998</c:v>
                </c:pt>
                <c:pt idx="2837">
                  <c:v>7874067.4249999998</c:v>
                </c:pt>
                <c:pt idx="2838">
                  <c:v>7874067.4249999998</c:v>
                </c:pt>
                <c:pt idx="2839">
                  <c:v>7874067.4249999998</c:v>
                </c:pt>
                <c:pt idx="2840">
                  <c:v>7874067.4249999998</c:v>
                </c:pt>
                <c:pt idx="2841">
                  <c:v>7874067.4249999998</c:v>
                </c:pt>
                <c:pt idx="2842">
                  <c:v>7874067.4249999998</c:v>
                </c:pt>
                <c:pt idx="2843">
                  <c:v>7874067.4249999998</c:v>
                </c:pt>
                <c:pt idx="2844">
                  <c:v>7874067.4249999998</c:v>
                </c:pt>
                <c:pt idx="2845">
                  <c:v>7874067.4249999998</c:v>
                </c:pt>
                <c:pt idx="2846">
                  <c:v>7874067.4249999998</c:v>
                </c:pt>
                <c:pt idx="2847">
                  <c:v>7874067.4249999998</c:v>
                </c:pt>
                <c:pt idx="2848">
                  <c:v>7874067.4249999998</c:v>
                </c:pt>
                <c:pt idx="2849">
                  <c:v>7874067.4249999998</c:v>
                </c:pt>
                <c:pt idx="2850">
                  <c:v>7874067.4249999998</c:v>
                </c:pt>
                <c:pt idx="2851">
                  <c:v>7874067.4249999998</c:v>
                </c:pt>
                <c:pt idx="2852">
                  <c:v>7874067.4249999998</c:v>
                </c:pt>
                <c:pt idx="2853">
                  <c:v>7874067.4249999998</c:v>
                </c:pt>
                <c:pt idx="2854">
                  <c:v>7874067.4249999998</c:v>
                </c:pt>
                <c:pt idx="2855">
                  <c:v>7874067.4249999998</c:v>
                </c:pt>
                <c:pt idx="2856">
                  <c:v>7873286.8190000001</c:v>
                </c:pt>
                <c:pt idx="2857">
                  <c:v>7865806.8190000001</c:v>
                </c:pt>
                <c:pt idx="2858">
                  <c:v>8025164.8190000001</c:v>
                </c:pt>
                <c:pt idx="2859">
                  <c:v>8266598.8190000001</c:v>
                </c:pt>
                <c:pt idx="2860">
                  <c:v>8293866.8190000001</c:v>
                </c:pt>
                <c:pt idx="2861">
                  <c:v>8239296.8190000001</c:v>
                </c:pt>
                <c:pt idx="2862">
                  <c:v>8225084.8190000001</c:v>
                </c:pt>
                <c:pt idx="2863">
                  <c:v>8213082.8190000001</c:v>
                </c:pt>
                <c:pt idx="2864">
                  <c:v>8151559.8190000001</c:v>
                </c:pt>
                <c:pt idx="2865">
                  <c:v>8216125.8190000001</c:v>
                </c:pt>
                <c:pt idx="2866">
                  <c:v>8215037.8190000001</c:v>
                </c:pt>
                <c:pt idx="2867">
                  <c:v>8189792.8190000001</c:v>
                </c:pt>
                <c:pt idx="2868">
                  <c:v>8088659.8190000001</c:v>
                </c:pt>
                <c:pt idx="2869">
                  <c:v>8042334.8190000001</c:v>
                </c:pt>
                <c:pt idx="2870">
                  <c:v>8056002.8190000001</c:v>
                </c:pt>
                <c:pt idx="2871">
                  <c:v>8120585.8190000001</c:v>
                </c:pt>
                <c:pt idx="2872">
                  <c:v>8181190.8190000001</c:v>
                </c:pt>
                <c:pt idx="2873">
                  <c:v>8049287.8190000001</c:v>
                </c:pt>
                <c:pt idx="2874">
                  <c:v>8092637.8190000001</c:v>
                </c:pt>
                <c:pt idx="2875">
                  <c:v>8189078.8190000001</c:v>
                </c:pt>
                <c:pt idx="2876">
                  <c:v>8250448.8190000001</c:v>
                </c:pt>
                <c:pt idx="2877">
                  <c:v>8371913.8190000001</c:v>
                </c:pt>
                <c:pt idx="2878">
                  <c:v>8372950.8190000001</c:v>
                </c:pt>
                <c:pt idx="2879">
                  <c:v>8535521.8190000001</c:v>
                </c:pt>
                <c:pt idx="2880">
                  <c:v>8488822.8190000001</c:v>
                </c:pt>
                <c:pt idx="2881">
                  <c:v>8405556.8190000001</c:v>
                </c:pt>
                <c:pt idx="2882">
                  <c:v>8411608.8190000001</c:v>
                </c:pt>
                <c:pt idx="2883">
                  <c:v>8323871.8190000001</c:v>
                </c:pt>
                <c:pt idx="2884">
                  <c:v>8404315.8190000001</c:v>
                </c:pt>
                <c:pt idx="2885">
                  <c:v>8388369.8190000001</c:v>
                </c:pt>
                <c:pt idx="2886">
                  <c:v>8383065.8190000001</c:v>
                </c:pt>
                <c:pt idx="2887">
                  <c:v>8444809.8190000001</c:v>
                </c:pt>
                <c:pt idx="2888">
                  <c:v>8470819.8190000001</c:v>
                </c:pt>
                <c:pt idx="2889">
                  <c:v>8575777.8190000001</c:v>
                </c:pt>
                <c:pt idx="2890">
                  <c:v>8523519.8190000001</c:v>
                </c:pt>
                <c:pt idx="2891">
                  <c:v>8415416.8190000001</c:v>
                </c:pt>
                <c:pt idx="2892">
                  <c:v>8430529.8190000001</c:v>
                </c:pt>
                <c:pt idx="2893">
                  <c:v>8534535.8190000001</c:v>
                </c:pt>
                <c:pt idx="2894">
                  <c:v>8499651.8190000001</c:v>
                </c:pt>
                <c:pt idx="2895">
                  <c:v>8681296.8190000001</c:v>
                </c:pt>
                <c:pt idx="2896">
                  <c:v>8681364.8190000001</c:v>
                </c:pt>
                <c:pt idx="2897">
                  <c:v>8664228.8190000001</c:v>
                </c:pt>
                <c:pt idx="2898">
                  <c:v>8679290.8190000001</c:v>
                </c:pt>
                <c:pt idx="2899">
                  <c:v>8605034.8190000001</c:v>
                </c:pt>
                <c:pt idx="2900">
                  <c:v>8584022.8190000001</c:v>
                </c:pt>
                <c:pt idx="2901">
                  <c:v>8469816.8190000001</c:v>
                </c:pt>
                <c:pt idx="2902">
                  <c:v>8466110.8190000001</c:v>
                </c:pt>
                <c:pt idx="2903">
                  <c:v>8379597.8190000001</c:v>
                </c:pt>
                <c:pt idx="2904">
                  <c:v>8456454.8190000001</c:v>
                </c:pt>
                <c:pt idx="2905">
                  <c:v>8473896.8190000001</c:v>
                </c:pt>
                <c:pt idx="2906">
                  <c:v>8488805.8190000001</c:v>
                </c:pt>
                <c:pt idx="2907">
                  <c:v>8596942.8190000001</c:v>
                </c:pt>
                <c:pt idx="2908">
                  <c:v>8567175.8190000001</c:v>
                </c:pt>
                <c:pt idx="2909">
                  <c:v>8646854.8190000001</c:v>
                </c:pt>
                <c:pt idx="2910">
                  <c:v>8507335.8190000001</c:v>
                </c:pt>
                <c:pt idx="2911">
                  <c:v>8579330.8190000001</c:v>
                </c:pt>
                <c:pt idx="2912">
                  <c:v>8567260.8190000001</c:v>
                </c:pt>
                <c:pt idx="2913">
                  <c:v>8638643.8190000001</c:v>
                </c:pt>
                <c:pt idx="2914">
                  <c:v>8676723.8190000001</c:v>
                </c:pt>
                <c:pt idx="2915">
                  <c:v>8640224.8190000001</c:v>
                </c:pt>
                <c:pt idx="2916">
                  <c:v>8760533.8190000001</c:v>
                </c:pt>
                <c:pt idx="2917">
                  <c:v>8926419.8190000001</c:v>
                </c:pt>
                <c:pt idx="2918">
                  <c:v>9022350.8190000001</c:v>
                </c:pt>
                <c:pt idx="2919">
                  <c:v>9193676.8190000001</c:v>
                </c:pt>
                <c:pt idx="2920">
                  <c:v>9277265.8190000001</c:v>
                </c:pt>
                <c:pt idx="2921">
                  <c:v>9440448.8190000001</c:v>
                </c:pt>
                <c:pt idx="2922">
                  <c:v>9409457.8190000001</c:v>
                </c:pt>
                <c:pt idx="2923">
                  <c:v>9317198.8190000001</c:v>
                </c:pt>
                <c:pt idx="2924">
                  <c:v>9581021.8190000001</c:v>
                </c:pt>
                <c:pt idx="2925">
                  <c:v>9549775.8190000001</c:v>
                </c:pt>
                <c:pt idx="2926">
                  <c:v>9367008.8190000001</c:v>
                </c:pt>
                <c:pt idx="2927">
                  <c:v>9345962.8190000001</c:v>
                </c:pt>
                <c:pt idx="2928">
                  <c:v>9448710.8190000001</c:v>
                </c:pt>
                <c:pt idx="2929">
                  <c:v>9311010.8190000001</c:v>
                </c:pt>
                <c:pt idx="2930">
                  <c:v>9377157.8190000001</c:v>
                </c:pt>
                <c:pt idx="2931">
                  <c:v>9527675.8190000001</c:v>
                </c:pt>
                <c:pt idx="2932">
                  <c:v>9535852.8190000001</c:v>
                </c:pt>
                <c:pt idx="2933">
                  <c:v>9631290.8190000001</c:v>
                </c:pt>
                <c:pt idx="2934">
                  <c:v>9439275.8190000001</c:v>
                </c:pt>
                <c:pt idx="2935">
                  <c:v>9464826.8190000001</c:v>
                </c:pt>
                <c:pt idx="2936">
                  <c:v>9208364.8190000001</c:v>
                </c:pt>
                <c:pt idx="2937">
                  <c:v>9165558.8190000001</c:v>
                </c:pt>
                <c:pt idx="2938">
                  <c:v>9277231.8190000001</c:v>
                </c:pt>
                <c:pt idx="2939">
                  <c:v>9419079.8190000001</c:v>
                </c:pt>
                <c:pt idx="2940">
                  <c:v>9392066.8190000001</c:v>
                </c:pt>
                <c:pt idx="2941">
                  <c:v>9372941.8190000001</c:v>
                </c:pt>
                <c:pt idx="2942">
                  <c:v>9389023.8190000001</c:v>
                </c:pt>
                <c:pt idx="2943">
                  <c:v>9526978.8190000001</c:v>
                </c:pt>
                <c:pt idx="2944">
                  <c:v>9733851.8190000001</c:v>
                </c:pt>
                <c:pt idx="2945">
                  <c:v>9940350.8190000001</c:v>
                </c:pt>
                <c:pt idx="2946">
                  <c:v>9873472.8190000001</c:v>
                </c:pt>
                <c:pt idx="2947">
                  <c:v>9891254.8190000001</c:v>
                </c:pt>
                <c:pt idx="2948">
                  <c:v>9582687.8190000001</c:v>
                </c:pt>
                <c:pt idx="2949">
                  <c:v>9552665.8190000001</c:v>
                </c:pt>
                <c:pt idx="2950">
                  <c:v>9311095.8190000001</c:v>
                </c:pt>
                <c:pt idx="2951">
                  <c:v>9365478.8190000001</c:v>
                </c:pt>
                <c:pt idx="2952">
                  <c:v>9139718.8190000001</c:v>
                </c:pt>
                <c:pt idx="2953">
                  <c:v>9279152.8190000001</c:v>
                </c:pt>
                <c:pt idx="2954">
                  <c:v>9161597.8190000001</c:v>
                </c:pt>
                <c:pt idx="2955">
                  <c:v>9335983.8190000001</c:v>
                </c:pt>
                <c:pt idx="2956">
                  <c:v>9044433.8190000001</c:v>
                </c:pt>
                <c:pt idx="2957">
                  <c:v>9013986.8190000001</c:v>
                </c:pt>
                <c:pt idx="2958">
                  <c:v>8703260.8190000001</c:v>
                </c:pt>
                <c:pt idx="2959">
                  <c:v>8517926.8190000001</c:v>
                </c:pt>
                <c:pt idx="2960">
                  <c:v>8573363.8190000001</c:v>
                </c:pt>
                <c:pt idx="2961">
                  <c:v>8785200.8190000001</c:v>
                </c:pt>
                <c:pt idx="2962">
                  <c:v>8816072.8190000001</c:v>
                </c:pt>
                <c:pt idx="2963">
                  <c:v>8627644.8190000001</c:v>
                </c:pt>
                <c:pt idx="2964">
                  <c:v>8702138.8190000001</c:v>
                </c:pt>
                <c:pt idx="2965">
                  <c:v>8738688.8190000001</c:v>
                </c:pt>
                <c:pt idx="2966">
                  <c:v>8808235.8190000001</c:v>
                </c:pt>
                <c:pt idx="2967">
                  <c:v>8579279.8190000001</c:v>
                </c:pt>
                <c:pt idx="2968">
                  <c:v>8664381.8190000001</c:v>
                </c:pt>
                <c:pt idx="2969">
                  <c:v>8582951.8190000001</c:v>
                </c:pt>
                <c:pt idx="2970">
                  <c:v>8445999.8190000001</c:v>
                </c:pt>
                <c:pt idx="2971">
                  <c:v>8442021.8190000001</c:v>
                </c:pt>
                <c:pt idx="2972">
                  <c:v>8631809.8190000001</c:v>
                </c:pt>
                <c:pt idx="2973">
                  <c:v>8646922.8190000001</c:v>
                </c:pt>
                <c:pt idx="2974">
                  <c:v>8728267.8190000001</c:v>
                </c:pt>
                <c:pt idx="2975">
                  <c:v>8649438.8190000001</c:v>
                </c:pt>
                <c:pt idx="2976">
                  <c:v>8755552.8190000001</c:v>
                </c:pt>
                <c:pt idx="2977">
                  <c:v>8841001.3540000003</c:v>
                </c:pt>
                <c:pt idx="2978">
                  <c:v>8841001.3540000003</c:v>
                </c:pt>
                <c:pt idx="2979">
                  <c:v>8841001.3540000003</c:v>
                </c:pt>
                <c:pt idx="2980">
                  <c:v>8841001.3540000003</c:v>
                </c:pt>
                <c:pt idx="2981">
                  <c:v>8841001.3540000003</c:v>
                </c:pt>
                <c:pt idx="2982">
                  <c:v>8841001.3540000003</c:v>
                </c:pt>
                <c:pt idx="2983">
                  <c:v>8841001.3540000003</c:v>
                </c:pt>
                <c:pt idx="2984">
                  <c:v>8841001.3540000003</c:v>
                </c:pt>
                <c:pt idx="2985">
                  <c:v>8841001.3540000003</c:v>
                </c:pt>
                <c:pt idx="2986">
                  <c:v>8841001.3540000003</c:v>
                </c:pt>
                <c:pt idx="2987">
                  <c:v>8841001.3540000003</c:v>
                </c:pt>
                <c:pt idx="2988">
                  <c:v>8841001.3540000003</c:v>
                </c:pt>
                <c:pt idx="2989">
                  <c:v>8841001.3540000003</c:v>
                </c:pt>
                <c:pt idx="2990">
                  <c:v>8841001.3540000003</c:v>
                </c:pt>
                <c:pt idx="2991">
                  <c:v>8841001.3540000003</c:v>
                </c:pt>
                <c:pt idx="2992">
                  <c:v>8841001.3540000003</c:v>
                </c:pt>
                <c:pt idx="2993">
                  <c:v>8841001.3540000003</c:v>
                </c:pt>
                <c:pt idx="2994">
                  <c:v>8841001.3540000003</c:v>
                </c:pt>
                <c:pt idx="2995">
                  <c:v>8841001.3540000003</c:v>
                </c:pt>
                <c:pt idx="2996">
                  <c:v>8841001.3540000003</c:v>
                </c:pt>
                <c:pt idx="2997">
                  <c:v>8841001.3540000003</c:v>
                </c:pt>
                <c:pt idx="2998">
                  <c:v>8841001.3540000003</c:v>
                </c:pt>
                <c:pt idx="2999">
                  <c:v>8841001.3540000003</c:v>
                </c:pt>
                <c:pt idx="3000">
                  <c:v>8841001.3540000003</c:v>
                </c:pt>
                <c:pt idx="3001">
                  <c:v>8841001.3540000003</c:v>
                </c:pt>
                <c:pt idx="3002">
                  <c:v>8841001.3540000003</c:v>
                </c:pt>
                <c:pt idx="3003">
                  <c:v>8841001.3540000003</c:v>
                </c:pt>
                <c:pt idx="3004">
                  <c:v>8841001.3540000003</c:v>
                </c:pt>
                <c:pt idx="3005">
                  <c:v>8841001.3540000003</c:v>
                </c:pt>
                <c:pt idx="3006">
                  <c:v>8841001.3540000003</c:v>
                </c:pt>
                <c:pt idx="3007">
                  <c:v>8841001.3540000003</c:v>
                </c:pt>
                <c:pt idx="3008">
                  <c:v>8841001.3540000003</c:v>
                </c:pt>
                <c:pt idx="3009">
                  <c:v>8841001.3540000003</c:v>
                </c:pt>
                <c:pt idx="3010">
                  <c:v>8841001.3540000003</c:v>
                </c:pt>
                <c:pt idx="3011">
                  <c:v>8841001.3540000003</c:v>
                </c:pt>
                <c:pt idx="3012">
                  <c:v>8841001.3540000003</c:v>
                </c:pt>
                <c:pt idx="3013">
                  <c:v>8841001.3540000003</c:v>
                </c:pt>
                <c:pt idx="3014">
                  <c:v>8841001.3540000003</c:v>
                </c:pt>
                <c:pt idx="3015">
                  <c:v>8841001.3540000003</c:v>
                </c:pt>
                <c:pt idx="3016">
                  <c:v>8841001.3540000003</c:v>
                </c:pt>
                <c:pt idx="3017">
                  <c:v>8841001.3540000003</c:v>
                </c:pt>
                <c:pt idx="3018">
                  <c:v>8841001.3540000003</c:v>
                </c:pt>
                <c:pt idx="3019">
                  <c:v>8841001.3540000003</c:v>
                </c:pt>
                <c:pt idx="3020">
                  <c:v>8841001.3540000003</c:v>
                </c:pt>
                <c:pt idx="3021">
                  <c:v>8841001.3540000003</c:v>
                </c:pt>
                <c:pt idx="3022">
                  <c:v>8841001.3540000003</c:v>
                </c:pt>
                <c:pt idx="3023">
                  <c:v>8841001.3540000003</c:v>
                </c:pt>
                <c:pt idx="3024">
                  <c:v>8841001.3540000003</c:v>
                </c:pt>
                <c:pt idx="3025">
                  <c:v>8841001.3540000003</c:v>
                </c:pt>
                <c:pt idx="3026">
                  <c:v>8841001.3540000003</c:v>
                </c:pt>
                <c:pt idx="3027">
                  <c:v>8841001.3540000003</c:v>
                </c:pt>
                <c:pt idx="3028">
                  <c:v>8841001.3540000003</c:v>
                </c:pt>
                <c:pt idx="3029">
                  <c:v>8841001.3540000003</c:v>
                </c:pt>
                <c:pt idx="3030">
                  <c:v>8840126.2970000003</c:v>
                </c:pt>
                <c:pt idx="3031">
                  <c:v>8854712.2970000003</c:v>
                </c:pt>
                <c:pt idx="3032">
                  <c:v>8997512.2970000003</c:v>
                </c:pt>
                <c:pt idx="3033">
                  <c:v>9017555.2970000003</c:v>
                </c:pt>
                <c:pt idx="3034">
                  <c:v>8913481.2970000003</c:v>
                </c:pt>
                <c:pt idx="3035">
                  <c:v>8970431.2970000003</c:v>
                </c:pt>
                <c:pt idx="3036">
                  <c:v>8979985.2970000003</c:v>
                </c:pt>
                <c:pt idx="3037">
                  <c:v>8727467.2970000003</c:v>
                </c:pt>
                <c:pt idx="3038">
                  <c:v>8735406.2970000003</c:v>
                </c:pt>
                <c:pt idx="3039">
                  <c:v>8730833.2970000003</c:v>
                </c:pt>
                <c:pt idx="3040">
                  <c:v>8828396.2970000003</c:v>
                </c:pt>
                <c:pt idx="3041">
                  <c:v>8739605.2970000003</c:v>
                </c:pt>
                <c:pt idx="3042">
                  <c:v>8707611.2970000003</c:v>
                </c:pt>
                <c:pt idx="3043">
                  <c:v>8815170.2970000003</c:v>
                </c:pt>
                <c:pt idx="3044">
                  <c:v>8831133.2970000003</c:v>
                </c:pt>
                <c:pt idx="3045">
                  <c:v>8730799.2970000003</c:v>
                </c:pt>
                <c:pt idx="3046">
                  <c:v>8847045.2970000003</c:v>
                </c:pt>
                <c:pt idx="3047">
                  <c:v>8750672.2970000003</c:v>
                </c:pt>
                <c:pt idx="3048">
                  <c:v>8782496.2970000003</c:v>
                </c:pt>
                <c:pt idx="3049">
                  <c:v>8774846.2970000003</c:v>
                </c:pt>
                <c:pt idx="3050">
                  <c:v>8834431.2970000003</c:v>
                </c:pt>
                <c:pt idx="3051">
                  <c:v>8847538.2970000003</c:v>
                </c:pt>
                <c:pt idx="3052">
                  <c:v>8741254.2970000003</c:v>
                </c:pt>
                <c:pt idx="3053">
                  <c:v>8462573.2970000003</c:v>
                </c:pt>
                <c:pt idx="3054">
                  <c:v>8165982.5750000002</c:v>
                </c:pt>
                <c:pt idx="3055">
                  <c:v>8165982.5750000002</c:v>
                </c:pt>
                <c:pt idx="3056">
                  <c:v>8165982.5750000002</c:v>
                </c:pt>
                <c:pt idx="3057">
                  <c:v>8165982.5750000002</c:v>
                </c:pt>
                <c:pt idx="3058">
                  <c:v>8165982.5750000002</c:v>
                </c:pt>
                <c:pt idx="3059">
                  <c:v>8165982.5750000002</c:v>
                </c:pt>
                <c:pt idx="3060">
                  <c:v>8165982.5750000002</c:v>
                </c:pt>
                <c:pt idx="3061">
                  <c:v>8165982.5750000002</c:v>
                </c:pt>
                <c:pt idx="3062">
                  <c:v>8165982.5750000002</c:v>
                </c:pt>
                <c:pt idx="3063">
                  <c:v>8165982.5750000002</c:v>
                </c:pt>
                <c:pt idx="3064">
                  <c:v>8165982.5750000002</c:v>
                </c:pt>
                <c:pt idx="3065">
                  <c:v>8165982.5750000002</c:v>
                </c:pt>
                <c:pt idx="3066">
                  <c:v>8165982.5750000002</c:v>
                </c:pt>
                <c:pt idx="3067">
                  <c:v>8165982.5750000002</c:v>
                </c:pt>
                <c:pt idx="3068">
                  <c:v>8165982.5750000002</c:v>
                </c:pt>
                <c:pt idx="3069">
                  <c:v>8165982.5750000002</c:v>
                </c:pt>
                <c:pt idx="3070">
                  <c:v>8165982.5750000002</c:v>
                </c:pt>
                <c:pt idx="3071">
                  <c:v>8165982.5750000002</c:v>
                </c:pt>
                <c:pt idx="3072">
                  <c:v>8165982.5750000002</c:v>
                </c:pt>
                <c:pt idx="3073">
                  <c:v>8165982.5750000002</c:v>
                </c:pt>
                <c:pt idx="3074">
                  <c:v>8165982.5750000002</c:v>
                </c:pt>
                <c:pt idx="3075">
                  <c:v>8165982.5750000002</c:v>
                </c:pt>
                <c:pt idx="3076">
                  <c:v>8165982.5750000002</c:v>
                </c:pt>
                <c:pt idx="3077">
                  <c:v>8165982.5750000002</c:v>
                </c:pt>
                <c:pt idx="3078">
                  <c:v>8165982.5750000002</c:v>
                </c:pt>
                <c:pt idx="3079">
                  <c:v>8165982.5750000002</c:v>
                </c:pt>
                <c:pt idx="3080">
                  <c:v>8165982.5750000002</c:v>
                </c:pt>
                <c:pt idx="3081">
                  <c:v>8165982.5750000002</c:v>
                </c:pt>
                <c:pt idx="3082">
                  <c:v>8165982.5750000002</c:v>
                </c:pt>
                <c:pt idx="3083">
                  <c:v>8165982.5750000002</c:v>
                </c:pt>
                <c:pt idx="3084">
                  <c:v>8165982.5750000002</c:v>
                </c:pt>
                <c:pt idx="3085">
                  <c:v>8165982.5750000002</c:v>
                </c:pt>
                <c:pt idx="3086">
                  <c:v>8165982.5750000002</c:v>
                </c:pt>
                <c:pt idx="3087">
                  <c:v>8165982.5750000002</c:v>
                </c:pt>
                <c:pt idx="3088">
                  <c:v>8165982.5750000002</c:v>
                </c:pt>
                <c:pt idx="3089">
                  <c:v>8165982.5750000002</c:v>
                </c:pt>
                <c:pt idx="3090">
                  <c:v>8165982.5750000002</c:v>
                </c:pt>
                <c:pt idx="3091">
                  <c:v>8165982.5750000002</c:v>
                </c:pt>
                <c:pt idx="3092">
                  <c:v>8165982.5750000002</c:v>
                </c:pt>
                <c:pt idx="3093">
                  <c:v>8165982.5750000002</c:v>
                </c:pt>
                <c:pt idx="3094">
                  <c:v>8165982.5750000002</c:v>
                </c:pt>
                <c:pt idx="3095">
                  <c:v>8165982.5750000002</c:v>
                </c:pt>
                <c:pt idx="3096">
                  <c:v>8165982.5750000002</c:v>
                </c:pt>
                <c:pt idx="3097">
                  <c:v>8165982.5750000002</c:v>
                </c:pt>
                <c:pt idx="3098">
                  <c:v>8165982.5750000002</c:v>
                </c:pt>
                <c:pt idx="3099">
                  <c:v>8165203.9539999999</c:v>
                </c:pt>
                <c:pt idx="3100">
                  <c:v>8266899.9539999999</c:v>
                </c:pt>
                <c:pt idx="3101">
                  <c:v>8276899.9539999999</c:v>
                </c:pt>
                <c:pt idx="3102">
                  <c:v>8193139.9539999999</c:v>
                </c:pt>
                <c:pt idx="3103">
                  <c:v>8283171.9539999999</c:v>
                </c:pt>
                <c:pt idx="3104">
                  <c:v>8240771.9539999999</c:v>
                </c:pt>
                <c:pt idx="3105">
                  <c:v>8270371.9539999999</c:v>
                </c:pt>
                <c:pt idx="3106">
                  <c:v>8178643.9539999999</c:v>
                </c:pt>
                <c:pt idx="3107">
                  <c:v>8255347.9539999999</c:v>
                </c:pt>
                <c:pt idx="3108">
                  <c:v>8235283.9539999999</c:v>
                </c:pt>
                <c:pt idx="3109">
                  <c:v>8263827.9539999999</c:v>
                </c:pt>
                <c:pt idx="3110">
                  <c:v>8314563.9539999999</c:v>
                </c:pt>
                <c:pt idx="3111">
                  <c:v>8346227.9539999999</c:v>
                </c:pt>
                <c:pt idx="3112">
                  <c:v>8319955.9539999999</c:v>
                </c:pt>
                <c:pt idx="3113">
                  <c:v>8216051.9539999999</c:v>
                </c:pt>
                <c:pt idx="3114">
                  <c:v>8161619.9539999999</c:v>
                </c:pt>
                <c:pt idx="3115">
                  <c:v>8233027.9539999999</c:v>
                </c:pt>
                <c:pt idx="3116">
                  <c:v>8204099.9539999999</c:v>
                </c:pt>
                <c:pt idx="3117">
                  <c:v>8122755.9539999999</c:v>
                </c:pt>
                <c:pt idx="3118">
                  <c:v>8092000.5760000004</c:v>
                </c:pt>
                <c:pt idx="3119">
                  <c:v>8092000.5760000004</c:v>
                </c:pt>
                <c:pt idx="3120">
                  <c:v>8092000.5760000004</c:v>
                </c:pt>
                <c:pt idx="3121">
                  <c:v>8092000.5760000004</c:v>
                </c:pt>
                <c:pt idx="3122">
                  <c:v>8092000.5760000004</c:v>
                </c:pt>
                <c:pt idx="3123">
                  <c:v>8092000.5760000004</c:v>
                </c:pt>
                <c:pt idx="3124">
                  <c:v>8092000.5760000004</c:v>
                </c:pt>
                <c:pt idx="3125">
                  <c:v>8092000.5760000004</c:v>
                </c:pt>
                <c:pt idx="3126">
                  <c:v>8092000.5760000004</c:v>
                </c:pt>
                <c:pt idx="3127">
                  <c:v>8092000.5760000004</c:v>
                </c:pt>
                <c:pt idx="3128">
                  <c:v>8092000.5760000004</c:v>
                </c:pt>
                <c:pt idx="3129">
                  <c:v>8092000.5760000004</c:v>
                </c:pt>
                <c:pt idx="3130">
                  <c:v>8092000.5760000004</c:v>
                </c:pt>
                <c:pt idx="3131">
                  <c:v>8092000.5760000004</c:v>
                </c:pt>
                <c:pt idx="3132">
                  <c:v>8092000.5760000004</c:v>
                </c:pt>
                <c:pt idx="3133">
                  <c:v>8092000.5760000004</c:v>
                </c:pt>
                <c:pt idx="3134">
                  <c:v>8092000.5760000004</c:v>
                </c:pt>
                <c:pt idx="3135">
                  <c:v>8092000.5760000004</c:v>
                </c:pt>
                <c:pt idx="3136">
                  <c:v>8092000.5760000004</c:v>
                </c:pt>
                <c:pt idx="3137">
                  <c:v>8092000.5760000004</c:v>
                </c:pt>
                <c:pt idx="3138">
                  <c:v>8092000.5760000004</c:v>
                </c:pt>
                <c:pt idx="3139">
                  <c:v>8092000.5760000004</c:v>
                </c:pt>
                <c:pt idx="3140">
                  <c:v>8092000.5760000004</c:v>
                </c:pt>
                <c:pt idx="3141">
                  <c:v>8092000.5760000004</c:v>
                </c:pt>
                <c:pt idx="3142">
                  <c:v>8092000.5760000004</c:v>
                </c:pt>
                <c:pt idx="3143">
                  <c:v>8092000.5760000004</c:v>
                </c:pt>
                <c:pt idx="3144">
                  <c:v>8092000.5760000004</c:v>
                </c:pt>
                <c:pt idx="3145">
                  <c:v>8091191.7570000002</c:v>
                </c:pt>
                <c:pt idx="3146">
                  <c:v>8137079.7570000002</c:v>
                </c:pt>
                <c:pt idx="3147">
                  <c:v>8082519.7570000002</c:v>
                </c:pt>
                <c:pt idx="3148">
                  <c:v>8012439.7570000002</c:v>
                </c:pt>
                <c:pt idx="3149">
                  <c:v>8058567.7570000002</c:v>
                </c:pt>
                <c:pt idx="3150">
                  <c:v>7930615.7570000002</c:v>
                </c:pt>
                <c:pt idx="3151">
                  <c:v>7811671.7570000002</c:v>
                </c:pt>
                <c:pt idx="3152">
                  <c:v>7864583.7570000002</c:v>
                </c:pt>
                <c:pt idx="3153">
                  <c:v>7866119.7570000002</c:v>
                </c:pt>
                <c:pt idx="3154">
                  <c:v>7920983.7570000002</c:v>
                </c:pt>
                <c:pt idx="3155">
                  <c:v>7877143.7570000002</c:v>
                </c:pt>
                <c:pt idx="3156">
                  <c:v>7873911.7570000002</c:v>
                </c:pt>
                <c:pt idx="3157">
                  <c:v>7932535.7570000002</c:v>
                </c:pt>
                <c:pt idx="3158">
                  <c:v>7816567.7570000002</c:v>
                </c:pt>
                <c:pt idx="3159">
                  <c:v>7877415.7570000002</c:v>
                </c:pt>
                <c:pt idx="3160">
                  <c:v>7907591.7570000002</c:v>
                </c:pt>
                <c:pt idx="3161">
                  <c:v>7871431.7570000002</c:v>
                </c:pt>
                <c:pt idx="3162">
                  <c:v>7791991.7570000002</c:v>
                </c:pt>
                <c:pt idx="3163">
                  <c:v>7712167.7570000002</c:v>
                </c:pt>
                <c:pt idx="3164">
                  <c:v>7718791.7570000002</c:v>
                </c:pt>
                <c:pt idx="3165">
                  <c:v>7753479.7570000002</c:v>
                </c:pt>
                <c:pt idx="3166">
                  <c:v>7679431.7570000002</c:v>
                </c:pt>
                <c:pt idx="3167">
                  <c:v>7755927.7570000002</c:v>
                </c:pt>
                <c:pt idx="3168">
                  <c:v>7628471.7570000002</c:v>
                </c:pt>
                <c:pt idx="3169">
                  <c:v>7565767.7570000002</c:v>
                </c:pt>
                <c:pt idx="3170">
                  <c:v>7630647.7570000002</c:v>
                </c:pt>
                <c:pt idx="3171">
                  <c:v>7704359.7570000002</c:v>
                </c:pt>
                <c:pt idx="3172">
                  <c:v>7651607.7570000002</c:v>
                </c:pt>
                <c:pt idx="3173">
                  <c:v>7720615.7570000002</c:v>
                </c:pt>
                <c:pt idx="3174">
                  <c:v>7649895.7570000002</c:v>
                </c:pt>
                <c:pt idx="3175">
                  <c:v>7661783.7570000002</c:v>
                </c:pt>
                <c:pt idx="3176">
                  <c:v>7488519.7570000002</c:v>
                </c:pt>
                <c:pt idx="3177">
                  <c:v>7542695.7570000002</c:v>
                </c:pt>
                <c:pt idx="3178">
                  <c:v>7394807.7570000002</c:v>
                </c:pt>
                <c:pt idx="3179">
                  <c:v>7305031.7570000002</c:v>
                </c:pt>
                <c:pt idx="3180">
                  <c:v>7417543.7570000002</c:v>
                </c:pt>
                <c:pt idx="3181">
                  <c:v>7377031.7570000002</c:v>
                </c:pt>
                <c:pt idx="3182">
                  <c:v>7446295.7570000002</c:v>
                </c:pt>
                <c:pt idx="3183">
                  <c:v>7426775.7570000002</c:v>
                </c:pt>
                <c:pt idx="3184">
                  <c:v>7365239.7570000002</c:v>
                </c:pt>
                <c:pt idx="3185">
                  <c:v>7285703.7570000002</c:v>
                </c:pt>
                <c:pt idx="3186">
                  <c:v>7363159.7570000002</c:v>
                </c:pt>
                <c:pt idx="3187">
                  <c:v>7391783.7570000002</c:v>
                </c:pt>
                <c:pt idx="3188">
                  <c:v>7409655.7570000002</c:v>
                </c:pt>
                <c:pt idx="3189">
                  <c:v>7444983.7570000002</c:v>
                </c:pt>
                <c:pt idx="3190">
                  <c:v>7417895.7570000002</c:v>
                </c:pt>
                <c:pt idx="3191">
                  <c:v>7321639.7570000002</c:v>
                </c:pt>
                <c:pt idx="3192">
                  <c:v>7399879.7570000002</c:v>
                </c:pt>
                <c:pt idx="3193">
                  <c:v>7249911.7570000002</c:v>
                </c:pt>
                <c:pt idx="3194">
                  <c:v>7320471.7570000002</c:v>
                </c:pt>
                <c:pt idx="3195">
                  <c:v>7332906.693</c:v>
                </c:pt>
                <c:pt idx="3196">
                  <c:v>7332906.693</c:v>
                </c:pt>
                <c:pt idx="3197">
                  <c:v>7332906.693</c:v>
                </c:pt>
                <c:pt idx="3198">
                  <c:v>7332906.693</c:v>
                </c:pt>
                <c:pt idx="3199">
                  <c:v>7332906.693</c:v>
                </c:pt>
                <c:pt idx="3200">
                  <c:v>7332906.693</c:v>
                </c:pt>
                <c:pt idx="3201">
                  <c:v>7332906.693</c:v>
                </c:pt>
                <c:pt idx="3202">
                  <c:v>7332906.693</c:v>
                </c:pt>
                <c:pt idx="3203">
                  <c:v>7332906.693</c:v>
                </c:pt>
                <c:pt idx="3204">
                  <c:v>7332906.693</c:v>
                </c:pt>
                <c:pt idx="3205">
                  <c:v>7332906.693</c:v>
                </c:pt>
                <c:pt idx="3206">
                  <c:v>7332906.693</c:v>
                </c:pt>
                <c:pt idx="3207">
                  <c:v>7332906.693</c:v>
                </c:pt>
                <c:pt idx="3208">
                  <c:v>7332906.693</c:v>
                </c:pt>
                <c:pt idx="3209">
                  <c:v>7332906.693</c:v>
                </c:pt>
                <c:pt idx="3210">
                  <c:v>7332906.693</c:v>
                </c:pt>
                <c:pt idx="3211">
                  <c:v>7332906.693</c:v>
                </c:pt>
                <c:pt idx="3212">
                  <c:v>7332906.693</c:v>
                </c:pt>
                <c:pt idx="3213">
                  <c:v>7332906.693</c:v>
                </c:pt>
                <c:pt idx="3214">
                  <c:v>7332906.693</c:v>
                </c:pt>
                <c:pt idx="3215">
                  <c:v>7332906.693</c:v>
                </c:pt>
                <c:pt idx="3216">
                  <c:v>7332906.693</c:v>
                </c:pt>
                <c:pt idx="3217">
                  <c:v>7332906.693</c:v>
                </c:pt>
                <c:pt idx="3218">
                  <c:v>7332906.693</c:v>
                </c:pt>
                <c:pt idx="3219">
                  <c:v>7332906.693</c:v>
                </c:pt>
                <c:pt idx="3220">
                  <c:v>7332906.693</c:v>
                </c:pt>
                <c:pt idx="3221">
                  <c:v>7332906.693</c:v>
                </c:pt>
                <c:pt idx="3222">
                  <c:v>7332906.693</c:v>
                </c:pt>
              </c:numCache>
            </c:numRef>
          </c:val>
          <c:smooth val="0"/>
          <c:extLst>
            <c:ext xmlns:c16="http://schemas.microsoft.com/office/drawing/2014/chart" uri="{C3380CC4-5D6E-409C-BE32-E72D297353CC}">
              <c16:uniqueId val="{00000001-E975-419F-8594-7CBBAA84EA25}"/>
            </c:ext>
          </c:extLst>
        </c:ser>
        <c:ser>
          <c:idx val="2"/>
          <c:order val="2"/>
          <c:tx>
            <c:strRef>
              <c:f>beta_benchmark!$E$1</c:f>
              <c:strCache>
                <c:ptCount val="1"/>
                <c:pt idx="0">
                  <c:v>hs300</c:v>
                </c:pt>
              </c:strCache>
            </c:strRef>
          </c:tx>
          <c:spPr>
            <a:ln w="28575" cap="rnd">
              <a:solidFill>
                <a:schemeClr val="accent3"/>
              </a:solidFill>
              <a:round/>
            </a:ln>
            <a:effectLst/>
          </c:spPr>
          <c:marker>
            <c:symbol val="none"/>
          </c:marker>
          <c:cat>
            <c:numRef>
              <c:f>beta_benchmark!$B$2:$B$3224</c:f>
              <c:numCache>
                <c:formatCode>m/d/yyyy</c:formatCode>
                <c:ptCount val="3223"/>
                <c:pt idx="0">
                  <c:v>39818</c:v>
                </c:pt>
                <c:pt idx="1">
                  <c:v>39819</c:v>
                </c:pt>
                <c:pt idx="2">
                  <c:v>39820</c:v>
                </c:pt>
                <c:pt idx="3">
                  <c:v>39821</c:v>
                </c:pt>
                <c:pt idx="4">
                  <c:v>39822</c:v>
                </c:pt>
                <c:pt idx="5">
                  <c:v>39825</c:v>
                </c:pt>
                <c:pt idx="6">
                  <c:v>39826</c:v>
                </c:pt>
                <c:pt idx="7">
                  <c:v>39827</c:v>
                </c:pt>
                <c:pt idx="8">
                  <c:v>39828</c:v>
                </c:pt>
                <c:pt idx="9">
                  <c:v>39829</c:v>
                </c:pt>
                <c:pt idx="10">
                  <c:v>39832</c:v>
                </c:pt>
                <c:pt idx="11">
                  <c:v>39833</c:v>
                </c:pt>
                <c:pt idx="12">
                  <c:v>39834</c:v>
                </c:pt>
                <c:pt idx="13">
                  <c:v>39835</c:v>
                </c:pt>
                <c:pt idx="14">
                  <c:v>39836</c:v>
                </c:pt>
                <c:pt idx="15">
                  <c:v>39846</c:v>
                </c:pt>
                <c:pt idx="16">
                  <c:v>39847</c:v>
                </c:pt>
                <c:pt idx="17">
                  <c:v>39848</c:v>
                </c:pt>
                <c:pt idx="18">
                  <c:v>39849</c:v>
                </c:pt>
                <c:pt idx="19">
                  <c:v>39850</c:v>
                </c:pt>
                <c:pt idx="20">
                  <c:v>39853</c:v>
                </c:pt>
                <c:pt idx="21">
                  <c:v>39854</c:v>
                </c:pt>
                <c:pt idx="22">
                  <c:v>39855</c:v>
                </c:pt>
                <c:pt idx="23">
                  <c:v>39856</c:v>
                </c:pt>
                <c:pt idx="24">
                  <c:v>39857</c:v>
                </c:pt>
                <c:pt idx="25">
                  <c:v>39860</c:v>
                </c:pt>
                <c:pt idx="26">
                  <c:v>39861</c:v>
                </c:pt>
                <c:pt idx="27">
                  <c:v>39862</c:v>
                </c:pt>
                <c:pt idx="28">
                  <c:v>39863</c:v>
                </c:pt>
                <c:pt idx="29">
                  <c:v>39864</c:v>
                </c:pt>
                <c:pt idx="30">
                  <c:v>39867</c:v>
                </c:pt>
                <c:pt idx="31">
                  <c:v>39868</c:v>
                </c:pt>
                <c:pt idx="32">
                  <c:v>39869</c:v>
                </c:pt>
                <c:pt idx="33">
                  <c:v>39870</c:v>
                </c:pt>
                <c:pt idx="34">
                  <c:v>39871</c:v>
                </c:pt>
                <c:pt idx="35">
                  <c:v>39874</c:v>
                </c:pt>
                <c:pt idx="36">
                  <c:v>39875</c:v>
                </c:pt>
                <c:pt idx="37">
                  <c:v>39876</c:v>
                </c:pt>
                <c:pt idx="38">
                  <c:v>39877</c:v>
                </c:pt>
                <c:pt idx="39">
                  <c:v>39878</c:v>
                </c:pt>
                <c:pt idx="40">
                  <c:v>39881</c:v>
                </c:pt>
                <c:pt idx="41">
                  <c:v>39882</c:v>
                </c:pt>
                <c:pt idx="42">
                  <c:v>39883</c:v>
                </c:pt>
                <c:pt idx="43">
                  <c:v>39884</c:v>
                </c:pt>
                <c:pt idx="44">
                  <c:v>39885</c:v>
                </c:pt>
                <c:pt idx="45">
                  <c:v>39888</c:v>
                </c:pt>
                <c:pt idx="46">
                  <c:v>39889</c:v>
                </c:pt>
                <c:pt idx="47">
                  <c:v>39890</c:v>
                </c:pt>
                <c:pt idx="48">
                  <c:v>39891</c:v>
                </c:pt>
                <c:pt idx="49">
                  <c:v>39892</c:v>
                </c:pt>
                <c:pt idx="50">
                  <c:v>39895</c:v>
                </c:pt>
                <c:pt idx="51">
                  <c:v>39896</c:v>
                </c:pt>
                <c:pt idx="52">
                  <c:v>39897</c:v>
                </c:pt>
                <c:pt idx="53">
                  <c:v>39898</c:v>
                </c:pt>
                <c:pt idx="54">
                  <c:v>39899</c:v>
                </c:pt>
                <c:pt idx="55">
                  <c:v>39902</c:v>
                </c:pt>
                <c:pt idx="56">
                  <c:v>39903</c:v>
                </c:pt>
                <c:pt idx="57">
                  <c:v>39904</c:v>
                </c:pt>
                <c:pt idx="58">
                  <c:v>39905</c:v>
                </c:pt>
                <c:pt idx="59">
                  <c:v>39906</c:v>
                </c:pt>
                <c:pt idx="60">
                  <c:v>39910</c:v>
                </c:pt>
                <c:pt idx="61">
                  <c:v>39911</c:v>
                </c:pt>
                <c:pt idx="62">
                  <c:v>39912</c:v>
                </c:pt>
                <c:pt idx="63">
                  <c:v>39913</c:v>
                </c:pt>
                <c:pt idx="64">
                  <c:v>39916</c:v>
                </c:pt>
                <c:pt idx="65">
                  <c:v>39917</c:v>
                </c:pt>
                <c:pt idx="66">
                  <c:v>39918</c:v>
                </c:pt>
                <c:pt idx="67">
                  <c:v>39919</c:v>
                </c:pt>
                <c:pt idx="68">
                  <c:v>39920</c:v>
                </c:pt>
                <c:pt idx="69">
                  <c:v>39923</c:v>
                </c:pt>
                <c:pt idx="70">
                  <c:v>39924</c:v>
                </c:pt>
                <c:pt idx="71">
                  <c:v>39925</c:v>
                </c:pt>
                <c:pt idx="72">
                  <c:v>39926</c:v>
                </c:pt>
                <c:pt idx="73">
                  <c:v>39927</c:v>
                </c:pt>
                <c:pt idx="74">
                  <c:v>39930</c:v>
                </c:pt>
                <c:pt idx="75">
                  <c:v>39931</c:v>
                </c:pt>
                <c:pt idx="76">
                  <c:v>39932</c:v>
                </c:pt>
                <c:pt idx="77">
                  <c:v>39933</c:v>
                </c:pt>
                <c:pt idx="78">
                  <c:v>39937</c:v>
                </c:pt>
                <c:pt idx="79">
                  <c:v>39938</c:v>
                </c:pt>
                <c:pt idx="80">
                  <c:v>39939</c:v>
                </c:pt>
                <c:pt idx="81">
                  <c:v>39940</c:v>
                </c:pt>
                <c:pt idx="82">
                  <c:v>39941</c:v>
                </c:pt>
                <c:pt idx="83">
                  <c:v>39944</c:v>
                </c:pt>
                <c:pt idx="84">
                  <c:v>39945</c:v>
                </c:pt>
                <c:pt idx="85">
                  <c:v>39946</c:v>
                </c:pt>
                <c:pt idx="86">
                  <c:v>39947</c:v>
                </c:pt>
                <c:pt idx="87">
                  <c:v>39948</c:v>
                </c:pt>
                <c:pt idx="88">
                  <c:v>39951</c:v>
                </c:pt>
                <c:pt idx="89">
                  <c:v>39952</c:v>
                </c:pt>
                <c:pt idx="90">
                  <c:v>39953</c:v>
                </c:pt>
                <c:pt idx="91">
                  <c:v>39954</c:v>
                </c:pt>
                <c:pt idx="92">
                  <c:v>39955</c:v>
                </c:pt>
                <c:pt idx="93">
                  <c:v>39958</c:v>
                </c:pt>
                <c:pt idx="94">
                  <c:v>39959</c:v>
                </c:pt>
                <c:pt idx="95">
                  <c:v>39960</c:v>
                </c:pt>
                <c:pt idx="96">
                  <c:v>39965</c:v>
                </c:pt>
                <c:pt idx="97">
                  <c:v>39966</c:v>
                </c:pt>
                <c:pt idx="98">
                  <c:v>39967</c:v>
                </c:pt>
                <c:pt idx="99">
                  <c:v>39968</c:v>
                </c:pt>
                <c:pt idx="100">
                  <c:v>39969</c:v>
                </c:pt>
                <c:pt idx="101">
                  <c:v>39972</c:v>
                </c:pt>
                <c:pt idx="102">
                  <c:v>39973</c:v>
                </c:pt>
                <c:pt idx="103">
                  <c:v>39974</c:v>
                </c:pt>
                <c:pt idx="104">
                  <c:v>39975</c:v>
                </c:pt>
                <c:pt idx="105">
                  <c:v>39976</c:v>
                </c:pt>
                <c:pt idx="106">
                  <c:v>39979</c:v>
                </c:pt>
                <c:pt idx="107">
                  <c:v>39980</c:v>
                </c:pt>
                <c:pt idx="108">
                  <c:v>39981</c:v>
                </c:pt>
                <c:pt idx="109">
                  <c:v>39982</c:v>
                </c:pt>
                <c:pt idx="110">
                  <c:v>39983</c:v>
                </c:pt>
                <c:pt idx="111">
                  <c:v>39986</c:v>
                </c:pt>
                <c:pt idx="112">
                  <c:v>39987</c:v>
                </c:pt>
                <c:pt idx="113">
                  <c:v>39988</c:v>
                </c:pt>
                <c:pt idx="114">
                  <c:v>39989</c:v>
                </c:pt>
                <c:pt idx="115">
                  <c:v>39990</c:v>
                </c:pt>
                <c:pt idx="116">
                  <c:v>39993</c:v>
                </c:pt>
                <c:pt idx="117">
                  <c:v>39994</c:v>
                </c:pt>
                <c:pt idx="118">
                  <c:v>39995</c:v>
                </c:pt>
                <c:pt idx="119">
                  <c:v>39996</c:v>
                </c:pt>
                <c:pt idx="120">
                  <c:v>39997</c:v>
                </c:pt>
                <c:pt idx="121">
                  <c:v>40000</c:v>
                </c:pt>
                <c:pt idx="122">
                  <c:v>40001</c:v>
                </c:pt>
                <c:pt idx="123">
                  <c:v>40002</c:v>
                </c:pt>
                <c:pt idx="124">
                  <c:v>40003</c:v>
                </c:pt>
                <c:pt idx="125">
                  <c:v>40004</c:v>
                </c:pt>
                <c:pt idx="126">
                  <c:v>40007</c:v>
                </c:pt>
                <c:pt idx="127">
                  <c:v>40008</c:v>
                </c:pt>
                <c:pt idx="128">
                  <c:v>40009</c:v>
                </c:pt>
                <c:pt idx="129">
                  <c:v>40010</c:v>
                </c:pt>
                <c:pt idx="130">
                  <c:v>40011</c:v>
                </c:pt>
                <c:pt idx="131">
                  <c:v>40014</c:v>
                </c:pt>
                <c:pt idx="132">
                  <c:v>40015</c:v>
                </c:pt>
                <c:pt idx="133">
                  <c:v>40016</c:v>
                </c:pt>
                <c:pt idx="134">
                  <c:v>40017</c:v>
                </c:pt>
                <c:pt idx="135">
                  <c:v>40018</c:v>
                </c:pt>
                <c:pt idx="136">
                  <c:v>40021</c:v>
                </c:pt>
                <c:pt idx="137">
                  <c:v>40022</c:v>
                </c:pt>
                <c:pt idx="138">
                  <c:v>40023</c:v>
                </c:pt>
                <c:pt idx="139">
                  <c:v>40024</c:v>
                </c:pt>
                <c:pt idx="140">
                  <c:v>40025</c:v>
                </c:pt>
                <c:pt idx="141">
                  <c:v>40028</c:v>
                </c:pt>
                <c:pt idx="142">
                  <c:v>40029</c:v>
                </c:pt>
                <c:pt idx="143">
                  <c:v>40030</c:v>
                </c:pt>
                <c:pt idx="144">
                  <c:v>40031</c:v>
                </c:pt>
                <c:pt idx="145">
                  <c:v>40032</c:v>
                </c:pt>
                <c:pt idx="146">
                  <c:v>40035</c:v>
                </c:pt>
                <c:pt idx="147">
                  <c:v>40036</c:v>
                </c:pt>
                <c:pt idx="148">
                  <c:v>40037</c:v>
                </c:pt>
                <c:pt idx="149">
                  <c:v>40038</c:v>
                </c:pt>
                <c:pt idx="150">
                  <c:v>40039</c:v>
                </c:pt>
                <c:pt idx="151">
                  <c:v>40042</c:v>
                </c:pt>
                <c:pt idx="152">
                  <c:v>40043</c:v>
                </c:pt>
                <c:pt idx="153">
                  <c:v>40044</c:v>
                </c:pt>
                <c:pt idx="154">
                  <c:v>40045</c:v>
                </c:pt>
                <c:pt idx="155">
                  <c:v>40046</c:v>
                </c:pt>
                <c:pt idx="156">
                  <c:v>40049</c:v>
                </c:pt>
                <c:pt idx="157">
                  <c:v>40050</c:v>
                </c:pt>
                <c:pt idx="158">
                  <c:v>40051</c:v>
                </c:pt>
                <c:pt idx="159">
                  <c:v>40052</c:v>
                </c:pt>
                <c:pt idx="160">
                  <c:v>40053</c:v>
                </c:pt>
                <c:pt idx="161">
                  <c:v>40056</c:v>
                </c:pt>
                <c:pt idx="162">
                  <c:v>40057</c:v>
                </c:pt>
                <c:pt idx="163">
                  <c:v>40058</c:v>
                </c:pt>
                <c:pt idx="164">
                  <c:v>40059</c:v>
                </c:pt>
                <c:pt idx="165">
                  <c:v>40060</c:v>
                </c:pt>
                <c:pt idx="166">
                  <c:v>40063</c:v>
                </c:pt>
                <c:pt idx="167">
                  <c:v>40064</c:v>
                </c:pt>
                <c:pt idx="168">
                  <c:v>40065</c:v>
                </c:pt>
                <c:pt idx="169">
                  <c:v>40066</c:v>
                </c:pt>
                <c:pt idx="170">
                  <c:v>40067</c:v>
                </c:pt>
                <c:pt idx="171">
                  <c:v>40070</c:v>
                </c:pt>
                <c:pt idx="172">
                  <c:v>40071</c:v>
                </c:pt>
                <c:pt idx="173">
                  <c:v>40072</c:v>
                </c:pt>
                <c:pt idx="174">
                  <c:v>40073</c:v>
                </c:pt>
                <c:pt idx="175">
                  <c:v>40074</c:v>
                </c:pt>
                <c:pt idx="176">
                  <c:v>40077</c:v>
                </c:pt>
                <c:pt idx="177">
                  <c:v>40078</c:v>
                </c:pt>
                <c:pt idx="178">
                  <c:v>40079</c:v>
                </c:pt>
                <c:pt idx="179">
                  <c:v>40080</c:v>
                </c:pt>
                <c:pt idx="180">
                  <c:v>40081</c:v>
                </c:pt>
                <c:pt idx="181">
                  <c:v>40084</c:v>
                </c:pt>
                <c:pt idx="182">
                  <c:v>40085</c:v>
                </c:pt>
                <c:pt idx="183">
                  <c:v>40086</c:v>
                </c:pt>
                <c:pt idx="184">
                  <c:v>40095</c:v>
                </c:pt>
                <c:pt idx="185">
                  <c:v>40098</c:v>
                </c:pt>
                <c:pt idx="186">
                  <c:v>40099</c:v>
                </c:pt>
                <c:pt idx="187">
                  <c:v>40100</c:v>
                </c:pt>
                <c:pt idx="188">
                  <c:v>40101</c:v>
                </c:pt>
                <c:pt idx="189">
                  <c:v>40102</c:v>
                </c:pt>
                <c:pt idx="190">
                  <c:v>40105</c:v>
                </c:pt>
                <c:pt idx="191">
                  <c:v>40106</c:v>
                </c:pt>
                <c:pt idx="192">
                  <c:v>40107</c:v>
                </c:pt>
                <c:pt idx="193">
                  <c:v>40108</c:v>
                </c:pt>
                <c:pt idx="194">
                  <c:v>40109</c:v>
                </c:pt>
                <c:pt idx="195">
                  <c:v>40112</c:v>
                </c:pt>
                <c:pt idx="196">
                  <c:v>40113</c:v>
                </c:pt>
                <c:pt idx="197">
                  <c:v>40114</c:v>
                </c:pt>
                <c:pt idx="198">
                  <c:v>40115</c:v>
                </c:pt>
                <c:pt idx="199">
                  <c:v>40116</c:v>
                </c:pt>
                <c:pt idx="200">
                  <c:v>40119</c:v>
                </c:pt>
                <c:pt idx="201">
                  <c:v>40120</c:v>
                </c:pt>
                <c:pt idx="202">
                  <c:v>40121</c:v>
                </c:pt>
                <c:pt idx="203">
                  <c:v>40122</c:v>
                </c:pt>
                <c:pt idx="204">
                  <c:v>40123</c:v>
                </c:pt>
                <c:pt idx="205">
                  <c:v>40126</c:v>
                </c:pt>
                <c:pt idx="206">
                  <c:v>40127</c:v>
                </c:pt>
                <c:pt idx="207">
                  <c:v>40128</c:v>
                </c:pt>
                <c:pt idx="208">
                  <c:v>40129</c:v>
                </c:pt>
                <c:pt idx="209">
                  <c:v>40130</c:v>
                </c:pt>
                <c:pt idx="210">
                  <c:v>40133</c:v>
                </c:pt>
                <c:pt idx="211">
                  <c:v>40134</c:v>
                </c:pt>
                <c:pt idx="212">
                  <c:v>40135</c:v>
                </c:pt>
                <c:pt idx="213">
                  <c:v>40136</c:v>
                </c:pt>
                <c:pt idx="214">
                  <c:v>40137</c:v>
                </c:pt>
                <c:pt idx="215">
                  <c:v>40140</c:v>
                </c:pt>
                <c:pt idx="216">
                  <c:v>40141</c:v>
                </c:pt>
                <c:pt idx="217">
                  <c:v>40142</c:v>
                </c:pt>
                <c:pt idx="218">
                  <c:v>40143</c:v>
                </c:pt>
                <c:pt idx="219">
                  <c:v>40144</c:v>
                </c:pt>
                <c:pt idx="220">
                  <c:v>40147</c:v>
                </c:pt>
                <c:pt idx="221">
                  <c:v>40148</c:v>
                </c:pt>
                <c:pt idx="222">
                  <c:v>40149</c:v>
                </c:pt>
                <c:pt idx="223">
                  <c:v>40150</c:v>
                </c:pt>
                <c:pt idx="224">
                  <c:v>40151</c:v>
                </c:pt>
                <c:pt idx="225">
                  <c:v>40154</c:v>
                </c:pt>
                <c:pt idx="226">
                  <c:v>40155</c:v>
                </c:pt>
                <c:pt idx="227">
                  <c:v>40156</c:v>
                </c:pt>
                <c:pt idx="228">
                  <c:v>40157</c:v>
                </c:pt>
                <c:pt idx="229">
                  <c:v>40158</c:v>
                </c:pt>
                <c:pt idx="230">
                  <c:v>40161</c:v>
                </c:pt>
                <c:pt idx="231">
                  <c:v>40162</c:v>
                </c:pt>
                <c:pt idx="232">
                  <c:v>40163</c:v>
                </c:pt>
                <c:pt idx="233">
                  <c:v>40164</c:v>
                </c:pt>
                <c:pt idx="234">
                  <c:v>40165</c:v>
                </c:pt>
                <c:pt idx="235">
                  <c:v>40168</c:v>
                </c:pt>
                <c:pt idx="236">
                  <c:v>40169</c:v>
                </c:pt>
                <c:pt idx="237">
                  <c:v>40170</c:v>
                </c:pt>
                <c:pt idx="238">
                  <c:v>40171</c:v>
                </c:pt>
                <c:pt idx="239">
                  <c:v>40172</c:v>
                </c:pt>
                <c:pt idx="240">
                  <c:v>40175</c:v>
                </c:pt>
                <c:pt idx="241">
                  <c:v>40176</c:v>
                </c:pt>
                <c:pt idx="242">
                  <c:v>40177</c:v>
                </c:pt>
                <c:pt idx="243">
                  <c:v>40178</c:v>
                </c:pt>
                <c:pt idx="244">
                  <c:v>40182</c:v>
                </c:pt>
                <c:pt idx="245">
                  <c:v>40183</c:v>
                </c:pt>
                <c:pt idx="246">
                  <c:v>40184</c:v>
                </c:pt>
                <c:pt idx="247">
                  <c:v>40185</c:v>
                </c:pt>
                <c:pt idx="248">
                  <c:v>40186</c:v>
                </c:pt>
                <c:pt idx="249">
                  <c:v>40189</c:v>
                </c:pt>
                <c:pt idx="250">
                  <c:v>40190</c:v>
                </c:pt>
                <c:pt idx="251">
                  <c:v>40191</c:v>
                </c:pt>
                <c:pt idx="252">
                  <c:v>40192</c:v>
                </c:pt>
                <c:pt idx="253">
                  <c:v>40193</c:v>
                </c:pt>
                <c:pt idx="254">
                  <c:v>40196</c:v>
                </c:pt>
                <c:pt idx="255">
                  <c:v>40197</c:v>
                </c:pt>
                <c:pt idx="256">
                  <c:v>40198</c:v>
                </c:pt>
                <c:pt idx="257">
                  <c:v>40199</c:v>
                </c:pt>
                <c:pt idx="258">
                  <c:v>40200</c:v>
                </c:pt>
                <c:pt idx="259">
                  <c:v>40203</c:v>
                </c:pt>
                <c:pt idx="260">
                  <c:v>40204</c:v>
                </c:pt>
                <c:pt idx="261">
                  <c:v>40205</c:v>
                </c:pt>
                <c:pt idx="262">
                  <c:v>40206</c:v>
                </c:pt>
                <c:pt idx="263">
                  <c:v>40207</c:v>
                </c:pt>
                <c:pt idx="264">
                  <c:v>40210</c:v>
                </c:pt>
                <c:pt idx="265">
                  <c:v>40211</c:v>
                </c:pt>
                <c:pt idx="266">
                  <c:v>40212</c:v>
                </c:pt>
                <c:pt idx="267">
                  <c:v>40213</c:v>
                </c:pt>
                <c:pt idx="268">
                  <c:v>40214</c:v>
                </c:pt>
                <c:pt idx="269">
                  <c:v>40217</c:v>
                </c:pt>
                <c:pt idx="270">
                  <c:v>40218</c:v>
                </c:pt>
                <c:pt idx="271">
                  <c:v>40219</c:v>
                </c:pt>
                <c:pt idx="272">
                  <c:v>40220</c:v>
                </c:pt>
                <c:pt idx="273">
                  <c:v>40221</c:v>
                </c:pt>
                <c:pt idx="274">
                  <c:v>40231</c:v>
                </c:pt>
                <c:pt idx="275">
                  <c:v>40232</c:v>
                </c:pt>
                <c:pt idx="276">
                  <c:v>40233</c:v>
                </c:pt>
                <c:pt idx="277">
                  <c:v>40234</c:v>
                </c:pt>
                <c:pt idx="278">
                  <c:v>40235</c:v>
                </c:pt>
                <c:pt idx="279">
                  <c:v>40238</c:v>
                </c:pt>
                <c:pt idx="280">
                  <c:v>40239</c:v>
                </c:pt>
                <c:pt idx="281">
                  <c:v>40240</c:v>
                </c:pt>
                <c:pt idx="282">
                  <c:v>40241</c:v>
                </c:pt>
                <c:pt idx="283">
                  <c:v>40242</c:v>
                </c:pt>
                <c:pt idx="284">
                  <c:v>40245</c:v>
                </c:pt>
                <c:pt idx="285">
                  <c:v>40246</c:v>
                </c:pt>
                <c:pt idx="286">
                  <c:v>40247</c:v>
                </c:pt>
                <c:pt idx="287">
                  <c:v>40248</c:v>
                </c:pt>
                <c:pt idx="288">
                  <c:v>40249</c:v>
                </c:pt>
                <c:pt idx="289">
                  <c:v>40252</c:v>
                </c:pt>
                <c:pt idx="290">
                  <c:v>40253</c:v>
                </c:pt>
                <c:pt idx="291">
                  <c:v>40254</c:v>
                </c:pt>
                <c:pt idx="292">
                  <c:v>40255</c:v>
                </c:pt>
                <c:pt idx="293">
                  <c:v>40256</c:v>
                </c:pt>
                <c:pt idx="294">
                  <c:v>40259</c:v>
                </c:pt>
                <c:pt idx="295">
                  <c:v>40260</c:v>
                </c:pt>
                <c:pt idx="296">
                  <c:v>40261</c:v>
                </c:pt>
                <c:pt idx="297">
                  <c:v>40262</c:v>
                </c:pt>
                <c:pt idx="298">
                  <c:v>40263</c:v>
                </c:pt>
                <c:pt idx="299">
                  <c:v>40266</c:v>
                </c:pt>
                <c:pt idx="300">
                  <c:v>40267</c:v>
                </c:pt>
                <c:pt idx="301">
                  <c:v>40268</c:v>
                </c:pt>
                <c:pt idx="302">
                  <c:v>40269</c:v>
                </c:pt>
                <c:pt idx="303">
                  <c:v>40270</c:v>
                </c:pt>
                <c:pt idx="304">
                  <c:v>40274</c:v>
                </c:pt>
                <c:pt idx="305">
                  <c:v>40275</c:v>
                </c:pt>
                <c:pt idx="306">
                  <c:v>40276</c:v>
                </c:pt>
                <c:pt idx="307">
                  <c:v>40277</c:v>
                </c:pt>
                <c:pt idx="308">
                  <c:v>40280</c:v>
                </c:pt>
                <c:pt idx="309">
                  <c:v>40281</c:v>
                </c:pt>
                <c:pt idx="310">
                  <c:v>40282</c:v>
                </c:pt>
                <c:pt idx="311">
                  <c:v>40283</c:v>
                </c:pt>
                <c:pt idx="312">
                  <c:v>40284</c:v>
                </c:pt>
                <c:pt idx="313">
                  <c:v>40287</c:v>
                </c:pt>
                <c:pt idx="314">
                  <c:v>40288</c:v>
                </c:pt>
                <c:pt idx="315">
                  <c:v>40289</c:v>
                </c:pt>
                <c:pt idx="316">
                  <c:v>40290</c:v>
                </c:pt>
                <c:pt idx="317">
                  <c:v>40291</c:v>
                </c:pt>
                <c:pt idx="318">
                  <c:v>40294</c:v>
                </c:pt>
                <c:pt idx="319">
                  <c:v>40295</c:v>
                </c:pt>
                <c:pt idx="320">
                  <c:v>40296</c:v>
                </c:pt>
                <c:pt idx="321">
                  <c:v>40297</c:v>
                </c:pt>
                <c:pt idx="322">
                  <c:v>40298</c:v>
                </c:pt>
                <c:pt idx="323">
                  <c:v>40302</c:v>
                </c:pt>
                <c:pt idx="324">
                  <c:v>40303</c:v>
                </c:pt>
                <c:pt idx="325">
                  <c:v>40304</c:v>
                </c:pt>
                <c:pt idx="326">
                  <c:v>40305</c:v>
                </c:pt>
                <c:pt idx="327">
                  <c:v>40308</c:v>
                </c:pt>
                <c:pt idx="328">
                  <c:v>40309</c:v>
                </c:pt>
                <c:pt idx="329">
                  <c:v>40310</c:v>
                </c:pt>
                <c:pt idx="330">
                  <c:v>40311</c:v>
                </c:pt>
                <c:pt idx="331">
                  <c:v>40312</c:v>
                </c:pt>
                <c:pt idx="332">
                  <c:v>40315</c:v>
                </c:pt>
                <c:pt idx="333">
                  <c:v>40316</c:v>
                </c:pt>
                <c:pt idx="334">
                  <c:v>40317</c:v>
                </c:pt>
                <c:pt idx="335">
                  <c:v>40318</c:v>
                </c:pt>
                <c:pt idx="336">
                  <c:v>40319</c:v>
                </c:pt>
                <c:pt idx="337">
                  <c:v>40322</c:v>
                </c:pt>
                <c:pt idx="338">
                  <c:v>40323</c:v>
                </c:pt>
                <c:pt idx="339">
                  <c:v>40324</c:v>
                </c:pt>
                <c:pt idx="340">
                  <c:v>40325</c:v>
                </c:pt>
                <c:pt idx="341">
                  <c:v>40326</c:v>
                </c:pt>
                <c:pt idx="342">
                  <c:v>40329</c:v>
                </c:pt>
                <c:pt idx="343">
                  <c:v>40330</c:v>
                </c:pt>
                <c:pt idx="344">
                  <c:v>40331</c:v>
                </c:pt>
                <c:pt idx="345">
                  <c:v>40332</c:v>
                </c:pt>
                <c:pt idx="346">
                  <c:v>40333</c:v>
                </c:pt>
                <c:pt idx="347">
                  <c:v>40336</c:v>
                </c:pt>
                <c:pt idx="348">
                  <c:v>40337</c:v>
                </c:pt>
                <c:pt idx="349">
                  <c:v>40338</c:v>
                </c:pt>
                <c:pt idx="350">
                  <c:v>40339</c:v>
                </c:pt>
                <c:pt idx="351">
                  <c:v>40340</c:v>
                </c:pt>
                <c:pt idx="352">
                  <c:v>40346</c:v>
                </c:pt>
                <c:pt idx="353">
                  <c:v>40347</c:v>
                </c:pt>
                <c:pt idx="354">
                  <c:v>40350</c:v>
                </c:pt>
                <c:pt idx="355">
                  <c:v>40351</c:v>
                </c:pt>
                <c:pt idx="356">
                  <c:v>40352</c:v>
                </c:pt>
                <c:pt idx="357">
                  <c:v>40353</c:v>
                </c:pt>
                <c:pt idx="358">
                  <c:v>40354</c:v>
                </c:pt>
                <c:pt idx="359">
                  <c:v>40357</c:v>
                </c:pt>
                <c:pt idx="360">
                  <c:v>40358</c:v>
                </c:pt>
                <c:pt idx="361">
                  <c:v>40359</c:v>
                </c:pt>
                <c:pt idx="362">
                  <c:v>40360</c:v>
                </c:pt>
                <c:pt idx="363">
                  <c:v>40361</c:v>
                </c:pt>
                <c:pt idx="364">
                  <c:v>40364</c:v>
                </c:pt>
                <c:pt idx="365">
                  <c:v>40365</c:v>
                </c:pt>
                <c:pt idx="366">
                  <c:v>40366</c:v>
                </c:pt>
                <c:pt idx="367">
                  <c:v>40367</c:v>
                </c:pt>
                <c:pt idx="368">
                  <c:v>40368</c:v>
                </c:pt>
                <c:pt idx="369">
                  <c:v>40371</c:v>
                </c:pt>
                <c:pt idx="370">
                  <c:v>40372</c:v>
                </c:pt>
                <c:pt idx="371">
                  <c:v>40373</c:v>
                </c:pt>
                <c:pt idx="372">
                  <c:v>40374</c:v>
                </c:pt>
                <c:pt idx="373">
                  <c:v>40375</c:v>
                </c:pt>
                <c:pt idx="374">
                  <c:v>40378</c:v>
                </c:pt>
                <c:pt idx="375">
                  <c:v>40379</c:v>
                </c:pt>
                <c:pt idx="376">
                  <c:v>40380</c:v>
                </c:pt>
                <c:pt idx="377">
                  <c:v>40381</c:v>
                </c:pt>
                <c:pt idx="378">
                  <c:v>40382</c:v>
                </c:pt>
                <c:pt idx="379">
                  <c:v>40385</c:v>
                </c:pt>
                <c:pt idx="380">
                  <c:v>40386</c:v>
                </c:pt>
                <c:pt idx="381">
                  <c:v>40387</c:v>
                </c:pt>
                <c:pt idx="382">
                  <c:v>40388</c:v>
                </c:pt>
                <c:pt idx="383">
                  <c:v>40389</c:v>
                </c:pt>
                <c:pt idx="384">
                  <c:v>40392</c:v>
                </c:pt>
                <c:pt idx="385">
                  <c:v>40393</c:v>
                </c:pt>
                <c:pt idx="386">
                  <c:v>40394</c:v>
                </c:pt>
                <c:pt idx="387">
                  <c:v>40395</c:v>
                </c:pt>
                <c:pt idx="388">
                  <c:v>40396</c:v>
                </c:pt>
                <c:pt idx="389">
                  <c:v>40399</c:v>
                </c:pt>
                <c:pt idx="390">
                  <c:v>40400</c:v>
                </c:pt>
                <c:pt idx="391">
                  <c:v>40401</c:v>
                </c:pt>
                <c:pt idx="392">
                  <c:v>40402</c:v>
                </c:pt>
                <c:pt idx="393">
                  <c:v>40403</c:v>
                </c:pt>
                <c:pt idx="394">
                  <c:v>40406</c:v>
                </c:pt>
                <c:pt idx="395">
                  <c:v>40407</c:v>
                </c:pt>
                <c:pt idx="396">
                  <c:v>40408</c:v>
                </c:pt>
                <c:pt idx="397">
                  <c:v>40409</c:v>
                </c:pt>
                <c:pt idx="398">
                  <c:v>40410</c:v>
                </c:pt>
                <c:pt idx="399">
                  <c:v>40413</c:v>
                </c:pt>
                <c:pt idx="400">
                  <c:v>40414</c:v>
                </c:pt>
                <c:pt idx="401">
                  <c:v>40415</c:v>
                </c:pt>
                <c:pt idx="402">
                  <c:v>40416</c:v>
                </c:pt>
                <c:pt idx="403">
                  <c:v>40417</c:v>
                </c:pt>
                <c:pt idx="404">
                  <c:v>40420</c:v>
                </c:pt>
                <c:pt idx="405">
                  <c:v>40421</c:v>
                </c:pt>
                <c:pt idx="406">
                  <c:v>40422</c:v>
                </c:pt>
                <c:pt idx="407">
                  <c:v>40423</c:v>
                </c:pt>
                <c:pt idx="408">
                  <c:v>40424</c:v>
                </c:pt>
                <c:pt idx="409">
                  <c:v>40427</c:v>
                </c:pt>
                <c:pt idx="410">
                  <c:v>40428</c:v>
                </c:pt>
                <c:pt idx="411">
                  <c:v>40429</c:v>
                </c:pt>
                <c:pt idx="412">
                  <c:v>40430</c:v>
                </c:pt>
                <c:pt idx="413">
                  <c:v>40431</c:v>
                </c:pt>
                <c:pt idx="414">
                  <c:v>40434</c:v>
                </c:pt>
                <c:pt idx="415">
                  <c:v>40435</c:v>
                </c:pt>
                <c:pt idx="416">
                  <c:v>40436</c:v>
                </c:pt>
                <c:pt idx="417">
                  <c:v>40437</c:v>
                </c:pt>
                <c:pt idx="418">
                  <c:v>40438</c:v>
                </c:pt>
                <c:pt idx="419">
                  <c:v>40441</c:v>
                </c:pt>
                <c:pt idx="420">
                  <c:v>40442</c:v>
                </c:pt>
                <c:pt idx="421">
                  <c:v>40448</c:v>
                </c:pt>
                <c:pt idx="422">
                  <c:v>40449</c:v>
                </c:pt>
                <c:pt idx="423">
                  <c:v>40450</c:v>
                </c:pt>
                <c:pt idx="424">
                  <c:v>40451</c:v>
                </c:pt>
                <c:pt idx="425">
                  <c:v>40459</c:v>
                </c:pt>
                <c:pt idx="426">
                  <c:v>40462</c:v>
                </c:pt>
                <c:pt idx="427">
                  <c:v>40463</c:v>
                </c:pt>
                <c:pt idx="428">
                  <c:v>40464</c:v>
                </c:pt>
                <c:pt idx="429">
                  <c:v>40465</c:v>
                </c:pt>
                <c:pt idx="430">
                  <c:v>40466</c:v>
                </c:pt>
                <c:pt idx="431">
                  <c:v>40469</c:v>
                </c:pt>
                <c:pt idx="432">
                  <c:v>40470</c:v>
                </c:pt>
                <c:pt idx="433">
                  <c:v>40471</c:v>
                </c:pt>
                <c:pt idx="434">
                  <c:v>40472</c:v>
                </c:pt>
                <c:pt idx="435">
                  <c:v>40473</c:v>
                </c:pt>
                <c:pt idx="436">
                  <c:v>40476</c:v>
                </c:pt>
                <c:pt idx="437">
                  <c:v>40477</c:v>
                </c:pt>
                <c:pt idx="438">
                  <c:v>40478</c:v>
                </c:pt>
                <c:pt idx="439">
                  <c:v>40479</c:v>
                </c:pt>
                <c:pt idx="440">
                  <c:v>40480</c:v>
                </c:pt>
                <c:pt idx="441">
                  <c:v>40483</c:v>
                </c:pt>
                <c:pt idx="442">
                  <c:v>40484</c:v>
                </c:pt>
                <c:pt idx="443">
                  <c:v>40485</c:v>
                </c:pt>
                <c:pt idx="444">
                  <c:v>40486</c:v>
                </c:pt>
                <c:pt idx="445">
                  <c:v>40487</c:v>
                </c:pt>
                <c:pt idx="446">
                  <c:v>40490</c:v>
                </c:pt>
                <c:pt idx="447">
                  <c:v>40491</c:v>
                </c:pt>
                <c:pt idx="448">
                  <c:v>40492</c:v>
                </c:pt>
                <c:pt idx="449">
                  <c:v>40493</c:v>
                </c:pt>
                <c:pt idx="450">
                  <c:v>40494</c:v>
                </c:pt>
                <c:pt idx="451">
                  <c:v>40497</c:v>
                </c:pt>
                <c:pt idx="452">
                  <c:v>40498</c:v>
                </c:pt>
                <c:pt idx="453">
                  <c:v>40499</c:v>
                </c:pt>
                <c:pt idx="454">
                  <c:v>40500</c:v>
                </c:pt>
                <c:pt idx="455">
                  <c:v>40501</c:v>
                </c:pt>
                <c:pt idx="456">
                  <c:v>40504</c:v>
                </c:pt>
                <c:pt idx="457">
                  <c:v>40505</c:v>
                </c:pt>
                <c:pt idx="458">
                  <c:v>40506</c:v>
                </c:pt>
                <c:pt idx="459">
                  <c:v>40507</c:v>
                </c:pt>
                <c:pt idx="460">
                  <c:v>40508</c:v>
                </c:pt>
                <c:pt idx="461">
                  <c:v>40511</c:v>
                </c:pt>
                <c:pt idx="462">
                  <c:v>40512</c:v>
                </c:pt>
                <c:pt idx="463">
                  <c:v>40513</c:v>
                </c:pt>
                <c:pt idx="464">
                  <c:v>40514</c:v>
                </c:pt>
                <c:pt idx="465">
                  <c:v>40515</c:v>
                </c:pt>
                <c:pt idx="466">
                  <c:v>40518</c:v>
                </c:pt>
                <c:pt idx="467">
                  <c:v>40519</c:v>
                </c:pt>
                <c:pt idx="468">
                  <c:v>40520</c:v>
                </c:pt>
                <c:pt idx="469">
                  <c:v>40521</c:v>
                </c:pt>
                <c:pt idx="470">
                  <c:v>40522</c:v>
                </c:pt>
                <c:pt idx="471">
                  <c:v>40525</c:v>
                </c:pt>
                <c:pt idx="472">
                  <c:v>40526</c:v>
                </c:pt>
                <c:pt idx="473">
                  <c:v>40527</c:v>
                </c:pt>
                <c:pt idx="474">
                  <c:v>40528</c:v>
                </c:pt>
                <c:pt idx="475">
                  <c:v>40529</c:v>
                </c:pt>
                <c:pt idx="476">
                  <c:v>40532</c:v>
                </c:pt>
                <c:pt idx="477">
                  <c:v>40533</c:v>
                </c:pt>
                <c:pt idx="478">
                  <c:v>40534</c:v>
                </c:pt>
                <c:pt idx="479">
                  <c:v>40535</c:v>
                </c:pt>
                <c:pt idx="480">
                  <c:v>40536</c:v>
                </c:pt>
                <c:pt idx="481">
                  <c:v>40539</c:v>
                </c:pt>
                <c:pt idx="482">
                  <c:v>40540</c:v>
                </c:pt>
                <c:pt idx="483">
                  <c:v>40541</c:v>
                </c:pt>
                <c:pt idx="484">
                  <c:v>40542</c:v>
                </c:pt>
                <c:pt idx="485">
                  <c:v>40543</c:v>
                </c:pt>
                <c:pt idx="486">
                  <c:v>40547</c:v>
                </c:pt>
                <c:pt idx="487">
                  <c:v>40548</c:v>
                </c:pt>
                <c:pt idx="488">
                  <c:v>40549</c:v>
                </c:pt>
                <c:pt idx="489">
                  <c:v>40550</c:v>
                </c:pt>
                <c:pt idx="490">
                  <c:v>40553</c:v>
                </c:pt>
                <c:pt idx="491">
                  <c:v>40554</c:v>
                </c:pt>
                <c:pt idx="492">
                  <c:v>40555</c:v>
                </c:pt>
                <c:pt idx="493">
                  <c:v>40556</c:v>
                </c:pt>
                <c:pt idx="494">
                  <c:v>40557</c:v>
                </c:pt>
                <c:pt idx="495">
                  <c:v>40560</c:v>
                </c:pt>
                <c:pt idx="496">
                  <c:v>40561</c:v>
                </c:pt>
                <c:pt idx="497">
                  <c:v>40562</c:v>
                </c:pt>
                <c:pt idx="498">
                  <c:v>40563</c:v>
                </c:pt>
                <c:pt idx="499">
                  <c:v>40564</c:v>
                </c:pt>
                <c:pt idx="500">
                  <c:v>40567</c:v>
                </c:pt>
                <c:pt idx="501">
                  <c:v>40568</c:v>
                </c:pt>
                <c:pt idx="502">
                  <c:v>40569</c:v>
                </c:pt>
                <c:pt idx="503">
                  <c:v>40570</c:v>
                </c:pt>
                <c:pt idx="504">
                  <c:v>40571</c:v>
                </c:pt>
                <c:pt idx="505">
                  <c:v>40574</c:v>
                </c:pt>
                <c:pt idx="506">
                  <c:v>40575</c:v>
                </c:pt>
                <c:pt idx="507">
                  <c:v>40583</c:v>
                </c:pt>
                <c:pt idx="508">
                  <c:v>40584</c:v>
                </c:pt>
                <c:pt idx="509">
                  <c:v>40585</c:v>
                </c:pt>
                <c:pt idx="510">
                  <c:v>40588</c:v>
                </c:pt>
                <c:pt idx="511">
                  <c:v>40589</c:v>
                </c:pt>
                <c:pt idx="512">
                  <c:v>40590</c:v>
                </c:pt>
                <c:pt idx="513">
                  <c:v>40591</c:v>
                </c:pt>
                <c:pt idx="514">
                  <c:v>40592</c:v>
                </c:pt>
                <c:pt idx="515">
                  <c:v>40595</c:v>
                </c:pt>
                <c:pt idx="516">
                  <c:v>40596</c:v>
                </c:pt>
                <c:pt idx="517">
                  <c:v>40597</c:v>
                </c:pt>
                <c:pt idx="518">
                  <c:v>40598</c:v>
                </c:pt>
                <c:pt idx="519">
                  <c:v>40599</c:v>
                </c:pt>
                <c:pt idx="520">
                  <c:v>40602</c:v>
                </c:pt>
                <c:pt idx="521">
                  <c:v>40603</c:v>
                </c:pt>
                <c:pt idx="522">
                  <c:v>40604</c:v>
                </c:pt>
                <c:pt idx="523">
                  <c:v>40605</c:v>
                </c:pt>
                <c:pt idx="524">
                  <c:v>40606</c:v>
                </c:pt>
                <c:pt idx="525">
                  <c:v>40609</c:v>
                </c:pt>
                <c:pt idx="526">
                  <c:v>40610</c:v>
                </c:pt>
                <c:pt idx="527">
                  <c:v>40611</c:v>
                </c:pt>
                <c:pt idx="528">
                  <c:v>40612</c:v>
                </c:pt>
                <c:pt idx="529">
                  <c:v>40613</c:v>
                </c:pt>
                <c:pt idx="530">
                  <c:v>40616</c:v>
                </c:pt>
                <c:pt idx="531">
                  <c:v>40617</c:v>
                </c:pt>
                <c:pt idx="532">
                  <c:v>40618</c:v>
                </c:pt>
                <c:pt idx="533">
                  <c:v>40619</c:v>
                </c:pt>
                <c:pt idx="534">
                  <c:v>40620</c:v>
                </c:pt>
                <c:pt idx="535">
                  <c:v>40623</c:v>
                </c:pt>
                <c:pt idx="536">
                  <c:v>40624</c:v>
                </c:pt>
                <c:pt idx="537">
                  <c:v>40625</c:v>
                </c:pt>
                <c:pt idx="538">
                  <c:v>40626</c:v>
                </c:pt>
                <c:pt idx="539">
                  <c:v>40627</c:v>
                </c:pt>
                <c:pt idx="540">
                  <c:v>40630</c:v>
                </c:pt>
                <c:pt idx="541">
                  <c:v>40631</c:v>
                </c:pt>
                <c:pt idx="542">
                  <c:v>40632</c:v>
                </c:pt>
                <c:pt idx="543">
                  <c:v>40633</c:v>
                </c:pt>
                <c:pt idx="544">
                  <c:v>40634</c:v>
                </c:pt>
                <c:pt idx="545">
                  <c:v>40639</c:v>
                </c:pt>
                <c:pt idx="546">
                  <c:v>40640</c:v>
                </c:pt>
                <c:pt idx="547">
                  <c:v>40641</c:v>
                </c:pt>
                <c:pt idx="548">
                  <c:v>40644</c:v>
                </c:pt>
                <c:pt idx="549">
                  <c:v>40645</c:v>
                </c:pt>
                <c:pt idx="550">
                  <c:v>40646</c:v>
                </c:pt>
                <c:pt idx="551">
                  <c:v>40647</c:v>
                </c:pt>
                <c:pt idx="552">
                  <c:v>40648</c:v>
                </c:pt>
                <c:pt idx="553">
                  <c:v>40651</c:v>
                </c:pt>
                <c:pt idx="554">
                  <c:v>40652</c:v>
                </c:pt>
                <c:pt idx="555">
                  <c:v>40653</c:v>
                </c:pt>
                <c:pt idx="556">
                  <c:v>40654</c:v>
                </c:pt>
                <c:pt idx="557">
                  <c:v>40655</c:v>
                </c:pt>
                <c:pt idx="558">
                  <c:v>40658</c:v>
                </c:pt>
                <c:pt idx="559">
                  <c:v>40659</c:v>
                </c:pt>
                <c:pt idx="560">
                  <c:v>40660</c:v>
                </c:pt>
                <c:pt idx="561">
                  <c:v>40661</c:v>
                </c:pt>
                <c:pt idx="562">
                  <c:v>40662</c:v>
                </c:pt>
                <c:pt idx="563">
                  <c:v>40666</c:v>
                </c:pt>
                <c:pt idx="564">
                  <c:v>40667</c:v>
                </c:pt>
                <c:pt idx="565">
                  <c:v>40668</c:v>
                </c:pt>
                <c:pt idx="566">
                  <c:v>40669</c:v>
                </c:pt>
                <c:pt idx="567">
                  <c:v>40672</c:v>
                </c:pt>
                <c:pt idx="568">
                  <c:v>40673</c:v>
                </c:pt>
                <c:pt idx="569">
                  <c:v>40674</c:v>
                </c:pt>
                <c:pt idx="570">
                  <c:v>40675</c:v>
                </c:pt>
                <c:pt idx="571">
                  <c:v>40676</c:v>
                </c:pt>
                <c:pt idx="572">
                  <c:v>40679</c:v>
                </c:pt>
                <c:pt idx="573">
                  <c:v>40680</c:v>
                </c:pt>
                <c:pt idx="574">
                  <c:v>40681</c:v>
                </c:pt>
                <c:pt idx="575">
                  <c:v>40682</c:v>
                </c:pt>
                <c:pt idx="576">
                  <c:v>40683</c:v>
                </c:pt>
                <c:pt idx="577">
                  <c:v>40686</c:v>
                </c:pt>
                <c:pt idx="578">
                  <c:v>40687</c:v>
                </c:pt>
                <c:pt idx="579">
                  <c:v>40688</c:v>
                </c:pt>
                <c:pt idx="580">
                  <c:v>40689</c:v>
                </c:pt>
                <c:pt idx="581">
                  <c:v>40690</c:v>
                </c:pt>
                <c:pt idx="582">
                  <c:v>40693</c:v>
                </c:pt>
                <c:pt idx="583">
                  <c:v>40694</c:v>
                </c:pt>
                <c:pt idx="584">
                  <c:v>40695</c:v>
                </c:pt>
                <c:pt idx="585">
                  <c:v>40696</c:v>
                </c:pt>
                <c:pt idx="586">
                  <c:v>40697</c:v>
                </c:pt>
                <c:pt idx="587">
                  <c:v>40701</c:v>
                </c:pt>
                <c:pt idx="588">
                  <c:v>40702</c:v>
                </c:pt>
                <c:pt idx="589">
                  <c:v>40703</c:v>
                </c:pt>
                <c:pt idx="590">
                  <c:v>40704</c:v>
                </c:pt>
                <c:pt idx="591">
                  <c:v>40707</c:v>
                </c:pt>
                <c:pt idx="592">
                  <c:v>40708</c:v>
                </c:pt>
                <c:pt idx="593">
                  <c:v>40709</c:v>
                </c:pt>
                <c:pt idx="594">
                  <c:v>40710</c:v>
                </c:pt>
                <c:pt idx="595">
                  <c:v>40711</c:v>
                </c:pt>
                <c:pt idx="596">
                  <c:v>40714</c:v>
                </c:pt>
                <c:pt idx="597">
                  <c:v>40715</c:v>
                </c:pt>
                <c:pt idx="598">
                  <c:v>40716</c:v>
                </c:pt>
                <c:pt idx="599">
                  <c:v>40717</c:v>
                </c:pt>
                <c:pt idx="600">
                  <c:v>40718</c:v>
                </c:pt>
                <c:pt idx="601">
                  <c:v>40721</c:v>
                </c:pt>
                <c:pt idx="602">
                  <c:v>40722</c:v>
                </c:pt>
                <c:pt idx="603">
                  <c:v>40723</c:v>
                </c:pt>
                <c:pt idx="604">
                  <c:v>40724</c:v>
                </c:pt>
                <c:pt idx="605">
                  <c:v>40725</c:v>
                </c:pt>
                <c:pt idx="606">
                  <c:v>40728</c:v>
                </c:pt>
                <c:pt idx="607">
                  <c:v>40729</c:v>
                </c:pt>
                <c:pt idx="608">
                  <c:v>40730</c:v>
                </c:pt>
                <c:pt idx="609">
                  <c:v>40731</c:v>
                </c:pt>
                <c:pt idx="610">
                  <c:v>40732</c:v>
                </c:pt>
                <c:pt idx="611">
                  <c:v>40735</c:v>
                </c:pt>
                <c:pt idx="612">
                  <c:v>40736</c:v>
                </c:pt>
                <c:pt idx="613">
                  <c:v>40737</c:v>
                </c:pt>
                <c:pt idx="614">
                  <c:v>40738</c:v>
                </c:pt>
                <c:pt idx="615">
                  <c:v>40739</c:v>
                </c:pt>
                <c:pt idx="616">
                  <c:v>40742</c:v>
                </c:pt>
                <c:pt idx="617">
                  <c:v>40743</c:v>
                </c:pt>
                <c:pt idx="618">
                  <c:v>40744</c:v>
                </c:pt>
                <c:pt idx="619">
                  <c:v>40745</c:v>
                </c:pt>
                <c:pt idx="620">
                  <c:v>40746</c:v>
                </c:pt>
                <c:pt idx="621">
                  <c:v>40749</c:v>
                </c:pt>
                <c:pt idx="622">
                  <c:v>40750</c:v>
                </c:pt>
                <c:pt idx="623">
                  <c:v>40751</c:v>
                </c:pt>
                <c:pt idx="624">
                  <c:v>40752</c:v>
                </c:pt>
                <c:pt idx="625">
                  <c:v>40753</c:v>
                </c:pt>
                <c:pt idx="626">
                  <c:v>40756</c:v>
                </c:pt>
                <c:pt idx="627">
                  <c:v>40757</c:v>
                </c:pt>
                <c:pt idx="628">
                  <c:v>40758</c:v>
                </c:pt>
                <c:pt idx="629">
                  <c:v>40759</c:v>
                </c:pt>
                <c:pt idx="630">
                  <c:v>40760</c:v>
                </c:pt>
                <c:pt idx="631">
                  <c:v>40763</c:v>
                </c:pt>
                <c:pt idx="632">
                  <c:v>40764</c:v>
                </c:pt>
                <c:pt idx="633">
                  <c:v>40765</c:v>
                </c:pt>
                <c:pt idx="634">
                  <c:v>40766</c:v>
                </c:pt>
                <c:pt idx="635">
                  <c:v>40767</c:v>
                </c:pt>
                <c:pt idx="636">
                  <c:v>40770</c:v>
                </c:pt>
                <c:pt idx="637">
                  <c:v>40771</c:v>
                </c:pt>
                <c:pt idx="638">
                  <c:v>40772</c:v>
                </c:pt>
                <c:pt idx="639">
                  <c:v>40773</c:v>
                </c:pt>
                <c:pt idx="640">
                  <c:v>40774</c:v>
                </c:pt>
                <c:pt idx="641">
                  <c:v>40777</c:v>
                </c:pt>
                <c:pt idx="642">
                  <c:v>40778</c:v>
                </c:pt>
                <c:pt idx="643">
                  <c:v>40779</c:v>
                </c:pt>
                <c:pt idx="644">
                  <c:v>40780</c:v>
                </c:pt>
                <c:pt idx="645">
                  <c:v>40781</c:v>
                </c:pt>
                <c:pt idx="646">
                  <c:v>40784</c:v>
                </c:pt>
                <c:pt idx="647">
                  <c:v>40785</c:v>
                </c:pt>
                <c:pt idx="648">
                  <c:v>40786</c:v>
                </c:pt>
                <c:pt idx="649">
                  <c:v>40787</c:v>
                </c:pt>
                <c:pt idx="650">
                  <c:v>40788</c:v>
                </c:pt>
                <c:pt idx="651">
                  <c:v>40791</c:v>
                </c:pt>
                <c:pt idx="652">
                  <c:v>40792</c:v>
                </c:pt>
                <c:pt idx="653">
                  <c:v>40793</c:v>
                </c:pt>
                <c:pt idx="654">
                  <c:v>40794</c:v>
                </c:pt>
                <c:pt idx="655">
                  <c:v>40795</c:v>
                </c:pt>
                <c:pt idx="656">
                  <c:v>40799</c:v>
                </c:pt>
                <c:pt idx="657">
                  <c:v>40800</c:v>
                </c:pt>
                <c:pt idx="658">
                  <c:v>40801</c:v>
                </c:pt>
                <c:pt idx="659">
                  <c:v>40802</c:v>
                </c:pt>
                <c:pt idx="660">
                  <c:v>40805</c:v>
                </c:pt>
                <c:pt idx="661">
                  <c:v>40806</c:v>
                </c:pt>
                <c:pt idx="662">
                  <c:v>40807</c:v>
                </c:pt>
                <c:pt idx="663">
                  <c:v>40808</c:v>
                </c:pt>
                <c:pt idx="664">
                  <c:v>40809</c:v>
                </c:pt>
                <c:pt idx="665">
                  <c:v>40812</c:v>
                </c:pt>
                <c:pt idx="666">
                  <c:v>40813</c:v>
                </c:pt>
                <c:pt idx="667">
                  <c:v>40814</c:v>
                </c:pt>
                <c:pt idx="668">
                  <c:v>40815</c:v>
                </c:pt>
                <c:pt idx="669">
                  <c:v>40816</c:v>
                </c:pt>
                <c:pt idx="670">
                  <c:v>40826</c:v>
                </c:pt>
                <c:pt idx="671">
                  <c:v>40827</c:v>
                </c:pt>
                <c:pt idx="672">
                  <c:v>40828</c:v>
                </c:pt>
                <c:pt idx="673">
                  <c:v>40829</c:v>
                </c:pt>
                <c:pt idx="674">
                  <c:v>40830</c:v>
                </c:pt>
                <c:pt idx="675">
                  <c:v>40833</c:v>
                </c:pt>
                <c:pt idx="676">
                  <c:v>40834</c:v>
                </c:pt>
                <c:pt idx="677">
                  <c:v>40835</c:v>
                </c:pt>
                <c:pt idx="678">
                  <c:v>40836</c:v>
                </c:pt>
                <c:pt idx="679">
                  <c:v>40837</c:v>
                </c:pt>
                <c:pt idx="680">
                  <c:v>40840</c:v>
                </c:pt>
                <c:pt idx="681">
                  <c:v>40841</c:v>
                </c:pt>
                <c:pt idx="682">
                  <c:v>40842</c:v>
                </c:pt>
                <c:pt idx="683">
                  <c:v>40843</c:v>
                </c:pt>
                <c:pt idx="684">
                  <c:v>40844</c:v>
                </c:pt>
                <c:pt idx="685">
                  <c:v>40847</c:v>
                </c:pt>
                <c:pt idx="686">
                  <c:v>40848</c:v>
                </c:pt>
                <c:pt idx="687">
                  <c:v>40849</c:v>
                </c:pt>
                <c:pt idx="688">
                  <c:v>40850</c:v>
                </c:pt>
                <c:pt idx="689">
                  <c:v>40851</c:v>
                </c:pt>
                <c:pt idx="690">
                  <c:v>40854</c:v>
                </c:pt>
                <c:pt idx="691">
                  <c:v>40855</c:v>
                </c:pt>
                <c:pt idx="692">
                  <c:v>40856</c:v>
                </c:pt>
                <c:pt idx="693">
                  <c:v>40857</c:v>
                </c:pt>
                <c:pt idx="694">
                  <c:v>40858</c:v>
                </c:pt>
                <c:pt idx="695">
                  <c:v>40861</c:v>
                </c:pt>
                <c:pt idx="696">
                  <c:v>40862</c:v>
                </c:pt>
                <c:pt idx="697">
                  <c:v>40863</c:v>
                </c:pt>
                <c:pt idx="698">
                  <c:v>40864</c:v>
                </c:pt>
                <c:pt idx="699">
                  <c:v>40865</c:v>
                </c:pt>
                <c:pt idx="700">
                  <c:v>40868</c:v>
                </c:pt>
                <c:pt idx="701">
                  <c:v>40869</c:v>
                </c:pt>
                <c:pt idx="702">
                  <c:v>40870</c:v>
                </c:pt>
                <c:pt idx="703">
                  <c:v>40871</c:v>
                </c:pt>
                <c:pt idx="704">
                  <c:v>40872</c:v>
                </c:pt>
                <c:pt idx="705">
                  <c:v>40875</c:v>
                </c:pt>
                <c:pt idx="706">
                  <c:v>40876</c:v>
                </c:pt>
                <c:pt idx="707">
                  <c:v>40877</c:v>
                </c:pt>
                <c:pt idx="708">
                  <c:v>40878</c:v>
                </c:pt>
                <c:pt idx="709">
                  <c:v>40879</c:v>
                </c:pt>
                <c:pt idx="710">
                  <c:v>40882</c:v>
                </c:pt>
                <c:pt idx="711">
                  <c:v>40883</c:v>
                </c:pt>
                <c:pt idx="712">
                  <c:v>40884</c:v>
                </c:pt>
                <c:pt idx="713">
                  <c:v>40885</c:v>
                </c:pt>
                <c:pt idx="714">
                  <c:v>40886</c:v>
                </c:pt>
                <c:pt idx="715">
                  <c:v>40889</c:v>
                </c:pt>
                <c:pt idx="716">
                  <c:v>40890</c:v>
                </c:pt>
                <c:pt idx="717">
                  <c:v>40891</c:v>
                </c:pt>
                <c:pt idx="718">
                  <c:v>40892</c:v>
                </c:pt>
                <c:pt idx="719">
                  <c:v>40893</c:v>
                </c:pt>
                <c:pt idx="720">
                  <c:v>40896</c:v>
                </c:pt>
                <c:pt idx="721">
                  <c:v>40897</c:v>
                </c:pt>
                <c:pt idx="722">
                  <c:v>40898</c:v>
                </c:pt>
                <c:pt idx="723">
                  <c:v>40899</c:v>
                </c:pt>
                <c:pt idx="724">
                  <c:v>40900</c:v>
                </c:pt>
                <c:pt idx="725">
                  <c:v>40903</c:v>
                </c:pt>
                <c:pt idx="726">
                  <c:v>40904</c:v>
                </c:pt>
                <c:pt idx="727">
                  <c:v>40905</c:v>
                </c:pt>
                <c:pt idx="728">
                  <c:v>40906</c:v>
                </c:pt>
                <c:pt idx="729">
                  <c:v>40907</c:v>
                </c:pt>
                <c:pt idx="730">
                  <c:v>40912</c:v>
                </c:pt>
                <c:pt idx="731">
                  <c:v>40913</c:v>
                </c:pt>
                <c:pt idx="732">
                  <c:v>40914</c:v>
                </c:pt>
                <c:pt idx="733">
                  <c:v>40917</c:v>
                </c:pt>
                <c:pt idx="734">
                  <c:v>40918</c:v>
                </c:pt>
                <c:pt idx="735">
                  <c:v>40919</c:v>
                </c:pt>
                <c:pt idx="736">
                  <c:v>40920</c:v>
                </c:pt>
                <c:pt idx="737">
                  <c:v>40921</c:v>
                </c:pt>
                <c:pt idx="738">
                  <c:v>40924</c:v>
                </c:pt>
                <c:pt idx="739">
                  <c:v>40925</c:v>
                </c:pt>
                <c:pt idx="740">
                  <c:v>40926</c:v>
                </c:pt>
                <c:pt idx="741">
                  <c:v>40927</c:v>
                </c:pt>
                <c:pt idx="742">
                  <c:v>40928</c:v>
                </c:pt>
                <c:pt idx="743">
                  <c:v>40938</c:v>
                </c:pt>
                <c:pt idx="744">
                  <c:v>40939</c:v>
                </c:pt>
                <c:pt idx="745">
                  <c:v>40940</c:v>
                </c:pt>
                <c:pt idx="746">
                  <c:v>40941</c:v>
                </c:pt>
                <c:pt idx="747">
                  <c:v>40942</c:v>
                </c:pt>
                <c:pt idx="748">
                  <c:v>40945</c:v>
                </c:pt>
                <c:pt idx="749">
                  <c:v>40946</c:v>
                </c:pt>
                <c:pt idx="750">
                  <c:v>40947</c:v>
                </c:pt>
                <c:pt idx="751">
                  <c:v>40948</c:v>
                </c:pt>
                <c:pt idx="752">
                  <c:v>40949</c:v>
                </c:pt>
                <c:pt idx="753">
                  <c:v>40952</c:v>
                </c:pt>
                <c:pt idx="754">
                  <c:v>40953</c:v>
                </c:pt>
                <c:pt idx="755">
                  <c:v>40954</c:v>
                </c:pt>
                <c:pt idx="756">
                  <c:v>40955</c:v>
                </c:pt>
                <c:pt idx="757">
                  <c:v>40956</c:v>
                </c:pt>
                <c:pt idx="758">
                  <c:v>40959</c:v>
                </c:pt>
                <c:pt idx="759">
                  <c:v>40960</c:v>
                </c:pt>
                <c:pt idx="760">
                  <c:v>40961</c:v>
                </c:pt>
                <c:pt idx="761">
                  <c:v>40962</c:v>
                </c:pt>
                <c:pt idx="762">
                  <c:v>40963</c:v>
                </c:pt>
                <c:pt idx="763">
                  <c:v>40966</c:v>
                </c:pt>
                <c:pt idx="764">
                  <c:v>40967</c:v>
                </c:pt>
                <c:pt idx="765">
                  <c:v>40968</c:v>
                </c:pt>
                <c:pt idx="766">
                  <c:v>40969</c:v>
                </c:pt>
                <c:pt idx="767">
                  <c:v>40970</c:v>
                </c:pt>
                <c:pt idx="768">
                  <c:v>40973</c:v>
                </c:pt>
                <c:pt idx="769">
                  <c:v>40974</c:v>
                </c:pt>
                <c:pt idx="770">
                  <c:v>40975</c:v>
                </c:pt>
                <c:pt idx="771">
                  <c:v>40976</c:v>
                </c:pt>
                <c:pt idx="772">
                  <c:v>40977</c:v>
                </c:pt>
                <c:pt idx="773">
                  <c:v>40980</c:v>
                </c:pt>
                <c:pt idx="774">
                  <c:v>40981</c:v>
                </c:pt>
                <c:pt idx="775">
                  <c:v>40982</c:v>
                </c:pt>
                <c:pt idx="776">
                  <c:v>40983</c:v>
                </c:pt>
                <c:pt idx="777">
                  <c:v>40984</c:v>
                </c:pt>
                <c:pt idx="778">
                  <c:v>40987</c:v>
                </c:pt>
                <c:pt idx="779">
                  <c:v>40988</c:v>
                </c:pt>
                <c:pt idx="780">
                  <c:v>40989</c:v>
                </c:pt>
                <c:pt idx="781">
                  <c:v>40990</c:v>
                </c:pt>
                <c:pt idx="782">
                  <c:v>40991</c:v>
                </c:pt>
                <c:pt idx="783">
                  <c:v>40994</c:v>
                </c:pt>
                <c:pt idx="784">
                  <c:v>40995</c:v>
                </c:pt>
                <c:pt idx="785">
                  <c:v>40996</c:v>
                </c:pt>
                <c:pt idx="786">
                  <c:v>40997</c:v>
                </c:pt>
                <c:pt idx="787">
                  <c:v>40998</c:v>
                </c:pt>
                <c:pt idx="788">
                  <c:v>41004</c:v>
                </c:pt>
                <c:pt idx="789">
                  <c:v>41005</c:v>
                </c:pt>
                <c:pt idx="790">
                  <c:v>41008</c:v>
                </c:pt>
                <c:pt idx="791">
                  <c:v>41009</c:v>
                </c:pt>
                <c:pt idx="792">
                  <c:v>41010</c:v>
                </c:pt>
                <c:pt idx="793">
                  <c:v>41011</c:v>
                </c:pt>
                <c:pt idx="794">
                  <c:v>41012</c:v>
                </c:pt>
                <c:pt idx="795">
                  <c:v>41015</c:v>
                </c:pt>
                <c:pt idx="796">
                  <c:v>41016</c:v>
                </c:pt>
                <c:pt idx="797">
                  <c:v>41017</c:v>
                </c:pt>
                <c:pt idx="798">
                  <c:v>41018</c:v>
                </c:pt>
                <c:pt idx="799">
                  <c:v>41019</c:v>
                </c:pt>
                <c:pt idx="800">
                  <c:v>41022</c:v>
                </c:pt>
                <c:pt idx="801">
                  <c:v>41023</c:v>
                </c:pt>
                <c:pt idx="802">
                  <c:v>41024</c:v>
                </c:pt>
                <c:pt idx="803">
                  <c:v>41025</c:v>
                </c:pt>
                <c:pt idx="804">
                  <c:v>41026</c:v>
                </c:pt>
                <c:pt idx="805">
                  <c:v>41031</c:v>
                </c:pt>
                <c:pt idx="806">
                  <c:v>41032</c:v>
                </c:pt>
                <c:pt idx="807">
                  <c:v>41033</c:v>
                </c:pt>
                <c:pt idx="808">
                  <c:v>41036</c:v>
                </c:pt>
                <c:pt idx="809">
                  <c:v>41037</c:v>
                </c:pt>
                <c:pt idx="810">
                  <c:v>41038</c:v>
                </c:pt>
                <c:pt idx="811">
                  <c:v>41039</c:v>
                </c:pt>
                <c:pt idx="812">
                  <c:v>41040</c:v>
                </c:pt>
                <c:pt idx="813">
                  <c:v>41043</c:v>
                </c:pt>
                <c:pt idx="814">
                  <c:v>41044</c:v>
                </c:pt>
                <c:pt idx="815">
                  <c:v>41045</c:v>
                </c:pt>
                <c:pt idx="816">
                  <c:v>41046</c:v>
                </c:pt>
                <c:pt idx="817">
                  <c:v>41047</c:v>
                </c:pt>
                <c:pt idx="818">
                  <c:v>41050</c:v>
                </c:pt>
                <c:pt idx="819">
                  <c:v>41051</c:v>
                </c:pt>
                <c:pt idx="820">
                  <c:v>41052</c:v>
                </c:pt>
                <c:pt idx="821">
                  <c:v>41053</c:v>
                </c:pt>
                <c:pt idx="822">
                  <c:v>41054</c:v>
                </c:pt>
                <c:pt idx="823">
                  <c:v>41057</c:v>
                </c:pt>
                <c:pt idx="824">
                  <c:v>41058</c:v>
                </c:pt>
                <c:pt idx="825">
                  <c:v>41059</c:v>
                </c:pt>
                <c:pt idx="826">
                  <c:v>41060</c:v>
                </c:pt>
                <c:pt idx="827">
                  <c:v>41061</c:v>
                </c:pt>
                <c:pt idx="828">
                  <c:v>41064</c:v>
                </c:pt>
                <c:pt idx="829">
                  <c:v>41065</c:v>
                </c:pt>
                <c:pt idx="830">
                  <c:v>41066</c:v>
                </c:pt>
                <c:pt idx="831">
                  <c:v>41067</c:v>
                </c:pt>
                <c:pt idx="832">
                  <c:v>41068</c:v>
                </c:pt>
                <c:pt idx="833">
                  <c:v>41071</c:v>
                </c:pt>
                <c:pt idx="834">
                  <c:v>41072</c:v>
                </c:pt>
                <c:pt idx="835">
                  <c:v>41073</c:v>
                </c:pt>
                <c:pt idx="836">
                  <c:v>41074</c:v>
                </c:pt>
                <c:pt idx="837">
                  <c:v>41075</c:v>
                </c:pt>
                <c:pt idx="838">
                  <c:v>41078</c:v>
                </c:pt>
                <c:pt idx="839">
                  <c:v>41079</c:v>
                </c:pt>
                <c:pt idx="840">
                  <c:v>41080</c:v>
                </c:pt>
                <c:pt idx="841">
                  <c:v>41081</c:v>
                </c:pt>
                <c:pt idx="842">
                  <c:v>41085</c:v>
                </c:pt>
                <c:pt idx="843">
                  <c:v>41086</c:v>
                </c:pt>
                <c:pt idx="844">
                  <c:v>41087</c:v>
                </c:pt>
                <c:pt idx="845">
                  <c:v>41088</c:v>
                </c:pt>
                <c:pt idx="846">
                  <c:v>41089</c:v>
                </c:pt>
                <c:pt idx="847">
                  <c:v>41092</c:v>
                </c:pt>
                <c:pt idx="848">
                  <c:v>41093</c:v>
                </c:pt>
                <c:pt idx="849">
                  <c:v>41094</c:v>
                </c:pt>
                <c:pt idx="850">
                  <c:v>41095</c:v>
                </c:pt>
                <c:pt idx="851">
                  <c:v>41096</c:v>
                </c:pt>
                <c:pt idx="852">
                  <c:v>41099</c:v>
                </c:pt>
                <c:pt idx="853">
                  <c:v>41100</c:v>
                </c:pt>
                <c:pt idx="854">
                  <c:v>41101</c:v>
                </c:pt>
                <c:pt idx="855">
                  <c:v>41102</c:v>
                </c:pt>
                <c:pt idx="856">
                  <c:v>41103</c:v>
                </c:pt>
                <c:pt idx="857">
                  <c:v>41106</c:v>
                </c:pt>
                <c:pt idx="858">
                  <c:v>41107</c:v>
                </c:pt>
                <c:pt idx="859">
                  <c:v>41108</c:v>
                </c:pt>
                <c:pt idx="860">
                  <c:v>41109</c:v>
                </c:pt>
                <c:pt idx="861">
                  <c:v>41110</c:v>
                </c:pt>
                <c:pt idx="862">
                  <c:v>41113</c:v>
                </c:pt>
                <c:pt idx="863">
                  <c:v>41114</c:v>
                </c:pt>
                <c:pt idx="864">
                  <c:v>41115</c:v>
                </c:pt>
                <c:pt idx="865">
                  <c:v>41116</c:v>
                </c:pt>
                <c:pt idx="866">
                  <c:v>41117</c:v>
                </c:pt>
                <c:pt idx="867">
                  <c:v>41120</c:v>
                </c:pt>
                <c:pt idx="868">
                  <c:v>41121</c:v>
                </c:pt>
                <c:pt idx="869">
                  <c:v>41122</c:v>
                </c:pt>
                <c:pt idx="870">
                  <c:v>41123</c:v>
                </c:pt>
                <c:pt idx="871">
                  <c:v>41124</c:v>
                </c:pt>
                <c:pt idx="872">
                  <c:v>41127</c:v>
                </c:pt>
                <c:pt idx="873">
                  <c:v>41128</c:v>
                </c:pt>
                <c:pt idx="874">
                  <c:v>41129</c:v>
                </c:pt>
                <c:pt idx="875">
                  <c:v>41130</c:v>
                </c:pt>
                <c:pt idx="876">
                  <c:v>41131</c:v>
                </c:pt>
                <c:pt idx="877">
                  <c:v>41134</c:v>
                </c:pt>
                <c:pt idx="878">
                  <c:v>41135</c:v>
                </c:pt>
                <c:pt idx="879">
                  <c:v>41136</c:v>
                </c:pt>
                <c:pt idx="880">
                  <c:v>41137</c:v>
                </c:pt>
                <c:pt idx="881">
                  <c:v>41138</c:v>
                </c:pt>
                <c:pt idx="882">
                  <c:v>41141</c:v>
                </c:pt>
                <c:pt idx="883">
                  <c:v>41142</c:v>
                </c:pt>
                <c:pt idx="884">
                  <c:v>41143</c:v>
                </c:pt>
                <c:pt idx="885">
                  <c:v>41144</c:v>
                </c:pt>
                <c:pt idx="886">
                  <c:v>41145</c:v>
                </c:pt>
                <c:pt idx="887">
                  <c:v>41148</c:v>
                </c:pt>
                <c:pt idx="888">
                  <c:v>41149</c:v>
                </c:pt>
                <c:pt idx="889">
                  <c:v>41150</c:v>
                </c:pt>
                <c:pt idx="890">
                  <c:v>41151</c:v>
                </c:pt>
                <c:pt idx="891">
                  <c:v>41152</c:v>
                </c:pt>
                <c:pt idx="892">
                  <c:v>41155</c:v>
                </c:pt>
                <c:pt idx="893">
                  <c:v>41156</c:v>
                </c:pt>
                <c:pt idx="894">
                  <c:v>41157</c:v>
                </c:pt>
                <c:pt idx="895">
                  <c:v>41158</c:v>
                </c:pt>
                <c:pt idx="896">
                  <c:v>41159</c:v>
                </c:pt>
                <c:pt idx="897">
                  <c:v>41162</c:v>
                </c:pt>
                <c:pt idx="898">
                  <c:v>41163</c:v>
                </c:pt>
                <c:pt idx="899">
                  <c:v>41164</c:v>
                </c:pt>
                <c:pt idx="900">
                  <c:v>41165</c:v>
                </c:pt>
                <c:pt idx="901">
                  <c:v>41166</c:v>
                </c:pt>
                <c:pt idx="902">
                  <c:v>41169</c:v>
                </c:pt>
                <c:pt idx="903">
                  <c:v>41170</c:v>
                </c:pt>
                <c:pt idx="904">
                  <c:v>41171</c:v>
                </c:pt>
                <c:pt idx="905">
                  <c:v>41172</c:v>
                </c:pt>
                <c:pt idx="906">
                  <c:v>41173</c:v>
                </c:pt>
                <c:pt idx="907">
                  <c:v>41176</c:v>
                </c:pt>
                <c:pt idx="908">
                  <c:v>41177</c:v>
                </c:pt>
                <c:pt idx="909">
                  <c:v>41178</c:v>
                </c:pt>
                <c:pt idx="910">
                  <c:v>41179</c:v>
                </c:pt>
                <c:pt idx="911">
                  <c:v>41180</c:v>
                </c:pt>
                <c:pt idx="912">
                  <c:v>41190</c:v>
                </c:pt>
                <c:pt idx="913">
                  <c:v>41191</c:v>
                </c:pt>
                <c:pt idx="914">
                  <c:v>41192</c:v>
                </c:pt>
                <c:pt idx="915">
                  <c:v>41193</c:v>
                </c:pt>
                <c:pt idx="916">
                  <c:v>41194</c:v>
                </c:pt>
                <c:pt idx="917">
                  <c:v>41197</c:v>
                </c:pt>
                <c:pt idx="918">
                  <c:v>41198</c:v>
                </c:pt>
                <c:pt idx="919">
                  <c:v>41199</c:v>
                </c:pt>
                <c:pt idx="920">
                  <c:v>41200</c:v>
                </c:pt>
                <c:pt idx="921">
                  <c:v>41201</c:v>
                </c:pt>
                <c:pt idx="922">
                  <c:v>41204</c:v>
                </c:pt>
                <c:pt idx="923">
                  <c:v>41205</c:v>
                </c:pt>
                <c:pt idx="924">
                  <c:v>41206</c:v>
                </c:pt>
                <c:pt idx="925">
                  <c:v>41207</c:v>
                </c:pt>
                <c:pt idx="926">
                  <c:v>41208</c:v>
                </c:pt>
                <c:pt idx="927">
                  <c:v>41211</c:v>
                </c:pt>
                <c:pt idx="928">
                  <c:v>41212</c:v>
                </c:pt>
                <c:pt idx="929">
                  <c:v>41213</c:v>
                </c:pt>
                <c:pt idx="930">
                  <c:v>41214</c:v>
                </c:pt>
                <c:pt idx="931">
                  <c:v>41215</c:v>
                </c:pt>
                <c:pt idx="932">
                  <c:v>41218</c:v>
                </c:pt>
                <c:pt idx="933">
                  <c:v>41219</c:v>
                </c:pt>
                <c:pt idx="934">
                  <c:v>41220</c:v>
                </c:pt>
                <c:pt idx="935">
                  <c:v>41221</c:v>
                </c:pt>
                <c:pt idx="936">
                  <c:v>41222</c:v>
                </c:pt>
                <c:pt idx="937">
                  <c:v>41225</c:v>
                </c:pt>
                <c:pt idx="938">
                  <c:v>41226</c:v>
                </c:pt>
                <c:pt idx="939">
                  <c:v>41227</c:v>
                </c:pt>
                <c:pt idx="940">
                  <c:v>41228</c:v>
                </c:pt>
                <c:pt idx="941">
                  <c:v>41229</c:v>
                </c:pt>
                <c:pt idx="942">
                  <c:v>41232</c:v>
                </c:pt>
                <c:pt idx="943">
                  <c:v>41233</c:v>
                </c:pt>
                <c:pt idx="944">
                  <c:v>41234</c:v>
                </c:pt>
                <c:pt idx="945">
                  <c:v>41235</c:v>
                </c:pt>
                <c:pt idx="946">
                  <c:v>41236</c:v>
                </c:pt>
                <c:pt idx="947">
                  <c:v>41239</c:v>
                </c:pt>
                <c:pt idx="948">
                  <c:v>41240</c:v>
                </c:pt>
                <c:pt idx="949">
                  <c:v>41241</c:v>
                </c:pt>
                <c:pt idx="950">
                  <c:v>41242</c:v>
                </c:pt>
                <c:pt idx="951">
                  <c:v>41243</c:v>
                </c:pt>
                <c:pt idx="952">
                  <c:v>41246</c:v>
                </c:pt>
                <c:pt idx="953">
                  <c:v>41247</c:v>
                </c:pt>
                <c:pt idx="954">
                  <c:v>41248</c:v>
                </c:pt>
                <c:pt idx="955">
                  <c:v>41249</c:v>
                </c:pt>
                <c:pt idx="956">
                  <c:v>41250</c:v>
                </c:pt>
                <c:pt idx="957">
                  <c:v>41253</c:v>
                </c:pt>
                <c:pt idx="958">
                  <c:v>41254</c:v>
                </c:pt>
                <c:pt idx="959">
                  <c:v>41255</c:v>
                </c:pt>
                <c:pt idx="960">
                  <c:v>41256</c:v>
                </c:pt>
                <c:pt idx="961">
                  <c:v>41257</c:v>
                </c:pt>
                <c:pt idx="962">
                  <c:v>41260</c:v>
                </c:pt>
                <c:pt idx="963">
                  <c:v>41261</c:v>
                </c:pt>
                <c:pt idx="964">
                  <c:v>41262</c:v>
                </c:pt>
                <c:pt idx="965">
                  <c:v>41263</c:v>
                </c:pt>
                <c:pt idx="966">
                  <c:v>41264</c:v>
                </c:pt>
                <c:pt idx="967">
                  <c:v>41267</c:v>
                </c:pt>
                <c:pt idx="968">
                  <c:v>41268</c:v>
                </c:pt>
                <c:pt idx="969">
                  <c:v>41269</c:v>
                </c:pt>
                <c:pt idx="970">
                  <c:v>41270</c:v>
                </c:pt>
                <c:pt idx="971">
                  <c:v>41271</c:v>
                </c:pt>
                <c:pt idx="972">
                  <c:v>41274</c:v>
                </c:pt>
                <c:pt idx="973">
                  <c:v>41278</c:v>
                </c:pt>
                <c:pt idx="974">
                  <c:v>41281</c:v>
                </c:pt>
                <c:pt idx="975">
                  <c:v>41282</c:v>
                </c:pt>
                <c:pt idx="976">
                  <c:v>41283</c:v>
                </c:pt>
                <c:pt idx="977">
                  <c:v>41284</c:v>
                </c:pt>
                <c:pt idx="978">
                  <c:v>41285</c:v>
                </c:pt>
                <c:pt idx="979">
                  <c:v>41288</c:v>
                </c:pt>
                <c:pt idx="980">
                  <c:v>41289</c:v>
                </c:pt>
                <c:pt idx="981">
                  <c:v>41290</c:v>
                </c:pt>
                <c:pt idx="982">
                  <c:v>41291</c:v>
                </c:pt>
                <c:pt idx="983">
                  <c:v>41292</c:v>
                </c:pt>
                <c:pt idx="984">
                  <c:v>41295</c:v>
                </c:pt>
                <c:pt idx="985">
                  <c:v>41296</c:v>
                </c:pt>
                <c:pt idx="986">
                  <c:v>41297</c:v>
                </c:pt>
                <c:pt idx="987">
                  <c:v>41298</c:v>
                </c:pt>
                <c:pt idx="988">
                  <c:v>41299</c:v>
                </c:pt>
                <c:pt idx="989">
                  <c:v>41302</c:v>
                </c:pt>
                <c:pt idx="990">
                  <c:v>41303</c:v>
                </c:pt>
                <c:pt idx="991">
                  <c:v>41304</c:v>
                </c:pt>
                <c:pt idx="992">
                  <c:v>41305</c:v>
                </c:pt>
                <c:pt idx="993">
                  <c:v>41306</c:v>
                </c:pt>
                <c:pt idx="994">
                  <c:v>41309</c:v>
                </c:pt>
                <c:pt idx="995">
                  <c:v>41310</c:v>
                </c:pt>
                <c:pt idx="996">
                  <c:v>41311</c:v>
                </c:pt>
                <c:pt idx="997">
                  <c:v>41312</c:v>
                </c:pt>
                <c:pt idx="998">
                  <c:v>41313</c:v>
                </c:pt>
                <c:pt idx="999">
                  <c:v>41323</c:v>
                </c:pt>
                <c:pt idx="1000">
                  <c:v>41324</c:v>
                </c:pt>
                <c:pt idx="1001">
                  <c:v>41325</c:v>
                </c:pt>
                <c:pt idx="1002">
                  <c:v>41326</c:v>
                </c:pt>
                <c:pt idx="1003">
                  <c:v>41327</c:v>
                </c:pt>
                <c:pt idx="1004">
                  <c:v>41330</c:v>
                </c:pt>
                <c:pt idx="1005">
                  <c:v>41331</c:v>
                </c:pt>
                <c:pt idx="1006">
                  <c:v>41332</c:v>
                </c:pt>
                <c:pt idx="1007">
                  <c:v>41333</c:v>
                </c:pt>
                <c:pt idx="1008">
                  <c:v>41334</c:v>
                </c:pt>
                <c:pt idx="1009">
                  <c:v>41337</c:v>
                </c:pt>
                <c:pt idx="1010">
                  <c:v>41338</c:v>
                </c:pt>
                <c:pt idx="1011">
                  <c:v>41339</c:v>
                </c:pt>
                <c:pt idx="1012">
                  <c:v>41340</c:v>
                </c:pt>
                <c:pt idx="1013">
                  <c:v>41341</c:v>
                </c:pt>
                <c:pt idx="1014">
                  <c:v>41344</c:v>
                </c:pt>
                <c:pt idx="1015">
                  <c:v>41345</c:v>
                </c:pt>
                <c:pt idx="1016">
                  <c:v>41346</c:v>
                </c:pt>
                <c:pt idx="1017">
                  <c:v>41347</c:v>
                </c:pt>
                <c:pt idx="1018">
                  <c:v>41348</c:v>
                </c:pt>
                <c:pt idx="1019">
                  <c:v>41351</c:v>
                </c:pt>
                <c:pt idx="1020">
                  <c:v>41352</c:v>
                </c:pt>
                <c:pt idx="1021">
                  <c:v>41353</c:v>
                </c:pt>
                <c:pt idx="1022">
                  <c:v>41354</c:v>
                </c:pt>
                <c:pt idx="1023">
                  <c:v>41355</c:v>
                </c:pt>
                <c:pt idx="1024">
                  <c:v>41358</c:v>
                </c:pt>
                <c:pt idx="1025">
                  <c:v>41359</c:v>
                </c:pt>
                <c:pt idx="1026">
                  <c:v>41360</c:v>
                </c:pt>
                <c:pt idx="1027">
                  <c:v>41361</c:v>
                </c:pt>
                <c:pt idx="1028">
                  <c:v>41362</c:v>
                </c:pt>
                <c:pt idx="1029">
                  <c:v>41365</c:v>
                </c:pt>
                <c:pt idx="1030">
                  <c:v>41366</c:v>
                </c:pt>
                <c:pt idx="1031">
                  <c:v>41367</c:v>
                </c:pt>
                <c:pt idx="1032">
                  <c:v>41372</c:v>
                </c:pt>
                <c:pt idx="1033">
                  <c:v>41373</c:v>
                </c:pt>
                <c:pt idx="1034">
                  <c:v>41374</c:v>
                </c:pt>
                <c:pt idx="1035">
                  <c:v>41375</c:v>
                </c:pt>
                <c:pt idx="1036">
                  <c:v>41376</c:v>
                </c:pt>
                <c:pt idx="1037">
                  <c:v>41379</c:v>
                </c:pt>
                <c:pt idx="1038">
                  <c:v>41380</c:v>
                </c:pt>
                <c:pt idx="1039">
                  <c:v>41381</c:v>
                </c:pt>
                <c:pt idx="1040">
                  <c:v>41382</c:v>
                </c:pt>
                <c:pt idx="1041">
                  <c:v>41383</c:v>
                </c:pt>
                <c:pt idx="1042">
                  <c:v>41386</c:v>
                </c:pt>
                <c:pt idx="1043">
                  <c:v>41387</c:v>
                </c:pt>
                <c:pt idx="1044">
                  <c:v>41388</c:v>
                </c:pt>
                <c:pt idx="1045">
                  <c:v>41389</c:v>
                </c:pt>
                <c:pt idx="1046">
                  <c:v>41390</c:v>
                </c:pt>
                <c:pt idx="1047">
                  <c:v>41396</c:v>
                </c:pt>
                <c:pt idx="1048">
                  <c:v>41397</c:v>
                </c:pt>
                <c:pt idx="1049">
                  <c:v>41400</c:v>
                </c:pt>
                <c:pt idx="1050">
                  <c:v>41401</c:v>
                </c:pt>
                <c:pt idx="1051">
                  <c:v>41402</c:v>
                </c:pt>
                <c:pt idx="1052">
                  <c:v>41403</c:v>
                </c:pt>
                <c:pt idx="1053">
                  <c:v>41404</c:v>
                </c:pt>
                <c:pt idx="1054">
                  <c:v>41407</c:v>
                </c:pt>
                <c:pt idx="1055">
                  <c:v>41408</c:v>
                </c:pt>
                <c:pt idx="1056">
                  <c:v>41409</c:v>
                </c:pt>
                <c:pt idx="1057">
                  <c:v>41410</c:v>
                </c:pt>
                <c:pt idx="1058">
                  <c:v>41411</c:v>
                </c:pt>
                <c:pt idx="1059">
                  <c:v>41414</c:v>
                </c:pt>
                <c:pt idx="1060">
                  <c:v>41415</c:v>
                </c:pt>
                <c:pt idx="1061">
                  <c:v>41416</c:v>
                </c:pt>
                <c:pt idx="1062">
                  <c:v>41417</c:v>
                </c:pt>
                <c:pt idx="1063">
                  <c:v>41418</c:v>
                </c:pt>
                <c:pt idx="1064">
                  <c:v>41421</c:v>
                </c:pt>
                <c:pt idx="1065">
                  <c:v>41422</c:v>
                </c:pt>
                <c:pt idx="1066">
                  <c:v>41423</c:v>
                </c:pt>
                <c:pt idx="1067">
                  <c:v>41424</c:v>
                </c:pt>
                <c:pt idx="1068">
                  <c:v>41425</c:v>
                </c:pt>
                <c:pt idx="1069">
                  <c:v>41428</c:v>
                </c:pt>
                <c:pt idx="1070">
                  <c:v>41429</c:v>
                </c:pt>
                <c:pt idx="1071">
                  <c:v>41430</c:v>
                </c:pt>
                <c:pt idx="1072">
                  <c:v>41431</c:v>
                </c:pt>
                <c:pt idx="1073">
                  <c:v>41432</c:v>
                </c:pt>
                <c:pt idx="1074">
                  <c:v>41438</c:v>
                </c:pt>
                <c:pt idx="1075">
                  <c:v>41439</c:v>
                </c:pt>
                <c:pt idx="1076">
                  <c:v>41442</c:v>
                </c:pt>
                <c:pt idx="1077">
                  <c:v>41443</c:v>
                </c:pt>
                <c:pt idx="1078">
                  <c:v>41444</c:v>
                </c:pt>
                <c:pt idx="1079">
                  <c:v>41445</c:v>
                </c:pt>
                <c:pt idx="1080">
                  <c:v>41446</c:v>
                </c:pt>
                <c:pt idx="1081">
                  <c:v>41449</c:v>
                </c:pt>
                <c:pt idx="1082">
                  <c:v>41450</c:v>
                </c:pt>
                <c:pt idx="1083">
                  <c:v>41451</c:v>
                </c:pt>
                <c:pt idx="1084">
                  <c:v>41452</c:v>
                </c:pt>
                <c:pt idx="1085">
                  <c:v>41453</c:v>
                </c:pt>
                <c:pt idx="1086">
                  <c:v>41456</c:v>
                </c:pt>
                <c:pt idx="1087">
                  <c:v>41457</c:v>
                </c:pt>
                <c:pt idx="1088">
                  <c:v>41458</c:v>
                </c:pt>
                <c:pt idx="1089">
                  <c:v>41459</c:v>
                </c:pt>
                <c:pt idx="1090">
                  <c:v>41460</c:v>
                </c:pt>
                <c:pt idx="1091">
                  <c:v>41463</c:v>
                </c:pt>
                <c:pt idx="1092">
                  <c:v>41464</c:v>
                </c:pt>
                <c:pt idx="1093">
                  <c:v>41465</c:v>
                </c:pt>
                <c:pt idx="1094">
                  <c:v>41466</c:v>
                </c:pt>
                <c:pt idx="1095">
                  <c:v>41467</c:v>
                </c:pt>
                <c:pt idx="1096">
                  <c:v>41470</c:v>
                </c:pt>
                <c:pt idx="1097">
                  <c:v>41471</c:v>
                </c:pt>
                <c:pt idx="1098">
                  <c:v>41472</c:v>
                </c:pt>
                <c:pt idx="1099">
                  <c:v>41473</c:v>
                </c:pt>
                <c:pt idx="1100">
                  <c:v>41474</c:v>
                </c:pt>
                <c:pt idx="1101">
                  <c:v>41477</c:v>
                </c:pt>
                <c:pt idx="1102">
                  <c:v>41478</c:v>
                </c:pt>
                <c:pt idx="1103">
                  <c:v>41479</c:v>
                </c:pt>
                <c:pt idx="1104">
                  <c:v>41480</c:v>
                </c:pt>
                <c:pt idx="1105">
                  <c:v>41481</c:v>
                </c:pt>
                <c:pt idx="1106">
                  <c:v>41484</c:v>
                </c:pt>
                <c:pt idx="1107">
                  <c:v>41485</c:v>
                </c:pt>
                <c:pt idx="1108">
                  <c:v>41486</c:v>
                </c:pt>
                <c:pt idx="1109">
                  <c:v>41487</c:v>
                </c:pt>
                <c:pt idx="1110">
                  <c:v>41488</c:v>
                </c:pt>
                <c:pt idx="1111">
                  <c:v>41491</c:v>
                </c:pt>
                <c:pt idx="1112">
                  <c:v>41492</c:v>
                </c:pt>
                <c:pt idx="1113">
                  <c:v>41493</c:v>
                </c:pt>
                <c:pt idx="1114">
                  <c:v>41494</c:v>
                </c:pt>
                <c:pt idx="1115">
                  <c:v>41495</c:v>
                </c:pt>
                <c:pt idx="1116">
                  <c:v>41498</c:v>
                </c:pt>
                <c:pt idx="1117">
                  <c:v>41499</c:v>
                </c:pt>
                <c:pt idx="1118">
                  <c:v>41500</c:v>
                </c:pt>
                <c:pt idx="1119">
                  <c:v>41501</c:v>
                </c:pt>
                <c:pt idx="1120">
                  <c:v>41502</c:v>
                </c:pt>
                <c:pt idx="1121">
                  <c:v>41505</c:v>
                </c:pt>
                <c:pt idx="1122">
                  <c:v>41506</c:v>
                </c:pt>
                <c:pt idx="1123">
                  <c:v>41507</c:v>
                </c:pt>
                <c:pt idx="1124">
                  <c:v>41508</c:v>
                </c:pt>
                <c:pt idx="1125">
                  <c:v>41509</c:v>
                </c:pt>
                <c:pt idx="1126">
                  <c:v>41512</c:v>
                </c:pt>
                <c:pt idx="1127">
                  <c:v>41513</c:v>
                </c:pt>
                <c:pt idx="1128">
                  <c:v>41514</c:v>
                </c:pt>
                <c:pt idx="1129">
                  <c:v>41515</c:v>
                </c:pt>
                <c:pt idx="1130">
                  <c:v>41516</c:v>
                </c:pt>
                <c:pt idx="1131">
                  <c:v>41519</c:v>
                </c:pt>
                <c:pt idx="1132">
                  <c:v>41520</c:v>
                </c:pt>
                <c:pt idx="1133">
                  <c:v>41521</c:v>
                </c:pt>
                <c:pt idx="1134">
                  <c:v>41522</c:v>
                </c:pt>
                <c:pt idx="1135">
                  <c:v>41523</c:v>
                </c:pt>
                <c:pt idx="1136">
                  <c:v>41526</c:v>
                </c:pt>
                <c:pt idx="1137">
                  <c:v>41527</c:v>
                </c:pt>
                <c:pt idx="1138">
                  <c:v>41528</c:v>
                </c:pt>
                <c:pt idx="1139">
                  <c:v>41529</c:v>
                </c:pt>
                <c:pt idx="1140">
                  <c:v>41530</c:v>
                </c:pt>
                <c:pt idx="1141">
                  <c:v>41533</c:v>
                </c:pt>
                <c:pt idx="1142">
                  <c:v>41534</c:v>
                </c:pt>
                <c:pt idx="1143">
                  <c:v>41535</c:v>
                </c:pt>
                <c:pt idx="1144">
                  <c:v>41540</c:v>
                </c:pt>
                <c:pt idx="1145">
                  <c:v>41541</c:v>
                </c:pt>
                <c:pt idx="1146">
                  <c:v>41542</c:v>
                </c:pt>
                <c:pt idx="1147">
                  <c:v>41543</c:v>
                </c:pt>
                <c:pt idx="1148">
                  <c:v>41544</c:v>
                </c:pt>
                <c:pt idx="1149">
                  <c:v>41547</c:v>
                </c:pt>
                <c:pt idx="1150">
                  <c:v>41555</c:v>
                </c:pt>
                <c:pt idx="1151">
                  <c:v>41556</c:v>
                </c:pt>
                <c:pt idx="1152">
                  <c:v>41557</c:v>
                </c:pt>
                <c:pt idx="1153">
                  <c:v>41558</c:v>
                </c:pt>
                <c:pt idx="1154">
                  <c:v>41561</c:v>
                </c:pt>
                <c:pt idx="1155">
                  <c:v>41562</c:v>
                </c:pt>
                <c:pt idx="1156">
                  <c:v>41563</c:v>
                </c:pt>
                <c:pt idx="1157">
                  <c:v>41564</c:v>
                </c:pt>
                <c:pt idx="1158">
                  <c:v>41565</c:v>
                </c:pt>
                <c:pt idx="1159">
                  <c:v>41568</c:v>
                </c:pt>
                <c:pt idx="1160">
                  <c:v>41569</c:v>
                </c:pt>
                <c:pt idx="1161">
                  <c:v>41570</c:v>
                </c:pt>
                <c:pt idx="1162">
                  <c:v>41571</c:v>
                </c:pt>
                <c:pt idx="1163">
                  <c:v>41572</c:v>
                </c:pt>
                <c:pt idx="1164">
                  <c:v>41575</c:v>
                </c:pt>
                <c:pt idx="1165">
                  <c:v>41576</c:v>
                </c:pt>
                <c:pt idx="1166">
                  <c:v>41577</c:v>
                </c:pt>
                <c:pt idx="1167">
                  <c:v>41578</c:v>
                </c:pt>
                <c:pt idx="1168">
                  <c:v>41579</c:v>
                </c:pt>
                <c:pt idx="1169">
                  <c:v>41582</c:v>
                </c:pt>
                <c:pt idx="1170">
                  <c:v>41583</c:v>
                </c:pt>
                <c:pt idx="1171">
                  <c:v>41584</c:v>
                </c:pt>
                <c:pt idx="1172">
                  <c:v>41585</c:v>
                </c:pt>
                <c:pt idx="1173">
                  <c:v>41586</c:v>
                </c:pt>
                <c:pt idx="1174">
                  <c:v>41589</c:v>
                </c:pt>
                <c:pt idx="1175">
                  <c:v>41590</c:v>
                </c:pt>
                <c:pt idx="1176">
                  <c:v>41591</c:v>
                </c:pt>
                <c:pt idx="1177">
                  <c:v>41592</c:v>
                </c:pt>
                <c:pt idx="1178">
                  <c:v>41593</c:v>
                </c:pt>
                <c:pt idx="1179">
                  <c:v>41596</c:v>
                </c:pt>
                <c:pt idx="1180">
                  <c:v>41597</c:v>
                </c:pt>
                <c:pt idx="1181">
                  <c:v>41598</c:v>
                </c:pt>
                <c:pt idx="1182">
                  <c:v>41599</c:v>
                </c:pt>
                <c:pt idx="1183">
                  <c:v>41600</c:v>
                </c:pt>
                <c:pt idx="1184">
                  <c:v>41603</c:v>
                </c:pt>
                <c:pt idx="1185">
                  <c:v>41604</c:v>
                </c:pt>
                <c:pt idx="1186">
                  <c:v>41605</c:v>
                </c:pt>
                <c:pt idx="1187">
                  <c:v>41606</c:v>
                </c:pt>
                <c:pt idx="1188">
                  <c:v>41607</c:v>
                </c:pt>
                <c:pt idx="1189">
                  <c:v>41610</c:v>
                </c:pt>
                <c:pt idx="1190">
                  <c:v>41611</c:v>
                </c:pt>
                <c:pt idx="1191">
                  <c:v>41612</c:v>
                </c:pt>
                <c:pt idx="1192">
                  <c:v>41613</c:v>
                </c:pt>
                <c:pt idx="1193">
                  <c:v>41614</c:v>
                </c:pt>
                <c:pt idx="1194">
                  <c:v>41617</c:v>
                </c:pt>
                <c:pt idx="1195">
                  <c:v>41618</c:v>
                </c:pt>
                <c:pt idx="1196">
                  <c:v>41619</c:v>
                </c:pt>
                <c:pt idx="1197">
                  <c:v>41620</c:v>
                </c:pt>
                <c:pt idx="1198">
                  <c:v>41621</c:v>
                </c:pt>
                <c:pt idx="1199">
                  <c:v>41624</c:v>
                </c:pt>
                <c:pt idx="1200">
                  <c:v>41625</c:v>
                </c:pt>
                <c:pt idx="1201">
                  <c:v>41626</c:v>
                </c:pt>
                <c:pt idx="1202">
                  <c:v>41627</c:v>
                </c:pt>
                <c:pt idx="1203">
                  <c:v>41628</c:v>
                </c:pt>
                <c:pt idx="1204">
                  <c:v>41631</c:v>
                </c:pt>
                <c:pt idx="1205">
                  <c:v>41632</c:v>
                </c:pt>
                <c:pt idx="1206">
                  <c:v>41633</c:v>
                </c:pt>
                <c:pt idx="1207">
                  <c:v>41634</c:v>
                </c:pt>
                <c:pt idx="1208">
                  <c:v>41635</c:v>
                </c:pt>
                <c:pt idx="1209">
                  <c:v>41638</c:v>
                </c:pt>
                <c:pt idx="1210">
                  <c:v>41639</c:v>
                </c:pt>
                <c:pt idx="1211">
                  <c:v>41641</c:v>
                </c:pt>
                <c:pt idx="1212">
                  <c:v>41642</c:v>
                </c:pt>
                <c:pt idx="1213">
                  <c:v>41645</c:v>
                </c:pt>
                <c:pt idx="1214">
                  <c:v>41646</c:v>
                </c:pt>
                <c:pt idx="1215">
                  <c:v>41647</c:v>
                </c:pt>
                <c:pt idx="1216">
                  <c:v>41648</c:v>
                </c:pt>
                <c:pt idx="1217">
                  <c:v>41649</c:v>
                </c:pt>
                <c:pt idx="1218">
                  <c:v>41652</c:v>
                </c:pt>
                <c:pt idx="1219">
                  <c:v>41653</c:v>
                </c:pt>
                <c:pt idx="1220">
                  <c:v>41654</c:v>
                </c:pt>
                <c:pt idx="1221">
                  <c:v>41655</c:v>
                </c:pt>
                <c:pt idx="1222">
                  <c:v>41656</c:v>
                </c:pt>
                <c:pt idx="1223">
                  <c:v>41659</c:v>
                </c:pt>
                <c:pt idx="1224">
                  <c:v>41660</c:v>
                </c:pt>
                <c:pt idx="1225">
                  <c:v>41661</c:v>
                </c:pt>
                <c:pt idx="1226">
                  <c:v>41662</c:v>
                </c:pt>
                <c:pt idx="1227">
                  <c:v>41663</c:v>
                </c:pt>
                <c:pt idx="1228">
                  <c:v>41666</c:v>
                </c:pt>
                <c:pt idx="1229">
                  <c:v>41667</c:v>
                </c:pt>
                <c:pt idx="1230">
                  <c:v>41668</c:v>
                </c:pt>
                <c:pt idx="1231">
                  <c:v>41669</c:v>
                </c:pt>
                <c:pt idx="1232">
                  <c:v>41677</c:v>
                </c:pt>
                <c:pt idx="1233">
                  <c:v>41680</c:v>
                </c:pt>
                <c:pt idx="1234">
                  <c:v>41681</c:v>
                </c:pt>
                <c:pt idx="1235">
                  <c:v>41682</c:v>
                </c:pt>
                <c:pt idx="1236">
                  <c:v>41683</c:v>
                </c:pt>
                <c:pt idx="1237">
                  <c:v>41684</c:v>
                </c:pt>
                <c:pt idx="1238">
                  <c:v>41687</c:v>
                </c:pt>
                <c:pt idx="1239">
                  <c:v>41688</c:v>
                </c:pt>
                <c:pt idx="1240">
                  <c:v>41689</c:v>
                </c:pt>
                <c:pt idx="1241">
                  <c:v>41690</c:v>
                </c:pt>
                <c:pt idx="1242">
                  <c:v>41691</c:v>
                </c:pt>
                <c:pt idx="1243">
                  <c:v>41694</c:v>
                </c:pt>
                <c:pt idx="1244">
                  <c:v>41695</c:v>
                </c:pt>
                <c:pt idx="1245">
                  <c:v>41696</c:v>
                </c:pt>
                <c:pt idx="1246">
                  <c:v>41697</c:v>
                </c:pt>
                <c:pt idx="1247">
                  <c:v>41698</c:v>
                </c:pt>
                <c:pt idx="1248">
                  <c:v>41701</c:v>
                </c:pt>
                <c:pt idx="1249">
                  <c:v>41702</c:v>
                </c:pt>
                <c:pt idx="1250">
                  <c:v>41703</c:v>
                </c:pt>
                <c:pt idx="1251">
                  <c:v>41704</c:v>
                </c:pt>
                <c:pt idx="1252">
                  <c:v>41705</c:v>
                </c:pt>
                <c:pt idx="1253">
                  <c:v>41708</c:v>
                </c:pt>
                <c:pt idx="1254">
                  <c:v>41709</c:v>
                </c:pt>
                <c:pt idx="1255">
                  <c:v>41710</c:v>
                </c:pt>
                <c:pt idx="1256">
                  <c:v>41711</c:v>
                </c:pt>
                <c:pt idx="1257">
                  <c:v>41712</c:v>
                </c:pt>
                <c:pt idx="1258">
                  <c:v>41715</c:v>
                </c:pt>
                <c:pt idx="1259">
                  <c:v>41716</c:v>
                </c:pt>
                <c:pt idx="1260">
                  <c:v>41717</c:v>
                </c:pt>
                <c:pt idx="1261">
                  <c:v>41718</c:v>
                </c:pt>
                <c:pt idx="1262">
                  <c:v>41719</c:v>
                </c:pt>
                <c:pt idx="1263">
                  <c:v>41722</c:v>
                </c:pt>
                <c:pt idx="1264">
                  <c:v>41723</c:v>
                </c:pt>
                <c:pt idx="1265">
                  <c:v>41724</c:v>
                </c:pt>
                <c:pt idx="1266">
                  <c:v>41725</c:v>
                </c:pt>
                <c:pt idx="1267">
                  <c:v>41726</c:v>
                </c:pt>
                <c:pt idx="1268">
                  <c:v>41729</c:v>
                </c:pt>
                <c:pt idx="1269">
                  <c:v>41730</c:v>
                </c:pt>
                <c:pt idx="1270">
                  <c:v>41731</c:v>
                </c:pt>
                <c:pt idx="1271">
                  <c:v>41732</c:v>
                </c:pt>
                <c:pt idx="1272">
                  <c:v>41733</c:v>
                </c:pt>
                <c:pt idx="1273">
                  <c:v>41737</c:v>
                </c:pt>
                <c:pt idx="1274">
                  <c:v>41738</c:v>
                </c:pt>
                <c:pt idx="1275">
                  <c:v>41739</c:v>
                </c:pt>
                <c:pt idx="1276">
                  <c:v>41740</c:v>
                </c:pt>
                <c:pt idx="1277">
                  <c:v>41743</c:v>
                </c:pt>
                <c:pt idx="1278">
                  <c:v>41744</c:v>
                </c:pt>
                <c:pt idx="1279">
                  <c:v>41745</c:v>
                </c:pt>
                <c:pt idx="1280">
                  <c:v>41746</c:v>
                </c:pt>
                <c:pt idx="1281">
                  <c:v>41747</c:v>
                </c:pt>
                <c:pt idx="1282">
                  <c:v>41750</c:v>
                </c:pt>
                <c:pt idx="1283">
                  <c:v>41751</c:v>
                </c:pt>
                <c:pt idx="1284">
                  <c:v>41752</c:v>
                </c:pt>
                <c:pt idx="1285">
                  <c:v>41753</c:v>
                </c:pt>
                <c:pt idx="1286">
                  <c:v>41754</c:v>
                </c:pt>
                <c:pt idx="1287">
                  <c:v>41757</c:v>
                </c:pt>
                <c:pt idx="1288">
                  <c:v>41758</c:v>
                </c:pt>
                <c:pt idx="1289">
                  <c:v>41759</c:v>
                </c:pt>
                <c:pt idx="1290">
                  <c:v>41764</c:v>
                </c:pt>
                <c:pt idx="1291">
                  <c:v>41765</c:v>
                </c:pt>
                <c:pt idx="1292">
                  <c:v>41766</c:v>
                </c:pt>
                <c:pt idx="1293">
                  <c:v>41767</c:v>
                </c:pt>
                <c:pt idx="1294">
                  <c:v>41768</c:v>
                </c:pt>
                <c:pt idx="1295">
                  <c:v>41771</c:v>
                </c:pt>
                <c:pt idx="1296">
                  <c:v>41772</c:v>
                </c:pt>
                <c:pt idx="1297">
                  <c:v>41773</c:v>
                </c:pt>
                <c:pt idx="1298">
                  <c:v>41774</c:v>
                </c:pt>
                <c:pt idx="1299">
                  <c:v>41775</c:v>
                </c:pt>
                <c:pt idx="1300">
                  <c:v>41778</c:v>
                </c:pt>
                <c:pt idx="1301">
                  <c:v>41779</c:v>
                </c:pt>
                <c:pt idx="1302">
                  <c:v>41780</c:v>
                </c:pt>
                <c:pt idx="1303">
                  <c:v>41781</c:v>
                </c:pt>
                <c:pt idx="1304">
                  <c:v>41782</c:v>
                </c:pt>
                <c:pt idx="1305">
                  <c:v>41785</c:v>
                </c:pt>
                <c:pt idx="1306">
                  <c:v>41786</c:v>
                </c:pt>
                <c:pt idx="1307">
                  <c:v>41787</c:v>
                </c:pt>
                <c:pt idx="1308">
                  <c:v>41788</c:v>
                </c:pt>
                <c:pt idx="1309">
                  <c:v>41789</c:v>
                </c:pt>
                <c:pt idx="1310">
                  <c:v>41793</c:v>
                </c:pt>
                <c:pt idx="1311">
                  <c:v>41794</c:v>
                </c:pt>
                <c:pt idx="1312">
                  <c:v>41795</c:v>
                </c:pt>
                <c:pt idx="1313">
                  <c:v>41796</c:v>
                </c:pt>
                <c:pt idx="1314">
                  <c:v>41799</c:v>
                </c:pt>
                <c:pt idx="1315">
                  <c:v>41800</c:v>
                </c:pt>
                <c:pt idx="1316">
                  <c:v>41801</c:v>
                </c:pt>
                <c:pt idx="1317">
                  <c:v>41802</c:v>
                </c:pt>
                <c:pt idx="1318">
                  <c:v>41803</c:v>
                </c:pt>
                <c:pt idx="1319">
                  <c:v>41806</c:v>
                </c:pt>
                <c:pt idx="1320">
                  <c:v>41807</c:v>
                </c:pt>
                <c:pt idx="1321">
                  <c:v>41808</c:v>
                </c:pt>
                <c:pt idx="1322">
                  <c:v>41809</c:v>
                </c:pt>
                <c:pt idx="1323">
                  <c:v>41810</c:v>
                </c:pt>
                <c:pt idx="1324">
                  <c:v>41813</c:v>
                </c:pt>
                <c:pt idx="1325">
                  <c:v>41814</c:v>
                </c:pt>
                <c:pt idx="1326">
                  <c:v>41815</c:v>
                </c:pt>
                <c:pt idx="1327">
                  <c:v>41816</c:v>
                </c:pt>
                <c:pt idx="1328">
                  <c:v>41817</c:v>
                </c:pt>
                <c:pt idx="1329">
                  <c:v>41820</c:v>
                </c:pt>
                <c:pt idx="1330">
                  <c:v>41821</c:v>
                </c:pt>
                <c:pt idx="1331">
                  <c:v>41822</c:v>
                </c:pt>
                <c:pt idx="1332">
                  <c:v>41823</c:v>
                </c:pt>
                <c:pt idx="1333">
                  <c:v>41824</c:v>
                </c:pt>
                <c:pt idx="1334">
                  <c:v>41827</c:v>
                </c:pt>
                <c:pt idx="1335">
                  <c:v>41828</c:v>
                </c:pt>
                <c:pt idx="1336">
                  <c:v>41829</c:v>
                </c:pt>
                <c:pt idx="1337">
                  <c:v>41830</c:v>
                </c:pt>
                <c:pt idx="1338">
                  <c:v>41831</c:v>
                </c:pt>
                <c:pt idx="1339">
                  <c:v>41834</c:v>
                </c:pt>
                <c:pt idx="1340">
                  <c:v>41835</c:v>
                </c:pt>
                <c:pt idx="1341">
                  <c:v>41836</c:v>
                </c:pt>
                <c:pt idx="1342">
                  <c:v>41837</c:v>
                </c:pt>
                <c:pt idx="1343">
                  <c:v>41838</c:v>
                </c:pt>
                <c:pt idx="1344">
                  <c:v>41841</c:v>
                </c:pt>
                <c:pt idx="1345">
                  <c:v>41842</c:v>
                </c:pt>
                <c:pt idx="1346">
                  <c:v>41843</c:v>
                </c:pt>
                <c:pt idx="1347">
                  <c:v>41844</c:v>
                </c:pt>
                <c:pt idx="1348">
                  <c:v>41845</c:v>
                </c:pt>
                <c:pt idx="1349">
                  <c:v>41848</c:v>
                </c:pt>
                <c:pt idx="1350">
                  <c:v>41849</c:v>
                </c:pt>
                <c:pt idx="1351">
                  <c:v>41850</c:v>
                </c:pt>
                <c:pt idx="1352">
                  <c:v>41851</c:v>
                </c:pt>
                <c:pt idx="1353">
                  <c:v>41852</c:v>
                </c:pt>
                <c:pt idx="1354">
                  <c:v>41855</c:v>
                </c:pt>
                <c:pt idx="1355">
                  <c:v>41856</c:v>
                </c:pt>
                <c:pt idx="1356">
                  <c:v>41857</c:v>
                </c:pt>
                <c:pt idx="1357">
                  <c:v>41858</c:v>
                </c:pt>
                <c:pt idx="1358">
                  <c:v>41859</c:v>
                </c:pt>
                <c:pt idx="1359">
                  <c:v>41862</c:v>
                </c:pt>
                <c:pt idx="1360">
                  <c:v>41863</c:v>
                </c:pt>
                <c:pt idx="1361">
                  <c:v>41864</c:v>
                </c:pt>
                <c:pt idx="1362">
                  <c:v>41865</c:v>
                </c:pt>
                <c:pt idx="1363">
                  <c:v>41866</c:v>
                </c:pt>
                <c:pt idx="1364">
                  <c:v>41869</c:v>
                </c:pt>
                <c:pt idx="1365">
                  <c:v>41870</c:v>
                </c:pt>
                <c:pt idx="1366">
                  <c:v>41871</c:v>
                </c:pt>
                <c:pt idx="1367">
                  <c:v>41872</c:v>
                </c:pt>
                <c:pt idx="1368">
                  <c:v>41873</c:v>
                </c:pt>
                <c:pt idx="1369">
                  <c:v>41876</c:v>
                </c:pt>
                <c:pt idx="1370">
                  <c:v>41877</c:v>
                </c:pt>
                <c:pt idx="1371">
                  <c:v>41878</c:v>
                </c:pt>
                <c:pt idx="1372">
                  <c:v>41879</c:v>
                </c:pt>
                <c:pt idx="1373">
                  <c:v>41880</c:v>
                </c:pt>
                <c:pt idx="1374">
                  <c:v>41883</c:v>
                </c:pt>
                <c:pt idx="1375">
                  <c:v>41884</c:v>
                </c:pt>
                <c:pt idx="1376">
                  <c:v>41885</c:v>
                </c:pt>
                <c:pt idx="1377">
                  <c:v>41886</c:v>
                </c:pt>
                <c:pt idx="1378">
                  <c:v>41887</c:v>
                </c:pt>
                <c:pt idx="1379">
                  <c:v>41891</c:v>
                </c:pt>
                <c:pt idx="1380">
                  <c:v>41892</c:v>
                </c:pt>
                <c:pt idx="1381">
                  <c:v>41893</c:v>
                </c:pt>
                <c:pt idx="1382">
                  <c:v>41894</c:v>
                </c:pt>
                <c:pt idx="1383">
                  <c:v>41897</c:v>
                </c:pt>
                <c:pt idx="1384">
                  <c:v>41898</c:v>
                </c:pt>
                <c:pt idx="1385">
                  <c:v>41899</c:v>
                </c:pt>
                <c:pt idx="1386">
                  <c:v>41900</c:v>
                </c:pt>
                <c:pt idx="1387">
                  <c:v>41901</c:v>
                </c:pt>
                <c:pt idx="1388">
                  <c:v>41904</c:v>
                </c:pt>
                <c:pt idx="1389">
                  <c:v>41905</c:v>
                </c:pt>
                <c:pt idx="1390">
                  <c:v>41906</c:v>
                </c:pt>
                <c:pt idx="1391">
                  <c:v>41907</c:v>
                </c:pt>
                <c:pt idx="1392">
                  <c:v>41908</c:v>
                </c:pt>
                <c:pt idx="1393">
                  <c:v>41911</c:v>
                </c:pt>
                <c:pt idx="1394">
                  <c:v>41912</c:v>
                </c:pt>
                <c:pt idx="1395">
                  <c:v>41920</c:v>
                </c:pt>
                <c:pt idx="1396">
                  <c:v>41921</c:v>
                </c:pt>
                <c:pt idx="1397">
                  <c:v>41922</c:v>
                </c:pt>
                <c:pt idx="1398">
                  <c:v>41925</c:v>
                </c:pt>
                <c:pt idx="1399">
                  <c:v>41926</c:v>
                </c:pt>
                <c:pt idx="1400">
                  <c:v>41927</c:v>
                </c:pt>
                <c:pt idx="1401">
                  <c:v>41928</c:v>
                </c:pt>
                <c:pt idx="1402">
                  <c:v>41929</c:v>
                </c:pt>
                <c:pt idx="1403">
                  <c:v>41932</c:v>
                </c:pt>
                <c:pt idx="1404">
                  <c:v>41933</c:v>
                </c:pt>
                <c:pt idx="1405">
                  <c:v>41934</c:v>
                </c:pt>
                <c:pt idx="1406">
                  <c:v>41935</c:v>
                </c:pt>
                <c:pt idx="1407">
                  <c:v>41936</c:v>
                </c:pt>
                <c:pt idx="1408">
                  <c:v>41939</c:v>
                </c:pt>
                <c:pt idx="1409">
                  <c:v>41940</c:v>
                </c:pt>
                <c:pt idx="1410">
                  <c:v>41941</c:v>
                </c:pt>
                <c:pt idx="1411">
                  <c:v>41942</c:v>
                </c:pt>
                <c:pt idx="1412">
                  <c:v>41943</c:v>
                </c:pt>
                <c:pt idx="1413">
                  <c:v>41946</c:v>
                </c:pt>
                <c:pt idx="1414">
                  <c:v>41947</c:v>
                </c:pt>
                <c:pt idx="1415">
                  <c:v>41948</c:v>
                </c:pt>
                <c:pt idx="1416">
                  <c:v>41949</c:v>
                </c:pt>
                <c:pt idx="1417">
                  <c:v>41950</c:v>
                </c:pt>
                <c:pt idx="1418">
                  <c:v>41953</c:v>
                </c:pt>
                <c:pt idx="1419">
                  <c:v>41954</c:v>
                </c:pt>
                <c:pt idx="1420">
                  <c:v>41955</c:v>
                </c:pt>
                <c:pt idx="1421">
                  <c:v>41956</c:v>
                </c:pt>
                <c:pt idx="1422">
                  <c:v>41957</c:v>
                </c:pt>
                <c:pt idx="1423">
                  <c:v>41960</c:v>
                </c:pt>
                <c:pt idx="1424">
                  <c:v>41961</c:v>
                </c:pt>
                <c:pt idx="1425">
                  <c:v>41962</c:v>
                </c:pt>
                <c:pt idx="1426">
                  <c:v>41963</c:v>
                </c:pt>
                <c:pt idx="1427">
                  <c:v>41964</c:v>
                </c:pt>
                <c:pt idx="1428">
                  <c:v>41967</c:v>
                </c:pt>
                <c:pt idx="1429">
                  <c:v>41968</c:v>
                </c:pt>
                <c:pt idx="1430">
                  <c:v>41969</c:v>
                </c:pt>
                <c:pt idx="1431">
                  <c:v>41970</c:v>
                </c:pt>
                <c:pt idx="1432">
                  <c:v>41971</c:v>
                </c:pt>
                <c:pt idx="1433">
                  <c:v>41974</c:v>
                </c:pt>
                <c:pt idx="1434">
                  <c:v>41975</c:v>
                </c:pt>
                <c:pt idx="1435">
                  <c:v>41976</c:v>
                </c:pt>
                <c:pt idx="1436">
                  <c:v>41977</c:v>
                </c:pt>
                <c:pt idx="1437">
                  <c:v>41978</c:v>
                </c:pt>
                <c:pt idx="1438">
                  <c:v>41981</c:v>
                </c:pt>
                <c:pt idx="1439">
                  <c:v>41982</c:v>
                </c:pt>
                <c:pt idx="1440">
                  <c:v>41983</c:v>
                </c:pt>
                <c:pt idx="1441">
                  <c:v>41984</c:v>
                </c:pt>
                <c:pt idx="1442">
                  <c:v>41985</c:v>
                </c:pt>
                <c:pt idx="1443">
                  <c:v>41988</c:v>
                </c:pt>
                <c:pt idx="1444">
                  <c:v>41989</c:v>
                </c:pt>
                <c:pt idx="1445">
                  <c:v>41990</c:v>
                </c:pt>
                <c:pt idx="1446">
                  <c:v>41991</c:v>
                </c:pt>
                <c:pt idx="1447">
                  <c:v>41992</c:v>
                </c:pt>
                <c:pt idx="1448">
                  <c:v>41995</c:v>
                </c:pt>
                <c:pt idx="1449">
                  <c:v>41996</c:v>
                </c:pt>
                <c:pt idx="1450">
                  <c:v>41997</c:v>
                </c:pt>
                <c:pt idx="1451">
                  <c:v>41998</c:v>
                </c:pt>
                <c:pt idx="1452">
                  <c:v>41999</c:v>
                </c:pt>
                <c:pt idx="1453">
                  <c:v>42002</c:v>
                </c:pt>
                <c:pt idx="1454">
                  <c:v>42003</c:v>
                </c:pt>
                <c:pt idx="1455">
                  <c:v>42004</c:v>
                </c:pt>
                <c:pt idx="1456">
                  <c:v>42009</c:v>
                </c:pt>
                <c:pt idx="1457">
                  <c:v>42010</c:v>
                </c:pt>
                <c:pt idx="1458">
                  <c:v>42011</c:v>
                </c:pt>
                <c:pt idx="1459">
                  <c:v>42012</c:v>
                </c:pt>
                <c:pt idx="1460">
                  <c:v>42013</c:v>
                </c:pt>
                <c:pt idx="1461">
                  <c:v>42016</c:v>
                </c:pt>
                <c:pt idx="1462">
                  <c:v>42017</c:v>
                </c:pt>
                <c:pt idx="1463">
                  <c:v>42018</c:v>
                </c:pt>
                <c:pt idx="1464">
                  <c:v>42019</c:v>
                </c:pt>
                <c:pt idx="1465">
                  <c:v>42020</c:v>
                </c:pt>
                <c:pt idx="1466">
                  <c:v>42023</c:v>
                </c:pt>
                <c:pt idx="1467">
                  <c:v>42024</c:v>
                </c:pt>
                <c:pt idx="1468">
                  <c:v>42025</c:v>
                </c:pt>
                <c:pt idx="1469">
                  <c:v>42026</c:v>
                </c:pt>
                <c:pt idx="1470">
                  <c:v>42027</c:v>
                </c:pt>
                <c:pt idx="1471">
                  <c:v>42030</c:v>
                </c:pt>
                <c:pt idx="1472">
                  <c:v>42031</c:v>
                </c:pt>
                <c:pt idx="1473">
                  <c:v>42032</c:v>
                </c:pt>
                <c:pt idx="1474">
                  <c:v>42033</c:v>
                </c:pt>
                <c:pt idx="1475">
                  <c:v>42034</c:v>
                </c:pt>
                <c:pt idx="1476">
                  <c:v>42037</c:v>
                </c:pt>
                <c:pt idx="1477">
                  <c:v>42038</c:v>
                </c:pt>
                <c:pt idx="1478">
                  <c:v>42039</c:v>
                </c:pt>
                <c:pt idx="1479">
                  <c:v>42040</c:v>
                </c:pt>
                <c:pt idx="1480">
                  <c:v>42041</c:v>
                </c:pt>
                <c:pt idx="1481">
                  <c:v>42044</c:v>
                </c:pt>
                <c:pt idx="1482">
                  <c:v>42045</c:v>
                </c:pt>
                <c:pt idx="1483">
                  <c:v>42046</c:v>
                </c:pt>
                <c:pt idx="1484">
                  <c:v>42047</c:v>
                </c:pt>
                <c:pt idx="1485">
                  <c:v>42048</c:v>
                </c:pt>
                <c:pt idx="1486">
                  <c:v>42051</c:v>
                </c:pt>
                <c:pt idx="1487">
                  <c:v>42052</c:v>
                </c:pt>
                <c:pt idx="1488">
                  <c:v>42060</c:v>
                </c:pt>
                <c:pt idx="1489">
                  <c:v>42061</c:v>
                </c:pt>
                <c:pt idx="1490">
                  <c:v>42062</c:v>
                </c:pt>
                <c:pt idx="1491">
                  <c:v>42065</c:v>
                </c:pt>
                <c:pt idx="1492">
                  <c:v>42066</c:v>
                </c:pt>
                <c:pt idx="1493">
                  <c:v>42067</c:v>
                </c:pt>
                <c:pt idx="1494">
                  <c:v>42068</c:v>
                </c:pt>
                <c:pt idx="1495">
                  <c:v>42069</c:v>
                </c:pt>
                <c:pt idx="1496">
                  <c:v>42072</c:v>
                </c:pt>
                <c:pt idx="1497">
                  <c:v>42073</c:v>
                </c:pt>
                <c:pt idx="1498">
                  <c:v>42074</c:v>
                </c:pt>
                <c:pt idx="1499">
                  <c:v>42075</c:v>
                </c:pt>
                <c:pt idx="1500">
                  <c:v>42076</c:v>
                </c:pt>
                <c:pt idx="1501">
                  <c:v>42079</c:v>
                </c:pt>
                <c:pt idx="1502">
                  <c:v>42080</c:v>
                </c:pt>
                <c:pt idx="1503">
                  <c:v>42081</c:v>
                </c:pt>
                <c:pt idx="1504">
                  <c:v>42082</c:v>
                </c:pt>
                <c:pt idx="1505">
                  <c:v>42083</c:v>
                </c:pt>
                <c:pt idx="1506">
                  <c:v>42086</c:v>
                </c:pt>
                <c:pt idx="1507">
                  <c:v>42087</c:v>
                </c:pt>
                <c:pt idx="1508">
                  <c:v>42088</c:v>
                </c:pt>
                <c:pt idx="1509">
                  <c:v>42089</c:v>
                </c:pt>
                <c:pt idx="1510">
                  <c:v>42090</c:v>
                </c:pt>
                <c:pt idx="1511">
                  <c:v>42093</c:v>
                </c:pt>
                <c:pt idx="1512">
                  <c:v>42094</c:v>
                </c:pt>
                <c:pt idx="1513">
                  <c:v>42095</c:v>
                </c:pt>
                <c:pt idx="1514">
                  <c:v>42096</c:v>
                </c:pt>
                <c:pt idx="1515">
                  <c:v>42097</c:v>
                </c:pt>
                <c:pt idx="1516">
                  <c:v>42101</c:v>
                </c:pt>
                <c:pt idx="1517">
                  <c:v>42102</c:v>
                </c:pt>
                <c:pt idx="1518">
                  <c:v>42103</c:v>
                </c:pt>
                <c:pt idx="1519">
                  <c:v>42104</c:v>
                </c:pt>
                <c:pt idx="1520">
                  <c:v>42107</c:v>
                </c:pt>
                <c:pt idx="1521">
                  <c:v>42108</c:v>
                </c:pt>
                <c:pt idx="1522">
                  <c:v>42109</c:v>
                </c:pt>
                <c:pt idx="1523">
                  <c:v>42110</c:v>
                </c:pt>
                <c:pt idx="1524">
                  <c:v>42111</c:v>
                </c:pt>
                <c:pt idx="1525">
                  <c:v>42114</c:v>
                </c:pt>
                <c:pt idx="1526">
                  <c:v>42115</c:v>
                </c:pt>
                <c:pt idx="1527">
                  <c:v>42116</c:v>
                </c:pt>
                <c:pt idx="1528">
                  <c:v>42117</c:v>
                </c:pt>
                <c:pt idx="1529">
                  <c:v>42118</c:v>
                </c:pt>
                <c:pt idx="1530">
                  <c:v>42121</c:v>
                </c:pt>
                <c:pt idx="1531">
                  <c:v>42122</c:v>
                </c:pt>
                <c:pt idx="1532">
                  <c:v>42123</c:v>
                </c:pt>
                <c:pt idx="1533">
                  <c:v>42124</c:v>
                </c:pt>
                <c:pt idx="1534">
                  <c:v>42128</c:v>
                </c:pt>
                <c:pt idx="1535">
                  <c:v>42129</c:v>
                </c:pt>
                <c:pt idx="1536">
                  <c:v>42130</c:v>
                </c:pt>
                <c:pt idx="1537">
                  <c:v>42131</c:v>
                </c:pt>
                <c:pt idx="1538">
                  <c:v>42132</c:v>
                </c:pt>
                <c:pt idx="1539">
                  <c:v>42135</c:v>
                </c:pt>
                <c:pt idx="1540">
                  <c:v>42136</c:v>
                </c:pt>
                <c:pt idx="1541">
                  <c:v>42137</c:v>
                </c:pt>
                <c:pt idx="1542">
                  <c:v>42138</c:v>
                </c:pt>
                <c:pt idx="1543">
                  <c:v>42139</c:v>
                </c:pt>
                <c:pt idx="1544">
                  <c:v>42142</c:v>
                </c:pt>
                <c:pt idx="1545">
                  <c:v>42143</c:v>
                </c:pt>
                <c:pt idx="1546">
                  <c:v>42144</c:v>
                </c:pt>
                <c:pt idx="1547">
                  <c:v>42145</c:v>
                </c:pt>
                <c:pt idx="1548">
                  <c:v>42146</c:v>
                </c:pt>
                <c:pt idx="1549">
                  <c:v>42149</c:v>
                </c:pt>
                <c:pt idx="1550">
                  <c:v>42150</c:v>
                </c:pt>
                <c:pt idx="1551">
                  <c:v>42151</c:v>
                </c:pt>
                <c:pt idx="1552">
                  <c:v>42152</c:v>
                </c:pt>
                <c:pt idx="1553">
                  <c:v>42153</c:v>
                </c:pt>
                <c:pt idx="1554">
                  <c:v>42156</c:v>
                </c:pt>
                <c:pt idx="1555">
                  <c:v>42157</c:v>
                </c:pt>
                <c:pt idx="1556">
                  <c:v>42158</c:v>
                </c:pt>
                <c:pt idx="1557">
                  <c:v>42159</c:v>
                </c:pt>
                <c:pt idx="1558">
                  <c:v>42160</c:v>
                </c:pt>
                <c:pt idx="1559">
                  <c:v>42163</c:v>
                </c:pt>
                <c:pt idx="1560">
                  <c:v>42164</c:v>
                </c:pt>
                <c:pt idx="1561">
                  <c:v>42165</c:v>
                </c:pt>
                <c:pt idx="1562">
                  <c:v>42166</c:v>
                </c:pt>
                <c:pt idx="1563">
                  <c:v>42167</c:v>
                </c:pt>
                <c:pt idx="1564">
                  <c:v>42170</c:v>
                </c:pt>
                <c:pt idx="1565">
                  <c:v>42171</c:v>
                </c:pt>
                <c:pt idx="1566">
                  <c:v>42172</c:v>
                </c:pt>
                <c:pt idx="1567">
                  <c:v>42173</c:v>
                </c:pt>
                <c:pt idx="1568">
                  <c:v>42174</c:v>
                </c:pt>
                <c:pt idx="1569">
                  <c:v>42178</c:v>
                </c:pt>
                <c:pt idx="1570">
                  <c:v>42179</c:v>
                </c:pt>
                <c:pt idx="1571">
                  <c:v>42180</c:v>
                </c:pt>
                <c:pt idx="1572">
                  <c:v>42181</c:v>
                </c:pt>
                <c:pt idx="1573">
                  <c:v>42184</c:v>
                </c:pt>
                <c:pt idx="1574">
                  <c:v>42185</c:v>
                </c:pt>
                <c:pt idx="1575">
                  <c:v>42186</c:v>
                </c:pt>
                <c:pt idx="1576">
                  <c:v>42187</c:v>
                </c:pt>
                <c:pt idx="1577">
                  <c:v>42188</c:v>
                </c:pt>
                <c:pt idx="1578">
                  <c:v>42191</c:v>
                </c:pt>
                <c:pt idx="1579">
                  <c:v>42192</c:v>
                </c:pt>
                <c:pt idx="1580">
                  <c:v>42193</c:v>
                </c:pt>
                <c:pt idx="1581">
                  <c:v>42194</c:v>
                </c:pt>
                <c:pt idx="1582">
                  <c:v>42195</c:v>
                </c:pt>
                <c:pt idx="1583">
                  <c:v>42198</c:v>
                </c:pt>
                <c:pt idx="1584">
                  <c:v>42199</c:v>
                </c:pt>
                <c:pt idx="1585">
                  <c:v>42200</c:v>
                </c:pt>
                <c:pt idx="1586">
                  <c:v>42201</c:v>
                </c:pt>
                <c:pt idx="1587">
                  <c:v>42202</c:v>
                </c:pt>
                <c:pt idx="1588">
                  <c:v>42205</c:v>
                </c:pt>
                <c:pt idx="1589">
                  <c:v>42206</c:v>
                </c:pt>
                <c:pt idx="1590">
                  <c:v>42207</c:v>
                </c:pt>
                <c:pt idx="1591">
                  <c:v>42208</c:v>
                </c:pt>
                <c:pt idx="1592">
                  <c:v>42209</c:v>
                </c:pt>
                <c:pt idx="1593">
                  <c:v>42212</c:v>
                </c:pt>
                <c:pt idx="1594">
                  <c:v>42213</c:v>
                </c:pt>
                <c:pt idx="1595">
                  <c:v>42214</c:v>
                </c:pt>
                <c:pt idx="1596">
                  <c:v>42215</c:v>
                </c:pt>
                <c:pt idx="1597">
                  <c:v>42216</c:v>
                </c:pt>
                <c:pt idx="1598">
                  <c:v>42219</c:v>
                </c:pt>
                <c:pt idx="1599">
                  <c:v>42220</c:v>
                </c:pt>
                <c:pt idx="1600">
                  <c:v>42221</c:v>
                </c:pt>
                <c:pt idx="1601">
                  <c:v>42222</c:v>
                </c:pt>
                <c:pt idx="1602">
                  <c:v>42223</c:v>
                </c:pt>
                <c:pt idx="1603">
                  <c:v>42226</c:v>
                </c:pt>
                <c:pt idx="1604">
                  <c:v>42227</c:v>
                </c:pt>
                <c:pt idx="1605">
                  <c:v>42228</c:v>
                </c:pt>
                <c:pt idx="1606">
                  <c:v>42229</c:v>
                </c:pt>
                <c:pt idx="1607">
                  <c:v>42230</c:v>
                </c:pt>
                <c:pt idx="1608">
                  <c:v>42233</c:v>
                </c:pt>
                <c:pt idx="1609">
                  <c:v>42234</c:v>
                </c:pt>
                <c:pt idx="1610">
                  <c:v>42235</c:v>
                </c:pt>
                <c:pt idx="1611">
                  <c:v>42236</c:v>
                </c:pt>
                <c:pt idx="1612">
                  <c:v>42237</c:v>
                </c:pt>
                <c:pt idx="1613">
                  <c:v>42240</c:v>
                </c:pt>
                <c:pt idx="1614">
                  <c:v>42241</c:v>
                </c:pt>
                <c:pt idx="1615">
                  <c:v>42242</c:v>
                </c:pt>
                <c:pt idx="1616">
                  <c:v>42243</c:v>
                </c:pt>
                <c:pt idx="1617">
                  <c:v>42244</c:v>
                </c:pt>
                <c:pt idx="1618">
                  <c:v>42247</c:v>
                </c:pt>
                <c:pt idx="1619">
                  <c:v>42248</c:v>
                </c:pt>
                <c:pt idx="1620">
                  <c:v>42249</c:v>
                </c:pt>
                <c:pt idx="1621">
                  <c:v>42254</c:v>
                </c:pt>
                <c:pt idx="1622">
                  <c:v>42255</c:v>
                </c:pt>
                <c:pt idx="1623">
                  <c:v>42256</c:v>
                </c:pt>
                <c:pt idx="1624">
                  <c:v>42257</c:v>
                </c:pt>
                <c:pt idx="1625">
                  <c:v>42258</c:v>
                </c:pt>
                <c:pt idx="1626">
                  <c:v>42261</c:v>
                </c:pt>
                <c:pt idx="1627">
                  <c:v>42262</c:v>
                </c:pt>
                <c:pt idx="1628">
                  <c:v>42263</c:v>
                </c:pt>
                <c:pt idx="1629">
                  <c:v>42264</c:v>
                </c:pt>
                <c:pt idx="1630">
                  <c:v>42265</c:v>
                </c:pt>
                <c:pt idx="1631">
                  <c:v>42268</c:v>
                </c:pt>
                <c:pt idx="1632">
                  <c:v>42269</c:v>
                </c:pt>
                <c:pt idx="1633">
                  <c:v>42270</c:v>
                </c:pt>
                <c:pt idx="1634">
                  <c:v>42271</c:v>
                </c:pt>
                <c:pt idx="1635">
                  <c:v>42272</c:v>
                </c:pt>
                <c:pt idx="1636">
                  <c:v>42275</c:v>
                </c:pt>
                <c:pt idx="1637">
                  <c:v>42276</c:v>
                </c:pt>
                <c:pt idx="1638">
                  <c:v>42277</c:v>
                </c:pt>
                <c:pt idx="1639">
                  <c:v>42285</c:v>
                </c:pt>
                <c:pt idx="1640">
                  <c:v>42286</c:v>
                </c:pt>
                <c:pt idx="1641">
                  <c:v>42289</c:v>
                </c:pt>
                <c:pt idx="1642">
                  <c:v>42290</c:v>
                </c:pt>
                <c:pt idx="1643">
                  <c:v>42291</c:v>
                </c:pt>
                <c:pt idx="1644">
                  <c:v>42292</c:v>
                </c:pt>
                <c:pt idx="1645">
                  <c:v>42293</c:v>
                </c:pt>
                <c:pt idx="1646">
                  <c:v>42296</c:v>
                </c:pt>
                <c:pt idx="1647">
                  <c:v>42297</c:v>
                </c:pt>
                <c:pt idx="1648">
                  <c:v>42298</c:v>
                </c:pt>
                <c:pt idx="1649">
                  <c:v>42299</c:v>
                </c:pt>
                <c:pt idx="1650">
                  <c:v>42300</c:v>
                </c:pt>
                <c:pt idx="1651">
                  <c:v>42303</c:v>
                </c:pt>
                <c:pt idx="1652">
                  <c:v>42304</c:v>
                </c:pt>
                <c:pt idx="1653">
                  <c:v>42305</c:v>
                </c:pt>
                <c:pt idx="1654">
                  <c:v>42306</c:v>
                </c:pt>
                <c:pt idx="1655">
                  <c:v>42307</c:v>
                </c:pt>
                <c:pt idx="1656">
                  <c:v>42310</c:v>
                </c:pt>
                <c:pt idx="1657">
                  <c:v>42311</c:v>
                </c:pt>
                <c:pt idx="1658">
                  <c:v>42312</c:v>
                </c:pt>
                <c:pt idx="1659">
                  <c:v>42313</c:v>
                </c:pt>
                <c:pt idx="1660">
                  <c:v>42314</c:v>
                </c:pt>
                <c:pt idx="1661">
                  <c:v>42317</c:v>
                </c:pt>
                <c:pt idx="1662">
                  <c:v>42318</c:v>
                </c:pt>
                <c:pt idx="1663">
                  <c:v>42319</c:v>
                </c:pt>
                <c:pt idx="1664">
                  <c:v>42320</c:v>
                </c:pt>
                <c:pt idx="1665">
                  <c:v>42321</c:v>
                </c:pt>
                <c:pt idx="1666">
                  <c:v>42324</c:v>
                </c:pt>
                <c:pt idx="1667">
                  <c:v>42325</c:v>
                </c:pt>
                <c:pt idx="1668">
                  <c:v>42326</c:v>
                </c:pt>
                <c:pt idx="1669">
                  <c:v>42327</c:v>
                </c:pt>
                <c:pt idx="1670">
                  <c:v>42328</c:v>
                </c:pt>
                <c:pt idx="1671">
                  <c:v>42331</c:v>
                </c:pt>
                <c:pt idx="1672">
                  <c:v>42332</c:v>
                </c:pt>
                <c:pt idx="1673">
                  <c:v>42333</c:v>
                </c:pt>
                <c:pt idx="1674">
                  <c:v>42334</c:v>
                </c:pt>
                <c:pt idx="1675">
                  <c:v>42335</c:v>
                </c:pt>
                <c:pt idx="1676">
                  <c:v>42338</c:v>
                </c:pt>
                <c:pt idx="1677">
                  <c:v>42339</c:v>
                </c:pt>
                <c:pt idx="1678">
                  <c:v>42340</c:v>
                </c:pt>
                <c:pt idx="1679">
                  <c:v>42341</c:v>
                </c:pt>
                <c:pt idx="1680">
                  <c:v>42342</c:v>
                </c:pt>
                <c:pt idx="1681">
                  <c:v>42345</c:v>
                </c:pt>
                <c:pt idx="1682">
                  <c:v>42346</c:v>
                </c:pt>
                <c:pt idx="1683">
                  <c:v>42347</c:v>
                </c:pt>
                <c:pt idx="1684">
                  <c:v>42348</c:v>
                </c:pt>
                <c:pt idx="1685">
                  <c:v>42349</c:v>
                </c:pt>
                <c:pt idx="1686">
                  <c:v>42352</c:v>
                </c:pt>
                <c:pt idx="1687">
                  <c:v>42353</c:v>
                </c:pt>
                <c:pt idx="1688">
                  <c:v>42354</c:v>
                </c:pt>
                <c:pt idx="1689">
                  <c:v>42355</c:v>
                </c:pt>
                <c:pt idx="1690">
                  <c:v>42356</c:v>
                </c:pt>
                <c:pt idx="1691">
                  <c:v>42359</c:v>
                </c:pt>
                <c:pt idx="1692">
                  <c:v>42360</c:v>
                </c:pt>
                <c:pt idx="1693">
                  <c:v>42361</c:v>
                </c:pt>
                <c:pt idx="1694">
                  <c:v>42362</c:v>
                </c:pt>
                <c:pt idx="1695">
                  <c:v>42363</c:v>
                </c:pt>
                <c:pt idx="1696">
                  <c:v>42366</c:v>
                </c:pt>
                <c:pt idx="1697">
                  <c:v>42367</c:v>
                </c:pt>
                <c:pt idx="1698">
                  <c:v>42368</c:v>
                </c:pt>
                <c:pt idx="1699">
                  <c:v>42369</c:v>
                </c:pt>
                <c:pt idx="1700">
                  <c:v>42373</c:v>
                </c:pt>
                <c:pt idx="1701">
                  <c:v>42374</c:v>
                </c:pt>
                <c:pt idx="1702">
                  <c:v>42375</c:v>
                </c:pt>
                <c:pt idx="1703">
                  <c:v>42376</c:v>
                </c:pt>
                <c:pt idx="1704">
                  <c:v>42377</c:v>
                </c:pt>
                <c:pt idx="1705">
                  <c:v>42380</c:v>
                </c:pt>
                <c:pt idx="1706">
                  <c:v>42381</c:v>
                </c:pt>
                <c:pt idx="1707">
                  <c:v>42382</c:v>
                </c:pt>
                <c:pt idx="1708">
                  <c:v>42383</c:v>
                </c:pt>
                <c:pt idx="1709">
                  <c:v>42384</c:v>
                </c:pt>
                <c:pt idx="1710">
                  <c:v>42387</c:v>
                </c:pt>
                <c:pt idx="1711">
                  <c:v>42388</c:v>
                </c:pt>
                <c:pt idx="1712">
                  <c:v>42389</c:v>
                </c:pt>
                <c:pt idx="1713">
                  <c:v>42390</c:v>
                </c:pt>
                <c:pt idx="1714">
                  <c:v>42391</c:v>
                </c:pt>
                <c:pt idx="1715">
                  <c:v>42394</c:v>
                </c:pt>
                <c:pt idx="1716">
                  <c:v>42395</c:v>
                </c:pt>
                <c:pt idx="1717">
                  <c:v>42396</c:v>
                </c:pt>
                <c:pt idx="1718">
                  <c:v>42397</c:v>
                </c:pt>
                <c:pt idx="1719">
                  <c:v>42398</c:v>
                </c:pt>
                <c:pt idx="1720">
                  <c:v>42401</c:v>
                </c:pt>
                <c:pt idx="1721">
                  <c:v>42402</c:v>
                </c:pt>
                <c:pt idx="1722">
                  <c:v>42403</c:v>
                </c:pt>
                <c:pt idx="1723">
                  <c:v>42404</c:v>
                </c:pt>
                <c:pt idx="1724">
                  <c:v>42405</c:v>
                </c:pt>
                <c:pt idx="1725">
                  <c:v>42415</c:v>
                </c:pt>
                <c:pt idx="1726">
                  <c:v>42416</c:v>
                </c:pt>
                <c:pt idx="1727">
                  <c:v>42417</c:v>
                </c:pt>
                <c:pt idx="1728">
                  <c:v>42418</c:v>
                </c:pt>
                <c:pt idx="1729">
                  <c:v>42419</c:v>
                </c:pt>
                <c:pt idx="1730">
                  <c:v>42422</c:v>
                </c:pt>
                <c:pt idx="1731">
                  <c:v>42423</c:v>
                </c:pt>
                <c:pt idx="1732">
                  <c:v>42424</c:v>
                </c:pt>
                <c:pt idx="1733">
                  <c:v>42425</c:v>
                </c:pt>
                <c:pt idx="1734">
                  <c:v>42426</c:v>
                </c:pt>
                <c:pt idx="1735">
                  <c:v>42429</c:v>
                </c:pt>
                <c:pt idx="1736">
                  <c:v>42430</c:v>
                </c:pt>
                <c:pt idx="1737">
                  <c:v>42431</c:v>
                </c:pt>
                <c:pt idx="1738">
                  <c:v>42432</c:v>
                </c:pt>
                <c:pt idx="1739">
                  <c:v>42433</c:v>
                </c:pt>
                <c:pt idx="1740">
                  <c:v>42436</c:v>
                </c:pt>
                <c:pt idx="1741">
                  <c:v>42437</c:v>
                </c:pt>
                <c:pt idx="1742">
                  <c:v>42438</c:v>
                </c:pt>
                <c:pt idx="1743">
                  <c:v>42439</c:v>
                </c:pt>
                <c:pt idx="1744">
                  <c:v>42440</c:v>
                </c:pt>
                <c:pt idx="1745">
                  <c:v>42443</c:v>
                </c:pt>
                <c:pt idx="1746">
                  <c:v>42444</c:v>
                </c:pt>
                <c:pt idx="1747">
                  <c:v>42445</c:v>
                </c:pt>
                <c:pt idx="1748">
                  <c:v>42446</c:v>
                </c:pt>
                <c:pt idx="1749">
                  <c:v>42447</c:v>
                </c:pt>
                <c:pt idx="1750">
                  <c:v>42450</c:v>
                </c:pt>
                <c:pt idx="1751">
                  <c:v>42451</c:v>
                </c:pt>
                <c:pt idx="1752">
                  <c:v>42452</c:v>
                </c:pt>
                <c:pt idx="1753">
                  <c:v>42453</c:v>
                </c:pt>
                <c:pt idx="1754">
                  <c:v>42454</c:v>
                </c:pt>
                <c:pt idx="1755">
                  <c:v>42457</c:v>
                </c:pt>
                <c:pt idx="1756">
                  <c:v>42458</c:v>
                </c:pt>
                <c:pt idx="1757">
                  <c:v>42459</c:v>
                </c:pt>
                <c:pt idx="1758">
                  <c:v>42460</c:v>
                </c:pt>
                <c:pt idx="1759">
                  <c:v>42461</c:v>
                </c:pt>
                <c:pt idx="1760">
                  <c:v>42465</c:v>
                </c:pt>
                <c:pt idx="1761">
                  <c:v>42466</c:v>
                </c:pt>
                <c:pt idx="1762">
                  <c:v>42467</c:v>
                </c:pt>
                <c:pt idx="1763">
                  <c:v>42468</c:v>
                </c:pt>
                <c:pt idx="1764">
                  <c:v>42471</c:v>
                </c:pt>
                <c:pt idx="1765">
                  <c:v>42472</c:v>
                </c:pt>
                <c:pt idx="1766">
                  <c:v>42473</c:v>
                </c:pt>
                <c:pt idx="1767">
                  <c:v>42474</c:v>
                </c:pt>
                <c:pt idx="1768">
                  <c:v>42475</c:v>
                </c:pt>
                <c:pt idx="1769">
                  <c:v>42478</c:v>
                </c:pt>
                <c:pt idx="1770">
                  <c:v>42479</c:v>
                </c:pt>
                <c:pt idx="1771">
                  <c:v>42480</c:v>
                </c:pt>
                <c:pt idx="1772">
                  <c:v>42481</c:v>
                </c:pt>
                <c:pt idx="1773">
                  <c:v>42482</c:v>
                </c:pt>
                <c:pt idx="1774">
                  <c:v>42485</c:v>
                </c:pt>
                <c:pt idx="1775">
                  <c:v>42486</c:v>
                </c:pt>
                <c:pt idx="1776">
                  <c:v>42487</c:v>
                </c:pt>
                <c:pt idx="1777">
                  <c:v>42488</c:v>
                </c:pt>
                <c:pt idx="1778">
                  <c:v>42489</c:v>
                </c:pt>
                <c:pt idx="1779">
                  <c:v>42493</c:v>
                </c:pt>
                <c:pt idx="1780">
                  <c:v>42494</c:v>
                </c:pt>
                <c:pt idx="1781">
                  <c:v>42495</c:v>
                </c:pt>
                <c:pt idx="1782">
                  <c:v>42496</c:v>
                </c:pt>
                <c:pt idx="1783">
                  <c:v>42499</c:v>
                </c:pt>
                <c:pt idx="1784">
                  <c:v>42500</c:v>
                </c:pt>
                <c:pt idx="1785">
                  <c:v>42501</c:v>
                </c:pt>
                <c:pt idx="1786">
                  <c:v>42502</c:v>
                </c:pt>
                <c:pt idx="1787">
                  <c:v>42503</c:v>
                </c:pt>
                <c:pt idx="1788">
                  <c:v>42506</c:v>
                </c:pt>
                <c:pt idx="1789">
                  <c:v>42507</c:v>
                </c:pt>
                <c:pt idx="1790">
                  <c:v>42508</c:v>
                </c:pt>
                <c:pt idx="1791">
                  <c:v>42509</c:v>
                </c:pt>
                <c:pt idx="1792">
                  <c:v>42510</c:v>
                </c:pt>
                <c:pt idx="1793">
                  <c:v>42513</c:v>
                </c:pt>
                <c:pt idx="1794">
                  <c:v>42514</c:v>
                </c:pt>
                <c:pt idx="1795">
                  <c:v>42515</c:v>
                </c:pt>
                <c:pt idx="1796">
                  <c:v>42516</c:v>
                </c:pt>
                <c:pt idx="1797">
                  <c:v>42517</c:v>
                </c:pt>
                <c:pt idx="1798">
                  <c:v>42520</c:v>
                </c:pt>
                <c:pt idx="1799">
                  <c:v>42521</c:v>
                </c:pt>
                <c:pt idx="1800">
                  <c:v>42522</c:v>
                </c:pt>
                <c:pt idx="1801">
                  <c:v>42523</c:v>
                </c:pt>
                <c:pt idx="1802">
                  <c:v>42524</c:v>
                </c:pt>
                <c:pt idx="1803">
                  <c:v>42527</c:v>
                </c:pt>
                <c:pt idx="1804">
                  <c:v>42528</c:v>
                </c:pt>
                <c:pt idx="1805">
                  <c:v>42529</c:v>
                </c:pt>
                <c:pt idx="1806">
                  <c:v>42534</c:v>
                </c:pt>
                <c:pt idx="1807">
                  <c:v>42535</c:v>
                </c:pt>
                <c:pt idx="1808">
                  <c:v>42536</c:v>
                </c:pt>
                <c:pt idx="1809">
                  <c:v>42537</c:v>
                </c:pt>
                <c:pt idx="1810">
                  <c:v>42538</c:v>
                </c:pt>
                <c:pt idx="1811">
                  <c:v>42541</c:v>
                </c:pt>
                <c:pt idx="1812">
                  <c:v>42542</c:v>
                </c:pt>
                <c:pt idx="1813">
                  <c:v>42543</c:v>
                </c:pt>
                <c:pt idx="1814">
                  <c:v>42544</c:v>
                </c:pt>
                <c:pt idx="1815">
                  <c:v>42545</c:v>
                </c:pt>
                <c:pt idx="1816">
                  <c:v>42548</c:v>
                </c:pt>
                <c:pt idx="1817">
                  <c:v>42549</c:v>
                </c:pt>
                <c:pt idx="1818">
                  <c:v>42550</c:v>
                </c:pt>
                <c:pt idx="1819">
                  <c:v>42551</c:v>
                </c:pt>
                <c:pt idx="1820">
                  <c:v>42552</c:v>
                </c:pt>
                <c:pt idx="1821">
                  <c:v>42555</c:v>
                </c:pt>
                <c:pt idx="1822">
                  <c:v>42556</c:v>
                </c:pt>
                <c:pt idx="1823">
                  <c:v>42557</c:v>
                </c:pt>
                <c:pt idx="1824">
                  <c:v>42558</c:v>
                </c:pt>
                <c:pt idx="1825">
                  <c:v>42559</c:v>
                </c:pt>
                <c:pt idx="1826">
                  <c:v>42562</c:v>
                </c:pt>
                <c:pt idx="1827">
                  <c:v>42563</c:v>
                </c:pt>
                <c:pt idx="1828">
                  <c:v>42564</c:v>
                </c:pt>
                <c:pt idx="1829">
                  <c:v>42565</c:v>
                </c:pt>
                <c:pt idx="1830">
                  <c:v>42566</c:v>
                </c:pt>
                <c:pt idx="1831">
                  <c:v>42569</c:v>
                </c:pt>
                <c:pt idx="1832">
                  <c:v>42570</c:v>
                </c:pt>
                <c:pt idx="1833">
                  <c:v>42571</c:v>
                </c:pt>
                <c:pt idx="1834">
                  <c:v>42572</c:v>
                </c:pt>
                <c:pt idx="1835">
                  <c:v>42573</c:v>
                </c:pt>
                <c:pt idx="1836">
                  <c:v>42576</c:v>
                </c:pt>
                <c:pt idx="1837">
                  <c:v>42577</c:v>
                </c:pt>
                <c:pt idx="1838">
                  <c:v>42578</c:v>
                </c:pt>
                <c:pt idx="1839">
                  <c:v>42579</c:v>
                </c:pt>
                <c:pt idx="1840">
                  <c:v>42580</c:v>
                </c:pt>
                <c:pt idx="1841">
                  <c:v>42583</c:v>
                </c:pt>
                <c:pt idx="1842">
                  <c:v>42584</c:v>
                </c:pt>
                <c:pt idx="1843">
                  <c:v>42585</c:v>
                </c:pt>
                <c:pt idx="1844">
                  <c:v>42586</c:v>
                </c:pt>
                <c:pt idx="1845">
                  <c:v>42587</c:v>
                </c:pt>
                <c:pt idx="1846">
                  <c:v>42590</c:v>
                </c:pt>
                <c:pt idx="1847">
                  <c:v>42591</c:v>
                </c:pt>
                <c:pt idx="1848">
                  <c:v>42592</c:v>
                </c:pt>
                <c:pt idx="1849">
                  <c:v>42593</c:v>
                </c:pt>
                <c:pt idx="1850">
                  <c:v>42594</c:v>
                </c:pt>
                <c:pt idx="1851">
                  <c:v>42597</c:v>
                </c:pt>
                <c:pt idx="1852">
                  <c:v>42598</c:v>
                </c:pt>
                <c:pt idx="1853">
                  <c:v>42599</c:v>
                </c:pt>
                <c:pt idx="1854">
                  <c:v>42600</c:v>
                </c:pt>
                <c:pt idx="1855">
                  <c:v>42601</c:v>
                </c:pt>
                <c:pt idx="1856">
                  <c:v>42604</c:v>
                </c:pt>
                <c:pt idx="1857">
                  <c:v>42605</c:v>
                </c:pt>
                <c:pt idx="1858">
                  <c:v>42606</c:v>
                </c:pt>
                <c:pt idx="1859">
                  <c:v>42607</c:v>
                </c:pt>
                <c:pt idx="1860">
                  <c:v>42608</c:v>
                </c:pt>
                <c:pt idx="1861">
                  <c:v>42611</c:v>
                </c:pt>
                <c:pt idx="1862">
                  <c:v>42612</c:v>
                </c:pt>
                <c:pt idx="1863">
                  <c:v>42613</c:v>
                </c:pt>
                <c:pt idx="1864">
                  <c:v>42614</c:v>
                </c:pt>
                <c:pt idx="1865">
                  <c:v>42615</c:v>
                </c:pt>
                <c:pt idx="1866">
                  <c:v>42618</c:v>
                </c:pt>
                <c:pt idx="1867">
                  <c:v>42619</c:v>
                </c:pt>
                <c:pt idx="1868">
                  <c:v>42620</c:v>
                </c:pt>
                <c:pt idx="1869">
                  <c:v>42621</c:v>
                </c:pt>
                <c:pt idx="1870">
                  <c:v>42622</c:v>
                </c:pt>
                <c:pt idx="1871">
                  <c:v>42625</c:v>
                </c:pt>
                <c:pt idx="1872">
                  <c:v>42626</c:v>
                </c:pt>
                <c:pt idx="1873">
                  <c:v>42627</c:v>
                </c:pt>
                <c:pt idx="1874">
                  <c:v>42632</c:v>
                </c:pt>
                <c:pt idx="1875">
                  <c:v>42633</c:v>
                </c:pt>
                <c:pt idx="1876">
                  <c:v>42634</c:v>
                </c:pt>
                <c:pt idx="1877">
                  <c:v>42635</c:v>
                </c:pt>
                <c:pt idx="1878">
                  <c:v>42636</c:v>
                </c:pt>
                <c:pt idx="1879">
                  <c:v>42639</c:v>
                </c:pt>
                <c:pt idx="1880">
                  <c:v>42640</c:v>
                </c:pt>
                <c:pt idx="1881">
                  <c:v>42641</c:v>
                </c:pt>
                <c:pt idx="1882">
                  <c:v>42642</c:v>
                </c:pt>
                <c:pt idx="1883">
                  <c:v>42643</c:v>
                </c:pt>
                <c:pt idx="1884">
                  <c:v>42653</c:v>
                </c:pt>
                <c:pt idx="1885">
                  <c:v>42654</c:v>
                </c:pt>
                <c:pt idx="1886">
                  <c:v>42655</c:v>
                </c:pt>
                <c:pt idx="1887">
                  <c:v>42656</c:v>
                </c:pt>
                <c:pt idx="1888">
                  <c:v>42657</c:v>
                </c:pt>
                <c:pt idx="1889">
                  <c:v>42660</c:v>
                </c:pt>
                <c:pt idx="1890">
                  <c:v>42661</c:v>
                </c:pt>
                <c:pt idx="1891">
                  <c:v>42662</c:v>
                </c:pt>
                <c:pt idx="1892">
                  <c:v>42663</c:v>
                </c:pt>
                <c:pt idx="1893">
                  <c:v>42664</c:v>
                </c:pt>
                <c:pt idx="1894">
                  <c:v>42667</c:v>
                </c:pt>
                <c:pt idx="1895">
                  <c:v>42668</c:v>
                </c:pt>
                <c:pt idx="1896">
                  <c:v>42669</c:v>
                </c:pt>
                <c:pt idx="1897">
                  <c:v>42670</c:v>
                </c:pt>
                <c:pt idx="1898">
                  <c:v>42671</c:v>
                </c:pt>
                <c:pt idx="1899">
                  <c:v>42674</c:v>
                </c:pt>
                <c:pt idx="1900">
                  <c:v>42675</c:v>
                </c:pt>
                <c:pt idx="1901">
                  <c:v>42676</c:v>
                </c:pt>
                <c:pt idx="1902">
                  <c:v>42677</c:v>
                </c:pt>
                <c:pt idx="1903">
                  <c:v>42678</c:v>
                </c:pt>
                <c:pt idx="1904">
                  <c:v>42681</c:v>
                </c:pt>
                <c:pt idx="1905">
                  <c:v>42682</c:v>
                </c:pt>
                <c:pt idx="1906">
                  <c:v>42683</c:v>
                </c:pt>
                <c:pt idx="1907">
                  <c:v>42684</c:v>
                </c:pt>
                <c:pt idx="1908">
                  <c:v>42685</c:v>
                </c:pt>
                <c:pt idx="1909">
                  <c:v>42688</c:v>
                </c:pt>
                <c:pt idx="1910">
                  <c:v>42689</c:v>
                </c:pt>
                <c:pt idx="1911">
                  <c:v>42690</c:v>
                </c:pt>
                <c:pt idx="1912">
                  <c:v>42691</c:v>
                </c:pt>
                <c:pt idx="1913">
                  <c:v>42692</c:v>
                </c:pt>
                <c:pt idx="1914">
                  <c:v>42695</c:v>
                </c:pt>
                <c:pt idx="1915">
                  <c:v>42696</c:v>
                </c:pt>
                <c:pt idx="1916">
                  <c:v>42697</c:v>
                </c:pt>
                <c:pt idx="1917">
                  <c:v>42698</c:v>
                </c:pt>
                <c:pt idx="1918">
                  <c:v>42699</c:v>
                </c:pt>
                <c:pt idx="1919">
                  <c:v>42702</c:v>
                </c:pt>
                <c:pt idx="1920">
                  <c:v>42703</c:v>
                </c:pt>
                <c:pt idx="1921">
                  <c:v>42704</c:v>
                </c:pt>
                <c:pt idx="1922">
                  <c:v>42705</c:v>
                </c:pt>
                <c:pt idx="1923">
                  <c:v>42706</c:v>
                </c:pt>
                <c:pt idx="1924">
                  <c:v>42709</c:v>
                </c:pt>
                <c:pt idx="1925">
                  <c:v>42710</c:v>
                </c:pt>
                <c:pt idx="1926">
                  <c:v>42711</c:v>
                </c:pt>
                <c:pt idx="1927">
                  <c:v>42712</c:v>
                </c:pt>
                <c:pt idx="1928">
                  <c:v>42713</c:v>
                </c:pt>
                <c:pt idx="1929">
                  <c:v>42716</c:v>
                </c:pt>
                <c:pt idx="1930">
                  <c:v>42717</c:v>
                </c:pt>
                <c:pt idx="1931">
                  <c:v>42718</c:v>
                </c:pt>
                <c:pt idx="1932">
                  <c:v>42719</c:v>
                </c:pt>
                <c:pt idx="1933">
                  <c:v>42720</c:v>
                </c:pt>
                <c:pt idx="1934">
                  <c:v>42723</c:v>
                </c:pt>
                <c:pt idx="1935">
                  <c:v>42724</c:v>
                </c:pt>
                <c:pt idx="1936">
                  <c:v>42725</c:v>
                </c:pt>
                <c:pt idx="1937">
                  <c:v>42726</c:v>
                </c:pt>
                <c:pt idx="1938">
                  <c:v>42727</c:v>
                </c:pt>
                <c:pt idx="1939">
                  <c:v>42730</c:v>
                </c:pt>
                <c:pt idx="1940">
                  <c:v>42731</c:v>
                </c:pt>
                <c:pt idx="1941">
                  <c:v>42732</c:v>
                </c:pt>
                <c:pt idx="1942">
                  <c:v>42733</c:v>
                </c:pt>
                <c:pt idx="1943">
                  <c:v>42734</c:v>
                </c:pt>
                <c:pt idx="1944">
                  <c:v>42738</c:v>
                </c:pt>
                <c:pt idx="1945">
                  <c:v>42739</c:v>
                </c:pt>
                <c:pt idx="1946">
                  <c:v>42740</c:v>
                </c:pt>
                <c:pt idx="1947">
                  <c:v>42741</c:v>
                </c:pt>
                <c:pt idx="1948">
                  <c:v>42744</c:v>
                </c:pt>
                <c:pt idx="1949">
                  <c:v>42745</c:v>
                </c:pt>
                <c:pt idx="1950">
                  <c:v>42746</c:v>
                </c:pt>
                <c:pt idx="1951">
                  <c:v>42747</c:v>
                </c:pt>
                <c:pt idx="1952">
                  <c:v>42748</c:v>
                </c:pt>
                <c:pt idx="1953">
                  <c:v>42751</c:v>
                </c:pt>
                <c:pt idx="1954">
                  <c:v>42752</c:v>
                </c:pt>
                <c:pt idx="1955">
                  <c:v>42753</c:v>
                </c:pt>
                <c:pt idx="1956">
                  <c:v>42754</c:v>
                </c:pt>
                <c:pt idx="1957">
                  <c:v>42755</c:v>
                </c:pt>
                <c:pt idx="1958">
                  <c:v>42758</c:v>
                </c:pt>
                <c:pt idx="1959">
                  <c:v>42759</c:v>
                </c:pt>
                <c:pt idx="1960">
                  <c:v>42760</c:v>
                </c:pt>
                <c:pt idx="1961">
                  <c:v>42761</c:v>
                </c:pt>
                <c:pt idx="1962">
                  <c:v>42769</c:v>
                </c:pt>
                <c:pt idx="1963">
                  <c:v>42772</c:v>
                </c:pt>
                <c:pt idx="1964">
                  <c:v>42773</c:v>
                </c:pt>
                <c:pt idx="1965">
                  <c:v>42774</c:v>
                </c:pt>
                <c:pt idx="1966">
                  <c:v>42775</c:v>
                </c:pt>
                <c:pt idx="1967">
                  <c:v>42776</c:v>
                </c:pt>
                <c:pt idx="1968">
                  <c:v>42779</c:v>
                </c:pt>
                <c:pt idx="1969">
                  <c:v>42780</c:v>
                </c:pt>
                <c:pt idx="1970">
                  <c:v>42781</c:v>
                </c:pt>
                <c:pt idx="1971">
                  <c:v>42782</c:v>
                </c:pt>
                <c:pt idx="1972">
                  <c:v>42783</c:v>
                </c:pt>
                <c:pt idx="1973">
                  <c:v>42786</c:v>
                </c:pt>
                <c:pt idx="1974">
                  <c:v>42787</c:v>
                </c:pt>
                <c:pt idx="1975">
                  <c:v>42788</c:v>
                </c:pt>
                <c:pt idx="1976">
                  <c:v>42789</c:v>
                </c:pt>
                <c:pt idx="1977">
                  <c:v>42790</c:v>
                </c:pt>
                <c:pt idx="1978">
                  <c:v>42793</c:v>
                </c:pt>
                <c:pt idx="1979">
                  <c:v>42794</c:v>
                </c:pt>
                <c:pt idx="1980">
                  <c:v>42795</c:v>
                </c:pt>
                <c:pt idx="1981">
                  <c:v>42796</c:v>
                </c:pt>
                <c:pt idx="1982">
                  <c:v>42797</c:v>
                </c:pt>
                <c:pt idx="1983">
                  <c:v>42800</c:v>
                </c:pt>
                <c:pt idx="1984">
                  <c:v>42801</c:v>
                </c:pt>
                <c:pt idx="1985">
                  <c:v>42802</c:v>
                </c:pt>
                <c:pt idx="1986">
                  <c:v>42803</c:v>
                </c:pt>
                <c:pt idx="1987">
                  <c:v>42804</c:v>
                </c:pt>
                <c:pt idx="1988">
                  <c:v>42807</c:v>
                </c:pt>
                <c:pt idx="1989">
                  <c:v>42808</c:v>
                </c:pt>
                <c:pt idx="1990">
                  <c:v>42809</c:v>
                </c:pt>
                <c:pt idx="1991">
                  <c:v>42810</c:v>
                </c:pt>
                <c:pt idx="1992">
                  <c:v>42811</c:v>
                </c:pt>
                <c:pt idx="1993">
                  <c:v>42814</c:v>
                </c:pt>
                <c:pt idx="1994">
                  <c:v>42815</c:v>
                </c:pt>
                <c:pt idx="1995">
                  <c:v>42816</c:v>
                </c:pt>
                <c:pt idx="1996">
                  <c:v>42817</c:v>
                </c:pt>
                <c:pt idx="1997">
                  <c:v>42818</c:v>
                </c:pt>
                <c:pt idx="1998">
                  <c:v>42821</c:v>
                </c:pt>
                <c:pt idx="1999">
                  <c:v>42822</c:v>
                </c:pt>
                <c:pt idx="2000">
                  <c:v>42823</c:v>
                </c:pt>
                <c:pt idx="2001">
                  <c:v>42824</c:v>
                </c:pt>
                <c:pt idx="2002">
                  <c:v>42825</c:v>
                </c:pt>
                <c:pt idx="2003">
                  <c:v>42830</c:v>
                </c:pt>
                <c:pt idx="2004">
                  <c:v>42831</c:v>
                </c:pt>
                <c:pt idx="2005">
                  <c:v>42832</c:v>
                </c:pt>
                <c:pt idx="2006">
                  <c:v>42835</c:v>
                </c:pt>
                <c:pt idx="2007">
                  <c:v>42836</c:v>
                </c:pt>
                <c:pt idx="2008">
                  <c:v>42837</c:v>
                </c:pt>
                <c:pt idx="2009">
                  <c:v>42838</c:v>
                </c:pt>
                <c:pt idx="2010">
                  <c:v>42839</c:v>
                </c:pt>
                <c:pt idx="2011">
                  <c:v>42842</c:v>
                </c:pt>
                <c:pt idx="2012">
                  <c:v>42843</c:v>
                </c:pt>
                <c:pt idx="2013">
                  <c:v>42844</c:v>
                </c:pt>
                <c:pt idx="2014">
                  <c:v>42845</c:v>
                </c:pt>
                <c:pt idx="2015">
                  <c:v>42846</c:v>
                </c:pt>
                <c:pt idx="2016">
                  <c:v>42849</c:v>
                </c:pt>
                <c:pt idx="2017">
                  <c:v>42850</c:v>
                </c:pt>
                <c:pt idx="2018">
                  <c:v>42851</c:v>
                </c:pt>
                <c:pt idx="2019">
                  <c:v>42852</c:v>
                </c:pt>
                <c:pt idx="2020">
                  <c:v>42853</c:v>
                </c:pt>
                <c:pt idx="2021">
                  <c:v>42857</c:v>
                </c:pt>
                <c:pt idx="2022">
                  <c:v>42858</c:v>
                </c:pt>
                <c:pt idx="2023">
                  <c:v>42859</c:v>
                </c:pt>
                <c:pt idx="2024">
                  <c:v>42860</c:v>
                </c:pt>
                <c:pt idx="2025">
                  <c:v>42863</c:v>
                </c:pt>
                <c:pt idx="2026">
                  <c:v>42864</c:v>
                </c:pt>
                <c:pt idx="2027">
                  <c:v>42865</c:v>
                </c:pt>
                <c:pt idx="2028">
                  <c:v>42866</c:v>
                </c:pt>
                <c:pt idx="2029">
                  <c:v>42867</c:v>
                </c:pt>
                <c:pt idx="2030">
                  <c:v>42870</c:v>
                </c:pt>
                <c:pt idx="2031">
                  <c:v>42871</c:v>
                </c:pt>
                <c:pt idx="2032">
                  <c:v>42872</c:v>
                </c:pt>
                <c:pt idx="2033">
                  <c:v>42873</c:v>
                </c:pt>
                <c:pt idx="2034">
                  <c:v>42874</c:v>
                </c:pt>
                <c:pt idx="2035">
                  <c:v>42877</c:v>
                </c:pt>
                <c:pt idx="2036">
                  <c:v>42878</c:v>
                </c:pt>
                <c:pt idx="2037">
                  <c:v>42879</c:v>
                </c:pt>
                <c:pt idx="2038">
                  <c:v>42880</c:v>
                </c:pt>
                <c:pt idx="2039">
                  <c:v>42881</c:v>
                </c:pt>
                <c:pt idx="2040">
                  <c:v>42886</c:v>
                </c:pt>
                <c:pt idx="2041">
                  <c:v>42887</c:v>
                </c:pt>
                <c:pt idx="2042">
                  <c:v>42888</c:v>
                </c:pt>
                <c:pt idx="2043">
                  <c:v>42891</c:v>
                </c:pt>
                <c:pt idx="2044">
                  <c:v>42892</c:v>
                </c:pt>
                <c:pt idx="2045">
                  <c:v>42893</c:v>
                </c:pt>
                <c:pt idx="2046">
                  <c:v>42894</c:v>
                </c:pt>
                <c:pt idx="2047">
                  <c:v>42895</c:v>
                </c:pt>
                <c:pt idx="2048">
                  <c:v>42898</c:v>
                </c:pt>
                <c:pt idx="2049">
                  <c:v>42899</c:v>
                </c:pt>
                <c:pt idx="2050">
                  <c:v>42900</c:v>
                </c:pt>
                <c:pt idx="2051">
                  <c:v>42901</c:v>
                </c:pt>
                <c:pt idx="2052">
                  <c:v>42902</c:v>
                </c:pt>
                <c:pt idx="2053">
                  <c:v>42905</c:v>
                </c:pt>
                <c:pt idx="2054">
                  <c:v>42906</c:v>
                </c:pt>
                <c:pt idx="2055">
                  <c:v>42907</c:v>
                </c:pt>
                <c:pt idx="2056">
                  <c:v>42908</c:v>
                </c:pt>
                <c:pt idx="2057">
                  <c:v>42909</c:v>
                </c:pt>
                <c:pt idx="2058">
                  <c:v>42912</c:v>
                </c:pt>
                <c:pt idx="2059">
                  <c:v>42913</c:v>
                </c:pt>
                <c:pt idx="2060">
                  <c:v>42914</c:v>
                </c:pt>
                <c:pt idx="2061">
                  <c:v>42915</c:v>
                </c:pt>
                <c:pt idx="2062">
                  <c:v>42916</c:v>
                </c:pt>
                <c:pt idx="2063">
                  <c:v>42919</c:v>
                </c:pt>
                <c:pt idx="2064">
                  <c:v>42920</c:v>
                </c:pt>
                <c:pt idx="2065">
                  <c:v>42921</c:v>
                </c:pt>
                <c:pt idx="2066">
                  <c:v>42922</c:v>
                </c:pt>
                <c:pt idx="2067">
                  <c:v>42923</c:v>
                </c:pt>
                <c:pt idx="2068">
                  <c:v>42926</c:v>
                </c:pt>
                <c:pt idx="2069">
                  <c:v>42927</c:v>
                </c:pt>
                <c:pt idx="2070">
                  <c:v>42928</c:v>
                </c:pt>
                <c:pt idx="2071">
                  <c:v>42929</c:v>
                </c:pt>
                <c:pt idx="2072">
                  <c:v>42930</c:v>
                </c:pt>
                <c:pt idx="2073">
                  <c:v>42933</c:v>
                </c:pt>
                <c:pt idx="2074">
                  <c:v>42934</c:v>
                </c:pt>
                <c:pt idx="2075">
                  <c:v>42935</c:v>
                </c:pt>
                <c:pt idx="2076">
                  <c:v>42936</c:v>
                </c:pt>
                <c:pt idx="2077">
                  <c:v>42937</c:v>
                </c:pt>
                <c:pt idx="2078">
                  <c:v>42940</c:v>
                </c:pt>
                <c:pt idx="2079">
                  <c:v>42941</c:v>
                </c:pt>
                <c:pt idx="2080">
                  <c:v>42942</c:v>
                </c:pt>
                <c:pt idx="2081">
                  <c:v>42943</c:v>
                </c:pt>
                <c:pt idx="2082">
                  <c:v>42944</c:v>
                </c:pt>
                <c:pt idx="2083">
                  <c:v>42947</c:v>
                </c:pt>
                <c:pt idx="2084">
                  <c:v>42948</c:v>
                </c:pt>
                <c:pt idx="2085">
                  <c:v>42949</c:v>
                </c:pt>
                <c:pt idx="2086">
                  <c:v>42950</c:v>
                </c:pt>
                <c:pt idx="2087">
                  <c:v>42951</c:v>
                </c:pt>
                <c:pt idx="2088">
                  <c:v>42954</c:v>
                </c:pt>
                <c:pt idx="2089">
                  <c:v>42955</c:v>
                </c:pt>
                <c:pt idx="2090">
                  <c:v>42956</c:v>
                </c:pt>
                <c:pt idx="2091">
                  <c:v>42957</c:v>
                </c:pt>
                <c:pt idx="2092">
                  <c:v>42958</c:v>
                </c:pt>
                <c:pt idx="2093">
                  <c:v>42961</c:v>
                </c:pt>
                <c:pt idx="2094">
                  <c:v>42962</c:v>
                </c:pt>
                <c:pt idx="2095">
                  <c:v>42963</c:v>
                </c:pt>
                <c:pt idx="2096">
                  <c:v>42964</c:v>
                </c:pt>
                <c:pt idx="2097">
                  <c:v>42965</c:v>
                </c:pt>
                <c:pt idx="2098">
                  <c:v>42968</c:v>
                </c:pt>
                <c:pt idx="2099">
                  <c:v>42969</c:v>
                </c:pt>
                <c:pt idx="2100">
                  <c:v>42970</c:v>
                </c:pt>
                <c:pt idx="2101">
                  <c:v>42971</c:v>
                </c:pt>
                <c:pt idx="2102">
                  <c:v>42972</c:v>
                </c:pt>
                <c:pt idx="2103">
                  <c:v>42975</c:v>
                </c:pt>
                <c:pt idx="2104">
                  <c:v>42976</c:v>
                </c:pt>
                <c:pt idx="2105">
                  <c:v>42977</c:v>
                </c:pt>
                <c:pt idx="2106">
                  <c:v>42978</c:v>
                </c:pt>
                <c:pt idx="2107">
                  <c:v>42979</c:v>
                </c:pt>
                <c:pt idx="2108">
                  <c:v>42982</c:v>
                </c:pt>
                <c:pt idx="2109">
                  <c:v>42983</c:v>
                </c:pt>
                <c:pt idx="2110">
                  <c:v>42984</c:v>
                </c:pt>
                <c:pt idx="2111">
                  <c:v>42985</c:v>
                </c:pt>
                <c:pt idx="2112">
                  <c:v>42986</c:v>
                </c:pt>
                <c:pt idx="2113">
                  <c:v>42989</c:v>
                </c:pt>
                <c:pt idx="2114">
                  <c:v>42990</c:v>
                </c:pt>
                <c:pt idx="2115">
                  <c:v>42991</c:v>
                </c:pt>
                <c:pt idx="2116">
                  <c:v>42992</c:v>
                </c:pt>
                <c:pt idx="2117">
                  <c:v>42993</c:v>
                </c:pt>
                <c:pt idx="2118">
                  <c:v>42996</c:v>
                </c:pt>
                <c:pt idx="2119">
                  <c:v>42997</c:v>
                </c:pt>
                <c:pt idx="2120">
                  <c:v>42998</c:v>
                </c:pt>
                <c:pt idx="2121">
                  <c:v>42999</c:v>
                </c:pt>
                <c:pt idx="2122">
                  <c:v>43000</c:v>
                </c:pt>
                <c:pt idx="2123">
                  <c:v>43003</c:v>
                </c:pt>
                <c:pt idx="2124">
                  <c:v>43004</c:v>
                </c:pt>
                <c:pt idx="2125">
                  <c:v>43005</c:v>
                </c:pt>
                <c:pt idx="2126">
                  <c:v>43006</c:v>
                </c:pt>
                <c:pt idx="2127">
                  <c:v>43007</c:v>
                </c:pt>
                <c:pt idx="2128">
                  <c:v>43017</c:v>
                </c:pt>
                <c:pt idx="2129">
                  <c:v>43018</c:v>
                </c:pt>
                <c:pt idx="2130">
                  <c:v>43019</c:v>
                </c:pt>
                <c:pt idx="2131">
                  <c:v>43020</c:v>
                </c:pt>
                <c:pt idx="2132">
                  <c:v>43021</c:v>
                </c:pt>
                <c:pt idx="2133">
                  <c:v>43024</c:v>
                </c:pt>
                <c:pt idx="2134">
                  <c:v>43025</c:v>
                </c:pt>
                <c:pt idx="2135">
                  <c:v>43026</c:v>
                </c:pt>
                <c:pt idx="2136">
                  <c:v>43027</c:v>
                </c:pt>
                <c:pt idx="2137">
                  <c:v>43028</c:v>
                </c:pt>
                <c:pt idx="2138">
                  <c:v>43031</c:v>
                </c:pt>
                <c:pt idx="2139">
                  <c:v>43032</c:v>
                </c:pt>
                <c:pt idx="2140">
                  <c:v>43033</c:v>
                </c:pt>
                <c:pt idx="2141">
                  <c:v>43034</c:v>
                </c:pt>
                <c:pt idx="2142">
                  <c:v>43035</c:v>
                </c:pt>
                <c:pt idx="2143">
                  <c:v>43038</c:v>
                </c:pt>
                <c:pt idx="2144">
                  <c:v>43039</c:v>
                </c:pt>
                <c:pt idx="2145">
                  <c:v>43040</c:v>
                </c:pt>
                <c:pt idx="2146">
                  <c:v>43041</c:v>
                </c:pt>
                <c:pt idx="2147">
                  <c:v>43042</c:v>
                </c:pt>
                <c:pt idx="2148">
                  <c:v>43045</c:v>
                </c:pt>
                <c:pt idx="2149">
                  <c:v>43046</c:v>
                </c:pt>
                <c:pt idx="2150">
                  <c:v>43047</c:v>
                </c:pt>
                <c:pt idx="2151">
                  <c:v>43048</c:v>
                </c:pt>
                <c:pt idx="2152">
                  <c:v>43049</c:v>
                </c:pt>
                <c:pt idx="2153">
                  <c:v>43052</c:v>
                </c:pt>
                <c:pt idx="2154">
                  <c:v>43053</c:v>
                </c:pt>
                <c:pt idx="2155">
                  <c:v>43054</c:v>
                </c:pt>
                <c:pt idx="2156">
                  <c:v>43055</c:v>
                </c:pt>
                <c:pt idx="2157">
                  <c:v>43056</c:v>
                </c:pt>
                <c:pt idx="2158">
                  <c:v>43059</c:v>
                </c:pt>
                <c:pt idx="2159">
                  <c:v>43060</c:v>
                </c:pt>
                <c:pt idx="2160">
                  <c:v>43061</c:v>
                </c:pt>
                <c:pt idx="2161">
                  <c:v>43062</c:v>
                </c:pt>
                <c:pt idx="2162">
                  <c:v>43063</c:v>
                </c:pt>
                <c:pt idx="2163">
                  <c:v>43066</c:v>
                </c:pt>
                <c:pt idx="2164">
                  <c:v>43067</c:v>
                </c:pt>
                <c:pt idx="2165">
                  <c:v>43068</c:v>
                </c:pt>
                <c:pt idx="2166">
                  <c:v>43069</c:v>
                </c:pt>
                <c:pt idx="2167">
                  <c:v>43070</c:v>
                </c:pt>
                <c:pt idx="2168">
                  <c:v>43073</c:v>
                </c:pt>
                <c:pt idx="2169">
                  <c:v>43074</c:v>
                </c:pt>
                <c:pt idx="2170">
                  <c:v>43075</c:v>
                </c:pt>
                <c:pt idx="2171">
                  <c:v>43076</c:v>
                </c:pt>
                <c:pt idx="2172">
                  <c:v>43077</c:v>
                </c:pt>
                <c:pt idx="2173">
                  <c:v>43080</c:v>
                </c:pt>
                <c:pt idx="2174">
                  <c:v>43081</c:v>
                </c:pt>
                <c:pt idx="2175">
                  <c:v>43082</c:v>
                </c:pt>
                <c:pt idx="2176">
                  <c:v>43083</c:v>
                </c:pt>
                <c:pt idx="2177">
                  <c:v>43084</c:v>
                </c:pt>
                <c:pt idx="2178">
                  <c:v>43087</c:v>
                </c:pt>
                <c:pt idx="2179">
                  <c:v>43088</c:v>
                </c:pt>
                <c:pt idx="2180">
                  <c:v>43089</c:v>
                </c:pt>
                <c:pt idx="2181">
                  <c:v>43090</c:v>
                </c:pt>
                <c:pt idx="2182">
                  <c:v>43091</c:v>
                </c:pt>
                <c:pt idx="2183">
                  <c:v>43094</c:v>
                </c:pt>
                <c:pt idx="2184">
                  <c:v>43095</c:v>
                </c:pt>
                <c:pt idx="2185">
                  <c:v>43096</c:v>
                </c:pt>
                <c:pt idx="2186">
                  <c:v>43097</c:v>
                </c:pt>
                <c:pt idx="2187">
                  <c:v>43098</c:v>
                </c:pt>
                <c:pt idx="2188">
                  <c:v>43102</c:v>
                </c:pt>
                <c:pt idx="2189">
                  <c:v>43103</c:v>
                </c:pt>
                <c:pt idx="2190">
                  <c:v>43104</c:v>
                </c:pt>
                <c:pt idx="2191">
                  <c:v>43105</c:v>
                </c:pt>
                <c:pt idx="2192">
                  <c:v>43108</c:v>
                </c:pt>
                <c:pt idx="2193">
                  <c:v>43109</c:v>
                </c:pt>
                <c:pt idx="2194">
                  <c:v>43110</c:v>
                </c:pt>
                <c:pt idx="2195">
                  <c:v>43111</c:v>
                </c:pt>
                <c:pt idx="2196">
                  <c:v>43112</c:v>
                </c:pt>
                <c:pt idx="2197">
                  <c:v>43115</c:v>
                </c:pt>
                <c:pt idx="2198">
                  <c:v>43116</c:v>
                </c:pt>
                <c:pt idx="2199">
                  <c:v>43117</c:v>
                </c:pt>
                <c:pt idx="2200">
                  <c:v>43118</c:v>
                </c:pt>
                <c:pt idx="2201">
                  <c:v>43119</c:v>
                </c:pt>
                <c:pt idx="2202">
                  <c:v>43122</c:v>
                </c:pt>
                <c:pt idx="2203">
                  <c:v>43123</c:v>
                </c:pt>
                <c:pt idx="2204">
                  <c:v>43124</c:v>
                </c:pt>
                <c:pt idx="2205">
                  <c:v>43125</c:v>
                </c:pt>
                <c:pt idx="2206">
                  <c:v>43126</c:v>
                </c:pt>
                <c:pt idx="2207">
                  <c:v>43129</c:v>
                </c:pt>
                <c:pt idx="2208">
                  <c:v>43130</c:v>
                </c:pt>
                <c:pt idx="2209">
                  <c:v>43131</c:v>
                </c:pt>
                <c:pt idx="2210">
                  <c:v>43132</c:v>
                </c:pt>
                <c:pt idx="2211">
                  <c:v>43133</c:v>
                </c:pt>
                <c:pt idx="2212">
                  <c:v>43136</c:v>
                </c:pt>
                <c:pt idx="2213">
                  <c:v>43137</c:v>
                </c:pt>
                <c:pt idx="2214">
                  <c:v>43138</c:v>
                </c:pt>
                <c:pt idx="2215">
                  <c:v>43139</c:v>
                </c:pt>
                <c:pt idx="2216">
                  <c:v>43140</c:v>
                </c:pt>
                <c:pt idx="2217">
                  <c:v>43143</c:v>
                </c:pt>
                <c:pt idx="2218">
                  <c:v>43144</c:v>
                </c:pt>
                <c:pt idx="2219">
                  <c:v>43145</c:v>
                </c:pt>
                <c:pt idx="2220">
                  <c:v>43153</c:v>
                </c:pt>
                <c:pt idx="2221">
                  <c:v>43154</c:v>
                </c:pt>
                <c:pt idx="2222">
                  <c:v>43157</c:v>
                </c:pt>
                <c:pt idx="2223">
                  <c:v>43158</c:v>
                </c:pt>
                <c:pt idx="2224">
                  <c:v>43159</c:v>
                </c:pt>
                <c:pt idx="2225">
                  <c:v>43160</c:v>
                </c:pt>
                <c:pt idx="2226">
                  <c:v>43161</c:v>
                </c:pt>
                <c:pt idx="2227">
                  <c:v>43164</c:v>
                </c:pt>
                <c:pt idx="2228">
                  <c:v>43165</c:v>
                </c:pt>
                <c:pt idx="2229">
                  <c:v>43166</c:v>
                </c:pt>
                <c:pt idx="2230">
                  <c:v>43167</c:v>
                </c:pt>
                <c:pt idx="2231">
                  <c:v>43168</c:v>
                </c:pt>
                <c:pt idx="2232">
                  <c:v>43171</c:v>
                </c:pt>
                <c:pt idx="2233">
                  <c:v>43172</c:v>
                </c:pt>
                <c:pt idx="2234">
                  <c:v>43173</c:v>
                </c:pt>
                <c:pt idx="2235">
                  <c:v>43174</c:v>
                </c:pt>
                <c:pt idx="2236">
                  <c:v>43175</c:v>
                </c:pt>
                <c:pt idx="2237">
                  <c:v>43178</c:v>
                </c:pt>
                <c:pt idx="2238">
                  <c:v>43179</c:v>
                </c:pt>
                <c:pt idx="2239">
                  <c:v>43180</c:v>
                </c:pt>
                <c:pt idx="2240">
                  <c:v>43181</c:v>
                </c:pt>
                <c:pt idx="2241">
                  <c:v>43182</c:v>
                </c:pt>
                <c:pt idx="2242">
                  <c:v>43185</c:v>
                </c:pt>
                <c:pt idx="2243">
                  <c:v>43186</c:v>
                </c:pt>
                <c:pt idx="2244">
                  <c:v>43187</c:v>
                </c:pt>
                <c:pt idx="2245">
                  <c:v>43188</c:v>
                </c:pt>
                <c:pt idx="2246">
                  <c:v>43189</c:v>
                </c:pt>
                <c:pt idx="2247">
                  <c:v>43192</c:v>
                </c:pt>
                <c:pt idx="2248">
                  <c:v>43193</c:v>
                </c:pt>
                <c:pt idx="2249">
                  <c:v>43194</c:v>
                </c:pt>
                <c:pt idx="2250">
                  <c:v>43199</c:v>
                </c:pt>
                <c:pt idx="2251">
                  <c:v>43200</c:v>
                </c:pt>
                <c:pt idx="2252">
                  <c:v>43201</c:v>
                </c:pt>
                <c:pt idx="2253">
                  <c:v>43202</c:v>
                </c:pt>
                <c:pt idx="2254">
                  <c:v>43203</c:v>
                </c:pt>
                <c:pt idx="2255">
                  <c:v>43206</c:v>
                </c:pt>
                <c:pt idx="2256">
                  <c:v>43207</c:v>
                </c:pt>
                <c:pt idx="2257">
                  <c:v>43208</c:v>
                </c:pt>
                <c:pt idx="2258">
                  <c:v>43209</c:v>
                </c:pt>
                <c:pt idx="2259">
                  <c:v>43210</c:v>
                </c:pt>
                <c:pt idx="2260">
                  <c:v>43213</c:v>
                </c:pt>
                <c:pt idx="2261">
                  <c:v>43214</c:v>
                </c:pt>
                <c:pt idx="2262">
                  <c:v>43215</c:v>
                </c:pt>
                <c:pt idx="2263">
                  <c:v>43216</c:v>
                </c:pt>
                <c:pt idx="2264">
                  <c:v>43217</c:v>
                </c:pt>
                <c:pt idx="2265">
                  <c:v>43222</c:v>
                </c:pt>
                <c:pt idx="2266">
                  <c:v>43223</c:v>
                </c:pt>
                <c:pt idx="2267">
                  <c:v>43224</c:v>
                </c:pt>
                <c:pt idx="2268">
                  <c:v>43227</c:v>
                </c:pt>
                <c:pt idx="2269">
                  <c:v>43228</c:v>
                </c:pt>
                <c:pt idx="2270">
                  <c:v>43229</c:v>
                </c:pt>
                <c:pt idx="2271">
                  <c:v>43230</c:v>
                </c:pt>
                <c:pt idx="2272">
                  <c:v>43231</c:v>
                </c:pt>
                <c:pt idx="2273">
                  <c:v>43234</c:v>
                </c:pt>
                <c:pt idx="2274">
                  <c:v>43235</c:v>
                </c:pt>
                <c:pt idx="2275">
                  <c:v>43236</c:v>
                </c:pt>
                <c:pt idx="2276">
                  <c:v>43237</c:v>
                </c:pt>
                <c:pt idx="2277">
                  <c:v>43238</c:v>
                </c:pt>
                <c:pt idx="2278">
                  <c:v>43241</c:v>
                </c:pt>
                <c:pt idx="2279">
                  <c:v>43242</c:v>
                </c:pt>
                <c:pt idx="2280">
                  <c:v>43243</c:v>
                </c:pt>
                <c:pt idx="2281">
                  <c:v>43244</c:v>
                </c:pt>
                <c:pt idx="2282">
                  <c:v>43245</c:v>
                </c:pt>
                <c:pt idx="2283">
                  <c:v>43248</c:v>
                </c:pt>
                <c:pt idx="2284">
                  <c:v>43249</c:v>
                </c:pt>
                <c:pt idx="2285">
                  <c:v>43250</c:v>
                </c:pt>
                <c:pt idx="2286">
                  <c:v>43251</c:v>
                </c:pt>
                <c:pt idx="2287">
                  <c:v>43252</c:v>
                </c:pt>
                <c:pt idx="2288">
                  <c:v>43255</c:v>
                </c:pt>
                <c:pt idx="2289">
                  <c:v>43256</c:v>
                </c:pt>
                <c:pt idx="2290">
                  <c:v>43257</c:v>
                </c:pt>
                <c:pt idx="2291">
                  <c:v>43258</c:v>
                </c:pt>
                <c:pt idx="2292">
                  <c:v>43259</c:v>
                </c:pt>
                <c:pt idx="2293">
                  <c:v>43262</c:v>
                </c:pt>
                <c:pt idx="2294">
                  <c:v>43263</c:v>
                </c:pt>
                <c:pt idx="2295">
                  <c:v>43264</c:v>
                </c:pt>
                <c:pt idx="2296">
                  <c:v>43265</c:v>
                </c:pt>
                <c:pt idx="2297">
                  <c:v>43266</c:v>
                </c:pt>
                <c:pt idx="2298">
                  <c:v>43270</c:v>
                </c:pt>
                <c:pt idx="2299">
                  <c:v>43271</c:v>
                </c:pt>
                <c:pt idx="2300">
                  <c:v>43272</c:v>
                </c:pt>
                <c:pt idx="2301">
                  <c:v>43273</c:v>
                </c:pt>
                <c:pt idx="2302">
                  <c:v>43276</c:v>
                </c:pt>
                <c:pt idx="2303">
                  <c:v>43277</c:v>
                </c:pt>
                <c:pt idx="2304">
                  <c:v>43278</c:v>
                </c:pt>
                <c:pt idx="2305">
                  <c:v>43279</c:v>
                </c:pt>
                <c:pt idx="2306">
                  <c:v>43280</c:v>
                </c:pt>
                <c:pt idx="2307">
                  <c:v>43283</c:v>
                </c:pt>
                <c:pt idx="2308">
                  <c:v>43284</c:v>
                </c:pt>
                <c:pt idx="2309">
                  <c:v>43285</c:v>
                </c:pt>
                <c:pt idx="2310">
                  <c:v>43286</c:v>
                </c:pt>
                <c:pt idx="2311">
                  <c:v>43287</c:v>
                </c:pt>
                <c:pt idx="2312">
                  <c:v>43290</c:v>
                </c:pt>
                <c:pt idx="2313">
                  <c:v>43291</c:v>
                </c:pt>
                <c:pt idx="2314">
                  <c:v>43292</c:v>
                </c:pt>
                <c:pt idx="2315">
                  <c:v>43293</c:v>
                </c:pt>
                <c:pt idx="2316">
                  <c:v>43294</c:v>
                </c:pt>
                <c:pt idx="2317">
                  <c:v>43297</c:v>
                </c:pt>
                <c:pt idx="2318">
                  <c:v>43298</c:v>
                </c:pt>
                <c:pt idx="2319">
                  <c:v>43299</c:v>
                </c:pt>
                <c:pt idx="2320">
                  <c:v>43300</c:v>
                </c:pt>
                <c:pt idx="2321">
                  <c:v>43301</c:v>
                </c:pt>
                <c:pt idx="2322">
                  <c:v>43304</c:v>
                </c:pt>
                <c:pt idx="2323">
                  <c:v>43305</c:v>
                </c:pt>
                <c:pt idx="2324">
                  <c:v>43306</c:v>
                </c:pt>
                <c:pt idx="2325">
                  <c:v>43307</c:v>
                </c:pt>
                <c:pt idx="2326">
                  <c:v>43308</c:v>
                </c:pt>
                <c:pt idx="2327">
                  <c:v>43311</c:v>
                </c:pt>
                <c:pt idx="2328">
                  <c:v>43312</c:v>
                </c:pt>
                <c:pt idx="2329">
                  <c:v>43313</c:v>
                </c:pt>
                <c:pt idx="2330">
                  <c:v>43314</c:v>
                </c:pt>
                <c:pt idx="2331">
                  <c:v>43315</c:v>
                </c:pt>
                <c:pt idx="2332">
                  <c:v>43318</c:v>
                </c:pt>
                <c:pt idx="2333">
                  <c:v>43319</c:v>
                </c:pt>
                <c:pt idx="2334">
                  <c:v>43320</c:v>
                </c:pt>
                <c:pt idx="2335">
                  <c:v>43321</c:v>
                </c:pt>
                <c:pt idx="2336">
                  <c:v>43322</c:v>
                </c:pt>
                <c:pt idx="2337">
                  <c:v>43325</c:v>
                </c:pt>
                <c:pt idx="2338">
                  <c:v>43326</c:v>
                </c:pt>
                <c:pt idx="2339">
                  <c:v>43327</c:v>
                </c:pt>
                <c:pt idx="2340">
                  <c:v>43328</c:v>
                </c:pt>
                <c:pt idx="2341">
                  <c:v>43329</c:v>
                </c:pt>
                <c:pt idx="2342">
                  <c:v>43332</c:v>
                </c:pt>
                <c:pt idx="2343">
                  <c:v>43333</c:v>
                </c:pt>
                <c:pt idx="2344">
                  <c:v>43334</c:v>
                </c:pt>
                <c:pt idx="2345">
                  <c:v>43335</c:v>
                </c:pt>
                <c:pt idx="2346">
                  <c:v>43336</c:v>
                </c:pt>
                <c:pt idx="2347">
                  <c:v>43339</c:v>
                </c:pt>
                <c:pt idx="2348">
                  <c:v>43340</c:v>
                </c:pt>
                <c:pt idx="2349">
                  <c:v>43341</c:v>
                </c:pt>
                <c:pt idx="2350">
                  <c:v>43342</c:v>
                </c:pt>
                <c:pt idx="2351">
                  <c:v>43343</c:v>
                </c:pt>
                <c:pt idx="2352">
                  <c:v>43346</c:v>
                </c:pt>
                <c:pt idx="2353">
                  <c:v>43347</c:v>
                </c:pt>
                <c:pt idx="2354">
                  <c:v>43348</c:v>
                </c:pt>
                <c:pt idx="2355">
                  <c:v>43349</c:v>
                </c:pt>
                <c:pt idx="2356">
                  <c:v>43350</c:v>
                </c:pt>
                <c:pt idx="2357">
                  <c:v>43353</c:v>
                </c:pt>
                <c:pt idx="2358">
                  <c:v>43354</c:v>
                </c:pt>
                <c:pt idx="2359">
                  <c:v>43355</c:v>
                </c:pt>
                <c:pt idx="2360">
                  <c:v>43356</c:v>
                </c:pt>
                <c:pt idx="2361">
                  <c:v>43357</c:v>
                </c:pt>
                <c:pt idx="2362">
                  <c:v>43360</c:v>
                </c:pt>
                <c:pt idx="2363">
                  <c:v>43361</c:v>
                </c:pt>
                <c:pt idx="2364">
                  <c:v>43362</c:v>
                </c:pt>
                <c:pt idx="2365">
                  <c:v>43363</c:v>
                </c:pt>
                <c:pt idx="2366">
                  <c:v>43364</c:v>
                </c:pt>
                <c:pt idx="2367">
                  <c:v>43368</c:v>
                </c:pt>
                <c:pt idx="2368">
                  <c:v>43369</c:v>
                </c:pt>
                <c:pt idx="2369">
                  <c:v>43370</c:v>
                </c:pt>
                <c:pt idx="2370">
                  <c:v>43371</c:v>
                </c:pt>
                <c:pt idx="2371">
                  <c:v>43381</c:v>
                </c:pt>
                <c:pt idx="2372">
                  <c:v>43382</c:v>
                </c:pt>
                <c:pt idx="2373">
                  <c:v>43383</c:v>
                </c:pt>
                <c:pt idx="2374">
                  <c:v>43384</c:v>
                </c:pt>
                <c:pt idx="2375">
                  <c:v>43385</c:v>
                </c:pt>
                <c:pt idx="2376">
                  <c:v>43388</c:v>
                </c:pt>
                <c:pt idx="2377">
                  <c:v>43389</c:v>
                </c:pt>
                <c:pt idx="2378">
                  <c:v>43390</c:v>
                </c:pt>
                <c:pt idx="2379">
                  <c:v>43391</c:v>
                </c:pt>
                <c:pt idx="2380">
                  <c:v>43392</c:v>
                </c:pt>
                <c:pt idx="2381">
                  <c:v>43395</c:v>
                </c:pt>
                <c:pt idx="2382">
                  <c:v>43396</c:v>
                </c:pt>
                <c:pt idx="2383">
                  <c:v>43397</c:v>
                </c:pt>
                <c:pt idx="2384">
                  <c:v>43398</c:v>
                </c:pt>
                <c:pt idx="2385">
                  <c:v>43399</c:v>
                </c:pt>
                <c:pt idx="2386">
                  <c:v>43402</c:v>
                </c:pt>
                <c:pt idx="2387">
                  <c:v>43403</c:v>
                </c:pt>
                <c:pt idx="2388">
                  <c:v>43404</c:v>
                </c:pt>
                <c:pt idx="2389">
                  <c:v>43405</c:v>
                </c:pt>
                <c:pt idx="2390">
                  <c:v>43406</c:v>
                </c:pt>
                <c:pt idx="2391">
                  <c:v>43409</c:v>
                </c:pt>
                <c:pt idx="2392">
                  <c:v>43410</c:v>
                </c:pt>
                <c:pt idx="2393">
                  <c:v>43411</c:v>
                </c:pt>
                <c:pt idx="2394">
                  <c:v>43412</c:v>
                </c:pt>
                <c:pt idx="2395">
                  <c:v>43413</c:v>
                </c:pt>
                <c:pt idx="2396">
                  <c:v>43416</c:v>
                </c:pt>
                <c:pt idx="2397">
                  <c:v>43417</c:v>
                </c:pt>
                <c:pt idx="2398">
                  <c:v>43418</c:v>
                </c:pt>
                <c:pt idx="2399">
                  <c:v>43419</c:v>
                </c:pt>
                <c:pt idx="2400">
                  <c:v>43420</c:v>
                </c:pt>
                <c:pt idx="2401">
                  <c:v>43423</c:v>
                </c:pt>
                <c:pt idx="2402">
                  <c:v>43424</c:v>
                </c:pt>
                <c:pt idx="2403">
                  <c:v>43425</c:v>
                </c:pt>
                <c:pt idx="2404">
                  <c:v>43426</c:v>
                </c:pt>
                <c:pt idx="2405">
                  <c:v>43427</c:v>
                </c:pt>
                <c:pt idx="2406">
                  <c:v>43430</c:v>
                </c:pt>
                <c:pt idx="2407">
                  <c:v>43431</c:v>
                </c:pt>
                <c:pt idx="2408">
                  <c:v>43432</c:v>
                </c:pt>
                <c:pt idx="2409">
                  <c:v>43433</c:v>
                </c:pt>
                <c:pt idx="2410">
                  <c:v>43434</c:v>
                </c:pt>
                <c:pt idx="2411">
                  <c:v>43437</c:v>
                </c:pt>
                <c:pt idx="2412">
                  <c:v>43438</c:v>
                </c:pt>
                <c:pt idx="2413">
                  <c:v>43439</c:v>
                </c:pt>
                <c:pt idx="2414">
                  <c:v>43440</c:v>
                </c:pt>
                <c:pt idx="2415">
                  <c:v>43441</c:v>
                </c:pt>
                <c:pt idx="2416">
                  <c:v>43444</c:v>
                </c:pt>
                <c:pt idx="2417">
                  <c:v>43445</c:v>
                </c:pt>
                <c:pt idx="2418">
                  <c:v>43446</c:v>
                </c:pt>
                <c:pt idx="2419">
                  <c:v>43447</c:v>
                </c:pt>
                <c:pt idx="2420">
                  <c:v>43448</c:v>
                </c:pt>
                <c:pt idx="2421">
                  <c:v>43451</c:v>
                </c:pt>
                <c:pt idx="2422">
                  <c:v>43452</c:v>
                </c:pt>
                <c:pt idx="2423">
                  <c:v>43453</c:v>
                </c:pt>
                <c:pt idx="2424">
                  <c:v>43454</c:v>
                </c:pt>
                <c:pt idx="2425">
                  <c:v>43455</c:v>
                </c:pt>
                <c:pt idx="2426">
                  <c:v>43458</c:v>
                </c:pt>
                <c:pt idx="2427">
                  <c:v>43459</c:v>
                </c:pt>
                <c:pt idx="2428">
                  <c:v>43460</c:v>
                </c:pt>
                <c:pt idx="2429">
                  <c:v>43461</c:v>
                </c:pt>
                <c:pt idx="2430">
                  <c:v>43462</c:v>
                </c:pt>
                <c:pt idx="2431">
                  <c:v>43467</c:v>
                </c:pt>
                <c:pt idx="2432">
                  <c:v>43468</c:v>
                </c:pt>
                <c:pt idx="2433">
                  <c:v>43469</c:v>
                </c:pt>
                <c:pt idx="2434">
                  <c:v>43472</c:v>
                </c:pt>
                <c:pt idx="2435">
                  <c:v>43473</c:v>
                </c:pt>
                <c:pt idx="2436">
                  <c:v>43474</c:v>
                </c:pt>
                <c:pt idx="2437">
                  <c:v>43475</c:v>
                </c:pt>
                <c:pt idx="2438">
                  <c:v>43476</c:v>
                </c:pt>
                <c:pt idx="2439">
                  <c:v>43479</c:v>
                </c:pt>
                <c:pt idx="2440">
                  <c:v>43480</c:v>
                </c:pt>
                <c:pt idx="2441">
                  <c:v>43481</c:v>
                </c:pt>
                <c:pt idx="2442">
                  <c:v>43482</c:v>
                </c:pt>
                <c:pt idx="2443">
                  <c:v>43483</c:v>
                </c:pt>
                <c:pt idx="2444">
                  <c:v>43486</c:v>
                </c:pt>
                <c:pt idx="2445">
                  <c:v>43487</c:v>
                </c:pt>
                <c:pt idx="2446">
                  <c:v>43488</c:v>
                </c:pt>
                <c:pt idx="2447">
                  <c:v>43489</c:v>
                </c:pt>
                <c:pt idx="2448">
                  <c:v>43490</c:v>
                </c:pt>
                <c:pt idx="2449">
                  <c:v>43493</c:v>
                </c:pt>
                <c:pt idx="2450">
                  <c:v>43494</c:v>
                </c:pt>
                <c:pt idx="2451">
                  <c:v>43495</c:v>
                </c:pt>
                <c:pt idx="2452">
                  <c:v>43496</c:v>
                </c:pt>
                <c:pt idx="2453">
                  <c:v>43497</c:v>
                </c:pt>
                <c:pt idx="2454">
                  <c:v>43507</c:v>
                </c:pt>
                <c:pt idx="2455">
                  <c:v>43508</c:v>
                </c:pt>
                <c:pt idx="2456">
                  <c:v>43509</c:v>
                </c:pt>
                <c:pt idx="2457">
                  <c:v>43510</c:v>
                </c:pt>
                <c:pt idx="2458">
                  <c:v>43511</c:v>
                </c:pt>
                <c:pt idx="2459">
                  <c:v>43514</c:v>
                </c:pt>
                <c:pt idx="2460">
                  <c:v>43515</c:v>
                </c:pt>
                <c:pt idx="2461">
                  <c:v>43516</c:v>
                </c:pt>
                <c:pt idx="2462">
                  <c:v>43517</c:v>
                </c:pt>
                <c:pt idx="2463">
                  <c:v>43518</c:v>
                </c:pt>
                <c:pt idx="2464">
                  <c:v>43521</c:v>
                </c:pt>
                <c:pt idx="2465">
                  <c:v>43522</c:v>
                </c:pt>
                <c:pt idx="2466">
                  <c:v>43523</c:v>
                </c:pt>
                <c:pt idx="2467">
                  <c:v>43524</c:v>
                </c:pt>
                <c:pt idx="2468">
                  <c:v>43525</c:v>
                </c:pt>
                <c:pt idx="2469">
                  <c:v>43528</c:v>
                </c:pt>
                <c:pt idx="2470">
                  <c:v>43529</c:v>
                </c:pt>
                <c:pt idx="2471">
                  <c:v>43530</c:v>
                </c:pt>
                <c:pt idx="2472">
                  <c:v>43531</c:v>
                </c:pt>
                <c:pt idx="2473">
                  <c:v>43532</c:v>
                </c:pt>
                <c:pt idx="2474">
                  <c:v>43535</c:v>
                </c:pt>
                <c:pt idx="2475">
                  <c:v>43536</c:v>
                </c:pt>
                <c:pt idx="2476">
                  <c:v>43537</c:v>
                </c:pt>
                <c:pt idx="2477">
                  <c:v>43538</c:v>
                </c:pt>
                <c:pt idx="2478">
                  <c:v>43539</c:v>
                </c:pt>
                <c:pt idx="2479">
                  <c:v>43542</c:v>
                </c:pt>
                <c:pt idx="2480">
                  <c:v>43543</c:v>
                </c:pt>
                <c:pt idx="2481">
                  <c:v>43544</c:v>
                </c:pt>
                <c:pt idx="2482">
                  <c:v>43545</c:v>
                </c:pt>
                <c:pt idx="2483">
                  <c:v>43546</c:v>
                </c:pt>
                <c:pt idx="2484">
                  <c:v>43549</c:v>
                </c:pt>
                <c:pt idx="2485">
                  <c:v>43550</c:v>
                </c:pt>
                <c:pt idx="2486">
                  <c:v>43551</c:v>
                </c:pt>
                <c:pt idx="2487">
                  <c:v>43552</c:v>
                </c:pt>
                <c:pt idx="2488">
                  <c:v>43553</c:v>
                </c:pt>
                <c:pt idx="2489">
                  <c:v>43556</c:v>
                </c:pt>
                <c:pt idx="2490">
                  <c:v>43557</c:v>
                </c:pt>
                <c:pt idx="2491">
                  <c:v>43558</c:v>
                </c:pt>
                <c:pt idx="2492">
                  <c:v>43559</c:v>
                </c:pt>
                <c:pt idx="2493">
                  <c:v>43563</c:v>
                </c:pt>
                <c:pt idx="2494">
                  <c:v>43564</c:v>
                </c:pt>
                <c:pt idx="2495">
                  <c:v>43565</c:v>
                </c:pt>
                <c:pt idx="2496">
                  <c:v>43566</c:v>
                </c:pt>
                <c:pt idx="2497">
                  <c:v>43567</c:v>
                </c:pt>
                <c:pt idx="2498">
                  <c:v>43570</c:v>
                </c:pt>
                <c:pt idx="2499">
                  <c:v>43571</c:v>
                </c:pt>
                <c:pt idx="2500">
                  <c:v>43572</c:v>
                </c:pt>
                <c:pt idx="2501">
                  <c:v>43573</c:v>
                </c:pt>
                <c:pt idx="2502">
                  <c:v>43574</c:v>
                </c:pt>
                <c:pt idx="2503">
                  <c:v>43577</c:v>
                </c:pt>
                <c:pt idx="2504">
                  <c:v>43578</c:v>
                </c:pt>
                <c:pt idx="2505">
                  <c:v>43579</c:v>
                </c:pt>
                <c:pt idx="2506">
                  <c:v>43580</c:v>
                </c:pt>
                <c:pt idx="2507">
                  <c:v>43581</c:v>
                </c:pt>
                <c:pt idx="2508">
                  <c:v>43584</c:v>
                </c:pt>
                <c:pt idx="2509">
                  <c:v>43585</c:v>
                </c:pt>
                <c:pt idx="2510">
                  <c:v>43591</c:v>
                </c:pt>
                <c:pt idx="2511">
                  <c:v>43592</c:v>
                </c:pt>
                <c:pt idx="2512">
                  <c:v>43593</c:v>
                </c:pt>
                <c:pt idx="2513">
                  <c:v>43594</c:v>
                </c:pt>
                <c:pt idx="2514">
                  <c:v>43595</c:v>
                </c:pt>
                <c:pt idx="2515">
                  <c:v>43598</c:v>
                </c:pt>
                <c:pt idx="2516">
                  <c:v>43599</c:v>
                </c:pt>
                <c:pt idx="2517">
                  <c:v>43600</c:v>
                </c:pt>
                <c:pt idx="2518">
                  <c:v>43601</c:v>
                </c:pt>
                <c:pt idx="2519">
                  <c:v>43602</c:v>
                </c:pt>
                <c:pt idx="2520">
                  <c:v>43605</c:v>
                </c:pt>
                <c:pt idx="2521">
                  <c:v>43606</c:v>
                </c:pt>
                <c:pt idx="2522">
                  <c:v>43607</c:v>
                </c:pt>
                <c:pt idx="2523">
                  <c:v>43608</c:v>
                </c:pt>
                <c:pt idx="2524">
                  <c:v>43609</c:v>
                </c:pt>
                <c:pt idx="2525">
                  <c:v>43612</c:v>
                </c:pt>
                <c:pt idx="2526">
                  <c:v>43613</c:v>
                </c:pt>
                <c:pt idx="2527">
                  <c:v>43614</c:v>
                </c:pt>
                <c:pt idx="2528">
                  <c:v>43615</c:v>
                </c:pt>
                <c:pt idx="2529">
                  <c:v>43616</c:v>
                </c:pt>
                <c:pt idx="2530">
                  <c:v>43619</c:v>
                </c:pt>
                <c:pt idx="2531">
                  <c:v>43620</c:v>
                </c:pt>
                <c:pt idx="2532">
                  <c:v>43621</c:v>
                </c:pt>
                <c:pt idx="2533">
                  <c:v>43622</c:v>
                </c:pt>
                <c:pt idx="2534">
                  <c:v>43626</c:v>
                </c:pt>
                <c:pt idx="2535">
                  <c:v>43627</c:v>
                </c:pt>
                <c:pt idx="2536">
                  <c:v>43628</c:v>
                </c:pt>
                <c:pt idx="2537">
                  <c:v>43629</c:v>
                </c:pt>
                <c:pt idx="2538">
                  <c:v>43630</c:v>
                </c:pt>
                <c:pt idx="2539">
                  <c:v>43633</c:v>
                </c:pt>
                <c:pt idx="2540">
                  <c:v>43634</c:v>
                </c:pt>
                <c:pt idx="2541">
                  <c:v>43635</c:v>
                </c:pt>
                <c:pt idx="2542">
                  <c:v>43636</c:v>
                </c:pt>
                <c:pt idx="2543">
                  <c:v>43637</c:v>
                </c:pt>
                <c:pt idx="2544">
                  <c:v>43640</c:v>
                </c:pt>
                <c:pt idx="2545">
                  <c:v>43641</c:v>
                </c:pt>
                <c:pt idx="2546">
                  <c:v>43642</c:v>
                </c:pt>
                <c:pt idx="2547">
                  <c:v>43643</c:v>
                </c:pt>
                <c:pt idx="2548">
                  <c:v>43644</c:v>
                </c:pt>
                <c:pt idx="2549">
                  <c:v>43647</c:v>
                </c:pt>
                <c:pt idx="2550">
                  <c:v>43648</c:v>
                </c:pt>
                <c:pt idx="2551">
                  <c:v>43649</c:v>
                </c:pt>
                <c:pt idx="2552">
                  <c:v>43650</c:v>
                </c:pt>
                <c:pt idx="2553">
                  <c:v>43651</c:v>
                </c:pt>
                <c:pt idx="2554">
                  <c:v>43654</c:v>
                </c:pt>
                <c:pt idx="2555">
                  <c:v>43655</c:v>
                </c:pt>
                <c:pt idx="2556">
                  <c:v>43656</c:v>
                </c:pt>
                <c:pt idx="2557">
                  <c:v>43657</c:v>
                </c:pt>
                <c:pt idx="2558">
                  <c:v>43658</c:v>
                </c:pt>
                <c:pt idx="2559">
                  <c:v>43661</c:v>
                </c:pt>
                <c:pt idx="2560">
                  <c:v>43662</c:v>
                </c:pt>
                <c:pt idx="2561">
                  <c:v>43663</c:v>
                </c:pt>
                <c:pt idx="2562">
                  <c:v>43664</c:v>
                </c:pt>
                <c:pt idx="2563">
                  <c:v>43665</c:v>
                </c:pt>
                <c:pt idx="2564">
                  <c:v>43668</c:v>
                </c:pt>
                <c:pt idx="2565">
                  <c:v>43669</c:v>
                </c:pt>
                <c:pt idx="2566">
                  <c:v>43670</c:v>
                </c:pt>
                <c:pt idx="2567">
                  <c:v>43671</c:v>
                </c:pt>
                <c:pt idx="2568">
                  <c:v>43672</c:v>
                </c:pt>
                <c:pt idx="2569">
                  <c:v>43675</c:v>
                </c:pt>
                <c:pt idx="2570">
                  <c:v>43676</c:v>
                </c:pt>
                <c:pt idx="2571">
                  <c:v>43677</c:v>
                </c:pt>
                <c:pt idx="2572">
                  <c:v>43678</c:v>
                </c:pt>
                <c:pt idx="2573">
                  <c:v>43679</c:v>
                </c:pt>
                <c:pt idx="2574">
                  <c:v>43682</c:v>
                </c:pt>
                <c:pt idx="2575">
                  <c:v>43683</c:v>
                </c:pt>
                <c:pt idx="2576">
                  <c:v>43684</c:v>
                </c:pt>
                <c:pt idx="2577">
                  <c:v>43685</c:v>
                </c:pt>
                <c:pt idx="2578">
                  <c:v>43686</c:v>
                </c:pt>
                <c:pt idx="2579">
                  <c:v>43689</c:v>
                </c:pt>
                <c:pt idx="2580">
                  <c:v>43690</c:v>
                </c:pt>
                <c:pt idx="2581">
                  <c:v>43691</c:v>
                </c:pt>
                <c:pt idx="2582">
                  <c:v>43692</c:v>
                </c:pt>
                <c:pt idx="2583">
                  <c:v>43693</c:v>
                </c:pt>
                <c:pt idx="2584">
                  <c:v>43696</c:v>
                </c:pt>
                <c:pt idx="2585">
                  <c:v>43697</c:v>
                </c:pt>
                <c:pt idx="2586">
                  <c:v>43698</c:v>
                </c:pt>
                <c:pt idx="2587">
                  <c:v>43699</c:v>
                </c:pt>
                <c:pt idx="2588">
                  <c:v>43700</c:v>
                </c:pt>
                <c:pt idx="2589">
                  <c:v>43703</c:v>
                </c:pt>
                <c:pt idx="2590">
                  <c:v>43704</c:v>
                </c:pt>
                <c:pt idx="2591">
                  <c:v>43705</c:v>
                </c:pt>
                <c:pt idx="2592">
                  <c:v>43706</c:v>
                </c:pt>
                <c:pt idx="2593">
                  <c:v>43707</c:v>
                </c:pt>
                <c:pt idx="2594">
                  <c:v>43710</c:v>
                </c:pt>
                <c:pt idx="2595">
                  <c:v>43711</c:v>
                </c:pt>
                <c:pt idx="2596">
                  <c:v>43712</c:v>
                </c:pt>
                <c:pt idx="2597">
                  <c:v>43713</c:v>
                </c:pt>
                <c:pt idx="2598">
                  <c:v>43714</c:v>
                </c:pt>
                <c:pt idx="2599">
                  <c:v>43717</c:v>
                </c:pt>
                <c:pt idx="2600">
                  <c:v>43718</c:v>
                </c:pt>
                <c:pt idx="2601">
                  <c:v>43719</c:v>
                </c:pt>
                <c:pt idx="2602">
                  <c:v>43720</c:v>
                </c:pt>
                <c:pt idx="2603">
                  <c:v>43724</c:v>
                </c:pt>
                <c:pt idx="2604">
                  <c:v>43725</c:v>
                </c:pt>
                <c:pt idx="2605">
                  <c:v>43726</c:v>
                </c:pt>
                <c:pt idx="2606">
                  <c:v>43727</c:v>
                </c:pt>
                <c:pt idx="2607">
                  <c:v>43728</c:v>
                </c:pt>
                <c:pt idx="2608">
                  <c:v>43731</c:v>
                </c:pt>
                <c:pt idx="2609">
                  <c:v>43732</c:v>
                </c:pt>
                <c:pt idx="2610">
                  <c:v>43733</c:v>
                </c:pt>
                <c:pt idx="2611">
                  <c:v>43734</c:v>
                </c:pt>
                <c:pt idx="2612">
                  <c:v>43735</c:v>
                </c:pt>
                <c:pt idx="2613">
                  <c:v>43738</c:v>
                </c:pt>
                <c:pt idx="2614">
                  <c:v>43746</c:v>
                </c:pt>
                <c:pt idx="2615">
                  <c:v>43747</c:v>
                </c:pt>
                <c:pt idx="2616">
                  <c:v>43748</c:v>
                </c:pt>
                <c:pt idx="2617">
                  <c:v>43749</c:v>
                </c:pt>
                <c:pt idx="2618">
                  <c:v>43752</c:v>
                </c:pt>
                <c:pt idx="2619">
                  <c:v>43753</c:v>
                </c:pt>
                <c:pt idx="2620">
                  <c:v>43754</c:v>
                </c:pt>
                <c:pt idx="2621">
                  <c:v>43755</c:v>
                </c:pt>
                <c:pt idx="2622">
                  <c:v>43756</c:v>
                </c:pt>
                <c:pt idx="2623">
                  <c:v>43759</c:v>
                </c:pt>
                <c:pt idx="2624">
                  <c:v>43760</c:v>
                </c:pt>
                <c:pt idx="2625">
                  <c:v>43761</c:v>
                </c:pt>
                <c:pt idx="2626">
                  <c:v>43762</c:v>
                </c:pt>
                <c:pt idx="2627">
                  <c:v>43763</c:v>
                </c:pt>
                <c:pt idx="2628">
                  <c:v>43766</c:v>
                </c:pt>
                <c:pt idx="2629">
                  <c:v>43767</c:v>
                </c:pt>
                <c:pt idx="2630">
                  <c:v>43768</c:v>
                </c:pt>
                <c:pt idx="2631">
                  <c:v>43769</c:v>
                </c:pt>
                <c:pt idx="2632">
                  <c:v>43770</c:v>
                </c:pt>
                <c:pt idx="2633">
                  <c:v>43773</c:v>
                </c:pt>
                <c:pt idx="2634">
                  <c:v>43774</c:v>
                </c:pt>
                <c:pt idx="2635">
                  <c:v>43775</c:v>
                </c:pt>
                <c:pt idx="2636">
                  <c:v>43776</c:v>
                </c:pt>
                <c:pt idx="2637">
                  <c:v>43777</c:v>
                </c:pt>
                <c:pt idx="2638">
                  <c:v>43780</c:v>
                </c:pt>
                <c:pt idx="2639">
                  <c:v>43781</c:v>
                </c:pt>
                <c:pt idx="2640">
                  <c:v>43782</c:v>
                </c:pt>
                <c:pt idx="2641">
                  <c:v>43783</c:v>
                </c:pt>
                <c:pt idx="2642">
                  <c:v>43784</c:v>
                </c:pt>
                <c:pt idx="2643">
                  <c:v>43787</c:v>
                </c:pt>
                <c:pt idx="2644">
                  <c:v>43788</c:v>
                </c:pt>
                <c:pt idx="2645">
                  <c:v>43789</c:v>
                </c:pt>
                <c:pt idx="2646">
                  <c:v>43790</c:v>
                </c:pt>
                <c:pt idx="2647">
                  <c:v>43791</c:v>
                </c:pt>
                <c:pt idx="2648">
                  <c:v>43794</c:v>
                </c:pt>
                <c:pt idx="2649">
                  <c:v>43795</c:v>
                </c:pt>
                <c:pt idx="2650">
                  <c:v>43796</c:v>
                </c:pt>
                <c:pt idx="2651">
                  <c:v>43797</c:v>
                </c:pt>
                <c:pt idx="2652">
                  <c:v>43798</c:v>
                </c:pt>
                <c:pt idx="2653">
                  <c:v>43801</c:v>
                </c:pt>
                <c:pt idx="2654">
                  <c:v>43802</c:v>
                </c:pt>
                <c:pt idx="2655">
                  <c:v>43803</c:v>
                </c:pt>
                <c:pt idx="2656">
                  <c:v>43804</c:v>
                </c:pt>
                <c:pt idx="2657">
                  <c:v>43805</c:v>
                </c:pt>
                <c:pt idx="2658">
                  <c:v>43808</c:v>
                </c:pt>
                <c:pt idx="2659">
                  <c:v>43809</c:v>
                </c:pt>
                <c:pt idx="2660">
                  <c:v>43810</c:v>
                </c:pt>
                <c:pt idx="2661">
                  <c:v>43811</c:v>
                </c:pt>
                <c:pt idx="2662">
                  <c:v>43812</c:v>
                </c:pt>
                <c:pt idx="2663">
                  <c:v>43815</c:v>
                </c:pt>
                <c:pt idx="2664">
                  <c:v>43816</c:v>
                </c:pt>
                <c:pt idx="2665">
                  <c:v>43817</c:v>
                </c:pt>
                <c:pt idx="2666">
                  <c:v>43818</c:v>
                </c:pt>
                <c:pt idx="2667">
                  <c:v>43819</c:v>
                </c:pt>
                <c:pt idx="2668">
                  <c:v>43822</c:v>
                </c:pt>
                <c:pt idx="2669">
                  <c:v>43823</c:v>
                </c:pt>
                <c:pt idx="2670">
                  <c:v>43824</c:v>
                </c:pt>
                <c:pt idx="2671">
                  <c:v>43825</c:v>
                </c:pt>
                <c:pt idx="2672">
                  <c:v>43826</c:v>
                </c:pt>
                <c:pt idx="2673">
                  <c:v>43829</c:v>
                </c:pt>
                <c:pt idx="2674">
                  <c:v>43830</c:v>
                </c:pt>
                <c:pt idx="2675">
                  <c:v>43832</c:v>
                </c:pt>
                <c:pt idx="2676">
                  <c:v>43833</c:v>
                </c:pt>
                <c:pt idx="2677">
                  <c:v>43836</c:v>
                </c:pt>
                <c:pt idx="2678">
                  <c:v>43837</c:v>
                </c:pt>
                <c:pt idx="2679">
                  <c:v>43838</c:v>
                </c:pt>
                <c:pt idx="2680">
                  <c:v>43839</c:v>
                </c:pt>
                <c:pt idx="2681">
                  <c:v>43840</c:v>
                </c:pt>
                <c:pt idx="2682">
                  <c:v>43843</c:v>
                </c:pt>
                <c:pt idx="2683">
                  <c:v>43844</c:v>
                </c:pt>
                <c:pt idx="2684">
                  <c:v>43845</c:v>
                </c:pt>
                <c:pt idx="2685">
                  <c:v>43846</c:v>
                </c:pt>
                <c:pt idx="2686">
                  <c:v>43847</c:v>
                </c:pt>
                <c:pt idx="2687">
                  <c:v>43850</c:v>
                </c:pt>
                <c:pt idx="2688">
                  <c:v>43851</c:v>
                </c:pt>
                <c:pt idx="2689">
                  <c:v>43852</c:v>
                </c:pt>
                <c:pt idx="2690">
                  <c:v>43853</c:v>
                </c:pt>
                <c:pt idx="2691">
                  <c:v>43864</c:v>
                </c:pt>
                <c:pt idx="2692">
                  <c:v>43865</c:v>
                </c:pt>
                <c:pt idx="2693">
                  <c:v>43866</c:v>
                </c:pt>
                <c:pt idx="2694">
                  <c:v>43867</c:v>
                </c:pt>
                <c:pt idx="2695">
                  <c:v>43868</c:v>
                </c:pt>
                <c:pt idx="2696">
                  <c:v>43871</c:v>
                </c:pt>
                <c:pt idx="2697">
                  <c:v>43872</c:v>
                </c:pt>
                <c:pt idx="2698">
                  <c:v>43873</c:v>
                </c:pt>
                <c:pt idx="2699">
                  <c:v>43874</c:v>
                </c:pt>
                <c:pt idx="2700">
                  <c:v>43875</c:v>
                </c:pt>
                <c:pt idx="2701">
                  <c:v>43878</c:v>
                </c:pt>
                <c:pt idx="2702">
                  <c:v>43879</c:v>
                </c:pt>
                <c:pt idx="2703">
                  <c:v>43880</c:v>
                </c:pt>
                <c:pt idx="2704">
                  <c:v>43881</c:v>
                </c:pt>
                <c:pt idx="2705">
                  <c:v>43882</c:v>
                </c:pt>
                <c:pt idx="2706">
                  <c:v>43885</c:v>
                </c:pt>
                <c:pt idx="2707">
                  <c:v>43886</c:v>
                </c:pt>
                <c:pt idx="2708">
                  <c:v>43887</c:v>
                </c:pt>
                <c:pt idx="2709">
                  <c:v>43888</c:v>
                </c:pt>
                <c:pt idx="2710">
                  <c:v>43889</c:v>
                </c:pt>
                <c:pt idx="2711">
                  <c:v>43892</c:v>
                </c:pt>
                <c:pt idx="2712">
                  <c:v>43893</c:v>
                </c:pt>
                <c:pt idx="2713">
                  <c:v>43894</c:v>
                </c:pt>
                <c:pt idx="2714">
                  <c:v>43895</c:v>
                </c:pt>
                <c:pt idx="2715">
                  <c:v>43896</c:v>
                </c:pt>
                <c:pt idx="2716">
                  <c:v>43899</c:v>
                </c:pt>
                <c:pt idx="2717">
                  <c:v>43900</c:v>
                </c:pt>
                <c:pt idx="2718">
                  <c:v>43901</c:v>
                </c:pt>
                <c:pt idx="2719">
                  <c:v>43902</c:v>
                </c:pt>
                <c:pt idx="2720">
                  <c:v>43903</c:v>
                </c:pt>
                <c:pt idx="2721">
                  <c:v>43906</c:v>
                </c:pt>
                <c:pt idx="2722">
                  <c:v>43907</c:v>
                </c:pt>
                <c:pt idx="2723">
                  <c:v>43908</c:v>
                </c:pt>
                <c:pt idx="2724">
                  <c:v>43909</c:v>
                </c:pt>
                <c:pt idx="2725">
                  <c:v>43910</c:v>
                </c:pt>
                <c:pt idx="2726">
                  <c:v>43913</c:v>
                </c:pt>
                <c:pt idx="2727">
                  <c:v>43914</c:v>
                </c:pt>
                <c:pt idx="2728">
                  <c:v>43915</c:v>
                </c:pt>
                <c:pt idx="2729">
                  <c:v>43916</c:v>
                </c:pt>
                <c:pt idx="2730">
                  <c:v>43917</c:v>
                </c:pt>
                <c:pt idx="2731">
                  <c:v>43920</c:v>
                </c:pt>
                <c:pt idx="2732">
                  <c:v>43921</c:v>
                </c:pt>
                <c:pt idx="2733">
                  <c:v>43922</c:v>
                </c:pt>
                <c:pt idx="2734">
                  <c:v>43923</c:v>
                </c:pt>
                <c:pt idx="2735">
                  <c:v>43924</c:v>
                </c:pt>
                <c:pt idx="2736">
                  <c:v>43928</c:v>
                </c:pt>
                <c:pt idx="2737">
                  <c:v>43929</c:v>
                </c:pt>
                <c:pt idx="2738">
                  <c:v>43930</c:v>
                </c:pt>
                <c:pt idx="2739">
                  <c:v>43931</c:v>
                </c:pt>
                <c:pt idx="2740">
                  <c:v>43934</c:v>
                </c:pt>
                <c:pt idx="2741">
                  <c:v>43935</c:v>
                </c:pt>
                <c:pt idx="2742">
                  <c:v>43936</c:v>
                </c:pt>
                <c:pt idx="2743">
                  <c:v>43937</c:v>
                </c:pt>
                <c:pt idx="2744">
                  <c:v>43938</c:v>
                </c:pt>
                <c:pt idx="2745">
                  <c:v>43941</c:v>
                </c:pt>
                <c:pt idx="2746">
                  <c:v>43942</c:v>
                </c:pt>
                <c:pt idx="2747">
                  <c:v>43943</c:v>
                </c:pt>
                <c:pt idx="2748">
                  <c:v>43944</c:v>
                </c:pt>
                <c:pt idx="2749">
                  <c:v>43945</c:v>
                </c:pt>
                <c:pt idx="2750">
                  <c:v>43948</c:v>
                </c:pt>
                <c:pt idx="2751">
                  <c:v>43949</c:v>
                </c:pt>
                <c:pt idx="2752">
                  <c:v>43950</c:v>
                </c:pt>
                <c:pt idx="2753">
                  <c:v>43951</c:v>
                </c:pt>
                <c:pt idx="2754">
                  <c:v>43957</c:v>
                </c:pt>
                <c:pt idx="2755">
                  <c:v>43958</c:v>
                </c:pt>
                <c:pt idx="2756">
                  <c:v>43959</c:v>
                </c:pt>
                <c:pt idx="2757">
                  <c:v>43962</c:v>
                </c:pt>
                <c:pt idx="2758">
                  <c:v>43963</c:v>
                </c:pt>
                <c:pt idx="2759">
                  <c:v>43964</c:v>
                </c:pt>
                <c:pt idx="2760">
                  <c:v>43965</c:v>
                </c:pt>
                <c:pt idx="2761">
                  <c:v>43966</c:v>
                </c:pt>
                <c:pt idx="2762">
                  <c:v>43969</c:v>
                </c:pt>
                <c:pt idx="2763">
                  <c:v>43970</c:v>
                </c:pt>
                <c:pt idx="2764">
                  <c:v>43971</c:v>
                </c:pt>
                <c:pt idx="2765">
                  <c:v>43972</c:v>
                </c:pt>
                <c:pt idx="2766">
                  <c:v>43973</c:v>
                </c:pt>
                <c:pt idx="2767">
                  <c:v>43976</c:v>
                </c:pt>
                <c:pt idx="2768">
                  <c:v>43977</c:v>
                </c:pt>
                <c:pt idx="2769">
                  <c:v>43978</c:v>
                </c:pt>
                <c:pt idx="2770">
                  <c:v>43979</c:v>
                </c:pt>
                <c:pt idx="2771">
                  <c:v>43980</c:v>
                </c:pt>
                <c:pt idx="2772">
                  <c:v>43983</c:v>
                </c:pt>
                <c:pt idx="2773">
                  <c:v>43984</c:v>
                </c:pt>
                <c:pt idx="2774">
                  <c:v>43985</c:v>
                </c:pt>
                <c:pt idx="2775">
                  <c:v>43986</c:v>
                </c:pt>
                <c:pt idx="2776">
                  <c:v>43987</c:v>
                </c:pt>
                <c:pt idx="2777">
                  <c:v>43990</c:v>
                </c:pt>
                <c:pt idx="2778">
                  <c:v>43991</c:v>
                </c:pt>
                <c:pt idx="2779">
                  <c:v>43992</c:v>
                </c:pt>
                <c:pt idx="2780">
                  <c:v>43993</c:v>
                </c:pt>
                <c:pt idx="2781">
                  <c:v>43994</c:v>
                </c:pt>
                <c:pt idx="2782">
                  <c:v>43997</c:v>
                </c:pt>
                <c:pt idx="2783">
                  <c:v>43998</c:v>
                </c:pt>
                <c:pt idx="2784">
                  <c:v>43999</c:v>
                </c:pt>
                <c:pt idx="2785">
                  <c:v>44000</c:v>
                </c:pt>
                <c:pt idx="2786">
                  <c:v>44001</c:v>
                </c:pt>
                <c:pt idx="2787">
                  <c:v>44004</c:v>
                </c:pt>
                <c:pt idx="2788">
                  <c:v>44005</c:v>
                </c:pt>
                <c:pt idx="2789">
                  <c:v>44006</c:v>
                </c:pt>
                <c:pt idx="2790">
                  <c:v>44011</c:v>
                </c:pt>
                <c:pt idx="2791">
                  <c:v>44012</c:v>
                </c:pt>
                <c:pt idx="2792">
                  <c:v>44013</c:v>
                </c:pt>
                <c:pt idx="2793">
                  <c:v>44014</c:v>
                </c:pt>
                <c:pt idx="2794">
                  <c:v>44015</c:v>
                </c:pt>
                <c:pt idx="2795">
                  <c:v>44018</c:v>
                </c:pt>
                <c:pt idx="2796">
                  <c:v>44019</c:v>
                </c:pt>
                <c:pt idx="2797">
                  <c:v>44020</c:v>
                </c:pt>
                <c:pt idx="2798">
                  <c:v>44021</c:v>
                </c:pt>
                <c:pt idx="2799">
                  <c:v>44022</c:v>
                </c:pt>
                <c:pt idx="2800">
                  <c:v>44025</c:v>
                </c:pt>
                <c:pt idx="2801">
                  <c:v>44026</c:v>
                </c:pt>
                <c:pt idx="2802">
                  <c:v>44027</c:v>
                </c:pt>
                <c:pt idx="2803">
                  <c:v>44028</c:v>
                </c:pt>
                <c:pt idx="2804">
                  <c:v>44029</c:v>
                </c:pt>
                <c:pt idx="2805">
                  <c:v>44032</c:v>
                </c:pt>
                <c:pt idx="2806">
                  <c:v>44033</c:v>
                </c:pt>
                <c:pt idx="2807">
                  <c:v>44034</c:v>
                </c:pt>
                <c:pt idx="2808">
                  <c:v>44035</c:v>
                </c:pt>
                <c:pt idx="2809">
                  <c:v>44036</c:v>
                </c:pt>
                <c:pt idx="2810">
                  <c:v>44039</c:v>
                </c:pt>
                <c:pt idx="2811">
                  <c:v>44040</c:v>
                </c:pt>
                <c:pt idx="2812">
                  <c:v>44041</c:v>
                </c:pt>
                <c:pt idx="2813">
                  <c:v>44042</c:v>
                </c:pt>
                <c:pt idx="2814">
                  <c:v>44043</c:v>
                </c:pt>
                <c:pt idx="2815">
                  <c:v>44046</c:v>
                </c:pt>
                <c:pt idx="2816">
                  <c:v>44047</c:v>
                </c:pt>
                <c:pt idx="2817">
                  <c:v>44048</c:v>
                </c:pt>
                <c:pt idx="2818">
                  <c:v>44049</c:v>
                </c:pt>
                <c:pt idx="2819">
                  <c:v>44050</c:v>
                </c:pt>
                <c:pt idx="2820">
                  <c:v>44053</c:v>
                </c:pt>
                <c:pt idx="2821">
                  <c:v>44054</c:v>
                </c:pt>
                <c:pt idx="2822">
                  <c:v>44055</c:v>
                </c:pt>
                <c:pt idx="2823">
                  <c:v>44056</c:v>
                </c:pt>
                <c:pt idx="2824">
                  <c:v>44057</c:v>
                </c:pt>
                <c:pt idx="2825">
                  <c:v>44060</c:v>
                </c:pt>
                <c:pt idx="2826">
                  <c:v>44061</c:v>
                </c:pt>
                <c:pt idx="2827">
                  <c:v>44062</c:v>
                </c:pt>
                <c:pt idx="2828">
                  <c:v>44063</c:v>
                </c:pt>
                <c:pt idx="2829">
                  <c:v>44064</c:v>
                </c:pt>
                <c:pt idx="2830">
                  <c:v>44067</c:v>
                </c:pt>
                <c:pt idx="2831">
                  <c:v>44068</c:v>
                </c:pt>
                <c:pt idx="2832">
                  <c:v>44069</c:v>
                </c:pt>
                <c:pt idx="2833">
                  <c:v>44070</c:v>
                </c:pt>
                <c:pt idx="2834">
                  <c:v>44071</c:v>
                </c:pt>
                <c:pt idx="2835">
                  <c:v>44074</c:v>
                </c:pt>
                <c:pt idx="2836">
                  <c:v>44075</c:v>
                </c:pt>
                <c:pt idx="2837">
                  <c:v>44076</c:v>
                </c:pt>
                <c:pt idx="2838">
                  <c:v>44077</c:v>
                </c:pt>
                <c:pt idx="2839">
                  <c:v>44078</c:v>
                </c:pt>
                <c:pt idx="2840">
                  <c:v>44081</c:v>
                </c:pt>
                <c:pt idx="2841">
                  <c:v>44082</c:v>
                </c:pt>
                <c:pt idx="2842">
                  <c:v>44083</c:v>
                </c:pt>
                <c:pt idx="2843">
                  <c:v>44084</c:v>
                </c:pt>
                <c:pt idx="2844">
                  <c:v>44085</c:v>
                </c:pt>
                <c:pt idx="2845">
                  <c:v>44088</c:v>
                </c:pt>
                <c:pt idx="2846">
                  <c:v>44089</c:v>
                </c:pt>
                <c:pt idx="2847">
                  <c:v>44090</c:v>
                </c:pt>
                <c:pt idx="2848">
                  <c:v>44091</c:v>
                </c:pt>
                <c:pt idx="2849">
                  <c:v>44092</c:v>
                </c:pt>
                <c:pt idx="2850">
                  <c:v>44095</c:v>
                </c:pt>
                <c:pt idx="2851">
                  <c:v>44096</c:v>
                </c:pt>
                <c:pt idx="2852">
                  <c:v>44097</c:v>
                </c:pt>
                <c:pt idx="2853">
                  <c:v>44098</c:v>
                </c:pt>
                <c:pt idx="2854">
                  <c:v>44099</c:v>
                </c:pt>
                <c:pt idx="2855">
                  <c:v>44102</c:v>
                </c:pt>
                <c:pt idx="2856">
                  <c:v>44103</c:v>
                </c:pt>
                <c:pt idx="2857">
                  <c:v>44104</c:v>
                </c:pt>
                <c:pt idx="2858">
                  <c:v>44113</c:v>
                </c:pt>
                <c:pt idx="2859">
                  <c:v>44116</c:v>
                </c:pt>
                <c:pt idx="2860">
                  <c:v>44117</c:v>
                </c:pt>
                <c:pt idx="2861">
                  <c:v>44118</c:v>
                </c:pt>
                <c:pt idx="2862">
                  <c:v>44119</c:v>
                </c:pt>
                <c:pt idx="2863">
                  <c:v>44120</c:v>
                </c:pt>
                <c:pt idx="2864">
                  <c:v>44123</c:v>
                </c:pt>
                <c:pt idx="2865">
                  <c:v>44124</c:v>
                </c:pt>
                <c:pt idx="2866">
                  <c:v>44125</c:v>
                </c:pt>
                <c:pt idx="2867">
                  <c:v>44126</c:v>
                </c:pt>
                <c:pt idx="2868">
                  <c:v>44127</c:v>
                </c:pt>
                <c:pt idx="2869">
                  <c:v>44130</c:v>
                </c:pt>
                <c:pt idx="2870">
                  <c:v>44131</c:v>
                </c:pt>
                <c:pt idx="2871">
                  <c:v>44132</c:v>
                </c:pt>
                <c:pt idx="2872">
                  <c:v>44133</c:v>
                </c:pt>
                <c:pt idx="2873">
                  <c:v>44134</c:v>
                </c:pt>
                <c:pt idx="2874">
                  <c:v>44137</c:v>
                </c:pt>
                <c:pt idx="2875">
                  <c:v>44138</c:v>
                </c:pt>
                <c:pt idx="2876">
                  <c:v>44139</c:v>
                </c:pt>
                <c:pt idx="2877">
                  <c:v>44140</c:v>
                </c:pt>
                <c:pt idx="2878">
                  <c:v>44141</c:v>
                </c:pt>
                <c:pt idx="2879">
                  <c:v>44144</c:v>
                </c:pt>
                <c:pt idx="2880">
                  <c:v>44145</c:v>
                </c:pt>
                <c:pt idx="2881">
                  <c:v>44146</c:v>
                </c:pt>
                <c:pt idx="2882">
                  <c:v>44147</c:v>
                </c:pt>
                <c:pt idx="2883">
                  <c:v>44148</c:v>
                </c:pt>
                <c:pt idx="2884">
                  <c:v>44151</c:v>
                </c:pt>
                <c:pt idx="2885">
                  <c:v>44152</c:v>
                </c:pt>
                <c:pt idx="2886">
                  <c:v>44153</c:v>
                </c:pt>
                <c:pt idx="2887">
                  <c:v>44154</c:v>
                </c:pt>
                <c:pt idx="2888">
                  <c:v>44155</c:v>
                </c:pt>
                <c:pt idx="2889">
                  <c:v>44158</c:v>
                </c:pt>
                <c:pt idx="2890">
                  <c:v>44159</c:v>
                </c:pt>
                <c:pt idx="2891">
                  <c:v>44160</c:v>
                </c:pt>
                <c:pt idx="2892">
                  <c:v>44161</c:v>
                </c:pt>
                <c:pt idx="2893">
                  <c:v>44162</c:v>
                </c:pt>
                <c:pt idx="2894">
                  <c:v>44165</c:v>
                </c:pt>
                <c:pt idx="2895">
                  <c:v>44166</c:v>
                </c:pt>
                <c:pt idx="2896">
                  <c:v>44167</c:v>
                </c:pt>
                <c:pt idx="2897">
                  <c:v>44168</c:v>
                </c:pt>
                <c:pt idx="2898">
                  <c:v>44169</c:v>
                </c:pt>
                <c:pt idx="2899">
                  <c:v>44172</c:v>
                </c:pt>
                <c:pt idx="2900">
                  <c:v>44173</c:v>
                </c:pt>
                <c:pt idx="2901">
                  <c:v>44174</c:v>
                </c:pt>
                <c:pt idx="2902">
                  <c:v>44175</c:v>
                </c:pt>
                <c:pt idx="2903">
                  <c:v>44176</c:v>
                </c:pt>
                <c:pt idx="2904">
                  <c:v>44179</c:v>
                </c:pt>
                <c:pt idx="2905">
                  <c:v>44180</c:v>
                </c:pt>
                <c:pt idx="2906">
                  <c:v>44181</c:v>
                </c:pt>
                <c:pt idx="2907">
                  <c:v>44182</c:v>
                </c:pt>
                <c:pt idx="2908">
                  <c:v>44183</c:v>
                </c:pt>
                <c:pt idx="2909">
                  <c:v>44186</c:v>
                </c:pt>
                <c:pt idx="2910">
                  <c:v>44187</c:v>
                </c:pt>
                <c:pt idx="2911">
                  <c:v>44188</c:v>
                </c:pt>
                <c:pt idx="2912">
                  <c:v>44189</c:v>
                </c:pt>
                <c:pt idx="2913">
                  <c:v>44190</c:v>
                </c:pt>
                <c:pt idx="2914">
                  <c:v>44193</c:v>
                </c:pt>
                <c:pt idx="2915">
                  <c:v>44194</c:v>
                </c:pt>
                <c:pt idx="2916">
                  <c:v>44195</c:v>
                </c:pt>
                <c:pt idx="2917">
                  <c:v>44196</c:v>
                </c:pt>
                <c:pt idx="2918">
                  <c:v>44200</c:v>
                </c:pt>
                <c:pt idx="2919">
                  <c:v>44201</c:v>
                </c:pt>
                <c:pt idx="2920">
                  <c:v>44202</c:v>
                </c:pt>
                <c:pt idx="2921">
                  <c:v>44203</c:v>
                </c:pt>
                <c:pt idx="2922">
                  <c:v>44204</c:v>
                </c:pt>
                <c:pt idx="2923">
                  <c:v>44207</c:v>
                </c:pt>
                <c:pt idx="2924">
                  <c:v>44208</c:v>
                </c:pt>
                <c:pt idx="2925">
                  <c:v>44209</c:v>
                </c:pt>
                <c:pt idx="2926">
                  <c:v>44210</c:v>
                </c:pt>
                <c:pt idx="2927">
                  <c:v>44211</c:v>
                </c:pt>
                <c:pt idx="2928">
                  <c:v>44214</c:v>
                </c:pt>
                <c:pt idx="2929">
                  <c:v>44215</c:v>
                </c:pt>
                <c:pt idx="2930">
                  <c:v>44216</c:v>
                </c:pt>
                <c:pt idx="2931">
                  <c:v>44217</c:v>
                </c:pt>
                <c:pt idx="2932">
                  <c:v>44218</c:v>
                </c:pt>
                <c:pt idx="2933">
                  <c:v>44221</c:v>
                </c:pt>
                <c:pt idx="2934">
                  <c:v>44222</c:v>
                </c:pt>
                <c:pt idx="2935">
                  <c:v>44223</c:v>
                </c:pt>
                <c:pt idx="2936">
                  <c:v>44224</c:v>
                </c:pt>
                <c:pt idx="2937">
                  <c:v>44225</c:v>
                </c:pt>
                <c:pt idx="2938">
                  <c:v>44228</c:v>
                </c:pt>
                <c:pt idx="2939">
                  <c:v>44229</c:v>
                </c:pt>
                <c:pt idx="2940">
                  <c:v>44230</c:v>
                </c:pt>
                <c:pt idx="2941">
                  <c:v>44231</c:v>
                </c:pt>
                <c:pt idx="2942">
                  <c:v>44232</c:v>
                </c:pt>
                <c:pt idx="2943">
                  <c:v>44235</c:v>
                </c:pt>
                <c:pt idx="2944">
                  <c:v>44236</c:v>
                </c:pt>
                <c:pt idx="2945">
                  <c:v>44237</c:v>
                </c:pt>
                <c:pt idx="2946">
                  <c:v>44245</c:v>
                </c:pt>
                <c:pt idx="2947">
                  <c:v>44246</c:v>
                </c:pt>
                <c:pt idx="2948">
                  <c:v>44249</c:v>
                </c:pt>
                <c:pt idx="2949">
                  <c:v>44250</c:v>
                </c:pt>
                <c:pt idx="2950">
                  <c:v>44251</c:v>
                </c:pt>
                <c:pt idx="2951">
                  <c:v>44252</c:v>
                </c:pt>
                <c:pt idx="2952">
                  <c:v>44253</c:v>
                </c:pt>
                <c:pt idx="2953">
                  <c:v>44256</c:v>
                </c:pt>
                <c:pt idx="2954">
                  <c:v>44257</c:v>
                </c:pt>
                <c:pt idx="2955">
                  <c:v>44258</c:v>
                </c:pt>
                <c:pt idx="2956">
                  <c:v>44259</c:v>
                </c:pt>
                <c:pt idx="2957">
                  <c:v>44260</c:v>
                </c:pt>
                <c:pt idx="2958">
                  <c:v>44263</c:v>
                </c:pt>
                <c:pt idx="2959">
                  <c:v>44264</c:v>
                </c:pt>
                <c:pt idx="2960">
                  <c:v>44265</c:v>
                </c:pt>
                <c:pt idx="2961">
                  <c:v>44266</c:v>
                </c:pt>
                <c:pt idx="2962">
                  <c:v>44267</c:v>
                </c:pt>
                <c:pt idx="2963">
                  <c:v>44270</c:v>
                </c:pt>
                <c:pt idx="2964">
                  <c:v>44271</c:v>
                </c:pt>
                <c:pt idx="2965">
                  <c:v>44272</c:v>
                </c:pt>
                <c:pt idx="2966">
                  <c:v>44273</c:v>
                </c:pt>
                <c:pt idx="2967">
                  <c:v>44274</c:v>
                </c:pt>
                <c:pt idx="2968">
                  <c:v>44277</c:v>
                </c:pt>
                <c:pt idx="2969">
                  <c:v>44278</c:v>
                </c:pt>
                <c:pt idx="2970">
                  <c:v>44279</c:v>
                </c:pt>
                <c:pt idx="2971">
                  <c:v>44280</c:v>
                </c:pt>
                <c:pt idx="2972">
                  <c:v>44281</c:v>
                </c:pt>
                <c:pt idx="2973">
                  <c:v>44284</c:v>
                </c:pt>
                <c:pt idx="2974">
                  <c:v>44285</c:v>
                </c:pt>
                <c:pt idx="2975">
                  <c:v>44286</c:v>
                </c:pt>
                <c:pt idx="2976">
                  <c:v>44287</c:v>
                </c:pt>
                <c:pt idx="2977">
                  <c:v>44288</c:v>
                </c:pt>
                <c:pt idx="2978">
                  <c:v>44292</c:v>
                </c:pt>
                <c:pt idx="2979">
                  <c:v>44293</c:v>
                </c:pt>
                <c:pt idx="2980">
                  <c:v>44294</c:v>
                </c:pt>
                <c:pt idx="2981">
                  <c:v>44295</c:v>
                </c:pt>
                <c:pt idx="2982">
                  <c:v>44298</c:v>
                </c:pt>
                <c:pt idx="2983">
                  <c:v>44299</c:v>
                </c:pt>
                <c:pt idx="2984">
                  <c:v>44300</c:v>
                </c:pt>
                <c:pt idx="2985">
                  <c:v>44301</c:v>
                </c:pt>
                <c:pt idx="2986">
                  <c:v>44302</c:v>
                </c:pt>
                <c:pt idx="2987">
                  <c:v>44305</c:v>
                </c:pt>
                <c:pt idx="2988">
                  <c:v>44306</c:v>
                </c:pt>
                <c:pt idx="2989">
                  <c:v>44307</c:v>
                </c:pt>
                <c:pt idx="2990">
                  <c:v>44308</c:v>
                </c:pt>
                <c:pt idx="2991">
                  <c:v>44309</c:v>
                </c:pt>
                <c:pt idx="2992">
                  <c:v>44312</c:v>
                </c:pt>
                <c:pt idx="2993">
                  <c:v>44313</c:v>
                </c:pt>
                <c:pt idx="2994">
                  <c:v>44314</c:v>
                </c:pt>
                <c:pt idx="2995">
                  <c:v>44315</c:v>
                </c:pt>
                <c:pt idx="2996">
                  <c:v>44316</c:v>
                </c:pt>
                <c:pt idx="2997">
                  <c:v>44322</c:v>
                </c:pt>
                <c:pt idx="2998">
                  <c:v>44323</c:v>
                </c:pt>
                <c:pt idx="2999">
                  <c:v>44326</c:v>
                </c:pt>
                <c:pt idx="3000">
                  <c:v>44327</c:v>
                </c:pt>
                <c:pt idx="3001">
                  <c:v>44328</c:v>
                </c:pt>
                <c:pt idx="3002">
                  <c:v>44329</c:v>
                </c:pt>
                <c:pt idx="3003">
                  <c:v>44330</c:v>
                </c:pt>
                <c:pt idx="3004">
                  <c:v>44333</c:v>
                </c:pt>
                <c:pt idx="3005">
                  <c:v>44334</c:v>
                </c:pt>
                <c:pt idx="3006">
                  <c:v>44335</c:v>
                </c:pt>
                <c:pt idx="3007">
                  <c:v>44336</c:v>
                </c:pt>
                <c:pt idx="3008">
                  <c:v>44337</c:v>
                </c:pt>
                <c:pt idx="3009">
                  <c:v>44340</c:v>
                </c:pt>
                <c:pt idx="3010">
                  <c:v>44341</c:v>
                </c:pt>
                <c:pt idx="3011">
                  <c:v>44342</c:v>
                </c:pt>
                <c:pt idx="3012">
                  <c:v>44343</c:v>
                </c:pt>
                <c:pt idx="3013">
                  <c:v>44344</c:v>
                </c:pt>
                <c:pt idx="3014">
                  <c:v>44347</c:v>
                </c:pt>
                <c:pt idx="3015">
                  <c:v>44348</c:v>
                </c:pt>
                <c:pt idx="3016">
                  <c:v>44349</c:v>
                </c:pt>
                <c:pt idx="3017">
                  <c:v>44350</c:v>
                </c:pt>
                <c:pt idx="3018">
                  <c:v>44351</c:v>
                </c:pt>
                <c:pt idx="3019">
                  <c:v>44354</c:v>
                </c:pt>
                <c:pt idx="3020">
                  <c:v>44355</c:v>
                </c:pt>
                <c:pt idx="3021">
                  <c:v>44356</c:v>
                </c:pt>
                <c:pt idx="3022">
                  <c:v>44357</c:v>
                </c:pt>
                <c:pt idx="3023">
                  <c:v>44358</c:v>
                </c:pt>
                <c:pt idx="3024">
                  <c:v>44362</c:v>
                </c:pt>
                <c:pt idx="3025">
                  <c:v>44363</c:v>
                </c:pt>
                <c:pt idx="3026">
                  <c:v>44364</c:v>
                </c:pt>
                <c:pt idx="3027">
                  <c:v>44365</c:v>
                </c:pt>
                <c:pt idx="3028">
                  <c:v>44368</c:v>
                </c:pt>
                <c:pt idx="3029">
                  <c:v>44369</c:v>
                </c:pt>
                <c:pt idx="3030">
                  <c:v>44370</c:v>
                </c:pt>
                <c:pt idx="3031">
                  <c:v>44371</c:v>
                </c:pt>
                <c:pt idx="3032">
                  <c:v>44372</c:v>
                </c:pt>
                <c:pt idx="3033">
                  <c:v>44375</c:v>
                </c:pt>
                <c:pt idx="3034">
                  <c:v>44376</c:v>
                </c:pt>
                <c:pt idx="3035">
                  <c:v>44377</c:v>
                </c:pt>
                <c:pt idx="3036">
                  <c:v>44378</c:v>
                </c:pt>
                <c:pt idx="3037">
                  <c:v>44379</c:v>
                </c:pt>
                <c:pt idx="3038">
                  <c:v>44382</c:v>
                </c:pt>
                <c:pt idx="3039">
                  <c:v>44383</c:v>
                </c:pt>
                <c:pt idx="3040">
                  <c:v>44384</c:v>
                </c:pt>
                <c:pt idx="3041">
                  <c:v>44385</c:v>
                </c:pt>
                <c:pt idx="3042">
                  <c:v>44386</c:v>
                </c:pt>
                <c:pt idx="3043">
                  <c:v>44389</c:v>
                </c:pt>
                <c:pt idx="3044">
                  <c:v>44390</c:v>
                </c:pt>
                <c:pt idx="3045">
                  <c:v>44391</c:v>
                </c:pt>
                <c:pt idx="3046">
                  <c:v>44392</c:v>
                </c:pt>
                <c:pt idx="3047">
                  <c:v>44393</c:v>
                </c:pt>
                <c:pt idx="3048">
                  <c:v>44396</c:v>
                </c:pt>
                <c:pt idx="3049">
                  <c:v>44397</c:v>
                </c:pt>
                <c:pt idx="3050">
                  <c:v>44398</c:v>
                </c:pt>
                <c:pt idx="3051">
                  <c:v>44399</c:v>
                </c:pt>
                <c:pt idx="3052">
                  <c:v>44400</c:v>
                </c:pt>
                <c:pt idx="3053">
                  <c:v>44403</c:v>
                </c:pt>
                <c:pt idx="3054">
                  <c:v>44404</c:v>
                </c:pt>
                <c:pt idx="3055">
                  <c:v>44405</c:v>
                </c:pt>
                <c:pt idx="3056">
                  <c:v>44406</c:v>
                </c:pt>
                <c:pt idx="3057">
                  <c:v>44407</c:v>
                </c:pt>
                <c:pt idx="3058">
                  <c:v>44410</c:v>
                </c:pt>
                <c:pt idx="3059">
                  <c:v>44411</c:v>
                </c:pt>
                <c:pt idx="3060">
                  <c:v>44412</c:v>
                </c:pt>
                <c:pt idx="3061">
                  <c:v>44413</c:v>
                </c:pt>
                <c:pt idx="3062">
                  <c:v>44414</c:v>
                </c:pt>
                <c:pt idx="3063">
                  <c:v>44417</c:v>
                </c:pt>
                <c:pt idx="3064">
                  <c:v>44418</c:v>
                </c:pt>
                <c:pt idx="3065">
                  <c:v>44419</c:v>
                </c:pt>
                <c:pt idx="3066">
                  <c:v>44420</c:v>
                </c:pt>
                <c:pt idx="3067">
                  <c:v>44421</c:v>
                </c:pt>
                <c:pt idx="3068">
                  <c:v>44424</c:v>
                </c:pt>
                <c:pt idx="3069">
                  <c:v>44425</c:v>
                </c:pt>
                <c:pt idx="3070">
                  <c:v>44426</c:v>
                </c:pt>
                <c:pt idx="3071">
                  <c:v>44427</c:v>
                </c:pt>
                <c:pt idx="3072">
                  <c:v>44428</c:v>
                </c:pt>
                <c:pt idx="3073">
                  <c:v>44431</c:v>
                </c:pt>
                <c:pt idx="3074">
                  <c:v>44432</c:v>
                </c:pt>
                <c:pt idx="3075">
                  <c:v>44433</c:v>
                </c:pt>
                <c:pt idx="3076">
                  <c:v>44434</c:v>
                </c:pt>
                <c:pt idx="3077">
                  <c:v>44435</c:v>
                </c:pt>
                <c:pt idx="3078">
                  <c:v>44438</c:v>
                </c:pt>
                <c:pt idx="3079">
                  <c:v>44439</c:v>
                </c:pt>
                <c:pt idx="3080">
                  <c:v>44440</c:v>
                </c:pt>
                <c:pt idx="3081">
                  <c:v>44441</c:v>
                </c:pt>
                <c:pt idx="3082">
                  <c:v>44442</c:v>
                </c:pt>
                <c:pt idx="3083">
                  <c:v>44445</c:v>
                </c:pt>
                <c:pt idx="3084">
                  <c:v>44446</c:v>
                </c:pt>
                <c:pt idx="3085">
                  <c:v>44447</c:v>
                </c:pt>
                <c:pt idx="3086">
                  <c:v>44448</c:v>
                </c:pt>
                <c:pt idx="3087">
                  <c:v>44449</c:v>
                </c:pt>
                <c:pt idx="3088">
                  <c:v>44452</c:v>
                </c:pt>
                <c:pt idx="3089">
                  <c:v>44453</c:v>
                </c:pt>
                <c:pt idx="3090">
                  <c:v>44454</c:v>
                </c:pt>
                <c:pt idx="3091">
                  <c:v>44455</c:v>
                </c:pt>
                <c:pt idx="3092">
                  <c:v>44456</c:v>
                </c:pt>
                <c:pt idx="3093">
                  <c:v>44461</c:v>
                </c:pt>
                <c:pt idx="3094">
                  <c:v>44462</c:v>
                </c:pt>
                <c:pt idx="3095">
                  <c:v>44463</c:v>
                </c:pt>
                <c:pt idx="3096">
                  <c:v>44466</c:v>
                </c:pt>
                <c:pt idx="3097">
                  <c:v>44467</c:v>
                </c:pt>
                <c:pt idx="3098">
                  <c:v>44468</c:v>
                </c:pt>
                <c:pt idx="3099">
                  <c:v>44469</c:v>
                </c:pt>
                <c:pt idx="3100">
                  <c:v>44477</c:v>
                </c:pt>
                <c:pt idx="3101">
                  <c:v>44480</c:v>
                </c:pt>
                <c:pt idx="3102">
                  <c:v>44481</c:v>
                </c:pt>
                <c:pt idx="3103">
                  <c:v>44482</c:v>
                </c:pt>
                <c:pt idx="3104">
                  <c:v>44483</c:v>
                </c:pt>
                <c:pt idx="3105">
                  <c:v>44484</c:v>
                </c:pt>
                <c:pt idx="3106">
                  <c:v>44487</c:v>
                </c:pt>
                <c:pt idx="3107">
                  <c:v>44488</c:v>
                </c:pt>
                <c:pt idx="3108">
                  <c:v>44489</c:v>
                </c:pt>
                <c:pt idx="3109">
                  <c:v>44490</c:v>
                </c:pt>
                <c:pt idx="3110">
                  <c:v>44491</c:v>
                </c:pt>
                <c:pt idx="3111">
                  <c:v>44494</c:v>
                </c:pt>
                <c:pt idx="3112">
                  <c:v>44495</c:v>
                </c:pt>
                <c:pt idx="3113">
                  <c:v>44496</c:v>
                </c:pt>
                <c:pt idx="3114">
                  <c:v>44497</c:v>
                </c:pt>
                <c:pt idx="3115">
                  <c:v>44498</c:v>
                </c:pt>
                <c:pt idx="3116">
                  <c:v>44501</c:v>
                </c:pt>
                <c:pt idx="3117">
                  <c:v>44502</c:v>
                </c:pt>
                <c:pt idx="3118">
                  <c:v>44503</c:v>
                </c:pt>
                <c:pt idx="3119">
                  <c:v>44504</c:v>
                </c:pt>
                <c:pt idx="3120">
                  <c:v>44505</c:v>
                </c:pt>
                <c:pt idx="3121">
                  <c:v>44508</c:v>
                </c:pt>
                <c:pt idx="3122">
                  <c:v>44509</c:v>
                </c:pt>
                <c:pt idx="3123">
                  <c:v>44510</c:v>
                </c:pt>
                <c:pt idx="3124">
                  <c:v>44511</c:v>
                </c:pt>
                <c:pt idx="3125">
                  <c:v>44512</c:v>
                </c:pt>
                <c:pt idx="3126">
                  <c:v>44515</c:v>
                </c:pt>
                <c:pt idx="3127">
                  <c:v>44516</c:v>
                </c:pt>
                <c:pt idx="3128">
                  <c:v>44517</c:v>
                </c:pt>
                <c:pt idx="3129">
                  <c:v>44518</c:v>
                </c:pt>
                <c:pt idx="3130">
                  <c:v>44519</c:v>
                </c:pt>
                <c:pt idx="3131">
                  <c:v>44522</c:v>
                </c:pt>
                <c:pt idx="3132">
                  <c:v>44523</c:v>
                </c:pt>
                <c:pt idx="3133">
                  <c:v>44524</c:v>
                </c:pt>
                <c:pt idx="3134">
                  <c:v>44525</c:v>
                </c:pt>
                <c:pt idx="3135">
                  <c:v>44526</c:v>
                </c:pt>
                <c:pt idx="3136">
                  <c:v>44529</c:v>
                </c:pt>
                <c:pt idx="3137">
                  <c:v>44530</c:v>
                </c:pt>
                <c:pt idx="3138">
                  <c:v>44531</c:v>
                </c:pt>
                <c:pt idx="3139">
                  <c:v>44532</c:v>
                </c:pt>
                <c:pt idx="3140">
                  <c:v>44533</c:v>
                </c:pt>
                <c:pt idx="3141">
                  <c:v>44536</c:v>
                </c:pt>
                <c:pt idx="3142">
                  <c:v>44537</c:v>
                </c:pt>
                <c:pt idx="3143">
                  <c:v>44538</c:v>
                </c:pt>
                <c:pt idx="3144">
                  <c:v>44539</c:v>
                </c:pt>
                <c:pt idx="3145">
                  <c:v>44540</c:v>
                </c:pt>
                <c:pt idx="3146">
                  <c:v>44543</c:v>
                </c:pt>
                <c:pt idx="3147">
                  <c:v>44544</c:v>
                </c:pt>
                <c:pt idx="3148">
                  <c:v>44545</c:v>
                </c:pt>
                <c:pt idx="3149">
                  <c:v>44546</c:v>
                </c:pt>
                <c:pt idx="3150">
                  <c:v>44547</c:v>
                </c:pt>
                <c:pt idx="3151">
                  <c:v>44550</c:v>
                </c:pt>
                <c:pt idx="3152">
                  <c:v>44551</c:v>
                </c:pt>
                <c:pt idx="3153">
                  <c:v>44552</c:v>
                </c:pt>
                <c:pt idx="3154">
                  <c:v>44553</c:v>
                </c:pt>
                <c:pt idx="3155">
                  <c:v>44554</c:v>
                </c:pt>
                <c:pt idx="3156">
                  <c:v>44557</c:v>
                </c:pt>
                <c:pt idx="3157">
                  <c:v>44558</c:v>
                </c:pt>
                <c:pt idx="3158">
                  <c:v>44559</c:v>
                </c:pt>
                <c:pt idx="3159">
                  <c:v>44560</c:v>
                </c:pt>
                <c:pt idx="3160">
                  <c:v>44561</c:v>
                </c:pt>
                <c:pt idx="3161">
                  <c:v>44565</c:v>
                </c:pt>
                <c:pt idx="3162">
                  <c:v>44566</c:v>
                </c:pt>
                <c:pt idx="3163">
                  <c:v>44567</c:v>
                </c:pt>
                <c:pt idx="3164">
                  <c:v>44568</c:v>
                </c:pt>
                <c:pt idx="3165">
                  <c:v>44571</c:v>
                </c:pt>
                <c:pt idx="3166">
                  <c:v>44572</c:v>
                </c:pt>
                <c:pt idx="3167">
                  <c:v>44573</c:v>
                </c:pt>
                <c:pt idx="3168">
                  <c:v>44574</c:v>
                </c:pt>
                <c:pt idx="3169">
                  <c:v>44575</c:v>
                </c:pt>
                <c:pt idx="3170">
                  <c:v>44578</c:v>
                </c:pt>
                <c:pt idx="3171">
                  <c:v>44579</c:v>
                </c:pt>
                <c:pt idx="3172">
                  <c:v>44580</c:v>
                </c:pt>
                <c:pt idx="3173">
                  <c:v>44581</c:v>
                </c:pt>
                <c:pt idx="3174">
                  <c:v>44582</c:v>
                </c:pt>
                <c:pt idx="3175">
                  <c:v>44585</c:v>
                </c:pt>
                <c:pt idx="3176">
                  <c:v>44586</c:v>
                </c:pt>
                <c:pt idx="3177">
                  <c:v>44587</c:v>
                </c:pt>
                <c:pt idx="3178">
                  <c:v>44588</c:v>
                </c:pt>
                <c:pt idx="3179">
                  <c:v>44589</c:v>
                </c:pt>
                <c:pt idx="3180">
                  <c:v>44599</c:v>
                </c:pt>
                <c:pt idx="3181">
                  <c:v>44600</c:v>
                </c:pt>
                <c:pt idx="3182">
                  <c:v>44601</c:v>
                </c:pt>
                <c:pt idx="3183">
                  <c:v>44602</c:v>
                </c:pt>
                <c:pt idx="3184">
                  <c:v>44603</c:v>
                </c:pt>
                <c:pt idx="3185">
                  <c:v>44606</c:v>
                </c:pt>
                <c:pt idx="3186">
                  <c:v>44607</c:v>
                </c:pt>
                <c:pt idx="3187">
                  <c:v>44608</c:v>
                </c:pt>
                <c:pt idx="3188">
                  <c:v>44609</c:v>
                </c:pt>
                <c:pt idx="3189">
                  <c:v>44610</c:v>
                </c:pt>
                <c:pt idx="3190">
                  <c:v>44613</c:v>
                </c:pt>
                <c:pt idx="3191">
                  <c:v>44614</c:v>
                </c:pt>
                <c:pt idx="3192">
                  <c:v>44615</c:v>
                </c:pt>
                <c:pt idx="3193">
                  <c:v>44616</c:v>
                </c:pt>
                <c:pt idx="3194">
                  <c:v>44617</c:v>
                </c:pt>
                <c:pt idx="3195">
                  <c:v>44620</c:v>
                </c:pt>
                <c:pt idx="3196">
                  <c:v>44621</c:v>
                </c:pt>
                <c:pt idx="3197">
                  <c:v>44622</c:v>
                </c:pt>
                <c:pt idx="3198">
                  <c:v>44623</c:v>
                </c:pt>
                <c:pt idx="3199">
                  <c:v>44624</c:v>
                </c:pt>
                <c:pt idx="3200">
                  <c:v>44627</c:v>
                </c:pt>
                <c:pt idx="3201">
                  <c:v>44628</c:v>
                </c:pt>
                <c:pt idx="3202">
                  <c:v>44629</c:v>
                </c:pt>
                <c:pt idx="3203">
                  <c:v>44630</c:v>
                </c:pt>
                <c:pt idx="3204">
                  <c:v>44631</c:v>
                </c:pt>
                <c:pt idx="3205">
                  <c:v>44634</c:v>
                </c:pt>
                <c:pt idx="3206">
                  <c:v>44635</c:v>
                </c:pt>
                <c:pt idx="3207">
                  <c:v>44636</c:v>
                </c:pt>
                <c:pt idx="3208">
                  <c:v>44637</c:v>
                </c:pt>
                <c:pt idx="3209">
                  <c:v>44638</c:v>
                </c:pt>
                <c:pt idx="3210">
                  <c:v>44641</c:v>
                </c:pt>
                <c:pt idx="3211">
                  <c:v>44642</c:v>
                </c:pt>
                <c:pt idx="3212">
                  <c:v>44643</c:v>
                </c:pt>
                <c:pt idx="3213">
                  <c:v>44644</c:v>
                </c:pt>
                <c:pt idx="3214">
                  <c:v>44645</c:v>
                </c:pt>
                <c:pt idx="3215">
                  <c:v>44648</c:v>
                </c:pt>
                <c:pt idx="3216">
                  <c:v>44649</c:v>
                </c:pt>
                <c:pt idx="3217">
                  <c:v>44650</c:v>
                </c:pt>
                <c:pt idx="3218">
                  <c:v>44651</c:v>
                </c:pt>
                <c:pt idx="3219">
                  <c:v>44652</c:v>
                </c:pt>
                <c:pt idx="3220">
                  <c:v>44657</c:v>
                </c:pt>
                <c:pt idx="3221">
                  <c:v>44658</c:v>
                </c:pt>
                <c:pt idx="3222">
                  <c:v>44659</c:v>
                </c:pt>
              </c:numCache>
            </c:numRef>
          </c:cat>
          <c:val>
            <c:numRef>
              <c:f>beta_benchmark!$E$2:$E$3224</c:f>
              <c:numCache>
                <c:formatCode>General</c:formatCode>
                <c:ptCount val="3223"/>
                <c:pt idx="0">
                  <c:v>1000000</c:v>
                </c:pt>
                <c:pt idx="1">
                  <c:v>1031779.751</c:v>
                </c:pt>
                <c:pt idx="2">
                  <c:v>1025608.616</c:v>
                </c:pt>
                <c:pt idx="3">
                  <c:v>1002671.326</c:v>
                </c:pt>
                <c:pt idx="4">
                  <c:v>1018805.498</c:v>
                </c:pt>
                <c:pt idx="5">
                  <c:v>1020037.6</c:v>
                </c:pt>
                <c:pt idx="6">
                  <c:v>996404.59699999995</c:v>
                </c:pt>
                <c:pt idx="7">
                  <c:v>1038386.37</c:v>
                </c:pt>
                <c:pt idx="8">
                  <c:v>1038189.871</c:v>
                </c:pt>
                <c:pt idx="9">
                  <c:v>1056958.193</c:v>
                </c:pt>
                <c:pt idx="10">
                  <c:v>1068780.0060000001</c:v>
                </c:pt>
                <c:pt idx="11">
                  <c:v>1075535.327</c:v>
                </c:pt>
                <c:pt idx="12">
                  <c:v>1073687.173</c:v>
                </c:pt>
                <c:pt idx="13">
                  <c:v>1085817.0120000001</c:v>
                </c:pt>
                <c:pt idx="14">
                  <c:v>1079513.1070000001</c:v>
                </c:pt>
                <c:pt idx="15">
                  <c:v>1092460.8060000001</c:v>
                </c:pt>
                <c:pt idx="16">
                  <c:v>1119997.2379999999</c:v>
                </c:pt>
                <c:pt idx="17">
                  <c:v>1150534.2649999999</c:v>
                </c:pt>
                <c:pt idx="18">
                  <c:v>1142334.4099999999</c:v>
                </c:pt>
                <c:pt idx="19">
                  <c:v>1188171.8149999999</c:v>
                </c:pt>
                <c:pt idx="20">
                  <c:v>1219712.58</c:v>
                </c:pt>
                <c:pt idx="21">
                  <c:v>1235692.7390000001</c:v>
                </c:pt>
                <c:pt idx="22">
                  <c:v>1238018.8640000001</c:v>
                </c:pt>
                <c:pt idx="23">
                  <c:v>1231221.0560000001</c:v>
                </c:pt>
                <c:pt idx="24">
                  <c:v>1274095.0419999999</c:v>
                </c:pt>
                <c:pt idx="25">
                  <c:v>1307648.5959999999</c:v>
                </c:pt>
                <c:pt idx="26">
                  <c:v>1266776.777</c:v>
                </c:pt>
                <c:pt idx="27">
                  <c:v>1208650.21</c:v>
                </c:pt>
                <c:pt idx="28">
                  <c:v>1220636.6569999999</c:v>
                </c:pt>
                <c:pt idx="29">
                  <c:v>1245018.4820000001</c:v>
                </c:pt>
                <c:pt idx="30">
                  <c:v>1280154.6499999999</c:v>
                </c:pt>
                <c:pt idx="31">
                  <c:v>1222463.568</c:v>
                </c:pt>
                <c:pt idx="32">
                  <c:v>1223738.1569999999</c:v>
                </c:pt>
                <c:pt idx="33">
                  <c:v>1163163.317</c:v>
                </c:pt>
                <c:pt idx="34">
                  <c:v>1136768.7050000001</c:v>
                </c:pt>
                <c:pt idx="35">
                  <c:v>1149610.1880000001</c:v>
                </c:pt>
                <c:pt idx="36">
                  <c:v>1137650.2949999999</c:v>
                </c:pt>
                <c:pt idx="37">
                  <c:v>1213594.5530000001</c:v>
                </c:pt>
                <c:pt idx="38">
                  <c:v>1224093.98</c:v>
                </c:pt>
                <c:pt idx="39">
                  <c:v>1214353.996</c:v>
                </c:pt>
                <c:pt idx="40">
                  <c:v>1169716.8289999999</c:v>
                </c:pt>
                <c:pt idx="41">
                  <c:v>1190030.5900000001</c:v>
                </c:pt>
                <c:pt idx="42">
                  <c:v>1179196.584</c:v>
                </c:pt>
                <c:pt idx="43">
                  <c:v>1176711.1359999999</c:v>
                </c:pt>
                <c:pt idx="44">
                  <c:v>1171251.6459999999</c:v>
                </c:pt>
                <c:pt idx="45">
                  <c:v>1190471.385</c:v>
                </c:pt>
                <c:pt idx="46">
                  <c:v>1233377.236</c:v>
                </c:pt>
                <c:pt idx="47">
                  <c:v>1238820.7930000001</c:v>
                </c:pt>
                <c:pt idx="48">
                  <c:v>1265326.932</c:v>
                </c:pt>
                <c:pt idx="49">
                  <c:v>1263882.398</c:v>
                </c:pt>
                <c:pt idx="50">
                  <c:v>1295513.4469999999</c:v>
                </c:pt>
                <c:pt idx="51">
                  <c:v>1302088.202</c:v>
                </c:pt>
                <c:pt idx="52">
                  <c:v>1275295.28</c:v>
                </c:pt>
                <c:pt idx="53">
                  <c:v>1316963.7169999999</c:v>
                </c:pt>
                <c:pt idx="54">
                  <c:v>1327128.564</c:v>
                </c:pt>
                <c:pt idx="55">
                  <c:v>1319459.787</c:v>
                </c:pt>
                <c:pt idx="56">
                  <c:v>1331833.9210000001</c:v>
                </c:pt>
                <c:pt idx="57">
                  <c:v>1353305.4339999999</c:v>
                </c:pt>
                <c:pt idx="58">
                  <c:v>1368271.233</c:v>
                </c:pt>
                <c:pt idx="59">
                  <c:v>1365137.868</c:v>
                </c:pt>
                <c:pt idx="60">
                  <c:v>1368563.3259999999</c:v>
                </c:pt>
                <c:pt idx="61">
                  <c:v>1316730.0419999999</c:v>
                </c:pt>
                <c:pt idx="62">
                  <c:v>1337080.9790000001</c:v>
                </c:pt>
                <c:pt idx="63">
                  <c:v>1378430.7690000001</c:v>
                </c:pt>
                <c:pt idx="64">
                  <c:v>1410821.26</c:v>
                </c:pt>
                <c:pt idx="65">
                  <c:v>1421628.7120000001</c:v>
                </c:pt>
                <c:pt idx="66">
                  <c:v>1427003.2290000001</c:v>
                </c:pt>
                <c:pt idx="67">
                  <c:v>1427066.9580000001</c:v>
                </c:pt>
                <c:pt idx="68">
                  <c:v>1407725.071</c:v>
                </c:pt>
                <c:pt idx="69">
                  <c:v>1437985.9369999999</c:v>
                </c:pt>
                <c:pt idx="70">
                  <c:v>1420869.27</c:v>
                </c:pt>
                <c:pt idx="71">
                  <c:v>1368207.503</c:v>
                </c:pt>
                <c:pt idx="72">
                  <c:v>1377384.5430000001</c:v>
                </c:pt>
                <c:pt idx="73">
                  <c:v>1366407.1459999999</c:v>
                </c:pt>
                <c:pt idx="74">
                  <c:v>1334754.8540000001</c:v>
                </c:pt>
                <c:pt idx="75">
                  <c:v>1337537.7069999999</c:v>
                </c:pt>
                <c:pt idx="76">
                  <c:v>1383656.5830000001</c:v>
                </c:pt>
                <c:pt idx="77">
                  <c:v>1392982.3259999999</c:v>
                </c:pt>
                <c:pt idx="78">
                  <c:v>1441506.9890000001</c:v>
                </c:pt>
                <c:pt idx="79">
                  <c:v>1448257</c:v>
                </c:pt>
                <c:pt idx="80">
                  <c:v>1468422.0589999999</c:v>
                </c:pt>
                <c:pt idx="81">
                  <c:v>1469537.324</c:v>
                </c:pt>
                <c:pt idx="82">
                  <c:v>1481295.4069999999</c:v>
                </c:pt>
                <c:pt idx="83">
                  <c:v>1447359.477</c:v>
                </c:pt>
                <c:pt idx="84">
                  <c:v>1480944.895</c:v>
                </c:pt>
                <c:pt idx="85">
                  <c:v>1494460.8489999999</c:v>
                </c:pt>
                <c:pt idx="86">
                  <c:v>1483090.453</c:v>
                </c:pt>
                <c:pt idx="87">
                  <c:v>1484959.85</c:v>
                </c:pt>
                <c:pt idx="88">
                  <c:v>1492633.9380000001</c:v>
                </c:pt>
                <c:pt idx="89">
                  <c:v>1508306.071</c:v>
                </c:pt>
                <c:pt idx="90">
                  <c:v>1493855.419</c:v>
                </c:pt>
                <c:pt idx="91">
                  <c:v>1460471.81</c:v>
                </c:pt>
                <c:pt idx="92">
                  <c:v>1455516.8459999999</c:v>
                </c:pt>
                <c:pt idx="93">
                  <c:v>1461911.034</c:v>
                </c:pt>
                <c:pt idx="94">
                  <c:v>1444406.679</c:v>
                </c:pt>
                <c:pt idx="95">
                  <c:v>1465623.274</c:v>
                </c:pt>
                <c:pt idx="96">
                  <c:v>1518003.5689999999</c:v>
                </c:pt>
                <c:pt idx="97">
                  <c:v>1521593.6610000001</c:v>
                </c:pt>
                <c:pt idx="98">
                  <c:v>1561047.5</c:v>
                </c:pt>
                <c:pt idx="99">
                  <c:v>1568673.79</c:v>
                </c:pt>
                <c:pt idx="100">
                  <c:v>1561005.013</c:v>
                </c:pt>
                <c:pt idx="101">
                  <c:v>1565875.0049999999</c:v>
                </c:pt>
                <c:pt idx="102">
                  <c:v>1572290.436</c:v>
                </c:pt>
                <c:pt idx="103">
                  <c:v>1587712.963</c:v>
                </c:pt>
                <c:pt idx="104">
                  <c:v>1572858.6910000001</c:v>
                </c:pt>
                <c:pt idx="105">
                  <c:v>1543468.794</c:v>
                </c:pt>
                <c:pt idx="106">
                  <c:v>1575280.41</c:v>
                </c:pt>
                <c:pt idx="107">
                  <c:v>1572640.9480000001</c:v>
                </c:pt>
                <c:pt idx="108">
                  <c:v>1598860.3049999999</c:v>
                </c:pt>
                <c:pt idx="109">
                  <c:v>1623736.0330000001</c:v>
                </c:pt>
                <c:pt idx="110">
                  <c:v>1635722.48</c:v>
                </c:pt>
                <c:pt idx="111">
                  <c:v>1637082.041</c:v>
                </c:pt>
                <c:pt idx="112">
                  <c:v>1637793.6869999999</c:v>
                </c:pt>
                <c:pt idx="113">
                  <c:v>1657353.3160000001</c:v>
                </c:pt>
                <c:pt idx="114">
                  <c:v>1655860.9850000001</c:v>
                </c:pt>
                <c:pt idx="115">
                  <c:v>1661437.311</c:v>
                </c:pt>
                <c:pt idx="116">
                  <c:v>1688814.42</c:v>
                </c:pt>
                <c:pt idx="117">
                  <c:v>1681644.8570000001</c:v>
                </c:pt>
                <c:pt idx="118">
                  <c:v>1719579.811</c:v>
                </c:pt>
                <c:pt idx="119">
                  <c:v>1743191.571</c:v>
                </c:pt>
                <c:pt idx="120">
                  <c:v>1766973.2760000001</c:v>
                </c:pt>
                <c:pt idx="121">
                  <c:v>1792257.9339999999</c:v>
                </c:pt>
                <c:pt idx="122">
                  <c:v>1774063.1769999999</c:v>
                </c:pt>
                <c:pt idx="123">
                  <c:v>1780319.2849999999</c:v>
                </c:pt>
                <c:pt idx="124">
                  <c:v>1803702.6810000001</c:v>
                </c:pt>
                <c:pt idx="125">
                  <c:v>1804770.149</c:v>
                </c:pt>
                <c:pt idx="126">
                  <c:v>1784960.9129999999</c:v>
                </c:pt>
                <c:pt idx="127">
                  <c:v>1834744.2320000001</c:v>
                </c:pt>
                <c:pt idx="128">
                  <c:v>1855222.628</c:v>
                </c:pt>
                <c:pt idx="129">
                  <c:v>1859434.0830000001</c:v>
                </c:pt>
                <c:pt idx="130">
                  <c:v>1869296.2139999999</c:v>
                </c:pt>
                <c:pt idx="131">
                  <c:v>1907167.439</c:v>
                </c:pt>
                <c:pt idx="132">
                  <c:v>1879928.4110000001</c:v>
                </c:pt>
                <c:pt idx="133">
                  <c:v>1915558.4820000001</c:v>
                </c:pt>
                <c:pt idx="134">
                  <c:v>1939483.5789999999</c:v>
                </c:pt>
                <c:pt idx="135">
                  <c:v>1947763.0959999999</c:v>
                </c:pt>
                <c:pt idx="136">
                  <c:v>1988162.2549999999</c:v>
                </c:pt>
                <c:pt idx="137">
                  <c:v>1994636.105</c:v>
                </c:pt>
                <c:pt idx="138">
                  <c:v>1889848.9609999999</c:v>
                </c:pt>
                <c:pt idx="139">
                  <c:v>1930375.5789999999</c:v>
                </c:pt>
                <c:pt idx="140">
                  <c:v>1983377.236</c:v>
                </c:pt>
                <c:pt idx="141">
                  <c:v>2011211.0719999999</c:v>
                </c:pt>
                <c:pt idx="142">
                  <c:v>2010993.33</c:v>
                </c:pt>
                <c:pt idx="143">
                  <c:v>1986733.6529999999</c:v>
                </c:pt>
                <c:pt idx="144">
                  <c:v>1945405.1070000001</c:v>
                </c:pt>
                <c:pt idx="145">
                  <c:v>1888037.983</c:v>
                </c:pt>
                <c:pt idx="146">
                  <c:v>1882429.791</c:v>
                </c:pt>
                <c:pt idx="147">
                  <c:v>1888717.764</c:v>
                </c:pt>
                <c:pt idx="148">
                  <c:v>1804286.8670000001</c:v>
                </c:pt>
                <c:pt idx="149">
                  <c:v>1827346.3060000001</c:v>
                </c:pt>
                <c:pt idx="150">
                  <c:v>1776171.56</c:v>
                </c:pt>
                <c:pt idx="151">
                  <c:v>1667730.594</c:v>
                </c:pt>
                <c:pt idx="152">
                  <c:v>1684576.412</c:v>
                </c:pt>
                <c:pt idx="153">
                  <c:v>1600973.9979999999</c:v>
                </c:pt>
                <c:pt idx="154">
                  <c:v>1669918.639</c:v>
                </c:pt>
                <c:pt idx="155">
                  <c:v>1701374.432</c:v>
                </c:pt>
                <c:pt idx="156">
                  <c:v>1715171.8570000001</c:v>
                </c:pt>
                <c:pt idx="157">
                  <c:v>1651564.558</c:v>
                </c:pt>
                <c:pt idx="158">
                  <c:v>1684788.8430000001</c:v>
                </c:pt>
                <c:pt idx="159">
                  <c:v>1676243.7860000001</c:v>
                </c:pt>
                <c:pt idx="160">
                  <c:v>1618080.044</c:v>
                </c:pt>
                <c:pt idx="161">
                  <c:v>1503096.189</c:v>
                </c:pt>
                <c:pt idx="162">
                  <c:v>1510228.5759999999</c:v>
                </c:pt>
                <c:pt idx="163">
                  <c:v>1535311.425</c:v>
                </c:pt>
                <c:pt idx="164">
                  <c:v>1620831.0319999999</c:v>
                </c:pt>
                <c:pt idx="165">
                  <c:v>1634203.594</c:v>
                </c:pt>
                <c:pt idx="166">
                  <c:v>1648579.895</c:v>
                </c:pt>
                <c:pt idx="167">
                  <c:v>1684034.7109999999</c:v>
                </c:pt>
                <c:pt idx="168">
                  <c:v>1696748.736</c:v>
                </c:pt>
                <c:pt idx="169">
                  <c:v>1679754.2169999999</c:v>
                </c:pt>
                <c:pt idx="170">
                  <c:v>1719701.959</c:v>
                </c:pt>
                <c:pt idx="171">
                  <c:v>1749049.3689999999</c:v>
                </c:pt>
                <c:pt idx="172">
                  <c:v>1753961.8470000001</c:v>
                </c:pt>
                <c:pt idx="173">
                  <c:v>1730381.952</c:v>
                </c:pt>
                <c:pt idx="174">
                  <c:v>1763234.4820000001</c:v>
                </c:pt>
                <c:pt idx="175">
                  <c:v>1699287.2919999999</c:v>
                </c:pt>
                <c:pt idx="176">
                  <c:v>1704019.2039999999</c:v>
                </c:pt>
                <c:pt idx="177">
                  <c:v>1662823.4269999999</c:v>
                </c:pt>
                <c:pt idx="178">
                  <c:v>1625138.08</c:v>
                </c:pt>
                <c:pt idx="179">
                  <c:v>1636216.3829999999</c:v>
                </c:pt>
                <c:pt idx="180">
                  <c:v>1624320.219</c:v>
                </c:pt>
                <c:pt idx="181">
                  <c:v>1578705.8670000001</c:v>
                </c:pt>
                <c:pt idx="182">
                  <c:v>1578519.99</c:v>
                </c:pt>
                <c:pt idx="183">
                  <c:v>1595790.67</c:v>
                </c:pt>
                <c:pt idx="184">
                  <c:v>1680179.08</c:v>
                </c:pt>
                <c:pt idx="185">
                  <c:v>1673763.649</c:v>
                </c:pt>
                <c:pt idx="186">
                  <c:v>1698665.93</c:v>
                </c:pt>
                <c:pt idx="187">
                  <c:v>1714003.4839999999</c:v>
                </c:pt>
                <c:pt idx="188">
                  <c:v>1720503.8870000001</c:v>
                </c:pt>
                <c:pt idx="189">
                  <c:v>1721603.22</c:v>
                </c:pt>
                <c:pt idx="190">
                  <c:v>1768046.0549999999</c:v>
                </c:pt>
                <c:pt idx="191">
                  <c:v>1793755.5759999999</c:v>
                </c:pt>
                <c:pt idx="192">
                  <c:v>1789358.2439999999</c:v>
                </c:pt>
                <c:pt idx="193">
                  <c:v>1777690.4450000001</c:v>
                </c:pt>
                <c:pt idx="194">
                  <c:v>1812704.4650000001</c:v>
                </c:pt>
                <c:pt idx="195">
                  <c:v>1813230.233</c:v>
                </c:pt>
                <c:pt idx="196">
                  <c:v>1760377.2779999999</c:v>
                </c:pt>
                <c:pt idx="197">
                  <c:v>1768136.3389999999</c:v>
                </c:pt>
                <c:pt idx="198">
                  <c:v>1724439.1810000001</c:v>
                </c:pt>
                <c:pt idx="199">
                  <c:v>1742134.7239999999</c:v>
                </c:pt>
                <c:pt idx="200">
                  <c:v>1801843.905</c:v>
                </c:pt>
                <c:pt idx="201">
                  <c:v>1824483.791</c:v>
                </c:pt>
                <c:pt idx="202">
                  <c:v>1834287.5049999999</c:v>
                </c:pt>
                <c:pt idx="203">
                  <c:v>1839826.656</c:v>
                </c:pt>
                <c:pt idx="204">
                  <c:v>1849757.828</c:v>
                </c:pt>
                <c:pt idx="205">
                  <c:v>1856539.703</c:v>
                </c:pt>
                <c:pt idx="206">
                  <c:v>1860783.0220000001</c:v>
                </c:pt>
                <c:pt idx="207">
                  <c:v>1856475.9739999999</c:v>
                </c:pt>
                <c:pt idx="208">
                  <c:v>1858770.2339999999</c:v>
                </c:pt>
                <c:pt idx="209">
                  <c:v>1868717.3389999999</c:v>
                </c:pt>
                <c:pt idx="210">
                  <c:v>1925585.2490000001</c:v>
                </c:pt>
                <c:pt idx="211">
                  <c:v>1926939.5</c:v>
                </c:pt>
                <c:pt idx="212">
                  <c:v>1927937.9280000001</c:v>
                </c:pt>
                <c:pt idx="213">
                  <c:v>1934422.399</c:v>
                </c:pt>
                <c:pt idx="214">
                  <c:v>1928352.169</c:v>
                </c:pt>
                <c:pt idx="215">
                  <c:v>1946674.385</c:v>
                </c:pt>
                <c:pt idx="216">
                  <c:v>1884309.81</c:v>
                </c:pt>
                <c:pt idx="217">
                  <c:v>1927619.28</c:v>
                </c:pt>
                <c:pt idx="218">
                  <c:v>1851218.2949999999</c:v>
                </c:pt>
                <c:pt idx="219">
                  <c:v>1796379.105</c:v>
                </c:pt>
                <c:pt idx="220">
                  <c:v>1864973.2339999999</c:v>
                </c:pt>
                <c:pt idx="221">
                  <c:v>1891081.064</c:v>
                </c:pt>
                <c:pt idx="222">
                  <c:v>1910465.4369999999</c:v>
                </c:pt>
                <c:pt idx="223">
                  <c:v>1907039.98</c:v>
                </c:pt>
                <c:pt idx="224">
                  <c:v>1934980.031</c:v>
                </c:pt>
                <c:pt idx="225">
                  <c:v>1948437.5660000001</c:v>
                </c:pt>
                <c:pt idx="226">
                  <c:v>1924639.929</c:v>
                </c:pt>
                <c:pt idx="227">
                  <c:v>1887708.7139999999</c:v>
                </c:pt>
                <c:pt idx="228">
                  <c:v>1899796.0660000001</c:v>
                </c:pt>
                <c:pt idx="229">
                  <c:v>1898617.071</c:v>
                </c:pt>
                <c:pt idx="230">
                  <c:v>1918654.6710000001</c:v>
                </c:pt>
                <c:pt idx="231">
                  <c:v>1903035.6459999999</c:v>
                </c:pt>
                <c:pt idx="232">
                  <c:v>1891022.645</c:v>
                </c:pt>
                <c:pt idx="233">
                  <c:v>1848233.632</c:v>
                </c:pt>
                <c:pt idx="234">
                  <c:v>1801280.9620000001</c:v>
                </c:pt>
                <c:pt idx="235">
                  <c:v>1803872.6259999999</c:v>
                </c:pt>
                <c:pt idx="236">
                  <c:v>1755501.976</c:v>
                </c:pt>
                <c:pt idx="237">
                  <c:v>1771933.551</c:v>
                </c:pt>
                <c:pt idx="238">
                  <c:v>1826284.148</c:v>
                </c:pt>
                <c:pt idx="239">
                  <c:v>1818827.8030000001</c:v>
                </c:pt>
                <c:pt idx="240">
                  <c:v>1847320.1769999999</c:v>
                </c:pt>
                <c:pt idx="241">
                  <c:v>1859168.5430000001</c:v>
                </c:pt>
                <c:pt idx="242">
                  <c:v>1890034.8389999999</c:v>
                </c:pt>
                <c:pt idx="243">
                  <c:v>1898967.5830000001</c:v>
                </c:pt>
                <c:pt idx="244">
                  <c:v>1877485.4480000001</c:v>
                </c:pt>
                <c:pt idx="245">
                  <c:v>1892785.827</c:v>
                </c:pt>
                <c:pt idx="246">
                  <c:v>1880937.46</c:v>
                </c:pt>
                <c:pt idx="247">
                  <c:v>1843618.558</c:v>
                </c:pt>
                <c:pt idx="248">
                  <c:v>1848223.0109999999</c:v>
                </c:pt>
                <c:pt idx="249">
                  <c:v>1849242.682</c:v>
                </c:pt>
                <c:pt idx="250">
                  <c:v>1877320.814</c:v>
                </c:pt>
                <c:pt idx="251">
                  <c:v>1816894.676</c:v>
                </c:pt>
                <c:pt idx="252">
                  <c:v>1842338.6580000001</c:v>
                </c:pt>
                <c:pt idx="253">
                  <c:v>1849609.1259999999</c:v>
                </c:pt>
                <c:pt idx="254">
                  <c:v>1859136.6780000001</c:v>
                </c:pt>
                <c:pt idx="255">
                  <c:v>1862748.014</c:v>
                </c:pt>
                <c:pt idx="256">
                  <c:v>1802709.564</c:v>
                </c:pt>
                <c:pt idx="257">
                  <c:v>1810219.017</c:v>
                </c:pt>
                <c:pt idx="258">
                  <c:v>1787717.2109999999</c:v>
                </c:pt>
                <c:pt idx="259">
                  <c:v>1767435.3149999999</c:v>
                </c:pt>
                <c:pt idx="260">
                  <c:v>1722182.0959999999</c:v>
                </c:pt>
                <c:pt idx="261">
                  <c:v>1698692.4839999999</c:v>
                </c:pt>
                <c:pt idx="262">
                  <c:v>1702941.1140000001</c:v>
                </c:pt>
                <c:pt idx="263">
                  <c:v>1701661.2139999999</c:v>
                </c:pt>
                <c:pt idx="264">
                  <c:v>1674337.2139999999</c:v>
                </c:pt>
                <c:pt idx="265">
                  <c:v>1670874.58</c:v>
                </c:pt>
                <c:pt idx="266">
                  <c:v>1715766.665</c:v>
                </c:pt>
                <c:pt idx="267">
                  <c:v>1709436.2069999999</c:v>
                </c:pt>
                <c:pt idx="268">
                  <c:v>1674539.024</c:v>
                </c:pt>
                <c:pt idx="269">
                  <c:v>1673423.7579999999</c:v>
                </c:pt>
                <c:pt idx="270">
                  <c:v>1683089.3910000001</c:v>
                </c:pt>
                <c:pt idx="271">
                  <c:v>1706956.0689999999</c:v>
                </c:pt>
                <c:pt idx="272">
                  <c:v>1710285.933</c:v>
                </c:pt>
                <c:pt idx="273">
                  <c:v>1726685.6440000001</c:v>
                </c:pt>
                <c:pt idx="274">
                  <c:v>1717163.402</c:v>
                </c:pt>
                <c:pt idx="275">
                  <c:v>1698724.3489999999</c:v>
                </c:pt>
                <c:pt idx="276">
                  <c:v>1723074.3089999999</c:v>
                </c:pt>
                <c:pt idx="277">
                  <c:v>1748380.21</c:v>
                </c:pt>
                <c:pt idx="278">
                  <c:v>1742825.1259999999</c:v>
                </c:pt>
                <c:pt idx="279">
                  <c:v>1765528.7420000001</c:v>
                </c:pt>
                <c:pt idx="280">
                  <c:v>1758529.1240000001</c:v>
                </c:pt>
                <c:pt idx="281">
                  <c:v>1771190.041</c:v>
                </c:pt>
                <c:pt idx="282">
                  <c:v>1726308.578</c:v>
                </c:pt>
                <c:pt idx="283">
                  <c:v>1731189.1910000001</c:v>
                </c:pt>
                <c:pt idx="284">
                  <c:v>1745220.291</c:v>
                </c:pt>
                <c:pt idx="285">
                  <c:v>1755671.9210000001</c:v>
                </c:pt>
                <c:pt idx="286">
                  <c:v>1741773.591</c:v>
                </c:pt>
                <c:pt idx="287">
                  <c:v>1740190.976</c:v>
                </c:pt>
                <c:pt idx="288">
                  <c:v>1717046.5649999999</c:v>
                </c:pt>
                <c:pt idx="289">
                  <c:v>1690519.183</c:v>
                </c:pt>
                <c:pt idx="290">
                  <c:v>1701560.3089999999</c:v>
                </c:pt>
                <c:pt idx="291">
                  <c:v>1738709.2660000001</c:v>
                </c:pt>
                <c:pt idx="292">
                  <c:v>1735331.6059999999</c:v>
                </c:pt>
                <c:pt idx="293">
                  <c:v>1749304.287</c:v>
                </c:pt>
                <c:pt idx="294">
                  <c:v>1753956.537</c:v>
                </c:pt>
                <c:pt idx="295">
                  <c:v>1739585.5460000001</c:v>
                </c:pt>
                <c:pt idx="296">
                  <c:v>1740169.733</c:v>
                </c:pt>
                <c:pt idx="297">
                  <c:v>1714922.25</c:v>
                </c:pt>
                <c:pt idx="298">
                  <c:v>1739282.831</c:v>
                </c:pt>
                <c:pt idx="299">
                  <c:v>1783649.148</c:v>
                </c:pt>
                <c:pt idx="300">
                  <c:v>1787988.061</c:v>
                </c:pt>
                <c:pt idx="301">
                  <c:v>1776782.3</c:v>
                </c:pt>
                <c:pt idx="302">
                  <c:v>1801387.1780000001</c:v>
                </c:pt>
                <c:pt idx="303">
                  <c:v>1809571.101</c:v>
                </c:pt>
                <c:pt idx="304">
                  <c:v>1808402.7279999999</c:v>
                </c:pt>
                <c:pt idx="305">
                  <c:v>1798737.095</c:v>
                </c:pt>
                <c:pt idx="306">
                  <c:v>1777382.419</c:v>
                </c:pt>
                <c:pt idx="307">
                  <c:v>1794605.3019999999</c:v>
                </c:pt>
                <c:pt idx="308">
                  <c:v>1779899.7320000001</c:v>
                </c:pt>
                <c:pt idx="309">
                  <c:v>1801270.34</c:v>
                </c:pt>
                <c:pt idx="310">
                  <c:v>1807637.9739999999</c:v>
                </c:pt>
                <c:pt idx="311">
                  <c:v>1802783.915</c:v>
                </c:pt>
                <c:pt idx="312">
                  <c:v>1782475.4639999999</c:v>
                </c:pt>
                <c:pt idx="313">
                  <c:v>1686929.09</c:v>
                </c:pt>
                <c:pt idx="314">
                  <c:v>1685309.3</c:v>
                </c:pt>
                <c:pt idx="315">
                  <c:v>1718931.8940000001</c:v>
                </c:pt>
                <c:pt idx="316">
                  <c:v>1700269.7879999999</c:v>
                </c:pt>
                <c:pt idx="317">
                  <c:v>1694141.139</c:v>
                </c:pt>
                <c:pt idx="318">
                  <c:v>1684581.7220000001</c:v>
                </c:pt>
                <c:pt idx="319">
                  <c:v>1650810.426</c:v>
                </c:pt>
                <c:pt idx="320">
                  <c:v>1644936.6950000001</c:v>
                </c:pt>
                <c:pt idx="321">
                  <c:v>1625132.77</c:v>
                </c:pt>
                <c:pt idx="322">
                  <c:v>1629014.9550000001</c:v>
                </c:pt>
                <c:pt idx="323">
                  <c:v>1603565.6629999999</c:v>
                </c:pt>
                <c:pt idx="324">
                  <c:v>1612562.1359999999</c:v>
                </c:pt>
                <c:pt idx="325">
                  <c:v>1538460.7209999999</c:v>
                </c:pt>
                <c:pt idx="326">
                  <c:v>1506558.8219999999</c:v>
                </c:pt>
                <c:pt idx="327">
                  <c:v>1517945.15</c:v>
                </c:pt>
                <c:pt idx="328">
                  <c:v>1487455.92</c:v>
                </c:pt>
                <c:pt idx="329">
                  <c:v>1496664.8259999999</c:v>
                </c:pt>
                <c:pt idx="330">
                  <c:v>1533176.4879999999</c:v>
                </c:pt>
                <c:pt idx="331">
                  <c:v>1523144.4110000001</c:v>
                </c:pt>
                <c:pt idx="332">
                  <c:v>1441730.0419999999</c:v>
                </c:pt>
                <c:pt idx="333">
                  <c:v>1471805.03</c:v>
                </c:pt>
                <c:pt idx="334">
                  <c:v>1466929.7279999999</c:v>
                </c:pt>
                <c:pt idx="335">
                  <c:v>1447731.2320000001</c:v>
                </c:pt>
                <c:pt idx="336">
                  <c:v>1470445.469</c:v>
                </c:pt>
                <c:pt idx="337">
                  <c:v>1526038.79</c:v>
                </c:pt>
                <c:pt idx="338">
                  <c:v>1494423.673</c:v>
                </c:pt>
                <c:pt idx="339">
                  <c:v>1494423.673</c:v>
                </c:pt>
                <c:pt idx="340">
                  <c:v>1518874.5379999999</c:v>
                </c:pt>
                <c:pt idx="341">
                  <c:v>1513733.696</c:v>
                </c:pt>
                <c:pt idx="342">
                  <c:v>1472819.3910000001</c:v>
                </c:pt>
                <c:pt idx="343">
                  <c:v>1457365</c:v>
                </c:pt>
                <c:pt idx="344">
                  <c:v>1464465.5220000001</c:v>
                </c:pt>
                <c:pt idx="345">
                  <c:v>1453073.8840000001</c:v>
                </c:pt>
                <c:pt idx="346">
                  <c:v>1457487.148</c:v>
                </c:pt>
                <c:pt idx="347">
                  <c:v>1431639.5460000001</c:v>
                </c:pt>
                <c:pt idx="348">
                  <c:v>1433562.051</c:v>
                </c:pt>
                <c:pt idx="349">
                  <c:v>1477530.0589999999</c:v>
                </c:pt>
                <c:pt idx="350">
                  <c:v>1460477.121</c:v>
                </c:pt>
                <c:pt idx="351">
                  <c:v>1465177.1680000001</c:v>
                </c:pt>
                <c:pt idx="352">
                  <c:v>1456605.557</c:v>
                </c:pt>
                <c:pt idx="353">
                  <c:v>1431878.5319999999</c:v>
                </c:pt>
                <c:pt idx="354">
                  <c:v>1476749.3729999999</c:v>
                </c:pt>
                <c:pt idx="355">
                  <c:v>1478374.4739999999</c:v>
                </c:pt>
                <c:pt idx="356">
                  <c:v>1464980.669</c:v>
                </c:pt>
                <c:pt idx="357">
                  <c:v>1464449.59</c:v>
                </c:pt>
                <c:pt idx="358">
                  <c:v>1453185.41</c:v>
                </c:pt>
                <c:pt idx="359">
                  <c:v>1442824.064</c:v>
                </c:pt>
                <c:pt idx="360">
                  <c:v>1376566.682</c:v>
                </c:pt>
                <c:pt idx="361">
                  <c:v>1361191.953</c:v>
                </c:pt>
                <c:pt idx="362">
                  <c:v>1341542.04</c:v>
                </c:pt>
                <c:pt idx="363">
                  <c:v>1345811.9129999999</c:v>
                </c:pt>
                <c:pt idx="364">
                  <c:v>1334414.9639999999</c:v>
                </c:pt>
                <c:pt idx="365">
                  <c:v>1361101.67</c:v>
                </c:pt>
                <c:pt idx="366">
                  <c:v>1370438.034</c:v>
                </c:pt>
                <c:pt idx="367">
                  <c:v>1368016.3149999999</c:v>
                </c:pt>
                <c:pt idx="368">
                  <c:v>1405818.4990000001</c:v>
                </c:pt>
                <c:pt idx="369">
                  <c:v>1421283.5109999999</c:v>
                </c:pt>
                <c:pt idx="370">
                  <c:v>1399174.7039999999</c:v>
                </c:pt>
                <c:pt idx="371">
                  <c:v>1409275.821</c:v>
                </c:pt>
                <c:pt idx="372">
                  <c:v>1385329.4809999999</c:v>
                </c:pt>
                <c:pt idx="373">
                  <c:v>1389370.99</c:v>
                </c:pt>
                <c:pt idx="374">
                  <c:v>1424602.753</c:v>
                </c:pt>
                <c:pt idx="375">
                  <c:v>1455952.33</c:v>
                </c:pt>
                <c:pt idx="376">
                  <c:v>1459053.83</c:v>
                </c:pt>
                <c:pt idx="377">
                  <c:v>1477083.953</c:v>
                </c:pt>
                <c:pt idx="378">
                  <c:v>1483345.371</c:v>
                </c:pt>
                <c:pt idx="379">
                  <c:v>1492894.1669999999</c:v>
                </c:pt>
                <c:pt idx="380">
                  <c:v>1484747.419</c:v>
                </c:pt>
                <c:pt idx="381">
                  <c:v>1520860.7720000001</c:v>
                </c:pt>
                <c:pt idx="382">
                  <c:v>1528433.9550000001</c:v>
                </c:pt>
                <c:pt idx="383">
                  <c:v>1523585.206</c:v>
                </c:pt>
                <c:pt idx="384">
                  <c:v>1549305.3489999999</c:v>
                </c:pt>
                <c:pt idx="385">
                  <c:v>1522055.7</c:v>
                </c:pt>
                <c:pt idx="386">
                  <c:v>1527610.7830000001</c:v>
                </c:pt>
                <c:pt idx="387">
                  <c:v>1514015.1680000001</c:v>
                </c:pt>
                <c:pt idx="388">
                  <c:v>1538885.584</c:v>
                </c:pt>
                <c:pt idx="389">
                  <c:v>1549815.1850000001</c:v>
                </c:pt>
                <c:pt idx="390">
                  <c:v>1504354.8459999999</c:v>
                </c:pt>
                <c:pt idx="391">
                  <c:v>1513685.899</c:v>
                </c:pt>
                <c:pt idx="392">
                  <c:v>1495724.8160000001</c:v>
                </c:pt>
                <c:pt idx="393">
                  <c:v>1516521.8589999999</c:v>
                </c:pt>
                <c:pt idx="394">
                  <c:v>1551854.527</c:v>
                </c:pt>
                <c:pt idx="395">
                  <c:v>1562587.628</c:v>
                </c:pt>
                <c:pt idx="396">
                  <c:v>1559969.41</c:v>
                </c:pt>
                <c:pt idx="397">
                  <c:v>1569550.07</c:v>
                </c:pt>
                <c:pt idx="398">
                  <c:v>1539241.4069999999</c:v>
                </c:pt>
                <c:pt idx="399">
                  <c:v>1538104.899</c:v>
                </c:pt>
                <c:pt idx="400">
                  <c:v>1546410.97</c:v>
                </c:pt>
                <c:pt idx="401">
                  <c:v>1509867.443</c:v>
                </c:pt>
                <c:pt idx="402">
                  <c:v>1513622.169</c:v>
                </c:pt>
                <c:pt idx="403">
                  <c:v>1518125.7169999999</c:v>
                </c:pt>
                <c:pt idx="404">
                  <c:v>1548099.8</c:v>
                </c:pt>
                <c:pt idx="405">
                  <c:v>1541822.45</c:v>
                </c:pt>
                <c:pt idx="406">
                  <c:v>1531652.2919999999</c:v>
                </c:pt>
                <c:pt idx="407">
                  <c:v>1551488.0830000001</c:v>
                </c:pt>
                <c:pt idx="408">
                  <c:v>1550861.41</c:v>
                </c:pt>
                <c:pt idx="409">
                  <c:v>1580007.01</c:v>
                </c:pt>
                <c:pt idx="410">
                  <c:v>1584266.2620000001</c:v>
                </c:pt>
                <c:pt idx="411">
                  <c:v>1583129.753</c:v>
                </c:pt>
                <c:pt idx="412">
                  <c:v>1554180.652</c:v>
                </c:pt>
                <c:pt idx="413">
                  <c:v>1557414.9210000001</c:v>
                </c:pt>
                <c:pt idx="414">
                  <c:v>1573225.135</c:v>
                </c:pt>
                <c:pt idx="415">
                  <c:v>1574653.737</c:v>
                </c:pt>
                <c:pt idx="416">
                  <c:v>1547133.237</c:v>
                </c:pt>
                <c:pt idx="417">
                  <c:v>1517711.476</c:v>
                </c:pt>
                <c:pt idx="418">
                  <c:v>1519612.737</c:v>
                </c:pt>
                <c:pt idx="419">
                  <c:v>1513484.0889999999</c:v>
                </c:pt>
                <c:pt idx="420">
                  <c:v>1517546.841</c:v>
                </c:pt>
                <c:pt idx="421">
                  <c:v>1542799.635</c:v>
                </c:pt>
                <c:pt idx="422">
                  <c:v>1529990.0160000001</c:v>
                </c:pt>
                <c:pt idx="423">
                  <c:v>1526750.4350000001</c:v>
                </c:pt>
                <c:pt idx="424">
                  <c:v>1559018.7790000001</c:v>
                </c:pt>
                <c:pt idx="425">
                  <c:v>1616725.7930000001</c:v>
                </c:pt>
                <c:pt idx="426">
                  <c:v>1663816.544</c:v>
                </c:pt>
                <c:pt idx="427">
                  <c:v>1684969.41</c:v>
                </c:pt>
                <c:pt idx="428">
                  <c:v>1708788.291</c:v>
                </c:pt>
                <c:pt idx="429">
                  <c:v>1712272.1669999999</c:v>
                </c:pt>
                <c:pt idx="430">
                  <c:v>1767260.0589999999</c:v>
                </c:pt>
                <c:pt idx="431">
                  <c:v>1755831.2439999999</c:v>
                </c:pt>
                <c:pt idx="432">
                  <c:v>1792746.527</c:v>
                </c:pt>
                <c:pt idx="433">
                  <c:v>1804010.7069999999</c:v>
                </c:pt>
                <c:pt idx="434">
                  <c:v>1792226.07</c:v>
                </c:pt>
                <c:pt idx="435">
                  <c:v>1794334.452</c:v>
                </c:pt>
                <c:pt idx="436">
                  <c:v>1848727.5349999999</c:v>
                </c:pt>
                <c:pt idx="437">
                  <c:v>1840761.3540000001</c:v>
                </c:pt>
                <c:pt idx="438">
                  <c:v>1807722.9469999999</c:v>
                </c:pt>
                <c:pt idx="439">
                  <c:v>1804440.88</c:v>
                </c:pt>
                <c:pt idx="440">
                  <c:v>1795035.476</c:v>
                </c:pt>
                <c:pt idx="441">
                  <c:v>1844436.419</c:v>
                </c:pt>
                <c:pt idx="442">
                  <c:v>1839194.672</c:v>
                </c:pt>
                <c:pt idx="443">
                  <c:v>1816469.8130000001</c:v>
                </c:pt>
                <c:pt idx="444">
                  <c:v>1848424.82</c:v>
                </c:pt>
                <c:pt idx="445">
                  <c:v>1869821.9820000001</c:v>
                </c:pt>
                <c:pt idx="446">
                  <c:v>1884570.0390000001</c:v>
                </c:pt>
                <c:pt idx="447">
                  <c:v>1871494.88</c:v>
                </c:pt>
                <c:pt idx="448">
                  <c:v>1858302.885</c:v>
                </c:pt>
                <c:pt idx="449">
                  <c:v>1864075.7109999999</c:v>
                </c:pt>
                <c:pt idx="450">
                  <c:v>1748220.8859999999</c:v>
                </c:pt>
                <c:pt idx="451">
                  <c:v>1760467.5619999999</c:v>
                </c:pt>
                <c:pt idx="452">
                  <c:v>1683275.2690000001</c:v>
                </c:pt>
                <c:pt idx="453">
                  <c:v>1648420.5719999999</c:v>
                </c:pt>
                <c:pt idx="454">
                  <c:v>1671814.59</c:v>
                </c:pt>
                <c:pt idx="455">
                  <c:v>1688219.612</c:v>
                </c:pt>
                <c:pt idx="456">
                  <c:v>1684549.858</c:v>
                </c:pt>
                <c:pt idx="457">
                  <c:v>1650157.199</c:v>
                </c:pt>
                <c:pt idx="458">
                  <c:v>1687258.3589999999</c:v>
                </c:pt>
                <c:pt idx="459">
                  <c:v>1711921.655</c:v>
                </c:pt>
                <c:pt idx="460">
                  <c:v>1696716.871</c:v>
                </c:pt>
                <c:pt idx="461">
                  <c:v>1694167.693</c:v>
                </c:pt>
                <c:pt idx="462">
                  <c:v>1665988.656</c:v>
                </c:pt>
                <c:pt idx="463">
                  <c:v>1665473.51</c:v>
                </c:pt>
                <c:pt idx="464">
                  <c:v>1675585.2490000001</c:v>
                </c:pt>
                <c:pt idx="465">
                  <c:v>1677231.5930000001</c:v>
                </c:pt>
                <c:pt idx="466">
                  <c:v>1681166.8859999999</c:v>
                </c:pt>
                <c:pt idx="467">
                  <c:v>1699632.4939999999</c:v>
                </c:pt>
                <c:pt idx="468">
                  <c:v>1684517.993</c:v>
                </c:pt>
                <c:pt idx="469">
                  <c:v>1658755.3640000001</c:v>
                </c:pt>
                <c:pt idx="470">
                  <c:v>1679260.314</c:v>
                </c:pt>
                <c:pt idx="471">
                  <c:v>1731879.594</c:v>
                </c:pt>
                <c:pt idx="472">
                  <c:v>1736345.966</c:v>
                </c:pt>
                <c:pt idx="473">
                  <c:v>1724752.517</c:v>
                </c:pt>
                <c:pt idx="474">
                  <c:v>1715740.111</c:v>
                </c:pt>
                <c:pt idx="475">
                  <c:v>1713079.4069999999</c:v>
                </c:pt>
                <c:pt idx="476">
                  <c:v>1688118.7069999999</c:v>
                </c:pt>
                <c:pt idx="477">
                  <c:v>1725745.635</c:v>
                </c:pt>
                <c:pt idx="478">
                  <c:v>1707657.0930000001</c:v>
                </c:pt>
                <c:pt idx="479">
                  <c:v>1693402.94</c:v>
                </c:pt>
                <c:pt idx="480">
                  <c:v>1679780.7709999999</c:v>
                </c:pt>
                <c:pt idx="481">
                  <c:v>1646190.041</c:v>
                </c:pt>
                <c:pt idx="482">
                  <c:v>1617097.5490000001</c:v>
                </c:pt>
                <c:pt idx="483">
                  <c:v>1626072.7790000001</c:v>
                </c:pt>
                <c:pt idx="484">
                  <c:v>1627278.328</c:v>
                </c:pt>
                <c:pt idx="485">
                  <c:v>1661352.3389999999</c:v>
                </c:pt>
                <c:pt idx="486">
                  <c:v>1693971.1939999999</c:v>
                </c:pt>
                <c:pt idx="487">
                  <c:v>1686525.4709999999</c:v>
                </c:pt>
                <c:pt idx="488">
                  <c:v>1678017.5889999999</c:v>
                </c:pt>
                <c:pt idx="489">
                  <c:v>1681724.5190000001</c:v>
                </c:pt>
                <c:pt idx="490">
                  <c:v>1650693.5889999999</c:v>
                </c:pt>
                <c:pt idx="491">
                  <c:v>1659578.5360000001</c:v>
                </c:pt>
                <c:pt idx="492">
                  <c:v>1668829.9269999999</c:v>
                </c:pt>
                <c:pt idx="493">
                  <c:v>1668266.9839999999</c:v>
                </c:pt>
                <c:pt idx="494">
                  <c:v>1642021.0730000001</c:v>
                </c:pt>
                <c:pt idx="495">
                  <c:v>1579614.0120000001</c:v>
                </c:pt>
                <c:pt idx="496">
                  <c:v>1581366.5719999999</c:v>
                </c:pt>
                <c:pt idx="497">
                  <c:v>1617055.0619999999</c:v>
                </c:pt>
                <c:pt idx="498">
                  <c:v>1563872.8389999999</c:v>
                </c:pt>
                <c:pt idx="499">
                  <c:v>1584452.139</c:v>
                </c:pt>
                <c:pt idx="500">
                  <c:v>1568928.7080000001</c:v>
                </c:pt>
                <c:pt idx="501">
                  <c:v>1560654.5009999999</c:v>
                </c:pt>
                <c:pt idx="502">
                  <c:v>1581780.8130000001</c:v>
                </c:pt>
                <c:pt idx="503">
                  <c:v>1607293.835</c:v>
                </c:pt>
                <c:pt idx="504">
                  <c:v>1612748.014</c:v>
                </c:pt>
                <c:pt idx="505">
                  <c:v>1633869.0149999999</c:v>
                </c:pt>
                <c:pt idx="506">
                  <c:v>1634277.9450000001</c:v>
                </c:pt>
                <c:pt idx="507">
                  <c:v>1614983.855</c:v>
                </c:pt>
                <c:pt idx="508">
                  <c:v>1648553.3419999999</c:v>
                </c:pt>
                <c:pt idx="509">
                  <c:v>1657475.4639999999</c:v>
                </c:pt>
                <c:pt idx="510">
                  <c:v>1709616.774</c:v>
                </c:pt>
                <c:pt idx="511">
                  <c:v>1708836.088</c:v>
                </c:pt>
                <c:pt idx="512">
                  <c:v>1725225.1769999999</c:v>
                </c:pt>
                <c:pt idx="513">
                  <c:v>1723833.7509999999</c:v>
                </c:pt>
                <c:pt idx="514">
                  <c:v>1705761.142</c:v>
                </c:pt>
                <c:pt idx="515">
                  <c:v>1730206.696</c:v>
                </c:pt>
                <c:pt idx="516">
                  <c:v>1680110.04</c:v>
                </c:pt>
                <c:pt idx="517">
                  <c:v>1686036.878</c:v>
                </c:pt>
                <c:pt idx="518">
                  <c:v>1694640.3529999999</c:v>
                </c:pt>
                <c:pt idx="519">
                  <c:v>1698187.959</c:v>
                </c:pt>
                <c:pt idx="520">
                  <c:v>1720461.4010000001</c:v>
                </c:pt>
                <c:pt idx="521">
                  <c:v>1728602.838</c:v>
                </c:pt>
                <c:pt idx="522">
                  <c:v>1722447.6359999999</c:v>
                </c:pt>
                <c:pt idx="523">
                  <c:v>1710986.9569999999</c:v>
                </c:pt>
                <c:pt idx="524">
                  <c:v>1736983.26</c:v>
                </c:pt>
                <c:pt idx="525">
                  <c:v>1770887.3259999999</c:v>
                </c:pt>
                <c:pt idx="526">
                  <c:v>1772454.0090000001</c:v>
                </c:pt>
                <c:pt idx="527">
                  <c:v>1773197.5190000001</c:v>
                </c:pt>
                <c:pt idx="528">
                  <c:v>1742076.3049999999</c:v>
                </c:pt>
                <c:pt idx="529">
                  <c:v>1724614.4369999999</c:v>
                </c:pt>
                <c:pt idx="530">
                  <c:v>1732867.4</c:v>
                </c:pt>
                <c:pt idx="531">
                  <c:v>1701554.9990000001</c:v>
                </c:pt>
                <c:pt idx="532">
                  <c:v>1725049.9210000001</c:v>
                </c:pt>
                <c:pt idx="533">
                  <c:v>1697911.798</c:v>
                </c:pt>
                <c:pt idx="534">
                  <c:v>1707784.5519999999</c:v>
                </c:pt>
                <c:pt idx="535">
                  <c:v>1703227.8970000001</c:v>
                </c:pt>
                <c:pt idx="536">
                  <c:v>1711645.4939999999</c:v>
                </c:pt>
                <c:pt idx="537">
                  <c:v>1733934.8689999999</c:v>
                </c:pt>
                <c:pt idx="538">
                  <c:v>1726728.13</c:v>
                </c:pt>
                <c:pt idx="539">
                  <c:v>1749628.2450000001</c:v>
                </c:pt>
                <c:pt idx="540">
                  <c:v>1747551.727</c:v>
                </c:pt>
                <c:pt idx="541">
                  <c:v>1730243.871</c:v>
                </c:pt>
                <c:pt idx="542">
                  <c:v>1729234.8219999999</c:v>
                </c:pt>
                <c:pt idx="543">
                  <c:v>1711820.75</c:v>
                </c:pt>
                <c:pt idx="544">
                  <c:v>1738077.2830000001</c:v>
                </c:pt>
                <c:pt idx="545">
                  <c:v>1758438.841</c:v>
                </c:pt>
                <c:pt idx="546">
                  <c:v>1765528.7420000001</c:v>
                </c:pt>
                <c:pt idx="547">
                  <c:v>1780898.16</c:v>
                </c:pt>
                <c:pt idx="548">
                  <c:v>1770313.7609999999</c:v>
                </c:pt>
                <c:pt idx="549">
                  <c:v>1766776.777</c:v>
                </c:pt>
                <c:pt idx="550">
                  <c:v>1790813.4</c:v>
                </c:pt>
                <c:pt idx="551">
                  <c:v>1781004.3759999999</c:v>
                </c:pt>
                <c:pt idx="552">
                  <c:v>1783861.58</c:v>
                </c:pt>
                <c:pt idx="553">
                  <c:v>1784127.1189999999</c:v>
                </c:pt>
                <c:pt idx="554">
                  <c:v>1750334.58</c:v>
                </c:pt>
                <c:pt idx="555">
                  <c:v>1750308.0260000001</c:v>
                </c:pt>
                <c:pt idx="556">
                  <c:v>1761784.6370000001</c:v>
                </c:pt>
                <c:pt idx="557">
                  <c:v>1752527.9350000001</c:v>
                </c:pt>
                <c:pt idx="558">
                  <c:v>1725777.4990000001</c:v>
                </c:pt>
                <c:pt idx="559">
                  <c:v>1715894.1240000001</c:v>
                </c:pt>
                <c:pt idx="560">
                  <c:v>1704497.175</c:v>
                </c:pt>
                <c:pt idx="561">
                  <c:v>1679154.098</c:v>
                </c:pt>
                <c:pt idx="562">
                  <c:v>1695585.6740000001</c:v>
                </c:pt>
                <c:pt idx="563">
                  <c:v>1705362.8330000001</c:v>
                </c:pt>
                <c:pt idx="564">
                  <c:v>1661761.2690000001</c:v>
                </c:pt>
                <c:pt idx="565">
                  <c:v>1660215.83</c:v>
                </c:pt>
                <c:pt idx="566">
                  <c:v>1657709.139</c:v>
                </c:pt>
                <c:pt idx="567">
                  <c:v>1662148.9569999999</c:v>
                </c:pt>
                <c:pt idx="568">
                  <c:v>1674608.064</c:v>
                </c:pt>
                <c:pt idx="569">
                  <c:v>1670290.3940000001</c:v>
                </c:pt>
                <c:pt idx="570">
                  <c:v>1647193.78</c:v>
                </c:pt>
                <c:pt idx="571">
                  <c:v>1661262.0549999999</c:v>
                </c:pt>
                <c:pt idx="572">
                  <c:v>1646588.35</c:v>
                </c:pt>
                <c:pt idx="573">
                  <c:v>1654857.246</c:v>
                </c:pt>
                <c:pt idx="574">
                  <c:v>1667257.9339999999</c:v>
                </c:pt>
                <c:pt idx="575">
                  <c:v>1657305.5190000001</c:v>
                </c:pt>
                <c:pt idx="576">
                  <c:v>1657815.355</c:v>
                </c:pt>
                <c:pt idx="577">
                  <c:v>1605440.37</c:v>
                </c:pt>
                <c:pt idx="578">
                  <c:v>1607161.0660000001</c:v>
                </c:pt>
                <c:pt idx="579">
                  <c:v>1588105.9609999999</c:v>
                </c:pt>
                <c:pt idx="580">
                  <c:v>1581754.2590000001</c:v>
                </c:pt>
                <c:pt idx="581">
                  <c:v>1573750.9029999999</c:v>
                </c:pt>
                <c:pt idx="582">
                  <c:v>1569077.41</c:v>
                </c:pt>
                <c:pt idx="583">
                  <c:v>1594064.6640000001</c:v>
                </c:pt>
                <c:pt idx="584">
                  <c:v>1595450.78</c:v>
                </c:pt>
                <c:pt idx="585">
                  <c:v>1569714.7050000001</c:v>
                </c:pt>
                <c:pt idx="586">
                  <c:v>1585986.9569999999</c:v>
                </c:pt>
                <c:pt idx="587">
                  <c:v>1595498.577</c:v>
                </c:pt>
                <c:pt idx="588">
                  <c:v>1597830.0120000001</c:v>
                </c:pt>
                <c:pt idx="589">
                  <c:v>1567685.9839999999</c:v>
                </c:pt>
                <c:pt idx="590">
                  <c:v>1573018.014</c:v>
                </c:pt>
                <c:pt idx="591">
                  <c:v>1566868.1229999999</c:v>
                </c:pt>
                <c:pt idx="592">
                  <c:v>1589816.034</c:v>
                </c:pt>
                <c:pt idx="593">
                  <c:v>1573649.9979999999</c:v>
                </c:pt>
                <c:pt idx="594">
                  <c:v>1549464.673</c:v>
                </c:pt>
                <c:pt idx="595">
                  <c:v>1535964.6510000001</c:v>
                </c:pt>
                <c:pt idx="596">
                  <c:v>1526798.233</c:v>
                </c:pt>
                <c:pt idx="597">
                  <c:v>1544945.193</c:v>
                </c:pt>
                <c:pt idx="598">
                  <c:v>1544684.9639999999</c:v>
                </c:pt>
                <c:pt idx="599">
                  <c:v>1570734.3759999999</c:v>
                </c:pt>
                <c:pt idx="600">
                  <c:v>1607824.9140000001</c:v>
                </c:pt>
                <c:pt idx="601">
                  <c:v>1612615.2439999999</c:v>
                </c:pt>
                <c:pt idx="602">
                  <c:v>1615398.0970000001</c:v>
                </c:pt>
                <c:pt idx="603">
                  <c:v>1593326.4650000001</c:v>
                </c:pt>
                <c:pt idx="604">
                  <c:v>1616651.442</c:v>
                </c:pt>
                <c:pt idx="605">
                  <c:v>1619657.348</c:v>
                </c:pt>
                <c:pt idx="606">
                  <c:v>1658017.1640000001</c:v>
                </c:pt>
                <c:pt idx="607">
                  <c:v>1658293.325</c:v>
                </c:pt>
                <c:pt idx="608">
                  <c:v>1653625.1429999999</c:v>
                </c:pt>
                <c:pt idx="609">
                  <c:v>1647236.2660000001</c:v>
                </c:pt>
                <c:pt idx="610">
                  <c:v>1651219.3570000001</c:v>
                </c:pt>
                <c:pt idx="611">
                  <c:v>1653359.6040000001</c:v>
                </c:pt>
                <c:pt idx="612">
                  <c:v>1623459.872</c:v>
                </c:pt>
                <c:pt idx="613">
                  <c:v>1649663.2960000001</c:v>
                </c:pt>
                <c:pt idx="614">
                  <c:v>1654708.544</c:v>
                </c:pt>
                <c:pt idx="615">
                  <c:v>1661686.9180000001</c:v>
                </c:pt>
                <c:pt idx="616">
                  <c:v>1658346.433</c:v>
                </c:pt>
                <c:pt idx="617">
                  <c:v>1643757.7009999999</c:v>
                </c:pt>
                <c:pt idx="618">
                  <c:v>1641867.06</c:v>
                </c:pt>
                <c:pt idx="619">
                  <c:v>1624644.1769999999</c:v>
                </c:pt>
                <c:pt idx="620">
                  <c:v>1629344.2239999999</c:v>
                </c:pt>
                <c:pt idx="621">
                  <c:v>1576395.675</c:v>
                </c:pt>
                <c:pt idx="622">
                  <c:v>1581430.301</c:v>
                </c:pt>
                <c:pt idx="623">
                  <c:v>1593262.7350000001</c:v>
                </c:pt>
                <c:pt idx="624">
                  <c:v>1583145.686</c:v>
                </c:pt>
                <c:pt idx="625">
                  <c:v>1578408.463</c:v>
                </c:pt>
                <c:pt idx="626">
                  <c:v>1581403.747</c:v>
                </c:pt>
                <c:pt idx="627">
                  <c:v>1570070.527</c:v>
                </c:pt>
                <c:pt idx="628">
                  <c:v>1569268.598</c:v>
                </c:pt>
                <c:pt idx="629">
                  <c:v>1572157.6669999999</c:v>
                </c:pt>
                <c:pt idx="630">
                  <c:v>1538758.1259999999</c:v>
                </c:pt>
                <c:pt idx="631">
                  <c:v>1483780.8559999999</c:v>
                </c:pt>
                <c:pt idx="632">
                  <c:v>1486059.183</c:v>
                </c:pt>
                <c:pt idx="633">
                  <c:v>1499830.0549999999</c:v>
                </c:pt>
                <c:pt idx="634">
                  <c:v>1522560.2239999999</c:v>
                </c:pt>
                <c:pt idx="635">
                  <c:v>1527047.84</c:v>
                </c:pt>
                <c:pt idx="636">
                  <c:v>1549623.996</c:v>
                </c:pt>
                <c:pt idx="637">
                  <c:v>1538843.098</c:v>
                </c:pt>
                <c:pt idx="638">
                  <c:v>1532698.517</c:v>
                </c:pt>
                <c:pt idx="639">
                  <c:v>1505209.882</c:v>
                </c:pt>
                <c:pt idx="640">
                  <c:v>1491088.4990000001</c:v>
                </c:pt>
                <c:pt idx="641">
                  <c:v>1475225.1769999999</c:v>
                </c:pt>
                <c:pt idx="642">
                  <c:v>1498173.0889999999</c:v>
                </c:pt>
                <c:pt idx="643">
                  <c:v>1492341.845</c:v>
                </c:pt>
                <c:pt idx="644">
                  <c:v>1542167.6510000001</c:v>
                </c:pt>
                <c:pt idx="645">
                  <c:v>1540776.2250000001</c:v>
                </c:pt>
                <c:pt idx="646">
                  <c:v>1515066.703</c:v>
                </c:pt>
                <c:pt idx="647">
                  <c:v>1509187.662</c:v>
                </c:pt>
                <c:pt idx="648">
                  <c:v>1511864.2990000001</c:v>
                </c:pt>
                <c:pt idx="649">
                  <c:v>1505363.895</c:v>
                </c:pt>
                <c:pt idx="650">
                  <c:v>1489065.0889999999</c:v>
                </c:pt>
                <c:pt idx="651">
                  <c:v>1457184.433</c:v>
                </c:pt>
                <c:pt idx="652">
                  <c:v>1446286.6980000001</c:v>
                </c:pt>
                <c:pt idx="653">
                  <c:v>1475915.58</c:v>
                </c:pt>
                <c:pt idx="654">
                  <c:v>1463711.3910000001</c:v>
                </c:pt>
                <c:pt idx="655">
                  <c:v>1461050.686</c:v>
                </c:pt>
                <c:pt idx="656">
                  <c:v>1444682.84</c:v>
                </c:pt>
                <c:pt idx="657">
                  <c:v>1451496.58</c:v>
                </c:pt>
                <c:pt idx="658">
                  <c:v>1449340.4</c:v>
                </c:pt>
                <c:pt idx="659">
                  <c:v>1451963.929</c:v>
                </c:pt>
                <c:pt idx="660">
                  <c:v>1422903.301</c:v>
                </c:pt>
                <c:pt idx="661">
                  <c:v>1428522.1140000001</c:v>
                </c:pt>
                <c:pt idx="662">
                  <c:v>1471624.4639999999</c:v>
                </c:pt>
                <c:pt idx="663">
                  <c:v>1426312.827</c:v>
                </c:pt>
                <c:pt idx="664">
                  <c:v>1417704.04</c:v>
                </c:pt>
                <c:pt idx="665">
                  <c:v>1386604.07</c:v>
                </c:pt>
                <c:pt idx="666">
                  <c:v>1400921.953</c:v>
                </c:pt>
                <c:pt idx="667">
                  <c:v>1386428.814</c:v>
                </c:pt>
                <c:pt idx="668">
                  <c:v>1374532.6510000001</c:v>
                </c:pt>
                <c:pt idx="669">
                  <c:v>1370900.0719999999</c:v>
                </c:pt>
                <c:pt idx="670">
                  <c:v>1358010.7919999999</c:v>
                </c:pt>
                <c:pt idx="671">
                  <c:v>1355307.601</c:v>
                </c:pt>
                <c:pt idx="672">
                  <c:v>1404575.774</c:v>
                </c:pt>
                <c:pt idx="673">
                  <c:v>1414050.219</c:v>
                </c:pt>
                <c:pt idx="674">
                  <c:v>1409366.1040000001</c:v>
                </c:pt>
                <c:pt idx="675">
                  <c:v>1416360.4110000001</c:v>
                </c:pt>
                <c:pt idx="676">
                  <c:v>1376667.5870000001</c:v>
                </c:pt>
                <c:pt idx="677">
                  <c:v>1371818.838</c:v>
                </c:pt>
                <c:pt idx="678">
                  <c:v>1338599.8640000001</c:v>
                </c:pt>
                <c:pt idx="679">
                  <c:v>1331881.7180000001</c:v>
                </c:pt>
                <c:pt idx="680">
                  <c:v>1368414.6240000001</c:v>
                </c:pt>
                <c:pt idx="681">
                  <c:v>1394310.023</c:v>
                </c:pt>
                <c:pt idx="682">
                  <c:v>1408234.9069999999</c:v>
                </c:pt>
                <c:pt idx="683">
                  <c:v>1411331.0959999999</c:v>
                </c:pt>
                <c:pt idx="684">
                  <c:v>1438702.8929999999</c:v>
                </c:pt>
                <c:pt idx="685">
                  <c:v>1431421.804</c:v>
                </c:pt>
                <c:pt idx="686">
                  <c:v>1432600.7990000001</c:v>
                </c:pt>
                <c:pt idx="687">
                  <c:v>1456424.99</c:v>
                </c:pt>
                <c:pt idx="688">
                  <c:v>1457439.351</c:v>
                </c:pt>
                <c:pt idx="689">
                  <c:v>1467768.8319999999</c:v>
                </c:pt>
                <c:pt idx="690">
                  <c:v>1453164.1669999999</c:v>
                </c:pt>
                <c:pt idx="691">
                  <c:v>1448628.7549999999</c:v>
                </c:pt>
                <c:pt idx="692">
                  <c:v>1461342.7790000001</c:v>
                </c:pt>
                <c:pt idx="693">
                  <c:v>1433694.821</c:v>
                </c:pt>
                <c:pt idx="694">
                  <c:v>1431257.17</c:v>
                </c:pt>
                <c:pt idx="695">
                  <c:v>1460572.7150000001</c:v>
                </c:pt>
                <c:pt idx="696">
                  <c:v>1457641.1610000001</c:v>
                </c:pt>
                <c:pt idx="697">
                  <c:v>1418043.9310000001</c:v>
                </c:pt>
                <c:pt idx="698">
                  <c:v>1413742.193</c:v>
                </c:pt>
                <c:pt idx="699">
                  <c:v>1384256.702</c:v>
                </c:pt>
                <c:pt idx="700">
                  <c:v>1385950.8430000001</c:v>
                </c:pt>
                <c:pt idx="701">
                  <c:v>1385839.317</c:v>
                </c:pt>
                <c:pt idx="702">
                  <c:v>1372312.7420000001</c:v>
                </c:pt>
                <c:pt idx="703">
                  <c:v>1374920.338</c:v>
                </c:pt>
                <c:pt idx="704">
                  <c:v>1364856.3959999999</c:v>
                </c:pt>
                <c:pt idx="705">
                  <c:v>1366635.51</c:v>
                </c:pt>
                <c:pt idx="706">
                  <c:v>1385356.0349999999</c:v>
                </c:pt>
                <c:pt idx="707">
                  <c:v>1339125.632</c:v>
                </c:pt>
                <c:pt idx="708">
                  <c:v>1372100.31</c:v>
                </c:pt>
                <c:pt idx="709">
                  <c:v>1358132.94</c:v>
                </c:pt>
                <c:pt idx="710">
                  <c:v>1339056.5919999999</c:v>
                </c:pt>
                <c:pt idx="711">
                  <c:v>1336374.6440000001</c:v>
                </c:pt>
                <c:pt idx="712">
                  <c:v>1342689.17</c:v>
                </c:pt>
                <c:pt idx="713">
                  <c:v>1340973.7860000001</c:v>
                </c:pt>
                <c:pt idx="714">
                  <c:v>1329534.3500000001</c:v>
                </c:pt>
                <c:pt idx="715">
                  <c:v>1315848.4509999999</c:v>
                </c:pt>
                <c:pt idx="716">
                  <c:v>1286235.5020000001</c:v>
                </c:pt>
                <c:pt idx="717">
                  <c:v>1273250.6270000001</c:v>
                </c:pt>
                <c:pt idx="718">
                  <c:v>1243143.774</c:v>
                </c:pt>
                <c:pt idx="719">
                  <c:v>1269347.1980000001</c:v>
                </c:pt>
                <c:pt idx="720">
                  <c:v>1266309.4280000001</c:v>
                </c:pt>
                <c:pt idx="721">
                  <c:v>1262411.31</c:v>
                </c:pt>
                <c:pt idx="722">
                  <c:v>1242251.561</c:v>
                </c:pt>
                <c:pt idx="723">
                  <c:v>1243435.8670000001</c:v>
                </c:pt>
                <c:pt idx="724">
                  <c:v>1252899.69</c:v>
                </c:pt>
                <c:pt idx="725">
                  <c:v>1240440.5830000001</c:v>
                </c:pt>
                <c:pt idx="726">
                  <c:v>1224157.709</c:v>
                </c:pt>
                <c:pt idx="727">
                  <c:v>1225692.527</c:v>
                </c:pt>
                <c:pt idx="728">
                  <c:v>1227514.1270000001</c:v>
                </c:pt>
                <c:pt idx="729">
                  <c:v>1245772.6129999999</c:v>
                </c:pt>
                <c:pt idx="730">
                  <c:v>1220817.2239999999</c:v>
                </c:pt>
                <c:pt idx="731">
                  <c:v>1208942.304</c:v>
                </c:pt>
                <c:pt idx="732">
                  <c:v>1216488.932</c:v>
                </c:pt>
                <c:pt idx="733">
                  <c:v>1257897.1410000001</c:v>
                </c:pt>
                <c:pt idx="734">
                  <c:v>1299735.523</c:v>
                </c:pt>
                <c:pt idx="735">
                  <c:v>1293500.659</c:v>
                </c:pt>
                <c:pt idx="736">
                  <c:v>1293293.5379999999</c:v>
                </c:pt>
                <c:pt idx="737">
                  <c:v>1271577.7290000001</c:v>
                </c:pt>
                <c:pt idx="738">
                  <c:v>1245724.8160000001</c:v>
                </c:pt>
                <c:pt idx="739">
                  <c:v>1306772.3160000001</c:v>
                </c:pt>
                <c:pt idx="740">
                  <c:v>1286373.5819999999</c:v>
                </c:pt>
                <c:pt idx="741">
                  <c:v>1310888.176</c:v>
                </c:pt>
                <c:pt idx="742">
                  <c:v>1329868.93</c:v>
                </c:pt>
                <c:pt idx="743">
                  <c:v>1306836.0449999999</c:v>
                </c:pt>
                <c:pt idx="744">
                  <c:v>1308716.064</c:v>
                </c:pt>
                <c:pt idx="745">
                  <c:v>1289984.9169999999</c:v>
                </c:pt>
                <c:pt idx="746">
                  <c:v>1320389.1740000001</c:v>
                </c:pt>
                <c:pt idx="747">
                  <c:v>1330931.0870000001</c:v>
                </c:pt>
                <c:pt idx="748">
                  <c:v>1329991.078</c:v>
                </c:pt>
                <c:pt idx="749">
                  <c:v>1305364.9569999999</c:v>
                </c:pt>
                <c:pt idx="750">
                  <c:v>1342694.4809999999</c:v>
                </c:pt>
                <c:pt idx="751">
                  <c:v>1343220.2490000001</c:v>
                </c:pt>
                <c:pt idx="752">
                  <c:v>1345551.6850000001</c:v>
                </c:pt>
                <c:pt idx="753">
                  <c:v>1344680.7150000001</c:v>
                </c:pt>
                <c:pt idx="754">
                  <c:v>1339438.9680000001</c:v>
                </c:pt>
                <c:pt idx="755">
                  <c:v>1354043.6329999999</c:v>
                </c:pt>
                <c:pt idx="756">
                  <c:v>1346852.827</c:v>
                </c:pt>
                <c:pt idx="757">
                  <c:v>1347394.5279999999</c:v>
                </c:pt>
                <c:pt idx="758">
                  <c:v>1349317.0330000001</c:v>
                </c:pt>
                <c:pt idx="759">
                  <c:v>1360862.6839999999</c:v>
                </c:pt>
                <c:pt idx="760">
                  <c:v>1379466.372</c:v>
                </c:pt>
                <c:pt idx="761">
                  <c:v>1384129.243</c:v>
                </c:pt>
                <c:pt idx="762">
                  <c:v>1406307.091</c:v>
                </c:pt>
                <c:pt idx="763">
                  <c:v>1410847.814</c:v>
                </c:pt>
                <c:pt idx="764">
                  <c:v>1413975.868</c:v>
                </c:pt>
                <c:pt idx="765">
                  <c:v>1398935.7180000001</c:v>
                </c:pt>
                <c:pt idx="766">
                  <c:v>1398516.166</c:v>
                </c:pt>
                <c:pt idx="767">
                  <c:v>1423253.8130000001</c:v>
                </c:pt>
                <c:pt idx="768">
                  <c:v>1414103.327</c:v>
                </c:pt>
                <c:pt idx="769">
                  <c:v>1391983.898</c:v>
                </c:pt>
                <c:pt idx="770">
                  <c:v>1382403.237</c:v>
                </c:pt>
                <c:pt idx="771">
                  <c:v>1399811.9979999999</c:v>
                </c:pt>
                <c:pt idx="772">
                  <c:v>1414953.0530000001</c:v>
                </c:pt>
                <c:pt idx="773">
                  <c:v>1409695.3729999999</c:v>
                </c:pt>
                <c:pt idx="774">
                  <c:v>1423859.243</c:v>
                </c:pt>
                <c:pt idx="775">
                  <c:v>1383518.503</c:v>
                </c:pt>
                <c:pt idx="776">
                  <c:v>1373130.6029999999</c:v>
                </c:pt>
                <c:pt idx="777">
                  <c:v>1393295.662</c:v>
                </c:pt>
                <c:pt idx="778">
                  <c:v>1396742.3629999999</c:v>
                </c:pt>
                <c:pt idx="779">
                  <c:v>1372546.416</c:v>
                </c:pt>
                <c:pt idx="780">
                  <c:v>1374320.219</c:v>
                </c:pt>
                <c:pt idx="781">
                  <c:v>1372174.6610000001</c:v>
                </c:pt>
                <c:pt idx="782">
                  <c:v>1355812.1259999999</c:v>
                </c:pt>
                <c:pt idx="783">
                  <c:v>1357139.8219999999</c:v>
                </c:pt>
                <c:pt idx="784">
                  <c:v>1352731.8689999999</c:v>
                </c:pt>
                <c:pt idx="785">
                  <c:v>1314366.7420000001</c:v>
                </c:pt>
                <c:pt idx="786">
                  <c:v>1297489.06</c:v>
                </c:pt>
                <c:pt idx="787">
                  <c:v>1303745.1669999999</c:v>
                </c:pt>
                <c:pt idx="788">
                  <c:v>1334510.558</c:v>
                </c:pt>
                <c:pt idx="789">
                  <c:v>1338228.1089999999</c:v>
                </c:pt>
                <c:pt idx="790">
                  <c:v>1325121.0859999999</c:v>
                </c:pt>
                <c:pt idx="791">
                  <c:v>1338206.8659999999</c:v>
                </c:pt>
                <c:pt idx="792">
                  <c:v>1338339.635</c:v>
                </c:pt>
                <c:pt idx="793">
                  <c:v>1365106.003</c:v>
                </c:pt>
                <c:pt idx="794">
                  <c:v>1370422.101</c:v>
                </c:pt>
                <c:pt idx="795">
                  <c:v>1367017.8870000001</c:v>
                </c:pt>
                <c:pt idx="796">
                  <c:v>1349938.395</c:v>
                </c:pt>
                <c:pt idx="797">
                  <c:v>1380756.8929999999</c:v>
                </c:pt>
                <c:pt idx="798">
                  <c:v>1378712.24</c:v>
                </c:pt>
                <c:pt idx="799">
                  <c:v>1395058.844</c:v>
                </c:pt>
                <c:pt idx="800">
                  <c:v>1384012.406</c:v>
                </c:pt>
                <c:pt idx="801">
                  <c:v>1383391.044</c:v>
                </c:pt>
                <c:pt idx="802">
                  <c:v>1394607.4269999999</c:v>
                </c:pt>
                <c:pt idx="803">
                  <c:v>1397528.36</c:v>
                </c:pt>
                <c:pt idx="804">
                  <c:v>1394697.71</c:v>
                </c:pt>
                <c:pt idx="805">
                  <c:v>1425144.453</c:v>
                </c:pt>
                <c:pt idx="806">
                  <c:v>1429409.0160000001</c:v>
                </c:pt>
                <c:pt idx="807">
                  <c:v>1442346.0930000001</c:v>
                </c:pt>
                <c:pt idx="808">
                  <c:v>1443355.1429999999</c:v>
                </c:pt>
                <c:pt idx="809">
                  <c:v>1438756.0009999999</c:v>
                </c:pt>
                <c:pt idx="810">
                  <c:v>1411347.0279999999</c:v>
                </c:pt>
                <c:pt idx="811">
                  <c:v>1411187.7039999999</c:v>
                </c:pt>
                <c:pt idx="812">
                  <c:v>1400412.1170000001</c:v>
                </c:pt>
                <c:pt idx="813">
                  <c:v>1389052.3430000001</c:v>
                </c:pt>
                <c:pt idx="814">
                  <c:v>1390029.5279999999</c:v>
                </c:pt>
                <c:pt idx="815">
                  <c:v>1367341.845</c:v>
                </c:pt>
                <c:pt idx="816">
                  <c:v>1388207.9280000001</c:v>
                </c:pt>
                <c:pt idx="817">
                  <c:v>1366986.0220000001</c:v>
                </c:pt>
                <c:pt idx="818">
                  <c:v>1374022.8149999999</c:v>
                </c:pt>
                <c:pt idx="819">
                  <c:v>1395425.2879999999</c:v>
                </c:pt>
                <c:pt idx="820">
                  <c:v>1389763.9890000001</c:v>
                </c:pt>
                <c:pt idx="821">
                  <c:v>1378287.3770000001</c:v>
                </c:pt>
                <c:pt idx="822">
                  <c:v>1366518.673</c:v>
                </c:pt>
                <c:pt idx="823">
                  <c:v>1388606.237</c:v>
                </c:pt>
                <c:pt idx="824">
                  <c:v>1407810.044</c:v>
                </c:pt>
                <c:pt idx="825">
                  <c:v>1403248.077</c:v>
                </c:pt>
                <c:pt idx="826">
                  <c:v>1397820.453</c:v>
                </c:pt>
                <c:pt idx="827">
                  <c:v>1398330.2879999999</c:v>
                </c:pt>
                <c:pt idx="828">
                  <c:v>1359046.395</c:v>
                </c:pt>
                <c:pt idx="829">
                  <c:v>1358945.49</c:v>
                </c:pt>
                <c:pt idx="830">
                  <c:v>1358180.737</c:v>
                </c:pt>
                <c:pt idx="831">
                  <c:v>1350097.7180000001</c:v>
                </c:pt>
                <c:pt idx="832">
                  <c:v>1340617.963</c:v>
                </c:pt>
                <c:pt idx="833">
                  <c:v>1358642.7749999999</c:v>
                </c:pt>
                <c:pt idx="834">
                  <c:v>1349035.561</c:v>
                </c:pt>
                <c:pt idx="835">
                  <c:v>1370523.0060000001</c:v>
                </c:pt>
                <c:pt idx="836">
                  <c:v>1359784.594</c:v>
                </c:pt>
                <c:pt idx="837">
                  <c:v>1363836.7250000001</c:v>
                </c:pt>
                <c:pt idx="838">
                  <c:v>1370825.7209999999</c:v>
                </c:pt>
                <c:pt idx="839">
                  <c:v>1358828.6529999999</c:v>
                </c:pt>
                <c:pt idx="840">
                  <c:v>1355636.87</c:v>
                </c:pt>
                <c:pt idx="841">
                  <c:v>1334170.6669999999</c:v>
                </c:pt>
                <c:pt idx="842">
                  <c:v>1304605.5149999999</c:v>
                </c:pt>
                <c:pt idx="843">
                  <c:v>1303755.7890000001</c:v>
                </c:pt>
                <c:pt idx="844">
                  <c:v>1299655.861</c:v>
                </c:pt>
                <c:pt idx="845">
                  <c:v>1288253.601</c:v>
                </c:pt>
                <c:pt idx="846">
                  <c:v>1307308.7050000001</c:v>
                </c:pt>
                <c:pt idx="847">
                  <c:v>1309236.5209999999</c:v>
                </c:pt>
                <c:pt idx="848">
                  <c:v>1311084.675</c:v>
                </c:pt>
                <c:pt idx="849">
                  <c:v>1309066.5759999999</c:v>
                </c:pt>
                <c:pt idx="850">
                  <c:v>1290717.8060000001</c:v>
                </c:pt>
                <c:pt idx="851">
                  <c:v>1313150.571</c:v>
                </c:pt>
                <c:pt idx="852">
                  <c:v>1283107.4480000001</c:v>
                </c:pt>
                <c:pt idx="853">
                  <c:v>1278152.483</c:v>
                </c:pt>
                <c:pt idx="854">
                  <c:v>1288168.628</c:v>
                </c:pt>
                <c:pt idx="855">
                  <c:v>1300707.3970000001</c:v>
                </c:pt>
                <c:pt idx="856">
                  <c:v>1301477.4609999999</c:v>
                </c:pt>
                <c:pt idx="857">
                  <c:v>1274445.554</c:v>
                </c:pt>
                <c:pt idx="858">
                  <c:v>1282130.263</c:v>
                </c:pt>
                <c:pt idx="859">
                  <c:v>1282204.6140000001</c:v>
                </c:pt>
                <c:pt idx="860">
                  <c:v>1287504.78</c:v>
                </c:pt>
                <c:pt idx="861">
                  <c:v>1273771.084</c:v>
                </c:pt>
                <c:pt idx="862">
                  <c:v>1256229.5530000001</c:v>
                </c:pt>
                <c:pt idx="863">
                  <c:v>1261837.7450000001</c:v>
                </c:pt>
                <c:pt idx="864">
                  <c:v>1253388.2819999999</c:v>
                </c:pt>
                <c:pt idx="865">
                  <c:v>1246702.0009999999</c:v>
                </c:pt>
                <c:pt idx="866">
                  <c:v>1247562.3489999999</c:v>
                </c:pt>
                <c:pt idx="867">
                  <c:v>1240488.3799999999</c:v>
                </c:pt>
                <c:pt idx="868">
                  <c:v>1238964.1839999999</c:v>
                </c:pt>
                <c:pt idx="869">
                  <c:v>1252628.8400000001</c:v>
                </c:pt>
                <c:pt idx="870">
                  <c:v>1240005.098</c:v>
                </c:pt>
                <c:pt idx="871">
                  <c:v>1250021.243</c:v>
                </c:pt>
                <c:pt idx="872">
                  <c:v>1266946.7220000001</c:v>
                </c:pt>
                <c:pt idx="873">
                  <c:v>1268678.0390000001</c:v>
                </c:pt>
                <c:pt idx="874">
                  <c:v>1269171.942</c:v>
                </c:pt>
                <c:pt idx="875">
                  <c:v>1280802.5660000001</c:v>
                </c:pt>
                <c:pt idx="876">
                  <c:v>1274456.175</c:v>
                </c:pt>
                <c:pt idx="877">
                  <c:v>1249059.9909999999</c:v>
                </c:pt>
                <c:pt idx="878">
                  <c:v>1251763.1810000001</c:v>
                </c:pt>
                <c:pt idx="879">
                  <c:v>1238268.4709999999</c:v>
                </c:pt>
                <c:pt idx="880">
                  <c:v>1231927.3910000001</c:v>
                </c:pt>
                <c:pt idx="881">
                  <c:v>1228640.014</c:v>
                </c:pt>
                <c:pt idx="882">
                  <c:v>1222431.703</c:v>
                </c:pt>
                <c:pt idx="883">
                  <c:v>1228756.851</c:v>
                </c:pt>
                <c:pt idx="884">
                  <c:v>1219139.0149999999</c:v>
                </c:pt>
                <c:pt idx="885">
                  <c:v>1222649.446</c:v>
                </c:pt>
                <c:pt idx="886">
                  <c:v>1208565.2379999999</c:v>
                </c:pt>
                <c:pt idx="887">
                  <c:v>1183349.6200000001</c:v>
                </c:pt>
                <c:pt idx="888">
                  <c:v>1188771.9339999999</c:v>
                </c:pt>
                <c:pt idx="889">
                  <c:v>1176238.476</c:v>
                </c:pt>
                <c:pt idx="890">
                  <c:v>1174411.5649999999</c:v>
                </c:pt>
                <c:pt idx="891">
                  <c:v>1170959.5530000001</c:v>
                </c:pt>
                <c:pt idx="892">
                  <c:v>1183439.9029999999</c:v>
                </c:pt>
                <c:pt idx="893">
                  <c:v>1170715.257</c:v>
                </c:pt>
                <c:pt idx="894">
                  <c:v>1168309.47</c:v>
                </c:pt>
                <c:pt idx="895">
                  <c:v>1177837.023</c:v>
                </c:pt>
                <c:pt idx="896">
                  <c:v>1230605.0049999999</c:v>
                </c:pt>
                <c:pt idx="897">
                  <c:v>1235644.942</c:v>
                </c:pt>
                <c:pt idx="898">
                  <c:v>1227795.598</c:v>
                </c:pt>
                <c:pt idx="899">
                  <c:v>1232139.8219999999</c:v>
                </c:pt>
                <c:pt idx="900">
                  <c:v>1220663.2109999999</c:v>
                </c:pt>
                <c:pt idx="901">
                  <c:v>1229734.0360000001</c:v>
                </c:pt>
                <c:pt idx="902">
                  <c:v>1199552.8319999999</c:v>
                </c:pt>
                <c:pt idx="903">
                  <c:v>1187088.4140000001</c:v>
                </c:pt>
                <c:pt idx="904">
                  <c:v>1192930.28</c:v>
                </c:pt>
                <c:pt idx="905">
                  <c:v>1166222.331</c:v>
                </c:pt>
                <c:pt idx="906">
                  <c:v>1167873.986</c:v>
                </c:pt>
                <c:pt idx="907">
                  <c:v>1176615.541</c:v>
                </c:pt>
                <c:pt idx="908">
                  <c:v>1173763.649</c:v>
                </c:pt>
                <c:pt idx="909">
                  <c:v>1160348.6000000001</c:v>
                </c:pt>
                <c:pt idx="910">
                  <c:v>1195840.591</c:v>
                </c:pt>
                <c:pt idx="911">
                  <c:v>1217821.94</c:v>
                </c:pt>
                <c:pt idx="912">
                  <c:v>1205575.264</c:v>
                </c:pt>
                <c:pt idx="913">
                  <c:v>1232187.6189999999</c:v>
                </c:pt>
                <c:pt idx="914">
                  <c:v>1234290.6910000001</c:v>
                </c:pt>
                <c:pt idx="915">
                  <c:v>1222824.702</c:v>
                </c:pt>
                <c:pt idx="916">
                  <c:v>1223886.8589999999</c:v>
                </c:pt>
                <c:pt idx="917">
                  <c:v>1218751.328</c:v>
                </c:pt>
                <c:pt idx="918">
                  <c:v>1220503.8870000001</c:v>
                </c:pt>
                <c:pt idx="919">
                  <c:v>1221905.9350000001</c:v>
                </c:pt>
                <c:pt idx="920">
                  <c:v>1240642.3929999999</c:v>
                </c:pt>
                <c:pt idx="921">
                  <c:v>1238725.199</c:v>
                </c:pt>
                <c:pt idx="922">
                  <c:v>1243568.6370000001</c:v>
                </c:pt>
                <c:pt idx="923">
                  <c:v>1227896.503</c:v>
                </c:pt>
                <c:pt idx="924">
                  <c:v>1225612.865</c:v>
                </c:pt>
                <c:pt idx="925">
                  <c:v>1216828.8230000001</c:v>
                </c:pt>
                <c:pt idx="926">
                  <c:v>1193817.1810000001</c:v>
                </c:pt>
                <c:pt idx="927">
                  <c:v>1187412.372</c:v>
                </c:pt>
                <c:pt idx="928">
                  <c:v>1189552.6189999999</c:v>
                </c:pt>
                <c:pt idx="929">
                  <c:v>1197486.9350000001</c:v>
                </c:pt>
                <c:pt idx="930">
                  <c:v>1220355.1850000001</c:v>
                </c:pt>
                <c:pt idx="931">
                  <c:v>1225076.4750000001</c:v>
                </c:pt>
                <c:pt idx="932">
                  <c:v>1222479.5</c:v>
                </c:pt>
                <c:pt idx="933">
                  <c:v>1217343.969</c:v>
                </c:pt>
                <c:pt idx="934">
                  <c:v>1214847.899</c:v>
                </c:pt>
                <c:pt idx="935">
                  <c:v>1192489.4850000001</c:v>
                </c:pt>
                <c:pt idx="936">
                  <c:v>1190104.9410000001</c:v>
                </c:pt>
                <c:pt idx="937">
                  <c:v>1195909.632</c:v>
                </c:pt>
                <c:pt idx="938">
                  <c:v>1174979.8189999999</c:v>
                </c:pt>
                <c:pt idx="939">
                  <c:v>1180646.429</c:v>
                </c:pt>
                <c:pt idx="940">
                  <c:v>1164984.9169999999</c:v>
                </c:pt>
                <c:pt idx="941">
                  <c:v>1156285.848</c:v>
                </c:pt>
                <c:pt idx="942">
                  <c:v>1155090.9210000001</c:v>
                </c:pt>
                <c:pt idx="943">
                  <c:v>1149721.7150000001</c:v>
                </c:pt>
                <c:pt idx="944">
                  <c:v>1165664.6980000001</c:v>
                </c:pt>
                <c:pt idx="945">
                  <c:v>1156450.4820000001</c:v>
                </c:pt>
                <c:pt idx="946">
                  <c:v>1164485.703</c:v>
                </c:pt>
                <c:pt idx="947">
                  <c:v>1155414.879</c:v>
                </c:pt>
                <c:pt idx="948">
                  <c:v>1142159.1540000001</c:v>
                </c:pt>
                <c:pt idx="949">
                  <c:v>1130751.5830000001</c:v>
                </c:pt>
                <c:pt idx="950">
                  <c:v>1123592.6410000001</c:v>
                </c:pt>
                <c:pt idx="951">
                  <c:v>1136327.909</c:v>
                </c:pt>
                <c:pt idx="952">
                  <c:v>1119965.3740000001</c:v>
                </c:pt>
                <c:pt idx="953">
                  <c:v>1131978.3740000001</c:v>
                </c:pt>
                <c:pt idx="954">
                  <c:v>1172558.1000000001</c:v>
                </c:pt>
                <c:pt idx="955">
                  <c:v>1170285.0830000001</c:v>
                </c:pt>
                <c:pt idx="956">
                  <c:v>1193206.4410000001</c:v>
                </c:pt>
                <c:pt idx="957">
                  <c:v>1206106.3430000001</c:v>
                </c:pt>
                <c:pt idx="958">
                  <c:v>1199441.3049999999</c:v>
                </c:pt>
                <c:pt idx="959">
                  <c:v>1204364.405</c:v>
                </c:pt>
                <c:pt idx="960">
                  <c:v>1191018.3970000001</c:v>
                </c:pt>
                <c:pt idx="961">
                  <c:v>1251147.1299999999</c:v>
                </c:pt>
                <c:pt idx="962">
                  <c:v>1256904.023</c:v>
                </c:pt>
                <c:pt idx="963">
                  <c:v>1257658.155</c:v>
                </c:pt>
                <c:pt idx="964">
                  <c:v>1259246.081</c:v>
                </c:pt>
                <c:pt idx="965">
                  <c:v>1266527.17</c:v>
                </c:pt>
                <c:pt idx="966">
                  <c:v>1259718.7409999999</c:v>
                </c:pt>
                <c:pt idx="967">
                  <c:v>1264615.287</c:v>
                </c:pt>
                <c:pt idx="968">
                  <c:v>1300293.155</c:v>
                </c:pt>
                <c:pt idx="969">
                  <c:v>1305189.7009999999</c:v>
                </c:pt>
                <c:pt idx="970">
                  <c:v>1298269.746</c:v>
                </c:pt>
                <c:pt idx="971">
                  <c:v>1317101.797</c:v>
                </c:pt>
                <c:pt idx="972">
                  <c:v>1339885.075</c:v>
                </c:pt>
                <c:pt idx="973">
                  <c:v>1340660.45</c:v>
                </c:pt>
                <c:pt idx="974">
                  <c:v>1346810.341</c:v>
                </c:pt>
                <c:pt idx="975">
                  <c:v>1341149.0419999999</c:v>
                </c:pt>
                <c:pt idx="976">
                  <c:v>1341573.905</c:v>
                </c:pt>
                <c:pt idx="977">
                  <c:v>1343931.8940000001</c:v>
                </c:pt>
                <c:pt idx="978">
                  <c:v>1318790.628</c:v>
                </c:pt>
                <c:pt idx="979">
                  <c:v>1368977.567</c:v>
                </c:pt>
                <c:pt idx="980">
                  <c:v>1378606.0249999999</c:v>
                </c:pt>
                <c:pt idx="981">
                  <c:v>1368637.6769999999</c:v>
                </c:pt>
                <c:pt idx="982">
                  <c:v>1355716.531</c:v>
                </c:pt>
                <c:pt idx="983">
                  <c:v>1378382.9709999999</c:v>
                </c:pt>
                <c:pt idx="984">
                  <c:v>1386593.449</c:v>
                </c:pt>
                <c:pt idx="985">
                  <c:v>1379158.3459999999</c:v>
                </c:pt>
                <c:pt idx="986">
                  <c:v>1384766.5379999999</c:v>
                </c:pt>
                <c:pt idx="987">
                  <c:v>1371648.8929999999</c:v>
                </c:pt>
                <c:pt idx="988">
                  <c:v>1365759.23</c:v>
                </c:pt>
                <c:pt idx="989">
                  <c:v>1408346.433</c:v>
                </c:pt>
                <c:pt idx="990">
                  <c:v>1421097.6340000001</c:v>
                </c:pt>
                <c:pt idx="991">
                  <c:v>1427916.6839999999</c:v>
                </c:pt>
                <c:pt idx="992">
                  <c:v>1426944.81</c:v>
                </c:pt>
                <c:pt idx="993">
                  <c:v>1456918.8940000001</c:v>
                </c:pt>
                <c:pt idx="994">
                  <c:v>1459420.274</c:v>
                </c:pt>
                <c:pt idx="995">
                  <c:v>1471980.2860000001</c:v>
                </c:pt>
                <c:pt idx="996">
                  <c:v>1474189.574</c:v>
                </c:pt>
                <c:pt idx="997">
                  <c:v>1465708.247</c:v>
                </c:pt>
                <c:pt idx="998">
                  <c:v>1472006.84</c:v>
                </c:pt>
                <c:pt idx="999">
                  <c:v>1453812.0830000001</c:v>
                </c:pt>
                <c:pt idx="1000">
                  <c:v>1426270.34</c:v>
                </c:pt>
                <c:pt idx="1001">
                  <c:v>1435314.611</c:v>
                </c:pt>
                <c:pt idx="1002">
                  <c:v>1386407.571</c:v>
                </c:pt>
                <c:pt idx="1003">
                  <c:v>1378999.023</c:v>
                </c:pt>
                <c:pt idx="1004">
                  <c:v>1383438.841</c:v>
                </c:pt>
                <c:pt idx="1005">
                  <c:v>1363592.429</c:v>
                </c:pt>
                <c:pt idx="1006">
                  <c:v>1377979.352</c:v>
                </c:pt>
                <c:pt idx="1007">
                  <c:v>1419748.6939999999</c:v>
                </c:pt>
                <c:pt idx="1008">
                  <c:v>1417364.15</c:v>
                </c:pt>
                <c:pt idx="1009">
                  <c:v>1351977.737</c:v>
                </c:pt>
                <c:pt idx="1010">
                  <c:v>1392918.5959999999</c:v>
                </c:pt>
                <c:pt idx="1011">
                  <c:v>1407464.8430000001</c:v>
                </c:pt>
                <c:pt idx="1012">
                  <c:v>1391150.1040000001</c:v>
                </c:pt>
                <c:pt idx="1013">
                  <c:v>1384485.0660000001</c:v>
                </c:pt>
                <c:pt idx="1014">
                  <c:v>1376752.56</c:v>
                </c:pt>
                <c:pt idx="1015">
                  <c:v>1357230.1059999999</c:v>
                </c:pt>
                <c:pt idx="1016">
                  <c:v>1342296.172</c:v>
                </c:pt>
                <c:pt idx="1017">
                  <c:v>1345896.8859999999</c:v>
                </c:pt>
                <c:pt idx="1018">
                  <c:v>1348870.9269999999</c:v>
                </c:pt>
                <c:pt idx="1019">
                  <c:v>1329019.2039999999</c:v>
                </c:pt>
                <c:pt idx="1020">
                  <c:v>1341026.8940000001</c:v>
                </c:pt>
                <c:pt idx="1021">
                  <c:v>1386205.7609999999</c:v>
                </c:pt>
                <c:pt idx="1022">
                  <c:v>1388765.561</c:v>
                </c:pt>
                <c:pt idx="1023">
                  <c:v>1390528.7420000001</c:v>
                </c:pt>
                <c:pt idx="1024">
                  <c:v>1387761.8219999999</c:v>
                </c:pt>
                <c:pt idx="1025">
                  <c:v>1367554.2760000001</c:v>
                </c:pt>
                <c:pt idx="1026">
                  <c:v>1372057.824</c:v>
                </c:pt>
                <c:pt idx="1027">
                  <c:v>1327325.0630000001</c:v>
                </c:pt>
                <c:pt idx="1028">
                  <c:v>1325083.9099999999</c:v>
                </c:pt>
                <c:pt idx="1029">
                  <c:v>1324080.172</c:v>
                </c:pt>
                <c:pt idx="1030">
                  <c:v>1320468.8359999999</c:v>
                </c:pt>
                <c:pt idx="1031">
                  <c:v>1318960.5730000001</c:v>
                </c:pt>
                <c:pt idx="1032">
                  <c:v>1312985.9369999999</c:v>
                </c:pt>
                <c:pt idx="1033">
                  <c:v>1322083.3160000001</c:v>
                </c:pt>
                <c:pt idx="1034">
                  <c:v>1319895.2709999999</c:v>
                </c:pt>
                <c:pt idx="1035">
                  <c:v>1315949.3559999999</c:v>
                </c:pt>
                <c:pt idx="1036">
                  <c:v>1307574.2450000001</c:v>
                </c:pt>
                <c:pt idx="1037">
                  <c:v>1294143.264</c:v>
                </c:pt>
                <c:pt idx="1038">
                  <c:v>1306235.926</c:v>
                </c:pt>
                <c:pt idx="1039">
                  <c:v>1305641.118</c:v>
                </c:pt>
                <c:pt idx="1040">
                  <c:v>1309029.4010000001</c:v>
                </c:pt>
                <c:pt idx="1041">
                  <c:v>1345663.2109999999</c:v>
                </c:pt>
                <c:pt idx="1042">
                  <c:v>1343985.0020000001</c:v>
                </c:pt>
                <c:pt idx="1043">
                  <c:v>1300861.4099999999</c:v>
                </c:pt>
                <c:pt idx="1044">
                  <c:v>1325349.45</c:v>
                </c:pt>
                <c:pt idx="1045">
                  <c:v>1310638.5689999999</c:v>
                </c:pt>
                <c:pt idx="1046">
                  <c:v>1299714.28</c:v>
                </c:pt>
                <c:pt idx="1047">
                  <c:v>1300951.693</c:v>
                </c:pt>
                <c:pt idx="1048">
                  <c:v>1323931.47</c:v>
                </c:pt>
                <c:pt idx="1049">
                  <c:v>1341494.243</c:v>
                </c:pt>
                <c:pt idx="1050">
                  <c:v>1343597.3149999999</c:v>
                </c:pt>
                <c:pt idx="1051">
                  <c:v>1350426.987</c:v>
                </c:pt>
                <c:pt idx="1052">
                  <c:v>1342455.496</c:v>
                </c:pt>
                <c:pt idx="1053">
                  <c:v>1349386.0730000001</c:v>
                </c:pt>
                <c:pt idx="1054">
                  <c:v>1344038.11</c:v>
                </c:pt>
                <c:pt idx="1055">
                  <c:v>1324159.8330000001</c:v>
                </c:pt>
                <c:pt idx="1056">
                  <c:v>1331377.193</c:v>
                </c:pt>
                <c:pt idx="1057">
                  <c:v>1355689.977</c:v>
                </c:pt>
                <c:pt idx="1058">
                  <c:v>1376582.615</c:v>
                </c:pt>
                <c:pt idx="1059">
                  <c:v>1385908.3570000001</c:v>
                </c:pt>
                <c:pt idx="1060">
                  <c:v>1388691.21</c:v>
                </c:pt>
                <c:pt idx="1061">
                  <c:v>1390380.04</c:v>
                </c:pt>
                <c:pt idx="1062">
                  <c:v>1371696.69</c:v>
                </c:pt>
                <c:pt idx="1063">
                  <c:v>1379333.602</c:v>
                </c:pt>
                <c:pt idx="1064">
                  <c:v>1380586.9480000001</c:v>
                </c:pt>
                <c:pt idx="1065">
                  <c:v>1404363.3430000001</c:v>
                </c:pt>
                <c:pt idx="1066">
                  <c:v>1403407.4010000001</c:v>
                </c:pt>
                <c:pt idx="1067">
                  <c:v>1399031.3119999999</c:v>
                </c:pt>
                <c:pt idx="1068">
                  <c:v>1384219.527</c:v>
                </c:pt>
                <c:pt idx="1069">
                  <c:v>1382196.1170000001</c:v>
                </c:pt>
                <c:pt idx="1070">
                  <c:v>1362572.7579999999</c:v>
                </c:pt>
                <c:pt idx="1071">
                  <c:v>1359848.324</c:v>
                </c:pt>
                <c:pt idx="1072">
                  <c:v>1342482.05</c:v>
                </c:pt>
                <c:pt idx="1073">
                  <c:v>1319284.531</c:v>
                </c:pt>
                <c:pt idx="1074">
                  <c:v>1274557.08</c:v>
                </c:pt>
                <c:pt idx="1075">
                  <c:v>1283495.135</c:v>
                </c:pt>
                <c:pt idx="1076">
                  <c:v>1276628.287</c:v>
                </c:pt>
                <c:pt idx="1077">
                  <c:v>1284546.6710000001</c:v>
                </c:pt>
                <c:pt idx="1078">
                  <c:v>1274997.8759999999</c:v>
                </c:pt>
                <c:pt idx="1079">
                  <c:v>1232883.3330000001</c:v>
                </c:pt>
                <c:pt idx="1080">
                  <c:v>1230716.531</c:v>
                </c:pt>
                <c:pt idx="1081">
                  <c:v>1153083.443</c:v>
                </c:pt>
                <c:pt idx="1082">
                  <c:v>1150008.497</c:v>
                </c:pt>
                <c:pt idx="1083">
                  <c:v>1151538.004</c:v>
                </c:pt>
                <c:pt idx="1084">
                  <c:v>1147523.0490000001</c:v>
                </c:pt>
                <c:pt idx="1085">
                  <c:v>1168713.0900000001</c:v>
                </c:pt>
                <c:pt idx="1086">
                  <c:v>1175447.1680000001</c:v>
                </c:pt>
                <c:pt idx="1087">
                  <c:v>1180046.31</c:v>
                </c:pt>
                <c:pt idx="1088">
                  <c:v>1170407.2309999999</c:v>
                </c:pt>
                <c:pt idx="1089">
                  <c:v>1180046.31</c:v>
                </c:pt>
                <c:pt idx="1090">
                  <c:v>1182632.6629999999</c:v>
                </c:pt>
                <c:pt idx="1091">
                  <c:v>1149052.5560000001</c:v>
                </c:pt>
                <c:pt idx="1092">
                  <c:v>1148548.031</c:v>
                </c:pt>
                <c:pt idx="1093">
                  <c:v>1181156.2649999999</c:v>
                </c:pt>
                <c:pt idx="1094">
                  <c:v>1235655.564</c:v>
                </c:pt>
                <c:pt idx="1095">
                  <c:v>1208400.6029999999</c:v>
                </c:pt>
                <c:pt idx="1096">
                  <c:v>1225357.9469999999</c:v>
                </c:pt>
                <c:pt idx="1097">
                  <c:v>1230960.828</c:v>
                </c:pt>
                <c:pt idx="1098">
                  <c:v>1212367.7609999999</c:v>
                </c:pt>
                <c:pt idx="1099">
                  <c:v>1192446.9979999999</c:v>
                </c:pt>
                <c:pt idx="1100">
                  <c:v>1163317.33</c:v>
                </c:pt>
                <c:pt idx="1101">
                  <c:v>1169536.2620000001</c:v>
                </c:pt>
                <c:pt idx="1102">
                  <c:v>1203339.423</c:v>
                </c:pt>
                <c:pt idx="1103">
                  <c:v>1194475.719</c:v>
                </c:pt>
                <c:pt idx="1104">
                  <c:v>1188384.246</c:v>
                </c:pt>
                <c:pt idx="1105">
                  <c:v>1181124.3999999999</c:v>
                </c:pt>
                <c:pt idx="1106">
                  <c:v>1155611.378</c:v>
                </c:pt>
                <c:pt idx="1107">
                  <c:v>1162738.4539999999</c:v>
                </c:pt>
                <c:pt idx="1108">
                  <c:v>1164666.27</c:v>
                </c:pt>
                <c:pt idx="1109">
                  <c:v>1192462.9310000001</c:v>
                </c:pt>
                <c:pt idx="1110">
                  <c:v>1193471.98</c:v>
                </c:pt>
                <c:pt idx="1111">
                  <c:v>1209972.5959999999</c:v>
                </c:pt>
                <c:pt idx="1112">
                  <c:v>1218103.412</c:v>
                </c:pt>
                <c:pt idx="1113">
                  <c:v>1211188.767</c:v>
                </c:pt>
                <c:pt idx="1114">
                  <c:v>1209149.4240000001</c:v>
                </c:pt>
                <c:pt idx="1115">
                  <c:v>1214051.281</c:v>
                </c:pt>
                <c:pt idx="1116">
                  <c:v>1249516.7180000001</c:v>
                </c:pt>
                <c:pt idx="1117">
                  <c:v>1252851.8929999999</c:v>
                </c:pt>
                <c:pt idx="1118">
                  <c:v>1247546.416</c:v>
                </c:pt>
                <c:pt idx="1119">
                  <c:v>1232941.7509999999</c:v>
                </c:pt>
                <c:pt idx="1120">
                  <c:v>1223679.7379999999</c:v>
                </c:pt>
                <c:pt idx="1121">
                  <c:v>1238172.8770000001</c:v>
                </c:pt>
                <c:pt idx="1122">
                  <c:v>1228103.6240000001</c:v>
                </c:pt>
                <c:pt idx="1123">
                  <c:v>1226043.0390000001</c:v>
                </c:pt>
                <c:pt idx="1124">
                  <c:v>1223568.2120000001</c:v>
                </c:pt>
                <c:pt idx="1125">
                  <c:v>1214539.8729999999</c:v>
                </c:pt>
                <c:pt idx="1126">
                  <c:v>1240398.0970000001</c:v>
                </c:pt>
                <c:pt idx="1127">
                  <c:v>1243191.571</c:v>
                </c:pt>
                <c:pt idx="1128">
                  <c:v>1236383.1410000001</c:v>
                </c:pt>
                <c:pt idx="1129">
                  <c:v>1231205.1240000001</c:v>
                </c:pt>
                <c:pt idx="1130">
                  <c:v>1228868.3770000001</c:v>
                </c:pt>
                <c:pt idx="1131">
                  <c:v>1232283.2139999999</c:v>
                </c:pt>
                <c:pt idx="1132">
                  <c:v>1250424.8629999999</c:v>
                </c:pt>
                <c:pt idx="1133">
                  <c:v>1248406.764</c:v>
                </c:pt>
                <c:pt idx="1134">
                  <c:v>1243648.298</c:v>
                </c:pt>
                <c:pt idx="1135">
                  <c:v>1252166.801</c:v>
                </c:pt>
                <c:pt idx="1136">
                  <c:v>1296156.0519999999</c:v>
                </c:pt>
                <c:pt idx="1137">
                  <c:v>1314361.4310000001</c:v>
                </c:pt>
                <c:pt idx="1138">
                  <c:v>1318610.061</c:v>
                </c:pt>
                <c:pt idx="1139">
                  <c:v>1331658.665</c:v>
                </c:pt>
                <c:pt idx="1140">
                  <c:v>1321801.844</c:v>
                </c:pt>
                <c:pt idx="1141">
                  <c:v>1316220.206</c:v>
                </c:pt>
                <c:pt idx="1142">
                  <c:v>1289098.0160000001</c:v>
                </c:pt>
                <c:pt idx="1143">
                  <c:v>1291854.314</c:v>
                </c:pt>
                <c:pt idx="1144">
                  <c:v>1312980.6259999999</c:v>
                </c:pt>
                <c:pt idx="1145">
                  <c:v>1297897.99</c:v>
                </c:pt>
                <c:pt idx="1146">
                  <c:v>1290006.1610000001</c:v>
                </c:pt>
                <c:pt idx="1147">
                  <c:v>1266325.3600000001</c:v>
                </c:pt>
                <c:pt idx="1148">
                  <c:v>1271917.6189999999</c:v>
                </c:pt>
                <c:pt idx="1149">
                  <c:v>1279389.8970000001</c:v>
                </c:pt>
                <c:pt idx="1150">
                  <c:v>1296793.3470000001</c:v>
                </c:pt>
                <c:pt idx="1151">
                  <c:v>1303044.1429999999</c:v>
                </c:pt>
                <c:pt idx="1152">
                  <c:v>1290160.173</c:v>
                </c:pt>
                <c:pt idx="1153">
                  <c:v>1310973.149</c:v>
                </c:pt>
                <c:pt idx="1154">
                  <c:v>1313113.3959999999</c:v>
                </c:pt>
                <c:pt idx="1155">
                  <c:v>1310447.3810000001</c:v>
                </c:pt>
                <c:pt idx="1156">
                  <c:v>1285938.0970000001</c:v>
                </c:pt>
                <c:pt idx="1157">
                  <c:v>1281668.2239999999</c:v>
                </c:pt>
                <c:pt idx="1158">
                  <c:v>1288423.5460000001</c:v>
                </c:pt>
                <c:pt idx="1159">
                  <c:v>1312465.48</c:v>
                </c:pt>
                <c:pt idx="1160">
                  <c:v>1298960.148</c:v>
                </c:pt>
                <c:pt idx="1161">
                  <c:v>1284408.591</c:v>
                </c:pt>
                <c:pt idx="1162">
                  <c:v>1274859.7949999999</c:v>
                </c:pt>
                <c:pt idx="1163">
                  <c:v>1257891.83</c:v>
                </c:pt>
                <c:pt idx="1164">
                  <c:v>1256505.7139999999</c:v>
                </c:pt>
                <c:pt idx="1165">
                  <c:v>1259745.2949999999</c:v>
                </c:pt>
                <c:pt idx="1166">
                  <c:v>1278556.1029999999</c:v>
                </c:pt>
                <c:pt idx="1167">
                  <c:v>1260632.196</c:v>
                </c:pt>
                <c:pt idx="1168">
                  <c:v>1266601.5209999999</c:v>
                </c:pt>
                <c:pt idx="1169">
                  <c:v>1264206.3559999999</c:v>
                </c:pt>
                <c:pt idx="1170">
                  <c:v>1265969.537</c:v>
                </c:pt>
                <c:pt idx="1171">
                  <c:v>1249930.96</c:v>
                </c:pt>
                <c:pt idx="1172">
                  <c:v>1243016.3149999999</c:v>
                </c:pt>
                <c:pt idx="1173">
                  <c:v>1225703.148</c:v>
                </c:pt>
                <c:pt idx="1174">
                  <c:v>1229919.9129999999</c:v>
                </c:pt>
                <c:pt idx="1175">
                  <c:v>1242724.2209999999</c:v>
                </c:pt>
                <c:pt idx="1176">
                  <c:v>1215171.8570000001</c:v>
                </c:pt>
                <c:pt idx="1177">
                  <c:v>1223870.9269999999</c:v>
                </c:pt>
                <c:pt idx="1178">
                  <c:v>1248422.696</c:v>
                </c:pt>
                <c:pt idx="1179">
                  <c:v>1289937.1200000001</c:v>
                </c:pt>
                <c:pt idx="1180">
                  <c:v>1281046.862</c:v>
                </c:pt>
                <c:pt idx="1181">
                  <c:v>1287786.2509999999</c:v>
                </c:pt>
                <c:pt idx="1182">
                  <c:v>1279894.422</c:v>
                </c:pt>
                <c:pt idx="1183">
                  <c:v>1273505.544</c:v>
                </c:pt>
                <c:pt idx="1184">
                  <c:v>1268550.58</c:v>
                </c:pt>
                <c:pt idx="1185">
                  <c:v>1267907.9750000001</c:v>
                </c:pt>
                <c:pt idx="1186">
                  <c:v>1282278.9650000001</c:v>
                </c:pt>
                <c:pt idx="1187">
                  <c:v>1295582.487</c:v>
                </c:pt>
                <c:pt idx="1188">
                  <c:v>1295269.1510000001</c:v>
                </c:pt>
                <c:pt idx="1189">
                  <c:v>1284567.9140000001</c:v>
                </c:pt>
                <c:pt idx="1190">
                  <c:v>1297308.493</c:v>
                </c:pt>
                <c:pt idx="1191">
                  <c:v>1314494.2009999999</c:v>
                </c:pt>
                <c:pt idx="1192">
                  <c:v>1310808.514</c:v>
                </c:pt>
                <c:pt idx="1193">
                  <c:v>1302359.0519999999</c:v>
                </c:pt>
                <c:pt idx="1194">
                  <c:v>1301604.92</c:v>
                </c:pt>
                <c:pt idx="1195">
                  <c:v>1302906.0630000001</c:v>
                </c:pt>
                <c:pt idx="1196">
                  <c:v>1281365.51</c:v>
                </c:pt>
                <c:pt idx="1197">
                  <c:v>1279910.3540000001</c:v>
                </c:pt>
                <c:pt idx="1198">
                  <c:v>1278115.308</c:v>
                </c:pt>
                <c:pt idx="1199">
                  <c:v>1257551.939</c:v>
                </c:pt>
                <c:pt idx="1200">
                  <c:v>1251423.291</c:v>
                </c:pt>
                <c:pt idx="1201">
                  <c:v>1251874.7080000001</c:v>
                </c:pt>
                <c:pt idx="1202">
                  <c:v>1238693.334</c:v>
                </c:pt>
                <c:pt idx="1203">
                  <c:v>1209871.6910000001</c:v>
                </c:pt>
                <c:pt idx="1204">
                  <c:v>1213302.46</c:v>
                </c:pt>
                <c:pt idx="1205">
                  <c:v>1215240.8970000001</c:v>
                </c:pt>
                <c:pt idx="1206">
                  <c:v>1224194.885</c:v>
                </c:pt>
                <c:pt idx="1207">
                  <c:v>1203068.5730000001</c:v>
                </c:pt>
                <c:pt idx="1208">
                  <c:v>1223329.226</c:v>
                </c:pt>
                <c:pt idx="1209">
                  <c:v>1221194.29</c:v>
                </c:pt>
                <c:pt idx="1210">
                  <c:v>1237429.3670000001</c:v>
                </c:pt>
                <c:pt idx="1211">
                  <c:v>1233154.183</c:v>
                </c:pt>
                <c:pt idx="1212">
                  <c:v>1216584.5260000001</c:v>
                </c:pt>
                <c:pt idx="1213">
                  <c:v>1188894.0819999999</c:v>
                </c:pt>
                <c:pt idx="1214">
                  <c:v>1188554.1910000001</c:v>
                </c:pt>
                <c:pt idx="1215">
                  <c:v>1190630.709</c:v>
                </c:pt>
                <c:pt idx="1216">
                  <c:v>1180173.7690000001</c:v>
                </c:pt>
                <c:pt idx="1217">
                  <c:v>1170948.9310000001</c:v>
                </c:pt>
                <c:pt idx="1218">
                  <c:v>1165016.7819999999</c:v>
                </c:pt>
                <c:pt idx="1219">
                  <c:v>1175197.561</c:v>
                </c:pt>
                <c:pt idx="1220">
                  <c:v>1173121.0430000001</c:v>
                </c:pt>
                <c:pt idx="1221">
                  <c:v>1174661.172</c:v>
                </c:pt>
                <c:pt idx="1222">
                  <c:v>1156949.696</c:v>
                </c:pt>
                <c:pt idx="1223">
                  <c:v>1150311.2120000001</c:v>
                </c:pt>
                <c:pt idx="1224">
                  <c:v>1161686.9180000001</c:v>
                </c:pt>
                <c:pt idx="1225">
                  <c:v>1191634.4480000001</c:v>
                </c:pt>
                <c:pt idx="1226">
                  <c:v>1185309.3</c:v>
                </c:pt>
                <c:pt idx="1227">
                  <c:v>1192632.8759999999</c:v>
                </c:pt>
                <c:pt idx="1228">
                  <c:v>1176827.973</c:v>
                </c:pt>
                <c:pt idx="1229">
                  <c:v>1178920.423</c:v>
                </c:pt>
                <c:pt idx="1230">
                  <c:v>1183126.567</c:v>
                </c:pt>
                <c:pt idx="1231">
                  <c:v>1169674.3430000001</c:v>
                </c:pt>
                <c:pt idx="1232">
                  <c:v>1175001.0619999999</c:v>
                </c:pt>
                <c:pt idx="1233">
                  <c:v>1204236.946</c:v>
                </c:pt>
                <c:pt idx="1234">
                  <c:v>1213812.2960000001</c:v>
                </c:pt>
                <c:pt idx="1235">
                  <c:v>1216834.1329999999</c:v>
                </c:pt>
                <c:pt idx="1236">
                  <c:v>1210620.5120000001</c:v>
                </c:pt>
                <c:pt idx="1237">
                  <c:v>1219128.3940000001</c:v>
                </c:pt>
                <c:pt idx="1238">
                  <c:v>1227668.1399999999</c:v>
                </c:pt>
                <c:pt idx="1239">
                  <c:v>1212155.33</c:v>
                </c:pt>
                <c:pt idx="1240">
                  <c:v>1226080.2139999999</c:v>
                </c:pt>
                <c:pt idx="1241">
                  <c:v>1214810.7239999999</c:v>
                </c:pt>
                <c:pt idx="1242">
                  <c:v>1202516.2509999999</c:v>
                </c:pt>
                <c:pt idx="1243">
                  <c:v>1176079.152</c:v>
                </c:pt>
                <c:pt idx="1244">
                  <c:v>1146020.0959999999</c:v>
                </c:pt>
                <c:pt idx="1245">
                  <c:v>1148941.0290000001</c:v>
                </c:pt>
                <c:pt idx="1246">
                  <c:v>1144001.997</c:v>
                </c:pt>
                <c:pt idx="1247">
                  <c:v>1157204.6140000001</c:v>
                </c:pt>
                <c:pt idx="1248">
                  <c:v>1163258.912</c:v>
                </c:pt>
                <c:pt idx="1249">
                  <c:v>1160019.331</c:v>
                </c:pt>
                <c:pt idx="1250">
                  <c:v>1149243.7439999999</c:v>
                </c:pt>
                <c:pt idx="1251">
                  <c:v>1154368.6540000001</c:v>
                </c:pt>
                <c:pt idx="1252">
                  <c:v>1151569.8689999999</c:v>
                </c:pt>
                <c:pt idx="1253">
                  <c:v>1114091.6429999999</c:v>
                </c:pt>
                <c:pt idx="1254">
                  <c:v>1119864.469</c:v>
                </c:pt>
                <c:pt idx="1255">
                  <c:v>1122769.469</c:v>
                </c:pt>
                <c:pt idx="1256">
                  <c:v>1136683.7320000001</c:v>
                </c:pt>
                <c:pt idx="1257">
                  <c:v>1127395.165</c:v>
                </c:pt>
                <c:pt idx="1258">
                  <c:v>1138122.9550000001</c:v>
                </c:pt>
                <c:pt idx="1259">
                  <c:v>1135515.3589999999</c:v>
                </c:pt>
                <c:pt idx="1260">
                  <c:v>1126348.94</c:v>
                </c:pt>
                <c:pt idx="1261">
                  <c:v>1108345.371</c:v>
                </c:pt>
                <c:pt idx="1262">
                  <c:v>1146492.7560000001</c:v>
                </c:pt>
                <c:pt idx="1263">
                  <c:v>1155919.4029999999</c:v>
                </c:pt>
                <c:pt idx="1264">
                  <c:v>1154798.827</c:v>
                </c:pt>
                <c:pt idx="1265">
                  <c:v>1152998.47</c:v>
                </c:pt>
                <c:pt idx="1266">
                  <c:v>1144851.723</c:v>
                </c:pt>
                <c:pt idx="1267">
                  <c:v>1142865.4879999999</c:v>
                </c:pt>
                <c:pt idx="1268">
                  <c:v>1139854.2720000001</c:v>
                </c:pt>
                <c:pt idx="1269">
                  <c:v>1148781.7050000001</c:v>
                </c:pt>
                <c:pt idx="1270">
                  <c:v>1158139.3130000001</c:v>
                </c:pt>
                <c:pt idx="1271">
                  <c:v>1149790.7549999999</c:v>
                </c:pt>
                <c:pt idx="1272">
                  <c:v>1160656.6259999999</c:v>
                </c:pt>
                <c:pt idx="1273">
                  <c:v>1188193.058</c:v>
                </c:pt>
                <c:pt idx="1274">
                  <c:v>1188883.46</c:v>
                </c:pt>
                <c:pt idx="1275">
                  <c:v>1207545.567</c:v>
                </c:pt>
                <c:pt idx="1276">
                  <c:v>1205904.5330000001</c:v>
                </c:pt>
                <c:pt idx="1277">
                  <c:v>1204810.5109999999</c:v>
                </c:pt>
                <c:pt idx="1278">
                  <c:v>1184018.7790000001</c:v>
                </c:pt>
                <c:pt idx="1279">
                  <c:v>1185649.1910000001</c:v>
                </c:pt>
                <c:pt idx="1280">
                  <c:v>1181543.952</c:v>
                </c:pt>
                <c:pt idx="1281">
                  <c:v>1181374.007</c:v>
                </c:pt>
                <c:pt idx="1282">
                  <c:v>1161601.946</c:v>
                </c:pt>
                <c:pt idx="1283">
                  <c:v>1166673.7479999999</c:v>
                </c:pt>
                <c:pt idx="1284">
                  <c:v>1165542.55</c:v>
                </c:pt>
                <c:pt idx="1285">
                  <c:v>1163312.0190000001</c:v>
                </c:pt>
                <c:pt idx="1286">
                  <c:v>1151288.3970000001</c:v>
                </c:pt>
                <c:pt idx="1287">
                  <c:v>1133837.1499999999</c:v>
                </c:pt>
                <c:pt idx="1288">
                  <c:v>1146317.5</c:v>
                </c:pt>
                <c:pt idx="1289">
                  <c:v>1146418.405</c:v>
                </c:pt>
                <c:pt idx="1290">
                  <c:v>1145255.3430000001</c:v>
                </c:pt>
                <c:pt idx="1291">
                  <c:v>1145712.07</c:v>
                </c:pt>
                <c:pt idx="1292">
                  <c:v>1135085.1850000001</c:v>
                </c:pt>
                <c:pt idx="1293">
                  <c:v>1134118.622</c:v>
                </c:pt>
                <c:pt idx="1294">
                  <c:v>1133274.2069999999</c:v>
                </c:pt>
                <c:pt idx="1295">
                  <c:v>1157778.179</c:v>
                </c:pt>
                <c:pt idx="1296">
                  <c:v>1155016.57</c:v>
                </c:pt>
                <c:pt idx="1297">
                  <c:v>1153699.4939999999</c:v>
                </c:pt>
                <c:pt idx="1298">
                  <c:v>1138675.277</c:v>
                </c:pt>
                <c:pt idx="1299">
                  <c:v>1139668.3940000001</c:v>
                </c:pt>
                <c:pt idx="1300">
                  <c:v>1123305.8589999999</c:v>
                </c:pt>
                <c:pt idx="1301">
                  <c:v>1123640.4380000001</c:v>
                </c:pt>
                <c:pt idx="1302">
                  <c:v>1134336.3640000001</c:v>
                </c:pt>
                <c:pt idx="1303">
                  <c:v>1131659.727</c:v>
                </c:pt>
                <c:pt idx="1304">
                  <c:v>1140974.848</c:v>
                </c:pt>
                <c:pt idx="1305">
                  <c:v>1144995.1140000001</c:v>
                </c:pt>
                <c:pt idx="1306">
                  <c:v>1140374.7290000001</c:v>
                </c:pt>
                <c:pt idx="1307">
                  <c:v>1152095.6370000001</c:v>
                </c:pt>
                <c:pt idx="1308">
                  <c:v>1144559.6299999999</c:v>
                </c:pt>
                <c:pt idx="1309">
                  <c:v>1145250.0319999999</c:v>
                </c:pt>
                <c:pt idx="1310">
                  <c:v>1141776.777</c:v>
                </c:pt>
                <c:pt idx="1311">
                  <c:v>1130278.923</c:v>
                </c:pt>
                <c:pt idx="1312">
                  <c:v>1142137.9110000001</c:v>
                </c:pt>
                <c:pt idx="1313">
                  <c:v>1133704.3799999999</c:v>
                </c:pt>
                <c:pt idx="1314">
                  <c:v>1133470.706</c:v>
                </c:pt>
                <c:pt idx="1315">
                  <c:v>1147804.5209999999</c:v>
                </c:pt>
                <c:pt idx="1316">
                  <c:v>1147538.9809999999</c:v>
                </c:pt>
                <c:pt idx="1317">
                  <c:v>1143630.2420000001</c:v>
                </c:pt>
                <c:pt idx="1318">
                  <c:v>1155754.7690000001</c:v>
                </c:pt>
                <c:pt idx="1319">
                  <c:v>1164050.219</c:v>
                </c:pt>
                <c:pt idx="1320">
                  <c:v>1152265.5819999999</c:v>
                </c:pt>
                <c:pt idx="1321">
                  <c:v>1147257.5090000001</c:v>
                </c:pt>
                <c:pt idx="1322">
                  <c:v>1129556.655</c:v>
                </c:pt>
                <c:pt idx="1323">
                  <c:v>1134771.8489999999</c:v>
                </c:pt>
                <c:pt idx="1324">
                  <c:v>1133380.422</c:v>
                </c:pt>
                <c:pt idx="1325">
                  <c:v>1139068.2749999999</c:v>
                </c:pt>
                <c:pt idx="1326">
                  <c:v>1132987.4240000001</c:v>
                </c:pt>
                <c:pt idx="1327">
                  <c:v>1141330.6710000001</c:v>
                </c:pt>
                <c:pt idx="1328">
                  <c:v>1141957.344</c:v>
                </c:pt>
                <c:pt idx="1329">
                  <c:v>1149849.1740000001</c:v>
                </c:pt>
                <c:pt idx="1330">
                  <c:v>1149551.77</c:v>
                </c:pt>
                <c:pt idx="1331">
                  <c:v>1152902.8759999999</c:v>
                </c:pt>
                <c:pt idx="1332">
                  <c:v>1157852.53</c:v>
                </c:pt>
                <c:pt idx="1333">
                  <c:v>1157061.223</c:v>
                </c:pt>
                <c:pt idx="1334">
                  <c:v>1155781.3230000001</c:v>
                </c:pt>
                <c:pt idx="1335">
                  <c:v>1158001.2320000001</c:v>
                </c:pt>
                <c:pt idx="1336">
                  <c:v>1141134.172</c:v>
                </c:pt>
                <c:pt idx="1337">
                  <c:v>1138022.05</c:v>
                </c:pt>
                <c:pt idx="1338">
                  <c:v>1140762.4169999999</c:v>
                </c:pt>
                <c:pt idx="1339">
                  <c:v>1153375.5360000001</c:v>
                </c:pt>
                <c:pt idx="1340">
                  <c:v>1155085.6100000001</c:v>
                </c:pt>
                <c:pt idx="1341">
                  <c:v>1152902.8759999999</c:v>
                </c:pt>
                <c:pt idx="1342">
                  <c:v>1145573.99</c:v>
                </c:pt>
                <c:pt idx="1343">
                  <c:v>1149328.716</c:v>
                </c:pt>
                <c:pt idx="1344">
                  <c:v>1150475.8470000001</c:v>
                </c:pt>
                <c:pt idx="1345">
                  <c:v>1164496.325</c:v>
                </c:pt>
                <c:pt idx="1346">
                  <c:v>1167220.7590000001</c:v>
                </c:pt>
                <c:pt idx="1347">
                  <c:v>1188033.7339999999</c:v>
                </c:pt>
                <c:pt idx="1348">
                  <c:v>1200476.909</c:v>
                </c:pt>
                <c:pt idx="1349">
                  <c:v>1234173.8540000001</c:v>
                </c:pt>
                <c:pt idx="1350">
                  <c:v>1238141.0120000001</c:v>
                </c:pt>
                <c:pt idx="1351">
                  <c:v>1233170.115</c:v>
                </c:pt>
                <c:pt idx="1352">
                  <c:v>1248167.7779999999</c:v>
                </c:pt>
                <c:pt idx="1353">
                  <c:v>1237094.787</c:v>
                </c:pt>
                <c:pt idx="1354">
                  <c:v>1261641.246</c:v>
                </c:pt>
                <c:pt idx="1355">
                  <c:v>1258311.382</c:v>
                </c:pt>
                <c:pt idx="1356">
                  <c:v>1255055.8689999999</c:v>
                </c:pt>
                <c:pt idx="1357">
                  <c:v>1236064.4939999999</c:v>
                </c:pt>
                <c:pt idx="1358">
                  <c:v>1238013.5530000001</c:v>
                </c:pt>
                <c:pt idx="1359">
                  <c:v>1256187.067</c:v>
                </c:pt>
                <c:pt idx="1360">
                  <c:v>1251779.1140000001</c:v>
                </c:pt>
                <c:pt idx="1361">
                  <c:v>1252761.6089999999</c:v>
                </c:pt>
                <c:pt idx="1362">
                  <c:v>1240573.3529999999</c:v>
                </c:pt>
                <c:pt idx="1363">
                  <c:v>1253685.686</c:v>
                </c:pt>
                <c:pt idx="1364">
                  <c:v>1261078.3019999999</c:v>
                </c:pt>
                <c:pt idx="1365">
                  <c:v>1261189.8289999999</c:v>
                </c:pt>
                <c:pt idx="1366">
                  <c:v>1256606.6189999999</c:v>
                </c:pt>
                <c:pt idx="1367">
                  <c:v>1250286.7830000001</c:v>
                </c:pt>
                <c:pt idx="1368">
                  <c:v>1256192.378</c:v>
                </c:pt>
                <c:pt idx="1369">
                  <c:v>1244243.1070000001</c:v>
                </c:pt>
                <c:pt idx="1370">
                  <c:v>1234274.7590000001</c:v>
                </c:pt>
                <c:pt idx="1371">
                  <c:v>1236133.534</c:v>
                </c:pt>
                <c:pt idx="1372">
                  <c:v>1227471.6399999999</c:v>
                </c:pt>
                <c:pt idx="1373">
                  <c:v>1241816.077</c:v>
                </c:pt>
                <c:pt idx="1374">
                  <c:v>1250860.348</c:v>
                </c:pt>
                <c:pt idx="1375">
                  <c:v>1267398.139</c:v>
                </c:pt>
                <c:pt idx="1376">
                  <c:v>1279283.6810000001</c:v>
                </c:pt>
                <c:pt idx="1377">
                  <c:v>1288513.8289999999</c:v>
                </c:pt>
                <c:pt idx="1378">
                  <c:v>1300749.8829999999</c:v>
                </c:pt>
                <c:pt idx="1379">
                  <c:v>1298604.325</c:v>
                </c:pt>
                <c:pt idx="1380">
                  <c:v>1291811.828</c:v>
                </c:pt>
                <c:pt idx="1381">
                  <c:v>1287042.7409999999</c:v>
                </c:pt>
                <c:pt idx="1382">
                  <c:v>1294961.125</c:v>
                </c:pt>
                <c:pt idx="1383">
                  <c:v>1294339.763</c:v>
                </c:pt>
                <c:pt idx="1384">
                  <c:v>1268624.9310000001</c:v>
                </c:pt>
                <c:pt idx="1385">
                  <c:v>1275295.28</c:v>
                </c:pt>
                <c:pt idx="1386">
                  <c:v>1279188.0870000001</c:v>
                </c:pt>
                <c:pt idx="1387">
                  <c:v>1287977.44</c:v>
                </c:pt>
                <c:pt idx="1388">
                  <c:v>1263393.8049999999</c:v>
                </c:pt>
                <c:pt idx="1389">
                  <c:v>1274302.1629999999</c:v>
                </c:pt>
                <c:pt idx="1390">
                  <c:v>1296819.9010000001</c:v>
                </c:pt>
                <c:pt idx="1391">
                  <c:v>1294222.926</c:v>
                </c:pt>
                <c:pt idx="1392">
                  <c:v>1294345.074</c:v>
                </c:pt>
                <c:pt idx="1393">
                  <c:v>1299974.5079999999</c:v>
                </c:pt>
                <c:pt idx="1394">
                  <c:v>1301668.649</c:v>
                </c:pt>
                <c:pt idx="1395">
                  <c:v>1316214.8959999999</c:v>
                </c:pt>
                <c:pt idx="1396">
                  <c:v>1318116.1580000001</c:v>
                </c:pt>
                <c:pt idx="1397">
                  <c:v>1310059.693</c:v>
                </c:pt>
                <c:pt idx="1398">
                  <c:v>1303771.7209999999</c:v>
                </c:pt>
                <c:pt idx="1399">
                  <c:v>1299315.9709999999</c:v>
                </c:pt>
                <c:pt idx="1400">
                  <c:v>1308508.943</c:v>
                </c:pt>
                <c:pt idx="1401">
                  <c:v>1298168.841</c:v>
                </c:pt>
                <c:pt idx="1402">
                  <c:v>1296750.8600000001</c:v>
                </c:pt>
                <c:pt idx="1403">
                  <c:v>1303644.2620000001</c:v>
                </c:pt>
                <c:pt idx="1404">
                  <c:v>1292321.6640000001</c:v>
                </c:pt>
                <c:pt idx="1405">
                  <c:v>1284488.253</c:v>
                </c:pt>
                <c:pt idx="1406">
                  <c:v>1272432.7649999999</c:v>
                </c:pt>
                <c:pt idx="1407">
                  <c:v>1269655.2239999999</c:v>
                </c:pt>
                <c:pt idx="1408">
                  <c:v>1258035.2209999999</c:v>
                </c:pt>
                <c:pt idx="1409">
                  <c:v>1283431.406</c:v>
                </c:pt>
                <c:pt idx="1410">
                  <c:v>1301875.77</c:v>
                </c:pt>
                <c:pt idx="1411">
                  <c:v>1311196.202</c:v>
                </c:pt>
                <c:pt idx="1412">
                  <c:v>1332115.3929999999</c:v>
                </c:pt>
                <c:pt idx="1413">
                  <c:v>1334361.8559999999</c:v>
                </c:pt>
                <c:pt idx="1414">
                  <c:v>1334691.125</c:v>
                </c:pt>
                <c:pt idx="1415">
                  <c:v>1329529.0390000001</c:v>
                </c:pt>
                <c:pt idx="1416">
                  <c:v>1330920.466</c:v>
                </c:pt>
                <c:pt idx="1417">
                  <c:v>1328838.6370000001</c:v>
                </c:pt>
                <c:pt idx="1418">
                  <c:v>1362604.6229999999</c:v>
                </c:pt>
                <c:pt idx="1419">
                  <c:v>1358823.3419999999</c:v>
                </c:pt>
                <c:pt idx="1420">
                  <c:v>1377788.1629999999</c:v>
                </c:pt>
                <c:pt idx="1421">
                  <c:v>1370050.3459999999</c:v>
                </c:pt>
                <c:pt idx="1422">
                  <c:v>1370761.9920000001</c:v>
                </c:pt>
                <c:pt idx="1423">
                  <c:v>1363332.2</c:v>
                </c:pt>
                <c:pt idx="1424">
                  <c:v>1349694.0989999999</c:v>
                </c:pt>
                <c:pt idx="1425">
                  <c:v>1347463.568</c:v>
                </c:pt>
                <c:pt idx="1426">
                  <c:v>1347399.8389999999</c:v>
                </c:pt>
                <c:pt idx="1427">
                  <c:v>1372020.648</c:v>
                </c:pt>
                <c:pt idx="1428">
                  <c:v>1406965.629</c:v>
                </c:pt>
                <c:pt idx="1429">
                  <c:v>1426243.7860000001</c:v>
                </c:pt>
                <c:pt idx="1430">
                  <c:v>1446137.9950000001</c:v>
                </c:pt>
                <c:pt idx="1431">
                  <c:v>1462851.0430000001</c:v>
                </c:pt>
                <c:pt idx="1432">
                  <c:v>1491704.55</c:v>
                </c:pt>
                <c:pt idx="1433">
                  <c:v>1497541.105</c:v>
                </c:pt>
                <c:pt idx="1434">
                  <c:v>1552842.3330000001</c:v>
                </c:pt>
                <c:pt idx="1435">
                  <c:v>1576002.6769999999</c:v>
                </c:pt>
                <c:pt idx="1436">
                  <c:v>1648654.247</c:v>
                </c:pt>
                <c:pt idx="1437">
                  <c:v>1659562.6040000001</c:v>
                </c:pt>
                <c:pt idx="1438">
                  <c:v>1727535.37</c:v>
                </c:pt>
                <c:pt idx="1439">
                  <c:v>1650013.808</c:v>
                </c:pt>
                <c:pt idx="1440">
                  <c:v>1710896.673</c:v>
                </c:pt>
                <c:pt idx="1441">
                  <c:v>1690428.899</c:v>
                </c:pt>
                <c:pt idx="1442">
                  <c:v>1695856.524</c:v>
                </c:pt>
                <c:pt idx="1443">
                  <c:v>1708602.4129999999</c:v>
                </c:pt>
                <c:pt idx="1444">
                  <c:v>1754365.4669999999</c:v>
                </c:pt>
                <c:pt idx="1445">
                  <c:v>1784743.17</c:v>
                </c:pt>
                <c:pt idx="1446">
                  <c:v>1776952.2450000001</c:v>
                </c:pt>
                <c:pt idx="1447">
                  <c:v>1796729.6170000001</c:v>
                </c:pt>
                <c:pt idx="1448">
                  <c:v>1802736.118</c:v>
                </c:pt>
                <c:pt idx="1449">
                  <c:v>1765794.281</c:v>
                </c:pt>
                <c:pt idx="1450">
                  <c:v>1715591.409</c:v>
                </c:pt>
                <c:pt idx="1451">
                  <c:v>1771370.608</c:v>
                </c:pt>
                <c:pt idx="1452">
                  <c:v>1830012.321</c:v>
                </c:pt>
                <c:pt idx="1453">
                  <c:v>1835121.298</c:v>
                </c:pt>
                <c:pt idx="1454">
                  <c:v>1836231.253</c:v>
                </c:pt>
                <c:pt idx="1455">
                  <c:v>1876678.209</c:v>
                </c:pt>
                <c:pt idx="1456">
                  <c:v>1933944.4280000001</c:v>
                </c:pt>
                <c:pt idx="1457">
                  <c:v>1933689.51</c:v>
                </c:pt>
                <c:pt idx="1458">
                  <c:v>1935139.355</c:v>
                </c:pt>
                <c:pt idx="1459">
                  <c:v>1890247.27</c:v>
                </c:pt>
                <c:pt idx="1460">
                  <c:v>1883587.5430000001</c:v>
                </c:pt>
                <c:pt idx="1461">
                  <c:v>1865987.594</c:v>
                </c:pt>
                <c:pt idx="1462">
                  <c:v>1866231.89</c:v>
                </c:pt>
                <c:pt idx="1463">
                  <c:v>1860060.7549999999</c:v>
                </c:pt>
                <c:pt idx="1464">
                  <c:v>1914071.4620000001</c:v>
                </c:pt>
                <c:pt idx="1465">
                  <c:v>1930550.835</c:v>
                </c:pt>
                <c:pt idx="1466">
                  <c:v>1781854.102</c:v>
                </c:pt>
                <c:pt idx="1467">
                  <c:v>1803660.1950000001</c:v>
                </c:pt>
                <c:pt idx="1468">
                  <c:v>1884739.9839999999</c:v>
                </c:pt>
                <c:pt idx="1469">
                  <c:v>1894681.7779999999</c:v>
                </c:pt>
                <c:pt idx="1470">
                  <c:v>1896869.8219999999</c:v>
                </c:pt>
                <c:pt idx="1471">
                  <c:v>1916126.737</c:v>
                </c:pt>
                <c:pt idx="1472">
                  <c:v>1898569.274</c:v>
                </c:pt>
                <c:pt idx="1473">
                  <c:v>1872222.4580000001</c:v>
                </c:pt>
                <c:pt idx="1474">
                  <c:v>1849109.912</c:v>
                </c:pt>
                <c:pt idx="1475">
                  <c:v>1823931.47</c:v>
                </c:pt>
                <c:pt idx="1476">
                  <c:v>1781216.808</c:v>
                </c:pt>
                <c:pt idx="1477">
                  <c:v>1825556.571</c:v>
                </c:pt>
                <c:pt idx="1478">
                  <c:v>1806607.682</c:v>
                </c:pt>
                <c:pt idx="1479">
                  <c:v>1788115.52</c:v>
                </c:pt>
                <c:pt idx="1480">
                  <c:v>1759155.797</c:v>
                </c:pt>
                <c:pt idx="1481">
                  <c:v>1776946.9350000001</c:v>
                </c:pt>
                <c:pt idx="1482">
                  <c:v>1809353.3589999999</c:v>
                </c:pt>
                <c:pt idx="1483">
                  <c:v>1823788.078</c:v>
                </c:pt>
                <c:pt idx="1484">
                  <c:v>1828435.017</c:v>
                </c:pt>
                <c:pt idx="1485">
                  <c:v>1842752.9</c:v>
                </c:pt>
                <c:pt idx="1486">
                  <c:v>1858499.3840000001</c:v>
                </c:pt>
                <c:pt idx="1487">
                  <c:v>1870629.2220000001</c:v>
                </c:pt>
                <c:pt idx="1488">
                  <c:v>1847479.5</c:v>
                </c:pt>
                <c:pt idx="1489">
                  <c:v>1893986.064</c:v>
                </c:pt>
                <c:pt idx="1490">
                  <c:v>1897459.3189999999</c:v>
                </c:pt>
                <c:pt idx="1491">
                  <c:v>1912557.888</c:v>
                </c:pt>
                <c:pt idx="1492">
                  <c:v>1862971.067</c:v>
                </c:pt>
                <c:pt idx="1493">
                  <c:v>1875143.3910000001</c:v>
                </c:pt>
                <c:pt idx="1494">
                  <c:v>1856831.797</c:v>
                </c:pt>
                <c:pt idx="1495">
                  <c:v>1847367.9739999999</c:v>
                </c:pt>
                <c:pt idx="1496">
                  <c:v>1878823.767</c:v>
                </c:pt>
                <c:pt idx="1497">
                  <c:v>1869721.077</c:v>
                </c:pt>
                <c:pt idx="1498">
                  <c:v>1871866.6359999999</c:v>
                </c:pt>
                <c:pt idx="1499">
                  <c:v>1908080.8940000001</c:v>
                </c:pt>
                <c:pt idx="1500">
                  <c:v>1921262.2679999999</c:v>
                </c:pt>
                <c:pt idx="1501">
                  <c:v>1968002.507</c:v>
                </c:pt>
                <c:pt idx="1502">
                  <c:v>1995326.507</c:v>
                </c:pt>
                <c:pt idx="1503">
                  <c:v>2042560.649</c:v>
                </c:pt>
                <c:pt idx="1504">
                  <c:v>2039204.2320000001</c:v>
                </c:pt>
                <c:pt idx="1505">
                  <c:v>2067261.121</c:v>
                </c:pt>
                <c:pt idx="1506">
                  <c:v>2109476.5690000001</c:v>
                </c:pt>
                <c:pt idx="1507">
                  <c:v>2110002.3369999998</c:v>
                </c:pt>
                <c:pt idx="1508">
                  <c:v>2092667.9269999999</c:v>
                </c:pt>
                <c:pt idx="1509">
                  <c:v>2097760.9720000001</c:v>
                </c:pt>
                <c:pt idx="1510">
                  <c:v>2109285.38</c:v>
                </c:pt>
                <c:pt idx="1511">
                  <c:v>2171145.4309999999</c:v>
                </c:pt>
                <c:pt idx="1512">
                  <c:v>2151506.139</c:v>
                </c:pt>
                <c:pt idx="1513">
                  <c:v>2190115.5630000001</c:v>
                </c:pt>
                <c:pt idx="1514">
                  <c:v>2190582.912</c:v>
                </c:pt>
                <c:pt idx="1515">
                  <c:v>2214885.0750000002</c:v>
                </c:pt>
                <c:pt idx="1516">
                  <c:v>2262416.6209999998</c:v>
                </c:pt>
                <c:pt idx="1517">
                  <c:v>2281407.9959999998</c:v>
                </c:pt>
                <c:pt idx="1518">
                  <c:v>2263531.8859999999</c:v>
                </c:pt>
                <c:pt idx="1519">
                  <c:v>2307229.0440000002</c:v>
                </c:pt>
                <c:pt idx="1520">
                  <c:v>2347936.2280000001</c:v>
                </c:pt>
                <c:pt idx="1521">
                  <c:v>2357022.9849999999</c:v>
                </c:pt>
                <c:pt idx="1522">
                  <c:v>2326395.6749999998</c:v>
                </c:pt>
                <c:pt idx="1523">
                  <c:v>2397050.389</c:v>
                </c:pt>
                <c:pt idx="1524">
                  <c:v>2440912.1809999999</c:v>
                </c:pt>
                <c:pt idx="1525">
                  <c:v>2401495.5180000002</c:v>
                </c:pt>
                <c:pt idx="1526">
                  <c:v>2453137.6129999999</c:v>
                </c:pt>
                <c:pt idx="1527">
                  <c:v>2517212.2620000001</c:v>
                </c:pt>
                <c:pt idx="1528">
                  <c:v>2517785.827</c:v>
                </c:pt>
                <c:pt idx="1529">
                  <c:v>2497472.0649999999</c:v>
                </c:pt>
                <c:pt idx="1530">
                  <c:v>2553208.7779999999</c:v>
                </c:pt>
                <c:pt idx="1531">
                  <c:v>2518300.9730000002</c:v>
                </c:pt>
                <c:pt idx="1532">
                  <c:v>2535545.0989999999</c:v>
                </c:pt>
                <c:pt idx="1533">
                  <c:v>2522565.5350000001</c:v>
                </c:pt>
                <c:pt idx="1534">
                  <c:v>2542666.8650000002</c:v>
                </c:pt>
                <c:pt idx="1535">
                  <c:v>2441283.9360000002</c:v>
                </c:pt>
                <c:pt idx="1536">
                  <c:v>2418176.7009999999</c:v>
                </c:pt>
                <c:pt idx="1537">
                  <c:v>2373969.7069999999</c:v>
                </c:pt>
                <c:pt idx="1538">
                  <c:v>2420869.27</c:v>
                </c:pt>
                <c:pt idx="1539">
                  <c:v>2491040.702</c:v>
                </c:pt>
                <c:pt idx="1540">
                  <c:v>2521253.7710000002</c:v>
                </c:pt>
                <c:pt idx="1541">
                  <c:v>2505863.1090000002</c:v>
                </c:pt>
                <c:pt idx="1542">
                  <c:v>2496484.2590000001</c:v>
                </c:pt>
                <c:pt idx="1543">
                  <c:v>2452240.09</c:v>
                </c:pt>
                <c:pt idx="1544">
                  <c:v>2429759.5279999999</c:v>
                </c:pt>
                <c:pt idx="1545">
                  <c:v>2512650.2949999999</c:v>
                </c:pt>
                <c:pt idx="1546">
                  <c:v>2525236.861</c:v>
                </c:pt>
                <c:pt idx="1547">
                  <c:v>2570941.4959999998</c:v>
                </c:pt>
                <c:pt idx="1548">
                  <c:v>2629551.3450000002</c:v>
                </c:pt>
                <c:pt idx="1549">
                  <c:v>2708235.969</c:v>
                </c:pt>
                <c:pt idx="1550">
                  <c:v>2761035.8160000001</c:v>
                </c:pt>
                <c:pt idx="1551">
                  <c:v>2751747.2489999998</c:v>
                </c:pt>
                <c:pt idx="1552">
                  <c:v>2567239.878</c:v>
                </c:pt>
                <c:pt idx="1553">
                  <c:v>2570861.835</c:v>
                </c:pt>
                <c:pt idx="1554">
                  <c:v>2695851.213</c:v>
                </c:pt>
                <c:pt idx="1555">
                  <c:v>2741359.3489999999</c:v>
                </c:pt>
                <c:pt idx="1556">
                  <c:v>2731651.23</c:v>
                </c:pt>
                <c:pt idx="1557">
                  <c:v>2751741.9380000001</c:v>
                </c:pt>
                <c:pt idx="1558">
                  <c:v>2777833.8360000001</c:v>
                </c:pt>
                <c:pt idx="1559">
                  <c:v>2843262.7349999999</c:v>
                </c:pt>
                <c:pt idx="1560">
                  <c:v>2823989.8879999998</c:v>
                </c:pt>
                <c:pt idx="1561">
                  <c:v>2819555.3810000001</c:v>
                </c:pt>
                <c:pt idx="1562">
                  <c:v>2818217.0619999999</c:v>
                </c:pt>
                <c:pt idx="1563">
                  <c:v>2833368.7390000001</c:v>
                </c:pt>
                <c:pt idx="1564">
                  <c:v>2772852.318</c:v>
                </c:pt>
                <c:pt idx="1565">
                  <c:v>2689818.159</c:v>
                </c:pt>
                <c:pt idx="1566">
                  <c:v>2729123.2949999999</c:v>
                </c:pt>
                <c:pt idx="1567">
                  <c:v>2618510.2179999999</c:v>
                </c:pt>
                <c:pt idx="1568">
                  <c:v>2462638.6120000002</c:v>
                </c:pt>
                <c:pt idx="1569">
                  <c:v>2541790.585</c:v>
                </c:pt>
                <c:pt idx="1570">
                  <c:v>2591733.2289999998</c:v>
                </c:pt>
                <c:pt idx="1571">
                  <c:v>2499532.6510000001</c:v>
                </c:pt>
                <c:pt idx="1572">
                  <c:v>2302858.2659999998</c:v>
                </c:pt>
                <c:pt idx="1573">
                  <c:v>2226043.0389999999</c:v>
                </c:pt>
                <c:pt idx="1574">
                  <c:v>2375515.1460000002</c:v>
                </c:pt>
                <c:pt idx="1575">
                  <c:v>2258688.4479999999</c:v>
                </c:pt>
                <c:pt idx="1576">
                  <c:v>2181671.4109999998</c:v>
                </c:pt>
                <c:pt idx="1577">
                  <c:v>2063729.4469999999</c:v>
                </c:pt>
                <c:pt idx="1578">
                  <c:v>2123539.534</c:v>
                </c:pt>
                <c:pt idx="1579">
                  <c:v>2086077.24</c:v>
                </c:pt>
                <c:pt idx="1580">
                  <c:v>1945362.621</c:v>
                </c:pt>
                <c:pt idx="1581">
                  <c:v>2069948.379</c:v>
                </c:pt>
                <c:pt idx="1582">
                  <c:v>2180906.6579999998</c:v>
                </c:pt>
                <c:pt idx="1583">
                  <c:v>2236802.6940000001</c:v>
                </c:pt>
                <c:pt idx="1584">
                  <c:v>2183875.3879999998</c:v>
                </c:pt>
                <c:pt idx="1585">
                  <c:v>2106661.852</c:v>
                </c:pt>
                <c:pt idx="1586">
                  <c:v>2122912.861</c:v>
                </c:pt>
                <c:pt idx="1587">
                  <c:v>2204773.3360000001</c:v>
                </c:pt>
                <c:pt idx="1588">
                  <c:v>2209611.463</c:v>
                </c:pt>
                <c:pt idx="1589">
                  <c:v>2212479.2880000002</c:v>
                </c:pt>
                <c:pt idx="1590">
                  <c:v>2207779.2409999999</c:v>
                </c:pt>
                <c:pt idx="1591">
                  <c:v>2257514.764</c:v>
                </c:pt>
                <c:pt idx="1592">
                  <c:v>2217933.466</c:v>
                </c:pt>
                <c:pt idx="1593">
                  <c:v>2028046.2679999999</c:v>
                </c:pt>
                <c:pt idx="1594">
                  <c:v>2023988.8259999999</c:v>
                </c:pt>
                <c:pt idx="1595">
                  <c:v>2087341.2069999999</c:v>
                </c:pt>
                <c:pt idx="1596">
                  <c:v>2026283.0859999999</c:v>
                </c:pt>
                <c:pt idx="1597">
                  <c:v>2026968.1780000001</c:v>
                </c:pt>
                <c:pt idx="1598">
                  <c:v>2033627.905</c:v>
                </c:pt>
                <c:pt idx="1599">
                  <c:v>2096783.787</c:v>
                </c:pt>
                <c:pt idx="1600">
                  <c:v>2053628.33</c:v>
                </c:pt>
                <c:pt idx="1601">
                  <c:v>2035014.02</c:v>
                </c:pt>
                <c:pt idx="1602">
                  <c:v>2074892.7220000001</c:v>
                </c:pt>
                <c:pt idx="1603">
                  <c:v>2169116.71</c:v>
                </c:pt>
                <c:pt idx="1604">
                  <c:v>2159721.9270000001</c:v>
                </c:pt>
                <c:pt idx="1605">
                  <c:v>2132881.2080000001</c:v>
                </c:pt>
                <c:pt idx="1606">
                  <c:v>2164390.1090000002</c:v>
                </c:pt>
                <c:pt idx="1607">
                  <c:v>2163370.4380000001</c:v>
                </c:pt>
                <c:pt idx="1608">
                  <c:v>2165670.0090000001</c:v>
                </c:pt>
                <c:pt idx="1609">
                  <c:v>2031593.8729999999</c:v>
                </c:pt>
                <c:pt idx="1610">
                  <c:v>2063846.2849999999</c:v>
                </c:pt>
                <c:pt idx="1611">
                  <c:v>1997626.078</c:v>
                </c:pt>
                <c:pt idx="1612">
                  <c:v>1906328.334</c:v>
                </c:pt>
                <c:pt idx="1613">
                  <c:v>1739564.3030000001</c:v>
                </c:pt>
                <c:pt idx="1614">
                  <c:v>1616035.3910000001</c:v>
                </c:pt>
                <c:pt idx="1615">
                  <c:v>1606879.594</c:v>
                </c:pt>
                <c:pt idx="1616">
                  <c:v>1702447.2109999999</c:v>
                </c:pt>
                <c:pt idx="1617">
                  <c:v>1775019.1189999999</c:v>
                </c:pt>
                <c:pt idx="1618">
                  <c:v>1787897.7779999999</c:v>
                </c:pt>
                <c:pt idx="1619">
                  <c:v>1785529.1669999999</c:v>
                </c:pt>
                <c:pt idx="1620">
                  <c:v>1787520.7120000001</c:v>
                </c:pt>
                <c:pt idx="1621">
                  <c:v>1726266.0919999999</c:v>
                </c:pt>
                <c:pt idx="1622">
                  <c:v>1770627.098</c:v>
                </c:pt>
                <c:pt idx="1623">
                  <c:v>1805301.2279999999</c:v>
                </c:pt>
                <c:pt idx="1624">
                  <c:v>1783128.6910000001</c:v>
                </c:pt>
                <c:pt idx="1625">
                  <c:v>1777621.405</c:v>
                </c:pt>
                <c:pt idx="1626">
                  <c:v>1742538.344</c:v>
                </c:pt>
                <c:pt idx="1627">
                  <c:v>1674082.2960000001</c:v>
                </c:pt>
                <c:pt idx="1628">
                  <c:v>1757472.2779999999</c:v>
                </c:pt>
                <c:pt idx="1629">
                  <c:v>1719101.84</c:v>
                </c:pt>
                <c:pt idx="1630">
                  <c:v>1726680.3330000001</c:v>
                </c:pt>
                <c:pt idx="1631">
                  <c:v>1756941.199</c:v>
                </c:pt>
                <c:pt idx="1632">
                  <c:v>1773287.8019999999</c:v>
                </c:pt>
                <c:pt idx="1633">
                  <c:v>1732925.8189999999</c:v>
                </c:pt>
                <c:pt idx="1634">
                  <c:v>1744593.6189999999</c:v>
                </c:pt>
                <c:pt idx="1635">
                  <c:v>1716419.892</c:v>
                </c:pt>
                <c:pt idx="1636">
                  <c:v>1722155.5419999999</c:v>
                </c:pt>
                <c:pt idx="1637">
                  <c:v>1688219.612</c:v>
                </c:pt>
                <c:pt idx="1638">
                  <c:v>1701018.6089999999</c:v>
                </c:pt>
                <c:pt idx="1639">
                  <c:v>1750690.402</c:v>
                </c:pt>
                <c:pt idx="1640">
                  <c:v>1773866.6780000001</c:v>
                </c:pt>
                <c:pt idx="1641">
                  <c:v>1830994.817</c:v>
                </c:pt>
                <c:pt idx="1642">
                  <c:v>1829587.4580000001</c:v>
                </c:pt>
                <c:pt idx="1643">
                  <c:v>1808912.5630000001</c:v>
                </c:pt>
                <c:pt idx="1644">
                  <c:v>1851775.9269999999</c:v>
                </c:pt>
                <c:pt idx="1645">
                  <c:v>1876869.3970000001</c:v>
                </c:pt>
                <c:pt idx="1646">
                  <c:v>1876927.8160000001</c:v>
                </c:pt>
                <c:pt idx="1647">
                  <c:v>1900040.362</c:v>
                </c:pt>
                <c:pt idx="1648">
                  <c:v>1844569.189</c:v>
                </c:pt>
                <c:pt idx="1649">
                  <c:v>1871802.906</c:v>
                </c:pt>
                <c:pt idx="1650">
                  <c:v>1896609.5930000001</c:v>
                </c:pt>
                <c:pt idx="1651">
                  <c:v>1906179.632</c:v>
                </c:pt>
                <c:pt idx="1652">
                  <c:v>1908102.1370000001</c:v>
                </c:pt>
                <c:pt idx="1653">
                  <c:v>1872010.027</c:v>
                </c:pt>
                <c:pt idx="1654">
                  <c:v>1876465.777</c:v>
                </c:pt>
                <c:pt idx="1655">
                  <c:v>1876874.7080000001</c:v>
                </c:pt>
                <c:pt idx="1656">
                  <c:v>1846008.412</c:v>
                </c:pt>
                <c:pt idx="1657">
                  <c:v>1840448.0179999999</c:v>
                </c:pt>
                <c:pt idx="1658">
                  <c:v>1927040.4040000001</c:v>
                </c:pt>
                <c:pt idx="1659">
                  <c:v>1968161.83</c:v>
                </c:pt>
                <c:pt idx="1660">
                  <c:v>2014578.111</c:v>
                </c:pt>
                <c:pt idx="1661">
                  <c:v>2039528.19</c:v>
                </c:pt>
                <c:pt idx="1662">
                  <c:v>2035752.22</c:v>
                </c:pt>
                <c:pt idx="1663">
                  <c:v>2035969.9620000001</c:v>
                </c:pt>
                <c:pt idx="1664">
                  <c:v>2015613.7150000001</c:v>
                </c:pt>
                <c:pt idx="1665">
                  <c:v>1989548.371</c:v>
                </c:pt>
                <c:pt idx="1666">
                  <c:v>1999049.3689999999</c:v>
                </c:pt>
                <c:pt idx="1667">
                  <c:v>1996000.977</c:v>
                </c:pt>
                <c:pt idx="1668">
                  <c:v>1973265.497</c:v>
                </c:pt>
                <c:pt idx="1669">
                  <c:v>2004806.2620000001</c:v>
                </c:pt>
                <c:pt idx="1670">
                  <c:v>2004492.926</c:v>
                </c:pt>
                <c:pt idx="1671">
                  <c:v>1993319.03</c:v>
                </c:pt>
                <c:pt idx="1672">
                  <c:v>1993611.1229999999</c:v>
                </c:pt>
                <c:pt idx="1673">
                  <c:v>2008332.625</c:v>
                </c:pt>
                <c:pt idx="1674">
                  <c:v>1996553.2990000001</c:v>
                </c:pt>
                <c:pt idx="1675">
                  <c:v>1889041.7220000001</c:v>
                </c:pt>
                <c:pt idx="1676">
                  <c:v>1894044.483</c:v>
                </c:pt>
                <c:pt idx="1677">
                  <c:v>1907475.4639999999</c:v>
                </c:pt>
                <c:pt idx="1678">
                  <c:v>1976648.4680000001</c:v>
                </c:pt>
                <c:pt idx="1679">
                  <c:v>1991173.4720000001</c:v>
                </c:pt>
                <c:pt idx="1680">
                  <c:v>1953089.8160000001</c:v>
                </c:pt>
                <c:pt idx="1681">
                  <c:v>1958411.2250000001</c:v>
                </c:pt>
                <c:pt idx="1682">
                  <c:v>1924108.85</c:v>
                </c:pt>
                <c:pt idx="1683">
                  <c:v>1930970.3870000001</c:v>
                </c:pt>
                <c:pt idx="1684">
                  <c:v>1924140.7150000001</c:v>
                </c:pt>
                <c:pt idx="1685">
                  <c:v>1916163.912</c:v>
                </c:pt>
                <c:pt idx="1686">
                  <c:v>1971003.101</c:v>
                </c:pt>
                <c:pt idx="1687">
                  <c:v>1962011.939</c:v>
                </c:pt>
                <c:pt idx="1688">
                  <c:v>1957258.784</c:v>
                </c:pt>
                <c:pt idx="1689">
                  <c:v>1994673.28</c:v>
                </c:pt>
                <c:pt idx="1690">
                  <c:v>2001056.8470000001</c:v>
                </c:pt>
                <c:pt idx="1691">
                  <c:v>2053134.4269999999</c:v>
                </c:pt>
                <c:pt idx="1692">
                  <c:v>2058848.834</c:v>
                </c:pt>
                <c:pt idx="1693">
                  <c:v>2053352.169</c:v>
                </c:pt>
                <c:pt idx="1694">
                  <c:v>2033712.878</c:v>
                </c:pt>
                <c:pt idx="1695">
                  <c:v>2038386.37</c:v>
                </c:pt>
                <c:pt idx="1696">
                  <c:v>1979664.996</c:v>
                </c:pt>
                <c:pt idx="1697">
                  <c:v>1997849.1310000001</c:v>
                </c:pt>
                <c:pt idx="1698">
                  <c:v>1999607.0020000001</c:v>
                </c:pt>
                <c:pt idx="1699">
                  <c:v>1981454.7309999999</c:v>
                </c:pt>
                <c:pt idx="1700">
                  <c:v>1842349.28</c:v>
                </c:pt>
                <c:pt idx="1701">
                  <c:v>1847506.054</c:v>
                </c:pt>
                <c:pt idx="1702">
                  <c:v>1879917.7890000001</c:v>
                </c:pt>
                <c:pt idx="1703">
                  <c:v>1749575.1370000001</c:v>
                </c:pt>
                <c:pt idx="1704">
                  <c:v>1785253.0060000001</c:v>
                </c:pt>
                <c:pt idx="1705">
                  <c:v>1695442.2819999999</c:v>
                </c:pt>
                <c:pt idx="1706">
                  <c:v>1707795.1740000001</c:v>
                </c:pt>
                <c:pt idx="1707">
                  <c:v>1676020.733</c:v>
                </c:pt>
                <c:pt idx="1708">
                  <c:v>1710907.2949999999</c:v>
                </c:pt>
                <c:pt idx="1709">
                  <c:v>1656291.159</c:v>
                </c:pt>
                <c:pt idx="1710">
                  <c:v>1662664.1029999999</c:v>
                </c:pt>
                <c:pt idx="1711">
                  <c:v>1711735.7779999999</c:v>
                </c:pt>
                <c:pt idx="1712">
                  <c:v>1685845.69</c:v>
                </c:pt>
                <c:pt idx="1713">
                  <c:v>1636439.436</c:v>
                </c:pt>
                <c:pt idx="1714">
                  <c:v>1653492.3740000001</c:v>
                </c:pt>
                <c:pt idx="1715">
                  <c:v>1661686.9180000001</c:v>
                </c:pt>
                <c:pt idx="1716">
                  <c:v>1561642.308</c:v>
                </c:pt>
                <c:pt idx="1717">
                  <c:v>1556246.548</c:v>
                </c:pt>
                <c:pt idx="1718">
                  <c:v>1515571.2279999999</c:v>
                </c:pt>
                <c:pt idx="1719">
                  <c:v>1564605.727</c:v>
                </c:pt>
                <c:pt idx="1720">
                  <c:v>1540685.9410000001</c:v>
                </c:pt>
                <c:pt idx="1721">
                  <c:v>1572699.3670000001</c:v>
                </c:pt>
                <c:pt idx="1722">
                  <c:v>1565959.9779999999</c:v>
                </c:pt>
                <c:pt idx="1723">
                  <c:v>1585142.5419999999</c:v>
                </c:pt>
                <c:pt idx="1724">
                  <c:v>1574005.821</c:v>
                </c:pt>
                <c:pt idx="1725">
                  <c:v>1564934.996</c:v>
                </c:pt>
                <c:pt idx="1726">
                  <c:v>1612907.3370000001</c:v>
                </c:pt>
                <c:pt idx="1727">
                  <c:v>1626864.0859999999</c:v>
                </c:pt>
                <c:pt idx="1728">
                  <c:v>1621755.1089999999</c:v>
                </c:pt>
                <c:pt idx="1729">
                  <c:v>1620634.5330000001</c:v>
                </c:pt>
                <c:pt idx="1730">
                  <c:v>1656365.51</c:v>
                </c:pt>
                <c:pt idx="1731">
                  <c:v>1640693.3759999999</c:v>
                </c:pt>
                <c:pt idx="1732">
                  <c:v>1651415.8559999999</c:v>
                </c:pt>
                <c:pt idx="1733">
                  <c:v>1550086.0349999999</c:v>
                </c:pt>
                <c:pt idx="1734">
                  <c:v>1565636.02</c:v>
                </c:pt>
                <c:pt idx="1735">
                  <c:v>1528163.105</c:v>
                </c:pt>
                <c:pt idx="1736">
                  <c:v>1556427.115</c:v>
                </c:pt>
                <c:pt idx="1737">
                  <c:v>1620496.452</c:v>
                </c:pt>
                <c:pt idx="1738">
                  <c:v>1624261.801</c:v>
                </c:pt>
                <c:pt idx="1739">
                  <c:v>1643099.1629999999</c:v>
                </c:pt>
                <c:pt idx="1740">
                  <c:v>1648914.4750000001</c:v>
                </c:pt>
                <c:pt idx="1741">
                  <c:v>1650417.4280000001</c:v>
                </c:pt>
                <c:pt idx="1742">
                  <c:v>1631426.0530000001</c:v>
                </c:pt>
                <c:pt idx="1743">
                  <c:v>1600219.8670000001</c:v>
                </c:pt>
                <c:pt idx="1744">
                  <c:v>1602944.3</c:v>
                </c:pt>
                <c:pt idx="1745">
                  <c:v>1628122.743</c:v>
                </c:pt>
                <c:pt idx="1746">
                  <c:v>1632950.2490000001</c:v>
                </c:pt>
                <c:pt idx="1747">
                  <c:v>1641049.199</c:v>
                </c:pt>
                <c:pt idx="1748">
                  <c:v>1659196.159</c:v>
                </c:pt>
                <c:pt idx="1749">
                  <c:v>1684560.4790000001</c:v>
                </c:pt>
                <c:pt idx="1750">
                  <c:v>1725708.459</c:v>
                </c:pt>
                <c:pt idx="1751">
                  <c:v>1713148.4469999999</c:v>
                </c:pt>
                <c:pt idx="1752">
                  <c:v>1718618.558</c:v>
                </c:pt>
                <c:pt idx="1753">
                  <c:v>1689812.848</c:v>
                </c:pt>
                <c:pt idx="1754">
                  <c:v>1698294.175</c:v>
                </c:pt>
                <c:pt idx="1755">
                  <c:v>1683376.1740000001</c:v>
                </c:pt>
                <c:pt idx="1756">
                  <c:v>1665149.5519999999</c:v>
                </c:pt>
                <c:pt idx="1757">
                  <c:v>1708097.888</c:v>
                </c:pt>
                <c:pt idx="1758">
                  <c:v>1709059.1410000001</c:v>
                </c:pt>
                <c:pt idx="1759">
                  <c:v>1711077.24</c:v>
                </c:pt>
                <c:pt idx="1760">
                  <c:v>1733701.1939999999</c:v>
                </c:pt>
                <c:pt idx="1761">
                  <c:v>1730004.8859999999</c:v>
                </c:pt>
                <c:pt idx="1762">
                  <c:v>1704385.648</c:v>
                </c:pt>
                <c:pt idx="1763">
                  <c:v>1691873.433</c:v>
                </c:pt>
                <c:pt idx="1764">
                  <c:v>1715437.3959999999</c:v>
                </c:pt>
                <c:pt idx="1765">
                  <c:v>1709250.3289999999</c:v>
                </c:pt>
                <c:pt idx="1766">
                  <c:v>1732049.5390000001</c:v>
                </c:pt>
                <c:pt idx="1767">
                  <c:v>1739723.6270000001</c:v>
                </c:pt>
                <c:pt idx="1768">
                  <c:v>1737801.122</c:v>
                </c:pt>
                <c:pt idx="1769">
                  <c:v>1714561.1170000001</c:v>
                </c:pt>
                <c:pt idx="1770">
                  <c:v>1719792.2420000001</c:v>
                </c:pt>
                <c:pt idx="1771">
                  <c:v>1689377.3629999999</c:v>
                </c:pt>
                <c:pt idx="1772">
                  <c:v>1678527.425</c:v>
                </c:pt>
                <c:pt idx="1773">
                  <c:v>1686121.851</c:v>
                </c:pt>
                <c:pt idx="1774">
                  <c:v>1679286.8670000001</c:v>
                </c:pt>
                <c:pt idx="1775">
                  <c:v>1688384.246</c:v>
                </c:pt>
                <c:pt idx="1776">
                  <c:v>1681352.764</c:v>
                </c:pt>
                <c:pt idx="1777">
                  <c:v>1678516.8030000001</c:v>
                </c:pt>
                <c:pt idx="1778">
                  <c:v>1676482.7720000001</c:v>
                </c:pt>
                <c:pt idx="1779">
                  <c:v>1706642.733</c:v>
                </c:pt>
                <c:pt idx="1780">
                  <c:v>1704475.932</c:v>
                </c:pt>
                <c:pt idx="1781">
                  <c:v>1706844.5430000001</c:v>
                </c:pt>
                <c:pt idx="1782">
                  <c:v>1662462.2930000001</c:v>
                </c:pt>
                <c:pt idx="1783">
                  <c:v>1628085.567</c:v>
                </c:pt>
                <c:pt idx="1784">
                  <c:v>1629939.0319999999</c:v>
                </c:pt>
                <c:pt idx="1785">
                  <c:v>1637214.811</c:v>
                </c:pt>
                <c:pt idx="1786">
                  <c:v>1641107.618</c:v>
                </c:pt>
                <c:pt idx="1787">
                  <c:v>1633035.2209999999</c:v>
                </c:pt>
                <c:pt idx="1788">
                  <c:v>1643853.2949999999</c:v>
                </c:pt>
                <c:pt idx="1789">
                  <c:v>1638919.5730000001</c:v>
                </c:pt>
                <c:pt idx="1790">
                  <c:v>1629370.7779999999</c:v>
                </c:pt>
                <c:pt idx="1791">
                  <c:v>1626428.602</c:v>
                </c:pt>
                <c:pt idx="1792">
                  <c:v>1634777.159</c:v>
                </c:pt>
                <c:pt idx="1793">
                  <c:v>1639556.868</c:v>
                </c:pt>
                <c:pt idx="1794">
                  <c:v>1626991.5449999999</c:v>
                </c:pt>
                <c:pt idx="1795">
                  <c:v>1624691.9739999999</c:v>
                </c:pt>
                <c:pt idx="1796">
                  <c:v>1627336.746</c:v>
                </c:pt>
                <c:pt idx="1797">
                  <c:v>1626428.602</c:v>
                </c:pt>
                <c:pt idx="1798">
                  <c:v>1628664.443</c:v>
                </c:pt>
                <c:pt idx="1799">
                  <c:v>1683285.89</c:v>
                </c:pt>
                <c:pt idx="1800">
                  <c:v>1678500.871</c:v>
                </c:pt>
                <c:pt idx="1801">
                  <c:v>1681979.4369999999</c:v>
                </c:pt>
                <c:pt idx="1802">
                  <c:v>1693785.317</c:v>
                </c:pt>
                <c:pt idx="1803">
                  <c:v>1688187.747</c:v>
                </c:pt>
                <c:pt idx="1804">
                  <c:v>1687263.67</c:v>
                </c:pt>
                <c:pt idx="1805">
                  <c:v>1680327.7819999999</c:v>
                </c:pt>
                <c:pt idx="1806">
                  <c:v>1628467.9439999999</c:v>
                </c:pt>
                <c:pt idx="1807">
                  <c:v>1633587.5430000001</c:v>
                </c:pt>
                <c:pt idx="1808">
                  <c:v>1655037.8130000001</c:v>
                </c:pt>
                <c:pt idx="1809">
                  <c:v>1643513.4040000001</c:v>
                </c:pt>
                <c:pt idx="1810">
                  <c:v>1651846.03</c:v>
                </c:pt>
                <c:pt idx="1811">
                  <c:v>1653072.8219999999</c:v>
                </c:pt>
                <c:pt idx="1812">
                  <c:v>1649700.4720000001</c:v>
                </c:pt>
                <c:pt idx="1813">
                  <c:v>1664379.4879999999</c:v>
                </c:pt>
                <c:pt idx="1814">
                  <c:v>1655542.338</c:v>
                </c:pt>
                <c:pt idx="1815">
                  <c:v>1634214.216</c:v>
                </c:pt>
                <c:pt idx="1816">
                  <c:v>1657252.4110000001</c:v>
                </c:pt>
                <c:pt idx="1817">
                  <c:v>1665675.32</c:v>
                </c:pt>
                <c:pt idx="1818">
                  <c:v>1673636.19</c:v>
                </c:pt>
                <c:pt idx="1819">
                  <c:v>1674979.8189999999</c:v>
                </c:pt>
                <c:pt idx="1820">
                  <c:v>1675128.5209999999</c:v>
                </c:pt>
                <c:pt idx="1821">
                  <c:v>1701947.997</c:v>
                </c:pt>
                <c:pt idx="1822">
                  <c:v>1703371.2879999999</c:v>
                </c:pt>
                <c:pt idx="1823">
                  <c:v>1708374.0490000001</c:v>
                </c:pt>
                <c:pt idx="1824">
                  <c:v>1704736.16</c:v>
                </c:pt>
                <c:pt idx="1825">
                  <c:v>1695351.9990000001</c:v>
                </c:pt>
                <c:pt idx="1826">
                  <c:v>1701220.419</c:v>
                </c:pt>
                <c:pt idx="1827">
                  <c:v>1738316.2679999999</c:v>
                </c:pt>
                <c:pt idx="1828">
                  <c:v>1743462.4210000001</c:v>
                </c:pt>
                <c:pt idx="1829">
                  <c:v>1740217.53</c:v>
                </c:pt>
                <c:pt idx="1830">
                  <c:v>1739962.612</c:v>
                </c:pt>
                <c:pt idx="1831">
                  <c:v>1732389.429</c:v>
                </c:pt>
                <c:pt idx="1832">
                  <c:v>1725065.8540000001</c:v>
                </c:pt>
                <c:pt idx="1833">
                  <c:v>1719425.798</c:v>
                </c:pt>
                <c:pt idx="1834">
                  <c:v>1727344.182</c:v>
                </c:pt>
                <c:pt idx="1835">
                  <c:v>1712813.868</c:v>
                </c:pt>
                <c:pt idx="1836">
                  <c:v>1715856.949</c:v>
                </c:pt>
                <c:pt idx="1837">
                  <c:v>1736409.6950000001</c:v>
                </c:pt>
                <c:pt idx="1838">
                  <c:v>1709138.8030000001</c:v>
                </c:pt>
                <c:pt idx="1839">
                  <c:v>1710678.9310000001</c:v>
                </c:pt>
                <c:pt idx="1840">
                  <c:v>1701539.0660000001</c:v>
                </c:pt>
                <c:pt idx="1841">
                  <c:v>1687136.2109999999</c:v>
                </c:pt>
                <c:pt idx="1842">
                  <c:v>1693636.615</c:v>
                </c:pt>
                <c:pt idx="1843">
                  <c:v>1696005.226</c:v>
                </c:pt>
                <c:pt idx="1844">
                  <c:v>1700137.0179999999</c:v>
                </c:pt>
                <c:pt idx="1845">
                  <c:v>1702165.7390000001</c:v>
                </c:pt>
                <c:pt idx="1846">
                  <c:v>1717604.1980000001</c:v>
                </c:pt>
                <c:pt idx="1847">
                  <c:v>1729712.7930000001</c:v>
                </c:pt>
                <c:pt idx="1848">
                  <c:v>1722468.879</c:v>
                </c:pt>
                <c:pt idx="1849">
                  <c:v>1717168.713</c:v>
                </c:pt>
                <c:pt idx="1850">
                  <c:v>1749495.4750000001</c:v>
                </c:pt>
                <c:pt idx="1851">
                  <c:v>1802173.1740000001</c:v>
                </c:pt>
                <c:pt idx="1852">
                  <c:v>1794116.71</c:v>
                </c:pt>
                <c:pt idx="1853">
                  <c:v>1791355.1</c:v>
                </c:pt>
                <c:pt idx="1854">
                  <c:v>1786809.067</c:v>
                </c:pt>
                <c:pt idx="1855">
                  <c:v>1787090.5379999999</c:v>
                </c:pt>
                <c:pt idx="1856">
                  <c:v>1772098.186</c:v>
                </c:pt>
                <c:pt idx="1857">
                  <c:v>1774774.8230000001</c:v>
                </c:pt>
                <c:pt idx="1858">
                  <c:v>1768417.81</c:v>
                </c:pt>
                <c:pt idx="1859">
                  <c:v>1757323.5759999999</c:v>
                </c:pt>
                <c:pt idx="1860">
                  <c:v>1756325.148</c:v>
                </c:pt>
                <c:pt idx="1861">
                  <c:v>1756691.5919999999</c:v>
                </c:pt>
                <c:pt idx="1862">
                  <c:v>1758927.433</c:v>
                </c:pt>
                <c:pt idx="1863">
                  <c:v>1767318.477</c:v>
                </c:pt>
                <c:pt idx="1864">
                  <c:v>1753398.9040000001</c:v>
                </c:pt>
                <c:pt idx="1865">
                  <c:v>1760053.32</c:v>
                </c:pt>
                <c:pt idx="1866">
                  <c:v>1763011.429</c:v>
                </c:pt>
                <c:pt idx="1867">
                  <c:v>1775199.686</c:v>
                </c:pt>
                <c:pt idx="1868">
                  <c:v>1774238.433</c:v>
                </c:pt>
                <c:pt idx="1869">
                  <c:v>1773569.274</c:v>
                </c:pt>
                <c:pt idx="1870">
                  <c:v>1762140.46</c:v>
                </c:pt>
                <c:pt idx="1871">
                  <c:v>1732697.4550000001</c:v>
                </c:pt>
                <c:pt idx="1872">
                  <c:v>1731491.906</c:v>
                </c:pt>
                <c:pt idx="1873">
                  <c:v>1720020.6059999999</c:v>
                </c:pt>
                <c:pt idx="1874">
                  <c:v>1732973.6159999999</c:v>
                </c:pt>
                <c:pt idx="1875">
                  <c:v>1729935.8459999999</c:v>
                </c:pt>
                <c:pt idx="1876">
                  <c:v>1734843.013</c:v>
                </c:pt>
                <c:pt idx="1877">
                  <c:v>1747843.82</c:v>
                </c:pt>
                <c:pt idx="1878">
                  <c:v>1739638.6540000001</c:v>
                </c:pt>
                <c:pt idx="1879">
                  <c:v>1710222.203</c:v>
                </c:pt>
                <c:pt idx="1880">
                  <c:v>1721093.385</c:v>
                </c:pt>
                <c:pt idx="1881">
                  <c:v>1715856.949</c:v>
                </c:pt>
                <c:pt idx="1882">
                  <c:v>1723026.5109999999</c:v>
                </c:pt>
                <c:pt idx="1883">
                  <c:v>1727747.801</c:v>
                </c:pt>
                <c:pt idx="1884">
                  <c:v>1749304.287</c:v>
                </c:pt>
                <c:pt idx="1885">
                  <c:v>1756043.676</c:v>
                </c:pt>
                <c:pt idx="1886">
                  <c:v>1752565.11</c:v>
                </c:pt>
                <c:pt idx="1887">
                  <c:v>1753967.1580000001</c:v>
                </c:pt>
                <c:pt idx="1888">
                  <c:v>1755666.61</c:v>
                </c:pt>
                <c:pt idx="1889">
                  <c:v>1740812.338</c:v>
                </c:pt>
                <c:pt idx="1890">
                  <c:v>1763887.709</c:v>
                </c:pt>
                <c:pt idx="1891">
                  <c:v>1761184.5179999999</c:v>
                </c:pt>
                <c:pt idx="1892">
                  <c:v>1762437.8640000001</c:v>
                </c:pt>
                <c:pt idx="1893">
                  <c:v>1767291.923</c:v>
                </c:pt>
                <c:pt idx="1894">
                  <c:v>1788450.1</c:v>
                </c:pt>
                <c:pt idx="1895">
                  <c:v>1788381.06</c:v>
                </c:pt>
                <c:pt idx="1896">
                  <c:v>1781662.9140000001</c:v>
                </c:pt>
                <c:pt idx="1897">
                  <c:v>1776830.0970000001</c:v>
                </c:pt>
                <c:pt idx="1898">
                  <c:v>1773871.9890000001</c:v>
                </c:pt>
                <c:pt idx="1899">
                  <c:v>1771827.3359999999</c:v>
                </c:pt>
                <c:pt idx="1900">
                  <c:v>1783919.9979999999</c:v>
                </c:pt>
                <c:pt idx="1901">
                  <c:v>1770271.2749999999</c:v>
                </c:pt>
                <c:pt idx="1902">
                  <c:v>1787127.7139999999</c:v>
                </c:pt>
                <c:pt idx="1903">
                  <c:v>1781328.334</c:v>
                </c:pt>
                <c:pt idx="1904">
                  <c:v>1782613.5449999999</c:v>
                </c:pt>
                <c:pt idx="1905">
                  <c:v>1790330.1189999999</c:v>
                </c:pt>
                <c:pt idx="1906">
                  <c:v>1780733.5260000001</c:v>
                </c:pt>
                <c:pt idx="1907">
                  <c:v>1800680.8430000001</c:v>
                </c:pt>
                <c:pt idx="1908">
                  <c:v>1814812.848</c:v>
                </c:pt>
                <c:pt idx="1909">
                  <c:v>1821732.804</c:v>
                </c:pt>
                <c:pt idx="1910">
                  <c:v>1821530.9939999999</c:v>
                </c:pt>
                <c:pt idx="1911">
                  <c:v>1821382.2919999999</c:v>
                </c:pt>
                <c:pt idx="1912">
                  <c:v>1825073.2890000001</c:v>
                </c:pt>
                <c:pt idx="1913">
                  <c:v>1814940.307</c:v>
                </c:pt>
                <c:pt idx="1914">
                  <c:v>1827500.3189999999</c:v>
                </c:pt>
                <c:pt idx="1915">
                  <c:v>1841972.2139999999</c:v>
                </c:pt>
                <c:pt idx="1916">
                  <c:v>1845355.1850000001</c:v>
                </c:pt>
                <c:pt idx="1917">
                  <c:v>1852795.598</c:v>
                </c:pt>
                <c:pt idx="1918">
                  <c:v>1870087.5220000001</c:v>
                </c:pt>
                <c:pt idx="1919">
                  <c:v>1877405.787</c:v>
                </c:pt>
                <c:pt idx="1920">
                  <c:v>1892785.827</c:v>
                </c:pt>
                <c:pt idx="1921">
                  <c:v>1878956.537</c:v>
                </c:pt>
                <c:pt idx="1922">
                  <c:v>1893316.905</c:v>
                </c:pt>
                <c:pt idx="1923">
                  <c:v>1874150.274</c:v>
                </c:pt>
                <c:pt idx="1924">
                  <c:v>1842529.8470000001</c:v>
                </c:pt>
                <c:pt idx="1925">
                  <c:v>1837080.9790000001</c:v>
                </c:pt>
                <c:pt idx="1926">
                  <c:v>1845896.8859999999</c:v>
                </c:pt>
                <c:pt idx="1927">
                  <c:v>1842917.534</c:v>
                </c:pt>
                <c:pt idx="1928">
                  <c:v>1855429.7490000001</c:v>
                </c:pt>
                <c:pt idx="1929">
                  <c:v>1810542.9750000001</c:v>
                </c:pt>
                <c:pt idx="1930">
                  <c:v>1808344.3089999999</c:v>
                </c:pt>
                <c:pt idx="1931">
                  <c:v>1794488.4650000001</c:v>
                </c:pt>
                <c:pt idx="1932">
                  <c:v>1774031.3119999999</c:v>
                </c:pt>
                <c:pt idx="1933">
                  <c:v>1777005.3529999999</c:v>
                </c:pt>
                <c:pt idx="1934">
                  <c:v>1767950.4609999999</c:v>
                </c:pt>
                <c:pt idx="1935">
                  <c:v>1757371.3729999999</c:v>
                </c:pt>
                <c:pt idx="1936">
                  <c:v>1773027.574</c:v>
                </c:pt>
                <c:pt idx="1937">
                  <c:v>1771503.378</c:v>
                </c:pt>
                <c:pt idx="1938">
                  <c:v>1756595.9979999999</c:v>
                </c:pt>
                <c:pt idx="1939">
                  <c:v>1764455.963</c:v>
                </c:pt>
                <c:pt idx="1940">
                  <c:v>1761264.18</c:v>
                </c:pt>
                <c:pt idx="1941">
                  <c:v>1753563.5379999999</c:v>
                </c:pt>
                <c:pt idx="1942">
                  <c:v>1751370.183</c:v>
                </c:pt>
                <c:pt idx="1943">
                  <c:v>1757913.0730000001</c:v>
                </c:pt>
                <c:pt idx="1944">
                  <c:v>1774987.254</c:v>
                </c:pt>
                <c:pt idx="1945">
                  <c:v>1788837.787</c:v>
                </c:pt>
                <c:pt idx="1946">
                  <c:v>1788561.6259999999</c:v>
                </c:pt>
                <c:pt idx="1947">
                  <c:v>1777876.3219999999</c:v>
                </c:pt>
                <c:pt idx="1948">
                  <c:v>1786495.73</c:v>
                </c:pt>
                <c:pt idx="1949">
                  <c:v>1783505.757</c:v>
                </c:pt>
                <c:pt idx="1950">
                  <c:v>1770882.0160000001</c:v>
                </c:pt>
                <c:pt idx="1951">
                  <c:v>1761917.4069999999</c:v>
                </c:pt>
                <c:pt idx="1952">
                  <c:v>1763133.577</c:v>
                </c:pt>
                <c:pt idx="1953">
                  <c:v>1762889.281</c:v>
                </c:pt>
                <c:pt idx="1954">
                  <c:v>1766559.0349999999</c:v>
                </c:pt>
                <c:pt idx="1955">
                  <c:v>1773468.3689999999</c:v>
                </c:pt>
                <c:pt idx="1956">
                  <c:v>1768115.095</c:v>
                </c:pt>
                <c:pt idx="1957">
                  <c:v>1781710.7109999999</c:v>
                </c:pt>
                <c:pt idx="1958">
                  <c:v>1786591.324</c:v>
                </c:pt>
                <c:pt idx="1959">
                  <c:v>1786787.8230000001</c:v>
                </c:pt>
                <c:pt idx="1960">
                  <c:v>1792868.675</c:v>
                </c:pt>
                <c:pt idx="1961">
                  <c:v>1799273.4839999999</c:v>
                </c:pt>
                <c:pt idx="1962">
                  <c:v>1786809.067</c:v>
                </c:pt>
                <c:pt idx="1963">
                  <c:v>1791440.0730000001</c:v>
                </c:pt>
                <c:pt idx="1964">
                  <c:v>1787441.05</c:v>
                </c:pt>
                <c:pt idx="1965">
                  <c:v>1796793.3470000001</c:v>
                </c:pt>
                <c:pt idx="1966">
                  <c:v>1803697.37</c:v>
                </c:pt>
                <c:pt idx="1967">
                  <c:v>1812831.9240000001</c:v>
                </c:pt>
                <c:pt idx="1968">
                  <c:v>1824935.2080000001</c:v>
                </c:pt>
                <c:pt idx="1969">
                  <c:v>1824680.291</c:v>
                </c:pt>
                <c:pt idx="1970">
                  <c:v>1817197.3910000001</c:v>
                </c:pt>
                <c:pt idx="1971">
                  <c:v>1827404.7239999999</c:v>
                </c:pt>
                <c:pt idx="1972">
                  <c:v>1817054</c:v>
                </c:pt>
                <c:pt idx="1973">
                  <c:v>1843581.3829999999</c:v>
                </c:pt>
                <c:pt idx="1974">
                  <c:v>1849651.612</c:v>
                </c:pt>
                <c:pt idx="1975">
                  <c:v>1853337.2990000001</c:v>
                </c:pt>
                <c:pt idx="1976">
                  <c:v>1844606.3640000001</c:v>
                </c:pt>
                <c:pt idx="1977">
                  <c:v>1844887.8359999999</c:v>
                </c:pt>
                <c:pt idx="1978">
                  <c:v>1830214.1310000001</c:v>
                </c:pt>
                <c:pt idx="1979">
                  <c:v>1833713.94</c:v>
                </c:pt>
                <c:pt idx="1980">
                  <c:v>1836703.9129999999</c:v>
                </c:pt>
                <c:pt idx="1981">
                  <c:v>1824308.5349999999</c:v>
                </c:pt>
                <c:pt idx="1982">
                  <c:v>1820463.5260000001</c:v>
                </c:pt>
                <c:pt idx="1983">
                  <c:v>1830352.2109999999</c:v>
                </c:pt>
                <c:pt idx="1984">
                  <c:v>1834324.68</c:v>
                </c:pt>
                <c:pt idx="1985">
                  <c:v>1831547.139</c:v>
                </c:pt>
                <c:pt idx="1986">
                  <c:v>1819974.933</c:v>
                </c:pt>
                <c:pt idx="1987">
                  <c:v>1820479.4580000001</c:v>
                </c:pt>
                <c:pt idx="1988">
                  <c:v>1836523.3459999999</c:v>
                </c:pt>
                <c:pt idx="1989">
                  <c:v>1835774.5249999999</c:v>
                </c:pt>
                <c:pt idx="1990">
                  <c:v>1839465.5220000001</c:v>
                </c:pt>
                <c:pt idx="1991">
                  <c:v>1848955.899</c:v>
                </c:pt>
                <c:pt idx="1992">
                  <c:v>1829996.389</c:v>
                </c:pt>
                <c:pt idx="1993">
                  <c:v>1832014.4879999999</c:v>
                </c:pt>
                <c:pt idx="1994">
                  <c:v>1840904.746</c:v>
                </c:pt>
                <c:pt idx="1995">
                  <c:v>1832248.162</c:v>
                </c:pt>
                <c:pt idx="1996">
                  <c:v>1838583.932</c:v>
                </c:pt>
                <c:pt idx="1997">
                  <c:v>1853252.3259999999</c:v>
                </c:pt>
                <c:pt idx="1998">
                  <c:v>1847113.0560000001</c:v>
                </c:pt>
                <c:pt idx="1999">
                  <c:v>1842742.2779999999</c:v>
                </c:pt>
                <c:pt idx="2000">
                  <c:v>1840288.6939999999</c:v>
                </c:pt>
                <c:pt idx="2001">
                  <c:v>1825190.1259999999</c:v>
                </c:pt>
                <c:pt idx="2002">
                  <c:v>1835434.635</c:v>
                </c:pt>
                <c:pt idx="2003">
                  <c:v>1860841.4410000001</c:v>
                </c:pt>
                <c:pt idx="2004">
                  <c:v>1866237.2009999999</c:v>
                </c:pt>
                <c:pt idx="2005">
                  <c:v>1868048.179</c:v>
                </c:pt>
                <c:pt idx="2006">
                  <c:v>1861505.29</c:v>
                </c:pt>
                <c:pt idx="2007">
                  <c:v>1867979.139</c:v>
                </c:pt>
                <c:pt idx="2008">
                  <c:v>1863788.9280000001</c:v>
                </c:pt>
                <c:pt idx="2009">
                  <c:v>1866513.362</c:v>
                </c:pt>
                <c:pt idx="2010">
                  <c:v>1851605.9820000001</c:v>
                </c:pt>
                <c:pt idx="2011">
                  <c:v>1848122.1059999999</c:v>
                </c:pt>
                <c:pt idx="2012">
                  <c:v>1838987.5519999999</c:v>
                </c:pt>
                <c:pt idx="2013">
                  <c:v>1830033.564</c:v>
                </c:pt>
                <c:pt idx="2014">
                  <c:v>1838355.568</c:v>
                </c:pt>
                <c:pt idx="2015">
                  <c:v>1841138.42</c:v>
                </c:pt>
                <c:pt idx="2016">
                  <c:v>1822269.193</c:v>
                </c:pt>
                <c:pt idx="2017">
                  <c:v>1827425.9680000001</c:v>
                </c:pt>
                <c:pt idx="2018">
                  <c:v>1829661.8089999999</c:v>
                </c:pt>
                <c:pt idx="2019">
                  <c:v>1830479.67</c:v>
                </c:pt>
                <c:pt idx="2020">
                  <c:v>1826778.0519999999</c:v>
                </c:pt>
                <c:pt idx="2021">
                  <c:v>1819783.7450000001</c:v>
                </c:pt>
                <c:pt idx="2022">
                  <c:v>1812640.736</c:v>
                </c:pt>
                <c:pt idx="2023">
                  <c:v>1807999.108</c:v>
                </c:pt>
                <c:pt idx="2024">
                  <c:v>1796400.348</c:v>
                </c:pt>
                <c:pt idx="2025">
                  <c:v>1783792.5390000001</c:v>
                </c:pt>
                <c:pt idx="2026">
                  <c:v>1780457.365</c:v>
                </c:pt>
                <c:pt idx="2027">
                  <c:v>1772581.4669999999</c:v>
                </c:pt>
                <c:pt idx="2028">
                  <c:v>1782645.409</c:v>
                </c:pt>
                <c:pt idx="2029">
                  <c:v>1797903.301</c:v>
                </c:pt>
                <c:pt idx="2030">
                  <c:v>1805237.4979999999</c:v>
                </c:pt>
                <c:pt idx="2031">
                  <c:v>1820883.078</c:v>
                </c:pt>
                <c:pt idx="2032">
                  <c:v>1810962.527</c:v>
                </c:pt>
                <c:pt idx="2033">
                  <c:v>1804663.933</c:v>
                </c:pt>
                <c:pt idx="2034">
                  <c:v>1807712.325</c:v>
                </c:pt>
                <c:pt idx="2035">
                  <c:v>1811636.997</c:v>
                </c:pt>
                <c:pt idx="2036">
                  <c:v>1818514.4669999999</c:v>
                </c:pt>
                <c:pt idx="2037">
                  <c:v>1818503.845</c:v>
                </c:pt>
                <c:pt idx="2038">
                  <c:v>1851159.8759999999</c:v>
                </c:pt>
                <c:pt idx="2039">
                  <c:v>1848382.334</c:v>
                </c:pt>
                <c:pt idx="2040">
                  <c:v>1854994.264</c:v>
                </c:pt>
                <c:pt idx="2041">
                  <c:v>1857575.307</c:v>
                </c:pt>
                <c:pt idx="2042">
                  <c:v>1851611.2930000001</c:v>
                </c:pt>
                <c:pt idx="2043">
                  <c:v>1842179.335</c:v>
                </c:pt>
                <c:pt idx="2044">
                  <c:v>1854994.264</c:v>
                </c:pt>
                <c:pt idx="2045">
                  <c:v>1876763.1810000001</c:v>
                </c:pt>
                <c:pt idx="2046">
                  <c:v>1891160.726</c:v>
                </c:pt>
                <c:pt idx="2047">
                  <c:v>1899227.8119999999</c:v>
                </c:pt>
                <c:pt idx="2048">
                  <c:v>1898282.4909999999</c:v>
                </c:pt>
                <c:pt idx="2049">
                  <c:v>1902467.392</c:v>
                </c:pt>
                <c:pt idx="2050">
                  <c:v>1877522.6240000001</c:v>
                </c:pt>
                <c:pt idx="2051">
                  <c:v>1874065.301</c:v>
                </c:pt>
                <c:pt idx="2052">
                  <c:v>1868738.5819999999</c:v>
                </c:pt>
                <c:pt idx="2053">
                  <c:v>1887278.54</c:v>
                </c:pt>
                <c:pt idx="2054">
                  <c:v>1883465.395</c:v>
                </c:pt>
                <c:pt idx="2055">
                  <c:v>1905489.23</c:v>
                </c:pt>
                <c:pt idx="2056">
                  <c:v>1906753.1969999999</c:v>
                </c:pt>
                <c:pt idx="2057">
                  <c:v>1924034.4990000001</c:v>
                </c:pt>
                <c:pt idx="2058">
                  <c:v>1948044.568</c:v>
                </c:pt>
                <c:pt idx="2059">
                  <c:v>1951565.62</c:v>
                </c:pt>
                <c:pt idx="2060">
                  <c:v>1936403.3219999999</c:v>
                </c:pt>
                <c:pt idx="2061">
                  <c:v>1948437.5660000001</c:v>
                </c:pt>
                <c:pt idx="2062">
                  <c:v>1947359.477</c:v>
                </c:pt>
                <c:pt idx="2063">
                  <c:v>1938888.7709999999</c:v>
                </c:pt>
                <c:pt idx="2064">
                  <c:v>1922494.371</c:v>
                </c:pt>
                <c:pt idx="2065">
                  <c:v>1943578.196</c:v>
                </c:pt>
                <c:pt idx="2066">
                  <c:v>1943801.2490000001</c:v>
                </c:pt>
                <c:pt idx="2067">
                  <c:v>1941586.6510000001</c:v>
                </c:pt>
                <c:pt idx="2068">
                  <c:v>1940397.034</c:v>
                </c:pt>
                <c:pt idx="2069">
                  <c:v>1949489.102</c:v>
                </c:pt>
                <c:pt idx="2070">
                  <c:v>1943121.4680000001</c:v>
                </c:pt>
                <c:pt idx="2071">
                  <c:v>1958044.781</c:v>
                </c:pt>
                <c:pt idx="2072">
                  <c:v>1966632.324</c:v>
                </c:pt>
                <c:pt idx="2073">
                  <c:v>1945638.781</c:v>
                </c:pt>
                <c:pt idx="2074">
                  <c:v>1947561.2860000001</c:v>
                </c:pt>
                <c:pt idx="2075">
                  <c:v>1980790.882</c:v>
                </c:pt>
                <c:pt idx="2076">
                  <c:v>1990419.34</c:v>
                </c:pt>
                <c:pt idx="2077">
                  <c:v>1980180.142</c:v>
                </c:pt>
                <c:pt idx="2078">
                  <c:v>1988077.2830000001</c:v>
                </c:pt>
                <c:pt idx="2079">
                  <c:v>1975379.19</c:v>
                </c:pt>
                <c:pt idx="2080">
                  <c:v>1967853.8049999999</c:v>
                </c:pt>
                <c:pt idx="2081">
                  <c:v>1971465.14</c:v>
                </c:pt>
                <c:pt idx="2082">
                  <c:v>1976616.6040000001</c:v>
                </c:pt>
                <c:pt idx="2083">
                  <c:v>1985103.2420000001</c:v>
                </c:pt>
                <c:pt idx="2084">
                  <c:v>2002368.611</c:v>
                </c:pt>
                <c:pt idx="2085">
                  <c:v>1997307.4310000001</c:v>
                </c:pt>
                <c:pt idx="2086">
                  <c:v>1979771.2109999999</c:v>
                </c:pt>
                <c:pt idx="2087">
                  <c:v>1969016.8670000001</c:v>
                </c:pt>
                <c:pt idx="2088">
                  <c:v>1979218.889</c:v>
                </c:pt>
                <c:pt idx="2089">
                  <c:v>1982097.3359999999</c:v>
                </c:pt>
                <c:pt idx="2090">
                  <c:v>1981475.9739999999</c:v>
                </c:pt>
                <c:pt idx="2091">
                  <c:v>1973446.064</c:v>
                </c:pt>
                <c:pt idx="2092">
                  <c:v>1937029.9950000001</c:v>
                </c:pt>
                <c:pt idx="2093">
                  <c:v>1962165.9509999999</c:v>
                </c:pt>
                <c:pt idx="2094">
                  <c:v>1968209.6270000001</c:v>
                </c:pt>
                <c:pt idx="2095">
                  <c:v>1965745.422</c:v>
                </c:pt>
                <c:pt idx="2096">
                  <c:v>1976292.6459999999</c:v>
                </c:pt>
                <c:pt idx="2097">
                  <c:v>1978093.003</c:v>
                </c:pt>
                <c:pt idx="2098">
                  <c:v>1986760.2069999999</c:v>
                </c:pt>
                <c:pt idx="2099">
                  <c:v>1992766.7080000001</c:v>
                </c:pt>
                <c:pt idx="2100">
                  <c:v>1994779.496</c:v>
                </c:pt>
                <c:pt idx="2101">
                  <c:v>1983393.1680000001</c:v>
                </c:pt>
                <c:pt idx="2102">
                  <c:v>2015842.078</c:v>
                </c:pt>
                <c:pt idx="2103">
                  <c:v>2040781.5349999999</c:v>
                </c:pt>
                <c:pt idx="2104">
                  <c:v>2036442.622</c:v>
                </c:pt>
                <c:pt idx="2105">
                  <c:v>2036315.1629999999</c:v>
                </c:pt>
                <c:pt idx="2106">
                  <c:v>2029830.692</c:v>
                </c:pt>
                <c:pt idx="2107">
                  <c:v>2034318.307</c:v>
                </c:pt>
                <c:pt idx="2108">
                  <c:v>2042326.9750000001</c:v>
                </c:pt>
                <c:pt idx="2109">
                  <c:v>2048397.2039999999</c:v>
                </c:pt>
                <c:pt idx="2110">
                  <c:v>2044361.0060000001</c:v>
                </c:pt>
                <c:pt idx="2111">
                  <c:v>2033962.4850000001</c:v>
                </c:pt>
                <c:pt idx="2112">
                  <c:v>2031901.899</c:v>
                </c:pt>
                <c:pt idx="2113">
                  <c:v>2031721.3319999999</c:v>
                </c:pt>
                <c:pt idx="2114">
                  <c:v>2038242.9790000001</c:v>
                </c:pt>
                <c:pt idx="2115">
                  <c:v>2040728.4280000001</c:v>
                </c:pt>
                <c:pt idx="2116">
                  <c:v>2034010.2819999999</c:v>
                </c:pt>
                <c:pt idx="2117">
                  <c:v>2034721.9269999999</c:v>
                </c:pt>
                <c:pt idx="2118">
                  <c:v>2041009.899</c:v>
                </c:pt>
                <c:pt idx="2119">
                  <c:v>2035157.412</c:v>
                </c:pt>
                <c:pt idx="2120">
                  <c:v>2040638.1440000001</c:v>
                </c:pt>
                <c:pt idx="2121">
                  <c:v>2038184.56</c:v>
                </c:pt>
                <c:pt idx="2122">
                  <c:v>2038136.763</c:v>
                </c:pt>
                <c:pt idx="2123">
                  <c:v>2027547.054</c:v>
                </c:pt>
                <c:pt idx="2124">
                  <c:v>2029134.9790000001</c:v>
                </c:pt>
                <c:pt idx="2125">
                  <c:v>2029358.0319999999</c:v>
                </c:pt>
                <c:pt idx="2126">
                  <c:v>2030069.6780000001</c:v>
                </c:pt>
                <c:pt idx="2127">
                  <c:v>2037483.537</c:v>
                </c:pt>
                <c:pt idx="2128">
                  <c:v>2061759.145</c:v>
                </c:pt>
                <c:pt idx="2129">
                  <c:v>2065821.8970000001</c:v>
                </c:pt>
                <c:pt idx="2130">
                  <c:v>2072635.638</c:v>
                </c:pt>
                <c:pt idx="2131">
                  <c:v>2078084.5049999999</c:v>
                </c:pt>
                <c:pt idx="2132">
                  <c:v>2082359.689</c:v>
                </c:pt>
                <c:pt idx="2133">
                  <c:v>2078350.0449999999</c:v>
                </c:pt>
                <c:pt idx="2134">
                  <c:v>2078148.2350000001</c:v>
                </c:pt>
                <c:pt idx="2135">
                  <c:v>2094659.4720000001</c:v>
                </c:pt>
                <c:pt idx="2136">
                  <c:v>2087803.246</c:v>
                </c:pt>
                <c:pt idx="2137">
                  <c:v>2085466.5</c:v>
                </c:pt>
                <c:pt idx="2138">
                  <c:v>2087564.2609999999</c:v>
                </c:pt>
                <c:pt idx="2139">
                  <c:v>2102753.1120000002</c:v>
                </c:pt>
                <c:pt idx="2140">
                  <c:v>2112073.5440000002</c:v>
                </c:pt>
                <c:pt idx="2141">
                  <c:v>2120905.3829999999</c:v>
                </c:pt>
                <c:pt idx="2142">
                  <c:v>2135982.7080000001</c:v>
                </c:pt>
                <c:pt idx="2143">
                  <c:v>2129476.9939999999</c:v>
                </c:pt>
                <c:pt idx="2144">
                  <c:v>2127883.7570000002</c:v>
                </c:pt>
                <c:pt idx="2145">
                  <c:v>2122519.8620000002</c:v>
                </c:pt>
                <c:pt idx="2146">
                  <c:v>2122790.7119999998</c:v>
                </c:pt>
                <c:pt idx="2147">
                  <c:v>2120438.034</c:v>
                </c:pt>
                <c:pt idx="2148">
                  <c:v>2135409.1430000002</c:v>
                </c:pt>
                <c:pt idx="2149">
                  <c:v>2153125.929</c:v>
                </c:pt>
                <c:pt idx="2150">
                  <c:v>2149811.9980000001</c:v>
                </c:pt>
                <c:pt idx="2151">
                  <c:v>2164623.784</c:v>
                </c:pt>
                <c:pt idx="2152">
                  <c:v>2183747.929</c:v>
                </c:pt>
                <c:pt idx="2153">
                  <c:v>2192330.1609999998</c:v>
                </c:pt>
                <c:pt idx="2154">
                  <c:v>2177077.58</c:v>
                </c:pt>
                <c:pt idx="2155">
                  <c:v>2163439.4780000001</c:v>
                </c:pt>
                <c:pt idx="2156">
                  <c:v>2180083.486</c:v>
                </c:pt>
                <c:pt idx="2157">
                  <c:v>2188495.773</c:v>
                </c:pt>
                <c:pt idx="2158">
                  <c:v>2200699.9619999998</c:v>
                </c:pt>
                <c:pt idx="2159">
                  <c:v>2239930.747</c:v>
                </c:pt>
                <c:pt idx="2160">
                  <c:v>2245172.4939999999</c:v>
                </c:pt>
                <c:pt idx="2161">
                  <c:v>2178697.37</c:v>
                </c:pt>
                <c:pt idx="2162">
                  <c:v>2179653.3119999999</c:v>
                </c:pt>
                <c:pt idx="2163">
                  <c:v>2150842.2910000002</c:v>
                </c:pt>
                <c:pt idx="2164">
                  <c:v>2153959.7230000002</c:v>
                </c:pt>
                <c:pt idx="2165">
                  <c:v>2152860.39</c:v>
                </c:pt>
                <c:pt idx="2166">
                  <c:v>2127554.4890000001</c:v>
                </c:pt>
                <c:pt idx="2167">
                  <c:v>2123327.102</c:v>
                </c:pt>
                <c:pt idx="2168">
                  <c:v>2134331.0529999998</c:v>
                </c:pt>
                <c:pt idx="2169">
                  <c:v>2145648.341</c:v>
                </c:pt>
                <c:pt idx="2170">
                  <c:v>2132716.574</c:v>
                </c:pt>
                <c:pt idx="2171">
                  <c:v>2108945.4900000002</c:v>
                </c:pt>
                <c:pt idx="2172">
                  <c:v>2126109.9550000001</c:v>
                </c:pt>
                <c:pt idx="2173">
                  <c:v>2161224.88</c:v>
                </c:pt>
                <c:pt idx="2174">
                  <c:v>2132822.79</c:v>
                </c:pt>
                <c:pt idx="2175">
                  <c:v>2150916.642</c:v>
                </c:pt>
                <c:pt idx="2176">
                  <c:v>2138202.6170000001</c:v>
                </c:pt>
                <c:pt idx="2177">
                  <c:v>2114150.0619999999</c:v>
                </c:pt>
                <c:pt idx="2178">
                  <c:v>2116502.7400000002</c:v>
                </c:pt>
                <c:pt idx="2179">
                  <c:v>2143077.92</c:v>
                </c:pt>
                <c:pt idx="2180">
                  <c:v>2140507.4989999998</c:v>
                </c:pt>
                <c:pt idx="2181">
                  <c:v>2160348.6</c:v>
                </c:pt>
                <c:pt idx="2182">
                  <c:v>2153311.807</c:v>
                </c:pt>
                <c:pt idx="2183">
                  <c:v>2146375.9190000002</c:v>
                </c:pt>
                <c:pt idx="2184">
                  <c:v>2152791.35</c:v>
                </c:pt>
                <c:pt idx="2185">
                  <c:v>2119646.7259999998</c:v>
                </c:pt>
                <c:pt idx="2186">
                  <c:v>2134352.2960000001</c:v>
                </c:pt>
                <c:pt idx="2187">
                  <c:v>2140698.6869999999</c:v>
                </c:pt>
                <c:pt idx="2188">
                  <c:v>2170731.1889999998</c:v>
                </c:pt>
                <c:pt idx="2189">
                  <c:v>2183471.7680000002</c:v>
                </c:pt>
                <c:pt idx="2190">
                  <c:v>2192723.159</c:v>
                </c:pt>
                <c:pt idx="2191">
                  <c:v>2198002.0819999999</c:v>
                </c:pt>
                <c:pt idx="2192">
                  <c:v>2209372.477</c:v>
                </c:pt>
                <c:pt idx="2193">
                  <c:v>2224848.111</c:v>
                </c:pt>
                <c:pt idx="2194">
                  <c:v>2234678.3790000002</c:v>
                </c:pt>
                <c:pt idx="2195">
                  <c:v>2233499.3840000001</c:v>
                </c:pt>
                <c:pt idx="2196">
                  <c:v>2243807.622</c:v>
                </c:pt>
                <c:pt idx="2197">
                  <c:v>2243935.0809999998</c:v>
                </c:pt>
                <c:pt idx="2198">
                  <c:v>2261582.827</c:v>
                </c:pt>
                <c:pt idx="2199">
                  <c:v>2256086.162</c:v>
                </c:pt>
                <c:pt idx="2200">
                  <c:v>2268460.2969999998</c:v>
                </c:pt>
                <c:pt idx="2201">
                  <c:v>2275884.7769999998</c:v>
                </c:pt>
                <c:pt idx="2202">
                  <c:v>2303076.0079999999</c:v>
                </c:pt>
                <c:pt idx="2203">
                  <c:v>2327510.94</c:v>
                </c:pt>
                <c:pt idx="2204">
                  <c:v>2331377.193</c:v>
                </c:pt>
                <c:pt idx="2205">
                  <c:v>2318201.13</c:v>
                </c:pt>
                <c:pt idx="2206">
                  <c:v>2326815.227</c:v>
                </c:pt>
                <c:pt idx="2207">
                  <c:v>2284711.3059999999</c:v>
                </c:pt>
                <c:pt idx="2208">
                  <c:v>2260324.17</c:v>
                </c:pt>
                <c:pt idx="2209">
                  <c:v>2270839.5290000001</c:v>
                </c:pt>
                <c:pt idx="2210">
                  <c:v>2254907.1669999999</c:v>
                </c:pt>
                <c:pt idx="2211">
                  <c:v>2268359.392</c:v>
                </c:pt>
                <c:pt idx="2212">
                  <c:v>2269910.1409999998</c:v>
                </c:pt>
                <c:pt idx="2213">
                  <c:v>2203387.2200000002</c:v>
                </c:pt>
                <c:pt idx="2214">
                  <c:v>2151134.3840000001</c:v>
                </c:pt>
                <c:pt idx="2215">
                  <c:v>2130714.4070000001</c:v>
                </c:pt>
                <c:pt idx="2216">
                  <c:v>2039687.513</c:v>
                </c:pt>
                <c:pt idx="2217">
                  <c:v>2065949.3559999999</c:v>
                </c:pt>
                <c:pt idx="2218">
                  <c:v>2090129.371</c:v>
                </c:pt>
                <c:pt idx="2219">
                  <c:v>2106768.0669999998</c:v>
                </c:pt>
                <c:pt idx="2220">
                  <c:v>2152318.69</c:v>
                </c:pt>
                <c:pt idx="2221">
                  <c:v>2162069.2949999999</c:v>
                </c:pt>
                <c:pt idx="2222">
                  <c:v>2187205.2510000002</c:v>
                </c:pt>
                <c:pt idx="2223">
                  <c:v>2155637.932</c:v>
                </c:pt>
                <c:pt idx="2224">
                  <c:v>2136869.61</c:v>
                </c:pt>
                <c:pt idx="2225">
                  <c:v>2150385.5630000001</c:v>
                </c:pt>
                <c:pt idx="2226">
                  <c:v>2133056.4640000002</c:v>
                </c:pt>
                <c:pt idx="2227">
                  <c:v>2133927.4330000002</c:v>
                </c:pt>
                <c:pt idx="2228">
                  <c:v>2159663.5090000001</c:v>
                </c:pt>
                <c:pt idx="2229">
                  <c:v>2143778.9440000001</c:v>
                </c:pt>
                <c:pt idx="2230">
                  <c:v>2165526.6179999998</c:v>
                </c:pt>
                <c:pt idx="2231">
                  <c:v>2182133.449</c:v>
                </c:pt>
                <c:pt idx="2232">
                  <c:v>2192117.73</c:v>
                </c:pt>
                <c:pt idx="2233">
                  <c:v>2172775.8420000002</c:v>
                </c:pt>
                <c:pt idx="2234">
                  <c:v>2163264.2220000001</c:v>
                </c:pt>
                <c:pt idx="2235">
                  <c:v>2175383.4389999998</c:v>
                </c:pt>
                <c:pt idx="2236">
                  <c:v>2154278.37</c:v>
                </c:pt>
                <c:pt idx="2237">
                  <c:v>2163747.5040000002</c:v>
                </c:pt>
                <c:pt idx="2238">
                  <c:v>2165579.7259999998</c:v>
                </c:pt>
                <c:pt idx="2239">
                  <c:v>2156737.2650000001</c:v>
                </c:pt>
                <c:pt idx="2240">
                  <c:v>2135122.361</c:v>
                </c:pt>
                <c:pt idx="2241">
                  <c:v>2073830.5649999999</c:v>
                </c:pt>
                <c:pt idx="2242">
                  <c:v>2060527.0430000001</c:v>
                </c:pt>
                <c:pt idx="2243">
                  <c:v>2078254.45</c:v>
                </c:pt>
                <c:pt idx="2244">
                  <c:v>2040786.8459999999</c:v>
                </c:pt>
                <c:pt idx="2245">
                  <c:v>2068047.1170000001</c:v>
                </c:pt>
                <c:pt idx="2246">
                  <c:v>2070410.4180000001</c:v>
                </c:pt>
                <c:pt idx="2247">
                  <c:v>2064260.5260000001</c:v>
                </c:pt>
                <c:pt idx="2248">
                  <c:v>2051280.9620000001</c:v>
                </c:pt>
                <c:pt idx="2249">
                  <c:v>2047234.142</c:v>
                </c:pt>
                <c:pt idx="2250">
                  <c:v>2046209.16</c:v>
                </c:pt>
                <c:pt idx="2251">
                  <c:v>2085636.4450000001</c:v>
                </c:pt>
                <c:pt idx="2252">
                  <c:v>2091568.594</c:v>
                </c:pt>
                <c:pt idx="2253">
                  <c:v>2070484.7690000001</c:v>
                </c:pt>
                <c:pt idx="2254">
                  <c:v>2055880.1040000001</c:v>
                </c:pt>
                <c:pt idx="2255">
                  <c:v>2022804.5209999999</c:v>
                </c:pt>
                <c:pt idx="2256">
                  <c:v>1990822.96</c:v>
                </c:pt>
                <c:pt idx="2257">
                  <c:v>2000191.1880000001</c:v>
                </c:pt>
                <c:pt idx="2258">
                  <c:v>2024387.135</c:v>
                </c:pt>
                <c:pt idx="2259">
                  <c:v>1997307.4310000001</c:v>
                </c:pt>
                <c:pt idx="2260">
                  <c:v>2000217.7420000001</c:v>
                </c:pt>
                <c:pt idx="2261">
                  <c:v>2041195.777</c:v>
                </c:pt>
                <c:pt idx="2262">
                  <c:v>2033341.122</c:v>
                </c:pt>
                <c:pt idx="2263">
                  <c:v>1994460.8489999999</c:v>
                </c:pt>
                <c:pt idx="2264">
                  <c:v>1995199.048</c:v>
                </c:pt>
                <c:pt idx="2265">
                  <c:v>1998794.4509999999</c:v>
                </c:pt>
                <c:pt idx="2266">
                  <c:v>2014381.612</c:v>
                </c:pt>
                <c:pt idx="2267">
                  <c:v>2004609.763</c:v>
                </c:pt>
                <c:pt idx="2268">
                  <c:v>2036256.7450000001</c:v>
                </c:pt>
                <c:pt idx="2269">
                  <c:v>2059884.4369999999</c:v>
                </c:pt>
                <c:pt idx="2270">
                  <c:v>2056135.0209999999</c:v>
                </c:pt>
                <c:pt idx="2271">
                  <c:v>2067521.3489999999</c:v>
                </c:pt>
                <c:pt idx="2272">
                  <c:v>2056782.9380000001</c:v>
                </c:pt>
                <c:pt idx="2273">
                  <c:v>2076140.757</c:v>
                </c:pt>
                <c:pt idx="2274">
                  <c:v>2084006.0330000001</c:v>
                </c:pt>
                <c:pt idx="2275">
                  <c:v>2067404.5120000001</c:v>
                </c:pt>
                <c:pt idx="2276">
                  <c:v>2052114.7549999999</c:v>
                </c:pt>
                <c:pt idx="2277">
                  <c:v>2072832.1370000001</c:v>
                </c:pt>
                <c:pt idx="2278">
                  <c:v>2082487.148</c:v>
                </c:pt>
                <c:pt idx="2279">
                  <c:v>2074505.0349999999</c:v>
                </c:pt>
                <c:pt idx="2280">
                  <c:v>2047085.44</c:v>
                </c:pt>
                <c:pt idx="2281">
                  <c:v>2032555.1259999999</c:v>
                </c:pt>
                <c:pt idx="2282">
                  <c:v>2026861.9620000001</c:v>
                </c:pt>
                <c:pt idx="2283">
                  <c:v>2035762.841</c:v>
                </c:pt>
                <c:pt idx="2284">
                  <c:v>2020228.7890000001</c:v>
                </c:pt>
                <c:pt idx="2285">
                  <c:v>1977402.6</c:v>
                </c:pt>
                <c:pt idx="2286">
                  <c:v>2019363.13</c:v>
                </c:pt>
                <c:pt idx="2287">
                  <c:v>2002480.138</c:v>
                </c:pt>
                <c:pt idx="2288">
                  <c:v>2022124.74</c:v>
                </c:pt>
                <c:pt idx="2289">
                  <c:v>2042167.6510000001</c:v>
                </c:pt>
                <c:pt idx="2290">
                  <c:v>2037934.953</c:v>
                </c:pt>
                <c:pt idx="2291">
                  <c:v>2034567.9140000001</c:v>
                </c:pt>
                <c:pt idx="2292">
                  <c:v>2007275.7790000001</c:v>
                </c:pt>
                <c:pt idx="2293">
                  <c:v>2007466.9669999999</c:v>
                </c:pt>
                <c:pt idx="2294">
                  <c:v>2031880.656</c:v>
                </c:pt>
                <c:pt idx="2295">
                  <c:v>2011906.7849999999</c:v>
                </c:pt>
                <c:pt idx="2296">
                  <c:v>2003956.537</c:v>
                </c:pt>
                <c:pt idx="2297">
                  <c:v>1993366.827</c:v>
                </c:pt>
                <c:pt idx="2298">
                  <c:v>1923099.8</c:v>
                </c:pt>
                <c:pt idx="2299">
                  <c:v>1930704.848</c:v>
                </c:pt>
                <c:pt idx="2300">
                  <c:v>1908149.9339999999</c:v>
                </c:pt>
                <c:pt idx="2301">
                  <c:v>1916610.0179999999</c:v>
                </c:pt>
                <c:pt idx="2302">
                  <c:v>1890895.186</c:v>
                </c:pt>
                <c:pt idx="2303">
                  <c:v>1875297.4040000001</c:v>
                </c:pt>
                <c:pt idx="2304">
                  <c:v>1837139.398</c:v>
                </c:pt>
                <c:pt idx="2305">
                  <c:v>1818163.9550000001</c:v>
                </c:pt>
                <c:pt idx="2306">
                  <c:v>1864606.7890000001</c:v>
                </c:pt>
                <c:pt idx="2307">
                  <c:v>1809895.0589999999</c:v>
                </c:pt>
                <c:pt idx="2308">
                  <c:v>1810596.0830000001</c:v>
                </c:pt>
                <c:pt idx="2309">
                  <c:v>1786416.068</c:v>
                </c:pt>
                <c:pt idx="2310">
                  <c:v>1775098.781</c:v>
                </c:pt>
                <c:pt idx="2311">
                  <c:v>1787143.6459999999</c:v>
                </c:pt>
                <c:pt idx="2312">
                  <c:v>1837096.9110000001</c:v>
                </c:pt>
                <c:pt idx="2313">
                  <c:v>1841526.108</c:v>
                </c:pt>
                <c:pt idx="2314">
                  <c:v>1809666.6950000001</c:v>
                </c:pt>
                <c:pt idx="2315">
                  <c:v>1848716.9140000001</c:v>
                </c:pt>
                <c:pt idx="2316">
                  <c:v>1854893.3589999999</c:v>
                </c:pt>
                <c:pt idx="2317">
                  <c:v>1843953.138</c:v>
                </c:pt>
                <c:pt idx="2318">
                  <c:v>1831892.34</c:v>
                </c:pt>
                <c:pt idx="2319">
                  <c:v>1822301.058</c:v>
                </c:pt>
                <c:pt idx="2320">
                  <c:v>1820718.443</c:v>
                </c:pt>
                <c:pt idx="2321">
                  <c:v>1854999.575</c:v>
                </c:pt>
                <c:pt idx="2322">
                  <c:v>1872450.8219999999</c:v>
                </c:pt>
                <c:pt idx="2323">
                  <c:v>1902169.9879999999</c:v>
                </c:pt>
                <c:pt idx="2324">
                  <c:v>1900066.916</c:v>
                </c:pt>
                <c:pt idx="2325">
                  <c:v>1878027.149</c:v>
                </c:pt>
                <c:pt idx="2326">
                  <c:v>1870050.3459999999</c:v>
                </c:pt>
                <c:pt idx="2327">
                  <c:v>1866784.2120000001</c:v>
                </c:pt>
                <c:pt idx="2328">
                  <c:v>1868154.395</c:v>
                </c:pt>
                <c:pt idx="2329">
                  <c:v>1830835.493</c:v>
                </c:pt>
                <c:pt idx="2330">
                  <c:v>1790245.1459999999</c:v>
                </c:pt>
                <c:pt idx="2331">
                  <c:v>1760674.682</c:v>
                </c:pt>
                <c:pt idx="2332">
                  <c:v>1738364.0649999999</c:v>
                </c:pt>
                <c:pt idx="2333">
                  <c:v>1789135.1910000001</c:v>
                </c:pt>
                <c:pt idx="2334">
                  <c:v>1760265.7520000001</c:v>
                </c:pt>
                <c:pt idx="2335">
                  <c:v>1804355.9080000001</c:v>
                </c:pt>
                <c:pt idx="2336">
                  <c:v>1808333.6869999999</c:v>
                </c:pt>
                <c:pt idx="2337">
                  <c:v>1800537.452</c:v>
                </c:pt>
                <c:pt idx="2338">
                  <c:v>1791280.7490000001</c:v>
                </c:pt>
                <c:pt idx="2339">
                  <c:v>1748300.548</c:v>
                </c:pt>
                <c:pt idx="2340">
                  <c:v>1740201.5970000001</c:v>
                </c:pt>
                <c:pt idx="2341">
                  <c:v>1715182.4790000001</c:v>
                </c:pt>
                <c:pt idx="2342">
                  <c:v>1735166.9709999999</c:v>
                </c:pt>
                <c:pt idx="2343">
                  <c:v>1766713.048</c:v>
                </c:pt>
                <c:pt idx="2344">
                  <c:v>1756781.875</c:v>
                </c:pt>
                <c:pt idx="2345">
                  <c:v>1763197.3060000001</c:v>
                </c:pt>
                <c:pt idx="2346">
                  <c:v>1766012.024</c:v>
                </c:pt>
                <c:pt idx="2347">
                  <c:v>1809156.8589999999</c:v>
                </c:pt>
                <c:pt idx="2348">
                  <c:v>1805757.956</c:v>
                </c:pt>
                <c:pt idx="2349">
                  <c:v>1798535.2849999999</c:v>
                </c:pt>
                <c:pt idx="2350">
                  <c:v>1779692.612</c:v>
                </c:pt>
                <c:pt idx="2351">
                  <c:v>1770882.0160000001</c:v>
                </c:pt>
                <c:pt idx="2352">
                  <c:v>1764147.9369999999</c:v>
                </c:pt>
                <c:pt idx="2353">
                  <c:v>1786495.73</c:v>
                </c:pt>
                <c:pt idx="2354">
                  <c:v>1751571.993</c:v>
                </c:pt>
                <c:pt idx="2355">
                  <c:v>1732846.1569999999</c:v>
                </c:pt>
                <c:pt idx="2356">
                  <c:v>1740684.879</c:v>
                </c:pt>
                <c:pt idx="2357">
                  <c:v>1715421.4639999999</c:v>
                </c:pt>
                <c:pt idx="2358">
                  <c:v>1712309.3430000001</c:v>
                </c:pt>
                <c:pt idx="2359">
                  <c:v>1700524.706</c:v>
                </c:pt>
                <c:pt idx="2360">
                  <c:v>1718873.476</c:v>
                </c:pt>
                <c:pt idx="2361">
                  <c:v>1721805.03</c:v>
                </c:pt>
                <c:pt idx="2362">
                  <c:v>1702064.834</c:v>
                </c:pt>
                <c:pt idx="2363">
                  <c:v>1736324.723</c:v>
                </c:pt>
                <c:pt idx="2364">
                  <c:v>1759187.662</c:v>
                </c:pt>
                <c:pt idx="2365">
                  <c:v>1757939.6270000001</c:v>
                </c:pt>
                <c:pt idx="2366">
                  <c:v>1811238.6880000001</c:v>
                </c:pt>
                <c:pt idx="2367">
                  <c:v>1794939.882</c:v>
                </c:pt>
                <c:pt idx="2368">
                  <c:v>1814823.469</c:v>
                </c:pt>
                <c:pt idx="2369">
                  <c:v>1807574.2450000001</c:v>
                </c:pt>
                <c:pt idx="2370">
                  <c:v>1826305.392</c:v>
                </c:pt>
                <c:pt idx="2371">
                  <c:v>1747726.983</c:v>
                </c:pt>
                <c:pt idx="2372">
                  <c:v>1746553.2990000001</c:v>
                </c:pt>
                <c:pt idx="2373">
                  <c:v>1742787.9509999999</c:v>
                </c:pt>
                <c:pt idx="2374">
                  <c:v>1659148.362</c:v>
                </c:pt>
                <c:pt idx="2375">
                  <c:v>1683907.2520000001</c:v>
                </c:pt>
                <c:pt idx="2376">
                  <c:v>1660391.0859999999</c:v>
                </c:pt>
                <c:pt idx="2377">
                  <c:v>1646859.2</c:v>
                </c:pt>
                <c:pt idx="2378">
                  <c:v>1656036.2409999999</c:v>
                </c:pt>
                <c:pt idx="2379">
                  <c:v>1616810.7660000001</c:v>
                </c:pt>
                <c:pt idx="2380">
                  <c:v>1664905.2560000001</c:v>
                </c:pt>
                <c:pt idx="2381">
                  <c:v>1736770.8289999999</c:v>
                </c:pt>
                <c:pt idx="2382">
                  <c:v>1690651.952</c:v>
                </c:pt>
                <c:pt idx="2383">
                  <c:v>1693185.1980000001</c:v>
                </c:pt>
                <c:pt idx="2384">
                  <c:v>1696430.0889999999</c:v>
                </c:pt>
                <c:pt idx="2385">
                  <c:v>1685452.692</c:v>
                </c:pt>
                <c:pt idx="2386">
                  <c:v>1634070.825</c:v>
                </c:pt>
                <c:pt idx="2387">
                  <c:v>1651792.922</c:v>
                </c:pt>
                <c:pt idx="2388">
                  <c:v>1674926.7109999999</c:v>
                </c:pt>
                <c:pt idx="2389">
                  <c:v>1687253.048</c:v>
                </c:pt>
                <c:pt idx="2390">
                  <c:v>1747381.7819999999</c:v>
                </c:pt>
                <c:pt idx="2391">
                  <c:v>1732824.9140000001</c:v>
                </c:pt>
                <c:pt idx="2392">
                  <c:v>1722367.9739999999</c:v>
                </c:pt>
                <c:pt idx="2393">
                  <c:v>1711087.862</c:v>
                </c:pt>
                <c:pt idx="2394">
                  <c:v>1706233.8019999999</c:v>
                </c:pt>
                <c:pt idx="2395">
                  <c:v>1682160.003</c:v>
                </c:pt>
                <c:pt idx="2396">
                  <c:v>1702181.6710000001</c:v>
                </c:pt>
                <c:pt idx="2397">
                  <c:v>1719303.65</c:v>
                </c:pt>
                <c:pt idx="2398">
                  <c:v>1702075.456</c:v>
                </c:pt>
                <c:pt idx="2399">
                  <c:v>1721953.7320000001</c:v>
                </c:pt>
                <c:pt idx="2400">
                  <c:v>1730079.237</c:v>
                </c:pt>
                <c:pt idx="2401">
                  <c:v>1749691.9739999999</c:v>
                </c:pt>
                <c:pt idx="2402">
                  <c:v>1709229.0859999999</c:v>
                </c:pt>
                <c:pt idx="2403">
                  <c:v>1713520.202</c:v>
                </c:pt>
                <c:pt idx="2404">
                  <c:v>1707115.3929999999</c:v>
                </c:pt>
                <c:pt idx="2405">
                  <c:v>1669435.3570000001</c:v>
                </c:pt>
                <c:pt idx="2406">
                  <c:v>1668245.7409999999</c:v>
                </c:pt>
                <c:pt idx="2407">
                  <c:v>1666121.426</c:v>
                </c:pt>
                <c:pt idx="2408">
                  <c:v>1688262.098</c:v>
                </c:pt>
                <c:pt idx="2409">
                  <c:v>1666339.1680000001</c:v>
                </c:pt>
                <c:pt idx="2410">
                  <c:v>1684948.1669999999</c:v>
                </c:pt>
                <c:pt idx="2411">
                  <c:v>1731821.175</c:v>
                </c:pt>
                <c:pt idx="2412">
                  <c:v>1735411.267</c:v>
                </c:pt>
                <c:pt idx="2413">
                  <c:v>1727068.0209999999</c:v>
                </c:pt>
                <c:pt idx="2414">
                  <c:v>1689717.254</c:v>
                </c:pt>
                <c:pt idx="2415">
                  <c:v>1689658.835</c:v>
                </c:pt>
                <c:pt idx="2416">
                  <c:v>1670115.138</c:v>
                </c:pt>
                <c:pt idx="2417">
                  <c:v>1678113.183</c:v>
                </c:pt>
                <c:pt idx="2418">
                  <c:v>1683843.523</c:v>
                </c:pt>
                <c:pt idx="2419">
                  <c:v>1709908.8670000001</c:v>
                </c:pt>
                <c:pt idx="2420">
                  <c:v>1681347.453</c:v>
                </c:pt>
                <c:pt idx="2421">
                  <c:v>1678846.0719999999</c:v>
                </c:pt>
                <c:pt idx="2422">
                  <c:v>1661442.622</c:v>
                </c:pt>
                <c:pt idx="2423">
                  <c:v>1641633.3859999999</c:v>
                </c:pt>
                <c:pt idx="2424">
                  <c:v>1629041.5090000001</c:v>
                </c:pt>
                <c:pt idx="2425">
                  <c:v>1608849.8959999999</c:v>
                </c:pt>
                <c:pt idx="2426">
                  <c:v>1613523.389</c:v>
                </c:pt>
                <c:pt idx="2427">
                  <c:v>1602413.2220000001</c:v>
                </c:pt>
                <c:pt idx="2428">
                  <c:v>1594314.2709999999</c:v>
                </c:pt>
                <c:pt idx="2429">
                  <c:v>1588196.2439999999</c:v>
                </c:pt>
                <c:pt idx="2430">
                  <c:v>1598892.17</c:v>
                </c:pt>
                <c:pt idx="2431">
                  <c:v>1577059.523</c:v>
                </c:pt>
                <c:pt idx="2432">
                  <c:v>1574563.453</c:v>
                </c:pt>
                <c:pt idx="2433">
                  <c:v>1612285.9750000001</c:v>
                </c:pt>
                <c:pt idx="2434">
                  <c:v>1622073.7560000001</c:v>
                </c:pt>
                <c:pt idx="2435">
                  <c:v>1618568.6370000001</c:v>
                </c:pt>
                <c:pt idx="2436">
                  <c:v>1634915.24</c:v>
                </c:pt>
                <c:pt idx="2437">
                  <c:v>1631840.294</c:v>
                </c:pt>
                <c:pt idx="2438">
                  <c:v>1643571.8230000001</c:v>
                </c:pt>
                <c:pt idx="2439">
                  <c:v>1629232.6969999999</c:v>
                </c:pt>
                <c:pt idx="2440">
                  <c:v>1661208.9480000001</c:v>
                </c:pt>
                <c:pt idx="2441">
                  <c:v>1661559.46</c:v>
                </c:pt>
                <c:pt idx="2442">
                  <c:v>1652408.973</c:v>
                </c:pt>
                <c:pt idx="2443">
                  <c:v>1682547.6910000001</c:v>
                </c:pt>
                <c:pt idx="2444">
                  <c:v>1691825.6359999999</c:v>
                </c:pt>
                <c:pt idx="2445">
                  <c:v>1669350.385</c:v>
                </c:pt>
                <c:pt idx="2446">
                  <c:v>1668144.8359999999</c:v>
                </c:pt>
                <c:pt idx="2447">
                  <c:v>1677560.862</c:v>
                </c:pt>
                <c:pt idx="2448">
                  <c:v>1691204.274</c:v>
                </c:pt>
                <c:pt idx="2449">
                  <c:v>1690837.83</c:v>
                </c:pt>
                <c:pt idx="2450">
                  <c:v>1696249.5220000001</c:v>
                </c:pt>
                <c:pt idx="2451">
                  <c:v>1682712.325</c:v>
                </c:pt>
                <c:pt idx="2452">
                  <c:v>1700317.585</c:v>
                </c:pt>
                <c:pt idx="2453">
                  <c:v>1724625.058</c:v>
                </c:pt>
                <c:pt idx="2454">
                  <c:v>1755995.879</c:v>
                </c:pt>
                <c:pt idx="2455">
                  <c:v>1768672.7279999999</c:v>
                </c:pt>
                <c:pt idx="2456">
                  <c:v>1804090.368</c:v>
                </c:pt>
                <c:pt idx="2457">
                  <c:v>1806804.1810000001</c:v>
                </c:pt>
                <c:pt idx="2458">
                  <c:v>1773112.5460000001</c:v>
                </c:pt>
                <c:pt idx="2459">
                  <c:v>1829959.213</c:v>
                </c:pt>
                <c:pt idx="2460">
                  <c:v>1826703.7009999999</c:v>
                </c:pt>
                <c:pt idx="2461">
                  <c:v>1833246.59</c:v>
                </c:pt>
                <c:pt idx="2462">
                  <c:v>1828350.0449999999</c:v>
                </c:pt>
                <c:pt idx="2463">
                  <c:v>1869460.8489999999</c:v>
                </c:pt>
                <c:pt idx="2464">
                  <c:v>1980647.4909999999</c:v>
                </c:pt>
                <c:pt idx="2465">
                  <c:v>1956860.4750000001</c:v>
                </c:pt>
                <c:pt idx="2466">
                  <c:v>1953514.679</c:v>
                </c:pt>
                <c:pt idx="2467">
                  <c:v>1948724.3489999999</c:v>
                </c:pt>
                <c:pt idx="2468">
                  <c:v>1991391.2139999999</c:v>
                </c:pt>
                <c:pt idx="2469">
                  <c:v>2014965.7990000001</c:v>
                </c:pt>
                <c:pt idx="2470">
                  <c:v>2026601.733</c:v>
                </c:pt>
                <c:pt idx="2471">
                  <c:v>2043638.7390000001</c:v>
                </c:pt>
                <c:pt idx="2472">
                  <c:v>2022799.21</c:v>
                </c:pt>
                <c:pt idx="2473">
                  <c:v>1942462.9310000001</c:v>
                </c:pt>
                <c:pt idx="2474">
                  <c:v>1980897.098</c:v>
                </c:pt>
                <c:pt idx="2475">
                  <c:v>1994386.4979999999</c:v>
                </c:pt>
                <c:pt idx="2476">
                  <c:v>1977838.085</c:v>
                </c:pt>
                <c:pt idx="2477">
                  <c:v>1964189.361</c:v>
                </c:pt>
                <c:pt idx="2478">
                  <c:v>1988895.1440000001</c:v>
                </c:pt>
                <c:pt idx="2479">
                  <c:v>2045582.487</c:v>
                </c:pt>
                <c:pt idx="2480">
                  <c:v>2036134.5970000001</c:v>
                </c:pt>
                <c:pt idx="2481">
                  <c:v>2036920.5930000001</c:v>
                </c:pt>
                <c:pt idx="2482">
                  <c:v>2037690.6569999999</c:v>
                </c:pt>
                <c:pt idx="2483">
                  <c:v>2036049.6240000001</c:v>
                </c:pt>
                <c:pt idx="2484">
                  <c:v>1987737.392</c:v>
                </c:pt>
                <c:pt idx="2485">
                  <c:v>1965224.9650000001</c:v>
                </c:pt>
                <c:pt idx="2486">
                  <c:v>1988034.7960000001</c:v>
                </c:pt>
                <c:pt idx="2487">
                  <c:v>1980073.926</c:v>
                </c:pt>
                <c:pt idx="2488">
                  <c:v>2056517.398</c:v>
                </c:pt>
                <c:pt idx="2489">
                  <c:v>2110469.6860000002</c:v>
                </c:pt>
                <c:pt idx="2490">
                  <c:v>2109067.6379999998</c:v>
                </c:pt>
                <c:pt idx="2491">
                  <c:v>2136083.6129999999</c:v>
                </c:pt>
                <c:pt idx="2492">
                  <c:v>2157363.9380000001</c:v>
                </c:pt>
                <c:pt idx="2493">
                  <c:v>2154708.5440000002</c:v>
                </c:pt>
                <c:pt idx="2494">
                  <c:v>2164374.1770000001</c:v>
                </c:pt>
                <c:pt idx="2495">
                  <c:v>2169908.017</c:v>
                </c:pt>
                <c:pt idx="2496">
                  <c:v>2123029.6979999999</c:v>
                </c:pt>
                <c:pt idx="2497">
                  <c:v>2118271.233</c:v>
                </c:pt>
                <c:pt idx="2498">
                  <c:v>2111314.1009999998</c:v>
                </c:pt>
                <c:pt idx="2499">
                  <c:v>2169876.1519999998</c:v>
                </c:pt>
                <c:pt idx="2500">
                  <c:v>2170646.2170000002</c:v>
                </c:pt>
                <c:pt idx="2501">
                  <c:v>2162595.0630000001</c:v>
                </c:pt>
                <c:pt idx="2502">
                  <c:v>2188368.3139999998</c:v>
                </c:pt>
                <c:pt idx="2503">
                  <c:v>2137915.835</c:v>
                </c:pt>
                <c:pt idx="2504">
                  <c:v>2134410.7149999999</c:v>
                </c:pt>
                <c:pt idx="2505">
                  <c:v>2140295.0669999998</c:v>
                </c:pt>
                <c:pt idx="2506">
                  <c:v>2093416.7479999999</c:v>
                </c:pt>
                <c:pt idx="2507">
                  <c:v>2065508.561</c:v>
                </c:pt>
                <c:pt idx="2508">
                  <c:v>2071382.2919999999</c:v>
                </c:pt>
                <c:pt idx="2509">
                  <c:v>2078222.5859999999</c:v>
                </c:pt>
                <c:pt idx="2510">
                  <c:v>1956823.2990000001</c:v>
                </c:pt>
                <c:pt idx="2511">
                  <c:v>1975968.6880000001</c:v>
                </c:pt>
                <c:pt idx="2512">
                  <c:v>1947709.9890000001</c:v>
                </c:pt>
                <c:pt idx="2513">
                  <c:v>1911724.094</c:v>
                </c:pt>
                <c:pt idx="2514">
                  <c:v>1981162.638</c:v>
                </c:pt>
                <c:pt idx="2515">
                  <c:v>1948384.459</c:v>
                </c:pt>
                <c:pt idx="2516">
                  <c:v>1935861.622</c:v>
                </c:pt>
                <c:pt idx="2517">
                  <c:v>1979378.213</c:v>
                </c:pt>
                <c:pt idx="2518">
                  <c:v>1988337.5109999999</c:v>
                </c:pt>
                <c:pt idx="2519">
                  <c:v>1937778.8160000001</c:v>
                </c:pt>
                <c:pt idx="2520">
                  <c:v>1921331.308</c:v>
                </c:pt>
                <c:pt idx="2521">
                  <c:v>1947348.855</c:v>
                </c:pt>
                <c:pt idx="2522">
                  <c:v>1938108.085</c:v>
                </c:pt>
                <c:pt idx="2523">
                  <c:v>1903364.915</c:v>
                </c:pt>
                <c:pt idx="2524">
                  <c:v>1908649.148</c:v>
                </c:pt>
                <c:pt idx="2525">
                  <c:v>1931639.5460000001</c:v>
                </c:pt>
                <c:pt idx="2526">
                  <c:v>1950259.166</c:v>
                </c:pt>
                <c:pt idx="2527">
                  <c:v>1945824.659</c:v>
                </c:pt>
                <c:pt idx="2528">
                  <c:v>1933753.24</c:v>
                </c:pt>
                <c:pt idx="2529">
                  <c:v>1927704.253</c:v>
                </c:pt>
                <c:pt idx="2530">
                  <c:v>1928883.2479999999</c:v>
                </c:pt>
                <c:pt idx="2531">
                  <c:v>1911070.8670000001</c:v>
                </c:pt>
                <c:pt idx="2532">
                  <c:v>1910348.6</c:v>
                </c:pt>
                <c:pt idx="2533">
                  <c:v>1893125.7169999999</c:v>
                </c:pt>
                <c:pt idx="2534">
                  <c:v>1917587.203</c:v>
                </c:pt>
                <c:pt idx="2535">
                  <c:v>1975230.4879999999</c:v>
                </c:pt>
                <c:pt idx="2536">
                  <c:v>1960264.69</c:v>
                </c:pt>
                <c:pt idx="2537">
                  <c:v>1957232.23</c:v>
                </c:pt>
                <c:pt idx="2538">
                  <c:v>1941029.0179999999</c:v>
                </c:pt>
                <c:pt idx="2539">
                  <c:v>1940997.1529999999</c:v>
                </c:pt>
                <c:pt idx="2540">
                  <c:v>1947794.9609999999</c:v>
                </c:pt>
                <c:pt idx="2541">
                  <c:v>1973456.6850000001</c:v>
                </c:pt>
                <c:pt idx="2542">
                  <c:v>2033245.5279999999</c:v>
                </c:pt>
                <c:pt idx="2543">
                  <c:v>2036123.9750000001</c:v>
                </c:pt>
                <c:pt idx="2544">
                  <c:v>2040016.7819999999</c:v>
                </c:pt>
                <c:pt idx="2545">
                  <c:v>2018794.8759999999</c:v>
                </c:pt>
                <c:pt idx="2546">
                  <c:v>2015087.9469999999</c:v>
                </c:pt>
                <c:pt idx="2547">
                  <c:v>2036591.324</c:v>
                </c:pt>
                <c:pt idx="2548">
                  <c:v>2031689.4680000001</c:v>
                </c:pt>
                <c:pt idx="2549">
                  <c:v>2090224.9650000001</c:v>
                </c:pt>
                <c:pt idx="2550">
                  <c:v>2090947.2320000001</c:v>
                </c:pt>
                <c:pt idx="2551">
                  <c:v>2067770.956</c:v>
                </c:pt>
                <c:pt idx="2552">
                  <c:v>2056921.0179999999</c:v>
                </c:pt>
                <c:pt idx="2553">
                  <c:v>2067595.7</c:v>
                </c:pt>
                <c:pt idx="2554">
                  <c:v>2019580.8729999999</c:v>
                </c:pt>
                <c:pt idx="2555">
                  <c:v>2014450.652</c:v>
                </c:pt>
                <c:pt idx="2556">
                  <c:v>2011057.0589999999</c:v>
                </c:pt>
                <c:pt idx="2557">
                  <c:v>2010249.8189999999</c:v>
                </c:pt>
                <c:pt idx="2558">
                  <c:v>2022735.48</c:v>
                </c:pt>
                <c:pt idx="2559">
                  <c:v>2030945.9569999999</c:v>
                </c:pt>
                <c:pt idx="2560">
                  <c:v>2021731.7420000001</c:v>
                </c:pt>
                <c:pt idx="2561">
                  <c:v>2020563.368</c:v>
                </c:pt>
                <c:pt idx="2562">
                  <c:v>2001317.075</c:v>
                </c:pt>
                <c:pt idx="2563">
                  <c:v>2022326.55</c:v>
                </c:pt>
                <c:pt idx="2564">
                  <c:v>2008369.801</c:v>
                </c:pt>
                <c:pt idx="2565">
                  <c:v>2012740.5789999999</c:v>
                </c:pt>
                <c:pt idx="2566">
                  <c:v>2028630.4539999999</c:v>
                </c:pt>
                <c:pt idx="2567">
                  <c:v>2045221.3540000001</c:v>
                </c:pt>
                <c:pt idx="2568">
                  <c:v>2049204.4439999999</c:v>
                </c:pt>
                <c:pt idx="2569">
                  <c:v>2046920.8060000001</c:v>
                </c:pt>
                <c:pt idx="2570">
                  <c:v>2055444.6189999999</c:v>
                </c:pt>
                <c:pt idx="2571">
                  <c:v>2036878.1070000001</c:v>
                </c:pt>
                <c:pt idx="2572">
                  <c:v>2019942.0060000001</c:v>
                </c:pt>
                <c:pt idx="2573">
                  <c:v>1990185.665</c:v>
                </c:pt>
                <c:pt idx="2574">
                  <c:v>1952080.7660000001</c:v>
                </c:pt>
                <c:pt idx="2575">
                  <c:v>1931177.5079999999</c:v>
                </c:pt>
                <c:pt idx="2576">
                  <c:v>1923264.4350000001</c:v>
                </c:pt>
                <c:pt idx="2577">
                  <c:v>1948681.8629999999</c:v>
                </c:pt>
                <c:pt idx="2578">
                  <c:v>1929690.487</c:v>
                </c:pt>
                <c:pt idx="2579">
                  <c:v>1964513.3189999999</c:v>
                </c:pt>
                <c:pt idx="2580">
                  <c:v>1946801.844</c:v>
                </c:pt>
                <c:pt idx="2581">
                  <c:v>1955644.3049999999</c:v>
                </c:pt>
                <c:pt idx="2582">
                  <c:v>1961804.818</c:v>
                </c:pt>
                <c:pt idx="2583">
                  <c:v>1970588.86</c:v>
                </c:pt>
                <c:pt idx="2584">
                  <c:v>2013367.2520000001</c:v>
                </c:pt>
                <c:pt idx="2585">
                  <c:v>2011582.827</c:v>
                </c:pt>
                <c:pt idx="2586">
                  <c:v>2008412.287</c:v>
                </c:pt>
                <c:pt idx="2587">
                  <c:v>2014652.4620000001</c:v>
                </c:pt>
                <c:pt idx="2588">
                  <c:v>2029177.4650000001</c:v>
                </c:pt>
                <c:pt idx="2589">
                  <c:v>1999994.689</c:v>
                </c:pt>
                <c:pt idx="2590">
                  <c:v>2027100.9469999999</c:v>
                </c:pt>
                <c:pt idx="2591">
                  <c:v>2019469.3459999999</c:v>
                </c:pt>
                <c:pt idx="2592">
                  <c:v>2012889.281</c:v>
                </c:pt>
                <c:pt idx="2593">
                  <c:v>2017881.4210000001</c:v>
                </c:pt>
                <c:pt idx="2594">
                  <c:v>2043760.8870000001</c:v>
                </c:pt>
                <c:pt idx="2595">
                  <c:v>2046570.294</c:v>
                </c:pt>
                <c:pt idx="2596">
                  <c:v>2063771.9339999999</c:v>
                </c:pt>
                <c:pt idx="2597">
                  <c:v>2084653.949</c:v>
                </c:pt>
                <c:pt idx="2598">
                  <c:v>2096969.665</c:v>
                </c:pt>
                <c:pt idx="2599">
                  <c:v>2109949.2289999998</c:v>
                </c:pt>
                <c:pt idx="2600">
                  <c:v>2102684.0720000002</c:v>
                </c:pt>
                <c:pt idx="2601">
                  <c:v>2087192.5049999999</c:v>
                </c:pt>
                <c:pt idx="2602">
                  <c:v>2109646.514</c:v>
                </c:pt>
                <c:pt idx="2603">
                  <c:v>2101860.9</c:v>
                </c:pt>
                <c:pt idx="2604">
                  <c:v>2066544.165</c:v>
                </c:pt>
                <c:pt idx="2605">
                  <c:v>2076560.3089999999</c:v>
                </c:pt>
                <c:pt idx="2606">
                  <c:v>2084154.7350000001</c:v>
                </c:pt>
                <c:pt idx="2607">
                  <c:v>2090139.9920000001</c:v>
                </c:pt>
                <c:pt idx="2608">
                  <c:v>2066246.76</c:v>
                </c:pt>
                <c:pt idx="2609">
                  <c:v>2071780.601</c:v>
                </c:pt>
                <c:pt idx="2610">
                  <c:v>2055795.1310000001</c:v>
                </c:pt>
                <c:pt idx="2611">
                  <c:v>2039947.7420000001</c:v>
                </c:pt>
                <c:pt idx="2612">
                  <c:v>2046060.4580000001</c:v>
                </c:pt>
                <c:pt idx="2613">
                  <c:v>2025815.737</c:v>
                </c:pt>
                <c:pt idx="2614">
                  <c:v>2038110.209</c:v>
                </c:pt>
                <c:pt idx="2615">
                  <c:v>2041063.007</c:v>
                </c:pt>
                <c:pt idx="2616">
                  <c:v>2057738.879</c:v>
                </c:pt>
                <c:pt idx="2617">
                  <c:v>2077436.5889999999</c:v>
                </c:pt>
                <c:pt idx="2618">
                  <c:v>2099481.6669999999</c:v>
                </c:pt>
                <c:pt idx="2619">
                  <c:v>2090458.64</c:v>
                </c:pt>
                <c:pt idx="2620">
                  <c:v>2083257.2120000001</c:v>
                </c:pt>
                <c:pt idx="2621">
                  <c:v>2084600.841</c:v>
                </c:pt>
                <c:pt idx="2622">
                  <c:v>2054945.405</c:v>
                </c:pt>
                <c:pt idx="2623">
                  <c:v>2061031.567</c:v>
                </c:pt>
                <c:pt idx="2624">
                  <c:v>2069018.9909999999</c:v>
                </c:pt>
                <c:pt idx="2625">
                  <c:v>2055848.2390000001</c:v>
                </c:pt>
                <c:pt idx="2626">
                  <c:v>2055630.497</c:v>
                </c:pt>
                <c:pt idx="2627">
                  <c:v>2069502.273</c:v>
                </c:pt>
                <c:pt idx="2628">
                  <c:v>2085328.419</c:v>
                </c:pt>
                <c:pt idx="2629">
                  <c:v>2076639.9709999999</c:v>
                </c:pt>
                <c:pt idx="2630">
                  <c:v>2066549.4750000001</c:v>
                </c:pt>
                <c:pt idx="2631">
                  <c:v>2064170.243</c:v>
                </c:pt>
                <c:pt idx="2632">
                  <c:v>2099030.25</c:v>
                </c:pt>
                <c:pt idx="2633">
                  <c:v>2112694.906</c:v>
                </c:pt>
                <c:pt idx="2634">
                  <c:v>2125807.2400000002</c:v>
                </c:pt>
                <c:pt idx="2635">
                  <c:v>2116284.9980000001</c:v>
                </c:pt>
                <c:pt idx="2636">
                  <c:v>2119997.2379999999</c:v>
                </c:pt>
                <c:pt idx="2637">
                  <c:v>2109981.094</c:v>
                </c:pt>
                <c:pt idx="2638">
                  <c:v>2072789.65</c:v>
                </c:pt>
                <c:pt idx="2639">
                  <c:v>2073166.716</c:v>
                </c:pt>
                <c:pt idx="2640">
                  <c:v>2071196.4140000001</c:v>
                </c:pt>
                <c:pt idx="2641">
                  <c:v>2074319.1569999999</c:v>
                </c:pt>
                <c:pt idx="2642">
                  <c:v>2059040.0220000001</c:v>
                </c:pt>
                <c:pt idx="2643">
                  <c:v>2075418.49</c:v>
                </c:pt>
                <c:pt idx="2644">
                  <c:v>2096188.9790000001</c:v>
                </c:pt>
                <c:pt idx="2645">
                  <c:v>2075381.3149999999</c:v>
                </c:pt>
                <c:pt idx="2646">
                  <c:v>2065683.817</c:v>
                </c:pt>
                <c:pt idx="2647">
                  <c:v>2044647.7890000001</c:v>
                </c:pt>
                <c:pt idx="2648">
                  <c:v>2059634.83</c:v>
                </c:pt>
                <c:pt idx="2649">
                  <c:v>2066772.5279999999</c:v>
                </c:pt>
                <c:pt idx="2650">
                  <c:v>2058259.3359999999</c:v>
                </c:pt>
                <c:pt idx="2651">
                  <c:v>2051185.368</c:v>
                </c:pt>
                <c:pt idx="2652">
                  <c:v>2033325.19</c:v>
                </c:pt>
                <c:pt idx="2653">
                  <c:v>2037249.862</c:v>
                </c:pt>
                <c:pt idx="2654">
                  <c:v>2045231.9750000001</c:v>
                </c:pt>
                <c:pt idx="2655">
                  <c:v>2044557.5049999999</c:v>
                </c:pt>
                <c:pt idx="2656">
                  <c:v>2060245.571</c:v>
                </c:pt>
                <c:pt idx="2657">
                  <c:v>2072476.314</c:v>
                </c:pt>
                <c:pt idx="2658">
                  <c:v>2068790.628</c:v>
                </c:pt>
                <c:pt idx="2659">
                  <c:v>2071408.8459999999</c:v>
                </c:pt>
                <c:pt idx="2660">
                  <c:v>2072667.5020000001</c:v>
                </c:pt>
                <c:pt idx="2661">
                  <c:v>2066437.949</c:v>
                </c:pt>
                <c:pt idx="2662">
                  <c:v>2107437.2259999998</c:v>
                </c:pt>
                <c:pt idx="2663">
                  <c:v>2117702.9780000001</c:v>
                </c:pt>
                <c:pt idx="2664">
                  <c:v>2146513.9989999998</c:v>
                </c:pt>
                <c:pt idx="2665">
                  <c:v>2141723.6690000002</c:v>
                </c:pt>
                <c:pt idx="2666">
                  <c:v>2138733.696</c:v>
                </c:pt>
                <c:pt idx="2667">
                  <c:v>2133476.0159999998</c:v>
                </c:pt>
                <c:pt idx="2668">
                  <c:v>2106842.4180000001</c:v>
                </c:pt>
                <c:pt idx="2669">
                  <c:v>2120576.1140000001</c:v>
                </c:pt>
                <c:pt idx="2670">
                  <c:v>2119466.16</c:v>
                </c:pt>
                <c:pt idx="2671">
                  <c:v>2138117.645</c:v>
                </c:pt>
                <c:pt idx="2672">
                  <c:v>2136014.5729999999</c:v>
                </c:pt>
                <c:pt idx="2673">
                  <c:v>2167666.8650000002</c:v>
                </c:pt>
                <c:pt idx="2674">
                  <c:v>2175606.4920000001</c:v>
                </c:pt>
                <c:pt idx="2675">
                  <c:v>2205166.3339999998</c:v>
                </c:pt>
                <c:pt idx="2676">
                  <c:v>2201300.0809999998</c:v>
                </c:pt>
                <c:pt idx="2677">
                  <c:v>2192983.3879999998</c:v>
                </c:pt>
                <c:pt idx="2678">
                  <c:v>2209409.6529999999</c:v>
                </c:pt>
                <c:pt idx="2679">
                  <c:v>2183965.6710000001</c:v>
                </c:pt>
                <c:pt idx="2680">
                  <c:v>2211608.3190000001</c:v>
                </c:pt>
                <c:pt idx="2681">
                  <c:v>2210976.335</c:v>
                </c:pt>
                <c:pt idx="2682">
                  <c:v>2232649.6579999998</c:v>
                </c:pt>
                <c:pt idx="2683">
                  <c:v>2225161.4479999999</c:v>
                </c:pt>
                <c:pt idx="2684">
                  <c:v>2212861.665</c:v>
                </c:pt>
                <c:pt idx="2685">
                  <c:v>2203466.8820000002</c:v>
                </c:pt>
                <c:pt idx="2686">
                  <c:v>2206552.449</c:v>
                </c:pt>
                <c:pt idx="2687">
                  <c:v>2223005.2680000002</c:v>
                </c:pt>
                <c:pt idx="2688">
                  <c:v>2185022.5180000002</c:v>
                </c:pt>
                <c:pt idx="2689">
                  <c:v>2194380.125</c:v>
                </c:pt>
                <c:pt idx="2690">
                  <c:v>2126386.1150000002</c:v>
                </c:pt>
                <c:pt idx="2691">
                  <c:v>1958809.534</c:v>
                </c:pt>
                <c:pt idx="2692">
                  <c:v>2010472.872</c:v>
                </c:pt>
                <c:pt idx="2693">
                  <c:v>2033250.8389999999</c:v>
                </c:pt>
                <c:pt idx="2694">
                  <c:v>2071090.1980000001</c:v>
                </c:pt>
                <c:pt idx="2695">
                  <c:v>2071137.9950000001</c:v>
                </c:pt>
                <c:pt idx="2696">
                  <c:v>2079709.6059999999</c:v>
                </c:pt>
                <c:pt idx="2697">
                  <c:v>2099067.426</c:v>
                </c:pt>
                <c:pt idx="2698">
                  <c:v>2116046.0129999998</c:v>
                </c:pt>
                <c:pt idx="2699">
                  <c:v>2103029.273</c:v>
                </c:pt>
                <c:pt idx="2700">
                  <c:v>2117798.5720000002</c:v>
                </c:pt>
                <c:pt idx="2701">
                  <c:v>2165431.023</c:v>
                </c:pt>
                <c:pt idx="2702">
                  <c:v>2154857.2459999998</c:v>
                </c:pt>
                <c:pt idx="2703">
                  <c:v>2151564.5580000002</c:v>
                </c:pt>
                <c:pt idx="2704">
                  <c:v>2201140.7570000002</c:v>
                </c:pt>
                <c:pt idx="2705">
                  <c:v>2203705.8670000001</c:v>
                </c:pt>
                <c:pt idx="2706">
                  <c:v>2194863.4070000001</c:v>
                </c:pt>
                <c:pt idx="2707">
                  <c:v>2190089.0090000001</c:v>
                </c:pt>
                <c:pt idx="2708">
                  <c:v>2163094.2769999998</c:v>
                </c:pt>
                <c:pt idx="2709">
                  <c:v>2169392.8709999998</c:v>
                </c:pt>
                <c:pt idx="2710">
                  <c:v>2092476.7390000001</c:v>
                </c:pt>
                <c:pt idx="2711">
                  <c:v>2161315.1630000002</c:v>
                </c:pt>
                <c:pt idx="2712">
                  <c:v>2172834.2609999999</c:v>
                </c:pt>
                <c:pt idx="2713">
                  <c:v>2185415.5159999998</c:v>
                </c:pt>
                <c:pt idx="2714">
                  <c:v>2234104.8139999998</c:v>
                </c:pt>
                <c:pt idx="2715">
                  <c:v>2197874.6230000001</c:v>
                </c:pt>
                <c:pt idx="2716">
                  <c:v>2122790.7119999998</c:v>
                </c:pt>
                <c:pt idx="2717">
                  <c:v>2168251.0520000001</c:v>
                </c:pt>
                <c:pt idx="2718">
                  <c:v>2139413.477</c:v>
                </c:pt>
                <c:pt idx="2719">
                  <c:v>2098244.2540000002</c:v>
                </c:pt>
                <c:pt idx="2720">
                  <c:v>2068716.277</c:v>
                </c:pt>
                <c:pt idx="2721">
                  <c:v>1979776.5220000001</c:v>
                </c:pt>
                <c:pt idx="2722">
                  <c:v>1970132.132</c:v>
                </c:pt>
                <c:pt idx="2723">
                  <c:v>1931140.3319999999</c:v>
                </c:pt>
                <c:pt idx="2724">
                  <c:v>1906089.3489999999</c:v>
                </c:pt>
                <c:pt idx="2725">
                  <c:v>1940147.4269999999</c:v>
                </c:pt>
                <c:pt idx="2726">
                  <c:v>1874872.541</c:v>
                </c:pt>
                <c:pt idx="2727">
                  <c:v>1925218.804</c:v>
                </c:pt>
                <c:pt idx="2728">
                  <c:v>1976951.183</c:v>
                </c:pt>
                <c:pt idx="2729">
                  <c:v>1963955.6869999999</c:v>
                </c:pt>
                <c:pt idx="2730">
                  <c:v>1970333.942</c:v>
                </c:pt>
                <c:pt idx="2731">
                  <c:v>1951241.662</c:v>
                </c:pt>
                <c:pt idx="2732">
                  <c:v>1957641.1610000001</c:v>
                </c:pt>
                <c:pt idx="2733">
                  <c:v>1951756.808</c:v>
                </c:pt>
                <c:pt idx="2734">
                  <c:v>1983329.439</c:v>
                </c:pt>
                <c:pt idx="2735">
                  <c:v>1972012.1510000001</c:v>
                </c:pt>
                <c:pt idx="2736">
                  <c:v>2017047.6270000001</c:v>
                </c:pt>
                <c:pt idx="2737">
                  <c:v>2007658.155</c:v>
                </c:pt>
                <c:pt idx="2738">
                  <c:v>2014280.7069999999</c:v>
                </c:pt>
                <c:pt idx="2739">
                  <c:v>2001731.317</c:v>
                </c:pt>
                <c:pt idx="2740">
                  <c:v>1993276.5430000001</c:v>
                </c:pt>
                <c:pt idx="2741">
                  <c:v>2031747.8859999999</c:v>
                </c:pt>
                <c:pt idx="2742">
                  <c:v>2016697.115</c:v>
                </c:pt>
                <c:pt idx="2743">
                  <c:v>2019363.13</c:v>
                </c:pt>
                <c:pt idx="2744">
                  <c:v>2039071.4620000001</c:v>
                </c:pt>
                <c:pt idx="2745">
                  <c:v>2046490.632</c:v>
                </c:pt>
                <c:pt idx="2746">
                  <c:v>2022374.3470000001</c:v>
                </c:pt>
                <c:pt idx="2747">
                  <c:v>2039013.0430000001</c:v>
                </c:pt>
                <c:pt idx="2748">
                  <c:v>2033898.7549999999</c:v>
                </c:pt>
                <c:pt idx="2749">
                  <c:v>2016489.9939999999</c:v>
                </c:pt>
                <c:pt idx="2750">
                  <c:v>2030191.8259999999</c:v>
                </c:pt>
                <c:pt idx="2751">
                  <c:v>2044201.682</c:v>
                </c:pt>
                <c:pt idx="2752">
                  <c:v>2053697.37</c:v>
                </c:pt>
                <c:pt idx="2753">
                  <c:v>2077888.0060000001</c:v>
                </c:pt>
                <c:pt idx="2754">
                  <c:v>2090458.64</c:v>
                </c:pt>
                <c:pt idx="2755">
                  <c:v>2084425.585</c:v>
                </c:pt>
                <c:pt idx="2756">
                  <c:v>2104994.264</c:v>
                </c:pt>
                <c:pt idx="2757">
                  <c:v>2103167.3539999998</c:v>
                </c:pt>
                <c:pt idx="2758">
                  <c:v>2103199.2179999999</c:v>
                </c:pt>
                <c:pt idx="2759">
                  <c:v>2107453.159</c:v>
                </c:pt>
                <c:pt idx="2760">
                  <c:v>2084600.841</c:v>
                </c:pt>
                <c:pt idx="2761">
                  <c:v>2078015.4650000001</c:v>
                </c:pt>
                <c:pt idx="2762">
                  <c:v>2083374.0490000001</c:v>
                </c:pt>
                <c:pt idx="2763">
                  <c:v>2101080.2140000002</c:v>
                </c:pt>
                <c:pt idx="2764">
                  <c:v>2089911.628</c:v>
                </c:pt>
                <c:pt idx="2765">
                  <c:v>2078530.611</c:v>
                </c:pt>
                <c:pt idx="2766">
                  <c:v>2030876.9169999999</c:v>
                </c:pt>
                <c:pt idx="2767">
                  <c:v>2033670.3910000001</c:v>
                </c:pt>
                <c:pt idx="2768">
                  <c:v>2056745.7620000001</c:v>
                </c:pt>
                <c:pt idx="2769">
                  <c:v>2042321.6640000001</c:v>
                </c:pt>
                <c:pt idx="2770">
                  <c:v>2048174.1510000001</c:v>
                </c:pt>
                <c:pt idx="2771">
                  <c:v>2053692.0589999999</c:v>
                </c:pt>
                <c:pt idx="2772">
                  <c:v>2109094.1919999998</c:v>
                </c:pt>
                <c:pt idx="2773">
                  <c:v>2115589.2850000001</c:v>
                </c:pt>
                <c:pt idx="2774">
                  <c:v>2115631.7710000002</c:v>
                </c:pt>
                <c:pt idx="2775">
                  <c:v>2114856.3960000002</c:v>
                </c:pt>
                <c:pt idx="2776">
                  <c:v>2124978.7570000002</c:v>
                </c:pt>
                <c:pt idx="2777">
                  <c:v>2135972.0869999998</c:v>
                </c:pt>
                <c:pt idx="2778">
                  <c:v>2149291.5410000002</c:v>
                </c:pt>
                <c:pt idx="2779">
                  <c:v>2145404.0449999999</c:v>
                </c:pt>
                <c:pt idx="2780">
                  <c:v>2122126.8640000001</c:v>
                </c:pt>
                <c:pt idx="2781">
                  <c:v>2125950.6310000001</c:v>
                </c:pt>
                <c:pt idx="2782">
                  <c:v>2100411.0550000002</c:v>
                </c:pt>
                <c:pt idx="2783">
                  <c:v>2132052.7250000001</c:v>
                </c:pt>
                <c:pt idx="2784">
                  <c:v>2133656.5830000001</c:v>
                </c:pt>
                <c:pt idx="2785">
                  <c:v>2147884.182</c:v>
                </c:pt>
                <c:pt idx="2786">
                  <c:v>2176737.69</c:v>
                </c:pt>
                <c:pt idx="2787">
                  <c:v>2178511.4929999998</c:v>
                </c:pt>
                <c:pt idx="2788">
                  <c:v>2188994.9870000002</c:v>
                </c:pt>
                <c:pt idx="2789">
                  <c:v>2198129.5410000002</c:v>
                </c:pt>
                <c:pt idx="2790">
                  <c:v>2182584.8659999999</c:v>
                </c:pt>
                <c:pt idx="2791">
                  <c:v>2211390.577</c:v>
                </c:pt>
                <c:pt idx="2792">
                  <c:v>2255905.5950000002</c:v>
                </c:pt>
                <c:pt idx="2793">
                  <c:v>2302672.3879999998</c:v>
                </c:pt>
                <c:pt idx="2794">
                  <c:v>2347155.5419999999</c:v>
                </c:pt>
                <c:pt idx="2795">
                  <c:v>2480185.4530000002</c:v>
                </c:pt>
                <c:pt idx="2796">
                  <c:v>2495076.9</c:v>
                </c:pt>
                <c:pt idx="2797">
                  <c:v>2535369.8429999999</c:v>
                </c:pt>
                <c:pt idx="2798">
                  <c:v>2570829.9700000002</c:v>
                </c:pt>
                <c:pt idx="2799">
                  <c:v>2524286.23</c:v>
                </c:pt>
                <c:pt idx="2800">
                  <c:v>2577303.8199999998</c:v>
                </c:pt>
                <c:pt idx="2801">
                  <c:v>2552730.807</c:v>
                </c:pt>
                <c:pt idx="2802">
                  <c:v>2519687.088</c:v>
                </c:pt>
                <c:pt idx="2803">
                  <c:v>2398484.301</c:v>
                </c:pt>
                <c:pt idx="2804">
                  <c:v>2413593.4909999999</c:v>
                </c:pt>
                <c:pt idx="2805">
                  <c:v>2485607.7659999998</c:v>
                </c:pt>
                <c:pt idx="2806">
                  <c:v>2491311.5520000001</c:v>
                </c:pt>
                <c:pt idx="2807">
                  <c:v>2503744.105</c:v>
                </c:pt>
                <c:pt idx="2808">
                  <c:v>2502676.6370000001</c:v>
                </c:pt>
                <c:pt idx="2809">
                  <c:v>2392823.0019999999</c:v>
                </c:pt>
                <c:pt idx="2810">
                  <c:v>2404963.4619999998</c:v>
                </c:pt>
                <c:pt idx="2811">
                  <c:v>2426105.7059999998</c:v>
                </c:pt>
                <c:pt idx="2812">
                  <c:v>2484922.6749999998</c:v>
                </c:pt>
                <c:pt idx="2813">
                  <c:v>2472782.2149999999</c:v>
                </c:pt>
                <c:pt idx="2814">
                  <c:v>2493441.1779999998</c:v>
                </c:pt>
                <c:pt idx="2815">
                  <c:v>2533941.2409999999</c:v>
                </c:pt>
                <c:pt idx="2816">
                  <c:v>2536325.7850000001</c:v>
                </c:pt>
                <c:pt idx="2817">
                  <c:v>2537021.4980000001</c:v>
                </c:pt>
                <c:pt idx="2818">
                  <c:v>2529400.5180000002</c:v>
                </c:pt>
                <c:pt idx="2819">
                  <c:v>2500281.4720000001</c:v>
                </c:pt>
                <c:pt idx="2820">
                  <c:v>2509277.9449999998</c:v>
                </c:pt>
                <c:pt idx="2821">
                  <c:v>2486393.7629999998</c:v>
                </c:pt>
                <c:pt idx="2822">
                  <c:v>2468262.7349999999</c:v>
                </c:pt>
                <c:pt idx="2823">
                  <c:v>2461926.966</c:v>
                </c:pt>
                <c:pt idx="2824">
                  <c:v>2498528.912</c:v>
                </c:pt>
                <c:pt idx="2825">
                  <c:v>2557266.219</c:v>
                </c:pt>
                <c:pt idx="2826">
                  <c:v>2555954.4550000001</c:v>
                </c:pt>
                <c:pt idx="2827">
                  <c:v>2517674.2999999998</c:v>
                </c:pt>
                <c:pt idx="2828">
                  <c:v>2484997.0260000001</c:v>
                </c:pt>
                <c:pt idx="2829">
                  <c:v>2506075.5410000002</c:v>
                </c:pt>
                <c:pt idx="2830">
                  <c:v>2525730.764</c:v>
                </c:pt>
                <c:pt idx="2831">
                  <c:v>2528970.3450000002</c:v>
                </c:pt>
                <c:pt idx="2832">
                  <c:v>2499325.5299999998</c:v>
                </c:pt>
                <c:pt idx="2833">
                  <c:v>2512719.3360000001</c:v>
                </c:pt>
                <c:pt idx="2834">
                  <c:v>2572688.7450000001</c:v>
                </c:pt>
                <c:pt idx="2835">
                  <c:v>2557791.9870000002</c:v>
                </c:pt>
                <c:pt idx="2836">
                  <c:v>2571546.926</c:v>
                </c:pt>
                <c:pt idx="2837">
                  <c:v>2572486.9350000001</c:v>
                </c:pt>
                <c:pt idx="2838">
                  <c:v>2558259.3360000001</c:v>
                </c:pt>
                <c:pt idx="2839">
                  <c:v>2533362.3659999999</c:v>
                </c:pt>
                <c:pt idx="2840">
                  <c:v>2479803.0759999999</c:v>
                </c:pt>
                <c:pt idx="2841">
                  <c:v>2493090.6660000002</c:v>
                </c:pt>
                <c:pt idx="2842">
                  <c:v>2434778.2220000001</c:v>
                </c:pt>
                <c:pt idx="2843">
                  <c:v>2433392.1060000001</c:v>
                </c:pt>
                <c:pt idx="2844">
                  <c:v>2457449.9720000001</c:v>
                </c:pt>
                <c:pt idx="2845">
                  <c:v>2470073.7140000002</c:v>
                </c:pt>
                <c:pt idx="2846">
                  <c:v>2489951.9900000002</c:v>
                </c:pt>
                <c:pt idx="2847">
                  <c:v>2473424.8199999998</c:v>
                </c:pt>
                <c:pt idx="2848">
                  <c:v>2460333.73</c:v>
                </c:pt>
                <c:pt idx="2849">
                  <c:v>2515767.727</c:v>
                </c:pt>
                <c:pt idx="2850">
                  <c:v>2491518.673</c:v>
                </c:pt>
                <c:pt idx="2851">
                  <c:v>2461953.52</c:v>
                </c:pt>
                <c:pt idx="2852">
                  <c:v>2470753.4939999999</c:v>
                </c:pt>
                <c:pt idx="2853">
                  <c:v>2423349.4070000001</c:v>
                </c:pt>
                <c:pt idx="2854">
                  <c:v>2427040.4040000001</c:v>
                </c:pt>
                <c:pt idx="2855">
                  <c:v>2433354.9309999999</c:v>
                </c:pt>
                <c:pt idx="2856">
                  <c:v>2438607.2990000001</c:v>
                </c:pt>
                <c:pt idx="2857">
                  <c:v>2436270.5529999998</c:v>
                </c:pt>
                <c:pt idx="2858">
                  <c:v>2486053.8730000001</c:v>
                </c:pt>
                <c:pt idx="2859">
                  <c:v>2561477.673</c:v>
                </c:pt>
                <c:pt idx="2860">
                  <c:v>2569996.176</c:v>
                </c:pt>
                <c:pt idx="2861">
                  <c:v>2552948.5490000001</c:v>
                </c:pt>
                <c:pt idx="2862">
                  <c:v>2548508.7310000001</c:v>
                </c:pt>
                <c:pt idx="2863">
                  <c:v>2544759.3149999999</c:v>
                </c:pt>
                <c:pt idx="2864">
                  <c:v>2525539.5759999999</c:v>
                </c:pt>
                <c:pt idx="2865">
                  <c:v>2545709.946</c:v>
                </c:pt>
                <c:pt idx="2866">
                  <c:v>2545370.0559999999</c:v>
                </c:pt>
                <c:pt idx="2867">
                  <c:v>2537483.537</c:v>
                </c:pt>
                <c:pt idx="2868">
                  <c:v>2505889.6630000002</c:v>
                </c:pt>
                <c:pt idx="2869">
                  <c:v>2491417.7680000002</c:v>
                </c:pt>
                <c:pt idx="2870">
                  <c:v>2495687.6409999998</c:v>
                </c:pt>
                <c:pt idx="2871">
                  <c:v>2515863.3220000002</c:v>
                </c:pt>
                <c:pt idx="2872">
                  <c:v>2534796.2779999999</c:v>
                </c:pt>
                <c:pt idx="2873">
                  <c:v>2493589.88</c:v>
                </c:pt>
                <c:pt idx="2874">
                  <c:v>2507132.3870000001</c:v>
                </c:pt>
                <c:pt idx="2875">
                  <c:v>2537260.483</c:v>
                </c:pt>
                <c:pt idx="2876">
                  <c:v>2556432.426</c:v>
                </c:pt>
                <c:pt idx="2877">
                  <c:v>2594378.0010000002</c:v>
                </c:pt>
                <c:pt idx="2878">
                  <c:v>2594701.9589999998</c:v>
                </c:pt>
                <c:pt idx="2879">
                  <c:v>2645489.017</c:v>
                </c:pt>
                <c:pt idx="2880">
                  <c:v>2630900.2850000001</c:v>
                </c:pt>
                <c:pt idx="2881">
                  <c:v>2604888.0490000001</c:v>
                </c:pt>
                <c:pt idx="2882">
                  <c:v>2606778.6889999998</c:v>
                </c:pt>
                <c:pt idx="2883">
                  <c:v>2579369.716</c:v>
                </c:pt>
                <c:pt idx="2884">
                  <c:v>2604500.361</c:v>
                </c:pt>
                <c:pt idx="2885">
                  <c:v>2599518.8429999999</c:v>
                </c:pt>
                <c:pt idx="2886">
                  <c:v>2597861.8769999999</c:v>
                </c:pt>
                <c:pt idx="2887">
                  <c:v>2617150.656</c:v>
                </c:pt>
                <c:pt idx="2888">
                  <c:v>2625276.1609999998</c:v>
                </c:pt>
                <c:pt idx="2889">
                  <c:v>2658064.9619999998</c:v>
                </c:pt>
                <c:pt idx="2890">
                  <c:v>2641739.6009999998</c:v>
                </c:pt>
                <c:pt idx="2891">
                  <c:v>2607968.3050000002</c:v>
                </c:pt>
                <c:pt idx="2892">
                  <c:v>2612689.5950000002</c:v>
                </c:pt>
                <c:pt idx="2893">
                  <c:v>2645180.9920000001</c:v>
                </c:pt>
                <c:pt idx="2894">
                  <c:v>2634283.2560000001</c:v>
                </c:pt>
                <c:pt idx="2895">
                  <c:v>2691029.0180000002</c:v>
                </c:pt>
                <c:pt idx="2896">
                  <c:v>2691050.2609999999</c:v>
                </c:pt>
                <c:pt idx="2897">
                  <c:v>2685696.9879999999</c:v>
                </c:pt>
                <c:pt idx="2898">
                  <c:v>2690402.3450000002</c:v>
                </c:pt>
                <c:pt idx="2899">
                  <c:v>2667204.8259999999</c:v>
                </c:pt>
                <c:pt idx="2900">
                  <c:v>2660640.693</c:v>
                </c:pt>
                <c:pt idx="2901">
                  <c:v>2624962.824</c:v>
                </c:pt>
                <c:pt idx="2902">
                  <c:v>2623805.0729999999</c:v>
                </c:pt>
                <c:pt idx="2903">
                  <c:v>2596778.4759999998</c:v>
                </c:pt>
                <c:pt idx="2904">
                  <c:v>2620788.5460000001</c:v>
                </c:pt>
                <c:pt idx="2905">
                  <c:v>2626237.4130000002</c:v>
                </c:pt>
                <c:pt idx="2906">
                  <c:v>2630894.9739999999</c:v>
                </c:pt>
                <c:pt idx="2907">
                  <c:v>2664676.892</c:v>
                </c:pt>
                <c:pt idx="2908">
                  <c:v>2655377.7030000002</c:v>
                </c:pt>
                <c:pt idx="2909">
                  <c:v>2680269.3629999999</c:v>
                </c:pt>
                <c:pt idx="2910">
                  <c:v>2636683.7319999998</c:v>
                </c:pt>
                <c:pt idx="2911">
                  <c:v>2659174.9160000002</c:v>
                </c:pt>
                <c:pt idx="2912">
                  <c:v>2655404.2570000002</c:v>
                </c:pt>
                <c:pt idx="2913">
                  <c:v>2677704.253</c:v>
                </c:pt>
                <c:pt idx="2914">
                  <c:v>2689600.4160000002</c:v>
                </c:pt>
                <c:pt idx="2915">
                  <c:v>2678198.156</c:v>
                </c:pt>
                <c:pt idx="2916">
                  <c:v>2715782.5980000002</c:v>
                </c:pt>
                <c:pt idx="2917">
                  <c:v>2767605.26</c:v>
                </c:pt>
                <c:pt idx="2918">
                  <c:v>2797574.0320000001</c:v>
                </c:pt>
                <c:pt idx="2919">
                  <c:v>2851096.1460000002</c:v>
                </c:pt>
                <c:pt idx="2920">
                  <c:v>2877209.2880000002</c:v>
                </c:pt>
                <c:pt idx="2921">
                  <c:v>2928187.5350000001</c:v>
                </c:pt>
                <c:pt idx="2922">
                  <c:v>2918505.969</c:v>
                </c:pt>
                <c:pt idx="2923">
                  <c:v>2889684.327</c:v>
                </c:pt>
                <c:pt idx="2924">
                  <c:v>2972102.4339999999</c:v>
                </c:pt>
                <c:pt idx="2925">
                  <c:v>2962341.2069999999</c:v>
                </c:pt>
                <c:pt idx="2926">
                  <c:v>2905244.9339999999</c:v>
                </c:pt>
                <c:pt idx="2927">
                  <c:v>2898670.179</c:v>
                </c:pt>
                <c:pt idx="2928">
                  <c:v>2930768.577</c:v>
                </c:pt>
                <c:pt idx="2929">
                  <c:v>2887751.2</c:v>
                </c:pt>
                <c:pt idx="2930">
                  <c:v>2908415.4739999999</c:v>
                </c:pt>
                <c:pt idx="2931">
                  <c:v>2955437.1839999999</c:v>
                </c:pt>
                <c:pt idx="2932">
                  <c:v>2957991.673</c:v>
                </c:pt>
                <c:pt idx="2933">
                  <c:v>2987806.432</c:v>
                </c:pt>
                <c:pt idx="2934">
                  <c:v>2927821.09</c:v>
                </c:pt>
                <c:pt idx="2935">
                  <c:v>2935803.2030000002</c:v>
                </c:pt>
                <c:pt idx="2936">
                  <c:v>2855684.6669999999</c:v>
                </c:pt>
                <c:pt idx="2937">
                  <c:v>2842312.1039999998</c:v>
                </c:pt>
                <c:pt idx="2938">
                  <c:v>2877198.6660000002</c:v>
                </c:pt>
                <c:pt idx="2939">
                  <c:v>2921511.875</c:v>
                </c:pt>
                <c:pt idx="2940">
                  <c:v>2913073.034</c:v>
                </c:pt>
                <c:pt idx="2941">
                  <c:v>2907098.398</c:v>
                </c:pt>
                <c:pt idx="2942">
                  <c:v>2912122.4029999999</c:v>
                </c:pt>
                <c:pt idx="2943">
                  <c:v>2955219.4419999998</c:v>
                </c:pt>
                <c:pt idx="2944">
                  <c:v>3019846.412</c:v>
                </c:pt>
                <c:pt idx="2945">
                  <c:v>3084356.5449999999</c:v>
                </c:pt>
                <c:pt idx="2946">
                  <c:v>3063463.9079999998</c:v>
                </c:pt>
                <c:pt idx="2947">
                  <c:v>3069018.9909999999</c:v>
                </c:pt>
                <c:pt idx="2948">
                  <c:v>2972622.892</c:v>
                </c:pt>
                <c:pt idx="2949">
                  <c:v>2963244.0410000002</c:v>
                </c:pt>
                <c:pt idx="2950">
                  <c:v>2887777.7540000002</c:v>
                </c:pt>
                <c:pt idx="2951">
                  <c:v>2904766.963</c:v>
                </c:pt>
                <c:pt idx="2952">
                  <c:v>2834239.7080000001</c:v>
                </c:pt>
                <c:pt idx="2953">
                  <c:v>2877798.7850000001</c:v>
                </c:pt>
                <c:pt idx="2954">
                  <c:v>2841074.6910000001</c:v>
                </c:pt>
                <c:pt idx="2955">
                  <c:v>2895552.747</c:v>
                </c:pt>
                <c:pt idx="2956">
                  <c:v>2804472.7450000001</c:v>
                </c:pt>
                <c:pt idx="2957">
                  <c:v>2794961.125</c:v>
                </c:pt>
                <c:pt idx="2958">
                  <c:v>2697890.5550000002</c:v>
                </c:pt>
                <c:pt idx="2959">
                  <c:v>2639992.352</c:v>
                </c:pt>
                <c:pt idx="2960">
                  <c:v>2657310.83</c:v>
                </c:pt>
                <c:pt idx="2961">
                  <c:v>2723488.55</c:v>
                </c:pt>
                <c:pt idx="2962">
                  <c:v>2733132.94</c:v>
                </c:pt>
                <c:pt idx="2963">
                  <c:v>2674268.1740000001</c:v>
                </c:pt>
                <c:pt idx="2964">
                  <c:v>2697540.0430000001</c:v>
                </c:pt>
                <c:pt idx="2965">
                  <c:v>2708958.236</c:v>
                </c:pt>
                <c:pt idx="2966">
                  <c:v>2730684.6669999999</c:v>
                </c:pt>
                <c:pt idx="2967">
                  <c:v>2659158.9840000002</c:v>
                </c:pt>
                <c:pt idx="2968">
                  <c:v>2685744.7850000001</c:v>
                </c:pt>
                <c:pt idx="2969">
                  <c:v>2660306.1140000001</c:v>
                </c:pt>
                <c:pt idx="2970">
                  <c:v>2617522.412</c:v>
                </c:pt>
                <c:pt idx="2971">
                  <c:v>2616279.6869999999</c:v>
                </c:pt>
                <c:pt idx="2972">
                  <c:v>2675569.3160000001</c:v>
                </c:pt>
                <c:pt idx="2973">
                  <c:v>2680290.6060000001</c:v>
                </c:pt>
                <c:pt idx="2974">
                  <c:v>2705702.7230000002</c:v>
                </c:pt>
                <c:pt idx="2975">
                  <c:v>2681076.6030000001</c:v>
                </c:pt>
                <c:pt idx="2976">
                  <c:v>2714226.537</c:v>
                </c:pt>
                <c:pt idx="2977">
                  <c:v>2741194.7149999999</c:v>
                </c:pt>
                <c:pt idx="2978">
                  <c:v>2729925.2239999999</c:v>
                </c:pt>
                <c:pt idx="2979">
                  <c:v>2710487.7429999998</c:v>
                </c:pt>
                <c:pt idx="2980">
                  <c:v>2714985.98</c:v>
                </c:pt>
                <c:pt idx="2981">
                  <c:v>2674161.9580000001</c:v>
                </c:pt>
                <c:pt idx="2982">
                  <c:v>2627644.7719999999</c:v>
                </c:pt>
                <c:pt idx="2983">
                  <c:v>2623337.7239999999</c:v>
                </c:pt>
                <c:pt idx="2984">
                  <c:v>2645106.6409999998</c:v>
                </c:pt>
                <c:pt idx="2985">
                  <c:v>2628292.6880000001</c:v>
                </c:pt>
                <c:pt idx="2986">
                  <c:v>2637432.5529999998</c:v>
                </c:pt>
                <c:pt idx="2987">
                  <c:v>2701608.1060000001</c:v>
                </c:pt>
                <c:pt idx="2988">
                  <c:v>2699669.6690000002</c:v>
                </c:pt>
                <c:pt idx="2989">
                  <c:v>2707832.3489999999</c:v>
                </c:pt>
                <c:pt idx="2990">
                  <c:v>2702787.1009999998</c:v>
                </c:pt>
                <c:pt idx="2991">
                  <c:v>2727328.2489999998</c:v>
                </c:pt>
                <c:pt idx="2992">
                  <c:v>2696414.156</c:v>
                </c:pt>
                <c:pt idx="2993">
                  <c:v>2703466.8820000002</c:v>
                </c:pt>
                <c:pt idx="2994">
                  <c:v>2718719.463</c:v>
                </c:pt>
                <c:pt idx="2995">
                  <c:v>2742580.83</c:v>
                </c:pt>
                <c:pt idx="2996">
                  <c:v>2720976.548</c:v>
                </c:pt>
                <c:pt idx="2997">
                  <c:v>2687853.1669999999</c:v>
                </c:pt>
                <c:pt idx="2998">
                  <c:v>2653295.875</c:v>
                </c:pt>
                <c:pt idx="2999">
                  <c:v>2651368.0589999999</c:v>
                </c:pt>
                <c:pt idx="3000">
                  <c:v>2667640.3110000002</c:v>
                </c:pt>
                <c:pt idx="3001">
                  <c:v>2679053.193</c:v>
                </c:pt>
                <c:pt idx="3002">
                  <c:v>2651660.1519999998</c:v>
                </c:pt>
                <c:pt idx="3003">
                  <c:v>2714125.6320000002</c:v>
                </c:pt>
                <c:pt idx="3004">
                  <c:v>2753637.889</c:v>
                </c:pt>
                <c:pt idx="3005">
                  <c:v>2755024.0049999999</c:v>
                </c:pt>
                <c:pt idx="3006">
                  <c:v>2746882.568</c:v>
                </c:pt>
                <c:pt idx="3007">
                  <c:v>2754392.0210000002</c:v>
                </c:pt>
                <c:pt idx="3008">
                  <c:v>2726637.8470000001</c:v>
                </c:pt>
                <c:pt idx="3009">
                  <c:v>2738024.1749999998</c:v>
                </c:pt>
                <c:pt idx="3010">
                  <c:v>2824531.5890000002</c:v>
                </c:pt>
                <c:pt idx="3011">
                  <c:v>2825652.165</c:v>
                </c:pt>
                <c:pt idx="3012">
                  <c:v>2835020.3930000002</c:v>
                </c:pt>
                <c:pt idx="3013">
                  <c:v>2825917.7039999999</c:v>
                </c:pt>
                <c:pt idx="3014">
                  <c:v>2831483.409</c:v>
                </c:pt>
                <c:pt idx="3015">
                  <c:v>2836852.6150000002</c:v>
                </c:pt>
                <c:pt idx="3016">
                  <c:v>2809390.534</c:v>
                </c:pt>
                <c:pt idx="3017">
                  <c:v>2790972.7239999999</c:v>
                </c:pt>
                <c:pt idx="3018">
                  <c:v>2805306.5389999999</c:v>
                </c:pt>
                <c:pt idx="3019">
                  <c:v>2802837.023</c:v>
                </c:pt>
                <c:pt idx="3020">
                  <c:v>2778667.63</c:v>
                </c:pt>
                <c:pt idx="3021">
                  <c:v>2780967.2009999999</c:v>
                </c:pt>
                <c:pt idx="3022">
                  <c:v>2799565.5780000002</c:v>
                </c:pt>
                <c:pt idx="3023">
                  <c:v>2774727.0260000001</c:v>
                </c:pt>
                <c:pt idx="3024">
                  <c:v>2743850.108</c:v>
                </c:pt>
                <c:pt idx="3025">
                  <c:v>2698140.162</c:v>
                </c:pt>
                <c:pt idx="3026">
                  <c:v>2709505.247</c:v>
                </c:pt>
                <c:pt idx="3027">
                  <c:v>2709813.273</c:v>
                </c:pt>
                <c:pt idx="3028">
                  <c:v>2703397.8420000002</c:v>
                </c:pt>
                <c:pt idx="3029">
                  <c:v>2720270.213</c:v>
                </c:pt>
                <c:pt idx="3030">
                  <c:v>2733669.3289999999</c:v>
                </c:pt>
                <c:pt idx="3031">
                  <c:v>2738225.9849999999</c:v>
                </c:pt>
                <c:pt idx="3032">
                  <c:v>2782836.5980000002</c:v>
                </c:pt>
                <c:pt idx="3033">
                  <c:v>2789098.0159999998</c:v>
                </c:pt>
                <c:pt idx="3034">
                  <c:v>2756585.3760000002</c:v>
                </c:pt>
                <c:pt idx="3035">
                  <c:v>2774376.514</c:v>
                </c:pt>
                <c:pt idx="3036">
                  <c:v>2777361.176</c:v>
                </c:pt>
                <c:pt idx="3037">
                  <c:v>2698474.7420000001</c:v>
                </c:pt>
                <c:pt idx="3038">
                  <c:v>2700954.88</c:v>
                </c:pt>
                <c:pt idx="3039">
                  <c:v>2699526.2779999999</c:v>
                </c:pt>
                <c:pt idx="3040">
                  <c:v>2730004.8859999999</c:v>
                </c:pt>
                <c:pt idx="3041">
                  <c:v>2702266.6439999999</c:v>
                </c:pt>
                <c:pt idx="3042">
                  <c:v>2692271.7420000001</c:v>
                </c:pt>
                <c:pt idx="3043">
                  <c:v>2725873.0929999999</c:v>
                </c:pt>
                <c:pt idx="3044">
                  <c:v>2730859.923</c:v>
                </c:pt>
                <c:pt idx="3045">
                  <c:v>2699515.656</c:v>
                </c:pt>
                <c:pt idx="3046">
                  <c:v>2735830.82</c:v>
                </c:pt>
                <c:pt idx="3047">
                  <c:v>2705723.9670000002</c:v>
                </c:pt>
                <c:pt idx="3048">
                  <c:v>2715665.76</c:v>
                </c:pt>
                <c:pt idx="3049">
                  <c:v>2713275.906</c:v>
                </c:pt>
                <c:pt idx="3050">
                  <c:v>2731890.2149999999</c:v>
                </c:pt>
                <c:pt idx="3051">
                  <c:v>2735984.8319999999</c:v>
                </c:pt>
                <c:pt idx="3052">
                  <c:v>2702781.79</c:v>
                </c:pt>
                <c:pt idx="3053">
                  <c:v>2615722.0550000002</c:v>
                </c:pt>
                <c:pt idx="3054">
                  <c:v>2523319.6669999999</c:v>
                </c:pt>
                <c:pt idx="3055">
                  <c:v>2528189.659</c:v>
                </c:pt>
                <c:pt idx="3056">
                  <c:v>2575875.2179999999</c:v>
                </c:pt>
                <c:pt idx="3057">
                  <c:v>2555110.04</c:v>
                </c:pt>
                <c:pt idx="3058">
                  <c:v>2620204.3590000002</c:v>
                </c:pt>
                <c:pt idx="3059">
                  <c:v>2620586.736</c:v>
                </c:pt>
                <c:pt idx="3060">
                  <c:v>2644161.3199999998</c:v>
                </c:pt>
                <c:pt idx="3061">
                  <c:v>2628133.3640000001</c:v>
                </c:pt>
                <c:pt idx="3062">
                  <c:v>2613735.8199999998</c:v>
                </c:pt>
                <c:pt idx="3063">
                  <c:v>2647724.8590000002</c:v>
                </c:pt>
                <c:pt idx="3064">
                  <c:v>2678309.6830000002</c:v>
                </c:pt>
                <c:pt idx="3065">
                  <c:v>2663540.3829999999</c:v>
                </c:pt>
                <c:pt idx="3066">
                  <c:v>2641240.3870000001</c:v>
                </c:pt>
                <c:pt idx="3067">
                  <c:v>2626704.7629999998</c:v>
                </c:pt>
                <c:pt idx="3068">
                  <c:v>2624097.1660000002</c:v>
                </c:pt>
                <c:pt idx="3069">
                  <c:v>2569040.2349999999</c:v>
                </c:pt>
                <c:pt idx="3070">
                  <c:v>2599226.7489999998</c:v>
                </c:pt>
                <c:pt idx="3071">
                  <c:v>2582179.122</c:v>
                </c:pt>
                <c:pt idx="3072">
                  <c:v>2532857.841</c:v>
                </c:pt>
                <c:pt idx="3073">
                  <c:v>2568232.9950000001</c:v>
                </c:pt>
                <c:pt idx="3074">
                  <c:v>2596119.9389999998</c:v>
                </c:pt>
                <c:pt idx="3075">
                  <c:v>2601308.5780000002</c:v>
                </c:pt>
                <c:pt idx="3076">
                  <c:v>2550032.9270000001</c:v>
                </c:pt>
                <c:pt idx="3077">
                  <c:v>2563538.2590000001</c:v>
                </c:pt>
                <c:pt idx="3078">
                  <c:v>2556225.3050000002</c:v>
                </c:pt>
                <c:pt idx="3079">
                  <c:v>2552157.2420000001</c:v>
                </c:pt>
                <c:pt idx="3080">
                  <c:v>2586066.6189999999</c:v>
                </c:pt>
                <c:pt idx="3081">
                  <c:v>2586040.0649999999</c:v>
                </c:pt>
                <c:pt idx="3082">
                  <c:v>2572046.14</c:v>
                </c:pt>
                <c:pt idx="3083">
                  <c:v>2620199.048</c:v>
                </c:pt>
                <c:pt idx="3084">
                  <c:v>2651585.801</c:v>
                </c:pt>
                <c:pt idx="3085">
                  <c:v>2640592.4709999999</c:v>
                </c:pt>
                <c:pt idx="3086">
                  <c:v>2639466.585</c:v>
                </c:pt>
                <c:pt idx="3087">
                  <c:v>2662573.8199999998</c:v>
                </c:pt>
                <c:pt idx="3088">
                  <c:v>2650964.4389999998</c:v>
                </c:pt>
                <c:pt idx="3089">
                  <c:v>2611399.074</c:v>
                </c:pt>
                <c:pt idx="3090">
                  <c:v>2584930.11</c:v>
                </c:pt>
                <c:pt idx="3091">
                  <c:v>2553267.196</c:v>
                </c:pt>
                <c:pt idx="3092">
                  <c:v>2578886.4339999999</c:v>
                </c:pt>
                <c:pt idx="3093">
                  <c:v>2560739.4739999999</c:v>
                </c:pt>
                <c:pt idx="3094">
                  <c:v>2577431.2779999999</c:v>
                </c:pt>
                <c:pt idx="3095">
                  <c:v>2575429.1120000002</c:v>
                </c:pt>
                <c:pt idx="3096">
                  <c:v>2590267.4509999999</c:v>
                </c:pt>
                <c:pt idx="3097">
                  <c:v>2593698.2200000002</c:v>
                </c:pt>
                <c:pt idx="3098">
                  <c:v>2567197.3909999998</c:v>
                </c:pt>
                <c:pt idx="3099">
                  <c:v>2584430.8960000002</c:v>
                </c:pt>
                <c:pt idx="3100">
                  <c:v>2618186.2599999998</c:v>
                </c:pt>
                <c:pt idx="3101">
                  <c:v>2621505.5019999999</c:v>
                </c:pt>
                <c:pt idx="3102">
                  <c:v>2593703.531</c:v>
                </c:pt>
                <c:pt idx="3103">
                  <c:v>2623587.3309999998</c:v>
                </c:pt>
                <c:pt idx="3104">
                  <c:v>2609513.7439999999</c:v>
                </c:pt>
                <c:pt idx="3105">
                  <c:v>2619338.7009999999</c:v>
                </c:pt>
                <c:pt idx="3106">
                  <c:v>2588891.9569999999</c:v>
                </c:pt>
                <c:pt idx="3107">
                  <c:v>2614351.872</c:v>
                </c:pt>
                <c:pt idx="3108">
                  <c:v>2607692.1439999999</c:v>
                </c:pt>
                <c:pt idx="3109">
                  <c:v>2617166.5890000002</c:v>
                </c:pt>
                <c:pt idx="3110">
                  <c:v>2634007.0950000002</c:v>
                </c:pt>
                <c:pt idx="3111">
                  <c:v>2644517.1430000002</c:v>
                </c:pt>
                <c:pt idx="3112">
                  <c:v>2635796.8309999998</c:v>
                </c:pt>
                <c:pt idx="3113">
                  <c:v>2601308.5780000002</c:v>
                </c:pt>
                <c:pt idx="3114">
                  <c:v>2583241.2799999998</c:v>
                </c:pt>
                <c:pt idx="3115">
                  <c:v>2606943.3229999999</c:v>
                </c:pt>
                <c:pt idx="3116">
                  <c:v>2597341.42</c:v>
                </c:pt>
                <c:pt idx="3117">
                  <c:v>2570341.3769999999</c:v>
                </c:pt>
                <c:pt idx="3118">
                  <c:v>2560388.9619999998</c:v>
                </c:pt>
                <c:pt idx="3119">
                  <c:v>2585684.2420000001</c:v>
                </c:pt>
                <c:pt idx="3120">
                  <c:v>2571669.074</c:v>
                </c:pt>
                <c:pt idx="3121">
                  <c:v>2574765.2629999998</c:v>
                </c:pt>
                <c:pt idx="3122">
                  <c:v>2574000.5099999998</c:v>
                </c:pt>
                <c:pt idx="3123">
                  <c:v>2560431.4479999999</c:v>
                </c:pt>
                <c:pt idx="3124">
                  <c:v>2601568.807</c:v>
                </c:pt>
                <c:pt idx="3125">
                  <c:v>2596109.3169999998</c:v>
                </c:pt>
                <c:pt idx="3126">
                  <c:v>2592928.156</c:v>
                </c:pt>
                <c:pt idx="3127">
                  <c:v>2593427.37</c:v>
                </c:pt>
                <c:pt idx="3128">
                  <c:v>2594717.8909999998</c:v>
                </c:pt>
                <c:pt idx="3129">
                  <c:v>2569157.0720000002</c:v>
                </c:pt>
                <c:pt idx="3130">
                  <c:v>2597006.84</c:v>
                </c:pt>
                <c:pt idx="3131">
                  <c:v>2608871.139</c:v>
                </c:pt>
                <c:pt idx="3132">
                  <c:v>2609375.6639999999</c:v>
                </c:pt>
                <c:pt idx="3133">
                  <c:v>2611133.534</c:v>
                </c:pt>
                <c:pt idx="3134">
                  <c:v>2600395.1230000001</c:v>
                </c:pt>
                <c:pt idx="3135">
                  <c:v>2581111.6540000001</c:v>
                </c:pt>
                <c:pt idx="3136">
                  <c:v>2576485.9580000001</c:v>
                </c:pt>
                <c:pt idx="3137">
                  <c:v>2566188.3420000002</c:v>
                </c:pt>
                <c:pt idx="3138">
                  <c:v>2572465.6919999998</c:v>
                </c:pt>
                <c:pt idx="3139">
                  <c:v>2579003.2710000002</c:v>
                </c:pt>
                <c:pt idx="3140">
                  <c:v>2602827.463</c:v>
                </c:pt>
                <c:pt idx="3141">
                  <c:v>2598366.4019999998</c:v>
                </c:pt>
                <c:pt idx="3142">
                  <c:v>2614022.6030000001</c:v>
                </c:pt>
                <c:pt idx="3143">
                  <c:v>2653232.145</c:v>
                </c:pt>
                <c:pt idx="3144">
                  <c:v>2697184.2209999999</c:v>
                </c:pt>
                <c:pt idx="3145">
                  <c:v>2684666.6949999998</c:v>
                </c:pt>
                <c:pt idx="3146">
                  <c:v>2699898.0329999998</c:v>
                </c:pt>
                <c:pt idx="3147">
                  <c:v>2681788.2480000001</c:v>
                </c:pt>
                <c:pt idx="3148">
                  <c:v>2658527</c:v>
                </c:pt>
                <c:pt idx="3149">
                  <c:v>2673838</c:v>
                </c:pt>
                <c:pt idx="3150">
                  <c:v>2631367.6340000001</c:v>
                </c:pt>
                <c:pt idx="3151">
                  <c:v>2591887.2409999999</c:v>
                </c:pt>
                <c:pt idx="3152">
                  <c:v>2609450.0150000001</c:v>
                </c:pt>
                <c:pt idx="3153">
                  <c:v>2609959.85</c:v>
                </c:pt>
                <c:pt idx="3154">
                  <c:v>2628170.54</c:v>
                </c:pt>
                <c:pt idx="3155">
                  <c:v>2613618.983</c:v>
                </c:pt>
                <c:pt idx="3156">
                  <c:v>2612546.2039999999</c:v>
                </c:pt>
                <c:pt idx="3157">
                  <c:v>2632004.9279999998</c:v>
                </c:pt>
                <c:pt idx="3158">
                  <c:v>2593512.3420000002</c:v>
                </c:pt>
                <c:pt idx="3159">
                  <c:v>2613709.2659999998</c:v>
                </c:pt>
                <c:pt idx="3160">
                  <c:v>2623725.4109999998</c:v>
                </c:pt>
                <c:pt idx="3161">
                  <c:v>2611723.0320000001</c:v>
                </c:pt>
                <c:pt idx="3162">
                  <c:v>2585354.9730000002</c:v>
                </c:pt>
                <c:pt idx="3163">
                  <c:v>2558859.4550000001</c:v>
                </c:pt>
                <c:pt idx="3164">
                  <c:v>2561058.1209999998</c:v>
                </c:pt>
                <c:pt idx="3165">
                  <c:v>2572571.9079999998</c:v>
                </c:pt>
                <c:pt idx="3166">
                  <c:v>2547993.585</c:v>
                </c:pt>
                <c:pt idx="3167">
                  <c:v>2573384.4589999998</c:v>
                </c:pt>
                <c:pt idx="3168">
                  <c:v>2531078.727</c:v>
                </c:pt>
                <c:pt idx="3169">
                  <c:v>2510265.7519999999</c:v>
                </c:pt>
                <c:pt idx="3170">
                  <c:v>2531800.9939999999</c:v>
                </c:pt>
                <c:pt idx="3171">
                  <c:v>2556267.7910000002</c:v>
                </c:pt>
                <c:pt idx="3172">
                  <c:v>2538758.1260000002</c:v>
                </c:pt>
                <c:pt idx="3173">
                  <c:v>2561663.551</c:v>
                </c:pt>
                <c:pt idx="3174">
                  <c:v>2538189.8709999998</c:v>
                </c:pt>
                <c:pt idx="3175">
                  <c:v>2542135.7859999998</c:v>
                </c:pt>
                <c:pt idx="3176">
                  <c:v>2484625.2710000002</c:v>
                </c:pt>
                <c:pt idx="3177">
                  <c:v>2502607.5970000001</c:v>
                </c:pt>
                <c:pt idx="3178">
                  <c:v>2453519.9900000002</c:v>
                </c:pt>
                <c:pt idx="3179">
                  <c:v>2423721.162</c:v>
                </c:pt>
                <c:pt idx="3180">
                  <c:v>2461066.6189999999</c:v>
                </c:pt>
                <c:pt idx="3181">
                  <c:v>2447619.7050000001</c:v>
                </c:pt>
                <c:pt idx="3182">
                  <c:v>2470610.1030000001</c:v>
                </c:pt>
                <c:pt idx="3183">
                  <c:v>2464130.943</c:v>
                </c:pt>
                <c:pt idx="3184">
                  <c:v>2443705.6549999998</c:v>
                </c:pt>
                <c:pt idx="3185">
                  <c:v>2417305.7310000001</c:v>
                </c:pt>
                <c:pt idx="3186">
                  <c:v>2443015.253</c:v>
                </c:pt>
                <c:pt idx="3187">
                  <c:v>2452516.2510000002</c:v>
                </c:pt>
                <c:pt idx="3188">
                  <c:v>2458448.4</c:v>
                </c:pt>
                <c:pt idx="3189">
                  <c:v>2470174.6189999999</c:v>
                </c:pt>
                <c:pt idx="3190">
                  <c:v>2461183.4559999998</c:v>
                </c:pt>
                <c:pt idx="3191">
                  <c:v>2429233.7599999998</c:v>
                </c:pt>
                <c:pt idx="3192">
                  <c:v>2455203.5090000001</c:v>
                </c:pt>
                <c:pt idx="3193">
                  <c:v>2405425.5</c:v>
                </c:pt>
                <c:pt idx="3194">
                  <c:v>2428846.0720000002</c:v>
                </c:pt>
                <c:pt idx="3195">
                  <c:v>2433216.85</c:v>
                </c:pt>
                <c:pt idx="3196">
                  <c:v>2453419.085</c:v>
                </c:pt>
                <c:pt idx="3197">
                  <c:v>2431597.06</c:v>
                </c:pt>
                <c:pt idx="3198">
                  <c:v>2417273.8670000001</c:v>
                </c:pt>
                <c:pt idx="3199">
                  <c:v>2387958.321</c:v>
                </c:pt>
                <c:pt idx="3200">
                  <c:v>2311668.8620000002</c:v>
                </c:pt>
                <c:pt idx="3201">
                  <c:v>2265257.892</c:v>
                </c:pt>
                <c:pt idx="3202">
                  <c:v>2244524.5780000002</c:v>
                </c:pt>
                <c:pt idx="3203">
                  <c:v>2279836.003</c:v>
                </c:pt>
                <c:pt idx="3204">
                  <c:v>2287101.16</c:v>
                </c:pt>
                <c:pt idx="3205">
                  <c:v>2217126.227</c:v>
                </c:pt>
                <c:pt idx="3206">
                  <c:v>2115716.7439999999</c:v>
                </c:pt>
                <c:pt idx="3207">
                  <c:v>2207205.676</c:v>
                </c:pt>
                <c:pt idx="3208">
                  <c:v>2250552.3220000002</c:v>
                </c:pt>
                <c:pt idx="3209">
                  <c:v>2265528.7420000001</c:v>
                </c:pt>
                <c:pt idx="3210">
                  <c:v>2261731.5290000001</c:v>
                </c:pt>
                <c:pt idx="3211">
                  <c:v>2259899.307</c:v>
                </c:pt>
                <c:pt idx="3212">
                  <c:v>2271168.798</c:v>
                </c:pt>
                <c:pt idx="3213">
                  <c:v>2257780.3029999998</c:v>
                </c:pt>
                <c:pt idx="3214">
                  <c:v>2217025.3220000002</c:v>
                </c:pt>
                <c:pt idx="3215">
                  <c:v>2203164.1669999999</c:v>
                </c:pt>
                <c:pt idx="3216">
                  <c:v>2195553.8089999999</c:v>
                </c:pt>
                <c:pt idx="3217">
                  <c:v>2259262.0129999998</c:v>
                </c:pt>
                <c:pt idx="3218">
                  <c:v>2242533.0329999998</c:v>
                </c:pt>
                <c:pt idx="3219">
                  <c:v>2270977.61</c:v>
                </c:pt>
                <c:pt idx="3220">
                  <c:v>2264434.7200000002</c:v>
                </c:pt>
                <c:pt idx="3221">
                  <c:v>2235363.4700000002</c:v>
                </c:pt>
                <c:pt idx="3222">
                  <c:v>2246871.946</c:v>
                </c:pt>
              </c:numCache>
            </c:numRef>
          </c:val>
          <c:smooth val="0"/>
          <c:extLst>
            <c:ext xmlns:c16="http://schemas.microsoft.com/office/drawing/2014/chart" uri="{C3380CC4-5D6E-409C-BE32-E72D297353CC}">
              <c16:uniqueId val="{00000002-E975-419F-8594-7CBBAA84EA25}"/>
            </c:ext>
          </c:extLst>
        </c:ser>
        <c:dLbls>
          <c:showLegendKey val="0"/>
          <c:showVal val="0"/>
          <c:showCatName val="0"/>
          <c:showSerName val="0"/>
          <c:showPercent val="0"/>
          <c:showBubbleSize val="0"/>
        </c:dLbls>
        <c:smooth val="0"/>
        <c:axId val="1592131039"/>
        <c:axId val="1592130623"/>
      </c:lineChart>
      <c:dateAx>
        <c:axId val="1592131039"/>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1592130623"/>
        <c:crosses val="autoZero"/>
        <c:auto val="1"/>
        <c:lblOffset val="100"/>
        <c:baseTimeUnit val="days"/>
      </c:dateAx>
      <c:valAx>
        <c:axId val="1592130623"/>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159213103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legend>
    <c:plotVisOnly val="1"/>
    <c:dispBlanksAs val="gap"/>
    <c:showDLblsOverMax val="0"/>
  </c:chart>
  <c:spPr>
    <a:noFill/>
    <a:ln>
      <a:noFill/>
    </a:ln>
    <a:effectLst/>
  </c:spPr>
  <c:txPr>
    <a:bodyPr/>
    <a:lstStyle/>
    <a:p>
      <a:pPr>
        <a:defRPr/>
      </a:pPr>
      <a:endParaRPr lang="zh-C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349138366588678E-2"/>
          <c:y val="3.0555555555555555E-2"/>
          <c:w val="0.87141378885884346"/>
          <c:h val="0.76792388451443572"/>
        </c:manualLayout>
      </c:layout>
      <c:barChart>
        <c:barDir val="col"/>
        <c:grouping val="clustered"/>
        <c:varyColors val="0"/>
        <c:ser>
          <c:idx val="5"/>
          <c:order val="4"/>
          <c:tx>
            <c:strRef>
              <c:f>'v60'!$F$1</c:f>
              <c:strCache>
                <c:ptCount val="1"/>
                <c:pt idx="0">
                  <c:v>price</c:v>
                </c:pt>
              </c:strCache>
            </c:strRef>
          </c:tx>
          <c:spPr>
            <a:solidFill>
              <a:schemeClr val="bg2">
                <a:lumMod val="75000"/>
              </a:schemeClr>
            </a:solidFill>
            <a:ln>
              <a:noFill/>
            </a:ln>
            <a:effectLst/>
          </c:spPr>
          <c:invertIfNegative val="0"/>
          <c:cat>
            <c:strRef>
              <c:f>'v60'!$A$1:$A$4856</c:f>
              <c:strCache>
                <c:ptCount val="4856"/>
                <c:pt idx="0">
                  <c:v>date</c:v>
                </c:pt>
                <c:pt idx="1">
                  <c:v>2002-04-12</c:v>
                </c:pt>
                <c:pt idx="2">
                  <c:v>2002-04-15</c:v>
                </c:pt>
                <c:pt idx="3">
                  <c:v>2002-04-16</c:v>
                </c:pt>
                <c:pt idx="4">
                  <c:v>2002-04-17</c:v>
                </c:pt>
                <c:pt idx="5">
                  <c:v>2002-04-18</c:v>
                </c:pt>
                <c:pt idx="6">
                  <c:v>2002-04-19</c:v>
                </c:pt>
                <c:pt idx="7">
                  <c:v>2002-04-22</c:v>
                </c:pt>
                <c:pt idx="8">
                  <c:v>2002-04-23</c:v>
                </c:pt>
                <c:pt idx="9">
                  <c:v>2002-04-24</c:v>
                </c:pt>
                <c:pt idx="10">
                  <c:v>2002-04-25</c:v>
                </c:pt>
                <c:pt idx="11">
                  <c:v>2002-04-26</c:v>
                </c:pt>
                <c:pt idx="12">
                  <c:v>2002-04-29</c:v>
                </c:pt>
                <c:pt idx="13">
                  <c:v>2002-04-30</c:v>
                </c:pt>
                <c:pt idx="14">
                  <c:v>2002-05-08</c:v>
                </c:pt>
                <c:pt idx="15">
                  <c:v>2002-05-09</c:v>
                </c:pt>
                <c:pt idx="16">
                  <c:v>2002-05-10</c:v>
                </c:pt>
                <c:pt idx="17">
                  <c:v>2002-05-13</c:v>
                </c:pt>
                <c:pt idx="18">
                  <c:v>2002-05-14</c:v>
                </c:pt>
                <c:pt idx="19">
                  <c:v>2002-05-15</c:v>
                </c:pt>
                <c:pt idx="20">
                  <c:v>2002-05-16</c:v>
                </c:pt>
                <c:pt idx="21">
                  <c:v>2002-05-17</c:v>
                </c:pt>
                <c:pt idx="22">
                  <c:v>2002-05-20</c:v>
                </c:pt>
                <c:pt idx="23">
                  <c:v>2002-05-21</c:v>
                </c:pt>
                <c:pt idx="24">
                  <c:v>2002-05-22</c:v>
                </c:pt>
                <c:pt idx="25">
                  <c:v>2002-05-23</c:v>
                </c:pt>
                <c:pt idx="26">
                  <c:v>2002-05-24</c:v>
                </c:pt>
                <c:pt idx="27">
                  <c:v>2002-05-27</c:v>
                </c:pt>
                <c:pt idx="28">
                  <c:v>2002-05-28</c:v>
                </c:pt>
                <c:pt idx="29">
                  <c:v>2002-05-29</c:v>
                </c:pt>
                <c:pt idx="30">
                  <c:v>2002-05-30</c:v>
                </c:pt>
                <c:pt idx="31">
                  <c:v>2002-05-31</c:v>
                </c:pt>
                <c:pt idx="32">
                  <c:v>2002-06-03</c:v>
                </c:pt>
                <c:pt idx="33">
                  <c:v>2002-06-04</c:v>
                </c:pt>
                <c:pt idx="34">
                  <c:v>2002-06-05</c:v>
                </c:pt>
                <c:pt idx="35">
                  <c:v>2002-06-06</c:v>
                </c:pt>
                <c:pt idx="36">
                  <c:v>2002-06-07</c:v>
                </c:pt>
                <c:pt idx="37">
                  <c:v>2002-06-10</c:v>
                </c:pt>
                <c:pt idx="38">
                  <c:v>2002-06-11</c:v>
                </c:pt>
                <c:pt idx="39">
                  <c:v>2002-06-12</c:v>
                </c:pt>
                <c:pt idx="40">
                  <c:v>2002-06-13</c:v>
                </c:pt>
                <c:pt idx="41">
                  <c:v>2002-06-14</c:v>
                </c:pt>
                <c:pt idx="42">
                  <c:v>2002-06-17</c:v>
                </c:pt>
                <c:pt idx="43">
                  <c:v>2002-06-18</c:v>
                </c:pt>
                <c:pt idx="44">
                  <c:v>2002-06-19</c:v>
                </c:pt>
                <c:pt idx="45">
                  <c:v>2002-06-20</c:v>
                </c:pt>
                <c:pt idx="46">
                  <c:v>2002-06-21</c:v>
                </c:pt>
                <c:pt idx="47">
                  <c:v>2002-06-24</c:v>
                </c:pt>
                <c:pt idx="48">
                  <c:v>2002-06-25</c:v>
                </c:pt>
                <c:pt idx="49">
                  <c:v>2002-06-26</c:v>
                </c:pt>
                <c:pt idx="50">
                  <c:v>2002-06-27</c:v>
                </c:pt>
                <c:pt idx="51">
                  <c:v>2002-06-28</c:v>
                </c:pt>
                <c:pt idx="52">
                  <c:v>2002-07-01</c:v>
                </c:pt>
                <c:pt idx="53">
                  <c:v>2002-07-02</c:v>
                </c:pt>
                <c:pt idx="54">
                  <c:v>2002-07-03</c:v>
                </c:pt>
                <c:pt idx="55">
                  <c:v>2002-07-04</c:v>
                </c:pt>
                <c:pt idx="56">
                  <c:v>2002-07-05</c:v>
                </c:pt>
                <c:pt idx="57">
                  <c:v>2002-07-08</c:v>
                </c:pt>
                <c:pt idx="58">
                  <c:v>2002-07-09</c:v>
                </c:pt>
                <c:pt idx="59">
                  <c:v>2002-07-10</c:v>
                </c:pt>
                <c:pt idx="60">
                  <c:v>2002-07-11</c:v>
                </c:pt>
                <c:pt idx="61">
                  <c:v>2002-07-12</c:v>
                </c:pt>
                <c:pt idx="62">
                  <c:v>2002-07-15</c:v>
                </c:pt>
                <c:pt idx="63">
                  <c:v>2002-07-16</c:v>
                </c:pt>
                <c:pt idx="64">
                  <c:v>2002-07-17</c:v>
                </c:pt>
                <c:pt idx="65">
                  <c:v>2002-07-18</c:v>
                </c:pt>
                <c:pt idx="66">
                  <c:v>2002-07-19</c:v>
                </c:pt>
                <c:pt idx="67">
                  <c:v>2002-07-22</c:v>
                </c:pt>
                <c:pt idx="68">
                  <c:v>2002-07-23</c:v>
                </c:pt>
                <c:pt idx="69">
                  <c:v>2002-07-24</c:v>
                </c:pt>
                <c:pt idx="70">
                  <c:v>2002-07-25</c:v>
                </c:pt>
                <c:pt idx="71">
                  <c:v>2002-07-26</c:v>
                </c:pt>
                <c:pt idx="72">
                  <c:v>2002-07-29</c:v>
                </c:pt>
                <c:pt idx="73">
                  <c:v>2002-07-30</c:v>
                </c:pt>
                <c:pt idx="74">
                  <c:v>2002-07-31</c:v>
                </c:pt>
                <c:pt idx="75">
                  <c:v>2002-08-01</c:v>
                </c:pt>
                <c:pt idx="76">
                  <c:v>2002-08-02</c:v>
                </c:pt>
                <c:pt idx="77">
                  <c:v>2002-08-05</c:v>
                </c:pt>
                <c:pt idx="78">
                  <c:v>2002-08-06</c:v>
                </c:pt>
                <c:pt idx="79">
                  <c:v>2002-08-07</c:v>
                </c:pt>
                <c:pt idx="80">
                  <c:v>2002-08-08</c:v>
                </c:pt>
                <c:pt idx="81">
                  <c:v>2002-08-09</c:v>
                </c:pt>
                <c:pt idx="82">
                  <c:v>2002-08-12</c:v>
                </c:pt>
                <c:pt idx="83">
                  <c:v>2002-08-13</c:v>
                </c:pt>
                <c:pt idx="84">
                  <c:v>2002-08-14</c:v>
                </c:pt>
                <c:pt idx="85">
                  <c:v>2002-08-15</c:v>
                </c:pt>
                <c:pt idx="86">
                  <c:v>2002-08-16</c:v>
                </c:pt>
                <c:pt idx="87">
                  <c:v>2002-08-19</c:v>
                </c:pt>
                <c:pt idx="88">
                  <c:v>2002-08-20</c:v>
                </c:pt>
                <c:pt idx="89">
                  <c:v>2002-08-21</c:v>
                </c:pt>
                <c:pt idx="90">
                  <c:v>2002-08-22</c:v>
                </c:pt>
                <c:pt idx="91">
                  <c:v>2002-08-23</c:v>
                </c:pt>
                <c:pt idx="92">
                  <c:v>2002-08-26</c:v>
                </c:pt>
                <c:pt idx="93">
                  <c:v>2002-08-27</c:v>
                </c:pt>
                <c:pt idx="94">
                  <c:v>2002-08-28</c:v>
                </c:pt>
                <c:pt idx="95">
                  <c:v>2002-08-29</c:v>
                </c:pt>
                <c:pt idx="96">
                  <c:v>2002-08-30</c:v>
                </c:pt>
                <c:pt idx="97">
                  <c:v>2002-09-02</c:v>
                </c:pt>
                <c:pt idx="98">
                  <c:v>2002-09-03</c:v>
                </c:pt>
                <c:pt idx="99">
                  <c:v>2002-09-04</c:v>
                </c:pt>
                <c:pt idx="100">
                  <c:v>2002-09-05</c:v>
                </c:pt>
                <c:pt idx="101">
                  <c:v>2002-09-06</c:v>
                </c:pt>
                <c:pt idx="102">
                  <c:v>2002-09-09</c:v>
                </c:pt>
                <c:pt idx="103">
                  <c:v>2002-09-10</c:v>
                </c:pt>
                <c:pt idx="104">
                  <c:v>2002-09-11</c:v>
                </c:pt>
                <c:pt idx="105">
                  <c:v>2002-09-12</c:v>
                </c:pt>
                <c:pt idx="106">
                  <c:v>2002-09-13</c:v>
                </c:pt>
                <c:pt idx="107">
                  <c:v>2002-09-16</c:v>
                </c:pt>
                <c:pt idx="108">
                  <c:v>2002-09-17</c:v>
                </c:pt>
                <c:pt idx="109">
                  <c:v>2002-09-18</c:v>
                </c:pt>
                <c:pt idx="110">
                  <c:v>2002-09-19</c:v>
                </c:pt>
                <c:pt idx="111">
                  <c:v>2002-09-20</c:v>
                </c:pt>
                <c:pt idx="112">
                  <c:v>2002-09-23</c:v>
                </c:pt>
                <c:pt idx="113">
                  <c:v>2002-09-24</c:v>
                </c:pt>
                <c:pt idx="114">
                  <c:v>2002-09-25</c:v>
                </c:pt>
                <c:pt idx="115">
                  <c:v>2002-09-26</c:v>
                </c:pt>
                <c:pt idx="116">
                  <c:v>2002-09-27</c:v>
                </c:pt>
                <c:pt idx="117">
                  <c:v>2002-10-08</c:v>
                </c:pt>
                <c:pt idx="118">
                  <c:v>2002-10-09</c:v>
                </c:pt>
                <c:pt idx="119">
                  <c:v>2002-10-10</c:v>
                </c:pt>
                <c:pt idx="120">
                  <c:v>2002-10-11</c:v>
                </c:pt>
                <c:pt idx="121">
                  <c:v>2002-10-14</c:v>
                </c:pt>
                <c:pt idx="122">
                  <c:v>2002-10-15</c:v>
                </c:pt>
                <c:pt idx="123">
                  <c:v>2002-10-16</c:v>
                </c:pt>
                <c:pt idx="124">
                  <c:v>2002-10-17</c:v>
                </c:pt>
                <c:pt idx="125">
                  <c:v>2002-10-18</c:v>
                </c:pt>
                <c:pt idx="126">
                  <c:v>2002-10-21</c:v>
                </c:pt>
                <c:pt idx="127">
                  <c:v>2002-10-22</c:v>
                </c:pt>
                <c:pt idx="128">
                  <c:v>2002-10-23</c:v>
                </c:pt>
                <c:pt idx="129">
                  <c:v>2002-10-24</c:v>
                </c:pt>
                <c:pt idx="130">
                  <c:v>2002-10-25</c:v>
                </c:pt>
                <c:pt idx="131">
                  <c:v>2002-10-28</c:v>
                </c:pt>
                <c:pt idx="132">
                  <c:v>2002-10-29</c:v>
                </c:pt>
                <c:pt idx="133">
                  <c:v>2002-10-30</c:v>
                </c:pt>
                <c:pt idx="134">
                  <c:v>2002-10-31</c:v>
                </c:pt>
                <c:pt idx="135">
                  <c:v>2002-11-01</c:v>
                </c:pt>
                <c:pt idx="136">
                  <c:v>2002-11-04</c:v>
                </c:pt>
                <c:pt idx="137">
                  <c:v>2002-11-05</c:v>
                </c:pt>
                <c:pt idx="138">
                  <c:v>2002-11-06</c:v>
                </c:pt>
                <c:pt idx="139">
                  <c:v>2002-11-07</c:v>
                </c:pt>
                <c:pt idx="140">
                  <c:v>2002-11-08</c:v>
                </c:pt>
                <c:pt idx="141">
                  <c:v>2002-11-11</c:v>
                </c:pt>
                <c:pt idx="142">
                  <c:v>2002-11-12</c:v>
                </c:pt>
                <c:pt idx="143">
                  <c:v>2002-11-13</c:v>
                </c:pt>
                <c:pt idx="144">
                  <c:v>2002-11-14</c:v>
                </c:pt>
                <c:pt idx="145">
                  <c:v>2002-11-15</c:v>
                </c:pt>
                <c:pt idx="146">
                  <c:v>2002-11-18</c:v>
                </c:pt>
                <c:pt idx="147">
                  <c:v>2002-11-19</c:v>
                </c:pt>
                <c:pt idx="148">
                  <c:v>2002-11-20</c:v>
                </c:pt>
                <c:pt idx="149">
                  <c:v>2002-11-21</c:v>
                </c:pt>
                <c:pt idx="150">
                  <c:v>2002-11-22</c:v>
                </c:pt>
                <c:pt idx="151">
                  <c:v>2002-11-25</c:v>
                </c:pt>
                <c:pt idx="152">
                  <c:v>2002-11-26</c:v>
                </c:pt>
                <c:pt idx="153">
                  <c:v>2002-11-27</c:v>
                </c:pt>
                <c:pt idx="154">
                  <c:v>2002-11-28</c:v>
                </c:pt>
                <c:pt idx="155">
                  <c:v>2002-11-29</c:v>
                </c:pt>
                <c:pt idx="156">
                  <c:v>2002-12-02</c:v>
                </c:pt>
                <c:pt idx="157">
                  <c:v>2002-12-03</c:v>
                </c:pt>
                <c:pt idx="158">
                  <c:v>2002-12-04</c:v>
                </c:pt>
                <c:pt idx="159">
                  <c:v>2002-12-05</c:v>
                </c:pt>
                <c:pt idx="160">
                  <c:v>2002-12-06</c:v>
                </c:pt>
                <c:pt idx="161">
                  <c:v>2002-12-09</c:v>
                </c:pt>
                <c:pt idx="162">
                  <c:v>2002-12-10</c:v>
                </c:pt>
                <c:pt idx="163">
                  <c:v>2002-12-11</c:v>
                </c:pt>
                <c:pt idx="164">
                  <c:v>2002-12-12</c:v>
                </c:pt>
                <c:pt idx="165">
                  <c:v>2002-12-13</c:v>
                </c:pt>
                <c:pt idx="166">
                  <c:v>2002-12-16</c:v>
                </c:pt>
                <c:pt idx="167">
                  <c:v>2002-12-17</c:v>
                </c:pt>
                <c:pt idx="168">
                  <c:v>2002-12-18</c:v>
                </c:pt>
                <c:pt idx="169">
                  <c:v>2002-12-19</c:v>
                </c:pt>
                <c:pt idx="170">
                  <c:v>2002-12-20</c:v>
                </c:pt>
                <c:pt idx="171">
                  <c:v>2002-12-23</c:v>
                </c:pt>
                <c:pt idx="172">
                  <c:v>2002-12-24</c:v>
                </c:pt>
                <c:pt idx="173">
                  <c:v>2002-12-25</c:v>
                </c:pt>
                <c:pt idx="174">
                  <c:v>2002-12-26</c:v>
                </c:pt>
                <c:pt idx="175">
                  <c:v>2002-12-27</c:v>
                </c:pt>
                <c:pt idx="176">
                  <c:v>2002-12-30</c:v>
                </c:pt>
                <c:pt idx="177">
                  <c:v>2002-12-31</c:v>
                </c:pt>
                <c:pt idx="178">
                  <c:v>2003-01-02</c:v>
                </c:pt>
                <c:pt idx="179">
                  <c:v>2003-01-03</c:v>
                </c:pt>
                <c:pt idx="180">
                  <c:v>2003-01-06</c:v>
                </c:pt>
                <c:pt idx="181">
                  <c:v>2003-01-07</c:v>
                </c:pt>
                <c:pt idx="182">
                  <c:v>2003-01-08</c:v>
                </c:pt>
                <c:pt idx="183">
                  <c:v>2003-01-09</c:v>
                </c:pt>
                <c:pt idx="184">
                  <c:v>2003-01-10</c:v>
                </c:pt>
                <c:pt idx="185">
                  <c:v>2003-01-13</c:v>
                </c:pt>
                <c:pt idx="186">
                  <c:v>2003-01-14</c:v>
                </c:pt>
                <c:pt idx="187">
                  <c:v>2003-01-15</c:v>
                </c:pt>
                <c:pt idx="188">
                  <c:v>2003-01-16</c:v>
                </c:pt>
                <c:pt idx="189">
                  <c:v>2003-01-17</c:v>
                </c:pt>
                <c:pt idx="190">
                  <c:v>2003-01-20</c:v>
                </c:pt>
                <c:pt idx="191">
                  <c:v>2003-01-21</c:v>
                </c:pt>
                <c:pt idx="192">
                  <c:v>2003-01-22</c:v>
                </c:pt>
                <c:pt idx="193">
                  <c:v>2003-01-23</c:v>
                </c:pt>
                <c:pt idx="194">
                  <c:v>2003-01-24</c:v>
                </c:pt>
                <c:pt idx="195">
                  <c:v>2003-01-27</c:v>
                </c:pt>
                <c:pt idx="196">
                  <c:v>2003-01-28</c:v>
                </c:pt>
                <c:pt idx="197">
                  <c:v>2003-01-29</c:v>
                </c:pt>
                <c:pt idx="198">
                  <c:v>2003-02-10</c:v>
                </c:pt>
                <c:pt idx="199">
                  <c:v>2003-02-11</c:v>
                </c:pt>
                <c:pt idx="200">
                  <c:v>2003-02-12</c:v>
                </c:pt>
                <c:pt idx="201">
                  <c:v>2003-02-13</c:v>
                </c:pt>
                <c:pt idx="202">
                  <c:v>2003-02-14</c:v>
                </c:pt>
                <c:pt idx="203">
                  <c:v>2003-02-17</c:v>
                </c:pt>
                <c:pt idx="204">
                  <c:v>2003-02-18</c:v>
                </c:pt>
                <c:pt idx="205">
                  <c:v>2003-02-19</c:v>
                </c:pt>
                <c:pt idx="206">
                  <c:v>2003-02-20</c:v>
                </c:pt>
                <c:pt idx="207">
                  <c:v>2003-02-21</c:v>
                </c:pt>
                <c:pt idx="208">
                  <c:v>2003-02-24</c:v>
                </c:pt>
                <c:pt idx="209">
                  <c:v>2003-02-25</c:v>
                </c:pt>
                <c:pt idx="210">
                  <c:v>2003-02-26</c:v>
                </c:pt>
                <c:pt idx="211">
                  <c:v>2003-02-27</c:v>
                </c:pt>
                <c:pt idx="212">
                  <c:v>2003-02-28</c:v>
                </c:pt>
                <c:pt idx="213">
                  <c:v>2003-03-03</c:v>
                </c:pt>
                <c:pt idx="214">
                  <c:v>2003-03-04</c:v>
                </c:pt>
                <c:pt idx="215">
                  <c:v>2003-03-05</c:v>
                </c:pt>
                <c:pt idx="216">
                  <c:v>2003-03-06</c:v>
                </c:pt>
                <c:pt idx="217">
                  <c:v>2003-03-07</c:v>
                </c:pt>
                <c:pt idx="218">
                  <c:v>2003-03-10</c:v>
                </c:pt>
                <c:pt idx="219">
                  <c:v>2003-03-11</c:v>
                </c:pt>
                <c:pt idx="220">
                  <c:v>2003-03-12</c:v>
                </c:pt>
                <c:pt idx="221">
                  <c:v>2003-03-13</c:v>
                </c:pt>
                <c:pt idx="222">
                  <c:v>2003-03-14</c:v>
                </c:pt>
                <c:pt idx="223">
                  <c:v>2003-03-17</c:v>
                </c:pt>
                <c:pt idx="224">
                  <c:v>2003-03-18</c:v>
                </c:pt>
                <c:pt idx="225">
                  <c:v>2003-03-19</c:v>
                </c:pt>
                <c:pt idx="226">
                  <c:v>2003-03-20</c:v>
                </c:pt>
                <c:pt idx="227">
                  <c:v>2003-03-21</c:v>
                </c:pt>
                <c:pt idx="228">
                  <c:v>2003-03-24</c:v>
                </c:pt>
                <c:pt idx="229">
                  <c:v>2003-03-25</c:v>
                </c:pt>
                <c:pt idx="230">
                  <c:v>2003-03-26</c:v>
                </c:pt>
                <c:pt idx="231">
                  <c:v>2003-03-27</c:v>
                </c:pt>
                <c:pt idx="232">
                  <c:v>2003-03-28</c:v>
                </c:pt>
                <c:pt idx="233">
                  <c:v>2003-03-31</c:v>
                </c:pt>
                <c:pt idx="234">
                  <c:v>2003-04-01</c:v>
                </c:pt>
                <c:pt idx="235">
                  <c:v>2003-04-02</c:v>
                </c:pt>
                <c:pt idx="236">
                  <c:v>2003-04-03</c:v>
                </c:pt>
                <c:pt idx="237">
                  <c:v>2003-04-04</c:v>
                </c:pt>
                <c:pt idx="238">
                  <c:v>2003-04-07</c:v>
                </c:pt>
                <c:pt idx="239">
                  <c:v>2003-04-08</c:v>
                </c:pt>
                <c:pt idx="240">
                  <c:v>2003-04-09</c:v>
                </c:pt>
                <c:pt idx="241">
                  <c:v>2003-04-10</c:v>
                </c:pt>
                <c:pt idx="242">
                  <c:v>2003-04-11</c:v>
                </c:pt>
                <c:pt idx="243">
                  <c:v>2003-04-14</c:v>
                </c:pt>
                <c:pt idx="244">
                  <c:v>2003-04-15</c:v>
                </c:pt>
                <c:pt idx="245">
                  <c:v>2003-04-16</c:v>
                </c:pt>
                <c:pt idx="246">
                  <c:v>2003-04-17</c:v>
                </c:pt>
                <c:pt idx="247">
                  <c:v>2003-04-18</c:v>
                </c:pt>
                <c:pt idx="248">
                  <c:v>2003-04-21</c:v>
                </c:pt>
                <c:pt idx="249">
                  <c:v>2003-04-22</c:v>
                </c:pt>
                <c:pt idx="250">
                  <c:v>2003-04-23</c:v>
                </c:pt>
                <c:pt idx="251">
                  <c:v>2003-04-24</c:v>
                </c:pt>
                <c:pt idx="252">
                  <c:v>2003-04-25</c:v>
                </c:pt>
                <c:pt idx="253">
                  <c:v>2003-04-28</c:v>
                </c:pt>
                <c:pt idx="254">
                  <c:v>2003-04-29</c:v>
                </c:pt>
                <c:pt idx="255">
                  <c:v>2003-04-30</c:v>
                </c:pt>
                <c:pt idx="256">
                  <c:v>2003-05-12</c:v>
                </c:pt>
                <c:pt idx="257">
                  <c:v>2003-05-13</c:v>
                </c:pt>
                <c:pt idx="258">
                  <c:v>2003-05-14</c:v>
                </c:pt>
                <c:pt idx="259">
                  <c:v>2003-05-15</c:v>
                </c:pt>
                <c:pt idx="260">
                  <c:v>2003-05-16</c:v>
                </c:pt>
                <c:pt idx="261">
                  <c:v>2003-05-19</c:v>
                </c:pt>
                <c:pt idx="262">
                  <c:v>2003-05-20</c:v>
                </c:pt>
                <c:pt idx="263">
                  <c:v>2003-05-21</c:v>
                </c:pt>
                <c:pt idx="264">
                  <c:v>2003-05-22</c:v>
                </c:pt>
                <c:pt idx="265">
                  <c:v>2003-05-23</c:v>
                </c:pt>
                <c:pt idx="266">
                  <c:v>2003-05-26</c:v>
                </c:pt>
                <c:pt idx="267">
                  <c:v>2003-05-27</c:v>
                </c:pt>
                <c:pt idx="268">
                  <c:v>2003-05-28</c:v>
                </c:pt>
                <c:pt idx="269">
                  <c:v>2003-05-29</c:v>
                </c:pt>
                <c:pt idx="270">
                  <c:v>2003-05-30</c:v>
                </c:pt>
                <c:pt idx="271">
                  <c:v>2003-06-02</c:v>
                </c:pt>
                <c:pt idx="272">
                  <c:v>2003-06-03</c:v>
                </c:pt>
                <c:pt idx="273">
                  <c:v>2003-06-04</c:v>
                </c:pt>
                <c:pt idx="274">
                  <c:v>2003-06-05</c:v>
                </c:pt>
                <c:pt idx="275">
                  <c:v>2003-06-06</c:v>
                </c:pt>
                <c:pt idx="276">
                  <c:v>2003-06-09</c:v>
                </c:pt>
                <c:pt idx="277">
                  <c:v>2003-06-10</c:v>
                </c:pt>
                <c:pt idx="278">
                  <c:v>2003-06-11</c:v>
                </c:pt>
                <c:pt idx="279">
                  <c:v>2003-06-12</c:v>
                </c:pt>
                <c:pt idx="280">
                  <c:v>2003-06-13</c:v>
                </c:pt>
                <c:pt idx="281">
                  <c:v>2003-06-16</c:v>
                </c:pt>
                <c:pt idx="282">
                  <c:v>2003-06-17</c:v>
                </c:pt>
                <c:pt idx="283">
                  <c:v>2003-06-18</c:v>
                </c:pt>
                <c:pt idx="284">
                  <c:v>2003-06-19</c:v>
                </c:pt>
                <c:pt idx="285">
                  <c:v>2003-06-20</c:v>
                </c:pt>
                <c:pt idx="286">
                  <c:v>2003-06-23</c:v>
                </c:pt>
                <c:pt idx="287">
                  <c:v>2003-06-24</c:v>
                </c:pt>
                <c:pt idx="288">
                  <c:v>2003-06-25</c:v>
                </c:pt>
                <c:pt idx="289">
                  <c:v>2003-06-26</c:v>
                </c:pt>
                <c:pt idx="290">
                  <c:v>2003-06-27</c:v>
                </c:pt>
                <c:pt idx="291">
                  <c:v>2003-06-30</c:v>
                </c:pt>
                <c:pt idx="292">
                  <c:v>2003-07-01</c:v>
                </c:pt>
                <c:pt idx="293">
                  <c:v>2003-07-02</c:v>
                </c:pt>
                <c:pt idx="294">
                  <c:v>2003-07-03</c:v>
                </c:pt>
                <c:pt idx="295">
                  <c:v>2003-07-04</c:v>
                </c:pt>
                <c:pt idx="296">
                  <c:v>2003-07-07</c:v>
                </c:pt>
                <c:pt idx="297">
                  <c:v>2003-07-08</c:v>
                </c:pt>
                <c:pt idx="298">
                  <c:v>2003-07-09</c:v>
                </c:pt>
                <c:pt idx="299">
                  <c:v>2003-07-10</c:v>
                </c:pt>
                <c:pt idx="300">
                  <c:v>2003-07-11</c:v>
                </c:pt>
                <c:pt idx="301">
                  <c:v>2003-07-14</c:v>
                </c:pt>
                <c:pt idx="302">
                  <c:v>2003-07-15</c:v>
                </c:pt>
                <c:pt idx="303">
                  <c:v>2003-07-16</c:v>
                </c:pt>
                <c:pt idx="304">
                  <c:v>2003-07-17</c:v>
                </c:pt>
                <c:pt idx="305">
                  <c:v>2003-07-18</c:v>
                </c:pt>
                <c:pt idx="306">
                  <c:v>2003-07-21</c:v>
                </c:pt>
                <c:pt idx="307">
                  <c:v>2003-07-22</c:v>
                </c:pt>
                <c:pt idx="308">
                  <c:v>2003-07-23</c:v>
                </c:pt>
                <c:pt idx="309">
                  <c:v>2003-07-24</c:v>
                </c:pt>
                <c:pt idx="310">
                  <c:v>2003-07-25</c:v>
                </c:pt>
                <c:pt idx="311">
                  <c:v>2003-07-28</c:v>
                </c:pt>
                <c:pt idx="312">
                  <c:v>2003-07-29</c:v>
                </c:pt>
                <c:pt idx="313">
                  <c:v>2003-07-30</c:v>
                </c:pt>
                <c:pt idx="314">
                  <c:v>2003-07-31</c:v>
                </c:pt>
                <c:pt idx="315">
                  <c:v>2003-08-01</c:v>
                </c:pt>
                <c:pt idx="316">
                  <c:v>2003-08-04</c:v>
                </c:pt>
                <c:pt idx="317">
                  <c:v>2003-08-05</c:v>
                </c:pt>
                <c:pt idx="318">
                  <c:v>2003-08-06</c:v>
                </c:pt>
                <c:pt idx="319">
                  <c:v>2003-08-07</c:v>
                </c:pt>
                <c:pt idx="320">
                  <c:v>2003-08-08</c:v>
                </c:pt>
                <c:pt idx="321">
                  <c:v>2003-08-11</c:v>
                </c:pt>
                <c:pt idx="322">
                  <c:v>2003-08-12</c:v>
                </c:pt>
                <c:pt idx="323">
                  <c:v>2003-08-13</c:v>
                </c:pt>
                <c:pt idx="324">
                  <c:v>2003-08-14</c:v>
                </c:pt>
                <c:pt idx="325">
                  <c:v>2003-08-15</c:v>
                </c:pt>
                <c:pt idx="326">
                  <c:v>2003-08-18</c:v>
                </c:pt>
                <c:pt idx="327">
                  <c:v>2003-08-19</c:v>
                </c:pt>
                <c:pt idx="328">
                  <c:v>2003-08-20</c:v>
                </c:pt>
                <c:pt idx="329">
                  <c:v>2003-08-21</c:v>
                </c:pt>
                <c:pt idx="330">
                  <c:v>2003-08-22</c:v>
                </c:pt>
                <c:pt idx="331">
                  <c:v>2003-08-25</c:v>
                </c:pt>
                <c:pt idx="332">
                  <c:v>2003-08-26</c:v>
                </c:pt>
                <c:pt idx="333">
                  <c:v>2003-08-27</c:v>
                </c:pt>
                <c:pt idx="334">
                  <c:v>2003-08-28</c:v>
                </c:pt>
                <c:pt idx="335">
                  <c:v>2003-08-29</c:v>
                </c:pt>
                <c:pt idx="336">
                  <c:v>2003-09-01</c:v>
                </c:pt>
                <c:pt idx="337">
                  <c:v>2003-09-02</c:v>
                </c:pt>
                <c:pt idx="338">
                  <c:v>2003-09-03</c:v>
                </c:pt>
                <c:pt idx="339">
                  <c:v>2003-09-04</c:v>
                </c:pt>
                <c:pt idx="340">
                  <c:v>2003-09-05</c:v>
                </c:pt>
                <c:pt idx="341">
                  <c:v>2003-09-08</c:v>
                </c:pt>
                <c:pt idx="342">
                  <c:v>2003-09-09</c:v>
                </c:pt>
                <c:pt idx="343">
                  <c:v>2003-09-10</c:v>
                </c:pt>
                <c:pt idx="344">
                  <c:v>2003-09-11</c:v>
                </c:pt>
                <c:pt idx="345">
                  <c:v>2003-09-12</c:v>
                </c:pt>
                <c:pt idx="346">
                  <c:v>2003-09-15</c:v>
                </c:pt>
                <c:pt idx="347">
                  <c:v>2003-09-16</c:v>
                </c:pt>
                <c:pt idx="348">
                  <c:v>2003-09-17</c:v>
                </c:pt>
                <c:pt idx="349">
                  <c:v>2003-09-18</c:v>
                </c:pt>
                <c:pt idx="350">
                  <c:v>2003-09-19</c:v>
                </c:pt>
                <c:pt idx="351">
                  <c:v>2003-09-22</c:v>
                </c:pt>
                <c:pt idx="352">
                  <c:v>2003-09-23</c:v>
                </c:pt>
                <c:pt idx="353">
                  <c:v>2003-09-24</c:v>
                </c:pt>
                <c:pt idx="354">
                  <c:v>2003-09-25</c:v>
                </c:pt>
                <c:pt idx="355">
                  <c:v>2003-09-26</c:v>
                </c:pt>
                <c:pt idx="356">
                  <c:v>2003-09-29</c:v>
                </c:pt>
                <c:pt idx="357">
                  <c:v>2003-09-30</c:v>
                </c:pt>
                <c:pt idx="358">
                  <c:v>2003-10-08</c:v>
                </c:pt>
                <c:pt idx="359">
                  <c:v>2003-10-09</c:v>
                </c:pt>
                <c:pt idx="360">
                  <c:v>2003-10-10</c:v>
                </c:pt>
                <c:pt idx="361">
                  <c:v>2003-10-13</c:v>
                </c:pt>
                <c:pt idx="362">
                  <c:v>2003-10-14</c:v>
                </c:pt>
                <c:pt idx="363">
                  <c:v>2003-10-15</c:v>
                </c:pt>
                <c:pt idx="364">
                  <c:v>2003-10-16</c:v>
                </c:pt>
                <c:pt idx="365">
                  <c:v>2003-10-17</c:v>
                </c:pt>
                <c:pt idx="366">
                  <c:v>2003-10-20</c:v>
                </c:pt>
                <c:pt idx="367">
                  <c:v>2003-10-21</c:v>
                </c:pt>
                <c:pt idx="368">
                  <c:v>2003-10-22</c:v>
                </c:pt>
                <c:pt idx="369">
                  <c:v>2003-10-23</c:v>
                </c:pt>
                <c:pt idx="370">
                  <c:v>2003-10-24</c:v>
                </c:pt>
                <c:pt idx="371">
                  <c:v>2003-10-27</c:v>
                </c:pt>
                <c:pt idx="372">
                  <c:v>2003-10-28</c:v>
                </c:pt>
                <c:pt idx="373">
                  <c:v>2003-10-29</c:v>
                </c:pt>
                <c:pt idx="374">
                  <c:v>2003-10-30</c:v>
                </c:pt>
                <c:pt idx="375">
                  <c:v>2003-10-31</c:v>
                </c:pt>
                <c:pt idx="376">
                  <c:v>2003-11-03</c:v>
                </c:pt>
                <c:pt idx="377">
                  <c:v>2003-11-04</c:v>
                </c:pt>
                <c:pt idx="378">
                  <c:v>2003-11-05</c:v>
                </c:pt>
                <c:pt idx="379">
                  <c:v>2003-11-06</c:v>
                </c:pt>
                <c:pt idx="380">
                  <c:v>2003-11-07</c:v>
                </c:pt>
                <c:pt idx="381">
                  <c:v>2003-11-10</c:v>
                </c:pt>
                <c:pt idx="382">
                  <c:v>2003-11-11</c:v>
                </c:pt>
                <c:pt idx="383">
                  <c:v>2003-11-12</c:v>
                </c:pt>
                <c:pt idx="384">
                  <c:v>2003-11-13</c:v>
                </c:pt>
                <c:pt idx="385">
                  <c:v>2003-11-14</c:v>
                </c:pt>
                <c:pt idx="386">
                  <c:v>2003-11-17</c:v>
                </c:pt>
                <c:pt idx="387">
                  <c:v>2003-11-18</c:v>
                </c:pt>
                <c:pt idx="388">
                  <c:v>2003-11-19</c:v>
                </c:pt>
                <c:pt idx="389">
                  <c:v>2003-11-20</c:v>
                </c:pt>
                <c:pt idx="390">
                  <c:v>2003-11-21</c:v>
                </c:pt>
                <c:pt idx="391">
                  <c:v>2003-11-24</c:v>
                </c:pt>
                <c:pt idx="392">
                  <c:v>2003-11-25</c:v>
                </c:pt>
                <c:pt idx="393">
                  <c:v>2003-11-26</c:v>
                </c:pt>
                <c:pt idx="394">
                  <c:v>2003-11-27</c:v>
                </c:pt>
                <c:pt idx="395">
                  <c:v>2003-11-28</c:v>
                </c:pt>
                <c:pt idx="396">
                  <c:v>2003-12-01</c:v>
                </c:pt>
                <c:pt idx="397">
                  <c:v>2003-12-02</c:v>
                </c:pt>
                <c:pt idx="398">
                  <c:v>2003-12-03</c:v>
                </c:pt>
                <c:pt idx="399">
                  <c:v>2003-12-04</c:v>
                </c:pt>
                <c:pt idx="400">
                  <c:v>2003-12-05</c:v>
                </c:pt>
                <c:pt idx="401">
                  <c:v>2003-12-08</c:v>
                </c:pt>
                <c:pt idx="402">
                  <c:v>2003-12-09</c:v>
                </c:pt>
                <c:pt idx="403">
                  <c:v>2003-12-10</c:v>
                </c:pt>
                <c:pt idx="404">
                  <c:v>2003-12-11</c:v>
                </c:pt>
                <c:pt idx="405">
                  <c:v>2003-12-12</c:v>
                </c:pt>
                <c:pt idx="406">
                  <c:v>2003-12-15</c:v>
                </c:pt>
                <c:pt idx="407">
                  <c:v>2003-12-16</c:v>
                </c:pt>
                <c:pt idx="408">
                  <c:v>2003-12-17</c:v>
                </c:pt>
                <c:pt idx="409">
                  <c:v>2003-12-18</c:v>
                </c:pt>
                <c:pt idx="410">
                  <c:v>2003-12-19</c:v>
                </c:pt>
                <c:pt idx="411">
                  <c:v>2003-12-22</c:v>
                </c:pt>
                <c:pt idx="412">
                  <c:v>2003-12-23</c:v>
                </c:pt>
                <c:pt idx="413">
                  <c:v>2003-12-24</c:v>
                </c:pt>
                <c:pt idx="414">
                  <c:v>2003-12-25</c:v>
                </c:pt>
                <c:pt idx="415">
                  <c:v>2003-12-26</c:v>
                </c:pt>
                <c:pt idx="416">
                  <c:v>2003-12-29</c:v>
                </c:pt>
                <c:pt idx="417">
                  <c:v>2003-12-30</c:v>
                </c:pt>
                <c:pt idx="418">
                  <c:v>2003-12-31</c:v>
                </c:pt>
                <c:pt idx="419">
                  <c:v>2004-01-02</c:v>
                </c:pt>
                <c:pt idx="420">
                  <c:v>2004-01-05</c:v>
                </c:pt>
                <c:pt idx="421">
                  <c:v>2004-01-06</c:v>
                </c:pt>
                <c:pt idx="422">
                  <c:v>2004-01-07</c:v>
                </c:pt>
                <c:pt idx="423">
                  <c:v>2004-01-08</c:v>
                </c:pt>
                <c:pt idx="424">
                  <c:v>2004-01-09</c:v>
                </c:pt>
                <c:pt idx="425">
                  <c:v>2004-01-12</c:v>
                </c:pt>
                <c:pt idx="426">
                  <c:v>2004-01-13</c:v>
                </c:pt>
                <c:pt idx="427">
                  <c:v>2004-01-14</c:v>
                </c:pt>
                <c:pt idx="428">
                  <c:v>2004-01-15</c:v>
                </c:pt>
                <c:pt idx="429">
                  <c:v>2004-01-16</c:v>
                </c:pt>
                <c:pt idx="430">
                  <c:v>2004-01-29</c:v>
                </c:pt>
                <c:pt idx="431">
                  <c:v>2004-01-30</c:v>
                </c:pt>
                <c:pt idx="432">
                  <c:v>2004-02-02</c:v>
                </c:pt>
                <c:pt idx="433">
                  <c:v>2004-02-03</c:v>
                </c:pt>
                <c:pt idx="434">
                  <c:v>2004-02-04</c:v>
                </c:pt>
                <c:pt idx="435">
                  <c:v>2004-02-05</c:v>
                </c:pt>
                <c:pt idx="436">
                  <c:v>2004-02-06</c:v>
                </c:pt>
                <c:pt idx="437">
                  <c:v>2004-02-09</c:v>
                </c:pt>
                <c:pt idx="438">
                  <c:v>2004-02-10</c:v>
                </c:pt>
                <c:pt idx="439">
                  <c:v>2004-02-11</c:v>
                </c:pt>
                <c:pt idx="440">
                  <c:v>2004-02-12</c:v>
                </c:pt>
                <c:pt idx="441">
                  <c:v>2004-02-13</c:v>
                </c:pt>
                <c:pt idx="442">
                  <c:v>2004-02-16</c:v>
                </c:pt>
                <c:pt idx="443">
                  <c:v>2004-02-17</c:v>
                </c:pt>
                <c:pt idx="444">
                  <c:v>2004-02-18</c:v>
                </c:pt>
                <c:pt idx="445">
                  <c:v>2004-02-19</c:v>
                </c:pt>
                <c:pt idx="446">
                  <c:v>2004-02-20</c:v>
                </c:pt>
                <c:pt idx="447">
                  <c:v>2004-02-23</c:v>
                </c:pt>
                <c:pt idx="448">
                  <c:v>2004-02-24</c:v>
                </c:pt>
                <c:pt idx="449">
                  <c:v>2004-02-25</c:v>
                </c:pt>
                <c:pt idx="450">
                  <c:v>2004-02-26</c:v>
                </c:pt>
                <c:pt idx="451">
                  <c:v>2004-02-27</c:v>
                </c:pt>
                <c:pt idx="452">
                  <c:v>2004-03-01</c:v>
                </c:pt>
                <c:pt idx="453">
                  <c:v>2004-03-02</c:v>
                </c:pt>
                <c:pt idx="454">
                  <c:v>2004-03-03</c:v>
                </c:pt>
                <c:pt idx="455">
                  <c:v>2004-03-04</c:v>
                </c:pt>
                <c:pt idx="456">
                  <c:v>2004-03-05</c:v>
                </c:pt>
                <c:pt idx="457">
                  <c:v>2004-03-08</c:v>
                </c:pt>
                <c:pt idx="458">
                  <c:v>2004-03-09</c:v>
                </c:pt>
                <c:pt idx="459">
                  <c:v>2004-03-10</c:v>
                </c:pt>
                <c:pt idx="460">
                  <c:v>2004-03-11</c:v>
                </c:pt>
                <c:pt idx="461">
                  <c:v>2004-03-12</c:v>
                </c:pt>
                <c:pt idx="462">
                  <c:v>2004-03-15</c:v>
                </c:pt>
                <c:pt idx="463">
                  <c:v>2004-03-16</c:v>
                </c:pt>
                <c:pt idx="464">
                  <c:v>2004-03-17</c:v>
                </c:pt>
                <c:pt idx="465">
                  <c:v>2004-03-18</c:v>
                </c:pt>
                <c:pt idx="466">
                  <c:v>2004-03-19</c:v>
                </c:pt>
                <c:pt idx="467">
                  <c:v>2004-03-22</c:v>
                </c:pt>
                <c:pt idx="468">
                  <c:v>2004-03-23</c:v>
                </c:pt>
                <c:pt idx="469">
                  <c:v>2004-03-24</c:v>
                </c:pt>
                <c:pt idx="470">
                  <c:v>2004-03-25</c:v>
                </c:pt>
                <c:pt idx="471">
                  <c:v>2004-03-26</c:v>
                </c:pt>
                <c:pt idx="472">
                  <c:v>2004-03-29</c:v>
                </c:pt>
                <c:pt idx="473">
                  <c:v>2004-03-30</c:v>
                </c:pt>
                <c:pt idx="474">
                  <c:v>2004-03-31</c:v>
                </c:pt>
                <c:pt idx="475">
                  <c:v>2004-04-01</c:v>
                </c:pt>
                <c:pt idx="476">
                  <c:v>2004-04-02</c:v>
                </c:pt>
                <c:pt idx="477">
                  <c:v>2004-04-05</c:v>
                </c:pt>
                <c:pt idx="478">
                  <c:v>2004-04-06</c:v>
                </c:pt>
                <c:pt idx="479">
                  <c:v>2004-04-07</c:v>
                </c:pt>
                <c:pt idx="480">
                  <c:v>2004-04-08</c:v>
                </c:pt>
                <c:pt idx="481">
                  <c:v>2004-04-09</c:v>
                </c:pt>
                <c:pt idx="482">
                  <c:v>2004-04-12</c:v>
                </c:pt>
                <c:pt idx="483">
                  <c:v>2004-04-13</c:v>
                </c:pt>
                <c:pt idx="484">
                  <c:v>2004-04-14</c:v>
                </c:pt>
                <c:pt idx="485">
                  <c:v>2004-04-15</c:v>
                </c:pt>
                <c:pt idx="486">
                  <c:v>2004-04-16</c:v>
                </c:pt>
                <c:pt idx="487">
                  <c:v>2004-04-19</c:v>
                </c:pt>
                <c:pt idx="488">
                  <c:v>2004-04-20</c:v>
                </c:pt>
                <c:pt idx="489">
                  <c:v>2004-04-21</c:v>
                </c:pt>
                <c:pt idx="490">
                  <c:v>2004-04-22</c:v>
                </c:pt>
                <c:pt idx="491">
                  <c:v>2004-04-23</c:v>
                </c:pt>
                <c:pt idx="492">
                  <c:v>2004-04-26</c:v>
                </c:pt>
                <c:pt idx="493">
                  <c:v>2004-04-27</c:v>
                </c:pt>
                <c:pt idx="494">
                  <c:v>2004-04-28</c:v>
                </c:pt>
                <c:pt idx="495">
                  <c:v>2004-04-29</c:v>
                </c:pt>
                <c:pt idx="496">
                  <c:v>2004-04-30</c:v>
                </c:pt>
                <c:pt idx="497">
                  <c:v>2004-05-10</c:v>
                </c:pt>
                <c:pt idx="498">
                  <c:v>2004-05-11</c:v>
                </c:pt>
                <c:pt idx="499">
                  <c:v>2004-05-12</c:v>
                </c:pt>
                <c:pt idx="500">
                  <c:v>2004-05-13</c:v>
                </c:pt>
                <c:pt idx="501">
                  <c:v>2004-05-14</c:v>
                </c:pt>
                <c:pt idx="502">
                  <c:v>2004-05-17</c:v>
                </c:pt>
                <c:pt idx="503">
                  <c:v>2004-05-18</c:v>
                </c:pt>
                <c:pt idx="504">
                  <c:v>2004-05-19</c:v>
                </c:pt>
                <c:pt idx="505">
                  <c:v>2004-05-20</c:v>
                </c:pt>
                <c:pt idx="506">
                  <c:v>2004-05-21</c:v>
                </c:pt>
                <c:pt idx="507">
                  <c:v>2004-05-24</c:v>
                </c:pt>
                <c:pt idx="508">
                  <c:v>2004-05-25</c:v>
                </c:pt>
                <c:pt idx="509">
                  <c:v>2004-05-26</c:v>
                </c:pt>
                <c:pt idx="510">
                  <c:v>2004-05-27</c:v>
                </c:pt>
                <c:pt idx="511">
                  <c:v>2004-05-28</c:v>
                </c:pt>
                <c:pt idx="512">
                  <c:v>2004-05-31</c:v>
                </c:pt>
                <c:pt idx="513">
                  <c:v>2004-06-01</c:v>
                </c:pt>
                <c:pt idx="514">
                  <c:v>2004-06-02</c:v>
                </c:pt>
                <c:pt idx="515">
                  <c:v>2004-06-03</c:v>
                </c:pt>
                <c:pt idx="516">
                  <c:v>2004-06-04</c:v>
                </c:pt>
                <c:pt idx="517">
                  <c:v>2004-06-07</c:v>
                </c:pt>
                <c:pt idx="518">
                  <c:v>2004-06-08</c:v>
                </c:pt>
                <c:pt idx="519">
                  <c:v>2004-06-09</c:v>
                </c:pt>
                <c:pt idx="520">
                  <c:v>2004-06-10</c:v>
                </c:pt>
                <c:pt idx="521">
                  <c:v>2004-06-11</c:v>
                </c:pt>
                <c:pt idx="522">
                  <c:v>2004-06-14</c:v>
                </c:pt>
                <c:pt idx="523">
                  <c:v>2004-06-15</c:v>
                </c:pt>
                <c:pt idx="524">
                  <c:v>2004-06-16</c:v>
                </c:pt>
                <c:pt idx="525">
                  <c:v>2004-06-17</c:v>
                </c:pt>
                <c:pt idx="526">
                  <c:v>2004-06-18</c:v>
                </c:pt>
                <c:pt idx="527">
                  <c:v>2004-06-21</c:v>
                </c:pt>
                <c:pt idx="528">
                  <c:v>2004-06-22</c:v>
                </c:pt>
                <c:pt idx="529">
                  <c:v>2004-06-23</c:v>
                </c:pt>
                <c:pt idx="530">
                  <c:v>2004-06-24</c:v>
                </c:pt>
                <c:pt idx="531">
                  <c:v>2004-06-25</c:v>
                </c:pt>
                <c:pt idx="532">
                  <c:v>2004-06-28</c:v>
                </c:pt>
                <c:pt idx="533">
                  <c:v>2004-06-29</c:v>
                </c:pt>
                <c:pt idx="534">
                  <c:v>2004-06-30</c:v>
                </c:pt>
                <c:pt idx="535">
                  <c:v>2004-07-01</c:v>
                </c:pt>
                <c:pt idx="536">
                  <c:v>2004-07-02</c:v>
                </c:pt>
                <c:pt idx="537">
                  <c:v>2004-07-05</c:v>
                </c:pt>
                <c:pt idx="538">
                  <c:v>2004-07-06</c:v>
                </c:pt>
                <c:pt idx="539">
                  <c:v>2004-07-07</c:v>
                </c:pt>
                <c:pt idx="540">
                  <c:v>2004-07-08</c:v>
                </c:pt>
                <c:pt idx="541">
                  <c:v>2004-07-09</c:v>
                </c:pt>
                <c:pt idx="542">
                  <c:v>2004-07-12</c:v>
                </c:pt>
                <c:pt idx="543">
                  <c:v>2004-07-13</c:v>
                </c:pt>
                <c:pt idx="544">
                  <c:v>2004-07-14</c:v>
                </c:pt>
                <c:pt idx="545">
                  <c:v>2004-07-15</c:v>
                </c:pt>
                <c:pt idx="546">
                  <c:v>2004-07-16</c:v>
                </c:pt>
                <c:pt idx="547">
                  <c:v>2004-07-19</c:v>
                </c:pt>
                <c:pt idx="548">
                  <c:v>2004-07-20</c:v>
                </c:pt>
                <c:pt idx="549">
                  <c:v>2004-07-21</c:v>
                </c:pt>
                <c:pt idx="550">
                  <c:v>2004-07-22</c:v>
                </c:pt>
                <c:pt idx="551">
                  <c:v>2004-07-23</c:v>
                </c:pt>
                <c:pt idx="552">
                  <c:v>2004-07-26</c:v>
                </c:pt>
                <c:pt idx="553">
                  <c:v>2004-07-27</c:v>
                </c:pt>
                <c:pt idx="554">
                  <c:v>2004-07-28</c:v>
                </c:pt>
                <c:pt idx="555">
                  <c:v>2004-07-29</c:v>
                </c:pt>
                <c:pt idx="556">
                  <c:v>2004-07-30</c:v>
                </c:pt>
                <c:pt idx="557">
                  <c:v>2004-08-02</c:v>
                </c:pt>
                <c:pt idx="558">
                  <c:v>2004-08-03</c:v>
                </c:pt>
                <c:pt idx="559">
                  <c:v>2004-08-04</c:v>
                </c:pt>
                <c:pt idx="560">
                  <c:v>2004-08-05</c:v>
                </c:pt>
                <c:pt idx="561">
                  <c:v>2004-08-06</c:v>
                </c:pt>
                <c:pt idx="562">
                  <c:v>2004-08-09</c:v>
                </c:pt>
                <c:pt idx="563">
                  <c:v>2004-08-10</c:v>
                </c:pt>
                <c:pt idx="564">
                  <c:v>2004-08-11</c:v>
                </c:pt>
                <c:pt idx="565">
                  <c:v>2004-08-12</c:v>
                </c:pt>
                <c:pt idx="566">
                  <c:v>2004-08-13</c:v>
                </c:pt>
                <c:pt idx="567">
                  <c:v>2004-08-16</c:v>
                </c:pt>
                <c:pt idx="568">
                  <c:v>2004-08-17</c:v>
                </c:pt>
                <c:pt idx="569">
                  <c:v>2004-08-18</c:v>
                </c:pt>
                <c:pt idx="570">
                  <c:v>2004-08-19</c:v>
                </c:pt>
                <c:pt idx="571">
                  <c:v>2004-08-20</c:v>
                </c:pt>
                <c:pt idx="572">
                  <c:v>2004-08-23</c:v>
                </c:pt>
                <c:pt idx="573">
                  <c:v>2004-08-24</c:v>
                </c:pt>
                <c:pt idx="574">
                  <c:v>2004-08-25</c:v>
                </c:pt>
                <c:pt idx="575">
                  <c:v>2004-08-26</c:v>
                </c:pt>
                <c:pt idx="576">
                  <c:v>2004-08-27</c:v>
                </c:pt>
                <c:pt idx="577">
                  <c:v>2004-08-30</c:v>
                </c:pt>
                <c:pt idx="578">
                  <c:v>2004-08-31</c:v>
                </c:pt>
                <c:pt idx="579">
                  <c:v>2004-09-01</c:v>
                </c:pt>
                <c:pt idx="580">
                  <c:v>2004-09-02</c:v>
                </c:pt>
                <c:pt idx="581">
                  <c:v>2004-09-03</c:v>
                </c:pt>
                <c:pt idx="582">
                  <c:v>2004-09-06</c:v>
                </c:pt>
                <c:pt idx="583">
                  <c:v>2004-09-07</c:v>
                </c:pt>
                <c:pt idx="584">
                  <c:v>2004-09-08</c:v>
                </c:pt>
                <c:pt idx="585">
                  <c:v>2004-09-09</c:v>
                </c:pt>
                <c:pt idx="586">
                  <c:v>2004-09-10</c:v>
                </c:pt>
                <c:pt idx="587">
                  <c:v>2004-09-13</c:v>
                </c:pt>
                <c:pt idx="588">
                  <c:v>2004-09-14</c:v>
                </c:pt>
                <c:pt idx="589">
                  <c:v>2004-09-15</c:v>
                </c:pt>
                <c:pt idx="590">
                  <c:v>2004-09-16</c:v>
                </c:pt>
                <c:pt idx="591">
                  <c:v>2004-09-17</c:v>
                </c:pt>
                <c:pt idx="592">
                  <c:v>2004-09-20</c:v>
                </c:pt>
                <c:pt idx="593">
                  <c:v>2004-09-21</c:v>
                </c:pt>
                <c:pt idx="594">
                  <c:v>2004-09-22</c:v>
                </c:pt>
                <c:pt idx="595">
                  <c:v>2004-09-23</c:v>
                </c:pt>
                <c:pt idx="596">
                  <c:v>2004-09-24</c:v>
                </c:pt>
                <c:pt idx="597">
                  <c:v>2004-09-27</c:v>
                </c:pt>
                <c:pt idx="598">
                  <c:v>2004-09-28</c:v>
                </c:pt>
                <c:pt idx="599">
                  <c:v>2004-09-29</c:v>
                </c:pt>
                <c:pt idx="600">
                  <c:v>2004-09-30</c:v>
                </c:pt>
                <c:pt idx="601">
                  <c:v>2004-10-08</c:v>
                </c:pt>
                <c:pt idx="602">
                  <c:v>2004-10-11</c:v>
                </c:pt>
                <c:pt idx="603">
                  <c:v>2004-10-12</c:v>
                </c:pt>
                <c:pt idx="604">
                  <c:v>2004-10-13</c:v>
                </c:pt>
                <c:pt idx="605">
                  <c:v>2004-10-14</c:v>
                </c:pt>
                <c:pt idx="606">
                  <c:v>2004-10-15</c:v>
                </c:pt>
                <c:pt idx="607">
                  <c:v>2004-10-18</c:v>
                </c:pt>
                <c:pt idx="608">
                  <c:v>2004-10-19</c:v>
                </c:pt>
                <c:pt idx="609">
                  <c:v>2004-10-20</c:v>
                </c:pt>
                <c:pt idx="610">
                  <c:v>2004-10-21</c:v>
                </c:pt>
                <c:pt idx="611">
                  <c:v>2004-10-22</c:v>
                </c:pt>
                <c:pt idx="612">
                  <c:v>2004-10-25</c:v>
                </c:pt>
                <c:pt idx="613">
                  <c:v>2004-10-26</c:v>
                </c:pt>
                <c:pt idx="614">
                  <c:v>2004-10-27</c:v>
                </c:pt>
                <c:pt idx="615">
                  <c:v>2004-10-28</c:v>
                </c:pt>
                <c:pt idx="616">
                  <c:v>2004-10-29</c:v>
                </c:pt>
                <c:pt idx="617">
                  <c:v>2004-11-01</c:v>
                </c:pt>
                <c:pt idx="618">
                  <c:v>2004-11-02</c:v>
                </c:pt>
                <c:pt idx="619">
                  <c:v>2004-11-03</c:v>
                </c:pt>
                <c:pt idx="620">
                  <c:v>2004-11-04</c:v>
                </c:pt>
                <c:pt idx="621">
                  <c:v>2004-11-05</c:v>
                </c:pt>
                <c:pt idx="622">
                  <c:v>2004-11-08</c:v>
                </c:pt>
                <c:pt idx="623">
                  <c:v>2004-11-09</c:v>
                </c:pt>
                <c:pt idx="624">
                  <c:v>2004-11-10</c:v>
                </c:pt>
                <c:pt idx="625">
                  <c:v>2004-11-11</c:v>
                </c:pt>
                <c:pt idx="626">
                  <c:v>2004-11-12</c:v>
                </c:pt>
                <c:pt idx="627">
                  <c:v>2004-11-15</c:v>
                </c:pt>
                <c:pt idx="628">
                  <c:v>2004-11-16</c:v>
                </c:pt>
                <c:pt idx="629">
                  <c:v>2004-11-17</c:v>
                </c:pt>
                <c:pt idx="630">
                  <c:v>2004-11-18</c:v>
                </c:pt>
                <c:pt idx="631">
                  <c:v>2004-11-19</c:v>
                </c:pt>
                <c:pt idx="632">
                  <c:v>2004-11-22</c:v>
                </c:pt>
                <c:pt idx="633">
                  <c:v>2004-11-23</c:v>
                </c:pt>
                <c:pt idx="634">
                  <c:v>2004-11-24</c:v>
                </c:pt>
                <c:pt idx="635">
                  <c:v>2004-11-25</c:v>
                </c:pt>
                <c:pt idx="636">
                  <c:v>2004-11-26</c:v>
                </c:pt>
                <c:pt idx="637">
                  <c:v>2004-11-29</c:v>
                </c:pt>
                <c:pt idx="638">
                  <c:v>2004-11-30</c:v>
                </c:pt>
                <c:pt idx="639">
                  <c:v>2004-12-01</c:v>
                </c:pt>
                <c:pt idx="640">
                  <c:v>2004-12-02</c:v>
                </c:pt>
                <c:pt idx="641">
                  <c:v>2004-12-03</c:v>
                </c:pt>
                <c:pt idx="642">
                  <c:v>2004-12-06</c:v>
                </c:pt>
                <c:pt idx="643">
                  <c:v>2004-12-07</c:v>
                </c:pt>
                <c:pt idx="644">
                  <c:v>2004-12-08</c:v>
                </c:pt>
                <c:pt idx="645">
                  <c:v>2004-12-09</c:v>
                </c:pt>
                <c:pt idx="646">
                  <c:v>2004-12-10</c:v>
                </c:pt>
                <c:pt idx="647">
                  <c:v>2004-12-13</c:v>
                </c:pt>
                <c:pt idx="648">
                  <c:v>2004-12-14</c:v>
                </c:pt>
                <c:pt idx="649">
                  <c:v>2004-12-15</c:v>
                </c:pt>
                <c:pt idx="650">
                  <c:v>2004-12-16</c:v>
                </c:pt>
                <c:pt idx="651">
                  <c:v>2004-12-17</c:v>
                </c:pt>
                <c:pt idx="652">
                  <c:v>2004-12-20</c:v>
                </c:pt>
                <c:pt idx="653">
                  <c:v>2004-12-21</c:v>
                </c:pt>
                <c:pt idx="654">
                  <c:v>2004-12-22</c:v>
                </c:pt>
                <c:pt idx="655">
                  <c:v>2004-12-23</c:v>
                </c:pt>
                <c:pt idx="656">
                  <c:v>2004-12-24</c:v>
                </c:pt>
                <c:pt idx="657">
                  <c:v>2004-12-27</c:v>
                </c:pt>
                <c:pt idx="658">
                  <c:v>2004-12-28</c:v>
                </c:pt>
                <c:pt idx="659">
                  <c:v>2004-12-29</c:v>
                </c:pt>
                <c:pt idx="660">
                  <c:v>2004-12-30</c:v>
                </c:pt>
                <c:pt idx="661">
                  <c:v>2004-12-31</c:v>
                </c:pt>
                <c:pt idx="662">
                  <c:v>2005-01-04</c:v>
                </c:pt>
                <c:pt idx="663">
                  <c:v>2005-01-05</c:v>
                </c:pt>
                <c:pt idx="664">
                  <c:v>2005-01-06</c:v>
                </c:pt>
                <c:pt idx="665">
                  <c:v>2005-01-07</c:v>
                </c:pt>
                <c:pt idx="666">
                  <c:v>2005-01-10</c:v>
                </c:pt>
                <c:pt idx="667">
                  <c:v>2005-01-11</c:v>
                </c:pt>
                <c:pt idx="668">
                  <c:v>2005-01-12</c:v>
                </c:pt>
                <c:pt idx="669">
                  <c:v>2005-01-13</c:v>
                </c:pt>
                <c:pt idx="670">
                  <c:v>2005-01-14</c:v>
                </c:pt>
                <c:pt idx="671">
                  <c:v>2005-01-17</c:v>
                </c:pt>
                <c:pt idx="672">
                  <c:v>2005-01-18</c:v>
                </c:pt>
                <c:pt idx="673">
                  <c:v>2005-01-19</c:v>
                </c:pt>
                <c:pt idx="674">
                  <c:v>2005-01-20</c:v>
                </c:pt>
                <c:pt idx="675">
                  <c:v>2005-01-21</c:v>
                </c:pt>
                <c:pt idx="676">
                  <c:v>2005-01-24</c:v>
                </c:pt>
                <c:pt idx="677">
                  <c:v>2005-01-25</c:v>
                </c:pt>
                <c:pt idx="678">
                  <c:v>2005-01-26</c:v>
                </c:pt>
                <c:pt idx="679">
                  <c:v>2005-01-27</c:v>
                </c:pt>
                <c:pt idx="680">
                  <c:v>2005-01-28</c:v>
                </c:pt>
                <c:pt idx="681">
                  <c:v>2005-01-31</c:v>
                </c:pt>
                <c:pt idx="682">
                  <c:v>2005-02-01</c:v>
                </c:pt>
                <c:pt idx="683">
                  <c:v>2005-02-02</c:v>
                </c:pt>
                <c:pt idx="684">
                  <c:v>2005-02-03</c:v>
                </c:pt>
                <c:pt idx="685">
                  <c:v>2005-02-04</c:v>
                </c:pt>
                <c:pt idx="686">
                  <c:v>2005-02-16</c:v>
                </c:pt>
                <c:pt idx="687">
                  <c:v>2005-02-17</c:v>
                </c:pt>
                <c:pt idx="688">
                  <c:v>2005-02-18</c:v>
                </c:pt>
                <c:pt idx="689">
                  <c:v>2005-02-21</c:v>
                </c:pt>
                <c:pt idx="690">
                  <c:v>2005-02-22</c:v>
                </c:pt>
                <c:pt idx="691">
                  <c:v>2005-02-23</c:v>
                </c:pt>
                <c:pt idx="692">
                  <c:v>2005-02-24</c:v>
                </c:pt>
                <c:pt idx="693">
                  <c:v>2005-02-25</c:v>
                </c:pt>
                <c:pt idx="694">
                  <c:v>2005-02-28</c:v>
                </c:pt>
                <c:pt idx="695">
                  <c:v>2005-03-01</c:v>
                </c:pt>
                <c:pt idx="696">
                  <c:v>2005-03-02</c:v>
                </c:pt>
                <c:pt idx="697">
                  <c:v>2005-03-03</c:v>
                </c:pt>
                <c:pt idx="698">
                  <c:v>2005-03-04</c:v>
                </c:pt>
                <c:pt idx="699">
                  <c:v>2005-03-07</c:v>
                </c:pt>
                <c:pt idx="700">
                  <c:v>2005-03-08</c:v>
                </c:pt>
                <c:pt idx="701">
                  <c:v>2005-03-09</c:v>
                </c:pt>
                <c:pt idx="702">
                  <c:v>2005-03-10</c:v>
                </c:pt>
                <c:pt idx="703">
                  <c:v>2005-03-11</c:v>
                </c:pt>
                <c:pt idx="704">
                  <c:v>2005-03-14</c:v>
                </c:pt>
                <c:pt idx="705">
                  <c:v>2005-03-15</c:v>
                </c:pt>
                <c:pt idx="706">
                  <c:v>2005-03-16</c:v>
                </c:pt>
                <c:pt idx="707">
                  <c:v>2005-03-17</c:v>
                </c:pt>
                <c:pt idx="708">
                  <c:v>2005-03-18</c:v>
                </c:pt>
                <c:pt idx="709">
                  <c:v>2005-03-21</c:v>
                </c:pt>
                <c:pt idx="710">
                  <c:v>2005-03-22</c:v>
                </c:pt>
                <c:pt idx="711">
                  <c:v>2005-03-23</c:v>
                </c:pt>
                <c:pt idx="712">
                  <c:v>2005-03-24</c:v>
                </c:pt>
                <c:pt idx="713">
                  <c:v>2005-03-25</c:v>
                </c:pt>
                <c:pt idx="714">
                  <c:v>2005-03-28</c:v>
                </c:pt>
                <c:pt idx="715">
                  <c:v>2005-03-29</c:v>
                </c:pt>
                <c:pt idx="716">
                  <c:v>2005-03-30</c:v>
                </c:pt>
                <c:pt idx="717">
                  <c:v>2005-03-31</c:v>
                </c:pt>
                <c:pt idx="718">
                  <c:v>2005-04-01</c:v>
                </c:pt>
                <c:pt idx="719">
                  <c:v>2005-04-04</c:v>
                </c:pt>
                <c:pt idx="720">
                  <c:v>2005-04-05</c:v>
                </c:pt>
                <c:pt idx="721">
                  <c:v>2005-04-06</c:v>
                </c:pt>
                <c:pt idx="722">
                  <c:v>2005-04-07</c:v>
                </c:pt>
                <c:pt idx="723">
                  <c:v>2005-04-08</c:v>
                </c:pt>
                <c:pt idx="724">
                  <c:v>2005-04-11</c:v>
                </c:pt>
                <c:pt idx="725">
                  <c:v>2005-04-12</c:v>
                </c:pt>
                <c:pt idx="726">
                  <c:v>2005-04-13</c:v>
                </c:pt>
                <c:pt idx="727">
                  <c:v>2005-04-14</c:v>
                </c:pt>
                <c:pt idx="728">
                  <c:v>2005-04-15</c:v>
                </c:pt>
                <c:pt idx="729">
                  <c:v>2005-04-18</c:v>
                </c:pt>
                <c:pt idx="730">
                  <c:v>2005-04-19</c:v>
                </c:pt>
                <c:pt idx="731">
                  <c:v>2005-04-20</c:v>
                </c:pt>
                <c:pt idx="732">
                  <c:v>2005-04-21</c:v>
                </c:pt>
                <c:pt idx="733">
                  <c:v>2005-04-22</c:v>
                </c:pt>
                <c:pt idx="734">
                  <c:v>2005-04-25</c:v>
                </c:pt>
                <c:pt idx="735">
                  <c:v>2005-04-26</c:v>
                </c:pt>
                <c:pt idx="736">
                  <c:v>2005-04-27</c:v>
                </c:pt>
                <c:pt idx="737">
                  <c:v>2005-04-28</c:v>
                </c:pt>
                <c:pt idx="738">
                  <c:v>2005-04-29</c:v>
                </c:pt>
                <c:pt idx="739">
                  <c:v>2005-05-09</c:v>
                </c:pt>
                <c:pt idx="740">
                  <c:v>2005-05-10</c:v>
                </c:pt>
                <c:pt idx="741">
                  <c:v>2005-05-11</c:v>
                </c:pt>
                <c:pt idx="742">
                  <c:v>2005-05-12</c:v>
                </c:pt>
                <c:pt idx="743">
                  <c:v>2005-05-13</c:v>
                </c:pt>
                <c:pt idx="744">
                  <c:v>2005-05-16</c:v>
                </c:pt>
                <c:pt idx="745">
                  <c:v>2005-05-17</c:v>
                </c:pt>
                <c:pt idx="746">
                  <c:v>2005-05-18</c:v>
                </c:pt>
                <c:pt idx="747">
                  <c:v>2005-05-19</c:v>
                </c:pt>
                <c:pt idx="748">
                  <c:v>2005-05-20</c:v>
                </c:pt>
                <c:pt idx="749">
                  <c:v>2005-05-23</c:v>
                </c:pt>
                <c:pt idx="750">
                  <c:v>2005-05-24</c:v>
                </c:pt>
                <c:pt idx="751">
                  <c:v>2005-05-25</c:v>
                </c:pt>
                <c:pt idx="752">
                  <c:v>2005-05-26</c:v>
                </c:pt>
                <c:pt idx="753">
                  <c:v>2005-05-27</c:v>
                </c:pt>
                <c:pt idx="754">
                  <c:v>2005-05-30</c:v>
                </c:pt>
                <c:pt idx="755">
                  <c:v>2005-05-31</c:v>
                </c:pt>
                <c:pt idx="756">
                  <c:v>2005-06-01</c:v>
                </c:pt>
                <c:pt idx="757">
                  <c:v>2005-06-02</c:v>
                </c:pt>
                <c:pt idx="758">
                  <c:v>2005-06-03</c:v>
                </c:pt>
                <c:pt idx="759">
                  <c:v>2005-06-06</c:v>
                </c:pt>
                <c:pt idx="760">
                  <c:v>2005-06-07</c:v>
                </c:pt>
                <c:pt idx="761">
                  <c:v>2005-06-08</c:v>
                </c:pt>
                <c:pt idx="762">
                  <c:v>2005-06-09</c:v>
                </c:pt>
                <c:pt idx="763">
                  <c:v>2005-06-10</c:v>
                </c:pt>
                <c:pt idx="764">
                  <c:v>2005-06-13</c:v>
                </c:pt>
                <c:pt idx="765">
                  <c:v>2005-06-14</c:v>
                </c:pt>
                <c:pt idx="766">
                  <c:v>2005-06-15</c:v>
                </c:pt>
                <c:pt idx="767">
                  <c:v>2005-06-16</c:v>
                </c:pt>
                <c:pt idx="768">
                  <c:v>2005-06-17</c:v>
                </c:pt>
                <c:pt idx="769">
                  <c:v>2005-06-20</c:v>
                </c:pt>
                <c:pt idx="770">
                  <c:v>2005-06-21</c:v>
                </c:pt>
                <c:pt idx="771">
                  <c:v>2005-06-22</c:v>
                </c:pt>
                <c:pt idx="772">
                  <c:v>2005-06-23</c:v>
                </c:pt>
                <c:pt idx="773">
                  <c:v>2005-06-24</c:v>
                </c:pt>
                <c:pt idx="774">
                  <c:v>2005-06-27</c:v>
                </c:pt>
                <c:pt idx="775">
                  <c:v>2005-06-28</c:v>
                </c:pt>
                <c:pt idx="776">
                  <c:v>2005-06-29</c:v>
                </c:pt>
                <c:pt idx="777">
                  <c:v>2005-06-30</c:v>
                </c:pt>
                <c:pt idx="778">
                  <c:v>2005-07-01</c:v>
                </c:pt>
                <c:pt idx="779">
                  <c:v>2005-07-04</c:v>
                </c:pt>
                <c:pt idx="780">
                  <c:v>2005-07-05</c:v>
                </c:pt>
                <c:pt idx="781">
                  <c:v>2005-07-06</c:v>
                </c:pt>
                <c:pt idx="782">
                  <c:v>2005-07-07</c:v>
                </c:pt>
                <c:pt idx="783">
                  <c:v>2005-07-08</c:v>
                </c:pt>
                <c:pt idx="784">
                  <c:v>2005-07-11</c:v>
                </c:pt>
                <c:pt idx="785">
                  <c:v>2005-07-12</c:v>
                </c:pt>
                <c:pt idx="786">
                  <c:v>2005-07-13</c:v>
                </c:pt>
                <c:pt idx="787">
                  <c:v>2005-07-14</c:v>
                </c:pt>
                <c:pt idx="788">
                  <c:v>2005-07-15</c:v>
                </c:pt>
                <c:pt idx="789">
                  <c:v>2005-07-18</c:v>
                </c:pt>
                <c:pt idx="790">
                  <c:v>2005-07-19</c:v>
                </c:pt>
                <c:pt idx="791">
                  <c:v>2005-07-20</c:v>
                </c:pt>
                <c:pt idx="792">
                  <c:v>2005-07-21</c:v>
                </c:pt>
                <c:pt idx="793">
                  <c:v>2005-07-22</c:v>
                </c:pt>
                <c:pt idx="794">
                  <c:v>2005-07-25</c:v>
                </c:pt>
                <c:pt idx="795">
                  <c:v>2005-07-26</c:v>
                </c:pt>
                <c:pt idx="796">
                  <c:v>2005-07-27</c:v>
                </c:pt>
                <c:pt idx="797">
                  <c:v>2005-07-28</c:v>
                </c:pt>
                <c:pt idx="798">
                  <c:v>2005-07-29</c:v>
                </c:pt>
                <c:pt idx="799">
                  <c:v>2005-08-01</c:v>
                </c:pt>
                <c:pt idx="800">
                  <c:v>2005-08-02</c:v>
                </c:pt>
                <c:pt idx="801">
                  <c:v>2005-08-03</c:v>
                </c:pt>
                <c:pt idx="802">
                  <c:v>2005-08-04</c:v>
                </c:pt>
                <c:pt idx="803">
                  <c:v>2005-08-05</c:v>
                </c:pt>
                <c:pt idx="804">
                  <c:v>2005-08-08</c:v>
                </c:pt>
                <c:pt idx="805">
                  <c:v>2005-08-09</c:v>
                </c:pt>
                <c:pt idx="806">
                  <c:v>2005-08-10</c:v>
                </c:pt>
                <c:pt idx="807">
                  <c:v>2005-08-11</c:v>
                </c:pt>
                <c:pt idx="808">
                  <c:v>2005-08-12</c:v>
                </c:pt>
                <c:pt idx="809">
                  <c:v>2005-08-15</c:v>
                </c:pt>
                <c:pt idx="810">
                  <c:v>2005-08-16</c:v>
                </c:pt>
                <c:pt idx="811">
                  <c:v>2005-08-17</c:v>
                </c:pt>
                <c:pt idx="812">
                  <c:v>2005-08-18</c:v>
                </c:pt>
                <c:pt idx="813">
                  <c:v>2005-08-19</c:v>
                </c:pt>
                <c:pt idx="814">
                  <c:v>2005-08-22</c:v>
                </c:pt>
                <c:pt idx="815">
                  <c:v>2005-08-23</c:v>
                </c:pt>
                <c:pt idx="816">
                  <c:v>2005-08-24</c:v>
                </c:pt>
                <c:pt idx="817">
                  <c:v>2005-08-25</c:v>
                </c:pt>
                <c:pt idx="818">
                  <c:v>2005-08-26</c:v>
                </c:pt>
                <c:pt idx="819">
                  <c:v>2005-08-29</c:v>
                </c:pt>
                <c:pt idx="820">
                  <c:v>2005-08-30</c:v>
                </c:pt>
                <c:pt idx="821">
                  <c:v>2005-08-31</c:v>
                </c:pt>
                <c:pt idx="822">
                  <c:v>2005-09-01</c:v>
                </c:pt>
                <c:pt idx="823">
                  <c:v>2005-09-02</c:v>
                </c:pt>
                <c:pt idx="824">
                  <c:v>2005-09-05</c:v>
                </c:pt>
                <c:pt idx="825">
                  <c:v>2005-09-06</c:v>
                </c:pt>
                <c:pt idx="826">
                  <c:v>2005-09-07</c:v>
                </c:pt>
                <c:pt idx="827">
                  <c:v>2005-09-08</c:v>
                </c:pt>
                <c:pt idx="828">
                  <c:v>2005-09-09</c:v>
                </c:pt>
                <c:pt idx="829">
                  <c:v>2005-09-12</c:v>
                </c:pt>
                <c:pt idx="830">
                  <c:v>2005-09-13</c:v>
                </c:pt>
                <c:pt idx="831">
                  <c:v>2005-09-14</c:v>
                </c:pt>
                <c:pt idx="832">
                  <c:v>2005-09-15</c:v>
                </c:pt>
                <c:pt idx="833">
                  <c:v>2005-09-16</c:v>
                </c:pt>
                <c:pt idx="834">
                  <c:v>2005-09-19</c:v>
                </c:pt>
                <c:pt idx="835">
                  <c:v>2005-09-20</c:v>
                </c:pt>
                <c:pt idx="836">
                  <c:v>2005-09-21</c:v>
                </c:pt>
                <c:pt idx="837">
                  <c:v>2005-09-22</c:v>
                </c:pt>
                <c:pt idx="838">
                  <c:v>2005-09-23</c:v>
                </c:pt>
                <c:pt idx="839">
                  <c:v>2005-09-26</c:v>
                </c:pt>
                <c:pt idx="840">
                  <c:v>2005-09-27</c:v>
                </c:pt>
                <c:pt idx="841">
                  <c:v>2005-09-28</c:v>
                </c:pt>
                <c:pt idx="842">
                  <c:v>2005-09-29</c:v>
                </c:pt>
                <c:pt idx="843">
                  <c:v>2005-09-30</c:v>
                </c:pt>
                <c:pt idx="844">
                  <c:v>2005-10-10</c:v>
                </c:pt>
                <c:pt idx="845">
                  <c:v>2005-10-11</c:v>
                </c:pt>
                <c:pt idx="846">
                  <c:v>2005-10-12</c:v>
                </c:pt>
                <c:pt idx="847">
                  <c:v>2005-10-13</c:v>
                </c:pt>
                <c:pt idx="848">
                  <c:v>2005-10-14</c:v>
                </c:pt>
                <c:pt idx="849">
                  <c:v>2005-10-17</c:v>
                </c:pt>
                <c:pt idx="850">
                  <c:v>2005-10-18</c:v>
                </c:pt>
                <c:pt idx="851">
                  <c:v>2005-10-19</c:v>
                </c:pt>
                <c:pt idx="852">
                  <c:v>2005-10-20</c:v>
                </c:pt>
                <c:pt idx="853">
                  <c:v>2005-10-21</c:v>
                </c:pt>
                <c:pt idx="854">
                  <c:v>2005-10-24</c:v>
                </c:pt>
                <c:pt idx="855">
                  <c:v>2005-10-25</c:v>
                </c:pt>
                <c:pt idx="856">
                  <c:v>2005-10-26</c:v>
                </c:pt>
                <c:pt idx="857">
                  <c:v>2005-10-27</c:v>
                </c:pt>
                <c:pt idx="858">
                  <c:v>2005-10-28</c:v>
                </c:pt>
                <c:pt idx="859">
                  <c:v>2005-10-31</c:v>
                </c:pt>
                <c:pt idx="860">
                  <c:v>2005-11-01</c:v>
                </c:pt>
                <c:pt idx="861">
                  <c:v>2005-11-02</c:v>
                </c:pt>
                <c:pt idx="862">
                  <c:v>2005-11-03</c:v>
                </c:pt>
                <c:pt idx="863">
                  <c:v>2005-11-04</c:v>
                </c:pt>
                <c:pt idx="864">
                  <c:v>2005-11-07</c:v>
                </c:pt>
                <c:pt idx="865">
                  <c:v>2005-11-08</c:v>
                </c:pt>
                <c:pt idx="866">
                  <c:v>2005-11-09</c:v>
                </c:pt>
                <c:pt idx="867">
                  <c:v>2005-11-10</c:v>
                </c:pt>
                <c:pt idx="868">
                  <c:v>2005-11-11</c:v>
                </c:pt>
                <c:pt idx="869">
                  <c:v>2005-11-14</c:v>
                </c:pt>
                <c:pt idx="870">
                  <c:v>2005-11-15</c:v>
                </c:pt>
                <c:pt idx="871">
                  <c:v>2005-11-16</c:v>
                </c:pt>
                <c:pt idx="872">
                  <c:v>2005-11-17</c:v>
                </c:pt>
                <c:pt idx="873">
                  <c:v>2005-11-18</c:v>
                </c:pt>
                <c:pt idx="874">
                  <c:v>2005-11-21</c:v>
                </c:pt>
                <c:pt idx="875">
                  <c:v>2005-11-22</c:v>
                </c:pt>
                <c:pt idx="876">
                  <c:v>2005-11-23</c:v>
                </c:pt>
                <c:pt idx="877">
                  <c:v>2005-11-24</c:v>
                </c:pt>
                <c:pt idx="878">
                  <c:v>2005-11-25</c:v>
                </c:pt>
                <c:pt idx="879">
                  <c:v>2005-11-28</c:v>
                </c:pt>
                <c:pt idx="880">
                  <c:v>2005-11-29</c:v>
                </c:pt>
                <c:pt idx="881">
                  <c:v>2005-11-30</c:v>
                </c:pt>
                <c:pt idx="882">
                  <c:v>2005-12-01</c:v>
                </c:pt>
                <c:pt idx="883">
                  <c:v>2005-12-02</c:v>
                </c:pt>
                <c:pt idx="884">
                  <c:v>2005-12-05</c:v>
                </c:pt>
                <c:pt idx="885">
                  <c:v>2005-12-06</c:v>
                </c:pt>
                <c:pt idx="886">
                  <c:v>2005-12-07</c:v>
                </c:pt>
                <c:pt idx="887">
                  <c:v>2005-12-08</c:v>
                </c:pt>
                <c:pt idx="888">
                  <c:v>2005-12-09</c:v>
                </c:pt>
                <c:pt idx="889">
                  <c:v>2005-12-12</c:v>
                </c:pt>
                <c:pt idx="890">
                  <c:v>2005-12-13</c:v>
                </c:pt>
                <c:pt idx="891">
                  <c:v>2005-12-14</c:v>
                </c:pt>
                <c:pt idx="892">
                  <c:v>2005-12-15</c:v>
                </c:pt>
                <c:pt idx="893">
                  <c:v>2005-12-16</c:v>
                </c:pt>
                <c:pt idx="894">
                  <c:v>2005-12-19</c:v>
                </c:pt>
                <c:pt idx="895">
                  <c:v>2005-12-20</c:v>
                </c:pt>
                <c:pt idx="896">
                  <c:v>2005-12-21</c:v>
                </c:pt>
                <c:pt idx="897">
                  <c:v>2005-12-22</c:v>
                </c:pt>
                <c:pt idx="898">
                  <c:v>2005-12-23</c:v>
                </c:pt>
                <c:pt idx="899">
                  <c:v>2005-12-26</c:v>
                </c:pt>
                <c:pt idx="900">
                  <c:v>2005-12-27</c:v>
                </c:pt>
                <c:pt idx="901">
                  <c:v>2005-12-28</c:v>
                </c:pt>
                <c:pt idx="902">
                  <c:v>2005-12-29</c:v>
                </c:pt>
                <c:pt idx="903">
                  <c:v>2005-12-30</c:v>
                </c:pt>
                <c:pt idx="904">
                  <c:v>2006-01-04</c:v>
                </c:pt>
                <c:pt idx="905">
                  <c:v>2006-01-05</c:v>
                </c:pt>
                <c:pt idx="906">
                  <c:v>2006-01-06</c:v>
                </c:pt>
                <c:pt idx="907">
                  <c:v>2006-01-09</c:v>
                </c:pt>
                <c:pt idx="908">
                  <c:v>2006-01-10</c:v>
                </c:pt>
                <c:pt idx="909">
                  <c:v>2006-01-11</c:v>
                </c:pt>
                <c:pt idx="910">
                  <c:v>2006-01-12</c:v>
                </c:pt>
                <c:pt idx="911">
                  <c:v>2006-01-13</c:v>
                </c:pt>
                <c:pt idx="912">
                  <c:v>2006-01-16</c:v>
                </c:pt>
                <c:pt idx="913">
                  <c:v>2006-01-17</c:v>
                </c:pt>
                <c:pt idx="914">
                  <c:v>2006-01-18</c:v>
                </c:pt>
                <c:pt idx="915">
                  <c:v>2006-01-19</c:v>
                </c:pt>
                <c:pt idx="916">
                  <c:v>2006-01-20</c:v>
                </c:pt>
                <c:pt idx="917">
                  <c:v>2006-01-23</c:v>
                </c:pt>
                <c:pt idx="918">
                  <c:v>2006-01-24</c:v>
                </c:pt>
                <c:pt idx="919">
                  <c:v>2006-01-25</c:v>
                </c:pt>
                <c:pt idx="920">
                  <c:v>2006-02-06</c:v>
                </c:pt>
                <c:pt idx="921">
                  <c:v>2006-02-07</c:v>
                </c:pt>
                <c:pt idx="922">
                  <c:v>2006-02-08</c:v>
                </c:pt>
                <c:pt idx="923">
                  <c:v>2006-02-09</c:v>
                </c:pt>
                <c:pt idx="924">
                  <c:v>2006-02-10</c:v>
                </c:pt>
                <c:pt idx="925">
                  <c:v>2006-02-13</c:v>
                </c:pt>
                <c:pt idx="926">
                  <c:v>2006-02-14</c:v>
                </c:pt>
                <c:pt idx="927">
                  <c:v>2006-02-15</c:v>
                </c:pt>
                <c:pt idx="928">
                  <c:v>2006-02-16</c:v>
                </c:pt>
                <c:pt idx="929">
                  <c:v>2006-02-17</c:v>
                </c:pt>
                <c:pt idx="930">
                  <c:v>2006-02-20</c:v>
                </c:pt>
                <c:pt idx="931">
                  <c:v>2006-02-21</c:v>
                </c:pt>
                <c:pt idx="932">
                  <c:v>2006-02-22</c:v>
                </c:pt>
                <c:pt idx="933">
                  <c:v>2006-02-23</c:v>
                </c:pt>
                <c:pt idx="934">
                  <c:v>2006-02-24</c:v>
                </c:pt>
                <c:pt idx="935">
                  <c:v>2006-02-27</c:v>
                </c:pt>
                <c:pt idx="936">
                  <c:v>2006-02-28</c:v>
                </c:pt>
                <c:pt idx="937">
                  <c:v>2006-03-01</c:v>
                </c:pt>
                <c:pt idx="938">
                  <c:v>2006-03-02</c:v>
                </c:pt>
                <c:pt idx="939">
                  <c:v>2006-03-03</c:v>
                </c:pt>
                <c:pt idx="940">
                  <c:v>2006-03-06</c:v>
                </c:pt>
                <c:pt idx="941">
                  <c:v>2006-03-07</c:v>
                </c:pt>
                <c:pt idx="942">
                  <c:v>2006-03-08</c:v>
                </c:pt>
                <c:pt idx="943">
                  <c:v>2006-03-09</c:v>
                </c:pt>
                <c:pt idx="944">
                  <c:v>2006-03-10</c:v>
                </c:pt>
                <c:pt idx="945">
                  <c:v>2006-03-13</c:v>
                </c:pt>
                <c:pt idx="946">
                  <c:v>2006-03-14</c:v>
                </c:pt>
                <c:pt idx="947">
                  <c:v>2006-03-15</c:v>
                </c:pt>
                <c:pt idx="948">
                  <c:v>2006-03-16</c:v>
                </c:pt>
                <c:pt idx="949">
                  <c:v>2006-03-17</c:v>
                </c:pt>
                <c:pt idx="950">
                  <c:v>2006-03-20</c:v>
                </c:pt>
                <c:pt idx="951">
                  <c:v>2006-03-21</c:v>
                </c:pt>
                <c:pt idx="952">
                  <c:v>2006-03-22</c:v>
                </c:pt>
                <c:pt idx="953">
                  <c:v>2006-03-23</c:v>
                </c:pt>
                <c:pt idx="954">
                  <c:v>2006-03-24</c:v>
                </c:pt>
                <c:pt idx="955">
                  <c:v>2006-03-27</c:v>
                </c:pt>
                <c:pt idx="956">
                  <c:v>2006-03-28</c:v>
                </c:pt>
                <c:pt idx="957">
                  <c:v>2006-03-29</c:v>
                </c:pt>
                <c:pt idx="958">
                  <c:v>2006-03-30</c:v>
                </c:pt>
                <c:pt idx="959">
                  <c:v>2006-03-31</c:v>
                </c:pt>
                <c:pt idx="960">
                  <c:v>2006-04-03</c:v>
                </c:pt>
                <c:pt idx="961">
                  <c:v>2006-04-04</c:v>
                </c:pt>
                <c:pt idx="962">
                  <c:v>2006-04-05</c:v>
                </c:pt>
                <c:pt idx="963">
                  <c:v>2006-04-06</c:v>
                </c:pt>
                <c:pt idx="964">
                  <c:v>2006-04-07</c:v>
                </c:pt>
                <c:pt idx="965">
                  <c:v>2006-04-10</c:v>
                </c:pt>
                <c:pt idx="966">
                  <c:v>2006-04-11</c:v>
                </c:pt>
                <c:pt idx="967">
                  <c:v>2006-04-12</c:v>
                </c:pt>
                <c:pt idx="968">
                  <c:v>2006-04-13</c:v>
                </c:pt>
                <c:pt idx="969">
                  <c:v>2006-04-14</c:v>
                </c:pt>
                <c:pt idx="970">
                  <c:v>2006-04-17</c:v>
                </c:pt>
                <c:pt idx="971">
                  <c:v>2006-04-18</c:v>
                </c:pt>
                <c:pt idx="972">
                  <c:v>2006-04-19</c:v>
                </c:pt>
                <c:pt idx="973">
                  <c:v>2006-04-20</c:v>
                </c:pt>
                <c:pt idx="974">
                  <c:v>2006-04-21</c:v>
                </c:pt>
                <c:pt idx="975">
                  <c:v>2006-04-24</c:v>
                </c:pt>
                <c:pt idx="976">
                  <c:v>2006-04-25</c:v>
                </c:pt>
                <c:pt idx="977">
                  <c:v>2006-04-26</c:v>
                </c:pt>
                <c:pt idx="978">
                  <c:v>2006-04-27</c:v>
                </c:pt>
                <c:pt idx="979">
                  <c:v>2006-04-28</c:v>
                </c:pt>
                <c:pt idx="980">
                  <c:v>2006-05-08</c:v>
                </c:pt>
                <c:pt idx="981">
                  <c:v>2006-05-09</c:v>
                </c:pt>
                <c:pt idx="982">
                  <c:v>2006-05-10</c:v>
                </c:pt>
                <c:pt idx="983">
                  <c:v>2006-05-11</c:v>
                </c:pt>
                <c:pt idx="984">
                  <c:v>2006-05-12</c:v>
                </c:pt>
                <c:pt idx="985">
                  <c:v>2006-05-15</c:v>
                </c:pt>
                <c:pt idx="986">
                  <c:v>2006-05-16</c:v>
                </c:pt>
                <c:pt idx="987">
                  <c:v>2006-05-17</c:v>
                </c:pt>
                <c:pt idx="988">
                  <c:v>2006-05-18</c:v>
                </c:pt>
                <c:pt idx="989">
                  <c:v>2006-05-19</c:v>
                </c:pt>
                <c:pt idx="990">
                  <c:v>2006-05-22</c:v>
                </c:pt>
                <c:pt idx="991">
                  <c:v>2006-05-23</c:v>
                </c:pt>
                <c:pt idx="992">
                  <c:v>2006-05-24</c:v>
                </c:pt>
                <c:pt idx="993">
                  <c:v>2006-05-25</c:v>
                </c:pt>
                <c:pt idx="994">
                  <c:v>2006-05-26</c:v>
                </c:pt>
                <c:pt idx="995">
                  <c:v>2006-05-29</c:v>
                </c:pt>
                <c:pt idx="996">
                  <c:v>2006-05-30</c:v>
                </c:pt>
                <c:pt idx="997">
                  <c:v>2006-05-31</c:v>
                </c:pt>
                <c:pt idx="998">
                  <c:v>2006-06-01</c:v>
                </c:pt>
                <c:pt idx="999">
                  <c:v>2006-06-02</c:v>
                </c:pt>
                <c:pt idx="1000">
                  <c:v>2006-06-05</c:v>
                </c:pt>
                <c:pt idx="1001">
                  <c:v>2006-06-06</c:v>
                </c:pt>
                <c:pt idx="1002">
                  <c:v>2006-06-07</c:v>
                </c:pt>
                <c:pt idx="1003">
                  <c:v>2006-06-08</c:v>
                </c:pt>
                <c:pt idx="1004">
                  <c:v>2006-06-09</c:v>
                </c:pt>
                <c:pt idx="1005">
                  <c:v>2006-06-12</c:v>
                </c:pt>
                <c:pt idx="1006">
                  <c:v>2006-06-13</c:v>
                </c:pt>
                <c:pt idx="1007">
                  <c:v>2006-06-14</c:v>
                </c:pt>
                <c:pt idx="1008">
                  <c:v>2006-06-15</c:v>
                </c:pt>
                <c:pt idx="1009">
                  <c:v>2006-06-16</c:v>
                </c:pt>
                <c:pt idx="1010">
                  <c:v>2006-06-19</c:v>
                </c:pt>
                <c:pt idx="1011">
                  <c:v>2006-06-20</c:v>
                </c:pt>
                <c:pt idx="1012">
                  <c:v>2006-06-21</c:v>
                </c:pt>
                <c:pt idx="1013">
                  <c:v>2006-06-22</c:v>
                </c:pt>
                <c:pt idx="1014">
                  <c:v>2006-06-23</c:v>
                </c:pt>
                <c:pt idx="1015">
                  <c:v>2006-06-26</c:v>
                </c:pt>
                <c:pt idx="1016">
                  <c:v>2006-06-27</c:v>
                </c:pt>
                <c:pt idx="1017">
                  <c:v>2006-06-28</c:v>
                </c:pt>
                <c:pt idx="1018">
                  <c:v>2006-06-29</c:v>
                </c:pt>
                <c:pt idx="1019">
                  <c:v>2006-06-30</c:v>
                </c:pt>
                <c:pt idx="1020">
                  <c:v>2006-07-03</c:v>
                </c:pt>
                <c:pt idx="1021">
                  <c:v>2006-07-04</c:v>
                </c:pt>
                <c:pt idx="1022">
                  <c:v>2006-07-05</c:v>
                </c:pt>
                <c:pt idx="1023">
                  <c:v>2006-07-06</c:v>
                </c:pt>
                <c:pt idx="1024">
                  <c:v>2006-07-07</c:v>
                </c:pt>
                <c:pt idx="1025">
                  <c:v>2006-07-10</c:v>
                </c:pt>
                <c:pt idx="1026">
                  <c:v>2006-07-11</c:v>
                </c:pt>
                <c:pt idx="1027">
                  <c:v>2006-07-12</c:v>
                </c:pt>
                <c:pt idx="1028">
                  <c:v>2006-07-13</c:v>
                </c:pt>
                <c:pt idx="1029">
                  <c:v>2006-07-14</c:v>
                </c:pt>
                <c:pt idx="1030">
                  <c:v>2006-07-17</c:v>
                </c:pt>
                <c:pt idx="1031">
                  <c:v>2006-07-18</c:v>
                </c:pt>
                <c:pt idx="1032">
                  <c:v>2006-07-19</c:v>
                </c:pt>
                <c:pt idx="1033">
                  <c:v>2006-07-20</c:v>
                </c:pt>
                <c:pt idx="1034">
                  <c:v>2006-07-21</c:v>
                </c:pt>
                <c:pt idx="1035">
                  <c:v>2006-07-24</c:v>
                </c:pt>
                <c:pt idx="1036">
                  <c:v>2006-07-25</c:v>
                </c:pt>
                <c:pt idx="1037">
                  <c:v>2006-07-26</c:v>
                </c:pt>
                <c:pt idx="1038">
                  <c:v>2006-07-27</c:v>
                </c:pt>
                <c:pt idx="1039">
                  <c:v>2006-07-28</c:v>
                </c:pt>
                <c:pt idx="1040">
                  <c:v>2006-07-31</c:v>
                </c:pt>
                <c:pt idx="1041">
                  <c:v>2006-08-01</c:v>
                </c:pt>
                <c:pt idx="1042">
                  <c:v>2006-08-02</c:v>
                </c:pt>
                <c:pt idx="1043">
                  <c:v>2006-08-03</c:v>
                </c:pt>
                <c:pt idx="1044">
                  <c:v>2006-08-04</c:v>
                </c:pt>
                <c:pt idx="1045">
                  <c:v>2006-08-07</c:v>
                </c:pt>
                <c:pt idx="1046">
                  <c:v>2006-08-08</c:v>
                </c:pt>
                <c:pt idx="1047">
                  <c:v>2006-08-09</c:v>
                </c:pt>
                <c:pt idx="1048">
                  <c:v>2006-08-10</c:v>
                </c:pt>
                <c:pt idx="1049">
                  <c:v>2006-08-11</c:v>
                </c:pt>
                <c:pt idx="1050">
                  <c:v>2006-08-14</c:v>
                </c:pt>
                <c:pt idx="1051">
                  <c:v>2006-08-15</c:v>
                </c:pt>
                <c:pt idx="1052">
                  <c:v>2006-08-16</c:v>
                </c:pt>
                <c:pt idx="1053">
                  <c:v>2006-08-17</c:v>
                </c:pt>
                <c:pt idx="1054">
                  <c:v>2006-08-18</c:v>
                </c:pt>
                <c:pt idx="1055">
                  <c:v>2006-08-21</c:v>
                </c:pt>
                <c:pt idx="1056">
                  <c:v>2006-08-22</c:v>
                </c:pt>
                <c:pt idx="1057">
                  <c:v>2006-08-23</c:v>
                </c:pt>
                <c:pt idx="1058">
                  <c:v>2006-08-24</c:v>
                </c:pt>
                <c:pt idx="1059">
                  <c:v>2006-08-25</c:v>
                </c:pt>
                <c:pt idx="1060">
                  <c:v>2006-08-28</c:v>
                </c:pt>
                <c:pt idx="1061">
                  <c:v>2006-08-29</c:v>
                </c:pt>
                <c:pt idx="1062">
                  <c:v>2006-08-30</c:v>
                </c:pt>
                <c:pt idx="1063">
                  <c:v>2006-08-31</c:v>
                </c:pt>
                <c:pt idx="1064">
                  <c:v>2006-09-01</c:v>
                </c:pt>
                <c:pt idx="1065">
                  <c:v>2006-09-04</c:v>
                </c:pt>
                <c:pt idx="1066">
                  <c:v>2006-09-05</c:v>
                </c:pt>
                <c:pt idx="1067">
                  <c:v>2006-09-06</c:v>
                </c:pt>
                <c:pt idx="1068">
                  <c:v>2006-09-07</c:v>
                </c:pt>
                <c:pt idx="1069">
                  <c:v>2006-09-08</c:v>
                </c:pt>
                <c:pt idx="1070">
                  <c:v>2006-09-11</c:v>
                </c:pt>
                <c:pt idx="1071">
                  <c:v>2006-09-12</c:v>
                </c:pt>
                <c:pt idx="1072">
                  <c:v>2006-09-13</c:v>
                </c:pt>
                <c:pt idx="1073">
                  <c:v>2006-09-14</c:v>
                </c:pt>
                <c:pt idx="1074">
                  <c:v>2006-09-15</c:v>
                </c:pt>
                <c:pt idx="1075">
                  <c:v>2006-09-18</c:v>
                </c:pt>
                <c:pt idx="1076">
                  <c:v>2006-09-19</c:v>
                </c:pt>
                <c:pt idx="1077">
                  <c:v>2006-09-20</c:v>
                </c:pt>
                <c:pt idx="1078">
                  <c:v>2006-09-21</c:v>
                </c:pt>
                <c:pt idx="1079">
                  <c:v>2006-09-22</c:v>
                </c:pt>
                <c:pt idx="1080">
                  <c:v>2006-09-25</c:v>
                </c:pt>
                <c:pt idx="1081">
                  <c:v>2006-09-26</c:v>
                </c:pt>
                <c:pt idx="1082">
                  <c:v>2006-09-27</c:v>
                </c:pt>
                <c:pt idx="1083">
                  <c:v>2006-09-28</c:v>
                </c:pt>
                <c:pt idx="1084">
                  <c:v>2006-09-29</c:v>
                </c:pt>
                <c:pt idx="1085">
                  <c:v>2006-10-09</c:v>
                </c:pt>
                <c:pt idx="1086">
                  <c:v>2006-10-10</c:v>
                </c:pt>
                <c:pt idx="1087">
                  <c:v>2006-10-11</c:v>
                </c:pt>
                <c:pt idx="1088">
                  <c:v>2006-10-12</c:v>
                </c:pt>
                <c:pt idx="1089">
                  <c:v>2006-10-13</c:v>
                </c:pt>
                <c:pt idx="1090">
                  <c:v>2006-10-16</c:v>
                </c:pt>
                <c:pt idx="1091">
                  <c:v>2006-10-17</c:v>
                </c:pt>
                <c:pt idx="1092">
                  <c:v>2006-10-18</c:v>
                </c:pt>
                <c:pt idx="1093">
                  <c:v>2006-10-19</c:v>
                </c:pt>
                <c:pt idx="1094">
                  <c:v>2006-10-20</c:v>
                </c:pt>
                <c:pt idx="1095">
                  <c:v>2006-10-23</c:v>
                </c:pt>
                <c:pt idx="1096">
                  <c:v>2006-10-24</c:v>
                </c:pt>
                <c:pt idx="1097">
                  <c:v>2006-10-25</c:v>
                </c:pt>
                <c:pt idx="1098">
                  <c:v>2006-10-26</c:v>
                </c:pt>
                <c:pt idx="1099">
                  <c:v>2006-10-27</c:v>
                </c:pt>
                <c:pt idx="1100">
                  <c:v>2006-10-30</c:v>
                </c:pt>
                <c:pt idx="1101">
                  <c:v>2006-10-31</c:v>
                </c:pt>
                <c:pt idx="1102">
                  <c:v>2006-11-01</c:v>
                </c:pt>
                <c:pt idx="1103">
                  <c:v>2006-11-02</c:v>
                </c:pt>
                <c:pt idx="1104">
                  <c:v>2006-11-03</c:v>
                </c:pt>
                <c:pt idx="1105">
                  <c:v>2006-11-06</c:v>
                </c:pt>
                <c:pt idx="1106">
                  <c:v>2006-11-07</c:v>
                </c:pt>
                <c:pt idx="1107">
                  <c:v>2006-11-08</c:v>
                </c:pt>
                <c:pt idx="1108">
                  <c:v>2006-11-09</c:v>
                </c:pt>
                <c:pt idx="1109">
                  <c:v>2006-11-10</c:v>
                </c:pt>
                <c:pt idx="1110">
                  <c:v>2006-11-13</c:v>
                </c:pt>
                <c:pt idx="1111">
                  <c:v>2006-11-14</c:v>
                </c:pt>
                <c:pt idx="1112">
                  <c:v>2006-11-15</c:v>
                </c:pt>
                <c:pt idx="1113">
                  <c:v>2006-11-16</c:v>
                </c:pt>
                <c:pt idx="1114">
                  <c:v>2006-11-17</c:v>
                </c:pt>
                <c:pt idx="1115">
                  <c:v>2006-11-20</c:v>
                </c:pt>
                <c:pt idx="1116">
                  <c:v>2006-11-21</c:v>
                </c:pt>
                <c:pt idx="1117">
                  <c:v>2006-11-22</c:v>
                </c:pt>
                <c:pt idx="1118">
                  <c:v>2006-11-23</c:v>
                </c:pt>
                <c:pt idx="1119">
                  <c:v>2006-11-24</c:v>
                </c:pt>
                <c:pt idx="1120">
                  <c:v>2006-11-27</c:v>
                </c:pt>
                <c:pt idx="1121">
                  <c:v>2006-11-28</c:v>
                </c:pt>
                <c:pt idx="1122">
                  <c:v>2006-11-29</c:v>
                </c:pt>
                <c:pt idx="1123">
                  <c:v>2006-11-30</c:v>
                </c:pt>
                <c:pt idx="1124">
                  <c:v>2006-12-01</c:v>
                </c:pt>
                <c:pt idx="1125">
                  <c:v>2006-12-04</c:v>
                </c:pt>
                <c:pt idx="1126">
                  <c:v>2006-12-05</c:v>
                </c:pt>
                <c:pt idx="1127">
                  <c:v>2006-12-06</c:v>
                </c:pt>
                <c:pt idx="1128">
                  <c:v>2006-12-07</c:v>
                </c:pt>
                <c:pt idx="1129">
                  <c:v>2006-12-08</c:v>
                </c:pt>
                <c:pt idx="1130">
                  <c:v>2006-12-11</c:v>
                </c:pt>
                <c:pt idx="1131">
                  <c:v>2006-12-12</c:v>
                </c:pt>
                <c:pt idx="1132">
                  <c:v>2006-12-13</c:v>
                </c:pt>
                <c:pt idx="1133">
                  <c:v>2006-12-14</c:v>
                </c:pt>
                <c:pt idx="1134">
                  <c:v>2006-12-15</c:v>
                </c:pt>
                <c:pt idx="1135">
                  <c:v>2006-12-18</c:v>
                </c:pt>
                <c:pt idx="1136">
                  <c:v>2006-12-19</c:v>
                </c:pt>
                <c:pt idx="1137">
                  <c:v>2006-12-20</c:v>
                </c:pt>
                <c:pt idx="1138">
                  <c:v>2006-12-21</c:v>
                </c:pt>
                <c:pt idx="1139">
                  <c:v>2006-12-22</c:v>
                </c:pt>
                <c:pt idx="1140">
                  <c:v>2006-12-25</c:v>
                </c:pt>
                <c:pt idx="1141">
                  <c:v>2006-12-26</c:v>
                </c:pt>
                <c:pt idx="1142">
                  <c:v>2006-12-27</c:v>
                </c:pt>
                <c:pt idx="1143">
                  <c:v>2006-12-28</c:v>
                </c:pt>
                <c:pt idx="1144">
                  <c:v>2006-12-29</c:v>
                </c:pt>
                <c:pt idx="1145">
                  <c:v>2007-01-04</c:v>
                </c:pt>
                <c:pt idx="1146">
                  <c:v>2007-01-05</c:v>
                </c:pt>
                <c:pt idx="1147">
                  <c:v>2007-01-08</c:v>
                </c:pt>
                <c:pt idx="1148">
                  <c:v>2007-01-09</c:v>
                </c:pt>
                <c:pt idx="1149">
                  <c:v>2007-01-10</c:v>
                </c:pt>
                <c:pt idx="1150">
                  <c:v>2007-01-11</c:v>
                </c:pt>
                <c:pt idx="1151">
                  <c:v>2007-01-12</c:v>
                </c:pt>
                <c:pt idx="1152">
                  <c:v>2007-01-15</c:v>
                </c:pt>
                <c:pt idx="1153">
                  <c:v>2007-01-16</c:v>
                </c:pt>
                <c:pt idx="1154">
                  <c:v>2007-01-17</c:v>
                </c:pt>
                <c:pt idx="1155">
                  <c:v>2007-01-18</c:v>
                </c:pt>
                <c:pt idx="1156">
                  <c:v>2007-01-19</c:v>
                </c:pt>
                <c:pt idx="1157">
                  <c:v>2007-01-22</c:v>
                </c:pt>
                <c:pt idx="1158">
                  <c:v>2007-01-23</c:v>
                </c:pt>
                <c:pt idx="1159">
                  <c:v>2007-01-24</c:v>
                </c:pt>
                <c:pt idx="1160">
                  <c:v>2007-01-25</c:v>
                </c:pt>
                <c:pt idx="1161">
                  <c:v>2007-01-26</c:v>
                </c:pt>
                <c:pt idx="1162">
                  <c:v>2007-01-29</c:v>
                </c:pt>
                <c:pt idx="1163">
                  <c:v>2007-01-30</c:v>
                </c:pt>
                <c:pt idx="1164">
                  <c:v>2007-01-31</c:v>
                </c:pt>
                <c:pt idx="1165">
                  <c:v>2007-02-01</c:v>
                </c:pt>
                <c:pt idx="1166">
                  <c:v>2007-02-02</c:v>
                </c:pt>
                <c:pt idx="1167">
                  <c:v>2007-02-05</c:v>
                </c:pt>
                <c:pt idx="1168">
                  <c:v>2007-02-06</c:v>
                </c:pt>
                <c:pt idx="1169">
                  <c:v>2007-02-07</c:v>
                </c:pt>
                <c:pt idx="1170">
                  <c:v>2007-02-08</c:v>
                </c:pt>
                <c:pt idx="1171">
                  <c:v>2007-02-09</c:v>
                </c:pt>
                <c:pt idx="1172">
                  <c:v>2007-02-12</c:v>
                </c:pt>
                <c:pt idx="1173">
                  <c:v>2007-02-13</c:v>
                </c:pt>
                <c:pt idx="1174">
                  <c:v>2007-02-14</c:v>
                </c:pt>
                <c:pt idx="1175">
                  <c:v>2007-02-15</c:v>
                </c:pt>
                <c:pt idx="1176">
                  <c:v>2007-02-16</c:v>
                </c:pt>
                <c:pt idx="1177">
                  <c:v>2007-02-26</c:v>
                </c:pt>
                <c:pt idx="1178">
                  <c:v>2007-02-27</c:v>
                </c:pt>
                <c:pt idx="1179">
                  <c:v>2007-02-28</c:v>
                </c:pt>
                <c:pt idx="1180">
                  <c:v>2007-03-01</c:v>
                </c:pt>
                <c:pt idx="1181">
                  <c:v>2007-03-02</c:v>
                </c:pt>
                <c:pt idx="1182">
                  <c:v>2007-03-05</c:v>
                </c:pt>
                <c:pt idx="1183">
                  <c:v>2007-03-06</c:v>
                </c:pt>
                <c:pt idx="1184">
                  <c:v>2007-03-07</c:v>
                </c:pt>
                <c:pt idx="1185">
                  <c:v>2007-03-08</c:v>
                </c:pt>
                <c:pt idx="1186">
                  <c:v>2007-03-09</c:v>
                </c:pt>
                <c:pt idx="1187">
                  <c:v>2007-03-12</c:v>
                </c:pt>
                <c:pt idx="1188">
                  <c:v>2007-03-13</c:v>
                </c:pt>
                <c:pt idx="1189">
                  <c:v>2007-03-14</c:v>
                </c:pt>
                <c:pt idx="1190">
                  <c:v>2007-03-15</c:v>
                </c:pt>
                <c:pt idx="1191">
                  <c:v>2007-03-16</c:v>
                </c:pt>
                <c:pt idx="1192">
                  <c:v>2007-03-19</c:v>
                </c:pt>
                <c:pt idx="1193">
                  <c:v>2007-03-20</c:v>
                </c:pt>
                <c:pt idx="1194">
                  <c:v>2007-03-21</c:v>
                </c:pt>
                <c:pt idx="1195">
                  <c:v>2007-03-22</c:v>
                </c:pt>
                <c:pt idx="1196">
                  <c:v>2007-03-23</c:v>
                </c:pt>
                <c:pt idx="1197">
                  <c:v>2007-03-26</c:v>
                </c:pt>
                <c:pt idx="1198">
                  <c:v>2007-03-27</c:v>
                </c:pt>
                <c:pt idx="1199">
                  <c:v>2007-03-28</c:v>
                </c:pt>
                <c:pt idx="1200">
                  <c:v>2007-03-29</c:v>
                </c:pt>
                <c:pt idx="1201">
                  <c:v>2007-03-30</c:v>
                </c:pt>
                <c:pt idx="1202">
                  <c:v>2007-04-02</c:v>
                </c:pt>
                <c:pt idx="1203">
                  <c:v>2007-04-03</c:v>
                </c:pt>
                <c:pt idx="1204">
                  <c:v>2007-04-04</c:v>
                </c:pt>
                <c:pt idx="1205">
                  <c:v>2007-04-05</c:v>
                </c:pt>
                <c:pt idx="1206">
                  <c:v>2007-04-06</c:v>
                </c:pt>
                <c:pt idx="1207">
                  <c:v>2007-04-09</c:v>
                </c:pt>
                <c:pt idx="1208">
                  <c:v>2007-04-10</c:v>
                </c:pt>
                <c:pt idx="1209">
                  <c:v>2007-04-11</c:v>
                </c:pt>
                <c:pt idx="1210">
                  <c:v>2007-04-12</c:v>
                </c:pt>
                <c:pt idx="1211">
                  <c:v>2007-04-13</c:v>
                </c:pt>
                <c:pt idx="1212">
                  <c:v>2007-04-16</c:v>
                </c:pt>
                <c:pt idx="1213">
                  <c:v>2007-04-17</c:v>
                </c:pt>
                <c:pt idx="1214">
                  <c:v>2007-04-18</c:v>
                </c:pt>
                <c:pt idx="1215">
                  <c:v>2007-04-19</c:v>
                </c:pt>
                <c:pt idx="1216">
                  <c:v>2007-04-20</c:v>
                </c:pt>
                <c:pt idx="1217">
                  <c:v>2007-04-23</c:v>
                </c:pt>
                <c:pt idx="1218">
                  <c:v>2007-04-24</c:v>
                </c:pt>
                <c:pt idx="1219">
                  <c:v>2007-04-25</c:v>
                </c:pt>
                <c:pt idx="1220">
                  <c:v>2007-04-26</c:v>
                </c:pt>
                <c:pt idx="1221">
                  <c:v>2007-04-27</c:v>
                </c:pt>
                <c:pt idx="1222">
                  <c:v>2007-04-30</c:v>
                </c:pt>
                <c:pt idx="1223">
                  <c:v>2007-05-08</c:v>
                </c:pt>
                <c:pt idx="1224">
                  <c:v>2007-05-09</c:v>
                </c:pt>
                <c:pt idx="1225">
                  <c:v>2007-05-10</c:v>
                </c:pt>
                <c:pt idx="1226">
                  <c:v>2007-05-11</c:v>
                </c:pt>
                <c:pt idx="1227">
                  <c:v>2007-05-14</c:v>
                </c:pt>
                <c:pt idx="1228">
                  <c:v>2007-05-15</c:v>
                </c:pt>
                <c:pt idx="1229">
                  <c:v>2007-05-16</c:v>
                </c:pt>
                <c:pt idx="1230">
                  <c:v>2007-05-17</c:v>
                </c:pt>
                <c:pt idx="1231">
                  <c:v>2007-05-18</c:v>
                </c:pt>
                <c:pt idx="1232">
                  <c:v>2007-05-21</c:v>
                </c:pt>
                <c:pt idx="1233">
                  <c:v>2007-05-22</c:v>
                </c:pt>
                <c:pt idx="1234">
                  <c:v>2007-05-23</c:v>
                </c:pt>
                <c:pt idx="1235">
                  <c:v>2007-05-24</c:v>
                </c:pt>
                <c:pt idx="1236">
                  <c:v>2007-05-25</c:v>
                </c:pt>
                <c:pt idx="1237">
                  <c:v>2007-05-28</c:v>
                </c:pt>
                <c:pt idx="1238">
                  <c:v>2007-05-29</c:v>
                </c:pt>
                <c:pt idx="1239">
                  <c:v>2007-05-30</c:v>
                </c:pt>
                <c:pt idx="1240">
                  <c:v>2007-05-31</c:v>
                </c:pt>
                <c:pt idx="1241">
                  <c:v>2007-06-01</c:v>
                </c:pt>
                <c:pt idx="1242">
                  <c:v>2007-06-04</c:v>
                </c:pt>
                <c:pt idx="1243">
                  <c:v>2007-06-05</c:v>
                </c:pt>
                <c:pt idx="1244">
                  <c:v>2007-06-06</c:v>
                </c:pt>
                <c:pt idx="1245">
                  <c:v>2007-06-07</c:v>
                </c:pt>
                <c:pt idx="1246">
                  <c:v>2007-06-08</c:v>
                </c:pt>
                <c:pt idx="1247">
                  <c:v>2007-06-11</c:v>
                </c:pt>
                <c:pt idx="1248">
                  <c:v>2007-06-12</c:v>
                </c:pt>
                <c:pt idx="1249">
                  <c:v>2007-06-13</c:v>
                </c:pt>
                <c:pt idx="1250">
                  <c:v>2007-06-14</c:v>
                </c:pt>
                <c:pt idx="1251">
                  <c:v>2007-06-15</c:v>
                </c:pt>
                <c:pt idx="1252">
                  <c:v>2007-06-18</c:v>
                </c:pt>
                <c:pt idx="1253">
                  <c:v>2007-06-19</c:v>
                </c:pt>
                <c:pt idx="1254">
                  <c:v>2007-06-20</c:v>
                </c:pt>
                <c:pt idx="1255">
                  <c:v>2007-06-21</c:v>
                </c:pt>
                <c:pt idx="1256">
                  <c:v>2007-06-22</c:v>
                </c:pt>
                <c:pt idx="1257">
                  <c:v>2007-06-25</c:v>
                </c:pt>
                <c:pt idx="1258">
                  <c:v>2007-06-26</c:v>
                </c:pt>
                <c:pt idx="1259">
                  <c:v>2007-06-27</c:v>
                </c:pt>
                <c:pt idx="1260">
                  <c:v>2007-06-28</c:v>
                </c:pt>
                <c:pt idx="1261">
                  <c:v>2007-06-29</c:v>
                </c:pt>
                <c:pt idx="1262">
                  <c:v>2007-07-02</c:v>
                </c:pt>
                <c:pt idx="1263">
                  <c:v>2007-07-03</c:v>
                </c:pt>
                <c:pt idx="1264">
                  <c:v>2007-07-04</c:v>
                </c:pt>
                <c:pt idx="1265">
                  <c:v>2007-07-05</c:v>
                </c:pt>
                <c:pt idx="1266">
                  <c:v>2007-07-06</c:v>
                </c:pt>
                <c:pt idx="1267">
                  <c:v>2007-07-09</c:v>
                </c:pt>
                <c:pt idx="1268">
                  <c:v>2007-07-10</c:v>
                </c:pt>
                <c:pt idx="1269">
                  <c:v>2007-07-11</c:v>
                </c:pt>
                <c:pt idx="1270">
                  <c:v>2007-07-12</c:v>
                </c:pt>
                <c:pt idx="1271">
                  <c:v>2007-07-13</c:v>
                </c:pt>
                <c:pt idx="1272">
                  <c:v>2007-07-16</c:v>
                </c:pt>
                <c:pt idx="1273">
                  <c:v>2007-07-17</c:v>
                </c:pt>
                <c:pt idx="1274">
                  <c:v>2007-07-18</c:v>
                </c:pt>
                <c:pt idx="1275">
                  <c:v>2007-07-19</c:v>
                </c:pt>
                <c:pt idx="1276">
                  <c:v>2007-07-20</c:v>
                </c:pt>
                <c:pt idx="1277">
                  <c:v>2007-07-23</c:v>
                </c:pt>
                <c:pt idx="1278">
                  <c:v>2007-07-24</c:v>
                </c:pt>
                <c:pt idx="1279">
                  <c:v>2007-07-25</c:v>
                </c:pt>
                <c:pt idx="1280">
                  <c:v>2007-07-26</c:v>
                </c:pt>
                <c:pt idx="1281">
                  <c:v>2007-07-27</c:v>
                </c:pt>
                <c:pt idx="1282">
                  <c:v>2007-07-30</c:v>
                </c:pt>
                <c:pt idx="1283">
                  <c:v>2007-07-31</c:v>
                </c:pt>
                <c:pt idx="1284">
                  <c:v>2007-08-01</c:v>
                </c:pt>
                <c:pt idx="1285">
                  <c:v>2007-08-02</c:v>
                </c:pt>
                <c:pt idx="1286">
                  <c:v>2007-08-03</c:v>
                </c:pt>
                <c:pt idx="1287">
                  <c:v>2007-08-06</c:v>
                </c:pt>
                <c:pt idx="1288">
                  <c:v>2007-08-07</c:v>
                </c:pt>
                <c:pt idx="1289">
                  <c:v>2007-08-08</c:v>
                </c:pt>
                <c:pt idx="1290">
                  <c:v>2007-08-09</c:v>
                </c:pt>
                <c:pt idx="1291">
                  <c:v>2007-08-10</c:v>
                </c:pt>
                <c:pt idx="1292">
                  <c:v>2007-08-13</c:v>
                </c:pt>
                <c:pt idx="1293">
                  <c:v>2007-08-14</c:v>
                </c:pt>
                <c:pt idx="1294">
                  <c:v>2007-08-15</c:v>
                </c:pt>
                <c:pt idx="1295">
                  <c:v>2007-08-16</c:v>
                </c:pt>
                <c:pt idx="1296">
                  <c:v>2007-08-17</c:v>
                </c:pt>
                <c:pt idx="1297">
                  <c:v>2007-08-20</c:v>
                </c:pt>
                <c:pt idx="1298">
                  <c:v>2007-08-21</c:v>
                </c:pt>
                <c:pt idx="1299">
                  <c:v>2007-08-22</c:v>
                </c:pt>
                <c:pt idx="1300">
                  <c:v>2007-08-23</c:v>
                </c:pt>
                <c:pt idx="1301">
                  <c:v>2007-08-24</c:v>
                </c:pt>
                <c:pt idx="1302">
                  <c:v>2007-08-27</c:v>
                </c:pt>
                <c:pt idx="1303">
                  <c:v>2007-08-28</c:v>
                </c:pt>
                <c:pt idx="1304">
                  <c:v>2007-08-29</c:v>
                </c:pt>
                <c:pt idx="1305">
                  <c:v>2007-08-30</c:v>
                </c:pt>
                <c:pt idx="1306">
                  <c:v>2007-08-31</c:v>
                </c:pt>
                <c:pt idx="1307">
                  <c:v>2007-09-03</c:v>
                </c:pt>
                <c:pt idx="1308">
                  <c:v>2007-09-04</c:v>
                </c:pt>
                <c:pt idx="1309">
                  <c:v>2007-09-05</c:v>
                </c:pt>
                <c:pt idx="1310">
                  <c:v>2007-09-06</c:v>
                </c:pt>
                <c:pt idx="1311">
                  <c:v>2007-09-07</c:v>
                </c:pt>
                <c:pt idx="1312">
                  <c:v>2007-09-10</c:v>
                </c:pt>
                <c:pt idx="1313">
                  <c:v>2007-09-11</c:v>
                </c:pt>
                <c:pt idx="1314">
                  <c:v>2007-09-12</c:v>
                </c:pt>
                <c:pt idx="1315">
                  <c:v>2007-09-13</c:v>
                </c:pt>
                <c:pt idx="1316">
                  <c:v>2007-09-14</c:v>
                </c:pt>
                <c:pt idx="1317">
                  <c:v>2007-09-17</c:v>
                </c:pt>
                <c:pt idx="1318">
                  <c:v>2007-09-18</c:v>
                </c:pt>
                <c:pt idx="1319">
                  <c:v>2007-09-19</c:v>
                </c:pt>
                <c:pt idx="1320">
                  <c:v>2007-09-20</c:v>
                </c:pt>
                <c:pt idx="1321">
                  <c:v>2007-09-21</c:v>
                </c:pt>
                <c:pt idx="1322">
                  <c:v>2007-09-24</c:v>
                </c:pt>
                <c:pt idx="1323">
                  <c:v>2007-09-25</c:v>
                </c:pt>
                <c:pt idx="1324">
                  <c:v>2007-09-26</c:v>
                </c:pt>
                <c:pt idx="1325">
                  <c:v>2007-09-27</c:v>
                </c:pt>
                <c:pt idx="1326">
                  <c:v>2007-09-28</c:v>
                </c:pt>
                <c:pt idx="1327">
                  <c:v>2007-10-08</c:v>
                </c:pt>
                <c:pt idx="1328">
                  <c:v>2007-10-09</c:v>
                </c:pt>
                <c:pt idx="1329">
                  <c:v>2007-10-10</c:v>
                </c:pt>
                <c:pt idx="1330">
                  <c:v>2007-10-11</c:v>
                </c:pt>
                <c:pt idx="1331">
                  <c:v>2007-10-12</c:v>
                </c:pt>
                <c:pt idx="1332">
                  <c:v>2007-10-15</c:v>
                </c:pt>
                <c:pt idx="1333">
                  <c:v>2007-10-16</c:v>
                </c:pt>
                <c:pt idx="1334">
                  <c:v>2007-10-17</c:v>
                </c:pt>
                <c:pt idx="1335">
                  <c:v>2007-10-18</c:v>
                </c:pt>
                <c:pt idx="1336">
                  <c:v>2007-10-19</c:v>
                </c:pt>
                <c:pt idx="1337">
                  <c:v>2007-10-22</c:v>
                </c:pt>
                <c:pt idx="1338">
                  <c:v>2007-10-23</c:v>
                </c:pt>
                <c:pt idx="1339">
                  <c:v>2007-10-24</c:v>
                </c:pt>
                <c:pt idx="1340">
                  <c:v>2007-10-25</c:v>
                </c:pt>
                <c:pt idx="1341">
                  <c:v>2007-10-26</c:v>
                </c:pt>
                <c:pt idx="1342">
                  <c:v>2007-10-29</c:v>
                </c:pt>
                <c:pt idx="1343">
                  <c:v>2007-10-30</c:v>
                </c:pt>
                <c:pt idx="1344">
                  <c:v>2007-10-31</c:v>
                </c:pt>
                <c:pt idx="1345">
                  <c:v>2007-11-01</c:v>
                </c:pt>
                <c:pt idx="1346">
                  <c:v>2007-11-02</c:v>
                </c:pt>
                <c:pt idx="1347">
                  <c:v>2007-11-05</c:v>
                </c:pt>
                <c:pt idx="1348">
                  <c:v>2007-11-06</c:v>
                </c:pt>
                <c:pt idx="1349">
                  <c:v>2007-11-07</c:v>
                </c:pt>
                <c:pt idx="1350">
                  <c:v>2007-11-08</c:v>
                </c:pt>
                <c:pt idx="1351">
                  <c:v>2007-11-09</c:v>
                </c:pt>
                <c:pt idx="1352">
                  <c:v>2007-11-12</c:v>
                </c:pt>
                <c:pt idx="1353">
                  <c:v>2007-11-13</c:v>
                </c:pt>
                <c:pt idx="1354">
                  <c:v>2007-11-14</c:v>
                </c:pt>
                <c:pt idx="1355">
                  <c:v>2007-11-15</c:v>
                </c:pt>
                <c:pt idx="1356">
                  <c:v>2007-11-16</c:v>
                </c:pt>
                <c:pt idx="1357">
                  <c:v>2007-11-19</c:v>
                </c:pt>
                <c:pt idx="1358">
                  <c:v>2007-11-20</c:v>
                </c:pt>
                <c:pt idx="1359">
                  <c:v>2007-11-21</c:v>
                </c:pt>
                <c:pt idx="1360">
                  <c:v>2007-11-22</c:v>
                </c:pt>
                <c:pt idx="1361">
                  <c:v>2007-11-23</c:v>
                </c:pt>
                <c:pt idx="1362">
                  <c:v>2007-11-26</c:v>
                </c:pt>
                <c:pt idx="1363">
                  <c:v>2007-11-27</c:v>
                </c:pt>
                <c:pt idx="1364">
                  <c:v>2007-11-28</c:v>
                </c:pt>
                <c:pt idx="1365">
                  <c:v>2007-11-29</c:v>
                </c:pt>
                <c:pt idx="1366">
                  <c:v>2007-11-30</c:v>
                </c:pt>
                <c:pt idx="1367">
                  <c:v>2007-12-03</c:v>
                </c:pt>
                <c:pt idx="1368">
                  <c:v>2007-12-04</c:v>
                </c:pt>
                <c:pt idx="1369">
                  <c:v>2007-12-05</c:v>
                </c:pt>
                <c:pt idx="1370">
                  <c:v>2007-12-06</c:v>
                </c:pt>
                <c:pt idx="1371">
                  <c:v>2007-12-07</c:v>
                </c:pt>
                <c:pt idx="1372">
                  <c:v>2007-12-10</c:v>
                </c:pt>
                <c:pt idx="1373">
                  <c:v>2007-12-11</c:v>
                </c:pt>
                <c:pt idx="1374">
                  <c:v>2007-12-12</c:v>
                </c:pt>
                <c:pt idx="1375">
                  <c:v>2007-12-13</c:v>
                </c:pt>
                <c:pt idx="1376">
                  <c:v>2007-12-14</c:v>
                </c:pt>
                <c:pt idx="1377">
                  <c:v>2007-12-17</c:v>
                </c:pt>
                <c:pt idx="1378">
                  <c:v>2007-12-18</c:v>
                </c:pt>
                <c:pt idx="1379">
                  <c:v>2007-12-19</c:v>
                </c:pt>
                <c:pt idx="1380">
                  <c:v>2007-12-20</c:v>
                </c:pt>
                <c:pt idx="1381">
                  <c:v>2007-12-21</c:v>
                </c:pt>
                <c:pt idx="1382">
                  <c:v>2007-12-24</c:v>
                </c:pt>
                <c:pt idx="1383">
                  <c:v>2007-12-25</c:v>
                </c:pt>
                <c:pt idx="1384">
                  <c:v>2007-12-26</c:v>
                </c:pt>
                <c:pt idx="1385">
                  <c:v>2007-12-27</c:v>
                </c:pt>
                <c:pt idx="1386">
                  <c:v>2007-12-28</c:v>
                </c:pt>
                <c:pt idx="1387">
                  <c:v>2008-01-02</c:v>
                </c:pt>
                <c:pt idx="1388">
                  <c:v>2008-01-03</c:v>
                </c:pt>
                <c:pt idx="1389">
                  <c:v>2008-01-04</c:v>
                </c:pt>
                <c:pt idx="1390">
                  <c:v>2008-01-07</c:v>
                </c:pt>
                <c:pt idx="1391">
                  <c:v>2008-01-08</c:v>
                </c:pt>
                <c:pt idx="1392">
                  <c:v>2008-01-09</c:v>
                </c:pt>
                <c:pt idx="1393">
                  <c:v>2008-01-10</c:v>
                </c:pt>
                <c:pt idx="1394">
                  <c:v>2008-01-11</c:v>
                </c:pt>
                <c:pt idx="1395">
                  <c:v>2008-01-14</c:v>
                </c:pt>
                <c:pt idx="1396">
                  <c:v>2008-01-15</c:v>
                </c:pt>
                <c:pt idx="1397">
                  <c:v>2008-01-16</c:v>
                </c:pt>
                <c:pt idx="1398">
                  <c:v>2008-01-17</c:v>
                </c:pt>
                <c:pt idx="1399">
                  <c:v>2008-01-18</c:v>
                </c:pt>
                <c:pt idx="1400">
                  <c:v>2008-01-21</c:v>
                </c:pt>
                <c:pt idx="1401">
                  <c:v>2008-01-22</c:v>
                </c:pt>
                <c:pt idx="1402">
                  <c:v>2008-01-23</c:v>
                </c:pt>
                <c:pt idx="1403">
                  <c:v>2008-01-24</c:v>
                </c:pt>
                <c:pt idx="1404">
                  <c:v>2008-01-25</c:v>
                </c:pt>
                <c:pt idx="1405">
                  <c:v>2008-01-28</c:v>
                </c:pt>
                <c:pt idx="1406">
                  <c:v>2008-01-29</c:v>
                </c:pt>
                <c:pt idx="1407">
                  <c:v>2008-01-30</c:v>
                </c:pt>
                <c:pt idx="1408">
                  <c:v>2008-01-31</c:v>
                </c:pt>
                <c:pt idx="1409">
                  <c:v>2008-02-01</c:v>
                </c:pt>
                <c:pt idx="1410">
                  <c:v>2008-02-04</c:v>
                </c:pt>
                <c:pt idx="1411">
                  <c:v>2008-02-05</c:v>
                </c:pt>
                <c:pt idx="1412">
                  <c:v>2008-02-13</c:v>
                </c:pt>
                <c:pt idx="1413">
                  <c:v>2008-02-14</c:v>
                </c:pt>
                <c:pt idx="1414">
                  <c:v>2008-02-15</c:v>
                </c:pt>
                <c:pt idx="1415">
                  <c:v>2008-02-18</c:v>
                </c:pt>
                <c:pt idx="1416">
                  <c:v>2008-02-19</c:v>
                </c:pt>
                <c:pt idx="1417">
                  <c:v>2008-02-20</c:v>
                </c:pt>
                <c:pt idx="1418">
                  <c:v>2008-02-21</c:v>
                </c:pt>
                <c:pt idx="1419">
                  <c:v>2008-02-22</c:v>
                </c:pt>
                <c:pt idx="1420">
                  <c:v>2008-02-25</c:v>
                </c:pt>
                <c:pt idx="1421">
                  <c:v>2008-02-26</c:v>
                </c:pt>
                <c:pt idx="1422">
                  <c:v>2008-02-27</c:v>
                </c:pt>
                <c:pt idx="1423">
                  <c:v>2008-02-28</c:v>
                </c:pt>
                <c:pt idx="1424">
                  <c:v>2008-02-29</c:v>
                </c:pt>
                <c:pt idx="1425">
                  <c:v>2008-03-03</c:v>
                </c:pt>
                <c:pt idx="1426">
                  <c:v>2008-03-04</c:v>
                </c:pt>
                <c:pt idx="1427">
                  <c:v>2008-03-05</c:v>
                </c:pt>
                <c:pt idx="1428">
                  <c:v>2008-03-06</c:v>
                </c:pt>
                <c:pt idx="1429">
                  <c:v>2008-03-07</c:v>
                </c:pt>
                <c:pt idx="1430">
                  <c:v>2008-03-10</c:v>
                </c:pt>
                <c:pt idx="1431">
                  <c:v>2008-03-11</c:v>
                </c:pt>
                <c:pt idx="1432">
                  <c:v>2008-03-12</c:v>
                </c:pt>
                <c:pt idx="1433">
                  <c:v>2008-03-13</c:v>
                </c:pt>
                <c:pt idx="1434">
                  <c:v>2008-03-14</c:v>
                </c:pt>
                <c:pt idx="1435">
                  <c:v>2008-03-17</c:v>
                </c:pt>
                <c:pt idx="1436">
                  <c:v>2008-03-18</c:v>
                </c:pt>
                <c:pt idx="1437">
                  <c:v>2008-03-19</c:v>
                </c:pt>
                <c:pt idx="1438">
                  <c:v>2008-03-20</c:v>
                </c:pt>
                <c:pt idx="1439">
                  <c:v>2008-03-21</c:v>
                </c:pt>
                <c:pt idx="1440">
                  <c:v>2008-03-24</c:v>
                </c:pt>
                <c:pt idx="1441">
                  <c:v>2008-03-25</c:v>
                </c:pt>
                <c:pt idx="1442">
                  <c:v>2008-03-26</c:v>
                </c:pt>
                <c:pt idx="1443">
                  <c:v>2008-03-27</c:v>
                </c:pt>
                <c:pt idx="1444">
                  <c:v>2008-03-28</c:v>
                </c:pt>
                <c:pt idx="1445">
                  <c:v>2008-03-31</c:v>
                </c:pt>
                <c:pt idx="1446">
                  <c:v>2008-04-01</c:v>
                </c:pt>
                <c:pt idx="1447">
                  <c:v>2008-04-02</c:v>
                </c:pt>
                <c:pt idx="1448">
                  <c:v>2008-04-03</c:v>
                </c:pt>
                <c:pt idx="1449">
                  <c:v>2008-04-07</c:v>
                </c:pt>
                <c:pt idx="1450">
                  <c:v>2008-04-08</c:v>
                </c:pt>
                <c:pt idx="1451">
                  <c:v>2008-04-09</c:v>
                </c:pt>
                <c:pt idx="1452">
                  <c:v>2008-04-10</c:v>
                </c:pt>
                <c:pt idx="1453">
                  <c:v>2008-04-11</c:v>
                </c:pt>
                <c:pt idx="1454">
                  <c:v>2008-04-14</c:v>
                </c:pt>
                <c:pt idx="1455">
                  <c:v>2008-04-15</c:v>
                </c:pt>
                <c:pt idx="1456">
                  <c:v>2008-04-16</c:v>
                </c:pt>
                <c:pt idx="1457">
                  <c:v>2008-04-17</c:v>
                </c:pt>
                <c:pt idx="1458">
                  <c:v>2008-04-18</c:v>
                </c:pt>
                <c:pt idx="1459">
                  <c:v>2008-04-21</c:v>
                </c:pt>
                <c:pt idx="1460">
                  <c:v>2008-04-22</c:v>
                </c:pt>
                <c:pt idx="1461">
                  <c:v>2008-04-23</c:v>
                </c:pt>
                <c:pt idx="1462">
                  <c:v>2008-04-24</c:v>
                </c:pt>
                <c:pt idx="1463">
                  <c:v>2008-04-25</c:v>
                </c:pt>
                <c:pt idx="1464">
                  <c:v>2008-04-28</c:v>
                </c:pt>
                <c:pt idx="1465">
                  <c:v>2008-04-29</c:v>
                </c:pt>
                <c:pt idx="1466">
                  <c:v>2008-04-30</c:v>
                </c:pt>
                <c:pt idx="1467">
                  <c:v>2008-05-05</c:v>
                </c:pt>
                <c:pt idx="1468">
                  <c:v>2008-05-06</c:v>
                </c:pt>
                <c:pt idx="1469">
                  <c:v>2008-05-07</c:v>
                </c:pt>
                <c:pt idx="1470">
                  <c:v>2008-05-08</c:v>
                </c:pt>
                <c:pt idx="1471">
                  <c:v>2008-05-09</c:v>
                </c:pt>
                <c:pt idx="1472">
                  <c:v>2008-05-12</c:v>
                </c:pt>
                <c:pt idx="1473">
                  <c:v>2008-05-13</c:v>
                </c:pt>
                <c:pt idx="1474">
                  <c:v>2008-05-14</c:v>
                </c:pt>
                <c:pt idx="1475">
                  <c:v>2008-05-15</c:v>
                </c:pt>
                <c:pt idx="1476">
                  <c:v>2008-05-16</c:v>
                </c:pt>
                <c:pt idx="1477">
                  <c:v>2008-05-19</c:v>
                </c:pt>
                <c:pt idx="1478">
                  <c:v>2008-05-20</c:v>
                </c:pt>
                <c:pt idx="1479">
                  <c:v>2008-05-21</c:v>
                </c:pt>
                <c:pt idx="1480">
                  <c:v>2008-05-22</c:v>
                </c:pt>
                <c:pt idx="1481">
                  <c:v>2008-05-23</c:v>
                </c:pt>
                <c:pt idx="1482">
                  <c:v>2008-05-26</c:v>
                </c:pt>
                <c:pt idx="1483">
                  <c:v>2008-05-27</c:v>
                </c:pt>
                <c:pt idx="1484">
                  <c:v>2008-05-28</c:v>
                </c:pt>
                <c:pt idx="1485">
                  <c:v>2008-05-29</c:v>
                </c:pt>
                <c:pt idx="1486">
                  <c:v>2008-05-30</c:v>
                </c:pt>
                <c:pt idx="1487">
                  <c:v>2008-06-02</c:v>
                </c:pt>
                <c:pt idx="1488">
                  <c:v>2008-06-03</c:v>
                </c:pt>
                <c:pt idx="1489">
                  <c:v>2008-06-04</c:v>
                </c:pt>
                <c:pt idx="1490">
                  <c:v>2008-06-05</c:v>
                </c:pt>
                <c:pt idx="1491">
                  <c:v>2008-06-06</c:v>
                </c:pt>
                <c:pt idx="1492">
                  <c:v>2008-06-10</c:v>
                </c:pt>
                <c:pt idx="1493">
                  <c:v>2008-06-11</c:v>
                </c:pt>
                <c:pt idx="1494">
                  <c:v>2008-06-12</c:v>
                </c:pt>
                <c:pt idx="1495">
                  <c:v>2008-06-13</c:v>
                </c:pt>
                <c:pt idx="1496">
                  <c:v>2008-06-16</c:v>
                </c:pt>
                <c:pt idx="1497">
                  <c:v>2008-06-17</c:v>
                </c:pt>
                <c:pt idx="1498">
                  <c:v>2008-06-18</c:v>
                </c:pt>
                <c:pt idx="1499">
                  <c:v>2008-06-19</c:v>
                </c:pt>
                <c:pt idx="1500">
                  <c:v>2008-06-20</c:v>
                </c:pt>
                <c:pt idx="1501">
                  <c:v>2008-06-23</c:v>
                </c:pt>
                <c:pt idx="1502">
                  <c:v>2008-06-24</c:v>
                </c:pt>
                <c:pt idx="1503">
                  <c:v>2008-06-25</c:v>
                </c:pt>
                <c:pt idx="1504">
                  <c:v>2008-06-26</c:v>
                </c:pt>
                <c:pt idx="1505">
                  <c:v>2008-06-27</c:v>
                </c:pt>
                <c:pt idx="1506">
                  <c:v>2008-06-30</c:v>
                </c:pt>
                <c:pt idx="1507">
                  <c:v>2008-07-01</c:v>
                </c:pt>
                <c:pt idx="1508">
                  <c:v>2008-07-02</c:v>
                </c:pt>
                <c:pt idx="1509">
                  <c:v>2008-07-03</c:v>
                </c:pt>
                <c:pt idx="1510">
                  <c:v>2008-07-04</c:v>
                </c:pt>
                <c:pt idx="1511">
                  <c:v>2008-07-07</c:v>
                </c:pt>
                <c:pt idx="1512">
                  <c:v>2008-07-08</c:v>
                </c:pt>
                <c:pt idx="1513">
                  <c:v>2008-07-09</c:v>
                </c:pt>
                <c:pt idx="1514">
                  <c:v>2008-07-10</c:v>
                </c:pt>
                <c:pt idx="1515">
                  <c:v>2008-07-11</c:v>
                </c:pt>
                <c:pt idx="1516">
                  <c:v>2008-07-14</c:v>
                </c:pt>
                <c:pt idx="1517">
                  <c:v>2008-07-15</c:v>
                </c:pt>
                <c:pt idx="1518">
                  <c:v>2008-07-16</c:v>
                </c:pt>
                <c:pt idx="1519">
                  <c:v>2008-07-17</c:v>
                </c:pt>
                <c:pt idx="1520">
                  <c:v>2008-07-18</c:v>
                </c:pt>
                <c:pt idx="1521">
                  <c:v>2008-07-21</c:v>
                </c:pt>
                <c:pt idx="1522">
                  <c:v>2008-07-22</c:v>
                </c:pt>
                <c:pt idx="1523">
                  <c:v>2008-07-23</c:v>
                </c:pt>
                <c:pt idx="1524">
                  <c:v>2008-07-24</c:v>
                </c:pt>
                <c:pt idx="1525">
                  <c:v>2008-07-25</c:v>
                </c:pt>
                <c:pt idx="1526">
                  <c:v>2008-07-28</c:v>
                </c:pt>
                <c:pt idx="1527">
                  <c:v>2008-07-29</c:v>
                </c:pt>
                <c:pt idx="1528">
                  <c:v>2008-07-30</c:v>
                </c:pt>
                <c:pt idx="1529">
                  <c:v>2008-07-31</c:v>
                </c:pt>
                <c:pt idx="1530">
                  <c:v>2008-08-01</c:v>
                </c:pt>
                <c:pt idx="1531">
                  <c:v>2008-08-04</c:v>
                </c:pt>
                <c:pt idx="1532">
                  <c:v>2008-08-05</c:v>
                </c:pt>
                <c:pt idx="1533">
                  <c:v>2008-08-06</c:v>
                </c:pt>
                <c:pt idx="1534">
                  <c:v>2008-08-07</c:v>
                </c:pt>
                <c:pt idx="1535">
                  <c:v>2008-08-08</c:v>
                </c:pt>
                <c:pt idx="1536">
                  <c:v>2008-08-11</c:v>
                </c:pt>
                <c:pt idx="1537">
                  <c:v>2008-08-12</c:v>
                </c:pt>
                <c:pt idx="1538">
                  <c:v>2008-08-13</c:v>
                </c:pt>
                <c:pt idx="1539">
                  <c:v>2008-08-14</c:v>
                </c:pt>
                <c:pt idx="1540">
                  <c:v>2008-08-15</c:v>
                </c:pt>
                <c:pt idx="1541">
                  <c:v>2008-08-18</c:v>
                </c:pt>
                <c:pt idx="1542">
                  <c:v>2008-08-19</c:v>
                </c:pt>
                <c:pt idx="1543">
                  <c:v>2008-08-20</c:v>
                </c:pt>
                <c:pt idx="1544">
                  <c:v>2008-08-21</c:v>
                </c:pt>
                <c:pt idx="1545">
                  <c:v>2008-08-22</c:v>
                </c:pt>
                <c:pt idx="1546">
                  <c:v>2008-08-25</c:v>
                </c:pt>
                <c:pt idx="1547">
                  <c:v>2008-08-26</c:v>
                </c:pt>
                <c:pt idx="1548">
                  <c:v>2008-08-27</c:v>
                </c:pt>
                <c:pt idx="1549">
                  <c:v>2008-08-28</c:v>
                </c:pt>
                <c:pt idx="1550">
                  <c:v>2008-08-29</c:v>
                </c:pt>
                <c:pt idx="1551">
                  <c:v>2008-09-01</c:v>
                </c:pt>
                <c:pt idx="1552">
                  <c:v>2008-09-02</c:v>
                </c:pt>
                <c:pt idx="1553">
                  <c:v>2008-09-03</c:v>
                </c:pt>
                <c:pt idx="1554">
                  <c:v>2008-09-04</c:v>
                </c:pt>
                <c:pt idx="1555">
                  <c:v>2008-09-05</c:v>
                </c:pt>
                <c:pt idx="1556">
                  <c:v>2008-09-08</c:v>
                </c:pt>
                <c:pt idx="1557">
                  <c:v>2008-09-09</c:v>
                </c:pt>
                <c:pt idx="1558">
                  <c:v>2008-09-10</c:v>
                </c:pt>
                <c:pt idx="1559">
                  <c:v>2008-09-11</c:v>
                </c:pt>
                <c:pt idx="1560">
                  <c:v>2008-09-12</c:v>
                </c:pt>
                <c:pt idx="1561">
                  <c:v>2008-09-16</c:v>
                </c:pt>
                <c:pt idx="1562">
                  <c:v>2008-09-17</c:v>
                </c:pt>
                <c:pt idx="1563">
                  <c:v>2008-09-18</c:v>
                </c:pt>
                <c:pt idx="1564">
                  <c:v>2008-09-19</c:v>
                </c:pt>
                <c:pt idx="1565">
                  <c:v>2008-09-22</c:v>
                </c:pt>
                <c:pt idx="1566">
                  <c:v>2008-09-23</c:v>
                </c:pt>
                <c:pt idx="1567">
                  <c:v>2008-09-24</c:v>
                </c:pt>
                <c:pt idx="1568">
                  <c:v>2008-09-25</c:v>
                </c:pt>
                <c:pt idx="1569">
                  <c:v>2008-09-26</c:v>
                </c:pt>
                <c:pt idx="1570">
                  <c:v>2008-10-06</c:v>
                </c:pt>
                <c:pt idx="1571">
                  <c:v>2008-10-07</c:v>
                </c:pt>
                <c:pt idx="1572">
                  <c:v>2008-10-08</c:v>
                </c:pt>
                <c:pt idx="1573">
                  <c:v>2008-10-09</c:v>
                </c:pt>
                <c:pt idx="1574">
                  <c:v>2008-10-10</c:v>
                </c:pt>
                <c:pt idx="1575">
                  <c:v>2008-10-13</c:v>
                </c:pt>
                <c:pt idx="1576">
                  <c:v>2008-10-14</c:v>
                </c:pt>
                <c:pt idx="1577">
                  <c:v>2008-10-15</c:v>
                </c:pt>
                <c:pt idx="1578">
                  <c:v>2008-10-16</c:v>
                </c:pt>
                <c:pt idx="1579">
                  <c:v>2008-10-17</c:v>
                </c:pt>
                <c:pt idx="1580">
                  <c:v>2008-10-20</c:v>
                </c:pt>
                <c:pt idx="1581">
                  <c:v>2008-10-21</c:v>
                </c:pt>
                <c:pt idx="1582">
                  <c:v>2008-10-22</c:v>
                </c:pt>
                <c:pt idx="1583">
                  <c:v>2008-10-23</c:v>
                </c:pt>
                <c:pt idx="1584">
                  <c:v>2008-10-24</c:v>
                </c:pt>
                <c:pt idx="1585">
                  <c:v>2008-10-27</c:v>
                </c:pt>
                <c:pt idx="1586">
                  <c:v>2008-10-28</c:v>
                </c:pt>
                <c:pt idx="1587">
                  <c:v>2008-10-29</c:v>
                </c:pt>
                <c:pt idx="1588">
                  <c:v>2008-10-30</c:v>
                </c:pt>
                <c:pt idx="1589">
                  <c:v>2008-10-31</c:v>
                </c:pt>
                <c:pt idx="1590">
                  <c:v>2008-11-03</c:v>
                </c:pt>
                <c:pt idx="1591">
                  <c:v>2008-11-04</c:v>
                </c:pt>
                <c:pt idx="1592">
                  <c:v>2008-11-05</c:v>
                </c:pt>
                <c:pt idx="1593">
                  <c:v>2008-11-06</c:v>
                </c:pt>
                <c:pt idx="1594">
                  <c:v>2008-11-07</c:v>
                </c:pt>
                <c:pt idx="1595">
                  <c:v>2008-11-10</c:v>
                </c:pt>
                <c:pt idx="1596">
                  <c:v>2008-11-11</c:v>
                </c:pt>
                <c:pt idx="1597">
                  <c:v>2008-11-12</c:v>
                </c:pt>
                <c:pt idx="1598">
                  <c:v>2008-11-13</c:v>
                </c:pt>
                <c:pt idx="1599">
                  <c:v>2008-11-14</c:v>
                </c:pt>
                <c:pt idx="1600">
                  <c:v>2008-11-17</c:v>
                </c:pt>
                <c:pt idx="1601">
                  <c:v>2008-11-18</c:v>
                </c:pt>
                <c:pt idx="1602">
                  <c:v>2008-11-19</c:v>
                </c:pt>
                <c:pt idx="1603">
                  <c:v>2008-11-20</c:v>
                </c:pt>
                <c:pt idx="1604">
                  <c:v>2008-11-21</c:v>
                </c:pt>
                <c:pt idx="1605">
                  <c:v>2008-11-24</c:v>
                </c:pt>
                <c:pt idx="1606">
                  <c:v>2008-11-25</c:v>
                </c:pt>
                <c:pt idx="1607">
                  <c:v>2008-11-26</c:v>
                </c:pt>
                <c:pt idx="1608">
                  <c:v>2008-11-27</c:v>
                </c:pt>
                <c:pt idx="1609">
                  <c:v>2008-11-28</c:v>
                </c:pt>
                <c:pt idx="1610">
                  <c:v>2008-12-01</c:v>
                </c:pt>
                <c:pt idx="1611">
                  <c:v>2008-12-02</c:v>
                </c:pt>
                <c:pt idx="1612">
                  <c:v>2008-12-03</c:v>
                </c:pt>
                <c:pt idx="1613">
                  <c:v>2008-12-04</c:v>
                </c:pt>
                <c:pt idx="1614">
                  <c:v>2008-12-05</c:v>
                </c:pt>
                <c:pt idx="1615">
                  <c:v>2008-12-08</c:v>
                </c:pt>
                <c:pt idx="1616">
                  <c:v>2008-12-09</c:v>
                </c:pt>
                <c:pt idx="1617">
                  <c:v>2008-12-10</c:v>
                </c:pt>
                <c:pt idx="1618">
                  <c:v>2008-12-11</c:v>
                </c:pt>
                <c:pt idx="1619">
                  <c:v>2008-12-12</c:v>
                </c:pt>
                <c:pt idx="1620">
                  <c:v>2008-12-15</c:v>
                </c:pt>
                <c:pt idx="1621">
                  <c:v>2008-12-16</c:v>
                </c:pt>
                <c:pt idx="1622">
                  <c:v>2008-12-17</c:v>
                </c:pt>
                <c:pt idx="1623">
                  <c:v>2008-12-18</c:v>
                </c:pt>
                <c:pt idx="1624">
                  <c:v>2008-12-19</c:v>
                </c:pt>
                <c:pt idx="1625">
                  <c:v>2008-12-22</c:v>
                </c:pt>
                <c:pt idx="1626">
                  <c:v>2008-12-23</c:v>
                </c:pt>
                <c:pt idx="1627">
                  <c:v>2008-12-24</c:v>
                </c:pt>
                <c:pt idx="1628">
                  <c:v>2008-12-25</c:v>
                </c:pt>
                <c:pt idx="1629">
                  <c:v>2008-12-26</c:v>
                </c:pt>
                <c:pt idx="1630">
                  <c:v>2008-12-29</c:v>
                </c:pt>
                <c:pt idx="1631">
                  <c:v>2008-12-30</c:v>
                </c:pt>
                <c:pt idx="1632">
                  <c:v>2008-12-31</c:v>
                </c:pt>
                <c:pt idx="1633">
                  <c:v>2009-01-05</c:v>
                </c:pt>
                <c:pt idx="1634">
                  <c:v>2009-01-06</c:v>
                </c:pt>
                <c:pt idx="1635">
                  <c:v>2009-01-07</c:v>
                </c:pt>
                <c:pt idx="1636">
                  <c:v>2009-01-08</c:v>
                </c:pt>
                <c:pt idx="1637">
                  <c:v>2009-01-09</c:v>
                </c:pt>
                <c:pt idx="1638">
                  <c:v>2009-01-12</c:v>
                </c:pt>
                <c:pt idx="1639">
                  <c:v>2009-01-13</c:v>
                </c:pt>
                <c:pt idx="1640">
                  <c:v>2009-01-14</c:v>
                </c:pt>
                <c:pt idx="1641">
                  <c:v>2009-01-15</c:v>
                </c:pt>
                <c:pt idx="1642">
                  <c:v>2009-01-16</c:v>
                </c:pt>
                <c:pt idx="1643">
                  <c:v>2009-01-19</c:v>
                </c:pt>
                <c:pt idx="1644">
                  <c:v>2009-01-20</c:v>
                </c:pt>
                <c:pt idx="1645">
                  <c:v>2009-01-21</c:v>
                </c:pt>
                <c:pt idx="1646">
                  <c:v>2009-01-22</c:v>
                </c:pt>
                <c:pt idx="1647">
                  <c:v>2009-01-23</c:v>
                </c:pt>
                <c:pt idx="1648">
                  <c:v>2009-02-02</c:v>
                </c:pt>
                <c:pt idx="1649">
                  <c:v>2009-02-03</c:v>
                </c:pt>
                <c:pt idx="1650">
                  <c:v>2009-02-04</c:v>
                </c:pt>
                <c:pt idx="1651">
                  <c:v>2009-02-05</c:v>
                </c:pt>
                <c:pt idx="1652">
                  <c:v>2009-02-06</c:v>
                </c:pt>
                <c:pt idx="1653">
                  <c:v>2009-02-09</c:v>
                </c:pt>
                <c:pt idx="1654">
                  <c:v>2009-02-10</c:v>
                </c:pt>
                <c:pt idx="1655">
                  <c:v>2009-02-11</c:v>
                </c:pt>
                <c:pt idx="1656">
                  <c:v>2009-02-12</c:v>
                </c:pt>
                <c:pt idx="1657">
                  <c:v>2009-02-13</c:v>
                </c:pt>
                <c:pt idx="1658">
                  <c:v>2009-02-16</c:v>
                </c:pt>
                <c:pt idx="1659">
                  <c:v>2009-02-17</c:v>
                </c:pt>
                <c:pt idx="1660">
                  <c:v>2009-02-18</c:v>
                </c:pt>
                <c:pt idx="1661">
                  <c:v>2009-02-19</c:v>
                </c:pt>
                <c:pt idx="1662">
                  <c:v>2009-02-20</c:v>
                </c:pt>
                <c:pt idx="1663">
                  <c:v>2009-02-23</c:v>
                </c:pt>
                <c:pt idx="1664">
                  <c:v>2009-02-24</c:v>
                </c:pt>
                <c:pt idx="1665">
                  <c:v>2009-02-25</c:v>
                </c:pt>
                <c:pt idx="1666">
                  <c:v>2009-02-26</c:v>
                </c:pt>
                <c:pt idx="1667">
                  <c:v>2009-02-27</c:v>
                </c:pt>
                <c:pt idx="1668">
                  <c:v>2009-03-02</c:v>
                </c:pt>
                <c:pt idx="1669">
                  <c:v>2009-03-03</c:v>
                </c:pt>
                <c:pt idx="1670">
                  <c:v>2009-03-04</c:v>
                </c:pt>
                <c:pt idx="1671">
                  <c:v>2009-03-05</c:v>
                </c:pt>
                <c:pt idx="1672">
                  <c:v>2009-03-06</c:v>
                </c:pt>
                <c:pt idx="1673">
                  <c:v>2009-03-09</c:v>
                </c:pt>
                <c:pt idx="1674">
                  <c:v>2009-03-10</c:v>
                </c:pt>
                <c:pt idx="1675">
                  <c:v>2009-03-11</c:v>
                </c:pt>
                <c:pt idx="1676">
                  <c:v>2009-03-12</c:v>
                </c:pt>
                <c:pt idx="1677">
                  <c:v>2009-03-13</c:v>
                </c:pt>
                <c:pt idx="1678">
                  <c:v>2009-03-16</c:v>
                </c:pt>
                <c:pt idx="1679">
                  <c:v>2009-03-17</c:v>
                </c:pt>
                <c:pt idx="1680">
                  <c:v>2009-03-18</c:v>
                </c:pt>
                <c:pt idx="1681">
                  <c:v>2009-03-19</c:v>
                </c:pt>
                <c:pt idx="1682">
                  <c:v>2009-03-20</c:v>
                </c:pt>
                <c:pt idx="1683">
                  <c:v>2009-03-23</c:v>
                </c:pt>
                <c:pt idx="1684">
                  <c:v>2009-03-24</c:v>
                </c:pt>
                <c:pt idx="1685">
                  <c:v>2009-03-25</c:v>
                </c:pt>
                <c:pt idx="1686">
                  <c:v>2009-03-26</c:v>
                </c:pt>
                <c:pt idx="1687">
                  <c:v>2009-03-27</c:v>
                </c:pt>
                <c:pt idx="1688">
                  <c:v>2009-03-30</c:v>
                </c:pt>
                <c:pt idx="1689">
                  <c:v>2009-03-31</c:v>
                </c:pt>
                <c:pt idx="1690">
                  <c:v>2009-04-01</c:v>
                </c:pt>
                <c:pt idx="1691">
                  <c:v>2009-04-02</c:v>
                </c:pt>
                <c:pt idx="1692">
                  <c:v>2009-04-03</c:v>
                </c:pt>
                <c:pt idx="1693">
                  <c:v>2009-04-07</c:v>
                </c:pt>
                <c:pt idx="1694">
                  <c:v>2009-04-08</c:v>
                </c:pt>
                <c:pt idx="1695">
                  <c:v>2009-04-09</c:v>
                </c:pt>
                <c:pt idx="1696">
                  <c:v>2009-04-10</c:v>
                </c:pt>
                <c:pt idx="1697">
                  <c:v>2009-04-13</c:v>
                </c:pt>
                <c:pt idx="1698">
                  <c:v>2009-04-14</c:v>
                </c:pt>
                <c:pt idx="1699">
                  <c:v>2009-04-15</c:v>
                </c:pt>
                <c:pt idx="1700">
                  <c:v>2009-04-16</c:v>
                </c:pt>
                <c:pt idx="1701">
                  <c:v>2009-04-17</c:v>
                </c:pt>
                <c:pt idx="1702">
                  <c:v>2009-04-20</c:v>
                </c:pt>
                <c:pt idx="1703">
                  <c:v>2009-04-21</c:v>
                </c:pt>
                <c:pt idx="1704">
                  <c:v>2009-04-22</c:v>
                </c:pt>
                <c:pt idx="1705">
                  <c:v>2009-04-23</c:v>
                </c:pt>
                <c:pt idx="1706">
                  <c:v>2009-04-24</c:v>
                </c:pt>
                <c:pt idx="1707">
                  <c:v>2009-04-27</c:v>
                </c:pt>
                <c:pt idx="1708">
                  <c:v>2009-04-28</c:v>
                </c:pt>
                <c:pt idx="1709">
                  <c:v>2009-04-29</c:v>
                </c:pt>
                <c:pt idx="1710">
                  <c:v>2009-04-30</c:v>
                </c:pt>
                <c:pt idx="1711">
                  <c:v>2009-05-04</c:v>
                </c:pt>
                <c:pt idx="1712">
                  <c:v>2009-05-05</c:v>
                </c:pt>
                <c:pt idx="1713">
                  <c:v>2009-05-06</c:v>
                </c:pt>
                <c:pt idx="1714">
                  <c:v>2009-05-07</c:v>
                </c:pt>
                <c:pt idx="1715">
                  <c:v>2009-05-08</c:v>
                </c:pt>
                <c:pt idx="1716">
                  <c:v>2009-05-11</c:v>
                </c:pt>
                <c:pt idx="1717">
                  <c:v>2009-05-12</c:v>
                </c:pt>
                <c:pt idx="1718">
                  <c:v>2009-05-13</c:v>
                </c:pt>
                <c:pt idx="1719">
                  <c:v>2009-05-14</c:v>
                </c:pt>
                <c:pt idx="1720">
                  <c:v>2009-05-15</c:v>
                </c:pt>
                <c:pt idx="1721">
                  <c:v>2009-05-18</c:v>
                </c:pt>
                <c:pt idx="1722">
                  <c:v>2009-05-19</c:v>
                </c:pt>
                <c:pt idx="1723">
                  <c:v>2009-05-20</c:v>
                </c:pt>
                <c:pt idx="1724">
                  <c:v>2009-05-21</c:v>
                </c:pt>
                <c:pt idx="1725">
                  <c:v>2009-05-22</c:v>
                </c:pt>
                <c:pt idx="1726">
                  <c:v>2009-05-25</c:v>
                </c:pt>
                <c:pt idx="1727">
                  <c:v>2009-05-26</c:v>
                </c:pt>
                <c:pt idx="1728">
                  <c:v>2009-05-27</c:v>
                </c:pt>
                <c:pt idx="1729">
                  <c:v>2009-06-01</c:v>
                </c:pt>
                <c:pt idx="1730">
                  <c:v>2009-06-02</c:v>
                </c:pt>
                <c:pt idx="1731">
                  <c:v>2009-06-03</c:v>
                </c:pt>
                <c:pt idx="1732">
                  <c:v>2009-06-04</c:v>
                </c:pt>
                <c:pt idx="1733">
                  <c:v>2009-06-05</c:v>
                </c:pt>
                <c:pt idx="1734">
                  <c:v>2009-06-08</c:v>
                </c:pt>
                <c:pt idx="1735">
                  <c:v>2009-06-09</c:v>
                </c:pt>
                <c:pt idx="1736">
                  <c:v>2009-06-10</c:v>
                </c:pt>
                <c:pt idx="1737">
                  <c:v>2009-06-11</c:v>
                </c:pt>
                <c:pt idx="1738">
                  <c:v>2009-06-12</c:v>
                </c:pt>
                <c:pt idx="1739">
                  <c:v>2009-06-15</c:v>
                </c:pt>
                <c:pt idx="1740">
                  <c:v>2009-06-16</c:v>
                </c:pt>
                <c:pt idx="1741">
                  <c:v>2009-06-17</c:v>
                </c:pt>
                <c:pt idx="1742">
                  <c:v>2009-06-18</c:v>
                </c:pt>
                <c:pt idx="1743">
                  <c:v>2009-06-19</c:v>
                </c:pt>
                <c:pt idx="1744">
                  <c:v>2009-06-22</c:v>
                </c:pt>
                <c:pt idx="1745">
                  <c:v>2009-06-23</c:v>
                </c:pt>
                <c:pt idx="1746">
                  <c:v>2009-06-24</c:v>
                </c:pt>
                <c:pt idx="1747">
                  <c:v>2009-06-25</c:v>
                </c:pt>
                <c:pt idx="1748">
                  <c:v>2009-06-26</c:v>
                </c:pt>
                <c:pt idx="1749">
                  <c:v>2009-06-29</c:v>
                </c:pt>
                <c:pt idx="1750">
                  <c:v>2009-06-30</c:v>
                </c:pt>
                <c:pt idx="1751">
                  <c:v>2009-07-01</c:v>
                </c:pt>
                <c:pt idx="1752">
                  <c:v>2009-07-02</c:v>
                </c:pt>
                <c:pt idx="1753">
                  <c:v>2009-07-03</c:v>
                </c:pt>
                <c:pt idx="1754">
                  <c:v>2009-07-06</c:v>
                </c:pt>
                <c:pt idx="1755">
                  <c:v>2009-07-07</c:v>
                </c:pt>
                <c:pt idx="1756">
                  <c:v>2009-07-08</c:v>
                </c:pt>
                <c:pt idx="1757">
                  <c:v>2009-07-09</c:v>
                </c:pt>
                <c:pt idx="1758">
                  <c:v>2009-07-10</c:v>
                </c:pt>
                <c:pt idx="1759">
                  <c:v>2009-07-13</c:v>
                </c:pt>
                <c:pt idx="1760">
                  <c:v>2009-07-14</c:v>
                </c:pt>
                <c:pt idx="1761">
                  <c:v>2009-07-15</c:v>
                </c:pt>
                <c:pt idx="1762">
                  <c:v>2009-07-16</c:v>
                </c:pt>
                <c:pt idx="1763">
                  <c:v>2009-07-17</c:v>
                </c:pt>
                <c:pt idx="1764">
                  <c:v>2009-07-20</c:v>
                </c:pt>
                <c:pt idx="1765">
                  <c:v>2009-07-21</c:v>
                </c:pt>
                <c:pt idx="1766">
                  <c:v>2009-07-22</c:v>
                </c:pt>
                <c:pt idx="1767">
                  <c:v>2009-07-23</c:v>
                </c:pt>
                <c:pt idx="1768">
                  <c:v>2009-07-24</c:v>
                </c:pt>
                <c:pt idx="1769">
                  <c:v>2009-07-27</c:v>
                </c:pt>
                <c:pt idx="1770">
                  <c:v>2009-07-28</c:v>
                </c:pt>
                <c:pt idx="1771">
                  <c:v>2009-07-29</c:v>
                </c:pt>
                <c:pt idx="1772">
                  <c:v>2009-07-30</c:v>
                </c:pt>
                <c:pt idx="1773">
                  <c:v>2009-07-31</c:v>
                </c:pt>
                <c:pt idx="1774">
                  <c:v>2009-08-03</c:v>
                </c:pt>
                <c:pt idx="1775">
                  <c:v>2009-08-04</c:v>
                </c:pt>
                <c:pt idx="1776">
                  <c:v>2009-08-05</c:v>
                </c:pt>
                <c:pt idx="1777">
                  <c:v>2009-08-06</c:v>
                </c:pt>
                <c:pt idx="1778">
                  <c:v>2009-08-07</c:v>
                </c:pt>
                <c:pt idx="1779">
                  <c:v>2009-08-10</c:v>
                </c:pt>
                <c:pt idx="1780">
                  <c:v>2009-08-11</c:v>
                </c:pt>
                <c:pt idx="1781">
                  <c:v>2009-08-12</c:v>
                </c:pt>
                <c:pt idx="1782">
                  <c:v>2009-08-13</c:v>
                </c:pt>
                <c:pt idx="1783">
                  <c:v>2009-08-14</c:v>
                </c:pt>
                <c:pt idx="1784">
                  <c:v>2009-08-17</c:v>
                </c:pt>
                <c:pt idx="1785">
                  <c:v>2009-08-18</c:v>
                </c:pt>
                <c:pt idx="1786">
                  <c:v>2009-08-19</c:v>
                </c:pt>
                <c:pt idx="1787">
                  <c:v>2009-08-20</c:v>
                </c:pt>
                <c:pt idx="1788">
                  <c:v>2009-08-21</c:v>
                </c:pt>
                <c:pt idx="1789">
                  <c:v>2009-08-24</c:v>
                </c:pt>
                <c:pt idx="1790">
                  <c:v>2009-08-25</c:v>
                </c:pt>
                <c:pt idx="1791">
                  <c:v>2009-08-26</c:v>
                </c:pt>
                <c:pt idx="1792">
                  <c:v>2009-08-27</c:v>
                </c:pt>
                <c:pt idx="1793">
                  <c:v>2009-08-28</c:v>
                </c:pt>
                <c:pt idx="1794">
                  <c:v>2009-08-31</c:v>
                </c:pt>
                <c:pt idx="1795">
                  <c:v>2009-09-01</c:v>
                </c:pt>
                <c:pt idx="1796">
                  <c:v>2009-09-02</c:v>
                </c:pt>
                <c:pt idx="1797">
                  <c:v>2009-09-03</c:v>
                </c:pt>
                <c:pt idx="1798">
                  <c:v>2009-09-04</c:v>
                </c:pt>
                <c:pt idx="1799">
                  <c:v>2009-09-07</c:v>
                </c:pt>
                <c:pt idx="1800">
                  <c:v>2009-09-08</c:v>
                </c:pt>
                <c:pt idx="1801">
                  <c:v>2009-09-09</c:v>
                </c:pt>
                <c:pt idx="1802">
                  <c:v>2009-09-10</c:v>
                </c:pt>
                <c:pt idx="1803">
                  <c:v>2009-09-11</c:v>
                </c:pt>
                <c:pt idx="1804">
                  <c:v>2009-09-14</c:v>
                </c:pt>
                <c:pt idx="1805">
                  <c:v>2009-09-15</c:v>
                </c:pt>
                <c:pt idx="1806">
                  <c:v>2009-09-16</c:v>
                </c:pt>
                <c:pt idx="1807">
                  <c:v>2009-09-17</c:v>
                </c:pt>
                <c:pt idx="1808">
                  <c:v>2009-09-18</c:v>
                </c:pt>
                <c:pt idx="1809">
                  <c:v>2009-09-21</c:v>
                </c:pt>
                <c:pt idx="1810">
                  <c:v>2009-09-22</c:v>
                </c:pt>
                <c:pt idx="1811">
                  <c:v>2009-09-23</c:v>
                </c:pt>
                <c:pt idx="1812">
                  <c:v>2009-09-24</c:v>
                </c:pt>
                <c:pt idx="1813">
                  <c:v>2009-09-25</c:v>
                </c:pt>
                <c:pt idx="1814">
                  <c:v>2009-09-28</c:v>
                </c:pt>
                <c:pt idx="1815">
                  <c:v>2009-09-29</c:v>
                </c:pt>
                <c:pt idx="1816">
                  <c:v>2009-09-30</c:v>
                </c:pt>
                <c:pt idx="1817">
                  <c:v>2009-10-09</c:v>
                </c:pt>
                <c:pt idx="1818">
                  <c:v>2009-10-12</c:v>
                </c:pt>
                <c:pt idx="1819">
                  <c:v>2009-10-13</c:v>
                </c:pt>
                <c:pt idx="1820">
                  <c:v>2009-10-14</c:v>
                </c:pt>
                <c:pt idx="1821">
                  <c:v>2009-10-15</c:v>
                </c:pt>
                <c:pt idx="1822">
                  <c:v>2009-10-16</c:v>
                </c:pt>
                <c:pt idx="1823">
                  <c:v>2009-10-19</c:v>
                </c:pt>
                <c:pt idx="1824">
                  <c:v>2009-10-20</c:v>
                </c:pt>
                <c:pt idx="1825">
                  <c:v>2009-10-21</c:v>
                </c:pt>
                <c:pt idx="1826">
                  <c:v>2009-10-22</c:v>
                </c:pt>
                <c:pt idx="1827">
                  <c:v>2009-10-23</c:v>
                </c:pt>
                <c:pt idx="1828">
                  <c:v>2009-10-26</c:v>
                </c:pt>
                <c:pt idx="1829">
                  <c:v>2009-10-27</c:v>
                </c:pt>
                <c:pt idx="1830">
                  <c:v>2009-10-28</c:v>
                </c:pt>
                <c:pt idx="1831">
                  <c:v>2009-10-29</c:v>
                </c:pt>
                <c:pt idx="1832">
                  <c:v>2009-10-30</c:v>
                </c:pt>
                <c:pt idx="1833">
                  <c:v>2009-11-02</c:v>
                </c:pt>
                <c:pt idx="1834">
                  <c:v>2009-11-03</c:v>
                </c:pt>
                <c:pt idx="1835">
                  <c:v>2009-11-04</c:v>
                </c:pt>
                <c:pt idx="1836">
                  <c:v>2009-11-05</c:v>
                </c:pt>
                <c:pt idx="1837">
                  <c:v>2009-11-06</c:v>
                </c:pt>
                <c:pt idx="1838">
                  <c:v>2009-11-09</c:v>
                </c:pt>
                <c:pt idx="1839">
                  <c:v>2009-11-10</c:v>
                </c:pt>
                <c:pt idx="1840">
                  <c:v>2009-11-11</c:v>
                </c:pt>
                <c:pt idx="1841">
                  <c:v>2009-11-12</c:v>
                </c:pt>
                <c:pt idx="1842">
                  <c:v>2009-11-13</c:v>
                </c:pt>
                <c:pt idx="1843">
                  <c:v>2009-11-16</c:v>
                </c:pt>
                <c:pt idx="1844">
                  <c:v>2009-11-17</c:v>
                </c:pt>
                <c:pt idx="1845">
                  <c:v>2009-11-18</c:v>
                </c:pt>
                <c:pt idx="1846">
                  <c:v>2009-11-19</c:v>
                </c:pt>
                <c:pt idx="1847">
                  <c:v>2009-11-20</c:v>
                </c:pt>
                <c:pt idx="1848">
                  <c:v>2009-11-23</c:v>
                </c:pt>
                <c:pt idx="1849">
                  <c:v>2009-11-24</c:v>
                </c:pt>
                <c:pt idx="1850">
                  <c:v>2009-11-25</c:v>
                </c:pt>
                <c:pt idx="1851">
                  <c:v>2009-11-26</c:v>
                </c:pt>
                <c:pt idx="1852">
                  <c:v>2009-11-27</c:v>
                </c:pt>
                <c:pt idx="1853">
                  <c:v>2009-11-30</c:v>
                </c:pt>
                <c:pt idx="1854">
                  <c:v>2009-12-01</c:v>
                </c:pt>
                <c:pt idx="1855">
                  <c:v>2009-12-02</c:v>
                </c:pt>
                <c:pt idx="1856">
                  <c:v>2009-12-03</c:v>
                </c:pt>
                <c:pt idx="1857">
                  <c:v>2009-12-04</c:v>
                </c:pt>
                <c:pt idx="1858">
                  <c:v>2009-12-07</c:v>
                </c:pt>
                <c:pt idx="1859">
                  <c:v>2009-12-08</c:v>
                </c:pt>
                <c:pt idx="1860">
                  <c:v>2009-12-09</c:v>
                </c:pt>
                <c:pt idx="1861">
                  <c:v>2009-12-10</c:v>
                </c:pt>
                <c:pt idx="1862">
                  <c:v>2009-12-11</c:v>
                </c:pt>
                <c:pt idx="1863">
                  <c:v>2009-12-14</c:v>
                </c:pt>
                <c:pt idx="1864">
                  <c:v>2009-12-15</c:v>
                </c:pt>
                <c:pt idx="1865">
                  <c:v>2009-12-16</c:v>
                </c:pt>
                <c:pt idx="1866">
                  <c:v>2009-12-17</c:v>
                </c:pt>
                <c:pt idx="1867">
                  <c:v>2009-12-18</c:v>
                </c:pt>
                <c:pt idx="1868">
                  <c:v>2009-12-21</c:v>
                </c:pt>
                <c:pt idx="1869">
                  <c:v>2009-12-22</c:v>
                </c:pt>
                <c:pt idx="1870">
                  <c:v>2009-12-23</c:v>
                </c:pt>
                <c:pt idx="1871">
                  <c:v>2009-12-24</c:v>
                </c:pt>
                <c:pt idx="1872">
                  <c:v>2009-12-25</c:v>
                </c:pt>
                <c:pt idx="1873">
                  <c:v>2009-12-28</c:v>
                </c:pt>
                <c:pt idx="1874">
                  <c:v>2009-12-29</c:v>
                </c:pt>
                <c:pt idx="1875">
                  <c:v>2009-12-30</c:v>
                </c:pt>
                <c:pt idx="1876">
                  <c:v>2009-12-31</c:v>
                </c:pt>
                <c:pt idx="1877">
                  <c:v>2010-01-04</c:v>
                </c:pt>
                <c:pt idx="1878">
                  <c:v>2010-01-05</c:v>
                </c:pt>
                <c:pt idx="1879">
                  <c:v>2010-01-06</c:v>
                </c:pt>
                <c:pt idx="1880">
                  <c:v>2010-01-07</c:v>
                </c:pt>
                <c:pt idx="1881">
                  <c:v>2010-01-08</c:v>
                </c:pt>
                <c:pt idx="1882">
                  <c:v>2010-01-11</c:v>
                </c:pt>
                <c:pt idx="1883">
                  <c:v>2010-01-12</c:v>
                </c:pt>
                <c:pt idx="1884">
                  <c:v>2010-01-13</c:v>
                </c:pt>
                <c:pt idx="1885">
                  <c:v>2010-01-14</c:v>
                </c:pt>
                <c:pt idx="1886">
                  <c:v>2010-01-15</c:v>
                </c:pt>
                <c:pt idx="1887">
                  <c:v>2010-01-18</c:v>
                </c:pt>
                <c:pt idx="1888">
                  <c:v>2010-01-19</c:v>
                </c:pt>
                <c:pt idx="1889">
                  <c:v>2010-01-20</c:v>
                </c:pt>
                <c:pt idx="1890">
                  <c:v>2010-01-21</c:v>
                </c:pt>
                <c:pt idx="1891">
                  <c:v>2010-01-22</c:v>
                </c:pt>
                <c:pt idx="1892">
                  <c:v>2010-01-25</c:v>
                </c:pt>
                <c:pt idx="1893">
                  <c:v>2010-01-26</c:v>
                </c:pt>
                <c:pt idx="1894">
                  <c:v>2010-01-27</c:v>
                </c:pt>
                <c:pt idx="1895">
                  <c:v>2010-01-28</c:v>
                </c:pt>
                <c:pt idx="1896">
                  <c:v>2010-01-29</c:v>
                </c:pt>
                <c:pt idx="1897">
                  <c:v>2010-02-01</c:v>
                </c:pt>
                <c:pt idx="1898">
                  <c:v>2010-02-02</c:v>
                </c:pt>
                <c:pt idx="1899">
                  <c:v>2010-02-03</c:v>
                </c:pt>
                <c:pt idx="1900">
                  <c:v>2010-02-04</c:v>
                </c:pt>
                <c:pt idx="1901">
                  <c:v>2010-02-05</c:v>
                </c:pt>
                <c:pt idx="1902">
                  <c:v>2010-02-08</c:v>
                </c:pt>
                <c:pt idx="1903">
                  <c:v>2010-02-09</c:v>
                </c:pt>
                <c:pt idx="1904">
                  <c:v>2010-02-10</c:v>
                </c:pt>
                <c:pt idx="1905">
                  <c:v>2010-02-11</c:v>
                </c:pt>
                <c:pt idx="1906">
                  <c:v>2010-02-12</c:v>
                </c:pt>
                <c:pt idx="1907">
                  <c:v>2010-02-22</c:v>
                </c:pt>
                <c:pt idx="1908">
                  <c:v>2010-02-23</c:v>
                </c:pt>
                <c:pt idx="1909">
                  <c:v>2010-02-24</c:v>
                </c:pt>
                <c:pt idx="1910">
                  <c:v>2010-02-25</c:v>
                </c:pt>
                <c:pt idx="1911">
                  <c:v>2010-02-26</c:v>
                </c:pt>
                <c:pt idx="1912">
                  <c:v>2010-03-01</c:v>
                </c:pt>
                <c:pt idx="1913">
                  <c:v>2010-03-02</c:v>
                </c:pt>
                <c:pt idx="1914">
                  <c:v>2010-03-03</c:v>
                </c:pt>
                <c:pt idx="1915">
                  <c:v>2010-03-04</c:v>
                </c:pt>
                <c:pt idx="1916">
                  <c:v>2010-03-05</c:v>
                </c:pt>
                <c:pt idx="1917">
                  <c:v>2010-03-08</c:v>
                </c:pt>
                <c:pt idx="1918">
                  <c:v>2010-03-09</c:v>
                </c:pt>
                <c:pt idx="1919">
                  <c:v>2010-03-10</c:v>
                </c:pt>
                <c:pt idx="1920">
                  <c:v>2010-03-11</c:v>
                </c:pt>
                <c:pt idx="1921">
                  <c:v>2010-03-12</c:v>
                </c:pt>
                <c:pt idx="1922">
                  <c:v>2010-03-15</c:v>
                </c:pt>
                <c:pt idx="1923">
                  <c:v>2010-03-16</c:v>
                </c:pt>
                <c:pt idx="1924">
                  <c:v>2010-03-17</c:v>
                </c:pt>
                <c:pt idx="1925">
                  <c:v>2010-03-18</c:v>
                </c:pt>
                <c:pt idx="1926">
                  <c:v>2010-03-19</c:v>
                </c:pt>
                <c:pt idx="1927">
                  <c:v>2010-03-22</c:v>
                </c:pt>
                <c:pt idx="1928">
                  <c:v>2010-03-23</c:v>
                </c:pt>
                <c:pt idx="1929">
                  <c:v>2010-03-24</c:v>
                </c:pt>
                <c:pt idx="1930">
                  <c:v>2010-03-25</c:v>
                </c:pt>
                <c:pt idx="1931">
                  <c:v>2010-03-26</c:v>
                </c:pt>
                <c:pt idx="1932">
                  <c:v>2010-03-29</c:v>
                </c:pt>
                <c:pt idx="1933">
                  <c:v>2010-03-30</c:v>
                </c:pt>
                <c:pt idx="1934">
                  <c:v>2010-03-31</c:v>
                </c:pt>
                <c:pt idx="1935">
                  <c:v>2010-04-01</c:v>
                </c:pt>
                <c:pt idx="1936">
                  <c:v>2010-04-02</c:v>
                </c:pt>
                <c:pt idx="1937">
                  <c:v>2010-04-06</c:v>
                </c:pt>
                <c:pt idx="1938">
                  <c:v>2010-04-07</c:v>
                </c:pt>
                <c:pt idx="1939">
                  <c:v>2010-04-08</c:v>
                </c:pt>
                <c:pt idx="1940">
                  <c:v>2010-04-09</c:v>
                </c:pt>
                <c:pt idx="1941">
                  <c:v>2010-04-12</c:v>
                </c:pt>
                <c:pt idx="1942">
                  <c:v>2010-04-13</c:v>
                </c:pt>
                <c:pt idx="1943">
                  <c:v>2010-04-14</c:v>
                </c:pt>
                <c:pt idx="1944">
                  <c:v>2010-04-15</c:v>
                </c:pt>
                <c:pt idx="1945">
                  <c:v>2010-04-16</c:v>
                </c:pt>
                <c:pt idx="1946">
                  <c:v>2010-04-19</c:v>
                </c:pt>
                <c:pt idx="1947">
                  <c:v>2010-04-20</c:v>
                </c:pt>
                <c:pt idx="1948">
                  <c:v>2010-04-21</c:v>
                </c:pt>
                <c:pt idx="1949">
                  <c:v>2010-04-22</c:v>
                </c:pt>
                <c:pt idx="1950">
                  <c:v>2010-04-23</c:v>
                </c:pt>
                <c:pt idx="1951">
                  <c:v>2010-04-26</c:v>
                </c:pt>
                <c:pt idx="1952">
                  <c:v>2010-04-27</c:v>
                </c:pt>
                <c:pt idx="1953">
                  <c:v>2010-04-28</c:v>
                </c:pt>
                <c:pt idx="1954">
                  <c:v>2010-04-29</c:v>
                </c:pt>
                <c:pt idx="1955">
                  <c:v>2010-04-30</c:v>
                </c:pt>
                <c:pt idx="1956">
                  <c:v>2010-05-04</c:v>
                </c:pt>
                <c:pt idx="1957">
                  <c:v>2010-05-05</c:v>
                </c:pt>
                <c:pt idx="1958">
                  <c:v>2010-05-06</c:v>
                </c:pt>
                <c:pt idx="1959">
                  <c:v>2010-05-07</c:v>
                </c:pt>
                <c:pt idx="1960">
                  <c:v>2010-05-10</c:v>
                </c:pt>
                <c:pt idx="1961">
                  <c:v>2010-05-11</c:v>
                </c:pt>
                <c:pt idx="1962">
                  <c:v>2010-05-12</c:v>
                </c:pt>
                <c:pt idx="1963">
                  <c:v>2010-05-13</c:v>
                </c:pt>
                <c:pt idx="1964">
                  <c:v>2010-05-14</c:v>
                </c:pt>
                <c:pt idx="1965">
                  <c:v>2010-05-17</c:v>
                </c:pt>
                <c:pt idx="1966">
                  <c:v>2010-05-18</c:v>
                </c:pt>
                <c:pt idx="1967">
                  <c:v>2010-05-19</c:v>
                </c:pt>
                <c:pt idx="1968">
                  <c:v>2010-05-20</c:v>
                </c:pt>
                <c:pt idx="1969">
                  <c:v>2010-05-21</c:v>
                </c:pt>
                <c:pt idx="1970">
                  <c:v>2010-05-24</c:v>
                </c:pt>
                <c:pt idx="1971">
                  <c:v>2010-05-25</c:v>
                </c:pt>
                <c:pt idx="1972">
                  <c:v>2010-05-26</c:v>
                </c:pt>
                <c:pt idx="1973">
                  <c:v>2010-05-27</c:v>
                </c:pt>
                <c:pt idx="1974">
                  <c:v>2010-05-28</c:v>
                </c:pt>
                <c:pt idx="1975">
                  <c:v>2010-05-31</c:v>
                </c:pt>
                <c:pt idx="1976">
                  <c:v>2010-06-01</c:v>
                </c:pt>
                <c:pt idx="1977">
                  <c:v>2010-06-02</c:v>
                </c:pt>
                <c:pt idx="1978">
                  <c:v>2010-06-03</c:v>
                </c:pt>
                <c:pt idx="1979">
                  <c:v>2010-06-04</c:v>
                </c:pt>
                <c:pt idx="1980">
                  <c:v>2010-06-07</c:v>
                </c:pt>
                <c:pt idx="1981">
                  <c:v>2010-06-08</c:v>
                </c:pt>
                <c:pt idx="1982">
                  <c:v>2010-06-09</c:v>
                </c:pt>
                <c:pt idx="1983">
                  <c:v>2010-06-10</c:v>
                </c:pt>
                <c:pt idx="1984">
                  <c:v>2010-06-11</c:v>
                </c:pt>
                <c:pt idx="1985">
                  <c:v>2010-06-17</c:v>
                </c:pt>
                <c:pt idx="1986">
                  <c:v>2010-06-18</c:v>
                </c:pt>
                <c:pt idx="1987">
                  <c:v>2010-06-21</c:v>
                </c:pt>
                <c:pt idx="1988">
                  <c:v>2010-06-22</c:v>
                </c:pt>
                <c:pt idx="1989">
                  <c:v>2010-06-23</c:v>
                </c:pt>
                <c:pt idx="1990">
                  <c:v>2010-06-24</c:v>
                </c:pt>
                <c:pt idx="1991">
                  <c:v>2010-06-25</c:v>
                </c:pt>
                <c:pt idx="1992">
                  <c:v>2010-06-28</c:v>
                </c:pt>
                <c:pt idx="1993">
                  <c:v>2010-06-29</c:v>
                </c:pt>
                <c:pt idx="1994">
                  <c:v>2010-06-30</c:v>
                </c:pt>
                <c:pt idx="1995">
                  <c:v>2010-07-01</c:v>
                </c:pt>
                <c:pt idx="1996">
                  <c:v>2010-07-02</c:v>
                </c:pt>
                <c:pt idx="1997">
                  <c:v>2010-07-05</c:v>
                </c:pt>
                <c:pt idx="1998">
                  <c:v>2010-07-06</c:v>
                </c:pt>
                <c:pt idx="1999">
                  <c:v>2010-07-07</c:v>
                </c:pt>
                <c:pt idx="2000">
                  <c:v>2010-07-08</c:v>
                </c:pt>
                <c:pt idx="2001">
                  <c:v>2010-07-09</c:v>
                </c:pt>
                <c:pt idx="2002">
                  <c:v>2010-07-12</c:v>
                </c:pt>
                <c:pt idx="2003">
                  <c:v>2010-07-13</c:v>
                </c:pt>
                <c:pt idx="2004">
                  <c:v>2010-07-14</c:v>
                </c:pt>
                <c:pt idx="2005">
                  <c:v>2010-07-15</c:v>
                </c:pt>
                <c:pt idx="2006">
                  <c:v>2010-07-16</c:v>
                </c:pt>
                <c:pt idx="2007">
                  <c:v>2010-07-19</c:v>
                </c:pt>
                <c:pt idx="2008">
                  <c:v>2010-07-20</c:v>
                </c:pt>
                <c:pt idx="2009">
                  <c:v>2010-07-21</c:v>
                </c:pt>
                <c:pt idx="2010">
                  <c:v>2010-07-22</c:v>
                </c:pt>
                <c:pt idx="2011">
                  <c:v>2010-07-23</c:v>
                </c:pt>
                <c:pt idx="2012">
                  <c:v>2010-07-26</c:v>
                </c:pt>
                <c:pt idx="2013">
                  <c:v>2010-07-27</c:v>
                </c:pt>
                <c:pt idx="2014">
                  <c:v>2010-07-28</c:v>
                </c:pt>
                <c:pt idx="2015">
                  <c:v>2010-07-29</c:v>
                </c:pt>
                <c:pt idx="2016">
                  <c:v>2010-07-30</c:v>
                </c:pt>
                <c:pt idx="2017">
                  <c:v>2010-08-02</c:v>
                </c:pt>
                <c:pt idx="2018">
                  <c:v>2010-08-03</c:v>
                </c:pt>
                <c:pt idx="2019">
                  <c:v>2010-08-04</c:v>
                </c:pt>
                <c:pt idx="2020">
                  <c:v>2010-08-05</c:v>
                </c:pt>
                <c:pt idx="2021">
                  <c:v>2010-08-06</c:v>
                </c:pt>
                <c:pt idx="2022">
                  <c:v>2010-08-09</c:v>
                </c:pt>
                <c:pt idx="2023">
                  <c:v>2010-08-10</c:v>
                </c:pt>
                <c:pt idx="2024">
                  <c:v>2010-08-11</c:v>
                </c:pt>
                <c:pt idx="2025">
                  <c:v>2010-08-12</c:v>
                </c:pt>
                <c:pt idx="2026">
                  <c:v>2010-08-13</c:v>
                </c:pt>
                <c:pt idx="2027">
                  <c:v>2010-08-16</c:v>
                </c:pt>
                <c:pt idx="2028">
                  <c:v>2010-08-17</c:v>
                </c:pt>
                <c:pt idx="2029">
                  <c:v>2010-08-18</c:v>
                </c:pt>
                <c:pt idx="2030">
                  <c:v>2010-08-19</c:v>
                </c:pt>
                <c:pt idx="2031">
                  <c:v>2010-08-20</c:v>
                </c:pt>
                <c:pt idx="2032">
                  <c:v>2010-08-23</c:v>
                </c:pt>
                <c:pt idx="2033">
                  <c:v>2010-08-24</c:v>
                </c:pt>
                <c:pt idx="2034">
                  <c:v>2010-08-25</c:v>
                </c:pt>
                <c:pt idx="2035">
                  <c:v>2010-08-26</c:v>
                </c:pt>
                <c:pt idx="2036">
                  <c:v>2010-08-27</c:v>
                </c:pt>
                <c:pt idx="2037">
                  <c:v>2010-08-30</c:v>
                </c:pt>
                <c:pt idx="2038">
                  <c:v>2010-08-31</c:v>
                </c:pt>
                <c:pt idx="2039">
                  <c:v>2010-09-01</c:v>
                </c:pt>
                <c:pt idx="2040">
                  <c:v>2010-09-02</c:v>
                </c:pt>
                <c:pt idx="2041">
                  <c:v>2010-09-03</c:v>
                </c:pt>
                <c:pt idx="2042">
                  <c:v>2010-09-06</c:v>
                </c:pt>
                <c:pt idx="2043">
                  <c:v>2010-09-07</c:v>
                </c:pt>
                <c:pt idx="2044">
                  <c:v>2010-09-08</c:v>
                </c:pt>
                <c:pt idx="2045">
                  <c:v>2010-09-09</c:v>
                </c:pt>
                <c:pt idx="2046">
                  <c:v>2010-09-10</c:v>
                </c:pt>
                <c:pt idx="2047">
                  <c:v>2010-09-13</c:v>
                </c:pt>
                <c:pt idx="2048">
                  <c:v>2010-09-14</c:v>
                </c:pt>
                <c:pt idx="2049">
                  <c:v>2010-09-15</c:v>
                </c:pt>
                <c:pt idx="2050">
                  <c:v>2010-09-16</c:v>
                </c:pt>
                <c:pt idx="2051">
                  <c:v>2010-09-17</c:v>
                </c:pt>
                <c:pt idx="2052">
                  <c:v>2010-09-20</c:v>
                </c:pt>
                <c:pt idx="2053">
                  <c:v>2010-09-21</c:v>
                </c:pt>
                <c:pt idx="2054">
                  <c:v>2010-09-27</c:v>
                </c:pt>
                <c:pt idx="2055">
                  <c:v>2010-09-28</c:v>
                </c:pt>
                <c:pt idx="2056">
                  <c:v>2010-09-29</c:v>
                </c:pt>
                <c:pt idx="2057">
                  <c:v>2010-09-30</c:v>
                </c:pt>
                <c:pt idx="2058">
                  <c:v>2010-10-08</c:v>
                </c:pt>
                <c:pt idx="2059">
                  <c:v>2010-10-11</c:v>
                </c:pt>
                <c:pt idx="2060">
                  <c:v>2010-10-12</c:v>
                </c:pt>
                <c:pt idx="2061">
                  <c:v>2010-10-13</c:v>
                </c:pt>
                <c:pt idx="2062">
                  <c:v>2010-10-14</c:v>
                </c:pt>
                <c:pt idx="2063">
                  <c:v>2010-10-15</c:v>
                </c:pt>
                <c:pt idx="2064">
                  <c:v>2010-10-18</c:v>
                </c:pt>
                <c:pt idx="2065">
                  <c:v>2010-10-19</c:v>
                </c:pt>
                <c:pt idx="2066">
                  <c:v>2010-10-20</c:v>
                </c:pt>
                <c:pt idx="2067">
                  <c:v>2010-10-21</c:v>
                </c:pt>
                <c:pt idx="2068">
                  <c:v>2010-10-22</c:v>
                </c:pt>
                <c:pt idx="2069">
                  <c:v>2010-10-25</c:v>
                </c:pt>
                <c:pt idx="2070">
                  <c:v>2010-10-26</c:v>
                </c:pt>
                <c:pt idx="2071">
                  <c:v>2010-10-27</c:v>
                </c:pt>
                <c:pt idx="2072">
                  <c:v>2010-10-28</c:v>
                </c:pt>
                <c:pt idx="2073">
                  <c:v>2010-10-29</c:v>
                </c:pt>
                <c:pt idx="2074">
                  <c:v>2010-11-01</c:v>
                </c:pt>
                <c:pt idx="2075">
                  <c:v>2010-11-02</c:v>
                </c:pt>
                <c:pt idx="2076">
                  <c:v>2010-11-03</c:v>
                </c:pt>
                <c:pt idx="2077">
                  <c:v>2010-11-04</c:v>
                </c:pt>
                <c:pt idx="2078">
                  <c:v>2010-11-05</c:v>
                </c:pt>
                <c:pt idx="2079">
                  <c:v>2010-11-08</c:v>
                </c:pt>
                <c:pt idx="2080">
                  <c:v>2010-11-09</c:v>
                </c:pt>
                <c:pt idx="2081">
                  <c:v>2010-11-10</c:v>
                </c:pt>
                <c:pt idx="2082">
                  <c:v>2010-11-11</c:v>
                </c:pt>
                <c:pt idx="2083">
                  <c:v>2010-11-12</c:v>
                </c:pt>
                <c:pt idx="2084">
                  <c:v>2010-11-15</c:v>
                </c:pt>
                <c:pt idx="2085">
                  <c:v>2010-11-16</c:v>
                </c:pt>
                <c:pt idx="2086">
                  <c:v>2010-11-17</c:v>
                </c:pt>
                <c:pt idx="2087">
                  <c:v>2010-11-18</c:v>
                </c:pt>
                <c:pt idx="2088">
                  <c:v>2010-11-19</c:v>
                </c:pt>
                <c:pt idx="2089">
                  <c:v>2010-11-22</c:v>
                </c:pt>
                <c:pt idx="2090">
                  <c:v>2010-11-23</c:v>
                </c:pt>
                <c:pt idx="2091">
                  <c:v>2010-11-24</c:v>
                </c:pt>
                <c:pt idx="2092">
                  <c:v>2010-11-25</c:v>
                </c:pt>
                <c:pt idx="2093">
                  <c:v>2010-11-26</c:v>
                </c:pt>
                <c:pt idx="2094">
                  <c:v>2010-11-29</c:v>
                </c:pt>
                <c:pt idx="2095">
                  <c:v>2010-11-30</c:v>
                </c:pt>
                <c:pt idx="2096">
                  <c:v>2010-12-01</c:v>
                </c:pt>
                <c:pt idx="2097">
                  <c:v>2010-12-02</c:v>
                </c:pt>
                <c:pt idx="2098">
                  <c:v>2010-12-03</c:v>
                </c:pt>
                <c:pt idx="2099">
                  <c:v>2010-12-06</c:v>
                </c:pt>
                <c:pt idx="2100">
                  <c:v>2010-12-07</c:v>
                </c:pt>
                <c:pt idx="2101">
                  <c:v>2010-12-08</c:v>
                </c:pt>
                <c:pt idx="2102">
                  <c:v>2010-12-09</c:v>
                </c:pt>
                <c:pt idx="2103">
                  <c:v>2010-12-10</c:v>
                </c:pt>
                <c:pt idx="2104">
                  <c:v>2010-12-13</c:v>
                </c:pt>
                <c:pt idx="2105">
                  <c:v>2010-12-14</c:v>
                </c:pt>
                <c:pt idx="2106">
                  <c:v>2010-12-15</c:v>
                </c:pt>
                <c:pt idx="2107">
                  <c:v>2010-12-16</c:v>
                </c:pt>
                <c:pt idx="2108">
                  <c:v>2010-12-17</c:v>
                </c:pt>
                <c:pt idx="2109">
                  <c:v>2010-12-20</c:v>
                </c:pt>
                <c:pt idx="2110">
                  <c:v>2010-12-21</c:v>
                </c:pt>
                <c:pt idx="2111">
                  <c:v>2010-12-22</c:v>
                </c:pt>
                <c:pt idx="2112">
                  <c:v>2010-12-23</c:v>
                </c:pt>
                <c:pt idx="2113">
                  <c:v>2010-12-24</c:v>
                </c:pt>
                <c:pt idx="2114">
                  <c:v>2010-12-27</c:v>
                </c:pt>
                <c:pt idx="2115">
                  <c:v>2010-12-28</c:v>
                </c:pt>
                <c:pt idx="2116">
                  <c:v>2010-12-29</c:v>
                </c:pt>
                <c:pt idx="2117">
                  <c:v>2010-12-30</c:v>
                </c:pt>
                <c:pt idx="2118">
                  <c:v>2010-12-31</c:v>
                </c:pt>
                <c:pt idx="2119">
                  <c:v>2011-01-04</c:v>
                </c:pt>
                <c:pt idx="2120">
                  <c:v>2011-01-05</c:v>
                </c:pt>
                <c:pt idx="2121">
                  <c:v>2011-01-06</c:v>
                </c:pt>
                <c:pt idx="2122">
                  <c:v>2011-01-07</c:v>
                </c:pt>
                <c:pt idx="2123">
                  <c:v>2011-01-10</c:v>
                </c:pt>
                <c:pt idx="2124">
                  <c:v>2011-01-11</c:v>
                </c:pt>
                <c:pt idx="2125">
                  <c:v>2011-01-12</c:v>
                </c:pt>
                <c:pt idx="2126">
                  <c:v>2011-01-13</c:v>
                </c:pt>
                <c:pt idx="2127">
                  <c:v>2011-01-14</c:v>
                </c:pt>
                <c:pt idx="2128">
                  <c:v>2011-01-17</c:v>
                </c:pt>
                <c:pt idx="2129">
                  <c:v>2011-01-18</c:v>
                </c:pt>
                <c:pt idx="2130">
                  <c:v>2011-01-19</c:v>
                </c:pt>
                <c:pt idx="2131">
                  <c:v>2011-01-20</c:v>
                </c:pt>
                <c:pt idx="2132">
                  <c:v>2011-01-21</c:v>
                </c:pt>
                <c:pt idx="2133">
                  <c:v>2011-01-24</c:v>
                </c:pt>
                <c:pt idx="2134">
                  <c:v>2011-01-25</c:v>
                </c:pt>
                <c:pt idx="2135">
                  <c:v>2011-01-26</c:v>
                </c:pt>
                <c:pt idx="2136">
                  <c:v>2011-01-27</c:v>
                </c:pt>
                <c:pt idx="2137">
                  <c:v>2011-01-28</c:v>
                </c:pt>
                <c:pt idx="2138">
                  <c:v>2011-01-31</c:v>
                </c:pt>
                <c:pt idx="2139">
                  <c:v>2011-02-01</c:v>
                </c:pt>
                <c:pt idx="2140">
                  <c:v>2011-02-09</c:v>
                </c:pt>
                <c:pt idx="2141">
                  <c:v>2011-02-10</c:v>
                </c:pt>
                <c:pt idx="2142">
                  <c:v>2011-02-11</c:v>
                </c:pt>
                <c:pt idx="2143">
                  <c:v>2011-02-14</c:v>
                </c:pt>
                <c:pt idx="2144">
                  <c:v>2011-02-15</c:v>
                </c:pt>
                <c:pt idx="2145">
                  <c:v>2011-02-16</c:v>
                </c:pt>
                <c:pt idx="2146">
                  <c:v>2011-02-17</c:v>
                </c:pt>
                <c:pt idx="2147">
                  <c:v>2011-02-18</c:v>
                </c:pt>
                <c:pt idx="2148">
                  <c:v>2011-02-21</c:v>
                </c:pt>
                <c:pt idx="2149">
                  <c:v>2011-02-22</c:v>
                </c:pt>
                <c:pt idx="2150">
                  <c:v>2011-02-23</c:v>
                </c:pt>
                <c:pt idx="2151">
                  <c:v>2011-02-24</c:v>
                </c:pt>
                <c:pt idx="2152">
                  <c:v>2011-02-25</c:v>
                </c:pt>
                <c:pt idx="2153">
                  <c:v>2011-02-28</c:v>
                </c:pt>
                <c:pt idx="2154">
                  <c:v>2011-03-01</c:v>
                </c:pt>
                <c:pt idx="2155">
                  <c:v>2011-03-02</c:v>
                </c:pt>
                <c:pt idx="2156">
                  <c:v>2011-03-03</c:v>
                </c:pt>
                <c:pt idx="2157">
                  <c:v>2011-03-04</c:v>
                </c:pt>
                <c:pt idx="2158">
                  <c:v>2011-03-07</c:v>
                </c:pt>
                <c:pt idx="2159">
                  <c:v>2011-03-08</c:v>
                </c:pt>
                <c:pt idx="2160">
                  <c:v>2011-03-09</c:v>
                </c:pt>
                <c:pt idx="2161">
                  <c:v>2011-03-10</c:v>
                </c:pt>
                <c:pt idx="2162">
                  <c:v>2011-03-11</c:v>
                </c:pt>
                <c:pt idx="2163">
                  <c:v>2011-03-14</c:v>
                </c:pt>
                <c:pt idx="2164">
                  <c:v>2011-03-15</c:v>
                </c:pt>
                <c:pt idx="2165">
                  <c:v>2011-03-16</c:v>
                </c:pt>
                <c:pt idx="2166">
                  <c:v>2011-03-17</c:v>
                </c:pt>
                <c:pt idx="2167">
                  <c:v>2011-03-18</c:v>
                </c:pt>
                <c:pt idx="2168">
                  <c:v>2011-03-21</c:v>
                </c:pt>
                <c:pt idx="2169">
                  <c:v>2011-03-22</c:v>
                </c:pt>
                <c:pt idx="2170">
                  <c:v>2011-03-23</c:v>
                </c:pt>
                <c:pt idx="2171">
                  <c:v>2011-03-24</c:v>
                </c:pt>
                <c:pt idx="2172">
                  <c:v>2011-03-25</c:v>
                </c:pt>
                <c:pt idx="2173">
                  <c:v>2011-03-28</c:v>
                </c:pt>
                <c:pt idx="2174">
                  <c:v>2011-03-29</c:v>
                </c:pt>
                <c:pt idx="2175">
                  <c:v>2011-03-30</c:v>
                </c:pt>
                <c:pt idx="2176">
                  <c:v>2011-03-31</c:v>
                </c:pt>
                <c:pt idx="2177">
                  <c:v>2011-04-01</c:v>
                </c:pt>
                <c:pt idx="2178">
                  <c:v>2011-04-06</c:v>
                </c:pt>
                <c:pt idx="2179">
                  <c:v>2011-04-07</c:v>
                </c:pt>
                <c:pt idx="2180">
                  <c:v>2011-04-08</c:v>
                </c:pt>
                <c:pt idx="2181">
                  <c:v>2011-04-11</c:v>
                </c:pt>
                <c:pt idx="2182">
                  <c:v>2011-04-12</c:v>
                </c:pt>
                <c:pt idx="2183">
                  <c:v>2011-04-13</c:v>
                </c:pt>
                <c:pt idx="2184">
                  <c:v>2011-04-14</c:v>
                </c:pt>
                <c:pt idx="2185">
                  <c:v>2011-04-15</c:v>
                </c:pt>
                <c:pt idx="2186">
                  <c:v>2011-04-18</c:v>
                </c:pt>
                <c:pt idx="2187">
                  <c:v>2011-04-19</c:v>
                </c:pt>
                <c:pt idx="2188">
                  <c:v>2011-04-20</c:v>
                </c:pt>
                <c:pt idx="2189">
                  <c:v>2011-04-21</c:v>
                </c:pt>
                <c:pt idx="2190">
                  <c:v>2011-04-22</c:v>
                </c:pt>
                <c:pt idx="2191">
                  <c:v>2011-04-25</c:v>
                </c:pt>
                <c:pt idx="2192">
                  <c:v>2011-04-26</c:v>
                </c:pt>
                <c:pt idx="2193">
                  <c:v>2011-04-27</c:v>
                </c:pt>
                <c:pt idx="2194">
                  <c:v>2011-04-28</c:v>
                </c:pt>
                <c:pt idx="2195">
                  <c:v>2011-04-29</c:v>
                </c:pt>
                <c:pt idx="2196">
                  <c:v>2011-05-03</c:v>
                </c:pt>
                <c:pt idx="2197">
                  <c:v>2011-05-04</c:v>
                </c:pt>
                <c:pt idx="2198">
                  <c:v>2011-05-05</c:v>
                </c:pt>
                <c:pt idx="2199">
                  <c:v>2011-05-06</c:v>
                </c:pt>
                <c:pt idx="2200">
                  <c:v>2011-05-09</c:v>
                </c:pt>
                <c:pt idx="2201">
                  <c:v>2011-05-10</c:v>
                </c:pt>
                <c:pt idx="2202">
                  <c:v>2011-05-11</c:v>
                </c:pt>
                <c:pt idx="2203">
                  <c:v>2011-05-12</c:v>
                </c:pt>
                <c:pt idx="2204">
                  <c:v>2011-05-13</c:v>
                </c:pt>
                <c:pt idx="2205">
                  <c:v>2011-05-16</c:v>
                </c:pt>
                <c:pt idx="2206">
                  <c:v>2011-05-17</c:v>
                </c:pt>
                <c:pt idx="2207">
                  <c:v>2011-05-18</c:v>
                </c:pt>
                <c:pt idx="2208">
                  <c:v>2011-05-19</c:v>
                </c:pt>
                <c:pt idx="2209">
                  <c:v>2011-05-20</c:v>
                </c:pt>
                <c:pt idx="2210">
                  <c:v>2011-05-23</c:v>
                </c:pt>
                <c:pt idx="2211">
                  <c:v>2011-05-24</c:v>
                </c:pt>
                <c:pt idx="2212">
                  <c:v>2011-05-25</c:v>
                </c:pt>
                <c:pt idx="2213">
                  <c:v>2011-05-26</c:v>
                </c:pt>
                <c:pt idx="2214">
                  <c:v>2011-05-27</c:v>
                </c:pt>
                <c:pt idx="2215">
                  <c:v>2011-05-30</c:v>
                </c:pt>
                <c:pt idx="2216">
                  <c:v>2011-05-31</c:v>
                </c:pt>
                <c:pt idx="2217">
                  <c:v>2011-06-01</c:v>
                </c:pt>
                <c:pt idx="2218">
                  <c:v>2011-06-02</c:v>
                </c:pt>
                <c:pt idx="2219">
                  <c:v>2011-06-03</c:v>
                </c:pt>
                <c:pt idx="2220">
                  <c:v>2011-06-07</c:v>
                </c:pt>
                <c:pt idx="2221">
                  <c:v>2011-06-08</c:v>
                </c:pt>
                <c:pt idx="2222">
                  <c:v>2011-06-09</c:v>
                </c:pt>
                <c:pt idx="2223">
                  <c:v>2011-06-10</c:v>
                </c:pt>
                <c:pt idx="2224">
                  <c:v>2011-06-13</c:v>
                </c:pt>
                <c:pt idx="2225">
                  <c:v>2011-06-14</c:v>
                </c:pt>
                <c:pt idx="2226">
                  <c:v>2011-06-15</c:v>
                </c:pt>
                <c:pt idx="2227">
                  <c:v>2011-06-16</c:v>
                </c:pt>
                <c:pt idx="2228">
                  <c:v>2011-06-17</c:v>
                </c:pt>
                <c:pt idx="2229">
                  <c:v>2011-06-20</c:v>
                </c:pt>
                <c:pt idx="2230">
                  <c:v>2011-06-21</c:v>
                </c:pt>
                <c:pt idx="2231">
                  <c:v>2011-06-22</c:v>
                </c:pt>
                <c:pt idx="2232">
                  <c:v>2011-06-23</c:v>
                </c:pt>
                <c:pt idx="2233">
                  <c:v>2011-06-24</c:v>
                </c:pt>
                <c:pt idx="2234">
                  <c:v>2011-06-27</c:v>
                </c:pt>
                <c:pt idx="2235">
                  <c:v>2011-06-28</c:v>
                </c:pt>
                <c:pt idx="2236">
                  <c:v>2011-06-29</c:v>
                </c:pt>
                <c:pt idx="2237">
                  <c:v>2011-06-30</c:v>
                </c:pt>
                <c:pt idx="2238">
                  <c:v>2011-07-01</c:v>
                </c:pt>
                <c:pt idx="2239">
                  <c:v>2011-07-04</c:v>
                </c:pt>
                <c:pt idx="2240">
                  <c:v>2011-07-05</c:v>
                </c:pt>
                <c:pt idx="2241">
                  <c:v>2011-07-06</c:v>
                </c:pt>
                <c:pt idx="2242">
                  <c:v>2011-07-07</c:v>
                </c:pt>
                <c:pt idx="2243">
                  <c:v>2011-07-08</c:v>
                </c:pt>
                <c:pt idx="2244">
                  <c:v>2011-07-11</c:v>
                </c:pt>
                <c:pt idx="2245">
                  <c:v>2011-07-12</c:v>
                </c:pt>
                <c:pt idx="2246">
                  <c:v>2011-07-13</c:v>
                </c:pt>
                <c:pt idx="2247">
                  <c:v>2011-07-14</c:v>
                </c:pt>
                <c:pt idx="2248">
                  <c:v>2011-07-15</c:v>
                </c:pt>
                <c:pt idx="2249">
                  <c:v>2011-07-18</c:v>
                </c:pt>
                <c:pt idx="2250">
                  <c:v>2011-07-19</c:v>
                </c:pt>
                <c:pt idx="2251">
                  <c:v>2011-07-20</c:v>
                </c:pt>
                <c:pt idx="2252">
                  <c:v>2011-07-21</c:v>
                </c:pt>
                <c:pt idx="2253">
                  <c:v>2011-07-22</c:v>
                </c:pt>
                <c:pt idx="2254">
                  <c:v>2011-07-25</c:v>
                </c:pt>
                <c:pt idx="2255">
                  <c:v>2011-07-26</c:v>
                </c:pt>
                <c:pt idx="2256">
                  <c:v>2011-07-27</c:v>
                </c:pt>
                <c:pt idx="2257">
                  <c:v>2011-07-28</c:v>
                </c:pt>
                <c:pt idx="2258">
                  <c:v>2011-07-29</c:v>
                </c:pt>
                <c:pt idx="2259">
                  <c:v>2011-08-01</c:v>
                </c:pt>
                <c:pt idx="2260">
                  <c:v>2011-08-02</c:v>
                </c:pt>
                <c:pt idx="2261">
                  <c:v>2011-08-03</c:v>
                </c:pt>
                <c:pt idx="2262">
                  <c:v>2011-08-04</c:v>
                </c:pt>
                <c:pt idx="2263">
                  <c:v>2011-08-05</c:v>
                </c:pt>
                <c:pt idx="2264">
                  <c:v>2011-08-08</c:v>
                </c:pt>
                <c:pt idx="2265">
                  <c:v>2011-08-09</c:v>
                </c:pt>
                <c:pt idx="2266">
                  <c:v>2011-08-10</c:v>
                </c:pt>
                <c:pt idx="2267">
                  <c:v>2011-08-11</c:v>
                </c:pt>
                <c:pt idx="2268">
                  <c:v>2011-08-12</c:v>
                </c:pt>
                <c:pt idx="2269">
                  <c:v>2011-08-15</c:v>
                </c:pt>
                <c:pt idx="2270">
                  <c:v>2011-08-16</c:v>
                </c:pt>
                <c:pt idx="2271">
                  <c:v>2011-08-17</c:v>
                </c:pt>
                <c:pt idx="2272">
                  <c:v>2011-08-18</c:v>
                </c:pt>
                <c:pt idx="2273">
                  <c:v>2011-08-19</c:v>
                </c:pt>
                <c:pt idx="2274">
                  <c:v>2011-08-22</c:v>
                </c:pt>
                <c:pt idx="2275">
                  <c:v>2011-08-23</c:v>
                </c:pt>
                <c:pt idx="2276">
                  <c:v>2011-08-24</c:v>
                </c:pt>
                <c:pt idx="2277">
                  <c:v>2011-08-25</c:v>
                </c:pt>
                <c:pt idx="2278">
                  <c:v>2011-08-26</c:v>
                </c:pt>
                <c:pt idx="2279">
                  <c:v>2011-08-29</c:v>
                </c:pt>
                <c:pt idx="2280">
                  <c:v>2011-08-30</c:v>
                </c:pt>
                <c:pt idx="2281">
                  <c:v>2011-08-31</c:v>
                </c:pt>
                <c:pt idx="2282">
                  <c:v>2011-09-01</c:v>
                </c:pt>
                <c:pt idx="2283">
                  <c:v>2011-09-02</c:v>
                </c:pt>
                <c:pt idx="2284">
                  <c:v>2011-09-05</c:v>
                </c:pt>
                <c:pt idx="2285">
                  <c:v>2011-09-06</c:v>
                </c:pt>
                <c:pt idx="2286">
                  <c:v>2011-09-07</c:v>
                </c:pt>
                <c:pt idx="2287">
                  <c:v>2011-09-08</c:v>
                </c:pt>
                <c:pt idx="2288">
                  <c:v>2011-09-09</c:v>
                </c:pt>
                <c:pt idx="2289">
                  <c:v>2011-09-13</c:v>
                </c:pt>
                <c:pt idx="2290">
                  <c:v>2011-09-14</c:v>
                </c:pt>
                <c:pt idx="2291">
                  <c:v>2011-09-15</c:v>
                </c:pt>
                <c:pt idx="2292">
                  <c:v>2011-09-16</c:v>
                </c:pt>
                <c:pt idx="2293">
                  <c:v>2011-09-19</c:v>
                </c:pt>
                <c:pt idx="2294">
                  <c:v>2011-09-20</c:v>
                </c:pt>
                <c:pt idx="2295">
                  <c:v>2011-09-21</c:v>
                </c:pt>
                <c:pt idx="2296">
                  <c:v>2011-09-22</c:v>
                </c:pt>
                <c:pt idx="2297">
                  <c:v>2011-09-23</c:v>
                </c:pt>
                <c:pt idx="2298">
                  <c:v>2011-09-26</c:v>
                </c:pt>
                <c:pt idx="2299">
                  <c:v>2011-09-27</c:v>
                </c:pt>
                <c:pt idx="2300">
                  <c:v>2011-09-28</c:v>
                </c:pt>
                <c:pt idx="2301">
                  <c:v>2011-09-29</c:v>
                </c:pt>
                <c:pt idx="2302">
                  <c:v>2011-09-30</c:v>
                </c:pt>
                <c:pt idx="2303">
                  <c:v>2011-10-10</c:v>
                </c:pt>
                <c:pt idx="2304">
                  <c:v>2011-10-11</c:v>
                </c:pt>
                <c:pt idx="2305">
                  <c:v>2011-10-12</c:v>
                </c:pt>
                <c:pt idx="2306">
                  <c:v>2011-10-13</c:v>
                </c:pt>
                <c:pt idx="2307">
                  <c:v>2011-10-14</c:v>
                </c:pt>
                <c:pt idx="2308">
                  <c:v>2011-10-17</c:v>
                </c:pt>
                <c:pt idx="2309">
                  <c:v>2011-10-18</c:v>
                </c:pt>
                <c:pt idx="2310">
                  <c:v>2011-10-19</c:v>
                </c:pt>
                <c:pt idx="2311">
                  <c:v>2011-10-20</c:v>
                </c:pt>
                <c:pt idx="2312">
                  <c:v>2011-10-21</c:v>
                </c:pt>
                <c:pt idx="2313">
                  <c:v>2011-10-24</c:v>
                </c:pt>
                <c:pt idx="2314">
                  <c:v>2011-10-25</c:v>
                </c:pt>
                <c:pt idx="2315">
                  <c:v>2011-10-26</c:v>
                </c:pt>
                <c:pt idx="2316">
                  <c:v>2011-10-27</c:v>
                </c:pt>
                <c:pt idx="2317">
                  <c:v>2011-10-28</c:v>
                </c:pt>
                <c:pt idx="2318">
                  <c:v>2011-10-31</c:v>
                </c:pt>
                <c:pt idx="2319">
                  <c:v>2011-11-01</c:v>
                </c:pt>
                <c:pt idx="2320">
                  <c:v>2011-11-02</c:v>
                </c:pt>
                <c:pt idx="2321">
                  <c:v>2011-11-03</c:v>
                </c:pt>
                <c:pt idx="2322">
                  <c:v>2011-11-04</c:v>
                </c:pt>
                <c:pt idx="2323">
                  <c:v>2011-11-07</c:v>
                </c:pt>
                <c:pt idx="2324">
                  <c:v>2011-11-08</c:v>
                </c:pt>
                <c:pt idx="2325">
                  <c:v>2011-11-09</c:v>
                </c:pt>
                <c:pt idx="2326">
                  <c:v>2011-11-10</c:v>
                </c:pt>
                <c:pt idx="2327">
                  <c:v>2011-11-11</c:v>
                </c:pt>
                <c:pt idx="2328">
                  <c:v>2011-11-14</c:v>
                </c:pt>
                <c:pt idx="2329">
                  <c:v>2011-11-15</c:v>
                </c:pt>
                <c:pt idx="2330">
                  <c:v>2011-11-16</c:v>
                </c:pt>
                <c:pt idx="2331">
                  <c:v>2011-11-17</c:v>
                </c:pt>
                <c:pt idx="2332">
                  <c:v>2011-11-18</c:v>
                </c:pt>
                <c:pt idx="2333">
                  <c:v>2011-11-21</c:v>
                </c:pt>
                <c:pt idx="2334">
                  <c:v>2011-11-22</c:v>
                </c:pt>
                <c:pt idx="2335">
                  <c:v>2011-11-23</c:v>
                </c:pt>
                <c:pt idx="2336">
                  <c:v>2011-11-24</c:v>
                </c:pt>
                <c:pt idx="2337">
                  <c:v>2011-11-25</c:v>
                </c:pt>
                <c:pt idx="2338">
                  <c:v>2011-11-28</c:v>
                </c:pt>
                <c:pt idx="2339">
                  <c:v>2011-11-29</c:v>
                </c:pt>
                <c:pt idx="2340">
                  <c:v>2011-11-30</c:v>
                </c:pt>
                <c:pt idx="2341">
                  <c:v>2011-12-01</c:v>
                </c:pt>
                <c:pt idx="2342">
                  <c:v>2011-12-02</c:v>
                </c:pt>
                <c:pt idx="2343">
                  <c:v>2011-12-05</c:v>
                </c:pt>
                <c:pt idx="2344">
                  <c:v>2011-12-06</c:v>
                </c:pt>
                <c:pt idx="2345">
                  <c:v>2011-12-07</c:v>
                </c:pt>
                <c:pt idx="2346">
                  <c:v>2011-12-08</c:v>
                </c:pt>
                <c:pt idx="2347">
                  <c:v>2011-12-09</c:v>
                </c:pt>
                <c:pt idx="2348">
                  <c:v>2011-12-12</c:v>
                </c:pt>
                <c:pt idx="2349">
                  <c:v>2011-12-13</c:v>
                </c:pt>
                <c:pt idx="2350">
                  <c:v>2011-12-14</c:v>
                </c:pt>
                <c:pt idx="2351">
                  <c:v>2011-12-15</c:v>
                </c:pt>
                <c:pt idx="2352">
                  <c:v>2011-12-16</c:v>
                </c:pt>
                <c:pt idx="2353">
                  <c:v>2011-12-19</c:v>
                </c:pt>
                <c:pt idx="2354">
                  <c:v>2011-12-20</c:v>
                </c:pt>
                <c:pt idx="2355">
                  <c:v>2011-12-21</c:v>
                </c:pt>
                <c:pt idx="2356">
                  <c:v>2011-12-22</c:v>
                </c:pt>
                <c:pt idx="2357">
                  <c:v>2011-12-23</c:v>
                </c:pt>
                <c:pt idx="2358">
                  <c:v>2011-12-26</c:v>
                </c:pt>
                <c:pt idx="2359">
                  <c:v>2011-12-27</c:v>
                </c:pt>
                <c:pt idx="2360">
                  <c:v>2011-12-28</c:v>
                </c:pt>
                <c:pt idx="2361">
                  <c:v>2011-12-29</c:v>
                </c:pt>
                <c:pt idx="2362">
                  <c:v>2011-12-30</c:v>
                </c:pt>
                <c:pt idx="2363">
                  <c:v>2012-01-04</c:v>
                </c:pt>
                <c:pt idx="2364">
                  <c:v>2012-01-05</c:v>
                </c:pt>
                <c:pt idx="2365">
                  <c:v>2012-01-06</c:v>
                </c:pt>
                <c:pt idx="2366">
                  <c:v>2012-01-09</c:v>
                </c:pt>
                <c:pt idx="2367">
                  <c:v>2012-01-10</c:v>
                </c:pt>
                <c:pt idx="2368">
                  <c:v>2012-01-11</c:v>
                </c:pt>
                <c:pt idx="2369">
                  <c:v>2012-01-12</c:v>
                </c:pt>
                <c:pt idx="2370">
                  <c:v>2012-01-13</c:v>
                </c:pt>
                <c:pt idx="2371">
                  <c:v>2012-01-16</c:v>
                </c:pt>
                <c:pt idx="2372">
                  <c:v>2012-01-17</c:v>
                </c:pt>
                <c:pt idx="2373">
                  <c:v>2012-01-18</c:v>
                </c:pt>
                <c:pt idx="2374">
                  <c:v>2012-01-19</c:v>
                </c:pt>
                <c:pt idx="2375">
                  <c:v>2012-01-20</c:v>
                </c:pt>
                <c:pt idx="2376">
                  <c:v>2012-01-30</c:v>
                </c:pt>
                <c:pt idx="2377">
                  <c:v>2012-01-31</c:v>
                </c:pt>
                <c:pt idx="2378">
                  <c:v>2012-02-01</c:v>
                </c:pt>
                <c:pt idx="2379">
                  <c:v>2012-02-02</c:v>
                </c:pt>
                <c:pt idx="2380">
                  <c:v>2012-02-03</c:v>
                </c:pt>
                <c:pt idx="2381">
                  <c:v>2012-02-06</c:v>
                </c:pt>
                <c:pt idx="2382">
                  <c:v>2012-02-07</c:v>
                </c:pt>
                <c:pt idx="2383">
                  <c:v>2012-02-08</c:v>
                </c:pt>
                <c:pt idx="2384">
                  <c:v>2012-02-09</c:v>
                </c:pt>
                <c:pt idx="2385">
                  <c:v>2012-02-10</c:v>
                </c:pt>
                <c:pt idx="2386">
                  <c:v>2012-02-13</c:v>
                </c:pt>
                <c:pt idx="2387">
                  <c:v>2012-02-14</c:v>
                </c:pt>
                <c:pt idx="2388">
                  <c:v>2012-02-15</c:v>
                </c:pt>
                <c:pt idx="2389">
                  <c:v>2012-02-16</c:v>
                </c:pt>
                <c:pt idx="2390">
                  <c:v>2012-02-17</c:v>
                </c:pt>
                <c:pt idx="2391">
                  <c:v>2012-02-20</c:v>
                </c:pt>
                <c:pt idx="2392">
                  <c:v>2012-02-21</c:v>
                </c:pt>
                <c:pt idx="2393">
                  <c:v>2012-02-22</c:v>
                </c:pt>
                <c:pt idx="2394">
                  <c:v>2012-02-23</c:v>
                </c:pt>
                <c:pt idx="2395">
                  <c:v>2012-02-24</c:v>
                </c:pt>
                <c:pt idx="2396">
                  <c:v>2012-02-27</c:v>
                </c:pt>
                <c:pt idx="2397">
                  <c:v>2012-02-28</c:v>
                </c:pt>
                <c:pt idx="2398">
                  <c:v>2012-02-29</c:v>
                </c:pt>
                <c:pt idx="2399">
                  <c:v>2012-03-01</c:v>
                </c:pt>
                <c:pt idx="2400">
                  <c:v>2012-03-02</c:v>
                </c:pt>
                <c:pt idx="2401">
                  <c:v>2012-03-05</c:v>
                </c:pt>
                <c:pt idx="2402">
                  <c:v>2012-03-06</c:v>
                </c:pt>
                <c:pt idx="2403">
                  <c:v>2012-03-07</c:v>
                </c:pt>
                <c:pt idx="2404">
                  <c:v>2012-03-08</c:v>
                </c:pt>
                <c:pt idx="2405">
                  <c:v>2012-03-09</c:v>
                </c:pt>
                <c:pt idx="2406">
                  <c:v>2012-03-12</c:v>
                </c:pt>
                <c:pt idx="2407">
                  <c:v>2012-03-13</c:v>
                </c:pt>
                <c:pt idx="2408">
                  <c:v>2012-03-14</c:v>
                </c:pt>
                <c:pt idx="2409">
                  <c:v>2012-03-15</c:v>
                </c:pt>
                <c:pt idx="2410">
                  <c:v>2012-03-16</c:v>
                </c:pt>
                <c:pt idx="2411">
                  <c:v>2012-03-19</c:v>
                </c:pt>
                <c:pt idx="2412">
                  <c:v>2012-03-20</c:v>
                </c:pt>
                <c:pt idx="2413">
                  <c:v>2012-03-21</c:v>
                </c:pt>
                <c:pt idx="2414">
                  <c:v>2012-03-22</c:v>
                </c:pt>
                <c:pt idx="2415">
                  <c:v>2012-03-23</c:v>
                </c:pt>
                <c:pt idx="2416">
                  <c:v>2012-03-26</c:v>
                </c:pt>
                <c:pt idx="2417">
                  <c:v>2012-03-27</c:v>
                </c:pt>
                <c:pt idx="2418">
                  <c:v>2012-03-28</c:v>
                </c:pt>
                <c:pt idx="2419">
                  <c:v>2012-03-29</c:v>
                </c:pt>
                <c:pt idx="2420">
                  <c:v>2012-03-30</c:v>
                </c:pt>
                <c:pt idx="2421">
                  <c:v>2012-04-05</c:v>
                </c:pt>
                <c:pt idx="2422">
                  <c:v>2012-04-06</c:v>
                </c:pt>
                <c:pt idx="2423">
                  <c:v>2012-04-09</c:v>
                </c:pt>
                <c:pt idx="2424">
                  <c:v>2012-04-10</c:v>
                </c:pt>
                <c:pt idx="2425">
                  <c:v>2012-04-11</c:v>
                </c:pt>
                <c:pt idx="2426">
                  <c:v>2012-04-12</c:v>
                </c:pt>
                <c:pt idx="2427">
                  <c:v>2012-04-13</c:v>
                </c:pt>
                <c:pt idx="2428">
                  <c:v>2012-04-16</c:v>
                </c:pt>
                <c:pt idx="2429">
                  <c:v>2012-04-17</c:v>
                </c:pt>
                <c:pt idx="2430">
                  <c:v>2012-04-18</c:v>
                </c:pt>
                <c:pt idx="2431">
                  <c:v>2012-04-19</c:v>
                </c:pt>
                <c:pt idx="2432">
                  <c:v>2012-04-20</c:v>
                </c:pt>
                <c:pt idx="2433">
                  <c:v>2012-04-23</c:v>
                </c:pt>
                <c:pt idx="2434">
                  <c:v>2012-04-24</c:v>
                </c:pt>
                <c:pt idx="2435">
                  <c:v>2012-04-25</c:v>
                </c:pt>
                <c:pt idx="2436">
                  <c:v>2012-04-26</c:v>
                </c:pt>
                <c:pt idx="2437">
                  <c:v>2012-04-27</c:v>
                </c:pt>
                <c:pt idx="2438">
                  <c:v>2012-05-02</c:v>
                </c:pt>
                <c:pt idx="2439">
                  <c:v>2012-05-03</c:v>
                </c:pt>
                <c:pt idx="2440">
                  <c:v>2012-05-04</c:v>
                </c:pt>
                <c:pt idx="2441">
                  <c:v>2012-05-07</c:v>
                </c:pt>
                <c:pt idx="2442">
                  <c:v>2012-05-08</c:v>
                </c:pt>
                <c:pt idx="2443">
                  <c:v>2012-05-09</c:v>
                </c:pt>
                <c:pt idx="2444">
                  <c:v>2012-05-10</c:v>
                </c:pt>
                <c:pt idx="2445">
                  <c:v>2012-05-11</c:v>
                </c:pt>
                <c:pt idx="2446">
                  <c:v>2012-05-14</c:v>
                </c:pt>
                <c:pt idx="2447">
                  <c:v>2012-05-15</c:v>
                </c:pt>
                <c:pt idx="2448">
                  <c:v>2012-05-16</c:v>
                </c:pt>
                <c:pt idx="2449">
                  <c:v>2012-05-17</c:v>
                </c:pt>
                <c:pt idx="2450">
                  <c:v>2012-05-18</c:v>
                </c:pt>
                <c:pt idx="2451">
                  <c:v>2012-05-21</c:v>
                </c:pt>
                <c:pt idx="2452">
                  <c:v>2012-05-22</c:v>
                </c:pt>
                <c:pt idx="2453">
                  <c:v>2012-05-23</c:v>
                </c:pt>
                <c:pt idx="2454">
                  <c:v>2012-05-24</c:v>
                </c:pt>
                <c:pt idx="2455">
                  <c:v>2012-05-25</c:v>
                </c:pt>
                <c:pt idx="2456">
                  <c:v>2012-05-28</c:v>
                </c:pt>
                <c:pt idx="2457">
                  <c:v>2012-05-29</c:v>
                </c:pt>
                <c:pt idx="2458">
                  <c:v>2012-05-30</c:v>
                </c:pt>
                <c:pt idx="2459">
                  <c:v>2012-05-31</c:v>
                </c:pt>
                <c:pt idx="2460">
                  <c:v>2012-06-01</c:v>
                </c:pt>
                <c:pt idx="2461">
                  <c:v>2012-06-04</c:v>
                </c:pt>
                <c:pt idx="2462">
                  <c:v>2012-06-05</c:v>
                </c:pt>
                <c:pt idx="2463">
                  <c:v>2012-06-06</c:v>
                </c:pt>
                <c:pt idx="2464">
                  <c:v>2012-06-07</c:v>
                </c:pt>
                <c:pt idx="2465">
                  <c:v>2012-06-08</c:v>
                </c:pt>
                <c:pt idx="2466">
                  <c:v>2012-06-11</c:v>
                </c:pt>
                <c:pt idx="2467">
                  <c:v>2012-06-12</c:v>
                </c:pt>
                <c:pt idx="2468">
                  <c:v>2012-06-13</c:v>
                </c:pt>
                <c:pt idx="2469">
                  <c:v>2012-06-14</c:v>
                </c:pt>
                <c:pt idx="2470">
                  <c:v>2012-06-15</c:v>
                </c:pt>
                <c:pt idx="2471">
                  <c:v>2012-06-18</c:v>
                </c:pt>
                <c:pt idx="2472">
                  <c:v>2012-06-19</c:v>
                </c:pt>
                <c:pt idx="2473">
                  <c:v>2012-06-20</c:v>
                </c:pt>
                <c:pt idx="2474">
                  <c:v>2012-06-21</c:v>
                </c:pt>
                <c:pt idx="2475">
                  <c:v>2012-06-25</c:v>
                </c:pt>
                <c:pt idx="2476">
                  <c:v>2012-06-26</c:v>
                </c:pt>
                <c:pt idx="2477">
                  <c:v>2012-06-27</c:v>
                </c:pt>
                <c:pt idx="2478">
                  <c:v>2012-06-28</c:v>
                </c:pt>
                <c:pt idx="2479">
                  <c:v>2012-06-29</c:v>
                </c:pt>
                <c:pt idx="2480">
                  <c:v>2012-07-02</c:v>
                </c:pt>
                <c:pt idx="2481">
                  <c:v>2012-07-03</c:v>
                </c:pt>
                <c:pt idx="2482">
                  <c:v>2012-07-04</c:v>
                </c:pt>
                <c:pt idx="2483">
                  <c:v>2012-07-05</c:v>
                </c:pt>
                <c:pt idx="2484">
                  <c:v>2012-07-06</c:v>
                </c:pt>
                <c:pt idx="2485">
                  <c:v>2012-07-09</c:v>
                </c:pt>
                <c:pt idx="2486">
                  <c:v>2012-07-10</c:v>
                </c:pt>
                <c:pt idx="2487">
                  <c:v>2012-07-11</c:v>
                </c:pt>
                <c:pt idx="2488">
                  <c:v>2012-07-12</c:v>
                </c:pt>
                <c:pt idx="2489">
                  <c:v>2012-07-13</c:v>
                </c:pt>
                <c:pt idx="2490">
                  <c:v>2012-07-16</c:v>
                </c:pt>
                <c:pt idx="2491">
                  <c:v>2012-07-17</c:v>
                </c:pt>
                <c:pt idx="2492">
                  <c:v>2012-07-18</c:v>
                </c:pt>
                <c:pt idx="2493">
                  <c:v>2012-07-19</c:v>
                </c:pt>
                <c:pt idx="2494">
                  <c:v>2012-07-20</c:v>
                </c:pt>
                <c:pt idx="2495">
                  <c:v>2012-07-23</c:v>
                </c:pt>
                <c:pt idx="2496">
                  <c:v>2012-07-24</c:v>
                </c:pt>
                <c:pt idx="2497">
                  <c:v>2012-07-25</c:v>
                </c:pt>
                <c:pt idx="2498">
                  <c:v>2012-07-26</c:v>
                </c:pt>
                <c:pt idx="2499">
                  <c:v>2012-07-27</c:v>
                </c:pt>
                <c:pt idx="2500">
                  <c:v>2012-07-30</c:v>
                </c:pt>
                <c:pt idx="2501">
                  <c:v>2012-07-31</c:v>
                </c:pt>
                <c:pt idx="2502">
                  <c:v>2012-08-01</c:v>
                </c:pt>
                <c:pt idx="2503">
                  <c:v>2012-08-02</c:v>
                </c:pt>
                <c:pt idx="2504">
                  <c:v>2012-08-03</c:v>
                </c:pt>
                <c:pt idx="2505">
                  <c:v>2012-08-06</c:v>
                </c:pt>
                <c:pt idx="2506">
                  <c:v>2012-08-07</c:v>
                </c:pt>
                <c:pt idx="2507">
                  <c:v>2012-08-08</c:v>
                </c:pt>
                <c:pt idx="2508">
                  <c:v>2012-08-09</c:v>
                </c:pt>
                <c:pt idx="2509">
                  <c:v>2012-08-10</c:v>
                </c:pt>
                <c:pt idx="2510">
                  <c:v>2012-08-13</c:v>
                </c:pt>
                <c:pt idx="2511">
                  <c:v>2012-08-14</c:v>
                </c:pt>
                <c:pt idx="2512">
                  <c:v>2012-08-15</c:v>
                </c:pt>
                <c:pt idx="2513">
                  <c:v>2012-08-16</c:v>
                </c:pt>
                <c:pt idx="2514">
                  <c:v>2012-08-17</c:v>
                </c:pt>
                <c:pt idx="2515">
                  <c:v>2012-08-20</c:v>
                </c:pt>
                <c:pt idx="2516">
                  <c:v>2012-08-21</c:v>
                </c:pt>
                <c:pt idx="2517">
                  <c:v>2012-08-22</c:v>
                </c:pt>
                <c:pt idx="2518">
                  <c:v>2012-08-23</c:v>
                </c:pt>
                <c:pt idx="2519">
                  <c:v>2012-08-24</c:v>
                </c:pt>
                <c:pt idx="2520">
                  <c:v>2012-08-27</c:v>
                </c:pt>
                <c:pt idx="2521">
                  <c:v>2012-08-28</c:v>
                </c:pt>
                <c:pt idx="2522">
                  <c:v>2012-08-29</c:v>
                </c:pt>
                <c:pt idx="2523">
                  <c:v>2012-08-30</c:v>
                </c:pt>
                <c:pt idx="2524">
                  <c:v>2012-08-31</c:v>
                </c:pt>
                <c:pt idx="2525">
                  <c:v>2012-09-03</c:v>
                </c:pt>
                <c:pt idx="2526">
                  <c:v>2012-09-04</c:v>
                </c:pt>
                <c:pt idx="2527">
                  <c:v>2012-09-05</c:v>
                </c:pt>
                <c:pt idx="2528">
                  <c:v>2012-09-06</c:v>
                </c:pt>
                <c:pt idx="2529">
                  <c:v>2012-09-07</c:v>
                </c:pt>
                <c:pt idx="2530">
                  <c:v>2012-09-10</c:v>
                </c:pt>
                <c:pt idx="2531">
                  <c:v>2012-09-11</c:v>
                </c:pt>
                <c:pt idx="2532">
                  <c:v>2012-09-12</c:v>
                </c:pt>
                <c:pt idx="2533">
                  <c:v>2012-09-13</c:v>
                </c:pt>
                <c:pt idx="2534">
                  <c:v>2012-09-14</c:v>
                </c:pt>
                <c:pt idx="2535">
                  <c:v>2012-09-17</c:v>
                </c:pt>
                <c:pt idx="2536">
                  <c:v>2012-09-18</c:v>
                </c:pt>
                <c:pt idx="2537">
                  <c:v>2012-09-19</c:v>
                </c:pt>
                <c:pt idx="2538">
                  <c:v>2012-09-20</c:v>
                </c:pt>
                <c:pt idx="2539">
                  <c:v>2012-09-21</c:v>
                </c:pt>
                <c:pt idx="2540">
                  <c:v>2012-09-24</c:v>
                </c:pt>
                <c:pt idx="2541">
                  <c:v>2012-09-25</c:v>
                </c:pt>
                <c:pt idx="2542">
                  <c:v>2012-09-26</c:v>
                </c:pt>
                <c:pt idx="2543">
                  <c:v>2012-09-27</c:v>
                </c:pt>
                <c:pt idx="2544">
                  <c:v>2012-09-28</c:v>
                </c:pt>
                <c:pt idx="2545">
                  <c:v>2012-10-08</c:v>
                </c:pt>
                <c:pt idx="2546">
                  <c:v>2012-10-09</c:v>
                </c:pt>
                <c:pt idx="2547">
                  <c:v>2012-10-10</c:v>
                </c:pt>
                <c:pt idx="2548">
                  <c:v>2012-10-11</c:v>
                </c:pt>
                <c:pt idx="2549">
                  <c:v>2012-10-12</c:v>
                </c:pt>
                <c:pt idx="2550">
                  <c:v>2012-10-15</c:v>
                </c:pt>
                <c:pt idx="2551">
                  <c:v>2012-10-16</c:v>
                </c:pt>
                <c:pt idx="2552">
                  <c:v>2012-10-17</c:v>
                </c:pt>
                <c:pt idx="2553">
                  <c:v>2012-10-18</c:v>
                </c:pt>
                <c:pt idx="2554">
                  <c:v>2012-10-19</c:v>
                </c:pt>
                <c:pt idx="2555">
                  <c:v>2012-10-22</c:v>
                </c:pt>
                <c:pt idx="2556">
                  <c:v>2012-10-23</c:v>
                </c:pt>
                <c:pt idx="2557">
                  <c:v>2012-10-24</c:v>
                </c:pt>
                <c:pt idx="2558">
                  <c:v>2012-10-25</c:v>
                </c:pt>
                <c:pt idx="2559">
                  <c:v>2012-10-26</c:v>
                </c:pt>
                <c:pt idx="2560">
                  <c:v>2012-10-29</c:v>
                </c:pt>
                <c:pt idx="2561">
                  <c:v>2012-10-30</c:v>
                </c:pt>
                <c:pt idx="2562">
                  <c:v>2012-10-31</c:v>
                </c:pt>
                <c:pt idx="2563">
                  <c:v>2012-11-01</c:v>
                </c:pt>
                <c:pt idx="2564">
                  <c:v>2012-11-02</c:v>
                </c:pt>
                <c:pt idx="2565">
                  <c:v>2012-11-05</c:v>
                </c:pt>
                <c:pt idx="2566">
                  <c:v>2012-11-06</c:v>
                </c:pt>
                <c:pt idx="2567">
                  <c:v>2012-11-07</c:v>
                </c:pt>
                <c:pt idx="2568">
                  <c:v>2012-11-08</c:v>
                </c:pt>
                <c:pt idx="2569">
                  <c:v>2012-11-09</c:v>
                </c:pt>
                <c:pt idx="2570">
                  <c:v>2012-11-12</c:v>
                </c:pt>
                <c:pt idx="2571">
                  <c:v>2012-11-13</c:v>
                </c:pt>
                <c:pt idx="2572">
                  <c:v>2012-11-14</c:v>
                </c:pt>
                <c:pt idx="2573">
                  <c:v>2012-11-15</c:v>
                </c:pt>
                <c:pt idx="2574">
                  <c:v>2012-11-16</c:v>
                </c:pt>
                <c:pt idx="2575">
                  <c:v>2012-11-19</c:v>
                </c:pt>
                <c:pt idx="2576">
                  <c:v>2012-11-20</c:v>
                </c:pt>
                <c:pt idx="2577">
                  <c:v>2012-11-21</c:v>
                </c:pt>
                <c:pt idx="2578">
                  <c:v>2012-11-22</c:v>
                </c:pt>
                <c:pt idx="2579">
                  <c:v>2012-11-23</c:v>
                </c:pt>
                <c:pt idx="2580">
                  <c:v>2012-11-26</c:v>
                </c:pt>
                <c:pt idx="2581">
                  <c:v>2012-11-27</c:v>
                </c:pt>
                <c:pt idx="2582">
                  <c:v>2012-11-28</c:v>
                </c:pt>
                <c:pt idx="2583">
                  <c:v>2012-11-29</c:v>
                </c:pt>
                <c:pt idx="2584">
                  <c:v>2012-11-30</c:v>
                </c:pt>
                <c:pt idx="2585">
                  <c:v>2012-12-03</c:v>
                </c:pt>
                <c:pt idx="2586">
                  <c:v>2012-12-04</c:v>
                </c:pt>
                <c:pt idx="2587">
                  <c:v>2012-12-05</c:v>
                </c:pt>
                <c:pt idx="2588">
                  <c:v>2012-12-06</c:v>
                </c:pt>
                <c:pt idx="2589">
                  <c:v>2012-12-07</c:v>
                </c:pt>
                <c:pt idx="2590">
                  <c:v>2012-12-10</c:v>
                </c:pt>
                <c:pt idx="2591">
                  <c:v>2012-12-11</c:v>
                </c:pt>
                <c:pt idx="2592">
                  <c:v>2012-12-12</c:v>
                </c:pt>
                <c:pt idx="2593">
                  <c:v>2012-12-13</c:v>
                </c:pt>
                <c:pt idx="2594">
                  <c:v>2012-12-14</c:v>
                </c:pt>
                <c:pt idx="2595">
                  <c:v>2012-12-17</c:v>
                </c:pt>
                <c:pt idx="2596">
                  <c:v>2012-12-18</c:v>
                </c:pt>
                <c:pt idx="2597">
                  <c:v>2012-12-19</c:v>
                </c:pt>
                <c:pt idx="2598">
                  <c:v>2012-12-20</c:v>
                </c:pt>
                <c:pt idx="2599">
                  <c:v>2012-12-21</c:v>
                </c:pt>
                <c:pt idx="2600">
                  <c:v>2012-12-24</c:v>
                </c:pt>
                <c:pt idx="2601">
                  <c:v>2012-12-25</c:v>
                </c:pt>
                <c:pt idx="2602">
                  <c:v>2012-12-26</c:v>
                </c:pt>
                <c:pt idx="2603">
                  <c:v>2012-12-27</c:v>
                </c:pt>
                <c:pt idx="2604">
                  <c:v>2012-12-28</c:v>
                </c:pt>
                <c:pt idx="2605">
                  <c:v>2012-12-31</c:v>
                </c:pt>
                <c:pt idx="2606">
                  <c:v>2013-01-04</c:v>
                </c:pt>
                <c:pt idx="2607">
                  <c:v>2013-01-07</c:v>
                </c:pt>
                <c:pt idx="2608">
                  <c:v>2013-01-08</c:v>
                </c:pt>
                <c:pt idx="2609">
                  <c:v>2013-01-09</c:v>
                </c:pt>
                <c:pt idx="2610">
                  <c:v>2013-01-10</c:v>
                </c:pt>
                <c:pt idx="2611">
                  <c:v>2013-01-11</c:v>
                </c:pt>
                <c:pt idx="2612">
                  <c:v>2013-01-14</c:v>
                </c:pt>
                <c:pt idx="2613">
                  <c:v>2013-01-15</c:v>
                </c:pt>
                <c:pt idx="2614">
                  <c:v>2013-01-16</c:v>
                </c:pt>
                <c:pt idx="2615">
                  <c:v>2013-01-17</c:v>
                </c:pt>
                <c:pt idx="2616">
                  <c:v>2013-01-18</c:v>
                </c:pt>
                <c:pt idx="2617">
                  <c:v>2013-01-21</c:v>
                </c:pt>
                <c:pt idx="2618">
                  <c:v>2013-01-22</c:v>
                </c:pt>
                <c:pt idx="2619">
                  <c:v>2013-01-23</c:v>
                </c:pt>
                <c:pt idx="2620">
                  <c:v>2013-01-24</c:v>
                </c:pt>
                <c:pt idx="2621">
                  <c:v>2013-01-25</c:v>
                </c:pt>
                <c:pt idx="2622">
                  <c:v>2013-01-28</c:v>
                </c:pt>
                <c:pt idx="2623">
                  <c:v>2013-01-29</c:v>
                </c:pt>
                <c:pt idx="2624">
                  <c:v>2013-01-30</c:v>
                </c:pt>
                <c:pt idx="2625">
                  <c:v>2013-01-31</c:v>
                </c:pt>
                <c:pt idx="2626">
                  <c:v>2013-02-01</c:v>
                </c:pt>
                <c:pt idx="2627">
                  <c:v>2013-02-04</c:v>
                </c:pt>
                <c:pt idx="2628">
                  <c:v>2013-02-05</c:v>
                </c:pt>
                <c:pt idx="2629">
                  <c:v>2013-02-06</c:v>
                </c:pt>
                <c:pt idx="2630">
                  <c:v>2013-02-07</c:v>
                </c:pt>
                <c:pt idx="2631">
                  <c:v>2013-02-08</c:v>
                </c:pt>
                <c:pt idx="2632">
                  <c:v>2013-02-18</c:v>
                </c:pt>
                <c:pt idx="2633">
                  <c:v>2013-02-19</c:v>
                </c:pt>
                <c:pt idx="2634">
                  <c:v>2013-02-20</c:v>
                </c:pt>
                <c:pt idx="2635">
                  <c:v>2013-02-21</c:v>
                </c:pt>
                <c:pt idx="2636">
                  <c:v>2013-02-22</c:v>
                </c:pt>
                <c:pt idx="2637">
                  <c:v>2013-02-25</c:v>
                </c:pt>
                <c:pt idx="2638">
                  <c:v>2013-02-26</c:v>
                </c:pt>
                <c:pt idx="2639">
                  <c:v>2013-02-27</c:v>
                </c:pt>
                <c:pt idx="2640">
                  <c:v>2013-02-28</c:v>
                </c:pt>
                <c:pt idx="2641">
                  <c:v>2013-03-01</c:v>
                </c:pt>
                <c:pt idx="2642">
                  <c:v>2013-03-04</c:v>
                </c:pt>
                <c:pt idx="2643">
                  <c:v>2013-03-05</c:v>
                </c:pt>
                <c:pt idx="2644">
                  <c:v>2013-03-06</c:v>
                </c:pt>
                <c:pt idx="2645">
                  <c:v>2013-03-07</c:v>
                </c:pt>
                <c:pt idx="2646">
                  <c:v>2013-03-08</c:v>
                </c:pt>
                <c:pt idx="2647">
                  <c:v>2013-03-11</c:v>
                </c:pt>
                <c:pt idx="2648">
                  <c:v>2013-03-12</c:v>
                </c:pt>
                <c:pt idx="2649">
                  <c:v>2013-03-13</c:v>
                </c:pt>
                <c:pt idx="2650">
                  <c:v>2013-03-14</c:v>
                </c:pt>
                <c:pt idx="2651">
                  <c:v>2013-03-15</c:v>
                </c:pt>
                <c:pt idx="2652">
                  <c:v>2013-03-18</c:v>
                </c:pt>
                <c:pt idx="2653">
                  <c:v>2013-03-19</c:v>
                </c:pt>
                <c:pt idx="2654">
                  <c:v>2013-03-20</c:v>
                </c:pt>
                <c:pt idx="2655">
                  <c:v>2013-03-21</c:v>
                </c:pt>
                <c:pt idx="2656">
                  <c:v>2013-03-22</c:v>
                </c:pt>
                <c:pt idx="2657">
                  <c:v>2013-03-25</c:v>
                </c:pt>
                <c:pt idx="2658">
                  <c:v>2013-03-26</c:v>
                </c:pt>
                <c:pt idx="2659">
                  <c:v>2013-03-27</c:v>
                </c:pt>
                <c:pt idx="2660">
                  <c:v>2013-03-28</c:v>
                </c:pt>
                <c:pt idx="2661">
                  <c:v>2013-03-29</c:v>
                </c:pt>
                <c:pt idx="2662">
                  <c:v>2013-04-01</c:v>
                </c:pt>
                <c:pt idx="2663">
                  <c:v>2013-04-02</c:v>
                </c:pt>
                <c:pt idx="2664">
                  <c:v>2013-04-03</c:v>
                </c:pt>
                <c:pt idx="2665">
                  <c:v>2013-04-08</c:v>
                </c:pt>
                <c:pt idx="2666">
                  <c:v>2013-04-09</c:v>
                </c:pt>
                <c:pt idx="2667">
                  <c:v>2013-04-10</c:v>
                </c:pt>
                <c:pt idx="2668">
                  <c:v>2013-04-11</c:v>
                </c:pt>
                <c:pt idx="2669">
                  <c:v>2013-04-12</c:v>
                </c:pt>
                <c:pt idx="2670">
                  <c:v>2013-04-15</c:v>
                </c:pt>
                <c:pt idx="2671">
                  <c:v>2013-04-16</c:v>
                </c:pt>
                <c:pt idx="2672">
                  <c:v>2013-04-17</c:v>
                </c:pt>
                <c:pt idx="2673">
                  <c:v>2013-04-18</c:v>
                </c:pt>
                <c:pt idx="2674">
                  <c:v>2013-04-19</c:v>
                </c:pt>
                <c:pt idx="2675">
                  <c:v>2013-04-22</c:v>
                </c:pt>
                <c:pt idx="2676">
                  <c:v>2013-04-23</c:v>
                </c:pt>
                <c:pt idx="2677">
                  <c:v>2013-04-24</c:v>
                </c:pt>
                <c:pt idx="2678">
                  <c:v>2013-04-25</c:v>
                </c:pt>
                <c:pt idx="2679">
                  <c:v>2013-04-26</c:v>
                </c:pt>
                <c:pt idx="2680">
                  <c:v>2013-05-02</c:v>
                </c:pt>
                <c:pt idx="2681">
                  <c:v>2013-05-03</c:v>
                </c:pt>
                <c:pt idx="2682">
                  <c:v>2013-05-06</c:v>
                </c:pt>
                <c:pt idx="2683">
                  <c:v>2013-05-07</c:v>
                </c:pt>
                <c:pt idx="2684">
                  <c:v>2013-05-08</c:v>
                </c:pt>
                <c:pt idx="2685">
                  <c:v>2013-05-09</c:v>
                </c:pt>
                <c:pt idx="2686">
                  <c:v>2013-05-10</c:v>
                </c:pt>
                <c:pt idx="2687">
                  <c:v>2013-05-13</c:v>
                </c:pt>
                <c:pt idx="2688">
                  <c:v>2013-05-14</c:v>
                </c:pt>
                <c:pt idx="2689">
                  <c:v>2013-05-15</c:v>
                </c:pt>
                <c:pt idx="2690">
                  <c:v>2013-05-16</c:v>
                </c:pt>
                <c:pt idx="2691">
                  <c:v>2013-05-17</c:v>
                </c:pt>
                <c:pt idx="2692">
                  <c:v>2013-05-20</c:v>
                </c:pt>
                <c:pt idx="2693">
                  <c:v>2013-05-21</c:v>
                </c:pt>
                <c:pt idx="2694">
                  <c:v>2013-05-22</c:v>
                </c:pt>
                <c:pt idx="2695">
                  <c:v>2013-05-23</c:v>
                </c:pt>
                <c:pt idx="2696">
                  <c:v>2013-05-24</c:v>
                </c:pt>
                <c:pt idx="2697">
                  <c:v>2013-05-27</c:v>
                </c:pt>
                <c:pt idx="2698">
                  <c:v>2013-05-28</c:v>
                </c:pt>
                <c:pt idx="2699">
                  <c:v>2013-05-29</c:v>
                </c:pt>
                <c:pt idx="2700">
                  <c:v>2013-05-30</c:v>
                </c:pt>
                <c:pt idx="2701">
                  <c:v>2013-05-31</c:v>
                </c:pt>
                <c:pt idx="2702">
                  <c:v>2013-06-03</c:v>
                </c:pt>
                <c:pt idx="2703">
                  <c:v>2013-06-04</c:v>
                </c:pt>
                <c:pt idx="2704">
                  <c:v>2013-06-05</c:v>
                </c:pt>
                <c:pt idx="2705">
                  <c:v>2013-06-06</c:v>
                </c:pt>
                <c:pt idx="2706">
                  <c:v>2013-06-07</c:v>
                </c:pt>
                <c:pt idx="2707">
                  <c:v>2013-06-13</c:v>
                </c:pt>
                <c:pt idx="2708">
                  <c:v>2013-06-14</c:v>
                </c:pt>
                <c:pt idx="2709">
                  <c:v>2013-06-17</c:v>
                </c:pt>
                <c:pt idx="2710">
                  <c:v>2013-06-18</c:v>
                </c:pt>
                <c:pt idx="2711">
                  <c:v>2013-06-19</c:v>
                </c:pt>
                <c:pt idx="2712">
                  <c:v>2013-06-20</c:v>
                </c:pt>
                <c:pt idx="2713">
                  <c:v>2013-06-21</c:v>
                </c:pt>
                <c:pt idx="2714">
                  <c:v>2013-06-24</c:v>
                </c:pt>
                <c:pt idx="2715">
                  <c:v>2013-06-25</c:v>
                </c:pt>
                <c:pt idx="2716">
                  <c:v>2013-06-26</c:v>
                </c:pt>
                <c:pt idx="2717">
                  <c:v>2013-06-27</c:v>
                </c:pt>
                <c:pt idx="2718">
                  <c:v>2013-06-28</c:v>
                </c:pt>
                <c:pt idx="2719">
                  <c:v>2013-07-01</c:v>
                </c:pt>
                <c:pt idx="2720">
                  <c:v>2013-07-02</c:v>
                </c:pt>
                <c:pt idx="2721">
                  <c:v>2013-07-03</c:v>
                </c:pt>
                <c:pt idx="2722">
                  <c:v>2013-07-04</c:v>
                </c:pt>
                <c:pt idx="2723">
                  <c:v>2013-07-05</c:v>
                </c:pt>
                <c:pt idx="2724">
                  <c:v>2013-07-08</c:v>
                </c:pt>
                <c:pt idx="2725">
                  <c:v>2013-07-09</c:v>
                </c:pt>
                <c:pt idx="2726">
                  <c:v>2013-07-10</c:v>
                </c:pt>
                <c:pt idx="2727">
                  <c:v>2013-07-11</c:v>
                </c:pt>
                <c:pt idx="2728">
                  <c:v>2013-07-12</c:v>
                </c:pt>
                <c:pt idx="2729">
                  <c:v>2013-07-15</c:v>
                </c:pt>
                <c:pt idx="2730">
                  <c:v>2013-07-16</c:v>
                </c:pt>
                <c:pt idx="2731">
                  <c:v>2013-07-17</c:v>
                </c:pt>
                <c:pt idx="2732">
                  <c:v>2013-07-18</c:v>
                </c:pt>
                <c:pt idx="2733">
                  <c:v>2013-07-19</c:v>
                </c:pt>
                <c:pt idx="2734">
                  <c:v>2013-07-22</c:v>
                </c:pt>
                <c:pt idx="2735">
                  <c:v>2013-07-23</c:v>
                </c:pt>
                <c:pt idx="2736">
                  <c:v>2013-07-24</c:v>
                </c:pt>
                <c:pt idx="2737">
                  <c:v>2013-07-25</c:v>
                </c:pt>
                <c:pt idx="2738">
                  <c:v>2013-07-26</c:v>
                </c:pt>
                <c:pt idx="2739">
                  <c:v>2013-07-29</c:v>
                </c:pt>
                <c:pt idx="2740">
                  <c:v>2013-07-30</c:v>
                </c:pt>
                <c:pt idx="2741">
                  <c:v>2013-07-31</c:v>
                </c:pt>
                <c:pt idx="2742">
                  <c:v>2013-08-01</c:v>
                </c:pt>
                <c:pt idx="2743">
                  <c:v>2013-08-02</c:v>
                </c:pt>
                <c:pt idx="2744">
                  <c:v>2013-08-05</c:v>
                </c:pt>
                <c:pt idx="2745">
                  <c:v>2013-08-06</c:v>
                </c:pt>
                <c:pt idx="2746">
                  <c:v>2013-08-07</c:v>
                </c:pt>
                <c:pt idx="2747">
                  <c:v>2013-08-08</c:v>
                </c:pt>
                <c:pt idx="2748">
                  <c:v>2013-08-09</c:v>
                </c:pt>
                <c:pt idx="2749">
                  <c:v>2013-08-12</c:v>
                </c:pt>
                <c:pt idx="2750">
                  <c:v>2013-08-13</c:v>
                </c:pt>
                <c:pt idx="2751">
                  <c:v>2013-08-14</c:v>
                </c:pt>
                <c:pt idx="2752">
                  <c:v>2013-08-15</c:v>
                </c:pt>
                <c:pt idx="2753">
                  <c:v>2013-08-16</c:v>
                </c:pt>
                <c:pt idx="2754">
                  <c:v>2013-08-19</c:v>
                </c:pt>
                <c:pt idx="2755">
                  <c:v>2013-08-20</c:v>
                </c:pt>
                <c:pt idx="2756">
                  <c:v>2013-08-21</c:v>
                </c:pt>
                <c:pt idx="2757">
                  <c:v>2013-08-22</c:v>
                </c:pt>
                <c:pt idx="2758">
                  <c:v>2013-08-23</c:v>
                </c:pt>
                <c:pt idx="2759">
                  <c:v>2013-08-26</c:v>
                </c:pt>
                <c:pt idx="2760">
                  <c:v>2013-08-27</c:v>
                </c:pt>
                <c:pt idx="2761">
                  <c:v>2013-08-28</c:v>
                </c:pt>
                <c:pt idx="2762">
                  <c:v>2013-08-29</c:v>
                </c:pt>
                <c:pt idx="2763">
                  <c:v>2013-08-30</c:v>
                </c:pt>
                <c:pt idx="2764">
                  <c:v>2013-09-02</c:v>
                </c:pt>
                <c:pt idx="2765">
                  <c:v>2013-09-03</c:v>
                </c:pt>
                <c:pt idx="2766">
                  <c:v>2013-09-04</c:v>
                </c:pt>
                <c:pt idx="2767">
                  <c:v>2013-09-05</c:v>
                </c:pt>
                <c:pt idx="2768">
                  <c:v>2013-09-06</c:v>
                </c:pt>
                <c:pt idx="2769">
                  <c:v>2013-09-09</c:v>
                </c:pt>
                <c:pt idx="2770">
                  <c:v>2013-09-10</c:v>
                </c:pt>
                <c:pt idx="2771">
                  <c:v>2013-09-11</c:v>
                </c:pt>
                <c:pt idx="2772">
                  <c:v>2013-09-12</c:v>
                </c:pt>
                <c:pt idx="2773">
                  <c:v>2013-09-13</c:v>
                </c:pt>
                <c:pt idx="2774">
                  <c:v>2013-09-16</c:v>
                </c:pt>
                <c:pt idx="2775">
                  <c:v>2013-09-17</c:v>
                </c:pt>
                <c:pt idx="2776">
                  <c:v>2013-09-18</c:v>
                </c:pt>
                <c:pt idx="2777">
                  <c:v>2013-09-23</c:v>
                </c:pt>
                <c:pt idx="2778">
                  <c:v>2013-09-24</c:v>
                </c:pt>
                <c:pt idx="2779">
                  <c:v>2013-09-25</c:v>
                </c:pt>
                <c:pt idx="2780">
                  <c:v>2013-09-26</c:v>
                </c:pt>
                <c:pt idx="2781">
                  <c:v>2013-09-27</c:v>
                </c:pt>
                <c:pt idx="2782">
                  <c:v>2013-09-30</c:v>
                </c:pt>
                <c:pt idx="2783">
                  <c:v>2013-10-08</c:v>
                </c:pt>
                <c:pt idx="2784">
                  <c:v>2013-10-09</c:v>
                </c:pt>
                <c:pt idx="2785">
                  <c:v>2013-10-10</c:v>
                </c:pt>
                <c:pt idx="2786">
                  <c:v>2013-10-11</c:v>
                </c:pt>
                <c:pt idx="2787">
                  <c:v>2013-10-14</c:v>
                </c:pt>
                <c:pt idx="2788">
                  <c:v>2013-10-15</c:v>
                </c:pt>
                <c:pt idx="2789">
                  <c:v>2013-10-16</c:v>
                </c:pt>
                <c:pt idx="2790">
                  <c:v>2013-10-17</c:v>
                </c:pt>
                <c:pt idx="2791">
                  <c:v>2013-10-18</c:v>
                </c:pt>
                <c:pt idx="2792">
                  <c:v>2013-10-21</c:v>
                </c:pt>
                <c:pt idx="2793">
                  <c:v>2013-10-22</c:v>
                </c:pt>
                <c:pt idx="2794">
                  <c:v>2013-10-23</c:v>
                </c:pt>
                <c:pt idx="2795">
                  <c:v>2013-10-24</c:v>
                </c:pt>
                <c:pt idx="2796">
                  <c:v>2013-10-25</c:v>
                </c:pt>
                <c:pt idx="2797">
                  <c:v>2013-10-28</c:v>
                </c:pt>
                <c:pt idx="2798">
                  <c:v>2013-10-29</c:v>
                </c:pt>
                <c:pt idx="2799">
                  <c:v>2013-10-30</c:v>
                </c:pt>
                <c:pt idx="2800">
                  <c:v>2013-10-31</c:v>
                </c:pt>
                <c:pt idx="2801">
                  <c:v>2013-11-01</c:v>
                </c:pt>
                <c:pt idx="2802">
                  <c:v>2013-11-04</c:v>
                </c:pt>
                <c:pt idx="2803">
                  <c:v>2013-11-05</c:v>
                </c:pt>
                <c:pt idx="2804">
                  <c:v>2013-11-06</c:v>
                </c:pt>
                <c:pt idx="2805">
                  <c:v>2013-11-07</c:v>
                </c:pt>
                <c:pt idx="2806">
                  <c:v>2013-11-08</c:v>
                </c:pt>
                <c:pt idx="2807">
                  <c:v>2013-11-11</c:v>
                </c:pt>
                <c:pt idx="2808">
                  <c:v>2013-11-12</c:v>
                </c:pt>
                <c:pt idx="2809">
                  <c:v>2013-11-13</c:v>
                </c:pt>
                <c:pt idx="2810">
                  <c:v>2013-11-14</c:v>
                </c:pt>
                <c:pt idx="2811">
                  <c:v>2013-11-15</c:v>
                </c:pt>
                <c:pt idx="2812">
                  <c:v>2013-11-18</c:v>
                </c:pt>
                <c:pt idx="2813">
                  <c:v>2013-11-19</c:v>
                </c:pt>
                <c:pt idx="2814">
                  <c:v>2013-11-20</c:v>
                </c:pt>
                <c:pt idx="2815">
                  <c:v>2013-11-21</c:v>
                </c:pt>
                <c:pt idx="2816">
                  <c:v>2013-11-22</c:v>
                </c:pt>
                <c:pt idx="2817">
                  <c:v>2013-11-25</c:v>
                </c:pt>
                <c:pt idx="2818">
                  <c:v>2013-11-26</c:v>
                </c:pt>
                <c:pt idx="2819">
                  <c:v>2013-11-27</c:v>
                </c:pt>
                <c:pt idx="2820">
                  <c:v>2013-11-28</c:v>
                </c:pt>
                <c:pt idx="2821">
                  <c:v>2013-11-29</c:v>
                </c:pt>
                <c:pt idx="2822">
                  <c:v>2013-12-02</c:v>
                </c:pt>
                <c:pt idx="2823">
                  <c:v>2013-12-03</c:v>
                </c:pt>
                <c:pt idx="2824">
                  <c:v>2013-12-04</c:v>
                </c:pt>
                <c:pt idx="2825">
                  <c:v>2013-12-05</c:v>
                </c:pt>
                <c:pt idx="2826">
                  <c:v>2013-12-06</c:v>
                </c:pt>
                <c:pt idx="2827">
                  <c:v>2013-12-09</c:v>
                </c:pt>
                <c:pt idx="2828">
                  <c:v>2013-12-10</c:v>
                </c:pt>
                <c:pt idx="2829">
                  <c:v>2013-12-11</c:v>
                </c:pt>
                <c:pt idx="2830">
                  <c:v>2013-12-12</c:v>
                </c:pt>
                <c:pt idx="2831">
                  <c:v>2013-12-13</c:v>
                </c:pt>
                <c:pt idx="2832">
                  <c:v>2013-12-16</c:v>
                </c:pt>
                <c:pt idx="2833">
                  <c:v>2013-12-17</c:v>
                </c:pt>
                <c:pt idx="2834">
                  <c:v>2013-12-18</c:v>
                </c:pt>
                <c:pt idx="2835">
                  <c:v>2013-12-19</c:v>
                </c:pt>
                <c:pt idx="2836">
                  <c:v>2013-12-20</c:v>
                </c:pt>
                <c:pt idx="2837">
                  <c:v>2013-12-23</c:v>
                </c:pt>
                <c:pt idx="2838">
                  <c:v>2013-12-24</c:v>
                </c:pt>
                <c:pt idx="2839">
                  <c:v>2013-12-25</c:v>
                </c:pt>
                <c:pt idx="2840">
                  <c:v>2013-12-26</c:v>
                </c:pt>
                <c:pt idx="2841">
                  <c:v>2013-12-27</c:v>
                </c:pt>
                <c:pt idx="2842">
                  <c:v>2013-12-30</c:v>
                </c:pt>
                <c:pt idx="2843">
                  <c:v>2013-12-31</c:v>
                </c:pt>
                <c:pt idx="2844">
                  <c:v>2014-01-02</c:v>
                </c:pt>
                <c:pt idx="2845">
                  <c:v>2014-01-03</c:v>
                </c:pt>
                <c:pt idx="2846">
                  <c:v>2014-01-06</c:v>
                </c:pt>
                <c:pt idx="2847">
                  <c:v>2014-01-07</c:v>
                </c:pt>
                <c:pt idx="2848">
                  <c:v>2014-01-08</c:v>
                </c:pt>
                <c:pt idx="2849">
                  <c:v>2014-01-09</c:v>
                </c:pt>
                <c:pt idx="2850">
                  <c:v>2014-01-10</c:v>
                </c:pt>
                <c:pt idx="2851">
                  <c:v>2014-01-13</c:v>
                </c:pt>
                <c:pt idx="2852">
                  <c:v>2014-01-14</c:v>
                </c:pt>
                <c:pt idx="2853">
                  <c:v>2014-01-15</c:v>
                </c:pt>
                <c:pt idx="2854">
                  <c:v>2014-01-16</c:v>
                </c:pt>
                <c:pt idx="2855">
                  <c:v>2014-01-17</c:v>
                </c:pt>
                <c:pt idx="2856">
                  <c:v>2014-01-20</c:v>
                </c:pt>
                <c:pt idx="2857">
                  <c:v>2014-01-21</c:v>
                </c:pt>
                <c:pt idx="2858">
                  <c:v>2014-01-22</c:v>
                </c:pt>
                <c:pt idx="2859">
                  <c:v>2014-01-23</c:v>
                </c:pt>
                <c:pt idx="2860">
                  <c:v>2014-01-24</c:v>
                </c:pt>
                <c:pt idx="2861">
                  <c:v>2014-01-27</c:v>
                </c:pt>
                <c:pt idx="2862">
                  <c:v>2014-01-28</c:v>
                </c:pt>
                <c:pt idx="2863">
                  <c:v>2014-01-29</c:v>
                </c:pt>
                <c:pt idx="2864">
                  <c:v>2014-01-30</c:v>
                </c:pt>
                <c:pt idx="2865">
                  <c:v>2014-02-07</c:v>
                </c:pt>
                <c:pt idx="2866">
                  <c:v>2014-02-10</c:v>
                </c:pt>
                <c:pt idx="2867">
                  <c:v>2014-02-11</c:v>
                </c:pt>
                <c:pt idx="2868">
                  <c:v>2014-02-12</c:v>
                </c:pt>
                <c:pt idx="2869">
                  <c:v>2014-02-13</c:v>
                </c:pt>
                <c:pt idx="2870">
                  <c:v>2014-02-14</c:v>
                </c:pt>
                <c:pt idx="2871">
                  <c:v>2014-02-17</c:v>
                </c:pt>
                <c:pt idx="2872">
                  <c:v>2014-02-18</c:v>
                </c:pt>
                <c:pt idx="2873">
                  <c:v>2014-02-19</c:v>
                </c:pt>
                <c:pt idx="2874">
                  <c:v>2014-02-20</c:v>
                </c:pt>
                <c:pt idx="2875">
                  <c:v>2014-02-21</c:v>
                </c:pt>
                <c:pt idx="2876">
                  <c:v>2014-02-24</c:v>
                </c:pt>
                <c:pt idx="2877">
                  <c:v>2014-02-25</c:v>
                </c:pt>
                <c:pt idx="2878">
                  <c:v>2014-02-26</c:v>
                </c:pt>
                <c:pt idx="2879">
                  <c:v>2014-02-27</c:v>
                </c:pt>
                <c:pt idx="2880">
                  <c:v>2014-02-28</c:v>
                </c:pt>
                <c:pt idx="2881">
                  <c:v>2014-03-03</c:v>
                </c:pt>
                <c:pt idx="2882">
                  <c:v>2014-03-04</c:v>
                </c:pt>
                <c:pt idx="2883">
                  <c:v>2014-03-05</c:v>
                </c:pt>
                <c:pt idx="2884">
                  <c:v>2014-03-06</c:v>
                </c:pt>
                <c:pt idx="2885">
                  <c:v>2014-03-07</c:v>
                </c:pt>
                <c:pt idx="2886">
                  <c:v>2014-03-10</c:v>
                </c:pt>
                <c:pt idx="2887">
                  <c:v>2014-03-11</c:v>
                </c:pt>
                <c:pt idx="2888">
                  <c:v>2014-03-12</c:v>
                </c:pt>
                <c:pt idx="2889">
                  <c:v>2014-03-13</c:v>
                </c:pt>
                <c:pt idx="2890">
                  <c:v>2014-03-14</c:v>
                </c:pt>
                <c:pt idx="2891">
                  <c:v>2014-03-17</c:v>
                </c:pt>
                <c:pt idx="2892">
                  <c:v>2014-03-18</c:v>
                </c:pt>
                <c:pt idx="2893">
                  <c:v>2014-03-19</c:v>
                </c:pt>
                <c:pt idx="2894">
                  <c:v>2014-03-20</c:v>
                </c:pt>
                <c:pt idx="2895">
                  <c:v>2014-03-21</c:v>
                </c:pt>
                <c:pt idx="2896">
                  <c:v>2014-03-24</c:v>
                </c:pt>
                <c:pt idx="2897">
                  <c:v>2014-03-25</c:v>
                </c:pt>
                <c:pt idx="2898">
                  <c:v>2014-03-26</c:v>
                </c:pt>
                <c:pt idx="2899">
                  <c:v>2014-03-27</c:v>
                </c:pt>
                <c:pt idx="2900">
                  <c:v>2014-03-28</c:v>
                </c:pt>
                <c:pt idx="2901">
                  <c:v>2014-03-31</c:v>
                </c:pt>
                <c:pt idx="2902">
                  <c:v>2014-04-01</c:v>
                </c:pt>
                <c:pt idx="2903">
                  <c:v>2014-04-02</c:v>
                </c:pt>
                <c:pt idx="2904">
                  <c:v>2014-04-03</c:v>
                </c:pt>
                <c:pt idx="2905">
                  <c:v>2014-04-04</c:v>
                </c:pt>
                <c:pt idx="2906">
                  <c:v>2014-04-08</c:v>
                </c:pt>
                <c:pt idx="2907">
                  <c:v>2014-04-09</c:v>
                </c:pt>
                <c:pt idx="2908">
                  <c:v>2014-04-10</c:v>
                </c:pt>
                <c:pt idx="2909">
                  <c:v>2014-04-11</c:v>
                </c:pt>
                <c:pt idx="2910">
                  <c:v>2014-04-14</c:v>
                </c:pt>
                <c:pt idx="2911">
                  <c:v>2014-04-15</c:v>
                </c:pt>
                <c:pt idx="2912">
                  <c:v>2014-04-16</c:v>
                </c:pt>
                <c:pt idx="2913">
                  <c:v>2014-04-17</c:v>
                </c:pt>
                <c:pt idx="2914">
                  <c:v>2014-04-18</c:v>
                </c:pt>
                <c:pt idx="2915">
                  <c:v>2014-04-21</c:v>
                </c:pt>
                <c:pt idx="2916">
                  <c:v>2014-04-22</c:v>
                </c:pt>
                <c:pt idx="2917">
                  <c:v>2014-04-23</c:v>
                </c:pt>
                <c:pt idx="2918">
                  <c:v>2014-04-24</c:v>
                </c:pt>
                <c:pt idx="2919">
                  <c:v>2014-04-25</c:v>
                </c:pt>
                <c:pt idx="2920">
                  <c:v>2014-04-28</c:v>
                </c:pt>
                <c:pt idx="2921">
                  <c:v>2014-04-29</c:v>
                </c:pt>
                <c:pt idx="2922">
                  <c:v>2014-04-30</c:v>
                </c:pt>
                <c:pt idx="2923">
                  <c:v>2014-05-05</c:v>
                </c:pt>
                <c:pt idx="2924">
                  <c:v>2014-05-06</c:v>
                </c:pt>
                <c:pt idx="2925">
                  <c:v>2014-05-07</c:v>
                </c:pt>
                <c:pt idx="2926">
                  <c:v>2014-05-08</c:v>
                </c:pt>
                <c:pt idx="2927">
                  <c:v>2014-05-09</c:v>
                </c:pt>
                <c:pt idx="2928">
                  <c:v>2014-05-12</c:v>
                </c:pt>
                <c:pt idx="2929">
                  <c:v>2014-05-13</c:v>
                </c:pt>
                <c:pt idx="2930">
                  <c:v>2014-05-14</c:v>
                </c:pt>
                <c:pt idx="2931">
                  <c:v>2014-05-15</c:v>
                </c:pt>
                <c:pt idx="2932">
                  <c:v>2014-05-16</c:v>
                </c:pt>
                <c:pt idx="2933">
                  <c:v>2014-05-19</c:v>
                </c:pt>
                <c:pt idx="2934">
                  <c:v>2014-05-20</c:v>
                </c:pt>
                <c:pt idx="2935">
                  <c:v>2014-05-21</c:v>
                </c:pt>
                <c:pt idx="2936">
                  <c:v>2014-05-22</c:v>
                </c:pt>
                <c:pt idx="2937">
                  <c:v>2014-05-23</c:v>
                </c:pt>
                <c:pt idx="2938">
                  <c:v>2014-05-26</c:v>
                </c:pt>
                <c:pt idx="2939">
                  <c:v>2014-05-27</c:v>
                </c:pt>
                <c:pt idx="2940">
                  <c:v>2014-05-28</c:v>
                </c:pt>
                <c:pt idx="2941">
                  <c:v>2014-05-29</c:v>
                </c:pt>
                <c:pt idx="2942">
                  <c:v>2014-05-30</c:v>
                </c:pt>
                <c:pt idx="2943">
                  <c:v>2014-06-03</c:v>
                </c:pt>
                <c:pt idx="2944">
                  <c:v>2014-06-04</c:v>
                </c:pt>
                <c:pt idx="2945">
                  <c:v>2014-06-05</c:v>
                </c:pt>
                <c:pt idx="2946">
                  <c:v>2014-06-06</c:v>
                </c:pt>
                <c:pt idx="2947">
                  <c:v>2014-06-09</c:v>
                </c:pt>
                <c:pt idx="2948">
                  <c:v>2014-06-10</c:v>
                </c:pt>
                <c:pt idx="2949">
                  <c:v>2014-06-11</c:v>
                </c:pt>
                <c:pt idx="2950">
                  <c:v>2014-06-12</c:v>
                </c:pt>
                <c:pt idx="2951">
                  <c:v>2014-06-13</c:v>
                </c:pt>
                <c:pt idx="2952">
                  <c:v>2014-06-16</c:v>
                </c:pt>
                <c:pt idx="2953">
                  <c:v>2014-06-17</c:v>
                </c:pt>
                <c:pt idx="2954">
                  <c:v>2014-06-18</c:v>
                </c:pt>
                <c:pt idx="2955">
                  <c:v>2014-06-19</c:v>
                </c:pt>
                <c:pt idx="2956">
                  <c:v>2014-06-20</c:v>
                </c:pt>
                <c:pt idx="2957">
                  <c:v>2014-06-23</c:v>
                </c:pt>
                <c:pt idx="2958">
                  <c:v>2014-06-24</c:v>
                </c:pt>
                <c:pt idx="2959">
                  <c:v>2014-06-25</c:v>
                </c:pt>
                <c:pt idx="2960">
                  <c:v>2014-06-26</c:v>
                </c:pt>
                <c:pt idx="2961">
                  <c:v>2014-06-27</c:v>
                </c:pt>
                <c:pt idx="2962">
                  <c:v>2014-06-30</c:v>
                </c:pt>
                <c:pt idx="2963">
                  <c:v>2014-07-01</c:v>
                </c:pt>
                <c:pt idx="2964">
                  <c:v>2014-07-02</c:v>
                </c:pt>
                <c:pt idx="2965">
                  <c:v>2014-07-03</c:v>
                </c:pt>
                <c:pt idx="2966">
                  <c:v>2014-07-04</c:v>
                </c:pt>
                <c:pt idx="2967">
                  <c:v>2014-07-07</c:v>
                </c:pt>
                <c:pt idx="2968">
                  <c:v>2014-07-08</c:v>
                </c:pt>
                <c:pt idx="2969">
                  <c:v>2014-07-09</c:v>
                </c:pt>
                <c:pt idx="2970">
                  <c:v>2014-07-10</c:v>
                </c:pt>
                <c:pt idx="2971">
                  <c:v>2014-07-11</c:v>
                </c:pt>
                <c:pt idx="2972">
                  <c:v>2014-07-14</c:v>
                </c:pt>
                <c:pt idx="2973">
                  <c:v>2014-07-15</c:v>
                </c:pt>
                <c:pt idx="2974">
                  <c:v>2014-07-16</c:v>
                </c:pt>
                <c:pt idx="2975">
                  <c:v>2014-07-17</c:v>
                </c:pt>
                <c:pt idx="2976">
                  <c:v>2014-07-18</c:v>
                </c:pt>
                <c:pt idx="2977">
                  <c:v>2014-07-21</c:v>
                </c:pt>
                <c:pt idx="2978">
                  <c:v>2014-07-22</c:v>
                </c:pt>
                <c:pt idx="2979">
                  <c:v>2014-07-23</c:v>
                </c:pt>
                <c:pt idx="2980">
                  <c:v>2014-07-24</c:v>
                </c:pt>
                <c:pt idx="2981">
                  <c:v>2014-07-25</c:v>
                </c:pt>
                <c:pt idx="2982">
                  <c:v>2014-07-28</c:v>
                </c:pt>
                <c:pt idx="2983">
                  <c:v>2014-07-29</c:v>
                </c:pt>
                <c:pt idx="2984">
                  <c:v>2014-07-30</c:v>
                </c:pt>
                <c:pt idx="2985">
                  <c:v>2014-07-31</c:v>
                </c:pt>
                <c:pt idx="2986">
                  <c:v>2014-08-01</c:v>
                </c:pt>
                <c:pt idx="2987">
                  <c:v>2014-08-04</c:v>
                </c:pt>
                <c:pt idx="2988">
                  <c:v>2014-08-05</c:v>
                </c:pt>
                <c:pt idx="2989">
                  <c:v>2014-08-06</c:v>
                </c:pt>
                <c:pt idx="2990">
                  <c:v>2014-08-07</c:v>
                </c:pt>
                <c:pt idx="2991">
                  <c:v>2014-08-08</c:v>
                </c:pt>
                <c:pt idx="2992">
                  <c:v>2014-08-11</c:v>
                </c:pt>
                <c:pt idx="2993">
                  <c:v>2014-08-12</c:v>
                </c:pt>
                <c:pt idx="2994">
                  <c:v>2014-08-13</c:v>
                </c:pt>
                <c:pt idx="2995">
                  <c:v>2014-08-14</c:v>
                </c:pt>
                <c:pt idx="2996">
                  <c:v>2014-08-15</c:v>
                </c:pt>
                <c:pt idx="2997">
                  <c:v>2014-08-18</c:v>
                </c:pt>
                <c:pt idx="2998">
                  <c:v>2014-08-19</c:v>
                </c:pt>
                <c:pt idx="2999">
                  <c:v>2014-08-20</c:v>
                </c:pt>
                <c:pt idx="3000">
                  <c:v>2014-08-21</c:v>
                </c:pt>
                <c:pt idx="3001">
                  <c:v>2014-08-22</c:v>
                </c:pt>
                <c:pt idx="3002">
                  <c:v>2014-08-25</c:v>
                </c:pt>
                <c:pt idx="3003">
                  <c:v>2014-08-26</c:v>
                </c:pt>
                <c:pt idx="3004">
                  <c:v>2014-08-27</c:v>
                </c:pt>
                <c:pt idx="3005">
                  <c:v>2014-08-28</c:v>
                </c:pt>
                <c:pt idx="3006">
                  <c:v>2014-08-29</c:v>
                </c:pt>
                <c:pt idx="3007">
                  <c:v>2014-09-01</c:v>
                </c:pt>
                <c:pt idx="3008">
                  <c:v>2014-09-02</c:v>
                </c:pt>
                <c:pt idx="3009">
                  <c:v>2014-09-03</c:v>
                </c:pt>
                <c:pt idx="3010">
                  <c:v>2014-09-04</c:v>
                </c:pt>
                <c:pt idx="3011">
                  <c:v>2014-09-05</c:v>
                </c:pt>
                <c:pt idx="3012">
                  <c:v>2014-09-09</c:v>
                </c:pt>
                <c:pt idx="3013">
                  <c:v>2014-09-10</c:v>
                </c:pt>
                <c:pt idx="3014">
                  <c:v>2014-09-11</c:v>
                </c:pt>
                <c:pt idx="3015">
                  <c:v>2014-09-12</c:v>
                </c:pt>
                <c:pt idx="3016">
                  <c:v>2014-09-15</c:v>
                </c:pt>
                <c:pt idx="3017">
                  <c:v>2014-09-16</c:v>
                </c:pt>
                <c:pt idx="3018">
                  <c:v>2014-09-17</c:v>
                </c:pt>
                <c:pt idx="3019">
                  <c:v>2014-09-18</c:v>
                </c:pt>
                <c:pt idx="3020">
                  <c:v>2014-09-19</c:v>
                </c:pt>
                <c:pt idx="3021">
                  <c:v>2014-09-22</c:v>
                </c:pt>
                <c:pt idx="3022">
                  <c:v>2014-09-23</c:v>
                </c:pt>
                <c:pt idx="3023">
                  <c:v>2014-09-24</c:v>
                </c:pt>
                <c:pt idx="3024">
                  <c:v>2014-09-25</c:v>
                </c:pt>
                <c:pt idx="3025">
                  <c:v>2014-09-26</c:v>
                </c:pt>
                <c:pt idx="3026">
                  <c:v>2014-09-29</c:v>
                </c:pt>
                <c:pt idx="3027">
                  <c:v>2014-09-30</c:v>
                </c:pt>
                <c:pt idx="3028">
                  <c:v>2014-10-08</c:v>
                </c:pt>
                <c:pt idx="3029">
                  <c:v>2014-10-09</c:v>
                </c:pt>
                <c:pt idx="3030">
                  <c:v>2014-10-10</c:v>
                </c:pt>
                <c:pt idx="3031">
                  <c:v>2014-10-13</c:v>
                </c:pt>
                <c:pt idx="3032">
                  <c:v>2014-10-14</c:v>
                </c:pt>
                <c:pt idx="3033">
                  <c:v>2014-10-15</c:v>
                </c:pt>
                <c:pt idx="3034">
                  <c:v>2014-10-16</c:v>
                </c:pt>
                <c:pt idx="3035">
                  <c:v>2014-10-17</c:v>
                </c:pt>
                <c:pt idx="3036">
                  <c:v>2014-10-20</c:v>
                </c:pt>
                <c:pt idx="3037">
                  <c:v>2014-10-21</c:v>
                </c:pt>
                <c:pt idx="3038">
                  <c:v>2014-10-22</c:v>
                </c:pt>
                <c:pt idx="3039">
                  <c:v>2014-10-23</c:v>
                </c:pt>
                <c:pt idx="3040">
                  <c:v>2014-10-24</c:v>
                </c:pt>
                <c:pt idx="3041">
                  <c:v>2014-10-27</c:v>
                </c:pt>
                <c:pt idx="3042">
                  <c:v>2014-10-28</c:v>
                </c:pt>
                <c:pt idx="3043">
                  <c:v>2014-10-29</c:v>
                </c:pt>
                <c:pt idx="3044">
                  <c:v>2014-10-30</c:v>
                </c:pt>
                <c:pt idx="3045">
                  <c:v>2014-10-31</c:v>
                </c:pt>
                <c:pt idx="3046">
                  <c:v>2014-11-03</c:v>
                </c:pt>
                <c:pt idx="3047">
                  <c:v>2014-11-04</c:v>
                </c:pt>
                <c:pt idx="3048">
                  <c:v>2014-11-05</c:v>
                </c:pt>
                <c:pt idx="3049">
                  <c:v>2014-11-06</c:v>
                </c:pt>
                <c:pt idx="3050">
                  <c:v>2014-11-07</c:v>
                </c:pt>
                <c:pt idx="3051">
                  <c:v>2014-11-10</c:v>
                </c:pt>
                <c:pt idx="3052">
                  <c:v>2014-11-11</c:v>
                </c:pt>
                <c:pt idx="3053">
                  <c:v>2014-11-12</c:v>
                </c:pt>
                <c:pt idx="3054">
                  <c:v>2014-11-13</c:v>
                </c:pt>
                <c:pt idx="3055">
                  <c:v>2014-11-14</c:v>
                </c:pt>
                <c:pt idx="3056">
                  <c:v>2014-11-17</c:v>
                </c:pt>
                <c:pt idx="3057">
                  <c:v>2014-11-18</c:v>
                </c:pt>
                <c:pt idx="3058">
                  <c:v>2014-11-19</c:v>
                </c:pt>
                <c:pt idx="3059">
                  <c:v>2014-11-20</c:v>
                </c:pt>
                <c:pt idx="3060">
                  <c:v>2014-11-21</c:v>
                </c:pt>
                <c:pt idx="3061">
                  <c:v>2014-11-24</c:v>
                </c:pt>
                <c:pt idx="3062">
                  <c:v>2014-11-25</c:v>
                </c:pt>
                <c:pt idx="3063">
                  <c:v>2014-11-26</c:v>
                </c:pt>
                <c:pt idx="3064">
                  <c:v>2014-11-27</c:v>
                </c:pt>
                <c:pt idx="3065">
                  <c:v>2014-11-28</c:v>
                </c:pt>
                <c:pt idx="3066">
                  <c:v>2014-12-01</c:v>
                </c:pt>
                <c:pt idx="3067">
                  <c:v>2014-12-02</c:v>
                </c:pt>
                <c:pt idx="3068">
                  <c:v>2014-12-03</c:v>
                </c:pt>
                <c:pt idx="3069">
                  <c:v>2014-12-04</c:v>
                </c:pt>
                <c:pt idx="3070">
                  <c:v>2014-12-05</c:v>
                </c:pt>
                <c:pt idx="3071">
                  <c:v>2014-12-08</c:v>
                </c:pt>
                <c:pt idx="3072">
                  <c:v>2014-12-09</c:v>
                </c:pt>
                <c:pt idx="3073">
                  <c:v>2014-12-10</c:v>
                </c:pt>
                <c:pt idx="3074">
                  <c:v>2014-12-11</c:v>
                </c:pt>
                <c:pt idx="3075">
                  <c:v>2014-12-12</c:v>
                </c:pt>
                <c:pt idx="3076">
                  <c:v>2014-12-15</c:v>
                </c:pt>
                <c:pt idx="3077">
                  <c:v>2014-12-16</c:v>
                </c:pt>
                <c:pt idx="3078">
                  <c:v>2014-12-17</c:v>
                </c:pt>
                <c:pt idx="3079">
                  <c:v>2014-12-18</c:v>
                </c:pt>
                <c:pt idx="3080">
                  <c:v>2014-12-19</c:v>
                </c:pt>
                <c:pt idx="3081">
                  <c:v>2014-12-22</c:v>
                </c:pt>
                <c:pt idx="3082">
                  <c:v>2014-12-23</c:v>
                </c:pt>
                <c:pt idx="3083">
                  <c:v>2014-12-24</c:v>
                </c:pt>
                <c:pt idx="3084">
                  <c:v>2014-12-25</c:v>
                </c:pt>
                <c:pt idx="3085">
                  <c:v>2014-12-26</c:v>
                </c:pt>
                <c:pt idx="3086">
                  <c:v>2014-12-29</c:v>
                </c:pt>
                <c:pt idx="3087">
                  <c:v>2014-12-30</c:v>
                </c:pt>
                <c:pt idx="3088">
                  <c:v>2014-12-31</c:v>
                </c:pt>
                <c:pt idx="3089">
                  <c:v>2015-01-05</c:v>
                </c:pt>
                <c:pt idx="3090">
                  <c:v>2015-01-06</c:v>
                </c:pt>
                <c:pt idx="3091">
                  <c:v>2015-01-07</c:v>
                </c:pt>
                <c:pt idx="3092">
                  <c:v>2015-01-08</c:v>
                </c:pt>
                <c:pt idx="3093">
                  <c:v>2015-01-09</c:v>
                </c:pt>
                <c:pt idx="3094">
                  <c:v>2015-01-12</c:v>
                </c:pt>
                <c:pt idx="3095">
                  <c:v>2015-01-13</c:v>
                </c:pt>
                <c:pt idx="3096">
                  <c:v>2015-01-14</c:v>
                </c:pt>
                <c:pt idx="3097">
                  <c:v>2015-01-15</c:v>
                </c:pt>
                <c:pt idx="3098">
                  <c:v>2015-01-16</c:v>
                </c:pt>
                <c:pt idx="3099">
                  <c:v>2015-01-19</c:v>
                </c:pt>
                <c:pt idx="3100">
                  <c:v>2015-01-20</c:v>
                </c:pt>
                <c:pt idx="3101">
                  <c:v>2015-01-21</c:v>
                </c:pt>
                <c:pt idx="3102">
                  <c:v>2015-01-22</c:v>
                </c:pt>
                <c:pt idx="3103">
                  <c:v>2015-01-23</c:v>
                </c:pt>
                <c:pt idx="3104">
                  <c:v>2015-01-26</c:v>
                </c:pt>
                <c:pt idx="3105">
                  <c:v>2015-01-27</c:v>
                </c:pt>
                <c:pt idx="3106">
                  <c:v>2015-01-28</c:v>
                </c:pt>
                <c:pt idx="3107">
                  <c:v>2015-01-29</c:v>
                </c:pt>
                <c:pt idx="3108">
                  <c:v>2015-01-30</c:v>
                </c:pt>
                <c:pt idx="3109">
                  <c:v>2015-02-02</c:v>
                </c:pt>
                <c:pt idx="3110">
                  <c:v>2015-02-03</c:v>
                </c:pt>
                <c:pt idx="3111">
                  <c:v>2015-02-04</c:v>
                </c:pt>
                <c:pt idx="3112">
                  <c:v>2015-02-05</c:v>
                </c:pt>
                <c:pt idx="3113">
                  <c:v>2015-02-06</c:v>
                </c:pt>
                <c:pt idx="3114">
                  <c:v>2015-02-09</c:v>
                </c:pt>
                <c:pt idx="3115">
                  <c:v>2015-02-10</c:v>
                </c:pt>
                <c:pt idx="3116">
                  <c:v>2015-02-11</c:v>
                </c:pt>
                <c:pt idx="3117">
                  <c:v>2015-02-12</c:v>
                </c:pt>
                <c:pt idx="3118">
                  <c:v>2015-02-13</c:v>
                </c:pt>
                <c:pt idx="3119">
                  <c:v>2015-02-16</c:v>
                </c:pt>
                <c:pt idx="3120">
                  <c:v>2015-02-17</c:v>
                </c:pt>
                <c:pt idx="3121">
                  <c:v>2015-02-25</c:v>
                </c:pt>
                <c:pt idx="3122">
                  <c:v>2015-02-26</c:v>
                </c:pt>
                <c:pt idx="3123">
                  <c:v>2015-02-27</c:v>
                </c:pt>
                <c:pt idx="3124">
                  <c:v>2015-03-02</c:v>
                </c:pt>
                <c:pt idx="3125">
                  <c:v>2015-03-03</c:v>
                </c:pt>
                <c:pt idx="3126">
                  <c:v>2015-03-04</c:v>
                </c:pt>
                <c:pt idx="3127">
                  <c:v>2015-03-05</c:v>
                </c:pt>
                <c:pt idx="3128">
                  <c:v>2015-03-06</c:v>
                </c:pt>
                <c:pt idx="3129">
                  <c:v>2015-03-09</c:v>
                </c:pt>
                <c:pt idx="3130">
                  <c:v>2015-03-10</c:v>
                </c:pt>
                <c:pt idx="3131">
                  <c:v>2015-03-11</c:v>
                </c:pt>
                <c:pt idx="3132">
                  <c:v>2015-03-12</c:v>
                </c:pt>
                <c:pt idx="3133">
                  <c:v>2015-03-13</c:v>
                </c:pt>
                <c:pt idx="3134">
                  <c:v>2015-03-16</c:v>
                </c:pt>
                <c:pt idx="3135">
                  <c:v>2015-03-17</c:v>
                </c:pt>
                <c:pt idx="3136">
                  <c:v>2015-03-18</c:v>
                </c:pt>
                <c:pt idx="3137">
                  <c:v>2015-03-19</c:v>
                </c:pt>
                <c:pt idx="3138">
                  <c:v>2015-03-20</c:v>
                </c:pt>
                <c:pt idx="3139">
                  <c:v>2015-03-23</c:v>
                </c:pt>
                <c:pt idx="3140">
                  <c:v>2015-03-24</c:v>
                </c:pt>
                <c:pt idx="3141">
                  <c:v>2015-03-25</c:v>
                </c:pt>
                <c:pt idx="3142">
                  <c:v>2015-03-26</c:v>
                </c:pt>
                <c:pt idx="3143">
                  <c:v>2015-03-27</c:v>
                </c:pt>
                <c:pt idx="3144">
                  <c:v>2015-03-30</c:v>
                </c:pt>
                <c:pt idx="3145">
                  <c:v>2015-03-31</c:v>
                </c:pt>
                <c:pt idx="3146">
                  <c:v>2015-04-01</c:v>
                </c:pt>
                <c:pt idx="3147">
                  <c:v>2015-04-02</c:v>
                </c:pt>
                <c:pt idx="3148">
                  <c:v>2015-04-03</c:v>
                </c:pt>
                <c:pt idx="3149">
                  <c:v>2015-04-07</c:v>
                </c:pt>
                <c:pt idx="3150">
                  <c:v>2015-04-08</c:v>
                </c:pt>
                <c:pt idx="3151">
                  <c:v>2015-04-09</c:v>
                </c:pt>
                <c:pt idx="3152">
                  <c:v>2015-04-10</c:v>
                </c:pt>
                <c:pt idx="3153">
                  <c:v>2015-04-13</c:v>
                </c:pt>
                <c:pt idx="3154">
                  <c:v>2015-04-14</c:v>
                </c:pt>
                <c:pt idx="3155">
                  <c:v>2015-04-15</c:v>
                </c:pt>
                <c:pt idx="3156">
                  <c:v>2015-04-16</c:v>
                </c:pt>
                <c:pt idx="3157">
                  <c:v>2015-04-17</c:v>
                </c:pt>
                <c:pt idx="3158">
                  <c:v>2015-04-20</c:v>
                </c:pt>
                <c:pt idx="3159">
                  <c:v>2015-04-21</c:v>
                </c:pt>
                <c:pt idx="3160">
                  <c:v>2015-04-22</c:v>
                </c:pt>
                <c:pt idx="3161">
                  <c:v>2015-04-23</c:v>
                </c:pt>
                <c:pt idx="3162">
                  <c:v>2015-04-24</c:v>
                </c:pt>
                <c:pt idx="3163">
                  <c:v>2015-04-27</c:v>
                </c:pt>
                <c:pt idx="3164">
                  <c:v>2015-04-28</c:v>
                </c:pt>
                <c:pt idx="3165">
                  <c:v>2015-04-29</c:v>
                </c:pt>
                <c:pt idx="3166">
                  <c:v>2015-04-30</c:v>
                </c:pt>
                <c:pt idx="3167">
                  <c:v>2015-05-04</c:v>
                </c:pt>
                <c:pt idx="3168">
                  <c:v>2015-05-05</c:v>
                </c:pt>
                <c:pt idx="3169">
                  <c:v>2015-05-06</c:v>
                </c:pt>
                <c:pt idx="3170">
                  <c:v>2015-05-07</c:v>
                </c:pt>
                <c:pt idx="3171">
                  <c:v>2015-05-08</c:v>
                </c:pt>
                <c:pt idx="3172">
                  <c:v>2015-05-11</c:v>
                </c:pt>
                <c:pt idx="3173">
                  <c:v>2015-05-12</c:v>
                </c:pt>
                <c:pt idx="3174">
                  <c:v>2015-05-13</c:v>
                </c:pt>
                <c:pt idx="3175">
                  <c:v>2015-05-14</c:v>
                </c:pt>
                <c:pt idx="3176">
                  <c:v>2015-05-15</c:v>
                </c:pt>
                <c:pt idx="3177">
                  <c:v>2015-05-18</c:v>
                </c:pt>
                <c:pt idx="3178">
                  <c:v>2015-05-19</c:v>
                </c:pt>
                <c:pt idx="3179">
                  <c:v>2015-05-20</c:v>
                </c:pt>
                <c:pt idx="3180">
                  <c:v>2015-05-21</c:v>
                </c:pt>
                <c:pt idx="3181">
                  <c:v>2015-05-22</c:v>
                </c:pt>
                <c:pt idx="3182">
                  <c:v>2015-05-25</c:v>
                </c:pt>
                <c:pt idx="3183">
                  <c:v>2015-05-26</c:v>
                </c:pt>
                <c:pt idx="3184">
                  <c:v>2015-05-27</c:v>
                </c:pt>
                <c:pt idx="3185">
                  <c:v>2015-05-28</c:v>
                </c:pt>
                <c:pt idx="3186">
                  <c:v>2015-05-29</c:v>
                </c:pt>
                <c:pt idx="3187">
                  <c:v>2015-06-01</c:v>
                </c:pt>
                <c:pt idx="3188">
                  <c:v>2015-06-02</c:v>
                </c:pt>
                <c:pt idx="3189">
                  <c:v>2015-06-03</c:v>
                </c:pt>
                <c:pt idx="3190">
                  <c:v>2015-06-04</c:v>
                </c:pt>
                <c:pt idx="3191">
                  <c:v>2015-06-05</c:v>
                </c:pt>
                <c:pt idx="3192">
                  <c:v>2015-06-08</c:v>
                </c:pt>
                <c:pt idx="3193">
                  <c:v>2015-06-09</c:v>
                </c:pt>
                <c:pt idx="3194">
                  <c:v>2015-06-10</c:v>
                </c:pt>
                <c:pt idx="3195">
                  <c:v>2015-06-11</c:v>
                </c:pt>
                <c:pt idx="3196">
                  <c:v>2015-06-12</c:v>
                </c:pt>
                <c:pt idx="3197">
                  <c:v>2015-06-15</c:v>
                </c:pt>
                <c:pt idx="3198">
                  <c:v>2015-06-16</c:v>
                </c:pt>
                <c:pt idx="3199">
                  <c:v>2015-06-17</c:v>
                </c:pt>
                <c:pt idx="3200">
                  <c:v>2015-06-18</c:v>
                </c:pt>
                <c:pt idx="3201">
                  <c:v>2015-06-19</c:v>
                </c:pt>
                <c:pt idx="3202">
                  <c:v>2015-06-23</c:v>
                </c:pt>
                <c:pt idx="3203">
                  <c:v>2015-06-24</c:v>
                </c:pt>
                <c:pt idx="3204">
                  <c:v>2015-06-25</c:v>
                </c:pt>
                <c:pt idx="3205">
                  <c:v>2015-06-26</c:v>
                </c:pt>
                <c:pt idx="3206">
                  <c:v>2015-06-29</c:v>
                </c:pt>
                <c:pt idx="3207">
                  <c:v>2015-06-30</c:v>
                </c:pt>
                <c:pt idx="3208">
                  <c:v>2015-07-01</c:v>
                </c:pt>
                <c:pt idx="3209">
                  <c:v>2015-07-02</c:v>
                </c:pt>
                <c:pt idx="3210">
                  <c:v>2015-07-03</c:v>
                </c:pt>
                <c:pt idx="3211">
                  <c:v>2015-07-06</c:v>
                </c:pt>
                <c:pt idx="3212">
                  <c:v>2015-07-07</c:v>
                </c:pt>
                <c:pt idx="3213">
                  <c:v>2015-07-08</c:v>
                </c:pt>
                <c:pt idx="3214">
                  <c:v>2015-07-09</c:v>
                </c:pt>
                <c:pt idx="3215">
                  <c:v>2015-07-10</c:v>
                </c:pt>
                <c:pt idx="3216">
                  <c:v>2015-07-13</c:v>
                </c:pt>
                <c:pt idx="3217">
                  <c:v>2015-07-14</c:v>
                </c:pt>
                <c:pt idx="3218">
                  <c:v>2015-07-15</c:v>
                </c:pt>
                <c:pt idx="3219">
                  <c:v>2015-07-16</c:v>
                </c:pt>
                <c:pt idx="3220">
                  <c:v>2015-07-17</c:v>
                </c:pt>
                <c:pt idx="3221">
                  <c:v>2015-07-20</c:v>
                </c:pt>
                <c:pt idx="3222">
                  <c:v>2015-07-21</c:v>
                </c:pt>
                <c:pt idx="3223">
                  <c:v>2015-07-22</c:v>
                </c:pt>
                <c:pt idx="3224">
                  <c:v>2015-07-23</c:v>
                </c:pt>
                <c:pt idx="3225">
                  <c:v>2015-07-24</c:v>
                </c:pt>
                <c:pt idx="3226">
                  <c:v>2015-07-27</c:v>
                </c:pt>
                <c:pt idx="3227">
                  <c:v>2015-07-28</c:v>
                </c:pt>
                <c:pt idx="3228">
                  <c:v>2015-07-29</c:v>
                </c:pt>
                <c:pt idx="3229">
                  <c:v>2015-07-30</c:v>
                </c:pt>
                <c:pt idx="3230">
                  <c:v>2015-07-31</c:v>
                </c:pt>
                <c:pt idx="3231">
                  <c:v>2015-08-03</c:v>
                </c:pt>
                <c:pt idx="3232">
                  <c:v>2015-08-04</c:v>
                </c:pt>
                <c:pt idx="3233">
                  <c:v>2015-08-05</c:v>
                </c:pt>
                <c:pt idx="3234">
                  <c:v>2015-08-06</c:v>
                </c:pt>
                <c:pt idx="3235">
                  <c:v>2015-08-07</c:v>
                </c:pt>
                <c:pt idx="3236">
                  <c:v>2015-08-10</c:v>
                </c:pt>
                <c:pt idx="3237">
                  <c:v>2015-08-11</c:v>
                </c:pt>
                <c:pt idx="3238">
                  <c:v>2015-08-12</c:v>
                </c:pt>
                <c:pt idx="3239">
                  <c:v>2015-08-13</c:v>
                </c:pt>
                <c:pt idx="3240">
                  <c:v>2015-08-14</c:v>
                </c:pt>
                <c:pt idx="3241">
                  <c:v>2015-08-17</c:v>
                </c:pt>
                <c:pt idx="3242">
                  <c:v>2015-08-18</c:v>
                </c:pt>
                <c:pt idx="3243">
                  <c:v>2015-08-19</c:v>
                </c:pt>
                <c:pt idx="3244">
                  <c:v>2015-08-20</c:v>
                </c:pt>
                <c:pt idx="3245">
                  <c:v>2015-08-21</c:v>
                </c:pt>
                <c:pt idx="3246">
                  <c:v>2015-08-24</c:v>
                </c:pt>
                <c:pt idx="3247">
                  <c:v>2015-08-25</c:v>
                </c:pt>
                <c:pt idx="3248">
                  <c:v>2015-08-26</c:v>
                </c:pt>
                <c:pt idx="3249">
                  <c:v>2015-08-27</c:v>
                </c:pt>
                <c:pt idx="3250">
                  <c:v>2015-08-28</c:v>
                </c:pt>
                <c:pt idx="3251">
                  <c:v>2015-08-31</c:v>
                </c:pt>
                <c:pt idx="3252">
                  <c:v>2015-09-01</c:v>
                </c:pt>
                <c:pt idx="3253">
                  <c:v>2015-09-02</c:v>
                </c:pt>
                <c:pt idx="3254">
                  <c:v>2015-09-07</c:v>
                </c:pt>
                <c:pt idx="3255">
                  <c:v>2015-09-08</c:v>
                </c:pt>
                <c:pt idx="3256">
                  <c:v>2015-09-09</c:v>
                </c:pt>
                <c:pt idx="3257">
                  <c:v>2015-09-10</c:v>
                </c:pt>
                <c:pt idx="3258">
                  <c:v>2015-09-11</c:v>
                </c:pt>
                <c:pt idx="3259">
                  <c:v>2015-09-14</c:v>
                </c:pt>
                <c:pt idx="3260">
                  <c:v>2015-09-15</c:v>
                </c:pt>
                <c:pt idx="3261">
                  <c:v>2015-09-16</c:v>
                </c:pt>
                <c:pt idx="3262">
                  <c:v>2015-09-17</c:v>
                </c:pt>
                <c:pt idx="3263">
                  <c:v>2015-09-18</c:v>
                </c:pt>
                <c:pt idx="3264">
                  <c:v>2015-09-21</c:v>
                </c:pt>
                <c:pt idx="3265">
                  <c:v>2015-09-22</c:v>
                </c:pt>
                <c:pt idx="3266">
                  <c:v>2015-09-23</c:v>
                </c:pt>
                <c:pt idx="3267">
                  <c:v>2015-09-24</c:v>
                </c:pt>
                <c:pt idx="3268">
                  <c:v>2015-09-25</c:v>
                </c:pt>
                <c:pt idx="3269">
                  <c:v>2015-09-28</c:v>
                </c:pt>
                <c:pt idx="3270">
                  <c:v>2015-09-29</c:v>
                </c:pt>
                <c:pt idx="3271">
                  <c:v>2015-09-30</c:v>
                </c:pt>
                <c:pt idx="3272">
                  <c:v>2015-10-08</c:v>
                </c:pt>
                <c:pt idx="3273">
                  <c:v>2015-10-09</c:v>
                </c:pt>
                <c:pt idx="3274">
                  <c:v>2015-10-12</c:v>
                </c:pt>
                <c:pt idx="3275">
                  <c:v>2015-10-13</c:v>
                </c:pt>
                <c:pt idx="3276">
                  <c:v>2015-10-14</c:v>
                </c:pt>
                <c:pt idx="3277">
                  <c:v>2015-10-15</c:v>
                </c:pt>
                <c:pt idx="3278">
                  <c:v>2015-10-16</c:v>
                </c:pt>
                <c:pt idx="3279">
                  <c:v>2015-10-19</c:v>
                </c:pt>
                <c:pt idx="3280">
                  <c:v>2015-10-20</c:v>
                </c:pt>
                <c:pt idx="3281">
                  <c:v>2015-10-21</c:v>
                </c:pt>
                <c:pt idx="3282">
                  <c:v>2015-10-22</c:v>
                </c:pt>
                <c:pt idx="3283">
                  <c:v>2015-10-23</c:v>
                </c:pt>
                <c:pt idx="3284">
                  <c:v>2015-10-26</c:v>
                </c:pt>
                <c:pt idx="3285">
                  <c:v>2015-10-27</c:v>
                </c:pt>
                <c:pt idx="3286">
                  <c:v>2015-10-28</c:v>
                </c:pt>
                <c:pt idx="3287">
                  <c:v>2015-10-29</c:v>
                </c:pt>
                <c:pt idx="3288">
                  <c:v>2015-10-30</c:v>
                </c:pt>
                <c:pt idx="3289">
                  <c:v>2015-11-02</c:v>
                </c:pt>
                <c:pt idx="3290">
                  <c:v>2015-11-03</c:v>
                </c:pt>
                <c:pt idx="3291">
                  <c:v>2015-11-04</c:v>
                </c:pt>
                <c:pt idx="3292">
                  <c:v>2015-11-05</c:v>
                </c:pt>
                <c:pt idx="3293">
                  <c:v>2015-11-06</c:v>
                </c:pt>
                <c:pt idx="3294">
                  <c:v>2015-11-09</c:v>
                </c:pt>
                <c:pt idx="3295">
                  <c:v>2015-11-10</c:v>
                </c:pt>
                <c:pt idx="3296">
                  <c:v>2015-11-11</c:v>
                </c:pt>
                <c:pt idx="3297">
                  <c:v>2015-11-12</c:v>
                </c:pt>
                <c:pt idx="3298">
                  <c:v>2015-11-13</c:v>
                </c:pt>
                <c:pt idx="3299">
                  <c:v>2015-11-16</c:v>
                </c:pt>
                <c:pt idx="3300">
                  <c:v>2015-11-17</c:v>
                </c:pt>
                <c:pt idx="3301">
                  <c:v>2015-11-18</c:v>
                </c:pt>
                <c:pt idx="3302">
                  <c:v>2015-11-19</c:v>
                </c:pt>
                <c:pt idx="3303">
                  <c:v>2015-11-20</c:v>
                </c:pt>
                <c:pt idx="3304">
                  <c:v>2015-11-23</c:v>
                </c:pt>
                <c:pt idx="3305">
                  <c:v>2015-11-24</c:v>
                </c:pt>
                <c:pt idx="3306">
                  <c:v>2015-11-25</c:v>
                </c:pt>
                <c:pt idx="3307">
                  <c:v>2015-11-26</c:v>
                </c:pt>
                <c:pt idx="3308">
                  <c:v>2015-11-27</c:v>
                </c:pt>
                <c:pt idx="3309">
                  <c:v>2015-11-30</c:v>
                </c:pt>
                <c:pt idx="3310">
                  <c:v>2015-12-01</c:v>
                </c:pt>
                <c:pt idx="3311">
                  <c:v>2015-12-02</c:v>
                </c:pt>
                <c:pt idx="3312">
                  <c:v>2015-12-03</c:v>
                </c:pt>
                <c:pt idx="3313">
                  <c:v>2015-12-04</c:v>
                </c:pt>
                <c:pt idx="3314">
                  <c:v>2015-12-07</c:v>
                </c:pt>
                <c:pt idx="3315">
                  <c:v>2015-12-08</c:v>
                </c:pt>
                <c:pt idx="3316">
                  <c:v>2015-12-09</c:v>
                </c:pt>
                <c:pt idx="3317">
                  <c:v>2015-12-10</c:v>
                </c:pt>
                <c:pt idx="3318">
                  <c:v>2015-12-11</c:v>
                </c:pt>
                <c:pt idx="3319">
                  <c:v>2015-12-14</c:v>
                </c:pt>
                <c:pt idx="3320">
                  <c:v>2015-12-15</c:v>
                </c:pt>
                <c:pt idx="3321">
                  <c:v>2015-12-16</c:v>
                </c:pt>
                <c:pt idx="3322">
                  <c:v>2015-12-17</c:v>
                </c:pt>
                <c:pt idx="3323">
                  <c:v>2015-12-18</c:v>
                </c:pt>
                <c:pt idx="3324">
                  <c:v>2015-12-21</c:v>
                </c:pt>
                <c:pt idx="3325">
                  <c:v>2015-12-22</c:v>
                </c:pt>
                <c:pt idx="3326">
                  <c:v>2015-12-23</c:v>
                </c:pt>
                <c:pt idx="3327">
                  <c:v>2015-12-24</c:v>
                </c:pt>
                <c:pt idx="3328">
                  <c:v>2015-12-25</c:v>
                </c:pt>
                <c:pt idx="3329">
                  <c:v>2015-12-28</c:v>
                </c:pt>
                <c:pt idx="3330">
                  <c:v>2015-12-29</c:v>
                </c:pt>
                <c:pt idx="3331">
                  <c:v>2015-12-30</c:v>
                </c:pt>
                <c:pt idx="3332">
                  <c:v>2015-12-31</c:v>
                </c:pt>
                <c:pt idx="3333">
                  <c:v>2016-01-04</c:v>
                </c:pt>
                <c:pt idx="3334">
                  <c:v>2016-01-05</c:v>
                </c:pt>
                <c:pt idx="3335">
                  <c:v>2016-01-06</c:v>
                </c:pt>
                <c:pt idx="3336">
                  <c:v>2016-01-07</c:v>
                </c:pt>
                <c:pt idx="3337">
                  <c:v>2016-01-08</c:v>
                </c:pt>
                <c:pt idx="3338">
                  <c:v>2016-01-11</c:v>
                </c:pt>
                <c:pt idx="3339">
                  <c:v>2016-01-12</c:v>
                </c:pt>
                <c:pt idx="3340">
                  <c:v>2016-01-13</c:v>
                </c:pt>
                <c:pt idx="3341">
                  <c:v>2016-01-14</c:v>
                </c:pt>
                <c:pt idx="3342">
                  <c:v>2016-01-15</c:v>
                </c:pt>
                <c:pt idx="3343">
                  <c:v>2016-01-18</c:v>
                </c:pt>
                <c:pt idx="3344">
                  <c:v>2016-01-19</c:v>
                </c:pt>
                <c:pt idx="3345">
                  <c:v>2016-01-20</c:v>
                </c:pt>
                <c:pt idx="3346">
                  <c:v>2016-01-21</c:v>
                </c:pt>
                <c:pt idx="3347">
                  <c:v>2016-01-22</c:v>
                </c:pt>
                <c:pt idx="3348">
                  <c:v>2016-01-25</c:v>
                </c:pt>
                <c:pt idx="3349">
                  <c:v>2016-01-26</c:v>
                </c:pt>
                <c:pt idx="3350">
                  <c:v>2016-01-27</c:v>
                </c:pt>
                <c:pt idx="3351">
                  <c:v>2016-01-28</c:v>
                </c:pt>
                <c:pt idx="3352">
                  <c:v>2016-01-29</c:v>
                </c:pt>
                <c:pt idx="3353">
                  <c:v>2016-02-01</c:v>
                </c:pt>
                <c:pt idx="3354">
                  <c:v>2016-02-02</c:v>
                </c:pt>
                <c:pt idx="3355">
                  <c:v>2016-02-03</c:v>
                </c:pt>
                <c:pt idx="3356">
                  <c:v>2016-02-04</c:v>
                </c:pt>
                <c:pt idx="3357">
                  <c:v>2016-02-05</c:v>
                </c:pt>
                <c:pt idx="3358">
                  <c:v>2016-02-15</c:v>
                </c:pt>
                <c:pt idx="3359">
                  <c:v>2016-02-16</c:v>
                </c:pt>
                <c:pt idx="3360">
                  <c:v>2016-02-17</c:v>
                </c:pt>
                <c:pt idx="3361">
                  <c:v>2016-02-18</c:v>
                </c:pt>
                <c:pt idx="3362">
                  <c:v>2016-02-19</c:v>
                </c:pt>
                <c:pt idx="3363">
                  <c:v>2016-02-22</c:v>
                </c:pt>
                <c:pt idx="3364">
                  <c:v>2016-02-23</c:v>
                </c:pt>
                <c:pt idx="3365">
                  <c:v>2016-02-24</c:v>
                </c:pt>
                <c:pt idx="3366">
                  <c:v>2016-02-25</c:v>
                </c:pt>
                <c:pt idx="3367">
                  <c:v>2016-02-26</c:v>
                </c:pt>
                <c:pt idx="3368">
                  <c:v>2016-02-29</c:v>
                </c:pt>
                <c:pt idx="3369">
                  <c:v>2016-03-01</c:v>
                </c:pt>
                <c:pt idx="3370">
                  <c:v>2016-03-02</c:v>
                </c:pt>
                <c:pt idx="3371">
                  <c:v>2016-03-03</c:v>
                </c:pt>
                <c:pt idx="3372">
                  <c:v>2016-03-04</c:v>
                </c:pt>
                <c:pt idx="3373">
                  <c:v>2016-03-07</c:v>
                </c:pt>
                <c:pt idx="3374">
                  <c:v>2016-03-08</c:v>
                </c:pt>
                <c:pt idx="3375">
                  <c:v>2016-03-09</c:v>
                </c:pt>
                <c:pt idx="3376">
                  <c:v>2016-03-10</c:v>
                </c:pt>
                <c:pt idx="3377">
                  <c:v>2016-03-11</c:v>
                </c:pt>
                <c:pt idx="3378">
                  <c:v>2016-03-14</c:v>
                </c:pt>
                <c:pt idx="3379">
                  <c:v>2016-03-15</c:v>
                </c:pt>
                <c:pt idx="3380">
                  <c:v>2016-03-16</c:v>
                </c:pt>
                <c:pt idx="3381">
                  <c:v>2016-03-17</c:v>
                </c:pt>
                <c:pt idx="3382">
                  <c:v>2016-03-18</c:v>
                </c:pt>
                <c:pt idx="3383">
                  <c:v>2016-03-21</c:v>
                </c:pt>
                <c:pt idx="3384">
                  <c:v>2016-03-22</c:v>
                </c:pt>
                <c:pt idx="3385">
                  <c:v>2016-03-23</c:v>
                </c:pt>
                <c:pt idx="3386">
                  <c:v>2016-03-24</c:v>
                </c:pt>
                <c:pt idx="3387">
                  <c:v>2016-03-25</c:v>
                </c:pt>
                <c:pt idx="3388">
                  <c:v>2016-03-28</c:v>
                </c:pt>
                <c:pt idx="3389">
                  <c:v>2016-03-29</c:v>
                </c:pt>
                <c:pt idx="3390">
                  <c:v>2016-03-30</c:v>
                </c:pt>
                <c:pt idx="3391">
                  <c:v>2016-03-31</c:v>
                </c:pt>
                <c:pt idx="3392">
                  <c:v>2016-04-01</c:v>
                </c:pt>
                <c:pt idx="3393">
                  <c:v>2016-04-05</c:v>
                </c:pt>
                <c:pt idx="3394">
                  <c:v>2016-04-06</c:v>
                </c:pt>
                <c:pt idx="3395">
                  <c:v>2016-04-07</c:v>
                </c:pt>
                <c:pt idx="3396">
                  <c:v>2016-04-08</c:v>
                </c:pt>
                <c:pt idx="3397">
                  <c:v>2016-04-11</c:v>
                </c:pt>
                <c:pt idx="3398">
                  <c:v>2016-04-12</c:v>
                </c:pt>
                <c:pt idx="3399">
                  <c:v>2016-04-13</c:v>
                </c:pt>
                <c:pt idx="3400">
                  <c:v>2016-04-14</c:v>
                </c:pt>
                <c:pt idx="3401">
                  <c:v>2016-04-15</c:v>
                </c:pt>
                <c:pt idx="3402">
                  <c:v>2016-04-18</c:v>
                </c:pt>
                <c:pt idx="3403">
                  <c:v>2016-04-19</c:v>
                </c:pt>
                <c:pt idx="3404">
                  <c:v>2016-04-20</c:v>
                </c:pt>
                <c:pt idx="3405">
                  <c:v>2016-04-21</c:v>
                </c:pt>
                <c:pt idx="3406">
                  <c:v>2016-04-22</c:v>
                </c:pt>
                <c:pt idx="3407">
                  <c:v>2016-04-25</c:v>
                </c:pt>
                <c:pt idx="3408">
                  <c:v>2016-04-26</c:v>
                </c:pt>
                <c:pt idx="3409">
                  <c:v>2016-04-27</c:v>
                </c:pt>
                <c:pt idx="3410">
                  <c:v>2016-04-28</c:v>
                </c:pt>
                <c:pt idx="3411">
                  <c:v>2016-04-29</c:v>
                </c:pt>
                <c:pt idx="3412">
                  <c:v>2016-05-03</c:v>
                </c:pt>
                <c:pt idx="3413">
                  <c:v>2016-05-04</c:v>
                </c:pt>
                <c:pt idx="3414">
                  <c:v>2016-05-05</c:v>
                </c:pt>
                <c:pt idx="3415">
                  <c:v>2016-05-06</c:v>
                </c:pt>
                <c:pt idx="3416">
                  <c:v>2016-05-09</c:v>
                </c:pt>
                <c:pt idx="3417">
                  <c:v>2016-05-10</c:v>
                </c:pt>
                <c:pt idx="3418">
                  <c:v>2016-05-11</c:v>
                </c:pt>
                <c:pt idx="3419">
                  <c:v>2016-05-12</c:v>
                </c:pt>
                <c:pt idx="3420">
                  <c:v>2016-05-13</c:v>
                </c:pt>
                <c:pt idx="3421">
                  <c:v>2016-05-16</c:v>
                </c:pt>
                <c:pt idx="3422">
                  <c:v>2016-05-17</c:v>
                </c:pt>
                <c:pt idx="3423">
                  <c:v>2016-05-18</c:v>
                </c:pt>
                <c:pt idx="3424">
                  <c:v>2016-05-19</c:v>
                </c:pt>
                <c:pt idx="3425">
                  <c:v>2016-05-20</c:v>
                </c:pt>
                <c:pt idx="3426">
                  <c:v>2016-05-23</c:v>
                </c:pt>
                <c:pt idx="3427">
                  <c:v>2016-05-24</c:v>
                </c:pt>
                <c:pt idx="3428">
                  <c:v>2016-05-25</c:v>
                </c:pt>
                <c:pt idx="3429">
                  <c:v>2016-05-26</c:v>
                </c:pt>
                <c:pt idx="3430">
                  <c:v>2016-05-27</c:v>
                </c:pt>
                <c:pt idx="3431">
                  <c:v>2016-05-30</c:v>
                </c:pt>
                <c:pt idx="3432">
                  <c:v>2016-05-31</c:v>
                </c:pt>
                <c:pt idx="3433">
                  <c:v>2016-06-01</c:v>
                </c:pt>
                <c:pt idx="3434">
                  <c:v>2016-06-02</c:v>
                </c:pt>
                <c:pt idx="3435">
                  <c:v>2016-06-03</c:v>
                </c:pt>
                <c:pt idx="3436">
                  <c:v>2016-06-06</c:v>
                </c:pt>
                <c:pt idx="3437">
                  <c:v>2016-06-07</c:v>
                </c:pt>
                <c:pt idx="3438">
                  <c:v>2016-06-08</c:v>
                </c:pt>
                <c:pt idx="3439">
                  <c:v>2016-06-13</c:v>
                </c:pt>
                <c:pt idx="3440">
                  <c:v>2016-06-14</c:v>
                </c:pt>
                <c:pt idx="3441">
                  <c:v>2016-06-15</c:v>
                </c:pt>
                <c:pt idx="3442">
                  <c:v>2016-06-16</c:v>
                </c:pt>
                <c:pt idx="3443">
                  <c:v>2016-06-17</c:v>
                </c:pt>
                <c:pt idx="3444">
                  <c:v>2016-06-20</c:v>
                </c:pt>
                <c:pt idx="3445">
                  <c:v>2016-06-21</c:v>
                </c:pt>
                <c:pt idx="3446">
                  <c:v>2016-06-22</c:v>
                </c:pt>
                <c:pt idx="3447">
                  <c:v>2016-06-23</c:v>
                </c:pt>
                <c:pt idx="3448">
                  <c:v>2016-06-24</c:v>
                </c:pt>
                <c:pt idx="3449">
                  <c:v>2016-06-27</c:v>
                </c:pt>
                <c:pt idx="3450">
                  <c:v>2016-06-28</c:v>
                </c:pt>
                <c:pt idx="3451">
                  <c:v>2016-06-29</c:v>
                </c:pt>
                <c:pt idx="3452">
                  <c:v>2016-06-30</c:v>
                </c:pt>
                <c:pt idx="3453">
                  <c:v>2016-07-01</c:v>
                </c:pt>
                <c:pt idx="3454">
                  <c:v>2016-07-04</c:v>
                </c:pt>
                <c:pt idx="3455">
                  <c:v>2016-07-05</c:v>
                </c:pt>
                <c:pt idx="3456">
                  <c:v>2016-07-06</c:v>
                </c:pt>
                <c:pt idx="3457">
                  <c:v>2016-07-07</c:v>
                </c:pt>
                <c:pt idx="3458">
                  <c:v>2016-07-08</c:v>
                </c:pt>
                <c:pt idx="3459">
                  <c:v>2016-07-11</c:v>
                </c:pt>
                <c:pt idx="3460">
                  <c:v>2016-07-12</c:v>
                </c:pt>
                <c:pt idx="3461">
                  <c:v>2016-07-13</c:v>
                </c:pt>
                <c:pt idx="3462">
                  <c:v>2016-07-14</c:v>
                </c:pt>
                <c:pt idx="3463">
                  <c:v>2016-07-15</c:v>
                </c:pt>
                <c:pt idx="3464">
                  <c:v>2016-07-18</c:v>
                </c:pt>
                <c:pt idx="3465">
                  <c:v>2016-07-19</c:v>
                </c:pt>
                <c:pt idx="3466">
                  <c:v>2016-07-20</c:v>
                </c:pt>
                <c:pt idx="3467">
                  <c:v>2016-07-21</c:v>
                </c:pt>
                <c:pt idx="3468">
                  <c:v>2016-07-22</c:v>
                </c:pt>
                <c:pt idx="3469">
                  <c:v>2016-07-25</c:v>
                </c:pt>
                <c:pt idx="3470">
                  <c:v>2016-07-26</c:v>
                </c:pt>
                <c:pt idx="3471">
                  <c:v>2016-07-27</c:v>
                </c:pt>
                <c:pt idx="3472">
                  <c:v>2016-07-28</c:v>
                </c:pt>
                <c:pt idx="3473">
                  <c:v>2016-07-29</c:v>
                </c:pt>
                <c:pt idx="3474">
                  <c:v>2016-08-01</c:v>
                </c:pt>
                <c:pt idx="3475">
                  <c:v>2016-08-02</c:v>
                </c:pt>
                <c:pt idx="3476">
                  <c:v>2016-08-03</c:v>
                </c:pt>
                <c:pt idx="3477">
                  <c:v>2016-08-04</c:v>
                </c:pt>
                <c:pt idx="3478">
                  <c:v>2016-08-05</c:v>
                </c:pt>
                <c:pt idx="3479">
                  <c:v>2016-08-08</c:v>
                </c:pt>
                <c:pt idx="3480">
                  <c:v>2016-08-09</c:v>
                </c:pt>
                <c:pt idx="3481">
                  <c:v>2016-08-10</c:v>
                </c:pt>
                <c:pt idx="3482">
                  <c:v>2016-08-11</c:v>
                </c:pt>
                <c:pt idx="3483">
                  <c:v>2016-08-12</c:v>
                </c:pt>
                <c:pt idx="3484">
                  <c:v>2016-08-15</c:v>
                </c:pt>
                <c:pt idx="3485">
                  <c:v>2016-08-16</c:v>
                </c:pt>
                <c:pt idx="3486">
                  <c:v>2016-08-17</c:v>
                </c:pt>
                <c:pt idx="3487">
                  <c:v>2016-08-18</c:v>
                </c:pt>
                <c:pt idx="3488">
                  <c:v>2016-08-19</c:v>
                </c:pt>
                <c:pt idx="3489">
                  <c:v>2016-08-22</c:v>
                </c:pt>
                <c:pt idx="3490">
                  <c:v>2016-08-23</c:v>
                </c:pt>
                <c:pt idx="3491">
                  <c:v>2016-08-24</c:v>
                </c:pt>
                <c:pt idx="3492">
                  <c:v>2016-08-25</c:v>
                </c:pt>
                <c:pt idx="3493">
                  <c:v>2016-08-26</c:v>
                </c:pt>
                <c:pt idx="3494">
                  <c:v>2016-08-29</c:v>
                </c:pt>
                <c:pt idx="3495">
                  <c:v>2016-08-30</c:v>
                </c:pt>
                <c:pt idx="3496">
                  <c:v>2016-08-31</c:v>
                </c:pt>
                <c:pt idx="3497">
                  <c:v>2016-09-01</c:v>
                </c:pt>
                <c:pt idx="3498">
                  <c:v>2016-09-02</c:v>
                </c:pt>
                <c:pt idx="3499">
                  <c:v>2016-09-05</c:v>
                </c:pt>
                <c:pt idx="3500">
                  <c:v>2016-09-06</c:v>
                </c:pt>
                <c:pt idx="3501">
                  <c:v>2016-09-07</c:v>
                </c:pt>
                <c:pt idx="3502">
                  <c:v>2016-09-08</c:v>
                </c:pt>
                <c:pt idx="3503">
                  <c:v>2016-09-09</c:v>
                </c:pt>
                <c:pt idx="3504">
                  <c:v>2016-09-12</c:v>
                </c:pt>
                <c:pt idx="3505">
                  <c:v>2016-09-13</c:v>
                </c:pt>
                <c:pt idx="3506">
                  <c:v>2016-09-14</c:v>
                </c:pt>
                <c:pt idx="3507">
                  <c:v>2016-09-19</c:v>
                </c:pt>
                <c:pt idx="3508">
                  <c:v>2016-09-20</c:v>
                </c:pt>
                <c:pt idx="3509">
                  <c:v>2016-09-21</c:v>
                </c:pt>
                <c:pt idx="3510">
                  <c:v>2016-09-22</c:v>
                </c:pt>
                <c:pt idx="3511">
                  <c:v>2016-09-23</c:v>
                </c:pt>
                <c:pt idx="3512">
                  <c:v>2016-09-26</c:v>
                </c:pt>
                <c:pt idx="3513">
                  <c:v>2016-09-27</c:v>
                </c:pt>
                <c:pt idx="3514">
                  <c:v>2016-09-28</c:v>
                </c:pt>
                <c:pt idx="3515">
                  <c:v>2016-09-29</c:v>
                </c:pt>
                <c:pt idx="3516">
                  <c:v>2016-09-30</c:v>
                </c:pt>
                <c:pt idx="3517">
                  <c:v>2016-10-10</c:v>
                </c:pt>
                <c:pt idx="3518">
                  <c:v>2016-10-11</c:v>
                </c:pt>
                <c:pt idx="3519">
                  <c:v>2016-10-12</c:v>
                </c:pt>
                <c:pt idx="3520">
                  <c:v>2016-10-13</c:v>
                </c:pt>
                <c:pt idx="3521">
                  <c:v>2016-10-14</c:v>
                </c:pt>
                <c:pt idx="3522">
                  <c:v>2016-10-17</c:v>
                </c:pt>
                <c:pt idx="3523">
                  <c:v>2016-10-18</c:v>
                </c:pt>
                <c:pt idx="3524">
                  <c:v>2016-10-19</c:v>
                </c:pt>
                <c:pt idx="3525">
                  <c:v>2016-10-20</c:v>
                </c:pt>
                <c:pt idx="3526">
                  <c:v>2016-10-21</c:v>
                </c:pt>
                <c:pt idx="3527">
                  <c:v>2016-10-24</c:v>
                </c:pt>
                <c:pt idx="3528">
                  <c:v>2016-10-25</c:v>
                </c:pt>
                <c:pt idx="3529">
                  <c:v>2016-10-26</c:v>
                </c:pt>
                <c:pt idx="3530">
                  <c:v>2016-10-27</c:v>
                </c:pt>
                <c:pt idx="3531">
                  <c:v>2016-10-28</c:v>
                </c:pt>
                <c:pt idx="3532">
                  <c:v>2016-10-31</c:v>
                </c:pt>
                <c:pt idx="3533">
                  <c:v>2016-11-01</c:v>
                </c:pt>
                <c:pt idx="3534">
                  <c:v>2016-11-02</c:v>
                </c:pt>
                <c:pt idx="3535">
                  <c:v>2016-11-03</c:v>
                </c:pt>
                <c:pt idx="3536">
                  <c:v>2016-11-04</c:v>
                </c:pt>
                <c:pt idx="3537">
                  <c:v>2016-11-07</c:v>
                </c:pt>
                <c:pt idx="3538">
                  <c:v>2016-11-08</c:v>
                </c:pt>
                <c:pt idx="3539">
                  <c:v>2016-11-09</c:v>
                </c:pt>
                <c:pt idx="3540">
                  <c:v>2016-11-10</c:v>
                </c:pt>
                <c:pt idx="3541">
                  <c:v>2016-11-11</c:v>
                </c:pt>
                <c:pt idx="3542">
                  <c:v>2016-11-14</c:v>
                </c:pt>
                <c:pt idx="3543">
                  <c:v>2016-11-15</c:v>
                </c:pt>
                <c:pt idx="3544">
                  <c:v>2016-11-16</c:v>
                </c:pt>
                <c:pt idx="3545">
                  <c:v>2016-11-17</c:v>
                </c:pt>
                <c:pt idx="3546">
                  <c:v>2016-11-18</c:v>
                </c:pt>
                <c:pt idx="3547">
                  <c:v>2016-11-21</c:v>
                </c:pt>
                <c:pt idx="3548">
                  <c:v>2016-11-22</c:v>
                </c:pt>
                <c:pt idx="3549">
                  <c:v>2016-11-23</c:v>
                </c:pt>
                <c:pt idx="3550">
                  <c:v>2016-11-24</c:v>
                </c:pt>
                <c:pt idx="3551">
                  <c:v>2016-11-25</c:v>
                </c:pt>
                <c:pt idx="3552">
                  <c:v>2016-11-28</c:v>
                </c:pt>
                <c:pt idx="3553">
                  <c:v>2016-11-29</c:v>
                </c:pt>
                <c:pt idx="3554">
                  <c:v>2016-11-30</c:v>
                </c:pt>
                <c:pt idx="3555">
                  <c:v>2016-12-01</c:v>
                </c:pt>
                <c:pt idx="3556">
                  <c:v>2016-12-02</c:v>
                </c:pt>
                <c:pt idx="3557">
                  <c:v>2016-12-05</c:v>
                </c:pt>
                <c:pt idx="3558">
                  <c:v>2016-12-06</c:v>
                </c:pt>
                <c:pt idx="3559">
                  <c:v>2016-12-07</c:v>
                </c:pt>
                <c:pt idx="3560">
                  <c:v>2016-12-08</c:v>
                </c:pt>
                <c:pt idx="3561">
                  <c:v>2016-12-09</c:v>
                </c:pt>
                <c:pt idx="3562">
                  <c:v>2016-12-12</c:v>
                </c:pt>
                <c:pt idx="3563">
                  <c:v>2016-12-13</c:v>
                </c:pt>
                <c:pt idx="3564">
                  <c:v>2016-12-14</c:v>
                </c:pt>
                <c:pt idx="3565">
                  <c:v>2016-12-15</c:v>
                </c:pt>
                <c:pt idx="3566">
                  <c:v>2016-12-16</c:v>
                </c:pt>
                <c:pt idx="3567">
                  <c:v>2016-12-19</c:v>
                </c:pt>
                <c:pt idx="3568">
                  <c:v>2016-12-20</c:v>
                </c:pt>
                <c:pt idx="3569">
                  <c:v>2016-12-21</c:v>
                </c:pt>
                <c:pt idx="3570">
                  <c:v>2016-12-22</c:v>
                </c:pt>
                <c:pt idx="3571">
                  <c:v>2016-12-23</c:v>
                </c:pt>
                <c:pt idx="3572">
                  <c:v>2016-12-26</c:v>
                </c:pt>
                <c:pt idx="3573">
                  <c:v>2016-12-27</c:v>
                </c:pt>
                <c:pt idx="3574">
                  <c:v>2016-12-28</c:v>
                </c:pt>
                <c:pt idx="3575">
                  <c:v>2016-12-29</c:v>
                </c:pt>
                <c:pt idx="3576">
                  <c:v>2016-12-30</c:v>
                </c:pt>
                <c:pt idx="3577">
                  <c:v>2017-01-03</c:v>
                </c:pt>
                <c:pt idx="3578">
                  <c:v>2017-01-04</c:v>
                </c:pt>
                <c:pt idx="3579">
                  <c:v>2017-01-05</c:v>
                </c:pt>
                <c:pt idx="3580">
                  <c:v>2017-01-06</c:v>
                </c:pt>
                <c:pt idx="3581">
                  <c:v>2017-01-09</c:v>
                </c:pt>
                <c:pt idx="3582">
                  <c:v>2017-01-10</c:v>
                </c:pt>
                <c:pt idx="3583">
                  <c:v>2017-01-11</c:v>
                </c:pt>
                <c:pt idx="3584">
                  <c:v>2017-01-12</c:v>
                </c:pt>
                <c:pt idx="3585">
                  <c:v>2017-01-13</c:v>
                </c:pt>
                <c:pt idx="3586">
                  <c:v>2017-01-16</c:v>
                </c:pt>
                <c:pt idx="3587">
                  <c:v>2017-01-17</c:v>
                </c:pt>
                <c:pt idx="3588">
                  <c:v>2017-01-18</c:v>
                </c:pt>
                <c:pt idx="3589">
                  <c:v>2017-01-19</c:v>
                </c:pt>
                <c:pt idx="3590">
                  <c:v>2017-01-20</c:v>
                </c:pt>
                <c:pt idx="3591">
                  <c:v>2017-01-23</c:v>
                </c:pt>
                <c:pt idx="3592">
                  <c:v>2017-01-24</c:v>
                </c:pt>
                <c:pt idx="3593">
                  <c:v>2017-01-25</c:v>
                </c:pt>
                <c:pt idx="3594">
                  <c:v>2017-01-26</c:v>
                </c:pt>
                <c:pt idx="3595">
                  <c:v>2017-02-03</c:v>
                </c:pt>
                <c:pt idx="3596">
                  <c:v>2017-02-06</c:v>
                </c:pt>
                <c:pt idx="3597">
                  <c:v>2017-02-07</c:v>
                </c:pt>
                <c:pt idx="3598">
                  <c:v>2017-02-08</c:v>
                </c:pt>
                <c:pt idx="3599">
                  <c:v>2017-02-09</c:v>
                </c:pt>
                <c:pt idx="3600">
                  <c:v>2017-02-10</c:v>
                </c:pt>
                <c:pt idx="3601">
                  <c:v>2017-02-13</c:v>
                </c:pt>
                <c:pt idx="3602">
                  <c:v>2017-02-14</c:v>
                </c:pt>
                <c:pt idx="3603">
                  <c:v>2017-02-15</c:v>
                </c:pt>
                <c:pt idx="3604">
                  <c:v>2017-02-16</c:v>
                </c:pt>
                <c:pt idx="3605">
                  <c:v>2017-02-17</c:v>
                </c:pt>
                <c:pt idx="3606">
                  <c:v>2017-02-20</c:v>
                </c:pt>
                <c:pt idx="3607">
                  <c:v>2017-02-21</c:v>
                </c:pt>
                <c:pt idx="3608">
                  <c:v>2017-02-22</c:v>
                </c:pt>
                <c:pt idx="3609">
                  <c:v>2017-02-23</c:v>
                </c:pt>
                <c:pt idx="3610">
                  <c:v>2017-02-24</c:v>
                </c:pt>
                <c:pt idx="3611">
                  <c:v>2017-02-27</c:v>
                </c:pt>
                <c:pt idx="3612">
                  <c:v>2017-02-28</c:v>
                </c:pt>
                <c:pt idx="3613">
                  <c:v>2017-03-01</c:v>
                </c:pt>
                <c:pt idx="3614">
                  <c:v>2017-03-02</c:v>
                </c:pt>
                <c:pt idx="3615">
                  <c:v>2017-03-03</c:v>
                </c:pt>
                <c:pt idx="3616">
                  <c:v>2017-03-06</c:v>
                </c:pt>
                <c:pt idx="3617">
                  <c:v>2017-03-07</c:v>
                </c:pt>
                <c:pt idx="3618">
                  <c:v>2017-03-08</c:v>
                </c:pt>
                <c:pt idx="3619">
                  <c:v>2017-03-09</c:v>
                </c:pt>
                <c:pt idx="3620">
                  <c:v>2017-03-10</c:v>
                </c:pt>
                <c:pt idx="3621">
                  <c:v>2017-03-13</c:v>
                </c:pt>
                <c:pt idx="3622">
                  <c:v>2017-03-14</c:v>
                </c:pt>
                <c:pt idx="3623">
                  <c:v>2017-03-15</c:v>
                </c:pt>
                <c:pt idx="3624">
                  <c:v>2017-03-16</c:v>
                </c:pt>
                <c:pt idx="3625">
                  <c:v>2017-03-17</c:v>
                </c:pt>
                <c:pt idx="3626">
                  <c:v>2017-03-20</c:v>
                </c:pt>
                <c:pt idx="3627">
                  <c:v>2017-03-21</c:v>
                </c:pt>
                <c:pt idx="3628">
                  <c:v>2017-03-22</c:v>
                </c:pt>
                <c:pt idx="3629">
                  <c:v>2017-03-23</c:v>
                </c:pt>
                <c:pt idx="3630">
                  <c:v>2017-03-24</c:v>
                </c:pt>
                <c:pt idx="3631">
                  <c:v>2017-03-27</c:v>
                </c:pt>
                <c:pt idx="3632">
                  <c:v>2017-03-28</c:v>
                </c:pt>
                <c:pt idx="3633">
                  <c:v>2017-03-29</c:v>
                </c:pt>
                <c:pt idx="3634">
                  <c:v>2017-03-30</c:v>
                </c:pt>
                <c:pt idx="3635">
                  <c:v>2017-03-31</c:v>
                </c:pt>
                <c:pt idx="3636">
                  <c:v>2017-04-05</c:v>
                </c:pt>
                <c:pt idx="3637">
                  <c:v>2017-04-06</c:v>
                </c:pt>
                <c:pt idx="3638">
                  <c:v>2017-04-07</c:v>
                </c:pt>
                <c:pt idx="3639">
                  <c:v>2017-04-10</c:v>
                </c:pt>
                <c:pt idx="3640">
                  <c:v>2017-04-11</c:v>
                </c:pt>
                <c:pt idx="3641">
                  <c:v>2017-04-12</c:v>
                </c:pt>
                <c:pt idx="3642">
                  <c:v>2017-04-13</c:v>
                </c:pt>
                <c:pt idx="3643">
                  <c:v>2017-04-14</c:v>
                </c:pt>
                <c:pt idx="3644">
                  <c:v>2017-04-17</c:v>
                </c:pt>
                <c:pt idx="3645">
                  <c:v>2017-04-18</c:v>
                </c:pt>
                <c:pt idx="3646">
                  <c:v>2017-04-19</c:v>
                </c:pt>
                <c:pt idx="3647">
                  <c:v>2017-04-20</c:v>
                </c:pt>
                <c:pt idx="3648">
                  <c:v>2017-04-21</c:v>
                </c:pt>
                <c:pt idx="3649">
                  <c:v>2017-04-24</c:v>
                </c:pt>
                <c:pt idx="3650">
                  <c:v>2017-04-25</c:v>
                </c:pt>
                <c:pt idx="3651">
                  <c:v>2017-04-26</c:v>
                </c:pt>
                <c:pt idx="3652">
                  <c:v>2017-04-27</c:v>
                </c:pt>
                <c:pt idx="3653">
                  <c:v>2017-04-28</c:v>
                </c:pt>
                <c:pt idx="3654">
                  <c:v>2017-05-02</c:v>
                </c:pt>
                <c:pt idx="3655">
                  <c:v>2017-05-03</c:v>
                </c:pt>
                <c:pt idx="3656">
                  <c:v>2017-05-04</c:v>
                </c:pt>
                <c:pt idx="3657">
                  <c:v>2017-05-05</c:v>
                </c:pt>
                <c:pt idx="3658">
                  <c:v>2017-05-08</c:v>
                </c:pt>
                <c:pt idx="3659">
                  <c:v>2017-05-09</c:v>
                </c:pt>
                <c:pt idx="3660">
                  <c:v>2017-05-10</c:v>
                </c:pt>
                <c:pt idx="3661">
                  <c:v>2017-05-11</c:v>
                </c:pt>
                <c:pt idx="3662">
                  <c:v>2017-05-12</c:v>
                </c:pt>
                <c:pt idx="3663">
                  <c:v>2017-05-15</c:v>
                </c:pt>
                <c:pt idx="3664">
                  <c:v>2017-05-16</c:v>
                </c:pt>
                <c:pt idx="3665">
                  <c:v>2017-05-17</c:v>
                </c:pt>
                <c:pt idx="3666">
                  <c:v>2017-05-18</c:v>
                </c:pt>
                <c:pt idx="3667">
                  <c:v>2017-05-19</c:v>
                </c:pt>
                <c:pt idx="3668">
                  <c:v>2017-05-22</c:v>
                </c:pt>
                <c:pt idx="3669">
                  <c:v>2017-05-23</c:v>
                </c:pt>
                <c:pt idx="3670">
                  <c:v>2017-05-24</c:v>
                </c:pt>
                <c:pt idx="3671">
                  <c:v>2017-05-25</c:v>
                </c:pt>
                <c:pt idx="3672">
                  <c:v>2017-05-26</c:v>
                </c:pt>
                <c:pt idx="3673">
                  <c:v>2017-05-31</c:v>
                </c:pt>
                <c:pt idx="3674">
                  <c:v>2017-06-01</c:v>
                </c:pt>
                <c:pt idx="3675">
                  <c:v>2017-06-02</c:v>
                </c:pt>
                <c:pt idx="3676">
                  <c:v>2017-06-05</c:v>
                </c:pt>
                <c:pt idx="3677">
                  <c:v>2017-06-06</c:v>
                </c:pt>
                <c:pt idx="3678">
                  <c:v>2017-06-07</c:v>
                </c:pt>
                <c:pt idx="3679">
                  <c:v>2017-06-08</c:v>
                </c:pt>
                <c:pt idx="3680">
                  <c:v>2017-06-09</c:v>
                </c:pt>
                <c:pt idx="3681">
                  <c:v>2017-06-12</c:v>
                </c:pt>
                <c:pt idx="3682">
                  <c:v>2017-06-13</c:v>
                </c:pt>
                <c:pt idx="3683">
                  <c:v>2017-06-14</c:v>
                </c:pt>
                <c:pt idx="3684">
                  <c:v>2017-06-15</c:v>
                </c:pt>
                <c:pt idx="3685">
                  <c:v>2017-06-16</c:v>
                </c:pt>
                <c:pt idx="3686">
                  <c:v>2017-06-19</c:v>
                </c:pt>
                <c:pt idx="3687">
                  <c:v>2017-06-20</c:v>
                </c:pt>
                <c:pt idx="3688">
                  <c:v>2017-06-21</c:v>
                </c:pt>
                <c:pt idx="3689">
                  <c:v>2017-06-22</c:v>
                </c:pt>
                <c:pt idx="3690">
                  <c:v>2017-06-23</c:v>
                </c:pt>
                <c:pt idx="3691">
                  <c:v>2017-06-26</c:v>
                </c:pt>
                <c:pt idx="3692">
                  <c:v>2017-06-27</c:v>
                </c:pt>
                <c:pt idx="3693">
                  <c:v>2017-06-28</c:v>
                </c:pt>
                <c:pt idx="3694">
                  <c:v>2017-06-29</c:v>
                </c:pt>
                <c:pt idx="3695">
                  <c:v>2017-06-30</c:v>
                </c:pt>
                <c:pt idx="3696">
                  <c:v>2017-07-03</c:v>
                </c:pt>
                <c:pt idx="3697">
                  <c:v>2017-07-04</c:v>
                </c:pt>
                <c:pt idx="3698">
                  <c:v>2017-07-05</c:v>
                </c:pt>
                <c:pt idx="3699">
                  <c:v>2017-07-06</c:v>
                </c:pt>
                <c:pt idx="3700">
                  <c:v>2017-07-07</c:v>
                </c:pt>
                <c:pt idx="3701">
                  <c:v>2017-07-10</c:v>
                </c:pt>
                <c:pt idx="3702">
                  <c:v>2017-07-11</c:v>
                </c:pt>
                <c:pt idx="3703">
                  <c:v>2017-07-12</c:v>
                </c:pt>
                <c:pt idx="3704">
                  <c:v>2017-07-13</c:v>
                </c:pt>
                <c:pt idx="3705">
                  <c:v>2017-07-14</c:v>
                </c:pt>
                <c:pt idx="3706">
                  <c:v>2017-07-17</c:v>
                </c:pt>
                <c:pt idx="3707">
                  <c:v>2017-07-18</c:v>
                </c:pt>
                <c:pt idx="3708">
                  <c:v>2017-07-19</c:v>
                </c:pt>
                <c:pt idx="3709">
                  <c:v>2017-07-20</c:v>
                </c:pt>
                <c:pt idx="3710">
                  <c:v>2017-07-21</c:v>
                </c:pt>
                <c:pt idx="3711">
                  <c:v>2017-07-24</c:v>
                </c:pt>
                <c:pt idx="3712">
                  <c:v>2017-07-25</c:v>
                </c:pt>
                <c:pt idx="3713">
                  <c:v>2017-07-26</c:v>
                </c:pt>
                <c:pt idx="3714">
                  <c:v>2017-07-27</c:v>
                </c:pt>
                <c:pt idx="3715">
                  <c:v>2017-07-28</c:v>
                </c:pt>
                <c:pt idx="3716">
                  <c:v>2017-07-31</c:v>
                </c:pt>
                <c:pt idx="3717">
                  <c:v>2017-08-01</c:v>
                </c:pt>
                <c:pt idx="3718">
                  <c:v>2017-08-02</c:v>
                </c:pt>
                <c:pt idx="3719">
                  <c:v>2017-08-03</c:v>
                </c:pt>
                <c:pt idx="3720">
                  <c:v>2017-08-04</c:v>
                </c:pt>
                <c:pt idx="3721">
                  <c:v>2017-08-07</c:v>
                </c:pt>
                <c:pt idx="3722">
                  <c:v>2017-08-08</c:v>
                </c:pt>
                <c:pt idx="3723">
                  <c:v>2017-08-09</c:v>
                </c:pt>
                <c:pt idx="3724">
                  <c:v>2017-08-10</c:v>
                </c:pt>
                <c:pt idx="3725">
                  <c:v>2017-08-11</c:v>
                </c:pt>
                <c:pt idx="3726">
                  <c:v>2017-08-14</c:v>
                </c:pt>
                <c:pt idx="3727">
                  <c:v>2017-08-15</c:v>
                </c:pt>
                <c:pt idx="3728">
                  <c:v>2017-08-16</c:v>
                </c:pt>
                <c:pt idx="3729">
                  <c:v>2017-08-17</c:v>
                </c:pt>
                <c:pt idx="3730">
                  <c:v>2017-08-18</c:v>
                </c:pt>
                <c:pt idx="3731">
                  <c:v>2017-08-21</c:v>
                </c:pt>
                <c:pt idx="3732">
                  <c:v>2017-08-22</c:v>
                </c:pt>
                <c:pt idx="3733">
                  <c:v>2017-08-23</c:v>
                </c:pt>
                <c:pt idx="3734">
                  <c:v>2017-08-24</c:v>
                </c:pt>
                <c:pt idx="3735">
                  <c:v>2017-08-25</c:v>
                </c:pt>
                <c:pt idx="3736">
                  <c:v>2017-08-28</c:v>
                </c:pt>
                <c:pt idx="3737">
                  <c:v>2017-08-29</c:v>
                </c:pt>
                <c:pt idx="3738">
                  <c:v>2017-08-30</c:v>
                </c:pt>
                <c:pt idx="3739">
                  <c:v>2017-08-31</c:v>
                </c:pt>
                <c:pt idx="3740">
                  <c:v>2017-09-01</c:v>
                </c:pt>
                <c:pt idx="3741">
                  <c:v>2017-09-04</c:v>
                </c:pt>
                <c:pt idx="3742">
                  <c:v>2017-09-05</c:v>
                </c:pt>
                <c:pt idx="3743">
                  <c:v>2017-09-06</c:v>
                </c:pt>
                <c:pt idx="3744">
                  <c:v>2017-09-07</c:v>
                </c:pt>
                <c:pt idx="3745">
                  <c:v>2017-09-08</c:v>
                </c:pt>
                <c:pt idx="3746">
                  <c:v>2017-09-11</c:v>
                </c:pt>
                <c:pt idx="3747">
                  <c:v>2017-09-12</c:v>
                </c:pt>
                <c:pt idx="3748">
                  <c:v>2017-09-13</c:v>
                </c:pt>
                <c:pt idx="3749">
                  <c:v>2017-09-14</c:v>
                </c:pt>
                <c:pt idx="3750">
                  <c:v>2017-09-15</c:v>
                </c:pt>
                <c:pt idx="3751">
                  <c:v>2017-09-18</c:v>
                </c:pt>
                <c:pt idx="3752">
                  <c:v>2017-09-19</c:v>
                </c:pt>
                <c:pt idx="3753">
                  <c:v>2017-09-20</c:v>
                </c:pt>
                <c:pt idx="3754">
                  <c:v>2017-09-21</c:v>
                </c:pt>
                <c:pt idx="3755">
                  <c:v>2017-09-22</c:v>
                </c:pt>
                <c:pt idx="3756">
                  <c:v>2017-09-25</c:v>
                </c:pt>
                <c:pt idx="3757">
                  <c:v>2017-09-26</c:v>
                </c:pt>
                <c:pt idx="3758">
                  <c:v>2017-09-27</c:v>
                </c:pt>
                <c:pt idx="3759">
                  <c:v>2017-09-28</c:v>
                </c:pt>
                <c:pt idx="3760">
                  <c:v>2017-09-29</c:v>
                </c:pt>
                <c:pt idx="3761">
                  <c:v>2017-10-09</c:v>
                </c:pt>
                <c:pt idx="3762">
                  <c:v>2017-10-10</c:v>
                </c:pt>
                <c:pt idx="3763">
                  <c:v>2017-10-11</c:v>
                </c:pt>
                <c:pt idx="3764">
                  <c:v>2017-10-12</c:v>
                </c:pt>
                <c:pt idx="3765">
                  <c:v>2017-10-13</c:v>
                </c:pt>
                <c:pt idx="3766">
                  <c:v>2017-10-16</c:v>
                </c:pt>
                <c:pt idx="3767">
                  <c:v>2017-10-17</c:v>
                </c:pt>
                <c:pt idx="3768">
                  <c:v>2017-10-18</c:v>
                </c:pt>
                <c:pt idx="3769">
                  <c:v>2017-10-19</c:v>
                </c:pt>
                <c:pt idx="3770">
                  <c:v>2017-10-20</c:v>
                </c:pt>
                <c:pt idx="3771">
                  <c:v>2017-10-23</c:v>
                </c:pt>
                <c:pt idx="3772">
                  <c:v>2017-10-24</c:v>
                </c:pt>
                <c:pt idx="3773">
                  <c:v>2017-10-25</c:v>
                </c:pt>
                <c:pt idx="3774">
                  <c:v>2017-10-26</c:v>
                </c:pt>
                <c:pt idx="3775">
                  <c:v>2017-10-27</c:v>
                </c:pt>
                <c:pt idx="3776">
                  <c:v>2017-10-30</c:v>
                </c:pt>
                <c:pt idx="3777">
                  <c:v>2017-10-31</c:v>
                </c:pt>
                <c:pt idx="3778">
                  <c:v>2017-11-01</c:v>
                </c:pt>
                <c:pt idx="3779">
                  <c:v>2017-11-02</c:v>
                </c:pt>
                <c:pt idx="3780">
                  <c:v>2017-11-03</c:v>
                </c:pt>
                <c:pt idx="3781">
                  <c:v>2017-11-06</c:v>
                </c:pt>
                <c:pt idx="3782">
                  <c:v>2017-11-07</c:v>
                </c:pt>
                <c:pt idx="3783">
                  <c:v>2017-11-08</c:v>
                </c:pt>
                <c:pt idx="3784">
                  <c:v>2017-11-09</c:v>
                </c:pt>
                <c:pt idx="3785">
                  <c:v>2017-11-10</c:v>
                </c:pt>
                <c:pt idx="3786">
                  <c:v>2017-11-13</c:v>
                </c:pt>
                <c:pt idx="3787">
                  <c:v>2017-11-14</c:v>
                </c:pt>
                <c:pt idx="3788">
                  <c:v>2017-11-15</c:v>
                </c:pt>
                <c:pt idx="3789">
                  <c:v>2017-11-16</c:v>
                </c:pt>
                <c:pt idx="3790">
                  <c:v>2017-11-17</c:v>
                </c:pt>
                <c:pt idx="3791">
                  <c:v>2017-11-20</c:v>
                </c:pt>
                <c:pt idx="3792">
                  <c:v>2017-11-21</c:v>
                </c:pt>
                <c:pt idx="3793">
                  <c:v>2017-11-22</c:v>
                </c:pt>
                <c:pt idx="3794">
                  <c:v>2017-11-23</c:v>
                </c:pt>
                <c:pt idx="3795">
                  <c:v>2017-11-24</c:v>
                </c:pt>
                <c:pt idx="3796">
                  <c:v>2017-11-27</c:v>
                </c:pt>
                <c:pt idx="3797">
                  <c:v>2017-11-28</c:v>
                </c:pt>
                <c:pt idx="3798">
                  <c:v>2017-11-29</c:v>
                </c:pt>
                <c:pt idx="3799">
                  <c:v>2017-11-30</c:v>
                </c:pt>
                <c:pt idx="3800">
                  <c:v>2017-12-01</c:v>
                </c:pt>
                <c:pt idx="3801">
                  <c:v>2017-12-04</c:v>
                </c:pt>
                <c:pt idx="3802">
                  <c:v>2017-12-05</c:v>
                </c:pt>
                <c:pt idx="3803">
                  <c:v>2017-12-06</c:v>
                </c:pt>
                <c:pt idx="3804">
                  <c:v>2017-12-07</c:v>
                </c:pt>
                <c:pt idx="3805">
                  <c:v>2017-12-08</c:v>
                </c:pt>
                <c:pt idx="3806">
                  <c:v>2017-12-11</c:v>
                </c:pt>
                <c:pt idx="3807">
                  <c:v>2017-12-12</c:v>
                </c:pt>
                <c:pt idx="3808">
                  <c:v>2017-12-13</c:v>
                </c:pt>
                <c:pt idx="3809">
                  <c:v>2017-12-14</c:v>
                </c:pt>
                <c:pt idx="3810">
                  <c:v>2017-12-15</c:v>
                </c:pt>
                <c:pt idx="3811">
                  <c:v>2017-12-18</c:v>
                </c:pt>
                <c:pt idx="3812">
                  <c:v>2017-12-19</c:v>
                </c:pt>
                <c:pt idx="3813">
                  <c:v>2017-12-20</c:v>
                </c:pt>
                <c:pt idx="3814">
                  <c:v>2017-12-21</c:v>
                </c:pt>
                <c:pt idx="3815">
                  <c:v>2017-12-22</c:v>
                </c:pt>
                <c:pt idx="3816">
                  <c:v>2017-12-25</c:v>
                </c:pt>
                <c:pt idx="3817">
                  <c:v>2017-12-26</c:v>
                </c:pt>
                <c:pt idx="3818">
                  <c:v>2017-12-27</c:v>
                </c:pt>
                <c:pt idx="3819">
                  <c:v>2017-12-28</c:v>
                </c:pt>
                <c:pt idx="3820">
                  <c:v>2017-12-29</c:v>
                </c:pt>
                <c:pt idx="3821">
                  <c:v>2018-01-02</c:v>
                </c:pt>
                <c:pt idx="3822">
                  <c:v>2018-01-03</c:v>
                </c:pt>
                <c:pt idx="3823">
                  <c:v>2018-01-04</c:v>
                </c:pt>
                <c:pt idx="3824">
                  <c:v>2018-01-05</c:v>
                </c:pt>
                <c:pt idx="3825">
                  <c:v>2018-01-08</c:v>
                </c:pt>
                <c:pt idx="3826">
                  <c:v>2018-01-09</c:v>
                </c:pt>
                <c:pt idx="3827">
                  <c:v>2018-01-10</c:v>
                </c:pt>
                <c:pt idx="3828">
                  <c:v>2018-01-11</c:v>
                </c:pt>
                <c:pt idx="3829">
                  <c:v>2018-01-12</c:v>
                </c:pt>
                <c:pt idx="3830">
                  <c:v>2018-01-15</c:v>
                </c:pt>
                <c:pt idx="3831">
                  <c:v>2018-01-16</c:v>
                </c:pt>
                <c:pt idx="3832">
                  <c:v>2018-01-17</c:v>
                </c:pt>
                <c:pt idx="3833">
                  <c:v>2018-01-18</c:v>
                </c:pt>
                <c:pt idx="3834">
                  <c:v>2018-01-19</c:v>
                </c:pt>
                <c:pt idx="3835">
                  <c:v>2018-01-22</c:v>
                </c:pt>
                <c:pt idx="3836">
                  <c:v>2018-01-23</c:v>
                </c:pt>
                <c:pt idx="3837">
                  <c:v>2018-01-24</c:v>
                </c:pt>
                <c:pt idx="3838">
                  <c:v>2018-01-25</c:v>
                </c:pt>
                <c:pt idx="3839">
                  <c:v>2018-01-26</c:v>
                </c:pt>
                <c:pt idx="3840">
                  <c:v>2018-01-29</c:v>
                </c:pt>
                <c:pt idx="3841">
                  <c:v>2018-01-30</c:v>
                </c:pt>
                <c:pt idx="3842">
                  <c:v>2018-01-31</c:v>
                </c:pt>
                <c:pt idx="3843">
                  <c:v>2018-02-01</c:v>
                </c:pt>
                <c:pt idx="3844">
                  <c:v>2018-02-02</c:v>
                </c:pt>
                <c:pt idx="3845">
                  <c:v>2018-02-05</c:v>
                </c:pt>
                <c:pt idx="3846">
                  <c:v>2018-02-06</c:v>
                </c:pt>
                <c:pt idx="3847">
                  <c:v>2018-02-07</c:v>
                </c:pt>
                <c:pt idx="3848">
                  <c:v>2018-02-08</c:v>
                </c:pt>
                <c:pt idx="3849">
                  <c:v>2018-02-09</c:v>
                </c:pt>
                <c:pt idx="3850">
                  <c:v>2018-02-12</c:v>
                </c:pt>
                <c:pt idx="3851">
                  <c:v>2018-02-13</c:v>
                </c:pt>
                <c:pt idx="3852">
                  <c:v>2018-02-14</c:v>
                </c:pt>
                <c:pt idx="3853">
                  <c:v>2018-02-22</c:v>
                </c:pt>
                <c:pt idx="3854">
                  <c:v>2018-02-23</c:v>
                </c:pt>
                <c:pt idx="3855">
                  <c:v>2018-02-26</c:v>
                </c:pt>
                <c:pt idx="3856">
                  <c:v>2018-02-27</c:v>
                </c:pt>
                <c:pt idx="3857">
                  <c:v>2018-02-28</c:v>
                </c:pt>
                <c:pt idx="3858">
                  <c:v>2018-03-01</c:v>
                </c:pt>
                <c:pt idx="3859">
                  <c:v>2018-03-02</c:v>
                </c:pt>
                <c:pt idx="3860">
                  <c:v>2018-03-05</c:v>
                </c:pt>
                <c:pt idx="3861">
                  <c:v>2018-03-06</c:v>
                </c:pt>
                <c:pt idx="3862">
                  <c:v>2018-03-07</c:v>
                </c:pt>
                <c:pt idx="3863">
                  <c:v>2018-03-08</c:v>
                </c:pt>
                <c:pt idx="3864">
                  <c:v>2018-03-09</c:v>
                </c:pt>
                <c:pt idx="3865">
                  <c:v>2018-03-12</c:v>
                </c:pt>
                <c:pt idx="3866">
                  <c:v>2018-03-13</c:v>
                </c:pt>
                <c:pt idx="3867">
                  <c:v>2018-03-14</c:v>
                </c:pt>
                <c:pt idx="3868">
                  <c:v>2018-03-15</c:v>
                </c:pt>
                <c:pt idx="3869">
                  <c:v>2018-03-16</c:v>
                </c:pt>
                <c:pt idx="3870">
                  <c:v>2018-03-19</c:v>
                </c:pt>
                <c:pt idx="3871">
                  <c:v>2018-03-20</c:v>
                </c:pt>
                <c:pt idx="3872">
                  <c:v>2018-03-21</c:v>
                </c:pt>
                <c:pt idx="3873">
                  <c:v>2018-03-22</c:v>
                </c:pt>
                <c:pt idx="3874">
                  <c:v>2018-03-23</c:v>
                </c:pt>
                <c:pt idx="3875">
                  <c:v>2018-03-26</c:v>
                </c:pt>
                <c:pt idx="3876">
                  <c:v>2018-03-27</c:v>
                </c:pt>
                <c:pt idx="3877">
                  <c:v>2018-03-28</c:v>
                </c:pt>
                <c:pt idx="3878">
                  <c:v>2018-03-29</c:v>
                </c:pt>
                <c:pt idx="3879">
                  <c:v>2018-03-30</c:v>
                </c:pt>
                <c:pt idx="3880">
                  <c:v>2018-04-02</c:v>
                </c:pt>
                <c:pt idx="3881">
                  <c:v>2018-04-03</c:v>
                </c:pt>
                <c:pt idx="3882">
                  <c:v>2018-04-04</c:v>
                </c:pt>
                <c:pt idx="3883">
                  <c:v>2018-04-09</c:v>
                </c:pt>
                <c:pt idx="3884">
                  <c:v>2018-04-10</c:v>
                </c:pt>
                <c:pt idx="3885">
                  <c:v>2018-04-11</c:v>
                </c:pt>
                <c:pt idx="3886">
                  <c:v>2018-04-12</c:v>
                </c:pt>
                <c:pt idx="3887">
                  <c:v>2018-04-13</c:v>
                </c:pt>
                <c:pt idx="3888">
                  <c:v>2018-04-16</c:v>
                </c:pt>
                <c:pt idx="3889">
                  <c:v>2018-04-17</c:v>
                </c:pt>
                <c:pt idx="3890">
                  <c:v>2018-04-18</c:v>
                </c:pt>
                <c:pt idx="3891">
                  <c:v>2018-04-19</c:v>
                </c:pt>
                <c:pt idx="3892">
                  <c:v>2018-04-20</c:v>
                </c:pt>
                <c:pt idx="3893">
                  <c:v>2018-04-23</c:v>
                </c:pt>
                <c:pt idx="3894">
                  <c:v>2018-04-24</c:v>
                </c:pt>
                <c:pt idx="3895">
                  <c:v>2018-04-25</c:v>
                </c:pt>
                <c:pt idx="3896">
                  <c:v>2018-04-26</c:v>
                </c:pt>
                <c:pt idx="3897">
                  <c:v>2018-04-27</c:v>
                </c:pt>
                <c:pt idx="3898">
                  <c:v>2018-05-02</c:v>
                </c:pt>
                <c:pt idx="3899">
                  <c:v>2018-05-03</c:v>
                </c:pt>
                <c:pt idx="3900">
                  <c:v>2018-05-04</c:v>
                </c:pt>
                <c:pt idx="3901">
                  <c:v>2018-05-07</c:v>
                </c:pt>
                <c:pt idx="3902">
                  <c:v>2018-05-08</c:v>
                </c:pt>
                <c:pt idx="3903">
                  <c:v>2018-05-09</c:v>
                </c:pt>
                <c:pt idx="3904">
                  <c:v>2018-05-10</c:v>
                </c:pt>
                <c:pt idx="3905">
                  <c:v>2018-05-11</c:v>
                </c:pt>
                <c:pt idx="3906">
                  <c:v>2018-05-14</c:v>
                </c:pt>
                <c:pt idx="3907">
                  <c:v>2018-05-15</c:v>
                </c:pt>
                <c:pt idx="3908">
                  <c:v>2018-05-16</c:v>
                </c:pt>
                <c:pt idx="3909">
                  <c:v>2018-05-17</c:v>
                </c:pt>
                <c:pt idx="3910">
                  <c:v>2018-05-18</c:v>
                </c:pt>
                <c:pt idx="3911">
                  <c:v>2018-05-21</c:v>
                </c:pt>
                <c:pt idx="3912">
                  <c:v>2018-05-22</c:v>
                </c:pt>
                <c:pt idx="3913">
                  <c:v>2018-05-23</c:v>
                </c:pt>
                <c:pt idx="3914">
                  <c:v>2018-05-24</c:v>
                </c:pt>
                <c:pt idx="3915">
                  <c:v>2018-05-25</c:v>
                </c:pt>
                <c:pt idx="3916">
                  <c:v>2018-05-28</c:v>
                </c:pt>
                <c:pt idx="3917">
                  <c:v>2018-05-29</c:v>
                </c:pt>
                <c:pt idx="3918">
                  <c:v>2018-05-30</c:v>
                </c:pt>
                <c:pt idx="3919">
                  <c:v>2018-05-31</c:v>
                </c:pt>
                <c:pt idx="3920">
                  <c:v>2018-06-01</c:v>
                </c:pt>
                <c:pt idx="3921">
                  <c:v>2018-06-04</c:v>
                </c:pt>
                <c:pt idx="3922">
                  <c:v>2018-06-05</c:v>
                </c:pt>
                <c:pt idx="3923">
                  <c:v>2018-06-06</c:v>
                </c:pt>
                <c:pt idx="3924">
                  <c:v>2018-06-07</c:v>
                </c:pt>
                <c:pt idx="3925">
                  <c:v>2018-06-08</c:v>
                </c:pt>
                <c:pt idx="3926">
                  <c:v>2018-06-11</c:v>
                </c:pt>
                <c:pt idx="3927">
                  <c:v>2018-06-12</c:v>
                </c:pt>
                <c:pt idx="3928">
                  <c:v>2018-06-13</c:v>
                </c:pt>
                <c:pt idx="3929">
                  <c:v>2018-06-14</c:v>
                </c:pt>
                <c:pt idx="3930">
                  <c:v>2018-06-15</c:v>
                </c:pt>
                <c:pt idx="3931">
                  <c:v>2018-06-19</c:v>
                </c:pt>
                <c:pt idx="3932">
                  <c:v>2018-06-20</c:v>
                </c:pt>
                <c:pt idx="3933">
                  <c:v>2018-06-21</c:v>
                </c:pt>
                <c:pt idx="3934">
                  <c:v>2018-06-22</c:v>
                </c:pt>
                <c:pt idx="3935">
                  <c:v>2018-06-25</c:v>
                </c:pt>
                <c:pt idx="3936">
                  <c:v>2018-06-26</c:v>
                </c:pt>
                <c:pt idx="3937">
                  <c:v>2018-06-27</c:v>
                </c:pt>
                <c:pt idx="3938">
                  <c:v>2018-06-28</c:v>
                </c:pt>
                <c:pt idx="3939">
                  <c:v>2018-06-29</c:v>
                </c:pt>
                <c:pt idx="3940">
                  <c:v>2018-07-02</c:v>
                </c:pt>
                <c:pt idx="3941">
                  <c:v>2018-07-03</c:v>
                </c:pt>
                <c:pt idx="3942">
                  <c:v>2018-07-04</c:v>
                </c:pt>
                <c:pt idx="3943">
                  <c:v>2018-07-05</c:v>
                </c:pt>
                <c:pt idx="3944">
                  <c:v>2018-07-06</c:v>
                </c:pt>
                <c:pt idx="3945">
                  <c:v>2018-07-09</c:v>
                </c:pt>
                <c:pt idx="3946">
                  <c:v>2018-07-10</c:v>
                </c:pt>
                <c:pt idx="3947">
                  <c:v>2018-07-11</c:v>
                </c:pt>
                <c:pt idx="3948">
                  <c:v>2018-07-12</c:v>
                </c:pt>
                <c:pt idx="3949">
                  <c:v>2018-07-13</c:v>
                </c:pt>
                <c:pt idx="3950">
                  <c:v>2018-07-16</c:v>
                </c:pt>
                <c:pt idx="3951">
                  <c:v>2018-07-17</c:v>
                </c:pt>
                <c:pt idx="3952">
                  <c:v>2018-07-18</c:v>
                </c:pt>
                <c:pt idx="3953">
                  <c:v>2018-07-19</c:v>
                </c:pt>
                <c:pt idx="3954">
                  <c:v>2018-07-20</c:v>
                </c:pt>
                <c:pt idx="3955">
                  <c:v>2018-07-23</c:v>
                </c:pt>
                <c:pt idx="3956">
                  <c:v>2018-07-24</c:v>
                </c:pt>
                <c:pt idx="3957">
                  <c:v>2018-07-25</c:v>
                </c:pt>
                <c:pt idx="3958">
                  <c:v>2018-07-26</c:v>
                </c:pt>
                <c:pt idx="3959">
                  <c:v>2018-07-27</c:v>
                </c:pt>
                <c:pt idx="3960">
                  <c:v>2018-07-30</c:v>
                </c:pt>
                <c:pt idx="3961">
                  <c:v>2018-07-31</c:v>
                </c:pt>
                <c:pt idx="3962">
                  <c:v>2018-08-01</c:v>
                </c:pt>
                <c:pt idx="3963">
                  <c:v>2018-08-02</c:v>
                </c:pt>
                <c:pt idx="3964">
                  <c:v>2018-08-03</c:v>
                </c:pt>
                <c:pt idx="3965">
                  <c:v>2018-08-06</c:v>
                </c:pt>
                <c:pt idx="3966">
                  <c:v>2018-08-07</c:v>
                </c:pt>
                <c:pt idx="3967">
                  <c:v>2018-08-08</c:v>
                </c:pt>
                <c:pt idx="3968">
                  <c:v>2018-08-09</c:v>
                </c:pt>
                <c:pt idx="3969">
                  <c:v>2018-08-10</c:v>
                </c:pt>
                <c:pt idx="3970">
                  <c:v>2018-08-13</c:v>
                </c:pt>
                <c:pt idx="3971">
                  <c:v>2018-08-14</c:v>
                </c:pt>
                <c:pt idx="3972">
                  <c:v>2018-08-15</c:v>
                </c:pt>
                <c:pt idx="3973">
                  <c:v>2018-08-16</c:v>
                </c:pt>
                <c:pt idx="3974">
                  <c:v>2018-08-17</c:v>
                </c:pt>
                <c:pt idx="3975">
                  <c:v>2018-08-20</c:v>
                </c:pt>
                <c:pt idx="3976">
                  <c:v>2018-08-21</c:v>
                </c:pt>
                <c:pt idx="3977">
                  <c:v>2018-08-22</c:v>
                </c:pt>
                <c:pt idx="3978">
                  <c:v>2018-08-23</c:v>
                </c:pt>
                <c:pt idx="3979">
                  <c:v>2018-08-24</c:v>
                </c:pt>
                <c:pt idx="3980">
                  <c:v>2018-08-27</c:v>
                </c:pt>
                <c:pt idx="3981">
                  <c:v>2018-08-28</c:v>
                </c:pt>
                <c:pt idx="3982">
                  <c:v>2018-08-29</c:v>
                </c:pt>
                <c:pt idx="3983">
                  <c:v>2018-08-30</c:v>
                </c:pt>
                <c:pt idx="3984">
                  <c:v>2018-08-31</c:v>
                </c:pt>
                <c:pt idx="3985">
                  <c:v>2018-09-03</c:v>
                </c:pt>
                <c:pt idx="3986">
                  <c:v>2018-09-04</c:v>
                </c:pt>
                <c:pt idx="3987">
                  <c:v>2018-09-05</c:v>
                </c:pt>
                <c:pt idx="3988">
                  <c:v>2018-09-06</c:v>
                </c:pt>
                <c:pt idx="3989">
                  <c:v>2018-09-07</c:v>
                </c:pt>
                <c:pt idx="3990">
                  <c:v>2018-09-10</c:v>
                </c:pt>
                <c:pt idx="3991">
                  <c:v>2018-09-11</c:v>
                </c:pt>
                <c:pt idx="3992">
                  <c:v>2018-09-12</c:v>
                </c:pt>
                <c:pt idx="3993">
                  <c:v>2018-09-13</c:v>
                </c:pt>
                <c:pt idx="3994">
                  <c:v>2018-09-14</c:v>
                </c:pt>
                <c:pt idx="3995">
                  <c:v>2018-09-17</c:v>
                </c:pt>
                <c:pt idx="3996">
                  <c:v>2018-09-18</c:v>
                </c:pt>
                <c:pt idx="3997">
                  <c:v>2018-09-19</c:v>
                </c:pt>
                <c:pt idx="3998">
                  <c:v>2018-09-20</c:v>
                </c:pt>
                <c:pt idx="3999">
                  <c:v>2018-09-21</c:v>
                </c:pt>
                <c:pt idx="4000">
                  <c:v>2018-09-25</c:v>
                </c:pt>
                <c:pt idx="4001">
                  <c:v>2018-09-26</c:v>
                </c:pt>
                <c:pt idx="4002">
                  <c:v>2018-09-27</c:v>
                </c:pt>
                <c:pt idx="4003">
                  <c:v>2018-09-28</c:v>
                </c:pt>
                <c:pt idx="4004">
                  <c:v>2018-10-08</c:v>
                </c:pt>
                <c:pt idx="4005">
                  <c:v>2018-10-09</c:v>
                </c:pt>
                <c:pt idx="4006">
                  <c:v>2018-10-10</c:v>
                </c:pt>
                <c:pt idx="4007">
                  <c:v>2018-10-11</c:v>
                </c:pt>
                <c:pt idx="4008">
                  <c:v>2018-10-12</c:v>
                </c:pt>
                <c:pt idx="4009">
                  <c:v>2018-10-15</c:v>
                </c:pt>
                <c:pt idx="4010">
                  <c:v>2018-10-16</c:v>
                </c:pt>
                <c:pt idx="4011">
                  <c:v>2018-10-17</c:v>
                </c:pt>
                <c:pt idx="4012">
                  <c:v>2018-10-18</c:v>
                </c:pt>
                <c:pt idx="4013">
                  <c:v>2018-10-19</c:v>
                </c:pt>
                <c:pt idx="4014">
                  <c:v>2018-10-22</c:v>
                </c:pt>
                <c:pt idx="4015">
                  <c:v>2018-10-23</c:v>
                </c:pt>
                <c:pt idx="4016">
                  <c:v>2018-10-24</c:v>
                </c:pt>
                <c:pt idx="4017">
                  <c:v>2018-10-25</c:v>
                </c:pt>
                <c:pt idx="4018">
                  <c:v>2018-10-26</c:v>
                </c:pt>
                <c:pt idx="4019">
                  <c:v>2018-10-29</c:v>
                </c:pt>
                <c:pt idx="4020">
                  <c:v>2018-10-30</c:v>
                </c:pt>
                <c:pt idx="4021">
                  <c:v>2018-10-31</c:v>
                </c:pt>
                <c:pt idx="4022">
                  <c:v>2018-11-01</c:v>
                </c:pt>
                <c:pt idx="4023">
                  <c:v>2018-11-02</c:v>
                </c:pt>
                <c:pt idx="4024">
                  <c:v>2018-11-05</c:v>
                </c:pt>
                <c:pt idx="4025">
                  <c:v>2018-11-06</c:v>
                </c:pt>
                <c:pt idx="4026">
                  <c:v>2018-11-07</c:v>
                </c:pt>
                <c:pt idx="4027">
                  <c:v>2018-11-08</c:v>
                </c:pt>
                <c:pt idx="4028">
                  <c:v>2018-11-09</c:v>
                </c:pt>
                <c:pt idx="4029">
                  <c:v>2018-11-12</c:v>
                </c:pt>
                <c:pt idx="4030">
                  <c:v>2018-11-13</c:v>
                </c:pt>
                <c:pt idx="4031">
                  <c:v>2018-11-14</c:v>
                </c:pt>
                <c:pt idx="4032">
                  <c:v>2018-11-15</c:v>
                </c:pt>
                <c:pt idx="4033">
                  <c:v>2018-11-16</c:v>
                </c:pt>
                <c:pt idx="4034">
                  <c:v>2018-11-19</c:v>
                </c:pt>
                <c:pt idx="4035">
                  <c:v>2018-11-20</c:v>
                </c:pt>
                <c:pt idx="4036">
                  <c:v>2018-11-21</c:v>
                </c:pt>
                <c:pt idx="4037">
                  <c:v>2018-11-22</c:v>
                </c:pt>
                <c:pt idx="4038">
                  <c:v>2018-11-23</c:v>
                </c:pt>
                <c:pt idx="4039">
                  <c:v>2018-11-26</c:v>
                </c:pt>
                <c:pt idx="4040">
                  <c:v>2018-11-27</c:v>
                </c:pt>
                <c:pt idx="4041">
                  <c:v>2018-11-28</c:v>
                </c:pt>
                <c:pt idx="4042">
                  <c:v>2018-11-29</c:v>
                </c:pt>
                <c:pt idx="4043">
                  <c:v>2018-11-30</c:v>
                </c:pt>
                <c:pt idx="4044">
                  <c:v>2018-12-03</c:v>
                </c:pt>
                <c:pt idx="4045">
                  <c:v>2018-12-04</c:v>
                </c:pt>
                <c:pt idx="4046">
                  <c:v>2018-12-05</c:v>
                </c:pt>
                <c:pt idx="4047">
                  <c:v>2018-12-06</c:v>
                </c:pt>
                <c:pt idx="4048">
                  <c:v>2018-12-07</c:v>
                </c:pt>
                <c:pt idx="4049">
                  <c:v>2018-12-10</c:v>
                </c:pt>
                <c:pt idx="4050">
                  <c:v>2018-12-11</c:v>
                </c:pt>
                <c:pt idx="4051">
                  <c:v>2018-12-12</c:v>
                </c:pt>
                <c:pt idx="4052">
                  <c:v>2018-12-13</c:v>
                </c:pt>
                <c:pt idx="4053">
                  <c:v>2018-12-14</c:v>
                </c:pt>
                <c:pt idx="4054">
                  <c:v>2018-12-17</c:v>
                </c:pt>
                <c:pt idx="4055">
                  <c:v>2018-12-18</c:v>
                </c:pt>
                <c:pt idx="4056">
                  <c:v>2018-12-19</c:v>
                </c:pt>
                <c:pt idx="4057">
                  <c:v>2018-12-20</c:v>
                </c:pt>
                <c:pt idx="4058">
                  <c:v>2018-12-21</c:v>
                </c:pt>
                <c:pt idx="4059">
                  <c:v>2018-12-24</c:v>
                </c:pt>
                <c:pt idx="4060">
                  <c:v>2018-12-25</c:v>
                </c:pt>
                <c:pt idx="4061">
                  <c:v>2018-12-26</c:v>
                </c:pt>
                <c:pt idx="4062">
                  <c:v>2018-12-27</c:v>
                </c:pt>
                <c:pt idx="4063">
                  <c:v>2018-12-28</c:v>
                </c:pt>
                <c:pt idx="4064">
                  <c:v>2019-01-02</c:v>
                </c:pt>
                <c:pt idx="4065">
                  <c:v>2019-01-03</c:v>
                </c:pt>
                <c:pt idx="4066">
                  <c:v>2019-01-04</c:v>
                </c:pt>
                <c:pt idx="4067">
                  <c:v>2019-01-07</c:v>
                </c:pt>
                <c:pt idx="4068">
                  <c:v>2019-01-08</c:v>
                </c:pt>
                <c:pt idx="4069">
                  <c:v>2019-01-09</c:v>
                </c:pt>
                <c:pt idx="4070">
                  <c:v>2019-01-10</c:v>
                </c:pt>
                <c:pt idx="4071">
                  <c:v>2019-01-11</c:v>
                </c:pt>
                <c:pt idx="4072">
                  <c:v>2019-01-14</c:v>
                </c:pt>
                <c:pt idx="4073">
                  <c:v>2019-01-15</c:v>
                </c:pt>
                <c:pt idx="4074">
                  <c:v>2019-01-16</c:v>
                </c:pt>
                <c:pt idx="4075">
                  <c:v>2019-01-17</c:v>
                </c:pt>
                <c:pt idx="4076">
                  <c:v>2019-01-18</c:v>
                </c:pt>
                <c:pt idx="4077">
                  <c:v>2019-01-21</c:v>
                </c:pt>
                <c:pt idx="4078">
                  <c:v>2019-01-22</c:v>
                </c:pt>
                <c:pt idx="4079">
                  <c:v>2019-01-23</c:v>
                </c:pt>
                <c:pt idx="4080">
                  <c:v>2019-01-24</c:v>
                </c:pt>
                <c:pt idx="4081">
                  <c:v>2019-01-25</c:v>
                </c:pt>
                <c:pt idx="4082">
                  <c:v>2019-01-28</c:v>
                </c:pt>
                <c:pt idx="4083">
                  <c:v>2019-01-29</c:v>
                </c:pt>
                <c:pt idx="4084">
                  <c:v>2019-01-30</c:v>
                </c:pt>
                <c:pt idx="4085">
                  <c:v>2019-01-31</c:v>
                </c:pt>
                <c:pt idx="4086">
                  <c:v>2019-02-01</c:v>
                </c:pt>
                <c:pt idx="4087">
                  <c:v>2019-02-11</c:v>
                </c:pt>
                <c:pt idx="4088">
                  <c:v>2019-02-12</c:v>
                </c:pt>
                <c:pt idx="4089">
                  <c:v>2019-02-13</c:v>
                </c:pt>
                <c:pt idx="4090">
                  <c:v>2019-02-14</c:v>
                </c:pt>
                <c:pt idx="4091">
                  <c:v>2019-02-15</c:v>
                </c:pt>
                <c:pt idx="4092">
                  <c:v>2019-02-18</c:v>
                </c:pt>
                <c:pt idx="4093">
                  <c:v>2019-02-19</c:v>
                </c:pt>
                <c:pt idx="4094">
                  <c:v>2019-02-20</c:v>
                </c:pt>
                <c:pt idx="4095">
                  <c:v>2019-02-21</c:v>
                </c:pt>
                <c:pt idx="4096">
                  <c:v>2019-02-22</c:v>
                </c:pt>
                <c:pt idx="4097">
                  <c:v>2019-02-25</c:v>
                </c:pt>
                <c:pt idx="4098">
                  <c:v>2019-02-26</c:v>
                </c:pt>
                <c:pt idx="4099">
                  <c:v>2019-02-27</c:v>
                </c:pt>
                <c:pt idx="4100">
                  <c:v>2019-02-28</c:v>
                </c:pt>
                <c:pt idx="4101">
                  <c:v>2019-03-01</c:v>
                </c:pt>
                <c:pt idx="4102">
                  <c:v>2019-03-04</c:v>
                </c:pt>
                <c:pt idx="4103">
                  <c:v>2019-03-05</c:v>
                </c:pt>
                <c:pt idx="4104">
                  <c:v>2019-03-06</c:v>
                </c:pt>
                <c:pt idx="4105">
                  <c:v>2019-03-07</c:v>
                </c:pt>
                <c:pt idx="4106">
                  <c:v>2019-03-08</c:v>
                </c:pt>
                <c:pt idx="4107">
                  <c:v>2019-03-11</c:v>
                </c:pt>
                <c:pt idx="4108">
                  <c:v>2019-03-12</c:v>
                </c:pt>
                <c:pt idx="4109">
                  <c:v>2019-03-13</c:v>
                </c:pt>
                <c:pt idx="4110">
                  <c:v>2019-03-14</c:v>
                </c:pt>
                <c:pt idx="4111">
                  <c:v>2019-03-15</c:v>
                </c:pt>
                <c:pt idx="4112">
                  <c:v>2019-03-18</c:v>
                </c:pt>
                <c:pt idx="4113">
                  <c:v>2019-03-19</c:v>
                </c:pt>
                <c:pt idx="4114">
                  <c:v>2019-03-20</c:v>
                </c:pt>
                <c:pt idx="4115">
                  <c:v>2019-03-21</c:v>
                </c:pt>
                <c:pt idx="4116">
                  <c:v>2019-03-22</c:v>
                </c:pt>
                <c:pt idx="4117">
                  <c:v>2019-03-25</c:v>
                </c:pt>
                <c:pt idx="4118">
                  <c:v>2019-03-26</c:v>
                </c:pt>
                <c:pt idx="4119">
                  <c:v>2019-03-27</c:v>
                </c:pt>
                <c:pt idx="4120">
                  <c:v>2019-03-28</c:v>
                </c:pt>
                <c:pt idx="4121">
                  <c:v>2019-03-29</c:v>
                </c:pt>
                <c:pt idx="4122">
                  <c:v>2019-04-01</c:v>
                </c:pt>
                <c:pt idx="4123">
                  <c:v>2019-04-02</c:v>
                </c:pt>
                <c:pt idx="4124">
                  <c:v>2019-04-03</c:v>
                </c:pt>
                <c:pt idx="4125">
                  <c:v>2019-04-04</c:v>
                </c:pt>
                <c:pt idx="4126">
                  <c:v>2019-04-08</c:v>
                </c:pt>
                <c:pt idx="4127">
                  <c:v>2019-04-09</c:v>
                </c:pt>
                <c:pt idx="4128">
                  <c:v>2019-04-10</c:v>
                </c:pt>
                <c:pt idx="4129">
                  <c:v>2019-04-11</c:v>
                </c:pt>
                <c:pt idx="4130">
                  <c:v>2019-04-12</c:v>
                </c:pt>
                <c:pt idx="4131">
                  <c:v>2019-04-15</c:v>
                </c:pt>
                <c:pt idx="4132">
                  <c:v>2019-04-16</c:v>
                </c:pt>
                <c:pt idx="4133">
                  <c:v>2019-04-17</c:v>
                </c:pt>
                <c:pt idx="4134">
                  <c:v>2019-04-18</c:v>
                </c:pt>
                <c:pt idx="4135">
                  <c:v>2019-04-19</c:v>
                </c:pt>
                <c:pt idx="4136">
                  <c:v>2019-04-22</c:v>
                </c:pt>
                <c:pt idx="4137">
                  <c:v>2019-04-23</c:v>
                </c:pt>
                <c:pt idx="4138">
                  <c:v>2019-04-24</c:v>
                </c:pt>
                <c:pt idx="4139">
                  <c:v>2019-04-25</c:v>
                </c:pt>
                <c:pt idx="4140">
                  <c:v>2019-04-26</c:v>
                </c:pt>
                <c:pt idx="4141">
                  <c:v>2019-04-29</c:v>
                </c:pt>
                <c:pt idx="4142">
                  <c:v>2019-04-30</c:v>
                </c:pt>
                <c:pt idx="4143">
                  <c:v>2019-05-06</c:v>
                </c:pt>
                <c:pt idx="4144">
                  <c:v>2019-05-07</c:v>
                </c:pt>
                <c:pt idx="4145">
                  <c:v>2019-05-08</c:v>
                </c:pt>
                <c:pt idx="4146">
                  <c:v>2019-05-09</c:v>
                </c:pt>
                <c:pt idx="4147">
                  <c:v>2019-05-10</c:v>
                </c:pt>
                <c:pt idx="4148">
                  <c:v>2019-05-13</c:v>
                </c:pt>
                <c:pt idx="4149">
                  <c:v>2019-05-14</c:v>
                </c:pt>
                <c:pt idx="4150">
                  <c:v>2019-05-15</c:v>
                </c:pt>
                <c:pt idx="4151">
                  <c:v>2019-05-16</c:v>
                </c:pt>
                <c:pt idx="4152">
                  <c:v>2019-05-17</c:v>
                </c:pt>
                <c:pt idx="4153">
                  <c:v>2019-05-20</c:v>
                </c:pt>
                <c:pt idx="4154">
                  <c:v>2019-05-21</c:v>
                </c:pt>
                <c:pt idx="4155">
                  <c:v>2019-05-22</c:v>
                </c:pt>
                <c:pt idx="4156">
                  <c:v>2019-05-23</c:v>
                </c:pt>
                <c:pt idx="4157">
                  <c:v>2019-05-24</c:v>
                </c:pt>
                <c:pt idx="4158">
                  <c:v>2019-05-27</c:v>
                </c:pt>
                <c:pt idx="4159">
                  <c:v>2019-05-28</c:v>
                </c:pt>
                <c:pt idx="4160">
                  <c:v>2019-05-29</c:v>
                </c:pt>
                <c:pt idx="4161">
                  <c:v>2019-05-30</c:v>
                </c:pt>
                <c:pt idx="4162">
                  <c:v>2019-05-31</c:v>
                </c:pt>
                <c:pt idx="4163">
                  <c:v>2019-06-03</c:v>
                </c:pt>
                <c:pt idx="4164">
                  <c:v>2019-06-04</c:v>
                </c:pt>
                <c:pt idx="4165">
                  <c:v>2019-06-05</c:v>
                </c:pt>
                <c:pt idx="4166">
                  <c:v>2019-06-06</c:v>
                </c:pt>
                <c:pt idx="4167">
                  <c:v>2019-06-10</c:v>
                </c:pt>
                <c:pt idx="4168">
                  <c:v>2019-06-11</c:v>
                </c:pt>
                <c:pt idx="4169">
                  <c:v>2019-06-12</c:v>
                </c:pt>
                <c:pt idx="4170">
                  <c:v>2019-06-13</c:v>
                </c:pt>
                <c:pt idx="4171">
                  <c:v>2019-06-14</c:v>
                </c:pt>
                <c:pt idx="4172">
                  <c:v>2019-06-17</c:v>
                </c:pt>
                <c:pt idx="4173">
                  <c:v>2019-06-18</c:v>
                </c:pt>
                <c:pt idx="4174">
                  <c:v>2019-06-19</c:v>
                </c:pt>
                <c:pt idx="4175">
                  <c:v>2019-06-20</c:v>
                </c:pt>
                <c:pt idx="4176">
                  <c:v>2019-06-21</c:v>
                </c:pt>
                <c:pt idx="4177">
                  <c:v>2019-06-24</c:v>
                </c:pt>
                <c:pt idx="4178">
                  <c:v>2019-06-25</c:v>
                </c:pt>
                <c:pt idx="4179">
                  <c:v>2019-06-26</c:v>
                </c:pt>
                <c:pt idx="4180">
                  <c:v>2019-06-27</c:v>
                </c:pt>
                <c:pt idx="4181">
                  <c:v>2019-06-28</c:v>
                </c:pt>
                <c:pt idx="4182">
                  <c:v>2019-07-01</c:v>
                </c:pt>
                <c:pt idx="4183">
                  <c:v>2019-07-02</c:v>
                </c:pt>
                <c:pt idx="4184">
                  <c:v>2019-07-03</c:v>
                </c:pt>
                <c:pt idx="4185">
                  <c:v>2019-07-04</c:v>
                </c:pt>
                <c:pt idx="4186">
                  <c:v>2019-07-05</c:v>
                </c:pt>
                <c:pt idx="4187">
                  <c:v>2019-07-08</c:v>
                </c:pt>
                <c:pt idx="4188">
                  <c:v>2019-07-09</c:v>
                </c:pt>
                <c:pt idx="4189">
                  <c:v>2019-07-10</c:v>
                </c:pt>
                <c:pt idx="4190">
                  <c:v>2019-07-11</c:v>
                </c:pt>
                <c:pt idx="4191">
                  <c:v>2019-07-12</c:v>
                </c:pt>
                <c:pt idx="4192">
                  <c:v>2019-07-15</c:v>
                </c:pt>
                <c:pt idx="4193">
                  <c:v>2019-07-16</c:v>
                </c:pt>
                <c:pt idx="4194">
                  <c:v>2019-07-17</c:v>
                </c:pt>
                <c:pt idx="4195">
                  <c:v>2019-07-18</c:v>
                </c:pt>
                <c:pt idx="4196">
                  <c:v>2019-07-19</c:v>
                </c:pt>
                <c:pt idx="4197">
                  <c:v>2019-07-22</c:v>
                </c:pt>
                <c:pt idx="4198">
                  <c:v>2019-07-23</c:v>
                </c:pt>
                <c:pt idx="4199">
                  <c:v>2019-07-24</c:v>
                </c:pt>
                <c:pt idx="4200">
                  <c:v>2019-07-25</c:v>
                </c:pt>
                <c:pt idx="4201">
                  <c:v>2019-07-26</c:v>
                </c:pt>
                <c:pt idx="4202">
                  <c:v>2019-07-29</c:v>
                </c:pt>
                <c:pt idx="4203">
                  <c:v>2019-07-30</c:v>
                </c:pt>
                <c:pt idx="4204">
                  <c:v>2019-07-31</c:v>
                </c:pt>
                <c:pt idx="4205">
                  <c:v>2019-08-01</c:v>
                </c:pt>
                <c:pt idx="4206">
                  <c:v>2019-08-02</c:v>
                </c:pt>
                <c:pt idx="4207">
                  <c:v>2019-08-05</c:v>
                </c:pt>
                <c:pt idx="4208">
                  <c:v>2019-08-06</c:v>
                </c:pt>
                <c:pt idx="4209">
                  <c:v>2019-08-07</c:v>
                </c:pt>
                <c:pt idx="4210">
                  <c:v>2019-08-08</c:v>
                </c:pt>
                <c:pt idx="4211">
                  <c:v>2019-08-09</c:v>
                </c:pt>
                <c:pt idx="4212">
                  <c:v>2019-08-12</c:v>
                </c:pt>
                <c:pt idx="4213">
                  <c:v>2019-08-13</c:v>
                </c:pt>
                <c:pt idx="4214">
                  <c:v>2019-08-14</c:v>
                </c:pt>
                <c:pt idx="4215">
                  <c:v>2019-08-15</c:v>
                </c:pt>
                <c:pt idx="4216">
                  <c:v>2019-08-16</c:v>
                </c:pt>
                <c:pt idx="4217">
                  <c:v>2019-08-19</c:v>
                </c:pt>
                <c:pt idx="4218">
                  <c:v>2019-08-20</c:v>
                </c:pt>
                <c:pt idx="4219">
                  <c:v>2019-08-21</c:v>
                </c:pt>
                <c:pt idx="4220">
                  <c:v>2019-08-22</c:v>
                </c:pt>
                <c:pt idx="4221">
                  <c:v>2019-08-23</c:v>
                </c:pt>
                <c:pt idx="4222">
                  <c:v>2019-08-26</c:v>
                </c:pt>
                <c:pt idx="4223">
                  <c:v>2019-08-27</c:v>
                </c:pt>
                <c:pt idx="4224">
                  <c:v>2019-08-28</c:v>
                </c:pt>
                <c:pt idx="4225">
                  <c:v>2019-08-29</c:v>
                </c:pt>
                <c:pt idx="4226">
                  <c:v>2019-08-30</c:v>
                </c:pt>
                <c:pt idx="4227">
                  <c:v>2019-09-02</c:v>
                </c:pt>
                <c:pt idx="4228">
                  <c:v>2019-09-03</c:v>
                </c:pt>
                <c:pt idx="4229">
                  <c:v>2019-09-04</c:v>
                </c:pt>
                <c:pt idx="4230">
                  <c:v>2019-09-05</c:v>
                </c:pt>
                <c:pt idx="4231">
                  <c:v>2019-09-06</c:v>
                </c:pt>
                <c:pt idx="4232">
                  <c:v>2019-09-09</c:v>
                </c:pt>
                <c:pt idx="4233">
                  <c:v>2019-09-10</c:v>
                </c:pt>
                <c:pt idx="4234">
                  <c:v>2019-09-11</c:v>
                </c:pt>
                <c:pt idx="4235">
                  <c:v>2019-09-12</c:v>
                </c:pt>
                <c:pt idx="4236">
                  <c:v>2019-09-16</c:v>
                </c:pt>
                <c:pt idx="4237">
                  <c:v>2019-09-17</c:v>
                </c:pt>
                <c:pt idx="4238">
                  <c:v>2019-09-18</c:v>
                </c:pt>
                <c:pt idx="4239">
                  <c:v>2019-09-19</c:v>
                </c:pt>
                <c:pt idx="4240">
                  <c:v>2019-09-20</c:v>
                </c:pt>
                <c:pt idx="4241">
                  <c:v>2019-09-23</c:v>
                </c:pt>
                <c:pt idx="4242">
                  <c:v>2019-09-24</c:v>
                </c:pt>
                <c:pt idx="4243">
                  <c:v>2019-09-25</c:v>
                </c:pt>
                <c:pt idx="4244">
                  <c:v>2019-09-26</c:v>
                </c:pt>
                <c:pt idx="4245">
                  <c:v>2019-09-27</c:v>
                </c:pt>
                <c:pt idx="4246">
                  <c:v>2019-09-30</c:v>
                </c:pt>
                <c:pt idx="4247">
                  <c:v>2019-10-08</c:v>
                </c:pt>
                <c:pt idx="4248">
                  <c:v>2019-10-09</c:v>
                </c:pt>
                <c:pt idx="4249">
                  <c:v>2019-10-10</c:v>
                </c:pt>
                <c:pt idx="4250">
                  <c:v>2019-10-11</c:v>
                </c:pt>
                <c:pt idx="4251">
                  <c:v>2019-10-14</c:v>
                </c:pt>
                <c:pt idx="4252">
                  <c:v>2019-10-15</c:v>
                </c:pt>
                <c:pt idx="4253">
                  <c:v>2019-10-16</c:v>
                </c:pt>
                <c:pt idx="4254">
                  <c:v>2019-10-17</c:v>
                </c:pt>
                <c:pt idx="4255">
                  <c:v>2019-10-18</c:v>
                </c:pt>
                <c:pt idx="4256">
                  <c:v>2019-10-21</c:v>
                </c:pt>
                <c:pt idx="4257">
                  <c:v>2019-10-22</c:v>
                </c:pt>
                <c:pt idx="4258">
                  <c:v>2019-10-23</c:v>
                </c:pt>
                <c:pt idx="4259">
                  <c:v>2019-10-24</c:v>
                </c:pt>
                <c:pt idx="4260">
                  <c:v>2019-10-25</c:v>
                </c:pt>
                <c:pt idx="4261">
                  <c:v>2019-10-28</c:v>
                </c:pt>
                <c:pt idx="4262">
                  <c:v>2019-10-29</c:v>
                </c:pt>
                <c:pt idx="4263">
                  <c:v>2019-10-30</c:v>
                </c:pt>
                <c:pt idx="4264">
                  <c:v>2019-10-31</c:v>
                </c:pt>
                <c:pt idx="4265">
                  <c:v>2019-11-01</c:v>
                </c:pt>
                <c:pt idx="4266">
                  <c:v>2019-11-04</c:v>
                </c:pt>
                <c:pt idx="4267">
                  <c:v>2019-11-05</c:v>
                </c:pt>
                <c:pt idx="4268">
                  <c:v>2019-11-06</c:v>
                </c:pt>
                <c:pt idx="4269">
                  <c:v>2019-11-07</c:v>
                </c:pt>
                <c:pt idx="4270">
                  <c:v>2019-11-08</c:v>
                </c:pt>
                <c:pt idx="4271">
                  <c:v>2019-11-11</c:v>
                </c:pt>
                <c:pt idx="4272">
                  <c:v>2019-11-12</c:v>
                </c:pt>
                <c:pt idx="4273">
                  <c:v>2019-11-13</c:v>
                </c:pt>
                <c:pt idx="4274">
                  <c:v>2019-11-14</c:v>
                </c:pt>
                <c:pt idx="4275">
                  <c:v>2019-11-15</c:v>
                </c:pt>
                <c:pt idx="4276">
                  <c:v>2019-11-18</c:v>
                </c:pt>
                <c:pt idx="4277">
                  <c:v>2019-11-19</c:v>
                </c:pt>
                <c:pt idx="4278">
                  <c:v>2019-11-20</c:v>
                </c:pt>
                <c:pt idx="4279">
                  <c:v>2019-11-21</c:v>
                </c:pt>
                <c:pt idx="4280">
                  <c:v>2019-11-22</c:v>
                </c:pt>
                <c:pt idx="4281">
                  <c:v>2019-11-25</c:v>
                </c:pt>
                <c:pt idx="4282">
                  <c:v>2019-11-26</c:v>
                </c:pt>
                <c:pt idx="4283">
                  <c:v>2019-11-27</c:v>
                </c:pt>
                <c:pt idx="4284">
                  <c:v>2019-11-28</c:v>
                </c:pt>
                <c:pt idx="4285">
                  <c:v>2019-11-29</c:v>
                </c:pt>
                <c:pt idx="4286">
                  <c:v>2019-12-02</c:v>
                </c:pt>
                <c:pt idx="4287">
                  <c:v>2019-12-03</c:v>
                </c:pt>
                <c:pt idx="4288">
                  <c:v>2019-12-04</c:v>
                </c:pt>
                <c:pt idx="4289">
                  <c:v>2019-12-05</c:v>
                </c:pt>
                <c:pt idx="4290">
                  <c:v>2019-12-06</c:v>
                </c:pt>
                <c:pt idx="4291">
                  <c:v>2019-12-09</c:v>
                </c:pt>
                <c:pt idx="4292">
                  <c:v>2019-12-10</c:v>
                </c:pt>
                <c:pt idx="4293">
                  <c:v>2019-12-11</c:v>
                </c:pt>
                <c:pt idx="4294">
                  <c:v>2019-12-12</c:v>
                </c:pt>
                <c:pt idx="4295">
                  <c:v>2019-12-13</c:v>
                </c:pt>
                <c:pt idx="4296">
                  <c:v>2019-12-16</c:v>
                </c:pt>
                <c:pt idx="4297">
                  <c:v>2019-12-17</c:v>
                </c:pt>
                <c:pt idx="4298">
                  <c:v>2019-12-18</c:v>
                </c:pt>
                <c:pt idx="4299">
                  <c:v>2019-12-19</c:v>
                </c:pt>
                <c:pt idx="4300">
                  <c:v>2019-12-20</c:v>
                </c:pt>
                <c:pt idx="4301">
                  <c:v>2019-12-23</c:v>
                </c:pt>
                <c:pt idx="4302">
                  <c:v>2019-12-24</c:v>
                </c:pt>
                <c:pt idx="4303">
                  <c:v>2019-12-25</c:v>
                </c:pt>
                <c:pt idx="4304">
                  <c:v>2019-12-26</c:v>
                </c:pt>
                <c:pt idx="4305">
                  <c:v>2019-12-27</c:v>
                </c:pt>
                <c:pt idx="4306">
                  <c:v>2019-12-30</c:v>
                </c:pt>
                <c:pt idx="4307">
                  <c:v>2019-12-31</c:v>
                </c:pt>
                <c:pt idx="4308">
                  <c:v>2020-01-02</c:v>
                </c:pt>
                <c:pt idx="4309">
                  <c:v>2020-01-03</c:v>
                </c:pt>
                <c:pt idx="4310">
                  <c:v>2020-01-06</c:v>
                </c:pt>
                <c:pt idx="4311">
                  <c:v>2020-01-07</c:v>
                </c:pt>
                <c:pt idx="4312">
                  <c:v>2020-01-08</c:v>
                </c:pt>
                <c:pt idx="4313">
                  <c:v>2020-01-09</c:v>
                </c:pt>
                <c:pt idx="4314">
                  <c:v>2020-01-10</c:v>
                </c:pt>
                <c:pt idx="4315">
                  <c:v>2020-01-13</c:v>
                </c:pt>
                <c:pt idx="4316">
                  <c:v>2020-01-14</c:v>
                </c:pt>
                <c:pt idx="4317">
                  <c:v>2020-01-15</c:v>
                </c:pt>
                <c:pt idx="4318">
                  <c:v>2020-01-16</c:v>
                </c:pt>
                <c:pt idx="4319">
                  <c:v>2020-01-17</c:v>
                </c:pt>
                <c:pt idx="4320">
                  <c:v>2020-01-20</c:v>
                </c:pt>
                <c:pt idx="4321">
                  <c:v>2020-01-21</c:v>
                </c:pt>
                <c:pt idx="4322">
                  <c:v>2020-01-22</c:v>
                </c:pt>
                <c:pt idx="4323">
                  <c:v>2020-01-23</c:v>
                </c:pt>
                <c:pt idx="4324">
                  <c:v>2020-02-03</c:v>
                </c:pt>
                <c:pt idx="4325">
                  <c:v>2020-02-04</c:v>
                </c:pt>
                <c:pt idx="4326">
                  <c:v>2020-02-05</c:v>
                </c:pt>
                <c:pt idx="4327">
                  <c:v>2020-02-06</c:v>
                </c:pt>
                <c:pt idx="4328">
                  <c:v>2020-02-07</c:v>
                </c:pt>
                <c:pt idx="4329">
                  <c:v>2020-02-10</c:v>
                </c:pt>
                <c:pt idx="4330">
                  <c:v>2020-02-11</c:v>
                </c:pt>
                <c:pt idx="4331">
                  <c:v>2020-02-12</c:v>
                </c:pt>
                <c:pt idx="4332">
                  <c:v>2020-02-13</c:v>
                </c:pt>
                <c:pt idx="4333">
                  <c:v>2020-02-14</c:v>
                </c:pt>
                <c:pt idx="4334">
                  <c:v>2020-02-17</c:v>
                </c:pt>
                <c:pt idx="4335">
                  <c:v>2020-02-18</c:v>
                </c:pt>
                <c:pt idx="4336">
                  <c:v>2020-02-19</c:v>
                </c:pt>
                <c:pt idx="4337">
                  <c:v>2020-02-20</c:v>
                </c:pt>
                <c:pt idx="4338">
                  <c:v>2020-02-21</c:v>
                </c:pt>
                <c:pt idx="4339">
                  <c:v>2020-02-24</c:v>
                </c:pt>
                <c:pt idx="4340">
                  <c:v>2020-02-25</c:v>
                </c:pt>
                <c:pt idx="4341">
                  <c:v>2020-02-26</c:v>
                </c:pt>
                <c:pt idx="4342">
                  <c:v>2020-02-27</c:v>
                </c:pt>
                <c:pt idx="4343">
                  <c:v>2020-02-28</c:v>
                </c:pt>
                <c:pt idx="4344">
                  <c:v>2020-03-02</c:v>
                </c:pt>
                <c:pt idx="4345">
                  <c:v>2020-03-03</c:v>
                </c:pt>
                <c:pt idx="4346">
                  <c:v>2020-03-04</c:v>
                </c:pt>
                <c:pt idx="4347">
                  <c:v>2020-03-05</c:v>
                </c:pt>
                <c:pt idx="4348">
                  <c:v>2020-03-06</c:v>
                </c:pt>
                <c:pt idx="4349">
                  <c:v>2020-03-09</c:v>
                </c:pt>
                <c:pt idx="4350">
                  <c:v>2020-03-10</c:v>
                </c:pt>
                <c:pt idx="4351">
                  <c:v>2020-03-11</c:v>
                </c:pt>
                <c:pt idx="4352">
                  <c:v>2020-03-12</c:v>
                </c:pt>
                <c:pt idx="4353">
                  <c:v>2020-03-13</c:v>
                </c:pt>
                <c:pt idx="4354">
                  <c:v>2020-03-16</c:v>
                </c:pt>
                <c:pt idx="4355">
                  <c:v>2020-03-17</c:v>
                </c:pt>
                <c:pt idx="4356">
                  <c:v>2020-03-18</c:v>
                </c:pt>
                <c:pt idx="4357">
                  <c:v>2020-03-19</c:v>
                </c:pt>
                <c:pt idx="4358">
                  <c:v>2020-03-20</c:v>
                </c:pt>
                <c:pt idx="4359">
                  <c:v>2020-03-23</c:v>
                </c:pt>
                <c:pt idx="4360">
                  <c:v>2020-03-24</c:v>
                </c:pt>
                <c:pt idx="4361">
                  <c:v>2020-03-25</c:v>
                </c:pt>
                <c:pt idx="4362">
                  <c:v>2020-03-26</c:v>
                </c:pt>
                <c:pt idx="4363">
                  <c:v>2020-03-27</c:v>
                </c:pt>
                <c:pt idx="4364">
                  <c:v>2020-03-30</c:v>
                </c:pt>
                <c:pt idx="4365">
                  <c:v>2020-03-31</c:v>
                </c:pt>
                <c:pt idx="4366">
                  <c:v>2020-04-01</c:v>
                </c:pt>
                <c:pt idx="4367">
                  <c:v>2020-04-02</c:v>
                </c:pt>
                <c:pt idx="4368">
                  <c:v>2020-04-03</c:v>
                </c:pt>
                <c:pt idx="4369">
                  <c:v>2020-04-07</c:v>
                </c:pt>
                <c:pt idx="4370">
                  <c:v>2020-04-08</c:v>
                </c:pt>
                <c:pt idx="4371">
                  <c:v>2020-04-09</c:v>
                </c:pt>
                <c:pt idx="4372">
                  <c:v>2020-04-10</c:v>
                </c:pt>
                <c:pt idx="4373">
                  <c:v>2020-04-13</c:v>
                </c:pt>
                <c:pt idx="4374">
                  <c:v>2020-04-14</c:v>
                </c:pt>
                <c:pt idx="4375">
                  <c:v>2020-04-15</c:v>
                </c:pt>
                <c:pt idx="4376">
                  <c:v>2020-04-16</c:v>
                </c:pt>
                <c:pt idx="4377">
                  <c:v>2020-04-17</c:v>
                </c:pt>
                <c:pt idx="4378">
                  <c:v>2020-04-20</c:v>
                </c:pt>
                <c:pt idx="4379">
                  <c:v>2020-04-21</c:v>
                </c:pt>
                <c:pt idx="4380">
                  <c:v>2020-04-22</c:v>
                </c:pt>
                <c:pt idx="4381">
                  <c:v>2020-04-23</c:v>
                </c:pt>
                <c:pt idx="4382">
                  <c:v>2020-04-24</c:v>
                </c:pt>
                <c:pt idx="4383">
                  <c:v>2020-04-27</c:v>
                </c:pt>
                <c:pt idx="4384">
                  <c:v>2020-04-28</c:v>
                </c:pt>
                <c:pt idx="4385">
                  <c:v>2020-04-29</c:v>
                </c:pt>
                <c:pt idx="4386">
                  <c:v>2020-04-30</c:v>
                </c:pt>
                <c:pt idx="4387">
                  <c:v>2020-05-06</c:v>
                </c:pt>
                <c:pt idx="4388">
                  <c:v>2020-05-07</c:v>
                </c:pt>
                <c:pt idx="4389">
                  <c:v>2020-05-08</c:v>
                </c:pt>
                <c:pt idx="4390">
                  <c:v>2020-05-11</c:v>
                </c:pt>
                <c:pt idx="4391">
                  <c:v>2020-05-12</c:v>
                </c:pt>
                <c:pt idx="4392">
                  <c:v>2020-05-13</c:v>
                </c:pt>
                <c:pt idx="4393">
                  <c:v>2020-05-14</c:v>
                </c:pt>
                <c:pt idx="4394">
                  <c:v>2020-05-15</c:v>
                </c:pt>
                <c:pt idx="4395">
                  <c:v>2020-05-18</c:v>
                </c:pt>
                <c:pt idx="4396">
                  <c:v>2020-05-19</c:v>
                </c:pt>
                <c:pt idx="4397">
                  <c:v>2020-05-20</c:v>
                </c:pt>
                <c:pt idx="4398">
                  <c:v>2020-05-21</c:v>
                </c:pt>
                <c:pt idx="4399">
                  <c:v>2020-05-22</c:v>
                </c:pt>
                <c:pt idx="4400">
                  <c:v>2020-05-25</c:v>
                </c:pt>
                <c:pt idx="4401">
                  <c:v>2020-05-26</c:v>
                </c:pt>
                <c:pt idx="4402">
                  <c:v>2020-05-27</c:v>
                </c:pt>
                <c:pt idx="4403">
                  <c:v>2020-05-28</c:v>
                </c:pt>
                <c:pt idx="4404">
                  <c:v>2020-05-29</c:v>
                </c:pt>
                <c:pt idx="4405">
                  <c:v>2020-06-01</c:v>
                </c:pt>
                <c:pt idx="4406">
                  <c:v>2020-06-02</c:v>
                </c:pt>
                <c:pt idx="4407">
                  <c:v>2020-06-03</c:v>
                </c:pt>
                <c:pt idx="4408">
                  <c:v>2020-06-04</c:v>
                </c:pt>
                <c:pt idx="4409">
                  <c:v>2020-06-05</c:v>
                </c:pt>
                <c:pt idx="4410">
                  <c:v>2020-06-08</c:v>
                </c:pt>
                <c:pt idx="4411">
                  <c:v>2020-06-09</c:v>
                </c:pt>
                <c:pt idx="4412">
                  <c:v>2020-06-10</c:v>
                </c:pt>
                <c:pt idx="4413">
                  <c:v>2020-06-11</c:v>
                </c:pt>
                <c:pt idx="4414">
                  <c:v>2020-06-12</c:v>
                </c:pt>
                <c:pt idx="4415">
                  <c:v>2020-06-15</c:v>
                </c:pt>
                <c:pt idx="4416">
                  <c:v>2020-06-16</c:v>
                </c:pt>
                <c:pt idx="4417">
                  <c:v>2020-06-17</c:v>
                </c:pt>
                <c:pt idx="4418">
                  <c:v>2020-06-18</c:v>
                </c:pt>
                <c:pt idx="4419">
                  <c:v>2020-06-19</c:v>
                </c:pt>
                <c:pt idx="4420">
                  <c:v>2020-06-22</c:v>
                </c:pt>
                <c:pt idx="4421">
                  <c:v>2020-06-23</c:v>
                </c:pt>
                <c:pt idx="4422">
                  <c:v>2020-06-24</c:v>
                </c:pt>
                <c:pt idx="4423">
                  <c:v>2020-06-29</c:v>
                </c:pt>
                <c:pt idx="4424">
                  <c:v>2020-06-30</c:v>
                </c:pt>
                <c:pt idx="4425">
                  <c:v>2020-07-01</c:v>
                </c:pt>
                <c:pt idx="4426">
                  <c:v>2020-07-02</c:v>
                </c:pt>
                <c:pt idx="4427">
                  <c:v>2020-07-03</c:v>
                </c:pt>
                <c:pt idx="4428">
                  <c:v>2020-07-06</c:v>
                </c:pt>
                <c:pt idx="4429">
                  <c:v>2020-07-07</c:v>
                </c:pt>
                <c:pt idx="4430">
                  <c:v>2020-07-08</c:v>
                </c:pt>
                <c:pt idx="4431">
                  <c:v>2020-07-09</c:v>
                </c:pt>
                <c:pt idx="4432">
                  <c:v>2020-07-10</c:v>
                </c:pt>
                <c:pt idx="4433">
                  <c:v>2020-07-13</c:v>
                </c:pt>
                <c:pt idx="4434">
                  <c:v>2020-07-14</c:v>
                </c:pt>
                <c:pt idx="4435">
                  <c:v>2020-07-15</c:v>
                </c:pt>
                <c:pt idx="4436">
                  <c:v>2020-07-16</c:v>
                </c:pt>
                <c:pt idx="4437">
                  <c:v>2020-07-17</c:v>
                </c:pt>
                <c:pt idx="4438">
                  <c:v>2020-07-20</c:v>
                </c:pt>
                <c:pt idx="4439">
                  <c:v>2020-07-21</c:v>
                </c:pt>
                <c:pt idx="4440">
                  <c:v>2020-07-22</c:v>
                </c:pt>
                <c:pt idx="4441">
                  <c:v>2020-07-23</c:v>
                </c:pt>
                <c:pt idx="4442">
                  <c:v>2020-07-24</c:v>
                </c:pt>
                <c:pt idx="4443">
                  <c:v>2020-07-27</c:v>
                </c:pt>
                <c:pt idx="4444">
                  <c:v>2020-07-28</c:v>
                </c:pt>
                <c:pt idx="4445">
                  <c:v>2020-07-29</c:v>
                </c:pt>
                <c:pt idx="4446">
                  <c:v>2020-07-30</c:v>
                </c:pt>
                <c:pt idx="4447">
                  <c:v>2020-07-31</c:v>
                </c:pt>
                <c:pt idx="4448">
                  <c:v>2020-08-03</c:v>
                </c:pt>
                <c:pt idx="4449">
                  <c:v>2020-08-04</c:v>
                </c:pt>
                <c:pt idx="4450">
                  <c:v>2020-08-05</c:v>
                </c:pt>
                <c:pt idx="4451">
                  <c:v>2020-08-06</c:v>
                </c:pt>
                <c:pt idx="4452">
                  <c:v>2020-08-07</c:v>
                </c:pt>
                <c:pt idx="4453">
                  <c:v>2020-08-10</c:v>
                </c:pt>
                <c:pt idx="4454">
                  <c:v>2020-08-11</c:v>
                </c:pt>
                <c:pt idx="4455">
                  <c:v>2020-08-12</c:v>
                </c:pt>
                <c:pt idx="4456">
                  <c:v>2020-08-13</c:v>
                </c:pt>
                <c:pt idx="4457">
                  <c:v>2020-08-14</c:v>
                </c:pt>
                <c:pt idx="4458">
                  <c:v>2020-08-17</c:v>
                </c:pt>
                <c:pt idx="4459">
                  <c:v>2020-08-18</c:v>
                </c:pt>
                <c:pt idx="4460">
                  <c:v>2020-08-19</c:v>
                </c:pt>
                <c:pt idx="4461">
                  <c:v>2020-08-20</c:v>
                </c:pt>
                <c:pt idx="4462">
                  <c:v>2020-08-21</c:v>
                </c:pt>
                <c:pt idx="4463">
                  <c:v>2020-08-24</c:v>
                </c:pt>
                <c:pt idx="4464">
                  <c:v>2020-08-25</c:v>
                </c:pt>
                <c:pt idx="4465">
                  <c:v>2020-08-26</c:v>
                </c:pt>
                <c:pt idx="4466">
                  <c:v>2020-08-27</c:v>
                </c:pt>
                <c:pt idx="4467">
                  <c:v>2020-08-28</c:v>
                </c:pt>
                <c:pt idx="4468">
                  <c:v>2020-08-31</c:v>
                </c:pt>
                <c:pt idx="4469">
                  <c:v>2020-09-01</c:v>
                </c:pt>
                <c:pt idx="4470">
                  <c:v>2020-09-02</c:v>
                </c:pt>
                <c:pt idx="4471">
                  <c:v>2020-09-03</c:v>
                </c:pt>
                <c:pt idx="4472">
                  <c:v>2020-09-04</c:v>
                </c:pt>
                <c:pt idx="4473">
                  <c:v>2020-09-07</c:v>
                </c:pt>
                <c:pt idx="4474">
                  <c:v>2020-09-08</c:v>
                </c:pt>
                <c:pt idx="4475">
                  <c:v>2020-09-09</c:v>
                </c:pt>
                <c:pt idx="4476">
                  <c:v>2020-09-10</c:v>
                </c:pt>
                <c:pt idx="4477">
                  <c:v>2020-09-11</c:v>
                </c:pt>
                <c:pt idx="4478">
                  <c:v>2020-09-14</c:v>
                </c:pt>
                <c:pt idx="4479">
                  <c:v>2020-09-15</c:v>
                </c:pt>
                <c:pt idx="4480">
                  <c:v>2020-09-16</c:v>
                </c:pt>
                <c:pt idx="4481">
                  <c:v>2020-09-17</c:v>
                </c:pt>
                <c:pt idx="4482">
                  <c:v>2020-09-18</c:v>
                </c:pt>
                <c:pt idx="4483">
                  <c:v>2020-09-21</c:v>
                </c:pt>
                <c:pt idx="4484">
                  <c:v>2020-09-22</c:v>
                </c:pt>
                <c:pt idx="4485">
                  <c:v>2020-09-23</c:v>
                </c:pt>
                <c:pt idx="4486">
                  <c:v>2020-09-24</c:v>
                </c:pt>
                <c:pt idx="4487">
                  <c:v>2020-09-25</c:v>
                </c:pt>
                <c:pt idx="4488">
                  <c:v>2020-09-28</c:v>
                </c:pt>
                <c:pt idx="4489">
                  <c:v>2020-09-29</c:v>
                </c:pt>
                <c:pt idx="4490">
                  <c:v>2020-09-30</c:v>
                </c:pt>
                <c:pt idx="4491">
                  <c:v>2020-10-09</c:v>
                </c:pt>
                <c:pt idx="4492">
                  <c:v>2020-10-12</c:v>
                </c:pt>
                <c:pt idx="4493">
                  <c:v>2020-10-13</c:v>
                </c:pt>
                <c:pt idx="4494">
                  <c:v>2020-10-14</c:v>
                </c:pt>
                <c:pt idx="4495">
                  <c:v>2020-10-15</c:v>
                </c:pt>
                <c:pt idx="4496">
                  <c:v>2020-10-16</c:v>
                </c:pt>
                <c:pt idx="4497">
                  <c:v>2020-10-19</c:v>
                </c:pt>
                <c:pt idx="4498">
                  <c:v>2020-10-20</c:v>
                </c:pt>
                <c:pt idx="4499">
                  <c:v>2020-10-21</c:v>
                </c:pt>
                <c:pt idx="4500">
                  <c:v>2020-10-22</c:v>
                </c:pt>
                <c:pt idx="4501">
                  <c:v>2020-10-23</c:v>
                </c:pt>
                <c:pt idx="4502">
                  <c:v>2020-10-26</c:v>
                </c:pt>
                <c:pt idx="4503">
                  <c:v>2020-10-27</c:v>
                </c:pt>
                <c:pt idx="4504">
                  <c:v>2020-10-28</c:v>
                </c:pt>
                <c:pt idx="4505">
                  <c:v>2020-10-29</c:v>
                </c:pt>
                <c:pt idx="4506">
                  <c:v>2020-10-30</c:v>
                </c:pt>
                <c:pt idx="4507">
                  <c:v>2020-11-02</c:v>
                </c:pt>
                <c:pt idx="4508">
                  <c:v>2020-11-03</c:v>
                </c:pt>
                <c:pt idx="4509">
                  <c:v>2020-11-04</c:v>
                </c:pt>
                <c:pt idx="4510">
                  <c:v>2020-11-05</c:v>
                </c:pt>
                <c:pt idx="4511">
                  <c:v>2020-11-06</c:v>
                </c:pt>
                <c:pt idx="4512">
                  <c:v>2020-11-09</c:v>
                </c:pt>
                <c:pt idx="4513">
                  <c:v>2020-11-10</c:v>
                </c:pt>
                <c:pt idx="4514">
                  <c:v>2020-11-11</c:v>
                </c:pt>
                <c:pt idx="4515">
                  <c:v>2020-11-12</c:v>
                </c:pt>
                <c:pt idx="4516">
                  <c:v>2020-11-13</c:v>
                </c:pt>
                <c:pt idx="4517">
                  <c:v>2020-11-16</c:v>
                </c:pt>
                <c:pt idx="4518">
                  <c:v>2020-11-17</c:v>
                </c:pt>
                <c:pt idx="4519">
                  <c:v>2020-11-18</c:v>
                </c:pt>
                <c:pt idx="4520">
                  <c:v>2020-11-19</c:v>
                </c:pt>
                <c:pt idx="4521">
                  <c:v>2020-11-20</c:v>
                </c:pt>
                <c:pt idx="4522">
                  <c:v>2020-11-23</c:v>
                </c:pt>
                <c:pt idx="4523">
                  <c:v>2020-11-24</c:v>
                </c:pt>
                <c:pt idx="4524">
                  <c:v>2020-11-25</c:v>
                </c:pt>
                <c:pt idx="4525">
                  <c:v>2020-11-26</c:v>
                </c:pt>
                <c:pt idx="4526">
                  <c:v>2020-11-27</c:v>
                </c:pt>
                <c:pt idx="4527">
                  <c:v>2020-11-30</c:v>
                </c:pt>
                <c:pt idx="4528">
                  <c:v>2020-12-01</c:v>
                </c:pt>
                <c:pt idx="4529">
                  <c:v>2020-12-02</c:v>
                </c:pt>
                <c:pt idx="4530">
                  <c:v>2020-12-03</c:v>
                </c:pt>
                <c:pt idx="4531">
                  <c:v>2020-12-04</c:v>
                </c:pt>
                <c:pt idx="4532">
                  <c:v>2020-12-07</c:v>
                </c:pt>
                <c:pt idx="4533">
                  <c:v>2020-12-08</c:v>
                </c:pt>
                <c:pt idx="4534">
                  <c:v>2020-12-09</c:v>
                </c:pt>
                <c:pt idx="4535">
                  <c:v>2020-12-10</c:v>
                </c:pt>
                <c:pt idx="4536">
                  <c:v>2020-12-11</c:v>
                </c:pt>
                <c:pt idx="4537">
                  <c:v>2020-12-14</c:v>
                </c:pt>
                <c:pt idx="4538">
                  <c:v>2020-12-15</c:v>
                </c:pt>
                <c:pt idx="4539">
                  <c:v>2020-12-16</c:v>
                </c:pt>
                <c:pt idx="4540">
                  <c:v>2020-12-17</c:v>
                </c:pt>
                <c:pt idx="4541">
                  <c:v>2020-12-18</c:v>
                </c:pt>
                <c:pt idx="4542">
                  <c:v>2020-12-21</c:v>
                </c:pt>
                <c:pt idx="4543">
                  <c:v>2020-12-22</c:v>
                </c:pt>
                <c:pt idx="4544">
                  <c:v>2020-12-23</c:v>
                </c:pt>
                <c:pt idx="4545">
                  <c:v>2020-12-24</c:v>
                </c:pt>
                <c:pt idx="4546">
                  <c:v>2020-12-25</c:v>
                </c:pt>
                <c:pt idx="4547">
                  <c:v>2020-12-28</c:v>
                </c:pt>
                <c:pt idx="4548">
                  <c:v>2020-12-29</c:v>
                </c:pt>
                <c:pt idx="4549">
                  <c:v>2020-12-30</c:v>
                </c:pt>
                <c:pt idx="4550">
                  <c:v>2020-12-31</c:v>
                </c:pt>
                <c:pt idx="4551">
                  <c:v>2021-01-04</c:v>
                </c:pt>
                <c:pt idx="4552">
                  <c:v>2021-01-05</c:v>
                </c:pt>
                <c:pt idx="4553">
                  <c:v>2021-01-06</c:v>
                </c:pt>
                <c:pt idx="4554">
                  <c:v>2021-01-07</c:v>
                </c:pt>
                <c:pt idx="4555">
                  <c:v>2021-01-08</c:v>
                </c:pt>
                <c:pt idx="4556">
                  <c:v>2021-01-11</c:v>
                </c:pt>
                <c:pt idx="4557">
                  <c:v>2021-01-12</c:v>
                </c:pt>
                <c:pt idx="4558">
                  <c:v>2021-01-13</c:v>
                </c:pt>
                <c:pt idx="4559">
                  <c:v>2021-01-14</c:v>
                </c:pt>
                <c:pt idx="4560">
                  <c:v>2021-01-15</c:v>
                </c:pt>
                <c:pt idx="4561">
                  <c:v>2021-01-18</c:v>
                </c:pt>
                <c:pt idx="4562">
                  <c:v>2021-01-19</c:v>
                </c:pt>
                <c:pt idx="4563">
                  <c:v>2021-01-20</c:v>
                </c:pt>
                <c:pt idx="4564">
                  <c:v>2021-01-21</c:v>
                </c:pt>
                <c:pt idx="4565">
                  <c:v>2021-01-22</c:v>
                </c:pt>
                <c:pt idx="4566">
                  <c:v>2021-01-25</c:v>
                </c:pt>
                <c:pt idx="4567">
                  <c:v>2021-01-26</c:v>
                </c:pt>
                <c:pt idx="4568">
                  <c:v>2021-01-27</c:v>
                </c:pt>
                <c:pt idx="4569">
                  <c:v>2021-01-28</c:v>
                </c:pt>
                <c:pt idx="4570">
                  <c:v>2021-01-29</c:v>
                </c:pt>
                <c:pt idx="4571">
                  <c:v>2021-02-01</c:v>
                </c:pt>
                <c:pt idx="4572">
                  <c:v>2021-02-02</c:v>
                </c:pt>
                <c:pt idx="4573">
                  <c:v>2021-02-03</c:v>
                </c:pt>
                <c:pt idx="4574">
                  <c:v>2021-02-04</c:v>
                </c:pt>
                <c:pt idx="4575">
                  <c:v>2021-02-05</c:v>
                </c:pt>
                <c:pt idx="4576">
                  <c:v>2021-02-08</c:v>
                </c:pt>
                <c:pt idx="4577">
                  <c:v>2021-02-09</c:v>
                </c:pt>
                <c:pt idx="4578">
                  <c:v>2021-02-10</c:v>
                </c:pt>
                <c:pt idx="4579">
                  <c:v>2021-02-18</c:v>
                </c:pt>
                <c:pt idx="4580">
                  <c:v>2021-02-19</c:v>
                </c:pt>
                <c:pt idx="4581">
                  <c:v>2021-02-22</c:v>
                </c:pt>
                <c:pt idx="4582">
                  <c:v>2021-02-23</c:v>
                </c:pt>
                <c:pt idx="4583">
                  <c:v>2021-02-24</c:v>
                </c:pt>
                <c:pt idx="4584">
                  <c:v>2021-02-25</c:v>
                </c:pt>
                <c:pt idx="4585">
                  <c:v>2021-02-26</c:v>
                </c:pt>
                <c:pt idx="4586">
                  <c:v>2021-03-01</c:v>
                </c:pt>
                <c:pt idx="4587">
                  <c:v>2021-03-02</c:v>
                </c:pt>
                <c:pt idx="4588">
                  <c:v>2021-03-03</c:v>
                </c:pt>
                <c:pt idx="4589">
                  <c:v>2021-03-04</c:v>
                </c:pt>
                <c:pt idx="4590">
                  <c:v>2021-03-05</c:v>
                </c:pt>
                <c:pt idx="4591">
                  <c:v>2021-03-08</c:v>
                </c:pt>
                <c:pt idx="4592">
                  <c:v>2021-03-09</c:v>
                </c:pt>
                <c:pt idx="4593">
                  <c:v>2021-03-10</c:v>
                </c:pt>
                <c:pt idx="4594">
                  <c:v>2021-03-11</c:v>
                </c:pt>
                <c:pt idx="4595">
                  <c:v>2021-03-12</c:v>
                </c:pt>
                <c:pt idx="4596">
                  <c:v>2021-03-15</c:v>
                </c:pt>
                <c:pt idx="4597">
                  <c:v>2021-03-16</c:v>
                </c:pt>
                <c:pt idx="4598">
                  <c:v>2021-03-17</c:v>
                </c:pt>
                <c:pt idx="4599">
                  <c:v>2021-03-18</c:v>
                </c:pt>
                <c:pt idx="4600">
                  <c:v>2021-03-19</c:v>
                </c:pt>
                <c:pt idx="4601">
                  <c:v>2021-03-22</c:v>
                </c:pt>
                <c:pt idx="4602">
                  <c:v>2021-03-23</c:v>
                </c:pt>
                <c:pt idx="4603">
                  <c:v>2021-03-24</c:v>
                </c:pt>
                <c:pt idx="4604">
                  <c:v>2021-03-25</c:v>
                </c:pt>
                <c:pt idx="4605">
                  <c:v>2021-03-26</c:v>
                </c:pt>
                <c:pt idx="4606">
                  <c:v>2021-03-29</c:v>
                </c:pt>
                <c:pt idx="4607">
                  <c:v>2021-03-30</c:v>
                </c:pt>
                <c:pt idx="4608">
                  <c:v>2021-03-31</c:v>
                </c:pt>
                <c:pt idx="4609">
                  <c:v>2021-04-01</c:v>
                </c:pt>
                <c:pt idx="4610">
                  <c:v>2021-04-02</c:v>
                </c:pt>
                <c:pt idx="4611">
                  <c:v>2021-04-06</c:v>
                </c:pt>
                <c:pt idx="4612">
                  <c:v>2021-04-07</c:v>
                </c:pt>
                <c:pt idx="4613">
                  <c:v>2021-04-08</c:v>
                </c:pt>
                <c:pt idx="4614">
                  <c:v>2021-04-09</c:v>
                </c:pt>
                <c:pt idx="4615">
                  <c:v>2021-04-12</c:v>
                </c:pt>
                <c:pt idx="4616">
                  <c:v>2021-04-13</c:v>
                </c:pt>
                <c:pt idx="4617">
                  <c:v>2021-04-14</c:v>
                </c:pt>
                <c:pt idx="4618">
                  <c:v>2021-04-15</c:v>
                </c:pt>
                <c:pt idx="4619">
                  <c:v>2021-04-16</c:v>
                </c:pt>
                <c:pt idx="4620">
                  <c:v>2021-04-19</c:v>
                </c:pt>
                <c:pt idx="4621">
                  <c:v>2021-04-20</c:v>
                </c:pt>
                <c:pt idx="4622">
                  <c:v>2021-04-21</c:v>
                </c:pt>
                <c:pt idx="4623">
                  <c:v>2021-04-22</c:v>
                </c:pt>
                <c:pt idx="4624">
                  <c:v>2021-04-23</c:v>
                </c:pt>
                <c:pt idx="4625">
                  <c:v>2021-04-26</c:v>
                </c:pt>
                <c:pt idx="4626">
                  <c:v>2021-04-27</c:v>
                </c:pt>
                <c:pt idx="4627">
                  <c:v>2021-04-28</c:v>
                </c:pt>
                <c:pt idx="4628">
                  <c:v>2021-04-29</c:v>
                </c:pt>
                <c:pt idx="4629">
                  <c:v>2021-04-30</c:v>
                </c:pt>
                <c:pt idx="4630">
                  <c:v>2021-05-06</c:v>
                </c:pt>
                <c:pt idx="4631">
                  <c:v>2021-05-07</c:v>
                </c:pt>
                <c:pt idx="4632">
                  <c:v>2021-05-10</c:v>
                </c:pt>
                <c:pt idx="4633">
                  <c:v>2021-05-11</c:v>
                </c:pt>
                <c:pt idx="4634">
                  <c:v>2021-05-12</c:v>
                </c:pt>
                <c:pt idx="4635">
                  <c:v>2021-05-13</c:v>
                </c:pt>
                <c:pt idx="4636">
                  <c:v>2021-05-14</c:v>
                </c:pt>
                <c:pt idx="4637">
                  <c:v>2021-05-17</c:v>
                </c:pt>
                <c:pt idx="4638">
                  <c:v>2021-05-18</c:v>
                </c:pt>
                <c:pt idx="4639">
                  <c:v>2021-05-19</c:v>
                </c:pt>
                <c:pt idx="4640">
                  <c:v>2021-05-20</c:v>
                </c:pt>
                <c:pt idx="4641">
                  <c:v>2021-05-21</c:v>
                </c:pt>
                <c:pt idx="4642">
                  <c:v>2021-05-24</c:v>
                </c:pt>
                <c:pt idx="4643">
                  <c:v>2021-05-25</c:v>
                </c:pt>
                <c:pt idx="4644">
                  <c:v>2021-05-26</c:v>
                </c:pt>
                <c:pt idx="4645">
                  <c:v>2021-05-27</c:v>
                </c:pt>
                <c:pt idx="4646">
                  <c:v>2021-05-28</c:v>
                </c:pt>
                <c:pt idx="4647">
                  <c:v>2021-05-31</c:v>
                </c:pt>
                <c:pt idx="4648">
                  <c:v>2021-06-01</c:v>
                </c:pt>
                <c:pt idx="4649">
                  <c:v>2021-06-02</c:v>
                </c:pt>
                <c:pt idx="4650">
                  <c:v>2021-06-03</c:v>
                </c:pt>
                <c:pt idx="4651">
                  <c:v>2021-06-04</c:v>
                </c:pt>
                <c:pt idx="4652">
                  <c:v>2021-06-07</c:v>
                </c:pt>
                <c:pt idx="4653">
                  <c:v>2021-06-08</c:v>
                </c:pt>
                <c:pt idx="4654">
                  <c:v>2021-06-09</c:v>
                </c:pt>
                <c:pt idx="4655">
                  <c:v>2021-06-10</c:v>
                </c:pt>
                <c:pt idx="4656">
                  <c:v>2021-06-11</c:v>
                </c:pt>
                <c:pt idx="4657">
                  <c:v>2021-06-15</c:v>
                </c:pt>
                <c:pt idx="4658">
                  <c:v>2021-06-16</c:v>
                </c:pt>
                <c:pt idx="4659">
                  <c:v>2021-06-17</c:v>
                </c:pt>
                <c:pt idx="4660">
                  <c:v>2021-06-18</c:v>
                </c:pt>
                <c:pt idx="4661">
                  <c:v>2021-06-21</c:v>
                </c:pt>
                <c:pt idx="4662">
                  <c:v>2021-06-22</c:v>
                </c:pt>
                <c:pt idx="4663">
                  <c:v>2021-06-23</c:v>
                </c:pt>
                <c:pt idx="4664">
                  <c:v>2021-06-24</c:v>
                </c:pt>
                <c:pt idx="4665">
                  <c:v>2021-06-25</c:v>
                </c:pt>
                <c:pt idx="4666">
                  <c:v>2021-06-28</c:v>
                </c:pt>
                <c:pt idx="4667">
                  <c:v>2021-06-29</c:v>
                </c:pt>
                <c:pt idx="4668">
                  <c:v>2021-06-30</c:v>
                </c:pt>
                <c:pt idx="4669">
                  <c:v>2021-07-01</c:v>
                </c:pt>
                <c:pt idx="4670">
                  <c:v>2021-07-02</c:v>
                </c:pt>
                <c:pt idx="4671">
                  <c:v>2021-07-05</c:v>
                </c:pt>
                <c:pt idx="4672">
                  <c:v>2021-07-06</c:v>
                </c:pt>
                <c:pt idx="4673">
                  <c:v>2021-07-07</c:v>
                </c:pt>
                <c:pt idx="4674">
                  <c:v>2021-07-08</c:v>
                </c:pt>
                <c:pt idx="4675">
                  <c:v>2021-07-09</c:v>
                </c:pt>
                <c:pt idx="4676">
                  <c:v>2021-07-12</c:v>
                </c:pt>
                <c:pt idx="4677">
                  <c:v>2021-07-13</c:v>
                </c:pt>
                <c:pt idx="4678">
                  <c:v>2021-07-14</c:v>
                </c:pt>
                <c:pt idx="4679">
                  <c:v>2021-07-15</c:v>
                </c:pt>
                <c:pt idx="4680">
                  <c:v>2021-07-16</c:v>
                </c:pt>
                <c:pt idx="4681">
                  <c:v>2021-07-19</c:v>
                </c:pt>
                <c:pt idx="4682">
                  <c:v>2021-07-20</c:v>
                </c:pt>
                <c:pt idx="4683">
                  <c:v>2021-07-21</c:v>
                </c:pt>
                <c:pt idx="4684">
                  <c:v>2021-07-22</c:v>
                </c:pt>
                <c:pt idx="4685">
                  <c:v>2021-07-23</c:v>
                </c:pt>
                <c:pt idx="4686">
                  <c:v>2021-07-26</c:v>
                </c:pt>
                <c:pt idx="4687">
                  <c:v>2021-07-27</c:v>
                </c:pt>
                <c:pt idx="4688">
                  <c:v>2021-07-28</c:v>
                </c:pt>
                <c:pt idx="4689">
                  <c:v>2021-07-29</c:v>
                </c:pt>
                <c:pt idx="4690">
                  <c:v>2021-07-30</c:v>
                </c:pt>
                <c:pt idx="4691">
                  <c:v>2021-08-02</c:v>
                </c:pt>
                <c:pt idx="4692">
                  <c:v>2021-08-03</c:v>
                </c:pt>
                <c:pt idx="4693">
                  <c:v>2021-08-04</c:v>
                </c:pt>
                <c:pt idx="4694">
                  <c:v>2021-08-05</c:v>
                </c:pt>
                <c:pt idx="4695">
                  <c:v>2021-08-06</c:v>
                </c:pt>
                <c:pt idx="4696">
                  <c:v>2021-08-09</c:v>
                </c:pt>
                <c:pt idx="4697">
                  <c:v>2021-08-10</c:v>
                </c:pt>
                <c:pt idx="4698">
                  <c:v>2021-08-11</c:v>
                </c:pt>
                <c:pt idx="4699">
                  <c:v>2021-08-12</c:v>
                </c:pt>
                <c:pt idx="4700">
                  <c:v>2021-08-13</c:v>
                </c:pt>
                <c:pt idx="4701">
                  <c:v>2021-08-16</c:v>
                </c:pt>
                <c:pt idx="4702">
                  <c:v>2021-08-17</c:v>
                </c:pt>
                <c:pt idx="4703">
                  <c:v>2021-08-18</c:v>
                </c:pt>
                <c:pt idx="4704">
                  <c:v>2021-08-19</c:v>
                </c:pt>
                <c:pt idx="4705">
                  <c:v>2021-08-20</c:v>
                </c:pt>
                <c:pt idx="4706">
                  <c:v>2021-08-23</c:v>
                </c:pt>
                <c:pt idx="4707">
                  <c:v>2021-08-24</c:v>
                </c:pt>
                <c:pt idx="4708">
                  <c:v>2021-08-25</c:v>
                </c:pt>
                <c:pt idx="4709">
                  <c:v>2021-08-26</c:v>
                </c:pt>
                <c:pt idx="4710">
                  <c:v>2021-08-27</c:v>
                </c:pt>
                <c:pt idx="4711">
                  <c:v>2021-08-30</c:v>
                </c:pt>
                <c:pt idx="4712">
                  <c:v>2021-08-31</c:v>
                </c:pt>
                <c:pt idx="4713">
                  <c:v>2021-09-01</c:v>
                </c:pt>
                <c:pt idx="4714">
                  <c:v>2021-09-02</c:v>
                </c:pt>
                <c:pt idx="4715">
                  <c:v>2021-09-03</c:v>
                </c:pt>
                <c:pt idx="4716">
                  <c:v>2021-09-06</c:v>
                </c:pt>
                <c:pt idx="4717">
                  <c:v>2021-09-07</c:v>
                </c:pt>
                <c:pt idx="4718">
                  <c:v>2021-09-08</c:v>
                </c:pt>
                <c:pt idx="4719">
                  <c:v>2021-09-09</c:v>
                </c:pt>
                <c:pt idx="4720">
                  <c:v>2021-09-10</c:v>
                </c:pt>
                <c:pt idx="4721">
                  <c:v>2021-09-13</c:v>
                </c:pt>
                <c:pt idx="4722">
                  <c:v>2021-09-14</c:v>
                </c:pt>
                <c:pt idx="4723">
                  <c:v>2021-09-15</c:v>
                </c:pt>
                <c:pt idx="4724">
                  <c:v>2021-09-16</c:v>
                </c:pt>
                <c:pt idx="4725">
                  <c:v>2021-09-17</c:v>
                </c:pt>
                <c:pt idx="4726">
                  <c:v>2021-09-22</c:v>
                </c:pt>
                <c:pt idx="4727">
                  <c:v>2021-09-23</c:v>
                </c:pt>
                <c:pt idx="4728">
                  <c:v>2021-09-24</c:v>
                </c:pt>
                <c:pt idx="4729">
                  <c:v>2021-09-27</c:v>
                </c:pt>
                <c:pt idx="4730">
                  <c:v>2021-09-28</c:v>
                </c:pt>
                <c:pt idx="4731">
                  <c:v>2021-09-29</c:v>
                </c:pt>
                <c:pt idx="4732">
                  <c:v>2021-09-30</c:v>
                </c:pt>
                <c:pt idx="4733">
                  <c:v>2021-10-08</c:v>
                </c:pt>
                <c:pt idx="4734">
                  <c:v>2021-10-11</c:v>
                </c:pt>
                <c:pt idx="4735">
                  <c:v>2021-10-12</c:v>
                </c:pt>
                <c:pt idx="4736">
                  <c:v>2021-10-13</c:v>
                </c:pt>
                <c:pt idx="4737">
                  <c:v>2021-10-14</c:v>
                </c:pt>
                <c:pt idx="4738">
                  <c:v>2021-10-15</c:v>
                </c:pt>
                <c:pt idx="4739">
                  <c:v>2021-10-18</c:v>
                </c:pt>
                <c:pt idx="4740">
                  <c:v>2021-10-19</c:v>
                </c:pt>
                <c:pt idx="4741">
                  <c:v>2021-10-20</c:v>
                </c:pt>
                <c:pt idx="4742">
                  <c:v>2021-10-21</c:v>
                </c:pt>
                <c:pt idx="4743">
                  <c:v>2021-10-22</c:v>
                </c:pt>
                <c:pt idx="4744">
                  <c:v>2021-10-25</c:v>
                </c:pt>
                <c:pt idx="4745">
                  <c:v>2021-10-26</c:v>
                </c:pt>
                <c:pt idx="4746">
                  <c:v>2021-10-27</c:v>
                </c:pt>
                <c:pt idx="4747">
                  <c:v>2021-10-28</c:v>
                </c:pt>
                <c:pt idx="4748">
                  <c:v>2021-10-29</c:v>
                </c:pt>
                <c:pt idx="4749">
                  <c:v>2021-11-01</c:v>
                </c:pt>
                <c:pt idx="4750">
                  <c:v>2021-11-02</c:v>
                </c:pt>
                <c:pt idx="4751">
                  <c:v>2021-11-03</c:v>
                </c:pt>
                <c:pt idx="4752">
                  <c:v>2021-11-04</c:v>
                </c:pt>
                <c:pt idx="4753">
                  <c:v>2021-11-05</c:v>
                </c:pt>
                <c:pt idx="4754">
                  <c:v>2021-11-08</c:v>
                </c:pt>
                <c:pt idx="4755">
                  <c:v>2021-11-09</c:v>
                </c:pt>
                <c:pt idx="4756">
                  <c:v>2021-11-10</c:v>
                </c:pt>
                <c:pt idx="4757">
                  <c:v>2021-11-11</c:v>
                </c:pt>
                <c:pt idx="4758">
                  <c:v>2021-11-12</c:v>
                </c:pt>
                <c:pt idx="4759">
                  <c:v>2021-11-15</c:v>
                </c:pt>
                <c:pt idx="4760">
                  <c:v>2021-11-16</c:v>
                </c:pt>
                <c:pt idx="4761">
                  <c:v>2021-11-17</c:v>
                </c:pt>
                <c:pt idx="4762">
                  <c:v>2021-11-18</c:v>
                </c:pt>
                <c:pt idx="4763">
                  <c:v>2021-11-19</c:v>
                </c:pt>
                <c:pt idx="4764">
                  <c:v>2021-11-22</c:v>
                </c:pt>
                <c:pt idx="4765">
                  <c:v>2021-11-23</c:v>
                </c:pt>
                <c:pt idx="4766">
                  <c:v>2021-11-24</c:v>
                </c:pt>
                <c:pt idx="4767">
                  <c:v>2021-11-25</c:v>
                </c:pt>
                <c:pt idx="4768">
                  <c:v>2021-11-26</c:v>
                </c:pt>
                <c:pt idx="4769">
                  <c:v>2021-11-29</c:v>
                </c:pt>
                <c:pt idx="4770">
                  <c:v>2021-11-30</c:v>
                </c:pt>
                <c:pt idx="4771">
                  <c:v>2021-12-01</c:v>
                </c:pt>
                <c:pt idx="4772">
                  <c:v>2021-12-02</c:v>
                </c:pt>
                <c:pt idx="4773">
                  <c:v>2021-12-03</c:v>
                </c:pt>
                <c:pt idx="4774">
                  <c:v>2021-12-06</c:v>
                </c:pt>
                <c:pt idx="4775">
                  <c:v>2021-12-07</c:v>
                </c:pt>
                <c:pt idx="4776">
                  <c:v>2021-12-08</c:v>
                </c:pt>
                <c:pt idx="4777">
                  <c:v>2021-12-09</c:v>
                </c:pt>
                <c:pt idx="4778">
                  <c:v>2021-12-10</c:v>
                </c:pt>
                <c:pt idx="4779">
                  <c:v>2021-12-13</c:v>
                </c:pt>
                <c:pt idx="4780">
                  <c:v>2021-12-14</c:v>
                </c:pt>
                <c:pt idx="4781">
                  <c:v>2021-12-15</c:v>
                </c:pt>
                <c:pt idx="4782">
                  <c:v>2021-12-16</c:v>
                </c:pt>
                <c:pt idx="4783">
                  <c:v>2021-12-17</c:v>
                </c:pt>
                <c:pt idx="4784">
                  <c:v>2021-12-20</c:v>
                </c:pt>
                <c:pt idx="4785">
                  <c:v>2021-12-21</c:v>
                </c:pt>
                <c:pt idx="4786">
                  <c:v>2021-12-22</c:v>
                </c:pt>
                <c:pt idx="4787">
                  <c:v>2021-12-23</c:v>
                </c:pt>
                <c:pt idx="4788">
                  <c:v>2021-12-24</c:v>
                </c:pt>
                <c:pt idx="4789">
                  <c:v>2021-12-27</c:v>
                </c:pt>
                <c:pt idx="4790">
                  <c:v>2021-12-28</c:v>
                </c:pt>
                <c:pt idx="4791">
                  <c:v>2021-12-29</c:v>
                </c:pt>
                <c:pt idx="4792">
                  <c:v>2021-12-30</c:v>
                </c:pt>
                <c:pt idx="4793">
                  <c:v>2021-12-31</c:v>
                </c:pt>
                <c:pt idx="4794">
                  <c:v>2022-01-04</c:v>
                </c:pt>
                <c:pt idx="4795">
                  <c:v>2022-01-05</c:v>
                </c:pt>
                <c:pt idx="4796">
                  <c:v>2022-01-06</c:v>
                </c:pt>
                <c:pt idx="4797">
                  <c:v>2022-01-07</c:v>
                </c:pt>
                <c:pt idx="4798">
                  <c:v>2022-01-10</c:v>
                </c:pt>
                <c:pt idx="4799">
                  <c:v>2022-01-11</c:v>
                </c:pt>
                <c:pt idx="4800">
                  <c:v>2022-01-12</c:v>
                </c:pt>
                <c:pt idx="4801">
                  <c:v>2022-01-13</c:v>
                </c:pt>
                <c:pt idx="4802">
                  <c:v>2022-01-14</c:v>
                </c:pt>
                <c:pt idx="4803">
                  <c:v>2022-01-17</c:v>
                </c:pt>
                <c:pt idx="4804">
                  <c:v>2022-01-18</c:v>
                </c:pt>
                <c:pt idx="4805">
                  <c:v>2022-01-19</c:v>
                </c:pt>
                <c:pt idx="4806">
                  <c:v>2022-01-20</c:v>
                </c:pt>
                <c:pt idx="4807">
                  <c:v>2022-01-21</c:v>
                </c:pt>
                <c:pt idx="4808">
                  <c:v>2022-01-24</c:v>
                </c:pt>
                <c:pt idx="4809">
                  <c:v>2022-01-25</c:v>
                </c:pt>
                <c:pt idx="4810">
                  <c:v>2022-01-26</c:v>
                </c:pt>
                <c:pt idx="4811">
                  <c:v>2022-01-27</c:v>
                </c:pt>
                <c:pt idx="4812">
                  <c:v>2022-01-28</c:v>
                </c:pt>
                <c:pt idx="4813">
                  <c:v>2022-02-07</c:v>
                </c:pt>
                <c:pt idx="4814">
                  <c:v>2022-02-08</c:v>
                </c:pt>
                <c:pt idx="4815">
                  <c:v>2022-02-09</c:v>
                </c:pt>
                <c:pt idx="4816">
                  <c:v>2022-02-10</c:v>
                </c:pt>
                <c:pt idx="4817">
                  <c:v>2022-02-11</c:v>
                </c:pt>
                <c:pt idx="4818">
                  <c:v>2022-02-14</c:v>
                </c:pt>
                <c:pt idx="4819">
                  <c:v>2022-02-15</c:v>
                </c:pt>
                <c:pt idx="4820">
                  <c:v>2022-02-16</c:v>
                </c:pt>
                <c:pt idx="4821">
                  <c:v>2022-02-17</c:v>
                </c:pt>
                <c:pt idx="4822">
                  <c:v>2022-02-18</c:v>
                </c:pt>
                <c:pt idx="4823">
                  <c:v>2022-02-21</c:v>
                </c:pt>
                <c:pt idx="4824">
                  <c:v>2022-02-22</c:v>
                </c:pt>
                <c:pt idx="4825">
                  <c:v>2022-02-23</c:v>
                </c:pt>
                <c:pt idx="4826">
                  <c:v>2022-02-24</c:v>
                </c:pt>
                <c:pt idx="4827">
                  <c:v>2022-02-25</c:v>
                </c:pt>
                <c:pt idx="4828">
                  <c:v>2022-02-28</c:v>
                </c:pt>
                <c:pt idx="4829">
                  <c:v>2022-03-01</c:v>
                </c:pt>
                <c:pt idx="4830">
                  <c:v>2022-03-02</c:v>
                </c:pt>
                <c:pt idx="4831">
                  <c:v>2022-03-03</c:v>
                </c:pt>
                <c:pt idx="4832">
                  <c:v>2022-03-04</c:v>
                </c:pt>
                <c:pt idx="4833">
                  <c:v>2022-03-07</c:v>
                </c:pt>
                <c:pt idx="4834">
                  <c:v>2022-03-08</c:v>
                </c:pt>
                <c:pt idx="4835">
                  <c:v>2022-03-09</c:v>
                </c:pt>
                <c:pt idx="4836">
                  <c:v>2022-03-10</c:v>
                </c:pt>
                <c:pt idx="4837">
                  <c:v>2022-03-11</c:v>
                </c:pt>
                <c:pt idx="4838">
                  <c:v>2022-03-14</c:v>
                </c:pt>
                <c:pt idx="4839">
                  <c:v>2022-03-15</c:v>
                </c:pt>
                <c:pt idx="4840">
                  <c:v>2022-03-16</c:v>
                </c:pt>
                <c:pt idx="4841">
                  <c:v>2022-03-17</c:v>
                </c:pt>
                <c:pt idx="4842">
                  <c:v>2022-03-18</c:v>
                </c:pt>
                <c:pt idx="4843">
                  <c:v>2022-03-21</c:v>
                </c:pt>
                <c:pt idx="4844">
                  <c:v>2022-03-22</c:v>
                </c:pt>
                <c:pt idx="4845">
                  <c:v>2022-03-23</c:v>
                </c:pt>
                <c:pt idx="4846">
                  <c:v>2022-03-24</c:v>
                </c:pt>
                <c:pt idx="4847">
                  <c:v>2022-03-25</c:v>
                </c:pt>
                <c:pt idx="4848">
                  <c:v>2022-03-28</c:v>
                </c:pt>
                <c:pt idx="4849">
                  <c:v>2022-03-29</c:v>
                </c:pt>
                <c:pt idx="4850">
                  <c:v>2022-03-30</c:v>
                </c:pt>
                <c:pt idx="4851">
                  <c:v>2022-03-31</c:v>
                </c:pt>
                <c:pt idx="4852">
                  <c:v>2022-04-01</c:v>
                </c:pt>
                <c:pt idx="4853">
                  <c:v>2022-04-06</c:v>
                </c:pt>
                <c:pt idx="4854">
                  <c:v>2022-04-07</c:v>
                </c:pt>
                <c:pt idx="4855">
                  <c:v>2022-04-08</c:v>
                </c:pt>
              </c:strCache>
            </c:strRef>
          </c:cat>
          <c:val>
            <c:numRef>
              <c:f>'v60'!$F$2:$F$4856</c:f>
              <c:numCache>
                <c:formatCode>General</c:formatCode>
                <c:ptCount val="4855"/>
                <c:pt idx="0">
                  <c:v>1350.69</c:v>
                </c:pt>
                <c:pt idx="1">
                  <c:v>1344.58</c:v>
                </c:pt>
                <c:pt idx="2">
                  <c:v>1341.5</c:v>
                </c:pt>
                <c:pt idx="3">
                  <c:v>1341.77</c:v>
                </c:pt>
                <c:pt idx="4">
                  <c:v>1326.55</c:v>
                </c:pt>
                <c:pt idx="5">
                  <c:v>1330.64</c:v>
                </c:pt>
                <c:pt idx="6">
                  <c:v>1324.87</c:v>
                </c:pt>
                <c:pt idx="7">
                  <c:v>1318.66</c:v>
                </c:pt>
                <c:pt idx="8">
                  <c:v>1309.73</c:v>
                </c:pt>
                <c:pt idx="9">
                  <c:v>1312.48</c:v>
                </c:pt>
                <c:pt idx="10">
                  <c:v>1331.71</c:v>
                </c:pt>
                <c:pt idx="11">
                  <c:v>1349.79</c:v>
                </c:pt>
                <c:pt idx="12">
                  <c:v>1353.61</c:v>
                </c:pt>
                <c:pt idx="13">
                  <c:v>1342.29</c:v>
                </c:pt>
                <c:pt idx="14">
                  <c:v>1344.78</c:v>
                </c:pt>
                <c:pt idx="15">
                  <c:v>1335.45</c:v>
                </c:pt>
                <c:pt idx="16">
                  <c:v>1319.81</c:v>
                </c:pt>
                <c:pt idx="17">
                  <c:v>1311.68</c:v>
                </c:pt>
                <c:pt idx="18">
                  <c:v>1300.1199999999999</c:v>
                </c:pt>
                <c:pt idx="19">
                  <c:v>1261.52</c:v>
                </c:pt>
                <c:pt idx="20">
                  <c:v>1277.23</c:v>
                </c:pt>
                <c:pt idx="21">
                  <c:v>1258.83</c:v>
                </c:pt>
                <c:pt idx="22">
                  <c:v>1298.8800000000001</c:v>
                </c:pt>
                <c:pt idx="23">
                  <c:v>1280.1600000000001</c:v>
                </c:pt>
                <c:pt idx="24">
                  <c:v>1284.8399999999999</c:v>
                </c:pt>
                <c:pt idx="25">
                  <c:v>1265.97</c:v>
                </c:pt>
                <c:pt idx="26">
                  <c:v>1270.3399999999999</c:v>
                </c:pt>
                <c:pt idx="27">
                  <c:v>1270.3800000000001</c:v>
                </c:pt>
                <c:pt idx="28">
                  <c:v>1246.02</c:v>
                </c:pt>
                <c:pt idx="29">
                  <c:v>1245.8900000000001</c:v>
                </c:pt>
                <c:pt idx="30">
                  <c:v>1238.58</c:v>
                </c:pt>
                <c:pt idx="31">
                  <c:v>1213.3900000000001</c:v>
                </c:pt>
                <c:pt idx="32">
                  <c:v>1219.52</c:v>
                </c:pt>
                <c:pt idx="33">
                  <c:v>1196.6199999999999</c:v>
                </c:pt>
                <c:pt idx="34">
                  <c:v>1245.6099999999999</c:v>
                </c:pt>
                <c:pt idx="35">
                  <c:v>1252.51</c:v>
                </c:pt>
                <c:pt idx="36">
                  <c:v>1243.74</c:v>
                </c:pt>
                <c:pt idx="37">
                  <c:v>1252.8499999999999</c:v>
                </c:pt>
                <c:pt idx="38">
                  <c:v>1246.8399999999999</c:v>
                </c:pt>
                <c:pt idx="39">
                  <c:v>1235.57</c:v>
                </c:pt>
                <c:pt idx="40">
                  <c:v>1222.1199999999999</c:v>
                </c:pt>
                <c:pt idx="41">
                  <c:v>1224.6500000000001</c:v>
                </c:pt>
                <c:pt idx="42">
                  <c:v>1248.8399999999999</c:v>
                </c:pt>
                <c:pt idx="43">
                  <c:v>1236.05</c:v>
                </c:pt>
                <c:pt idx="44">
                  <c:v>1245.08</c:v>
                </c:pt>
                <c:pt idx="45">
                  <c:v>1288.52</c:v>
                </c:pt>
                <c:pt idx="46">
                  <c:v>1409.51</c:v>
                </c:pt>
                <c:pt idx="47">
                  <c:v>1409.23</c:v>
                </c:pt>
                <c:pt idx="48">
                  <c:v>1417.31</c:v>
                </c:pt>
                <c:pt idx="49">
                  <c:v>1422.51</c:v>
                </c:pt>
                <c:pt idx="50">
                  <c:v>1431.18</c:v>
                </c:pt>
                <c:pt idx="51">
                  <c:v>1415.33</c:v>
                </c:pt>
                <c:pt idx="52">
                  <c:v>1425.81</c:v>
                </c:pt>
                <c:pt idx="53">
                  <c:v>1427.39</c:v>
                </c:pt>
                <c:pt idx="54">
                  <c:v>1412.62</c:v>
                </c:pt>
                <c:pt idx="55">
                  <c:v>1415.4</c:v>
                </c:pt>
                <c:pt idx="56">
                  <c:v>1423.7</c:v>
                </c:pt>
                <c:pt idx="57">
                  <c:v>1419.47</c:v>
                </c:pt>
                <c:pt idx="58">
                  <c:v>1392.9</c:v>
                </c:pt>
                <c:pt idx="59">
                  <c:v>1390.93</c:v>
                </c:pt>
                <c:pt idx="60">
                  <c:v>1389.45</c:v>
                </c:pt>
                <c:pt idx="61">
                  <c:v>1379.38</c:v>
                </c:pt>
                <c:pt idx="62">
                  <c:v>1382.41</c:v>
                </c:pt>
                <c:pt idx="63">
                  <c:v>1393.02</c:v>
                </c:pt>
                <c:pt idx="64">
                  <c:v>1397.41</c:v>
                </c:pt>
                <c:pt idx="65">
                  <c:v>1403.25</c:v>
                </c:pt>
                <c:pt idx="66">
                  <c:v>1380.28</c:v>
                </c:pt>
                <c:pt idx="67">
                  <c:v>1375.61</c:v>
                </c:pt>
                <c:pt idx="68">
                  <c:v>1372.89</c:v>
                </c:pt>
                <c:pt idx="69">
                  <c:v>1365</c:v>
                </c:pt>
                <c:pt idx="70">
                  <c:v>1361.41</c:v>
                </c:pt>
                <c:pt idx="71">
                  <c:v>1368.8</c:v>
                </c:pt>
                <c:pt idx="72">
                  <c:v>1371.91</c:v>
                </c:pt>
                <c:pt idx="73">
                  <c:v>1358.16</c:v>
                </c:pt>
                <c:pt idx="74">
                  <c:v>1355.3</c:v>
                </c:pt>
                <c:pt idx="75">
                  <c:v>1359.99</c:v>
                </c:pt>
                <c:pt idx="76">
                  <c:v>1353.48</c:v>
                </c:pt>
                <c:pt idx="77">
                  <c:v>1368.99</c:v>
                </c:pt>
                <c:pt idx="78">
                  <c:v>1366.8</c:v>
                </c:pt>
                <c:pt idx="79">
                  <c:v>1359.68</c:v>
                </c:pt>
                <c:pt idx="80">
                  <c:v>1350.31</c:v>
                </c:pt>
                <c:pt idx="81">
                  <c:v>1340.22</c:v>
                </c:pt>
                <c:pt idx="82">
                  <c:v>1342.36</c:v>
                </c:pt>
                <c:pt idx="83">
                  <c:v>1351.51</c:v>
                </c:pt>
                <c:pt idx="84">
                  <c:v>1340.97</c:v>
                </c:pt>
                <c:pt idx="85">
                  <c:v>1349.62</c:v>
                </c:pt>
                <c:pt idx="86">
                  <c:v>1347.16</c:v>
                </c:pt>
                <c:pt idx="87">
                  <c:v>1370.05</c:v>
                </c:pt>
                <c:pt idx="88">
                  <c:v>1370.96</c:v>
                </c:pt>
                <c:pt idx="89">
                  <c:v>1381.55</c:v>
                </c:pt>
                <c:pt idx="90">
                  <c:v>1379.42</c:v>
                </c:pt>
                <c:pt idx="91">
                  <c:v>1366.18</c:v>
                </c:pt>
                <c:pt idx="92">
                  <c:v>1369.76</c:v>
                </c:pt>
                <c:pt idx="93">
                  <c:v>1368.4</c:v>
                </c:pt>
                <c:pt idx="94">
                  <c:v>1362.67</c:v>
                </c:pt>
                <c:pt idx="95">
                  <c:v>1361.3</c:v>
                </c:pt>
                <c:pt idx="96">
                  <c:v>1362.15</c:v>
                </c:pt>
                <c:pt idx="97">
                  <c:v>1366.71</c:v>
                </c:pt>
                <c:pt idx="98">
                  <c:v>1358.78</c:v>
                </c:pt>
                <c:pt idx="99">
                  <c:v>1341.47</c:v>
                </c:pt>
                <c:pt idx="100">
                  <c:v>1334.34</c:v>
                </c:pt>
                <c:pt idx="101">
                  <c:v>1323.13</c:v>
                </c:pt>
                <c:pt idx="102">
                  <c:v>1324.21</c:v>
                </c:pt>
                <c:pt idx="103">
                  <c:v>1319.03</c:v>
                </c:pt>
                <c:pt idx="104">
                  <c:v>1322.23</c:v>
                </c:pt>
                <c:pt idx="105">
                  <c:v>1321.81</c:v>
                </c:pt>
                <c:pt idx="106">
                  <c:v>1302.6199999999999</c:v>
                </c:pt>
                <c:pt idx="107">
                  <c:v>1304.3800000000001</c:v>
                </c:pt>
                <c:pt idx="108">
                  <c:v>1295.56</c:v>
                </c:pt>
                <c:pt idx="109">
                  <c:v>1319.82</c:v>
                </c:pt>
                <c:pt idx="110">
                  <c:v>1305.75</c:v>
                </c:pt>
                <c:pt idx="111">
                  <c:v>1304.92</c:v>
                </c:pt>
                <c:pt idx="112">
                  <c:v>1299.19</c:v>
                </c:pt>
                <c:pt idx="113">
                  <c:v>1299.52</c:v>
                </c:pt>
                <c:pt idx="114">
                  <c:v>1291.3800000000001</c:v>
                </c:pt>
                <c:pt idx="115">
                  <c:v>1285.6500000000001</c:v>
                </c:pt>
                <c:pt idx="116">
                  <c:v>1272.94</c:v>
                </c:pt>
                <c:pt idx="117">
                  <c:v>1247.53</c:v>
                </c:pt>
                <c:pt idx="118">
                  <c:v>1241.55</c:v>
                </c:pt>
                <c:pt idx="119">
                  <c:v>1237.1400000000001</c:v>
                </c:pt>
                <c:pt idx="120">
                  <c:v>1243.74</c:v>
                </c:pt>
                <c:pt idx="121">
                  <c:v>1238.97</c:v>
                </c:pt>
                <c:pt idx="122">
                  <c:v>1247.72</c:v>
                </c:pt>
                <c:pt idx="123">
                  <c:v>1228.26</c:v>
                </c:pt>
                <c:pt idx="124">
                  <c:v>1233.67</c:v>
                </c:pt>
                <c:pt idx="125">
                  <c:v>1237.3599999999999</c:v>
                </c:pt>
                <c:pt idx="126">
                  <c:v>1254.74</c:v>
                </c:pt>
                <c:pt idx="127">
                  <c:v>1255.6400000000001</c:v>
                </c:pt>
                <c:pt idx="128">
                  <c:v>1244.56</c:v>
                </c:pt>
                <c:pt idx="129">
                  <c:v>1233.58</c:v>
                </c:pt>
                <c:pt idx="130">
                  <c:v>1219.43</c:v>
                </c:pt>
                <c:pt idx="131">
                  <c:v>1226.78</c:v>
                </c:pt>
                <c:pt idx="132">
                  <c:v>1225.94</c:v>
                </c:pt>
                <c:pt idx="133">
                  <c:v>1225.3399999999999</c:v>
                </c:pt>
                <c:pt idx="134">
                  <c:v>1227.8499999999999</c:v>
                </c:pt>
                <c:pt idx="135">
                  <c:v>1246.8</c:v>
                </c:pt>
                <c:pt idx="136">
                  <c:v>1265.73</c:v>
                </c:pt>
                <c:pt idx="137">
                  <c:v>1260.05</c:v>
                </c:pt>
                <c:pt idx="138">
                  <c:v>1259.8699999999999</c:v>
                </c:pt>
                <c:pt idx="139">
                  <c:v>1232.95</c:v>
                </c:pt>
                <c:pt idx="140">
                  <c:v>1218.3599999999999</c:v>
                </c:pt>
                <c:pt idx="141">
                  <c:v>1200.92</c:v>
                </c:pt>
                <c:pt idx="142">
                  <c:v>1206.42</c:v>
                </c:pt>
                <c:pt idx="143">
                  <c:v>1183.6400000000001</c:v>
                </c:pt>
                <c:pt idx="144">
                  <c:v>1186.92</c:v>
                </c:pt>
                <c:pt idx="145">
                  <c:v>1174.83</c:v>
                </c:pt>
                <c:pt idx="146">
                  <c:v>1182.6400000000001</c:v>
                </c:pt>
                <c:pt idx="147">
                  <c:v>1154.9000000000001</c:v>
                </c:pt>
                <c:pt idx="148">
                  <c:v>1125.3800000000001</c:v>
                </c:pt>
                <c:pt idx="149">
                  <c:v>1128.07</c:v>
                </c:pt>
                <c:pt idx="150">
                  <c:v>1133.17</c:v>
                </c:pt>
                <c:pt idx="151">
                  <c:v>1111.05</c:v>
                </c:pt>
                <c:pt idx="152">
                  <c:v>1118.96</c:v>
                </c:pt>
                <c:pt idx="153">
                  <c:v>1150.5899999999999</c:v>
                </c:pt>
                <c:pt idx="154">
                  <c:v>1164.6199999999999</c:v>
                </c:pt>
                <c:pt idx="155">
                  <c:v>1132.93</c:v>
                </c:pt>
                <c:pt idx="156">
                  <c:v>1144.6300000000001</c:v>
                </c:pt>
                <c:pt idx="157">
                  <c:v>1147.54</c:v>
                </c:pt>
                <c:pt idx="158">
                  <c:v>1139.75</c:v>
                </c:pt>
                <c:pt idx="159">
                  <c:v>1139.8</c:v>
                </c:pt>
                <c:pt idx="160">
                  <c:v>1136.25</c:v>
                </c:pt>
                <c:pt idx="161">
                  <c:v>1122.9100000000001</c:v>
                </c:pt>
                <c:pt idx="162">
                  <c:v>1117.44</c:v>
                </c:pt>
                <c:pt idx="163">
                  <c:v>1122.23</c:v>
                </c:pt>
                <c:pt idx="164">
                  <c:v>1132.08</c:v>
                </c:pt>
                <c:pt idx="165">
                  <c:v>1141.52</c:v>
                </c:pt>
                <c:pt idx="166">
                  <c:v>1148.5999999999999</c:v>
                </c:pt>
                <c:pt idx="167">
                  <c:v>1143.94</c:v>
                </c:pt>
                <c:pt idx="168">
                  <c:v>1145.07</c:v>
                </c:pt>
                <c:pt idx="169">
                  <c:v>1157.3399999999999</c:v>
                </c:pt>
                <c:pt idx="170">
                  <c:v>1159.43</c:v>
                </c:pt>
                <c:pt idx="171">
                  <c:v>1159.06</c:v>
                </c:pt>
                <c:pt idx="172">
                  <c:v>1151.1600000000001</c:v>
                </c:pt>
                <c:pt idx="173">
                  <c:v>1119.3599999999999</c:v>
                </c:pt>
                <c:pt idx="174">
                  <c:v>1120.28</c:v>
                </c:pt>
                <c:pt idx="175">
                  <c:v>1108.94</c:v>
                </c:pt>
                <c:pt idx="176">
                  <c:v>1103.6400000000001</c:v>
                </c:pt>
                <c:pt idx="177">
                  <c:v>1074.98</c:v>
                </c:pt>
                <c:pt idx="178">
                  <c:v>1073.52</c:v>
                </c:pt>
                <c:pt idx="179">
                  <c:v>1084.8800000000001</c:v>
                </c:pt>
                <c:pt idx="180">
                  <c:v>1081.6199999999999</c:v>
                </c:pt>
                <c:pt idx="181">
                  <c:v>1111.83</c:v>
                </c:pt>
                <c:pt idx="182">
                  <c:v>1132.17</c:v>
                </c:pt>
                <c:pt idx="183">
                  <c:v>1121.58</c:v>
                </c:pt>
                <c:pt idx="184">
                  <c:v>1124.33</c:v>
                </c:pt>
                <c:pt idx="185">
                  <c:v>1185.8699999999999</c:v>
                </c:pt>
                <c:pt idx="186">
                  <c:v>1177.97</c:v>
                </c:pt>
                <c:pt idx="187">
                  <c:v>1196.3900000000001</c:v>
                </c:pt>
                <c:pt idx="188">
                  <c:v>1190.9000000000001</c:v>
                </c:pt>
                <c:pt idx="189">
                  <c:v>1194.72</c:v>
                </c:pt>
                <c:pt idx="190">
                  <c:v>1172.1300000000001</c:v>
                </c:pt>
                <c:pt idx="191">
                  <c:v>1174.57</c:v>
                </c:pt>
                <c:pt idx="192">
                  <c:v>1167.6400000000001</c:v>
                </c:pt>
                <c:pt idx="193">
                  <c:v>1187.69</c:v>
                </c:pt>
                <c:pt idx="194">
                  <c:v>1203.32</c:v>
                </c:pt>
                <c:pt idx="195">
                  <c:v>1206.8599999999999</c:v>
                </c:pt>
                <c:pt idx="196">
                  <c:v>1207.5999999999999</c:v>
                </c:pt>
                <c:pt idx="197">
                  <c:v>1190.46</c:v>
                </c:pt>
                <c:pt idx="198">
                  <c:v>1201.29</c:v>
                </c:pt>
                <c:pt idx="199">
                  <c:v>1214.8</c:v>
                </c:pt>
                <c:pt idx="200">
                  <c:v>1208.8399999999999</c:v>
                </c:pt>
                <c:pt idx="201">
                  <c:v>1213.7</c:v>
                </c:pt>
                <c:pt idx="202">
                  <c:v>1204.7</c:v>
                </c:pt>
                <c:pt idx="203">
                  <c:v>1204.94</c:v>
                </c:pt>
                <c:pt idx="204">
                  <c:v>1216.58</c:v>
                </c:pt>
                <c:pt idx="205">
                  <c:v>1215.1500000000001</c:v>
                </c:pt>
                <c:pt idx="206">
                  <c:v>1191.6300000000001</c:v>
                </c:pt>
                <c:pt idx="207">
                  <c:v>1192.99</c:v>
                </c:pt>
                <c:pt idx="208">
                  <c:v>1214.8499999999999</c:v>
                </c:pt>
                <c:pt idx="209">
                  <c:v>1214.4000000000001</c:v>
                </c:pt>
                <c:pt idx="210">
                  <c:v>1215.46</c:v>
                </c:pt>
                <c:pt idx="211">
                  <c:v>1213.8599999999999</c:v>
                </c:pt>
                <c:pt idx="212">
                  <c:v>1223.4100000000001</c:v>
                </c:pt>
                <c:pt idx="213">
                  <c:v>1222.3800000000001</c:v>
                </c:pt>
                <c:pt idx="214">
                  <c:v>1217.8900000000001</c:v>
                </c:pt>
                <c:pt idx="215">
                  <c:v>1202.44</c:v>
                </c:pt>
                <c:pt idx="216">
                  <c:v>1198.74</c:v>
                </c:pt>
                <c:pt idx="217">
                  <c:v>1178.1500000000001</c:v>
                </c:pt>
                <c:pt idx="218">
                  <c:v>1177.8</c:v>
                </c:pt>
                <c:pt idx="219">
                  <c:v>1182.42</c:v>
                </c:pt>
                <c:pt idx="220">
                  <c:v>1175.1600000000001</c:v>
                </c:pt>
                <c:pt idx="221">
                  <c:v>1177.6099999999999</c:v>
                </c:pt>
                <c:pt idx="222">
                  <c:v>1179.23</c:v>
                </c:pt>
                <c:pt idx="223">
                  <c:v>1173.79</c:v>
                </c:pt>
                <c:pt idx="224">
                  <c:v>1180.23</c:v>
                </c:pt>
                <c:pt idx="225">
                  <c:v>1175.8599999999999</c:v>
                </c:pt>
                <c:pt idx="226">
                  <c:v>1185.42</c:v>
                </c:pt>
                <c:pt idx="227">
                  <c:v>1187.6400000000001</c:v>
                </c:pt>
                <c:pt idx="228">
                  <c:v>1176.0999999999999</c:v>
                </c:pt>
                <c:pt idx="229">
                  <c:v>1171.2</c:v>
                </c:pt>
                <c:pt idx="230">
                  <c:v>1201.3699999999999</c:v>
                </c:pt>
                <c:pt idx="231">
                  <c:v>1199.26</c:v>
                </c:pt>
                <c:pt idx="232">
                  <c:v>1215.17</c:v>
                </c:pt>
                <c:pt idx="233">
                  <c:v>1223.56</c:v>
                </c:pt>
                <c:pt idx="234">
                  <c:v>1222.97</c:v>
                </c:pt>
                <c:pt idx="235">
                  <c:v>1215.3399999999999</c:v>
                </c:pt>
                <c:pt idx="236">
                  <c:v>1223.56</c:v>
                </c:pt>
                <c:pt idx="237">
                  <c:v>1217.92</c:v>
                </c:pt>
                <c:pt idx="238">
                  <c:v>1221.57</c:v>
                </c:pt>
                <c:pt idx="239">
                  <c:v>1243.06</c:v>
                </c:pt>
                <c:pt idx="240">
                  <c:v>1255.24</c:v>
                </c:pt>
                <c:pt idx="241">
                  <c:v>1275</c:v>
                </c:pt>
                <c:pt idx="242">
                  <c:v>1306.51</c:v>
                </c:pt>
                <c:pt idx="243">
                  <c:v>1317.29</c:v>
                </c:pt>
                <c:pt idx="244">
                  <c:v>1304.0999999999999</c:v>
                </c:pt>
                <c:pt idx="245">
                  <c:v>1307.71</c:v>
                </c:pt>
                <c:pt idx="246">
                  <c:v>1300.4100000000001</c:v>
                </c:pt>
                <c:pt idx="247">
                  <c:v>1274.6099999999999</c:v>
                </c:pt>
                <c:pt idx="248">
                  <c:v>1274.69</c:v>
                </c:pt>
                <c:pt idx="249">
                  <c:v>1254.1300000000001</c:v>
                </c:pt>
                <c:pt idx="250">
                  <c:v>1218.69</c:v>
                </c:pt>
                <c:pt idx="251">
                  <c:v>1205.3800000000001</c:v>
                </c:pt>
                <c:pt idx="252">
                  <c:v>1250.68</c:v>
                </c:pt>
                <c:pt idx="253">
                  <c:v>1231.57</c:v>
                </c:pt>
                <c:pt idx="254">
                  <c:v>1239.95</c:v>
                </c:pt>
                <c:pt idx="255">
                  <c:v>1251.31</c:v>
                </c:pt>
                <c:pt idx="256">
                  <c:v>1216.43</c:v>
                </c:pt>
                <c:pt idx="257">
                  <c:v>1243.0999999999999</c:v>
                </c:pt>
                <c:pt idx="258">
                  <c:v>1273.3699999999999</c:v>
                </c:pt>
                <c:pt idx="259">
                  <c:v>1274.26</c:v>
                </c:pt>
                <c:pt idx="260">
                  <c:v>1275.8599999999999</c:v>
                </c:pt>
                <c:pt idx="261">
                  <c:v>1261.33</c:v>
                </c:pt>
                <c:pt idx="262">
                  <c:v>1259.02</c:v>
                </c:pt>
                <c:pt idx="263">
                  <c:v>1270.43</c:v>
                </c:pt>
                <c:pt idx="264">
                  <c:v>1283.67</c:v>
                </c:pt>
                <c:pt idx="265">
                  <c:v>1292.69</c:v>
                </c:pt>
                <c:pt idx="266">
                  <c:v>1293.68</c:v>
                </c:pt>
                <c:pt idx="267">
                  <c:v>1277.69</c:v>
                </c:pt>
                <c:pt idx="268">
                  <c:v>1294.77</c:v>
                </c:pt>
                <c:pt idx="269">
                  <c:v>1300.8699999999999</c:v>
                </c:pt>
                <c:pt idx="270">
                  <c:v>1300.49</c:v>
                </c:pt>
                <c:pt idx="271">
                  <c:v>1285.6500000000001</c:v>
                </c:pt>
                <c:pt idx="272">
                  <c:v>1296.44</c:v>
                </c:pt>
                <c:pt idx="273">
                  <c:v>1279.54</c:v>
                </c:pt>
                <c:pt idx="274">
                  <c:v>1262.06</c:v>
                </c:pt>
                <c:pt idx="275">
                  <c:v>1249.17</c:v>
                </c:pt>
                <c:pt idx="276">
                  <c:v>1255.93</c:v>
                </c:pt>
                <c:pt idx="277">
                  <c:v>1278.27</c:v>
                </c:pt>
                <c:pt idx="278">
                  <c:v>1273.51</c:v>
                </c:pt>
                <c:pt idx="279">
                  <c:v>1277.32</c:v>
                </c:pt>
                <c:pt idx="280">
                  <c:v>1273.56</c:v>
                </c:pt>
                <c:pt idx="281">
                  <c:v>1268.92</c:v>
                </c:pt>
                <c:pt idx="282">
                  <c:v>1266.72</c:v>
                </c:pt>
                <c:pt idx="283">
                  <c:v>1253.68</c:v>
                </c:pt>
                <c:pt idx="284">
                  <c:v>1244.6600000000001</c:v>
                </c:pt>
                <c:pt idx="285">
                  <c:v>1231.94</c:v>
                </c:pt>
                <c:pt idx="286">
                  <c:v>1235.1199999999999</c:v>
                </c:pt>
                <c:pt idx="287">
                  <c:v>1226.6400000000001</c:v>
                </c:pt>
                <c:pt idx="288">
                  <c:v>1238.48</c:v>
                </c:pt>
                <c:pt idx="289">
                  <c:v>1220.74</c:v>
                </c:pt>
                <c:pt idx="290">
                  <c:v>1214.55</c:v>
                </c:pt>
                <c:pt idx="291">
                  <c:v>1215.2</c:v>
                </c:pt>
                <c:pt idx="292">
                  <c:v>1227.95</c:v>
                </c:pt>
                <c:pt idx="293">
                  <c:v>1231.17</c:v>
                </c:pt>
                <c:pt idx="294">
                  <c:v>1229.97</c:v>
                </c:pt>
                <c:pt idx="295">
                  <c:v>1232.08</c:v>
                </c:pt>
                <c:pt idx="296">
                  <c:v>1239.8499999999999</c:v>
                </c:pt>
                <c:pt idx="297">
                  <c:v>1231.8</c:v>
                </c:pt>
                <c:pt idx="298">
                  <c:v>1257.82</c:v>
                </c:pt>
                <c:pt idx="299">
                  <c:v>1255.93</c:v>
                </c:pt>
                <c:pt idx="300">
                  <c:v>1251.0899999999999</c:v>
                </c:pt>
                <c:pt idx="301">
                  <c:v>1254.3599999999999</c:v>
                </c:pt>
                <c:pt idx="302">
                  <c:v>1259.9000000000001</c:v>
                </c:pt>
                <c:pt idx="303">
                  <c:v>1269.4000000000001</c:v>
                </c:pt>
                <c:pt idx="304">
                  <c:v>1241.57</c:v>
                </c:pt>
                <c:pt idx="305">
                  <c:v>1232.1500000000001</c:v>
                </c:pt>
                <c:pt idx="306">
                  <c:v>1235.3</c:v>
                </c:pt>
                <c:pt idx="307">
                  <c:v>1239.45</c:v>
                </c:pt>
                <c:pt idx="308">
                  <c:v>1231.02</c:v>
                </c:pt>
                <c:pt idx="309">
                  <c:v>1218.67</c:v>
                </c:pt>
                <c:pt idx="310">
                  <c:v>1213.1500000000001</c:v>
                </c:pt>
                <c:pt idx="311">
                  <c:v>1219.76</c:v>
                </c:pt>
                <c:pt idx="312">
                  <c:v>1221.76</c:v>
                </c:pt>
                <c:pt idx="313">
                  <c:v>1222.74</c:v>
                </c:pt>
                <c:pt idx="314">
                  <c:v>1226.24</c:v>
                </c:pt>
                <c:pt idx="315">
                  <c:v>1240.07</c:v>
                </c:pt>
                <c:pt idx="316">
                  <c:v>1239.05</c:v>
                </c:pt>
                <c:pt idx="317">
                  <c:v>1232.94</c:v>
                </c:pt>
                <c:pt idx="318">
                  <c:v>1232.97</c:v>
                </c:pt>
                <c:pt idx="319">
                  <c:v>1218.1099999999999</c:v>
                </c:pt>
                <c:pt idx="320">
                  <c:v>1222.2</c:v>
                </c:pt>
                <c:pt idx="321">
                  <c:v>1225.8599999999999</c:v>
                </c:pt>
                <c:pt idx="322">
                  <c:v>1210.56</c:v>
                </c:pt>
                <c:pt idx="323">
                  <c:v>1203.24</c:v>
                </c:pt>
                <c:pt idx="324">
                  <c:v>1201.32</c:v>
                </c:pt>
                <c:pt idx="325">
                  <c:v>1197.99</c:v>
                </c:pt>
                <c:pt idx="326">
                  <c:v>1201.6600000000001</c:v>
                </c:pt>
                <c:pt idx="327">
                  <c:v>1195.68</c:v>
                </c:pt>
                <c:pt idx="328">
                  <c:v>1194.6300000000001</c:v>
                </c:pt>
                <c:pt idx="329">
                  <c:v>1191.43</c:v>
                </c:pt>
                <c:pt idx="330">
                  <c:v>1177.3</c:v>
                </c:pt>
                <c:pt idx="331">
                  <c:v>1179.33</c:v>
                </c:pt>
                <c:pt idx="332">
                  <c:v>1178.4000000000001</c:v>
                </c:pt>
                <c:pt idx="333">
                  <c:v>1169.3800000000001</c:v>
                </c:pt>
                <c:pt idx="334">
                  <c:v>1178.57</c:v>
                </c:pt>
                <c:pt idx="335">
                  <c:v>1199.81</c:v>
                </c:pt>
                <c:pt idx="336">
                  <c:v>1197.3</c:v>
                </c:pt>
                <c:pt idx="337">
                  <c:v>1198.44</c:v>
                </c:pt>
                <c:pt idx="338">
                  <c:v>1196.5</c:v>
                </c:pt>
                <c:pt idx="339">
                  <c:v>1183.9100000000001</c:v>
                </c:pt>
                <c:pt idx="340">
                  <c:v>1177.83</c:v>
                </c:pt>
                <c:pt idx="341">
                  <c:v>1172.05</c:v>
                </c:pt>
                <c:pt idx="342">
                  <c:v>1176.04</c:v>
                </c:pt>
                <c:pt idx="343">
                  <c:v>1176.93</c:v>
                </c:pt>
                <c:pt idx="344">
                  <c:v>1164.18</c:v>
                </c:pt>
                <c:pt idx="345">
                  <c:v>1152.3599999999999</c:v>
                </c:pt>
                <c:pt idx="346">
                  <c:v>1159.72</c:v>
                </c:pt>
                <c:pt idx="347">
                  <c:v>1147.3</c:v>
                </c:pt>
                <c:pt idx="348">
                  <c:v>1148.08</c:v>
                </c:pt>
                <c:pt idx="349">
                  <c:v>1149.29</c:v>
                </c:pt>
                <c:pt idx="350">
                  <c:v>1141.1400000000001</c:v>
                </c:pt>
                <c:pt idx="351">
                  <c:v>1147.29</c:v>
                </c:pt>
                <c:pt idx="352">
                  <c:v>1150.49</c:v>
                </c:pt>
                <c:pt idx="353">
                  <c:v>1136.69</c:v>
                </c:pt>
                <c:pt idx="354">
                  <c:v>1131.3</c:v>
                </c:pt>
                <c:pt idx="355">
                  <c:v>1116.55</c:v>
                </c:pt>
                <c:pt idx="356">
                  <c:v>1127.1400000000001</c:v>
                </c:pt>
                <c:pt idx="357">
                  <c:v>1131.27</c:v>
                </c:pt>
                <c:pt idx="358">
                  <c:v>1128.77</c:v>
                </c:pt>
                <c:pt idx="359">
                  <c:v>1155.42</c:v>
                </c:pt>
                <c:pt idx="360">
                  <c:v>1151.78</c:v>
                </c:pt>
                <c:pt idx="361">
                  <c:v>1142.3</c:v>
                </c:pt>
                <c:pt idx="362">
                  <c:v>1139.02</c:v>
                </c:pt>
                <c:pt idx="363">
                  <c:v>1124.3699999999999</c:v>
                </c:pt>
                <c:pt idx="364">
                  <c:v>1128.0999999999999</c:v>
                </c:pt>
                <c:pt idx="365">
                  <c:v>1120.3599999999999</c:v>
                </c:pt>
                <c:pt idx="366">
                  <c:v>1124.54</c:v>
                </c:pt>
                <c:pt idx="367">
                  <c:v>1152.83</c:v>
                </c:pt>
                <c:pt idx="368">
                  <c:v>1143.71</c:v>
                </c:pt>
                <c:pt idx="369">
                  <c:v>1140.03</c:v>
                </c:pt>
                <c:pt idx="370">
                  <c:v>1130.46</c:v>
                </c:pt>
                <c:pt idx="371">
                  <c:v>1130.71</c:v>
                </c:pt>
                <c:pt idx="372">
                  <c:v>1123.22</c:v>
                </c:pt>
                <c:pt idx="373">
                  <c:v>1110.8</c:v>
                </c:pt>
                <c:pt idx="374">
                  <c:v>1111.6199999999999</c:v>
                </c:pt>
                <c:pt idx="375">
                  <c:v>1123.48</c:v>
                </c:pt>
                <c:pt idx="376">
                  <c:v>1145.17</c:v>
                </c:pt>
                <c:pt idx="377">
                  <c:v>1138.9100000000001</c:v>
                </c:pt>
                <c:pt idx="378">
                  <c:v>1118.92</c:v>
                </c:pt>
                <c:pt idx="379">
                  <c:v>1103.78</c:v>
                </c:pt>
                <c:pt idx="380">
                  <c:v>1108.03</c:v>
                </c:pt>
                <c:pt idx="381">
                  <c:v>1108.8900000000001</c:v>
                </c:pt>
                <c:pt idx="382">
                  <c:v>1089.31</c:v>
                </c:pt>
                <c:pt idx="383">
                  <c:v>1091.71</c:v>
                </c:pt>
                <c:pt idx="384">
                  <c:v>1100.02</c:v>
                </c:pt>
                <c:pt idx="385">
                  <c:v>1095.95</c:v>
                </c:pt>
                <c:pt idx="386">
                  <c:v>1081</c:v>
                </c:pt>
                <c:pt idx="387">
                  <c:v>1098.05</c:v>
                </c:pt>
                <c:pt idx="388">
                  <c:v>1129.1300000000001</c:v>
                </c:pt>
                <c:pt idx="389">
                  <c:v>1115.47</c:v>
                </c:pt>
                <c:pt idx="390">
                  <c:v>1147.5899999999999</c:v>
                </c:pt>
                <c:pt idx="391">
                  <c:v>1151.54</c:v>
                </c:pt>
                <c:pt idx="392">
                  <c:v>1155.27</c:v>
                </c:pt>
                <c:pt idx="393">
                  <c:v>1136.02</c:v>
                </c:pt>
                <c:pt idx="394">
                  <c:v>1142.97</c:v>
                </c:pt>
                <c:pt idx="395">
                  <c:v>1168.51</c:v>
                </c:pt>
                <c:pt idx="396">
                  <c:v>1168.4000000000001</c:v>
                </c:pt>
                <c:pt idx="397">
                  <c:v>1172.47</c:v>
                </c:pt>
                <c:pt idx="398">
                  <c:v>1178.6500000000001</c:v>
                </c:pt>
                <c:pt idx="399">
                  <c:v>1176.6600000000001</c:v>
                </c:pt>
                <c:pt idx="400">
                  <c:v>1164.43</c:v>
                </c:pt>
                <c:pt idx="401">
                  <c:v>1169.28</c:v>
                </c:pt>
                <c:pt idx="402">
                  <c:v>1184.68</c:v>
                </c:pt>
                <c:pt idx="403">
                  <c:v>1184.6300000000001</c:v>
                </c:pt>
                <c:pt idx="404">
                  <c:v>1183.1099999999999</c:v>
                </c:pt>
                <c:pt idx="405">
                  <c:v>1184.67</c:v>
                </c:pt>
                <c:pt idx="406">
                  <c:v>1178.3499999999999</c:v>
                </c:pt>
                <c:pt idx="407">
                  <c:v>1169.4100000000001</c:v>
                </c:pt>
                <c:pt idx="408">
                  <c:v>1173.4000000000001</c:v>
                </c:pt>
                <c:pt idx="409">
                  <c:v>1163.6400000000001</c:v>
                </c:pt>
                <c:pt idx="410">
                  <c:v>1195.44</c:v>
                </c:pt>
                <c:pt idx="411">
                  <c:v>1201.08</c:v>
                </c:pt>
                <c:pt idx="412">
                  <c:v>1212.33</c:v>
                </c:pt>
                <c:pt idx="413">
                  <c:v>1209.06</c:v>
                </c:pt>
                <c:pt idx="414">
                  <c:v>1208.52</c:v>
                </c:pt>
                <c:pt idx="415">
                  <c:v>1199.25</c:v>
                </c:pt>
                <c:pt idx="416">
                  <c:v>1207.0999999999999</c:v>
                </c:pt>
                <c:pt idx="417">
                  <c:v>1194.74</c:v>
                </c:pt>
                <c:pt idx="418">
                  <c:v>1204.6099999999999</c:v>
                </c:pt>
                <c:pt idx="419">
                  <c:v>1240.47</c:v>
                </c:pt>
                <c:pt idx="420">
                  <c:v>1251.1400000000001</c:v>
                </c:pt>
                <c:pt idx="421">
                  <c:v>1266.27</c:v>
                </c:pt>
                <c:pt idx="422">
                  <c:v>1284.3399999999999</c:v>
                </c:pt>
                <c:pt idx="423">
                  <c:v>1266.4100000000001</c:v>
                </c:pt>
                <c:pt idx="424">
                  <c:v>1294.68</c:v>
                </c:pt>
                <c:pt idx="425">
                  <c:v>1293.18</c:v>
                </c:pt>
                <c:pt idx="426">
                  <c:v>1277.96</c:v>
                </c:pt>
                <c:pt idx="427">
                  <c:v>1273.6199999999999</c:v>
                </c:pt>
                <c:pt idx="428">
                  <c:v>1284.3</c:v>
                </c:pt>
                <c:pt idx="429">
                  <c:v>1311.95</c:v>
                </c:pt>
                <c:pt idx="430">
                  <c:v>1281.33</c:v>
                </c:pt>
                <c:pt idx="431">
                  <c:v>1307.27</c:v>
                </c:pt>
                <c:pt idx="432">
                  <c:v>1321</c:v>
                </c:pt>
                <c:pt idx="433">
                  <c:v>1348.86</c:v>
                </c:pt>
                <c:pt idx="434">
                  <c:v>1353.85</c:v>
                </c:pt>
                <c:pt idx="435">
                  <c:v>1347.22</c:v>
                </c:pt>
                <c:pt idx="436">
                  <c:v>1368.84</c:v>
                </c:pt>
                <c:pt idx="437">
                  <c:v>1363.06</c:v>
                </c:pt>
                <c:pt idx="438">
                  <c:v>1354.75</c:v>
                </c:pt>
                <c:pt idx="439">
                  <c:v>1345.66</c:v>
                </c:pt>
                <c:pt idx="440">
                  <c:v>1342.34</c:v>
                </c:pt>
                <c:pt idx="441">
                  <c:v>1373.3</c:v>
                </c:pt>
                <c:pt idx="442">
                  <c:v>1380.37</c:v>
                </c:pt>
                <c:pt idx="443">
                  <c:v>1391.36</c:v>
                </c:pt>
                <c:pt idx="444">
                  <c:v>1385.98</c:v>
                </c:pt>
                <c:pt idx="445">
                  <c:v>1391.1</c:v>
                </c:pt>
                <c:pt idx="446">
                  <c:v>1359.24</c:v>
                </c:pt>
                <c:pt idx="447">
                  <c:v>1356.31</c:v>
                </c:pt>
                <c:pt idx="448">
                  <c:v>1329.44</c:v>
                </c:pt>
                <c:pt idx="449">
                  <c:v>1335.86</c:v>
                </c:pt>
                <c:pt idx="450">
                  <c:v>1351.61</c:v>
                </c:pt>
                <c:pt idx="451">
                  <c:v>1366.91</c:v>
                </c:pt>
                <c:pt idx="452">
                  <c:v>1363.19</c:v>
                </c:pt>
                <c:pt idx="453">
                  <c:v>1341.22</c:v>
                </c:pt>
                <c:pt idx="454">
                  <c:v>1349.85</c:v>
                </c:pt>
                <c:pt idx="455">
                  <c:v>1341.76</c:v>
                </c:pt>
                <c:pt idx="456">
                  <c:v>1317.3</c:v>
                </c:pt>
                <c:pt idx="457">
                  <c:v>1314.17</c:v>
                </c:pt>
                <c:pt idx="458">
                  <c:v>1344.99</c:v>
                </c:pt>
                <c:pt idx="459">
                  <c:v>1357.84</c:v>
                </c:pt>
                <c:pt idx="460">
                  <c:v>1358.51</c:v>
                </c:pt>
                <c:pt idx="461">
                  <c:v>1389.68</c:v>
                </c:pt>
                <c:pt idx="462">
                  <c:v>1395.37</c:v>
                </c:pt>
                <c:pt idx="463">
                  <c:v>1398.02</c:v>
                </c:pt>
                <c:pt idx="464">
                  <c:v>1372.16</c:v>
                </c:pt>
                <c:pt idx="465">
                  <c:v>1393.57</c:v>
                </c:pt>
                <c:pt idx="466">
                  <c:v>1399.55</c:v>
                </c:pt>
                <c:pt idx="467">
                  <c:v>1389.52</c:v>
                </c:pt>
                <c:pt idx="468">
                  <c:v>1385.37</c:v>
                </c:pt>
                <c:pt idx="469">
                  <c:v>1385.86</c:v>
                </c:pt>
                <c:pt idx="470">
                  <c:v>1386.48</c:v>
                </c:pt>
                <c:pt idx="471">
                  <c:v>1371.7</c:v>
                </c:pt>
                <c:pt idx="472">
                  <c:v>1372.05</c:v>
                </c:pt>
                <c:pt idx="473">
                  <c:v>1384.95</c:v>
                </c:pt>
                <c:pt idx="474">
                  <c:v>1396.63</c:v>
                </c:pt>
                <c:pt idx="475">
                  <c:v>1405.92</c:v>
                </c:pt>
                <c:pt idx="476">
                  <c:v>1401.97</c:v>
                </c:pt>
                <c:pt idx="477">
                  <c:v>1410.43</c:v>
                </c:pt>
                <c:pt idx="478">
                  <c:v>1408.77</c:v>
                </c:pt>
                <c:pt idx="479">
                  <c:v>1402.77</c:v>
                </c:pt>
                <c:pt idx="480">
                  <c:v>1370.28</c:v>
                </c:pt>
                <c:pt idx="481">
                  <c:v>1364.68</c:v>
                </c:pt>
                <c:pt idx="482">
                  <c:v>1353.83</c:v>
                </c:pt>
                <c:pt idx="483">
                  <c:v>1332.08</c:v>
                </c:pt>
                <c:pt idx="484">
                  <c:v>1318.85</c:v>
                </c:pt>
                <c:pt idx="485">
                  <c:v>1331.08</c:v>
                </c:pt>
                <c:pt idx="486">
                  <c:v>1312</c:v>
                </c:pt>
                <c:pt idx="487">
                  <c:v>1301.0899999999999</c:v>
                </c:pt>
                <c:pt idx="488">
                  <c:v>1289.6500000000001</c:v>
                </c:pt>
                <c:pt idx="489">
                  <c:v>1296.44</c:v>
                </c:pt>
                <c:pt idx="490">
                  <c:v>1276.31</c:v>
                </c:pt>
                <c:pt idx="491">
                  <c:v>1276.95</c:v>
                </c:pt>
                <c:pt idx="492">
                  <c:v>1264.3399999999999</c:v>
                </c:pt>
                <c:pt idx="493">
                  <c:v>1258.1099999999999</c:v>
                </c:pt>
                <c:pt idx="494">
                  <c:v>1233.5999999999999</c:v>
                </c:pt>
                <c:pt idx="495">
                  <c:v>1239.72</c:v>
                </c:pt>
                <c:pt idx="496">
                  <c:v>1206.5899999999999</c:v>
                </c:pt>
                <c:pt idx="497">
                  <c:v>1212.58</c:v>
                </c:pt>
                <c:pt idx="498">
                  <c:v>1240.02</c:v>
                </c:pt>
                <c:pt idx="499">
                  <c:v>1234.58</c:v>
                </c:pt>
                <c:pt idx="500">
                  <c:v>1207.26</c:v>
                </c:pt>
                <c:pt idx="501">
                  <c:v>1195.19</c:v>
                </c:pt>
                <c:pt idx="502">
                  <c:v>1209.6099999999999</c:v>
                </c:pt>
                <c:pt idx="503">
                  <c:v>1209.58</c:v>
                </c:pt>
                <c:pt idx="504">
                  <c:v>1201.71</c:v>
                </c:pt>
                <c:pt idx="505">
                  <c:v>1209.21</c:v>
                </c:pt>
                <c:pt idx="506">
                  <c:v>1200.79</c:v>
                </c:pt>
                <c:pt idx="507">
                  <c:v>1177.71</c:v>
                </c:pt>
                <c:pt idx="508">
                  <c:v>1183.01</c:v>
                </c:pt>
                <c:pt idx="509">
                  <c:v>1208.68</c:v>
                </c:pt>
                <c:pt idx="510">
                  <c:v>1201.72</c:v>
                </c:pt>
                <c:pt idx="511">
                  <c:v>1206.8399999999999</c:v>
                </c:pt>
                <c:pt idx="512">
                  <c:v>1224.1099999999999</c:v>
                </c:pt>
                <c:pt idx="513">
                  <c:v>1211.93</c:v>
                </c:pt>
                <c:pt idx="514">
                  <c:v>1193.55</c:v>
                </c:pt>
                <c:pt idx="515">
                  <c:v>1192.78</c:v>
                </c:pt>
                <c:pt idx="516">
                  <c:v>1176.26</c:v>
                </c:pt>
                <c:pt idx="517">
                  <c:v>1160.33</c:v>
                </c:pt>
                <c:pt idx="518">
                  <c:v>1137.55</c:v>
                </c:pt>
                <c:pt idx="519">
                  <c:v>1139.51</c:v>
                </c:pt>
                <c:pt idx="520">
                  <c:v>1140.53</c:v>
                </c:pt>
                <c:pt idx="521">
                  <c:v>1115.4100000000001</c:v>
                </c:pt>
                <c:pt idx="522">
                  <c:v>1134.9000000000001</c:v>
                </c:pt>
                <c:pt idx="523">
                  <c:v>1141.0899999999999</c:v>
                </c:pt>
                <c:pt idx="524">
                  <c:v>1116.5</c:v>
                </c:pt>
                <c:pt idx="525">
                  <c:v>1103.4000000000001</c:v>
                </c:pt>
                <c:pt idx="526">
                  <c:v>1109.3900000000001</c:v>
                </c:pt>
                <c:pt idx="527">
                  <c:v>1119.8800000000001</c:v>
                </c:pt>
                <c:pt idx="528">
                  <c:v>1110.32</c:v>
                </c:pt>
                <c:pt idx="529">
                  <c:v>1099.9000000000001</c:v>
                </c:pt>
                <c:pt idx="530">
                  <c:v>1081.96</c:v>
                </c:pt>
                <c:pt idx="531">
                  <c:v>1069.51</c:v>
                </c:pt>
                <c:pt idx="532">
                  <c:v>1084.6199999999999</c:v>
                </c:pt>
                <c:pt idx="533">
                  <c:v>1078.48</c:v>
                </c:pt>
                <c:pt idx="534">
                  <c:v>1112.3900000000001</c:v>
                </c:pt>
                <c:pt idx="535">
                  <c:v>1114.95</c:v>
                </c:pt>
                <c:pt idx="536">
                  <c:v>1116.42</c:v>
                </c:pt>
                <c:pt idx="537">
                  <c:v>1121.28</c:v>
                </c:pt>
                <c:pt idx="538">
                  <c:v>1110.6199999999999</c:v>
                </c:pt>
                <c:pt idx="539">
                  <c:v>1113.03</c:v>
                </c:pt>
                <c:pt idx="540">
                  <c:v>1106.92</c:v>
                </c:pt>
                <c:pt idx="541">
                  <c:v>1083.18</c:v>
                </c:pt>
                <c:pt idx="542">
                  <c:v>1086.82</c:v>
                </c:pt>
                <c:pt idx="543">
                  <c:v>1088.78</c:v>
                </c:pt>
                <c:pt idx="544">
                  <c:v>1104.01</c:v>
                </c:pt>
                <c:pt idx="545">
                  <c:v>1132.8</c:v>
                </c:pt>
                <c:pt idx="546">
                  <c:v>1134.5</c:v>
                </c:pt>
                <c:pt idx="547">
                  <c:v>1125.8800000000001</c:v>
                </c:pt>
                <c:pt idx="548">
                  <c:v>1125.6600000000001</c:v>
                </c:pt>
                <c:pt idx="549">
                  <c:v>1097.8599999999999</c:v>
                </c:pt>
                <c:pt idx="550">
                  <c:v>1101.5999999999999</c:v>
                </c:pt>
                <c:pt idx="551">
                  <c:v>1087.27</c:v>
                </c:pt>
                <c:pt idx="552">
                  <c:v>1083.4000000000001</c:v>
                </c:pt>
                <c:pt idx="553">
                  <c:v>1089.52</c:v>
                </c:pt>
                <c:pt idx="554">
                  <c:v>1104.17</c:v>
                </c:pt>
                <c:pt idx="555">
                  <c:v>1088.68</c:v>
                </c:pt>
                <c:pt idx="556">
                  <c:v>1080.55</c:v>
                </c:pt>
                <c:pt idx="557">
                  <c:v>1073.58</c:v>
                </c:pt>
                <c:pt idx="558">
                  <c:v>1103.55</c:v>
                </c:pt>
                <c:pt idx="559">
                  <c:v>1088.81</c:v>
                </c:pt>
                <c:pt idx="560">
                  <c:v>1088.24</c:v>
                </c:pt>
                <c:pt idx="561">
                  <c:v>1093.48</c:v>
                </c:pt>
                <c:pt idx="562">
                  <c:v>1098.5899999999999</c:v>
                </c:pt>
                <c:pt idx="563">
                  <c:v>1086.08</c:v>
                </c:pt>
                <c:pt idx="564">
                  <c:v>1074.82</c:v>
                </c:pt>
                <c:pt idx="565">
                  <c:v>1077.24</c:v>
                </c:pt>
                <c:pt idx="566">
                  <c:v>1067.5999999999999</c:v>
                </c:pt>
                <c:pt idx="567">
                  <c:v>1072.51</c:v>
                </c:pt>
                <c:pt idx="568">
                  <c:v>1071.83</c:v>
                </c:pt>
                <c:pt idx="569">
                  <c:v>1059.2</c:v>
                </c:pt>
                <c:pt idx="570">
                  <c:v>1060.23</c:v>
                </c:pt>
                <c:pt idx="571">
                  <c:v>1047.21</c:v>
                </c:pt>
                <c:pt idx="572">
                  <c:v>1059.42</c:v>
                </c:pt>
                <c:pt idx="573">
                  <c:v>1055.53</c:v>
                </c:pt>
                <c:pt idx="574">
                  <c:v>1050.99</c:v>
                </c:pt>
                <c:pt idx="575">
                  <c:v>1039.24</c:v>
                </c:pt>
                <c:pt idx="576">
                  <c:v>1038.3399999999999</c:v>
                </c:pt>
                <c:pt idx="577">
                  <c:v>1055.97</c:v>
                </c:pt>
                <c:pt idx="578">
                  <c:v>1040.06</c:v>
                </c:pt>
                <c:pt idx="579">
                  <c:v>1045.3699999999999</c:v>
                </c:pt>
                <c:pt idx="580">
                  <c:v>1043.54</c:v>
                </c:pt>
                <c:pt idx="581">
                  <c:v>1039.67</c:v>
                </c:pt>
                <c:pt idx="582">
                  <c:v>1041.48</c:v>
                </c:pt>
                <c:pt idx="583">
                  <c:v>1031.6099999999999</c:v>
                </c:pt>
                <c:pt idx="584">
                  <c:v>1012.56</c:v>
                </c:pt>
                <c:pt idx="585">
                  <c:v>1015.15</c:v>
                </c:pt>
                <c:pt idx="586">
                  <c:v>993.26</c:v>
                </c:pt>
                <c:pt idx="587">
                  <c:v>1023.41</c:v>
                </c:pt>
                <c:pt idx="588">
                  <c:v>1066.28</c:v>
                </c:pt>
                <c:pt idx="589">
                  <c:v>1077.92</c:v>
                </c:pt>
                <c:pt idx="590">
                  <c:v>1112.77</c:v>
                </c:pt>
                <c:pt idx="591">
                  <c:v>1152.1300000000001</c:v>
                </c:pt>
                <c:pt idx="592">
                  <c:v>1143.46</c:v>
                </c:pt>
                <c:pt idx="593">
                  <c:v>1120.1099999999999</c:v>
                </c:pt>
                <c:pt idx="594">
                  <c:v>1157.93</c:v>
                </c:pt>
                <c:pt idx="595">
                  <c:v>1135.97</c:v>
                </c:pt>
                <c:pt idx="596">
                  <c:v>1128.05</c:v>
                </c:pt>
                <c:pt idx="597">
                  <c:v>1136.3399999999999</c:v>
                </c:pt>
                <c:pt idx="598">
                  <c:v>1124.01</c:v>
                </c:pt>
                <c:pt idx="599">
                  <c:v>1109.32</c:v>
                </c:pt>
                <c:pt idx="600">
                  <c:v>1131.92</c:v>
                </c:pt>
                <c:pt idx="601">
                  <c:v>1126.33</c:v>
                </c:pt>
                <c:pt idx="602">
                  <c:v>1103.55</c:v>
                </c:pt>
                <c:pt idx="603">
                  <c:v>1104.18</c:v>
                </c:pt>
                <c:pt idx="604">
                  <c:v>1060.1300000000001</c:v>
                </c:pt>
                <c:pt idx="605">
                  <c:v>1061.6400000000001</c:v>
                </c:pt>
                <c:pt idx="606">
                  <c:v>1063.47</c:v>
                </c:pt>
                <c:pt idx="607">
                  <c:v>1066.6400000000001</c:v>
                </c:pt>
                <c:pt idx="608">
                  <c:v>1062.9000000000001</c:v>
                </c:pt>
                <c:pt idx="609">
                  <c:v>1049.97</c:v>
                </c:pt>
                <c:pt idx="610">
                  <c:v>1063.1400000000001</c:v>
                </c:pt>
                <c:pt idx="611">
                  <c:v>1049.19</c:v>
                </c:pt>
                <c:pt idx="612">
                  <c:v>1059.25</c:v>
                </c:pt>
                <c:pt idx="613">
                  <c:v>1069.69</c:v>
                </c:pt>
                <c:pt idx="614">
                  <c:v>1068.68</c:v>
                </c:pt>
                <c:pt idx="615">
                  <c:v>1050.3</c:v>
                </c:pt>
                <c:pt idx="616">
                  <c:v>1038.43</c:v>
                </c:pt>
                <c:pt idx="617">
                  <c:v>1035.73</c:v>
                </c:pt>
                <c:pt idx="618">
                  <c:v>1054.69</c:v>
                </c:pt>
                <c:pt idx="619">
                  <c:v>1032.72</c:v>
                </c:pt>
                <c:pt idx="620">
                  <c:v>1033.8</c:v>
                </c:pt>
                <c:pt idx="621">
                  <c:v>1034.81</c:v>
                </c:pt>
                <c:pt idx="622">
                  <c:v>1037.21</c:v>
                </c:pt>
                <c:pt idx="623">
                  <c:v>1076.28</c:v>
                </c:pt>
                <c:pt idx="624">
                  <c:v>1070.27</c:v>
                </c:pt>
                <c:pt idx="625">
                  <c:v>1072.6199999999999</c:v>
                </c:pt>
                <c:pt idx="626">
                  <c:v>1084.71</c:v>
                </c:pt>
                <c:pt idx="627">
                  <c:v>1084.6500000000001</c:v>
                </c:pt>
                <c:pt idx="628">
                  <c:v>1074.3900000000001</c:v>
                </c:pt>
                <c:pt idx="629">
                  <c:v>1085.03</c:v>
                </c:pt>
                <c:pt idx="630">
                  <c:v>1091.3699999999999</c:v>
                </c:pt>
                <c:pt idx="631">
                  <c:v>1094.3499999999999</c:v>
                </c:pt>
                <c:pt idx="632">
                  <c:v>1084.8800000000001</c:v>
                </c:pt>
                <c:pt idx="633">
                  <c:v>1077.67</c:v>
                </c:pt>
                <c:pt idx="634">
                  <c:v>1076.3399999999999</c:v>
                </c:pt>
                <c:pt idx="635">
                  <c:v>1074.99</c:v>
                </c:pt>
                <c:pt idx="636">
                  <c:v>1061.3499999999999</c:v>
                </c:pt>
                <c:pt idx="637">
                  <c:v>1062.81</c:v>
                </c:pt>
                <c:pt idx="638">
                  <c:v>1058.1500000000001</c:v>
                </c:pt>
                <c:pt idx="639">
                  <c:v>1056.06</c:v>
                </c:pt>
                <c:pt idx="640">
                  <c:v>1058.33</c:v>
                </c:pt>
                <c:pt idx="641">
                  <c:v>1060.25</c:v>
                </c:pt>
                <c:pt idx="642">
                  <c:v>1048.18</c:v>
                </c:pt>
                <c:pt idx="643">
                  <c:v>1049.18</c:v>
                </c:pt>
                <c:pt idx="644">
                  <c:v>1059.53</c:v>
                </c:pt>
                <c:pt idx="645">
                  <c:v>1043.55</c:v>
                </c:pt>
                <c:pt idx="646">
                  <c:v>1037.45</c:v>
                </c:pt>
                <c:pt idx="647">
                  <c:v>1034.29</c:v>
                </c:pt>
                <c:pt idx="648">
                  <c:v>1037.8800000000001</c:v>
                </c:pt>
                <c:pt idx="649">
                  <c:v>1033.27</c:v>
                </c:pt>
                <c:pt idx="650">
                  <c:v>1023</c:v>
                </c:pt>
                <c:pt idx="651">
                  <c:v>1009.37</c:v>
                </c:pt>
                <c:pt idx="652">
                  <c:v>1008.12</c:v>
                </c:pt>
                <c:pt idx="653">
                  <c:v>1034.03</c:v>
                </c:pt>
                <c:pt idx="654">
                  <c:v>1015.51</c:v>
                </c:pt>
                <c:pt idx="655">
                  <c:v>1016.4</c:v>
                </c:pt>
                <c:pt idx="656">
                  <c:v>1012.45</c:v>
                </c:pt>
                <c:pt idx="657">
                  <c:v>1010.7</c:v>
                </c:pt>
                <c:pt idx="658">
                  <c:v>1005.53</c:v>
                </c:pt>
                <c:pt idx="659">
                  <c:v>1003.99</c:v>
                </c:pt>
                <c:pt idx="660">
                  <c:v>1000</c:v>
                </c:pt>
                <c:pt idx="661">
                  <c:v>982.79</c:v>
                </c:pt>
                <c:pt idx="662">
                  <c:v>992.56</c:v>
                </c:pt>
                <c:pt idx="663">
                  <c:v>983.17</c:v>
                </c:pt>
                <c:pt idx="664">
                  <c:v>983.96</c:v>
                </c:pt>
                <c:pt idx="665">
                  <c:v>993.88</c:v>
                </c:pt>
                <c:pt idx="666">
                  <c:v>997.14</c:v>
                </c:pt>
                <c:pt idx="667">
                  <c:v>996.75</c:v>
                </c:pt>
                <c:pt idx="668">
                  <c:v>996.88</c:v>
                </c:pt>
                <c:pt idx="669">
                  <c:v>988.31</c:v>
                </c:pt>
                <c:pt idx="670">
                  <c:v>967.45</c:v>
                </c:pt>
                <c:pt idx="671">
                  <c:v>974.69</c:v>
                </c:pt>
                <c:pt idx="672">
                  <c:v>967.21</c:v>
                </c:pt>
                <c:pt idx="673">
                  <c:v>956.25</c:v>
                </c:pt>
                <c:pt idx="674">
                  <c:v>982.6</c:v>
                </c:pt>
                <c:pt idx="675">
                  <c:v>998.13</c:v>
                </c:pt>
                <c:pt idx="676">
                  <c:v>997.78</c:v>
                </c:pt>
                <c:pt idx="677">
                  <c:v>989.93</c:v>
                </c:pt>
                <c:pt idx="678">
                  <c:v>974.63</c:v>
                </c:pt>
                <c:pt idx="679">
                  <c:v>969.21</c:v>
                </c:pt>
                <c:pt idx="680">
                  <c:v>954.88</c:v>
                </c:pt>
                <c:pt idx="681">
                  <c:v>955.95</c:v>
                </c:pt>
                <c:pt idx="682">
                  <c:v>1006.91</c:v>
                </c:pt>
                <c:pt idx="683">
                  <c:v>993.22</c:v>
                </c:pt>
                <c:pt idx="684">
                  <c:v>1016.86</c:v>
                </c:pt>
                <c:pt idx="685">
                  <c:v>1023.58</c:v>
                </c:pt>
                <c:pt idx="686">
                  <c:v>1020.61</c:v>
                </c:pt>
                <c:pt idx="687">
                  <c:v>1006.06</c:v>
                </c:pt>
                <c:pt idx="688">
                  <c:v>1025.6300000000001</c:v>
                </c:pt>
                <c:pt idx="689">
                  <c:v>1046.74</c:v>
                </c:pt>
                <c:pt idx="690">
                  <c:v>1043.94</c:v>
                </c:pt>
                <c:pt idx="691">
                  <c:v>1045.46</c:v>
                </c:pt>
                <c:pt idx="692">
                  <c:v>1046.76</c:v>
                </c:pt>
                <c:pt idx="693">
                  <c:v>1039.99</c:v>
                </c:pt>
                <c:pt idx="694">
                  <c:v>1035.93</c:v>
                </c:pt>
                <c:pt idx="695">
                  <c:v>1021.32</c:v>
                </c:pt>
                <c:pt idx="696">
                  <c:v>1027.71</c:v>
                </c:pt>
                <c:pt idx="697">
                  <c:v>1023.67</c:v>
                </c:pt>
                <c:pt idx="698">
                  <c:v>1029.8699999999999</c:v>
                </c:pt>
                <c:pt idx="699">
                  <c:v>1048.99</c:v>
                </c:pt>
                <c:pt idx="700">
                  <c:v>1046.54</c:v>
                </c:pt>
                <c:pt idx="701">
                  <c:v>1022.41</c:v>
                </c:pt>
                <c:pt idx="702">
                  <c:v>1027.43</c:v>
                </c:pt>
                <c:pt idx="703">
                  <c:v>1031.03</c:v>
                </c:pt>
                <c:pt idx="704">
                  <c:v>1013.52</c:v>
                </c:pt>
                <c:pt idx="705">
                  <c:v>1003.07</c:v>
                </c:pt>
                <c:pt idx="706">
                  <c:v>992.86</c:v>
                </c:pt>
                <c:pt idx="707">
                  <c:v>978.67</c:v>
                </c:pt>
                <c:pt idx="708">
                  <c:v>981.89</c:v>
                </c:pt>
                <c:pt idx="709">
                  <c:v>964.02</c:v>
                </c:pt>
                <c:pt idx="710">
                  <c:v>959.01</c:v>
                </c:pt>
                <c:pt idx="711">
                  <c:v>964.8</c:v>
                </c:pt>
                <c:pt idx="712">
                  <c:v>962.96</c:v>
                </c:pt>
                <c:pt idx="713">
                  <c:v>960.7</c:v>
                </c:pt>
                <c:pt idx="714">
                  <c:v>955.19</c:v>
                </c:pt>
                <c:pt idx="715">
                  <c:v>937.03</c:v>
                </c:pt>
                <c:pt idx="716">
                  <c:v>942.2</c:v>
                </c:pt>
                <c:pt idx="717">
                  <c:v>978.15</c:v>
                </c:pt>
                <c:pt idx="718">
                  <c:v>962.17</c:v>
                </c:pt>
                <c:pt idx="719">
                  <c:v>955.6</c:v>
                </c:pt>
                <c:pt idx="720">
                  <c:v>973.67</c:v>
                </c:pt>
                <c:pt idx="721">
                  <c:v>984.73</c:v>
                </c:pt>
                <c:pt idx="722">
                  <c:v>1003.45</c:v>
                </c:pt>
                <c:pt idx="723">
                  <c:v>995.42</c:v>
                </c:pt>
                <c:pt idx="724">
                  <c:v>978.7</c:v>
                </c:pt>
                <c:pt idx="725">
                  <c:v>1000.9</c:v>
                </c:pt>
                <c:pt idx="726">
                  <c:v>986.98</c:v>
                </c:pt>
                <c:pt idx="727">
                  <c:v>974.08</c:v>
                </c:pt>
                <c:pt idx="728">
                  <c:v>963.77</c:v>
                </c:pt>
                <c:pt idx="729">
                  <c:v>965.89</c:v>
                </c:pt>
                <c:pt idx="730">
                  <c:v>950.87</c:v>
                </c:pt>
                <c:pt idx="731">
                  <c:v>943.98</c:v>
                </c:pt>
                <c:pt idx="732">
                  <c:v>939.1</c:v>
                </c:pt>
                <c:pt idx="733">
                  <c:v>930.07</c:v>
                </c:pt>
                <c:pt idx="734">
                  <c:v>937.08</c:v>
                </c:pt>
                <c:pt idx="735">
                  <c:v>926.6</c:v>
                </c:pt>
                <c:pt idx="736">
                  <c:v>942.07</c:v>
                </c:pt>
                <c:pt idx="737">
                  <c:v>932.4</c:v>
                </c:pt>
                <c:pt idx="738">
                  <c:v>909.17</c:v>
                </c:pt>
                <c:pt idx="739">
                  <c:v>913.08</c:v>
                </c:pt>
                <c:pt idx="740">
                  <c:v>901.85</c:v>
                </c:pt>
                <c:pt idx="741">
                  <c:v>885.82</c:v>
                </c:pt>
                <c:pt idx="742">
                  <c:v>887.54</c:v>
                </c:pt>
                <c:pt idx="743">
                  <c:v>875.27</c:v>
                </c:pt>
                <c:pt idx="744">
                  <c:v>881.46</c:v>
                </c:pt>
                <c:pt idx="745">
                  <c:v>883.2</c:v>
                </c:pt>
                <c:pt idx="746">
                  <c:v>884.17</c:v>
                </c:pt>
                <c:pt idx="747">
                  <c:v>882.76</c:v>
                </c:pt>
                <c:pt idx="748">
                  <c:v>863.34</c:v>
                </c:pt>
                <c:pt idx="749">
                  <c:v>868.46</c:v>
                </c:pt>
                <c:pt idx="750">
                  <c:v>868.45</c:v>
                </c:pt>
                <c:pt idx="751">
                  <c:v>857.33</c:v>
                </c:pt>
                <c:pt idx="752">
                  <c:v>849.51</c:v>
                </c:pt>
                <c:pt idx="753">
                  <c:v>855.61</c:v>
                </c:pt>
                <c:pt idx="754">
                  <c:v>855.95</c:v>
                </c:pt>
                <c:pt idx="755">
                  <c:v>837.53</c:v>
                </c:pt>
                <c:pt idx="756">
                  <c:v>818.38</c:v>
                </c:pt>
                <c:pt idx="757">
                  <c:v>818.03</c:v>
                </c:pt>
                <c:pt idx="758">
                  <c:v>839</c:v>
                </c:pt>
                <c:pt idx="759">
                  <c:v>837.28</c:v>
                </c:pt>
                <c:pt idx="760">
                  <c:v>905.77</c:v>
                </c:pt>
                <c:pt idx="761">
                  <c:v>912.6</c:v>
                </c:pt>
                <c:pt idx="762">
                  <c:v>894.56</c:v>
                </c:pt>
                <c:pt idx="763">
                  <c:v>892.96</c:v>
                </c:pt>
                <c:pt idx="764">
                  <c:v>883.54</c:v>
                </c:pt>
                <c:pt idx="765">
                  <c:v>866.83</c:v>
                </c:pt>
                <c:pt idx="766">
                  <c:v>879.24</c:v>
                </c:pt>
                <c:pt idx="767">
                  <c:v>880.35</c:v>
                </c:pt>
                <c:pt idx="768">
                  <c:v>906.26</c:v>
                </c:pt>
                <c:pt idx="769">
                  <c:v>896.17</c:v>
                </c:pt>
                <c:pt idx="770">
                  <c:v>900.65</c:v>
                </c:pt>
                <c:pt idx="771">
                  <c:v>893.57</c:v>
                </c:pt>
                <c:pt idx="772">
                  <c:v>898.3</c:v>
                </c:pt>
                <c:pt idx="773">
                  <c:v>916.04</c:v>
                </c:pt>
                <c:pt idx="774">
                  <c:v>903.72</c:v>
                </c:pt>
                <c:pt idx="775">
                  <c:v>898.9</c:v>
                </c:pt>
                <c:pt idx="776">
                  <c:v>878.69</c:v>
                </c:pt>
                <c:pt idx="777">
                  <c:v>859.49</c:v>
                </c:pt>
                <c:pt idx="778">
                  <c:v>855.93</c:v>
                </c:pt>
                <c:pt idx="779">
                  <c:v>849.68</c:v>
                </c:pt>
                <c:pt idx="780">
                  <c:v>842.56</c:v>
                </c:pt>
                <c:pt idx="781">
                  <c:v>844.73</c:v>
                </c:pt>
                <c:pt idx="782">
                  <c:v>829.49</c:v>
                </c:pt>
                <c:pt idx="783">
                  <c:v>824.1</c:v>
                </c:pt>
                <c:pt idx="784">
                  <c:v>851.82</c:v>
                </c:pt>
                <c:pt idx="785">
                  <c:v>846.23</c:v>
                </c:pt>
                <c:pt idx="786">
                  <c:v>849.59</c:v>
                </c:pt>
                <c:pt idx="787">
                  <c:v>841</c:v>
                </c:pt>
                <c:pt idx="788">
                  <c:v>833</c:v>
                </c:pt>
                <c:pt idx="789">
                  <c:v>835.61</c:v>
                </c:pt>
                <c:pt idx="790">
                  <c:v>842.64</c:v>
                </c:pt>
                <c:pt idx="791">
                  <c:v>843.99</c:v>
                </c:pt>
                <c:pt idx="792">
                  <c:v>859.69</c:v>
                </c:pt>
                <c:pt idx="793">
                  <c:v>856.86</c:v>
                </c:pt>
                <c:pt idx="794">
                  <c:v>876.48</c:v>
                </c:pt>
                <c:pt idx="795">
                  <c:v>894.01</c:v>
                </c:pt>
                <c:pt idx="796">
                  <c:v>890.89</c:v>
                </c:pt>
                <c:pt idx="797">
                  <c:v>888.16</c:v>
                </c:pt>
                <c:pt idx="798">
                  <c:v>891.61</c:v>
                </c:pt>
                <c:pt idx="799">
                  <c:v>903.6</c:v>
                </c:pt>
                <c:pt idx="800">
                  <c:v>909.57</c:v>
                </c:pt>
                <c:pt idx="801">
                  <c:v>904.15</c:v>
                </c:pt>
                <c:pt idx="802">
                  <c:v>923.8</c:v>
                </c:pt>
                <c:pt idx="803">
                  <c:v>927.47</c:v>
                </c:pt>
                <c:pt idx="804">
                  <c:v>933.09</c:v>
                </c:pt>
                <c:pt idx="805">
                  <c:v>940.37</c:v>
                </c:pt>
                <c:pt idx="806">
                  <c:v>953.99</c:v>
                </c:pt>
                <c:pt idx="807">
                  <c:v>938.32</c:v>
                </c:pt>
                <c:pt idx="808">
                  <c:v>954.5</c:v>
                </c:pt>
                <c:pt idx="809">
                  <c:v>945.06</c:v>
                </c:pt>
                <c:pt idx="810">
                  <c:v>953.01</c:v>
                </c:pt>
                <c:pt idx="811">
                  <c:v>920.67</c:v>
                </c:pt>
                <c:pt idx="812">
                  <c:v>923.04</c:v>
                </c:pt>
                <c:pt idx="813">
                  <c:v>931.67</c:v>
                </c:pt>
                <c:pt idx="814">
                  <c:v>923.41</c:v>
                </c:pt>
                <c:pt idx="815">
                  <c:v>930.65</c:v>
                </c:pt>
                <c:pt idx="816">
                  <c:v>930.12</c:v>
                </c:pt>
                <c:pt idx="817">
                  <c:v>928.26</c:v>
                </c:pt>
                <c:pt idx="818">
                  <c:v>917.37</c:v>
                </c:pt>
                <c:pt idx="819">
                  <c:v>914.88</c:v>
                </c:pt>
                <c:pt idx="820">
                  <c:v>927.92</c:v>
                </c:pt>
                <c:pt idx="821">
                  <c:v>944.56</c:v>
                </c:pt>
                <c:pt idx="822">
                  <c:v>947.87</c:v>
                </c:pt>
                <c:pt idx="823">
                  <c:v>952.72</c:v>
                </c:pt>
                <c:pt idx="824">
                  <c:v>936.61</c:v>
                </c:pt>
                <c:pt idx="825">
                  <c:v>952.76</c:v>
                </c:pt>
                <c:pt idx="826">
                  <c:v>955.28</c:v>
                </c:pt>
                <c:pt idx="827">
                  <c:v>949.07</c:v>
                </c:pt>
                <c:pt idx="828">
                  <c:v>949.51</c:v>
                </c:pt>
                <c:pt idx="829">
                  <c:v>963.77</c:v>
                </c:pt>
                <c:pt idx="830">
                  <c:v>970.19</c:v>
                </c:pt>
                <c:pt idx="831">
                  <c:v>969.6</c:v>
                </c:pt>
                <c:pt idx="832">
                  <c:v>967.5</c:v>
                </c:pt>
                <c:pt idx="833">
                  <c:v>971.14</c:v>
                </c:pt>
                <c:pt idx="834">
                  <c:v>961.92</c:v>
                </c:pt>
                <c:pt idx="835">
                  <c:v>944.41</c:v>
                </c:pt>
                <c:pt idx="836">
                  <c:v>923.27</c:v>
                </c:pt>
                <c:pt idx="837">
                  <c:v>916.15</c:v>
                </c:pt>
                <c:pt idx="838">
                  <c:v>918.49</c:v>
                </c:pt>
                <c:pt idx="839">
                  <c:v>904.21</c:v>
                </c:pt>
                <c:pt idx="840">
                  <c:v>903.72</c:v>
                </c:pt>
                <c:pt idx="841">
                  <c:v>915.98</c:v>
                </c:pt>
                <c:pt idx="842">
                  <c:v>917.39</c:v>
                </c:pt>
                <c:pt idx="843">
                  <c:v>907.32</c:v>
                </c:pt>
                <c:pt idx="844">
                  <c:v>919.72</c:v>
                </c:pt>
                <c:pt idx="845">
                  <c:v>923.49</c:v>
                </c:pt>
                <c:pt idx="846">
                  <c:v>916.5</c:v>
                </c:pt>
                <c:pt idx="847">
                  <c:v>904.83</c:v>
                </c:pt>
                <c:pt idx="848">
                  <c:v>897.62</c:v>
                </c:pt>
                <c:pt idx="849">
                  <c:v>902.37</c:v>
                </c:pt>
                <c:pt idx="850">
                  <c:v>898.74</c:v>
                </c:pt>
                <c:pt idx="851">
                  <c:v>899.92</c:v>
                </c:pt>
                <c:pt idx="852">
                  <c:v>904.41</c:v>
                </c:pt>
                <c:pt idx="853">
                  <c:v>906.65</c:v>
                </c:pt>
                <c:pt idx="854">
                  <c:v>894.27</c:v>
                </c:pt>
                <c:pt idx="855">
                  <c:v>875.82</c:v>
                </c:pt>
                <c:pt idx="856">
                  <c:v>875.85</c:v>
                </c:pt>
                <c:pt idx="857">
                  <c:v>867.73</c:v>
                </c:pt>
                <c:pt idx="858">
                  <c:v>876.28</c:v>
                </c:pt>
                <c:pt idx="859">
                  <c:v>872.87</c:v>
                </c:pt>
                <c:pt idx="860">
                  <c:v>882.48</c:v>
                </c:pt>
                <c:pt idx="861">
                  <c:v>874.58</c:v>
                </c:pt>
                <c:pt idx="862">
                  <c:v>878.36</c:v>
                </c:pt>
                <c:pt idx="863">
                  <c:v>877.28</c:v>
                </c:pt>
                <c:pt idx="864">
                  <c:v>881.52</c:v>
                </c:pt>
                <c:pt idx="865">
                  <c:v>879.25</c:v>
                </c:pt>
                <c:pt idx="866">
                  <c:v>862.97</c:v>
                </c:pt>
                <c:pt idx="867">
                  <c:v>864.79</c:v>
                </c:pt>
                <c:pt idx="868">
                  <c:v>862.15</c:v>
                </c:pt>
                <c:pt idx="869">
                  <c:v>856.64</c:v>
                </c:pt>
                <c:pt idx="870">
                  <c:v>863.12</c:v>
                </c:pt>
                <c:pt idx="871">
                  <c:v>862.66</c:v>
                </c:pt>
                <c:pt idx="872">
                  <c:v>882.24</c:v>
                </c:pt>
                <c:pt idx="873">
                  <c:v>883.87</c:v>
                </c:pt>
                <c:pt idx="874">
                  <c:v>869.62</c:v>
                </c:pt>
                <c:pt idx="875">
                  <c:v>876.23</c:v>
                </c:pt>
                <c:pt idx="876">
                  <c:v>881.49</c:v>
                </c:pt>
                <c:pt idx="877">
                  <c:v>884.11</c:v>
                </c:pt>
                <c:pt idx="878">
                  <c:v>880.17</c:v>
                </c:pt>
                <c:pt idx="879">
                  <c:v>871.31</c:v>
                </c:pt>
                <c:pt idx="880">
                  <c:v>873.83</c:v>
                </c:pt>
                <c:pt idx="881">
                  <c:v>873.07</c:v>
                </c:pt>
                <c:pt idx="882">
                  <c:v>869.94</c:v>
                </c:pt>
                <c:pt idx="883">
                  <c:v>859.61</c:v>
                </c:pt>
                <c:pt idx="884">
                  <c:v>866.08</c:v>
                </c:pt>
                <c:pt idx="885">
                  <c:v>873.84</c:v>
                </c:pt>
                <c:pt idx="886">
                  <c:v>874.06</c:v>
                </c:pt>
                <c:pt idx="887">
                  <c:v>887.36</c:v>
                </c:pt>
                <c:pt idx="888">
                  <c:v>888.52</c:v>
                </c:pt>
                <c:pt idx="889">
                  <c:v>889.1</c:v>
                </c:pt>
                <c:pt idx="890">
                  <c:v>898.15</c:v>
                </c:pt>
                <c:pt idx="891">
                  <c:v>896.43</c:v>
                </c:pt>
                <c:pt idx="892">
                  <c:v>902.56</c:v>
                </c:pt>
                <c:pt idx="893">
                  <c:v>902.91</c:v>
                </c:pt>
                <c:pt idx="894">
                  <c:v>907.32</c:v>
                </c:pt>
                <c:pt idx="895">
                  <c:v>903.14</c:v>
                </c:pt>
                <c:pt idx="896">
                  <c:v>908.75</c:v>
                </c:pt>
                <c:pt idx="897">
                  <c:v>915.89</c:v>
                </c:pt>
                <c:pt idx="898">
                  <c:v>922.38</c:v>
                </c:pt>
                <c:pt idx="899">
                  <c:v>919.36</c:v>
                </c:pt>
                <c:pt idx="900">
                  <c:v>920.92</c:v>
                </c:pt>
                <c:pt idx="901">
                  <c:v>932.03</c:v>
                </c:pt>
                <c:pt idx="902">
                  <c:v>923.45</c:v>
                </c:pt>
                <c:pt idx="903">
                  <c:v>941.43</c:v>
                </c:pt>
                <c:pt idx="904">
                  <c:v>959.13</c:v>
                </c:pt>
                <c:pt idx="905">
                  <c:v>970.03</c:v>
                </c:pt>
                <c:pt idx="906">
                  <c:v>975.25</c:v>
                </c:pt>
                <c:pt idx="907">
                  <c:v>978.15</c:v>
                </c:pt>
                <c:pt idx="908">
                  <c:v>973.48</c:v>
                </c:pt>
                <c:pt idx="909">
                  <c:v>983.72</c:v>
                </c:pt>
                <c:pt idx="910">
                  <c:v>978.81</c:v>
                </c:pt>
                <c:pt idx="911">
                  <c:v>961.44</c:v>
                </c:pt>
                <c:pt idx="912">
                  <c:v>964.29</c:v>
                </c:pt>
                <c:pt idx="913">
                  <c:v>983.62</c:v>
                </c:pt>
                <c:pt idx="914">
                  <c:v>991.22</c:v>
                </c:pt>
                <c:pt idx="915">
                  <c:v>993.34</c:v>
                </c:pt>
                <c:pt idx="916">
                  <c:v>996.16</c:v>
                </c:pt>
                <c:pt idx="917">
                  <c:v>999.09</c:v>
                </c:pt>
                <c:pt idx="918">
                  <c:v>1009.6</c:v>
                </c:pt>
                <c:pt idx="919">
                  <c:v>1033.23</c:v>
                </c:pt>
                <c:pt idx="920">
                  <c:v>1029.94</c:v>
                </c:pt>
                <c:pt idx="921">
                  <c:v>1033.07</c:v>
                </c:pt>
                <c:pt idx="922">
                  <c:v>1019.6</c:v>
                </c:pt>
                <c:pt idx="923">
                  <c:v>1032.3399999999999</c:v>
                </c:pt>
                <c:pt idx="924">
                  <c:v>1031.6099999999999</c:v>
                </c:pt>
                <c:pt idx="925">
                  <c:v>1038.53</c:v>
                </c:pt>
                <c:pt idx="926">
                  <c:v>1041.6600000000001</c:v>
                </c:pt>
                <c:pt idx="927">
                  <c:v>1020.12</c:v>
                </c:pt>
                <c:pt idx="928">
                  <c:v>1020.37</c:v>
                </c:pt>
                <c:pt idx="929">
                  <c:v>1021.64</c:v>
                </c:pt>
                <c:pt idx="930">
                  <c:v>1038.82</c:v>
                </c:pt>
                <c:pt idx="931">
                  <c:v>1037.8900000000001</c:v>
                </c:pt>
                <c:pt idx="932">
                  <c:v>1041.3699999999999</c:v>
                </c:pt>
                <c:pt idx="933">
                  <c:v>1049.44</c:v>
                </c:pt>
                <c:pt idx="934">
                  <c:v>1047.8499999999999</c:v>
                </c:pt>
                <c:pt idx="935">
                  <c:v>1053.01</c:v>
                </c:pt>
                <c:pt idx="936">
                  <c:v>1056.6199999999999</c:v>
                </c:pt>
                <c:pt idx="937">
                  <c:v>1038.67</c:v>
                </c:pt>
                <c:pt idx="938">
                  <c:v>1041.68</c:v>
                </c:pt>
                <c:pt idx="939">
                  <c:v>1038.8699999999999</c:v>
                </c:pt>
                <c:pt idx="940">
                  <c:v>1014.97</c:v>
                </c:pt>
                <c:pt idx="941">
                  <c:v>1009.27</c:v>
                </c:pt>
                <c:pt idx="942">
                  <c:v>1004.34</c:v>
                </c:pt>
                <c:pt idx="943">
                  <c:v>1008.9</c:v>
                </c:pt>
                <c:pt idx="944">
                  <c:v>1019.86</c:v>
                </c:pt>
                <c:pt idx="945">
                  <c:v>1018.27</c:v>
                </c:pt>
                <c:pt idx="946">
                  <c:v>1028.96</c:v>
                </c:pt>
                <c:pt idx="947">
                  <c:v>1027.6199999999999</c:v>
                </c:pt>
                <c:pt idx="948">
                  <c:v>1024.02</c:v>
                </c:pt>
                <c:pt idx="949">
                  <c:v>1037.6600000000001</c:v>
                </c:pt>
                <c:pt idx="950">
                  <c:v>1040.76</c:v>
                </c:pt>
                <c:pt idx="951">
                  <c:v>1047.67</c:v>
                </c:pt>
                <c:pt idx="952">
                  <c:v>1048.54</c:v>
                </c:pt>
                <c:pt idx="953">
                  <c:v>1042.5999999999999</c:v>
                </c:pt>
                <c:pt idx="954">
                  <c:v>1050.71</c:v>
                </c:pt>
                <c:pt idx="955">
                  <c:v>1055.98</c:v>
                </c:pt>
                <c:pt idx="956">
                  <c:v>1065.29</c:v>
                </c:pt>
                <c:pt idx="957">
                  <c:v>1055.6300000000001</c:v>
                </c:pt>
                <c:pt idx="958">
                  <c:v>1061.0899999999999</c:v>
                </c:pt>
                <c:pt idx="959">
                  <c:v>1079.32</c:v>
                </c:pt>
                <c:pt idx="960">
                  <c:v>1089.3699999999999</c:v>
                </c:pt>
                <c:pt idx="961">
                  <c:v>1099.97</c:v>
                </c:pt>
                <c:pt idx="962">
                  <c:v>1103.24</c:v>
                </c:pt>
                <c:pt idx="963">
                  <c:v>1103.1500000000001</c:v>
                </c:pt>
                <c:pt idx="964">
                  <c:v>1117.9100000000001</c:v>
                </c:pt>
                <c:pt idx="965">
                  <c:v>1123.31</c:v>
                </c:pt>
                <c:pt idx="966">
                  <c:v>1117.07</c:v>
                </c:pt>
                <c:pt idx="967">
                  <c:v>1093.93</c:v>
                </c:pt>
                <c:pt idx="968">
                  <c:v>1118.6099999999999</c:v>
                </c:pt>
                <c:pt idx="969">
                  <c:v>1124.4100000000001</c:v>
                </c:pt>
                <c:pt idx="970">
                  <c:v>1131.28</c:v>
                </c:pt>
                <c:pt idx="971">
                  <c:v>1138.24</c:v>
                </c:pt>
                <c:pt idx="972">
                  <c:v>1134.3800000000001</c:v>
                </c:pt>
                <c:pt idx="973">
                  <c:v>1149.1600000000001</c:v>
                </c:pt>
                <c:pt idx="974">
                  <c:v>1142.7</c:v>
                </c:pt>
                <c:pt idx="975">
                  <c:v>1141.93</c:v>
                </c:pt>
                <c:pt idx="976">
                  <c:v>1155.73</c:v>
                </c:pt>
                <c:pt idx="977">
                  <c:v>1155.27</c:v>
                </c:pt>
                <c:pt idx="978">
                  <c:v>1172.3499999999999</c:v>
                </c:pt>
                <c:pt idx="979">
                  <c:v>1218.45</c:v>
                </c:pt>
                <c:pt idx="980">
                  <c:v>1251.6099999999999</c:v>
                </c:pt>
                <c:pt idx="981">
                  <c:v>1265.93</c:v>
                </c:pt>
                <c:pt idx="982">
                  <c:v>1255.04</c:v>
                </c:pt>
                <c:pt idx="983">
                  <c:v>1296.26</c:v>
                </c:pt>
                <c:pt idx="984">
                  <c:v>1352.16</c:v>
                </c:pt>
                <c:pt idx="985">
                  <c:v>1331.13</c:v>
                </c:pt>
                <c:pt idx="986">
                  <c:v>1335.52</c:v>
                </c:pt>
                <c:pt idx="987">
                  <c:v>1331.2</c:v>
                </c:pt>
                <c:pt idx="988">
                  <c:v>1366.1</c:v>
                </c:pt>
                <c:pt idx="989">
                  <c:v>1373.67</c:v>
                </c:pt>
                <c:pt idx="990">
                  <c:v>1317.65</c:v>
                </c:pt>
                <c:pt idx="991">
                  <c:v>1308.24</c:v>
                </c:pt>
                <c:pt idx="992">
                  <c:v>1307.7</c:v>
                </c:pt>
                <c:pt idx="993">
                  <c:v>1331.02</c:v>
                </c:pt>
                <c:pt idx="994">
                  <c:v>1366.29</c:v>
                </c:pt>
                <c:pt idx="995">
                  <c:v>1378.76</c:v>
                </c:pt>
                <c:pt idx="996">
                  <c:v>1365.45</c:v>
                </c:pt>
                <c:pt idx="997">
                  <c:v>1402.88</c:v>
                </c:pt>
                <c:pt idx="998">
                  <c:v>1390.12</c:v>
                </c:pt>
                <c:pt idx="999">
                  <c:v>1403.16</c:v>
                </c:pt>
                <c:pt idx="1000">
                  <c:v>1399.14</c:v>
                </c:pt>
                <c:pt idx="1001">
                  <c:v>1320.23</c:v>
                </c:pt>
                <c:pt idx="1002">
                  <c:v>1325.98</c:v>
                </c:pt>
                <c:pt idx="1003">
                  <c:v>1294.19</c:v>
                </c:pt>
                <c:pt idx="1004">
                  <c:v>1297.67</c:v>
                </c:pt>
                <c:pt idx="1005">
                  <c:v>1298.28</c:v>
                </c:pt>
                <c:pt idx="1006">
                  <c:v>1283.8800000000001</c:v>
                </c:pt>
                <c:pt idx="1007">
                  <c:v>1285.3900000000001</c:v>
                </c:pt>
                <c:pt idx="1008">
                  <c:v>1318.01</c:v>
                </c:pt>
                <c:pt idx="1009">
                  <c:v>1334.89</c:v>
                </c:pt>
                <c:pt idx="1010">
                  <c:v>1338.22</c:v>
                </c:pt>
                <c:pt idx="1011">
                  <c:v>1333.53</c:v>
                </c:pt>
                <c:pt idx="1012">
                  <c:v>1331.55</c:v>
                </c:pt>
                <c:pt idx="1013">
                  <c:v>1339.45</c:v>
                </c:pt>
                <c:pt idx="1014">
                  <c:v>1363.41</c:v>
                </c:pt>
                <c:pt idx="1015">
                  <c:v>1363.9</c:v>
                </c:pt>
                <c:pt idx="1016">
                  <c:v>1362.89</c:v>
                </c:pt>
                <c:pt idx="1017">
                  <c:v>1395.12</c:v>
                </c:pt>
                <c:pt idx="1018">
                  <c:v>1393.96</c:v>
                </c:pt>
                <c:pt idx="1019">
                  <c:v>1420.33</c:v>
                </c:pt>
                <c:pt idx="1020">
                  <c:v>1411.01</c:v>
                </c:pt>
                <c:pt idx="1021">
                  <c:v>1393.01</c:v>
                </c:pt>
                <c:pt idx="1022">
                  <c:v>1418.68</c:v>
                </c:pt>
                <c:pt idx="1023">
                  <c:v>1410.43</c:v>
                </c:pt>
                <c:pt idx="1024">
                  <c:v>1412.12</c:v>
                </c:pt>
                <c:pt idx="1025">
                  <c:v>1418.58</c:v>
                </c:pt>
                <c:pt idx="1026">
                  <c:v>1419.2</c:v>
                </c:pt>
                <c:pt idx="1027">
                  <c:v>1346.09</c:v>
                </c:pt>
                <c:pt idx="1028">
                  <c:v>1357.13</c:v>
                </c:pt>
                <c:pt idx="1029">
                  <c:v>1372.25</c:v>
                </c:pt>
                <c:pt idx="1030">
                  <c:v>1373.42</c:v>
                </c:pt>
                <c:pt idx="1031">
                  <c:v>1336.64</c:v>
                </c:pt>
                <c:pt idx="1032">
                  <c:v>1345.19</c:v>
                </c:pt>
                <c:pt idx="1033">
                  <c:v>1356.03</c:v>
                </c:pt>
                <c:pt idx="1034">
                  <c:v>1358.12</c:v>
                </c:pt>
                <c:pt idx="1035">
                  <c:v>1374.17</c:v>
                </c:pt>
                <c:pt idx="1036">
                  <c:v>1371.3</c:v>
                </c:pt>
                <c:pt idx="1037">
                  <c:v>1355.55</c:v>
                </c:pt>
                <c:pt idx="1038">
                  <c:v>1341.39</c:v>
                </c:pt>
                <c:pt idx="1039">
                  <c:v>1294.33</c:v>
                </c:pt>
                <c:pt idx="1040">
                  <c:v>1282.06</c:v>
                </c:pt>
                <c:pt idx="1041">
                  <c:v>1275.0899999999999</c:v>
                </c:pt>
                <c:pt idx="1042">
                  <c:v>1271.74</c:v>
                </c:pt>
                <c:pt idx="1043">
                  <c:v>1241.9100000000001</c:v>
                </c:pt>
                <c:pt idx="1044">
                  <c:v>1224.0999999999999</c:v>
                </c:pt>
                <c:pt idx="1045">
                  <c:v>1252.3900000000001</c:v>
                </c:pt>
                <c:pt idx="1046">
                  <c:v>1251.3</c:v>
                </c:pt>
                <c:pt idx="1047">
                  <c:v>1271.47</c:v>
                </c:pt>
                <c:pt idx="1048">
                  <c:v>1275.6500000000001</c:v>
                </c:pt>
                <c:pt idx="1049">
                  <c:v>1245.72</c:v>
                </c:pt>
                <c:pt idx="1050">
                  <c:v>1265.8599999999999</c:v>
                </c:pt>
                <c:pt idx="1051">
                  <c:v>1283.57</c:v>
                </c:pt>
                <c:pt idx="1052">
                  <c:v>1271.6300000000001</c:v>
                </c:pt>
                <c:pt idx="1053">
                  <c:v>1267.8699999999999</c:v>
                </c:pt>
                <c:pt idx="1054">
                  <c:v>1270.56</c:v>
                </c:pt>
                <c:pt idx="1055">
                  <c:v>1285.27</c:v>
                </c:pt>
                <c:pt idx="1056">
                  <c:v>1285.68</c:v>
                </c:pt>
                <c:pt idx="1057">
                  <c:v>1292.4000000000001</c:v>
                </c:pt>
                <c:pt idx="1058">
                  <c:v>1295.44</c:v>
                </c:pt>
                <c:pt idx="1059">
                  <c:v>1325.89</c:v>
                </c:pt>
                <c:pt idx="1060">
                  <c:v>1330.16</c:v>
                </c:pt>
                <c:pt idx="1061">
                  <c:v>1334.67</c:v>
                </c:pt>
                <c:pt idx="1062">
                  <c:v>1338.69</c:v>
                </c:pt>
                <c:pt idx="1063">
                  <c:v>1318.1</c:v>
                </c:pt>
                <c:pt idx="1064">
                  <c:v>1337.24</c:v>
                </c:pt>
                <c:pt idx="1065">
                  <c:v>1340.68</c:v>
                </c:pt>
                <c:pt idx="1066">
                  <c:v>1346.37</c:v>
                </c:pt>
                <c:pt idx="1067">
                  <c:v>1328.38</c:v>
                </c:pt>
                <c:pt idx="1068">
                  <c:v>1332.15</c:v>
                </c:pt>
                <c:pt idx="1069">
                  <c:v>1338.76</c:v>
                </c:pt>
                <c:pt idx="1070">
                  <c:v>1347.64</c:v>
                </c:pt>
                <c:pt idx="1071">
                  <c:v>1338.39</c:v>
                </c:pt>
                <c:pt idx="1072">
                  <c:v>1338.28</c:v>
                </c:pt>
                <c:pt idx="1073">
                  <c:v>1362.32</c:v>
                </c:pt>
                <c:pt idx="1074">
                  <c:v>1375.56</c:v>
                </c:pt>
                <c:pt idx="1075">
                  <c:v>1378.31</c:v>
                </c:pt>
                <c:pt idx="1076">
                  <c:v>1378.46</c:v>
                </c:pt>
                <c:pt idx="1077">
                  <c:v>1387.37</c:v>
                </c:pt>
                <c:pt idx="1078">
                  <c:v>1374.85</c:v>
                </c:pt>
                <c:pt idx="1079">
                  <c:v>1372.4</c:v>
                </c:pt>
                <c:pt idx="1080">
                  <c:v>1357.65</c:v>
                </c:pt>
                <c:pt idx="1081">
                  <c:v>1371.12</c:v>
                </c:pt>
                <c:pt idx="1082">
                  <c:v>1387</c:v>
                </c:pt>
                <c:pt idx="1083">
                  <c:v>1403.27</c:v>
                </c:pt>
                <c:pt idx="1084">
                  <c:v>1436.07</c:v>
                </c:pt>
                <c:pt idx="1085">
                  <c:v>1437.25</c:v>
                </c:pt>
                <c:pt idx="1086">
                  <c:v>1435.91</c:v>
                </c:pt>
                <c:pt idx="1087">
                  <c:v>1426.5</c:v>
                </c:pt>
                <c:pt idx="1088">
                  <c:v>1430.88</c:v>
                </c:pt>
                <c:pt idx="1089">
                  <c:v>1418.52</c:v>
                </c:pt>
                <c:pt idx="1090">
                  <c:v>1414.45</c:v>
                </c:pt>
                <c:pt idx="1091">
                  <c:v>1437.59</c:v>
                </c:pt>
                <c:pt idx="1092">
                  <c:v>1439.38</c:v>
                </c:pt>
                <c:pt idx="1093">
                  <c:v>1440.18</c:v>
                </c:pt>
                <c:pt idx="1094">
                  <c:v>1408.72</c:v>
                </c:pt>
                <c:pt idx="1095">
                  <c:v>1440.05</c:v>
                </c:pt>
                <c:pt idx="1096">
                  <c:v>1446.83</c:v>
                </c:pt>
                <c:pt idx="1097">
                  <c:v>1456.1</c:v>
                </c:pt>
                <c:pt idx="1098">
                  <c:v>1439.05</c:v>
                </c:pt>
                <c:pt idx="1099">
                  <c:v>1446.24</c:v>
                </c:pt>
                <c:pt idx="1100">
                  <c:v>1464.47</c:v>
                </c:pt>
                <c:pt idx="1101">
                  <c:v>1479.41</c:v>
                </c:pt>
                <c:pt idx="1102">
                  <c:v>1479.66</c:v>
                </c:pt>
                <c:pt idx="1103">
                  <c:v>1488.29</c:v>
                </c:pt>
                <c:pt idx="1104">
                  <c:v>1507.89</c:v>
                </c:pt>
                <c:pt idx="1105">
                  <c:v>1516.1</c:v>
                </c:pt>
                <c:pt idx="1106">
                  <c:v>1498.17</c:v>
                </c:pt>
                <c:pt idx="1107">
                  <c:v>1524.71</c:v>
                </c:pt>
                <c:pt idx="1108">
                  <c:v>1504.06</c:v>
                </c:pt>
                <c:pt idx="1109">
                  <c:v>1475.78</c:v>
                </c:pt>
                <c:pt idx="1110">
                  <c:v>1493.78</c:v>
                </c:pt>
                <c:pt idx="1111">
                  <c:v>1534.76</c:v>
                </c:pt>
                <c:pt idx="1112">
                  <c:v>1533.29</c:v>
                </c:pt>
                <c:pt idx="1113">
                  <c:v>1562.08</c:v>
                </c:pt>
                <c:pt idx="1114">
                  <c:v>1593.16</c:v>
                </c:pt>
                <c:pt idx="1115">
                  <c:v>1612.25</c:v>
                </c:pt>
                <c:pt idx="1116">
                  <c:v>1624.03</c:v>
                </c:pt>
                <c:pt idx="1117">
                  <c:v>1634.91</c:v>
                </c:pt>
                <c:pt idx="1118">
                  <c:v>1636.58</c:v>
                </c:pt>
                <c:pt idx="1119">
                  <c:v>1651.8</c:v>
                </c:pt>
                <c:pt idx="1120">
                  <c:v>1644.01</c:v>
                </c:pt>
                <c:pt idx="1121">
                  <c:v>1667.14</c:v>
                </c:pt>
                <c:pt idx="1122">
                  <c:v>1714.36</c:v>
                </c:pt>
                <c:pt idx="1123">
                  <c:v>1729.22</c:v>
                </c:pt>
                <c:pt idx="1124">
                  <c:v>1780.74</c:v>
                </c:pt>
                <c:pt idx="1125">
                  <c:v>1794.23</c:v>
                </c:pt>
                <c:pt idx="1126">
                  <c:v>1779.41</c:v>
                </c:pt>
                <c:pt idx="1127">
                  <c:v>1775.71</c:v>
                </c:pt>
                <c:pt idx="1128">
                  <c:v>1711.58</c:v>
                </c:pt>
                <c:pt idx="1129">
                  <c:v>1789.92</c:v>
                </c:pt>
                <c:pt idx="1130">
                  <c:v>1802.79</c:v>
                </c:pt>
                <c:pt idx="1131">
                  <c:v>1803.86</c:v>
                </c:pt>
                <c:pt idx="1132">
                  <c:v>1836.14</c:v>
                </c:pt>
                <c:pt idx="1133">
                  <c:v>1867.64</c:v>
                </c:pt>
                <c:pt idx="1134">
                  <c:v>1916.11</c:v>
                </c:pt>
                <c:pt idx="1135">
                  <c:v>1921.44</c:v>
                </c:pt>
                <c:pt idx="1136">
                  <c:v>1936.55</c:v>
                </c:pt>
                <c:pt idx="1137">
                  <c:v>1908.99</c:v>
                </c:pt>
                <c:pt idx="1138">
                  <c:v>1895.64</c:v>
                </c:pt>
                <c:pt idx="1139">
                  <c:v>1939.1</c:v>
                </c:pt>
                <c:pt idx="1140">
                  <c:v>1938.24</c:v>
                </c:pt>
                <c:pt idx="1141">
                  <c:v>1982.88</c:v>
                </c:pt>
                <c:pt idx="1142">
                  <c:v>1979.93</c:v>
                </c:pt>
                <c:pt idx="1143">
                  <c:v>2041.05</c:v>
                </c:pt>
                <c:pt idx="1144">
                  <c:v>2067.09</c:v>
                </c:pt>
                <c:pt idx="1145">
                  <c:v>2072.88</c:v>
                </c:pt>
                <c:pt idx="1146">
                  <c:v>2131.56</c:v>
                </c:pt>
                <c:pt idx="1147">
                  <c:v>2200.09</c:v>
                </c:pt>
                <c:pt idx="1148">
                  <c:v>2255.9699999999998</c:v>
                </c:pt>
                <c:pt idx="1149">
                  <c:v>2231.63</c:v>
                </c:pt>
                <c:pt idx="1150">
                  <c:v>2173.75</c:v>
                </c:pt>
                <c:pt idx="1151">
                  <c:v>2287.34</c:v>
                </c:pt>
                <c:pt idx="1152">
                  <c:v>2353.87</c:v>
                </c:pt>
                <c:pt idx="1153">
                  <c:v>2308.9299999999998</c:v>
                </c:pt>
                <c:pt idx="1154">
                  <c:v>2317.09</c:v>
                </c:pt>
                <c:pt idx="1155">
                  <c:v>2396.09</c:v>
                </c:pt>
                <c:pt idx="1156">
                  <c:v>2491.31</c:v>
                </c:pt>
                <c:pt idx="1157">
                  <c:v>2508.13</c:v>
                </c:pt>
                <c:pt idx="1158">
                  <c:v>2536.4299999999998</c:v>
                </c:pt>
                <c:pt idx="1159">
                  <c:v>2452.83</c:v>
                </c:pt>
                <c:pt idx="1160">
                  <c:v>2512.92</c:v>
                </c:pt>
                <c:pt idx="1161">
                  <c:v>2576.92</c:v>
                </c:pt>
                <c:pt idx="1162">
                  <c:v>2551.88</c:v>
                </c:pt>
                <c:pt idx="1163">
                  <c:v>2385.34</c:v>
                </c:pt>
                <c:pt idx="1164">
                  <c:v>2395.17</c:v>
                </c:pt>
                <c:pt idx="1165">
                  <c:v>2298</c:v>
                </c:pt>
                <c:pt idx="1166">
                  <c:v>2271.8000000000002</c:v>
                </c:pt>
                <c:pt idx="1167">
                  <c:v>2316.04</c:v>
                </c:pt>
                <c:pt idx="1168">
                  <c:v>2369.79</c:v>
                </c:pt>
                <c:pt idx="1169">
                  <c:v>2410.6</c:v>
                </c:pt>
                <c:pt idx="1170">
                  <c:v>2397.25</c:v>
                </c:pt>
                <c:pt idx="1171">
                  <c:v>2485.39</c:v>
                </c:pt>
                <c:pt idx="1172">
                  <c:v>2522.63</c:v>
                </c:pt>
                <c:pt idx="1173">
                  <c:v>2588.35</c:v>
                </c:pt>
                <c:pt idx="1174">
                  <c:v>2668.63</c:v>
                </c:pt>
                <c:pt idx="1175">
                  <c:v>2676.74</c:v>
                </c:pt>
                <c:pt idx="1176">
                  <c:v>2707.68</c:v>
                </c:pt>
                <c:pt idx="1177">
                  <c:v>2457.4899999999998</c:v>
                </c:pt>
                <c:pt idx="1178">
                  <c:v>2544.5700000000002</c:v>
                </c:pt>
                <c:pt idx="1179">
                  <c:v>2473.54</c:v>
                </c:pt>
                <c:pt idx="1180">
                  <c:v>2508.73</c:v>
                </c:pt>
                <c:pt idx="1181">
                  <c:v>2475.61</c:v>
                </c:pt>
                <c:pt idx="1182">
                  <c:v>2520.29</c:v>
                </c:pt>
                <c:pt idx="1183">
                  <c:v>2589.44</c:v>
                </c:pt>
                <c:pt idx="1184">
                  <c:v>2627.63</c:v>
                </c:pt>
                <c:pt idx="1185">
                  <c:v>2611.39</c:v>
                </c:pt>
                <c:pt idx="1186">
                  <c:v>2616.17</c:v>
                </c:pt>
                <c:pt idx="1187">
                  <c:v>2640.17</c:v>
                </c:pt>
                <c:pt idx="1188">
                  <c:v>2597.36</c:v>
                </c:pt>
                <c:pt idx="1189">
                  <c:v>2645.55</c:v>
                </c:pt>
                <c:pt idx="1190">
                  <c:v>2604.23</c:v>
                </c:pt>
                <c:pt idx="1191">
                  <c:v>2659.41</c:v>
                </c:pt>
                <c:pt idx="1192">
                  <c:v>2672.77</c:v>
                </c:pt>
                <c:pt idx="1193">
                  <c:v>2702.6</c:v>
                </c:pt>
                <c:pt idx="1194">
                  <c:v>2711.32</c:v>
                </c:pt>
                <c:pt idx="1195">
                  <c:v>2716.27</c:v>
                </c:pt>
                <c:pt idx="1196">
                  <c:v>2764.03</c:v>
                </c:pt>
                <c:pt idx="1197">
                  <c:v>2784.02</c:v>
                </c:pt>
                <c:pt idx="1198">
                  <c:v>2797.65</c:v>
                </c:pt>
                <c:pt idx="1199">
                  <c:v>2783.31</c:v>
                </c:pt>
                <c:pt idx="1200">
                  <c:v>2781.78</c:v>
                </c:pt>
                <c:pt idx="1201">
                  <c:v>2850.11</c:v>
                </c:pt>
                <c:pt idx="1202">
                  <c:v>2888.12</c:v>
                </c:pt>
                <c:pt idx="1203">
                  <c:v>2911.82</c:v>
                </c:pt>
                <c:pt idx="1204">
                  <c:v>2945.05</c:v>
                </c:pt>
                <c:pt idx="1205">
                  <c:v>2972.01</c:v>
                </c:pt>
                <c:pt idx="1206">
                  <c:v>3038.17</c:v>
                </c:pt>
                <c:pt idx="1207">
                  <c:v>3081.57</c:v>
                </c:pt>
                <c:pt idx="1208">
                  <c:v>3121.32</c:v>
                </c:pt>
                <c:pt idx="1209">
                  <c:v>3176.44</c:v>
                </c:pt>
                <c:pt idx="1210">
                  <c:v>3169.23</c:v>
                </c:pt>
                <c:pt idx="1211">
                  <c:v>3256</c:v>
                </c:pt>
                <c:pt idx="1212">
                  <c:v>3283.6</c:v>
                </c:pt>
                <c:pt idx="1213">
                  <c:v>3304.5</c:v>
                </c:pt>
                <c:pt idx="1214">
                  <c:v>3150.3</c:v>
                </c:pt>
                <c:pt idx="1215">
                  <c:v>3289.28</c:v>
                </c:pt>
                <c:pt idx="1216">
                  <c:v>3431.32</c:v>
                </c:pt>
                <c:pt idx="1217">
                  <c:v>3445.2</c:v>
                </c:pt>
                <c:pt idx="1218">
                  <c:v>3448.28</c:v>
                </c:pt>
                <c:pt idx="1219">
                  <c:v>3493.58</c:v>
                </c:pt>
                <c:pt idx="1220">
                  <c:v>3470.52</c:v>
                </c:pt>
                <c:pt idx="1221">
                  <c:v>3558.71</c:v>
                </c:pt>
                <c:pt idx="1222">
                  <c:v>3686.03</c:v>
                </c:pt>
                <c:pt idx="1223">
                  <c:v>3701.28</c:v>
                </c:pt>
                <c:pt idx="1224">
                  <c:v>3724.51</c:v>
                </c:pt>
                <c:pt idx="1225">
                  <c:v>3702.61</c:v>
                </c:pt>
                <c:pt idx="1226">
                  <c:v>3734.42</c:v>
                </c:pt>
                <c:pt idx="1227">
                  <c:v>3604.64</c:v>
                </c:pt>
                <c:pt idx="1228">
                  <c:v>3700.29</c:v>
                </c:pt>
                <c:pt idx="1229">
                  <c:v>3778.61</c:v>
                </c:pt>
                <c:pt idx="1230">
                  <c:v>3776.63</c:v>
                </c:pt>
                <c:pt idx="1231">
                  <c:v>3831.44</c:v>
                </c:pt>
                <c:pt idx="1232">
                  <c:v>3870.49</c:v>
                </c:pt>
                <c:pt idx="1233">
                  <c:v>3938.95</c:v>
                </c:pt>
                <c:pt idx="1234">
                  <c:v>3919.75</c:v>
                </c:pt>
                <c:pt idx="1235">
                  <c:v>3985.25</c:v>
                </c:pt>
                <c:pt idx="1236">
                  <c:v>4072.58</c:v>
                </c:pt>
                <c:pt idx="1237">
                  <c:v>4168.29</c:v>
                </c:pt>
                <c:pt idx="1238">
                  <c:v>3886.46</c:v>
                </c:pt>
                <c:pt idx="1239">
                  <c:v>3927.95</c:v>
                </c:pt>
                <c:pt idx="1240">
                  <c:v>3803.95</c:v>
                </c:pt>
                <c:pt idx="1241">
                  <c:v>3511.43</c:v>
                </c:pt>
                <c:pt idx="1242">
                  <c:v>3634.63</c:v>
                </c:pt>
                <c:pt idx="1243">
                  <c:v>3677.58</c:v>
                </c:pt>
                <c:pt idx="1244">
                  <c:v>3802.3</c:v>
                </c:pt>
                <c:pt idx="1245">
                  <c:v>3837.87</c:v>
                </c:pt>
                <c:pt idx="1246">
                  <c:v>3931.86</c:v>
                </c:pt>
                <c:pt idx="1247">
                  <c:v>4036.11</c:v>
                </c:pt>
                <c:pt idx="1248">
                  <c:v>4118.2700000000004</c:v>
                </c:pt>
                <c:pt idx="1249">
                  <c:v>4075.82</c:v>
                </c:pt>
                <c:pt idx="1250">
                  <c:v>4099.38</c:v>
                </c:pt>
                <c:pt idx="1251">
                  <c:v>4227.57</c:v>
                </c:pt>
                <c:pt idx="1252">
                  <c:v>4253</c:v>
                </c:pt>
                <c:pt idx="1253">
                  <c:v>4157.6000000000004</c:v>
                </c:pt>
                <c:pt idx="1254">
                  <c:v>4197.28</c:v>
                </c:pt>
                <c:pt idx="1255">
                  <c:v>4051.43</c:v>
                </c:pt>
                <c:pt idx="1256">
                  <c:v>3877.59</c:v>
                </c:pt>
                <c:pt idx="1257">
                  <c:v>3928.21</c:v>
                </c:pt>
                <c:pt idx="1258">
                  <c:v>4040.48</c:v>
                </c:pt>
                <c:pt idx="1259">
                  <c:v>3858.52</c:v>
                </c:pt>
                <c:pt idx="1260">
                  <c:v>3764.08</c:v>
                </c:pt>
                <c:pt idx="1261">
                  <c:v>3757.66</c:v>
                </c:pt>
                <c:pt idx="1262">
                  <c:v>3832.23</c:v>
                </c:pt>
                <c:pt idx="1263">
                  <c:v>3743.58</c:v>
                </c:pt>
                <c:pt idx="1264">
                  <c:v>3537.44</c:v>
                </c:pt>
                <c:pt idx="1265">
                  <c:v>3710.28</c:v>
                </c:pt>
                <c:pt idx="1266">
                  <c:v>3821.3</c:v>
                </c:pt>
                <c:pt idx="1267">
                  <c:v>3775.62</c:v>
                </c:pt>
                <c:pt idx="1268">
                  <c:v>3789.87</c:v>
                </c:pt>
                <c:pt idx="1269">
                  <c:v>3816.92</c:v>
                </c:pt>
                <c:pt idx="1270">
                  <c:v>3820.12</c:v>
                </c:pt>
                <c:pt idx="1271">
                  <c:v>3697.97</c:v>
                </c:pt>
                <c:pt idx="1272">
                  <c:v>3789.65</c:v>
                </c:pt>
                <c:pt idx="1273">
                  <c:v>3807.57</c:v>
                </c:pt>
                <c:pt idx="1274">
                  <c:v>3807</c:v>
                </c:pt>
                <c:pt idx="1275">
                  <c:v>3971.88</c:v>
                </c:pt>
                <c:pt idx="1276">
                  <c:v>4156.72</c:v>
                </c:pt>
                <c:pt idx="1277">
                  <c:v>4161.3500000000004</c:v>
                </c:pt>
                <c:pt idx="1278">
                  <c:v>4255.46</c:v>
                </c:pt>
                <c:pt idx="1279">
                  <c:v>4303.1899999999996</c:v>
                </c:pt>
                <c:pt idx="1280">
                  <c:v>4307.1400000000003</c:v>
                </c:pt>
                <c:pt idx="1281">
                  <c:v>4410.3</c:v>
                </c:pt>
                <c:pt idx="1282">
                  <c:v>4460.5600000000004</c:v>
                </c:pt>
                <c:pt idx="1283">
                  <c:v>4290.4799999999996</c:v>
                </c:pt>
                <c:pt idx="1284">
                  <c:v>4436.1899999999996</c:v>
                </c:pt>
                <c:pt idx="1285">
                  <c:v>4598.38</c:v>
                </c:pt>
                <c:pt idx="1286">
                  <c:v>4703.9799999999996</c:v>
                </c:pt>
                <c:pt idx="1287">
                  <c:v>4724.55</c:v>
                </c:pt>
                <c:pt idx="1288">
                  <c:v>4668.09</c:v>
                </c:pt>
                <c:pt idx="1289">
                  <c:v>4777.29</c:v>
                </c:pt>
                <c:pt idx="1290">
                  <c:v>4726.68</c:v>
                </c:pt>
                <c:pt idx="1291">
                  <c:v>4721.1899999999996</c:v>
                </c:pt>
                <c:pt idx="1292">
                  <c:v>4795.57</c:v>
                </c:pt>
                <c:pt idx="1293">
                  <c:v>4798.75</c:v>
                </c:pt>
                <c:pt idx="1294">
                  <c:v>4721.9399999999996</c:v>
                </c:pt>
                <c:pt idx="1295">
                  <c:v>4626.58</c:v>
                </c:pt>
                <c:pt idx="1296">
                  <c:v>4885.43</c:v>
                </c:pt>
                <c:pt idx="1297">
                  <c:v>4972.71</c:v>
                </c:pt>
                <c:pt idx="1298">
                  <c:v>5051.6899999999996</c:v>
                </c:pt>
                <c:pt idx="1299">
                  <c:v>5135.93</c:v>
                </c:pt>
                <c:pt idx="1300">
                  <c:v>5217.58</c:v>
                </c:pt>
                <c:pt idx="1301">
                  <c:v>5243.15</c:v>
                </c:pt>
                <c:pt idx="1302">
                  <c:v>5251.77</c:v>
                </c:pt>
                <c:pt idx="1303">
                  <c:v>5171.82</c:v>
                </c:pt>
                <c:pt idx="1304">
                  <c:v>5241.2299999999996</c:v>
                </c:pt>
                <c:pt idx="1305">
                  <c:v>5296.81</c:v>
                </c:pt>
                <c:pt idx="1306">
                  <c:v>5419.17</c:v>
                </c:pt>
                <c:pt idx="1307">
                  <c:v>5360.33</c:v>
                </c:pt>
                <c:pt idx="1308">
                  <c:v>5363.25</c:v>
                </c:pt>
                <c:pt idx="1309">
                  <c:v>5412.04</c:v>
                </c:pt>
                <c:pt idx="1310">
                  <c:v>5294.8</c:v>
                </c:pt>
                <c:pt idx="1311">
                  <c:v>5377.22</c:v>
                </c:pt>
                <c:pt idx="1312">
                  <c:v>5124.09</c:v>
                </c:pt>
                <c:pt idx="1313">
                  <c:v>5202.8599999999997</c:v>
                </c:pt>
                <c:pt idx="1314">
                  <c:v>5349.97</c:v>
                </c:pt>
                <c:pt idx="1315">
                  <c:v>5397.28</c:v>
                </c:pt>
                <c:pt idx="1316">
                  <c:v>5498.91</c:v>
                </c:pt>
                <c:pt idx="1317">
                  <c:v>5476.84</c:v>
                </c:pt>
                <c:pt idx="1318">
                  <c:v>5419.27</c:v>
                </c:pt>
                <c:pt idx="1319">
                  <c:v>5494.92</c:v>
                </c:pt>
                <c:pt idx="1320">
                  <c:v>5468.1</c:v>
                </c:pt>
                <c:pt idx="1321">
                  <c:v>5513.9</c:v>
                </c:pt>
                <c:pt idx="1322">
                  <c:v>5454.62</c:v>
                </c:pt>
                <c:pt idx="1323">
                  <c:v>5361.02</c:v>
                </c:pt>
                <c:pt idx="1324">
                  <c:v>5427.66</c:v>
                </c:pt>
                <c:pt idx="1325">
                  <c:v>5580.81</c:v>
                </c:pt>
                <c:pt idx="1326">
                  <c:v>5653.14</c:v>
                </c:pt>
                <c:pt idx="1327">
                  <c:v>5675.93</c:v>
                </c:pt>
                <c:pt idx="1328">
                  <c:v>5685.76</c:v>
                </c:pt>
                <c:pt idx="1329">
                  <c:v>5760.08</c:v>
                </c:pt>
                <c:pt idx="1330">
                  <c:v>5737.22</c:v>
                </c:pt>
                <c:pt idx="1331">
                  <c:v>5821.45</c:v>
                </c:pt>
                <c:pt idx="1332">
                  <c:v>5877.2</c:v>
                </c:pt>
                <c:pt idx="1333">
                  <c:v>5824.12</c:v>
                </c:pt>
                <c:pt idx="1334">
                  <c:v>5615.75</c:v>
                </c:pt>
                <c:pt idx="1335">
                  <c:v>5614.06</c:v>
                </c:pt>
                <c:pt idx="1336">
                  <c:v>5472.68</c:v>
                </c:pt>
                <c:pt idx="1337">
                  <c:v>5540.09</c:v>
                </c:pt>
                <c:pt idx="1338">
                  <c:v>5588.01</c:v>
                </c:pt>
                <c:pt idx="1339">
                  <c:v>5333.79</c:v>
                </c:pt>
                <c:pt idx="1340">
                  <c:v>5394.81</c:v>
                </c:pt>
                <c:pt idx="1341">
                  <c:v>5508.36</c:v>
                </c:pt>
                <c:pt idx="1342">
                  <c:v>5596.07</c:v>
                </c:pt>
                <c:pt idx="1343">
                  <c:v>5688.54</c:v>
                </c:pt>
                <c:pt idx="1344">
                  <c:v>5605.23</c:v>
                </c:pt>
                <c:pt idx="1345">
                  <c:v>5472.93</c:v>
                </c:pt>
                <c:pt idx="1346">
                  <c:v>5360.31</c:v>
                </c:pt>
                <c:pt idx="1347">
                  <c:v>5317.55</c:v>
                </c:pt>
                <c:pt idx="1348">
                  <c:v>5350.63</c:v>
                </c:pt>
                <c:pt idx="1349">
                  <c:v>5093.67</c:v>
                </c:pt>
                <c:pt idx="1350">
                  <c:v>5040.5200000000004</c:v>
                </c:pt>
                <c:pt idx="1351">
                  <c:v>4978.25</c:v>
                </c:pt>
                <c:pt idx="1352">
                  <c:v>4939.24</c:v>
                </c:pt>
                <c:pt idx="1353">
                  <c:v>5145.8900000000003</c:v>
                </c:pt>
                <c:pt idx="1354">
                  <c:v>5081.1099999999997</c:v>
                </c:pt>
                <c:pt idx="1355">
                  <c:v>5007.66</c:v>
                </c:pt>
                <c:pt idx="1356">
                  <c:v>4994.42</c:v>
                </c:pt>
                <c:pt idx="1357">
                  <c:v>5069.38</c:v>
                </c:pt>
                <c:pt idx="1358">
                  <c:v>4997.62</c:v>
                </c:pt>
                <c:pt idx="1359">
                  <c:v>4772.62</c:v>
                </c:pt>
                <c:pt idx="1360">
                  <c:v>4856.16</c:v>
                </c:pt>
                <c:pt idx="1361">
                  <c:v>4800.08</c:v>
                </c:pt>
                <c:pt idx="1362">
                  <c:v>4711.1499999999996</c:v>
                </c:pt>
                <c:pt idx="1363">
                  <c:v>4648.75</c:v>
                </c:pt>
                <c:pt idx="1364">
                  <c:v>4842.07</c:v>
                </c:pt>
                <c:pt idx="1365">
                  <c:v>4737.41</c:v>
                </c:pt>
                <c:pt idx="1366">
                  <c:v>4772.67</c:v>
                </c:pt>
                <c:pt idx="1367">
                  <c:v>4829.21</c:v>
                </c:pt>
                <c:pt idx="1368">
                  <c:v>4965.95</c:v>
                </c:pt>
                <c:pt idx="1369">
                  <c:v>4971.0600000000004</c:v>
                </c:pt>
                <c:pt idx="1370">
                  <c:v>5041.3500000000004</c:v>
                </c:pt>
                <c:pt idx="1371">
                  <c:v>5133.5600000000004</c:v>
                </c:pt>
                <c:pt idx="1372">
                  <c:v>5140</c:v>
                </c:pt>
                <c:pt idx="1373">
                  <c:v>5077.3900000000003</c:v>
                </c:pt>
                <c:pt idx="1374">
                  <c:v>4884.3</c:v>
                </c:pt>
                <c:pt idx="1375">
                  <c:v>4977.6499999999996</c:v>
                </c:pt>
                <c:pt idx="1376">
                  <c:v>4857.29</c:v>
                </c:pt>
                <c:pt idx="1377">
                  <c:v>4829.91</c:v>
                </c:pt>
                <c:pt idx="1378">
                  <c:v>4946.29</c:v>
                </c:pt>
                <c:pt idx="1379">
                  <c:v>5037.2</c:v>
                </c:pt>
                <c:pt idx="1380">
                  <c:v>5101.8500000000004</c:v>
                </c:pt>
                <c:pt idx="1381">
                  <c:v>5207.13</c:v>
                </c:pt>
                <c:pt idx="1382">
                  <c:v>5216.8100000000004</c:v>
                </c:pt>
                <c:pt idx="1383">
                  <c:v>5265.03</c:v>
                </c:pt>
                <c:pt idx="1384">
                  <c:v>5367.53</c:v>
                </c:pt>
                <c:pt idx="1385">
                  <c:v>5338.28</c:v>
                </c:pt>
                <c:pt idx="1386">
                  <c:v>5385.1</c:v>
                </c:pt>
                <c:pt idx="1387">
                  <c:v>5422.03</c:v>
                </c:pt>
                <c:pt idx="1388">
                  <c:v>5483.65</c:v>
                </c:pt>
                <c:pt idx="1389">
                  <c:v>5556.59</c:v>
                </c:pt>
                <c:pt idx="1390">
                  <c:v>5528.05</c:v>
                </c:pt>
                <c:pt idx="1391">
                  <c:v>5613.76</c:v>
                </c:pt>
                <c:pt idx="1392">
                  <c:v>5672.15</c:v>
                </c:pt>
                <c:pt idx="1393">
                  <c:v>5699.15</c:v>
                </c:pt>
                <c:pt idx="1394">
                  <c:v>5731.76</c:v>
                </c:pt>
                <c:pt idx="1395">
                  <c:v>5696.45</c:v>
                </c:pt>
                <c:pt idx="1396">
                  <c:v>5505.72</c:v>
                </c:pt>
                <c:pt idx="1397">
                  <c:v>5365.62</c:v>
                </c:pt>
                <c:pt idx="1398">
                  <c:v>5414.47</c:v>
                </c:pt>
                <c:pt idx="1399">
                  <c:v>5145.7299999999996</c:v>
                </c:pt>
                <c:pt idx="1400">
                  <c:v>4753.87</c:v>
                </c:pt>
                <c:pt idx="1401">
                  <c:v>4975.1099999999997</c:v>
                </c:pt>
                <c:pt idx="1402">
                  <c:v>5027.21</c:v>
                </c:pt>
                <c:pt idx="1403">
                  <c:v>5077.43</c:v>
                </c:pt>
                <c:pt idx="1404">
                  <c:v>4731.88</c:v>
                </c:pt>
                <c:pt idx="1405">
                  <c:v>4762.08</c:v>
                </c:pt>
                <c:pt idx="1406">
                  <c:v>4710.6499999999996</c:v>
                </c:pt>
                <c:pt idx="1407">
                  <c:v>4620.3999999999996</c:v>
                </c:pt>
                <c:pt idx="1408">
                  <c:v>4571.95</c:v>
                </c:pt>
                <c:pt idx="1409">
                  <c:v>4950.12</c:v>
                </c:pt>
                <c:pt idx="1410">
                  <c:v>4921.83</c:v>
                </c:pt>
                <c:pt idx="1411">
                  <c:v>4816.08</c:v>
                </c:pt>
                <c:pt idx="1412">
                  <c:v>4880.25</c:v>
                </c:pt>
                <c:pt idx="1413">
                  <c:v>4813.3100000000004</c:v>
                </c:pt>
                <c:pt idx="1414">
                  <c:v>4910.99</c:v>
                </c:pt>
                <c:pt idx="1415">
                  <c:v>5020.75</c:v>
                </c:pt>
                <c:pt idx="1416">
                  <c:v>4908.72</c:v>
                </c:pt>
                <c:pt idx="1417">
                  <c:v>4876.03</c:v>
                </c:pt>
                <c:pt idx="1418">
                  <c:v>4702.24</c:v>
                </c:pt>
                <c:pt idx="1419">
                  <c:v>4519.78</c:v>
                </c:pt>
                <c:pt idx="1420">
                  <c:v>4515.53</c:v>
                </c:pt>
                <c:pt idx="1421">
                  <c:v>4639.7700000000004</c:v>
                </c:pt>
                <c:pt idx="1422">
                  <c:v>4622.0600000000004</c:v>
                </c:pt>
                <c:pt idx="1423">
                  <c:v>4674.55</c:v>
                </c:pt>
                <c:pt idx="1424">
                  <c:v>4790.74</c:v>
                </c:pt>
                <c:pt idx="1425">
                  <c:v>4671.1499999999996</c:v>
                </c:pt>
                <c:pt idx="1426">
                  <c:v>4628.72</c:v>
                </c:pt>
                <c:pt idx="1427">
                  <c:v>4685.03</c:v>
                </c:pt>
                <c:pt idx="1428">
                  <c:v>4621.6899999999996</c:v>
                </c:pt>
                <c:pt idx="1429">
                  <c:v>4431.59</c:v>
                </c:pt>
                <c:pt idx="1430">
                  <c:v>4441.18</c:v>
                </c:pt>
                <c:pt idx="1431">
                  <c:v>4309.6499999999996</c:v>
                </c:pt>
                <c:pt idx="1432">
                  <c:v>4198.96</c:v>
                </c:pt>
                <c:pt idx="1433">
                  <c:v>4157.87</c:v>
                </c:pt>
                <c:pt idx="1434">
                  <c:v>3965.28</c:v>
                </c:pt>
                <c:pt idx="1435">
                  <c:v>3763.95</c:v>
                </c:pt>
                <c:pt idx="1436">
                  <c:v>3888.86</c:v>
                </c:pt>
                <c:pt idx="1437">
                  <c:v>4001.83</c:v>
                </c:pt>
                <c:pt idx="1438">
                  <c:v>4037.83</c:v>
                </c:pt>
                <c:pt idx="1439">
                  <c:v>3857.09</c:v>
                </c:pt>
                <c:pt idx="1440">
                  <c:v>3905.77</c:v>
                </c:pt>
                <c:pt idx="1441">
                  <c:v>3914.37</c:v>
                </c:pt>
                <c:pt idx="1442">
                  <c:v>3748.92</c:v>
                </c:pt>
                <c:pt idx="1443">
                  <c:v>3918.16</c:v>
                </c:pt>
                <c:pt idx="1444">
                  <c:v>3790.53</c:v>
                </c:pt>
                <c:pt idx="1445">
                  <c:v>3582.86</c:v>
                </c:pt>
                <c:pt idx="1446">
                  <c:v>3547.98</c:v>
                </c:pt>
                <c:pt idx="1447">
                  <c:v>3650.7</c:v>
                </c:pt>
                <c:pt idx="1448">
                  <c:v>3845.82</c:v>
                </c:pt>
                <c:pt idx="1449">
                  <c:v>3891.06</c:v>
                </c:pt>
                <c:pt idx="1450">
                  <c:v>3688.13</c:v>
                </c:pt>
                <c:pt idx="1451">
                  <c:v>3754.72</c:v>
                </c:pt>
                <c:pt idx="1452">
                  <c:v>3783.73</c:v>
                </c:pt>
                <c:pt idx="1453">
                  <c:v>3536.33</c:v>
                </c:pt>
                <c:pt idx="1454">
                  <c:v>3583.3</c:v>
                </c:pt>
                <c:pt idx="1455">
                  <c:v>3494.02</c:v>
                </c:pt>
                <c:pt idx="1456">
                  <c:v>3386.63</c:v>
                </c:pt>
                <c:pt idx="1457">
                  <c:v>3272.5</c:v>
                </c:pt>
                <c:pt idx="1458">
                  <c:v>3267.55</c:v>
                </c:pt>
                <c:pt idx="1459">
                  <c:v>3296.28</c:v>
                </c:pt>
                <c:pt idx="1460">
                  <c:v>3453.73</c:v>
                </c:pt>
                <c:pt idx="1461">
                  <c:v>3774.5</c:v>
                </c:pt>
                <c:pt idx="1462">
                  <c:v>3803.07</c:v>
                </c:pt>
                <c:pt idx="1463">
                  <c:v>3729.15</c:v>
                </c:pt>
                <c:pt idx="1464">
                  <c:v>3776.94</c:v>
                </c:pt>
                <c:pt idx="1465">
                  <c:v>3959.12</c:v>
                </c:pt>
                <c:pt idx="1466">
                  <c:v>4055.78</c:v>
                </c:pt>
                <c:pt idx="1467">
                  <c:v>4010.89</c:v>
                </c:pt>
                <c:pt idx="1468">
                  <c:v>3821.32</c:v>
                </c:pt>
                <c:pt idx="1469">
                  <c:v>3925.04</c:v>
                </c:pt>
                <c:pt idx="1470">
                  <c:v>3878.92</c:v>
                </c:pt>
                <c:pt idx="1471">
                  <c:v>3904.92</c:v>
                </c:pt>
                <c:pt idx="1472">
                  <c:v>3851.69</c:v>
                </c:pt>
                <c:pt idx="1473">
                  <c:v>3975.78</c:v>
                </c:pt>
                <c:pt idx="1474">
                  <c:v>3948.09</c:v>
                </c:pt>
                <c:pt idx="1475">
                  <c:v>3936.12</c:v>
                </c:pt>
                <c:pt idx="1476">
                  <c:v>3914.07</c:v>
                </c:pt>
                <c:pt idx="1477">
                  <c:v>3710.82</c:v>
                </c:pt>
                <c:pt idx="1478">
                  <c:v>3783.05</c:v>
                </c:pt>
                <c:pt idx="1479">
                  <c:v>3711.44</c:v>
                </c:pt>
                <c:pt idx="1480">
                  <c:v>3675.15</c:v>
                </c:pt>
                <c:pt idx="1481">
                  <c:v>3559.22</c:v>
                </c:pt>
                <c:pt idx="1482">
                  <c:v>3576.2</c:v>
                </c:pt>
                <c:pt idx="1483">
                  <c:v>3676.23</c:v>
                </c:pt>
                <c:pt idx="1484">
                  <c:v>3580.87</c:v>
                </c:pt>
                <c:pt idx="1485">
                  <c:v>3611.33</c:v>
                </c:pt>
                <c:pt idx="1486">
                  <c:v>3625.83</c:v>
                </c:pt>
                <c:pt idx="1487">
                  <c:v>3614.11</c:v>
                </c:pt>
                <c:pt idx="1488">
                  <c:v>3546.92</c:v>
                </c:pt>
                <c:pt idx="1489">
                  <c:v>3512.14</c:v>
                </c:pt>
                <c:pt idx="1490">
                  <c:v>3489.5</c:v>
                </c:pt>
                <c:pt idx="1491">
                  <c:v>3206.56</c:v>
                </c:pt>
                <c:pt idx="1492">
                  <c:v>3140.3</c:v>
                </c:pt>
                <c:pt idx="1493">
                  <c:v>3084.63</c:v>
                </c:pt>
                <c:pt idx="1494">
                  <c:v>2979.12</c:v>
                </c:pt>
                <c:pt idx="1495">
                  <c:v>2952.24</c:v>
                </c:pt>
                <c:pt idx="1496">
                  <c:v>2842.68</c:v>
                </c:pt>
                <c:pt idx="1497">
                  <c:v>2991.27</c:v>
                </c:pt>
                <c:pt idx="1498">
                  <c:v>2773.08</c:v>
                </c:pt>
                <c:pt idx="1499">
                  <c:v>2849.67</c:v>
                </c:pt>
                <c:pt idx="1500">
                  <c:v>2789.94</c:v>
                </c:pt>
                <c:pt idx="1501">
                  <c:v>2851.92</c:v>
                </c:pt>
                <c:pt idx="1502">
                  <c:v>2969.54</c:v>
                </c:pt>
                <c:pt idx="1503">
                  <c:v>2980.91</c:v>
                </c:pt>
                <c:pt idx="1504">
                  <c:v>2816.02</c:v>
                </c:pt>
                <c:pt idx="1505">
                  <c:v>2791.82</c:v>
                </c:pt>
                <c:pt idx="1506">
                  <c:v>2698.35</c:v>
                </c:pt>
                <c:pt idx="1507">
                  <c:v>2699.6</c:v>
                </c:pt>
                <c:pt idx="1508">
                  <c:v>2760.61</c:v>
                </c:pt>
                <c:pt idx="1509">
                  <c:v>2741.85</c:v>
                </c:pt>
                <c:pt idx="1510">
                  <c:v>2882.76</c:v>
                </c:pt>
                <c:pt idx="1511">
                  <c:v>2901.84</c:v>
                </c:pt>
                <c:pt idx="1512">
                  <c:v>3015.13</c:v>
                </c:pt>
                <c:pt idx="1513">
                  <c:v>2973.73</c:v>
                </c:pt>
                <c:pt idx="1514">
                  <c:v>2953.5</c:v>
                </c:pt>
                <c:pt idx="1515">
                  <c:v>2975.87</c:v>
                </c:pt>
                <c:pt idx="1516">
                  <c:v>2852.98</c:v>
                </c:pt>
                <c:pt idx="1517">
                  <c:v>2745.6</c:v>
                </c:pt>
                <c:pt idx="1518">
                  <c:v>2718.07</c:v>
                </c:pt>
                <c:pt idx="1519">
                  <c:v>2815.46</c:v>
                </c:pt>
                <c:pt idx="1520">
                  <c:v>2911.05</c:v>
                </c:pt>
                <c:pt idx="1521">
                  <c:v>2904.74</c:v>
                </c:pt>
                <c:pt idx="1522">
                  <c:v>2883.32</c:v>
                </c:pt>
                <c:pt idx="1523">
                  <c:v>2977.36</c:v>
                </c:pt>
                <c:pt idx="1524">
                  <c:v>2939.2</c:v>
                </c:pt>
                <c:pt idx="1525">
                  <c:v>2960.85</c:v>
                </c:pt>
                <c:pt idx="1526">
                  <c:v>2905.63</c:v>
                </c:pt>
                <c:pt idx="1527">
                  <c:v>2884.38</c:v>
                </c:pt>
                <c:pt idx="1528">
                  <c:v>2805.21</c:v>
                </c:pt>
                <c:pt idx="1529">
                  <c:v>2840.79</c:v>
                </c:pt>
                <c:pt idx="1530">
                  <c:v>2773.15</c:v>
                </c:pt>
                <c:pt idx="1531">
                  <c:v>2703.08</c:v>
                </c:pt>
                <c:pt idx="1532">
                  <c:v>2721.69</c:v>
                </c:pt>
                <c:pt idx="1533">
                  <c:v>2720.44</c:v>
                </c:pt>
                <c:pt idx="1534">
                  <c:v>2591.46</c:v>
                </c:pt>
                <c:pt idx="1535">
                  <c:v>2456.81</c:v>
                </c:pt>
                <c:pt idx="1536">
                  <c:v>2444.16</c:v>
                </c:pt>
                <c:pt idx="1537">
                  <c:v>2444.67</c:v>
                </c:pt>
                <c:pt idx="1538">
                  <c:v>2443.5100000000002</c:v>
                </c:pt>
                <c:pt idx="1539">
                  <c:v>2447.61</c:v>
                </c:pt>
                <c:pt idx="1540">
                  <c:v>2313.4</c:v>
                </c:pt>
                <c:pt idx="1541">
                  <c:v>2348.4699999999998</c:v>
                </c:pt>
                <c:pt idx="1542">
                  <c:v>2532.94</c:v>
                </c:pt>
                <c:pt idx="1543">
                  <c:v>2443.98</c:v>
                </c:pt>
                <c:pt idx="1544">
                  <c:v>2404.9299999999998</c:v>
                </c:pt>
                <c:pt idx="1545">
                  <c:v>2400.5500000000002</c:v>
                </c:pt>
                <c:pt idx="1546">
                  <c:v>2331.5300000000002</c:v>
                </c:pt>
                <c:pt idx="1547">
                  <c:v>2325.29</c:v>
                </c:pt>
                <c:pt idx="1548">
                  <c:v>2335.86</c:v>
                </c:pt>
                <c:pt idx="1549">
                  <c:v>2391.64</c:v>
                </c:pt>
                <c:pt idx="1550">
                  <c:v>2309.17</c:v>
                </c:pt>
                <c:pt idx="1551">
                  <c:v>2285.41</c:v>
                </c:pt>
                <c:pt idx="1552">
                  <c:v>2245.96</c:v>
                </c:pt>
                <c:pt idx="1553">
                  <c:v>2251.15</c:v>
                </c:pt>
                <c:pt idx="1554">
                  <c:v>2183.4299999999998</c:v>
                </c:pt>
                <c:pt idx="1555">
                  <c:v>2126.52</c:v>
                </c:pt>
                <c:pt idx="1556">
                  <c:v>2139.15</c:v>
                </c:pt>
                <c:pt idx="1557">
                  <c:v>2143.1799999999998</c:v>
                </c:pt>
                <c:pt idx="1558">
                  <c:v>2072.13</c:v>
                </c:pt>
                <c:pt idx="1559">
                  <c:v>2077.85</c:v>
                </c:pt>
                <c:pt idx="1560">
                  <c:v>2000.65</c:v>
                </c:pt>
                <c:pt idx="1561">
                  <c:v>1929.14</c:v>
                </c:pt>
                <c:pt idx="1562">
                  <c:v>1895.99</c:v>
                </c:pt>
                <c:pt idx="1563">
                  <c:v>2073.11</c:v>
                </c:pt>
                <c:pt idx="1564">
                  <c:v>2207.61</c:v>
                </c:pt>
                <c:pt idx="1565">
                  <c:v>2123.48</c:v>
                </c:pt>
                <c:pt idx="1566">
                  <c:v>2138.85</c:v>
                </c:pt>
                <c:pt idx="1567">
                  <c:v>2223.5300000000002</c:v>
                </c:pt>
                <c:pt idx="1568">
                  <c:v>2243.66</c:v>
                </c:pt>
                <c:pt idx="1569">
                  <c:v>2128.6999999999998</c:v>
                </c:pt>
                <c:pt idx="1570">
                  <c:v>2102.4499999999998</c:v>
                </c:pt>
                <c:pt idx="1571">
                  <c:v>2022.88</c:v>
                </c:pt>
                <c:pt idx="1572">
                  <c:v>1995.3</c:v>
                </c:pt>
                <c:pt idx="1573">
                  <c:v>1906.96</c:v>
                </c:pt>
                <c:pt idx="1574">
                  <c:v>1985.49</c:v>
                </c:pt>
                <c:pt idx="1575">
                  <c:v>1934.62</c:v>
                </c:pt>
                <c:pt idx="1576">
                  <c:v>1914.36</c:v>
                </c:pt>
                <c:pt idx="1577">
                  <c:v>1820.9</c:v>
                </c:pt>
                <c:pt idx="1578">
                  <c:v>1833.26</c:v>
                </c:pt>
                <c:pt idx="1579">
                  <c:v>1896.73</c:v>
                </c:pt>
                <c:pt idx="1580">
                  <c:v>1881.41</c:v>
                </c:pt>
                <c:pt idx="1581">
                  <c:v>1833.32</c:v>
                </c:pt>
                <c:pt idx="1582">
                  <c:v>1834.78</c:v>
                </c:pt>
                <c:pt idx="1583">
                  <c:v>1781.6</c:v>
                </c:pt>
                <c:pt idx="1584">
                  <c:v>1654.67</c:v>
                </c:pt>
                <c:pt idx="1585">
                  <c:v>1705.82</c:v>
                </c:pt>
                <c:pt idx="1586">
                  <c:v>1658.22</c:v>
                </c:pt>
                <c:pt idx="1587">
                  <c:v>1697.66</c:v>
                </c:pt>
                <c:pt idx="1588">
                  <c:v>1663.66</c:v>
                </c:pt>
                <c:pt idx="1589">
                  <c:v>1653.54</c:v>
                </c:pt>
                <c:pt idx="1590">
                  <c:v>1627.76</c:v>
                </c:pt>
                <c:pt idx="1591">
                  <c:v>1691.42</c:v>
                </c:pt>
                <c:pt idx="1592">
                  <c:v>1649.78</c:v>
                </c:pt>
                <c:pt idx="1593">
                  <c:v>1677.83</c:v>
                </c:pt>
                <c:pt idx="1594">
                  <c:v>1801.67</c:v>
                </c:pt>
                <c:pt idx="1595">
                  <c:v>1781.36</c:v>
                </c:pt>
                <c:pt idx="1596">
                  <c:v>1801.82</c:v>
                </c:pt>
                <c:pt idx="1597">
                  <c:v>1874.08</c:v>
                </c:pt>
                <c:pt idx="1598">
                  <c:v>1943.65</c:v>
                </c:pt>
                <c:pt idx="1599">
                  <c:v>1987.23</c:v>
                </c:pt>
                <c:pt idx="1600">
                  <c:v>1839.82</c:v>
                </c:pt>
                <c:pt idx="1601">
                  <c:v>1953.16</c:v>
                </c:pt>
                <c:pt idx="1602">
                  <c:v>1932.43</c:v>
                </c:pt>
                <c:pt idx="1603">
                  <c:v>1920.74</c:v>
                </c:pt>
                <c:pt idx="1604">
                  <c:v>1837.64</c:v>
                </c:pt>
                <c:pt idx="1605">
                  <c:v>1834.29</c:v>
                </c:pt>
                <c:pt idx="1606">
                  <c:v>1843.5</c:v>
                </c:pt>
                <c:pt idx="1607">
                  <c:v>1870.47</c:v>
                </c:pt>
                <c:pt idx="1608">
                  <c:v>1829.92</c:v>
                </c:pt>
                <c:pt idx="1609">
                  <c:v>1864.21</c:v>
                </c:pt>
                <c:pt idx="1610">
                  <c:v>1868.63</c:v>
                </c:pt>
                <c:pt idx="1611">
                  <c:v>1952.67</c:v>
                </c:pt>
                <c:pt idx="1612">
                  <c:v>1982.93</c:v>
                </c:pt>
                <c:pt idx="1613">
                  <c:v>2013.18</c:v>
                </c:pt>
                <c:pt idx="1614">
                  <c:v>2095.04</c:v>
                </c:pt>
                <c:pt idx="1615">
                  <c:v>2040.85</c:v>
                </c:pt>
                <c:pt idx="1616">
                  <c:v>2096.39</c:v>
                </c:pt>
                <c:pt idx="1617">
                  <c:v>2046.34</c:v>
                </c:pt>
                <c:pt idx="1618">
                  <c:v>1960.38</c:v>
                </c:pt>
                <c:pt idx="1619">
                  <c:v>1975.03</c:v>
                </c:pt>
                <c:pt idx="1620">
                  <c:v>1994.45</c:v>
                </c:pt>
                <c:pt idx="1621">
                  <c:v>2001.42</c:v>
                </c:pt>
                <c:pt idx="1622">
                  <c:v>2045.1</c:v>
                </c:pt>
                <c:pt idx="1623">
                  <c:v>2052.11</c:v>
                </c:pt>
                <c:pt idx="1624">
                  <c:v>2017.55</c:v>
                </c:pt>
                <c:pt idx="1625">
                  <c:v>1918.96</c:v>
                </c:pt>
                <c:pt idx="1626">
                  <c:v>1887.08</c:v>
                </c:pt>
                <c:pt idx="1627">
                  <c:v>1870.77</c:v>
                </c:pt>
                <c:pt idx="1628">
                  <c:v>1862.1</c:v>
                </c:pt>
                <c:pt idx="1629">
                  <c:v>1854.76</c:v>
                </c:pt>
                <c:pt idx="1630">
                  <c:v>1833.44</c:v>
                </c:pt>
                <c:pt idx="1631">
                  <c:v>1817.72</c:v>
                </c:pt>
                <c:pt idx="1632">
                  <c:v>1882.96</c:v>
                </c:pt>
                <c:pt idx="1633">
                  <c:v>1942.8</c:v>
                </c:pt>
                <c:pt idx="1634">
                  <c:v>1931.18</c:v>
                </c:pt>
                <c:pt idx="1635">
                  <c:v>1887.99</c:v>
                </c:pt>
                <c:pt idx="1636">
                  <c:v>1918.37</c:v>
                </c:pt>
                <c:pt idx="1637">
                  <c:v>1920.69</c:v>
                </c:pt>
                <c:pt idx="1638">
                  <c:v>1876.19</c:v>
                </c:pt>
                <c:pt idx="1639">
                  <c:v>1955.24</c:v>
                </c:pt>
                <c:pt idx="1640">
                  <c:v>1954.87</c:v>
                </c:pt>
                <c:pt idx="1641">
                  <c:v>1990.21</c:v>
                </c:pt>
                <c:pt idx="1642">
                  <c:v>2012.47</c:v>
                </c:pt>
                <c:pt idx="1643">
                  <c:v>2025.19</c:v>
                </c:pt>
                <c:pt idx="1644">
                  <c:v>2021.71</c:v>
                </c:pt>
                <c:pt idx="1645">
                  <c:v>2044.55</c:v>
                </c:pt>
                <c:pt idx="1646">
                  <c:v>2032.68</c:v>
                </c:pt>
                <c:pt idx="1647">
                  <c:v>2057.06</c:v>
                </c:pt>
                <c:pt idx="1648">
                  <c:v>2108.91</c:v>
                </c:pt>
                <c:pt idx="1649">
                  <c:v>2166.41</c:v>
                </c:pt>
                <c:pt idx="1650">
                  <c:v>2150.9699999999998</c:v>
                </c:pt>
                <c:pt idx="1651">
                  <c:v>2237.2800000000002</c:v>
                </c:pt>
                <c:pt idx="1652">
                  <c:v>2296.67</c:v>
                </c:pt>
                <c:pt idx="1653">
                  <c:v>2326.7600000000002</c:v>
                </c:pt>
                <c:pt idx="1654">
                  <c:v>2331.14</c:v>
                </c:pt>
                <c:pt idx="1655">
                  <c:v>2318.34</c:v>
                </c:pt>
                <c:pt idx="1656">
                  <c:v>2399.0700000000002</c:v>
                </c:pt>
                <c:pt idx="1657">
                  <c:v>2462.25</c:v>
                </c:pt>
                <c:pt idx="1658">
                  <c:v>2385.29</c:v>
                </c:pt>
                <c:pt idx="1659">
                  <c:v>2275.84</c:v>
                </c:pt>
                <c:pt idx="1660">
                  <c:v>2298.41</c:v>
                </c:pt>
                <c:pt idx="1661">
                  <c:v>2344.3200000000002</c:v>
                </c:pt>
                <c:pt idx="1662">
                  <c:v>2410.48</c:v>
                </c:pt>
                <c:pt idx="1663">
                  <c:v>2301.85</c:v>
                </c:pt>
                <c:pt idx="1664">
                  <c:v>2304.25</c:v>
                </c:pt>
                <c:pt idx="1665">
                  <c:v>2190.19</c:v>
                </c:pt>
                <c:pt idx="1666">
                  <c:v>2140.4899999999998</c:v>
                </c:pt>
                <c:pt idx="1667">
                  <c:v>2164.67</c:v>
                </c:pt>
                <c:pt idx="1668">
                  <c:v>2142.15</c:v>
                </c:pt>
                <c:pt idx="1669">
                  <c:v>2285.15</c:v>
                </c:pt>
                <c:pt idx="1670">
                  <c:v>2304.92</c:v>
                </c:pt>
                <c:pt idx="1671">
                  <c:v>2286.58</c:v>
                </c:pt>
                <c:pt idx="1672">
                  <c:v>2202.5300000000002</c:v>
                </c:pt>
                <c:pt idx="1673">
                  <c:v>2240.7800000000002</c:v>
                </c:pt>
                <c:pt idx="1674">
                  <c:v>2220.38</c:v>
                </c:pt>
                <c:pt idx="1675">
                  <c:v>2215.6999999999998</c:v>
                </c:pt>
                <c:pt idx="1676">
                  <c:v>2205.42</c:v>
                </c:pt>
                <c:pt idx="1677">
                  <c:v>2241.61</c:v>
                </c:pt>
                <c:pt idx="1678">
                  <c:v>2322.4</c:v>
                </c:pt>
                <c:pt idx="1679">
                  <c:v>2332.65</c:v>
                </c:pt>
                <c:pt idx="1680">
                  <c:v>2382.56</c:v>
                </c:pt>
                <c:pt idx="1681">
                  <c:v>2379.84</c:v>
                </c:pt>
                <c:pt idx="1682">
                  <c:v>2439.4</c:v>
                </c:pt>
                <c:pt idx="1683">
                  <c:v>2451.7800000000002</c:v>
                </c:pt>
                <c:pt idx="1684">
                  <c:v>2401.33</c:v>
                </c:pt>
                <c:pt idx="1685">
                  <c:v>2479.79</c:v>
                </c:pt>
                <c:pt idx="1686">
                  <c:v>2498.9299999999998</c:v>
                </c:pt>
                <c:pt idx="1687">
                  <c:v>2484.4899999999998</c:v>
                </c:pt>
                <c:pt idx="1688">
                  <c:v>2507.79</c:v>
                </c:pt>
                <c:pt idx="1689">
                  <c:v>2548.2199999999998</c:v>
                </c:pt>
                <c:pt idx="1690">
                  <c:v>2576.4</c:v>
                </c:pt>
                <c:pt idx="1691">
                  <c:v>2570.5</c:v>
                </c:pt>
                <c:pt idx="1692">
                  <c:v>2576.9499999999998</c:v>
                </c:pt>
                <c:pt idx="1693">
                  <c:v>2479.35</c:v>
                </c:pt>
                <c:pt idx="1694">
                  <c:v>2517.67</c:v>
                </c:pt>
                <c:pt idx="1695">
                  <c:v>2595.5300000000002</c:v>
                </c:pt>
                <c:pt idx="1696">
                  <c:v>2656.52</c:v>
                </c:pt>
                <c:pt idx="1697">
                  <c:v>2676.87</c:v>
                </c:pt>
                <c:pt idx="1698">
                  <c:v>2686.99</c:v>
                </c:pt>
                <c:pt idx="1699">
                  <c:v>2687.11</c:v>
                </c:pt>
                <c:pt idx="1700">
                  <c:v>2650.69</c:v>
                </c:pt>
                <c:pt idx="1701">
                  <c:v>2707.67</c:v>
                </c:pt>
                <c:pt idx="1702">
                  <c:v>2675.44</c:v>
                </c:pt>
                <c:pt idx="1703">
                  <c:v>2576.2800000000002</c:v>
                </c:pt>
                <c:pt idx="1704">
                  <c:v>2593.56</c:v>
                </c:pt>
                <c:pt idx="1705">
                  <c:v>2572.89</c:v>
                </c:pt>
                <c:pt idx="1706">
                  <c:v>2513.29</c:v>
                </c:pt>
                <c:pt idx="1707">
                  <c:v>2518.5300000000002</c:v>
                </c:pt>
                <c:pt idx="1708">
                  <c:v>2605.37</c:v>
                </c:pt>
                <c:pt idx="1709">
                  <c:v>2622.93</c:v>
                </c:pt>
                <c:pt idx="1710">
                  <c:v>2714.3</c:v>
                </c:pt>
                <c:pt idx="1711">
                  <c:v>2727.01</c:v>
                </c:pt>
                <c:pt idx="1712">
                  <c:v>2764.98</c:v>
                </c:pt>
                <c:pt idx="1713">
                  <c:v>2767.08</c:v>
                </c:pt>
                <c:pt idx="1714">
                  <c:v>2789.22</c:v>
                </c:pt>
                <c:pt idx="1715">
                  <c:v>2725.32</c:v>
                </c:pt>
                <c:pt idx="1716">
                  <c:v>2788.56</c:v>
                </c:pt>
                <c:pt idx="1717">
                  <c:v>2814.01</c:v>
                </c:pt>
                <c:pt idx="1718">
                  <c:v>2792.6</c:v>
                </c:pt>
                <c:pt idx="1719">
                  <c:v>2796.12</c:v>
                </c:pt>
                <c:pt idx="1720">
                  <c:v>2810.57</c:v>
                </c:pt>
                <c:pt idx="1721">
                  <c:v>2840.08</c:v>
                </c:pt>
                <c:pt idx="1722">
                  <c:v>2812.87</c:v>
                </c:pt>
                <c:pt idx="1723">
                  <c:v>2750.01</c:v>
                </c:pt>
                <c:pt idx="1724">
                  <c:v>2740.68</c:v>
                </c:pt>
                <c:pt idx="1725">
                  <c:v>2752.72</c:v>
                </c:pt>
                <c:pt idx="1726">
                  <c:v>2719.76</c:v>
                </c:pt>
                <c:pt idx="1727">
                  <c:v>2759.71</c:v>
                </c:pt>
                <c:pt idx="1728">
                  <c:v>2858.34</c:v>
                </c:pt>
                <c:pt idx="1729">
                  <c:v>2865.1</c:v>
                </c:pt>
                <c:pt idx="1730">
                  <c:v>2939.39</c:v>
                </c:pt>
                <c:pt idx="1731">
                  <c:v>2953.75</c:v>
                </c:pt>
                <c:pt idx="1732">
                  <c:v>2939.31</c:v>
                </c:pt>
                <c:pt idx="1733">
                  <c:v>2948.48</c:v>
                </c:pt>
                <c:pt idx="1734">
                  <c:v>2960.56</c:v>
                </c:pt>
                <c:pt idx="1735">
                  <c:v>2989.6</c:v>
                </c:pt>
                <c:pt idx="1736">
                  <c:v>2961.63</c:v>
                </c:pt>
                <c:pt idx="1737">
                  <c:v>2906.29</c:v>
                </c:pt>
                <c:pt idx="1738">
                  <c:v>2966.19</c:v>
                </c:pt>
                <c:pt idx="1739">
                  <c:v>2961.22</c:v>
                </c:pt>
                <c:pt idx="1740">
                  <c:v>3010.59</c:v>
                </c:pt>
                <c:pt idx="1741">
                  <c:v>3057.43</c:v>
                </c:pt>
                <c:pt idx="1742">
                  <c:v>3080</c:v>
                </c:pt>
                <c:pt idx="1743">
                  <c:v>3082.56</c:v>
                </c:pt>
                <c:pt idx="1744">
                  <c:v>3083.9</c:v>
                </c:pt>
                <c:pt idx="1745">
                  <c:v>3120.73</c:v>
                </c:pt>
                <c:pt idx="1746">
                  <c:v>3117.92</c:v>
                </c:pt>
                <c:pt idx="1747">
                  <c:v>3128.42</c:v>
                </c:pt>
                <c:pt idx="1748">
                  <c:v>3179.97</c:v>
                </c:pt>
                <c:pt idx="1749">
                  <c:v>3166.47</c:v>
                </c:pt>
                <c:pt idx="1750">
                  <c:v>3237.9</c:v>
                </c:pt>
                <c:pt idx="1751">
                  <c:v>3282.36</c:v>
                </c:pt>
                <c:pt idx="1752">
                  <c:v>3327.14</c:v>
                </c:pt>
                <c:pt idx="1753">
                  <c:v>3374.75</c:v>
                </c:pt>
                <c:pt idx="1754">
                  <c:v>3340.49</c:v>
                </c:pt>
                <c:pt idx="1755">
                  <c:v>3352.27</c:v>
                </c:pt>
                <c:pt idx="1756">
                  <c:v>3396.3</c:v>
                </c:pt>
                <c:pt idx="1757">
                  <c:v>3398.31</c:v>
                </c:pt>
                <c:pt idx="1758">
                  <c:v>3361.01</c:v>
                </c:pt>
                <c:pt idx="1759">
                  <c:v>3454.75</c:v>
                </c:pt>
                <c:pt idx="1760">
                  <c:v>3493.31</c:v>
                </c:pt>
                <c:pt idx="1761">
                  <c:v>3501.24</c:v>
                </c:pt>
                <c:pt idx="1762">
                  <c:v>3519.81</c:v>
                </c:pt>
                <c:pt idx="1763">
                  <c:v>3591.12</c:v>
                </c:pt>
                <c:pt idx="1764">
                  <c:v>3539.83</c:v>
                </c:pt>
                <c:pt idx="1765">
                  <c:v>3606.92</c:v>
                </c:pt>
                <c:pt idx="1766">
                  <c:v>3651.97</c:v>
                </c:pt>
                <c:pt idx="1767">
                  <c:v>3667.56</c:v>
                </c:pt>
                <c:pt idx="1768">
                  <c:v>3743.63</c:v>
                </c:pt>
                <c:pt idx="1769">
                  <c:v>3755.82</c:v>
                </c:pt>
                <c:pt idx="1770">
                  <c:v>3558.51</c:v>
                </c:pt>
                <c:pt idx="1771">
                  <c:v>3634.82</c:v>
                </c:pt>
                <c:pt idx="1772">
                  <c:v>3734.62</c:v>
                </c:pt>
                <c:pt idx="1773">
                  <c:v>3787.03</c:v>
                </c:pt>
                <c:pt idx="1774">
                  <c:v>3786.62</c:v>
                </c:pt>
                <c:pt idx="1775">
                  <c:v>3740.94</c:v>
                </c:pt>
                <c:pt idx="1776">
                  <c:v>3663.12</c:v>
                </c:pt>
                <c:pt idx="1777">
                  <c:v>3555.1</c:v>
                </c:pt>
                <c:pt idx="1778">
                  <c:v>3544.54</c:v>
                </c:pt>
                <c:pt idx="1779">
                  <c:v>3556.38</c:v>
                </c:pt>
                <c:pt idx="1780">
                  <c:v>3397.4</c:v>
                </c:pt>
                <c:pt idx="1781">
                  <c:v>3440.82</c:v>
                </c:pt>
                <c:pt idx="1782">
                  <c:v>3344.46</c:v>
                </c:pt>
                <c:pt idx="1783">
                  <c:v>3140.27</c:v>
                </c:pt>
                <c:pt idx="1784">
                  <c:v>3171.99</c:v>
                </c:pt>
                <c:pt idx="1785">
                  <c:v>3014.57</c:v>
                </c:pt>
                <c:pt idx="1786">
                  <c:v>3144.39</c:v>
                </c:pt>
                <c:pt idx="1787">
                  <c:v>3203.62</c:v>
                </c:pt>
                <c:pt idx="1788">
                  <c:v>3229.6</c:v>
                </c:pt>
                <c:pt idx="1789">
                  <c:v>3109.83</c:v>
                </c:pt>
                <c:pt idx="1790">
                  <c:v>3172.39</c:v>
                </c:pt>
                <c:pt idx="1791">
                  <c:v>3156.3</c:v>
                </c:pt>
                <c:pt idx="1792">
                  <c:v>3046.78</c:v>
                </c:pt>
                <c:pt idx="1793">
                  <c:v>2830.27</c:v>
                </c:pt>
                <c:pt idx="1794">
                  <c:v>2843.7</c:v>
                </c:pt>
                <c:pt idx="1795">
                  <c:v>2890.93</c:v>
                </c:pt>
                <c:pt idx="1796">
                  <c:v>3051.96</c:v>
                </c:pt>
                <c:pt idx="1797">
                  <c:v>3077.14</c:v>
                </c:pt>
                <c:pt idx="1798">
                  <c:v>3104.21</c:v>
                </c:pt>
                <c:pt idx="1799">
                  <c:v>3170.97</c:v>
                </c:pt>
                <c:pt idx="1800">
                  <c:v>3194.91</c:v>
                </c:pt>
                <c:pt idx="1801">
                  <c:v>3162.91</c:v>
                </c:pt>
                <c:pt idx="1802">
                  <c:v>3238.13</c:v>
                </c:pt>
                <c:pt idx="1803">
                  <c:v>3293.39</c:v>
                </c:pt>
                <c:pt idx="1804">
                  <c:v>3302.64</c:v>
                </c:pt>
                <c:pt idx="1805">
                  <c:v>3258.24</c:v>
                </c:pt>
                <c:pt idx="1806">
                  <c:v>3320.1</c:v>
                </c:pt>
                <c:pt idx="1807">
                  <c:v>3199.69</c:v>
                </c:pt>
                <c:pt idx="1808">
                  <c:v>3208.6</c:v>
                </c:pt>
                <c:pt idx="1809">
                  <c:v>3131.03</c:v>
                </c:pt>
                <c:pt idx="1810">
                  <c:v>3060.07</c:v>
                </c:pt>
                <c:pt idx="1811">
                  <c:v>3080.93</c:v>
                </c:pt>
                <c:pt idx="1812">
                  <c:v>3058.53</c:v>
                </c:pt>
                <c:pt idx="1813">
                  <c:v>2972.64</c:v>
                </c:pt>
                <c:pt idx="1814">
                  <c:v>2972.29</c:v>
                </c:pt>
                <c:pt idx="1815">
                  <c:v>3004.81</c:v>
                </c:pt>
                <c:pt idx="1816">
                  <c:v>3163.71</c:v>
                </c:pt>
                <c:pt idx="1817">
                  <c:v>3151.63</c:v>
                </c:pt>
                <c:pt idx="1818">
                  <c:v>3198.52</c:v>
                </c:pt>
                <c:pt idx="1819">
                  <c:v>3227.4</c:v>
                </c:pt>
                <c:pt idx="1820">
                  <c:v>3239.64</c:v>
                </c:pt>
                <c:pt idx="1821">
                  <c:v>3241.71</c:v>
                </c:pt>
                <c:pt idx="1822">
                  <c:v>3329.16</c:v>
                </c:pt>
                <c:pt idx="1823">
                  <c:v>3377.57</c:v>
                </c:pt>
                <c:pt idx="1824">
                  <c:v>3369.29</c:v>
                </c:pt>
                <c:pt idx="1825">
                  <c:v>3347.32</c:v>
                </c:pt>
                <c:pt idx="1826">
                  <c:v>3413.25</c:v>
                </c:pt>
                <c:pt idx="1827">
                  <c:v>3414.24</c:v>
                </c:pt>
                <c:pt idx="1828">
                  <c:v>3314.72</c:v>
                </c:pt>
                <c:pt idx="1829">
                  <c:v>3329.33</c:v>
                </c:pt>
                <c:pt idx="1830">
                  <c:v>3247.05</c:v>
                </c:pt>
                <c:pt idx="1831">
                  <c:v>3280.37</c:v>
                </c:pt>
                <c:pt idx="1832">
                  <c:v>3392.8</c:v>
                </c:pt>
                <c:pt idx="1833">
                  <c:v>3435.43</c:v>
                </c:pt>
                <c:pt idx="1834">
                  <c:v>3453.89</c:v>
                </c:pt>
                <c:pt idx="1835">
                  <c:v>3464.32</c:v>
                </c:pt>
                <c:pt idx="1836">
                  <c:v>3483.02</c:v>
                </c:pt>
                <c:pt idx="1837">
                  <c:v>3495.79</c:v>
                </c:pt>
                <c:pt idx="1838">
                  <c:v>3503.78</c:v>
                </c:pt>
                <c:pt idx="1839">
                  <c:v>3495.67</c:v>
                </c:pt>
                <c:pt idx="1840">
                  <c:v>3499.99</c:v>
                </c:pt>
                <c:pt idx="1841">
                  <c:v>3518.72</c:v>
                </c:pt>
                <c:pt idx="1842">
                  <c:v>3625.8</c:v>
                </c:pt>
                <c:pt idx="1843">
                  <c:v>3628.35</c:v>
                </c:pt>
                <c:pt idx="1844">
                  <c:v>3630.23</c:v>
                </c:pt>
                <c:pt idx="1845">
                  <c:v>3642.44</c:v>
                </c:pt>
                <c:pt idx="1846">
                  <c:v>3631.01</c:v>
                </c:pt>
                <c:pt idx="1847">
                  <c:v>3665.51</c:v>
                </c:pt>
                <c:pt idx="1848">
                  <c:v>3548.08</c:v>
                </c:pt>
                <c:pt idx="1849">
                  <c:v>3629.63</c:v>
                </c:pt>
                <c:pt idx="1850">
                  <c:v>3485.77</c:v>
                </c:pt>
                <c:pt idx="1851">
                  <c:v>3382.51</c:v>
                </c:pt>
                <c:pt idx="1852">
                  <c:v>3511.67</c:v>
                </c:pt>
                <c:pt idx="1853">
                  <c:v>3560.83</c:v>
                </c:pt>
                <c:pt idx="1854">
                  <c:v>3597.33</c:v>
                </c:pt>
                <c:pt idx="1855">
                  <c:v>3590.88</c:v>
                </c:pt>
                <c:pt idx="1856">
                  <c:v>3643.49</c:v>
                </c:pt>
                <c:pt idx="1857">
                  <c:v>3668.83</c:v>
                </c:pt>
                <c:pt idx="1858">
                  <c:v>3624.02</c:v>
                </c:pt>
                <c:pt idx="1859">
                  <c:v>3554.48</c:v>
                </c:pt>
                <c:pt idx="1860">
                  <c:v>3577.24</c:v>
                </c:pt>
                <c:pt idx="1861">
                  <c:v>3575.02</c:v>
                </c:pt>
                <c:pt idx="1862">
                  <c:v>3612.75</c:v>
                </c:pt>
                <c:pt idx="1863">
                  <c:v>3583.34</c:v>
                </c:pt>
                <c:pt idx="1864">
                  <c:v>3560.72</c:v>
                </c:pt>
                <c:pt idx="1865">
                  <c:v>3480.15</c:v>
                </c:pt>
                <c:pt idx="1866">
                  <c:v>3391.74</c:v>
                </c:pt>
                <c:pt idx="1867">
                  <c:v>3396.62</c:v>
                </c:pt>
                <c:pt idx="1868">
                  <c:v>3305.54</c:v>
                </c:pt>
                <c:pt idx="1869">
                  <c:v>3336.48</c:v>
                </c:pt>
                <c:pt idx="1870">
                  <c:v>3438.82</c:v>
                </c:pt>
                <c:pt idx="1871">
                  <c:v>3424.78</c:v>
                </c:pt>
                <c:pt idx="1872">
                  <c:v>3478.43</c:v>
                </c:pt>
                <c:pt idx="1873">
                  <c:v>3500.74</c:v>
                </c:pt>
                <c:pt idx="1874">
                  <c:v>3558.86</c:v>
                </c:pt>
                <c:pt idx="1875">
                  <c:v>3575.68</c:v>
                </c:pt>
                <c:pt idx="1876">
                  <c:v>3535.23</c:v>
                </c:pt>
                <c:pt idx="1877">
                  <c:v>3564.04</c:v>
                </c:pt>
                <c:pt idx="1878">
                  <c:v>3541.73</c:v>
                </c:pt>
                <c:pt idx="1879">
                  <c:v>3471.46</c:v>
                </c:pt>
                <c:pt idx="1880">
                  <c:v>3480.13</c:v>
                </c:pt>
                <c:pt idx="1881">
                  <c:v>3482.05</c:v>
                </c:pt>
                <c:pt idx="1882">
                  <c:v>3534.92</c:v>
                </c:pt>
                <c:pt idx="1883">
                  <c:v>3421.14</c:v>
                </c:pt>
                <c:pt idx="1884">
                  <c:v>3469.05</c:v>
                </c:pt>
                <c:pt idx="1885">
                  <c:v>3482.74</c:v>
                </c:pt>
                <c:pt idx="1886">
                  <c:v>3500.68</c:v>
                </c:pt>
                <c:pt idx="1887">
                  <c:v>3507.48</c:v>
                </c:pt>
                <c:pt idx="1888">
                  <c:v>3394.43</c:v>
                </c:pt>
                <c:pt idx="1889">
                  <c:v>3408.57</c:v>
                </c:pt>
                <c:pt idx="1890">
                  <c:v>3366.2</c:v>
                </c:pt>
                <c:pt idx="1891">
                  <c:v>3328.01</c:v>
                </c:pt>
                <c:pt idx="1892">
                  <c:v>3242.8</c:v>
                </c:pt>
                <c:pt idx="1893">
                  <c:v>3198.57</c:v>
                </c:pt>
                <c:pt idx="1894">
                  <c:v>3206.57</c:v>
                </c:pt>
                <c:pt idx="1895">
                  <c:v>3204.16</c:v>
                </c:pt>
                <c:pt idx="1896">
                  <c:v>3152.71</c:v>
                </c:pt>
                <c:pt idx="1897">
                  <c:v>3146.19</c:v>
                </c:pt>
                <c:pt idx="1898">
                  <c:v>3230.72</c:v>
                </c:pt>
                <c:pt idx="1899">
                  <c:v>3218.8</c:v>
                </c:pt>
                <c:pt idx="1900">
                  <c:v>3153.09</c:v>
                </c:pt>
                <c:pt idx="1901">
                  <c:v>3150.99</c:v>
                </c:pt>
                <c:pt idx="1902">
                  <c:v>3169.19</c:v>
                </c:pt>
                <c:pt idx="1903">
                  <c:v>3214.13</c:v>
                </c:pt>
                <c:pt idx="1904">
                  <c:v>3220.4</c:v>
                </c:pt>
                <c:pt idx="1905">
                  <c:v>3251.28</c:v>
                </c:pt>
                <c:pt idx="1906">
                  <c:v>3233.35</c:v>
                </c:pt>
                <c:pt idx="1907">
                  <c:v>3198.63</c:v>
                </c:pt>
                <c:pt idx="1908">
                  <c:v>3244.48</c:v>
                </c:pt>
                <c:pt idx="1909">
                  <c:v>3292.13</c:v>
                </c:pt>
                <c:pt idx="1910">
                  <c:v>3281.67</c:v>
                </c:pt>
                <c:pt idx="1911">
                  <c:v>3324.42</c:v>
                </c:pt>
                <c:pt idx="1912">
                  <c:v>3311.24</c:v>
                </c:pt>
                <c:pt idx="1913">
                  <c:v>3335.08</c:v>
                </c:pt>
                <c:pt idx="1914">
                  <c:v>3250.57</c:v>
                </c:pt>
                <c:pt idx="1915">
                  <c:v>3259.76</c:v>
                </c:pt>
                <c:pt idx="1916">
                  <c:v>3286.18</c:v>
                </c:pt>
                <c:pt idx="1917">
                  <c:v>3305.86</c:v>
                </c:pt>
                <c:pt idx="1918">
                  <c:v>3279.69</c:v>
                </c:pt>
                <c:pt idx="1919">
                  <c:v>3276.71</c:v>
                </c:pt>
                <c:pt idx="1920">
                  <c:v>3233.13</c:v>
                </c:pt>
                <c:pt idx="1921">
                  <c:v>3183.18</c:v>
                </c:pt>
                <c:pt idx="1922">
                  <c:v>3203.97</c:v>
                </c:pt>
                <c:pt idx="1923">
                  <c:v>3273.92</c:v>
                </c:pt>
                <c:pt idx="1924">
                  <c:v>3267.56</c:v>
                </c:pt>
                <c:pt idx="1925">
                  <c:v>3293.87</c:v>
                </c:pt>
                <c:pt idx="1926">
                  <c:v>3302.63</c:v>
                </c:pt>
                <c:pt idx="1927">
                  <c:v>3275.57</c:v>
                </c:pt>
                <c:pt idx="1928">
                  <c:v>3276.67</c:v>
                </c:pt>
                <c:pt idx="1929">
                  <c:v>3229.13</c:v>
                </c:pt>
                <c:pt idx="1930">
                  <c:v>3275</c:v>
                </c:pt>
                <c:pt idx="1931">
                  <c:v>3358.54</c:v>
                </c:pt>
                <c:pt idx="1932">
                  <c:v>3366.71</c:v>
                </c:pt>
                <c:pt idx="1933">
                  <c:v>3345.61</c:v>
                </c:pt>
                <c:pt idx="1934">
                  <c:v>3391.94</c:v>
                </c:pt>
                <c:pt idx="1935">
                  <c:v>3407.35</c:v>
                </c:pt>
                <c:pt idx="1936">
                  <c:v>3405.15</c:v>
                </c:pt>
                <c:pt idx="1937">
                  <c:v>3386.95</c:v>
                </c:pt>
                <c:pt idx="1938">
                  <c:v>3346.74</c:v>
                </c:pt>
                <c:pt idx="1939">
                  <c:v>3379.17</c:v>
                </c:pt>
                <c:pt idx="1940">
                  <c:v>3351.48</c:v>
                </c:pt>
                <c:pt idx="1941">
                  <c:v>3391.72</c:v>
                </c:pt>
                <c:pt idx="1942">
                  <c:v>3403.71</c:v>
                </c:pt>
                <c:pt idx="1943">
                  <c:v>3394.57</c:v>
                </c:pt>
                <c:pt idx="1944">
                  <c:v>3356.33</c:v>
                </c:pt>
                <c:pt idx="1945">
                  <c:v>3176.42</c:v>
                </c:pt>
                <c:pt idx="1946">
                  <c:v>3173.37</c:v>
                </c:pt>
                <c:pt idx="1947">
                  <c:v>3236.68</c:v>
                </c:pt>
                <c:pt idx="1948">
                  <c:v>3201.54</c:v>
                </c:pt>
                <c:pt idx="1949">
                  <c:v>3190</c:v>
                </c:pt>
                <c:pt idx="1950">
                  <c:v>3172</c:v>
                </c:pt>
                <c:pt idx="1951">
                  <c:v>3108.41</c:v>
                </c:pt>
                <c:pt idx="1952">
                  <c:v>3097.35</c:v>
                </c:pt>
                <c:pt idx="1953">
                  <c:v>3060.06</c:v>
                </c:pt>
                <c:pt idx="1954">
                  <c:v>3067.37</c:v>
                </c:pt>
                <c:pt idx="1955">
                  <c:v>3019.45</c:v>
                </c:pt>
                <c:pt idx="1956">
                  <c:v>3036.39</c:v>
                </c:pt>
                <c:pt idx="1957">
                  <c:v>2896.86</c:v>
                </c:pt>
                <c:pt idx="1958">
                  <c:v>2836.79</c:v>
                </c:pt>
                <c:pt idx="1959">
                  <c:v>2858.23</c:v>
                </c:pt>
                <c:pt idx="1960">
                  <c:v>2800.82</c:v>
                </c:pt>
                <c:pt idx="1961">
                  <c:v>2818.16</c:v>
                </c:pt>
                <c:pt idx="1962">
                  <c:v>2886.91</c:v>
                </c:pt>
                <c:pt idx="1963">
                  <c:v>2868.02</c:v>
                </c:pt>
                <c:pt idx="1964">
                  <c:v>2714.72</c:v>
                </c:pt>
                <c:pt idx="1965">
                  <c:v>2771.35</c:v>
                </c:pt>
                <c:pt idx="1966">
                  <c:v>2762.17</c:v>
                </c:pt>
                <c:pt idx="1967">
                  <c:v>2726.02</c:v>
                </c:pt>
                <c:pt idx="1968">
                  <c:v>2768.79</c:v>
                </c:pt>
                <c:pt idx="1969">
                  <c:v>2873.47</c:v>
                </c:pt>
                <c:pt idx="1970">
                  <c:v>2813.94</c:v>
                </c:pt>
                <c:pt idx="1971">
                  <c:v>2813.94</c:v>
                </c:pt>
                <c:pt idx="1972">
                  <c:v>2859.98</c:v>
                </c:pt>
                <c:pt idx="1973">
                  <c:v>2850.3</c:v>
                </c:pt>
                <c:pt idx="1974">
                  <c:v>2773.26</c:v>
                </c:pt>
                <c:pt idx="1975">
                  <c:v>2744.16</c:v>
                </c:pt>
                <c:pt idx="1976">
                  <c:v>2757.53</c:v>
                </c:pt>
                <c:pt idx="1977">
                  <c:v>2736.08</c:v>
                </c:pt>
                <c:pt idx="1978">
                  <c:v>2744.39</c:v>
                </c:pt>
                <c:pt idx="1979">
                  <c:v>2695.72</c:v>
                </c:pt>
                <c:pt idx="1980">
                  <c:v>2699.34</c:v>
                </c:pt>
                <c:pt idx="1981">
                  <c:v>2782.13</c:v>
                </c:pt>
                <c:pt idx="1982">
                  <c:v>2750.02</c:v>
                </c:pt>
                <c:pt idx="1983">
                  <c:v>2758.87</c:v>
                </c:pt>
                <c:pt idx="1984">
                  <c:v>2742.73</c:v>
                </c:pt>
                <c:pt idx="1985">
                  <c:v>2696.17</c:v>
                </c:pt>
                <c:pt idx="1986">
                  <c:v>2780.66</c:v>
                </c:pt>
                <c:pt idx="1987">
                  <c:v>2783.72</c:v>
                </c:pt>
                <c:pt idx="1988">
                  <c:v>2758.5</c:v>
                </c:pt>
                <c:pt idx="1989">
                  <c:v>2757.5</c:v>
                </c:pt>
                <c:pt idx="1990">
                  <c:v>2736.29</c:v>
                </c:pt>
                <c:pt idx="1991">
                  <c:v>2716.78</c:v>
                </c:pt>
                <c:pt idx="1992">
                  <c:v>2592.02</c:v>
                </c:pt>
                <c:pt idx="1993">
                  <c:v>2563.0700000000002</c:v>
                </c:pt>
                <c:pt idx="1994">
                  <c:v>2526.0700000000002</c:v>
                </c:pt>
                <c:pt idx="1995">
                  <c:v>2534.11</c:v>
                </c:pt>
                <c:pt idx="1996">
                  <c:v>2512.65</c:v>
                </c:pt>
                <c:pt idx="1997">
                  <c:v>2562.9</c:v>
                </c:pt>
                <c:pt idx="1998">
                  <c:v>2580.48</c:v>
                </c:pt>
                <c:pt idx="1999">
                  <c:v>2575.92</c:v>
                </c:pt>
                <c:pt idx="2000">
                  <c:v>2647.1</c:v>
                </c:pt>
                <c:pt idx="2001">
                  <c:v>2676.22</c:v>
                </c:pt>
                <c:pt idx="2002">
                  <c:v>2634.59</c:v>
                </c:pt>
                <c:pt idx="2003">
                  <c:v>2653.61</c:v>
                </c:pt>
                <c:pt idx="2004">
                  <c:v>2608.52</c:v>
                </c:pt>
                <c:pt idx="2005">
                  <c:v>2616.13</c:v>
                </c:pt>
                <c:pt idx="2006">
                  <c:v>2682.47</c:v>
                </c:pt>
                <c:pt idx="2007">
                  <c:v>2741.5</c:v>
                </c:pt>
                <c:pt idx="2008">
                  <c:v>2747.34</c:v>
                </c:pt>
                <c:pt idx="2009">
                  <c:v>2781.29</c:v>
                </c:pt>
                <c:pt idx="2010">
                  <c:v>2793.08</c:v>
                </c:pt>
                <c:pt idx="2011">
                  <c:v>2811.06</c:v>
                </c:pt>
                <c:pt idx="2012">
                  <c:v>2795.72</c:v>
                </c:pt>
                <c:pt idx="2013">
                  <c:v>2863.72</c:v>
                </c:pt>
                <c:pt idx="2014">
                  <c:v>2877.98</c:v>
                </c:pt>
                <c:pt idx="2015">
                  <c:v>2868.85</c:v>
                </c:pt>
                <c:pt idx="2016">
                  <c:v>2917.28</c:v>
                </c:pt>
                <c:pt idx="2017">
                  <c:v>2865.97</c:v>
                </c:pt>
                <c:pt idx="2018">
                  <c:v>2876.43</c:v>
                </c:pt>
                <c:pt idx="2019">
                  <c:v>2850.83</c:v>
                </c:pt>
                <c:pt idx="2020">
                  <c:v>2897.66</c:v>
                </c:pt>
                <c:pt idx="2021">
                  <c:v>2918.24</c:v>
                </c:pt>
                <c:pt idx="2022">
                  <c:v>2832.64</c:v>
                </c:pt>
                <c:pt idx="2023">
                  <c:v>2850.21</c:v>
                </c:pt>
                <c:pt idx="2024">
                  <c:v>2816.39</c:v>
                </c:pt>
                <c:pt idx="2025">
                  <c:v>2855.55</c:v>
                </c:pt>
                <c:pt idx="2026">
                  <c:v>2922.08</c:v>
                </c:pt>
                <c:pt idx="2027">
                  <c:v>2942.29</c:v>
                </c:pt>
                <c:pt idx="2028">
                  <c:v>2937.36</c:v>
                </c:pt>
                <c:pt idx="2029">
                  <c:v>2955.4</c:v>
                </c:pt>
                <c:pt idx="2030">
                  <c:v>2898.33</c:v>
                </c:pt>
                <c:pt idx="2031">
                  <c:v>2896.19</c:v>
                </c:pt>
                <c:pt idx="2032">
                  <c:v>2911.83</c:v>
                </c:pt>
                <c:pt idx="2033">
                  <c:v>2843.02</c:v>
                </c:pt>
                <c:pt idx="2034">
                  <c:v>2850.09</c:v>
                </c:pt>
                <c:pt idx="2035">
                  <c:v>2858.57</c:v>
                </c:pt>
                <c:pt idx="2036">
                  <c:v>2915.01</c:v>
                </c:pt>
                <c:pt idx="2037">
                  <c:v>2903.19</c:v>
                </c:pt>
                <c:pt idx="2038">
                  <c:v>2884.04</c:v>
                </c:pt>
                <c:pt idx="2039">
                  <c:v>2921.39</c:v>
                </c:pt>
                <c:pt idx="2040">
                  <c:v>2920.21</c:v>
                </c:pt>
                <c:pt idx="2041">
                  <c:v>2975.09</c:v>
                </c:pt>
                <c:pt idx="2042">
                  <c:v>2983.11</c:v>
                </c:pt>
                <c:pt idx="2043">
                  <c:v>2980.97</c:v>
                </c:pt>
                <c:pt idx="2044">
                  <c:v>2926.46</c:v>
                </c:pt>
                <c:pt idx="2045">
                  <c:v>2932.55</c:v>
                </c:pt>
                <c:pt idx="2046">
                  <c:v>2962.32</c:v>
                </c:pt>
                <c:pt idx="2047">
                  <c:v>2965.01</c:v>
                </c:pt>
                <c:pt idx="2048">
                  <c:v>2913.19</c:v>
                </c:pt>
                <c:pt idx="2049">
                  <c:v>2857.79</c:v>
                </c:pt>
                <c:pt idx="2050">
                  <c:v>2861.37</c:v>
                </c:pt>
                <c:pt idx="2051">
                  <c:v>2849.83</c:v>
                </c:pt>
                <c:pt idx="2052">
                  <c:v>2857.48</c:v>
                </c:pt>
                <c:pt idx="2053">
                  <c:v>2905.03</c:v>
                </c:pt>
                <c:pt idx="2054">
                  <c:v>2880.91</c:v>
                </c:pt>
                <c:pt idx="2055">
                  <c:v>2874.81</c:v>
                </c:pt>
                <c:pt idx="2056">
                  <c:v>2935.57</c:v>
                </c:pt>
                <c:pt idx="2057">
                  <c:v>3044.23</c:v>
                </c:pt>
                <c:pt idx="2058">
                  <c:v>3132.9</c:v>
                </c:pt>
                <c:pt idx="2059">
                  <c:v>3172.73</c:v>
                </c:pt>
                <c:pt idx="2060">
                  <c:v>3217.58</c:v>
                </c:pt>
                <c:pt idx="2061">
                  <c:v>3224.14</c:v>
                </c:pt>
                <c:pt idx="2062">
                  <c:v>3327.68</c:v>
                </c:pt>
                <c:pt idx="2063">
                  <c:v>3306.16</c:v>
                </c:pt>
                <c:pt idx="2064">
                  <c:v>3375.67</c:v>
                </c:pt>
                <c:pt idx="2065">
                  <c:v>3396.88</c:v>
                </c:pt>
                <c:pt idx="2066">
                  <c:v>3374.69</c:v>
                </c:pt>
                <c:pt idx="2067">
                  <c:v>3378.66</c:v>
                </c:pt>
                <c:pt idx="2068">
                  <c:v>3481.08</c:v>
                </c:pt>
                <c:pt idx="2069">
                  <c:v>3466.08</c:v>
                </c:pt>
                <c:pt idx="2070">
                  <c:v>3403.87</c:v>
                </c:pt>
                <c:pt idx="2071">
                  <c:v>3397.69</c:v>
                </c:pt>
                <c:pt idx="2072">
                  <c:v>3379.98</c:v>
                </c:pt>
                <c:pt idx="2073">
                  <c:v>3473</c:v>
                </c:pt>
                <c:pt idx="2074">
                  <c:v>3463.13</c:v>
                </c:pt>
                <c:pt idx="2075">
                  <c:v>3420.34</c:v>
                </c:pt>
                <c:pt idx="2076">
                  <c:v>3480.51</c:v>
                </c:pt>
                <c:pt idx="2077">
                  <c:v>3520.8</c:v>
                </c:pt>
                <c:pt idx="2078">
                  <c:v>3548.57</c:v>
                </c:pt>
                <c:pt idx="2079">
                  <c:v>3523.95</c:v>
                </c:pt>
                <c:pt idx="2080">
                  <c:v>3499.11</c:v>
                </c:pt>
                <c:pt idx="2081">
                  <c:v>3509.98</c:v>
                </c:pt>
                <c:pt idx="2082">
                  <c:v>3291.83</c:v>
                </c:pt>
                <c:pt idx="2083">
                  <c:v>3314.89</c:v>
                </c:pt>
                <c:pt idx="2084">
                  <c:v>3169.54</c:v>
                </c:pt>
                <c:pt idx="2085">
                  <c:v>3103.91</c:v>
                </c:pt>
                <c:pt idx="2086">
                  <c:v>3147.96</c:v>
                </c:pt>
                <c:pt idx="2087">
                  <c:v>3178.85</c:v>
                </c:pt>
                <c:pt idx="2088">
                  <c:v>3171.94</c:v>
                </c:pt>
                <c:pt idx="2089">
                  <c:v>3107.18</c:v>
                </c:pt>
                <c:pt idx="2090">
                  <c:v>3177.04</c:v>
                </c:pt>
                <c:pt idx="2091">
                  <c:v>3223.48</c:v>
                </c:pt>
                <c:pt idx="2092">
                  <c:v>3194.85</c:v>
                </c:pt>
                <c:pt idx="2093">
                  <c:v>3190.05</c:v>
                </c:pt>
                <c:pt idx="2094">
                  <c:v>3136.99</c:v>
                </c:pt>
                <c:pt idx="2095">
                  <c:v>3136.02</c:v>
                </c:pt>
                <c:pt idx="2096">
                  <c:v>3155.06</c:v>
                </c:pt>
                <c:pt idx="2097">
                  <c:v>3158.16</c:v>
                </c:pt>
                <c:pt idx="2098">
                  <c:v>3165.57</c:v>
                </c:pt>
                <c:pt idx="2099">
                  <c:v>3200.34</c:v>
                </c:pt>
                <c:pt idx="2100">
                  <c:v>3171.88</c:v>
                </c:pt>
                <c:pt idx="2101">
                  <c:v>3123.37</c:v>
                </c:pt>
                <c:pt idx="2102">
                  <c:v>3161.98</c:v>
                </c:pt>
                <c:pt idx="2103">
                  <c:v>3261.06</c:v>
                </c:pt>
                <c:pt idx="2104">
                  <c:v>3269.47</c:v>
                </c:pt>
                <c:pt idx="2105">
                  <c:v>3247.64</c:v>
                </c:pt>
                <c:pt idx="2106">
                  <c:v>3230.67</c:v>
                </c:pt>
                <c:pt idx="2107">
                  <c:v>3225.66</c:v>
                </c:pt>
                <c:pt idx="2108">
                  <c:v>3178.66</c:v>
                </c:pt>
                <c:pt idx="2109">
                  <c:v>3249.51</c:v>
                </c:pt>
                <c:pt idx="2110">
                  <c:v>3215.45</c:v>
                </c:pt>
                <c:pt idx="2111">
                  <c:v>3188.61</c:v>
                </c:pt>
                <c:pt idx="2112">
                  <c:v>3162.96</c:v>
                </c:pt>
                <c:pt idx="2113">
                  <c:v>3099.71</c:v>
                </c:pt>
                <c:pt idx="2114">
                  <c:v>3044.93</c:v>
                </c:pt>
                <c:pt idx="2115">
                  <c:v>3061.83</c:v>
                </c:pt>
                <c:pt idx="2116">
                  <c:v>3064.1</c:v>
                </c:pt>
                <c:pt idx="2117">
                  <c:v>3128.26</c:v>
                </c:pt>
                <c:pt idx="2118">
                  <c:v>3189.68</c:v>
                </c:pt>
                <c:pt idx="2119">
                  <c:v>3175.66</c:v>
                </c:pt>
                <c:pt idx="2120">
                  <c:v>3159.64</c:v>
                </c:pt>
                <c:pt idx="2121">
                  <c:v>3166.62</c:v>
                </c:pt>
                <c:pt idx="2122">
                  <c:v>3108.19</c:v>
                </c:pt>
                <c:pt idx="2123">
                  <c:v>3124.92</c:v>
                </c:pt>
                <c:pt idx="2124">
                  <c:v>3142.34</c:v>
                </c:pt>
                <c:pt idx="2125">
                  <c:v>3141.28</c:v>
                </c:pt>
                <c:pt idx="2126">
                  <c:v>3091.86</c:v>
                </c:pt>
                <c:pt idx="2127">
                  <c:v>2974.35</c:v>
                </c:pt>
                <c:pt idx="2128">
                  <c:v>2977.65</c:v>
                </c:pt>
                <c:pt idx="2129">
                  <c:v>3044.85</c:v>
                </c:pt>
                <c:pt idx="2130">
                  <c:v>2944.71</c:v>
                </c:pt>
                <c:pt idx="2131">
                  <c:v>2983.46</c:v>
                </c:pt>
                <c:pt idx="2132">
                  <c:v>2954.23</c:v>
                </c:pt>
                <c:pt idx="2133">
                  <c:v>2938.65</c:v>
                </c:pt>
                <c:pt idx="2134">
                  <c:v>2978.43</c:v>
                </c:pt>
                <c:pt idx="2135">
                  <c:v>3026.47</c:v>
                </c:pt>
                <c:pt idx="2136">
                  <c:v>3036.74</c:v>
                </c:pt>
                <c:pt idx="2137">
                  <c:v>3076.51</c:v>
                </c:pt>
                <c:pt idx="2138">
                  <c:v>3077.28</c:v>
                </c:pt>
                <c:pt idx="2139">
                  <c:v>3040.95</c:v>
                </c:pt>
                <c:pt idx="2140">
                  <c:v>3104.16</c:v>
                </c:pt>
                <c:pt idx="2141">
                  <c:v>3120.96</c:v>
                </c:pt>
                <c:pt idx="2142">
                  <c:v>3219.14</c:v>
                </c:pt>
                <c:pt idx="2143">
                  <c:v>3217.67</c:v>
                </c:pt>
                <c:pt idx="2144">
                  <c:v>3248.53</c:v>
                </c:pt>
                <c:pt idx="2145">
                  <c:v>3245.91</c:v>
                </c:pt>
                <c:pt idx="2146">
                  <c:v>3211.88</c:v>
                </c:pt>
                <c:pt idx="2147">
                  <c:v>3257.91</c:v>
                </c:pt>
                <c:pt idx="2148">
                  <c:v>3163.58</c:v>
                </c:pt>
                <c:pt idx="2149">
                  <c:v>3174.74</c:v>
                </c:pt>
                <c:pt idx="2150">
                  <c:v>3190.94</c:v>
                </c:pt>
                <c:pt idx="2151">
                  <c:v>3197.62</c:v>
                </c:pt>
                <c:pt idx="2152">
                  <c:v>3239.56</c:v>
                </c:pt>
                <c:pt idx="2153">
                  <c:v>3254.89</c:v>
                </c:pt>
                <c:pt idx="2154">
                  <c:v>3243.3</c:v>
                </c:pt>
                <c:pt idx="2155">
                  <c:v>3221.72</c:v>
                </c:pt>
                <c:pt idx="2156">
                  <c:v>3270.67</c:v>
                </c:pt>
                <c:pt idx="2157">
                  <c:v>3334.51</c:v>
                </c:pt>
                <c:pt idx="2158">
                  <c:v>3337.46</c:v>
                </c:pt>
                <c:pt idx="2159">
                  <c:v>3338.86</c:v>
                </c:pt>
                <c:pt idx="2160">
                  <c:v>3280.26</c:v>
                </c:pt>
                <c:pt idx="2161">
                  <c:v>3247.38</c:v>
                </c:pt>
                <c:pt idx="2162">
                  <c:v>3262.92</c:v>
                </c:pt>
                <c:pt idx="2163">
                  <c:v>3203.96</c:v>
                </c:pt>
                <c:pt idx="2164">
                  <c:v>3248.2</c:v>
                </c:pt>
                <c:pt idx="2165">
                  <c:v>3197.1</c:v>
                </c:pt>
                <c:pt idx="2166">
                  <c:v>3215.69</c:v>
                </c:pt>
                <c:pt idx="2167">
                  <c:v>3207.11</c:v>
                </c:pt>
                <c:pt idx="2168">
                  <c:v>3222.96</c:v>
                </c:pt>
                <c:pt idx="2169">
                  <c:v>3264.93</c:v>
                </c:pt>
                <c:pt idx="2170">
                  <c:v>3251.36</c:v>
                </c:pt>
                <c:pt idx="2171">
                  <c:v>3294.48</c:v>
                </c:pt>
                <c:pt idx="2172">
                  <c:v>3290.57</c:v>
                </c:pt>
                <c:pt idx="2173">
                  <c:v>3257.98</c:v>
                </c:pt>
                <c:pt idx="2174">
                  <c:v>3256.08</c:v>
                </c:pt>
                <c:pt idx="2175">
                  <c:v>3223.29</c:v>
                </c:pt>
                <c:pt idx="2176">
                  <c:v>3272.73</c:v>
                </c:pt>
                <c:pt idx="2177">
                  <c:v>3311.07</c:v>
                </c:pt>
                <c:pt idx="2178">
                  <c:v>3324.42</c:v>
                </c:pt>
                <c:pt idx="2179">
                  <c:v>3353.36</c:v>
                </c:pt>
                <c:pt idx="2180">
                  <c:v>3333.43</c:v>
                </c:pt>
                <c:pt idx="2181">
                  <c:v>3326.77</c:v>
                </c:pt>
                <c:pt idx="2182">
                  <c:v>3372.03</c:v>
                </c:pt>
                <c:pt idx="2183">
                  <c:v>3353.56</c:v>
                </c:pt>
                <c:pt idx="2184">
                  <c:v>3358.94</c:v>
                </c:pt>
                <c:pt idx="2185">
                  <c:v>3359.44</c:v>
                </c:pt>
                <c:pt idx="2186">
                  <c:v>3295.81</c:v>
                </c:pt>
                <c:pt idx="2187">
                  <c:v>3295.76</c:v>
                </c:pt>
                <c:pt idx="2188">
                  <c:v>3317.37</c:v>
                </c:pt>
                <c:pt idx="2189">
                  <c:v>3299.94</c:v>
                </c:pt>
                <c:pt idx="2190">
                  <c:v>3249.57</c:v>
                </c:pt>
                <c:pt idx="2191">
                  <c:v>3230.96</c:v>
                </c:pt>
                <c:pt idx="2192">
                  <c:v>3209.5</c:v>
                </c:pt>
                <c:pt idx="2193">
                  <c:v>3161.78</c:v>
                </c:pt>
                <c:pt idx="2194">
                  <c:v>3192.72</c:v>
                </c:pt>
                <c:pt idx="2195">
                  <c:v>3211.13</c:v>
                </c:pt>
                <c:pt idx="2196">
                  <c:v>3129.03</c:v>
                </c:pt>
                <c:pt idx="2197">
                  <c:v>3126.12</c:v>
                </c:pt>
                <c:pt idx="2198">
                  <c:v>3121.4</c:v>
                </c:pt>
                <c:pt idx="2199">
                  <c:v>3129.76</c:v>
                </c:pt>
                <c:pt idx="2200">
                  <c:v>3153.22</c:v>
                </c:pt>
                <c:pt idx="2201">
                  <c:v>3145.09</c:v>
                </c:pt>
                <c:pt idx="2202">
                  <c:v>3101.6</c:v>
                </c:pt>
                <c:pt idx="2203">
                  <c:v>3128.09</c:v>
                </c:pt>
                <c:pt idx="2204">
                  <c:v>3100.46</c:v>
                </c:pt>
                <c:pt idx="2205">
                  <c:v>3116.03</c:v>
                </c:pt>
                <c:pt idx="2206">
                  <c:v>3139.38</c:v>
                </c:pt>
                <c:pt idx="2207">
                  <c:v>3120.64</c:v>
                </c:pt>
                <c:pt idx="2208">
                  <c:v>3121.6</c:v>
                </c:pt>
                <c:pt idx="2209">
                  <c:v>3022.98</c:v>
                </c:pt>
                <c:pt idx="2210">
                  <c:v>3026.22</c:v>
                </c:pt>
                <c:pt idx="2211">
                  <c:v>2990.34</c:v>
                </c:pt>
                <c:pt idx="2212">
                  <c:v>2978.38</c:v>
                </c:pt>
                <c:pt idx="2213">
                  <c:v>2963.31</c:v>
                </c:pt>
                <c:pt idx="2214">
                  <c:v>2954.51</c:v>
                </c:pt>
                <c:pt idx="2215">
                  <c:v>3001.56</c:v>
                </c:pt>
                <c:pt idx="2216">
                  <c:v>3004.17</c:v>
                </c:pt>
                <c:pt idx="2217">
                  <c:v>2955.71</c:v>
                </c:pt>
                <c:pt idx="2218">
                  <c:v>2986.35</c:v>
                </c:pt>
                <c:pt idx="2219">
                  <c:v>3004.26</c:v>
                </c:pt>
                <c:pt idx="2220">
                  <c:v>3008.65</c:v>
                </c:pt>
                <c:pt idx="2221">
                  <c:v>2951.89</c:v>
                </c:pt>
                <c:pt idx="2222">
                  <c:v>2961.93</c:v>
                </c:pt>
                <c:pt idx="2223">
                  <c:v>2950.35</c:v>
                </c:pt>
                <c:pt idx="2224">
                  <c:v>2993.56</c:v>
                </c:pt>
                <c:pt idx="2225">
                  <c:v>2963.12</c:v>
                </c:pt>
                <c:pt idx="2226">
                  <c:v>2917.58</c:v>
                </c:pt>
                <c:pt idx="2227">
                  <c:v>2892.16</c:v>
                </c:pt>
                <c:pt idx="2228">
                  <c:v>2874.9</c:v>
                </c:pt>
                <c:pt idx="2229">
                  <c:v>2909.07</c:v>
                </c:pt>
                <c:pt idx="2230">
                  <c:v>2908.58</c:v>
                </c:pt>
                <c:pt idx="2231">
                  <c:v>2957.63</c:v>
                </c:pt>
                <c:pt idx="2232">
                  <c:v>3027.47</c:v>
                </c:pt>
                <c:pt idx="2233">
                  <c:v>3036.49</c:v>
                </c:pt>
                <c:pt idx="2234">
                  <c:v>3041.73</c:v>
                </c:pt>
                <c:pt idx="2235">
                  <c:v>3000.17</c:v>
                </c:pt>
                <c:pt idx="2236">
                  <c:v>3044.09</c:v>
                </c:pt>
                <c:pt idx="2237">
                  <c:v>3049.75</c:v>
                </c:pt>
                <c:pt idx="2238">
                  <c:v>3121.98</c:v>
                </c:pt>
                <c:pt idx="2239">
                  <c:v>3122.5</c:v>
                </c:pt>
                <c:pt idx="2240">
                  <c:v>3113.71</c:v>
                </c:pt>
                <c:pt idx="2241">
                  <c:v>3101.68</c:v>
                </c:pt>
                <c:pt idx="2242">
                  <c:v>3109.18</c:v>
                </c:pt>
                <c:pt idx="2243">
                  <c:v>3113.21</c:v>
                </c:pt>
                <c:pt idx="2244">
                  <c:v>3056.91</c:v>
                </c:pt>
                <c:pt idx="2245">
                  <c:v>3106.25</c:v>
                </c:pt>
                <c:pt idx="2246">
                  <c:v>3115.75</c:v>
                </c:pt>
                <c:pt idx="2247">
                  <c:v>3128.89</c:v>
                </c:pt>
                <c:pt idx="2248">
                  <c:v>3122.6</c:v>
                </c:pt>
                <c:pt idx="2249">
                  <c:v>3095.13</c:v>
                </c:pt>
                <c:pt idx="2250">
                  <c:v>3091.57</c:v>
                </c:pt>
                <c:pt idx="2251">
                  <c:v>3059.14</c:v>
                </c:pt>
                <c:pt idx="2252">
                  <c:v>3067.99</c:v>
                </c:pt>
                <c:pt idx="2253">
                  <c:v>2968.29</c:v>
                </c:pt>
                <c:pt idx="2254">
                  <c:v>2977.77</c:v>
                </c:pt>
                <c:pt idx="2255">
                  <c:v>3000.05</c:v>
                </c:pt>
                <c:pt idx="2256">
                  <c:v>2981</c:v>
                </c:pt>
                <c:pt idx="2257">
                  <c:v>2972.08</c:v>
                </c:pt>
                <c:pt idx="2258">
                  <c:v>2977.72</c:v>
                </c:pt>
                <c:pt idx="2259">
                  <c:v>2956.38</c:v>
                </c:pt>
                <c:pt idx="2260">
                  <c:v>2954.87</c:v>
                </c:pt>
                <c:pt idx="2261">
                  <c:v>2960.31</c:v>
                </c:pt>
                <c:pt idx="2262">
                  <c:v>2897.42</c:v>
                </c:pt>
                <c:pt idx="2263">
                  <c:v>2793.9</c:v>
                </c:pt>
                <c:pt idx="2264">
                  <c:v>2798.19</c:v>
                </c:pt>
                <c:pt idx="2265">
                  <c:v>2824.12</c:v>
                </c:pt>
                <c:pt idx="2266">
                  <c:v>2866.92</c:v>
                </c:pt>
                <c:pt idx="2267">
                  <c:v>2875.37</c:v>
                </c:pt>
                <c:pt idx="2268">
                  <c:v>2917.88</c:v>
                </c:pt>
                <c:pt idx="2269">
                  <c:v>2897.58</c:v>
                </c:pt>
                <c:pt idx="2270">
                  <c:v>2886.01</c:v>
                </c:pt>
                <c:pt idx="2271">
                  <c:v>2834.25</c:v>
                </c:pt>
                <c:pt idx="2272">
                  <c:v>2807.66</c:v>
                </c:pt>
                <c:pt idx="2273">
                  <c:v>2777.79</c:v>
                </c:pt>
                <c:pt idx="2274">
                  <c:v>2821</c:v>
                </c:pt>
                <c:pt idx="2275">
                  <c:v>2810.02</c:v>
                </c:pt>
                <c:pt idx="2276">
                  <c:v>2903.84</c:v>
                </c:pt>
                <c:pt idx="2277">
                  <c:v>2901.22</c:v>
                </c:pt>
                <c:pt idx="2278">
                  <c:v>2852.81</c:v>
                </c:pt>
                <c:pt idx="2279">
                  <c:v>2841.74</c:v>
                </c:pt>
                <c:pt idx="2280">
                  <c:v>2846.78</c:v>
                </c:pt>
                <c:pt idx="2281">
                  <c:v>2834.54</c:v>
                </c:pt>
                <c:pt idx="2282">
                  <c:v>2803.85</c:v>
                </c:pt>
                <c:pt idx="2283">
                  <c:v>2743.82</c:v>
                </c:pt>
                <c:pt idx="2284">
                  <c:v>2723.3</c:v>
                </c:pt>
                <c:pt idx="2285">
                  <c:v>2779.09</c:v>
                </c:pt>
                <c:pt idx="2286">
                  <c:v>2756.11</c:v>
                </c:pt>
                <c:pt idx="2287">
                  <c:v>2751.1</c:v>
                </c:pt>
                <c:pt idx="2288">
                  <c:v>2720.28</c:v>
                </c:pt>
                <c:pt idx="2289">
                  <c:v>2733.11</c:v>
                </c:pt>
                <c:pt idx="2290">
                  <c:v>2729.05</c:v>
                </c:pt>
                <c:pt idx="2291">
                  <c:v>2733.99</c:v>
                </c:pt>
                <c:pt idx="2292">
                  <c:v>2679.27</c:v>
                </c:pt>
                <c:pt idx="2293">
                  <c:v>2689.85</c:v>
                </c:pt>
                <c:pt idx="2294">
                  <c:v>2771.01</c:v>
                </c:pt>
                <c:pt idx="2295">
                  <c:v>2685.69</c:v>
                </c:pt>
                <c:pt idx="2296">
                  <c:v>2669.48</c:v>
                </c:pt>
                <c:pt idx="2297">
                  <c:v>2610.92</c:v>
                </c:pt>
                <c:pt idx="2298">
                  <c:v>2637.88</c:v>
                </c:pt>
                <c:pt idx="2299">
                  <c:v>2610.59</c:v>
                </c:pt>
                <c:pt idx="2300">
                  <c:v>2588.19</c:v>
                </c:pt>
                <c:pt idx="2301">
                  <c:v>2581.35</c:v>
                </c:pt>
                <c:pt idx="2302">
                  <c:v>2557.08</c:v>
                </c:pt>
                <c:pt idx="2303">
                  <c:v>2551.9899999999998</c:v>
                </c:pt>
                <c:pt idx="2304">
                  <c:v>2644.76</c:v>
                </c:pt>
                <c:pt idx="2305">
                  <c:v>2662.6</c:v>
                </c:pt>
                <c:pt idx="2306">
                  <c:v>2653.78</c:v>
                </c:pt>
                <c:pt idx="2307">
                  <c:v>2666.95</c:v>
                </c:pt>
                <c:pt idx="2308">
                  <c:v>2592.21</c:v>
                </c:pt>
                <c:pt idx="2309">
                  <c:v>2583.08</c:v>
                </c:pt>
                <c:pt idx="2310">
                  <c:v>2520.5300000000002</c:v>
                </c:pt>
                <c:pt idx="2311">
                  <c:v>2507.88</c:v>
                </c:pt>
                <c:pt idx="2312">
                  <c:v>2576.67</c:v>
                </c:pt>
                <c:pt idx="2313">
                  <c:v>2625.43</c:v>
                </c:pt>
                <c:pt idx="2314">
                  <c:v>2651.65</c:v>
                </c:pt>
                <c:pt idx="2315">
                  <c:v>2657.48</c:v>
                </c:pt>
                <c:pt idx="2316">
                  <c:v>2709.02</c:v>
                </c:pt>
                <c:pt idx="2317">
                  <c:v>2695.31</c:v>
                </c:pt>
                <c:pt idx="2318">
                  <c:v>2697.53</c:v>
                </c:pt>
                <c:pt idx="2319">
                  <c:v>2742.39</c:v>
                </c:pt>
                <c:pt idx="2320">
                  <c:v>2744.3</c:v>
                </c:pt>
                <c:pt idx="2321">
                  <c:v>2763.75</c:v>
                </c:pt>
                <c:pt idx="2322">
                  <c:v>2736.25</c:v>
                </c:pt>
                <c:pt idx="2323">
                  <c:v>2727.71</c:v>
                </c:pt>
                <c:pt idx="2324">
                  <c:v>2751.65</c:v>
                </c:pt>
                <c:pt idx="2325">
                  <c:v>2699.59</c:v>
                </c:pt>
                <c:pt idx="2326">
                  <c:v>2695</c:v>
                </c:pt>
                <c:pt idx="2327">
                  <c:v>2750.2</c:v>
                </c:pt>
                <c:pt idx="2328">
                  <c:v>2744.68</c:v>
                </c:pt>
                <c:pt idx="2329">
                  <c:v>2670.12</c:v>
                </c:pt>
                <c:pt idx="2330">
                  <c:v>2662.02</c:v>
                </c:pt>
                <c:pt idx="2331">
                  <c:v>2606.5</c:v>
                </c:pt>
                <c:pt idx="2332">
                  <c:v>2609.69</c:v>
                </c:pt>
                <c:pt idx="2333">
                  <c:v>2609.48</c:v>
                </c:pt>
                <c:pt idx="2334">
                  <c:v>2584.0100000000002</c:v>
                </c:pt>
                <c:pt idx="2335">
                  <c:v>2588.92</c:v>
                </c:pt>
                <c:pt idx="2336">
                  <c:v>2569.9699999999998</c:v>
                </c:pt>
                <c:pt idx="2337">
                  <c:v>2573.3200000000002</c:v>
                </c:pt>
                <c:pt idx="2338">
                  <c:v>2608.5700000000002</c:v>
                </c:pt>
                <c:pt idx="2339">
                  <c:v>2521.52</c:v>
                </c:pt>
                <c:pt idx="2340">
                  <c:v>2583.61</c:v>
                </c:pt>
                <c:pt idx="2341">
                  <c:v>2557.31</c:v>
                </c:pt>
                <c:pt idx="2342">
                  <c:v>2521.39</c:v>
                </c:pt>
                <c:pt idx="2343">
                  <c:v>2516.34</c:v>
                </c:pt>
                <c:pt idx="2344">
                  <c:v>2528.23</c:v>
                </c:pt>
                <c:pt idx="2345">
                  <c:v>2525</c:v>
                </c:pt>
                <c:pt idx="2346">
                  <c:v>2503.46</c:v>
                </c:pt>
                <c:pt idx="2347">
                  <c:v>2477.69</c:v>
                </c:pt>
                <c:pt idx="2348">
                  <c:v>2421.9299999999998</c:v>
                </c:pt>
                <c:pt idx="2349">
                  <c:v>2397.48</c:v>
                </c:pt>
                <c:pt idx="2350">
                  <c:v>2340.79</c:v>
                </c:pt>
                <c:pt idx="2351">
                  <c:v>2390.13</c:v>
                </c:pt>
                <c:pt idx="2352">
                  <c:v>2384.41</c:v>
                </c:pt>
                <c:pt idx="2353">
                  <c:v>2377.0700000000002</c:v>
                </c:pt>
                <c:pt idx="2354">
                  <c:v>2339.11</c:v>
                </c:pt>
                <c:pt idx="2355">
                  <c:v>2341.34</c:v>
                </c:pt>
                <c:pt idx="2356">
                  <c:v>2359.16</c:v>
                </c:pt>
                <c:pt idx="2357">
                  <c:v>2335.6999999999998</c:v>
                </c:pt>
                <c:pt idx="2358">
                  <c:v>2305.04</c:v>
                </c:pt>
                <c:pt idx="2359">
                  <c:v>2307.9299999999998</c:v>
                </c:pt>
                <c:pt idx="2360">
                  <c:v>2311.36</c:v>
                </c:pt>
                <c:pt idx="2361">
                  <c:v>2345.7399999999998</c:v>
                </c:pt>
                <c:pt idx="2362">
                  <c:v>2298.75</c:v>
                </c:pt>
                <c:pt idx="2363">
                  <c:v>2276.39</c:v>
                </c:pt>
                <c:pt idx="2364">
                  <c:v>2290.6</c:v>
                </c:pt>
                <c:pt idx="2365">
                  <c:v>2368.5700000000002</c:v>
                </c:pt>
                <c:pt idx="2366">
                  <c:v>2447.35</c:v>
                </c:pt>
                <c:pt idx="2367">
                  <c:v>2435.61</c:v>
                </c:pt>
                <c:pt idx="2368">
                  <c:v>2435.2199999999998</c:v>
                </c:pt>
                <c:pt idx="2369">
                  <c:v>2394.33</c:v>
                </c:pt>
                <c:pt idx="2370">
                  <c:v>2345.65</c:v>
                </c:pt>
                <c:pt idx="2371">
                  <c:v>2460.6</c:v>
                </c:pt>
                <c:pt idx="2372">
                  <c:v>2422.19</c:v>
                </c:pt>
                <c:pt idx="2373">
                  <c:v>2468.35</c:v>
                </c:pt>
                <c:pt idx="2374">
                  <c:v>2504.09</c:v>
                </c:pt>
                <c:pt idx="2375">
                  <c:v>2460.7199999999998</c:v>
                </c:pt>
                <c:pt idx="2376">
                  <c:v>2464.2600000000002</c:v>
                </c:pt>
                <c:pt idx="2377">
                  <c:v>2428.9899999999998</c:v>
                </c:pt>
                <c:pt idx="2378">
                  <c:v>2486.2399999999998</c:v>
                </c:pt>
                <c:pt idx="2379">
                  <c:v>2506.09</c:v>
                </c:pt>
                <c:pt idx="2380">
                  <c:v>2504.3200000000002</c:v>
                </c:pt>
                <c:pt idx="2381">
                  <c:v>2457.9499999999998</c:v>
                </c:pt>
                <c:pt idx="2382">
                  <c:v>2528.2399999999998</c:v>
                </c:pt>
                <c:pt idx="2383">
                  <c:v>2529.23</c:v>
                </c:pt>
                <c:pt idx="2384">
                  <c:v>2533.62</c:v>
                </c:pt>
                <c:pt idx="2385">
                  <c:v>2531.98</c:v>
                </c:pt>
                <c:pt idx="2386">
                  <c:v>2522.11</c:v>
                </c:pt>
                <c:pt idx="2387">
                  <c:v>2549.61</c:v>
                </c:pt>
                <c:pt idx="2388">
                  <c:v>2536.0700000000002</c:v>
                </c:pt>
                <c:pt idx="2389">
                  <c:v>2537.09</c:v>
                </c:pt>
                <c:pt idx="2390">
                  <c:v>2540.71</c:v>
                </c:pt>
                <c:pt idx="2391">
                  <c:v>2562.4499999999998</c:v>
                </c:pt>
                <c:pt idx="2392">
                  <c:v>2597.48</c:v>
                </c:pt>
                <c:pt idx="2393">
                  <c:v>2606.2600000000002</c:v>
                </c:pt>
                <c:pt idx="2394">
                  <c:v>2648.02</c:v>
                </c:pt>
                <c:pt idx="2395">
                  <c:v>2656.57</c:v>
                </c:pt>
                <c:pt idx="2396">
                  <c:v>2662.46</c:v>
                </c:pt>
                <c:pt idx="2397">
                  <c:v>2634.14</c:v>
                </c:pt>
                <c:pt idx="2398">
                  <c:v>2633.35</c:v>
                </c:pt>
                <c:pt idx="2399">
                  <c:v>2679.93</c:v>
                </c:pt>
                <c:pt idx="2400">
                  <c:v>2662.7</c:v>
                </c:pt>
                <c:pt idx="2401">
                  <c:v>2621.0500000000002</c:v>
                </c:pt>
                <c:pt idx="2402">
                  <c:v>2603.0100000000002</c:v>
                </c:pt>
                <c:pt idx="2403">
                  <c:v>2635.79</c:v>
                </c:pt>
                <c:pt idx="2404">
                  <c:v>2664.3</c:v>
                </c:pt>
                <c:pt idx="2405">
                  <c:v>2654.4</c:v>
                </c:pt>
                <c:pt idx="2406">
                  <c:v>2681.07</c:v>
                </c:pt>
                <c:pt idx="2407">
                  <c:v>2605.11</c:v>
                </c:pt>
                <c:pt idx="2408">
                  <c:v>2585.5500000000002</c:v>
                </c:pt>
                <c:pt idx="2409">
                  <c:v>2623.52</c:v>
                </c:pt>
                <c:pt idx="2410">
                  <c:v>2630.01</c:v>
                </c:pt>
                <c:pt idx="2411">
                  <c:v>2584.4499999999998</c:v>
                </c:pt>
                <c:pt idx="2412">
                  <c:v>2587.79</c:v>
                </c:pt>
                <c:pt idx="2413">
                  <c:v>2583.75</c:v>
                </c:pt>
                <c:pt idx="2414">
                  <c:v>2552.94</c:v>
                </c:pt>
                <c:pt idx="2415">
                  <c:v>2555.44</c:v>
                </c:pt>
                <c:pt idx="2416">
                  <c:v>2547.14</c:v>
                </c:pt>
                <c:pt idx="2417">
                  <c:v>2474.9</c:v>
                </c:pt>
                <c:pt idx="2418">
                  <c:v>2443.12</c:v>
                </c:pt>
                <c:pt idx="2419">
                  <c:v>2454.9</c:v>
                </c:pt>
                <c:pt idx="2420">
                  <c:v>2512.83</c:v>
                </c:pt>
                <c:pt idx="2421">
                  <c:v>2519.83</c:v>
                </c:pt>
                <c:pt idx="2422">
                  <c:v>2495.15</c:v>
                </c:pt>
                <c:pt idx="2423">
                  <c:v>2519.79</c:v>
                </c:pt>
                <c:pt idx="2424">
                  <c:v>2520.04</c:v>
                </c:pt>
                <c:pt idx="2425">
                  <c:v>2570.44</c:v>
                </c:pt>
                <c:pt idx="2426">
                  <c:v>2580.4499999999998</c:v>
                </c:pt>
                <c:pt idx="2427">
                  <c:v>2574.04</c:v>
                </c:pt>
                <c:pt idx="2428">
                  <c:v>2541.88</c:v>
                </c:pt>
                <c:pt idx="2429">
                  <c:v>2599.91</c:v>
                </c:pt>
                <c:pt idx="2430">
                  <c:v>2596.06</c:v>
                </c:pt>
                <c:pt idx="2431">
                  <c:v>2626.84</c:v>
                </c:pt>
                <c:pt idx="2432">
                  <c:v>2606.04</c:v>
                </c:pt>
                <c:pt idx="2433">
                  <c:v>2604.87</c:v>
                </c:pt>
                <c:pt idx="2434">
                  <c:v>2625.99</c:v>
                </c:pt>
                <c:pt idx="2435">
                  <c:v>2631.49</c:v>
                </c:pt>
                <c:pt idx="2436">
                  <c:v>2626.16</c:v>
                </c:pt>
                <c:pt idx="2437">
                  <c:v>2683.49</c:v>
                </c:pt>
                <c:pt idx="2438">
                  <c:v>2691.52</c:v>
                </c:pt>
                <c:pt idx="2439">
                  <c:v>2715.88</c:v>
                </c:pt>
                <c:pt idx="2440">
                  <c:v>2717.78</c:v>
                </c:pt>
                <c:pt idx="2441">
                  <c:v>2709.12</c:v>
                </c:pt>
                <c:pt idx="2442">
                  <c:v>2657.51</c:v>
                </c:pt>
                <c:pt idx="2443">
                  <c:v>2657.21</c:v>
                </c:pt>
                <c:pt idx="2444">
                  <c:v>2636.92</c:v>
                </c:pt>
                <c:pt idx="2445">
                  <c:v>2615.5300000000002</c:v>
                </c:pt>
                <c:pt idx="2446">
                  <c:v>2617.37</c:v>
                </c:pt>
                <c:pt idx="2447">
                  <c:v>2574.65</c:v>
                </c:pt>
                <c:pt idx="2448">
                  <c:v>2613.94</c:v>
                </c:pt>
                <c:pt idx="2449">
                  <c:v>2573.98</c:v>
                </c:pt>
                <c:pt idx="2450">
                  <c:v>2587.23</c:v>
                </c:pt>
                <c:pt idx="2451">
                  <c:v>2627.53</c:v>
                </c:pt>
                <c:pt idx="2452">
                  <c:v>2616.87</c:v>
                </c:pt>
                <c:pt idx="2453">
                  <c:v>2595.2600000000002</c:v>
                </c:pt>
                <c:pt idx="2454">
                  <c:v>2573.1</c:v>
                </c:pt>
                <c:pt idx="2455">
                  <c:v>2614.69</c:v>
                </c:pt>
                <c:pt idx="2456">
                  <c:v>2650.85</c:v>
                </c:pt>
                <c:pt idx="2457">
                  <c:v>2642.26</c:v>
                </c:pt>
                <c:pt idx="2458">
                  <c:v>2632.04</c:v>
                </c:pt>
                <c:pt idx="2459">
                  <c:v>2633</c:v>
                </c:pt>
                <c:pt idx="2460">
                  <c:v>2559.0300000000002</c:v>
                </c:pt>
                <c:pt idx="2461">
                  <c:v>2558.84</c:v>
                </c:pt>
                <c:pt idx="2462">
                  <c:v>2557.4</c:v>
                </c:pt>
                <c:pt idx="2463">
                  <c:v>2542.1799999999998</c:v>
                </c:pt>
                <c:pt idx="2464">
                  <c:v>2524.33</c:v>
                </c:pt>
                <c:pt idx="2465">
                  <c:v>2558.27</c:v>
                </c:pt>
                <c:pt idx="2466">
                  <c:v>2540.1799999999998</c:v>
                </c:pt>
                <c:pt idx="2467">
                  <c:v>2580.64</c:v>
                </c:pt>
                <c:pt idx="2468">
                  <c:v>2560.42</c:v>
                </c:pt>
                <c:pt idx="2469">
                  <c:v>2568.0500000000002</c:v>
                </c:pt>
                <c:pt idx="2470">
                  <c:v>2581.21</c:v>
                </c:pt>
                <c:pt idx="2471">
                  <c:v>2558.62</c:v>
                </c:pt>
                <c:pt idx="2472">
                  <c:v>2552.61</c:v>
                </c:pt>
                <c:pt idx="2473">
                  <c:v>2512.19</c:v>
                </c:pt>
                <c:pt idx="2474">
                  <c:v>2456.52</c:v>
                </c:pt>
                <c:pt idx="2475">
                  <c:v>2454.92</c:v>
                </c:pt>
                <c:pt idx="2476">
                  <c:v>2447.1999999999998</c:v>
                </c:pt>
                <c:pt idx="2477">
                  <c:v>2425.73</c:v>
                </c:pt>
                <c:pt idx="2478">
                  <c:v>2461.61</c:v>
                </c:pt>
                <c:pt idx="2479">
                  <c:v>2465.2399999999998</c:v>
                </c:pt>
                <c:pt idx="2480">
                  <c:v>2468.7199999999998</c:v>
                </c:pt>
                <c:pt idx="2481">
                  <c:v>2464.92</c:v>
                </c:pt>
                <c:pt idx="2482">
                  <c:v>2430.37</c:v>
                </c:pt>
                <c:pt idx="2483">
                  <c:v>2472.61</c:v>
                </c:pt>
                <c:pt idx="2484">
                  <c:v>2416.04</c:v>
                </c:pt>
                <c:pt idx="2485">
                  <c:v>2406.71</c:v>
                </c:pt>
                <c:pt idx="2486">
                  <c:v>2425.5700000000002</c:v>
                </c:pt>
                <c:pt idx="2487">
                  <c:v>2449.1799999999998</c:v>
                </c:pt>
                <c:pt idx="2488">
                  <c:v>2450.63</c:v>
                </c:pt>
                <c:pt idx="2489">
                  <c:v>2399.73</c:v>
                </c:pt>
                <c:pt idx="2490">
                  <c:v>2414.1999999999998</c:v>
                </c:pt>
                <c:pt idx="2491">
                  <c:v>2414.34</c:v>
                </c:pt>
                <c:pt idx="2492">
                  <c:v>2424.3200000000002</c:v>
                </c:pt>
                <c:pt idx="2493">
                  <c:v>2398.46</c:v>
                </c:pt>
                <c:pt idx="2494">
                  <c:v>2365.4299999999998</c:v>
                </c:pt>
                <c:pt idx="2495">
                  <c:v>2375.9899999999998</c:v>
                </c:pt>
                <c:pt idx="2496">
                  <c:v>2360.08</c:v>
                </c:pt>
                <c:pt idx="2497">
                  <c:v>2347.4899999999998</c:v>
                </c:pt>
                <c:pt idx="2498">
                  <c:v>2349.11</c:v>
                </c:pt>
                <c:pt idx="2499">
                  <c:v>2335.79</c:v>
                </c:pt>
                <c:pt idx="2500">
                  <c:v>2332.92</c:v>
                </c:pt>
                <c:pt idx="2501">
                  <c:v>2358.65</c:v>
                </c:pt>
                <c:pt idx="2502">
                  <c:v>2334.88</c:v>
                </c:pt>
                <c:pt idx="2503">
                  <c:v>2353.7399999999998</c:v>
                </c:pt>
                <c:pt idx="2504">
                  <c:v>2385.61</c:v>
                </c:pt>
                <c:pt idx="2505">
                  <c:v>2388.87</c:v>
                </c:pt>
                <c:pt idx="2506">
                  <c:v>2389.8000000000002</c:v>
                </c:pt>
                <c:pt idx="2507">
                  <c:v>2411.6999999999998</c:v>
                </c:pt>
                <c:pt idx="2508">
                  <c:v>2399.75</c:v>
                </c:pt>
                <c:pt idx="2509">
                  <c:v>2351.9299999999998</c:v>
                </c:pt>
                <c:pt idx="2510">
                  <c:v>2357.02</c:v>
                </c:pt>
                <c:pt idx="2511">
                  <c:v>2331.61</c:v>
                </c:pt>
                <c:pt idx="2512">
                  <c:v>2319.67</c:v>
                </c:pt>
                <c:pt idx="2513">
                  <c:v>2313.48</c:v>
                </c:pt>
                <c:pt idx="2514">
                  <c:v>2301.79</c:v>
                </c:pt>
                <c:pt idx="2515">
                  <c:v>2313.6999999999998</c:v>
                </c:pt>
                <c:pt idx="2516">
                  <c:v>2295.59</c:v>
                </c:pt>
                <c:pt idx="2517">
                  <c:v>2302.1999999999998</c:v>
                </c:pt>
                <c:pt idx="2518">
                  <c:v>2275.6799999999998</c:v>
                </c:pt>
                <c:pt idx="2519">
                  <c:v>2228.1999999999998</c:v>
                </c:pt>
                <c:pt idx="2520">
                  <c:v>2238.41</c:v>
                </c:pt>
                <c:pt idx="2521">
                  <c:v>2214.81</c:v>
                </c:pt>
                <c:pt idx="2522">
                  <c:v>2211.37</c:v>
                </c:pt>
                <c:pt idx="2523">
                  <c:v>2204.87</c:v>
                </c:pt>
                <c:pt idx="2524">
                  <c:v>2228.37</c:v>
                </c:pt>
                <c:pt idx="2525">
                  <c:v>2204.41</c:v>
                </c:pt>
                <c:pt idx="2526">
                  <c:v>2199.88</c:v>
                </c:pt>
                <c:pt idx="2527">
                  <c:v>2217.8200000000002</c:v>
                </c:pt>
                <c:pt idx="2528">
                  <c:v>2317.1799999999998</c:v>
                </c:pt>
                <c:pt idx="2529">
                  <c:v>2326.67</c:v>
                </c:pt>
                <c:pt idx="2530">
                  <c:v>2311.89</c:v>
                </c:pt>
                <c:pt idx="2531">
                  <c:v>2320.0700000000002</c:v>
                </c:pt>
                <c:pt idx="2532">
                  <c:v>2298.46</c:v>
                </c:pt>
                <c:pt idx="2533">
                  <c:v>2315.54</c:v>
                </c:pt>
                <c:pt idx="2534">
                  <c:v>2258.71</c:v>
                </c:pt>
                <c:pt idx="2535">
                  <c:v>2235.2399999999998</c:v>
                </c:pt>
                <c:pt idx="2536">
                  <c:v>2246.2399999999998</c:v>
                </c:pt>
                <c:pt idx="2537">
                  <c:v>2195.9499999999998</c:v>
                </c:pt>
                <c:pt idx="2538">
                  <c:v>2199.06</c:v>
                </c:pt>
                <c:pt idx="2539">
                  <c:v>2215.52</c:v>
                </c:pt>
                <c:pt idx="2540">
                  <c:v>2210.15</c:v>
                </c:pt>
                <c:pt idx="2541">
                  <c:v>2184.89</c:v>
                </c:pt>
                <c:pt idx="2542">
                  <c:v>2251.7199999999998</c:v>
                </c:pt>
                <c:pt idx="2543">
                  <c:v>2293.11</c:v>
                </c:pt>
                <c:pt idx="2544">
                  <c:v>2270.0500000000002</c:v>
                </c:pt>
                <c:pt idx="2545">
                  <c:v>2320.16</c:v>
                </c:pt>
                <c:pt idx="2546">
                  <c:v>2324.12</c:v>
                </c:pt>
                <c:pt idx="2547">
                  <c:v>2302.5300000000002</c:v>
                </c:pt>
                <c:pt idx="2548">
                  <c:v>2304.5300000000002</c:v>
                </c:pt>
                <c:pt idx="2549">
                  <c:v>2294.86</c:v>
                </c:pt>
                <c:pt idx="2550">
                  <c:v>2298.16</c:v>
                </c:pt>
                <c:pt idx="2551">
                  <c:v>2300.8000000000002</c:v>
                </c:pt>
                <c:pt idx="2552">
                  <c:v>2336.08</c:v>
                </c:pt>
                <c:pt idx="2553">
                  <c:v>2332.4699999999998</c:v>
                </c:pt>
                <c:pt idx="2554">
                  <c:v>2341.59</c:v>
                </c:pt>
                <c:pt idx="2555">
                  <c:v>2312.08</c:v>
                </c:pt>
                <c:pt idx="2556">
                  <c:v>2307.7800000000002</c:v>
                </c:pt>
                <c:pt idx="2557">
                  <c:v>2291.2399999999998</c:v>
                </c:pt>
                <c:pt idx="2558">
                  <c:v>2247.91</c:v>
                </c:pt>
                <c:pt idx="2559">
                  <c:v>2235.85</c:v>
                </c:pt>
                <c:pt idx="2560">
                  <c:v>2239.88</c:v>
                </c:pt>
                <c:pt idx="2561">
                  <c:v>2254.8200000000002</c:v>
                </c:pt>
                <c:pt idx="2562">
                  <c:v>2297.88</c:v>
                </c:pt>
                <c:pt idx="2563">
                  <c:v>2306.77</c:v>
                </c:pt>
                <c:pt idx="2564">
                  <c:v>2301.88</c:v>
                </c:pt>
                <c:pt idx="2565">
                  <c:v>2292.21</c:v>
                </c:pt>
                <c:pt idx="2566">
                  <c:v>2287.5100000000002</c:v>
                </c:pt>
                <c:pt idx="2567">
                  <c:v>2245.41</c:v>
                </c:pt>
                <c:pt idx="2568">
                  <c:v>2240.92</c:v>
                </c:pt>
                <c:pt idx="2569">
                  <c:v>2251.85</c:v>
                </c:pt>
                <c:pt idx="2570">
                  <c:v>2212.44</c:v>
                </c:pt>
                <c:pt idx="2571">
                  <c:v>2223.11</c:v>
                </c:pt>
                <c:pt idx="2572">
                  <c:v>2193.62</c:v>
                </c:pt>
                <c:pt idx="2573">
                  <c:v>2177.2399999999998</c:v>
                </c:pt>
                <c:pt idx="2574">
                  <c:v>2174.9899999999998</c:v>
                </c:pt>
                <c:pt idx="2575">
                  <c:v>2164.88</c:v>
                </c:pt>
                <c:pt idx="2576">
                  <c:v>2194.9</c:v>
                </c:pt>
                <c:pt idx="2577">
                  <c:v>2177.5500000000002</c:v>
                </c:pt>
                <c:pt idx="2578">
                  <c:v>2192.6799999999998</c:v>
                </c:pt>
                <c:pt idx="2579">
                  <c:v>2175.6</c:v>
                </c:pt>
                <c:pt idx="2580">
                  <c:v>2150.64</c:v>
                </c:pt>
                <c:pt idx="2581">
                  <c:v>2129.16</c:v>
                </c:pt>
                <c:pt idx="2582">
                  <c:v>2115.6799999999998</c:v>
                </c:pt>
                <c:pt idx="2583">
                  <c:v>2139.66</c:v>
                </c:pt>
                <c:pt idx="2584">
                  <c:v>2108.85</c:v>
                </c:pt>
                <c:pt idx="2585">
                  <c:v>2131.4699999999998</c:v>
                </c:pt>
                <c:pt idx="2586">
                  <c:v>2207.88</c:v>
                </c:pt>
                <c:pt idx="2587">
                  <c:v>2203.6</c:v>
                </c:pt>
                <c:pt idx="2588">
                  <c:v>2246.7600000000002</c:v>
                </c:pt>
                <c:pt idx="2589">
                  <c:v>2271.0500000000002</c:v>
                </c:pt>
                <c:pt idx="2590">
                  <c:v>2258.5</c:v>
                </c:pt>
                <c:pt idx="2591">
                  <c:v>2267.77</c:v>
                </c:pt>
                <c:pt idx="2592">
                  <c:v>2242.64</c:v>
                </c:pt>
                <c:pt idx="2593">
                  <c:v>2355.86</c:v>
                </c:pt>
                <c:pt idx="2594">
                  <c:v>2366.6999999999998</c:v>
                </c:pt>
                <c:pt idx="2595">
                  <c:v>2368.12</c:v>
                </c:pt>
                <c:pt idx="2596">
                  <c:v>2371.11</c:v>
                </c:pt>
                <c:pt idx="2597">
                  <c:v>2384.8200000000002</c:v>
                </c:pt>
                <c:pt idx="2598">
                  <c:v>2372</c:v>
                </c:pt>
                <c:pt idx="2599">
                  <c:v>2381.2199999999998</c:v>
                </c:pt>
                <c:pt idx="2600">
                  <c:v>2448.4</c:v>
                </c:pt>
                <c:pt idx="2601">
                  <c:v>2457.62</c:v>
                </c:pt>
                <c:pt idx="2602">
                  <c:v>2444.59</c:v>
                </c:pt>
                <c:pt idx="2603">
                  <c:v>2480.0500000000002</c:v>
                </c:pt>
                <c:pt idx="2604">
                  <c:v>2522.9499999999998</c:v>
                </c:pt>
                <c:pt idx="2605">
                  <c:v>2524.41</c:v>
                </c:pt>
                <c:pt idx="2606">
                  <c:v>2535.9899999999998</c:v>
                </c:pt>
                <c:pt idx="2607">
                  <c:v>2525.33</c:v>
                </c:pt>
                <c:pt idx="2608">
                  <c:v>2526.13</c:v>
                </c:pt>
                <c:pt idx="2609">
                  <c:v>2530.5700000000002</c:v>
                </c:pt>
                <c:pt idx="2610">
                  <c:v>2483.23</c:v>
                </c:pt>
                <c:pt idx="2611">
                  <c:v>2577.73</c:v>
                </c:pt>
                <c:pt idx="2612">
                  <c:v>2595.86</c:v>
                </c:pt>
                <c:pt idx="2613">
                  <c:v>2577.09</c:v>
                </c:pt>
                <c:pt idx="2614">
                  <c:v>2552.7600000000002</c:v>
                </c:pt>
                <c:pt idx="2615">
                  <c:v>2595.44</c:v>
                </c:pt>
                <c:pt idx="2616">
                  <c:v>2610.9</c:v>
                </c:pt>
                <c:pt idx="2617">
                  <c:v>2596.9</c:v>
                </c:pt>
                <c:pt idx="2618">
                  <c:v>2607.46</c:v>
                </c:pt>
                <c:pt idx="2619">
                  <c:v>2582.7600000000002</c:v>
                </c:pt>
                <c:pt idx="2620">
                  <c:v>2571.67</c:v>
                </c:pt>
                <c:pt idx="2621">
                  <c:v>2651.86</c:v>
                </c:pt>
                <c:pt idx="2622">
                  <c:v>2675.87</c:v>
                </c:pt>
                <c:pt idx="2623">
                  <c:v>2688.71</c:v>
                </c:pt>
                <c:pt idx="2624">
                  <c:v>2686.88</c:v>
                </c:pt>
                <c:pt idx="2625">
                  <c:v>2743.32</c:v>
                </c:pt>
                <c:pt idx="2626">
                  <c:v>2748.03</c:v>
                </c:pt>
                <c:pt idx="2627">
                  <c:v>2771.68</c:v>
                </c:pt>
                <c:pt idx="2628">
                  <c:v>2775.84</c:v>
                </c:pt>
                <c:pt idx="2629">
                  <c:v>2759.87</c:v>
                </c:pt>
                <c:pt idx="2630">
                  <c:v>2771.73</c:v>
                </c:pt>
                <c:pt idx="2631">
                  <c:v>2737.47</c:v>
                </c:pt>
                <c:pt idx="2632">
                  <c:v>2685.61</c:v>
                </c:pt>
                <c:pt idx="2633">
                  <c:v>2702.64</c:v>
                </c:pt>
                <c:pt idx="2634">
                  <c:v>2610.5500000000002</c:v>
                </c:pt>
                <c:pt idx="2635">
                  <c:v>2596.6</c:v>
                </c:pt>
                <c:pt idx="2636">
                  <c:v>2604.96</c:v>
                </c:pt>
                <c:pt idx="2637">
                  <c:v>2567.59</c:v>
                </c:pt>
                <c:pt idx="2638">
                  <c:v>2594.6799999999998</c:v>
                </c:pt>
                <c:pt idx="2639">
                  <c:v>2673.33</c:v>
                </c:pt>
                <c:pt idx="2640">
                  <c:v>2668.84</c:v>
                </c:pt>
                <c:pt idx="2641">
                  <c:v>2545.7199999999998</c:v>
                </c:pt>
                <c:pt idx="2642">
                  <c:v>2622.81</c:v>
                </c:pt>
                <c:pt idx="2643">
                  <c:v>2650.2</c:v>
                </c:pt>
                <c:pt idx="2644">
                  <c:v>2619.48</c:v>
                </c:pt>
                <c:pt idx="2645">
                  <c:v>2606.9299999999998</c:v>
                </c:pt>
                <c:pt idx="2646">
                  <c:v>2592.37</c:v>
                </c:pt>
                <c:pt idx="2647">
                  <c:v>2555.61</c:v>
                </c:pt>
                <c:pt idx="2648">
                  <c:v>2527.4899999999998</c:v>
                </c:pt>
                <c:pt idx="2649">
                  <c:v>2534.27</c:v>
                </c:pt>
                <c:pt idx="2650">
                  <c:v>2539.87</c:v>
                </c:pt>
                <c:pt idx="2651">
                  <c:v>2502.4899999999998</c:v>
                </c:pt>
                <c:pt idx="2652">
                  <c:v>2525.1</c:v>
                </c:pt>
                <c:pt idx="2653">
                  <c:v>2610.17</c:v>
                </c:pt>
                <c:pt idx="2654">
                  <c:v>2614.9899999999998</c:v>
                </c:pt>
                <c:pt idx="2655">
                  <c:v>2618.31</c:v>
                </c:pt>
                <c:pt idx="2656">
                  <c:v>2613.1</c:v>
                </c:pt>
                <c:pt idx="2657">
                  <c:v>2575.0500000000002</c:v>
                </c:pt>
                <c:pt idx="2658">
                  <c:v>2583.5300000000002</c:v>
                </c:pt>
                <c:pt idx="2659">
                  <c:v>2499.3000000000002</c:v>
                </c:pt>
                <c:pt idx="2660">
                  <c:v>2495.08</c:v>
                </c:pt>
                <c:pt idx="2661">
                  <c:v>2493.19</c:v>
                </c:pt>
                <c:pt idx="2662">
                  <c:v>2486.39</c:v>
                </c:pt>
                <c:pt idx="2663">
                  <c:v>2483.5500000000002</c:v>
                </c:pt>
                <c:pt idx="2664">
                  <c:v>2472.3000000000002</c:v>
                </c:pt>
                <c:pt idx="2665">
                  <c:v>2489.4299999999998</c:v>
                </c:pt>
                <c:pt idx="2666">
                  <c:v>2485.31</c:v>
                </c:pt>
                <c:pt idx="2667">
                  <c:v>2477.88</c:v>
                </c:pt>
                <c:pt idx="2668">
                  <c:v>2462.11</c:v>
                </c:pt>
                <c:pt idx="2669">
                  <c:v>2436.8200000000002</c:v>
                </c:pt>
                <c:pt idx="2670">
                  <c:v>2459.59</c:v>
                </c:pt>
                <c:pt idx="2671">
                  <c:v>2458.4699999999998</c:v>
                </c:pt>
                <c:pt idx="2672">
                  <c:v>2464.85</c:v>
                </c:pt>
                <c:pt idx="2673">
                  <c:v>2533.83</c:v>
                </c:pt>
                <c:pt idx="2674">
                  <c:v>2530.67</c:v>
                </c:pt>
                <c:pt idx="2675">
                  <c:v>2449.4699999999998</c:v>
                </c:pt>
                <c:pt idx="2676">
                  <c:v>2495.58</c:v>
                </c:pt>
                <c:pt idx="2677">
                  <c:v>2467.88</c:v>
                </c:pt>
                <c:pt idx="2678">
                  <c:v>2447.31</c:v>
                </c:pt>
                <c:pt idx="2679">
                  <c:v>2449.64</c:v>
                </c:pt>
                <c:pt idx="2680">
                  <c:v>2492.91</c:v>
                </c:pt>
                <c:pt idx="2681">
                  <c:v>2525.98</c:v>
                </c:pt>
                <c:pt idx="2682">
                  <c:v>2529.94</c:v>
                </c:pt>
                <c:pt idx="2683">
                  <c:v>2542.8000000000002</c:v>
                </c:pt>
                <c:pt idx="2684">
                  <c:v>2527.79</c:v>
                </c:pt>
                <c:pt idx="2685">
                  <c:v>2540.84</c:v>
                </c:pt>
                <c:pt idx="2686">
                  <c:v>2530.77</c:v>
                </c:pt>
                <c:pt idx="2687">
                  <c:v>2493.34</c:v>
                </c:pt>
                <c:pt idx="2688">
                  <c:v>2506.9299999999998</c:v>
                </c:pt>
                <c:pt idx="2689">
                  <c:v>2552.71</c:v>
                </c:pt>
                <c:pt idx="2690">
                  <c:v>2592.0500000000002</c:v>
                </c:pt>
                <c:pt idx="2691">
                  <c:v>2609.61</c:v>
                </c:pt>
                <c:pt idx="2692">
                  <c:v>2614.85</c:v>
                </c:pt>
                <c:pt idx="2693">
                  <c:v>2618.0300000000002</c:v>
                </c:pt>
                <c:pt idx="2694">
                  <c:v>2582.85</c:v>
                </c:pt>
                <c:pt idx="2695">
                  <c:v>2597.23</c:v>
                </c:pt>
                <c:pt idx="2696">
                  <c:v>2599.59</c:v>
                </c:pt>
                <c:pt idx="2697">
                  <c:v>2644.36</c:v>
                </c:pt>
                <c:pt idx="2698">
                  <c:v>2642.56</c:v>
                </c:pt>
                <c:pt idx="2699">
                  <c:v>2634.32</c:v>
                </c:pt>
                <c:pt idx="2700">
                  <c:v>2606.4299999999998</c:v>
                </c:pt>
                <c:pt idx="2701">
                  <c:v>2602.62</c:v>
                </c:pt>
                <c:pt idx="2702">
                  <c:v>2565.67</c:v>
                </c:pt>
                <c:pt idx="2703">
                  <c:v>2560.54</c:v>
                </c:pt>
                <c:pt idx="2704">
                  <c:v>2527.84</c:v>
                </c:pt>
                <c:pt idx="2705">
                  <c:v>2484.16</c:v>
                </c:pt>
                <c:pt idx="2706">
                  <c:v>2399.94</c:v>
                </c:pt>
                <c:pt idx="2707">
                  <c:v>2416.77</c:v>
                </c:pt>
                <c:pt idx="2708">
                  <c:v>2403.84</c:v>
                </c:pt>
                <c:pt idx="2709">
                  <c:v>2418.75</c:v>
                </c:pt>
                <c:pt idx="2710">
                  <c:v>2400.77</c:v>
                </c:pt>
                <c:pt idx="2711">
                  <c:v>2321.4699999999998</c:v>
                </c:pt>
                <c:pt idx="2712">
                  <c:v>2317.39</c:v>
                </c:pt>
                <c:pt idx="2713">
                  <c:v>2171.21</c:v>
                </c:pt>
                <c:pt idx="2714">
                  <c:v>2165.42</c:v>
                </c:pt>
                <c:pt idx="2715">
                  <c:v>2168.3000000000002</c:v>
                </c:pt>
                <c:pt idx="2716">
                  <c:v>2160.7399999999998</c:v>
                </c:pt>
                <c:pt idx="2717">
                  <c:v>2200.64</c:v>
                </c:pt>
                <c:pt idx="2718">
                  <c:v>2213.3200000000002</c:v>
                </c:pt>
                <c:pt idx="2719">
                  <c:v>2221.98</c:v>
                </c:pt>
                <c:pt idx="2720">
                  <c:v>2203.83</c:v>
                </c:pt>
                <c:pt idx="2721">
                  <c:v>2221.98</c:v>
                </c:pt>
                <c:pt idx="2722">
                  <c:v>2226.85</c:v>
                </c:pt>
                <c:pt idx="2723">
                  <c:v>2163.62</c:v>
                </c:pt>
                <c:pt idx="2724">
                  <c:v>2162.67</c:v>
                </c:pt>
                <c:pt idx="2725">
                  <c:v>2224.0700000000002</c:v>
                </c:pt>
                <c:pt idx="2726">
                  <c:v>2326.69</c:v>
                </c:pt>
                <c:pt idx="2727">
                  <c:v>2275.37</c:v>
                </c:pt>
                <c:pt idx="2728">
                  <c:v>2307.3000000000002</c:v>
                </c:pt>
                <c:pt idx="2729">
                  <c:v>2317.85</c:v>
                </c:pt>
                <c:pt idx="2730">
                  <c:v>2282.84</c:v>
                </c:pt>
                <c:pt idx="2731">
                  <c:v>2245.33</c:v>
                </c:pt>
                <c:pt idx="2732">
                  <c:v>2190.48</c:v>
                </c:pt>
                <c:pt idx="2733">
                  <c:v>2202.19</c:v>
                </c:pt>
                <c:pt idx="2734">
                  <c:v>2265.84</c:v>
                </c:pt>
                <c:pt idx="2735">
                  <c:v>2249.15</c:v>
                </c:pt>
                <c:pt idx="2736">
                  <c:v>2237.6799999999998</c:v>
                </c:pt>
                <c:pt idx="2737">
                  <c:v>2224.0100000000002</c:v>
                </c:pt>
                <c:pt idx="2738">
                  <c:v>2175.9699999999998</c:v>
                </c:pt>
                <c:pt idx="2739">
                  <c:v>2189.39</c:v>
                </c:pt>
                <c:pt idx="2740">
                  <c:v>2193.02</c:v>
                </c:pt>
                <c:pt idx="2741">
                  <c:v>2245.36</c:v>
                </c:pt>
                <c:pt idx="2742">
                  <c:v>2247.2600000000002</c:v>
                </c:pt>
                <c:pt idx="2743">
                  <c:v>2278.33</c:v>
                </c:pt>
                <c:pt idx="2744">
                  <c:v>2293.64</c:v>
                </c:pt>
                <c:pt idx="2745">
                  <c:v>2280.62</c:v>
                </c:pt>
                <c:pt idx="2746">
                  <c:v>2276.7800000000002</c:v>
                </c:pt>
                <c:pt idx="2747">
                  <c:v>2286.0100000000002</c:v>
                </c:pt>
                <c:pt idx="2748">
                  <c:v>2352.79</c:v>
                </c:pt>
                <c:pt idx="2749">
                  <c:v>2359.0700000000002</c:v>
                </c:pt>
                <c:pt idx="2750">
                  <c:v>2349.08</c:v>
                </c:pt>
                <c:pt idx="2751">
                  <c:v>2321.58</c:v>
                </c:pt>
                <c:pt idx="2752">
                  <c:v>2304.14</c:v>
                </c:pt>
                <c:pt idx="2753">
                  <c:v>2331.4299999999998</c:v>
                </c:pt>
                <c:pt idx="2754">
                  <c:v>2312.4699999999998</c:v>
                </c:pt>
                <c:pt idx="2755">
                  <c:v>2308.59</c:v>
                </c:pt>
                <c:pt idx="2756">
                  <c:v>2303.9299999999998</c:v>
                </c:pt>
                <c:pt idx="2757">
                  <c:v>2286.9299999999998</c:v>
                </c:pt>
                <c:pt idx="2758">
                  <c:v>2335.62</c:v>
                </c:pt>
                <c:pt idx="2759">
                  <c:v>2340.88</c:v>
                </c:pt>
                <c:pt idx="2760">
                  <c:v>2328.06</c:v>
                </c:pt>
                <c:pt idx="2761">
                  <c:v>2318.31</c:v>
                </c:pt>
                <c:pt idx="2762">
                  <c:v>2313.91</c:v>
                </c:pt>
                <c:pt idx="2763">
                  <c:v>2320.34</c:v>
                </c:pt>
                <c:pt idx="2764">
                  <c:v>2354.5</c:v>
                </c:pt>
                <c:pt idx="2765">
                  <c:v>2350.6999999999998</c:v>
                </c:pt>
                <c:pt idx="2766">
                  <c:v>2341.7399999999998</c:v>
                </c:pt>
                <c:pt idx="2767">
                  <c:v>2357.7800000000002</c:v>
                </c:pt>
                <c:pt idx="2768">
                  <c:v>2440.61</c:v>
                </c:pt>
                <c:pt idx="2769">
                  <c:v>2474.89</c:v>
                </c:pt>
                <c:pt idx="2770">
                  <c:v>2482.89</c:v>
                </c:pt>
                <c:pt idx="2771">
                  <c:v>2507.46</c:v>
                </c:pt>
                <c:pt idx="2772">
                  <c:v>2488.9</c:v>
                </c:pt>
                <c:pt idx="2773">
                  <c:v>2478.39</c:v>
                </c:pt>
                <c:pt idx="2774">
                  <c:v>2427.3200000000002</c:v>
                </c:pt>
                <c:pt idx="2775">
                  <c:v>2432.5100000000002</c:v>
                </c:pt>
                <c:pt idx="2776">
                  <c:v>2472.29</c:v>
                </c:pt>
                <c:pt idx="2777">
                  <c:v>2443.89</c:v>
                </c:pt>
                <c:pt idx="2778">
                  <c:v>2429.0300000000002</c:v>
                </c:pt>
                <c:pt idx="2779">
                  <c:v>2384.44</c:v>
                </c:pt>
                <c:pt idx="2780">
                  <c:v>2394.9699999999998</c:v>
                </c:pt>
                <c:pt idx="2781">
                  <c:v>2409.04</c:v>
                </c:pt>
                <c:pt idx="2782">
                  <c:v>2441.81</c:v>
                </c:pt>
                <c:pt idx="2783">
                  <c:v>2453.58</c:v>
                </c:pt>
                <c:pt idx="2784">
                  <c:v>2429.3200000000002</c:v>
                </c:pt>
                <c:pt idx="2785">
                  <c:v>2468.5100000000002</c:v>
                </c:pt>
                <c:pt idx="2786">
                  <c:v>2472.54</c:v>
                </c:pt>
                <c:pt idx="2787">
                  <c:v>2467.52</c:v>
                </c:pt>
                <c:pt idx="2788">
                  <c:v>2421.37</c:v>
                </c:pt>
                <c:pt idx="2789">
                  <c:v>2413.33</c:v>
                </c:pt>
                <c:pt idx="2790">
                  <c:v>2426.0500000000002</c:v>
                </c:pt>
                <c:pt idx="2791">
                  <c:v>2471.3200000000002</c:v>
                </c:pt>
                <c:pt idx="2792">
                  <c:v>2445.89</c:v>
                </c:pt>
                <c:pt idx="2793">
                  <c:v>2418.4899999999998</c:v>
                </c:pt>
                <c:pt idx="2794">
                  <c:v>2400.5100000000002</c:v>
                </c:pt>
                <c:pt idx="2795">
                  <c:v>2368.56</c:v>
                </c:pt>
                <c:pt idx="2796">
                  <c:v>2365.9499999999998</c:v>
                </c:pt>
                <c:pt idx="2797">
                  <c:v>2372.0500000000002</c:v>
                </c:pt>
                <c:pt idx="2798">
                  <c:v>2407.4699999999998</c:v>
                </c:pt>
                <c:pt idx="2799">
                  <c:v>2373.7199999999998</c:v>
                </c:pt>
                <c:pt idx="2800">
                  <c:v>2384.96</c:v>
                </c:pt>
                <c:pt idx="2801">
                  <c:v>2380.4499999999998</c:v>
                </c:pt>
                <c:pt idx="2802">
                  <c:v>2383.77</c:v>
                </c:pt>
                <c:pt idx="2803">
                  <c:v>2353.5700000000002</c:v>
                </c:pt>
                <c:pt idx="2804">
                  <c:v>2340.5500000000002</c:v>
                </c:pt>
                <c:pt idx="2805">
                  <c:v>2307.9499999999998</c:v>
                </c:pt>
                <c:pt idx="2806">
                  <c:v>2315.89</c:v>
                </c:pt>
                <c:pt idx="2807">
                  <c:v>2340</c:v>
                </c:pt>
                <c:pt idx="2808">
                  <c:v>2288.12</c:v>
                </c:pt>
                <c:pt idx="2809">
                  <c:v>2304.5</c:v>
                </c:pt>
                <c:pt idx="2810">
                  <c:v>2350.73</c:v>
                </c:pt>
                <c:pt idx="2811">
                  <c:v>2428.9</c:v>
                </c:pt>
                <c:pt idx="2812">
                  <c:v>2412.16</c:v>
                </c:pt>
                <c:pt idx="2813">
                  <c:v>2424.85</c:v>
                </c:pt>
                <c:pt idx="2814">
                  <c:v>2409.9899999999998</c:v>
                </c:pt>
                <c:pt idx="2815">
                  <c:v>2397.96</c:v>
                </c:pt>
                <c:pt idx="2816">
                  <c:v>2388.63</c:v>
                </c:pt>
                <c:pt idx="2817">
                  <c:v>2387.42</c:v>
                </c:pt>
                <c:pt idx="2818">
                  <c:v>2414.48</c:v>
                </c:pt>
                <c:pt idx="2819">
                  <c:v>2439.5300000000002</c:v>
                </c:pt>
                <c:pt idx="2820">
                  <c:v>2438.94</c:v>
                </c:pt>
                <c:pt idx="2821">
                  <c:v>2418.79</c:v>
                </c:pt>
                <c:pt idx="2822">
                  <c:v>2442.7800000000002</c:v>
                </c:pt>
                <c:pt idx="2823">
                  <c:v>2475.14</c:v>
                </c:pt>
                <c:pt idx="2824">
                  <c:v>2468.1999999999998</c:v>
                </c:pt>
                <c:pt idx="2825">
                  <c:v>2452.29</c:v>
                </c:pt>
                <c:pt idx="2826">
                  <c:v>2450.87</c:v>
                </c:pt>
                <c:pt idx="2827">
                  <c:v>2453.3200000000002</c:v>
                </c:pt>
                <c:pt idx="2828">
                  <c:v>2412.7600000000002</c:v>
                </c:pt>
                <c:pt idx="2829">
                  <c:v>2410.02</c:v>
                </c:pt>
                <c:pt idx="2830">
                  <c:v>2406.64</c:v>
                </c:pt>
                <c:pt idx="2831">
                  <c:v>2367.92</c:v>
                </c:pt>
                <c:pt idx="2832">
                  <c:v>2356.38</c:v>
                </c:pt>
                <c:pt idx="2833">
                  <c:v>2357.23</c:v>
                </c:pt>
                <c:pt idx="2834">
                  <c:v>2332.41</c:v>
                </c:pt>
                <c:pt idx="2835">
                  <c:v>2278.14</c:v>
                </c:pt>
                <c:pt idx="2836">
                  <c:v>2284.6</c:v>
                </c:pt>
                <c:pt idx="2837">
                  <c:v>2288.25</c:v>
                </c:pt>
                <c:pt idx="2838">
                  <c:v>2305.11</c:v>
                </c:pt>
                <c:pt idx="2839">
                  <c:v>2265.33</c:v>
                </c:pt>
                <c:pt idx="2840">
                  <c:v>2303.48</c:v>
                </c:pt>
                <c:pt idx="2841">
                  <c:v>2299.46</c:v>
                </c:pt>
                <c:pt idx="2842">
                  <c:v>2330.0300000000002</c:v>
                </c:pt>
                <c:pt idx="2843">
                  <c:v>2321.98</c:v>
                </c:pt>
                <c:pt idx="2844">
                  <c:v>2290.7800000000002</c:v>
                </c:pt>
                <c:pt idx="2845">
                  <c:v>2238.64</c:v>
                </c:pt>
                <c:pt idx="2846">
                  <c:v>2238</c:v>
                </c:pt>
                <c:pt idx="2847">
                  <c:v>2241.91</c:v>
                </c:pt>
                <c:pt idx="2848">
                  <c:v>2222.2199999999998</c:v>
                </c:pt>
                <c:pt idx="2849">
                  <c:v>2204.85</c:v>
                </c:pt>
                <c:pt idx="2850">
                  <c:v>2193.6799999999998</c:v>
                </c:pt>
                <c:pt idx="2851">
                  <c:v>2212.85</c:v>
                </c:pt>
                <c:pt idx="2852">
                  <c:v>2208.94</c:v>
                </c:pt>
                <c:pt idx="2853">
                  <c:v>2211.84</c:v>
                </c:pt>
                <c:pt idx="2854">
                  <c:v>2178.4899999999998</c:v>
                </c:pt>
                <c:pt idx="2855">
                  <c:v>2165.9899999999998</c:v>
                </c:pt>
                <c:pt idx="2856">
                  <c:v>2187.41</c:v>
                </c:pt>
                <c:pt idx="2857">
                  <c:v>2243.8000000000002</c:v>
                </c:pt>
                <c:pt idx="2858">
                  <c:v>2231.89</c:v>
                </c:pt>
                <c:pt idx="2859">
                  <c:v>2245.6799999999998</c:v>
                </c:pt>
                <c:pt idx="2860">
                  <c:v>2215.92</c:v>
                </c:pt>
                <c:pt idx="2861">
                  <c:v>2219.86</c:v>
                </c:pt>
                <c:pt idx="2862">
                  <c:v>2227.7800000000002</c:v>
                </c:pt>
                <c:pt idx="2863">
                  <c:v>2202.4499999999998</c:v>
                </c:pt>
                <c:pt idx="2864">
                  <c:v>2212.48</c:v>
                </c:pt>
                <c:pt idx="2865">
                  <c:v>2267.5300000000002</c:v>
                </c:pt>
                <c:pt idx="2866">
                  <c:v>2285.56</c:v>
                </c:pt>
                <c:pt idx="2867">
                  <c:v>2291.25</c:v>
                </c:pt>
                <c:pt idx="2868">
                  <c:v>2279.5500000000002</c:v>
                </c:pt>
                <c:pt idx="2869">
                  <c:v>2295.5700000000002</c:v>
                </c:pt>
                <c:pt idx="2870">
                  <c:v>2311.65</c:v>
                </c:pt>
                <c:pt idx="2871">
                  <c:v>2282.44</c:v>
                </c:pt>
                <c:pt idx="2872">
                  <c:v>2308.66</c:v>
                </c:pt>
                <c:pt idx="2873">
                  <c:v>2287.44</c:v>
                </c:pt>
                <c:pt idx="2874">
                  <c:v>2264.29</c:v>
                </c:pt>
                <c:pt idx="2875">
                  <c:v>2214.5100000000002</c:v>
                </c:pt>
                <c:pt idx="2876">
                  <c:v>2157.91</c:v>
                </c:pt>
                <c:pt idx="2877">
                  <c:v>2163.41</c:v>
                </c:pt>
                <c:pt idx="2878">
                  <c:v>2154.11</c:v>
                </c:pt>
                <c:pt idx="2879">
                  <c:v>2178.9699999999998</c:v>
                </c:pt>
                <c:pt idx="2880">
                  <c:v>2190.37</c:v>
                </c:pt>
                <c:pt idx="2881">
                  <c:v>2184.27</c:v>
                </c:pt>
                <c:pt idx="2882">
                  <c:v>2163.98</c:v>
                </c:pt>
                <c:pt idx="2883">
                  <c:v>2173.63</c:v>
                </c:pt>
                <c:pt idx="2884">
                  <c:v>2168.36</c:v>
                </c:pt>
                <c:pt idx="2885">
                  <c:v>2097.79</c:v>
                </c:pt>
                <c:pt idx="2886">
                  <c:v>2108.66</c:v>
                </c:pt>
                <c:pt idx="2887">
                  <c:v>2114.13</c:v>
                </c:pt>
                <c:pt idx="2888">
                  <c:v>2140.33</c:v>
                </c:pt>
                <c:pt idx="2889">
                  <c:v>2122.84</c:v>
                </c:pt>
                <c:pt idx="2890">
                  <c:v>2143.04</c:v>
                </c:pt>
                <c:pt idx="2891">
                  <c:v>2138.13</c:v>
                </c:pt>
                <c:pt idx="2892">
                  <c:v>2120.87</c:v>
                </c:pt>
                <c:pt idx="2893">
                  <c:v>2086.9699999999998</c:v>
                </c:pt>
                <c:pt idx="2894">
                  <c:v>2158.8000000000002</c:v>
                </c:pt>
                <c:pt idx="2895">
                  <c:v>2176.5500000000002</c:v>
                </c:pt>
                <c:pt idx="2896">
                  <c:v>2174.44</c:v>
                </c:pt>
                <c:pt idx="2897">
                  <c:v>2171.0500000000002</c:v>
                </c:pt>
                <c:pt idx="2898">
                  <c:v>2155.71</c:v>
                </c:pt>
                <c:pt idx="2899">
                  <c:v>2151.9699999999998</c:v>
                </c:pt>
                <c:pt idx="2900">
                  <c:v>2146.3000000000002</c:v>
                </c:pt>
                <c:pt idx="2901">
                  <c:v>2163.11</c:v>
                </c:pt>
                <c:pt idx="2902">
                  <c:v>2180.73</c:v>
                </c:pt>
                <c:pt idx="2903">
                  <c:v>2165.0100000000002</c:v>
                </c:pt>
                <c:pt idx="2904">
                  <c:v>2185.4699999999998</c:v>
                </c:pt>
                <c:pt idx="2905">
                  <c:v>2237.3200000000002</c:v>
                </c:pt>
                <c:pt idx="2906">
                  <c:v>2238.62</c:v>
                </c:pt>
                <c:pt idx="2907">
                  <c:v>2273.7600000000002</c:v>
                </c:pt>
                <c:pt idx="2908">
                  <c:v>2270.67</c:v>
                </c:pt>
                <c:pt idx="2909">
                  <c:v>2268.61</c:v>
                </c:pt>
                <c:pt idx="2910">
                  <c:v>2229.46</c:v>
                </c:pt>
                <c:pt idx="2911">
                  <c:v>2232.5300000000002</c:v>
                </c:pt>
                <c:pt idx="2912">
                  <c:v>2224.8000000000002</c:v>
                </c:pt>
                <c:pt idx="2913">
                  <c:v>2224.48</c:v>
                </c:pt>
                <c:pt idx="2914">
                  <c:v>2187.25</c:v>
                </c:pt>
                <c:pt idx="2915">
                  <c:v>2196.8000000000002</c:v>
                </c:pt>
                <c:pt idx="2916">
                  <c:v>2194.67</c:v>
                </c:pt>
                <c:pt idx="2917">
                  <c:v>2190.4699999999998</c:v>
                </c:pt>
                <c:pt idx="2918">
                  <c:v>2167.83</c:v>
                </c:pt>
                <c:pt idx="2919">
                  <c:v>2134.9699999999998</c:v>
                </c:pt>
                <c:pt idx="2920">
                  <c:v>2158.4699999999998</c:v>
                </c:pt>
                <c:pt idx="2921">
                  <c:v>2158.66</c:v>
                </c:pt>
                <c:pt idx="2922">
                  <c:v>2156.4699999999998</c:v>
                </c:pt>
                <c:pt idx="2923">
                  <c:v>2157.33</c:v>
                </c:pt>
                <c:pt idx="2924">
                  <c:v>2137.3200000000002</c:v>
                </c:pt>
                <c:pt idx="2925">
                  <c:v>2135.5</c:v>
                </c:pt>
                <c:pt idx="2926">
                  <c:v>2133.91</c:v>
                </c:pt>
                <c:pt idx="2927">
                  <c:v>2180.0500000000002</c:v>
                </c:pt>
                <c:pt idx="2928">
                  <c:v>2174.85</c:v>
                </c:pt>
                <c:pt idx="2929">
                  <c:v>2172.37</c:v>
                </c:pt>
                <c:pt idx="2930">
                  <c:v>2144.08</c:v>
                </c:pt>
                <c:pt idx="2931">
                  <c:v>2145.9499999999998</c:v>
                </c:pt>
                <c:pt idx="2932">
                  <c:v>2115.14</c:v>
                </c:pt>
                <c:pt idx="2933">
                  <c:v>2115.77</c:v>
                </c:pt>
                <c:pt idx="2934">
                  <c:v>2135.91</c:v>
                </c:pt>
                <c:pt idx="2935">
                  <c:v>2130.87</c:v>
                </c:pt>
                <c:pt idx="2936">
                  <c:v>2148.41</c:v>
                </c:pt>
                <c:pt idx="2937">
                  <c:v>2155.98</c:v>
                </c:pt>
                <c:pt idx="2938">
                  <c:v>2147.2800000000002</c:v>
                </c:pt>
                <c:pt idx="2939">
                  <c:v>2169.35</c:v>
                </c:pt>
                <c:pt idx="2940">
                  <c:v>2155.16</c:v>
                </c:pt>
                <c:pt idx="2941">
                  <c:v>2156.46</c:v>
                </c:pt>
                <c:pt idx="2942">
                  <c:v>2149.92</c:v>
                </c:pt>
                <c:pt idx="2943">
                  <c:v>2128.27</c:v>
                </c:pt>
                <c:pt idx="2944">
                  <c:v>2150.6</c:v>
                </c:pt>
                <c:pt idx="2945">
                  <c:v>2134.7199999999998</c:v>
                </c:pt>
                <c:pt idx="2946">
                  <c:v>2134.2800000000002</c:v>
                </c:pt>
                <c:pt idx="2947">
                  <c:v>2161.27</c:v>
                </c:pt>
                <c:pt idx="2948">
                  <c:v>2160.77</c:v>
                </c:pt>
                <c:pt idx="2949">
                  <c:v>2153.41</c:v>
                </c:pt>
                <c:pt idx="2950">
                  <c:v>2176.2399999999998</c:v>
                </c:pt>
                <c:pt idx="2951">
                  <c:v>2191.86</c:v>
                </c:pt>
                <c:pt idx="2952">
                  <c:v>2169.67</c:v>
                </c:pt>
                <c:pt idx="2953">
                  <c:v>2160.2399999999998</c:v>
                </c:pt>
                <c:pt idx="2954">
                  <c:v>2126.91</c:v>
                </c:pt>
                <c:pt idx="2955">
                  <c:v>2136.73</c:v>
                </c:pt>
                <c:pt idx="2956">
                  <c:v>2134.11</c:v>
                </c:pt>
                <c:pt idx="2957">
                  <c:v>2144.8200000000002</c:v>
                </c:pt>
                <c:pt idx="2958">
                  <c:v>2133.37</c:v>
                </c:pt>
                <c:pt idx="2959">
                  <c:v>2149.08</c:v>
                </c:pt>
                <c:pt idx="2960">
                  <c:v>2150.2600000000002</c:v>
                </c:pt>
                <c:pt idx="2961">
                  <c:v>2165.12</c:v>
                </c:pt>
                <c:pt idx="2962">
                  <c:v>2164.56</c:v>
                </c:pt>
                <c:pt idx="2963">
                  <c:v>2170.87</c:v>
                </c:pt>
                <c:pt idx="2964">
                  <c:v>2180.19</c:v>
                </c:pt>
                <c:pt idx="2965">
                  <c:v>2178.6999999999998</c:v>
                </c:pt>
                <c:pt idx="2966">
                  <c:v>2176.29</c:v>
                </c:pt>
                <c:pt idx="2967">
                  <c:v>2180.4699999999998</c:v>
                </c:pt>
                <c:pt idx="2968">
                  <c:v>2148.71</c:v>
                </c:pt>
                <c:pt idx="2969">
                  <c:v>2142.85</c:v>
                </c:pt>
                <c:pt idx="2970">
                  <c:v>2148.0100000000002</c:v>
                </c:pt>
                <c:pt idx="2971">
                  <c:v>2171.7600000000002</c:v>
                </c:pt>
                <c:pt idx="2972">
                  <c:v>2174.98</c:v>
                </c:pt>
                <c:pt idx="2973">
                  <c:v>2170.87</c:v>
                </c:pt>
                <c:pt idx="2974">
                  <c:v>2157.0700000000002</c:v>
                </c:pt>
                <c:pt idx="2975">
                  <c:v>2164.14</c:v>
                </c:pt>
                <c:pt idx="2976">
                  <c:v>2166.3000000000002</c:v>
                </c:pt>
                <c:pt idx="2977">
                  <c:v>2192.6999999999998</c:v>
                </c:pt>
                <c:pt idx="2978">
                  <c:v>2197.83</c:v>
                </c:pt>
                <c:pt idx="2979">
                  <c:v>2237.02</c:v>
                </c:pt>
                <c:pt idx="2980">
                  <c:v>2260.4499999999998</c:v>
                </c:pt>
                <c:pt idx="2981">
                  <c:v>2323.9</c:v>
                </c:pt>
                <c:pt idx="2982">
                  <c:v>2331.37</c:v>
                </c:pt>
                <c:pt idx="2983">
                  <c:v>2322.0100000000002</c:v>
                </c:pt>
                <c:pt idx="2984">
                  <c:v>2350.25</c:v>
                </c:pt>
                <c:pt idx="2985">
                  <c:v>2329.4</c:v>
                </c:pt>
                <c:pt idx="2986">
                  <c:v>2375.62</c:v>
                </c:pt>
                <c:pt idx="2987">
                  <c:v>2369.35</c:v>
                </c:pt>
                <c:pt idx="2988">
                  <c:v>2363.2199999999998</c:v>
                </c:pt>
                <c:pt idx="2989">
                  <c:v>2327.46</c:v>
                </c:pt>
                <c:pt idx="2990">
                  <c:v>2331.13</c:v>
                </c:pt>
                <c:pt idx="2991">
                  <c:v>2365.35</c:v>
                </c:pt>
                <c:pt idx="2992">
                  <c:v>2357.0500000000002</c:v>
                </c:pt>
                <c:pt idx="2993">
                  <c:v>2358.9</c:v>
                </c:pt>
                <c:pt idx="2994">
                  <c:v>2335.9499999999998</c:v>
                </c:pt>
                <c:pt idx="2995">
                  <c:v>2360.64</c:v>
                </c:pt>
                <c:pt idx="2996">
                  <c:v>2374.56</c:v>
                </c:pt>
                <c:pt idx="2997">
                  <c:v>2374.77</c:v>
                </c:pt>
                <c:pt idx="2998">
                  <c:v>2366.14</c:v>
                </c:pt>
                <c:pt idx="2999">
                  <c:v>2354.2399999999998</c:v>
                </c:pt>
                <c:pt idx="3000">
                  <c:v>2365.36</c:v>
                </c:pt>
                <c:pt idx="3001">
                  <c:v>2342.86</c:v>
                </c:pt>
                <c:pt idx="3002">
                  <c:v>2324.09</c:v>
                </c:pt>
                <c:pt idx="3003">
                  <c:v>2327.59</c:v>
                </c:pt>
                <c:pt idx="3004">
                  <c:v>2311.2800000000002</c:v>
                </c:pt>
                <c:pt idx="3005">
                  <c:v>2338.29</c:v>
                </c:pt>
                <c:pt idx="3006">
                  <c:v>2355.3200000000002</c:v>
                </c:pt>
                <c:pt idx="3007">
                  <c:v>2386.46</c:v>
                </c:pt>
                <c:pt idx="3008">
                  <c:v>2408.84</c:v>
                </c:pt>
                <c:pt idx="3009">
                  <c:v>2426.2199999999998</c:v>
                </c:pt>
                <c:pt idx="3010">
                  <c:v>2449.2600000000002</c:v>
                </c:pt>
                <c:pt idx="3011">
                  <c:v>2445.2199999999998</c:v>
                </c:pt>
                <c:pt idx="3012">
                  <c:v>2432.4299999999998</c:v>
                </c:pt>
                <c:pt idx="3013">
                  <c:v>2423.4499999999998</c:v>
                </c:pt>
                <c:pt idx="3014">
                  <c:v>2438.36</c:v>
                </c:pt>
                <c:pt idx="3015">
                  <c:v>2437.19</c:v>
                </c:pt>
                <c:pt idx="3016">
                  <c:v>2388.77</c:v>
                </c:pt>
                <c:pt idx="3017">
                  <c:v>2401.33</c:v>
                </c:pt>
                <c:pt idx="3018">
                  <c:v>2408.66</c:v>
                </c:pt>
                <c:pt idx="3019">
                  <c:v>2425.21</c:v>
                </c:pt>
                <c:pt idx="3020">
                  <c:v>2378.92</c:v>
                </c:pt>
                <c:pt idx="3021">
                  <c:v>2399.46</c:v>
                </c:pt>
                <c:pt idx="3022">
                  <c:v>2441.86</c:v>
                </c:pt>
                <c:pt idx="3023">
                  <c:v>2436.9699999999998</c:v>
                </c:pt>
                <c:pt idx="3024">
                  <c:v>2437.1999999999998</c:v>
                </c:pt>
                <c:pt idx="3025">
                  <c:v>2447.8000000000002</c:v>
                </c:pt>
                <c:pt idx="3026">
                  <c:v>2450.9899999999998</c:v>
                </c:pt>
                <c:pt idx="3027">
                  <c:v>2478.38</c:v>
                </c:pt>
                <c:pt idx="3028">
                  <c:v>2481.96</c:v>
                </c:pt>
                <c:pt idx="3029">
                  <c:v>2466.79</c:v>
                </c:pt>
                <c:pt idx="3030">
                  <c:v>2454.9499999999998</c:v>
                </c:pt>
                <c:pt idx="3031">
                  <c:v>2446.56</c:v>
                </c:pt>
                <c:pt idx="3032">
                  <c:v>2463.87</c:v>
                </c:pt>
                <c:pt idx="3033">
                  <c:v>2444.4</c:v>
                </c:pt>
                <c:pt idx="3034">
                  <c:v>2441.73</c:v>
                </c:pt>
                <c:pt idx="3035">
                  <c:v>2454.71</c:v>
                </c:pt>
                <c:pt idx="3036">
                  <c:v>2433.39</c:v>
                </c:pt>
                <c:pt idx="3037">
                  <c:v>2418.64</c:v>
                </c:pt>
                <c:pt idx="3038">
                  <c:v>2395.94</c:v>
                </c:pt>
                <c:pt idx="3039">
                  <c:v>2390.71</c:v>
                </c:pt>
                <c:pt idx="3040">
                  <c:v>2368.83</c:v>
                </c:pt>
                <c:pt idx="3041">
                  <c:v>2416.65</c:v>
                </c:pt>
                <c:pt idx="3042">
                  <c:v>2451.38</c:v>
                </c:pt>
                <c:pt idx="3043">
                  <c:v>2468.9299999999998</c:v>
                </c:pt>
                <c:pt idx="3044">
                  <c:v>2508.3200000000002</c:v>
                </c:pt>
                <c:pt idx="3045">
                  <c:v>2512.5500000000002</c:v>
                </c:pt>
                <c:pt idx="3046">
                  <c:v>2513.17</c:v>
                </c:pt>
                <c:pt idx="3047">
                  <c:v>2503.4499999999998</c:v>
                </c:pt>
                <c:pt idx="3048">
                  <c:v>2506.0700000000002</c:v>
                </c:pt>
                <c:pt idx="3049">
                  <c:v>2502.15</c:v>
                </c:pt>
                <c:pt idx="3050">
                  <c:v>2565.73</c:v>
                </c:pt>
                <c:pt idx="3051">
                  <c:v>2558.61</c:v>
                </c:pt>
                <c:pt idx="3052">
                  <c:v>2594.3200000000002</c:v>
                </c:pt>
                <c:pt idx="3053">
                  <c:v>2579.75</c:v>
                </c:pt>
                <c:pt idx="3054">
                  <c:v>2581.09</c:v>
                </c:pt>
                <c:pt idx="3055">
                  <c:v>2567.1</c:v>
                </c:pt>
                <c:pt idx="3056">
                  <c:v>2541.42</c:v>
                </c:pt>
                <c:pt idx="3057">
                  <c:v>2537.2199999999998</c:v>
                </c:pt>
                <c:pt idx="3058">
                  <c:v>2537.1</c:v>
                </c:pt>
                <c:pt idx="3059">
                  <c:v>2583.46</c:v>
                </c:pt>
                <c:pt idx="3060">
                  <c:v>2649.26</c:v>
                </c:pt>
                <c:pt idx="3061">
                  <c:v>2685.56</c:v>
                </c:pt>
                <c:pt idx="3062">
                  <c:v>2723.02</c:v>
                </c:pt>
                <c:pt idx="3063">
                  <c:v>2754.49</c:v>
                </c:pt>
                <c:pt idx="3064">
                  <c:v>2808.82</c:v>
                </c:pt>
                <c:pt idx="3065">
                  <c:v>2819.81</c:v>
                </c:pt>
                <c:pt idx="3066">
                  <c:v>2923.94</c:v>
                </c:pt>
                <c:pt idx="3067">
                  <c:v>2967.55</c:v>
                </c:pt>
                <c:pt idx="3068">
                  <c:v>3104.35</c:v>
                </c:pt>
                <c:pt idx="3069">
                  <c:v>3124.89</c:v>
                </c:pt>
                <c:pt idx="3070">
                  <c:v>3252.88</c:v>
                </c:pt>
                <c:pt idx="3071">
                  <c:v>3106.91</c:v>
                </c:pt>
                <c:pt idx="3072">
                  <c:v>3221.55</c:v>
                </c:pt>
                <c:pt idx="3073">
                  <c:v>3183.01</c:v>
                </c:pt>
                <c:pt idx="3074">
                  <c:v>3193.23</c:v>
                </c:pt>
                <c:pt idx="3075">
                  <c:v>3217.23</c:v>
                </c:pt>
                <c:pt idx="3076">
                  <c:v>3303.4</c:v>
                </c:pt>
                <c:pt idx="3077">
                  <c:v>3360.6</c:v>
                </c:pt>
                <c:pt idx="3078">
                  <c:v>3345.93</c:v>
                </c:pt>
                <c:pt idx="3079">
                  <c:v>3383.17</c:v>
                </c:pt>
                <c:pt idx="3080">
                  <c:v>3394.48</c:v>
                </c:pt>
                <c:pt idx="3081">
                  <c:v>3324.92</c:v>
                </c:pt>
                <c:pt idx="3082">
                  <c:v>3230.39</c:v>
                </c:pt>
                <c:pt idx="3083">
                  <c:v>3335.42</c:v>
                </c:pt>
                <c:pt idx="3084">
                  <c:v>3445.84</c:v>
                </c:pt>
                <c:pt idx="3085">
                  <c:v>3455.46</c:v>
                </c:pt>
                <c:pt idx="3086">
                  <c:v>3457.55</c:v>
                </c:pt>
                <c:pt idx="3087">
                  <c:v>3533.71</c:v>
                </c:pt>
                <c:pt idx="3088">
                  <c:v>3641.54</c:v>
                </c:pt>
                <c:pt idx="3089">
                  <c:v>3641.06</c:v>
                </c:pt>
                <c:pt idx="3090">
                  <c:v>3643.79</c:v>
                </c:pt>
                <c:pt idx="3091">
                  <c:v>3559.26</c:v>
                </c:pt>
                <c:pt idx="3092">
                  <c:v>3546.72</c:v>
                </c:pt>
                <c:pt idx="3093">
                  <c:v>3513.58</c:v>
                </c:pt>
                <c:pt idx="3094">
                  <c:v>3514.04</c:v>
                </c:pt>
                <c:pt idx="3095">
                  <c:v>3502.42</c:v>
                </c:pt>
                <c:pt idx="3096">
                  <c:v>3604.12</c:v>
                </c:pt>
                <c:pt idx="3097">
                  <c:v>3635.15</c:v>
                </c:pt>
                <c:pt idx="3098">
                  <c:v>3355.16</c:v>
                </c:pt>
                <c:pt idx="3099">
                  <c:v>3396.22</c:v>
                </c:pt>
                <c:pt idx="3100">
                  <c:v>3548.89</c:v>
                </c:pt>
                <c:pt idx="3101">
                  <c:v>3567.61</c:v>
                </c:pt>
                <c:pt idx="3102">
                  <c:v>3571.73</c:v>
                </c:pt>
                <c:pt idx="3103">
                  <c:v>3607.99</c:v>
                </c:pt>
                <c:pt idx="3104">
                  <c:v>3574.93</c:v>
                </c:pt>
                <c:pt idx="3105">
                  <c:v>3525.32</c:v>
                </c:pt>
                <c:pt idx="3106">
                  <c:v>3481.8</c:v>
                </c:pt>
                <c:pt idx="3107">
                  <c:v>3434.39</c:v>
                </c:pt>
                <c:pt idx="3108">
                  <c:v>3353.96</c:v>
                </c:pt>
                <c:pt idx="3109">
                  <c:v>3437.45</c:v>
                </c:pt>
                <c:pt idx="3110">
                  <c:v>3401.77</c:v>
                </c:pt>
                <c:pt idx="3111">
                  <c:v>3366.95</c:v>
                </c:pt>
                <c:pt idx="3112">
                  <c:v>3312.42</c:v>
                </c:pt>
                <c:pt idx="3113">
                  <c:v>3345.92</c:v>
                </c:pt>
                <c:pt idx="3114">
                  <c:v>3406.94</c:v>
                </c:pt>
                <c:pt idx="3115">
                  <c:v>3434.12</c:v>
                </c:pt>
                <c:pt idx="3116">
                  <c:v>3442.87</c:v>
                </c:pt>
                <c:pt idx="3117">
                  <c:v>3469.83</c:v>
                </c:pt>
                <c:pt idx="3118">
                  <c:v>3499.48</c:v>
                </c:pt>
                <c:pt idx="3119">
                  <c:v>3522.32</c:v>
                </c:pt>
                <c:pt idx="3120">
                  <c:v>3478.73</c:v>
                </c:pt>
                <c:pt idx="3121">
                  <c:v>3566.3</c:v>
                </c:pt>
                <c:pt idx="3122">
                  <c:v>3572.84</c:v>
                </c:pt>
                <c:pt idx="3123">
                  <c:v>3601.27</c:v>
                </c:pt>
                <c:pt idx="3124">
                  <c:v>3507.9</c:v>
                </c:pt>
                <c:pt idx="3125">
                  <c:v>3530.82</c:v>
                </c:pt>
                <c:pt idx="3126">
                  <c:v>3496.34</c:v>
                </c:pt>
                <c:pt idx="3127">
                  <c:v>3478.52</c:v>
                </c:pt>
                <c:pt idx="3128">
                  <c:v>3537.75</c:v>
                </c:pt>
                <c:pt idx="3129">
                  <c:v>3520.61</c:v>
                </c:pt>
                <c:pt idx="3130">
                  <c:v>3524.65</c:v>
                </c:pt>
                <c:pt idx="3131">
                  <c:v>3592.84</c:v>
                </c:pt>
                <c:pt idx="3132">
                  <c:v>3617.66</c:v>
                </c:pt>
                <c:pt idx="3133">
                  <c:v>3705.67</c:v>
                </c:pt>
                <c:pt idx="3134">
                  <c:v>3757.12</c:v>
                </c:pt>
                <c:pt idx="3135">
                  <c:v>3846.06</c:v>
                </c:pt>
                <c:pt idx="3136">
                  <c:v>3839.74</c:v>
                </c:pt>
                <c:pt idx="3137">
                  <c:v>3892.57</c:v>
                </c:pt>
                <c:pt idx="3138">
                  <c:v>3972.06</c:v>
                </c:pt>
                <c:pt idx="3139">
                  <c:v>3973.05</c:v>
                </c:pt>
                <c:pt idx="3140">
                  <c:v>3940.41</c:v>
                </c:pt>
                <c:pt idx="3141">
                  <c:v>3950</c:v>
                </c:pt>
                <c:pt idx="3142">
                  <c:v>3971.7</c:v>
                </c:pt>
                <c:pt idx="3143">
                  <c:v>4088.18</c:v>
                </c:pt>
                <c:pt idx="3144">
                  <c:v>4051.2</c:v>
                </c:pt>
                <c:pt idx="3145">
                  <c:v>4123.8999999999996</c:v>
                </c:pt>
                <c:pt idx="3146">
                  <c:v>4124.78</c:v>
                </c:pt>
                <c:pt idx="3147">
                  <c:v>4170.54</c:v>
                </c:pt>
                <c:pt idx="3148">
                  <c:v>4260.04</c:v>
                </c:pt>
                <c:pt idx="3149">
                  <c:v>4295.8</c:v>
                </c:pt>
                <c:pt idx="3150">
                  <c:v>4262.1400000000003</c:v>
                </c:pt>
                <c:pt idx="3151">
                  <c:v>4344.42</c:v>
                </c:pt>
                <c:pt idx="3152">
                  <c:v>4421.07</c:v>
                </c:pt>
                <c:pt idx="3153">
                  <c:v>4438.18</c:v>
                </c:pt>
                <c:pt idx="3154">
                  <c:v>4380.51</c:v>
                </c:pt>
                <c:pt idx="3155">
                  <c:v>4513.55</c:v>
                </c:pt>
                <c:pt idx="3156">
                  <c:v>4596.1400000000003</c:v>
                </c:pt>
                <c:pt idx="3157">
                  <c:v>4521.92</c:v>
                </c:pt>
                <c:pt idx="3158">
                  <c:v>4619.16</c:v>
                </c:pt>
                <c:pt idx="3159">
                  <c:v>4739.8100000000004</c:v>
                </c:pt>
                <c:pt idx="3160">
                  <c:v>4740.8900000000003</c:v>
                </c:pt>
                <c:pt idx="3161">
                  <c:v>4702.6400000000003</c:v>
                </c:pt>
                <c:pt idx="3162">
                  <c:v>4807.59</c:v>
                </c:pt>
                <c:pt idx="3163">
                  <c:v>4741.8599999999997</c:v>
                </c:pt>
                <c:pt idx="3164">
                  <c:v>4774.33</c:v>
                </c:pt>
                <c:pt idx="3165">
                  <c:v>4749.8900000000003</c:v>
                </c:pt>
                <c:pt idx="3166">
                  <c:v>4787.74</c:v>
                </c:pt>
                <c:pt idx="3167">
                  <c:v>4596.84</c:v>
                </c:pt>
                <c:pt idx="3168">
                  <c:v>4553.33</c:v>
                </c:pt>
                <c:pt idx="3169">
                  <c:v>4470.09</c:v>
                </c:pt>
                <c:pt idx="3170">
                  <c:v>4558.3999999999996</c:v>
                </c:pt>
                <c:pt idx="3171">
                  <c:v>4690.53</c:v>
                </c:pt>
                <c:pt idx="3172">
                  <c:v>4747.42</c:v>
                </c:pt>
                <c:pt idx="3173">
                  <c:v>4718.4399999999996</c:v>
                </c:pt>
                <c:pt idx="3174">
                  <c:v>4700.78</c:v>
                </c:pt>
                <c:pt idx="3175">
                  <c:v>4617.47</c:v>
                </c:pt>
                <c:pt idx="3176">
                  <c:v>4575.1400000000003</c:v>
                </c:pt>
                <c:pt idx="3177">
                  <c:v>4731.22</c:v>
                </c:pt>
                <c:pt idx="3178">
                  <c:v>4754.92</c:v>
                </c:pt>
                <c:pt idx="3179">
                  <c:v>4840.9799999999996</c:v>
                </c:pt>
                <c:pt idx="3180">
                  <c:v>4951.34</c:v>
                </c:pt>
                <c:pt idx="3181">
                  <c:v>5099.5</c:v>
                </c:pt>
                <c:pt idx="3182">
                  <c:v>5198.92</c:v>
                </c:pt>
                <c:pt idx="3183">
                  <c:v>5181.43</c:v>
                </c:pt>
                <c:pt idx="3184">
                  <c:v>4834.01</c:v>
                </c:pt>
                <c:pt idx="3185">
                  <c:v>4840.83</c:v>
                </c:pt>
                <c:pt idx="3186">
                  <c:v>5076.18</c:v>
                </c:pt>
                <c:pt idx="3187">
                  <c:v>5161.87</c:v>
                </c:pt>
                <c:pt idx="3188">
                  <c:v>5143.59</c:v>
                </c:pt>
                <c:pt idx="3189">
                  <c:v>5181.42</c:v>
                </c:pt>
                <c:pt idx="3190">
                  <c:v>5230.55</c:v>
                </c:pt>
                <c:pt idx="3191">
                  <c:v>5353.75</c:v>
                </c:pt>
                <c:pt idx="3192">
                  <c:v>5317.46</c:v>
                </c:pt>
                <c:pt idx="3193">
                  <c:v>5309.11</c:v>
                </c:pt>
                <c:pt idx="3194">
                  <c:v>5306.59</c:v>
                </c:pt>
                <c:pt idx="3195">
                  <c:v>5335.12</c:v>
                </c:pt>
                <c:pt idx="3196">
                  <c:v>5221.17</c:v>
                </c:pt>
                <c:pt idx="3197">
                  <c:v>5064.82</c:v>
                </c:pt>
                <c:pt idx="3198">
                  <c:v>5138.83</c:v>
                </c:pt>
                <c:pt idx="3199">
                  <c:v>4930.55</c:v>
                </c:pt>
                <c:pt idx="3200">
                  <c:v>4637.05</c:v>
                </c:pt>
                <c:pt idx="3201">
                  <c:v>4786.09</c:v>
                </c:pt>
                <c:pt idx="3202">
                  <c:v>4880.13</c:v>
                </c:pt>
                <c:pt idx="3203">
                  <c:v>4706.5200000000004</c:v>
                </c:pt>
                <c:pt idx="3204">
                  <c:v>4336.1899999999996</c:v>
                </c:pt>
                <c:pt idx="3205">
                  <c:v>4191.55</c:v>
                </c:pt>
                <c:pt idx="3206">
                  <c:v>4473</c:v>
                </c:pt>
                <c:pt idx="3207">
                  <c:v>4253.0200000000004</c:v>
                </c:pt>
                <c:pt idx="3208">
                  <c:v>4108</c:v>
                </c:pt>
                <c:pt idx="3209">
                  <c:v>3885.92</c:v>
                </c:pt>
                <c:pt idx="3210">
                  <c:v>3998.54</c:v>
                </c:pt>
                <c:pt idx="3211">
                  <c:v>3928</c:v>
                </c:pt>
                <c:pt idx="3212">
                  <c:v>3663.04</c:v>
                </c:pt>
                <c:pt idx="3213">
                  <c:v>3897.63</c:v>
                </c:pt>
                <c:pt idx="3214">
                  <c:v>4106.5600000000004</c:v>
                </c:pt>
                <c:pt idx="3215">
                  <c:v>4211.8100000000004</c:v>
                </c:pt>
                <c:pt idx="3216">
                  <c:v>4112.1499999999996</c:v>
                </c:pt>
                <c:pt idx="3217">
                  <c:v>3966.76</c:v>
                </c:pt>
                <c:pt idx="3218">
                  <c:v>3997.36</c:v>
                </c:pt>
                <c:pt idx="3219">
                  <c:v>4151.5</c:v>
                </c:pt>
                <c:pt idx="3220">
                  <c:v>4160.6099999999997</c:v>
                </c:pt>
                <c:pt idx="3221">
                  <c:v>4166.01</c:v>
                </c:pt>
                <c:pt idx="3222">
                  <c:v>4157.16</c:v>
                </c:pt>
                <c:pt idx="3223">
                  <c:v>4250.8100000000004</c:v>
                </c:pt>
                <c:pt idx="3224">
                  <c:v>4176.28</c:v>
                </c:pt>
                <c:pt idx="3225">
                  <c:v>3818.73</c:v>
                </c:pt>
                <c:pt idx="3226">
                  <c:v>3811.09</c:v>
                </c:pt>
                <c:pt idx="3227">
                  <c:v>3930.38</c:v>
                </c:pt>
                <c:pt idx="3228">
                  <c:v>3815.41</c:v>
                </c:pt>
                <c:pt idx="3229">
                  <c:v>3816.7</c:v>
                </c:pt>
                <c:pt idx="3230">
                  <c:v>3829.24</c:v>
                </c:pt>
                <c:pt idx="3231">
                  <c:v>3948.16</c:v>
                </c:pt>
                <c:pt idx="3232">
                  <c:v>3866.9</c:v>
                </c:pt>
                <c:pt idx="3233">
                  <c:v>3831.85</c:v>
                </c:pt>
                <c:pt idx="3234">
                  <c:v>3906.94</c:v>
                </c:pt>
                <c:pt idx="3235">
                  <c:v>4084.36</c:v>
                </c:pt>
                <c:pt idx="3236">
                  <c:v>4066.67</c:v>
                </c:pt>
                <c:pt idx="3237">
                  <c:v>4016.13</c:v>
                </c:pt>
                <c:pt idx="3238">
                  <c:v>4075.46</c:v>
                </c:pt>
                <c:pt idx="3239">
                  <c:v>4073.54</c:v>
                </c:pt>
                <c:pt idx="3240">
                  <c:v>4077.87</c:v>
                </c:pt>
                <c:pt idx="3241">
                  <c:v>3825.41</c:v>
                </c:pt>
                <c:pt idx="3242">
                  <c:v>3886.14</c:v>
                </c:pt>
                <c:pt idx="3243">
                  <c:v>3761.45</c:v>
                </c:pt>
                <c:pt idx="3244">
                  <c:v>3589.54</c:v>
                </c:pt>
                <c:pt idx="3245">
                  <c:v>3275.53</c:v>
                </c:pt>
                <c:pt idx="3246">
                  <c:v>3042.93</c:v>
                </c:pt>
                <c:pt idx="3247">
                  <c:v>3025.69</c:v>
                </c:pt>
                <c:pt idx="3248">
                  <c:v>3205.64</c:v>
                </c:pt>
                <c:pt idx="3249">
                  <c:v>3342.29</c:v>
                </c:pt>
                <c:pt idx="3250">
                  <c:v>3366.54</c:v>
                </c:pt>
                <c:pt idx="3251">
                  <c:v>3362.08</c:v>
                </c:pt>
                <c:pt idx="3252">
                  <c:v>3365.83</c:v>
                </c:pt>
                <c:pt idx="3253">
                  <c:v>3250.49</c:v>
                </c:pt>
                <c:pt idx="3254">
                  <c:v>3334.02</c:v>
                </c:pt>
                <c:pt idx="3255">
                  <c:v>3399.31</c:v>
                </c:pt>
                <c:pt idx="3256">
                  <c:v>3357.56</c:v>
                </c:pt>
                <c:pt idx="3257">
                  <c:v>3347.19</c:v>
                </c:pt>
                <c:pt idx="3258">
                  <c:v>3281.13</c:v>
                </c:pt>
                <c:pt idx="3259">
                  <c:v>3152.23</c:v>
                </c:pt>
                <c:pt idx="3260">
                  <c:v>3309.25</c:v>
                </c:pt>
                <c:pt idx="3261">
                  <c:v>3237</c:v>
                </c:pt>
                <c:pt idx="3262">
                  <c:v>3251.27</c:v>
                </c:pt>
                <c:pt idx="3263">
                  <c:v>3308.25</c:v>
                </c:pt>
                <c:pt idx="3264">
                  <c:v>3339.03</c:v>
                </c:pt>
                <c:pt idx="3265">
                  <c:v>3263.03</c:v>
                </c:pt>
                <c:pt idx="3266">
                  <c:v>3285</c:v>
                </c:pt>
                <c:pt idx="3267">
                  <c:v>3231.95</c:v>
                </c:pt>
                <c:pt idx="3268">
                  <c:v>3242.75</c:v>
                </c:pt>
                <c:pt idx="3269">
                  <c:v>3178.85</c:v>
                </c:pt>
                <c:pt idx="3270">
                  <c:v>3202.95</c:v>
                </c:pt>
                <c:pt idx="3271">
                  <c:v>3296.48</c:v>
                </c:pt>
                <c:pt idx="3272">
                  <c:v>3340.12</c:v>
                </c:pt>
                <c:pt idx="3273">
                  <c:v>3447.69</c:v>
                </c:pt>
                <c:pt idx="3274">
                  <c:v>3445.04</c:v>
                </c:pt>
                <c:pt idx="3275">
                  <c:v>3406.11</c:v>
                </c:pt>
                <c:pt idx="3276">
                  <c:v>3486.82</c:v>
                </c:pt>
                <c:pt idx="3277">
                  <c:v>3534.07</c:v>
                </c:pt>
                <c:pt idx="3278">
                  <c:v>3534.18</c:v>
                </c:pt>
                <c:pt idx="3279">
                  <c:v>3577.7</c:v>
                </c:pt>
                <c:pt idx="3280">
                  <c:v>3473.25</c:v>
                </c:pt>
                <c:pt idx="3281">
                  <c:v>3524.53</c:v>
                </c:pt>
                <c:pt idx="3282">
                  <c:v>3571.24</c:v>
                </c:pt>
                <c:pt idx="3283">
                  <c:v>3589.26</c:v>
                </c:pt>
                <c:pt idx="3284">
                  <c:v>3592.88</c:v>
                </c:pt>
                <c:pt idx="3285">
                  <c:v>3524.92</c:v>
                </c:pt>
                <c:pt idx="3286">
                  <c:v>3533.31</c:v>
                </c:pt>
                <c:pt idx="3287">
                  <c:v>3534.08</c:v>
                </c:pt>
                <c:pt idx="3288">
                  <c:v>3475.96</c:v>
                </c:pt>
                <c:pt idx="3289">
                  <c:v>3465.49</c:v>
                </c:pt>
                <c:pt idx="3290">
                  <c:v>3628.54</c:v>
                </c:pt>
                <c:pt idx="3291">
                  <c:v>3705.97</c:v>
                </c:pt>
                <c:pt idx="3292">
                  <c:v>3793.37</c:v>
                </c:pt>
                <c:pt idx="3293">
                  <c:v>3840.35</c:v>
                </c:pt>
                <c:pt idx="3294">
                  <c:v>3833.24</c:v>
                </c:pt>
                <c:pt idx="3295">
                  <c:v>3833.65</c:v>
                </c:pt>
                <c:pt idx="3296">
                  <c:v>3795.32</c:v>
                </c:pt>
                <c:pt idx="3297">
                  <c:v>3746.24</c:v>
                </c:pt>
                <c:pt idx="3298">
                  <c:v>3764.13</c:v>
                </c:pt>
                <c:pt idx="3299">
                  <c:v>3758.39</c:v>
                </c:pt>
                <c:pt idx="3300">
                  <c:v>3715.58</c:v>
                </c:pt>
                <c:pt idx="3301">
                  <c:v>3774.97</c:v>
                </c:pt>
                <c:pt idx="3302">
                  <c:v>3774.38</c:v>
                </c:pt>
                <c:pt idx="3303">
                  <c:v>3753.34</c:v>
                </c:pt>
                <c:pt idx="3304">
                  <c:v>3753.89</c:v>
                </c:pt>
                <c:pt idx="3305">
                  <c:v>3781.61</c:v>
                </c:pt>
                <c:pt idx="3306">
                  <c:v>3759.43</c:v>
                </c:pt>
                <c:pt idx="3307">
                  <c:v>3556.99</c:v>
                </c:pt>
                <c:pt idx="3308">
                  <c:v>3566.41</c:v>
                </c:pt>
                <c:pt idx="3309">
                  <c:v>3591.7</c:v>
                </c:pt>
                <c:pt idx="3310">
                  <c:v>3721.95</c:v>
                </c:pt>
                <c:pt idx="3311">
                  <c:v>3749.3</c:v>
                </c:pt>
                <c:pt idx="3312">
                  <c:v>3677.59</c:v>
                </c:pt>
                <c:pt idx="3313">
                  <c:v>3687.61</c:v>
                </c:pt>
                <c:pt idx="3314">
                  <c:v>3623.02</c:v>
                </c:pt>
                <c:pt idx="3315">
                  <c:v>3635.94</c:v>
                </c:pt>
                <c:pt idx="3316">
                  <c:v>3623.08</c:v>
                </c:pt>
                <c:pt idx="3317">
                  <c:v>3608.06</c:v>
                </c:pt>
                <c:pt idx="3318">
                  <c:v>3711.32</c:v>
                </c:pt>
                <c:pt idx="3319">
                  <c:v>3694.39</c:v>
                </c:pt>
                <c:pt idx="3320">
                  <c:v>3685.44</c:v>
                </c:pt>
                <c:pt idx="3321">
                  <c:v>3755.89</c:v>
                </c:pt>
                <c:pt idx="3322">
                  <c:v>3767.91</c:v>
                </c:pt>
                <c:pt idx="3323">
                  <c:v>3865.97</c:v>
                </c:pt>
                <c:pt idx="3324">
                  <c:v>3876.73</c:v>
                </c:pt>
                <c:pt idx="3325">
                  <c:v>3866.38</c:v>
                </c:pt>
                <c:pt idx="3326">
                  <c:v>3829.4</c:v>
                </c:pt>
                <c:pt idx="3327">
                  <c:v>3838.2</c:v>
                </c:pt>
                <c:pt idx="3328">
                  <c:v>3727.63</c:v>
                </c:pt>
                <c:pt idx="3329">
                  <c:v>3761.87</c:v>
                </c:pt>
                <c:pt idx="3330">
                  <c:v>3765.18</c:v>
                </c:pt>
                <c:pt idx="3331">
                  <c:v>3731</c:v>
                </c:pt>
                <c:pt idx="3332">
                  <c:v>3469.07</c:v>
                </c:pt>
                <c:pt idx="3333">
                  <c:v>3478.78</c:v>
                </c:pt>
                <c:pt idx="3334">
                  <c:v>3539.81</c:v>
                </c:pt>
                <c:pt idx="3335">
                  <c:v>3294.38</c:v>
                </c:pt>
                <c:pt idx="3336">
                  <c:v>3361.56</c:v>
                </c:pt>
                <c:pt idx="3337">
                  <c:v>3192.45</c:v>
                </c:pt>
                <c:pt idx="3338">
                  <c:v>3215.71</c:v>
                </c:pt>
                <c:pt idx="3339">
                  <c:v>3155.88</c:v>
                </c:pt>
                <c:pt idx="3340">
                  <c:v>3221.57</c:v>
                </c:pt>
                <c:pt idx="3341">
                  <c:v>3118.73</c:v>
                </c:pt>
                <c:pt idx="3342">
                  <c:v>3130.73</c:v>
                </c:pt>
                <c:pt idx="3343">
                  <c:v>3223.13</c:v>
                </c:pt>
                <c:pt idx="3344">
                  <c:v>3174.38</c:v>
                </c:pt>
                <c:pt idx="3345">
                  <c:v>3081.35</c:v>
                </c:pt>
                <c:pt idx="3346">
                  <c:v>3113.46</c:v>
                </c:pt>
                <c:pt idx="3347">
                  <c:v>3128.89</c:v>
                </c:pt>
                <c:pt idx="3348">
                  <c:v>2940.51</c:v>
                </c:pt>
                <c:pt idx="3349">
                  <c:v>2930.35</c:v>
                </c:pt>
                <c:pt idx="3350">
                  <c:v>2853.76</c:v>
                </c:pt>
                <c:pt idx="3351">
                  <c:v>2946.09</c:v>
                </c:pt>
                <c:pt idx="3352">
                  <c:v>2901.05</c:v>
                </c:pt>
                <c:pt idx="3353">
                  <c:v>2961.33</c:v>
                </c:pt>
                <c:pt idx="3354">
                  <c:v>2948.64</c:v>
                </c:pt>
                <c:pt idx="3355">
                  <c:v>2984.76</c:v>
                </c:pt>
                <c:pt idx="3356">
                  <c:v>2963.79</c:v>
                </c:pt>
                <c:pt idx="3357">
                  <c:v>2946.71</c:v>
                </c:pt>
                <c:pt idx="3358">
                  <c:v>3037.04</c:v>
                </c:pt>
                <c:pt idx="3359">
                  <c:v>3063.32</c:v>
                </c:pt>
                <c:pt idx="3360">
                  <c:v>3053.7</c:v>
                </c:pt>
                <c:pt idx="3361">
                  <c:v>3051.59</c:v>
                </c:pt>
                <c:pt idx="3362">
                  <c:v>3118.87</c:v>
                </c:pt>
                <c:pt idx="3363">
                  <c:v>3089.36</c:v>
                </c:pt>
                <c:pt idx="3364">
                  <c:v>3109.55</c:v>
                </c:pt>
                <c:pt idx="3365">
                  <c:v>2918.75</c:v>
                </c:pt>
                <c:pt idx="3366">
                  <c:v>2948.03</c:v>
                </c:pt>
                <c:pt idx="3367">
                  <c:v>2877.47</c:v>
                </c:pt>
                <c:pt idx="3368">
                  <c:v>2930.69</c:v>
                </c:pt>
                <c:pt idx="3369">
                  <c:v>3051.33</c:v>
                </c:pt>
                <c:pt idx="3370">
                  <c:v>3058.42</c:v>
                </c:pt>
                <c:pt idx="3371">
                  <c:v>3093.89</c:v>
                </c:pt>
                <c:pt idx="3372">
                  <c:v>3104.84</c:v>
                </c:pt>
                <c:pt idx="3373">
                  <c:v>3107.67</c:v>
                </c:pt>
                <c:pt idx="3374">
                  <c:v>3071.91</c:v>
                </c:pt>
                <c:pt idx="3375">
                  <c:v>3013.15</c:v>
                </c:pt>
                <c:pt idx="3376">
                  <c:v>3018.28</c:v>
                </c:pt>
                <c:pt idx="3377">
                  <c:v>3065.69</c:v>
                </c:pt>
                <c:pt idx="3378">
                  <c:v>3074.78</c:v>
                </c:pt>
                <c:pt idx="3379">
                  <c:v>3090.03</c:v>
                </c:pt>
                <c:pt idx="3380">
                  <c:v>3124.2</c:v>
                </c:pt>
                <c:pt idx="3381">
                  <c:v>3171.96</c:v>
                </c:pt>
                <c:pt idx="3382">
                  <c:v>3249.44</c:v>
                </c:pt>
                <c:pt idx="3383">
                  <c:v>3225.79</c:v>
                </c:pt>
                <c:pt idx="3384">
                  <c:v>3236.09</c:v>
                </c:pt>
                <c:pt idx="3385">
                  <c:v>3181.85</c:v>
                </c:pt>
                <c:pt idx="3386">
                  <c:v>3197.82</c:v>
                </c:pt>
                <c:pt idx="3387">
                  <c:v>3169.73</c:v>
                </c:pt>
                <c:pt idx="3388">
                  <c:v>3135.41</c:v>
                </c:pt>
                <c:pt idx="3389">
                  <c:v>3216.28</c:v>
                </c:pt>
                <c:pt idx="3390">
                  <c:v>3218.09</c:v>
                </c:pt>
                <c:pt idx="3391">
                  <c:v>3221.89</c:v>
                </c:pt>
                <c:pt idx="3392">
                  <c:v>3264.49</c:v>
                </c:pt>
                <c:pt idx="3393">
                  <c:v>3257.53</c:v>
                </c:pt>
                <c:pt idx="3394">
                  <c:v>3209.29</c:v>
                </c:pt>
                <c:pt idx="3395">
                  <c:v>3185.73</c:v>
                </c:pt>
                <c:pt idx="3396">
                  <c:v>3230.1</c:v>
                </c:pt>
                <c:pt idx="3397">
                  <c:v>3218.45</c:v>
                </c:pt>
                <c:pt idx="3398">
                  <c:v>3261.38</c:v>
                </c:pt>
                <c:pt idx="3399">
                  <c:v>3275.83</c:v>
                </c:pt>
                <c:pt idx="3400">
                  <c:v>3272.21</c:v>
                </c:pt>
                <c:pt idx="3401">
                  <c:v>3228.45</c:v>
                </c:pt>
                <c:pt idx="3402">
                  <c:v>3238.3</c:v>
                </c:pt>
                <c:pt idx="3403">
                  <c:v>3181.03</c:v>
                </c:pt>
                <c:pt idx="3404">
                  <c:v>3160.6</c:v>
                </c:pt>
                <c:pt idx="3405">
                  <c:v>3174.9</c:v>
                </c:pt>
                <c:pt idx="3406">
                  <c:v>3162.03</c:v>
                </c:pt>
                <c:pt idx="3407">
                  <c:v>3179.16</c:v>
                </c:pt>
                <c:pt idx="3408">
                  <c:v>3165.92</c:v>
                </c:pt>
                <c:pt idx="3409">
                  <c:v>3160.58</c:v>
                </c:pt>
                <c:pt idx="3410">
                  <c:v>3156.75</c:v>
                </c:pt>
                <c:pt idx="3411">
                  <c:v>3213.54</c:v>
                </c:pt>
                <c:pt idx="3412">
                  <c:v>3209.46</c:v>
                </c:pt>
                <c:pt idx="3413">
                  <c:v>3213.92</c:v>
                </c:pt>
                <c:pt idx="3414">
                  <c:v>3130.35</c:v>
                </c:pt>
                <c:pt idx="3415">
                  <c:v>3065.62</c:v>
                </c:pt>
                <c:pt idx="3416">
                  <c:v>3069.11</c:v>
                </c:pt>
                <c:pt idx="3417">
                  <c:v>3082.81</c:v>
                </c:pt>
                <c:pt idx="3418">
                  <c:v>3090.14</c:v>
                </c:pt>
                <c:pt idx="3419">
                  <c:v>3074.94</c:v>
                </c:pt>
                <c:pt idx="3420">
                  <c:v>3095.31</c:v>
                </c:pt>
                <c:pt idx="3421">
                  <c:v>3086.02</c:v>
                </c:pt>
                <c:pt idx="3422">
                  <c:v>3068.04</c:v>
                </c:pt>
                <c:pt idx="3423">
                  <c:v>3062.5</c:v>
                </c:pt>
                <c:pt idx="3424">
                  <c:v>3078.22</c:v>
                </c:pt>
                <c:pt idx="3425">
                  <c:v>3087.22</c:v>
                </c:pt>
                <c:pt idx="3426">
                  <c:v>3063.56</c:v>
                </c:pt>
                <c:pt idx="3427">
                  <c:v>3059.23</c:v>
                </c:pt>
                <c:pt idx="3428">
                  <c:v>3064.21</c:v>
                </c:pt>
                <c:pt idx="3429">
                  <c:v>3062.5</c:v>
                </c:pt>
                <c:pt idx="3430">
                  <c:v>3066.71</c:v>
                </c:pt>
                <c:pt idx="3431">
                  <c:v>3169.56</c:v>
                </c:pt>
                <c:pt idx="3432">
                  <c:v>3160.55</c:v>
                </c:pt>
                <c:pt idx="3433">
                  <c:v>3167.1</c:v>
                </c:pt>
                <c:pt idx="3434">
                  <c:v>3189.33</c:v>
                </c:pt>
                <c:pt idx="3435">
                  <c:v>3178.79</c:v>
                </c:pt>
                <c:pt idx="3436">
                  <c:v>3177.05</c:v>
                </c:pt>
                <c:pt idx="3437">
                  <c:v>3163.99</c:v>
                </c:pt>
                <c:pt idx="3438">
                  <c:v>3066.34</c:v>
                </c:pt>
                <c:pt idx="3439">
                  <c:v>3075.98</c:v>
                </c:pt>
                <c:pt idx="3440">
                  <c:v>3116.37</c:v>
                </c:pt>
                <c:pt idx="3441">
                  <c:v>3094.67</c:v>
                </c:pt>
                <c:pt idx="3442">
                  <c:v>3110.36</c:v>
                </c:pt>
                <c:pt idx="3443">
                  <c:v>3112.67</c:v>
                </c:pt>
                <c:pt idx="3444">
                  <c:v>3106.32</c:v>
                </c:pt>
                <c:pt idx="3445">
                  <c:v>3133.96</c:v>
                </c:pt>
                <c:pt idx="3446">
                  <c:v>3117.32</c:v>
                </c:pt>
                <c:pt idx="3447">
                  <c:v>3077.16</c:v>
                </c:pt>
                <c:pt idx="3448">
                  <c:v>3120.54</c:v>
                </c:pt>
                <c:pt idx="3449">
                  <c:v>3136.4</c:v>
                </c:pt>
                <c:pt idx="3450">
                  <c:v>3151.39</c:v>
                </c:pt>
                <c:pt idx="3451">
                  <c:v>3153.92</c:v>
                </c:pt>
                <c:pt idx="3452">
                  <c:v>3154.2</c:v>
                </c:pt>
                <c:pt idx="3453">
                  <c:v>3204.7</c:v>
                </c:pt>
                <c:pt idx="3454">
                  <c:v>3207.38</c:v>
                </c:pt>
                <c:pt idx="3455">
                  <c:v>3216.8</c:v>
                </c:pt>
                <c:pt idx="3456">
                  <c:v>3209.95</c:v>
                </c:pt>
                <c:pt idx="3457">
                  <c:v>3192.28</c:v>
                </c:pt>
                <c:pt idx="3458">
                  <c:v>3203.33</c:v>
                </c:pt>
                <c:pt idx="3459">
                  <c:v>3273.18</c:v>
                </c:pt>
                <c:pt idx="3460">
                  <c:v>3282.87</c:v>
                </c:pt>
                <c:pt idx="3461">
                  <c:v>3276.76</c:v>
                </c:pt>
                <c:pt idx="3462">
                  <c:v>3276.28</c:v>
                </c:pt>
                <c:pt idx="3463">
                  <c:v>3262.02</c:v>
                </c:pt>
                <c:pt idx="3464">
                  <c:v>3248.23</c:v>
                </c:pt>
                <c:pt idx="3465">
                  <c:v>3237.61</c:v>
                </c:pt>
                <c:pt idx="3466">
                  <c:v>3252.52</c:v>
                </c:pt>
                <c:pt idx="3467">
                  <c:v>3225.16</c:v>
                </c:pt>
                <c:pt idx="3468">
                  <c:v>3230.89</c:v>
                </c:pt>
                <c:pt idx="3469">
                  <c:v>3269.59</c:v>
                </c:pt>
                <c:pt idx="3470">
                  <c:v>3218.24</c:v>
                </c:pt>
                <c:pt idx="3471">
                  <c:v>3221.14</c:v>
                </c:pt>
                <c:pt idx="3472">
                  <c:v>3203.93</c:v>
                </c:pt>
                <c:pt idx="3473">
                  <c:v>3176.81</c:v>
                </c:pt>
                <c:pt idx="3474">
                  <c:v>3189.05</c:v>
                </c:pt>
                <c:pt idx="3475">
                  <c:v>3193.51</c:v>
                </c:pt>
                <c:pt idx="3476">
                  <c:v>3201.29</c:v>
                </c:pt>
                <c:pt idx="3477">
                  <c:v>3205.11</c:v>
                </c:pt>
                <c:pt idx="3478">
                  <c:v>3234.18</c:v>
                </c:pt>
                <c:pt idx="3479">
                  <c:v>3256.98</c:v>
                </c:pt>
                <c:pt idx="3480">
                  <c:v>3243.34</c:v>
                </c:pt>
                <c:pt idx="3481">
                  <c:v>3233.36</c:v>
                </c:pt>
                <c:pt idx="3482">
                  <c:v>3294.23</c:v>
                </c:pt>
                <c:pt idx="3483">
                  <c:v>3393.42</c:v>
                </c:pt>
                <c:pt idx="3484">
                  <c:v>3378.25</c:v>
                </c:pt>
                <c:pt idx="3485">
                  <c:v>3373.05</c:v>
                </c:pt>
                <c:pt idx="3486">
                  <c:v>3364.49</c:v>
                </c:pt>
                <c:pt idx="3487">
                  <c:v>3365.02</c:v>
                </c:pt>
                <c:pt idx="3488">
                  <c:v>3336.79</c:v>
                </c:pt>
                <c:pt idx="3489">
                  <c:v>3341.83</c:v>
                </c:pt>
                <c:pt idx="3490">
                  <c:v>3329.86</c:v>
                </c:pt>
                <c:pt idx="3491">
                  <c:v>3308.97</c:v>
                </c:pt>
                <c:pt idx="3492">
                  <c:v>3307.09</c:v>
                </c:pt>
                <c:pt idx="3493">
                  <c:v>3307.78</c:v>
                </c:pt>
                <c:pt idx="3494">
                  <c:v>3311.99</c:v>
                </c:pt>
                <c:pt idx="3495">
                  <c:v>3327.79</c:v>
                </c:pt>
                <c:pt idx="3496">
                  <c:v>3301.58</c:v>
                </c:pt>
                <c:pt idx="3497">
                  <c:v>3314.11</c:v>
                </c:pt>
                <c:pt idx="3498">
                  <c:v>3319.68</c:v>
                </c:pt>
                <c:pt idx="3499">
                  <c:v>3342.63</c:v>
                </c:pt>
                <c:pt idx="3500">
                  <c:v>3340.82</c:v>
                </c:pt>
                <c:pt idx="3501">
                  <c:v>3339.56</c:v>
                </c:pt>
                <c:pt idx="3502">
                  <c:v>3318.04</c:v>
                </c:pt>
                <c:pt idx="3503">
                  <c:v>3262.6</c:v>
                </c:pt>
                <c:pt idx="3504">
                  <c:v>3260.33</c:v>
                </c:pt>
                <c:pt idx="3505">
                  <c:v>3238.73</c:v>
                </c:pt>
                <c:pt idx="3506">
                  <c:v>3263.12</c:v>
                </c:pt>
                <c:pt idx="3507">
                  <c:v>3257.4</c:v>
                </c:pt>
                <c:pt idx="3508">
                  <c:v>3266.64</c:v>
                </c:pt>
                <c:pt idx="3509">
                  <c:v>3291.12</c:v>
                </c:pt>
                <c:pt idx="3510">
                  <c:v>3275.67</c:v>
                </c:pt>
                <c:pt idx="3511">
                  <c:v>3220.28</c:v>
                </c:pt>
                <c:pt idx="3512">
                  <c:v>3240.75</c:v>
                </c:pt>
                <c:pt idx="3513">
                  <c:v>3230.89</c:v>
                </c:pt>
                <c:pt idx="3514">
                  <c:v>3244.39</c:v>
                </c:pt>
                <c:pt idx="3515">
                  <c:v>3253.28</c:v>
                </c:pt>
                <c:pt idx="3516">
                  <c:v>3293.87</c:v>
                </c:pt>
                <c:pt idx="3517">
                  <c:v>3306.56</c:v>
                </c:pt>
                <c:pt idx="3518">
                  <c:v>3300.01</c:v>
                </c:pt>
                <c:pt idx="3519">
                  <c:v>3302.65</c:v>
                </c:pt>
                <c:pt idx="3520">
                  <c:v>3305.85</c:v>
                </c:pt>
                <c:pt idx="3521">
                  <c:v>3277.88</c:v>
                </c:pt>
                <c:pt idx="3522">
                  <c:v>3321.33</c:v>
                </c:pt>
                <c:pt idx="3523">
                  <c:v>3316.24</c:v>
                </c:pt>
                <c:pt idx="3524">
                  <c:v>3318.6</c:v>
                </c:pt>
                <c:pt idx="3525">
                  <c:v>3327.74</c:v>
                </c:pt>
                <c:pt idx="3526">
                  <c:v>3367.58</c:v>
                </c:pt>
                <c:pt idx="3527">
                  <c:v>3367.45</c:v>
                </c:pt>
                <c:pt idx="3528">
                  <c:v>3354.8</c:v>
                </c:pt>
                <c:pt idx="3529">
                  <c:v>3345.7</c:v>
                </c:pt>
                <c:pt idx="3530">
                  <c:v>3340.13</c:v>
                </c:pt>
                <c:pt idx="3531">
                  <c:v>3336.28</c:v>
                </c:pt>
                <c:pt idx="3532">
                  <c:v>3359.05</c:v>
                </c:pt>
                <c:pt idx="3533">
                  <c:v>3333.35</c:v>
                </c:pt>
                <c:pt idx="3534">
                  <c:v>3365.09</c:v>
                </c:pt>
                <c:pt idx="3535">
                  <c:v>3354.17</c:v>
                </c:pt>
                <c:pt idx="3536">
                  <c:v>3356.59</c:v>
                </c:pt>
                <c:pt idx="3537">
                  <c:v>3371.12</c:v>
                </c:pt>
                <c:pt idx="3538">
                  <c:v>3353.05</c:v>
                </c:pt>
                <c:pt idx="3539">
                  <c:v>3390.61</c:v>
                </c:pt>
                <c:pt idx="3540">
                  <c:v>3417.22</c:v>
                </c:pt>
                <c:pt idx="3541">
                  <c:v>3430.25</c:v>
                </c:pt>
                <c:pt idx="3542">
                  <c:v>3429.87</c:v>
                </c:pt>
                <c:pt idx="3543">
                  <c:v>3429.59</c:v>
                </c:pt>
                <c:pt idx="3544">
                  <c:v>3436.54</c:v>
                </c:pt>
                <c:pt idx="3545">
                  <c:v>3417.46</c:v>
                </c:pt>
                <c:pt idx="3546">
                  <c:v>3441.11</c:v>
                </c:pt>
                <c:pt idx="3547">
                  <c:v>3468.36</c:v>
                </c:pt>
                <c:pt idx="3548">
                  <c:v>3474.73</c:v>
                </c:pt>
                <c:pt idx="3549">
                  <c:v>3488.74</c:v>
                </c:pt>
                <c:pt idx="3550">
                  <c:v>3521.3</c:v>
                </c:pt>
                <c:pt idx="3551">
                  <c:v>3535.08</c:v>
                </c:pt>
                <c:pt idx="3552">
                  <c:v>3564.04</c:v>
                </c:pt>
                <c:pt idx="3553">
                  <c:v>3538</c:v>
                </c:pt>
                <c:pt idx="3554">
                  <c:v>3565.04</c:v>
                </c:pt>
                <c:pt idx="3555">
                  <c:v>3528.95</c:v>
                </c:pt>
                <c:pt idx="3556">
                  <c:v>3469.41</c:v>
                </c:pt>
                <c:pt idx="3557">
                  <c:v>3459.15</c:v>
                </c:pt>
                <c:pt idx="3558">
                  <c:v>3475.75</c:v>
                </c:pt>
                <c:pt idx="3559">
                  <c:v>3470.14</c:v>
                </c:pt>
                <c:pt idx="3560">
                  <c:v>3493.7</c:v>
                </c:pt>
                <c:pt idx="3561">
                  <c:v>3409.18</c:v>
                </c:pt>
                <c:pt idx="3562">
                  <c:v>3405.04</c:v>
                </c:pt>
                <c:pt idx="3563">
                  <c:v>3378.95</c:v>
                </c:pt>
                <c:pt idx="3564">
                  <c:v>3340.43</c:v>
                </c:pt>
                <c:pt idx="3565">
                  <c:v>3346.03</c:v>
                </c:pt>
                <c:pt idx="3566">
                  <c:v>3328.98</c:v>
                </c:pt>
                <c:pt idx="3567">
                  <c:v>3309.06</c:v>
                </c:pt>
                <c:pt idx="3568">
                  <c:v>3338.54</c:v>
                </c:pt>
                <c:pt idx="3569">
                  <c:v>3335.67</c:v>
                </c:pt>
                <c:pt idx="3570">
                  <c:v>3307.6</c:v>
                </c:pt>
                <c:pt idx="3571">
                  <c:v>3322.4</c:v>
                </c:pt>
                <c:pt idx="3572">
                  <c:v>3316.39</c:v>
                </c:pt>
                <c:pt idx="3573">
                  <c:v>3301.89</c:v>
                </c:pt>
                <c:pt idx="3574">
                  <c:v>3297.76</c:v>
                </c:pt>
                <c:pt idx="3575">
                  <c:v>3310.08</c:v>
                </c:pt>
                <c:pt idx="3576">
                  <c:v>3342.23</c:v>
                </c:pt>
                <c:pt idx="3577">
                  <c:v>3368.31</c:v>
                </c:pt>
                <c:pt idx="3578">
                  <c:v>3367.79</c:v>
                </c:pt>
                <c:pt idx="3579">
                  <c:v>3347.67</c:v>
                </c:pt>
                <c:pt idx="3580">
                  <c:v>3363.9</c:v>
                </c:pt>
                <c:pt idx="3581">
                  <c:v>3358.27</c:v>
                </c:pt>
                <c:pt idx="3582">
                  <c:v>3334.5</c:v>
                </c:pt>
                <c:pt idx="3583">
                  <c:v>3317.62</c:v>
                </c:pt>
                <c:pt idx="3584">
                  <c:v>3319.91</c:v>
                </c:pt>
                <c:pt idx="3585">
                  <c:v>3319.45</c:v>
                </c:pt>
                <c:pt idx="3586">
                  <c:v>3326.36</c:v>
                </c:pt>
                <c:pt idx="3587">
                  <c:v>3339.37</c:v>
                </c:pt>
                <c:pt idx="3588">
                  <c:v>3329.29</c:v>
                </c:pt>
                <c:pt idx="3589">
                  <c:v>3354.89</c:v>
                </c:pt>
                <c:pt idx="3590">
                  <c:v>3364.08</c:v>
                </c:pt>
                <c:pt idx="3591">
                  <c:v>3364.45</c:v>
                </c:pt>
                <c:pt idx="3592">
                  <c:v>3375.9</c:v>
                </c:pt>
                <c:pt idx="3593">
                  <c:v>3387.96</c:v>
                </c:pt>
                <c:pt idx="3594">
                  <c:v>3364.49</c:v>
                </c:pt>
                <c:pt idx="3595">
                  <c:v>3373.21</c:v>
                </c:pt>
                <c:pt idx="3596">
                  <c:v>3365.68</c:v>
                </c:pt>
                <c:pt idx="3597">
                  <c:v>3383.29</c:v>
                </c:pt>
                <c:pt idx="3598">
                  <c:v>3396.29</c:v>
                </c:pt>
                <c:pt idx="3599">
                  <c:v>3413.49</c:v>
                </c:pt>
                <c:pt idx="3600">
                  <c:v>3436.28</c:v>
                </c:pt>
                <c:pt idx="3601">
                  <c:v>3435.8</c:v>
                </c:pt>
                <c:pt idx="3602">
                  <c:v>3421.71</c:v>
                </c:pt>
                <c:pt idx="3603">
                  <c:v>3440.93</c:v>
                </c:pt>
                <c:pt idx="3604">
                  <c:v>3421.44</c:v>
                </c:pt>
                <c:pt idx="3605">
                  <c:v>3471.39</c:v>
                </c:pt>
                <c:pt idx="3606">
                  <c:v>3482.82</c:v>
                </c:pt>
                <c:pt idx="3607">
                  <c:v>3489.76</c:v>
                </c:pt>
                <c:pt idx="3608">
                  <c:v>3473.32</c:v>
                </c:pt>
                <c:pt idx="3609">
                  <c:v>3473.85</c:v>
                </c:pt>
                <c:pt idx="3610">
                  <c:v>3446.22</c:v>
                </c:pt>
                <c:pt idx="3611">
                  <c:v>3452.81</c:v>
                </c:pt>
                <c:pt idx="3612">
                  <c:v>3458.44</c:v>
                </c:pt>
                <c:pt idx="3613">
                  <c:v>3435.1</c:v>
                </c:pt>
                <c:pt idx="3614">
                  <c:v>3427.86</c:v>
                </c:pt>
                <c:pt idx="3615">
                  <c:v>3446.48</c:v>
                </c:pt>
                <c:pt idx="3616">
                  <c:v>3453.96</c:v>
                </c:pt>
                <c:pt idx="3617">
                  <c:v>3448.73</c:v>
                </c:pt>
                <c:pt idx="3618">
                  <c:v>3426.94</c:v>
                </c:pt>
                <c:pt idx="3619">
                  <c:v>3427.89</c:v>
                </c:pt>
                <c:pt idx="3620">
                  <c:v>3458.1</c:v>
                </c:pt>
                <c:pt idx="3621">
                  <c:v>3456.69</c:v>
                </c:pt>
                <c:pt idx="3622">
                  <c:v>3463.64</c:v>
                </c:pt>
                <c:pt idx="3623">
                  <c:v>3481.51</c:v>
                </c:pt>
                <c:pt idx="3624">
                  <c:v>3445.81</c:v>
                </c:pt>
                <c:pt idx="3625">
                  <c:v>3449.61</c:v>
                </c:pt>
                <c:pt idx="3626">
                  <c:v>3466.35</c:v>
                </c:pt>
                <c:pt idx="3627">
                  <c:v>3450.05</c:v>
                </c:pt>
                <c:pt idx="3628">
                  <c:v>3461.98</c:v>
                </c:pt>
                <c:pt idx="3629">
                  <c:v>3489.6</c:v>
                </c:pt>
                <c:pt idx="3630">
                  <c:v>3478.04</c:v>
                </c:pt>
                <c:pt idx="3631">
                  <c:v>3469.81</c:v>
                </c:pt>
                <c:pt idx="3632">
                  <c:v>3465.19</c:v>
                </c:pt>
                <c:pt idx="3633">
                  <c:v>3436.76</c:v>
                </c:pt>
                <c:pt idx="3634">
                  <c:v>3456.05</c:v>
                </c:pt>
                <c:pt idx="3635">
                  <c:v>3503.89</c:v>
                </c:pt>
                <c:pt idx="3636">
                  <c:v>3514.05</c:v>
                </c:pt>
                <c:pt idx="3637">
                  <c:v>3517.46</c:v>
                </c:pt>
                <c:pt idx="3638">
                  <c:v>3505.14</c:v>
                </c:pt>
                <c:pt idx="3639">
                  <c:v>3517.33</c:v>
                </c:pt>
                <c:pt idx="3640">
                  <c:v>3509.44</c:v>
                </c:pt>
                <c:pt idx="3641">
                  <c:v>3514.57</c:v>
                </c:pt>
                <c:pt idx="3642">
                  <c:v>3486.5</c:v>
                </c:pt>
                <c:pt idx="3643">
                  <c:v>3479.94</c:v>
                </c:pt>
                <c:pt idx="3644">
                  <c:v>3462.74</c:v>
                </c:pt>
                <c:pt idx="3645">
                  <c:v>3445.88</c:v>
                </c:pt>
                <c:pt idx="3646">
                  <c:v>3461.55</c:v>
                </c:pt>
                <c:pt idx="3647">
                  <c:v>3466.79</c:v>
                </c:pt>
                <c:pt idx="3648">
                  <c:v>3431.26</c:v>
                </c:pt>
                <c:pt idx="3649">
                  <c:v>3440.97</c:v>
                </c:pt>
                <c:pt idx="3650">
                  <c:v>3445.18</c:v>
                </c:pt>
                <c:pt idx="3651">
                  <c:v>3446.72</c:v>
                </c:pt>
                <c:pt idx="3652">
                  <c:v>3439.75</c:v>
                </c:pt>
                <c:pt idx="3653">
                  <c:v>3426.58</c:v>
                </c:pt>
                <c:pt idx="3654">
                  <c:v>3413.13</c:v>
                </c:pt>
                <c:pt idx="3655">
                  <c:v>3404.39</c:v>
                </c:pt>
                <c:pt idx="3656">
                  <c:v>3382.55</c:v>
                </c:pt>
                <c:pt idx="3657">
                  <c:v>3358.81</c:v>
                </c:pt>
                <c:pt idx="3658">
                  <c:v>3352.53</c:v>
                </c:pt>
                <c:pt idx="3659">
                  <c:v>3337.7</c:v>
                </c:pt>
                <c:pt idx="3660">
                  <c:v>3356.65</c:v>
                </c:pt>
                <c:pt idx="3661">
                  <c:v>3385.38</c:v>
                </c:pt>
                <c:pt idx="3662">
                  <c:v>3399.19</c:v>
                </c:pt>
                <c:pt idx="3663">
                  <c:v>3428.65</c:v>
                </c:pt>
                <c:pt idx="3664">
                  <c:v>3409.97</c:v>
                </c:pt>
                <c:pt idx="3665">
                  <c:v>3398.11</c:v>
                </c:pt>
                <c:pt idx="3666">
                  <c:v>3403.85</c:v>
                </c:pt>
                <c:pt idx="3667">
                  <c:v>3411.24</c:v>
                </c:pt>
                <c:pt idx="3668">
                  <c:v>3424.19</c:v>
                </c:pt>
                <c:pt idx="3669">
                  <c:v>3424.17</c:v>
                </c:pt>
                <c:pt idx="3670">
                  <c:v>3485.66</c:v>
                </c:pt>
                <c:pt idx="3671">
                  <c:v>3480.43</c:v>
                </c:pt>
                <c:pt idx="3672">
                  <c:v>3492.88</c:v>
                </c:pt>
                <c:pt idx="3673">
                  <c:v>3497.74</c:v>
                </c:pt>
                <c:pt idx="3674">
                  <c:v>3486.51</c:v>
                </c:pt>
                <c:pt idx="3675">
                  <c:v>3468.75</c:v>
                </c:pt>
                <c:pt idx="3676">
                  <c:v>3492.88</c:v>
                </c:pt>
                <c:pt idx="3677">
                  <c:v>3533.87</c:v>
                </c:pt>
                <c:pt idx="3678">
                  <c:v>3560.98</c:v>
                </c:pt>
                <c:pt idx="3679">
                  <c:v>3576.17</c:v>
                </c:pt>
                <c:pt idx="3680">
                  <c:v>3574.39</c:v>
                </c:pt>
                <c:pt idx="3681">
                  <c:v>3582.27</c:v>
                </c:pt>
                <c:pt idx="3682">
                  <c:v>3535.3</c:v>
                </c:pt>
                <c:pt idx="3683">
                  <c:v>3528.79</c:v>
                </c:pt>
                <c:pt idx="3684">
                  <c:v>3518.76</c:v>
                </c:pt>
                <c:pt idx="3685">
                  <c:v>3553.67</c:v>
                </c:pt>
                <c:pt idx="3686">
                  <c:v>3546.49</c:v>
                </c:pt>
                <c:pt idx="3687">
                  <c:v>3587.96</c:v>
                </c:pt>
                <c:pt idx="3688">
                  <c:v>3590.34</c:v>
                </c:pt>
                <c:pt idx="3689">
                  <c:v>3622.88</c:v>
                </c:pt>
                <c:pt idx="3690">
                  <c:v>3668.09</c:v>
                </c:pt>
                <c:pt idx="3691">
                  <c:v>3674.72</c:v>
                </c:pt>
                <c:pt idx="3692">
                  <c:v>3646.17</c:v>
                </c:pt>
                <c:pt idx="3693">
                  <c:v>3668.83</c:v>
                </c:pt>
                <c:pt idx="3694">
                  <c:v>3666.8</c:v>
                </c:pt>
                <c:pt idx="3695">
                  <c:v>3650.85</c:v>
                </c:pt>
                <c:pt idx="3696">
                  <c:v>3619.98</c:v>
                </c:pt>
                <c:pt idx="3697">
                  <c:v>3659.68</c:v>
                </c:pt>
                <c:pt idx="3698">
                  <c:v>3660.1</c:v>
                </c:pt>
                <c:pt idx="3699">
                  <c:v>3655.93</c:v>
                </c:pt>
                <c:pt idx="3700">
                  <c:v>3653.69</c:v>
                </c:pt>
                <c:pt idx="3701">
                  <c:v>3670.81</c:v>
                </c:pt>
                <c:pt idx="3702">
                  <c:v>3658.82</c:v>
                </c:pt>
                <c:pt idx="3703">
                  <c:v>3686.92</c:v>
                </c:pt>
                <c:pt idx="3704">
                  <c:v>3703.09</c:v>
                </c:pt>
                <c:pt idx="3705">
                  <c:v>3663.56</c:v>
                </c:pt>
                <c:pt idx="3706">
                  <c:v>3667.18</c:v>
                </c:pt>
                <c:pt idx="3707">
                  <c:v>3729.75</c:v>
                </c:pt>
                <c:pt idx="3708">
                  <c:v>3747.88</c:v>
                </c:pt>
                <c:pt idx="3709">
                  <c:v>3728.6</c:v>
                </c:pt>
                <c:pt idx="3710">
                  <c:v>3743.47</c:v>
                </c:pt>
                <c:pt idx="3711">
                  <c:v>3719.56</c:v>
                </c:pt>
                <c:pt idx="3712">
                  <c:v>3705.39</c:v>
                </c:pt>
                <c:pt idx="3713">
                  <c:v>3712.19</c:v>
                </c:pt>
                <c:pt idx="3714">
                  <c:v>3721.89</c:v>
                </c:pt>
                <c:pt idx="3715">
                  <c:v>3737.87</c:v>
                </c:pt>
                <c:pt idx="3716">
                  <c:v>3770.38</c:v>
                </c:pt>
                <c:pt idx="3717">
                  <c:v>3760.85</c:v>
                </c:pt>
                <c:pt idx="3718">
                  <c:v>3727.83</c:v>
                </c:pt>
                <c:pt idx="3719">
                  <c:v>3707.58</c:v>
                </c:pt>
                <c:pt idx="3720">
                  <c:v>3726.79</c:v>
                </c:pt>
                <c:pt idx="3721">
                  <c:v>3732.21</c:v>
                </c:pt>
                <c:pt idx="3722">
                  <c:v>3731.04</c:v>
                </c:pt>
                <c:pt idx="3723">
                  <c:v>3715.92</c:v>
                </c:pt>
                <c:pt idx="3724">
                  <c:v>3647.35</c:v>
                </c:pt>
                <c:pt idx="3725">
                  <c:v>3694.68</c:v>
                </c:pt>
                <c:pt idx="3726">
                  <c:v>3706.06</c:v>
                </c:pt>
                <c:pt idx="3727">
                  <c:v>3701.42</c:v>
                </c:pt>
                <c:pt idx="3728">
                  <c:v>3721.28</c:v>
                </c:pt>
                <c:pt idx="3729">
                  <c:v>3724.67</c:v>
                </c:pt>
                <c:pt idx="3730">
                  <c:v>3740.99</c:v>
                </c:pt>
                <c:pt idx="3731">
                  <c:v>3752.3</c:v>
                </c:pt>
                <c:pt idx="3732">
                  <c:v>3756.09</c:v>
                </c:pt>
                <c:pt idx="3733">
                  <c:v>3734.65</c:v>
                </c:pt>
                <c:pt idx="3734">
                  <c:v>3795.75</c:v>
                </c:pt>
                <c:pt idx="3735">
                  <c:v>3842.71</c:v>
                </c:pt>
                <c:pt idx="3736">
                  <c:v>3834.54</c:v>
                </c:pt>
                <c:pt idx="3737">
                  <c:v>3834.3</c:v>
                </c:pt>
                <c:pt idx="3738">
                  <c:v>3822.09</c:v>
                </c:pt>
                <c:pt idx="3739">
                  <c:v>3830.54</c:v>
                </c:pt>
                <c:pt idx="3740">
                  <c:v>3845.62</c:v>
                </c:pt>
                <c:pt idx="3741">
                  <c:v>3857.05</c:v>
                </c:pt>
                <c:pt idx="3742">
                  <c:v>3849.45</c:v>
                </c:pt>
                <c:pt idx="3743">
                  <c:v>3829.87</c:v>
                </c:pt>
                <c:pt idx="3744">
                  <c:v>3825.99</c:v>
                </c:pt>
                <c:pt idx="3745">
                  <c:v>3825.65</c:v>
                </c:pt>
                <c:pt idx="3746">
                  <c:v>3837.93</c:v>
                </c:pt>
                <c:pt idx="3747">
                  <c:v>3842.61</c:v>
                </c:pt>
                <c:pt idx="3748">
                  <c:v>3829.96</c:v>
                </c:pt>
                <c:pt idx="3749">
                  <c:v>3831.3</c:v>
                </c:pt>
                <c:pt idx="3750">
                  <c:v>3843.14</c:v>
                </c:pt>
                <c:pt idx="3751">
                  <c:v>3832.12</c:v>
                </c:pt>
                <c:pt idx="3752">
                  <c:v>3842.44</c:v>
                </c:pt>
                <c:pt idx="3753">
                  <c:v>3837.82</c:v>
                </c:pt>
                <c:pt idx="3754">
                  <c:v>3837.73</c:v>
                </c:pt>
                <c:pt idx="3755">
                  <c:v>3817.79</c:v>
                </c:pt>
                <c:pt idx="3756">
                  <c:v>3820.78</c:v>
                </c:pt>
                <c:pt idx="3757">
                  <c:v>3821.2</c:v>
                </c:pt>
                <c:pt idx="3758">
                  <c:v>3822.54</c:v>
                </c:pt>
                <c:pt idx="3759">
                  <c:v>3836.5</c:v>
                </c:pt>
                <c:pt idx="3760">
                  <c:v>3882.21</c:v>
                </c:pt>
                <c:pt idx="3761">
                  <c:v>3889.86</c:v>
                </c:pt>
                <c:pt idx="3762">
                  <c:v>3902.69</c:v>
                </c:pt>
                <c:pt idx="3763">
                  <c:v>3912.95</c:v>
                </c:pt>
                <c:pt idx="3764">
                  <c:v>3921</c:v>
                </c:pt>
                <c:pt idx="3765">
                  <c:v>3913.45</c:v>
                </c:pt>
                <c:pt idx="3766">
                  <c:v>3913.07</c:v>
                </c:pt>
                <c:pt idx="3767">
                  <c:v>3944.16</c:v>
                </c:pt>
                <c:pt idx="3768">
                  <c:v>3931.25</c:v>
                </c:pt>
                <c:pt idx="3769">
                  <c:v>3926.85</c:v>
                </c:pt>
                <c:pt idx="3770">
                  <c:v>3930.8</c:v>
                </c:pt>
                <c:pt idx="3771">
                  <c:v>3959.4</c:v>
                </c:pt>
                <c:pt idx="3772">
                  <c:v>3976.95</c:v>
                </c:pt>
                <c:pt idx="3773">
                  <c:v>3993.58</c:v>
                </c:pt>
                <c:pt idx="3774">
                  <c:v>4021.97</c:v>
                </c:pt>
                <c:pt idx="3775">
                  <c:v>4009.72</c:v>
                </c:pt>
                <c:pt idx="3776">
                  <c:v>4006.72</c:v>
                </c:pt>
                <c:pt idx="3777">
                  <c:v>3996.62</c:v>
                </c:pt>
                <c:pt idx="3778">
                  <c:v>3997.13</c:v>
                </c:pt>
                <c:pt idx="3779">
                  <c:v>3992.7</c:v>
                </c:pt>
                <c:pt idx="3780">
                  <c:v>4020.89</c:v>
                </c:pt>
                <c:pt idx="3781">
                  <c:v>4054.25</c:v>
                </c:pt>
                <c:pt idx="3782">
                  <c:v>4048.01</c:v>
                </c:pt>
                <c:pt idx="3783">
                  <c:v>4075.9</c:v>
                </c:pt>
                <c:pt idx="3784">
                  <c:v>4111.91</c:v>
                </c:pt>
                <c:pt idx="3785">
                  <c:v>4128.07</c:v>
                </c:pt>
                <c:pt idx="3786">
                  <c:v>4099.3500000000004</c:v>
                </c:pt>
                <c:pt idx="3787">
                  <c:v>4073.67</c:v>
                </c:pt>
                <c:pt idx="3788">
                  <c:v>4105.01</c:v>
                </c:pt>
                <c:pt idx="3789">
                  <c:v>4120.8500000000004</c:v>
                </c:pt>
                <c:pt idx="3790">
                  <c:v>4143.83</c:v>
                </c:pt>
                <c:pt idx="3791">
                  <c:v>4217.7</c:v>
                </c:pt>
                <c:pt idx="3792">
                  <c:v>4227.57</c:v>
                </c:pt>
                <c:pt idx="3793">
                  <c:v>4102.3999999999996</c:v>
                </c:pt>
                <c:pt idx="3794">
                  <c:v>4104.2</c:v>
                </c:pt>
                <c:pt idx="3795">
                  <c:v>4049.95</c:v>
                </c:pt>
                <c:pt idx="3796">
                  <c:v>4055.82</c:v>
                </c:pt>
                <c:pt idx="3797">
                  <c:v>4053.75</c:v>
                </c:pt>
                <c:pt idx="3798">
                  <c:v>4006.1</c:v>
                </c:pt>
                <c:pt idx="3799">
                  <c:v>3998.14</c:v>
                </c:pt>
                <c:pt idx="3800">
                  <c:v>4018.86</c:v>
                </c:pt>
                <c:pt idx="3801">
                  <c:v>4040.17</c:v>
                </c:pt>
                <c:pt idx="3802">
                  <c:v>4015.82</c:v>
                </c:pt>
                <c:pt idx="3803">
                  <c:v>3971.06</c:v>
                </c:pt>
                <c:pt idx="3804">
                  <c:v>4003.38</c:v>
                </c:pt>
                <c:pt idx="3805">
                  <c:v>4069.5</c:v>
                </c:pt>
                <c:pt idx="3806">
                  <c:v>4016.02</c:v>
                </c:pt>
                <c:pt idx="3807">
                  <c:v>4050.09</c:v>
                </c:pt>
                <c:pt idx="3808">
                  <c:v>4026.15</c:v>
                </c:pt>
                <c:pt idx="3809">
                  <c:v>3980.86</c:v>
                </c:pt>
                <c:pt idx="3810">
                  <c:v>3985.29</c:v>
                </c:pt>
                <c:pt idx="3811">
                  <c:v>4035.33</c:v>
                </c:pt>
                <c:pt idx="3812">
                  <c:v>4030.49</c:v>
                </c:pt>
                <c:pt idx="3813">
                  <c:v>4067.85</c:v>
                </c:pt>
                <c:pt idx="3814">
                  <c:v>4054.6</c:v>
                </c:pt>
                <c:pt idx="3815">
                  <c:v>4041.54</c:v>
                </c:pt>
                <c:pt idx="3816">
                  <c:v>4053.62</c:v>
                </c:pt>
                <c:pt idx="3817">
                  <c:v>3991.21</c:v>
                </c:pt>
                <c:pt idx="3818">
                  <c:v>4018.9</c:v>
                </c:pt>
                <c:pt idx="3819">
                  <c:v>4030.85</c:v>
                </c:pt>
                <c:pt idx="3820">
                  <c:v>4087.4</c:v>
                </c:pt>
                <c:pt idx="3821">
                  <c:v>4111.3900000000003</c:v>
                </c:pt>
                <c:pt idx="3822">
                  <c:v>4128.8100000000004</c:v>
                </c:pt>
                <c:pt idx="3823">
                  <c:v>4138.75</c:v>
                </c:pt>
                <c:pt idx="3824">
                  <c:v>4160.16</c:v>
                </c:pt>
                <c:pt idx="3825">
                  <c:v>4189.3</c:v>
                </c:pt>
                <c:pt idx="3826">
                  <c:v>4207.8100000000004</c:v>
                </c:pt>
                <c:pt idx="3827">
                  <c:v>4205.59</c:v>
                </c:pt>
                <c:pt idx="3828">
                  <c:v>4225</c:v>
                </c:pt>
                <c:pt idx="3829">
                  <c:v>4225.24</c:v>
                </c:pt>
                <c:pt idx="3830">
                  <c:v>4258.47</c:v>
                </c:pt>
                <c:pt idx="3831">
                  <c:v>4248.12</c:v>
                </c:pt>
                <c:pt idx="3832">
                  <c:v>4271.42</c:v>
                </c:pt>
                <c:pt idx="3833">
                  <c:v>4285.3999999999996</c:v>
                </c:pt>
                <c:pt idx="3834">
                  <c:v>4336.6000000000004</c:v>
                </c:pt>
                <c:pt idx="3835">
                  <c:v>4382.6099999999997</c:v>
                </c:pt>
                <c:pt idx="3836">
                  <c:v>4389.8900000000003</c:v>
                </c:pt>
                <c:pt idx="3837">
                  <c:v>4365.08</c:v>
                </c:pt>
                <c:pt idx="3838">
                  <c:v>4381.3</c:v>
                </c:pt>
                <c:pt idx="3839">
                  <c:v>4302.0200000000004</c:v>
                </c:pt>
                <c:pt idx="3840">
                  <c:v>4256.1000000000004</c:v>
                </c:pt>
                <c:pt idx="3841">
                  <c:v>4275.8999999999996</c:v>
                </c:pt>
                <c:pt idx="3842">
                  <c:v>4245.8999999999996</c:v>
                </c:pt>
                <c:pt idx="3843">
                  <c:v>4271.2299999999996</c:v>
                </c:pt>
                <c:pt idx="3844">
                  <c:v>4274.1499999999996</c:v>
                </c:pt>
                <c:pt idx="3845">
                  <c:v>4148.8900000000003</c:v>
                </c:pt>
                <c:pt idx="3846">
                  <c:v>4050.5</c:v>
                </c:pt>
                <c:pt idx="3847">
                  <c:v>4012.05</c:v>
                </c:pt>
                <c:pt idx="3848">
                  <c:v>3840.65</c:v>
                </c:pt>
                <c:pt idx="3849">
                  <c:v>3890.1</c:v>
                </c:pt>
                <c:pt idx="3850">
                  <c:v>3935.63</c:v>
                </c:pt>
                <c:pt idx="3851">
                  <c:v>3966.96</c:v>
                </c:pt>
                <c:pt idx="3852">
                  <c:v>4052.73</c:v>
                </c:pt>
                <c:pt idx="3853">
                  <c:v>4071.09</c:v>
                </c:pt>
                <c:pt idx="3854">
                  <c:v>4118.42</c:v>
                </c:pt>
                <c:pt idx="3855">
                  <c:v>4058.98</c:v>
                </c:pt>
                <c:pt idx="3856">
                  <c:v>4023.64</c:v>
                </c:pt>
                <c:pt idx="3857">
                  <c:v>4049.09</c:v>
                </c:pt>
                <c:pt idx="3858">
                  <c:v>4016.46</c:v>
                </c:pt>
                <c:pt idx="3859">
                  <c:v>4018.1</c:v>
                </c:pt>
                <c:pt idx="3860">
                  <c:v>4066.56</c:v>
                </c:pt>
                <c:pt idx="3861">
                  <c:v>4036.65</c:v>
                </c:pt>
                <c:pt idx="3862">
                  <c:v>4077.6</c:v>
                </c:pt>
                <c:pt idx="3863">
                  <c:v>4108.87</c:v>
                </c:pt>
                <c:pt idx="3864">
                  <c:v>4127.67</c:v>
                </c:pt>
                <c:pt idx="3865">
                  <c:v>4091.25</c:v>
                </c:pt>
                <c:pt idx="3866">
                  <c:v>4073.34</c:v>
                </c:pt>
                <c:pt idx="3867">
                  <c:v>4096.16</c:v>
                </c:pt>
                <c:pt idx="3868">
                  <c:v>4056.42</c:v>
                </c:pt>
                <c:pt idx="3869">
                  <c:v>4074.25</c:v>
                </c:pt>
                <c:pt idx="3870">
                  <c:v>4077.7</c:v>
                </c:pt>
                <c:pt idx="3871">
                  <c:v>4061.05</c:v>
                </c:pt>
                <c:pt idx="3872">
                  <c:v>4020.35</c:v>
                </c:pt>
                <c:pt idx="3873">
                  <c:v>3904.94</c:v>
                </c:pt>
                <c:pt idx="3874">
                  <c:v>3879.89</c:v>
                </c:pt>
                <c:pt idx="3875">
                  <c:v>3913.27</c:v>
                </c:pt>
                <c:pt idx="3876">
                  <c:v>3842.72</c:v>
                </c:pt>
                <c:pt idx="3877">
                  <c:v>3894.05</c:v>
                </c:pt>
                <c:pt idx="3878">
                  <c:v>3898.5</c:v>
                </c:pt>
                <c:pt idx="3879">
                  <c:v>3886.92</c:v>
                </c:pt>
                <c:pt idx="3880">
                  <c:v>3862.48</c:v>
                </c:pt>
                <c:pt idx="3881">
                  <c:v>3854.86</c:v>
                </c:pt>
                <c:pt idx="3882">
                  <c:v>3852.93</c:v>
                </c:pt>
                <c:pt idx="3883">
                  <c:v>3927.17</c:v>
                </c:pt>
                <c:pt idx="3884">
                  <c:v>3938.34</c:v>
                </c:pt>
                <c:pt idx="3885">
                  <c:v>3898.64</c:v>
                </c:pt>
                <c:pt idx="3886">
                  <c:v>3871.14</c:v>
                </c:pt>
                <c:pt idx="3887">
                  <c:v>3808.86</c:v>
                </c:pt>
                <c:pt idx="3888">
                  <c:v>3748.64</c:v>
                </c:pt>
                <c:pt idx="3889">
                  <c:v>3766.28</c:v>
                </c:pt>
                <c:pt idx="3890">
                  <c:v>3811.84</c:v>
                </c:pt>
                <c:pt idx="3891">
                  <c:v>3760.85</c:v>
                </c:pt>
                <c:pt idx="3892">
                  <c:v>3766.33</c:v>
                </c:pt>
                <c:pt idx="3893">
                  <c:v>3843.49</c:v>
                </c:pt>
                <c:pt idx="3894">
                  <c:v>3828.7</c:v>
                </c:pt>
                <c:pt idx="3895">
                  <c:v>3755.49</c:v>
                </c:pt>
                <c:pt idx="3896">
                  <c:v>3756.88</c:v>
                </c:pt>
                <c:pt idx="3897">
                  <c:v>3763.65</c:v>
                </c:pt>
                <c:pt idx="3898">
                  <c:v>3793</c:v>
                </c:pt>
                <c:pt idx="3899">
                  <c:v>3774.6</c:v>
                </c:pt>
                <c:pt idx="3900">
                  <c:v>3834.19</c:v>
                </c:pt>
                <c:pt idx="3901">
                  <c:v>3878.68</c:v>
                </c:pt>
                <c:pt idx="3902">
                  <c:v>3871.62</c:v>
                </c:pt>
                <c:pt idx="3903">
                  <c:v>3893.06</c:v>
                </c:pt>
                <c:pt idx="3904">
                  <c:v>3872.84</c:v>
                </c:pt>
                <c:pt idx="3905">
                  <c:v>3909.29</c:v>
                </c:pt>
                <c:pt idx="3906">
                  <c:v>3924.1</c:v>
                </c:pt>
                <c:pt idx="3907">
                  <c:v>3892.84</c:v>
                </c:pt>
                <c:pt idx="3908">
                  <c:v>3864.05</c:v>
                </c:pt>
                <c:pt idx="3909">
                  <c:v>3903.06</c:v>
                </c:pt>
                <c:pt idx="3910">
                  <c:v>3921.24</c:v>
                </c:pt>
                <c:pt idx="3911">
                  <c:v>3906.21</c:v>
                </c:pt>
                <c:pt idx="3912">
                  <c:v>3854.58</c:v>
                </c:pt>
                <c:pt idx="3913">
                  <c:v>3827.22</c:v>
                </c:pt>
                <c:pt idx="3914">
                  <c:v>3816.5</c:v>
                </c:pt>
                <c:pt idx="3915">
                  <c:v>3833.26</c:v>
                </c:pt>
                <c:pt idx="3916">
                  <c:v>3804.01</c:v>
                </c:pt>
                <c:pt idx="3917">
                  <c:v>3723.37</c:v>
                </c:pt>
                <c:pt idx="3918">
                  <c:v>3802.38</c:v>
                </c:pt>
                <c:pt idx="3919">
                  <c:v>3770.59</c:v>
                </c:pt>
                <c:pt idx="3920">
                  <c:v>3807.58</c:v>
                </c:pt>
                <c:pt idx="3921">
                  <c:v>3845.32</c:v>
                </c:pt>
                <c:pt idx="3922">
                  <c:v>3837.35</c:v>
                </c:pt>
                <c:pt idx="3923">
                  <c:v>3831.01</c:v>
                </c:pt>
                <c:pt idx="3924">
                  <c:v>3779.62</c:v>
                </c:pt>
                <c:pt idx="3925">
                  <c:v>3779.98</c:v>
                </c:pt>
                <c:pt idx="3926">
                  <c:v>3825.95</c:v>
                </c:pt>
                <c:pt idx="3927">
                  <c:v>3788.34</c:v>
                </c:pt>
                <c:pt idx="3928">
                  <c:v>3773.37</c:v>
                </c:pt>
                <c:pt idx="3929">
                  <c:v>3753.43</c:v>
                </c:pt>
                <c:pt idx="3930">
                  <c:v>3621.12</c:v>
                </c:pt>
                <c:pt idx="3931">
                  <c:v>3635.44</c:v>
                </c:pt>
                <c:pt idx="3932">
                  <c:v>3592.97</c:v>
                </c:pt>
                <c:pt idx="3933">
                  <c:v>3608.9</c:v>
                </c:pt>
                <c:pt idx="3934">
                  <c:v>3560.48</c:v>
                </c:pt>
                <c:pt idx="3935">
                  <c:v>3531.11</c:v>
                </c:pt>
                <c:pt idx="3936">
                  <c:v>3459.26</c:v>
                </c:pt>
                <c:pt idx="3937">
                  <c:v>3423.53</c:v>
                </c:pt>
                <c:pt idx="3938">
                  <c:v>3510.98</c:v>
                </c:pt>
                <c:pt idx="3939">
                  <c:v>3407.96</c:v>
                </c:pt>
                <c:pt idx="3940">
                  <c:v>3409.28</c:v>
                </c:pt>
                <c:pt idx="3941">
                  <c:v>3363.75</c:v>
                </c:pt>
                <c:pt idx="3942">
                  <c:v>3342.44</c:v>
                </c:pt>
                <c:pt idx="3943">
                  <c:v>3365.12</c:v>
                </c:pt>
                <c:pt idx="3944">
                  <c:v>3459.18</c:v>
                </c:pt>
                <c:pt idx="3945">
                  <c:v>3467.52</c:v>
                </c:pt>
                <c:pt idx="3946">
                  <c:v>3407.53</c:v>
                </c:pt>
                <c:pt idx="3947">
                  <c:v>3481.06</c:v>
                </c:pt>
                <c:pt idx="3948">
                  <c:v>3492.69</c:v>
                </c:pt>
                <c:pt idx="3949">
                  <c:v>3472.09</c:v>
                </c:pt>
                <c:pt idx="3950">
                  <c:v>3449.38</c:v>
                </c:pt>
                <c:pt idx="3951">
                  <c:v>3431.32</c:v>
                </c:pt>
                <c:pt idx="3952">
                  <c:v>3428.34</c:v>
                </c:pt>
                <c:pt idx="3953">
                  <c:v>3492.89</c:v>
                </c:pt>
                <c:pt idx="3954">
                  <c:v>3525.75</c:v>
                </c:pt>
                <c:pt idx="3955">
                  <c:v>3581.71</c:v>
                </c:pt>
                <c:pt idx="3956">
                  <c:v>3577.75</c:v>
                </c:pt>
                <c:pt idx="3957">
                  <c:v>3536.25</c:v>
                </c:pt>
                <c:pt idx="3958">
                  <c:v>3521.23</c:v>
                </c:pt>
                <c:pt idx="3959">
                  <c:v>3515.08</c:v>
                </c:pt>
                <c:pt idx="3960">
                  <c:v>3517.66</c:v>
                </c:pt>
                <c:pt idx="3961">
                  <c:v>3447.39</c:v>
                </c:pt>
                <c:pt idx="3962">
                  <c:v>3370.96</c:v>
                </c:pt>
                <c:pt idx="3963">
                  <c:v>3315.28</c:v>
                </c:pt>
                <c:pt idx="3964">
                  <c:v>3273.27</c:v>
                </c:pt>
                <c:pt idx="3965">
                  <c:v>3368.87</c:v>
                </c:pt>
                <c:pt idx="3966">
                  <c:v>3314.51</c:v>
                </c:pt>
                <c:pt idx="3967">
                  <c:v>3397.53</c:v>
                </c:pt>
                <c:pt idx="3968">
                  <c:v>3405.02</c:v>
                </c:pt>
                <c:pt idx="3969">
                  <c:v>3390.34</c:v>
                </c:pt>
                <c:pt idx="3970">
                  <c:v>3372.91</c:v>
                </c:pt>
                <c:pt idx="3971">
                  <c:v>3291.98</c:v>
                </c:pt>
                <c:pt idx="3972">
                  <c:v>3276.73</c:v>
                </c:pt>
                <c:pt idx="3973">
                  <c:v>3229.62</c:v>
                </c:pt>
                <c:pt idx="3974">
                  <c:v>3267.25</c:v>
                </c:pt>
                <c:pt idx="3975">
                  <c:v>3326.65</c:v>
                </c:pt>
                <c:pt idx="3976">
                  <c:v>3307.95</c:v>
                </c:pt>
                <c:pt idx="3977">
                  <c:v>3320.03</c:v>
                </c:pt>
                <c:pt idx="3978">
                  <c:v>3325.33</c:v>
                </c:pt>
                <c:pt idx="3979">
                  <c:v>3406.57</c:v>
                </c:pt>
                <c:pt idx="3980">
                  <c:v>3400.17</c:v>
                </c:pt>
                <c:pt idx="3981">
                  <c:v>3386.57</c:v>
                </c:pt>
                <c:pt idx="3982">
                  <c:v>3351.09</c:v>
                </c:pt>
                <c:pt idx="3983">
                  <c:v>3334.5</c:v>
                </c:pt>
                <c:pt idx="3984">
                  <c:v>3321.82</c:v>
                </c:pt>
                <c:pt idx="3985">
                  <c:v>3363.9</c:v>
                </c:pt>
                <c:pt idx="3986">
                  <c:v>3298.14</c:v>
                </c:pt>
                <c:pt idx="3987">
                  <c:v>3262.88</c:v>
                </c:pt>
                <c:pt idx="3988">
                  <c:v>3277.64</c:v>
                </c:pt>
                <c:pt idx="3989">
                  <c:v>3230.07</c:v>
                </c:pt>
                <c:pt idx="3990">
                  <c:v>3224.21</c:v>
                </c:pt>
                <c:pt idx="3991">
                  <c:v>3202.02</c:v>
                </c:pt>
                <c:pt idx="3992">
                  <c:v>3236.57</c:v>
                </c:pt>
                <c:pt idx="3993">
                  <c:v>3242.09</c:v>
                </c:pt>
                <c:pt idx="3994">
                  <c:v>3204.92</c:v>
                </c:pt>
                <c:pt idx="3995">
                  <c:v>3269.43</c:v>
                </c:pt>
                <c:pt idx="3996">
                  <c:v>3312.48</c:v>
                </c:pt>
                <c:pt idx="3997">
                  <c:v>3310.13</c:v>
                </c:pt>
                <c:pt idx="3998">
                  <c:v>3410.49</c:v>
                </c:pt>
                <c:pt idx="3999">
                  <c:v>3379.8</c:v>
                </c:pt>
                <c:pt idx="4000">
                  <c:v>3417.24</c:v>
                </c:pt>
                <c:pt idx="4001">
                  <c:v>3403.59</c:v>
                </c:pt>
                <c:pt idx="4002">
                  <c:v>3438.86</c:v>
                </c:pt>
                <c:pt idx="4003">
                  <c:v>3290.9</c:v>
                </c:pt>
                <c:pt idx="4004">
                  <c:v>3288.69</c:v>
                </c:pt>
                <c:pt idx="4005">
                  <c:v>3281.6</c:v>
                </c:pt>
                <c:pt idx="4006">
                  <c:v>3124.11</c:v>
                </c:pt>
                <c:pt idx="4007">
                  <c:v>3170.73</c:v>
                </c:pt>
                <c:pt idx="4008">
                  <c:v>3126.45</c:v>
                </c:pt>
                <c:pt idx="4009">
                  <c:v>3100.97</c:v>
                </c:pt>
                <c:pt idx="4010">
                  <c:v>3118.25</c:v>
                </c:pt>
                <c:pt idx="4011">
                  <c:v>3044.39</c:v>
                </c:pt>
                <c:pt idx="4012">
                  <c:v>3134.95</c:v>
                </c:pt>
                <c:pt idx="4013">
                  <c:v>3270.27</c:v>
                </c:pt>
                <c:pt idx="4014">
                  <c:v>3183.43</c:v>
                </c:pt>
                <c:pt idx="4015">
                  <c:v>3188.2</c:v>
                </c:pt>
                <c:pt idx="4016">
                  <c:v>3194.31</c:v>
                </c:pt>
                <c:pt idx="4017">
                  <c:v>3173.64</c:v>
                </c:pt>
                <c:pt idx="4018">
                  <c:v>3076.89</c:v>
                </c:pt>
                <c:pt idx="4019">
                  <c:v>3110.26</c:v>
                </c:pt>
                <c:pt idx="4020">
                  <c:v>3153.82</c:v>
                </c:pt>
                <c:pt idx="4021">
                  <c:v>3177.03</c:v>
                </c:pt>
                <c:pt idx="4022">
                  <c:v>3290.25</c:v>
                </c:pt>
                <c:pt idx="4023">
                  <c:v>3262.84</c:v>
                </c:pt>
                <c:pt idx="4024">
                  <c:v>3243.15</c:v>
                </c:pt>
                <c:pt idx="4025">
                  <c:v>3221.91</c:v>
                </c:pt>
                <c:pt idx="4026">
                  <c:v>3212.77</c:v>
                </c:pt>
                <c:pt idx="4027">
                  <c:v>3167.44</c:v>
                </c:pt>
                <c:pt idx="4028">
                  <c:v>3205.14</c:v>
                </c:pt>
                <c:pt idx="4029">
                  <c:v>3237.38</c:v>
                </c:pt>
                <c:pt idx="4030">
                  <c:v>3204.94</c:v>
                </c:pt>
                <c:pt idx="4031">
                  <c:v>3242.37</c:v>
                </c:pt>
                <c:pt idx="4032">
                  <c:v>3257.67</c:v>
                </c:pt>
                <c:pt idx="4033">
                  <c:v>3294.6</c:v>
                </c:pt>
                <c:pt idx="4034">
                  <c:v>3218.41</c:v>
                </c:pt>
                <c:pt idx="4035">
                  <c:v>3226.49</c:v>
                </c:pt>
                <c:pt idx="4036">
                  <c:v>3214.43</c:v>
                </c:pt>
                <c:pt idx="4037">
                  <c:v>3143.48</c:v>
                </c:pt>
                <c:pt idx="4038">
                  <c:v>3141.24</c:v>
                </c:pt>
                <c:pt idx="4039">
                  <c:v>3137.24</c:v>
                </c:pt>
                <c:pt idx="4040">
                  <c:v>3178.93</c:v>
                </c:pt>
                <c:pt idx="4041">
                  <c:v>3137.65</c:v>
                </c:pt>
                <c:pt idx="4042">
                  <c:v>3172.69</c:v>
                </c:pt>
                <c:pt idx="4043">
                  <c:v>3260.95</c:v>
                </c:pt>
                <c:pt idx="4044">
                  <c:v>3267.71</c:v>
                </c:pt>
                <c:pt idx="4045">
                  <c:v>3252</c:v>
                </c:pt>
                <c:pt idx="4046">
                  <c:v>3181.67</c:v>
                </c:pt>
                <c:pt idx="4047">
                  <c:v>3181.56</c:v>
                </c:pt>
                <c:pt idx="4048">
                  <c:v>3144.76</c:v>
                </c:pt>
                <c:pt idx="4049">
                  <c:v>3159.82</c:v>
                </c:pt>
                <c:pt idx="4050">
                  <c:v>3170.61</c:v>
                </c:pt>
                <c:pt idx="4051">
                  <c:v>3219.69</c:v>
                </c:pt>
                <c:pt idx="4052">
                  <c:v>3165.91</c:v>
                </c:pt>
                <c:pt idx="4053">
                  <c:v>3161.2</c:v>
                </c:pt>
                <c:pt idx="4054">
                  <c:v>3128.43</c:v>
                </c:pt>
                <c:pt idx="4055">
                  <c:v>3091.13</c:v>
                </c:pt>
                <c:pt idx="4056">
                  <c:v>3067.42</c:v>
                </c:pt>
                <c:pt idx="4057">
                  <c:v>3029.4</c:v>
                </c:pt>
                <c:pt idx="4058">
                  <c:v>3038.2</c:v>
                </c:pt>
                <c:pt idx="4059">
                  <c:v>3017.28</c:v>
                </c:pt>
                <c:pt idx="4060">
                  <c:v>3002.03</c:v>
                </c:pt>
                <c:pt idx="4061">
                  <c:v>2990.51</c:v>
                </c:pt>
                <c:pt idx="4062">
                  <c:v>3010.65</c:v>
                </c:pt>
                <c:pt idx="4063">
                  <c:v>2969.54</c:v>
                </c:pt>
                <c:pt idx="4064">
                  <c:v>2964.84</c:v>
                </c:pt>
                <c:pt idx="4065">
                  <c:v>3035.87</c:v>
                </c:pt>
                <c:pt idx="4066">
                  <c:v>3054.3</c:v>
                </c:pt>
                <c:pt idx="4067">
                  <c:v>3047.7</c:v>
                </c:pt>
                <c:pt idx="4068">
                  <c:v>3078.48</c:v>
                </c:pt>
                <c:pt idx="4069">
                  <c:v>3072.69</c:v>
                </c:pt>
                <c:pt idx="4070">
                  <c:v>3094.78</c:v>
                </c:pt>
                <c:pt idx="4071">
                  <c:v>3067.78</c:v>
                </c:pt>
                <c:pt idx="4072">
                  <c:v>3127.99</c:v>
                </c:pt>
                <c:pt idx="4073">
                  <c:v>3128.65</c:v>
                </c:pt>
                <c:pt idx="4074">
                  <c:v>3111.42</c:v>
                </c:pt>
                <c:pt idx="4075">
                  <c:v>3168.17</c:v>
                </c:pt>
                <c:pt idx="4076">
                  <c:v>3185.64</c:v>
                </c:pt>
                <c:pt idx="4077">
                  <c:v>3143.32</c:v>
                </c:pt>
                <c:pt idx="4078">
                  <c:v>3141.05</c:v>
                </c:pt>
                <c:pt idx="4079">
                  <c:v>3158.78</c:v>
                </c:pt>
                <c:pt idx="4080">
                  <c:v>3184.47</c:v>
                </c:pt>
                <c:pt idx="4081">
                  <c:v>3183.78</c:v>
                </c:pt>
                <c:pt idx="4082">
                  <c:v>3193.97</c:v>
                </c:pt>
                <c:pt idx="4083">
                  <c:v>3168.48</c:v>
                </c:pt>
                <c:pt idx="4084">
                  <c:v>3201.63</c:v>
                </c:pt>
                <c:pt idx="4085">
                  <c:v>3247.4</c:v>
                </c:pt>
                <c:pt idx="4086">
                  <c:v>3306.47</c:v>
                </c:pt>
                <c:pt idx="4087">
                  <c:v>3330.34</c:v>
                </c:pt>
                <c:pt idx="4088">
                  <c:v>3397.03</c:v>
                </c:pt>
                <c:pt idx="4089">
                  <c:v>3402.14</c:v>
                </c:pt>
                <c:pt idx="4090">
                  <c:v>3338.7</c:v>
                </c:pt>
                <c:pt idx="4091">
                  <c:v>3445.74</c:v>
                </c:pt>
                <c:pt idx="4092">
                  <c:v>3439.61</c:v>
                </c:pt>
                <c:pt idx="4093">
                  <c:v>3451.93</c:v>
                </c:pt>
                <c:pt idx="4094">
                  <c:v>3442.71</c:v>
                </c:pt>
                <c:pt idx="4095">
                  <c:v>3520.12</c:v>
                </c:pt>
                <c:pt idx="4096">
                  <c:v>3729.48</c:v>
                </c:pt>
                <c:pt idx="4097">
                  <c:v>3684.69</c:v>
                </c:pt>
                <c:pt idx="4098">
                  <c:v>3678.39</c:v>
                </c:pt>
                <c:pt idx="4099">
                  <c:v>3669.37</c:v>
                </c:pt>
                <c:pt idx="4100">
                  <c:v>3749.71</c:v>
                </c:pt>
                <c:pt idx="4101">
                  <c:v>3794.1</c:v>
                </c:pt>
                <c:pt idx="4102">
                  <c:v>3816.01</c:v>
                </c:pt>
                <c:pt idx="4103">
                  <c:v>3848.09</c:v>
                </c:pt>
                <c:pt idx="4104">
                  <c:v>3808.85</c:v>
                </c:pt>
                <c:pt idx="4105">
                  <c:v>3657.58</c:v>
                </c:pt>
                <c:pt idx="4106">
                  <c:v>3729.95</c:v>
                </c:pt>
                <c:pt idx="4107">
                  <c:v>3755.35</c:v>
                </c:pt>
                <c:pt idx="4108">
                  <c:v>3724.19</c:v>
                </c:pt>
                <c:pt idx="4109">
                  <c:v>3698.49</c:v>
                </c:pt>
                <c:pt idx="4110">
                  <c:v>3745.01</c:v>
                </c:pt>
                <c:pt idx="4111">
                  <c:v>3851.75</c:v>
                </c:pt>
                <c:pt idx="4112">
                  <c:v>3833.96</c:v>
                </c:pt>
                <c:pt idx="4113">
                  <c:v>3835.44</c:v>
                </c:pt>
                <c:pt idx="4114">
                  <c:v>3836.89</c:v>
                </c:pt>
                <c:pt idx="4115">
                  <c:v>3833.8</c:v>
                </c:pt>
                <c:pt idx="4116">
                  <c:v>3742.83</c:v>
                </c:pt>
                <c:pt idx="4117">
                  <c:v>3700.44</c:v>
                </c:pt>
                <c:pt idx="4118">
                  <c:v>3743.39</c:v>
                </c:pt>
                <c:pt idx="4119">
                  <c:v>3728.4</c:v>
                </c:pt>
                <c:pt idx="4120">
                  <c:v>3872.34</c:v>
                </c:pt>
                <c:pt idx="4121">
                  <c:v>3973.93</c:v>
                </c:pt>
                <c:pt idx="4122">
                  <c:v>3971.29</c:v>
                </c:pt>
                <c:pt idx="4123">
                  <c:v>4022.16</c:v>
                </c:pt>
                <c:pt idx="4124">
                  <c:v>4062.23</c:v>
                </c:pt>
                <c:pt idx="4125">
                  <c:v>4057.23</c:v>
                </c:pt>
                <c:pt idx="4126">
                  <c:v>4075.43</c:v>
                </c:pt>
                <c:pt idx="4127">
                  <c:v>4085.85</c:v>
                </c:pt>
                <c:pt idx="4128">
                  <c:v>3997.58</c:v>
                </c:pt>
                <c:pt idx="4129">
                  <c:v>3988.62</c:v>
                </c:pt>
                <c:pt idx="4130">
                  <c:v>3975.52</c:v>
                </c:pt>
                <c:pt idx="4131">
                  <c:v>4085.79</c:v>
                </c:pt>
                <c:pt idx="4132">
                  <c:v>4087.24</c:v>
                </c:pt>
                <c:pt idx="4133">
                  <c:v>4072.08</c:v>
                </c:pt>
                <c:pt idx="4134">
                  <c:v>4120.6099999999997</c:v>
                </c:pt>
                <c:pt idx="4135">
                  <c:v>4025.61</c:v>
                </c:pt>
                <c:pt idx="4136">
                  <c:v>4019.01</c:v>
                </c:pt>
                <c:pt idx="4137">
                  <c:v>4030.09</c:v>
                </c:pt>
                <c:pt idx="4138">
                  <c:v>3941.82</c:v>
                </c:pt>
                <c:pt idx="4139">
                  <c:v>3889.27</c:v>
                </c:pt>
                <c:pt idx="4140">
                  <c:v>3900.33</c:v>
                </c:pt>
                <c:pt idx="4141">
                  <c:v>3913.21</c:v>
                </c:pt>
                <c:pt idx="4142">
                  <c:v>3684.62</c:v>
                </c:pt>
                <c:pt idx="4143">
                  <c:v>3720.67</c:v>
                </c:pt>
                <c:pt idx="4144">
                  <c:v>3667.46</c:v>
                </c:pt>
                <c:pt idx="4145">
                  <c:v>3599.7</c:v>
                </c:pt>
                <c:pt idx="4146">
                  <c:v>3730.45</c:v>
                </c:pt>
                <c:pt idx="4147">
                  <c:v>3668.73</c:v>
                </c:pt>
                <c:pt idx="4148">
                  <c:v>3645.15</c:v>
                </c:pt>
                <c:pt idx="4149">
                  <c:v>3727.09</c:v>
                </c:pt>
                <c:pt idx="4150">
                  <c:v>3743.96</c:v>
                </c:pt>
                <c:pt idx="4151">
                  <c:v>3648.76</c:v>
                </c:pt>
                <c:pt idx="4152">
                  <c:v>3617.79</c:v>
                </c:pt>
                <c:pt idx="4153">
                  <c:v>3666.78</c:v>
                </c:pt>
                <c:pt idx="4154">
                  <c:v>3649.38</c:v>
                </c:pt>
                <c:pt idx="4155">
                  <c:v>3583.96</c:v>
                </c:pt>
                <c:pt idx="4156">
                  <c:v>3593.91</c:v>
                </c:pt>
                <c:pt idx="4157">
                  <c:v>3637.2</c:v>
                </c:pt>
                <c:pt idx="4158">
                  <c:v>3672.26</c:v>
                </c:pt>
                <c:pt idx="4159">
                  <c:v>3663.91</c:v>
                </c:pt>
                <c:pt idx="4160">
                  <c:v>3641.18</c:v>
                </c:pt>
                <c:pt idx="4161">
                  <c:v>3629.79</c:v>
                </c:pt>
                <c:pt idx="4162">
                  <c:v>3632.01</c:v>
                </c:pt>
                <c:pt idx="4163">
                  <c:v>3598.47</c:v>
                </c:pt>
                <c:pt idx="4164">
                  <c:v>3597.11</c:v>
                </c:pt>
                <c:pt idx="4165">
                  <c:v>3564.68</c:v>
                </c:pt>
                <c:pt idx="4166">
                  <c:v>3610.74</c:v>
                </c:pt>
                <c:pt idx="4167">
                  <c:v>3719.28</c:v>
                </c:pt>
                <c:pt idx="4168">
                  <c:v>3691.1</c:v>
                </c:pt>
                <c:pt idx="4169">
                  <c:v>3685.39</c:v>
                </c:pt>
                <c:pt idx="4170">
                  <c:v>3654.88</c:v>
                </c:pt>
                <c:pt idx="4171">
                  <c:v>3654.82</c:v>
                </c:pt>
                <c:pt idx="4172">
                  <c:v>3667.62</c:v>
                </c:pt>
                <c:pt idx="4173">
                  <c:v>3715.94</c:v>
                </c:pt>
                <c:pt idx="4174">
                  <c:v>3828.52</c:v>
                </c:pt>
                <c:pt idx="4175">
                  <c:v>3833.94</c:v>
                </c:pt>
                <c:pt idx="4176">
                  <c:v>3841.27</c:v>
                </c:pt>
                <c:pt idx="4177">
                  <c:v>3801.31</c:v>
                </c:pt>
                <c:pt idx="4178">
                  <c:v>3794.33</c:v>
                </c:pt>
                <c:pt idx="4179">
                  <c:v>3834.82</c:v>
                </c:pt>
                <c:pt idx="4180">
                  <c:v>3825.59</c:v>
                </c:pt>
                <c:pt idx="4181">
                  <c:v>3935.81</c:v>
                </c:pt>
                <c:pt idx="4182">
                  <c:v>3937.17</c:v>
                </c:pt>
                <c:pt idx="4183">
                  <c:v>3893.53</c:v>
                </c:pt>
                <c:pt idx="4184">
                  <c:v>3873.1</c:v>
                </c:pt>
                <c:pt idx="4185">
                  <c:v>3893.2</c:v>
                </c:pt>
                <c:pt idx="4186">
                  <c:v>3802.79</c:v>
                </c:pt>
                <c:pt idx="4187">
                  <c:v>3793.13</c:v>
                </c:pt>
                <c:pt idx="4188">
                  <c:v>3786.74</c:v>
                </c:pt>
                <c:pt idx="4189">
                  <c:v>3785.22</c:v>
                </c:pt>
                <c:pt idx="4190">
                  <c:v>3808.73</c:v>
                </c:pt>
                <c:pt idx="4191">
                  <c:v>3824.19</c:v>
                </c:pt>
                <c:pt idx="4192">
                  <c:v>3806.84</c:v>
                </c:pt>
                <c:pt idx="4193">
                  <c:v>3804.64</c:v>
                </c:pt>
                <c:pt idx="4194">
                  <c:v>3768.4</c:v>
                </c:pt>
                <c:pt idx="4195">
                  <c:v>3807.96</c:v>
                </c:pt>
                <c:pt idx="4196">
                  <c:v>3781.68</c:v>
                </c:pt>
                <c:pt idx="4197">
                  <c:v>3789.91</c:v>
                </c:pt>
                <c:pt idx="4198">
                  <c:v>3819.83</c:v>
                </c:pt>
                <c:pt idx="4199">
                  <c:v>3851.07</c:v>
                </c:pt>
                <c:pt idx="4200">
                  <c:v>3858.57</c:v>
                </c:pt>
                <c:pt idx="4201">
                  <c:v>3854.27</c:v>
                </c:pt>
                <c:pt idx="4202">
                  <c:v>3870.32</c:v>
                </c:pt>
                <c:pt idx="4203">
                  <c:v>3835.36</c:v>
                </c:pt>
                <c:pt idx="4204">
                  <c:v>3803.47</c:v>
                </c:pt>
                <c:pt idx="4205">
                  <c:v>3747.44</c:v>
                </c:pt>
                <c:pt idx="4206">
                  <c:v>3675.69</c:v>
                </c:pt>
                <c:pt idx="4207">
                  <c:v>3636.33</c:v>
                </c:pt>
                <c:pt idx="4208">
                  <c:v>3621.43</c:v>
                </c:pt>
                <c:pt idx="4209">
                  <c:v>3669.29</c:v>
                </c:pt>
                <c:pt idx="4210">
                  <c:v>3633.53</c:v>
                </c:pt>
                <c:pt idx="4211">
                  <c:v>3699.1</c:v>
                </c:pt>
                <c:pt idx="4212">
                  <c:v>3665.75</c:v>
                </c:pt>
                <c:pt idx="4213">
                  <c:v>3682.4</c:v>
                </c:pt>
                <c:pt idx="4214">
                  <c:v>3694</c:v>
                </c:pt>
                <c:pt idx="4215">
                  <c:v>3710.54</c:v>
                </c:pt>
                <c:pt idx="4216">
                  <c:v>3791.09</c:v>
                </c:pt>
                <c:pt idx="4217">
                  <c:v>3787.73</c:v>
                </c:pt>
                <c:pt idx="4218">
                  <c:v>3781.76</c:v>
                </c:pt>
                <c:pt idx="4219">
                  <c:v>3793.51</c:v>
                </c:pt>
                <c:pt idx="4220">
                  <c:v>3820.86</c:v>
                </c:pt>
                <c:pt idx="4221">
                  <c:v>3765.91</c:v>
                </c:pt>
                <c:pt idx="4222">
                  <c:v>3816.95</c:v>
                </c:pt>
                <c:pt idx="4223">
                  <c:v>3802.58</c:v>
                </c:pt>
                <c:pt idx="4224">
                  <c:v>3790.19</c:v>
                </c:pt>
                <c:pt idx="4225">
                  <c:v>3799.59</c:v>
                </c:pt>
                <c:pt idx="4226">
                  <c:v>3848.32</c:v>
                </c:pt>
                <c:pt idx="4227">
                  <c:v>3853.61</c:v>
                </c:pt>
                <c:pt idx="4228">
                  <c:v>3886</c:v>
                </c:pt>
                <c:pt idx="4229">
                  <c:v>3925.32</c:v>
                </c:pt>
                <c:pt idx="4230">
                  <c:v>3948.51</c:v>
                </c:pt>
                <c:pt idx="4231">
                  <c:v>3972.95</c:v>
                </c:pt>
                <c:pt idx="4232">
                  <c:v>3959.27</c:v>
                </c:pt>
                <c:pt idx="4233">
                  <c:v>3930.1</c:v>
                </c:pt>
                <c:pt idx="4234">
                  <c:v>3972.38</c:v>
                </c:pt>
                <c:pt idx="4235">
                  <c:v>3957.72</c:v>
                </c:pt>
                <c:pt idx="4236">
                  <c:v>3891.22</c:v>
                </c:pt>
                <c:pt idx="4237">
                  <c:v>3910.08</c:v>
                </c:pt>
                <c:pt idx="4238">
                  <c:v>3924.38</c:v>
                </c:pt>
                <c:pt idx="4239">
                  <c:v>3935.65</c:v>
                </c:pt>
                <c:pt idx="4240">
                  <c:v>3890.66</c:v>
                </c:pt>
                <c:pt idx="4241">
                  <c:v>3901.08</c:v>
                </c:pt>
                <c:pt idx="4242">
                  <c:v>3870.98</c:v>
                </c:pt>
                <c:pt idx="4243">
                  <c:v>3841.14</c:v>
                </c:pt>
                <c:pt idx="4244">
                  <c:v>3852.65</c:v>
                </c:pt>
                <c:pt idx="4245">
                  <c:v>3814.53</c:v>
                </c:pt>
                <c:pt idx="4246">
                  <c:v>3837.68</c:v>
                </c:pt>
                <c:pt idx="4247">
                  <c:v>3843.24</c:v>
                </c:pt>
                <c:pt idx="4248">
                  <c:v>3874.64</c:v>
                </c:pt>
                <c:pt idx="4249">
                  <c:v>3911.73</c:v>
                </c:pt>
                <c:pt idx="4250">
                  <c:v>3953.24</c:v>
                </c:pt>
                <c:pt idx="4251">
                  <c:v>3936.25</c:v>
                </c:pt>
                <c:pt idx="4252">
                  <c:v>3922.69</c:v>
                </c:pt>
                <c:pt idx="4253">
                  <c:v>3925.22</c:v>
                </c:pt>
                <c:pt idx="4254">
                  <c:v>3869.38</c:v>
                </c:pt>
                <c:pt idx="4255">
                  <c:v>3880.84</c:v>
                </c:pt>
                <c:pt idx="4256">
                  <c:v>3895.88</c:v>
                </c:pt>
                <c:pt idx="4257">
                  <c:v>3871.08</c:v>
                </c:pt>
                <c:pt idx="4258">
                  <c:v>3870.67</c:v>
                </c:pt>
                <c:pt idx="4259">
                  <c:v>3896.79</c:v>
                </c:pt>
                <c:pt idx="4260">
                  <c:v>3926.59</c:v>
                </c:pt>
                <c:pt idx="4261">
                  <c:v>3910.23</c:v>
                </c:pt>
                <c:pt idx="4262">
                  <c:v>3891.23</c:v>
                </c:pt>
                <c:pt idx="4263">
                  <c:v>3886.75</c:v>
                </c:pt>
                <c:pt idx="4264">
                  <c:v>3952.39</c:v>
                </c:pt>
                <c:pt idx="4265">
                  <c:v>3978.12</c:v>
                </c:pt>
                <c:pt idx="4266">
                  <c:v>4002.81</c:v>
                </c:pt>
                <c:pt idx="4267">
                  <c:v>3984.88</c:v>
                </c:pt>
                <c:pt idx="4268">
                  <c:v>3991.87</c:v>
                </c:pt>
                <c:pt idx="4269">
                  <c:v>3973.01</c:v>
                </c:pt>
                <c:pt idx="4270">
                  <c:v>3902.98</c:v>
                </c:pt>
                <c:pt idx="4271">
                  <c:v>3903.69</c:v>
                </c:pt>
                <c:pt idx="4272">
                  <c:v>3899.98</c:v>
                </c:pt>
                <c:pt idx="4273">
                  <c:v>3905.86</c:v>
                </c:pt>
                <c:pt idx="4274">
                  <c:v>3877.09</c:v>
                </c:pt>
                <c:pt idx="4275">
                  <c:v>3907.93</c:v>
                </c:pt>
                <c:pt idx="4276">
                  <c:v>3947.04</c:v>
                </c:pt>
                <c:pt idx="4277">
                  <c:v>3907.86</c:v>
                </c:pt>
                <c:pt idx="4278">
                  <c:v>3889.6</c:v>
                </c:pt>
                <c:pt idx="4279">
                  <c:v>3849.99</c:v>
                </c:pt>
                <c:pt idx="4280">
                  <c:v>3878.21</c:v>
                </c:pt>
                <c:pt idx="4281">
                  <c:v>3891.65</c:v>
                </c:pt>
                <c:pt idx="4282">
                  <c:v>3875.62</c:v>
                </c:pt>
                <c:pt idx="4283">
                  <c:v>3862.3</c:v>
                </c:pt>
                <c:pt idx="4284">
                  <c:v>3828.67</c:v>
                </c:pt>
                <c:pt idx="4285">
                  <c:v>3836.06</c:v>
                </c:pt>
                <c:pt idx="4286">
                  <c:v>3851.09</c:v>
                </c:pt>
                <c:pt idx="4287">
                  <c:v>3849.82</c:v>
                </c:pt>
                <c:pt idx="4288">
                  <c:v>3879.36</c:v>
                </c:pt>
                <c:pt idx="4289">
                  <c:v>3902.39</c:v>
                </c:pt>
                <c:pt idx="4290">
                  <c:v>3895.45</c:v>
                </c:pt>
                <c:pt idx="4291">
                  <c:v>3900.38</c:v>
                </c:pt>
                <c:pt idx="4292">
                  <c:v>3902.75</c:v>
                </c:pt>
                <c:pt idx="4293">
                  <c:v>3891.02</c:v>
                </c:pt>
                <c:pt idx="4294">
                  <c:v>3968.22</c:v>
                </c:pt>
                <c:pt idx="4295">
                  <c:v>3987.55</c:v>
                </c:pt>
                <c:pt idx="4296">
                  <c:v>4041.8</c:v>
                </c:pt>
                <c:pt idx="4297">
                  <c:v>4032.78</c:v>
                </c:pt>
                <c:pt idx="4298">
                  <c:v>4027.15</c:v>
                </c:pt>
                <c:pt idx="4299">
                  <c:v>4017.25</c:v>
                </c:pt>
                <c:pt idx="4300">
                  <c:v>3967.1</c:v>
                </c:pt>
                <c:pt idx="4301">
                  <c:v>3992.96</c:v>
                </c:pt>
                <c:pt idx="4302">
                  <c:v>3990.87</c:v>
                </c:pt>
                <c:pt idx="4303">
                  <c:v>4025.99</c:v>
                </c:pt>
                <c:pt idx="4304">
                  <c:v>4022.03</c:v>
                </c:pt>
                <c:pt idx="4305">
                  <c:v>4081.63</c:v>
                </c:pt>
                <c:pt idx="4306">
                  <c:v>4096.58</c:v>
                </c:pt>
                <c:pt idx="4307">
                  <c:v>4152.24</c:v>
                </c:pt>
                <c:pt idx="4308">
                  <c:v>4144.96</c:v>
                </c:pt>
                <c:pt idx="4309">
                  <c:v>4129.3</c:v>
                </c:pt>
                <c:pt idx="4310">
                  <c:v>4160.2299999999996</c:v>
                </c:pt>
                <c:pt idx="4311">
                  <c:v>4112.32</c:v>
                </c:pt>
                <c:pt idx="4312">
                  <c:v>4164.37</c:v>
                </c:pt>
                <c:pt idx="4313">
                  <c:v>4163.18</c:v>
                </c:pt>
                <c:pt idx="4314">
                  <c:v>4203.99</c:v>
                </c:pt>
                <c:pt idx="4315">
                  <c:v>4189.8900000000003</c:v>
                </c:pt>
                <c:pt idx="4316">
                  <c:v>4166.7299999999996</c:v>
                </c:pt>
                <c:pt idx="4317">
                  <c:v>4149.04</c:v>
                </c:pt>
                <c:pt idx="4318">
                  <c:v>4154.8500000000004</c:v>
                </c:pt>
                <c:pt idx="4319">
                  <c:v>4185.83</c:v>
                </c:pt>
                <c:pt idx="4320">
                  <c:v>4114.3100000000004</c:v>
                </c:pt>
                <c:pt idx="4321">
                  <c:v>4131.93</c:v>
                </c:pt>
                <c:pt idx="4322">
                  <c:v>4003.9</c:v>
                </c:pt>
                <c:pt idx="4323">
                  <c:v>3688.36</c:v>
                </c:pt>
                <c:pt idx="4324">
                  <c:v>3785.64</c:v>
                </c:pt>
                <c:pt idx="4325">
                  <c:v>3828.53</c:v>
                </c:pt>
                <c:pt idx="4326">
                  <c:v>3899.78</c:v>
                </c:pt>
                <c:pt idx="4327">
                  <c:v>3899.87</c:v>
                </c:pt>
                <c:pt idx="4328">
                  <c:v>3916.01</c:v>
                </c:pt>
                <c:pt idx="4329">
                  <c:v>3952.46</c:v>
                </c:pt>
                <c:pt idx="4330">
                  <c:v>3984.43</c:v>
                </c:pt>
                <c:pt idx="4331">
                  <c:v>3959.92</c:v>
                </c:pt>
                <c:pt idx="4332">
                  <c:v>3987.73</c:v>
                </c:pt>
                <c:pt idx="4333">
                  <c:v>4077.42</c:v>
                </c:pt>
                <c:pt idx="4334">
                  <c:v>4057.51</c:v>
                </c:pt>
                <c:pt idx="4335">
                  <c:v>4051.31</c:v>
                </c:pt>
                <c:pt idx="4336">
                  <c:v>4144.66</c:v>
                </c:pt>
                <c:pt idx="4337">
                  <c:v>4149.49</c:v>
                </c:pt>
                <c:pt idx="4338">
                  <c:v>4132.84</c:v>
                </c:pt>
                <c:pt idx="4339">
                  <c:v>4123.8500000000004</c:v>
                </c:pt>
                <c:pt idx="4340">
                  <c:v>4073.02</c:v>
                </c:pt>
                <c:pt idx="4341">
                  <c:v>4084.88</c:v>
                </c:pt>
                <c:pt idx="4342">
                  <c:v>3940.05</c:v>
                </c:pt>
                <c:pt idx="4343">
                  <c:v>4069.67</c:v>
                </c:pt>
                <c:pt idx="4344">
                  <c:v>4091.36</c:v>
                </c:pt>
                <c:pt idx="4345">
                  <c:v>4115.05</c:v>
                </c:pt>
                <c:pt idx="4346">
                  <c:v>4206.7299999999996</c:v>
                </c:pt>
                <c:pt idx="4347">
                  <c:v>4138.51</c:v>
                </c:pt>
                <c:pt idx="4348">
                  <c:v>3997.13</c:v>
                </c:pt>
                <c:pt idx="4349">
                  <c:v>4082.73</c:v>
                </c:pt>
                <c:pt idx="4350">
                  <c:v>4028.43</c:v>
                </c:pt>
                <c:pt idx="4351">
                  <c:v>3950.91</c:v>
                </c:pt>
                <c:pt idx="4352">
                  <c:v>3895.31</c:v>
                </c:pt>
                <c:pt idx="4353">
                  <c:v>3727.84</c:v>
                </c:pt>
                <c:pt idx="4354">
                  <c:v>3709.68</c:v>
                </c:pt>
                <c:pt idx="4355">
                  <c:v>3636.26</c:v>
                </c:pt>
                <c:pt idx="4356">
                  <c:v>3589.09</c:v>
                </c:pt>
                <c:pt idx="4357">
                  <c:v>3653.22</c:v>
                </c:pt>
                <c:pt idx="4358">
                  <c:v>3530.31</c:v>
                </c:pt>
                <c:pt idx="4359">
                  <c:v>3625.11</c:v>
                </c:pt>
                <c:pt idx="4360">
                  <c:v>3722.52</c:v>
                </c:pt>
                <c:pt idx="4361">
                  <c:v>3698.05</c:v>
                </c:pt>
                <c:pt idx="4362">
                  <c:v>3710.06</c:v>
                </c:pt>
                <c:pt idx="4363">
                  <c:v>3674.11</c:v>
                </c:pt>
                <c:pt idx="4364">
                  <c:v>3686.16</c:v>
                </c:pt>
                <c:pt idx="4365">
                  <c:v>3675.08</c:v>
                </c:pt>
                <c:pt idx="4366">
                  <c:v>3734.53</c:v>
                </c:pt>
                <c:pt idx="4367">
                  <c:v>3713.22</c:v>
                </c:pt>
                <c:pt idx="4368">
                  <c:v>3798.02</c:v>
                </c:pt>
                <c:pt idx="4369">
                  <c:v>3780.34</c:v>
                </c:pt>
                <c:pt idx="4370">
                  <c:v>3792.81</c:v>
                </c:pt>
                <c:pt idx="4371">
                  <c:v>3769.18</c:v>
                </c:pt>
                <c:pt idx="4372">
                  <c:v>3753.26</c:v>
                </c:pt>
                <c:pt idx="4373">
                  <c:v>3825.7</c:v>
                </c:pt>
                <c:pt idx="4374">
                  <c:v>3797.36</c:v>
                </c:pt>
                <c:pt idx="4375">
                  <c:v>3802.38</c:v>
                </c:pt>
                <c:pt idx="4376">
                  <c:v>3839.49</c:v>
                </c:pt>
                <c:pt idx="4377">
                  <c:v>3853.46</c:v>
                </c:pt>
                <c:pt idx="4378">
                  <c:v>3808.05</c:v>
                </c:pt>
                <c:pt idx="4379">
                  <c:v>3839.38</c:v>
                </c:pt>
                <c:pt idx="4380">
                  <c:v>3829.75</c:v>
                </c:pt>
                <c:pt idx="4381">
                  <c:v>3796.97</c:v>
                </c:pt>
                <c:pt idx="4382">
                  <c:v>3822.77</c:v>
                </c:pt>
                <c:pt idx="4383">
                  <c:v>3849.15</c:v>
                </c:pt>
                <c:pt idx="4384">
                  <c:v>3867.03</c:v>
                </c:pt>
                <c:pt idx="4385">
                  <c:v>3912.58</c:v>
                </c:pt>
                <c:pt idx="4386">
                  <c:v>3936.25</c:v>
                </c:pt>
                <c:pt idx="4387">
                  <c:v>3924.89</c:v>
                </c:pt>
                <c:pt idx="4388">
                  <c:v>3963.62</c:v>
                </c:pt>
                <c:pt idx="4389">
                  <c:v>3960.18</c:v>
                </c:pt>
                <c:pt idx="4390">
                  <c:v>3960.24</c:v>
                </c:pt>
                <c:pt idx="4391">
                  <c:v>3968.25</c:v>
                </c:pt>
                <c:pt idx="4392">
                  <c:v>3925.22</c:v>
                </c:pt>
                <c:pt idx="4393">
                  <c:v>3912.82</c:v>
                </c:pt>
                <c:pt idx="4394">
                  <c:v>3922.91</c:v>
                </c:pt>
                <c:pt idx="4395">
                  <c:v>3956.25</c:v>
                </c:pt>
                <c:pt idx="4396">
                  <c:v>3935.22</c:v>
                </c:pt>
                <c:pt idx="4397">
                  <c:v>3913.79</c:v>
                </c:pt>
                <c:pt idx="4398">
                  <c:v>3824.06</c:v>
                </c:pt>
                <c:pt idx="4399">
                  <c:v>3829.32</c:v>
                </c:pt>
                <c:pt idx="4400">
                  <c:v>3872.77</c:v>
                </c:pt>
                <c:pt idx="4401">
                  <c:v>3845.61</c:v>
                </c:pt>
                <c:pt idx="4402">
                  <c:v>3856.63</c:v>
                </c:pt>
                <c:pt idx="4403">
                  <c:v>3867.02</c:v>
                </c:pt>
                <c:pt idx="4404">
                  <c:v>3971.34</c:v>
                </c:pt>
                <c:pt idx="4405">
                  <c:v>3983.57</c:v>
                </c:pt>
                <c:pt idx="4406">
                  <c:v>3983.65</c:v>
                </c:pt>
                <c:pt idx="4407">
                  <c:v>3982.19</c:v>
                </c:pt>
                <c:pt idx="4408">
                  <c:v>4001.25</c:v>
                </c:pt>
                <c:pt idx="4409">
                  <c:v>4021.95</c:v>
                </c:pt>
                <c:pt idx="4410">
                  <c:v>4047.03</c:v>
                </c:pt>
                <c:pt idx="4411">
                  <c:v>4039.71</c:v>
                </c:pt>
                <c:pt idx="4412">
                  <c:v>3995.88</c:v>
                </c:pt>
                <c:pt idx="4413">
                  <c:v>4003.08</c:v>
                </c:pt>
                <c:pt idx="4414">
                  <c:v>3954.99</c:v>
                </c:pt>
                <c:pt idx="4415">
                  <c:v>4014.57</c:v>
                </c:pt>
                <c:pt idx="4416">
                  <c:v>4017.59</c:v>
                </c:pt>
                <c:pt idx="4417">
                  <c:v>4044.38</c:v>
                </c:pt>
                <c:pt idx="4418">
                  <c:v>4098.71</c:v>
                </c:pt>
                <c:pt idx="4419">
                  <c:v>4102.05</c:v>
                </c:pt>
                <c:pt idx="4420">
                  <c:v>4121.79</c:v>
                </c:pt>
                <c:pt idx="4421">
                  <c:v>4138.99</c:v>
                </c:pt>
                <c:pt idx="4422">
                  <c:v>4109.72</c:v>
                </c:pt>
                <c:pt idx="4423">
                  <c:v>4163.96</c:v>
                </c:pt>
                <c:pt idx="4424">
                  <c:v>4247.78</c:v>
                </c:pt>
                <c:pt idx="4425">
                  <c:v>4335.84</c:v>
                </c:pt>
                <c:pt idx="4426">
                  <c:v>4419.6000000000004</c:v>
                </c:pt>
                <c:pt idx="4427">
                  <c:v>4670.09</c:v>
                </c:pt>
                <c:pt idx="4428">
                  <c:v>4698.13</c:v>
                </c:pt>
                <c:pt idx="4429">
                  <c:v>4774</c:v>
                </c:pt>
                <c:pt idx="4430">
                  <c:v>4840.7700000000004</c:v>
                </c:pt>
                <c:pt idx="4431">
                  <c:v>4753.13</c:v>
                </c:pt>
                <c:pt idx="4432">
                  <c:v>4852.96</c:v>
                </c:pt>
                <c:pt idx="4433">
                  <c:v>4806.6899999999996</c:v>
                </c:pt>
                <c:pt idx="4434">
                  <c:v>4744.47</c:v>
                </c:pt>
                <c:pt idx="4435">
                  <c:v>4516.25</c:v>
                </c:pt>
                <c:pt idx="4436">
                  <c:v>4544.7</c:v>
                </c:pt>
                <c:pt idx="4437">
                  <c:v>4680.3</c:v>
                </c:pt>
                <c:pt idx="4438">
                  <c:v>4691.04</c:v>
                </c:pt>
                <c:pt idx="4439">
                  <c:v>4714.45</c:v>
                </c:pt>
                <c:pt idx="4440">
                  <c:v>4712.4399999999996</c:v>
                </c:pt>
                <c:pt idx="4441">
                  <c:v>4505.59</c:v>
                </c:pt>
                <c:pt idx="4442">
                  <c:v>4528.45</c:v>
                </c:pt>
                <c:pt idx="4443">
                  <c:v>4568.26</c:v>
                </c:pt>
                <c:pt idx="4444">
                  <c:v>4679.01</c:v>
                </c:pt>
                <c:pt idx="4445">
                  <c:v>4656.1499999999996</c:v>
                </c:pt>
                <c:pt idx="4446">
                  <c:v>4695.05</c:v>
                </c:pt>
                <c:pt idx="4447">
                  <c:v>4771.3100000000004</c:v>
                </c:pt>
                <c:pt idx="4448">
                  <c:v>4775.8</c:v>
                </c:pt>
                <c:pt idx="4449">
                  <c:v>4777.1099999999997</c:v>
                </c:pt>
                <c:pt idx="4450">
                  <c:v>4762.76</c:v>
                </c:pt>
                <c:pt idx="4451">
                  <c:v>4707.93</c:v>
                </c:pt>
                <c:pt idx="4452">
                  <c:v>4724.87</c:v>
                </c:pt>
                <c:pt idx="4453">
                  <c:v>4681.78</c:v>
                </c:pt>
                <c:pt idx="4454">
                  <c:v>4647.6400000000003</c:v>
                </c:pt>
                <c:pt idx="4455">
                  <c:v>4635.71</c:v>
                </c:pt>
                <c:pt idx="4456">
                  <c:v>4704.63</c:v>
                </c:pt>
                <c:pt idx="4457">
                  <c:v>4815.2299999999996</c:v>
                </c:pt>
                <c:pt idx="4458">
                  <c:v>4812.76</c:v>
                </c:pt>
                <c:pt idx="4459">
                  <c:v>4740.68</c:v>
                </c:pt>
                <c:pt idx="4460">
                  <c:v>4679.1499999999996</c:v>
                </c:pt>
                <c:pt idx="4461">
                  <c:v>4718.84</c:v>
                </c:pt>
                <c:pt idx="4462">
                  <c:v>4755.8500000000004</c:v>
                </c:pt>
                <c:pt idx="4463">
                  <c:v>4761.95</c:v>
                </c:pt>
                <c:pt idx="4464">
                  <c:v>4706.13</c:v>
                </c:pt>
                <c:pt idx="4465">
                  <c:v>4731.3500000000004</c:v>
                </c:pt>
                <c:pt idx="4466">
                  <c:v>4844.2700000000004</c:v>
                </c:pt>
                <c:pt idx="4467">
                  <c:v>4816.22</c:v>
                </c:pt>
                <c:pt idx="4468">
                  <c:v>4842.12</c:v>
                </c:pt>
                <c:pt idx="4469">
                  <c:v>4843.8900000000003</c:v>
                </c:pt>
                <c:pt idx="4470">
                  <c:v>4817.1000000000004</c:v>
                </c:pt>
                <c:pt idx="4471">
                  <c:v>4770.22</c:v>
                </c:pt>
                <c:pt idx="4472">
                  <c:v>4669.37</c:v>
                </c:pt>
                <c:pt idx="4473">
                  <c:v>4694.3900000000003</c:v>
                </c:pt>
                <c:pt idx="4474">
                  <c:v>4584.59</c:v>
                </c:pt>
                <c:pt idx="4475">
                  <c:v>4581.9799999999996</c:v>
                </c:pt>
                <c:pt idx="4476">
                  <c:v>4627.28</c:v>
                </c:pt>
                <c:pt idx="4477">
                  <c:v>4651.05</c:v>
                </c:pt>
                <c:pt idx="4478">
                  <c:v>4688.4799999999996</c:v>
                </c:pt>
                <c:pt idx="4479">
                  <c:v>4657.3599999999997</c:v>
                </c:pt>
                <c:pt idx="4480">
                  <c:v>4632.71</c:v>
                </c:pt>
                <c:pt idx="4481">
                  <c:v>4737.09</c:v>
                </c:pt>
                <c:pt idx="4482">
                  <c:v>4691.43</c:v>
                </c:pt>
                <c:pt idx="4483">
                  <c:v>4635.76</c:v>
                </c:pt>
                <c:pt idx="4484">
                  <c:v>4652.33</c:v>
                </c:pt>
                <c:pt idx="4485">
                  <c:v>4563.07</c:v>
                </c:pt>
                <c:pt idx="4486">
                  <c:v>4570.0200000000004</c:v>
                </c:pt>
                <c:pt idx="4487">
                  <c:v>4581.91</c:v>
                </c:pt>
                <c:pt idx="4488">
                  <c:v>4591.8</c:v>
                </c:pt>
                <c:pt idx="4489">
                  <c:v>4587.3999999999996</c:v>
                </c:pt>
                <c:pt idx="4490">
                  <c:v>4681.1400000000003</c:v>
                </c:pt>
                <c:pt idx="4491">
                  <c:v>4823.16</c:v>
                </c:pt>
                <c:pt idx="4492">
                  <c:v>4839.2</c:v>
                </c:pt>
                <c:pt idx="4493">
                  <c:v>4807.1000000000004</c:v>
                </c:pt>
                <c:pt idx="4494">
                  <c:v>4798.74</c:v>
                </c:pt>
                <c:pt idx="4495">
                  <c:v>4791.68</c:v>
                </c:pt>
                <c:pt idx="4496">
                  <c:v>4755.49</c:v>
                </c:pt>
                <c:pt idx="4497">
                  <c:v>4793.47</c:v>
                </c:pt>
                <c:pt idx="4498">
                  <c:v>4792.83</c:v>
                </c:pt>
                <c:pt idx="4499">
                  <c:v>4777.9799999999996</c:v>
                </c:pt>
                <c:pt idx="4500">
                  <c:v>4718.49</c:v>
                </c:pt>
                <c:pt idx="4501">
                  <c:v>4691.24</c:v>
                </c:pt>
                <c:pt idx="4502">
                  <c:v>4699.28</c:v>
                </c:pt>
                <c:pt idx="4503">
                  <c:v>4737.2700000000004</c:v>
                </c:pt>
                <c:pt idx="4504">
                  <c:v>4772.92</c:v>
                </c:pt>
                <c:pt idx="4505">
                  <c:v>4695.33</c:v>
                </c:pt>
                <c:pt idx="4506">
                  <c:v>4720.83</c:v>
                </c:pt>
                <c:pt idx="4507">
                  <c:v>4777.5600000000004</c:v>
                </c:pt>
                <c:pt idx="4508">
                  <c:v>4813.66</c:v>
                </c:pt>
                <c:pt idx="4509">
                  <c:v>4885.1099999999997</c:v>
                </c:pt>
                <c:pt idx="4510">
                  <c:v>4885.72</c:v>
                </c:pt>
                <c:pt idx="4511">
                  <c:v>4981.3500000000004</c:v>
                </c:pt>
                <c:pt idx="4512">
                  <c:v>4953.88</c:v>
                </c:pt>
                <c:pt idx="4513">
                  <c:v>4904.8999999999996</c:v>
                </c:pt>
                <c:pt idx="4514">
                  <c:v>4908.46</c:v>
                </c:pt>
                <c:pt idx="4515">
                  <c:v>4856.8500000000004</c:v>
                </c:pt>
                <c:pt idx="4516">
                  <c:v>4904.17</c:v>
                </c:pt>
                <c:pt idx="4517">
                  <c:v>4894.79</c:v>
                </c:pt>
                <c:pt idx="4518">
                  <c:v>4891.67</c:v>
                </c:pt>
                <c:pt idx="4519">
                  <c:v>4927.99</c:v>
                </c:pt>
                <c:pt idx="4520">
                  <c:v>4943.29</c:v>
                </c:pt>
                <c:pt idx="4521">
                  <c:v>5005.03</c:v>
                </c:pt>
                <c:pt idx="4522">
                  <c:v>4974.29</c:v>
                </c:pt>
                <c:pt idx="4523">
                  <c:v>4910.7</c:v>
                </c:pt>
                <c:pt idx="4524">
                  <c:v>4919.59</c:v>
                </c:pt>
                <c:pt idx="4525">
                  <c:v>4980.7700000000004</c:v>
                </c:pt>
                <c:pt idx="4526">
                  <c:v>4960.25</c:v>
                </c:pt>
                <c:pt idx="4527">
                  <c:v>5067.1000000000004</c:v>
                </c:pt>
                <c:pt idx="4528">
                  <c:v>5067.1400000000003</c:v>
                </c:pt>
                <c:pt idx="4529">
                  <c:v>5057.0600000000004</c:v>
                </c:pt>
                <c:pt idx="4530">
                  <c:v>5065.92</c:v>
                </c:pt>
                <c:pt idx="4531">
                  <c:v>5022.24</c:v>
                </c:pt>
                <c:pt idx="4532">
                  <c:v>5009.88</c:v>
                </c:pt>
                <c:pt idx="4533">
                  <c:v>4942.7</c:v>
                </c:pt>
                <c:pt idx="4534">
                  <c:v>4940.5200000000004</c:v>
                </c:pt>
                <c:pt idx="4535">
                  <c:v>4889.63</c:v>
                </c:pt>
                <c:pt idx="4536">
                  <c:v>4934.84</c:v>
                </c:pt>
                <c:pt idx="4537">
                  <c:v>4945.1000000000004</c:v>
                </c:pt>
                <c:pt idx="4538">
                  <c:v>4953.87</c:v>
                </c:pt>
                <c:pt idx="4539">
                  <c:v>5017.4799999999996</c:v>
                </c:pt>
                <c:pt idx="4540">
                  <c:v>4999.97</c:v>
                </c:pt>
                <c:pt idx="4541">
                  <c:v>5046.84</c:v>
                </c:pt>
                <c:pt idx="4542">
                  <c:v>4964.7700000000004</c:v>
                </c:pt>
                <c:pt idx="4543">
                  <c:v>5007.12</c:v>
                </c:pt>
                <c:pt idx="4544">
                  <c:v>5000.0200000000004</c:v>
                </c:pt>
                <c:pt idx="4545">
                  <c:v>5042.01</c:v>
                </c:pt>
                <c:pt idx="4546">
                  <c:v>5064.41</c:v>
                </c:pt>
                <c:pt idx="4547">
                  <c:v>5042.9399999999996</c:v>
                </c:pt>
                <c:pt idx="4548">
                  <c:v>5113.71</c:v>
                </c:pt>
                <c:pt idx="4549">
                  <c:v>5211.29</c:v>
                </c:pt>
                <c:pt idx="4550">
                  <c:v>5267.72</c:v>
                </c:pt>
                <c:pt idx="4551">
                  <c:v>5368.5</c:v>
                </c:pt>
                <c:pt idx="4552">
                  <c:v>5417.67</c:v>
                </c:pt>
                <c:pt idx="4553">
                  <c:v>5513.66</c:v>
                </c:pt>
                <c:pt idx="4554">
                  <c:v>5495.43</c:v>
                </c:pt>
                <c:pt idx="4555">
                  <c:v>5441.16</c:v>
                </c:pt>
                <c:pt idx="4556">
                  <c:v>5596.35</c:v>
                </c:pt>
                <c:pt idx="4557">
                  <c:v>5577.97</c:v>
                </c:pt>
                <c:pt idx="4558">
                  <c:v>5470.46</c:v>
                </c:pt>
                <c:pt idx="4559">
                  <c:v>5458.08</c:v>
                </c:pt>
                <c:pt idx="4560">
                  <c:v>5518.52</c:v>
                </c:pt>
                <c:pt idx="4561">
                  <c:v>5437.52</c:v>
                </c:pt>
                <c:pt idx="4562">
                  <c:v>5476.43</c:v>
                </c:pt>
                <c:pt idx="4563">
                  <c:v>5564.97</c:v>
                </c:pt>
                <c:pt idx="4564">
                  <c:v>5569.78</c:v>
                </c:pt>
                <c:pt idx="4565">
                  <c:v>5625.92</c:v>
                </c:pt>
                <c:pt idx="4566">
                  <c:v>5512.97</c:v>
                </c:pt>
                <c:pt idx="4567">
                  <c:v>5528</c:v>
                </c:pt>
                <c:pt idx="4568">
                  <c:v>5377.14</c:v>
                </c:pt>
                <c:pt idx="4569">
                  <c:v>5351.96</c:v>
                </c:pt>
                <c:pt idx="4570">
                  <c:v>5417.65</c:v>
                </c:pt>
                <c:pt idx="4571">
                  <c:v>5501.09</c:v>
                </c:pt>
                <c:pt idx="4572">
                  <c:v>5485.2</c:v>
                </c:pt>
                <c:pt idx="4573">
                  <c:v>5473.95</c:v>
                </c:pt>
                <c:pt idx="4574">
                  <c:v>5483.41</c:v>
                </c:pt>
                <c:pt idx="4575">
                  <c:v>5564.56</c:v>
                </c:pt>
                <c:pt idx="4576">
                  <c:v>5686.25</c:v>
                </c:pt>
                <c:pt idx="4577">
                  <c:v>5807.72</c:v>
                </c:pt>
                <c:pt idx="4578">
                  <c:v>5768.38</c:v>
                </c:pt>
                <c:pt idx="4579">
                  <c:v>5778.84</c:v>
                </c:pt>
                <c:pt idx="4580">
                  <c:v>5597.33</c:v>
                </c:pt>
                <c:pt idx="4581">
                  <c:v>5579.67</c:v>
                </c:pt>
                <c:pt idx="4582">
                  <c:v>5437.57</c:v>
                </c:pt>
                <c:pt idx="4583">
                  <c:v>5469.56</c:v>
                </c:pt>
                <c:pt idx="4584">
                  <c:v>5336.76</c:v>
                </c:pt>
                <c:pt idx="4585">
                  <c:v>5418.78</c:v>
                </c:pt>
                <c:pt idx="4586">
                  <c:v>5349.63</c:v>
                </c:pt>
                <c:pt idx="4587">
                  <c:v>5452.21</c:v>
                </c:pt>
                <c:pt idx="4588">
                  <c:v>5280.71</c:v>
                </c:pt>
                <c:pt idx="4589">
                  <c:v>5262.8</c:v>
                </c:pt>
                <c:pt idx="4590">
                  <c:v>5080.0200000000004</c:v>
                </c:pt>
                <c:pt idx="4591">
                  <c:v>4971</c:v>
                </c:pt>
                <c:pt idx="4592">
                  <c:v>5003.6099999999997</c:v>
                </c:pt>
                <c:pt idx="4593">
                  <c:v>5128.22</c:v>
                </c:pt>
                <c:pt idx="4594">
                  <c:v>5146.38</c:v>
                </c:pt>
                <c:pt idx="4595">
                  <c:v>5035.54</c:v>
                </c:pt>
                <c:pt idx="4596">
                  <c:v>5079.3599999999997</c:v>
                </c:pt>
                <c:pt idx="4597">
                  <c:v>5100.8599999999997</c:v>
                </c:pt>
                <c:pt idx="4598">
                  <c:v>5141.7700000000004</c:v>
                </c:pt>
                <c:pt idx="4599">
                  <c:v>5007.09</c:v>
                </c:pt>
                <c:pt idx="4600">
                  <c:v>5057.1499999999996</c:v>
                </c:pt>
                <c:pt idx="4601">
                  <c:v>5009.25</c:v>
                </c:pt>
                <c:pt idx="4602">
                  <c:v>4928.6899999999996</c:v>
                </c:pt>
                <c:pt idx="4603">
                  <c:v>4926.3500000000004</c:v>
                </c:pt>
                <c:pt idx="4604">
                  <c:v>5037.99</c:v>
                </c:pt>
                <c:pt idx="4605">
                  <c:v>5046.88</c:v>
                </c:pt>
                <c:pt idx="4606">
                  <c:v>5094.7299999999996</c:v>
                </c:pt>
                <c:pt idx="4607">
                  <c:v>5048.3599999999997</c:v>
                </c:pt>
                <c:pt idx="4608">
                  <c:v>5110.78</c:v>
                </c:pt>
                <c:pt idx="4609">
                  <c:v>5161.5600000000004</c:v>
                </c:pt>
                <c:pt idx="4610">
                  <c:v>5140.34</c:v>
                </c:pt>
                <c:pt idx="4611">
                  <c:v>5103.74</c:v>
                </c:pt>
                <c:pt idx="4612">
                  <c:v>5112.21</c:v>
                </c:pt>
                <c:pt idx="4613">
                  <c:v>5035.34</c:v>
                </c:pt>
                <c:pt idx="4614">
                  <c:v>4947.75</c:v>
                </c:pt>
                <c:pt idx="4615">
                  <c:v>4939.6400000000003</c:v>
                </c:pt>
                <c:pt idx="4616">
                  <c:v>4980.63</c:v>
                </c:pt>
                <c:pt idx="4617">
                  <c:v>4948.97</c:v>
                </c:pt>
                <c:pt idx="4618">
                  <c:v>4966.18</c:v>
                </c:pt>
                <c:pt idx="4619">
                  <c:v>5087.0200000000004</c:v>
                </c:pt>
                <c:pt idx="4620">
                  <c:v>5083.37</c:v>
                </c:pt>
                <c:pt idx="4621">
                  <c:v>5098.74</c:v>
                </c:pt>
                <c:pt idx="4622">
                  <c:v>5089.24</c:v>
                </c:pt>
                <c:pt idx="4623">
                  <c:v>5135.45</c:v>
                </c:pt>
                <c:pt idx="4624">
                  <c:v>5077.24</c:v>
                </c:pt>
                <c:pt idx="4625">
                  <c:v>5090.5200000000004</c:v>
                </c:pt>
                <c:pt idx="4626">
                  <c:v>5119.24</c:v>
                </c:pt>
                <c:pt idx="4627">
                  <c:v>5164.17</c:v>
                </c:pt>
                <c:pt idx="4628">
                  <c:v>5123.49</c:v>
                </c:pt>
                <c:pt idx="4629">
                  <c:v>5061.12</c:v>
                </c:pt>
                <c:pt idx="4630">
                  <c:v>4996.05</c:v>
                </c:pt>
                <c:pt idx="4631">
                  <c:v>4992.42</c:v>
                </c:pt>
                <c:pt idx="4632">
                  <c:v>5023.0600000000004</c:v>
                </c:pt>
                <c:pt idx="4633">
                  <c:v>5044.55</c:v>
                </c:pt>
                <c:pt idx="4634">
                  <c:v>4992.97</c:v>
                </c:pt>
                <c:pt idx="4635">
                  <c:v>5110.59</c:v>
                </c:pt>
                <c:pt idx="4636">
                  <c:v>5184.99</c:v>
                </c:pt>
                <c:pt idx="4637">
                  <c:v>5187.6000000000004</c:v>
                </c:pt>
                <c:pt idx="4638">
                  <c:v>5172.2700000000004</c:v>
                </c:pt>
                <c:pt idx="4639">
                  <c:v>5186.41</c:v>
                </c:pt>
                <c:pt idx="4640">
                  <c:v>5134.1499999999996</c:v>
                </c:pt>
                <c:pt idx="4641">
                  <c:v>5155.59</c:v>
                </c:pt>
                <c:pt idx="4642">
                  <c:v>5318.48</c:v>
                </c:pt>
                <c:pt idx="4643">
                  <c:v>5320.59</c:v>
                </c:pt>
                <c:pt idx="4644">
                  <c:v>5338.23</c:v>
                </c:pt>
                <c:pt idx="4645">
                  <c:v>5321.09</c:v>
                </c:pt>
                <c:pt idx="4646">
                  <c:v>5331.57</c:v>
                </c:pt>
                <c:pt idx="4647">
                  <c:v>5341.68</c:v>
                </c:pt>
                <c:pt idx="4648">
                  <c:v>5289.97</c:v>
                </c:pt>
                <c:pt idx="4649">
                  <c:v>5255.29</c:v>
                </c:pt>
                <c:pt idx="4650">
                  <c:v>5282.28</c:v>
                </c:pt>
                <c:pt idx="4651">
                  <c:v>5277.63</c:v>
                </c:pt>
                <c:pt idx="4652">
                  <c:v>5232.12</c:v>
                </c:pt>
                <c:pt idx="4653">
                  <c:v>5236.45</c:v>
                </c:pt>
                <c:pt idx="4654">
                  <c:v>5271.47</c:v>
                </c:pt>
                <c:pt idx="4655">
                  <c:v>5224.7</c:v>
                </c:pt>
                <c:pt idx="4656">
                  <c:v>5166.5600000000004</c:v>
                </c:pt>
                <c:pt idx="4657">
                  <c:v>5080.49</c:v>
                </c:pt>
                <c:pt idx="4658">
                  <c:v>5101.8900000000003</c:v>
                </c:pt>
                <c:pt idx="4659">
                  <c:v>5102.47</c:v>
                </c:pt>
                <c:pt idx="4660">
                  <c:v>5090.3900000000003</c:v>
                </c:pt>
                <c:pt idx="4661">
                  <c:v>5122.16</c:v>
                </c:pt>
                <c:pt idx="4662">
                  <c:v>5147.3900000000003</c:v>
                </c:pt>
                <c:pt idx="4663">
                  <c:v>5155.97</c:v>
                </c:pt>
                <c:pt idx="4664">
                  <c:v>5239.97</c:v>
                </c:pt>
                <c:pt idx="4665">
                  <c:v>5251.76</c:v>
                </c:pt>
                <c:pt idx="4666">
                  <c:v>5190.54</c:v>
                </c:pt>
                <c:pt idx="4667">
                  <c:v>5224.04</c:v>
                </c:pt>
                <c:pt idx="4668">
                  <c:v>5229.66</c:v>
                </c:pt>
                <c:pt idx="4669">
                  <c:v>5081.12</c:v>
                </c:pt>
                <c:pt idx="4670">
                  <c:v>5085.79</c:v>
                </c:pt>
                <c:pt idx="4671">
                  <c:v>5083.1000000000004</c:v>
                </c:pt>
                <c:pt idx="4672">
                  <c:v>5140.49</c:v>
                </c:pt>
                <c:pt idx="4673">
                  <c:v>5088.26</c:v>
                </c:pt>
                <c:pt idx="4674">
                  <c:v>5069.4399999999996</c:v>
                </c:pt>
                <c:pt idx="4675">
                  <c:v>5132.71</c:v>
                </c:pt>
                <c:pt idx="4676">
                  <c:v>5142.1000000000004</c:v>
                </c:pt>
                <c:pt idx="4677">
                  <c:v>5083.08</c:v>
                </c:pt>
                <c:pt idx="4678">
                  <c:v>5151.46</c:v>
                </c:pt>
                <c:pt idx="4679">
                  <c:v>5094.7700000000004</c:v>
                </c:pt>
                <c:pt idx="4680">
                  <c:v>5113.49</c:v>
                </c:pt>
                <c:pt idx="4681">
                  <c:v>5108.99</c:v>
                </c:pt>
                <c:pt idx="4682">
                  <c:v>5144.04</c:v>
                </c:pt>
                <c:pt idx="4683">
                  <c:v>5151.75</c:v>
                </c:pt>
                <c:pt idx="4684">
                  <c:v>5089.2299999999996</c:v>
                </c:pt>
                <c:pt idx="4685">
                  <c:v>4925.3</c:v>
                </c:pt>
                <c:pt idx="4686">
                  <c:v>4751.3100000000004</c:v>
                </c:pt>
                <c:pt idx="4687">
                  <c:v>4760.4799999999996</c:v>
                </c:pt>
                <c:pt idx="4688">
                  <c:v>4850.2700000000004</c:v>
                </c:pt>
                <c:pt idx="4689">
                  <c:v>4811.17</c:v>
                </c:pt>
                <c:pt idx="4690">
                  <c:v>4933.74</c:v>
                </c:pt>
                <c:pt idx="4691">
                  <c:v>4934.46</c:v>
                </c:pt>
                <c:pt idx="4692">
                  <c:v>4978.8500000000004</c:v>
                </c:pt>
                <c:pt idx="4693">
                  <c:v>4948.67</c:v>
                </c:pt>
                <c:pt idx="4694">
                  <c:v>4921.5600000000004</c:v>
                </c:pt>
                <c:pt idx="4695">
                  <c:v>4985.5600000000004</c:v>
                </c:pt>
                <c:pt idx="4696">
                  <c:v>5043.1499999999996</c:v>
                </c:pt>
                <c:pt idx="4697">
                  <c:v>5015.34</c:v>
                </c:pt>
                <c:pt idx="4698">
                  <c:v>4973.3500000000004</c:v>
                </c:pt>
                <c:pt idx="4699">
                  <c:v>4945.9799999999996</c:v>
                </c:pt>
                <c:pt idx="4700">
                  <c:v>4941.07</c:v>
                </c:pt>
                <c:pt idx="4701">
                  <c:v>4837.3999999999996</c:v>
                </c:pt>
                <c:pt idx="4702">
                  <c:v>4894.24</c:v>
                </c:pt>
                <c:pt idx="4703">
                  <c:v>4862.1400000000003</c:v>
                </c:pt>
                <c:pt idx="4704">
                  <c:v>4769.2700000000004</c:v>
                </c:pt>
                <c:pt idx="4705">
                  <c:v>4835.88</c:v>
                </c:pt>
                <c:pt idx="4706">
                  <c:v>4888.3900000000003</c:v>
                </c:pt>
                <c:pt idx="4707">
                  <c:v>4898.16</c:v>
                </c:pt>
                <c:pt idx="4708">
                  <c:v>4801.6099999999997</c:v>
                </c:pt>
                <c:pt idx="4709">
                  <c:v>4827.04</c:v>
                </c:pt>
                <c:pt idx="4710">
                  <c:v>4813.2700000000004</c:v>
                </c:pt>
                <c:pt idx="4711">
                  <c:v>4805.6099999999997</c:v>
                </c:pt>
                <c:pt idx="4712">
                  <c:v>4869.46</c:v>
                </c:pt>
                <c:pt idx="4713">
                  <c:v>4869.41</c:v>
                </c:pt>
                <c:pt idx="4714">
                  <c:v>4843.0600000000004</c:v>
                </c:pt>
                <c:pt idx="4715">
                  <c:v>4933.7299999999996</c:v>
                </c:pt>
                <c:pt idx="4716">
                  <c:v>4992.83</c:v>
                </c:pt>
                <c:pt idx="4717">
                  <c:v>4972.13</c:v>
                </c:pt>
                <c:pt idx="4718">
                  <c:v>4970.01</c:v>
                </c:pt>
                <c:pt idx="4719">
                  <c:v>5013.5200000000004</c:v>
                </c:pt>
                <c:pt idx="4720">
                  <c:v>4991.66</c:v>
                </c:pt>
                <c:pt idx="4721">
                  <c:v>4917.16</c:v>
                </c:pt>
                <c:pt idx="4722">
                  <c:v>4867.32</c:v>
                </c:pt>
                <c:pt idx="4723">
                  <c:v>4807.7</c:v>
                </c:pt>
                <c:pt idx="4724">
                  <c:v>4855.9399999999996</c:v>
                </c:pt>
                <c:pt idx="4725">
                  <c:v>4821.7700000000004</c:v>
                </c:pt>
                <c:pt idx="4726">
                  <c:v>4853.2</c:v>
                </c:pt>
                <c:pt idx="4727">
                  <c:v>4849.43</c:v>
                </c:pt>
                <c:pt idx="4728">
                  <c:v>4877.37</c:v>
                </c:pt>
                <c:pt idx="4729">
                  <c:v>4883.83</c:v>
                </c:pt>
                <c:pt idx="4730">
                  <c:v>4833.93</c:v>
                </c:pt>
                <c:pt idx="4731">
                  <c:v>4866.38</c:v>
                </c:pt>
                <c:pt idx="4732">
                  <c:v>4929.9399999999996</c:v>
                </c:pt>
                <c:pt idx="4733">
                  <c:v>4936.1899999999996</c:v>
                </c:pt>
                <c:pt idx="4734">
                  <c:v>4883.84</c:v>
                </c:pt>
                <c:pt idx="4735">
                  <c:v>4940.1099999999997</c:v>
                </c:pt>
                <c:pt idx="4736">
                  <c:v>4913.6099999999997</c:v>
                </c:pt>
                <c:pt idx="4737">
                  <c:v>4932.1099999999997</c:v>
                </c:pt>
                <c:pt idx="4738">
                  <c:v>4874.78</c:v>
                </c:pt>
                <c:pt idx="4739">
                  <c:v>4922.72</c:v>
                </c:pt>
                <c:pt idx="4740">
                  <c:v>4910.18</c:v>
                </c:pt>
                <c:pt idx="4741">
                  <c:v>4928.0200000000004</c:v>
                </c:pt>
                <c:pt idx="4742">
                  <c:v>4959.7299999999996</c:v>
                </c:pt>
                <c:pt idx="4743">
                  <c:v>4979.5200000000004</c:v>
                </c:pt>
                <c:pt idx="4744">
                  <c:v>4963.1000000000004</c:v>
                </c:pt>
                <c:pt idx="4745">
                  <c:v>4898.16</c:v>
                </c:pt>
                <c:pt idx="4746">
                  <c:v>4864.1400000000003</c:v>
                </c:pt>
                <c:pt idx="4747">
                  <c:v>4908.7700000000004</c:v>
                </c:pt>
                <c:pt idx="4748">
                  <c:v>4890.6899999999996</c:v>
                </c:pt>
                <c:pt idx="4749">
                  <c:v>4839.8500000000004</c:v>
                </c:pt>
                <c:pt idx="4750">
                  <c:v>4821.1099999999997</c:v>
                </c:pt>
                <c:pt idx="4751">
                  <c:v>4868.74</c:v>
                </c:pt>
                <c:pt idx="4752">
                  <c:v>4842.3500000000004</c:v>
                </c:pt>
                <c:pt idx="4753">
                  <c:v>4848.18</c:v>
                </c:pt>
                <c:pt idx="4754">
                  <c:v>4846.74</c:v>
                </c:pt>
                <c:pt idx="4755">
                  <c:v>4821.1899999999996</c:v>
                </c:pt>
                <c:pt idx="4756">
                  <c:v>4898.6499999999996</c:v>
                </c:pt>
                <c:pt idx="4757">
                  <c:v>4888.37</c:v>
                </c:pt>
                <c:pt idx="4758">
                  <c:v>4882.38</c:v>
                </c:pt>
                <c:pt idx="4759">
                  <c:v>4883.32</c:v>
                </c:pt>
                <c:pt idx="4760">
                  <c:v>4885.75</c:v>
                </c:pt>
                <c:pt idx="4761">
                  <c:v>4837.62</c:v>
                </c:pt>
                <c:pt idx="4762">
                  <c:v>4890.0600000000004</c:v>
                </c:pt>
                <c:pt idx="4763">
                  <c:v>4912.3999999999996</c:v>
                </c:pt>
                <c:pt idx="4764">
                  <c:v>4913.3500000000004</c:v>
                </c:pt>
                <c:pt idx="4765">
                  <c:v>4916.66</c:v>
                </c:pt>
                <c:pt idx="4766">
                  <c:v>4896.4399999999996</c:v>
                </c:pt>
                <c:pt idx="4767">
                  <c:v>4860.13</c:v>
                </c:pt>
                <c:pt idx="4768">
                  <c:v>4851.42</c:v>
                </c:pt>
                <c:pt idx="4769">
                  <c:v>4832.03</c:v>
                </c:pt>
                <c:pt idx="4770">
                  <c:v>4843.8500000000004</c:v>
                </c:pt>
                <c:pt idx="4771">
                  <c:v>4856.16</c:v>
                </c:pt>
                <c:pt idx="4772">
                  <c:v>4901.0200000000004</c:v>
                </c:pt>
                <c:pt idx="4773">
                  <c:v>4892.62</c:v>
                </c:pt>
                <c:pt idx="4774">
                  <c:v>4922.1000000000004</c:v>
                </c:pt>
                <c:pt idx="4775">
                  <c:v>4995.93</c:v>
                </c:pt>
                <c:pt idx="4776">
                  <c:v>5078.6899999999996</c:v>
                </c:pt>
                <c:pt idx="4777">
                  <c:v>5055.12</c:v>
                </c:pt>
                <c:pt idx="4778">
                  <c:v>5083.8</c:v>
                </c:pt>
                <c:pt idx="4779">
                  <c:v>5049.7</c:v>
                </c:pt>
                <c:pt idx="4780">
                  <c:v>5005.8999999999996</c:v>
                </c:pt>
                <c:pt idx="4781">
                  <c:v>5034.7299999999996</c:v>
                </c:pt>
                <c:pt idx="4782">
                  <c:v>4954.76</c:v>
                </c:pt>
                <c:pt idx="4783">
                  <c:v>4880.42</c:v>
                </c:pt>
                <c:pt idx="4784">
                  <c:v>4913.49</c:v>
                </c:pt>
                <c:pt idx="4785">
                  <c:v>4914.45</c:v>
                </c:pt>
                <c:pt idx="4786">
                  <c:v>4948.74</c:v>
                </c:pt>
                <c:pt idx="4787">
                  <c:v>4921.34</c:v>
                </c:pt>
                <c:pt idx="4788">
                  <c:v>4919.32</c:v>
                </c:pt>
                <c:pt idx="4789">
                  <c:v>4955.96</c:v>
                </c:pt>
                <c:pt idx="4790">
                  <c:v>4883.4799999999996</c:v>
                </c:pt>
                <c:pt idx="4791">
                  <c:v>4921.51</c:v>
                </c:pt>
                <c:pt idx="4792">
                  <c:v>4940.37</c:v>
                </c:pt>
                <c:pt idx="4793">
                  <c:v>4917.7700000000004</c:v>
                </c:pt>
                <c:pt idx="4794">
                  <c:v>4868.12</c:v>
                </c:pt>
                <c:pt idx="4795">
                  <c:v>4818.2299999999996</c:v>
                </c:pt>
                <c:pt idx="4796">
                  <c:v>4822.37</c:v>
                </c:pt>
                <c:pt idx="4797">
                  <c:v>4844.05</c:v>
                </c:pt>
                <c:pt idx="4798">
                  <c:v>4797.7700000000004</c:v>
                </c:pt>
                <c:pt idx="4799">
                  <c:v>4845.58</c:v>
                </c:pt>
                <c:pt idx="4800">
                  <c:v>4765.92</c:v>
                </c:pt>
                <c:pt idx="4801">
                  <c:v>4726.7299999999996</c:v>
                </c:pt>
                <c:pt idx="4802">
                  <c:v>4767.28</c:v>
                </c:pt>
                <c:pt idx="4803">
                  <c:v>4813.3500000000004</c:v>
                </c:pt>
                <c:pt idx="4804">
                  <c:v>4780.38</c:v>
                </c:pt>
                <c:pt idx="4805">
                  <c:v>4823.51</c:v>
                </c:pt>
                <c:pt idx="4806">
                  <c:v>4779.3100000000004</c:v>
                </c:pt>
                <c:pt idx="4807">
                  <c:v>4786.74</c:v>
                </c:pt>
                <c:pt idx="4808">
                  <c:v>4678.45</c:v>
                </c:pt>
                <c:pt idx="4809">
                  <c:v>4712.3100000000004</c:v>
                </c:pt>
                <c:pt idx="4810">
                  <c:v>4619.88</c:v>
                </c:pt>
                <c:pt idx="4811">
                  <c:v>4563.7700000000004</c:v>
                </c:pt>
                <c:pt idx="4812">
                  <c:v>4634.09</c:v>
                </c:pt>
                <c:pt idx="4813">
                  <c:v>4608.7700000000004</c:v>
                </c:pt>
                <c:pt idx="4814">
                  <c:v>4652.0600000000004</c:v>
                </c:pt>
                <c:pt idx="4815">
                  <c:v>4639.8599999999997</c:v>
                </c:pt>
                <c:pt idx="4816">
                  <c:v>4601.3999999999996</c:v>
                </c:pt>
                <c:pt idx="4817">
                  <c:v>4551.6899999999996</c:v>
                </c:pt>
                <c:pt idx="4818">
                  <c:v>4600.1000000000004</c:v>
                </c:pt>
                <c:pt idx="4819">
                  <c:v>4617.99</c:v>
                </c:pt>
                <c:pt idx="4820">
                  <c:v>4629.16</c:v>
                </c:pt>
                <c:pt idx="4821">
                  <c:v>4651.24</c:v>
                </c:pt>
                <c:pt idx="4822">
                  <c:v>4634.3100000000004</c:v>
                </c:pt>
                <c:pt idx="4823">
                  <c:v>4574.1499999999996</c:v>
                </c:pt>
                <c:pt idx="4824">
                  <c:v>4623.05</c:v>
                </c:pt>
                <c:pt idx="4825">
                  <c:v>4529.32</c:v>
                </c:pt>
                <c:pt idx="4826">
                  <c:v>4573.42</c:v>
                </c:pt>
                <c:pt idx="4827">
                  <c:v>4581.6499999999996</c:v>
                </c:pt>
                <c:pt idx="4828">
                  <c:v>4619.6899999999996</c:v>
                </c:pt>
                <c:pt idx="4829">
                  <c:v>4578.6000000000004</c:v>
                </c:pt>
                <c:pt idx="4830">
                  <c:v>4551.63</c:v>
                </c:pt>
                <c:pt idx="4831">
                  <c:v>4496.43</c:v>
                </c:pt>
                <c:pt idx="4832">
                  <c:v>4352.78</c:v>
                </c:pt>
                <c:pt idx="4833">
                  <c:v>4265.3900000000003</c:v>
                </c:pt>
                <c:pt idx="4834">
                  <c:v>4226.3500000000004</c:v>
                </c:pt>
                <c:pt idx="4835">
                  <c:v>4292.84</c:v>
                </c:pt>
                <c:pt idx="4836">
                  <c:v>4306.5200000000004</c:v>
                </c:pt>
                <c:pt idx="4837">
                  <c:v>4174.76</c:v>
                </c:pt>
                <c:pt idx="4838">
                  <c:v>3983.81</c:v>
                </c:pt>
                <c:pt idx="4839">
                  <c:v>4156.08</c:v>
                </c:pt>
                <c:pt idx="4840">
                  <c:v>4237.7</c:v>
                </c:pt>
                <c:pt idx="4841">
                  <c:v>4265.8999999999996</c:v>
                </c:pt>
                <c:pt idx="4842">
                  <c:v>4258.75</c:v>
                </c:pt>
                <c:pt idx="4843">
                  <c:v>4255.3</c:v>
                </c:pt>
                <c:pt idx="4844">
                  <c:v>4276.5200000000004</c:v>
                </c:pt>
                <c:pt idx="4845">
                  <c:v>4251.3100000000004</c:v>
                </c:pt>
                <c:pt idx="4846">
                  <c:v>4174.57</c:v>
                </c:pt>
                <c:pt idx="4847">
                  <c:v>4148.47</c:v>
                </c:pt>
                <c:pt idx="4848">
                  <c:v>4134.1400000000003</c:v>
                </c:pt>
                <c:pt idx="4849">
                  <c:v>4254.1000000000004</c:v>
                </c:pt>
                <c:pt idx="4850">
                  <c:v>4222.6000000000004</c:v>
                </c:pt>
                <c:pt idx="4851">
                  <c:v>4276.16</c:v>
                </c:pt>
                <c:pt idx="4852">
                  <c:v>4263.84</c:v>
                </c:pt>
                <c:pt idx="4853">
                  <c:v>4209.1000000000004</c:v>
                </c:pt>
                <c:pt idx="4854">
                  <c:v>4230.7700000000004</c:v>
                </c:pt>
              </c:numCache>
            </c:numRef>
          </c:val>
          <c:extLst>
            <c:ext xmlns:c16="http://schemas.microsoft.com/office/drawing/2014/chart" uri="{C3380CC4-5D6E-409C-BE32-E72D297353CC}">
              <c16:uniqueId val="{00000000-A453-4679-8CD4-0E382E926464}"/>
            </c:ext>
          </c:extLst>
        </c:ser>
        <c:dLbls>
          <c:showLegendKey val="0"/>
          <c:showVal val="0"/>
          <c:showCatName val="0"/>
          <c:showSerName val="0"/>
          <c:showPercent val="0"/>
          <c:showBubbleSize val="0"/>
        </c:dLbls>
        <c:gapWidth val="150"/>
        <c:axId val="623832336"/>
        <c:axId val="623830416"/>
      </c:barChart>
      <c:lineChart>
        <c:grouping val="standard"/>
        <c:varyColors val="0"/>
        <c:ser>
          <c:idx val="1"/>
          <c:order val="0"/>
          <c:tx>
            <c:strRef>
              <c:f>'v60'!$B$1</c:f>
              <c:strCache>
                <c:ptCount val="1"/>
                <c:pt idx="0">
                  <c:v>Volatility 60</c:v>
                </c:pt>
              </c:strCache>
            </c:strRef>
          </c:tx>
          <c:spPr>
            <a:ln w="28575" cap="rnd">
              <a:solidFill>
                <a:schemeClr val="accent2"/>
              </a:solidFill>
              <a:round/>
            </a:ln>
            <a:effectLst/>
          </c:spPr>
          <c:marker>
            <c:symbol val="none"/>
          </c:marker>
          <c:cat>
            <c:numRef>
              <c:f>'v60'!$A$2:$A$4856</c:f>
              <c:numCache>
                <c:formatCode>yyyy\-mm\-dd;@</c:formatCode>
                <c:ptCount val="4855"/>
                <c:pt idx="0">
                  <c:v>37358</c:v>
                </c:pt>
                <c:pt idx="1">
                  <c:v>37361</c:v>
                </c:pt>
                <c:pt idx="2">
                  <c:v>37362</c:v>
                </c:pt>
                <c:pt idx="3">
                  <c:v>37363</c:v>
                </c:pt>
                <c:pt idx="4">
                  <c:v>37364</c:v>
                </c:pt>
                <c:pt idx="5">
                  <c:v>37365</c:v>
                </c:pt>
                <c:pt idx="6">
                  <c:v>37368</c:v>
                </c:pt>
                <c:pt idx="7">
                  <c:v>37369</c:v>
                </c:pt>
                <c:pt idx="8">
                  <c:v>37370</c:v>
                </c:pt>
                <c:pt idx="9">
                  <c:v>37371</c:v>
                </c:pt>
                <c:pt idx="10">
                  <c:v>37372</c:v>
                </c:pt>
                <c:pt idx="11">
                  <c:v>37375</c:v>
                </c:pt>
                <c:pt idx="12">
                  <c:v>37376</c:v>
                </c:pt>
                <c:pt idx="13">
                  <c:v>37384</c:v>
                </c:pt>
                <c:pt idx="14">
                  <c:v>37385</c:v>
                </c:pt>
                <c:pt idx="15">
                  <c:v>37386</c:v>
                </c:pt>
                <c:pt idx="16">
                  <c:v>37389</c:v>
                </c:pt>
                <c:pt idx="17">
                  <c:v>37390</c:v>
                </c:pt>
                <c:pt idx="18">
                  <c:v>37391</c:v>
                </c:pt>
                <c:pt idx="19">
                  <c:v>37392</c:v>
                </c:pt>
                <c:pt idx="20">
                  <c:v>37393</c:v>
                </c:pt>
                <c:pt idx="21">
                  <c:v>37396</c:v>
                </c:pt>
                <c:pt idx="22">
                  <c:v>37397</c:v>
                </c:pt>
                <c:pt idx="23">
                  <c:v>37398</c:v>
                </c:pt>
                <c:pt idx="24">
                  <c:v>37399</c:v>
                </c:pt>
                <c:pt idx="25">
                  <c:v>37400</c:v>
                </c:pt>
                <c:pt idx="26">
                  <c:v>37403</c:v>
                </c:pt>
                <c:pt idx="27">
                  <c:v>37404</c:v>
                </c:pt>
                <c:pt idx="28">
                  <c:v>37405</c:v>
                </c:pt>
                <c:pt idx="29">
                  <c:v>37406</c:v>
                </c:pt>
                <c:pt idx="30">
                  <c:v>37407</c:v>
                </c:pt>
                <c:pt idx="31">
                  <c:v>37410</c:v>
                </c:pt>
                <c:pt idx="32">
                  <c:v>37411</c:v>
                </c:pt>
                <c:pt idx="33">
                  <c:v>37412</c:v>
                </c:pt>
                <c:pt idx="34">
                  <c:v>37413</c:v>
                </c:pt>
                <c:pt idx="35">
                  <c:v>37414</c:v>
                </c:pt>
                <c:pt idx="36">
                  <c:v>37417</c:v>
                </c:pt>
                <c:pt idx="37">
                  <c:v>37418</c:v>
                </c:pt>
                <c:pt idx="38">
                  <c:v>37419</c:v>
                </c:pt>
                <c:pt idx="39">
                  <c:v>37420</c:v>
                </c:pt>
                <c:pt idx="40">
                  <c:v>37421</c:v>
                </c:pt>
                <c:pt idx="41">
                  <c:v>37424</c:v>
                </c:pt>
                <c:pt idx="42">
                  <c:v>37425</c:v>
                </c:pt>
                <c:pt idx="43">
                  <c:v>37426</c:v>
                </c:pt>
                <c:pt idx="44">
                  <c:v>37427</c:v>
                </c:pt>
                <c:pt idx="45">
                  <c:v>37428</c:v>
                </c:pt>
                <c:pt idx="46">
                  <c:v>37431</c:v>
                </c:pt>
                <c:pt idx="47">
                  <c:v>37432</c:v>
                </c:pt>
                <c:pt idx="48">
                  <c:v>37433</c:v>
                </c:pt>
                <c:pt idx="49">
                  <c:v>37434</c:v>
                </c:pt>
                <c:pt idx="50">
                  <c:v>37435</c:v>
                </c:pt>
                <c:pt idx="51">
                  <c:v>37438</c:v>
                </c:pt>
                <c:pt idx="52">
                  <c:v>37439</c:v>
                </c:pt>
                <c:pt idx="53">
                  <c:v>37440</c:v>
                </c:pt>
                <c:pt idx="54">
                  <c:v>37441</c:v>
                </c:pt>
                <c:pt idx="55">
                  <c:v>37442</c:v>
                </c:pt>
                <c:pt idx="56">
                  <c:v>37445</c:v>
                </c:pt>
                <c:pt idx="57">
                  <c:v>37446</c:v>
                </c:pt>
                <c:pt idx="58">
                  <c:v>37447</c:v>
                </c:pt>
                <c:pt idx="59">
                  <c:v>37448</c:v>
                </c:pt>
                <c:pt idx="60">
                  <c:v>37449</c:v>
                </c:pt>
                <c:pt idx="61">
                  <c:v>37452</c:v>
                </c:pt>
                <c:pt idx="62">
                  <c:v>37453</c:v>
                </c:pt>
                <c:pt idx="63">
                  <c:v>37454</c:v>
                </c:pt>
                <c:pt idx="64">
                  <c:v>37455</c:v>
                </c:pt>
                <c:pt idx="65">
                  <c:v>37456</c:v>
                </c:pt>
                <c:pt idx="66">
                  <c:v>37459</c:v>
                </c:pt>
                <c:pt idx="67">
                  <c:v>37460</c:v>
                </c:pt>
                <c:pt idx="68">
                  <c:v>37461</c:v>
                </c:pt>
                <c:pt idx="69">
                  <c:v>37462</c:v>
                </c:pt>
                <c:pt idx="70">
                  <c:v>37463</c:v>
                </c:pt>
                <c:pt idx="71">
                  <c:v>37466</c:v>
                </c:pt>
                <c:pt idx="72">
                  <c:v>37467</c:v>
                </c:pt>
                <c:pt idx="73">
                  <c:v>37468</c:v>
                </c:pt>
                <c:pt idx="74">
                  <c:v>37469</c:v>
                </c:pt>
                <c:pt idx="75">
                  <c:v>37470</c:v>
                </c:pt>
                <c:pt idx="76">
                  <c:v>37473</c:v>
                </c:pt>
                <c:pt idx="77">
                  <c:v>37474</c:v>
                </c:pt>
                <c:pt idx="78">
                  <c:v>37475</c:v>
                </c:pt>
                <c:pt idx="79">
                  <c:v>37476</c:v>
                </c:pt>
                <c:pt idx="80">
                  <c:v>37477</c:v>
                </c:pt>
                <c:pt idx="81">
                  <c:v>37480</c:v>
                </c:pt>
                <c:pt idx="82">
                  <c:v>37481</c:v>
                </c:pt>
                <c:pt idx="83">
                  <c:v>37482</c:v>
                </c:pt>
                <c:pt idx="84">
                  <c:v>37483</c:v>
                </c:pt>
                <c:pt idx="85">
                  <c:v>37484</c:v>
                </c:pt>
                <c:pt idx="86">
                  <c:v>37487</c:v>
                </c:pt>
                <c:pt idx="87">
                  <c:v>37488</c:v>
                </c:pt>
                <c:pt idx="88">
                  <c:v>37489</c:v>
                </c:pt>
                <c:pt idx="89">
                  <c:v>37490</c:v>
                </c:pt>
                <c:pt idx="90">
                  <c:v>37491</c:v>
                </c:pt>
                <c:pt idx="91">
                  <c:v>37494</c:v>
                </c:pt>
                <c:pt idx="92">
                  <c:v>37495</c:v>
                </c:pt>
                <c:pt idx="93">
                  <c:v>37496</c:v>
                </c:pt>
                <c:pt idx="94">
                  <c:v>37497</c:v>
                </c:pt>
                <c:pt idx="95">
                  <c:v>37498</c:v>
                </c:pt>
                <c:pt idx="96">
                  <c:v>37501</c:v>
                </c:pt>
                <c:pt idx="97">
                  <c:v>37502</c:v>
                </c:pt>
                <c:pt idx="98">
                  <c:v>37503</c:v>
                </c:pt>
                <c:pt idx="99">
                  <c:v>37504</c:v>
                </c:pt>
                <c:pt idx="100">
                  <c:v>37505</c:v>
                </c:pt>
                <c:pt idx="101">
                  <c:v>37508</c:v>
                </c:pt>
                <c:pt idx="102">
                  <c:v>37509</c:v>
                </c:pt>
                <c:pt idx="103">
                  <c:v>37510</c:v>
                </c:pt>
                <c:pt idx="104">
                  <c:v>37511</c:v>
                </c:pt>
                <c:pt idx="105">
                  <c:v>37512</c:v>
                </c:pt>
                <c:pt idx="106">
                  <c:v>37515</c:v>
                </c:pt>
                <c:pt idx="107">
                  <c:v>37516</c:v>
                </c:pt>
                <c:pt idx="108">
                  <c:v>37517</c:v>
                </c:pt>
                <c:pt idx="109">
                  <c:v>37518</c:v>
                </c:pt>
                <c:pt idx="110">
                  <c:v>37519</c:v>
                </c:pt>
                <c:pt idx="111">
                  <c:v>37522</c:v>
                </c:pt>
                <c:pt idx="112">
                  <c:v>37523</c:v>
                </c:pt>
                <c:pt idx="113">
                  <c:v>37524</c:v>
                </c:pt>
                <c:pt idx="114">
                  <c:v>37525</c:v>
                </c:pt>
                <c:pt idx="115">
                  <c:v>37526</c:v>
                </c:pt>
                <c:pt idx="116">
                  <c:v>37537</c:v>
                </c:pt>
                <c:pt idx="117">
                  <c:v>37538</c:v>
                </c:pt>
                <c:pt idx="118">
                  <c:v>37539</c:v>
                </c:pt>
                <c:pt idx="119">
                  <c:v>37540</c:v>
                </c:pt>
                <c:pt idx="120">
                  <c:v>37543</c:v>
                </c:pt>
                <c:pt idx="121">
                  <c:v>37544</c:v>
                </c:pt>
                <c:pt idx="122">
                  <c:v>37545</c:v>
                </c:pt>
                <c:pt idx="123">
                  <c:v>37546</c:v>
                </c:pt>
                <c:pt idx="124">
                  <c:v>37547</c:v>
                </c:pt>
                <c:pt idx="125">
                  <c:v>37550</c:v>
                </c:pt>
                <c:pt idx="126">
                  <c:v>37551</c:v>
                </c:pt>
                <c:pt idx="127">
                  <c:v>37552</c:v>
                </c:pt>
                <c:pt idx="128">
                  <c:v>37553</c:v>
                </c:pt>
                <c:pt idx="129">
                  <c:v>37554</c:v>
                </c:pt>
                <c:pt idx="130">
                  <c:v>37557</c:v>
                </c:pt>
                <c:pt idx="131">
                  <c:v>37558</c:v>
                </c:pt>
                <c:pt idx="132">
                  <c:v>37559</c:v>
                </c:pt>
                <c:pt idx="133">
                  <c:v>37560</c:v>
                </c:pt>
                <c:pt idx="134">
                  <c:v>37561</c:v>
                </c:pt>
                <c:pt idx="135">
                  <c:v>37564</c:v>
                </c:pt>
                <c:pt idx="136">
                  <c:v>37565</c:v>
                </c:pt>
                <c:pt idx="137">
                  <c:v>37566</c:v>
                </c:pt>
                <c:pt idx="138">
                  <c:v>37567</c:v>
                </c:pt>
                <c:pt idx="139">
                  <c:v>37568</c:v>
                </c:pt>
                <c:pt idx="140">
                  <c:v>37571</c:v>
                </c:pt>
                <c:pt idx="141">
                  <c:v>37572</c:v>
                </c:pt>
                <c:pt idx="142">
                  <c:v>37573</c:v>
                </c:pt>
                <c:pt idx="143">
                  <c:v>37574</c:v>
                </c:pt>
                <c:pt idx="144">
                  <c:v>37575</c:v>
                </c:pt>
                <c:pt idx="145">
                  <c:v>37578</c:v>
                </c:pt>
                <c:pt idx="146">
                  <c:v>37579</c:v>
                </c:pt>
                <c:pt idx="147">
                  <c:v>37580</c:v>
                </c:pt>
                <c:pt idx="148">
                  <c:v>37581</c:v>
                </c:pt>
                <c:pt idx="149">
                  <c:v>37582</c:v>
                </c:pt>
                <c:pt idx="150">
                  <c:v>37585</c:v>
                </c:pt>
                <c:pt idx="151">
                  <c:v>37586</c:v>
                </c:pt>
                <c:pt idx="152">
                  <c:v>37587</c:v>
                </c:pt>
                <c:pt idx="153">
                  <c:v>37588</c:v>
                </c:pt>
                <c:pt idx="154">
                  <c:v>37589</c:v>
                </c:pt>
                <c:pt idx="155">
                  <c:v>37592</c:v>
                </c:pt>
                <c:pt idx="156">
                  <c:v>37593</c:v>
                </c:pt>
                <c:pt idx="157">
                  <c:v>37594</c:v>
                </c:pt>
                <c:pt idx="158">
                  <c:v>37595</c:v>
                </c:pt>
                <c:pt idx="159">
                  <c:v>37596</c:v>
                </c:pt>
                <c:pt idx="160">
                  <c:v>37599</c:v>
                </c:pt>
                <c:pt idx="161">
                  <c:v>37600</c:v>
                </c:pt>
                <c:pt idx="162">
                  <c:v>37601</c:v>
                </c:pt>
                <c:pt idx="163">
                  <c:v>37602</c:v>
                </c:pt>
                <c:pt idx="164">
                  <c:v>37603</c:v>
                </c:pt>
                <c:pt idx="165">
                  <c:v>37606</c:v>
                </c:pt>
                <c:pt idx="166">
                  <c:v>37607</c:v>
                </c:pt>
                <c:pt idx="167">
                  <c:v>37608</c:v>
                </c:pt>
                <c:pt idx="168">
                  <c:v>37609</c:v>
                </c:pt>
                <c:pt idx="169">
                  <c:v>37610</c:v>
                </c:pt>
                <c:pt idx="170">
                  <c:v>37613</c:v>
                </c:pt>
                <c:pt idx="171">
                  <c:v>37614</c:v>
                </c:pt>
                <c:pt idx="172">
                  <c:v>37615</c:v>
                </c:pt>
                <c:pt idx="173">
                  <c:v>37616</c:v>
                </c:pt>
                <c:pt idx="174">
                  <c:v>37617</c:v>
                </c:pt>
                <c:pt idx="175">
                  <c:v>37620</c:v>
                </c:pt>
                <c:pt idx="176">
                  <c:v>37621</c:v>
                </c:pt>
                <c:pt idx="177">
                  <c:v>37623</c:v>
                </c:pt>
                <c:pt idx="178">
                  <c:v>37624</c:v>
                </c:pt>
                <c:pt idx="179">
                  <c:v>37627</c:v>
                </c:pt>
                <c:pt idx="180">
                  <c:v>37628</c:v>
                </c:pt>
                <c:pt idx="181">
                  <c:v>37629</c:v>
                </c:pt>
                <c:pt idx="182">
                  <c:v>37630</c:v>
                </c:pt>
                <c:pt idx="183">
                  <c:v>37631</c:v>
                </c:pt>
                <c:pt idx="184">
                  <c:v>37634</c:v>
                </c:pt>
                <c:pt idx="185">
                  <c:v>37635</c:v>
                </c:pt>
                <c:pt idx="186">
                  <c:v>37636</c:v>
                </c:pt>
                <c:pt idx="187">
                  <c:v>37637</c:v>
                </c:pt>
                <c:pt idx="188">
                  <c:v>37638</c:v>
                </c:pt>
                <c:pt idx="189">
                  <c:v>37641</c:v>
                </c:pt>
                <c:pt idx="190">
                  <c:v>37642</c:v>
                </c:pt>
                <c:pt idx="191">
                  <c:v>37643</c:v>
                </c:pt>
                <c:pt idx="192">
                  <c:v>37644</c:v>
                </c:pt>
                <c:pt idx="193">
                  <c:v>37645</c:v>
                </c:pt>
                <c:pt idx="194">
                  <c:v>37648</c:v>
                </c:pt>
                <c:pt idx="195">
                  <c:v>37649</c:v>
                </c:pt>
                <c:pt idx="196">
                  <c:v>37650</c:v>
                </c:pt>
                <c:pt idx="197">
                  <c:v>37662</c:v>
                </c:pt>
                <c:pt idx="198">
                  <c:v>37663</c:v>
                </c:pt>
                <c:pt idx="199">
                  <c:v>37664</c:v>
                </c:pt>
                <c:pt idx="200">
                  <c:v>37665</c:v>
                </c:pt>
                <c:pt idx="201">
                  <c:v>37666</c:v>
                </c:pt>
                <c:pt idx="202">
                  <c:v>37669</c:v>
                </c:pt>
                <c:pt idx="203">
                  <c:v>37670</c:v>
                </c:pt>
                <c:pt idx="204">
                  <c:v>37671</c:v>
                </c:pt>
                <c:pt idx="205">
                  <c:v>37672</c:v>
                </c:pt>
                <c:pt idx="206">
                  <c:v>37673</c:v>
                </c:pt>
                <c:pt idx="207">
                  <c:v>37676</c:v>
                </c:pt>
                <c:pt idx="208">
                  <c:v>37677</c:v>
                </c:pt>
                <c:pt idx="209">
                  <c:v>37678</c:v>
                </c:pt>
                <c:pt idx="210">
                  <c:v>37679</c:v>
                </c:pt>
                <c:pt idx="211">
                  <c:v>37680</c:v>
                </c:pt>
                <c:pt idx="212">
                  <c:v>37683</c:v>
                </c:pt>
                <c:pt idx="213">
                  <c:v>37684</c:v>
                </c:pt>
                <c:pt idx="214">
                  <c:v>37685</c:v>
                </c:pt>
                <c:pt idx="215">
                  <c:v>37686</c:v>
                </c:pt>
                <c:pt idx="216">
                  <c:v>37687</c:v>
                </c:pt>
                <c:pt idx="217">
                  <c:v>37690</c:v>
                </c:pt>
                <c:pt idx="218">
                  <c:v>37691</c:v>
                </c:pt>
                <c:pt idx="219">
                  <c:v>37692</c:v>
                </c:pt>
                <c:pt idx="220">
                  <c:v>37693</c:v>
                </c:pt>
                <c:pt idx="221">
                  <c:v>37694</c:v>
                </c:pt>
                <c:pt idx="222">
                  <c:v>37697</c:v>
                </c:pt>
                <c:pt idx="223">
                  <c:v>37698</c:v>
                </c:pt>
                <c:pt idx="224">
                  <c:v>37699</c:v>
                </c:pt>
                <c:pt idx="225">
                  <c:v>37700</c:v>
                </c:pt>
                <c:pt idx="226">
                  <c:v>37701</c:v>
                </c:pt>
                <c:pt idx="227">
                  <c:v>37704</c:v>
                </c:pt>
                <c:pt idx="228">
                  <c:v>37705</c:v>
                </c:pt>
                <c:pt idx="229">
                  <c:v>37706</c:v>
                </c:pt>
                <c:pt idx="230">
                  <c:v>37707</c:v>
                </c:pt>
                <c:pt idx="231">
                  <c:v>37708</c:v>
                </c:pt>
                <c:pt idx="232">
                  <c:v>37711</c:v>
                </c:pt>
                <c:pt idx="233">
                  <c:v>37712</c:v>
                </c:pt>
                <c:pt idx="234">
                  <c:v>37713</c:v>
                </c:pt>
                <c:pt idx="235">
                  <c:v>37714</c:v>
                </c:pt>
                <c:pt idx="236">
                  <c:v>37715</c:v>
                </c:pt>
                <c:pt idx="237">
                  <c:v>37718</c:v>
                </c:pt>
                <c:pt idx="238">
                  <c:v>37719</c:v>
                </c:pt>
                <c:pt idx="239">
                  <c:v>37720</c:v>
                </c:pt>
                <c:pt idx="240">
                  <c:v>37721</c:v>
                </c:pt>
                <c:pt idx="241">
                  <c:v>37722</c:v>
                </c:pt>
                <c:pt idx="242">
                  <c:v>37725</c:v>
                </c:pt>
                <c:pt idx="243">
                  <c:v>37726</c:v>
                </c:pt>
                <c:pt idx="244">
                  <c:v>37727</c:v>
                </c:pt>
                <c:pt idx="245">
                  <c:v>37728</c:v>
                </c:pt>
                <c:pt idx="246">
                  <c:v>37729</c:v>
                </c:pt>
                <c:pt idx="247">
                  <c:v>37732</c:v>
                </c:pt>
                <c:pt idx="248">
                  <c:v>37733</c:v>
                </c:pt>
                <c:pt idx="249">
                  <c:v>37734</c:v>
                </c:pt>
                <c:pt idx="250">
                  <c:v>37735</c:v>
                </c:pt>
                <c:pt idx="251">
                  <c:v>37736</c:v>
                </c:pt>
                <c:pt idx="252">
                  <c:v>37739</c:v>
                </c:pt>
                <c:pt idx="253">
                  <c:v>37740</c:v>
                </c:pt>
                <c:pt idx="254">
                  <c:v>37741</c:v>
                </c:pt>
                <c:pt idx="255">
                  <c:v>37753</c:v>
                </c:pt>
                <c:pt idx="256">
                  <c:v>37754</c:v>
                </c:pt>
                <c:pt idx="257">
                  <c:v>37755</c:v>
                </c:pt>
                <c:pt idx="258">
                  <c:v>37756</c:v>
                </c:pt>
                <c:pt idx="259">
                  <c:v>37757</c:v>
                </c:pt>
                <c:pt idx="260">
                  <c:v>37760</c:v>
                </c:pt>
                <c:pt idx="261">
                  <c:v>37761</c:v>
                </c:pt>
                <c:pt idx="262">
                  <c:v>37762</c:v>
                </c:pt>
                <c:pt idx="263">
                  <c:v>37763</c:v>
                </c:pt>
                <c:pt idx="264">
                  <c:v>37764</c:v>
                </c:pt>
                <c:pt idx="265">
                  <c:v>37767</c:v>
                </c:pt>
                <c:pt idx="266">
                  <c:v>37768</c:v>
                </c:pt>
                <c:pt idx="267">
                  <c:v>37769</c:v>
                </c:pt>
                <c:pt idx="268">
                  <c:v>37770</c:v>
                </c:pt>
                <c:pt idx="269">
                  <c:v>37771</c:v>
                </c:pt>
                <c:pt idx="270">
                  <c:v>37774</c:v>
                </c:pt>
                <c:pt idx="271">
                  <c:v>37775</c:v>
                </c:pt>
                <c:pt idx="272">
                  <c:v>37776</c:v>
                </c:pt>
                <c:pt idx="273">
                  <c:v>37777</c:v>
                </c:pt>
                <c:pt idx="274">
                  <c:v>37778</c:v>
                </c:pt>
                <c:pt idx="275">
                  <c:v>37781</c:v>
                </c:pt>
                <c:pt idx="276">
                  <c:v>37782</c:v>
                </c:pt>
                <c:pt idx="277">
                  <c:v>37783</c:v>
                </c:pt>
                <c:pt idx="278">
                  <c:v>37784</c:v>
                </c:pt>
                <c:pt idx="279">
                  <c:v>37785</c:v>
                </c:pt>
                <c:pt idx="280">
                  <c:v>37788</c:v>
                </c:pt>
                <c:pt idx="281">
                  <c:v>37789</c:v>
                </c:pt>
                <c:pt idx="282">
                  <c:v>37790</c:v>
                </c:pt>
                <c:pt idx="283">
                  <c:v>37791</c:v>
                </c:pt>
                <c:pt idx="284">
                  <c:v>37792</c:v>
                </c:pt>
                <c:pt idx="285">
                  <c:v>37795</c:v>
                </c:pt>
                <c:pt idx="286">
                  <c:v>37796</c:v>
                </c:pt>
                <c:pt idx="287">
                  <c:v>37797</c:v>
                </c:pt>
                <c:pt idx="288">
                  <c:v>37798</c:v>
                </c:pt>
                <c:pt idx="289">
                  <c:v>37799</c:v>
                </c:pt>
                <c:pt idx="290">
                  <c:v>37802</c:v>
                </c:pt>
                <c:pt idx="291">
                  <c:v>37803</c:v>
                </c:pt>
                <c:pt idx="292">
                  <c:v>37804</c:v>
                </c:pt>
                <c:pt idx="293">
                  <c:v>37805</c:v>
                </c:pt>
                <c:pt idx="294">
                  <c:v>37806</c:v>
                </c:pt>
                <c:pt idx="295">
                  <c:v>37809</c:v>
                </c:pt>
                <c:pt idx="296">
                  <c:v>37810</c:v>
                </c:pt>
                <c:pt idx="297">
                  <c:v>37811</c:v>
                </c:pt>
                <c:pt idx="298">
                  <c:v>37812</c:v>
                </c:pt>
                <c:pt idx="299">
                  <c:v>37813</c:v>
                </c:pt>
                <c:pt idx="300">
                  <c:v>37816</c:v>
                </c:pt>
                <c:pt idx="301">
                  <c:v>37817</c:v>
                </c:pt>
                <c:pt idx="302">
                  <c:v>37818</c:v>
                </c:pt>
                <c:pt idx="303">
                  <c:v>37819</c:v>
                </c:pt>
                <c:pt idx="304">
                  <c:v>37820</c:v>
                </c:pt>
                <c:pt idx="305">
                  <c:v>37823</c:v>
                </c:pt>
                <c:pt idx="306">
                  <c:v>37824</c:v>
                </c:pt>
                <c:pt idx="307">
                  <c:v>37825</c:v>
                </c:pt>
                <c:pt idx="308">
                  <c:v>37826</c:v>
                </c:pt>
                <c:pt idx="309">
                  <c:v>37827</c:v>
                </c:pt>
                <c:pt idx="310">
                  <c:v>37830</c:v>
                </c:pt>
                <c:pt idx="311">
                  <c:v>37831</c:v>
                </c:pt>
                <c:pt idx="312">
                  <c:v>37832</c:v>
                </c:pt>
                <c:pt idx="313">
                  <c:v>37833</c:v>
                </c:pt>
                <c:pt idx="314">
                  <c:v>37834</c:v>
                </c:pt>
                <c:pt idx="315">
                  <c:v>37837</c:v>
                </c:pt>
                <c:pt idx="316">
                  <c:v>37838</c:v>
                </c:pt>
                <c:pt idx="317">
                  <c:v>37839</c:v>
                </c:pt>
                <c:pt idx="318">
                  <c:v>37840</c:v>
                </c:pt>
                <c:pt idx="319">
                  <c:v>37841</c:v>
                </c:pt>
                <c:pt idx="320">
                  <c:v>37844</c:v>
                </c:pt>
                <c:pt idx="321">
                  <c:v>37845</c:v>
                </c:pt>
                <c:pt idx="322">
                  <c:v>37846</c:v>
                </c:pt>
                <c:pt idx="323">
                  <c:v>37847</c:v>
                </c:pt>
                <c:pt idx="324">
                  <c:v>37848</c:v>
                </c:pt>
                <c:pt idx="325">
                  <c:v>37851</c:v>
                </c:pt>
                <c:pt idx="326">
                  <c:v>37852</c:v>
                </c:pt>
                <c:pt idx="327">
                  <c:v>37853</c:v>
                </c:pt>
                <c:pt idx="328">
                  <c:v>37854</c:v>
                </c:pt>
                <c:pt idx="329">
                  <c:v>37855</c:v>
                </c:pt>
                <c:pt idx="330">
                  <c:v>37858</c:v>
                </c:pt>
                <c:pt idx="331">
                  <c:v>37859</c:v>
                </c:pt>
                <c:pt idx="332">
                  <c:v>37860</c:v>
                </c:pt>
                <c:pt idx="333">
                  <c:v>37861</c:v>
                </c:pt>
                <c:pt idx="334">
                  <c:v>37862</c:v>
                </c:pt>
                <c:pt idx="335">
                  <c:v>37865</c:v>
                </c:pt>
                <c:pt idx="336">
                  <c:v>37866</c:v>
                </c:pt>
                <c:pt idx="337">
                  <c:v>37867</c:v>
                </c:pt>
                <c:pt idx="338">
                  <c:v>37868</c:v>
                </c:pt>
                <c:pt idx="339">
                  <c:v>37869</c:v>
                </c:pt>
                <c:pt idx="340">
                  <c:v>37872</c:v>
                </c:pt>
                <c:pt idx="341">
                  <c:v>37873</c:v>
                </c:pt>
                <c:pt idx="342">
                  <c:v>37874</c:v>
                </c:pt>
                <c:pt idx="343">
                  <c:v>37875</c:v>
                </c:pt>
                <c:pt idx="344">
                  <c:v>37876</c:v>
                </c:pt>
                <c:pt idx="345">
                  <c:v>37879</c:v>
                </c:pt>
                <c:pt idx="346">
                  <c:v>37880</c:v>
                </c:pt>
                <c:pt idx="347">
                  <c:v>37881</c:v>
                </c:pt>
                <c:pt idx="348">
                  <c:v>37882</c:v>
                </c:pt>
                <c:pt idx="349">
                  <c:v>37883</c:v>
                </c:pt>
                <c:pt idx="350">
                  <c:v>37886</c:v>
                </c:pt>
                <c:pt idx="351">
                  <c:v>37887</c:v>
                </c:pt>
                <c:pt idx="352">
                  <c:v>37888</c:v>
                </c:pt>
                <c:pt idx="353">
                  <c:v>37889</c:v>
                </c:pt>
                <c:pt idx="354">
                  <c:v>37890</c:v>
                </c:pt>
                <c:pt idx="355">
                  <c:v>37893</c:v>
                </c:pt>
                <c:pt idx="356">
                  <c:v>37894</c:v>
                </c:pt>
                <c:pt idx="357">
                  <c:v>37902</c:v>
                </c:pt>
                <c:pt idx="358">
                  <c:v>37903</c:v>
                </c:pt>
                <c:pt idx="359">
                  <c:v>37904</c:v>
                </c:pt>
                <c:pt idx="360">
                  <c:v>37907</c:v>
                </c:pt>
                <c:pt idx="361">
                  <c:v>37908</c:v>
                </c:pt>
                <c:pt idx="362">
                  <c:v>37909</c:v>
                </c:pt>
                <c:pt idx="363">
                  <c:v>37910</c:v>
                </c:pt>
                <c:pt idx="364">
                  <c:v>37911</c:v>
                </c:pt>
                <c:pt idx="365">
                  <c:v>37914</c:v>
                </c:pt>
                <c:pt idx="366">
                  <c:v>37915</c:v>
                </c:pt>
                <c:pt idx="367">
                  <c:v>37916</c:v>
                </c:pt>
                <c:pt idx="368">
                  <c:v>37917</c:v>
                </c:pt>
                <c:pt idx="369">
                  <c:v>37918</c:v>
                </c:pt>
                <c:pt idx="370">
                  <c:v>37921</c:v>
                </c:pt>
                <c:pt idx="371">
                  <c:v>37922</c:v>
                </c:pt>
                <c:pt idx="372">
                  <c:v>37923</c:v>
                </c:pt>
                <c:pt idx="373">
                  <c:v>37924</c:v>
                </c:pt>
                <c:pt idx="374">
                  <c:v>37925</c:v>
                </c:pt>
                <c:pt idx="375">
                  <c:v>37928</c:v>
                </c:pt>
                <c:pt idx="376">
                  <c:v>37929</c:v>
                </c:pt>
                <c:pt idx="377">
                  <c:v>37930</c:v>
                </c:pt>
                <c:pt idx="378">
                  <c:v>37931</c:v>
                </c:pt>
                <c:pt idx="379">
                  <c:v>37932</c:v>
                </c:pt>
                <c:pt idx="380">
                  <c:v>37935</c:v>
                </c:pt>
                <c:pt idx="381">
                  <c:v>37936</c:v>
                </c:pt>
                <c:pt idx="382">
                  <c:v>37937</c:v>
                </c:pt>
                <c:pt idx="383">
                  <c:v>37938</c:v>
                </c:pt>
                <c:pt idx="384">
                  <c:v>37939</c:v>
                </c:pt>
                <c:pt idx="385">
                  <c:v>37942</c:v>
                </c:pt>
                <c:pt idx="386">
                  <c:v>37943</c:v>
                </c:pt>
                <c:pt idx="387">
                  <c:v>37944</c:v>
                </c:pt>
                <c:pt idx="388">
                  <c:v>37945</c:v>
                </c:pt>
                <c:pt idx="389">
                  <c:v>37946</c:v>
                </c:pt>
                <c:pt idx="390">
                  <c:v>37949</c:v>
                </c:pt>
                <c:pt idx="391">
                  <c:v>37950</c:v>
                </c:pt>
                <c:pt idx="392">
                  <c:v>37951</c:v>
                </c:pt>
                <c:pt idx="393">
                  <c:v>37952</c:v>
                </c:pt>
                <c:pt idx="394">
                  <c:v>37953</c:v>
                </c:pt>
                <c:pt idx="395">
                  <c:v>37956</c:v>
                </c:pt>
                <c:pt idx="396">
                  <c:v>37957</c:v>
                </c:pt>
                <c:pt idx="397">
                  <c:v>37958</c:v>
                </c:pt>
                <c:pt idx="398">
                  <c:v>37959</c:v>
                </c:pt>
                <c:pt idx="399">
                  <c:v>37960</c:v>
                </c:pt>
                <c:pt idx="400">
                  <c:v>37963</c:v>
                </c:pt>
                <c:pt idx="401">
                  <c:v>37964</c:v>
                </c:pt>
                <c:pt idx="402">
                  <c:v>37965</c:v>
                </c:pt>
                <c:pt idx="403">
                  <c:v>37966</c:v>
                </c:pt>
                <c:pt idx="404">
                  <c:v>37967</c:v>
                </c:pt>
                <c:pt idx="405">
                  <c:v>37970</c:v>
                </c:pt>
                <c:pt idx="406">
                  <c:v>37971</c:v>
                </c:pt>
                <c:pt idx="407">
                  <c:v>37972</c:v>
                </c:pt>
                <c:pt idx="408">
                  <c:v>37973</c:v>
                </c:pt>
                <c:pt idx="409">
                  <c:v>37974</c:v>
                </c:pt>
                <c:pt idx="410">
                  <c:v>37977</c:v>
                </c:pt>
                <c:pt idx="411">
                  <c:v>37978</c:v>
                </c:pt>
                <c:pt idx="412">
                  <c:v>37979</c:v>
                </c:pt>
                <c:pt idx="413">
                  <c:v>37980</c:v>
                </c:pt>
                <c:pt idx="414">
                  <c:v>37981</c:v>
                </c:pt>
                <c:pt idx="415">
                  <c:v>37984</c:v>
                </c:pt>
                <c:pt idx="416">
                  <c:v>37985</c:v>
                </c:pt>
                <c:pt idx="417">
                  <c:v>37986</c:v>
                </c:pt>
                <c:pt idx="418">
                  <c:v>37988</c:v>
                </c:pt>
                <c:pt idx="419">
                  <c:v>37991</c:v>
                </c:pt>
                <c:pt idx="420">
                  <c:v>37992</c:v>
                </c:pt>
                <c:pt idx="421">
                  <c:v>37993</c:v>
                </c:pt>
                <c:pt idx="422">
                  <c:v>37994</c:v>
                </c:pt>
                <c:pt idx="423">
                  <c:v>37995</c:v>
                </c:pt>
                <c:pt idx="424">
                  <c:v>37998</c:v>
                </c:pt>
                <c:pt idx="425">
                  <c:v>37999</c:v>
                </c:pt>
                <c:pt idx="426">
                  <c:v>38000</c:v>
                </c:pt>
                <c:pt idx="427">
                  <c:v>38001</c:v>
                </c:pt>
                <c:pt idx="428">
                  <c:v>38002</c:v>
                </c:pt>
                <c:pt idx="429">
                  <c:v>38015</c:v>
                </c:pt>
                <c:pt idx="430">
                  <c:v>38016</c:v>
                </c:pt>
                <c:pt idx="431">
                  <c:v>38019</c:v>
                </c:pt>
                <c:pt idx="432">
                  <c:v>38020</c:v>
                </c:pt>
                <c:pt idx="433">
                  <c:v>38021</c:v>
                </c:pt>
                <c:pt idx="434">
                  <c:v>38022</c:v>
                </c:pt>
                <c:pt idx="435">
                  <c:v>38023</c:v>
                </c:pt>
                <c:pt idx="436">
                  <c:v>38026</c:v>
                </c:pt>
                <c:pt idx="437">
                  <c:v>38027</c:v>
                </c:pt>
                <c:pt idx="438">
                  <c:v>38028</c:v>
                </c:pt>
                <c:pt idx="439">
                  <c:v>38029</c:v>
                </c:pt>
                <c:pt idx="440">
                  <c:v>38030</c:v>
                </c:pt>
                <c:pt idx="441">
                  <c:v>38033</c:v>
                </c:pt>
                <c:pt idx="442">
                  <c:v>38034</c:v>
                </c:pt>
                <c:pt idx="443">
                  <c:v>38035</c:v>
                </c:pt>
                <c:pt idx="444">
                  <c:v>38036</c:v>
                </c:pt>
                <c:pt idx="445">
                  <c:v>38037</c:v>
                </c:pt>
                <c:pt idx="446">
                  <c:v>38040</c:v>
                </c:pt>
                <c:pt idx="447">
                  <c:v>38041</c:v>
                </c:pt>
                <c:pt idx="448">
                  <c:v>38042</c:v>
                </c:pt>
                <c:pt idx="449">
                  <c:v>38043</c:v>
                </c:pt>
                <c:pt idx="450">
                  <c:v>38044</c:v>
                </c:pt>
                <c:pt idx="451">
                  <c:v>38047</c:v>
                </c:pt>
                <c:pt idx="452">
                  <c:v>38048</c:v>
                </c:pt>
                <c:pt idx="453">
                  <c:v>38049</c:v>
                </c:pt>
                <c:pt idx="454">
                  <c:v>38050</c:v>
                </c:pt>
                <c:pt idx="455">
                  <c:v>38051</c:v>
                </c:pt>
                <c:pt idx="456">
                  <c:v>38054</c:v>
                </c:pt>
                <c:pt idx="457">
                  <c:v>38055</c:v>
                </c:pt>
                <c:pt idx="458">
                  <c:v>38056</c:v>
                </c:pt>
                <c:pt idx="459">
                  <c:v>38057</c:v>
                </c:pt>
                <c:pt idx="460">
                  <c:v>38058</c:v>
                </c:pt>
                <c:pt idx="461">
                  <c:v>38061</c:v>
                </c:pt>
                <c:pt idx="462">
                  <c:v>38062</c:v>
                </c:pt>
                <c:pt idx="463">
                  <c:v>38063</c:v>
                </c:pt>
                <c:pt idx="464">
                  <c:v>38064</c:v>
                </c:pt>
                <c:pt idx="465">
                  <c:v>38065</c:v>
                </c:pt>
                <c:pt idx="466">
                  <c:v>38068</c:v>
                </c:pt>
                <c:pt idx="467">
                  <c:v>38069</c:v>
                </c:pt>
                <c:pt idx="468">
                  <c:v>38070</c:v>
                </c:pt>
                <c:pt idx="469">
                  <c:v>38071</c:v>
                </c:pt>
                <c:pt idx="470">
                  <c:v>38072</c:v>
                </c:pt>
                <c:pt idx="471">
                  <c:v>38075</c:v>
                </c:pt>
                <c:pt idx="472">
                  <c:v>38076</c:v>
                </c:pt>
                <c:pt idx="473">
                  <c:v>38077</c:v>
                </c:pt>
                <c:pt idx="474">
                  <c:v>38078</c:v>
                </c:pt>
                <c:pt idx="475">
                  <c:v>38079</c:v>
                </c:pt>
                <c:pt idx="476">
                  <c:v>38082</c:v>
                </c:pt>
                <c:pt idx="477">
                  <c:v>38083</c:v>
                </c:pt>
                <c:pt idx="478">
                  <c:v>38084</c:v>
                </c:pt>
                <c:pt idx="479">
                  <c:v>38085</c:v>
                </c:pt>
                <c:pt idx="480">
                  <c:v>38086</c:v>
                </c:pt>
                <c:pt idx="481">
                  <c:v>38089</c:v>
                </c:pt>
                <c:pt idx="482">
                  <c:v>38090</c:v>
                </c:pt>
                <c:pt idx="483">
                  <c:v>38091</c:v>
                </c:pt>
                <c:pt idx="484">
                  <c:v>38092</c:v>
                </c:pt>
                <c:pt idx="485">
                  <c:v>38093</c:v>
                </c:pt>
                <c:pt idx="486">
                  <c:v>38096</c:v>
                </c:pt>
                <c:pt idx="487">
                  <c:v>38097</c:v>
                </c:pt>
                <c:pt idx="488">
                  <c:v>38098</c:v>
                </c:pt>
                <c:pt idx="489">
                  <c:v>38099</c:v>
                </c:pt>
                <c:pt idx="490">
                  <c:v>38100</c:v>
                </c:pt>
                <c:pt idx="491">
                  <c:v>38103</c:v>
                </c:pt>
                <c:pt idx="492">
                  <c:v>38104</c:v>
                </c:pt>
                <c:pt idx="493">
                  <c:v>38105</c:v>
                </c:pt>
                <c:pt idx="494">
                  <c:v>38106</c:v>
                </c:pt>
                <c:pt idx="495">
                  <c:v>38107</c:v>
                </c:pt>
                <c:pt idx="496">
                  <c:v>38117</c:v>
                </c:pt>
                <c:pt idx="497">
                  <c:v>38118</c:v>
                </c:pt>
                <c:pt idx="498">
                  <c:v>38119</c:v>
                </c:pt>
                <c:pt idx="499">
                  <c:v>38120</c:v>
                </c:pt>
                <c:pt idx="500">
                  <c:v>38121</c:v>
                </c:pt>
                <c:pt idx="501">
                  <c:v>38124</c:v>
                </c:pt>
                <c:pt idx="502">
                  <c:v>38125</c:v>
                </c:pt>
                <c:pt idx="503">
                  <c:v>38126</c:v>
                </c:pt>
                <c:pt idx="504">
                  <c:v>38127</c:v>
                </c:pt>
                <c:pt idx="505">
                  <c:v>38128</c:v>
                </c:pt>
                <c:pt idx="506">
                  <c:v>38131</c:v>
                </c:pt>
                <c:pt idx="507">
                  <c:v>38132</c:v>
                </c:pt>
                <c:pt idx="508">
                  <c:v>38133</c:v>
                </c:pt>
                <c:pt idx="509">
                  <c:v>38134</c:v>
                </c:pt>
                <c:pt idx="510">
                  <c:v>38135</c:v>
                </c:pt>
                <c:pt idx="511">
                  <c:v>38138</c:v>
                </c:pt>
                <c:pt idx="512">
                  <c:v>38139</c:v>
                </c:pt>
                <c:pt idx="513">
                  <c:v>38140</c:v>
                </c:pt>
                <c:pt idx="514">
                  <c:v>38141</c:v>
                </c:pt>
                <c:pt idx="515">
                  <c:v>38142</c:v>
                </c:pt>
                <c:pt idx="516">
                  <c:v>38145</c:v>
                </c:pt>
                <c:pt idx="517">
                  <c:v>38146</c:v>
                </c:pt>
                <c:pt idx="518">
                  <c:v>38147</c:v>
                </c:pt>
                <c:pt idx="519">
                  <c:v>38148</c:v>
                </c:pt>
                <c:pt idx="520">
                  <c:v>38149</c:v>
                </c:pt>
                <c:pt idx="521">
                  <c:v>38152</c:v>
                </c:pt>
                <c:pt idx="522">
                  <c:v>38153</c:v>
                </c:pt>
                <c:pt idx="523">
                  <c:v>38154</c:v>
                </c:pt>
                <c:pt idx="524">
                  <c:v>38155</c:v>
                </c:pt>
                <c:pt idx="525">
                  <c:v>38156</c:v>
                </c:pt>
                <c:pt idx="526">
                  <c:v>38159</c:v>
                </c:pt>
                <c:pt idx="527">
                  <c:v>38160</c:v>
                </c:pt>
                <c:pt idx="528">
                  <c:v>38161</c:v>
                </c:pt>
                <c:pt idx="529">
                  <c:v>38162</c:v>
                </c:pt>
                <c:pt idx="530">
                  <c:v>38163</c:v>
                </c:pt>
                <c:pt idx="531">
                  <c:v>38166</c:v>
                </c:pt>
                <c:pt idx="532">
                  <c:v>38167</c:v>
                </c:pt>
                <c:pt idx="533">
                  <c:v>38168</c:v>
                </c:pt>
                <c:pt idx="534">
                  <c:v>38169</c:v>
                </c:pt>
                <c:pt idx="535">
                  <c:v>38170</c:v>
                </c:pt>
                <c:pt idx="536">
                  <c:v>38173</c:v>
                </c:pt>
                <c:pt idx="537">
                  <c:v>38174</c:v>
                </c:pt>
                <c:pt idx="538">
                  <c:v>38175</c:v>
                </c:pt>
                <c:pt idx="539">
                  <c:v>38176</c:v>
                </c:pt>
                <c:pt idx="540">
                  <c:v>38177</c:v>
                </c:pt>
                <c:pt idx="541">
                  <c:v>38180</c:v>
                </c:pt>
                <c:pt idx="542">
                  <c:v>38181</c:v>
                </c:pt>
                <c:pt idx="543">
                  <c:v>38182</c:v>
                </c:pt>
                <c:pt idx="544">
                  <c:v>38183</c:v>
                </c:pt>
                <c:pt idx="545">
                  <c:v>38184</c:v>
                </c:pt>
                <c:pt idx="546">
                  <c:v>38187</c:v>
                </c:pt>
                <c:pt idx="547">
                  <c:v>38188</c:v>
                </c:pt>
                <c:pt idx="548">
                  <c:v>38189</c:v>
                </c:pt>
                <c:pt idx="549">
                  <c:v>38190</c:v>
                </c:pt>
                <c:pt idx="550">
                  <c:v>38191</c:v>
                </c:pt>
                <c:pt idx="551">
                  <c:v>38194</c:v>
                </c:pt>
                <c:pt idx="552">
                  <c:v>38195</c:v>
                </c:pt>
                <c:pt idx="553">
                  <c:v>38196</c:v>
                </c:pt>
                <c:pt idx="554">
                  <c:v>38197</c:v>
                </c:pt>
                <c:pt idx="555">
                  <c:v>38198</c:v>
                </c:pt>
                <c:pt idx="556">
                  <c:v>38201</c:v>
                </c:pt>
                <c:pt idx="557">
                  <c:v>38202</c:v>
                </c:pt>
                <c:pt idx="558">
                  <c:v>38203</c:v>
                </c:pt>
                <c:pt idx="559">
                  <c:v>38204</c:v>
                </c:pt>
                <c:pt idx="560">
                  <c:v>38205</c:v>
                </c:pt>
                <c:pt idx="561">
                  <c:v>38208</c:v>
                </c:pt>
                <c:pt idx="562">
                  <c:v>38209</c:v>
                </c:pt>
                <c:pt idx="563">
                  <c:v>38210</c:v>
                </c:pt>
                <c:pt idx="564">
                  <c:v>38211</c:v>
                </c:pt>
                <c:pt idx="565">
                  <c:v>38212</c:v>
                </c:pt>
                <c:pt idx="566">
                  <c:v>38215</c:v>
                </c:pt>
                <c:pt idx="567">
                  <c:v>38216</c:v>
                </c:pt>
                <c:pt idx="568">
                  <c:v>38217</c:v>
                </c:pt>
                <c:pt idx="569">
                  <c:v>38218</c:v>
                </c:pt>
                <c:pt idx="570">
                  <c:v>38219</c:v>
                </c:pt>
                <c:pt idx="571">
                  <c:v>38222</c:v>
                </c:pt>
                <c:pt idx="572">
                  <c:v>38223</c:v>
                </c:pt>
                <c:pt idx="573">
                  <c:v>38224</c:v>
                </c:pt>
                <c:pt idx="574">
                  <c:v>38225</c:v>
                </c:pt>
                <c:pt idx="575">
                  <c:v>38226</c:v>
                </c:pt>
                <c:pt idx="576">
                  <c:v>38229</c:v>
                </c:pt>
                <c:pt idx="577">
                  <c:v>38230</c:v>
                </c:pt>
                <c:pt idx="578">
                  <c:v>38231</c:v>
                </c:pt>
                <c:pt idx="579">
                  <c:v>38232</c:v>
                </c:pt>
                <c:pt idx="580">
                  <c:v>38233</c:v>
                </c:pt>
                <c:pt idx="581">
                  <c:v>38236</c:v>
                </c:pt>
                <c:pt idx="582">
                  <c:v>38237</c:v>
                </c:pt>
                <c:pt idx="583">
                  <c:v>38238</c:v>
                </c:pt>
                <c:pt idx="584">
                  <c:v>38239</c:v>
                </c:pt>
                <c:pt idx="585">
                  <c:v>38240</c:v>
                </c:pt>
                <c:pt idx="586">
                  <c:v>38243</c:v>
                </c:pt>
                <c:pt idx="587">
                  <c:v>38244</c:v>
                </c:pt>
                <c:pt idx="588">
                  <c:v>38245</c:v>
                </c:pt>
                <c:pt idx="589">
                  <c:v>38246</c:v>
                </c:pt>
                <c:pt idx="590">
                  <c:v>38247</c:v>
                </c:pt>
                <c:pt idx="591">
                  <c:v>38250</c:v>
                </c:pt>
                <c:pt idx="592">
                  <c:v>38251</c:v>
                </c:pt>
                <c:pt idx="593">
                  <c:v>38252</c:v>
                </c:pt>
                <c:pt idx="594">
                  <c:v>38253</c:v>
                </c:pt>
                <c:pt idx="595">
                  <c:v>38254</c:v>
                </c:pt>
                <c:pt idx="596">
                  <c:v>38257</c:v>
                </c:pt>
                <c:pt idx="597">
                  <c:v>38258</c:v>
                </c:pt>
                <c:pt idx="598">
                  <c:v>38259</c:v>
                </c:pt>
                <c:pt idx="599">
                  <c:v>38260</c:v>
                </c:pt>
                <c:pt idx="600">
                  <c:v>38268</c:v>
                </c:pt>
                <c:pt idx="601">
                  <c:v>38271</c:v>
                </c:pt>
                <c:pt idx="602">
                  <c:v>38272</c:v>
                </c:pt>
                <c:pt idx="603">
                  <c:v>38273</c:v>
                </c:pt>
                <c:pt idx="604">
                  <c:v>38274</c:v>
                </c:pt>
                <c:pt idx="605">
                  <c:v>38275</c:v>
                </c:pt>
                <c:pt idx="606">
                  <c:v>38278</c:v>
                </c:pt>
                <c:pt idx="607">
                  <c:v>38279</c:v>
                </c:pt>
                <c:pt idx="608">
                  <c:v>38280</c:v>
                </c:pt>
                <c:pt idx="609">
                  <c:v>38281</c:v>
                </c:pt>
                <c:pt idx="610">
                  <c:v>38282</c:v>
                </c:pt>
                <c:pt idx="611">
                  <c:v>38285</c:v>
                </c:pt>
                <c:pt idx="612">
                  <c:v>38286</c:v>
                </c:pt>
                <c:pt idx="613">
                  <c:v>38287</c:v>
                </c:pt>
                <c:pt idx="614">
                  <c:v>38288</c:v>
                </c:pt>
                <c:pt idx="615">
                  <c:v>38289</c:v>
                </c:pt>
                <c:pt idx="616">
                  <c:v>38292</c:v>
                </c:pt>
                <c:pt idx="617">
                  <c:v>38293</c:v>
                </c:pt>
                <c:pt idx="618">
                  <c:v>38294</c:v>
                </c:pt>
                <c:pt idx="619">
                  <c:v>38295</c:v>
                </c:pt>
                <c:pt idx="620">
                  <c:v>38296</c:v>
                </c:pt>
                <c:pt idx="621">
                  <c:v>38299</c:v>
                </c:pt>
                <c:pt idx="622">
                  <c:v>38300</c:v>
                </c:pt>
                <c:pt idx="623">
                  <c:v>38301</c:v>
                </c:pt>
                <c:pt idx="624">
                  <c:v>38302</c:v>
                </c:pt>
                <c:pt idx="625">
                  <c:v>38303</c:v>
                </c:pt>
                <c:pt idx="626">
                  <c:v>38306</c:v>
                </c:pt>
                <c:pt idx="627">
                  <c:v>38307</c:v>
                </c:pt>
                <c:pt idx="628">
                  <c:v>38308</c:v>
                </c:pt>
                <c:pt idx="629">
                  <c:v>38309</c:v>
                </c:pt>
                <c:pt idx="630">
                  <c:v>38310</c:v>
                </c:pt>
                <c:pt idx="631">
                  <c:v>38313</c:v>
                </c:pt>
                <c:pt idx="632">
                  <c:v>38314</c:v>
                </c:pt>
                <c:pt idx="633">
                  <c:v>38315</c:v>
                </c:pt>
                <c:pt idx="634">
                  <c:v>38316</c:v>
                </c:pt>
                <c:pt idx="635">
                  <c:v>38317</c:v>
                </c:pt>
                <c:pt idx="636">
                  <c:v>38320</c:v>
                </c:pt>
                <c:pt idx="637">
                  <c:v>38321</c:v>
                </c:pt>
                <c:pt idx="638">
                  <c:v>38322</c:v>
                </c:pt>
                <c:pt idx="639">
                  <c:v>38323</c:v>
                </c:pt>
                <c:pt idx="640">
                  <c:v>38324</c:v>
                </c:pt>
                <c:pt idx="641">
                  <c:v>38327</c:v>
                </c:pt>
                <c:pt idx="642">
                  <c:v>38328</c:v>
                </c:pt>
                <c:pt idx="643">
                  <c:v>38329</c:v>
                </c:pt>
                <c:pt idx="644">
                  <c:v>38330</c:v>
                </c:pt>
                <c:pt idx="645">
                  <c:v>38331</c:v>
                </c:pt>
                <c:pt idx="646">
                  <c:v>38334</c:v>
                </c:pt>
                <c:pt idx="647">
                  <c:v>38335</c:v>
                </c:pt>
                <c:pt idx="648">
                  <c:v>38336</c:v>
                </c:pt>
                <c:pt idx="649">
                  <c:v>38337</c:v>
                </c:pt>
                <c:pt idx="650">
                  <c:v>38338</c:v>
                </c:pt>
                <c:pt idx="651">
                  <c:v>38341</c:v>
                </c:pt>
                <c:pt idx="652">
                  <c:v>38342</c:v>
                </c:pt>
                <c:pt idx="653">
                  <c:v>38343</c:v>
                </c:pt>
                <c:pt idx="654">
                  <c:v>38344</c:v>
                </c:pt>
                <c:pt idx="655">
                  <c:v>38345</c:v>
                </c:pt>
                <c:pt idx="656">
                  <c:v>38348</c:v>
                </c:pt>
                <c:pt idx="657">
                  <c:v>38349</c:v>
                </c:pt>
                <c:pt idx="658">
                  <c:v>38350</c:v>
                </c:pt>
                <c:pt idx="659">
                  <c:v>38351</c:v>
                </c:pt>
                <c:pt idx="660">
                  <c:v>38352</c:v>
                </c:pt>
                <c:pt idx="661">
                  <c:v>38356</c:v>
                </c:pt>
                <c:pt idx="662">
                  <c:v>38357</c:v>
                </c:pt>
                <c:pt idx="663">
                  <c:v>38358</c:v>
                </c:pt>
                <c:pt idx="664">
                  <c:v>38359</c:v>
                </c:pt>
                <c:pt idx="665">
                  <c:v>38362</c:v>
                </c:pt>
                <c:pt idx="666">
                  <c:v>38363</c:v>
                </c:pt>
                <c:pt idx="667">
                  <c:v>38364</c:v>
                </c:pt>
                <c:pt idx="668">
                  <c:v>38365</c:v>
                </c:pt>
                <c:pt idx="669">
                  <c:v>38366</c:v>
                </c:pt>
                <c:pt idx="670">
                  <c:v>38369</c:v>
                </c:pt>
                <c:pt idx="671">
                  <c:v>38370</c:v>
                </c:pt>
                <c:pt idx="672">
                  <c:v>38371</c:v>
                </c:pt>
                <c:pt idx="673">
                  <c:v>38372</c:v>
                </c:pt>
                <c:pt idx="674">
                  <c:v>38373</c:v>
                </c:pt>
                <c:pt idx="675">
                  <c:v>38376</c:v>
                </c:pt>
                <c:pt idx="676">
                  <c:v>38377</c:v>
                </c:pt>
                <c:pt idx="677">
                  <c:v>38378</c:v>
                </c:pt>
                <c:pt idx="678">
                  <c:v>38379</c:v>
                </c:pt>
                <c:pt idx="679">
                  <c:v>38380</c:v>
                </c:pt>
                <c:pt idx="680">
                  <c:v>38383</c:v>
                </c:pt>
                <c:pt idx="681">
                  <c:v>38384</c:v>
                </c:pt>
                <c:pt idx="682">
                  <c:v>38385</c:v>
                </c:pt>
                <c:pt idx="683">
                  <c:v>38386</c:v>
                </c:pt>
                <c:pt idx="684">
                  <c:v>38387</c:v>
                </c:pt>
                <c:pt idx="685">
                  <c:v>38399</c:v>
                </c:pt>
                <c:pt idx="686">
                  <c:v>38400</c:v>
                </c:pt>
                <c:pt idx="687">
                  <c:v>38401</c:v>
                </c:pt>
                <c:pt idx="688">
                  <c:v>38404</c:v>
                </c:pt>
                <c:pt idx="689">
                  <c:v>38405</c:v>
                </c:pt>
                <c:pt idx="690">
                  <c:v>38406</c:v>
                </c:pt>
                <c:pt idx="691">
                  <c:v>38407</c:v>
                </c:pt>
                <c:pt idx="692">
                  <c:v>38408</c:v>
                </c:pt>
                <c:pt idx="693">
                  <c:v>38411</c:v>
                </c:pt>
                <c:pt idx="694">
                  <c:v>38412</c:v>
                </c:pt>
                <c:pt idx="695">
                  <c:v>38413</c:v>
                </c:pt>
                <c:pt idx="696">
                  <c:v>38414</c:v>
                </c:pt>
                <c:pt idx="697">
                  <c:v>38415</c:v>
                </c:pt>
                <c:pt idx="698">
                  <c:v>38418</c:v>
                </c:pt>
                <c:pt idx="699">
                  <c:v>38419</c:v>
                </c:pt>
                <c:pt idx="700">
                  <c:v>38420</c:v>
                </c:pt>
                <c:pt idx="701">
                  <c:v>38421</c:v>
                </c:pt>
                <c:pt idx="702">
                  <c:v>38422</c:v>
                </c:pt>
                <c:pt idx="703">
                  <c:v>38425</c:v>
                </c:pt>
                <c:pt idx="704">
                  <c:v>38426</c:v>
                </c:pt>
                <c:pt idx="705">
                  <c:v>38427</c:v>
                </c:pt>
                <c:pt idx="706">
                  <c:v>38428</c:v>
                </c:pt>
                <c:pt idx="707">
                  <c:v>38429</c:v>
                </c:pt>
                <c:pt idx="708">
                  <c:v>38432</c:v>
                </c:pt>
                <c:pt idx="709">
                  <c:v>38433</c:v>
                </c:pt>
                <c:pt idx="710">
                  <c:v>38434</c:v>
                </c:pt>
                <c:pt idx="711">
                  <c:v>38435</c:v>
                </c:pt>
                <c:pt idx="712">
                  <c:v>38436</c:v>
                </c:pt>
                <c:pt idx="713">
                  <c:v>38439</c:v>
                </c:pt>
                <c:pt idx="714">
                  <c:v>38440</c:v>
                </c:pt>
                <c:pt idx="715">
                  <c:v>38441</c:v>
                </c:pt>
                <c:pt idx="716">
                  <c:v>38442</c:v>
                </c:pt>
                <c:pt idx="717">
                  <c:v>38443</c:v>
                </c:pt>
                <c:pt idx="718">
                  <c:v>38446</c:v>
                </c:pt>
                <c:pt idx="719">
                  <c:v>38447</c:v>
                </c:pt>
                <c:pt idx="720">
                  <c:v>38448</c:v>
                </c:pt>
                <c:pt idx="721">
                  <c:v>38449</c:v>
                </c:pt>
                <c:pt idx="722">
                  <c:v>38450</c:v>
                </c:pt>
                <c:pt idx="723">
                  <c:v>38453</c:v>
                </c:pt>
                <c:pt idx="724">
                  <c:v>38454</c:v>
                </c:pt>
                <c:pt idx="725">
                  <c:v>38455</c:v>
                </c:pt>
                <c:pt idx="726">
                  <c:v>38456</c:v>
                </c:pt>
                <c:pt idx="727">
                  <c:v>38457</c:v>
                </c:pt>
                <c:pt idx="728">
                  <c:v>38460</c:v>
                </c:pt>
                <c:pt idx="729">
                  <c:v>38461</c:v>
                </c:pt>
                <c:pt idx="730">
                  <c:v>38462</c:v>
                </c:pt>
                <c:pt idx="731">
                  <c:v>38463</c:v>
                </c:pt>
                <c:pt idx="732">
                  <c:v>38464</c:v>
                </c:pt>
                <c:pt idx="733">
                  <c:v>38467</c:v>
                </c:pt>
                <c:pt idx="734">
                  <c:v>38468</c:v>
                </c:pt>
                <c:pt idx="735">
                  <c:v>38469</c:v>
                </c:pt>
                <c:pt idx="736">
                  <c:v>38470</c:v>
                </c:pt>
                <c:pt idx="737">
                  <c:v>38471</c:v>
                </c:pt>
                <c:pt idx="738">
                  <c:v>38481</c:v>
                </c:pt>
                <c:pt idx="739">
                  <c:v>38482</c:v>
                </c:pt>
                <c:pt idx="740">
                  <c:v>38483</c:v>
                </c:pt>
                <c:pt idx="741">
                  <c:v>38484</c:v>
                </c:pt>
                <c:pt idx="742">
                  <c:v>38485</c:v>
                </c:pt>
                <c:pt idx="743">
                  <c:v>38488</c:v>
                </c:pt>
                <c:pt idx="744">
                  <c:v>38489</c:v>
                </c:pt>
                <c:pt idx="745">
                  <c:v>38490</c:v>
                </c:pt>
                <c:pt idx="746">
                  <c:v>38491</c:v>
                </c:pt>
                <c:pt idx="747">
                  <c:v>38492</c:v>
                </c:pt>
                <c:pt idx="748">
                  <c:v>38495</c:v>
                </c:pt>
                <c:pt idx="749">
                  <c:v>38496</c:v>
                </c:pt>
                <c:pt idx="750">
                  <c:v>38497</c:v>
                </c:pt>
                <c:pt idx="751">
                  <c:v>38498</c:v>
                </c:pt>
                <c:pt idx="752">
                  <c:v>38499</c:v>
                </c:pt>
                <c:pt idx="753">
                  <c:v>38502</c:v>
                </c:pt>
                <c:pt idx="754">
                  <c:v>38503</c:v>
                </c:pt>
                <c:pt idx="755">
                  <c:v>38504</c:v>
                </c:pt>
                <c:pt idx="756">
                  <c:v>38505</c:v>
                </c:pt>
                <c:pt idx="757">
                  <c:v>38506</c:v>
                </c:pt>
                <c:pt idx="758">
                  <c:v>38509</c:v>
                </c:pt>
                <c:pt idx="759">
                  <c:v>38510</c:v>
                </c:pt>
                <c:pt idx="760">
                  <c:v>38511</c:v>
                </c:pt>
                <c:pt idx="761">
                  <c:v>38512</c:v>
                </c:pt>
                <c:pt idx="762">
                  <c:v>38513</c:v>
                </c:pt>
                <c:pt idx="763">
                  <c:v>38516</c:v>
                </c:pt>
                <c:pt idx="764">
                  <c:v>38517</c:v>
                </c:pt>
                <c:pt idx="765">
                  <c:v>38518</c:v>
                </c:pt>
                <c:pt idx="766">
                  <c:v>38519</c:v>
                </c:pt>
                <c:pt idx="767">
                  <c:v>38520</c:v>
                </c:pt>
                <c:pt idx="768">
                  <c:v>38523</c:v>
                </c:pt>
                <c:pt idx="769">
                  <c:v>38524</c:v>
                </c:pt>
                <c:pt idx="770">
                  <c:v>38525</c:v>
                </c:pt>
                <c:pt idx="771">
                  <c:v>38526</c:v>
                </c:pt>
                <c:pt idx="772">
                  <c:v>38527</c:v>
                </c:pt>
                <c:pt idx="773">
                  <c:v>38530</c:v>
                </c:pt>
                <c:pt idx="774">
                  <c:v>38531</c:v>
                </c:pt>
                <c:pt idx="775">
                  <c:v>38532</c:v>
                </c:pt>
                <c:pt idx="776">
                  <c:v>38533</c:v>
                </c:pt>
                <c:pt idx="777">
                  <c:v>38534</c:v>
                </c:pt>
                <c:pt idx="778">
                  <c:v>38537</c:v>
                </c:pt>
                <c:pt idx="779">
                  <c:v>38538</c:v>
                </c:pt>
                <c:pt idx="780">
                  <c:v>38539</c:v>
                </c:pt>
                <c:pt idx="781">
                  <c:v>38540</c:v>
                </c:pt>
                <c:pt idx="782">
                  <c:v>38541</c:v>
                </c:pt>
                <c:pt idx="783">
                  <c:v>38544</c:v>
                </c:pt>
                <c:pt idx="784">
                  <c:v>38545</c:v>
                </c:pt>
                <c:pt idx="785">
                  <c:v>38546</c:v>
                </c:pt>
                <c:pt idx="786">
                  <c:v>38547</c:v>
                </c:pt>
                <c:pt idx="787">
                  <c:v>38548</c:v>
                </c:pt>
                <c:pt idx="788">
                  <c:v>38551</c:v>
                </c:pt>
                <c:pt idx="789">
                  <c:v>38552</c:v>
                </c:pt>
                <c:pt idx="790">
                  <c:v>38553</c:v>
                </c:pt>
                <c:pt idx="791">
                  <c:v>38554</c:v>
                </c:pt>
                <c:pt idx="792">
                  <c:v>38555</c:v>
                </c:pt>
                <c:pt idx="793">
                  <c:v>38558</c:v>
                </c:pt>
                <c:pt idx="794">
                  <c:v>38559</c:v>
                </c:pt>
                <c:pt idx="795">
                  <c:v>38560</c:v>
                </c:pt>
                <c:pt idx="796">
                  <c:v>38561</c:v>
                </c:pt>
                <c:pt idx="797">
                  <c:v>38562</c:v>
                </c:pt>
                <c:pt idx="798">
                  <c:v>38565</c:v>
                </c:pt>
                <c:pt idx="799">
                  <c:v>38566</c:v>
                </c:pt>
                <c:pt idx="800">
                  <c:v>38567</c:v>
                </c:pt>
                <c:pt idx="801">
                  <c:v>38568</c:v>
                </c:pt>
                <c:pt idx="802">
                  <c:v>38569</c:v>
                </c:pt>
                <c:pt idx="803">
                  <c:v>38572</c:v>
                </c:pt>
                <c:pt idx="804">
                  <c:v>38573</c:v>
                </c:pt>
                <c:pt idx="805">
                  <c:v>38574</c:v>
                </c:pt>
                <c:pt idx="806">
                  <c:v>38575</c:v>
                </c:pt>
                <c:pt idx="807">
                  <c:v>38576</c:v>
                </c:pt>
                <c:pt idx="808">
                  <c:v>38579</c:v>
                </c:pt>
                <c:pt idx="809">
                  <c:v>38580</c:v>
                </c:pt>
                <c:pt idx="810">
                  <c:v>38581</c:v>
                </c:pt>
                <c:pt idx="811">
                  <c:v>38582</c:v>
                </c:pt>
                <c:pt idx="812">
                  <c:v>38583</c:v>
                </c:pt>
                <c:pt idx="813">
                  <c:v>38586</c:v>
                </c:pt>
                <c:pt idx="814">
                  <c:v>38587</c:v>
                </c:pt>
                <c:pt idx="815">
                  <c:v>38588</c:v>
                </c:pt>
                <c:pt idx="816">
                  <c:v>38589</c:v>
                </c:pt>
                <c:pt idx="817">
                  <c:v>38590</c:v>
                </c:pt>
                <c:pt idx="818">
                  <c:v>38593</c:v>
                </c:pt>
                <c:pt idx="819">
                  <c:v>38594</c:v>
                </c:pt>
                <c:pt idx="820">
                  <c:v>38595</c:v>
                </c:pt>
                <c:pt idx="821">
                  <c:v>38596</c:v>
                </c:pt>
                <c:pt idx="822">
                  <c:v>38597</c:v>
                </c:pt>
                <c:pt idx="823">
                  <c:v>38600</c:v>
                </c:pt>
                <c:pt idx="824">
                  <c:v>38601</c:v>
                </c:pt>
                <c:pt idx="825">
                  <c:v>38602</c:v>
                </c:pt>
                <c:pt idx="826">
                  <c:v>38603</c:v>
                </c:pt>
                <c:pt idx="827">
                  <c:v>38604</c:v>
                </c:pt>
                <c:pt idx="828">
                  <c:v>38607</c:v>
                </c:pt>
                <c:pt idx="829">
                  <c:v>38608</c:v>
                </c:pt>
                <c:pt idx="830">
                  <c:v>38609</c:v>
                </c:pt>
                <c:pt idx="831">
                  <c:v>38610</c:v>
                </c:pt>
                <c:pt idx="832">
                  <c:v>38611</c:v>
                </c:pt>
                <c:pt idx="833">
                  <c:v>38614</c:v>
                </c:pt>
                <c:pt idx="834">
                  <c:v>38615</c:v>
                </c:pt>
                <c:pt idx="835">
                  <c:v>38616</c:v>
                </c:pt>
                <c:pt idx="836">
                  <c:v>38617</c:v>
                </c:pt>
                <c:pt idx="837">
                  <c:v>38618</c:v>
                </c:pt>
                <c:pt idx="838">
                  <c:v>38621</c:v>
                </c:pt>
                <c:pt idx="839">
                  <c:v>38622</c:v>
                </c:pt>
                <c:pt idx="840">
                  <c:v>38623</c:v>
                </c:pt>
                <c:pt idx="841">
                  <c:v>38624</c:v>
                </c:pt>
                <c:pt idx="842">
                  <c:v>38625</c:v>
                </c:pt>
                <c:pt idx="843">
                  <c:v>38635</c:v>
                </c:pt>
                <c:pt idx="844">
                  <c:v>38636</c:v>
                </c:pt>
                <c:pt idx="845">
                  <c:v>38637</c:v>
                </c:pt>
                <c:pt idx="846">
                  <c:v>38638</c:v>
                </c:pt>
                <c:pt idx="847">
                  <c:v>38639</c:v>
                </c:pt>
                <c:pt idx="848">
                  <c:v>38642</c:v>
                </c:pt>
                <c:pt idx="849">
                  <c:v>38643</c:v>
                </c:pt>
                <c:pt idx="850">
                  <c:v>38644</c:v>
                </c:pt>
                <c:pt idx="851">
                  <c:v>38645</c:v>
                </c:pt>
                <c:pt idx="852">
                  <c:v>38646</c:v>
                </c:pt>
                <c:pt idx="853">
                  <c:v>38649</c:v>
                </c:pt>
                <c:pt idx="854">
                  <c:v>38650</c:v>
                </c:pt>
                <c:pt idx="855">
                  <c:v>38651</c:v>
                </c:pt>
                <c:pt idx="856">
                  <c:v>38652</c:v>
                </c:pt>
                <c:pt idx="857">
                  <c:v>38653</c:v>
                </c:pt>
                <c:pt idx="858">
                  <c:v>38656</c:v>
                </c:pt>
                <c:pt idx="859">
                  <c:v>38657</c:v>
                </c:pt>
                <c:pt idx="860">
                  <c:v>38658</c:v>
                </c:pt>
                <c:pt idx="861">
                  <c:v>38659</c:v>
                </c:pt>
                <c:pt idx="862">
                  <c:v>38660</c:v>
                </c:pt>
                <c:pt idx="863">
                  <c:v>38663</c:v>
                </c:pt>
                <c:pt idx="864">
                  <c:v>38664</c:v>
                </c:pt>
                <c:pt idx="865">
                  <c:v>38665</c:v>
                </c:pt>
                <c:pt idx="866">
                  <c:v>38666</c:v>
                </c:pt>
                <c:pt idx="867">
                  <c:v>38667</c:v>
                </c:pt>
                <c:pt idx="868">
                  <c:v>38670</c:v>
                </c:pt>
                <c:pt idx="869">
                  <c:v>38671</c:v>
                </c:pt>
                <c:pt idx="870">
                  <c:v>38672</c:v>
                </c:pt>
                <c:pt idx="871">
                  <c:v>38673</c:v>
                </c:pt>
                <c:pt idx="872">
                  <c:v>38674</c:v>
                </c:pt>
                <c:pt idx="873">
                  <c:v>38677</c:v>
                </c:pt>
                <c:pt idx="874">
                  <c:v>38678</c:v>
                </c:pt>
                <c:pt idx="875">
                  <c:v>38679</c:v>
                </c:pt>
                <c:pt idx="876">
                  <c:v>38680</c:v>
                </c:pt>
                <c:pt idx="877">
                  <c:v>38681</c:v>
                </c:pt>
                <c:pt idx="878">
                  <c:v>38684</c:v>
                </c:pt>
                <c:pt idx="879">
                  <c:v>38685</c:v>
                </c:pt>
                <c:pt idx="880">
                  <c:v>38686</c:v>
                </c:pt>
                <c:pt idx="881">
                  <c:v>38687</c:v>
                </c:pt>
                <c:pt idx="882">
                  <c:v>38688</c:v>
                </c:pt>
                <c:pt idx="883">
                  <c:v>38691</c:v>
                </c:pt>
                <c:pt idx="884">
                  <c:v>38692</c:v>
                </c:pt>
                <c:pt idx="885">
                  <c:v>38693</c:v>
                </c:pt>
                <c:pt idx="886">
                  <c:v>38694</c:v>
                </c:pt>
                <c:pt idx="887">
                  <c:v>38695</c:v>
                </c:pt>
                <c:pt idx="888">
                  <c:v>38698</c:v>
                </c:pt>
                <c:pt idx="889">
                  <c:v>38699</c:v>
                </c:pt>
                <c:pt idx="890">
                  <c:v>38700</c:v>
                </c:pt>
                <c:pt idx="891">
                  <c:v>38701</c:v>
                </c:pt>
                <c:pt idx="892">
                  <c:v>38702</c:v>
                </c:pt>
                <c:pt idx="893">
                  <c:v>38705</c:v>
                </c:pt>
                <c:pt idx="894">
                  <c:v>38706</c:v>
                </c:pt>
                <c:pt idx="895">
                  <c:v>38707</c:v>
                </c:pt>
                <c:pt idx="896">
                  <c:v>38708</c:v>
                </c:pt>
                <c:pt idx="897">
                  <c:v>38709</c:v>
                </c:pt>
                <c:pt idx="898">
                  <c:v>38712</c:v>
                </c:pt>
                <c:pt idx="899">
                  <c:v>38713</c:v>
                </c:pt>
                <c:pt idx="900">
                  <c:v>38714</c:v>
                </c:pt>
                <c:pt idx="901">
                  <c:v>38715</c:v>
                </c:pt>
                <c:pt idx="902">
                  <c:v>38716</c:v>
                </c:pt>
                <c:pt idx="903">
                  <c:v>38721</c:v>
                </c:pt>
                <c:pt idx="904">
                  <c:v>38722</c:v>
                </c:pt>
                <c:pt idx="905">
                  <c:v>38723</c:v>
                </c:pt>
                <c:pt idx="906">
                  <c:v>38726</c:v>
                </c:pt>
                <c:pt idx="907">
                  <c:v>38727</c:v>
                </c:pt>
                <c:pt idx="908">
                  <c:v>38728</c:v>
                </c:pt>
                <c:pt idx="909">
                  <c:v>38729</c:v>
                </c:pt>
                <c:pt idx="910">
                  <c:v>38730</c:v>
                </c:pt>
                <c:pt idx="911">
                  <c:v>38733</c:v>
                </c:pt>
                <c:pt idx="912">
                  <c:v>38734</c:v>
                </c:pt>
                <c:pt idx="913">
                  <c:v>38735</c:v>
                </c:pt>
                <c:pt idx="914">
                  <c:v>38736</c:v>
                </c:pt>
                <c:pt idx="915">
                  <c:v>38737</c:v>
                </c:pt>
                <c:pt idx="916">
                  <c:v>38740</c:v>
                </c:pt>
                <c:pt idx="917">
                  <c:v>38741</c:v>
                </c:pt>
                <c:pt idx="918">
                  <c:v>38742</c:v>
                </c:pt>
                <c:pt idx="919">
                  <c:v>38754</c:v>
                </c:pt>
                <c:pt idx="920">
                  <c:v>38755</c:v>
                </c:pt>
                <c:pt idx="921">
                  <c:v>38756</c:v>
                </c:pt>
                <c:pt idx="922">
                  <c:v>38757</c:v>
                </c:pt>
                <c:pt idx="923">
                  <c:v>38758</c:v>
                </c:pt>
                <c:pt idx="924">
                  <c:v>38761</c:v>
                </c:pt>
                <c:pt idx="925">
                  <c:v>38762</c:v>
                </c:pt>
                <c:pt idx="926">
                  <c:v>38763</c:v>
                </c:pt>
                <c:pt idx="927">
                  <c:v>38764</c:v>
                </c:pt>
                <c:pt idx="928">
                  <c:v>38765</c:v>
                </c:pt>
                <c:pt idx="929">
                  <c:v>38768</c:v>
                </c:pt>
                <c:pt idx="930">
                  <c:v>38769</c:v>
                </c:pt>
                <c:pt idx="931">
                  <c:v>38770</c:v>
                </c:pt>
                <c:pt idx="932">
                  <c:v>38771</c:v>
                </c:pt>
                <c:pt idx="933">
                  <c:v>38772</c:v>
                </c:pt>
                <c:pt idx="934">
                  <c:v>38775</c:v>
                </c:pt>
                <c:pt idx="935">
                  <c:v>38776</c:v>
                </c:pt>
                <c:pt idx="936">
                  <c:v>38777</c:v>
                </c:pt>
                <c:pt idx="937">
                  <c:v>38778</c:v>
                </c:pt>
                <c:pt idx="938">
                  <c:v>38779</c:v>
                </c:pt>
                <c:pt idx="939">
                  <c:v>38782</c:v>
                </c:pt>
                <c:pt idx="940">
                  <c:v>38783</c:v>
                </c:pt>
                <c:pt idx="941">
                  <c:v>38784</c:v>
                </c:pt>
                <c:pt idx="942">
                  <c:v>38785</c:v>
                </c:pt>
                <c:pt idx="943">
                  <c:v>38786</c:v>
                </c:pt>
                <c:pt idx="944">
                  <c:v>38789</c:v>
                </c:pt>
                <c:pt idx="945">
                  <c:v>38790</c:v>
                </c:pt>
                <c:pt idx="946">
                  <c:v>38791</c:v>
                </c:pt>
                <c:pt idx="947">
                  <c:v>38792</c:v>
                </c:pt>
                <c:pt idx="948">
                  <c:v>38793</c:v>
                </c:pt>
                <c:pt idx="949">
                  <c:v>38796</c:v>
                </c:pt>
                <c:pt idx="950">
                  <c:v>38797</c:v>
                </c:pt>
                <c:pt idx="951">
                  <c:v>38798</c:v>
                </c:pt>
                <c:pt idx="952">
                  <c:v>38799</c:v>
                </c:pt>
                <c:pt idx="953">
                  <c:v>38800</c:v>
                </c:pt>
                <c:pt idx="954">
                  <c:v>38803</c:v>
                </c:pt>
                <c:pt idx="955">
                  <c:v>38804</c:v>
                </c:pt>
                <c:pt idx="956">
                  <c:v>38805</c:v>
                </c:pt>
                <c:pt idx="957">
                  <c:v>38806</c:v>
                </c:pt>
                <c:pt idx="958">
                  <c:v>38807</c:v>
                </c:pt>
                <c:pt idx="959">
                  <c:v>38810</c:v>
                </c:pt>
                <c:pt idx="960">
                  <c:v>38811</c:v>
                </c:pt>
                <c:pt idx="961">
                  <c:v>38812</c:v>
                </c:pt>
                <c:pt idx="962">
                  <c:v>38813</c:v>
                </c:pt>
                <c:pt idx="963">
                  <c:v>38814</c:v>
                </c:pt>
                <c:pt idx="964">
                  <c:v>38817</c:v>
                </c:pt>
                <c:pt idx="965">
                  <c:v>38818</c:v>
                </c:pt>
                <c:pt idx="966">
                  <c:v>38819</c:v>
                </c:pt>
                <c:pt idx="967">
                  <c:v>38820</c:v>
                </c:pt>
                <c:pt idx="968">
                  <c:v>38821</c:v>
                </c:pt>
                <c:pt idx="969">
                  <c:v>38824</c:v>
                </c:pt>
                <c:pt idx="970">
                  <c:v>38825</c:v>
                </c:pt>
                <c:pt idx="971">
                  <c:v>38826</c:v>
                </c:pt>
                <c:pt idx="972">
                  <c:v>38827</c:v>
                </c:pt>
                <c:pt idx="973">
                  <c:v>38828</c:v>
                </c:pt>
                <c:pt idx="974">
                  <c:v>38831</c:v>
                </c:pt>
                <c:pt idx="975">
                  <c:v>38832</c:v>
                </c:pt>
                <c:pt idx="976">
                  <c:v>38833</c:v>
                </c:pt>
                <c:pt idx="977">
                  <c:v>38834</c:v>
                </c:pt>
                <c:pt idx="978">
                  <c:v>38835</c:v>
                </c:pt>
                <c:pt idx="979">
                  <c:v>38845</c:v>
                </c:pt>
                <c:pt idx="980">
                  <c:v>38846</c:v>
                </c:pt>
                <c:pt idx="981">
                  <c:v>38847</c:v>
                </c:pt>
                <c:pt idx="982">
                  <c:v>38848</c:v>
                </c:pt>
                <c:pt idx="983">
                  <c:v>38849</c:v>
                </c:pt>
                <c:pt idx="984">
                  <c:v>38852</c:v>
                </c:pt>
                <c:pt idx="985">
                  <c:v>38853</c:v>
                </c:pt>
                <c:pt idx="986">
                  <c:v>38854</c:v>
                </c:pt>
                <c:pt idx="987">
                  <c:v>38855</c:v>
                </c:pt>
                <c:pt idx="988">
                  <c:v>38856</c:v>
                </c:pt>
                <c:pt idx="989">
                  <c:v>38859</c:v>
                </c:pt>
                <c:pt idx="990">
                  <c:v>38860</c:v>
                </c:pt>
                <c:pt idx="991">
                  <c:v>38861</c:v>
                </c:pt>
                <c:pt idx="992">
                  <c:v>38862</c:v>
                </c:pt>
                <c:pt idx="993">
                  <c:v>38863</c:v>
                </c:pt>
                <c:pt idx="994">
                  <c:v>38866</c:v>
                </c:pt>
                <c:pt idx="995">
                  <c:v>38867</c:v>
                </c:pt>
                <c:pt idx="996">
                  <c:v>38868</c:v>
                </c:pt>
                <c:pt idx="997">
                  <c:v>38869</c:v>
                </c:pt>
                <c:pt idx="998">
                  <c:v>38870</c:v>
                </c:pt>
                <c:pt idx="999">
                  <c:v>38873</c:v>
                </c:pt>
                <c:pt idx="1000">
                  <c:v>38874</c:v>
                </c:pt>
                <c:pt idx="1001">
                  <c:v>38875</c:v>
                </c:pt>
                <c:pt idx="1002">
                  <c:v>38876</c:v>
                </c:pt>
                <c:pt idx="1003">
                  <c:v>38877</c:v>
                </c:pt>
                <c:pt idx="1004">
                  <c:v>38880</c:v>
                </c:pt>
                <c:pt idx="1005">
                  <c:v>38881</c:v>
                </c:pt>
                <c:pt idx="1006">
                  <c:v>38882</c:v>
                </c:pt>
                <c:pt idx="1007">
                  <c:v>38883</c:v>
                </c:pt>
                <c:pt idx="1008">
                  <c:v>38884</c:v>
                </c:pt>
                <c:pt idx="1009">
                  <c:v>38887</c:v>
                </c:pt>
                <c:pt idx="1010">
                  <c:v>38888</c:v>
                </c:pt>
                <c:pt idx="1011">
                  <c:v>38889</c:v>
                </c:pt>
                <c:pt idx="1012">
                  <c:v>38890</c:v>
                </c:pt>
                <c:pt idx="1013">
                  <c:v>38891</c:v>
                </c:pt>
                <c:pt idx="1014">
                  <c:v>38894</c:v>
                </c:pt>
                <c:pt idx="1015">
                  <c:v>38895</c:v>
                </c:pt>
                <c:pt idx="1016">
                  <c:v>38896</c:v>
                </c:pt>
                <c:pt idx="1017">
                  <c:v>38897</c:v>
                </c:pt>
                <c:pt idx="1018">
                  <c:v>38898</c:v>
                </c:pt>
                <c:pt idx="1019">
                  <c:v>38901</c:v>
                </c:pt>
                <c:pt idx="1020">
                  <c:v>38902</c:v>
                </c:pt>
                <c:pt idx="1021">
                  <c:v>38903</c:v>
                </c:pt>
                <c:pt idx="1022">
                  <c:v>38904</c:v>
                </c:pt>
                <c:pt idx="1023">
                  <c:v>38905</c:v>
                </c:pt>
                <c:pt idx="1024">
                  <c:v>38908</c:v>
                </c:pt>
                <c:pt idx="1025">
                  <c:v>38909</c:v>
                </c:pt>
                <c:pt idx="1026">
                  <c:v>38910</c:v>
                </c:pt>
                <c:pt idx="1027">
                  <c:v>38911</c:v>
                </c:pt>
                <c:pt idx="1028">
                  <c:v>38912</c:v>
                </c:pt>
                <c:pt idx="1029">
                  <c:v>38915</c:v>
                </c:pt>
                <c:pt idx="1030">
                  <c:v>38916</c:v>
                </c:pt>
                <c:pt idx="1031">
                  <c:v>38917</c:v>
                </c:pt>
                <c:pt idx="1032">
                  <c:v>38918</c:v>
                </c:pt>
                <c:pt idx="1033">
                  <c:v>38919</c:v>
                </c:pt>
                <c:pt idx="1034">
                  <c:v>38922</c:v>
                </c:pt>
                <c:pt idx="1035">
                  <c:v>38923</c:v>
                </c:pt>
                <c:pt idx="1036">
                  <c:v>38924</c:v>
                </c:pt>
                <c:pt idx="1037">
                  <c:v>38925</c:v>
                </c:pt>
                <c:pt idx="1038">
                  <c:v>38926</c:v>
                </c:pt>
                <c:pt idx="1039">
                  <c:v>38929</c:v>
                </c:pt>
                <c:pt idx="1040">
                  <c:v>38930</c:v>
                </c:pt>
                <c:pt idx="1041">
                  <c:v>38931</c:v>
                </c:pt>
                <c:pt idx="1042">
                  <c:v>38932</c:v>
                </c:pt>
                <c:pt idx="1043">
                  <c:v>38933</c:v>
                </c:pt>
                <c:pt idx="1044">
                  <c:v>38936</c:v>
                </c:pt>
                <c:pt idx="1045">
                  <c:v>38937</c:v>
                </c:pt>
                <c:pt idx="1046">
                  <c:v>38938</c:v>
                </c:pt>
                <c:pt idx="1047">
                  <c:v>38939</c:v>
                </c:pt>
                <c:pt idx="1048">
                  <c:v>38940</c:v>
                </c:pt>
                <c:pt idx="1049">
                  <c:v>38943</c:v>
                </c:pt>
                <c:pt idx="1050">
                  <c:v>38944</c:v>
                </c:pt>
                <c:pt idx="1051">
                  <c:v>38945</c:v>
                </c:pt>
                <c:pt idx="1052">
                  <c:v>38946</c:v>
                </c:pt>
                <c:pt idx="1053">
                  <c:v>38947</c:v>
                </c:pt>
                <c:pt idx="1054">
                  <c:v>38950</c:v>
                </c:pt>
                <c:pt idx="1055">
                  <c:v>38951</c:v>
                </c:pt>
                <c:pt idx="1056">
                  <c:v>38952</c:v>
                </c:pt>
                <c:pt idx="1057">
                  <c:v>38953</c:v>
                </c:pt>
                <c:pt idx="1058">
                  <c:v>38954</c:v>
                </c:pt>
                <c:pt idx="1059">
                  <c:v>38957</c:v>
                </c:pt>
                <c:pt idx="1060">
                  <c:v>38958</c:v>
                </c:pt>
                <c:pt idx="1061">
                  <c:v>38959</c:v>
                </c:pt>
                <c:pt idx="1062">
                  <c:v>38960</c:v>
                </c:pt>
                <c:pt idx="1063">
                  <c:v>38961</c:v>
                </c:pt>
                <c:pt idx="1064">
                  <c:v>38964</c:v>
                </c:pt>
                <c:pt idx="1065">
                  <c:v>38965</c:v>
                </c:pt>
                <c:pt idx="1066">
                  <c:v>38966</c:v>
                </c:pt>
                <c:pt idx="1067">
                  <c:v>38967</c:v>
                </c:pt>
                <c:pt idx="1068">
                  <c:v>38968</c:v>
                </c:pt>
                <c:pt idx="1069">
                  <c:v>38971</c:v>
                </c:pt>
                <c:pt idx="1070">
                  <c:v>38972</c:v>
                </c:pt>
                <c:pt idx="1071">
                  <c:v>38973</c:v>
                </c:pt>
                <c:pt idx="1072">
                  <c:v>38974</c:v>
                </c:pt>
                <c:pt idx="1073">
                  <c:v>38975</c:v>
                </c:pt>
                <c:pt idx="1074">
                  <c:v>38978</c:v>
                </c:pt>
                <c:pt idx="1075">
                  <c:v>38979</c:v>
                </c:pt>
                <c:pt idx="1076">
                  <c:v>38980</c:v>
                </c:pt>
                <c:pt idx="1077">
                  <c:v>38981</c:v>
                </c:pt>
                <c:pt idx="1078">
                  <c:v>38982</c:v>
                </c:pt>
                <c:pt idx="1079">
                  <c:v>38985</c:v>
                </c:pt>
                <c:pt idx="1080">
                  <c:v>38986</c:v>
                </c:pt>
                <c:pt idx="1081">
                  <c:v>38987</c:v>
                </c:pt>
                <c:pt idx="1082">
                  <c:v>38988</c:v>
                </c:pt>
                <c:pt idx="1083">
                  <c:v>38989</c:v>
                </c:pt>
                <c:pt idx="1084">
                  <c:v>38999</c:v>
                </c:pt>
                <c:pt idx="1085">
                  <c:v>39000</c:v>
                </c:pt>
                <c:pt idx="1086">
                  <c:v>39001</c:v>
                </c:pt>
                <c:pt idx="1087">
                  <c:v>39002</c:v>
                </c:pt>
                <c:pt idx="1088">
                  <c:v>39003</c:v>
                </c:pt>
                <c:pt idx="1089">
                  <c:v>39006</c:v>
                </c:pt>
                <c:pt idx="1090">
                  <c:v>39007</c:v>
                </c:pt>
                <c:pt idx="1091">
                  <c:v>39008</c:v>
                </c:pt>
                <c:pt idx="1092">
                  <c:v>39009</c:v>
                </c:pt>
                <c:pt idx="1093">
                  <c:v>39010</c:v>
                </c:pt>
                <c:pt idx="1094">
                  <c:v>39013</c:v>
                </c:pt>
                <c:pt idx="1095">
                  <c:v>39014</c:v>
                </c:pt>
                <c:pt idx="1096">
                  <c:v>39015</c:v>
                </c:pt>
                <c:pt idx="1097">
                  <c:v>39016</c:v>
                </c:pt>
                <c:pt idx="1098">
                  <c:v>39017</c:v>
                </c:pt>
                <c:pt idx="1099">
                  <c:v>39020</c:v>
                </c:pt>
                <c:pt idx="1100">
                  <c:v>39021</c:v>
                </c:pt>
                <c:pt idx="1101">
                  <c:v>39022</c:v>
                </c:pt>
                <c:pt idx="1102">
                  <c:v>39023</c:v>
                </c:pt>
                <c:pt idx="1103">
                  <c:v>39024</c:v>
                </c:pt>
                <c:pt idx="1104">
                  <c:v>39027</c:v>
                </c:pt>
                <c:pt idx="1105">
                  <c:v>39028</c:v>
                </c:pt>
                <c:pt idx="1106">
                  <c:v>39029</c:v>
                </c:pt>
                <c:pt idx="1107">
                  <c:v>39030</c:v>
                </c:pt>
                <c:pt idx="1108">
                  <c:v>39031</c:v>
                </c:pt>
                <c:pt idx="1109">
                  <c:v>39034</c:v>
                </c:pt>
                <c:pt idx="1110">
                  <c:v>39035</c:v>
                </c:pt>
                <c:pt idx="1111">
                  <c:v>39036</c:v>
                </c:pt>
                <c:pt idx="1112">
                  <c:v>39037</c:v>
                </c:pt>
                <c:pt idx="1113">
                  <c:v>39038</c:v>
                </c:pt>
                <c:pt idx="1114">
                  <c:v>39041</c:v>
                </c:pt>
                <c:pt idx="1115">
                  <c:v>39042</c:v>
                </c:pt>
                <c:pt idx="1116">
                  <c:v>39043</c:v>
                </c:pt>
                <c:pt idx="1117">
                  <c:v>39044</c:v>
                </c:pt>
                <c:pt idx="1118">
                  <c:v>39045</c:v>
                </c:pt>
                <c:pt idx="1119">
                  <c:v>39048</c:v>
                </c:pt>
                <c:pt idx="1120">
                  <c:v>39049</c:v>
                </c:pt>
                <c:pt idx="1121">
                  <c:v>39050</c:v>
                </c:pt>
                <c:pt idx="1122">
                  <c:v>39051</c:v>
                </c:pt>
                <c:pt idx="1123">
                  <c:v>39052</c:v>
                </c:pt>
                <c:pt idx="1124">
                  <c:v>39055</c:v>
                </c:pt>
                <c:pt idx="1125">
                  <c:v>39056</c:v>
                </c:pt>
                <c:pt idx="1126">
                  <c:v>39057</c:v>
                </c:pt>
                <c:pt idx="1127">
                  <c:v>39058</c:v>
                </c:pt>
                <c:pt idx="1128">
                  <c:v>39059</c:v>
                </c:pt>
                <c:pt idx="1129">
                  <c:v>39062</c:v>
                </c:pt>
                <c:pt idx="1130">
                  <c:v>39063</c:v>
                </c:pt>
                <c:pt idx="1131">
                  <c:v>39064</c:v>
                </c:pt>
                <c:pt idx="1132">
                  <c:v>39065</c:v>
                </c:pt>
                <c:pt idx="1133">
                  <c:v>39066</c:v>
                </c:pt>
                <c:pt idx="1134">
                  <c:v>39069</c:v>
                </c:pt>
                <c:pt idx="1135">
                  <c:v>39070</c:v>
                </c:pt>
                <c:pt idx="1136">
                  <c:v>39071</c:v>
                </c:pt>
                <c:pt idx="1137">
                  <c:v>39072</c:v>
                </c:pt>
                <c:pt idx="1138">
                  <c:v>39073</c:v>
                </c:pt>
                <c:pt idx="1139">
                  <c:v>39076</c:v>
                </c:pt>
                <c:pt idx="1140">
                  <c:v>39077</c:v>
                </c:pt>
                <c:pt idx="1141">
                  <c:v>39078</c:v>
                </c:pt>
                <c:pt idx="1142">
                  <c:v>39079</c:v>
                </c:pt>
                <c:pt idx="1143">
                  <c:v>39080</c:v>
                </c:pt>
                <c:pt idx="1144">
                  <c:v>39086</c:v>
                </c:pt>
                <c:pt idx="1145">
                  <c:v>39087</c:v>
                </c:pt>
                <c:pt idx="1146">
                  <c:v>39090</c:v>
                </c:pt>
                <c:pt idx="1147">
                  <c:v>39091</c:v>
                </c:pt>
                <c:pt idx="1148">
                  <c:v>39092</c:v>
                </c:pt>
                <c:pt idx="1149">
                  <c:v>39093</c:v>
                </c:pt>
                <c:pt idx="1150">
                  <c:v>39094</c:v>
                </c:pt>
                <c:pt idx="1151">
                  <c:v>39097</c:v>
                </c:pt>
                <c:pt idx="1152">
                  <c:v>39098</c:v>
                </c:pt>
                <c:pt idx="1153">
                  <c:v>39099</c:v>
                </c:pt>
                <c:pt idx="1154">
                  <c:v>39100</c:v>
                </c:pt>
                <c:pt idx="1155">
                  <c:v>39101</c:v>
                </c:pt>
                <c:pt idx="1156">
                  <c:v>39104</c:v>
                </c:pt>
                <c:pt idx="1157">
                  <c:v>39105</c:v>
                </c:pt>
                <c:pt idx="1158">
                  <c:v>39106</c:v>
                </c:pt>
                <c:pt idx="1159">
                  <c:v>39107</c:v>
                </c:pt>
                <c:pt idx="1160">
                  <c:v>39108</c:v>
                </c:pt>
                <c:pt idx="1161">
                  <c:v>39111</c:v>
                </c:pt>
                <c:pt idx="1162">
                  <c:v>39112</c:v>
                </c:pt>
                <c:pt idx="1163">
                  <c:v>39113</c:v>
                </c:pt>
                <c:pt idx="1164">
                  <c:v>39114</c:v>
                </c:pt>
                <c:pt idx="1165">
                  <c:v>39115</c:v>
                </c:pt>
                <c:pt idx="1166">
                  <c:v>39118</c:v>
                </c:pt>
                <c:pt idx="1167">
                  <c:v>39119</c:v>
                </c:pt>
                <c:pt idx="1168">
                  <c:v>39120</c:v>
                </c:pt>
                <c:pt idx="1169">
                  <c:v>39121</c:v>
                </c:pt>
                <c:pt idx="1170">
                  <c:v>39122</c:v>
                </c:pt>
                <c:pt idx="1171">
                  <c:v>39125</c:v>
                </c:pt>
                <c:pt idx="1172">
                  <c:v>39126</c:v>
                </c:pt>
                <c:pt idx="1173">
                  <c:v>39127</c:v>
                </c:pt>
                <c:pt idx="1174">
                  <c:v>39128</c:v>
                </c:pt>
                <c:pt idx="1175">
                  <c:v>39129</c:v>
                </c:pt>
                <c:pt idx="1176">
                  <c:v>39139</c:v>
                </c:pt>
                <c:pt idx="1177">
                  <c:v>39140</c:v>
                </c:pt>
                <c:pt idx="1178">
                  <c:v>39141</c:v>
                </c:pt>
                <c:pt idx="1179">
                  <c:v>39142</c:v>
                </c:pt>
                <c:pt idx="1180">
                  <c:v>39143</c:v>
                </c:pt>
                <c:pt idx="1181">
                  <c:v>39146</c:v>
                </c:pt>
                <c:pt idx="1182">
                  <c:v>39147</c:v>
                </c:pt>
                <c:pt idx="1183">
                  <c:v>39148</c:v>
                </c:pt>
                <c:pt idx="1184">
                  <c:v>39149</c:v>
                </c:pt>
                <c:pt idx="1185">
                  <c:v>39150</c:v>
                </c:pt>
                <c:pt idx="1186">
                  <c:v>39153</c:v>
                </c:pt>
                <c:pt idx="1187">
                  <c:v>39154</c:v>
                </c:pt>
                <c:pt idx="1188">
                  <c:v>39155</c:v>
                </c:pt>
                <c:pt idx="1189">
                  <c:v>39156</c:v>
                </c:pt>
                <c:pt idx="1190">
                  <c:v>39157</c:v>
                </c:pt>
                <c:pt idx="1191">
                  <c:v>39160</c:v>
                </c:pt>
                <c:pt idx="1192">
                  <c:v>39161</c:v>
                </c:pt>
                <c:pt idx="1193">
                  <c:v>39162</c:v>
                </c:pt>
                <c:pt idx="1194">
                  <c:v>39163</c:v>
                </c:pt>
                <c:pt idx="1195">
                  <c:v>39164</c:v>
                </c:pt>
                <c:pt idx="1196">
                  <c:v>39167</c:v>
                </c:pt>
                <c:pt idx="1197">
                  <c:v>39168</c:v>
                </c:pt>
                <c:pt idx="1198">
                  <c:v>39169</c:v>
                </c:pt>
                <c:pt idx="1199">
                  <c:v>39170</c:v>
                </c:pt>
                <c:pt idx="1200">
                  <c:v>39171</c:v>
                </c:pt>
                <c:pt idx="1201">
                  <c:v>39174</c:v>
                </c:pt>
                <c:pt idx="1202">
                  <c:v>39175</c:v>
                </c:pt>
                <c:pt idx="1203">
                  <c:v>39176</c:v>
                </c:pt>
                <c:pt idx="1204">
                  <c:v>39177</c:v>
                </c:pt>
                <c:pt idx="1205">
                  <c:v>39178</c:v>
                </c:pt>
                <c:pt idx="1206">
                  <c:v>39181</c:v>
                </c:pt>
                <c:pt idx="1207">
                  <c:v>39182</c:v>
                </c:pt>
                <c:pt idx="1208">
                  <c:v>39183</c:v>
                </c:pt>
                <c:pt idx="1209">
                  <c:v>39184</c:v>
                </c:pt>
                <c:pt idx="1210">
                  <c:v>39185</c:v>
                </c:pt>
                <c:pt idx="1211">
                  <c:v>39188</c:v>
                </c:pt>
                <c:pt idx="1212">
                  <c:v>39189</c:v>
                </c:pt>
                <c:pt idx="1213">
                  <c:v>39190</c:v>
                </c:pt>
                <c:pt idx="1214">
                  <c:v>39191</c:v>
                </c:pt>
                <c:pt idx="1215">
                  <c:v>39192</c:v>
                </c:pt>
                <c:pt idx="1216">
                  <c:v>39195</c:v>
                </c:pt>
                <c:pt idx="1217">
                  <c:v>39196</c:v>
                </c:pt>
                <c:pt idx="1218">
                  <c:v>39197</c:v>
                </c:pt>
                <c:pt idx="1219">
                  <c:v>39198</c:v>
                </c:pt>
                <c:pt idx="1220">
                  <c:v>39199</c:v>
                </c:pt>
                <c:pt idx="1221">
                  <c:v>39202</c:v>
                </c:pt>
                <c:pt idx="1222">
                  <c:v>39210</c:v>
                </c:pt>
                <c:pt idx="1223">
                  <c:v>39211</c:v>
                </c:pt>
                <c:pt idx="1224">
                  <c:v>39212</c:v>
                </c:pt>
                <c:pt idx="1225">
                  <c:v>39213</c:v>
                </c:pt>
                <c:pt idx="1226">
                  <c:v>39216</c:v>
                </c:pt>
                <c:pt idx="1227">
                  <c:v>39217</c:v>
                </c:pt>
                <c:pt idx="1228">
                  <c:v>39218</c:v>
                </c:pt>
                <c:pt idx="1229">
                  <c:v>39219</c:v>
                </c:pt>
                <c:pt idx="1230">
                  <c:v>39220</c:v>
                </c:pt>
                <c:pt idx="1231">
                  <c:v>39223</c:v>
                </c:pt>
                <c:pt idx="1232">
                  <c:v>39224</c:v>
                </c:pt>
                <c:pt idx="1233">
                  <c:v>39225</c:v>
                </c:pt>
                <c:pt idx="1234">
                  <c:v>39226</c:v>
                </c:pt>
                <c:pt idx="1235">
                  <c:v>39227</c:v>
                </c:pt>
                <c:pt idx="1236">
                  <c:v>39230</c:v>
                </c:pt>
                <c:pt idx="1237">
                  <c:v>39231</c:v>
                </c:pt>
                <c:pt idx="1238">
                  <c:v>39232</c:v>
                </c:pt>
                <c:pt idx="1239">
                  <c:v>39233</c:v>
                </c:pt>
                <c:pt idx="1240">
                  <c:v>39234</c:v>
                </c:pt>
                <c:pt idx="1241">
                  <c:v>39237</c:v>
                </c:pt>
                <c:pt idx="1242">
                  <c:v>39238</c:v>
                </c:pt>
                <c:pt idx="1243">
                  <c:v>39239</c:v>
                </c:pt>
                <c:pt idx="1244">
                  <c:v>39240</c:v>
                </c:pt>
                <c:pt idx="1245">
                  <c:v>39241</c:v>
                </c:pt>
                <c:pt idx="1246">
                  <c:v>39244</c:v>
                </c:pt>
                <c:pt idx="1247">
                  <c:v>39245</c:v>
                </c:pt>
                <c:pt idx="1248">
                  <c:v>39246</c:v>
                </c:pt>
                <c:pt idx="1249">
                  <c:v>39247</c:v>
                </c:pt>
                <c:pt idx="1250">
                  <c:v>39248</c:v>
                </c:pt>
                <c:pt idx="1251">
                  <c:v>39251</c:v>
                </c:pt>
                <c:pt idx="1252">
                  <c:v>39252</c:v>
                </c:pt>
                <c:pt idx="1253">
                  <c:v>39253</c:v>
                </c:pt>
                <c:pt idx="1254">
                  <c:v>39254</c:v>
                </c:pt>
                <c:pt idx="1255">
                  <c:v>39255</c:v>
                </c:pt>
                <c:pt idx="1256">
                  <c:v>39258</c:v>
                </c:pt>
                <c:pt idx="1257">
                  <c:v>39259</c:v>
                </c:pt>
                <c:pt idx="1258">
                  <c:v>39260</c:v>
                </c:pt>
                <c:pt idx="1259">
                  <c:v>39261</c:v>
                </c:pt>
                <c:pt idx="1260">
                  <c:v>39262</c:v>
                </c:pt>
                <c:pt idx="1261">
                  <c:v>39265</c:v>
                </c:pt>
                <c:pt idx="1262">
                  <c:v>39266</c:v>
                </c:pt>
                <c:pt idx="1263">
                  <c:v>39267</c:v>
                </c:pt>
                <c:pt idx="1264">
                  <c:v>39268</c:v>
                </c:pt>
                <c:pt idx="1265">
                  <c:v>39269</c:v>
                </c:pt>
                <c:pt idx="1266">
                  <c:v>39272</c:v>
                </c:pt>
                <c:pt idx="1267">
                  <c:v>39273</c:v>
                </c:pt>
                <c:pt idx="1268">
                  <c:v>39274</c:v>
                </c:pt>
                <c:pt idx="1269">
                  <c:v>39275</c:v>
                </c:pt>
                <c:pt idx="1270">
                  <c:v>39276</c:v>
                </c:pt>
                <c:pt idx="1271">
                  <c:v>39279</c:v>
                </c:pt>
                <c:pt idx="1272">
                  <c:v>39280</c:v>
                </c:pt>
                <c:pt idx="1273">
                  <c:v>39281</c:v>
                </c:pt>
                <c:pt idx="1274">
                  <c:v>39282</c:v>
                </c:pt>
                <c:pt idx="1275">
                  <c:v>39283</c:v>
                </c:pt>
                <c:pt idx="1276">
                  <c:v>39286</c:v>
                </c:pt>
                <c:pt idx="1277">
                  <c:v>39287</c:v>
                </c:pt>
                <c:pt idx="1278">
                  <c:v>39288</c:v>
                </c:pt>
                <c:pt idx="1279">
                  <c:v>39289</c:v>
                </c:pt>
                <c:pt idx="1280">
                  <c:v>39290</c:v>
                </c:pt>
                <c:pt idx="1281">
                  <c:v>39293</c:v>
                </c:pt>
                <c:pt idx="1282">
                  <c:v>39294</c:v>
                </c:pt>
                <c:pt idx="1283">
                  <c:v>39295</c:v>
                </c:pt>
                <c:pt idx="1284">
                  <c:v>39296</c:v>
                </c:pt>
                <c:pt idx="1285">
                  <c:v>39297</c:v>
                </c:pt>
                <c:pt idx="1286">
                  <c:v>39300</c:v>
                </c:pt>
                <c:pt idx="1287">
                  <c:v>39301</c:v>
                </c:pt>
                <c:pt idx="1288">
                  <c:v>39302</c:v>
                </c:pt>
                <c:pt idx="1289">
                  <c:v>39303</c:v>
                </c:pt>
                <c:pt idx="1290">
                  <c:v>39304</c:v>
                </c:pt>
                <c:pt idx="1291">
                  <c:v>39307</c:v>
                </c:pt>
                <c:pt idx="1292">
                  <c:v>39308</c:v>
                </c:pt>
                <c:pt idx="1293">
                  <c:v>39309</c:v>
                </c:pt>
                <c:pt idx="1294">
                  <c:v>39310</c:v>
                </c:pt>
                <c:pt idx="1295">
                  <c:v>39311</c:v>
                </c:pt>
                <c:pt idx="1296">
                  <c:v>39314</c:v>
                </c:pt>
                <c:pt idx="1297">
                  <c:v>39315</c:v>
                </c:pt>
                <c:pt idx="1298">
                  <c:v>39316</c:v>
                </c:pt>
                <c:pt idx="1299">
                  <c:v>39317</c:v>
                </c:pt>
                <c:pt idx="1300">
                  <c:v>39318</c:v>
                </c:pt>
                <c:pt idx="1301">
                  <c:v>39321</c:v>
                </c:pt>
                <c:pt idx="1302">
                  <c:v>39322</c:v>
                </c:pt>
                <c:pt idx="1303">
                  <c:v>39323</c:v>
                </c:pt>
                <c:pt idx="1304">
                  <c:v>39324</c:v>
                </c:pt>
                <c:pt idx="1305">
                  <c:v>39325</c:v>
                </c:pt>
                <c:pt idx="1306">
                  <c:v>39328</c:v>
                </c:pt>
                <c:pt idx="1307">
                  <c:v>39329</c:v>
                </c:pt>
                <c:pt idx="1308">
                  <c:v>39330</c:v>
                </c:pt>
                <c:pt idx="1309">
                  <c:v>39331</c:v>
                </c:pt>
                <c:pt idx="1310">
                  <c:v>39332</c:v>
                </c:pt>
                <c:pt idx="1311">
                  <c:v>39335</c:v>
                </c:pt>
                <c:pt idx="1312">
                  <c:v>39336</c:v>
                </c:pt>
                <c:pt idx="1313">
                  <c:v>39337</c:v>
                </c:pt>
                <c:pt idx="1314">
                  <c:v>39338</c:v>
                </c:pt>
                <c:pt idx="1315">
                  <c:v>39339</c:v>
                </c:pt>
                <c:pt idx="1316">
                  <c:v>39342</c:v>
                </c:pt>
                <c:pt idx="1317">
                  <c:v>39343</c:v>
                </c:pt>
                <c:pt idx="1318">
                  <c:v>39344</c:v>
                </c:pt>
                <c:pt idx="1319">
                  <c:v>39345</c:v>
                </c:pt>
                <c:pt idx="1320">
                  <c:v>39346</c:v>
                </c:pt>
                <c:pt idx="1321">
                  <c:v>39349</c:v>
                </c:pt>
                <c:pt idx="1322">
                  <c:v>39350</c:v>
                </c:pt>
                <c:pt idx="1323">
                  <c:v>39351</c:v>
                </c:pt>
                <c:pt idx="1324">
                  <c:v>39352</c:v>
                </c:pt>
                <c:pt idx="1325">
                  <c:v>39353</c:v>
                </c:pt>
                <c:pt idx="1326">
                  <c:v>39363</c:v>
                </c:pt>
                <c:pt idx="1327">
                  <c:v>39364</c:v>
                </c:pt>
                <c:pt idx="1328">
                  <c:v>39365</c:v>
                </c:pt>
                <c:pt idx="1329">
                  <c:v>39366</c:v>
                </c:pt>
                <c:pt idx="1330">
                  <c:v>39367</c:v>
                </c:pt>
                <c:pt idx="1331">
                  <c:v>39370</c:v>
                </c:pt>
                <c:pt idx="1332">
                  <c:v>39371</c:v>
                </c:pt>
                <c:pt idx="1333">
                  <c:v>39372</c:v>
                </c:pt>
                <c:pt idx="1334">
                  <c:v>39373</c:v>
                </c:pt>
                <c:pt idx="1335">
                  <c:v>39374</c:v>
                </c:pt>
                <c:pt idx="1336">
                  <c:v>39377</c:v>
                </c:pt>
                <c:pt idx="1337">
                  <c:v>39378</c:v>
                </c:pt>
                <c:pt idx="1338">
                  <c:v>39379</c:v>
                </c:pt>
                <c:pt idx="1339">
                  <c:v>39380</c:v>
                </c:pt>
                <c:pt idx="1340">
                  <c:v>39381</c:v>
                </c:pt>
                <c:pt idx="1341">
                  <c:v>39384</c:v>
                </c:pt>
                <c:pt idx="1342">
                  <c:v>39385</c:v>
                </c:pt>
                <c:pt idx="1343">
                  <c:v>39386</c:v>
                </c:pt>
                <c:pt idx="1344">
                  <c:v>39387</c:v>
                </c:pt>
                <c:pt idx="1345">
                  <c:v>39388</c:v>
                </c:pt>
                <c:pt idx="1346">
                  <c:v>39391</c:v>
                </c:pt>
                <c:pt idx="1347">
                  <c:v>39392</c:v>
                </c:pt>
                <c:pt idx="1348">
                  <c:v>39393</c:v>
                </c:pt>
                <c:pt idx="1349">
                  <c:v>39394</c:v>
                </c:pt>
                <c:pt idx="1350">
                  <c:v>39395</c:v>
                </c:pt>
                <c:pt idx="1351">
                  <c:v>39398</c:v>
                </c:pt>
                <c:pt idx="1352">
                  <c:v>39399</c:v>
                </c:pt>
                <c:pt idx="1353">
                  <c:v>39400</c:v>
                </c:pt>
                <c:pt idx="1354">
                  <c:v>39401</c:v>
                </c:pt>
                <c:pt idx="1355">
                  <c:v>39402</c:v>
                </c:pt>
                <c:pt idx="1356">
                  <c:v>39405</c:v>
                </c:pt>
                <c:pt idx="1357">
                  <c:v>39406</c:v>
                </c:pt>
                <c:pt idx="1358">
                  <c:v>39407</c:v>
                </c:pt>
                <c:pt idx="1359">
                  <c:v>39408</c:v>
                </c:pt>
                <c:pt idx="1360">
                  <c:v>39409</c:v>
                </c:pt>
                <c:pt idx="1361">
                  <c:v>39412</c:v>
                </c:pt>
                <c:pt idx="1362">
                  <c:v>39413</c:v>
                </c:pt>
                <c:pt idx="1363">
                  <c:v>39414</c:v>
                </c:pt>
                <c:pt idx="1364">
                  <c:v>39415</c:v>
                </c:pt>
                <c:pt idx="1365">
                  <c:v>39416</c:v>
                </c:pt>
                <c:pt idx="1366">
                  <c:v>39419</c:v>
                </c:pt>
                <c:pt idx="1367">
                  <c:v>39420</c:v>
                </c:pt>
                <c:pt idx="1368">
                  <c:v>39421</c:v>
                </c:pt>
                <c:pt idx="1369">
                  <c:v>39422</c:v>
                </c:pt>
                <c:pt idx="1370">
                  <c:v>39423</c:v>
                </c:pt>
                <c:pt idx="1371">
                  <c:v>39426</c:v>
                </c:pt>
                <c:pt idx="1372">
                  <c:v>39427</c:v>
                </c:pt>
                <c:pt idx="1373">
                  <c:v>39428</c:v>
                </c:pt>
                <c:pt idx="1374">
                  <c:v>39429</c:v>
                </c:pt>
                <c:pt idx="1375">
                  <c:v>39430</c:v>
                </c:pt>
                <c:pt idx="1376">
                  <c:v>39433</c:v>
                </c:pt>
                <c:pt idx="1377">
                  <c:v>39434</c:v>
                </c:pt>
                <c:pt idx="1378">
                  <c:v>39435</c:v>
                </c:pt>
                <c:pt idx="1379">
                  <c:v>39436</c:v>
                </c:pt>
                <c:pt idx="1380">
                  <c:v>39437</c:v>
                </c:pt>
                <c:pt idx="1381">
                  <c:v>39440</c:v>
                </c:pt>
                <c:pt idx="1382">
                  <c:v>39441</c:v>
                </c:pt>
                <c:pt idx="1383">
                  <c:v>39442</c:v>
                </c:pt>
                <c:pt idx="1384">
                  <c:v>39443</c:v>
                </c:pt>
                <c:pt idx="1385">
                  <c:v>39444</c:v>
                </c:pt>
                <c:pt idx="1386">
                  <c:v>39449</c:v>
                </c:pt>
                <c:pt idx="1387">
                  <c:v>39450</c:v>
                </c:pt>
                <c:pt idx="1388">
                  <c:v>39451</c:v>
                </c:pt>
                <c:pt idx="1389">
                  <c:v>39454</c:v>
                </c:pt>
                <c:pt idx="1390">
                  <c:v>39455</c:v>
                </c:pt>
                <c:pt idx="1391">
                  <c:v>39456</c:v>
                </c:pt>
                <c:pt idx="1392">
                  <c:v>39457</c:v>
                </c:pt>
                <c:pt idx="1393">
                  <c:v>39458</c:v>
                </c:pt>
                <c:pt idx="1394">
                  <c:v>39461</c:v>
                </c:pt>
                <c:pt idx="1395">
                  <c:v>39462</c:v>
                </c:pt>
                <c:pt idx="1396">
                  <c:v>39463</c:v>
                </c:pt>
                <c:pt idx="1397">
                  <c:v>39464</c:v>
                </c:pt>
                <c:pt idx="1398">
                  <c:v>39465</c:v>
                </c:pt>
                <c:pt idx="1399">
                  <c:v>39468</c:v>
                </c:pt>
                <c:pt idx="1400">
                  <c:v>39469</c:v>
                </c:pt>
                <c:pt idx="1401">
                  <c:v>39470</c:v>
                </c:pt>
                <c:pt idx="1402">
                  <c:v>39471</c:v>
                </c:pt>
                <c:pt idx="1403">
                  <c:v>39472</c:v>
                </c:pt>
                <c:pt idx="1404">
                  <c:v>39475</c:v>
                </c:pt>
                <c:pt idx="1405">
                  <c:v>39476</c:v>
                </c:pt>
                <c:pt idx="1406">
                  <c:v>39477</c:v>
                </c:pt>
                <c:pt idx="1407">
                  <c:v>39478</c:v>
                </c:pt>
                <c:pt idx="1408">
                  <c:v>39479</c:v>
                </c:pt>
                <c:pt idx="1409">
                  <c:v>39482</c:v>
                </c:pt>
                <c:pt idx="1410">
                  <c:v>39483</c:v>
                </c:pt>
                <c:pt idx="1411">
                  <c:v>39491</c:v>
                </c:pt>
                <c:pt idx="1412">
                  <c:v>39492</c:v>
                </c:pt>
                <c:pt idx="1413">
                  <c:v>39493</c:v>
                </c:pt>
                <c:pt idx="1414">
                  <c:v>39496</c:v>
                </c:pt>
                <c:pt idx="1415">
                  <c:v>39497</c:v>
                </c:pt>
                <c:pt idx="1416">
                  <c:v>39498</c:v>
                </c:pt>
                <c:pt idx="1417">
                  <c:v>39499</c:v>
                </c:pt>
                <c:pt idx="1418">
                  <c:v>39500</c:v>
                </c:pt>
                <c:pt idx="1419">
                  <c:v>39503</c:v>
                </c:pt>
                <c:pt idx="1420">
                  <c:v>39504</c:v>
                </c:pt>
                <c:pt idx="1421">
                  <c:v>39505</c:v>
                </c:pt>
                <c:pt idx="1422">
                  <c:v>39506</c:v>
                </c:pt>
                <c:pt idx="1423">
                  <c:v>39507</c:v>
                </c:pt>
                <c:pt idx="1424">
                  <c:v>39510</c:v>
                </c:pt>
                <c:pt idx="1425">
                  <c:v>39511</c:v>
                </c:pt>
                <c:pt idx="1426">
                  <c:v>39512</c:v>
                </c:pt>
                <c:pt idx="1427">
                  <c:v>39513</c:v>
                </c:pt>
                <c:pt idx="1428">
                  <c:v>39514</c:v>
                </c:pt>
                <c:pt idx="1429">
                  <c:v>39517</c:v>
                </c:pt>
                <c:pt idx="1430">
                  <c:v>39518</c:v>
                </c:pt>
                <c:pt idx="1431">
                  <c:v>39519</c:v>
                </c:pt>
                <c:pt idx="1432">
                  <c:v>39520</c:v>
                </c:pt>
                <c:pt idx="1433">
                  <c:v>39521</c:v>
                </c:pt>
                <c:pt idx="1434">
                  <c:v>39524</c:v>
                </c:pt>
                <c:pt idx="1435">
                  <c:v>39525</c:v>
                </c:pt>
                <c:pt idx="1436">
                  <c:v>39526</c:v>
                </c:pt>
                <c:pt idx="1437">
                  <c:v>39527</c:v>
                </c:pt>
                <c:pt idx="1438">
                  <c:v>39528</c:v>
                </c:pt>
                <c:pt idx="1439">
                  <c:v>39531</c:v>
                </c:pt>
                <c:pt idx="1440">
                  <c:v>39532</c:v>
                </c:pt>
                <c:pt idx="1441">
                  <c:v>39533</c:v>
                </c:pt>
                <c:pt idx="1442">
                  <c:v>39534</c:v>
                </c:pt>
                <c:pt idx="1443">
                  <c:v>39535</c:v>
                </c:pt>
                <c:pt idx="1444">
                  <c:v>39538</c:v>
                </c:pt>
                <c:pt idx="1445">
                  <c:v>39539</c:v>
                </c:pt>
                <c:pt idx="1446">
                  <c:v>39540</c:v>
                </c:pt>
                <c:pt idx="1447">
                  <c:v>39541</c:v>
                </c:pt>
                <c:pt idx="1448">
                  <c:v>39545</c:v>
                </c:pt>
                <c:pt idx="1449">
                  <c:v>39546</c:v>
                </c:pt>
                <c:pt idx="1450">
                  <c:v>39547</c:v>
                </c:pt>
                <c:pt idx="1451">
                  <c:v>39548</c:v>
                </c:pt>
                <c:pt idx="1452">
                  <c:v>39549</c:v>
                </c:pt>
                <c:pt idx="1453">
                  <c:v>39552</c:v>
                </c:pt>
                <c:pt idx="1454">
                  <c:v>39553</c:v>
                </c:pt>
                <c:pt idx="1455">
                  <c:v>39554</c:v>
                </c:pt>
                <c:pt idx="1456">
                  <c:v>39555</c:v>
                </c:pt>
                <c:pt idx="1457">
                  <c:v>39556</c:v>
                </c:pt>
                <c:pt idx="1458">
                  <c:v>39559</c:v>
                </c:pt>
                <c:pt idx="1459">
                  <c:v>39560</c:v>
                </c:pt>
                <c:pt idx="1460">
                  <c:v>39561</c:v>
                </c:pt>
                <c:pt idx="1461">
                  <c:v>39562</c:v>
                </c:pt>
                <c:pt idx="1462">
                  <c:v>39563</c:v>
                </c:pt>
                <c:pt idx="1463">
                  <c:v>39566</c:v>
                </c:pt>
                <c:pt idx="1464">
                  <c:v>39567</c:v>
                </c:pt>
                <c:pt idx="1465">
                  <c:v>39568</c:v>
                </c:pt>
                <c:pt idx="1466">
                  <c:v>39573</c:v>
                </c:pt>
                <c:pt idx="1467">
                  <c:v>39574</c:v>
                </c:pt>
                <c:pt idx="1468">
                  <c:v>39575</c:v>
                </c:pt>
                <c:pt idx="1469">
                  <c:v>39576</c:v>
                </c:pt>
                <c:pt idx="1470">
                  <c:v>39577</c:v>
                </c:pt>
                <c:pt idx="1471">
                  <c:v>39580</c:v>
                </c:pt>
                <c:pt idx="1472">
                  <c:v>39581</c:v>
                </c:pt>
                <c:pt idx="1473">
                  <c:v>39582</c:v>
                </c:pt>
                <c:pt idx="1474">
                  <c:v>39583</c:v>
                </c:pt>
                <c:pt idx="1475">
                  <c:v>39584</c:v>
                </c:pt>
                <c:pt idx="1476">
                  <c:v>39587</c:v>
                </c:pt>
                <c:pt idx="1477">
                  <c:v>39588</c:v>
                </c:pt>
                <c:pt idx="1478">
                  <c:v>39589</c:v>
                </c:pt>
                <c:pt idx="1479">
                  <c:v>39590</c:v>
                </c:pt>
                <c:pt idx="1480">
                  <c:v>39591</c:v>
                </c:pt>
                <c:pt idx="1481">
                  <c:v>39594</c:v>
                </c:pt>
                <c:pt idx="1482">
                  <c:v>39595</c:v>
                </c:pt>
                <c:pt idx="1483">
                  <c:v>39596</c:v>
                </c:pt>
                <c:pt idx="1484">
                  <c:v>39597</c:v>
                </c:pt>
                <c:pt idx="1485">
                  <c:v>39598</c:v>
                </c:pt>
                <c:pt idx="1486">
                  <c:v>39601</c:v>
                </c:pt>
                <c:pt idx="1487">
                  <c:v>39602</c:v>
                </c:pt>
                <c:pt idx="1488">
                  <c:v>39603</c:v>
                </c:pt>
                <c:pt idx="1489">
                  <c:v>39604</c:v>
                </c:pt>
                <c:pt idx="1490">
                  <c:v>39605</c:v>
                </c:pt>
                <c:pt idx="1491">
                  <c:v>39609</c:v>
                </c:pt>
                <c:pt idx="1492">
                  <c:v>39610</c:v>
                </c:pt>
                <c:pt idx="1493">
                  <c:v>39611</c:v>
                </c:pt>
                <c:pt idx="1494">
                  <c:v>39612</c:v>
                </c:pt>
                <c:pt idx="1495">
                  <c:v>39615</c:v>
                </c:pt>
                <c:pt idx="1496">
                  <c:v>39616</c:v>
                </c:pt>
                <c:pt idx="1497">
                  <c:v>39617</c:v>
                </c:pt>
                <c:pt idx="1498">
                  <c:v>39618</c:v>
                </c:pt>
                <c:pt idx="1499">
                  <c:v>39619</c:v>
                </c:pt>
                <c:pt idx="1500">
                  <c:v>39622</c:v>
                </c:pt>
                <c:pt idx="1501">
                  <c:v>39623</c:v>
                </c:pt>
                <c:pt idx="1502">
                  <c:v>39624</c:v>
                </c:pt>
                <c:pt idx="1503">
                  <c:v>39625</c:v>
                </c:pt>
                <c:pt idx="1504">
                  <c:v>39626</c:v>
                </c:pt>
                <c:pt idx="1505">
                  <c:v>39629</c:v>
                </c:pt>
                <c:pt idx="1506">
                  <c:v>39630</c:v>
                </c:pt>
                <c:pt idx="1507">
                  <c:v>39631</c:v>
                </c:pt>
                <c:pt idx="1508">
                  <c:v>39632</c:v>
                </c:pt>
                <c:pt idx="1509">
                  <c:v>39633</c:v>
                </c:pt>
                <c:pt idx="1510">
                  <c:v>39636</c:v>
                </c:pt>
                <c:pt idx="1511">
                  <c:v>39637</c:v>
                </c:pt>
                <c:pt idx="1512">
                  <c:v>39638</c:v>
                </c:pt>
                <c:pt idx="1513">
                  <c:v>39639</c:v>
                </c:pt>
                <c:pt idx="1514">
                  <c:v>39640</c:v>
                </c:pt>
                <c:pt idx="1515">
                  <c:v>39643</c:v>
                </c:pt>
                <c:pt idx="1516">
                  <c:v>39644</c:v>
                </c:pt>
                <c:pt idx="1517">
                  <c:v>39645</c:v>
                </c:pt>
                <c:pt idx="1518">
                  <c:v>39646</c:v>
                </c:pt>
                <c:pt idx="1519">
                  <c:v>39647</c:v>
                </c:pt>
                <c:pt idx="1520">
                  <c:v>39650</c:v>
                </c:pt>
                <c:pt idx="1521">
                  <c:v>39651</c:v>
                </c:pt>
                <c:pt idx="1522">
                  <c:v>39652</c:v>
                </c:pt>
                <c:pt idx="1523">
                  <c:v>39653</c:v>
                </c:pt>
                <c:pt idx="1524">
                  <c:v>39654</c:v>
                </c:pt>
                <c:pt idx="1525">
                  <c:v>39657</c:v>
                </c:pt>
                <c:pt idx="1526">
                  <c:v>39658</c:v>
                </c:pt>
                <c:pt idx="1527">
                  <c:v>39659</c:v>
                </c:pt>
                <c:pt idx="1528">
                  <c:v>39660</c:v>
                </c:pt>
                <c:pt idx="1529">
                  <c:v>39661</c:v>
                </c:pt>
                <c:pt idx="1530">
                  <c:v>39664</c:v>
                </c:pt>
                <c:pt idx="1531">
                  <c:v>39665</c:v>
                </c:pt>
                <c:pt idx="1532">
                  <c:v>39666</c:v>
                </c:pt>
                <c:pt idx="1533">
                  <c:v>39667</c:v>
                </c:pt>
                <c:pt idx="1534">
                  <c:v>39668</c:v>
                </c:pt>
                <c:pt idx="1535">
                  <c:v>39671</c:v>
                </c:pt>
                <c:pt idx="1536">
                  <c:v>39672</c:v>
                </c:pt>
                <c:pt idx="1537">
                  <c:v>39673</c:v>
                </c:pt>
                <c:pt idx="1538">
                  <c:v>39674</c:v>
                </c:pt>
                <c:pt idx="1539">
                  <c:v>39675</c:v>
                </c:pt>
                <c:pt idx="1540">
                  <c:v>39678</c:v>
                </c:pt>
                <c:pt idx="1541">
                  <c:v>39679</c:v>
                </c:pt>
                <c:pt idx="1542">
                  <c:v>39680</c:v>
                </c:pt>
                <c:pt idx="1543">
                  <c:v>39681</c:v>
                </c:pt>
                <c:pt idx="1544">
                  <c:v>39682</c:v>
                </c:pt>
                <c:pt idx="1545">
                  <c:v>39685</c:v>
                </c:pt>
                <c:pt idx="1546">
                  <c:v>39686</c:v>
                </c:pt>
                <c:pt idx="1547">
                  <c:v>39687</c:v>
                </c:pt>
                <c:pt idx="1548">
                  <c:v>39688</c:v>
                </c:pt>
                <c:pt idx="1549">
                  <c:v>39689</c:v>
                </c:pt>
                <c:pt idx="1550">
                  <c:v>39692</c:v>
                </c:pt>
                <c:pt idx="1551">
                  <c:v>39693</c:v>
                </c:pt>
                <c:pt idx="1552">
                  <c:v>39694</c:v>
                </c:pt>
                <c:pt idx="1553">
                  <c:v>39695</c:v>
                </c:pt>
                <c:pt idx="1554">
                  <c:v>39696</c:v>
                </c:pt>
                <c:pt idx="1555">
                  <c:v>39699</c:v>
                </c:pt>
                <c:pt idx="1556">
                  <c:v>39700</c:v>
                </c:pt>
                <c:pt idx="1557">
                  <c:v>39701</c:v>
                </c:pt>
                <c:pt idx="1558">
                  <c:v>39702</c:v>
                </c:pt>
                <c:pt idx="1559">
                  <c:v>39703</c:v>
                </c:pt>
                <c:pt idx="1560">
                  <c:v>39707</c:v>
                </c:pt>
                <c:pt idx="1561">
                  <c:v>39708</c:v>
                </c:pt>
                <c:pt idx="1562">
                  <c:v>39709</c:v>
                </c:pt>
                <c:pt idx="1563">
                  <c:v>39710</c:v>
                </c:pt>
                <c:pt idx="1564">
                  <c:v>39713</c:v>
                </c:pt>
                <c:pt idx="1565">
                  <c:v>39714</c:v>
                </c:pt>
                <c:pt idx="1566">
                  <c:v>39715</c:v>
                </c:pt>
                <c:pt idx="1567">
                  <c:v>39716</c:v>
                </c:pt>
                <c:pt idx="1568">
                  <c:v>39717</c:v>
                </c:pt>
                <c:pt idx="1569">
                  <c:v>39727</c:v>
                </c:pt>
                <c:pt idx="1570">
                  <c:v>39728</c:v>
                </c:pt>
                <c:pt idx="1571">
                  <c:v>39729</c:v>
                </c:pt>
                <c:pt idx="1572">
                  <c:v>39730</c:v>
                </c:pt>
                <c:pt idx="1573">
                  <c:v>39731</c:v>
                </c:pt>
                <c:pt idx="1574">
                  <c:v>39734</c:v>
                </c:pt>
                <c:pt idx="1575">
                  <c:v>39735</c:v>
                </c:pt>
                <c:pt idx="1576">
                  <c:v>39736</c:v>
                </c:pt>
                <c:pt idx="1577">
                  <c:v>39737</c:v>
                </c:pt>
                <c:pt idx="1578">
                  <c:v>39738</c:v>
                </c:pt>
                <c:pt idx="1579">
                  <c:v>39741</c:v>
                </c:pt>
                <c:pt idx="1580">
                  <c:v>39742</c:v>
                </c:pt>
                <c:pt idx="1581">
                  <c:v>39743</c:v>
                </c:pt>
                <c:pt idx="1582">
                  <c:v>39744</c:v>
                </c:pt>
                <c:pt idx="1583">
                  <c:v>39745</c:v>
                </c:pt>
                <c:pt idx="1584">
                  <c:v>39748</c:v>
                </c:pt>
                <c:pt idx="1585">
                  <c:v>39749</c:v>
                </c:pt>
                <c:pt idx="1586">
                  <c:v>39750</c:v>
                </c:pt>
                <c:pt idx="1587">
                  <c:v>39751</c:v>
                </c:pt>
                <c:pt idx="1588">
                  <c:v>39752</c:v>
                </c:pt>
                <c:pt idx="1589">
                  <c:v>39755</c:v>
                </c:pt>
                <c:pt idx="1590">
                  <c:v>39756</c:v>
                </c:pt>
                <c:pt idx="1591">
                  <c:v>39757</c:v>
                </c:pt>
                <c:pt idx="1592">
                  <c:v>39758</c:v>
                </c:pt>
                <c:pt idx="1593">
                  <c:v>39759</c:v>
                </c:pt>
                <c:pt idx="1594">
                  <c:v>39762</c:v>
                </c:pt>
                <c:pt idx="1595">
                  <c:v>39763</c:v>
                </c:pt>
                <c:pt idx="1596">
                  <c:v>39764</c:v>
                </c:pt>
                <c:pt idx="1597">
                  <c:v>39765</c:v>
                </c:pt>
                <c:pt idx="1598">
                  <c:v>39766</c:v>
                </c:pt>
                <c:pt idx="1599">
                  <c:v>39769</c:v>
                </c:pt>
                <c:pt idx="1600">
                  <c:v>39770</c:v>
                </c:pt>
                <c:pt idx="1601">
                  <c:v>39771</c:v>
                </c:pt>
                <c:pt idx="1602">
                  <c:v>39772</c:v>
                </c:pt>
                <c:pt idx="1603">
                  <c:v>39773</c:v>
                </c:pt>
                <c:pt idx="1604">
                  <c:v>39776</c:v>
                </c:pt>
                <c:pt idx="1605">
                  <c:v>39777</c:v>
                </c:pt>
                <c:pt idx="1606">
                  <c:v>39778</c:v>
                </c:pt>
                <c:pt idx="1607">
                  <c:v>39779</c:v>
                </c:pt>
                <c:pt idx="1608">
                  <c:v>39780</c:v>
                </c:pt>
                <c:pt idx="1609">
                  <c:v>39783</c:v>
                </c:pt>
                <c:pt idx="1610">
                  <c:v>39784</c:v>
                </c:pt>
                <c:pt idx="1611">
                  <c:v>39785</c:v>
                </c:pt>
                <c:pt idx="1612">
                  <c:v>39786</c:v>
                </c:pt>
                <c:pt idx="1613">
                  <c:v>39787</c:v>
                </c:pt>
                <c:pt idx="1614">
                  <c:v>39790</c:v>
                </c:pt>
                <c:pt idx="1615">
                  <c:v>39791</c:v>
                </c:pt>
                <c:pt idx="1616">
                  <c:v>39792</c:v>
                </c:pt>
                <c:pt idx="1617">
                  <c:v>39793</c:v>
                </c:pt>
                <c:pt idx="1618">
                  <c:v>39794</c:v>
                </c:pt>
                <c:pt idx="1619">
                  <c:v>39797</c:v>
                </c:pt>
                <c:pt idx="1620">
                  <c:v>39798</c:v>
                </c:pt>
                <c:pt idx="1621">
                  <c:v>39799</c:v>
                </c:pt>
                <c:pt idx="1622">
                  <c:v>39800</c:v>
                </c:pt>
                <c:pt idx="1623">
                  <c:v>39801</c:v>
                </c:pt>
                <c:pt idx="1624">
                  <c:v>39804</c:v>
                </c:pt>
                <c:pt idx="1625">
                  <c:v>39805</c:v>
                </c:pt>
                <c:pt idx="1626">
                  <c:v>39806</c:v>
                </c:pt>
                <c:pt idx="1627">
                  <c:v>39807</c:v>
                </c:pt>
                <c:pt idx="1628">
                  <c:v>39808</c:v>
                </c:pt>
                <c:pt idx="1629">
                  <c:v>39811</c:v>
                </c:pt>
                <c:pt idx="1630">
                  <c:v>39812</c:v>
                </c:pt>
                <c:pt idx="1631">
                  <c:v>39813</c:v>
                </c:pt>
                <c:pt idx="1632">
                  <c:v>39818</c:v>
                </c:pt>
                <c:pt idx="1633">
                  <c:v>39819</c:v>
                </c:pt>
                <c:pt idx="1634">
                  <c:v>39820</c:v>
                </c:pt>
                <c:pt idx="1635">
                  <c:v>39821</c:v>
                </c:pt>
                <c:pt idx="1636">
                  <c:v>39822</c:v>
                </c:pt>
                <c:pt idx="1637">
                  <c:v>39825</c:v>
                </c:pt>
                <c:pt idx="1638">
                  <c:v>39826</c:v>
                </c:pt>
                <c:pt idx="1639">
                  <c:v>39827</c:v>
                </c:pt>
                <c:pt idx="1640">
                  <c:v>39828</c:v>
                </c:pt>
                <c:pt idx="1641">
                  <c:v>39829</c:v>
                </c:pt>
                <c:pt idx="1642">
                  <c:v>39832</c:v>
                </c:pt>
                <c:pt idx="1643">
                  <c:v>39833</c:v>
                </c:pt>
                <c:pt idx="1644">
                  <c:v>39834</c:v>
                </c:pt>
                <c:pt idx="1645">
                  <c:v>39835</c:v>
                </c:pt>
                <c:pt idx="1646">
                  <c:v>39836</c:v>
                </c:pt>
                <c:pt idx="1647">
                  <c:v>39846</c:v>
                </c:pt>
                <c:pt idx="1648">
                  <c:v>39847</c:v>
                </c:pt>
                <c:pt idx="1649">
                  <c:v>39848</c:v>
                </c:pt>
                <c:pt idx="1650">
                  <c:v>39849</c:v>
                </c:pt>
                <c:pt idx="1651">
                  <c:v>39850</c:v>
                </c:pt>
                <c:pt idx="1652">
                  <c:v>39853</c:v>
                </c:pt>
                <c:pt idx="1653">
                  <c:v>39854</c:v>
                </c:pt>
                <c:pt idx="1654">
                  <c:v>39855</c:v>
                </c:pt>
                <c:pt idx="1655">
                  <c:v>39856</c:v>
                </c:pt>
                <c:pt idx="1656">
                  <c:v>39857</c:v>
                </c:pt>
                <c:pt idx="1657">
                  <c:v>39860</c:v>
                </c:pt>
                <c:pt idx="1658">
                  <c:v>39861</c:v>
                </c:pt>
                <c:pt idx="1659">
                  <c:v>39862</c:v>
                </c:pt>
                <c:pt idx="1660">
                  <c:v>39863</c:v>
                </c:pt>
                <c:pt idx="1661">
                  <c:v>39864</c:v>
                </c:pt>
                <c:pt idx="1662">
                  <c:v>39867</c:v>
                </c:pt>
                <c:pt idx="1663">
                  <c:v>39868</c:v>
                </c:pt>
                <c:pt idx="1664">
                  <c:v>39869</c:v>
                </c:pt>
                <c:pt idx="1665">
                  <c:v>39870</c:v>
                </c:pt>
                <c:pt idx="1666">
                  <c:v>39871</c:v>
                </c:pt>
                <c:pt idx="1667">
                  <c:v>39874</c:v>
                </c:pt>
                <c:pt idx="1668">
                  <c:v>39875</c:v>
                </c:pt>
                <c:pt idx="1669">
                  <c:v>39876</c:v>
                </c:pt>
                <c:pt idx="1670">
                  <c:v>39877</c:v>
                </c:pt>
                <c:pt idx="1671">
                  <c:v>39878</c:v>
                </c:pt>
                <c:pt idx="1672">
                  <c:v>39881</c:v>
                </c:pt>
                <c:pt idx="1673">
                  <c:v>39882</c:v>
                </c:pt>
                <c:pt idx="1674">
                  <c:v>39883</c:v>
                </c:pt>
                <c:pt idx="1675">
                  <c:v>39884</c:v>
                </c:pt>
                <c:pt idx="1676">
                  <c:v>39885</c:v>
                </c:pt>
                <c:pt idx="1677">
                  <c:v>39888</c:v>
                </c:pt>
                <c:pt idx="1678">
                  <c:v>39889</c:v>
                </c:pt>
                <c:pt idx="1679">
                  <c:v>39890</c:v>
                </c:pt>
                <c:pt idx="1680">
                  <c:v>39891</c:v>
                </c:pt>
                <c:pt idx="1681">
                  <c:v>39892</c:v>
                </c:pt>
                <c:pt idx="1682">
                  <c:v>39895</c:v>
                </c:pt>
                <c:pt idx="1683">
                  <c:v>39896</c:v>
                </c:pt>
                <c:pt idx="1684">
                  <c:v>39897</c:v>
                </c:pt>
                <c:pt idx="1685">
                  <c:v>39898</c:v>
                </c:pt>
                <c:pt idx="1686">
                  <c:v>39899</c:v>
                </c:pt>
                <c:pt idx="1687">
                  <c:v>39902</c:v>
                </c:pt>
                <c:pt idx="1688">
                  <c:v>39903</c:v>
                </c:pt>
                <c:pt idx="1689">
                  <c:v>39904</c:v>
                </c:pt>
                <c:pt idx="1690">
                  <c:v>39905</c:v>
                </c:pt>
                <c:pt idx="1691">
                  <c:v>39906</c:v>
                </c:pt>
                <c:pt idx="1692">
                  <c:v>39910</c:v>
                </c:pt>
                <c:pt idx="1693">
                  <c:v>39911</c:v>
                </c:pt>
                <c:pt idx="1694">
                  <c:v>39912</c:v>
                </c:pt>
                <c:pt idx="1695">
                  <c:v>39913</c:v>
                </c:pt>
                <c:pt idx="1696">
                  <c:v>39916</c:v>
                </c:pt>
                <c:pt idx="1697">
                  <c:v>39917</c:v>
                </c:pt>
                <c:pt idx="1698">
                  <c:v>39918</c:v>
                </c:pt>
                <c:pt idx="1699">
                  <c:v>39919</c:v>
                </c:pt>
                <c:pt idx="1700">
                  <c:v>39920</c:v>
                </c:pt>
                <c:pt idx="1701">
                  <c:v>39923</c:v>
                </c:pt>
                <c:pt idx="1702">
                  <c:v>39924</c:v>
                </c:pt>
                <c:pt idx="1703">
                  <c:v>39925</c:v>
                </c:pt>
                <c:pt idx="1704">
                  <c:v>39926</c:v>
                </c:pt>
                <c:pt idx="1705">
                  <c:v>39927</c:v>
                </c:pt>
                <c:pt idx="1706">
                  <c:v>39930</c:v>
                </c:pt>
                <c:pt idx="1707">
                  <c:v>39931</c:v>
                </c:pt>
                <c:pt idx="1708">
                  <c:v>39932</c:v>
                </c:pt>
                <c:pt idx="1709">
                  <c:v>39933</c:v>
                </c:pt>
                <c:pt idx="1710">
                  <c:v>39937</c:v>
                </c:pt>
                <c:pt idx="1711">
                  <c:v>39938</c:v>
                </c:pt>
                <c:pt idx="1712">
                  <c:v>39939</c:v>
                </c:pt>
                <c:pt idx="1713">
                  <c:v>39940</c:v>
                </c:pt>
                <c:pt idx="1714">
                  <c:v>39941</c:v>
                </c:pt>
                <c:pt idx="1715">
                  <c:v>39944</c:v>
                </c:pt>
                <c:pt idx="1716">
                  <c:v>39945</c:v>
                </c:pt>
                <c:pt idx="1717">
                  <c:v>39946</c:v>
                </c:pt>
                <c:pt idx="1718">
                  <c:v>39947</c:v>
                </c:pt>
                <c:pt idx="1719">
                  <c:v>39948</c:v>
                </c:pt>
                <c:pt idx="1720">
                  <c:v>39951</c:v>
                </c:pt>
                <c:pt idx="1721">
                  <c:v>39952</c:v>
                </c:pt>
                <c:pt idx="1722">
                  <c:v>39953</c:v>
                </c:pt>
                <c:pt idx="1723">
                  <c:v>39954</c:v>
                </c:pt>
                <c:pt idx="1724">
                  <c:v>39955</c:v>
                </c:pt>
                <c:pt idx="1725">
                  <c:v>39958</c:v>
                </c:pt>
                <c:pt idx="1726">
                  <c:v>39959</c:v>
                </c:pt>
                <c:pt idx="1727">
                  <c:v>39960</c:v>
                </c:pt>
                <c:pt idx="1728">
                  <c:v>39965</c:v>
                </c:pt>
                <c:pt idx="1729">
                  <c:v>39966</c:v>
                </c:pt>
                <c:pt idx="1730">
                  <c:v>39967</c:v>
                </c:pt>
                <c:pt idx="1731">
                  <c:v>39968</c:v>
                </c:pt>
                <c:pt idx="1732">
                  <c:v>39969</c:v>
                </c:pt>
                <c:pt idx="1733">
                  <c:v>39972</c:v>
                </c:pt>
                <c:pt idx="1734">
                  <c:v>39973</c:v>
                </c:pt>
                <c:pt idx="1735">
                  <c:v>39974</c:v>
                </c:pt>
                <c:pt idx="1736">
                  <c:v>39975</c:v>
                </c:pt>
                <c:pt idx="1737">
                  <c:v>39976</c:v>
                </c:pt>
                <c:pt idx="1738">
                  <c:v>39979</c:v>
                </c:pt>
                <c:pt idx="1739">
                  <c:v>39980</c:v>
                </c:pt>
                <c:pt idx="1740">
                  <c:v>39981</c:v>
                </c:pt>
                <c:pt idx="1741">
                  <c:v>39982</c:v>
                </c:pt>
                <c:pt idx="1742">
                  <c:v>39983</c:v>
                </c:pt>
                <c:pt idx="1743">
                  <c:v>39986</c:v>
                </c:pt>
                <c:pt idx="1744">
                  <c:v>39987</c:v>
                </c:pt>
                <c:pt idx="1745">
                  <c:v>39988</c:v>
                </c:pt>
                <c:pt idx="1746">
                  <c:v>39989</c:v>
                </c:pt>
                <c:pt idx="1747">
                  <c:v>39990</c:v>
                </c:pt>
                <c:pt idx="1748">
                  <c:v>39993</c:v>
                </c:pt>
                <c:pt idx="1749">
                  <c:v>39994</c:v>
                </c:pt>
                <c:pt idx="1750">
                  <c:v>39995</c:v>
                </c:pt>
                <c:pt idx="1751">
                  <c:v>39996</c:v>
                </c:pt>
                <c:pt idx="1752">
                  <c:v>39997</c:v>
                </c:pt>
                <c:pt idx="1753">
                  <c:v>40000</c:v>
                </c:pt>
                <c:pt idx="1754">
                  <c:v>40001</c:v>
                </c:pt>
                <c:pt idx="1755">
                  <c:v>40002</c:v>
                </c:pt>
                <c:pt idx="1756">
                  <c:v>40003</c:v>
                </c:pt>
                <c:pt idx="1757">
                  <c:v>40004</c:v>
                </c:pt>
                <c:pt idx="1758">
                  <c:v>40007</c:v>
                </c:pt>
                <c:pt idx="1759">
                  <c:v>40008</c:v>
                </c:pt>
                <c:pt idx="1760">
                  <c:v>40009</c:v>
                </c:pt>
                <c:pt idx="1761">
                  <c:v>40010</c:v>
                </c:pt>
                <c:pt idx="1762">
                  <c:v>40011</c:v>
                </c:pt>
                <c:pt idx="1763">
                  <c:v>40014</c:v>
                </c:pt>
                <c:pt idx="1764">
                  <c:v>40015</c:v>
                </c:pt>
                <c:pt idx="1765">
                  <c:v>40016</c:v>
                </c:pt>
                <c:pt idx="1766">
                  <c:v>40017</c:v>
                </c:pt>
                <c:pt idx="1767">
                  <c:v>40018</c:v>
                </c:pt>
                <c:pt idx="1768">
                  <c:v>40021</c:v>
                </c:pt>
                <c:pt idx="1769">
                  <c:v>40022</c:v>
                </c:pt>
                <c:pt idx="1770">
                  <c:v>40023</c:v>
                </c:pt>
                <c:pt idx="1771">
                  <c:v>40024</c:v>
                </c:pt>
                <c:pt idx="1772">
                  <c:v>40025</c:v>
                </c:pt>
                <c:pt idx="1773">
                  <c:v>40028</c:v>
                </c:pt>
                <c:pt idx="1774">
                  <c:v>40029</c:v>
                </c:pt>
                <c:pt idx="1775">
                  <c:v>40030</c:v>
                </c:pt>
                <c:pt idx="1776">
                  <c:v>40031</c:v>
                </c:pt>
                <c:pt idx="1777">
                  <c:v>40032</c:v>
                </c:pt>
                <c:pt idx="1778">
                  <c:v>40035</c:v>
                </c:pt>
                <c:pt idx="1779">
                  <c:v>40036</c:v>
                </c:pt>
                <c:pt idx="1780">
                  <c:v>40037</c:v>
                </c:pt>
                <c:pt idx="1781">
                  <c:v>40038</c:v>
                </c:pt>
                <c:pt idx="1782">
                  <c:v>40039</c:v>
                </c:pt>
                <c:pt idx="1783">
                  <c:v>40042</c:v>
                </c:pt>
                <c:pt idx="1784">
                  <c:v>40043</c:v>
                </c:pt>
                <c:pt idx="1785">
                  <c:v>40044</c:v>
                </c:pt>
                <c:pt idx="1786">
                  <c:v>40045</c:v>
                </c:pt>
                <c:pt idx="1787">
                  <c:v>40046</c:v>
                </c:pt>
                <c:pt idx="1788">
                  <c:v>40049</c:v>
                </c:pt>
                <c:pt idx="1789">
                  <c:v>40050</c:v>
                </c:pt>
                <c:pt idx="1790">
                  <c:v>40051</c:v>
                </c:pt>
                <c:pt idx="1791">
                  <c:v>40052</c:v>
                </c:pt>
                <c:pt idx="1792">
                  <c:v>40053</c:v>
                </c:pt>
                <c:pt idx="1793">
                  <c:v>40056</c:v>
                </c:pt>
                <c:pt idx="1794">
                  <c:v>40057</c:v>
                </c:pt>
                <c:pt idx="1795">
                  <c:v>40058</c:v>
                </c:pt>
                <c:pt idx="1796">
                  <c:v>40059</c:v>
                </c:pt>
                <c:pt idx="1797">
                  <c:v>40060</c:v>
                </c:pt>
                <c:pt idx="1798">
                  <c:v>40063</c:v>
                </c:pt>
                <c:pt idx="1799">
                  <c:v>40064</c:v>
                </c:pt>
                <c:pt idx="1800">
                  <c:v>40065</c:v>
                </c:pt>
                <c:pt idx="1801">
                  <c:v>40066</c:v>
                </c:pt>
                <c:pt idx="1802">
                  <c:v>40067</c:v>
                </c:pt>
                <c:pt idx="1803">
                  <c:v>40070</c:v>
                </c:pt>
                <c:pt idx="1804">
                  <c:v>40071</c:v>
                </c:pt>
                <c:pt idx="1805">
                  <c:v>40072</c:v>
                </c:pt>
                <c:pt idx="1806">
                  <c:v>40073</c:v>
                </c:pt>
                <c:pt idx="1807">
                  <c:v>40074</c:v>
                </c:pt>
                <c:pt idx="1808">
                  <c:v>40077</c:v>
                </c:pt>
                <c:pt idx="1809">
                  <c:v>40078</c:v>
                </c:pt>
                <c:pt idx="1810">
                  <c:v>40079</c:v>
                </c:pt>
                <c:pt idx="1811">
                  <c:v>40080</c:v>
                </c:pt>
                <c:pt idx="1812">
                  <c:v>40081</c:v>
                </c:pt>
                <c:pt idx="1813">
                  <c:v>40084</c:v>
                </c:pt>
                <c:pt idx="1814">
                  <c:v>40085</c:v>
                </c:pt>
                <c:pt idx="1815">
                  <c:v>40086</c:v>
                </c:pt>
                <c:pt idx="1816">
                  <c:v>40095</c:v>
                </c:pt>
                <c:pt idx="1817">
                  <c:v>40098</c:v>
                </c:pt>
                <c:pt idx="1818">
                  <c:v>40099</c:v>
                </c:pt>
                <c:pt idx="1819">
                  <c:v>40100</c:v>
                </c:pt>
                <c:pt idx="1820">
                  <c:v>40101</c:v>
                </c:pt>
                <c:pt idx="1821">
                  <c:v>40102</c:v>
                </c:pt>
                <c:pt idx="1822">
                  <c:v>40105</c:v>
                </c:pt>
                <c:pt idx="1823">
                  <c:v>40106</c:v>
                </c:pt>
                <c:pt idx="1824">
                  <c:v>40107</c:v>
                </c:pt>
                <c:pt idx="1825">
                  <c:v>40108</c:v>
                </c:pt>
                <c:pt idx="1826">
                  <c:v>40109</c:v>
                </c:pt>
                <c:pt idx="1827">
                  <c:v>40112</c:v>
                </c:pt>
                <c:pt idx="1828">
                  <c:v>40113</c:v>
                </c:pt>
                <c:pt idx="1829">
                  <c:v>40114</c:v>
                </c:pt>
                <c:pt idx="1830">
                  <c:v>40115</c:v>
                </c:pt>
                <c:pt idx="1831">
                  <c:v>40116</c:v>
                </c:pt>
                <c:pt idx="1832">
                  <c:v>40119</c:v>
                </c:pt>
                <c:pt idx="1833">
                  <c:v>40120</c:v>
                </c:pt>
                <c:pt idx="1834">
                  <c:v>40121</c:v>
                </c:pt>
                <c:pt idx="1835">
                  <c:v>40122</c:v>
                </c:pt>
                <c:pt idx="1836">
                  <c:v>40123</c:v>
                </c:pt>
                <c:pt idx="1837">
                  <c:v>40126</c:v>
                </c:pt>
                <c:pt idx="1838">
                  <c:v>40127</c:v>
                </c:pt>
                <c:pt idx="1839">
                  <c:v>40128</c:v>
                </c:pt>
                <c:pt idx="1840">
                  <c:v>40129</c:v>
                </c:pt>
                <c:pt idx="1841">
                  <c:v>40130</c:v>
                </c:pt>
                <c:pt idx="1842">
                  <c:v>40133</c:v>
                </c:pt>
                <c:pt idx="1843">
                  <c:v>40134</c:v>
                </c:pt>
                <c:pt idx="1844">
                  <c:v>40135</c:v>
                </c:pt>
                <c:pt idx="1845">
                  <c:v>40136</c:v>
                </c:pt>
                <c:pt idx="1846">
                  <c:v>40137</c:v>
                </c:pt>
                <c:pt idx="1847">
                  <c:v>40140</c:v>
                </c:pt>
                <c:pt idx="1848">
                  <c:v>40141</c:v>
                </c:pt>
                <c:pt idx="1849">
                  <c:v>40142</c:v>
                </c:pt>
                <c:pt idx="1850">
                  <c:v>40143</c:v>
                </c:pt>
                <c:pt idx="1851">
                  <c:v>40144</c:v>
                </c:pt>
                <c:pt idx="1852">
                  <c:v>40147</c:v>
                </c:pt>
                <c:pt idx="1853">
                  <c:v>40148</c:v>
                </c:pt>
                <c:pt idx="1854">
                  <c:v>40149</c:v>
                </c:pt>
                <c:pt idx="1855">
                  <c:v>40150</c:v>
                </c:pt>
                <c:pt idx="1856">
                  <c:v>40151</c:v>
                </c:pt>
                <c:pt idx="1857">
                  <c:v>40154</c:v>
                </c:pt>
                <c:pt idx="1858">
                  <c:v>40155</c:v>
                </c:pt>
                <c:pt idx="1859">
                  <c:v>40156</c:v>
                </c:pt>
                <c:pt idx="1860">
                  <c:v>40157</c:v>
                </c:pt>
                <c:pt idx="1861">
                  <c:v>40158</c:v>
                </c:pt>
                <c:pt idx="1862">
                  <c:v>40161</c:v>
                </c:pt>
                <c:pt idx="1863">
                  <c:v>40162</c:v>
                </c:pt>
                <c:pt idx="1864">
                  <c:v>40163</c:v>
                </c:pt>
                <c:pt idx="1865">
                  <c:v>40164</c:v>
                </c:pt>
                <c:pt idx="1866">
                  <c:v>40165</c:v>
                </c:pt>
                <c:pt idx="1867">
                  <c:v>40168</c:v>
                </c:pt>
                <c:pt idx="1868">
                  <c:v>40169</c:v>
                </c:pt>
                <c:pt idx="1869">
                  <c:v>40170</c:v>
                </c:pt>
                <c:pt idx="1870">
                  <c:v>40171</c:v>
                </c:pt>
                <c:pt idx="1871">
                  <c:v>40172</c:v>
                </c:pt>
                <c:pt idx="1872">
                  <c:v>40175</c:v>
                </c:pt>
                <c:pt idx="1873">
                  <c:v>40176</c:v>
                </c:pt>
                <c:pt idx="1874">
                  <c:v>40177</c:v>
                </c:pt>
                <c:pt idx="1875">
                  <c:v>40178</c:v>
                </c:pt>
                <c:pt idx="1876">
                  <c:v>40182</c:v>
                </c:pt>
                <c:pt idx="1877">
                  <c:v>40183</c:v>
                </c:pt>
                <c:pt idx="1878">
                  <c:v>40184</c:v>
                </c:pt>
                <c:pt idx="1879">
                  <c:v>40185</c:v>
                </c:pt>
                <c:pt idx="1880">
                  <c:v>40186</c:v>
                </c:pt>
                <c:pt idx="1881">
                  <c:v>40189</c:v>
                </c:pt>
                <c:pt idx="1882">
                  <c:v>40190</c:v>
                </c:pt>
                <c:pt idx="1883">
                  <c:v>40191</c:v>
                </c:pt>
                <c:pt idx="1884">
                  <c:v>40192</c:v>
                </c:pt>
                <c:pt idx="1885">
                  <c:v>40193</c:v>
                </c:pt>
                <c:pt idx="1886">
                  <c:v>40196</c:v>
                </c:pt>
                <c:pt idx="1887">
                  <c:v>40197</c:v>
                </c:pt>
                <c:pt idx="1888">
                  <c:v>40198</c:v>
                </c:pt>
                <c:pt idx="1889">
                  <c:v>40199</c:v>
                </c:pt>
                <c:pt idx="1890">
                  <c:v>40200</c:v>
                </c:pt>
                <c:pt idx="1891">
                  <c:v>40203</c:v>
                </c:pt>
                <c:pt idx="1892">
                  <c:v>40204</c:v>
                </c:pt>
                <c:pt idx="1893">
                  <c:v>40205</c:v>
                </c:pt>
                <c:pt idx="1894">
                  <c:v>40206</c:v>
                </c:pt>
                <c:pt idx="1895">
                  <c:v>40207</c:v>
                </c:pt>
                <c:pt idx="1896">
                  <c:v>40210</c:v>
                </c:pt>
                <c:pt idx="1897">
                  <c:v>40211</c:v>
                </c:pt>
                <c:pt idx="1898">
                  <c:v>40212</c:v>
                </c:pt>
                <c:pt idx="1899">
                  <c:v>40213</c:v>
                </c:pt>
                <c:pt idx="1900">
                  <c:v>40214</c:v>
                </c:pt>
                <c:pt idx="1901">
                  <c:v>40217</c:v>
                </c:pt>
                <c:pt idx="1902">
                  <c:v>40218</c:v>
                </c:pt>
                <c:pt idx="1903">
                  <c:v>40219</c:v>
                </c:pt>
                <c:pt idx="1904">
                  <c:v>40220</c:v>
                </c:pt>
                <c:pt idx="1905">
                  <c:v>40221</c:v>
                </c:pt>
                <c:pt idx="1906">
                  <c:v>40231</c:v>
                </c:pt>
                <c:pt idx="1907">
                  <c:v>40232</c:v>
                </c:pt>
                <c:pt idx="1908">
                  <c:v>40233</c:v>
                </c:pt>
                <c:pt idx="1909">
                  <c:v>40234</c:v>
                </c:pt>
                <c:pt idx="1910">
                  <c:v>40235</c:v>
                </c:pt>
                <c:pt idx="1911">
                  <c:v>40238</c:v>
                </c:pt>
                <c:pt idx="1912">
                  <c:v>40239</c:v>
                </c:pt>
                <c:pt idx="1913">
                  <c:v>40240</c:v>
                </c:pt>
                <c:pt idx="1914">
                  <c:v>40241</c:v>
                </c:pt>
                <c:pt idx="1915">
                  <c:v>40242</c:v>
                </c:pt>
                <c:pt idx="1916">
                  <c:v>40245</c:v>
                </c:pt>
                <c:pt idx="1917">
                  <c:v>40246</c:v>
                </c:pt>
                <c:pt idx="1918">
                  <c:v>40247</c:v>
                </c:pt>
                <c:pt idx="1919">
                  <c:v>40248</c:v>
                </c:pt>
                <c:pt idx="1920">
                  <c:v>40249</c:v>
                </c:pt>
                <c:pt idx="1921">
                  <c:v>40252</c:v>
                </c:pt>
                <c:pt idx="1922">
                  <c:v>40253</c:v>
                </c:pt>
                <c:pt idx="1923">
                  <c:v>40254</c:v>
                </c:pt>
                <c:pt idx="1924">
                  <c:v>40255</c:v>
                </c:pt>
                <c:pt idx="1925">
                  <c:v>40256</c:v>
                </c:pt>
                <c:pt idx="1926">
                  <c:v>40259</c:v>
                </c:pt>
                <c:pt idx="1927">
                  <c:v>40260</c:v>
                </c:pt>
                <c:pt idx="1928">
                  <c:v>40261</c:v>
                </c:pt>
                <c:pt idx="1929">
                  <c:v>40262</c:v>
                </c:pt>
                <c:pt idx="1930">
                  <c:v>40263</c:v>
                </c:pt>
                <c:pt idx="1931">
                  <c:v>40266</c:v>
                </c:pt>
                <c:pt idx="1932">
                  <c:v>40267</c:v>
                </c:pt>
                <c:pt idx="1933">
                  <c:v>40268</c:v>
                </c:pt>
                <c:pt idx="1934">
                  <c:v>40269</c:v>
                </c:pt>
                <c:pt idx="1935">
                  <c:v>40270</c:v>
                </c:pt>
                <c:pt idx="1936">
                  <c:v>40274</c:v>
                </c:pt>
                <c:pt idx="1937">
                  <c:v>40275</c:v>
                </c:pt>
                <c:pt idx="1938">
                  <c:v>40276</c:v>
                </c:pt>
                <c:pt idx="1939">
                  <c:v>40277</c:v>
                </c:pt>
                <c:pt idx="1940">
                  <c:v>40280</c:v>
                </c:pt>
                <c:pt idx="1941">
                  <c:v>40281</c:v>
                </c:pt>
                <c:pt idx="1942">
                  <c:v>40282</c:v>
                </c:pt>
                <c:pt idx="1943">
                  <c:v>40283</c:v>
                </c:pt>
                <c:pt idx="1944">
                  <c:v>40284</c:v>
                </c:pt>
                <c:pt idx="1945">
                  <c:v>40287</c:v>
                </c:pt>
                <c:pt idx="1946">
                  <c:v>40288</c:v>
                </c:pt>
                <c:pt idx="1947">
                  <c:v>40289</c:v>
                </c:pt>
                <c:pt idx="1948">
                  <c:v>40290</c:v>
                </c:pt>
                <c:pt idx="1949">
                  <c:v>40291</c:v>
                </c:pt>
                <c:pt idx="1950">
                  <c:v>40294</c:v>
                </c:pt>
                <c:pt idx="1951">
                  <c:v>40295</c:v>
                </c:pt>
                <c:pt idx="1952">
                  <c:v>40296</c:v>
                </c:pt>
                <c:pt idx="1953">
                  <c:v>40297</c:v>
                </c:pt>
                <c:pt idx="1954">
                  <c:v>40298</c:v>
                </c:pt>
                <c:pt idx="1955">
                  <c:v>40302</c:v>
                </c:pt>
                <c:pt idx="1956">
                  <c:v>40303</c:v>
                </c:pt>
                <c:pt idx="1957">
                  <c:v>40304</c:v>
                </c:pt>
                <c:pt idx="1958">
                  <c:v>40305</c:v>
                </c:pt>
                <c:pt idx="1959">
                  <c:v>40308</c:v>
                </c:pt>
                <c:pt idx="1960">
                  <c:v>40309</c:v>
                </c:pt>
                <c:pt idx="1961">
                  <c:v>40310</c:v>
                </c:pt>
                <c:pt idx="1962">
                  <c:v>40311</c:v>
                </c:pt>
                <c:pt idx="1963">
                  <c:v>40312</c:v>
                </c:pt>
                <c:pt idx="1964">
                  <c:v>40315</c:v>
                </c:pt>
                <c:pt idx="1965">
                  <c:v>40316</c:v>
                </c:pt>
                <c:pt idx="1966">
                  <c:v>40317</c:v>
                </c:pt>
                <c:pt idx="1967">
                  <c:v>40318</c:v>
                </c:pt>
                <c:pt idx="1968">
                  <c:v>40319</c:v>
                </c:pt>
                <c:pt idx="1969">
                  <c:v>40322</c:v>
                </c:pt>
                <c:pt idx="1970">
                  <c:v>40323</c:v>
                </c:pt>
                <c:pt idx="1971">
                  <c:v>40324</c:v>
                </c:pt>
                <c:pt idx="1972">
                  <c:v>40325</c:v>
                </c:pt>
                <c:pt idx="1973">
                  <c:v>40326</c:v>
                </c:pt>
                <c:pt idx="1974">
                  <c:v>40329</c:v>
                </c:pt>
                <c:pt idx="1975">
                  <c:v>40330</c:v>
                </c:pt>
                <c:pt idx="1976">
                  <c:v>40331</c:v>
                </c:pt>
                <c:pt idx="1977">
                  <c:v>40332</c:v>
                </c:pt>
                <c:pt idx="1978">
                  <c:v>40333</c:v>
                </c:pt>
                <c:pt idx="1979">
                  <c:v>40336</c:v>
                </c:pt>
                <c:pt idx="1980">
                  <c:v>40337</c:v>
                </c:pt>
                <c:pt idx="1981">
                  <c:v>40338</c:v>
                </c:pt>
                <c:pt idx="1982">
                  <c:v>40339</c:v>
                </c:pt>
                <c:pt idx="1983">
                  <c:v>40340</c:v>
                </c:pt>
                <c:pt idx="1984">
                  <c:v>40346</c:v>
                </c:pt>
                <c:pt idx="1985">
                  <c:v>40347</c:v>
                </c:pt>
                <c:pt idx="1986">
                  <c:v>40350</c:v>
                </c:pt>
                <c:pt idx="1987">
                  <c:v>40351</c:v>
                </c:pt>
                <c:pt idx="1988">
                  <c:v>40352</c:v>
                </c:pt>
                <c:pt idx="1989">
                  <c:v>40353</c:v>
                </c:pt>
                <c:pt idx="1990">
                  <c:v>40354</c:v>
                </c:pt>
                <c:pt idx="1991">
                  <c:v>40357</c:v>
                </c:pt>
                <c:pt idx="1992">
                  <c:v>40358</c:v>
                </c:pt>
                <c:pt idx="1993">
                  <c:v>40359</c:v>
                </c:pt>
                <c:pt idx="1994">
                  <c:v>40360</c:v>
                </c:pt>
                <c:pt idx="1995">
                  <c:v>40361</c:v>
                </c:pt>
                <c:pt idx="1996">
                  <c:v>40364</c:v>
                </c:pt>
                <c:pt idx="1997">
                  <c:v>40365</c:v>
                </c:pt>
                <c:pt idx="1998">
                  <c:v>40366</c:v>
                </c:pt>
                <c:pt idx="1999">
                  <c:v>40367</c:v>
                </c:pt>
                <c:pt idx="2000">
                  <c:v>40368</c:v>
                </c:pt>
                <c:pt idx="2001">
                  <c:v>40371</c:v>
                </c:pt>
                <c:pt idx="2002">
                  <c:v>40372</c:v>
                </c:pt>
                <c:pt idx="2003">
                  <c:v>40373</c:v>
                </c:pt>
                <c:pt idx="2004">
                  <c:v>40374</c:v>
                </c:pt>
                <c:pt idx="2005">
                  <c:v>40375</c:v>
                </c:pt>
                <c:pt idx="2006">
                  <c:v>40378</c:v>
                </c:pt>
                <c:pt idx="2007">
                  <c:v>40379</c:v>
                </c:pt>
                <c:pt idx="2008">
                  <c:v>40380</c:v>
                </c:pt>
                <c:pt idx="2009">
                  <c:v>40381</c:v>
                </c:pt>
                <c:pt idx="2010">
                  <c:v>40382</c:v>
                </c:pt>
                <c:pt idx="2011">
                  <c:v>40385</c:v>
                </c:pt>
                <c:pt idx="2012">
                  <c:v>40386</c:v>
                </c:pt>
                <c:pt idx="2013">
                  <c:v>40387</c:v>
                </c:pt>
                <c:pt idx="2014">
                  <c:v>40388</c:v>
                </c:pt>
                <c:pt idx="2015">
                  <c:v>40389</c:v>
                </c:pt>
                <c:pt idx="2016">
                  <c:v>40392</c:v>
                </c:pt>
                <c:pt idx="2017">
                  <c:v>40393</c:v>
                </c:pt>
                <c:pt idx="2018">
                  <c:v>40394</c:v>
                </c:pt>
                <c:pt idx="2019">
                  <c:v>40395</c:v>
                </c:pt>
                <c:pt idx="2020">
                  <c:v>40396</c:v>
                </c:pt>
                <c:pt idx="2021">
                  <c:v>40399</c:v>
                </c:pt>
                <c:pt idx="2022">
                  <c:v>40400</c:v>
                </c:pt>
                <c:pt idx="2023">
                  <c:v>40401</c:v>
                </c:pt>
                <c:pt idx="2024">
                  <c:v>40402</c:v>
                </c:pt>
                <c:pt idx="2025">
                  <c:v>40403</c:v>
                </c:pt>
                <c:pt idx="2026">
                  <c:v>40406</c:v>
                </c:pt>
                <c:pt idx="2027">
                  <c:v>40407</c:v>
                </c:pt>
                <c:pt idx="2028">
                  <c:v>40408</c:v>
                </c:pt>
                <c:pt idx="2029">
                  <c:v>40409</c:v>
                </c:pt>
                <c:pt idx="2030">
                  <c:v>40410</c:v>
                </c:pt>
                <c:pt idx="2031">
                  <c:v>40413</c:v>
                </c:pt>
                <c:pt idx="2032">
                  <c:v>40414</c:v>
                </c:pt>
                <c:pt idx="2033">
                  <c:v>40415</c:v>
                </c:pt>
                <c:pt idx="2034">
                  <c:v>40416</c:v>
                </c:pt>
                <c:pt idx="2035">
                  <c:v>40417</c:v>
                </c:pt>
                <c:pt idx="2036">
                  <c:v>40420</c:v>
                </c:pt>
                <c:pt idx="2037">
                  <c:v>40421</c:v>
                </c:pt>
                <c:pt idx="2038">
                  <c:v>40422</c:v>
                </c:pt>
                <c:pt idx="2039">
                  <c:v>40423</c:v>
                </c:pt>
                <c:pt idx="2040">
                  <c:v>40424</c:v>
                </c:pt>
                <c:pt idx="2041">
                  <c:v>40427</c:v>
                </c:pt>
                <c:pt idx="2042">
                  <c:v>40428</c:v>
                </c:pt>
                <c:pt idx="2043">
                  <c:v>40429</c:v>
                </c:pt>
                <c:pt idx="2044">
                  <c:v>40430</c:v>
                </c:pt>
                <c:pt idx="2045">
                  <c:v>40431</c:v>
                </c:pt>
                <c:pt idx="2046">
                  <c:v>40434</c:v>
                </c:pt>
                <c:pt idx="2047">
                  <c:v>40435</c:v>
                </c:pt>
                <c:pt idx="2048">
                  <c:v>40436</c:v>
                </c:pt>
                <c:pt idx="2049">
                  <c:v>40437</c:v>
                </c:pt>
                <c:pt idx="2050">
                  <c:v>40438</c:v>
                </c:pt>
                <c:pt idx="2051">
                  <c:v>40441</c:v>
                </c:pt>
                <c:pt idx="2052">
                  <c:v>40442</c:v>
                </c:pt>
                <c:pt idx="2053">
                  <c:v>40448</c:v>
                </c:pt>
                <c:pt idx="2054">
                  <c:v>40449</c:v>
                </c:pt>
                <c:pt idx="2055">
                  <c:v>40450</c:v>
                </c:pt>
                <c:pt idx="2056">
                  <c:v>40451</c:v>
                </c:pt>
                <c:pt idx="2057">
                  <c:v>40459</c:v>
                </c:pt>
                <c:pt idx="2058">
                  <c:v>40462</c:v>
                </c:pt>
                <c:pt idx="2059">
                  <c:v>40463</c:v>
                </c:pt>
                <c:pt idx="2060">
                  <c:v>40464</c:v>
                </c:pt>
                <c:pt idx="2061">
                  <c:v>40465</c:v>
                </c:pt>
                <c:pt idx="2062">
                  <c:v>40466</c:v>
                </c:pt>
                <c:pt idx="2063">
                  <c:v>40469</c:v>
                </c:pt>
                <c:pt idx="2064">
                  <c:v>40470</c:v>
                </c:pt>
                <c:pt idx="2065">
                  <c:v>40471</c:v>
                </c:pt>
                <c:pt idx="2066">
                  <c:v>40472</c:v>
                </c:pt>
                <c:pt idx="2067">
                  <c:v>40473</c:v>
                </c:pt>
                <c:pt idx="2068">
                  <c:v>40476</c:v>
                </c:pt>
                <c:pt idx="2069">
                  <c:v>40477</c:v>
                </c:pt>
                <c:pt idx="2070">
                  <c:v>40478</c:v>
                </c:pt>
                <c:pt idx="2071">
                  <c:v>40479</c:v>
                </c:pt>
                <c:pt idx="2072">
                  <c:v>40480</c:v>
                </c:pt>
                <c:pt idx="2073">
                  <c:v>40483</c:v>
                </c:pt>
                <c:pt idx="2074">
                  <c:v>40484</c:v>
                </c:pt>
                <c:pt idx="2075">
                  <c:v>40485</c:v>
                </c:pt>
                <c:pt idx="2076">
                  <c:v>40486</c:v>
                </c:pt>
                <c:pt idx="2077">
                  <c:v>40487</c:v>
                </c:pt>
                <c:pt idx="2078">
                  <c:v>40490</c:v>
                </c:pt>
                <c:pt idx="2079">
                  <c:v>40491</c:v>
                </c:pt>
                <c:pt idx="2080">
                  <c:v>40492</c:v>
                </c:pt>
                <c:pt idx="2081">
                  <c:v>40493</c:v>
                </c:pt>
                <c:pt idx="2082">
                  <c:v>40494</c:v>
                </c:pt>
                <c:pt idx="2083">
                  <c:v>40497</c:v>
                </c:pt>
                <c:pt idx="2084">
                  <c:v>40498</c:v>
                </c:pt>
                <c:pt idx="2085">
                  <c:v>40499</c:v>
                </c:pt>
                <c:pt idx="2086">
                  <c:v>40500</c:v>
                </c:pt>
                <c:pt idx="2087">
                  <c:v>40501</c:v>
                </c:pt>
                <c:pt idx="2088">
                  <c:v>40504</c:v>
                </c:pt>
                <c:pt idx="2089">
                  <c:v>40505</c:v>
                </c:pt>
                <c:pt idx="2090">
                  <c:v>40506</c:v>
                </c:pt>
                <c:pt idx="2091">
                  <c:v>40507</c:v>
                </c:pt>
                <c:pt idx="2092">
                  <c:v>40508</c:v>
                </c:pt>
                <c:pt idx="2093">
                  <c:v>40511</c:v>
                </c:pt>
                <c:pt idx="2094">
                  <c:v>40512</c:v>
                </c:pt>
                <c:pt idx="2095">
                  <c:v>40513</c:v>
                </c:pt>
                <c:pt idx="2096">
                  <c:v>40514</c:v>
                </c:pt>
                <c:pt idx="2097">
                  <c:v>40515</c:v>
                </c:pt>
                <c:pt idx="2098">
                  <c:v>40518</c:v>
                </c:pt>
                <c:pt idx="2099">
                  <c:v>40519</c:v>
                </c:pt>
                <c:pt idx="2100">
                  <c:v>40520</c:v>
                </c:pt>
                <c:pt idx="2101">
                  <c:v>40521</c:v>
                </c:pt>
                <c:pt idx="2102">
                  <c:v>40522</c:v>
                </c:pt>
                <c:pt idx="2103">
                  <c:v>40525</c:v>
                </c:pt>
                <c:pt idx="2104">
                  <c:v>40526</c:v>
                </c:pt>
                <c:pt idx="2105">
                  <c:v>40527</c:v>
                </c:pt>
                <c:pt idx="2106">
                  <c:v>40528</c:v>
                </c:pt>
                <c:pt idx="2107">
                  <c:v>40529</c:v>
                </c:pt>
                <c:pt idx="2108">
                  <c:v>40532</c:v>
                </c:pt>
                <c:pt idx="2109">
                  <c:v>40533</c:v>
                </c:pt>
                <c:pt idx="2110">
                  <c:v>40534</c:v>
                </c:pt>
                <c:pt idx="2111">
                  <c:v>40535</c:v>
                </c:pt>
                <c:pt idx="2112">
                  <c:v>40536</c:v>
                </c:pt>
                <c:pt idx="2113">
                  <c:v>40539</c:v>
                </c:pt>
                <c:pt idx="2114">
                  <c:v>40540</c:v>
                </c:pt>
                <c:pt idx="2115">
                  <c:v>40541</c:v>
                </c:pt>
                <c:pt idx="2116">
                  <c:v>40542</c:v>
                </c:pt>
                <c:pt idx="2117">
                  <c:v>40543</c:v>
                </c:pt>
                <c:pt idx="2118">
                  <c:v>40547</c:v>
                </c:pt>
                <c:pt idx="2119">
                  <c:v>40548</c:v>
                </c:pt>
                <c:pt idx="2120">
                  <c:v>40549</c:v>
                </c:pt>
                <c:pt idx="2121">
                  <c:v>40550</c:v>
                </c:pt>
                <c:pt idx="2122">
                  <c:v>40553</c:v>
                </c:pt>
                <c:pt idx="2123">
                  <c:v>40554</c:v>
                </c:pt>
                <c:pt idx="2124">
                  <c:v>40555</c:v>
                </c:pt>
                <c:pt idx="2125">
                  <c:v>40556</c:v>
                </c:pt>
                <c:pt idx="2126">
                  <c:v>40557</c:v>
                </c:pt>
                <c:pt idx="2127">
                  <c:v>40560</c:v>
                </c:pt>
                <c:pt idx="2128">
                  <c:v>40561</c:v>
                </c:pt>
                <c:pt idx="2129">
                  <c:v>40562</c:v>
                </c:pt>
                <c:pt idx="2130">
                  <c:v>40563</c:v>
                </c:pt>
                <c:pt idx="2131">
                  <c:v>40564</c:v>
                </c:pt>
                <c:pt idx="2132">
                  <c:v>40567</c:v>
                </c:pt>
                <c:pt idx="2133">
                  <c:v>40568</c:v>
                </c:pt>
                <c:pt idx="2134">
                  <c:v>40569</c:v>
                </c:pt>
                <c:pt idx="2135">
                  <c:v>40570</c:v>
                </c:pt>
                <c:pt idx="2136">
                  <c:v>40571</c:v>
                </c:pt>
                <c:pt idx="2137">
                  <c:v>40574</c:v>
                </c:pt>
                <c:pt idx="2138">
                  <c:v>40575</c:v>
                </c:pt>
                <c:pt idx="2139">
                  <c:v>40583</c:v>
                </c:pt>
                <c:pt idx="2140">
                  <c:v>40584</c:v>
                </c:pt>
                <c:pt idx="2141">
                  <c:v>40585</c:v>
                </c:pt>
                <c:pt idx="2142">
                  <c:v>40588</c:v>
                </c:pt>
                <c:pt idx="2143">
                  <c:v>40589</c:v>
                </c:pt>
                <c:pt idx="2144">
                  <c:v>40590</c:v>
                </c:pt>
                <c:pt idx="2145">
                  <c:v>40591</c:v>
                </c:pt>
                <c:pt idx="2146">
                  <c:v>40592</c:v>
                </c:pt>
                <c:pt idx="2147">
                  <c:v>40595</c:v>
                </c:pt>
                <c:pt idx="2148">
                  <c:v>40596</c:v>
                </c:pt>
                <c:pt idx="2149">
                  <c:v>40597</c:v>
                </c:pt>
                <c:pt idx="2150">
                  <c:v>40598</c:v>
                </c:pt>
                <c:pt idx="2151">
                  <c:v>40599</c:v>
                </c:pt>
                <c:pt idx="2152">
                  <c:v>40602</c:v>
                </c:pt>
                <c:pt idx="2153">
                  <c:v>40603</c:v>
                </c:pt>
                <c:pt idx="2154">
                  <c:v>40604</c:v>
                </c:pt>
                <c:pt idx="2155">
                  <c:v>40605</c:v>
                </c:pt>
                <c:pt idx="2156">
                  <c:v>40606</c:v>
                </c:pt>
                <c:pt idx="2157">
                  <c:v>40609</c:v>
                </c:pt>
                <c:pt idx="2158">
                  <c:v>40610</c:v>
                </c:pt>
                <c:pt idx="2159">
                  <c:v>40611</c:v>
                </c:pt>
                <c:pt idx="2160">
                  <c:v>40612</c:v>
                </c:pt>
                <c:pt idx="2161">
                  <c:v>40613</c:v>
                </c:pt>
                <c:pt idx="2162">
                  <c:v>40616</c:v>
                </c:pt>
                <c:pt idx="2163">
                  <c:v>40617</c:v>
                </c:pt>
                <c:pt idx="2164">
                  <c:v>40618</c:v>
                </c:pt>
                <c:pt idx="2165">
                  <c:v>40619</c:v>
                </c:pt>
                <c:pt idx="2166">
                  <c:v>40620</c:v>
                </c:pt>
                <c:pt idx="2167">
                  <c:v>40623</c:v>
                </c:pt>
                <c:pt idx="2168">
                  <c:v>40624</c:v>
                </c:pt>
                <c:pt idx="2169">
                  <c:v>40625</c:v>
                </c:pt>
                <c:pt idx="2170">
                  <c:v>40626</c:v>
                </c:pt>
                <c:pt idx="2171">
                  <c:v>40627</c:v>
                </c:pt>
                <c:pt idx="2172">
                  <c:v>40630</c:v>
                </c:pt>
                <c:pt idx="2173">
                  <c:v>40631</c:v>
                </c:pt>
                <c:pt idx="2174">
                  <c:v>40632</c:v>
                </c:pt>
                <c:pt idx="2175">
                  <c:v>40633</c:v>
                </c:pt>
                <c:pt idx="2176">
                  <c:v>40634</c:v>
                </c:pt>
                <c:pt idx="2177">
                  <c:v>40639</c:v>
                </c:pt>
                <c:pt idx="2178">
                  <c:v>40640</c:v>
                </c:pt>
                <c:pt idx="2179">
                  <c:v>40641</c:v>
                </c:pt>
                <c:pt idx="2180">
                  <c:v>40644</c:v>
                </c:pt>
                <c:pt idx="2181">
                  <c:v>40645</c:v>
                </c:pt>
                <c:pt idx="2182">
                  <c:v>40646</c:v>
                </c:pt>
                <c:pt idx="2183">
                  <c:v>40647</c:v>
                </c:pt>
                <c:pt idx="2184">
                  <c:v>40648</c:v>
                </c:pt>
                <c:pt idx="2185">
                  <c:v>40651</c:v>
                </c:pt>
                <c:pt idx="2186">
                  <c:v>40652</c:v>
                </c:pt>
                <c:pt idx="2187">
                  <c:v>40653</c:v>
                </c:pt>
                <c:pt idx="2188">
                  <c:v>40654</c:v>
                </c:pt>
                <c:pt idx="2189">
                  <c:v>40655</c:v>
                </c:pt>
                <c:pt idx="2190">
                  <c:v>40658</c:v>
                </c:pt>
                <c:pt idx="2191">
                  <c:v>40659</c:v>
                </c:pt>
                <c:pt idx="2192">
                  <c:v>40660</c:v>
                </c:pt>
                <c:pt idx="2193">
                  <c:v>40661</c:v>
                </c:pt>
                <c:pt idx="2194">
                  <c:v>40662</c:v>
                </c:pt>
                <c:pt idx="2195">
                  <c:v>40666</c:v>
                </c:pt>
                <c:pt idx="2196">
                  <c:v>40667</c:v>
                </c:pt>
                <c:pt idx="2197">
                  <c:v>40668</c:v>
                </c:pt>
                <c:pt idx="2198">
                  <c:v>40669</c:v>
                </c:pt>
                <c:pt idx="2199">
                  <c:v>40672</c:v>
                </c:pt>
                <c:pt idx="2200">
                  <c:v>40673</c:v>
                </c:pt>
                <c:pt idx="2201">
                  <c:v>40674</c:v>
                </c:pt>
                <c:pt idx="2202">
                  <c:v>40675</c:v>
                </c:pt>
                <c:pt idx="2203">
                  <c:v>40676</c:v>
                </c:pt>
                <c:pt idx="2204">
                  <c:v>40679</c:v>
                </c:pt>
                <c:pt idx="2205">
                  <c:v>40680</c:v>
                </c:pt>
                <c:pt idx="2206">
                  <c:v>40681</c:v>
                </c:pt>
                <c:pt idx="2207">
                  <c:v>40682</c:v>
                </c:pt>
                <c:pt idx="2208">
                  <c:v>40683</c:v>
                </c:pt>
                <c:pt idx="2209">
                  <c:v>40686</c:v>
                </c:pt>
                <c:pt idx="2210">
                  <c:v>40687</c:v>
                </c:pt>
                <c:pt idx="2211">
                  <c:v>40688</c:v>
                </c:pt>
                <c:pt idx="2212">
                  <c:v>40689</c:v>
                </c:pt>
                <c:pt idx="2213">
                  <c:v>40690</c:v>
                </c:pt>
                <c:pt idx="2214">
                  <c:v>40693</c:v>
                </c:pt>
                <c:pt idx="2215">
                  <c:v>40694</c:v>
                </c:pt>
                <c:pt idx="2216">
                  <c:v>40695</c:v>
                </c:pt>
                <c:pt idx="2217">
                  <c:v>40696</c:v>
                </c:pt>
                <c:pt idx="2218">
                  <c:v>40697</c:v>
                </c:pt>
                <c:pt idx="2219">
                  <c:v>40701</c:v>
                </c:pt>
                <c:pt idx="2220">
                  <c:v>40702</c:v>
                </c:pt>
                <c:pt idx="2221">
                  <c:v>40703</c:v>
                </c:pt>
                <c:pt idx="2222">
                  <c:v>40704</c:v>
                </c:pt>
                <c:pt idx="2223">
                  <c:v>40707</c:v>
                </c:pt>
                <c:pt idx="2224">
                  <c:v>40708</c:v>
                </c:pt>
                <c:pt idx="2225">
                  <c:v>40709</c:v>
                </c:pt>
                <c:pt idx="2226">
                  <c:v>40710</c:v>
                </c:pt>
                <c:pt idx="2227">
                  <c:v>40711</c:v>
                </c:pt>
                <c:pt idx="2228">
                  <c:v>40714</c:v>
                </c:pt>
                <c:pt idx="2229">
                  <c:v>40715</c:v>
                </c:pt>
                <c:pt idx="2230">
                  <c:v>40716</c:v>
                </c:pt>
                <c:pt idx="2231">
                  <c:v>40717</c:v>
                </c:pt>
                <c:pt idx="2232">
                  <c:v>40718</c:v>
                </c:pt>
                <c:pt idx="2233">
                  <c:v>40721</c:v>
                </c:pt>
                <c:pt idx="2234">
                  <c:v>40722</c:v>
                </c:pt>
                <c:pt idx="2235">
                  <c:v>40723</c:v>
                </c:pt>
                <c:pt idx="2236">
                  <c:v>40724</c:v>
                </c:pt>
                <c:pt idx="2237">
                  <c:v>40725</c:v>
                </c:pt>
                <c:pt idx="2238">
                  <c:v>40728</c:v>
                </c:pt>
                <c:pt idx="2239">
                  <c:v>40729</c:v>
                </c:pt>
                <c:pt idx="2240">
                  <c:v>40730</c:v>
                </c:pt>
                <c:pt idx="2241">
                  <c:v>40731</c:v>
                </c:pt>
                <c:pt idx="2242">
                  <c:v>40732</c:v>
                </c:pt>
                <c:pt idx="2243">
                  <c:v>40735</c:v>
                </c:pt>
                <c:pt idx="2244">
                  <c:v>40736</c:v>
                </c:pt>
                <c:pt idx="2245">
                  <c:v>40737</c:v>
                </c:pt>
                <c:pt idx="2246">
                  <c:v>40738</c:v>
                </c:pt>
                <c:pt idx="2247">
                  <c:v>40739</c:v>
                </c:pt>
                <c:pt idx="2248">
                  <c:v>40742</c:v>
                </c:pt>
                <c:pt idx="2249">
                  <c:v>40743</c:v>
                </c:pt>
                <c:pt idx="2250">
                  <c:v>40744</c:v>
                </c:pt>
                <c:pt idx="2251">
                  <c:v>40745</c:v>
                </c:pt>
                <c:pt idx="2252">
                  <c:v>40746</c:v>
                </c:pt>
                <c:pt idx="2253">
                  <c:v>40749</c:v>
                </c:pt>
                <c:pt idx="2254">
                  <c:v>40750</c:v>
                </c:pt>
                <c:pt idx="2255">
                  <c:v>40751</c:v>
                </c:pt>
                <c:pt idx="2256">
                  <c:v>40752</c:v>
                </c:pt>
                <c:pt idx="2257">
                  <c:v>40753</c:v>
                </c:pt>
                <c:pt idx="2258">
                  <c:v>40756</c:v>
                </c:pt>
                <c:pt idx="2259">
                  <c:v>40757</c:v>
                </c:pt>
                <c:pt idx="2260">
                  <c:v>40758</c:v>
                </c:pt>
                <c:pt idx="2261">
                  <c:v>40759</c:v>
                </c:pt>
                <c:pt idx="2262">
                  <c:v>40760</c:v>
                </c:pt>
                <c:pt idx="2263">
                  <c:v>40763</c:v>
                </c:pt>
                <c:pt idx="2264">
                  <c:v>40764</c:v>
                </c:pt>
                <c:pt idx="2265">
                  <c:v>40765</c:v>
                </c:pt>
                <c:pt idx="2266">
                  <c:v>40766</c:v>
                </c:pt>
                <c:pt idx="2267">
                  <c:v>40767</c:v>
                </c:pt>
                <c:pt idx="2268">
                  <c:v>40770</c:v>
                </c:pt>
                <c:pt idx="2269">
                  <c:v>40771</c:v>
                </c:pt>
                <c:pt idx="2270">
                  <c:v>40772</c:v>
                </c:pt>
                <c:pt idx="2271">
                  <c:v>40773</c:v>
                </c:pt>
                <c:pt idx="2272">
                  <c:v>40774</c:v>
                </c:pt>
                <c:pt idx="2273">
                  <c:v>40777</c:v>
                </c:pt>
                <c:pt idx="2274">
                  <c:v>40778</c:v>
                </c:pt>
                <c:pt idx="2275">
                  <c:v>40779</c:v>
                </c:pt>
                <c:pt idx="2276">
                  <c:v>40780</c:v>
                </c:pt>
                <c:pt idx="2277">
                  <c:v>40781</c:v>
                </c:pt>
                <c:pt idx="2278">
                  <c:v>40784</c:v>
                </c:pt>
                <c:pt idx="2279">
                  <c:v>40785</c:v>
                </c:pt>
                <c:pt idx="2280">
                  <c:v>40786</c:v>
                </c:pt>
                <c:pt idx="2281">
                  <c:v>40787</c:v>
                </c:pt>
                <c:pt idx="2282">
                  <c:v>40788</c:v>
                </c:pt>
                <c:pt idx="2283">
                  <c:v>40791</c:v>
                </c:pt>
                <c:pt idx="2284">
                  <c:v>40792</c:v>
                </c:pt>
                <c:pt idx="2285">
                  <c:v>40793</c:v>
                </c:pt>
                <c:pt idx="2286">
                  <c:v>40794</c:v>
                </c:pt>
                <c:pt idx="2287">
                  <c:v>40795</c:v>
                </c:pt>
                <c:pt idx="2288">
                  <c:v>40799</c:v>
                </c:pt>
                <c:pt idx="2289">
                  <c:v>40800</c:v>
                </c:pt>
                <c:pt idx="2290">
                  <c:v>40801</c:v>
                </c:pt>
                <c:pt idx="2291">
                  <c:v>40802</c:v>
                </c:pt>
                <c:pt idx="2292">
                  <c:v>40805</c:v>
                </c:pt>
                <c:pt idx="2293">
                  <c:v>40806</c:v>
                </c:pt>
                <c:pt idx="2294">
                  <c:v>40807</c:v>
                </c:pt>
                <c:pt idx="2295">
                  <c:v>40808</c:v>
                </c:pt>
                <c:pt idx="2296">
                  <c:v>40809</c:v>
                </c:pt>
                <c:pt idx="2297">
                  <c:v>40812</c:v>
                </c:pt>
                <c:pt idx="2298">
                  <c:v>40813</c:v>
                </c:pt>
                <c:pt idx="2299">
                  <c:v>40814</c:v>
                </c:pt>
                <c:pt idx="2300">
                  <c:v>40815</c:v>
                </c:pt>
                <c:pt idx="2301">
                  <c:v>40816</c:v>
                </c:pt>
                <c:pt idx="2302">
                  <c:v>40826</c:v>
                </c:pt>
                <c:pt idx="2303">
                  <c:v>40827</c:v>
                </c:pt>
                <c:pt idx="2304">
                  <c:v>40828</c:v>
                </c:pt>
                <c:pt idx="2305">
                  <c:v>40829</c:v>
                </c:pt>
                <c:pt idx="2306">
                  <c:v>40830</c:v>
                </c:pt>
                <c:pt idx="2307">
                  <c:v>40833</c:v>
                </c:pt>
                <c:pt idx="2308">
                  <c:v>40834</c:v>
                </c:pt>
                <c:pt idx="2309">
                  <c:v>40835</c:v>
                </c:pt>
                <c:pt idx="2310">
                  <c:v>40836</c:v>
                </c:pt>
                <c:pt idx="2311">
                  <c:v>40837</c:v>
                </c:pt>
                <c:pt idx="2312">
                  <c:v>40840</c:v>
                </c:pt>
                <c:pt idx="2313">
                  <c:v>40841</c:v>
                </c:pt>
                <c:pt idx="2314">
                  <c:v>40842</c:v>
                </c:pt>
                <c:pt idx="2315">
                  <c:v>40843</c:v>
                </c:pt>
                <c:pt idx="2316">
                  <c:v>40844</c:v>
                </c:pt>
                <c:pt idx="2317">
                  <c:v>40847</c:v>
                </c:pt>
                <c:pt idx="2318">
                  <c:v>40848</c:v>
                </c:pt>
                <c:pt idx="2319">
                  <c:v>40849</c:v>
                </c:pt>
                <c:pt idx="2320">
                  <c:v>40850</c:v>
                </c:pt>
                <c:pt idx="2321">
                  <c:v>40851</c:v>
                </c:pt>
                <c:pt idx="2322">
                  <c:v>40854</c:v>
                </c:pt>
                <c:pt idx="2323">
                  <c:v>40855</c:v>
                </c:pt>
                <c:pt idx="2324">
                  <c:v>40856</c:v>
                </c:pt>
                <c:pt idx="2325">
                  <c:v>40857</c:v>
                </c:pt>
                <c:pt idx="2326">
                  <c:v>40858</c:v>
                </c:pt>
                <c:pt idx="2327">
                  <c:v>40861</c:v>
                </c:pt>
                <c:pt idx="2328">
                  <c:v>40862</c:v>
                </c:pt>
                <c:pt idx="2329">
                  <c:v>40863</c:v>
                </c:pt>
                <c:pt idx="2330">
                  <c:v>40864</c:v>
                </c:pt>
                <c:pt idx="2331">
                  <c:v>40865</c:v>
                </c:pt>
                <c:pt idx="2332">
                  <c:v>40868</c:v>
                </c:pt>
                <c:pt idx="2333">
                  <c:v>40869</c:v>
                </c:pt>
                <c:pt idx="2334">
                  <c:v>40870</c:v>
                </c:pt>
                <c:pt idx="2335">
                  <c:v>40871</c:v>
                </c:pt>
                <c:pt idx="2336">
                  <c:v>40872</c:v>
                </c:pt>
                <c:pt idx="2337">
                  <c:v>40875</c:v>
                </c:pt>
                <c:pt idx="2338">
                  <c:v>40876</c:v>
                </c:pt>
                <c:pt idx="2339">
                  <c:v>40877</c:v>
                </c:pt>
                <c:pt idx="2340">
                  <c:v>40878</c:v>
                </c:pt>
                <c:pt idx="2341">
                  <c:v>40879</c:v>
                </c:pt>
                <c:pt idx="2342">
                  <c:v>40882</c:v>
                </c:pt>
                <c:pt idx="2343">
                  <c:v>40883</c:v>
                </c:pt>
                <c:pt idx="2344">
                  <c:v>40884</c:v>
                </c:pt>
                <c:pt idx="2345">
                  <c:v>40885</c:v>
                </c:pt>
                <c:pt idx="2346">
                  <c:v>40886</c:v>
                </c:pt>
                <c:pt idx="2347">
                  <c:v>40889</c:v>
                </c:pt>
                <c:pt idx="2348">
                  <c:v>40890</c:v>
                </c:pt>
                <c:pt idx="2349">
                  <c:v>40891</c:v>
                </c:pt>
                <c:pt idx="2350">
                  <c:v>40892</c:v>
                </c:pt>
                <c:pt idx="2351">
                  <c:v>40893</c:v>
                </c:pt>
                <c:pt idx="2352">
                  <c:v>40896</c:v>
                </c:pt>
                <c:pt idx="2353">
                  <c:v>40897</c:v>
                </c:pt>
                <c:pt idx="2354">
                  <c:v>40898</c:v>
                </c:pt>
                <c:pt idx="2355">
                  <c:v>40899</c:v>
                </c:pt>
                <c:pt idx="2356">
                  <c:v>40900</c:v>
                </c:pt>
                <c:pt idx="2357">
                  <c:v>40903</c:v>
                </c:pt>
                <c:pt idx="2358">
                  <c:v>40904</c:v>
                </c:pt>
                <c:pt idx="2359">
                  <c:v>40905</c:v>
                </c:pt>
                <c:pt idx="2360">
                  <c:v>40906</c:v>
                </c:pt>
                <c:pt idx="2361">
                  <c:v>40907</c:v>
                </c:pt>
                <c:pt idx="2362">
                  <c:v>40912</c:v>
                </c:pt>
                <c:pt idx="2363">
                  <c:v>40913</c:v>
                </c:pt>
                <c:pt idx="2364">
                  <c:v>40914</c:v>
                </c:pt>
                <c:pt idx="2365">
                  <c:v>40917</c:v>
                </c:pt>
                <c:pt idx="2366">
                  <c:v>40918</c:v>
                </c:pt>
                <c:pt idx="2367">
                  <c:v>40919</c:v>
                </c:pt>
                <c:pt idx="2368">
                  <c:v>40920</c:v>
                </c:pt>
                <c:pt idx="2369">
                  <c:v>40921</c:v>
                </c:pt>
                <c:pt idx="2370">
                  <c:v>40924</c:v>
                </c:pt>
                <c:pt idx="2371">
                  <c:v>40925</c:v>
                </c:pt>
                <c:pt idx="2372">
                  <c:v>40926</c:v>
                </c:pt>
                <c:pt idx="2373">
                  <c:v>40927</c:v>
                </c:pt>
                <c:pt idx="2374">
                  <c:v>40928</c:v>
                </c:pt>
                <c:pt idx="2375">
                  <c:v>40938</c:v>
                </c:pt>
                <c:pt idx="2376">
                  <c:v>40939</c:v>
                </c:pt>
                <c:pt idx="2377">
                  <c:v>40940</c:v>
                </c:pt>
                <c:pt idx="2378">
                  <c:v>40941</c:v>
                </c:pt>
                <c:pt idx="2379">
                  <c:v>40942</c:v>
                </c:pt>
                <c:pt idx="2380">
                  <c:v>40945</c:v>
                </c:pt>
                <c:pt idx="2381">
                  <c:v>40946</c:v>
                </c:pt>
                <c:pt idx="2382">
                  <c:v>40947</c:v>
                </c:pt>
                <c:pt idx="2383">
                  <c:v>40948</c:v>
                </c:pt>
                <c:pt idx="2384">
                  <c:v>40949</c:v>
                </c:pt>
                <c:pt idx="2385">
                  <c:v>40952</c:v>
                </c:pt>
                <c:pt idx="2386">
                  <c:v>40953</c:v>
                </c:pt>
                <c:pt idx="2387">
                  <c:v>40954</c:v>
                </c:pt>
                <c:pt idx="2388">
                  <c:v>40955</c:v>
                </c:pt>
                <c:pt idx="2389">
                  <c:v>40956</c:v>
                </c:pt>
                <c:pt idx="2390">
                  <c:v>40959</c:v>
                </c:pt>
                <c:pt idx="2391">
                  <c:v>40960</c:v>
                </c:pt>
                <c:pt idx="2392">
                  <c:v>40961</c:v>
                </c:pt>
                <c:pt idx="2393">
                  <c:v>40962</c:v>
                </c:pt>
                <c:pt idx="2394">
                  <c:v>40963</c:v>
                </c:pt>
                <c:pt idx="2395">
                  <c:v>40966</c:v>
                </c:pt>
                <c:pt idx="2396">
                  <c:v>40967</c:v>
                </c:pt>
                <c:pt idx="2397">
                  <c:v>40968</c:v>
                </c:pt>
                <c:pt idx="2398">
                  <c:v>40969</c:v>
                </c:pt>
                <c:pt idx="2399">
                  <c:v>40970</c:v>
                </c:pt>
                <c:pt idx="2400">
                  <c:v>40973</c:v>
                </c:pt>
                <c:pt idx="2401">
                  <c:v>40974</c:v>
                </c:pt>
                <c:pt idx="2402">
                  <c:v>40975</c:v>
                </c:pt>
                <c:pt idx="2403">
                  <c:v>40976</c:v>
                </c:pt>
                <c:pt idx="2404">
                  <c:v>40977</c:v>
                </c:pt>
                <c:pt idx="2405">
                  <c:v>40980</c:v>
                </c:pt>
                <c:pt idx="2406">
                  <c:v>40981</c:v>
                </c:pt>
                <c:pt idx="2407">
                  <c:v>40982</c:v>
                </c:pt>
                <c:pt idx="2408">
                  <c:v>40983</c:v>
                </c:pt>
                <c:pt idx="2409">
                  <c:v>40984</c:v>
                </c:pt>
                <c:pt idx="2410">
                  <c:v>40987</c:v>
                </c:pt>
                <c:pt idx="2411">
                  <c:v>40988</c:v>
                </c:pt>
                <c:pt idx="2412">
                  <c:v>40989</c:v>
                </c:pt>
                <c:pt idx="2413">
                  <c:v>40990</c:v>
                </c:pt>
                <c:pt idx="2414">
                  <c:v>40991</c:v>
                </c:pt>
                <c:pt idx="2415">
                  <c:v>40994</c:v>
                </c:pt>
                <c:pt idx="2416">
                  <c:v>40995</c:v>
                </c:pt>
                <c:pt idx="2417">
                  <c:v>40996</c:v>
                </c:pt>
                <c:pt idx="2418">
                  <c:v>40997</c:v>
                </c:pt>
                <c:pt idx="2419">
                  <c:v>40998</c:v>
                </c:pt>
                <c:pt idx="2420">
                  <c:v>41004</c:v>
                </c:pt>
                <c:pt idx="2421">
                  <c:v>41005</c:v>
                </c:pt>
                <c:pt idx="2422">
                  <c:v>41008</c:v>
                </c:pt>
                <c:pt idx="2423">
                  <c:v>41009</c:v>
                </c:pt>
                <c:pt idx="2424">
                  <c:v>41010</c:v>
                </c:pt>
                <c:pt idx="2425">
                  <c:v>41011</c:v>
                </c:pt>
                <c:pt idx="2426">
                  <c:v>41012</c:v>
                </c:pt>
                <c:pt idx="2427">
                  <c:v>41015</c:v>
                </c:pt>
                <c:pt idx="2428">
                  <c:v>41016</c:v>
                </c:pt>
                <c:pt idx="2429">
                  <c:v>41017</c:v>
                </c:pt>
                <c:pt idx="2430">
                  <c:v>41018</c:v>
                </c:pt>
                <c:pt idx="2431">
                  <c:v>41019</c:v>
                </c:pt>
                <c:pt idx="2432">
                  <c:v>41022</c:v>
                </c:pt>
                <c:pt idx="2433">
                  <c:v>41023</c:v>
                </c:pt>
                <c:pt idx="2434">
                  <c:v>41024</c:v>
                </c:pt>
                <c:pt idx="2435">
                  <c:v>41025</c:v>
                </c:pt>
                <c:pt idx="2436">
                  <c:v>41026</c:v>
                </c:pt>
                <c:pt idx="2437">
                  <c:v>41031</c:v>
                </c:pt>
                <c:pt idx="2438">
                  <c:v>41032</c:v>
                </c:pt>
                <c:pt idx="2439">
                  <c:v>41033</c:v>
                </c:pt>
                <c:pt idx="2440">
                  <c:v>41036</c:v>
                </c:pt>
                <c:pt idx="2441">
                  <c:v>41037</c:v>
                </c:pt>
                <c:pt idx="2442">
                  <c:v>41038</c:v>
                </c:pt>
                <c:pt idx="2443">
                  <c:v>41039</c:v>
                </c:pt>
                <c:pt idx="2444">
                  <c:v>41040</c:v>
                </c:pt>
                <c:pt idx="2445">
                  <c:v>41043</c:v>
                </c:pt>
                <c:pt idx="2446">
                  <c:v>41044</c:v>
                </c:pt>
                <c:pt idx="2447">
                  <c:v>41045</c:v>
                </c:pt>
                <c:pt idx="2448">
                  <c:v>41046</c:v>
                </c:pt>
                <c:pt idx="2449">
                  <c:v>41047</c:v>
                </c:pt>
                <c:pt idx="2450">
                  <c:v>41050</c:v>
                </c:pt>
                <c:pt idx="2451">
                  <c:v>41051</c:v>
                </c:pt>
                <c:pt idx="2452">
                  <c:v>41052</c:v>
                </c:pt>
                <c:pt idx="2453">
                  <c:v>41053</c:v>
                </c:pt>
                <c:pt idx="2454">
                  <c:v>41054</c:v>
                </c:pt>
                <c:pt idx="2455">
                  <c:v>41057</c:v>
                </c:pt>
                <c:pt idx="2456">
                  <c:v>41058</c:v>
                </c:pt>
                <c:pt idx="2457">
                  <c:v>41059</c:v>
                </c:pt>
                <c:pt idx="2458">
                  <c:v>41060</c:v>
                </c:pt>
                <c:pt idx="2459">
                  <c:v>41061</c:v>
                </c:pt>
                <c:pt idx="2460">
                  <c:v>41064</c:v>
                </c:pt>
                <c:pt idx="2461">
                  <c:v>41065</c:v>
                </c:pt>
                <c:pt idx="2462">
                  <c:v>41066</c:v>
                </c:pt>
                <c:pt idx="2463">
                  <c:v>41067</c:v>
                </c:pt>
                <c:pt idx="2464">
                  <c:v>41068</c:v>
                </c:pt>
                <c:pt idx="2465">
                  <c:v>41071</c:v>
                </c:pt>
                <c:pt idx="2466">
                  <c:v>41072</c:v>
                </c:pt>
                <c:pt idx="2467">
                  <c:v>41073</c:v>
                </c:pt>
                <c:pt idx="2468">
                  <c:v>41074</c:v>
                </c:pt>
                <c:pt idx="2469">
                  <c:v>41075</c:v>
                </c:pt>
                <c:pt idx="2470">
                  <c:v>41078</c:v>
                </c:pt>
                <c:pt idx="2471">
                  <c:v>41079</c:v>
                </c:pt>
                <c:pt idx="2472">
                  <c:v>41080</c:v>
                </c:pt>
                <c:pt idx="2473">
                  <c:v>41081</c:v>
                </c:pt>
                <c:pt idx="2474">
                  <c:v>41085</c:v>
                </c:pt>
                <c:pt idx="2475">
                  <c:v>41086</c:v>
                </c:pt>
                <c:pt idx="2476">
                  <c:v>41087</c:v>
                </c:pt>
                <c:pt idx="2477">
                  <c:v>41088</c:v>
                </c:pt>
                <c:pt idx="2478">
                  <c:v>41089</c:v>
                </c:pt>
                <c:pt idx="2479">
                  <c:v>41092</c:v>
                </c:pt>
                <c:pt idx="2480">
                  <c:v>41093</c:v>
                </c:pt>
                <c:pt idx="2481">
                  <c:v>41094</c:v>
                </c:pt>
                <c:pt idx="2482">
                  <c:v>41095</c:v>
                </c:pt>
                <c:pt idx="2483">
                  <c:v>41096</c:v>
                </c:pt>
                <c:pt idx="2484">
                  <c:v>41099</c:v>
                </c:pt>
                <c:pt idx="2485">
                  <c:v>41100</c:v>
                </c:pt>
                <c:pt idx="2486">
                  <c:v>41101</c:v>
                </c:pt>
                <c:pt idx="2487">
                  <c:v>41102</c:v>
                </c:pt>
                <c:pt idx="2488">
                  <c:v>41103</c:v>
                </c:pt>
                <c:pt idx="2489">
                  <c:v>41106</c:v>
                </c:pt>
                <c:pt idx="2490">
                  <c:v>41107</c:v>
                </c:pt>
                <c:pt idx="2491">
                  <c:v>41108</c:v>
                </c:pt>
                <c:pt idx="2492">
                  <c:v>41109</c:v>
                </c:pt>
                <c:pt idx="2493">
                  <c:v>41110</c:v>
                </c:pt>
                <c:pt idx="2494">
                  <c:v>41113</c:v>
                </c:pt>
                <c:pt idx="2495">
                  <c:v>41114</c:v>
                </c:pt>
                <c:pt idx="2496">
                  <c:v>41115</c:v>
                </c:pt>
                <c:pt idx="2497">
                  <c:v>41116</c:v>
                </c:pt>
                <c:pt idx="2498">
                  <c:v>41117</c:v>
                </c:pt>
                <c:pt idx="2499">
                  <c:v>41120</c:v>
                </c:pt>
                <c:pt idx="2500">
                  <c:v>41121</c:v>
                </c:pt>
                <c:pt idx="2501">
                  <c:v>41122</c:v>
                </c:pt>
                <c:pt idx="2502">
                  <c:v>41123</c:v>
                </c:pt>
                <c:pt idx="2503">
                  <c:v>41124</c:v>
                </c:pt>
                <c:pt idx="2504">
                  <c:v>41127</c:v>
                </c:pt>
                <c:pt idx="2505">
                  <c:v>41128</c:v>
                </c:pt>
                <c:pt idx="2506">
                  <c:v>41129</c:v>
                </c:pt>
                <c:pt idx="2507">
                  <c:v>41130</c:v>
                </c:pt>
                <c:pt idx="2508">
                  <c:v>41131</c:v>
                </c:pt>
                <c:pt idx="2509">
                  <c:v>41134</c:v>
                </c:pt>
                <c:pt idx="2510">
                  <c:v>41135</c:v>
                </c:pt>
                <c:pt idx="2511">
                  <c:v>41136</c:v>
                </c:pt>
                <c:pt idx="2512">
                  <c:v>41137</c:v>
                </c:pt>
                <c:pt idx="2513">
                  <c:v>41138</c:v>
                </c:pt>
                <c:pt idx="2514">
                  <c:v>41141</c:v>
                </c:pt>
                <c:pt idx="2515">
                  <c:v>41142</c:v>
                </c:pt>
                <c:pt idx="2516">
                  <c:v>41143</c:v>
                </c:pt>
                <c:pt idx="2517">
                  <c:v>41144</c:v>
                </c:pt>
                <c:pt idx="2518">
                  <c:v>41145</c:v>
                </c:pt>
                <c:pt idx="2519">
                  <c:v>41148</c:v>
                </c:pt>
                <c:pt idx="2520">
                  <c:v>41149</c:v>
                </c:pt>
                <c:pt idx="2521">
                  <c:v>41150</c:v>
                </c:pt>
                <c:pt idx="2522">
                  <c:v>41151</c:v>
                </c:pt>
                <c:pt idx="2523">
                  <c:v>41152</c:v>
                </c:pt>
                <c:pt idx="2524">
                  <c:v>41155</c:v>
                </c:pt>
                <c:pt idx="2525">
                  <c:v>41156</c:v>
                </c:pt>
                <c:pt idx="2526">
                  <c:v>41157</c:v>
                </c:pt>
                <c:pt idx="2527">
                  <c:v>41158</c:v>
                </c:pt>
                <c:pt idx="2528">
                  <c:v>41159</c:v>
                </c:pt>
                <c:pt idx="2529">
                  <c:v>41162</c:v>
                </c:pt>
                <c:pt idx="2530">
                  <c:v>41163</c:v>
                </c:pt>
                <c:pt idx="2531">
                  <c:v>41164</c:v>
                </c:pt>
                <c:pt idx="2532">
                  <c:v>41165</c:v>
                </c:pt>
                <c:pt idx="2533">
                  <c:v>41166</c:v>
                </c:pt>
                <c:pt idx="2534">
                  <c:v>41169</c:v>
                </c:pt>
                <c:pt idx="2535">
                  <c:v>41170</c:v>
                </c:pt>
                <c:pt idx="2536">
                  <c:v>41171</c:v>
                </c:pt>
                <c:pt idx="2537">
                  <c:v>41172</c:v>
                </c:pt>
                <c:pt idx="2538">
                  <c:v>41173</c:v>
                </c:pt>
                <c:pt idx="2539">
                  <c:v>41176</c:v>
                </c:pt>
                <c:pt idx="2540">
                  <c:v>41177</c:v>
                </c:pt>
                <c:pt idx="2541">
                  <c:v>41178</c:v>
                </c:pt>
                <c:pt idx="2542">
                  <c:v>41179</c:v>
                </c:pt>
                <c:pt idx="2543">
                  <c:v>41180</c:v>
                </c:pt>
                <c:pt idx="2544">
                  <c:v>41190</c:v>
                </c:pt>
                <c:pt idx="2545">
                  <c:v>41191</c:v>
                </c:pt>
                <c:pt idx="2546">
                  <c:v>41192</c:v>
                </c:pt>
                <c:pt idx="2547">
                  <c:v>41193</c:v>
                </c:pt>
                <c:pt idx="2548">
                  <c:v>41194</c:v>
                </c:pt>
                <c:pt idx="2549">
                  <c:v>41197</c:v>
                </c:pt>
                <c:pt idx="2550">
                  <c:v>41198</c:v>
                </c:pt>
                <c:pt idx="2551">
                  <c:v>41199</c:v>
                </c:pt>
                <c:pt idx="2552">
                  <c:v>41200</c:v>
                </c:pt>
                <c:pt idx="2553">
                  <c:v>41201</c:v>
                </c:pt>
                <c:pt idx="2554">
                  <c:v>41204</c:v>
                </c:pt>
                <c:pt idx="2555">
                  <c:v>41205</c:v>
                </c:pt>
                <c:pt idx="2556">
                  <c:v>41206</c:v>
                </c:pt>
                <c:pt idx="2557">
                  <c:v>41207</c:v>
                </c:pt>
                <c:pt idx="2558">
                  <c:v>41208</c:v>
                </c:pt>
                <c:pt idx="2559">
                  <c:v>41211</c:v>
                </c:pt>
                <c:pt idx="2560">
                  <c:v>41212</c:v>
                </c:pt>
                <c:pt idx="2561">
                  <c:v>41213</c:v>
                </c:pt>
                <c:pt idx="2562">
                  <c:v>41214</c:v>
                </c:pt>
                <c:pt idx="2563">
                  <c:v>41215</c:v>
                </c:pt>
                <c:pt idx="2564">
                  <c:v>41218</c:v>
                </c:pt>
                <c:pt idx="2565">
                  <c:v>41219</c:v>
                </c:pt>
                <c:pt idx="2566">
                  <c:v>41220</c:v>
                </c:pt>
                <c:pt idx="2567">
                  <c:v>41221</c:v>
                </c:pt>
                <c:pt idx="2568">
                  <c:v>41222</c:v>
                </c:pt>
                <c:pt idx="2569">
                  <c:v>41225</c:v>
                </c:pt>
                <c:pt idx="2570">
                  <c:v>41226</c:v>
                </c:pt>
                <c:pt idx="2571">
                  <c:v>41227</c:v>
                </c:pt>
                <c:pt idx="2572">
                  <c:v>41228</c:v>
                </c:pt>
                <c:pt idx="2573">
                  <c:v>41229</c:v>
                </c:pt>
                <c:pt idx="2574">
                  <c:v>41232</c:v>
                </c:pt>
                <c:pt idx="2575">
                  <c:v>41233</c:v>
                </c:pt>
                <c:pt idx="2576">
                  <c:v>41234</c:v>
                </c:pt>
                <c:pt idx="2577">
                  <c:v>41235</c:v>
                </c:pt>
                <c:pt idx="2578">
                  <c:v>41236</c:v>
                </c:pt>
                <c:pt idx="2579">
                  <c:v>41239</c:v>
                </c:pt>
                <c:pt idx="2580">
                  <c:v>41240</c:v>
                </c:pt>
                <c:pt idx="2581">
                  <c:v>41241</c:v>
                </c:pt>
                <c:pt idx="2582">
                  <c:v>41242</c:v>
                </c:pt>
                <c:pt idx="2583">
                  <c:v>41243</c:v>
                </c:pt>
                <c:pt idx="2584">
                  <c:v>41246</c:v>
                </c:pt>
                <c:pt idx="2585">
                  <c:v>41247</c:v>
                </c:pt>
                <c:pt idx="2586">
                  <c:v>41248</c:v>
                </c:pt>
                <c:pt idx="2587">
                  <c:v>41249</c:v>
                </c:pt>
                <c:pt idx="2588">
                  <c:v>41250</c:v>
                </c:pt>
                <c:pt idx="2589">
                  <c:v>41253</c:v>
                </c:pt>
                <c:pt idx="2590">
                  <c:v>41254</c:v>
                </c:pt>
                <c:pt idx="2591">
                  <c:v>41255</c:v>
                </c:pt>
                <c:pt idx="2592">
                  <c:v>41256</c:v>
                </c:pt>
                <c:pt idx="2593">
                  <c:v>41257</c:v>
                </c:pt>
                <c:pt idx="2594">
                  <c:v>41260</c:v>
                </c:pt>
                <c:pt idx="2595">
                  <c:v>41261</c:v>
                </c:pt>
                <c:pt idx="2596">
                  <c:v>41262</c:v>
                </c:pt>
                <c:pt idx="2597">
                  <c:v>41263</c:v>
                </c:pt>
                <c:pt idx="2598">
                  <c:v>41264</c:v>
                </c:pt>
                <c:pt idx="2599">
                  <c:v>41267</c:v>
                </c:pt>
                <c:pt idx="2600">
                  <c:v>41268</c:v>
                </c:pt>
                <c:pt idx="2601">
                  <c:v>41269</c:v>
                </c:pt>
                <c:pt idx="2602">
                  <c:v>41270</c:v>
                </c:pt>
                <c:pt idx="2603">
                  <c:v>41271</c:v>
                </c:pt>
                <c:pt idx="2604">
                  <c:v>41274</c:v>
                </c:pt>
                <c:pt idx="2605">
                  <c:v>41278</c:v>
                </c:pt>
                <c:pt idx="2606">
                  <c:v>41281</c:v>
                </c:pt>
                <c:pt idx="2607">
                  <c:v>41282</c:v>
                </c:pt>
                <c:pt idx="2608">
                  <c:v>41283</c:v>
                </c:pt>
                <c:pt idx="2609">
                  <c:v>41284</c:v>
                </c:pt>
                <c:pt idx="2610">
                  <c:v>41285</c:v>
                </c:pt>
                <c:pt idx="2611">
                  <c:v>41288</c:v>
                </c:pt>
                <c:pt idx="2612">
                  <c:v>41289</c:v>
                </c:pt>
                <c:pt idx="2613">
                  <c:v>41290</c:v>
                </c:pt>
                <c:pt idx="2614">
                  <c:v>41291</c:v>
                </c:pt>
                <c:pt idx="2615">
                  <c:v>41292</c:v>
                </c:pt>
                <c:pt idx="2616">
                  <c:v>41295</c:v>
                </c:pt>
                <c:pt idx="2617">
                  <c:v>41296</c:v>
                </c:pt>
                <c:pt idx="2618">
                  <c:v>41297</c:v>
                </c:pt>
                <c:pt idx="2619">
                  <c:v>41298</c:v>
                </c:pt>
                <c:pt idx="2620">
                  <c:v>41299</c:v>
                </c:pt>
                <c:pt idx="2621">
                  <c:v>41302</c:v>
                </c:pt>
                <c:pt idx="2622">
                  <c:v>41303</c:v>
                </c:pt>
                <c:pt idx="2623">
                  <c:v>41304</c:v>
                </c:pt>
                <c:pt idx="2624">
                  <c:v>41305</c:v>
                </c:pt>
                <c:pt idx="2625">
                  <c:v>41306</c:v>
                </c:pt>
                <c:pt idx="2626">
                  <c:v>41309</c:v>
                </c:pt>
                <c:pt idx="2627">
                  <c:v>41310</c:v>
                </c:pt>
                <c:pt idx="2628">
                  <c:v>41311</c:v>
                </c:pt>
                <c:pt idx="2629">
                  <c:v>41312</c:v>
                </c:pt>
                <c:pt idx="2630">
                  <c:v>41313</c:v>
                </c:pt>
                <c:pt idx="2631">
                  <c:v>41323</c:v>
                </c:pt>
                <c:pt idx="2632">
                  <c:v>41324</c:v>
                </c:pt>
                <c:pt idx="2633">
                  <c:v>41325</c:v>
                </c:pt>
                <c:pt idx="2634">
                  <c:v>41326</c:v>
                </c:pt>
                <c:pt idx="2635">
                  <c:v>41327</c:v>
                </c:pt>
                <c:pt idx="2636">
                  <c:v>41330</c:v>
                </c:pt>
                <c:pt idx="2637">
                  <c:v>41331</c:v>
                </c:pt>
                <c:pt idx="2638">
                  <c:v>41332</c:v>
                </c:pt>
                <c:pt idx="2639">
                  <c:v>41333</c:v>
                </c:pt>
                <c:pt idx="2640">
                  <c:v>41334</c:v>
                </c:pt>
                <c:pt idx="2641">
                  <c:v>41337</c:v>
                </c:pt>
                <c:pt idx="2642">
                  <c:v>41338</c:v>
                </c:pt>
                <c:pt idx="2643">
                  <c:v>41339</c:v>
                </c:pt>
                <c:pt idx="2644">
                  <c:v>41340</c:v>
                </c:pt>
                <c:pt idx="2645">
                  <c:v>41341</c:v>
                </c:pt>
                <c:pt idx="2646">
                  <c:v>41344</c:v>
                </c:pt>
                <c:pt idx="2647">
                  <c:v>41345</c:v>
                </c:pt>
                <c:pt idx="2648">
                  <c:v>41346</c:v>
                </c:pt>
                <c:pt idx="2649">
                  <c:v>41347</c:v>
                </c:pt>
                <c:pt idx="2650">
                  <c:v>41348</c:v>
                </c:pt>
                <c:pt idx="2651">
                  <c:v>41351</c:v>
                </c:pt>
                <c:pt idx="2652">
                  <c:v>41352</c:v>
                </c:pt>
                <c:pt idx="2653">
                  <c:v>41353</c:v>
                </c:pt>
                <c:pt idx="2654">
                  <c:v>41354</c:v>
                </c:pt>
                <c:pt idx="2655">
                  <c:v>41355</c:v>
                </c:pt>
                <c:pt idx="2656">
                  <c:v>41358</c:v>
                </c:pt>
                <c:pt idx="2657">
                  <c:v>41359</c:v>
                </c:pt>
                <c:pt idx="2658">
                  <c:v>41360</c:v>
                </c:pt>
                <c:pt idx="2659">
                  <c:v>41361</c:v>
                </c:pt>
                <c:pt idx="2660">
                  <c:v>41362</c:v>
                </c:pt>
                <c:pt idx="2661">
                  <c:v>41365</c:v>
                </c:pt>
                <c:pt idx="2662">
                  <c:v>41366</c:v>
                </c:pt>
                <c:pt idx="2663">
                  <c:v>41367</c:v>
                </c:pt>
                <c:pt idx="2664">
                  <c:v>41372</c:v>
                </c:pt>
                <c:pt idx="2665">
                  <c:v>41373</c:v>
                </c:pt>
                <c:pt idx="2666">
                  <c:v>41374</c:v>
                </c:pt>
                <c:pt idx="2667">
                  <c:v>41375</c:v>
                </c:pt>
                <c:pt idx="2668">
                  <c:v>41376</c:v>
                </c:pt>
                <c:pt idx="2669">
                  <c:v>41379</c:v>
                </c:pt>
                <c:pt idx="2670">
                  <c:v>41380</c:v>
                </c:pt>
                <c:pt idx="2671">
                  <c:v>41381</c:v>
                </c:pt>
                <c:pt idx="2672">
                  <c:v>41382</c:v>
                </c:pt>
                <c:pt idx="2673">
                  <c:v>41383</c:v>
                </c:pt>
                <c:pt idx="2674">
                  <c:v>41386</c:v>
                </c:pt>
                <c:pt idx="2675">
                  <c:v>41387</c:v>
                </c:pt>
                <c:pt idx="2676">
                  <c:v>41388</c:v>
                </c:pt>
                <c:pt idx="2677">
                  <c:v>41389</c:v>
                </c:pt>
                <c:pt idx="2678">
                  <c:v>41390</c:v>
                </c:pt>
                <c:pt idx="2679">
                  <c:v>41396</c:v>
                </c:pt>
                <c:pt idx="2680">
                  <c:v>41397</c:v>
                </c:pt>
                <c:pt idx="2681">
                  <c:v>41400</c:v>
                </c:pt>
                <c:pt idx="2682">
                  <c:v>41401</c:v>
                </c:pt>
                <c:pt idx="2683">
                  <c:v>41402</c:v>
                </c:pt>
                <c:pt idx="2684">
                  <c:v>41403</c:v>
                </c:pt>
                <c:pt idx="2685">
                  <c:v>41404</c:v>
                </c:pt>
                <c:pt idx="2686">
                  <c:v>41407</c:v>
                </c:pt>
                <c:pt idx="2687">
                  <c:v>41408</c:v>
                </c:pt>
                <c:pt idx="2688">
                  <c:v>41409</c:v>
                </c:pt>
                <c:pt idx="2689">
                  <c:v>41410</c:v>
                </c:pt>
                <c:pt idx="2690">
                  <c:v>41411</c:v>
                </c:pt>
                <c:pt idx="2691">
                  <c:v>41414</c:v>
                </c:pt>
                <c:pt idx="2692">
                  <c:v>41415</c:v>
                </c:pt>
                <c:pt idx="2693">
                  <c:v>41416</c:v>
                </c:pt>
                <c:pt idx="2694">
                  <c:v>41417</c:v>
                </c:pt>
                <c:pt idx="2695">
                  <c:v>41418</c:v>
                </c:pt>
                <c:pt idx="2696">
                  <c:v>41421</c:v>
                </c:pt>
                <c:pt idx="2697">
                  <c:v>41422</c:v>
                </c:pt>
                <c:pt idx="2698">
                  <c:v>41423</c:v>
                </c:pt>
                <c:pt idx="2699">
                  <c:v>41424</c:v>
                </c:pt>
                <c:pt idx="2700">
                  <c:v>41425</c:v>
                </c:pt>
                <c:pt idx="2701">
                  <c:v>41428</c:v>
                </c:pt>
                <c:pt idx="2702">
                  <c:v>41429</c:v>
                </c:pt>
                <c:pt idx="2703">
                  <c:v>41430</c:v>
                </c:pt>
                <c:pt idx="2704">
                  <c:v>41431</c:v>
                </c:pt>
                <c:pt idx="2705">
                  <c:v>41432</c:v>
                </c:pt>
                <c:pt idx="2706">
                  <c:v>41438</c:v>
                </c:pt>
                <c:pt idx="2707">
                  <c:v>41439</c:v>
                </c:pt>
                <c:pt idx="2708">
                  <c:v>41442</c:v>
                </c:pt>
                <c:pt idx="2709">
                  <c:v>41443</c:v>
                </c:pt>
                <c:pt idx="2710">
                  <c:v>41444</c:v>
                </c:pt>
                <c:pt idx="2711">
                  <c:v>41445</c:v>
                </c:pt>
                <c:pt idx="2712">
                  <c:v>41446</c:v>
                </c:pt>
                <c:pt idx="2713">
                  <c:v>41449</c:v>
                </c:pt>
                <c:pt idx="2714">
                  <c:v>41450</c:v>
                </c:pt>
                <c:pt idx="2715">
                  <c:v>41451</c:v>
                </c:pt>
                <c:pt idx="2716">
                  <c:v>41452</c:v>
                </c:pt>
                <c:pt idx="2717">
                  <c:v>41453</c:v>
                </c:pt>
                <c:pt idx="2718">
                  <c:v>41456</c:v>
                </c:pt>
                <c:pt idx="2719">
                  <c:v>41457</c:v>
                </c:pt>
                <c:pt idx="2720">
                  <c:v>41458</c:v>
                </c:pt>
                <c:pt idx="2721">
                  <c:v>41459</c:v>
                </c:pt>
                <c:pt idx="2722">
                  <c:v>41460</c:v>
                </c:pt>
                <c:pt idx="2723">
                  <c:v>41463</c:v>
                </c:pt>
                <c:pt idx="2724">
                  <c:v>41464</c:v>
                </c:pt>
                <c:pt idx="2725">
                  <c:v>41465</c:v>
                </c:pt>
                <c:pt idx="2726">
                  <c:v>41466</c:v>
                </c:pt>
                <c:pt idx="2727">
                  <c:v>41467</c:v>
                </c:pt>
                <c:pt idx="2728">
                  <c:v>41470</c:v>
                </c:pt>
                <c:pt idx="2729">
                  <c:v>41471</c:v>
                </c:pt>
                <c:pt idx="2730">
                  <c:v>41472</c:v>
                </c:pt>
                <c:pt idx="2731">
                  <c:v>41473</c:v>
                </c:pt>
                <c:pt idx="2732">
                  <c:v>41474</c:v>
                </c:pt>
                <c:pt idx="2733">
                  <c:v>41477</c:v>
                </c:pt>
                <c:pt idx="2734">
                  <c:v>41478</c:v>
                </c:pt>
                <c:pt idx="2735">
                  <c:v>41479</c:v>
                </c:pt>
                <c:pt idx="2736">
                  <c:v>41480</c:v>
                </c:pt>
                <c:pt idx="2737">
                  <c:v>41481</c:v>
                </c:pt>
                <c:pt idx="2738">
                  <c:v>41484</c:v>
                </c:pt>
                <c:pt idx="2739">
                  <c:v>41485</c:v>
                </c:pt>
                <c:pt idx="2740">
                  <c:v>41486</c:v>
                </c:pt>
                <c:pt idx="2741">
                  <c:v>41487</c:v>
                </c:pt>
                <c:pt idx="2742">
                  <c:v>41488</c:v>
                </c:pt>
                <c:pt idx="2743">
                  <c:v>41491</c:v>
                </c:pt>
                <c:pt idx="2744">
                  <c:v>41492</c:v>
                </c:pt>
                <c:pt idx="2745">
                  <c:v>41493</c:v>
                </c:pt>
                <c:pt idx="2746">
                  <c:v>41494</c:v>
                </c:pt>
                <c:pt idx="2747">
                  <c:v>41495</c:v>
                </c:pt>
                <c:pt idx="2748">
                  <c:v>41498</c:v>
                </c:pt>
                <c:pt idx="2749">
                  <c:v>41499</c:v>
                </c:pt>
                <c:pt idx="2750">
                  <c:v>41500</c:v>
                </c:pt>
                <c:pt idx="2751">
                  <c:v>41501</c:v>
                </c:pt>
                <c:pt idx="2752">
                  <c:v>41502</c:v>
                </c:pt>
                <c:pt idx="2753">
                  <c:v>41505</c:v>
                </c:pt>
                <c:pt idx="2754">
                  <c:v>41506</c:v>
                </c:pt>
                <c:pt idx="2755">
                  <c:v>41507</c:v>
                </c:pt>
                <c:pt idx="2756">
                  <c:v>41508</c:v>
                </c:pt>
                <c:pt idx="2757">
                  <c:v>41509</c:v>
                </c:pt>
                <c:pt idx="2758">
                  <c:v>41512</c:v>
                </c:pt>
                <c:pt idx="2759">
                  <c:v>41513</c:v>
                </c:pt>
                <c:pt idx="2760">
                  <c:v>41514</c:v>
                </c:pt>
                <c:pt idx="2761">
                  <c:v>41515</c:v>
                </c:pt>
                <c:pt idx="2762">
                  <c:v>41516</c:v>
                </c:pt>
                <c:pt idx="2763">
                  <c:v>41519</c:v>
                </c:pt>
                <c:pt idx="2764">
                  <c:v>41520</c:v>
                </c:pt>
                <c:pt idx="2765">
                  <c:v>41521</c:v>
                </c:pt>
                <c:pt idx="2766">
                  <c:v>41522</c:v>
                </c:pt>
                <c:pt idx="2767">
                  <c:v>41523</c:v>
                </c:pt>
                <c:pt idx="2768">
                  <c:v>41526</c:v>
                </c:pt>
                <c:pt idx="2769">
                  <c:v>41527</c:v>
                </c:pt>
                <c:pt idx="2770">
                  <c:v>41528</c:v>
                </c:pt>
                <c:pt idx="2771">
                  <c:v>41529</c:v>
                </c:pt>
                <c:pt idx="2772">
                  <c:v>41530</c:v>
                </c:pt>
                <c:pt idx="2773">
                  <c:v>41533</c:v>
                </c:pt>
                <c:pt idx="2774">
                  <c:v>41534</c:v>
                </c:pt>
                <c:pt idx="2775">
                  <c:v>41535</c:v>
                </c:pt>
                <c:pt idx="2776">
                  <c:v>41540</c:v>
                </c:pt>
                <c:pt idx="2777">
                  <c:v>41541</c:v>
                </c:pt>
                <c:pt idx="2778">
                  <c:v>41542</c:v>
                </c:pt>
                <c:pt idx="2779">
                  <c:v>41543</c:v>
                </c:pt>
                <c:pt idx="2780">
                  <c:v>41544</c:v>
                </c:pt>
                <c:pt idx="2781">
                  <c:v>41547</c:v>
                </c:pt>
                <c:pt idx="2782">
                  <c:v>41555</c:v>
                </c:pt>
                <c:pt idx="2783">
                  <c:v>41556</c:v>
                </c:pt>
                <c:pt idx="2784">
                  <c:v>41557</c:v>
                </c:pt>
                <c:pt idx="2785">
                  <c:v>41558</c:v>
                </c:pt>
                <c:pt idx="2786">
                  <c:v>41561</c:v>
                </c:pt>
                <c:pt idx="2787">
                  <c:v>41562</c:v>
                </c:pt>
                <c:pt idx="2788">
                  <c:v>41563</c:v>
                </c:pt>
                <c:pt idx="2789">
                  <c:v>41564</c:v>
                </c:pt>
                <c:pt idx="2790">
                  <c:v>41565</c:v>
                </c:pt>
                <c:pt idx="2791">
                  <c:v>41568</c:v>
                </c:pt>
                <c:pt idx="2792">
                  <c:v>41569</c:v>
                </c:pt>
                <c:pt idx="2793">
                  <c:v>41570</c:v>
                </c:pt>
                <c:pt idx="2794">
                  <c:v>41571</c:v>
                </c:pt>
                <c:pt idx="2795">
                  <c:v>41572</c:v>
                </c:pt>
                <c:pt idx="2796">
                  <c:v>41575</c:v>
                </c:pt>
                <c:pt idx="2797">
                  <c:v>41576</c:v>
                </c:pt>
                <c:pt idx="2798">
                  <c:v>41577</c:v>
                </c:pt>
                <c:pt idx="2799">
                  <c:v>41578</c:v>
                </c:pt>
                <c:pt idx="2800">
                  <c:v>41579</c:v>
                </c:pt>
                <c:pt idx="2801">
                  <c:v>41582</c:v>
                </c:pt>
                <c:pt idx="2802">
                  <c:v>41583</c:v>
                </c:pt>
                <c:pt idx="2803">
                  <c:v>41584</c:v>
                </c:pt>
                <c:pt idx="2804">
                  <c:v>41585</c:v>
                </c:pt>
                <c:pt idx="2805">
                  <c:v>41586</c:v>
                </c:pt>
                <c:pt idx="2806">
                  <c:v>41589</c:v>
                </c:pt>
                <c:pt idx="2807">
                  <c:v>41590</c:v>
                </c:pt>
                <c:pt idx="2808">
                  <c:v>41591</c:v>
                </c:pt>
                <c:pt idx="2809">
                  <c:v>41592</c:v>
                </c:pt>
                <c:pt idx="2810">
                  <c:v>41593</c:v>
                </c:pt>
                <c:pt idx="2811">
                  <c:v>41596</c:v>
                </c:pt>
                <c:pt idx="2812">
                  <c:v>41597</c:v>
                </c:pt>
                <c:pt idx="2813">
                  <c:v>41598</c:v>
                </c:pt>
                <c:pt idx="2814">
                  <c:v>41599</c:v>
                </c:pt>
                <c:pt idx="2815">
                  <c:v>41600</c:v>
                </c:pt>
                <c:pt idx="2816">
                  <c:v>41603</c:v>
                </c:pt>
                <c:pt idx="2817">
                  <c:v>41604</c:v>
                </c:pt>
                <c:pt idx="2818">
                  <c:v>41605</c:v>
                </c:pt>
                <c:pt idx="2819">
                  <c:v>41606</c:v>
                </c:pt>
                <c:pt idx="2820">
                  <c:v>41607</c:v>
                </c:pt>
                <c:pt idx="2821">
                  <c:v>41610</c:v>
                </c:pt>
                <c:pt idx="2822">
                  <c:v>41611</c:v>
                </c:pt>
                <c:pt idx="2823">
                  <c:v>41612</c:v>
                </c:pt>
                <c:pt idx="2824">
                  <c:v>41613</c:v>
                </c:pt>
                <c:pt idx="2825">
                  <c:v>41614</c:v>
                </c:pt>
                <c:pt idx="2826">
                  <c:v>41617</c:v>
                </c:pt>
                <c:pt idx="2827">
                  <c:v>41618</c:v>
                </c:pt>
                <c:pt idx="2828">
                  <c:v>41619</c:v>
                </c:pt>
                <c:pt idx="2829">
                  <c:v>41620</c:v>
                </c:pt>
                <c:pt idx="2830">
                  <c:v>41621</c:v>
                </c:pt>
                <c:pt idx="2831">
                  <c:v>41624</c:v>
                </c:pt>
                <c:pt idx="2832">
                  <c:v>41625</c:v>
                </c:pt>
                <c:pt idx="2833">
                  <c:v>41626</c:v>
                </c:pt>
                <c:pt idx="2834">
                  <c:v>41627</c:v>
                </c:pt>
                <c:pt idx="2835">
                  <c:v>41628</c:v>
                </c:pt>
                <c:pt idx="2836">
                  <c:v>41631</c:v>
                </c:pt>
                <c:pt idx="2837">
                  <c:v>41632</c:v>
                </c:pt>
                <c:pt idx="2838">
                  <c:v>41633</c:v>
                </c:pt>
                <c:pt idx="2839">
                  <c:v>41634</c:v>
                </c:pt>
                <c:pt idx="2840">
                  <c:v>41635</c:v>
                </c:pt>
                <c:pt idx="2841">
                  <c:v>41638</c:v>
                </c:pt>
                <c:pt idx="2842">
                  <c:v>41639</c:v>
                </c:pt>
                <c:pt idx="2843">
                  <c:v>41641</c:v>
                </c:pt>
                <c:pt idx="2844">
                  <c:v>41642</c:v>
                </c:pt>
                <c:pt idx="2845">
                  <c:v>41645</c:v>
                </c:pt>
                <c:pt idx="2846">
                  <c:v>41646</c:v>
                </c:pt>
                <c:pt idx="2847">
                  <c:v>41647</c:v>
                </c:pt>
                <c:pt idx="2848">
                  <c:v>41648</c:v>
                </c:pt>
                <c:pt idx="2849">
                  <c:v>41649</c:v>
                </c:pt>
                <c:pt idx="2850">
                  <c:v>41652</c:v>
                </c:pt>
                <c:pt idx="2851">
                  <c:v>41653</c:v>
                </c:pt>
                <c:pt idx="2852">
                  <c:v>41654</c:v>
                </c:pt>
                <c:pt idx="2853">
                  <c:v>41655</c:v>
                </c:pt>
                <c:pt idx="2854">
                  <c:v>41656</c:v>
                </c:pt>
                <c:pt idx="2855">
                  <c:v>41659</c:v>
                </c:pt>
                <c:pt idx="2856">
                  <c:v>41660</c:v>
                </c:pt>
                <c:pt idx="2857">
                  <c:v>41661</c:v>
                </c:pt>
                <c:pt idx="2858">
                  <c:v>41662</c:v>
                </c:pt>
                <c:pt idx="2859">
                  <c:v>41663</c:v>
                </c:pt>
                <c:pt idx="2860">
                  <c:v>41666</c:v>
                </c:pt>
                <c:pt idx="2861">
                  <c:v>41667</c:v>
                </c:pt>
                <c:pt idx="2862">
                  <c:v>41668</c:v>
                </c:pt>
                <c:pt idx="2863">
                  <c:v>41669</c:v>
                </c:pt>
                <c:pt idx="2864">
                  <c:v>41677</c:v>
                </c:pt>
                <c:pt idx="2865">
                  <c:v>41680</c:v>
                </c:pt>
                <c:pt idx="2866">
                  <c:v>41681</c:v>
                </c:pt>
                <c:pt idx="2867">
                  <c:v>41682</c:v>
                </c:pt>
                <c:pt idx="2868">
                  <c:v>41683</c:v>
                </c:pt>
                <c:pt idx="2869">
                  <c:v>41684</c:v>
                </c:pt>
                <c:pt idx="2870">
                  <c:v>41687</c:v>
                </c:pt>
                <c:pt idx="2871">
                  <c:v>41688</c:v>
                </c:pt>
                <c:pt idx="2872">
                  <c:v>41689</c:v>
                </c:pt>
                <c:pt idx="2873">
                  <c:v>41690</c:v>
                </c:pt>
                <c:pt idx="2874">
                  <c:v>41691</c:v>
                </c:pt>
                <c:pt idx="2875">
                  <c:v>41694</c:v>
                </c:pt>
                <c:pt idx="2876">
                  <c:v>41695</c:v>
                </c:pt>
                <c:pt idx="2877">
                  <c:v>41696</c:v>
                </c:pt>
                <c:pt idx="2878">
                  <c:v>41697</c:v>
                </c:pt>
                <c:pt idx="2879">
                  <c:v>41698</c:v>
                </c:pt>
                <c:pt idx="2880">
                  <c:v>41701</c:v>
                </c:pt>
                <c:pt idx="2881">
                  <c:v>41702</c:v>
                </c:pt>
                <c:pt idx="2882">
                  <c:v>41703</c:v>
                </c:pt>
                <c:pt idx="2883">
                  <c:v>41704</c:v>
                </c:pt>
                <c:pt idx="2884">
                  <c:v>41705</c:v>
                </c:pt>
                <c:pt idx="2885">
                  <c:v>41708</c:v>
                </c:pt>
                <c:pt idx="2886">
                  <c:v>41709</c:v>
                </c:pt>
                <c:pt idx="2887">
                  <c:v>41710</c:v>
                </c:pt>
                <c:pt idx="2888">
                  <c:v>41711</c:v>
                </c:pt>
                <c:pt idx="2889">
                  <c:v>41712</c:v>
                </c:pt>
                <c:pt idx="2890">
                  <c:v>41715</c:v>
                </c:pt>
                <c:pt idx="2891">
                  <c:v>41716</c:v>
                </c:pt>
                <c:pt idx="2892">
                  <c:v>41717</c:v>
                </c:pt>
                <c:pt idx="2893">
                  <c:v>41718</c:v>
                </c:pt>
                <c:pt idx="2894">
                  <c:v>41719</c:v>
                </c:pt>
                <c:pt idx="2895">
                  <c:v>41722</c:v>
                </c:pt>
                <c:pt idx="2896">
                  <c:v>41723</c:v>
                </c:pt>
                <c:pt idx="2897">
                  <c:v>41724</c:v>
                </c:pt>
                <c:pt idx="2898">
                  <c:v>41725</c:v>
                </c:pt>
                <c:pt idx="2899">
                  <c:v>41726</c:v>
                </c:pt>
                <c:pt idx="2900">
                  <c:v>41729</c:v>
                </c:pt>
                <c:pt idx="2901">
                  <c:v>41730</c:v>
                </c:pt>
                <c:pt idx="2902">
                  <c:v>41731</c:v>
                </c:pt>
                <c:pt idx="2903">
                  <c:v>41732</c:v>
                </c:pt>
                <c:pt idx="2904">
                  <c:v>41733</c:v>
                </c:pt>
                <c:pt idx="2905">
                  <c:v>41737</c:v>
                </c:pt>
                <c:pt idx="2906">
                  <c:v>41738</c:v>
                </c:pt>
                <c:pt idx="2907">
                  <c:v>41739</c:v>
                </c:pt>
                <c:pt idx="2908">
                  <c:v>41740</c:v>
                </c:pt>
                <c:pt idx="2909">
                  <c:v>41743</c:v>
                </c:pt>
                <c:pt idx="2910">
                  <c:v>41744</c:v>
                </c:pt>
                <c:pt idx="2911">
                  <c:v>41745</c:v>
                </c:pt>
                <c:pt idx="2912">
                  <c:v>41746</c:v>
                </c:pt>
                <c:pt idx="2913">
                  <c:v>41747</c:v>
                </c:pt>
                <c:pt idx="2914">
                  <c:v>41750</c:v>
                </c:pt>
                <c:pt idx="2915">
                  <c:v>41751</c:v>
                </c:pt>
                <c:pt idx="2916">
                  <c:v>41752</c:v>
                </c:pt>
                <c:pt idx="2917">
                  <c:v>41753</c:v>
                </c:pt>
                <c:pt idx="2918">
                  <c:v>41754</c:v>
                </c:pt>
                <c:pt idx="2919">
                  <c:v>41757</c:v>
                </c:pt>
                <c:pt idx="2920">
                  <c:v>41758</c:v>
                </c:pt>
                <c:pt idx="2921">
                  <c:v>41759</c:v>
                </c:pt>
                <c:pt idx="2922">
                  <c:v>41764</c:v>
                </c:pt>
                <c:pt idx="2923">
                  <c:v>41765</c:v>
                </c:pt>
                <c:pt idx="2924">
                  <c:v>41766</c:v>
                </c:pt>
                <c:pt idx="2925">
                  <c:v>41767</c:v>
                </c:pt>
                <c:pt idx="2926">
                  <c:v>41768</c:v>
                </c:pt>
                <c:pt idx="2927">
                  <c:v>41771</c:v>
                </c:pt>
                <c:pt idx="2928">
                  <c:v>41772</c:v>
                </c:pt>
                <c:pt idx="2929">
                  <c:v>41773</c:v>
                </c:pt>
                <c:pt idx="2930">
                  <c:v>41774</c:v>
                </c:pt>
                <c:pt idx="2931">
                  <c:v>41775</c:v>
                </c:pt>
                <c:pt idx="2932">
                  <c:v>41778</c:v>
                </c:pt>
                <c:pt idx="2933">
                  <c:v>41779</c:v>
                </c:pt>
                <c:pt idx="2934">
                  <c:v>41780</c:v>
                </c:pt>
                <c:pt idx="2935">
                  <c:v>41781</c:v>
                </c:pt>
                <c:pt idx="2936">
                  <c:v>41782</c:v>
                </c:pt>
                <c:pt idx="2937">
                  <c:v>41785</c:v>
                </c:pt>
                <c:pt idx="2938">
                  <c:v>41786</c:v>
                </c:pt>
                <c:pt idx="2939">
                  <c:v>41787</c:v>
                </c:pt>
                <c:pt idx="2940">
                  <c:v>41788</c:v>
                </c:pt>
                <c:pt idx="2941">
                  <c:v>41789</c:v>
                </c:pt>
                <c:pt idx="2942">
                  <c:v>41793</c:v>
                </c:pt>
                <c:pt idx="2943">
                  <c:v>41794</c:v>
                </c:pt>
                <c:pt idx="2944">
                  <c:v>41795</c:v>
                </c:pt>
                <c:pt idx="2945">
                  <c:v>41796</c:v>
                </c:pt>
                <c:pt idx="2946">
                  <c:v>41799</c:v>
                </c:pt>
                <c:pt idx="2947">
                  <c:v>41800</c:v>
                </c:pt>
                <c:pt idx="2948">
                  <c:v>41801</c:v>
                </c:pt>
                <c:pt idx="2949">
                  <c:v>41802</c:v>
                </c:pt>
                <c:pt idx="2950">
                  <c:v>41803</c:v>
                </c:pt>
                <c:pt idx="2951">
                  <c:v>41806</c:v>
                </c:pt>
                <c:pt idx="2952">
                  <c:v>41807</c:v>
                </c:pt>
                <c:pt idx="2953">
                  <c:v>41808</c:v>
                </c:pt>
                <c:pt idx="2954">
                  <c:v>41809</c:v>
                </c:pt>
                <c:pt idx="2955">
                  <c:v>41810</c:v>
                </c:pt>
                <c:pt idx="2956">
                  <c:v>41813</c:v>
                </c:pt>
                <c:pt idx="2957">
                  <c:v>41814</c:v>
                </c:pt>
                <c:pt idx="2958">
                  <c:v>41815</c:v>
                </c:pt>
                <c:pt idx="2959">
                  <c:v>41816</c:v>
                </c:pt>
                <c:pt idx="2960">
                  <c:v>41817</c:v>
                </c:pt>
                <c:pt idx="2961">
                  <c:v>41820</c:v>
                </c:pt>
                <c:pt idx="2962">
                  <c:v>41821</c:v>
                </c:pt>
                <c:pt idx="2963">
                  <c:v>41822</c:v>
                </c:pt>
                <c:pt idx="2964">
                  <c:v>41823</c:v>
                </c:pt>
                <c:pt idx="2965">
                  <c:v>41824</c:v>
                </c:pt>
                <c:pt idx="2966">
                  <c:v>41827</c:v>
                </c:pt>
                <c:pt idx="2967">
                  <c:v>41828</c:v>
                </c:pt>
                <c:pt idx="2968">
                  <c:v>41829</c:v>
                </c:pt>
                <c:pt idx="2969">
                  <c:v>41830</c:v>
                </c:pt>
                <c:pt idx="2970">
                  <c:v>41831</c:v>
                </c:pt>
                <c:pt idx="2971">
                  <c:v>41834</c:v>
                </c:pt>
                <c:pt idx="2972">
                  <c:v>41835</c:v>
                </c:pt>
                <c:pt idx="2973">
                  <c:v>41836</c:v>
                </c:pt>
                <c:pt idx="2974">
                  <c:v>41837</c:v>
                </c:pt>
                <c:pt idx="2975">
                  <c:v>41838</c:v>
                </c:pt>
                <c:pt idx="2976">
                  <c:v>41841</c:v>
                </c:pt>
                <c:pt idx="2977">
                  <c:v>41842</c:v>
                </c:pt>
                <c:pt idx="2978">
                  <c:v>41843</c:v>
                </c:pt>
                <c:pt idx="2979">
                  <c:v>41844</c:v>
                </c:pt>
                <c:pt idx="2980">
                  <c:v>41845</c:v>
                </c:pt>
                <c:pt idx="2981">
                  <c:v>41848</c:v>
                </c:pt>
                <c:pt idx="2982">
                  <c:v>41849</c:v>
                </c:pt>
                <c:pt idx="2983">
                  <c:v>41850</c:v>
                </c:pt>
                <c:pt idx="2984">
                  <c:v>41851</c:v>
                </c:pt>
                <c:pt idx="2985">
                  <c:v>41852</c:v>
                </c:pt>
                <c:pt idx="2986">
                  <c:v>41855</c:v>
                </c:pt>
                <c:pt idx="2987">
                  <c:v>41856</c:v>
                </c:pt>
                <c:pt idx="2988">
                  <c:v>41857</c:v>
                </c:pt>
                <c:pt idx="2989">
                  <c:v>41858</c:v>
                </c:pt>
                <c:pt idx="2990">
                  <c:v>41859</c:v>
                </c:pt>
                <c:pt idx="2991">
                  <c:v>41862</c:v>
                </c:pt>
                <c:pt idx="2992">
                  <c:v>41863</c:v>
                </c:pt>
                <c:pt idx="2993">
                  <c:v>41864</c:v>
                </c:pt>
                <c:pt idx="2994">
                  <c:v>41865</c:v>
                </c:pt>
                <c:pt idx="2995">
                  <c:v>41866</c:v>
                </c:pt>
                <c:pt idx="2996">
                  <c:v>41869</c:v>
                </c:pt>
                <c:pt idx="2997">
                  <c:v>41870</c:v>
                </c:pt>
                <c:pt idx="2998">
                  <c:v>41871</c:v>
                </c:pt>
                <c:pt idx="2999">
                  <c:v>41872</c:v>
                </c:pt>
                <c:pt idx="3000">
                  <c:v>41873</c:v>
                </c:pt>
                <c:pt idx="3001">
                  <c:v>41876</c:v>
                </c:pt>
                <c:pt idx="3002">
                  <c:v>41877</c:v>
                </c:pt>
                <c:pt idx="3003">
                  <c:v>41878</c:v>
                </c:pt>
                <c:pt idx="3004">
                  <c:v>41879</c:v>
                </c:pt>
                <c:pt idx="3005">
                  <c:v>41880</c:v>
                </c:pt>
                <c:pt idx="3006">
                  <c:v>41883</c:v>
                </c:pt>
                <c:pt idx="3007">
                  <c:v>41884</c:v>
                </c:pt>
                <c:pt idx="3008">
                  <c:v>41885</c:v>
                </c:pt>
                <c:pt idx="3009">
                  <c:v>41886</c:v>
                </c:pt>
                <c:pt idx="3010">
                  <c:v>41887</c:v>
                </c:pt>
                <c:pt idx="3011">
                  <c:v>41891</c:v>
                </c:pt>
                <c:pt idx="3012">
                  <c:v>41892</c:v>
                </c:pt>
                <c:pt idx="3013">
                  <c:v>41893</c:v>
                </c:pt>
                <c:pt idx="3014">
                  <c:v>41894</c:v>
                </c:pt>
                <c:pt idx="3015">
                  <c:v>41897</c:v>
                </c:pt>
                <c:pt idx="3016">
                  <c:v>41898</c:v>
                </c:pt>
                <c:pt idx="3017">
                  <c:v>41899</c:v>
                </c:pt>
                <c:pt idx="3018">
                  <c:v>41900</c:v>
                </c:pt>
                <c:pt idx="3019">
                  <c:v>41901</c:v>
                </c:pt>
                <c:pt idx="3020">
                  <c:v>41904</c:v>
                </c:pt>
                <c:pt idx="3021">
                  <c:v>41905</c:v>
                </c:pt>
                <c:pt idx="3022">
                  <c:v>41906</c:v>
                </c:pt>
                <c:pt idx="3023">
                  <c:v>41907</c:v>
                </c:pt>
                <c:pt idx="3024">
                  <c:v>41908</c:v>
                </c:pt>
                <c:pt idx="3025">
                  <c:v>41911</c:v>
                </c:pt>
                <c:pt idx="3026">
                  <c:v>41912</c:v>
                </c:pt>
                <c:pt idx="3027">
                  <c:v>41920</c:v>
                </c:pt>
                <c:pt idx="3028">
                  <c:v>41921</c:v>
                </c:pt>
                <c:pt idx="3029">
                  <c:v>41922</c:v>
                </c:pt>
                <c:pt idx="3030">
                  <c:v>41925</c:v>
                </c:pt>
                <c:pt idx="3031">
                  <c:v>41926</c:v>
                </c:pt>
                <c:pt idx="3032">
                  <c:v>41927</c:v>
                </c:pt>
                <c:pt idx="3033">
                  <c:v>41928</c:v>
                </c:pt>
                <c:pt idx="3034">
                  <c:v>41929</c:v>
                </c:pt>
                <c:pt idx="3035">
                  <c:v>41932</c:v>
                </c:pt>
                <c:pt idx="3036">
                  <c:v>41933</c:v>
                </c:pt>
                <c:pt idx="3037">
                  <c:v>41934</c:v>
                </c:pt>
                <c:pt idx="3038">
                  <c:v>41935</c:v>
                </c:pt>
                <c:pt idx="3039">
                  <c:v>41936</c:v>
                </c:pt>
                <c:pt idx="3040">
                  <c:v>41939</c:v>
                </c:pt>
                <c:pt idx="3041">
                  <c:v>41940</c:v>
                </c:pt>
                <c:pt idx="3042">
                  <c:v>41941</c:v>
                </c:pt>
                <c:pt idx="3043">
                  <c:v>41942</c:v>
                </c:pt>
                <c:pt idx="3044">
                  <c:v>41943</c:v>
                </c:pt>
                <c:pt idx="3045">
                  <c:v>41946</c:v>
                </c:pt>
                <c:pt idx="3046">
                  <c:v>41947</c:v>
                </c:pt>
                <c:pt idx="3047">
                  <c:v>41948</c:v>
                </c:pt>
                <c:pt idx="3048">
                  <c:v>41949</c:v>
                </c:pt>
                <c:pt idx="3049">
                  <c:v>41950</c:v>
                </c:pt>
                <c:pt idx="3050">
                  <c:v>41953</c:v>
                </c:pt>
                <c:pt idx="3051">
                  <c:v>41954</c:v>
                </c:pt>
                <c:pt idx="3052">
                  <c:v>41955</c:v>
                </c:pt>
                <c:pt idx="3053">
                  <c:v>41956</c:v>
                </c:pt>
                <c:pt idx="3054">
                  <c:v>41957</c:v>
                </c:pt>
                <c:pt idx="3055">
                  <c:v>41960</c:v>
                </c:pt>
                <c:pt idx="3056">
                  <c:v>41961</c:v>
                </c:pt>
                <c:pt idx="3057">
                  <c:v>41962</c:v>
                </c:pt>
                <c:pt idx="3058">
                  <c:v>41963</c:v>
                </c:pt>
                <c:pt idx="3059">
                  <c:v>41964</c:v>
                </c:pt>
                <c:pt idx="3060">
                  <c:v>41967</c:v>
                </c:pt>
                <c:pt idx="3061">
                  <c:v>41968</c:v>
                </c:pt>
                <c:pt idx="3062">
                  <c:v>41969</c:v>
                </c:pt>
                <c:pt idx="3063">
                  <c:v>41970</c:v>
                </c:pt>
                <c:pt idx="3064">
                  <c:v>41971</c:v>
                </c:pt>
                <c:pt idx="3065">
                  <c:v>41974</c:v>
                </c:pt>
                <c:pt idx="3066">
                  <c:v>41975</c:v>
                </c:pt>
                <c:pt idx="3067">
                  <c:v>41976</c:v>
                </c:pt>
                <c:pt idx="3068">
                  <c:v>41977</c:v>
                </c:pt>
                <c:pt idx="3069">
                  <c:v>41978</c:v>
                </c:pt>
                <c:pt idx="3070">
                  <c:v>41981</c:v>
                </c:pt>
                <c:pt idx="3071">
                  <c:v>41982</c:v>
                </c:pt>
                <c:pt idx="3072">
                  <c:v>41983</c:v>
                </c:pt>
                <c:pt idx="3073">
                  <c:v>41984</c:v>
                </c:pt>
                <c:pt idx="3074">
                  <c:v>41985</c:v>
                </c:pt>
                <c:pt idx="3075">
                  <c:v>41988</c:v>
                </c:pt>
                <c:pt idx="3076">
                  <c:v>41989</c:v>
                </c:pt>
                <c:pt idx="3077">
                  <c:v>41990</c:v>
                </c:pt>
                <c:pt idx="3078">
                  <c:v>41991</c:v>
                </c:pt>
                <c:pt idx="3079">
                  <c:v>41992</c:v>
                </c:pt>
                <c:pt idx="3080">
                  <c:v>41995</c:v>
                </c:pt>
                <c:pt idx="3081">
                  <c:v>41996</c:v>
                </c:pt>
                <c:pt idx="3082">
                  <c:v>41997</c:v>
                </c:pt>
                <c:pt idx="3083">
                  <c:v>41998</c:v>
                </c:pt>
                <c:pt idx="3084">
                  <c:v>41999</c:v>
                </c:pt>
                <c:pt idx="3085">
                  <c:v>42002</c:v>
                </c:pt>
                <c:pt idx="3086">
                  <c:v>42003</c:v>
                </c:pt>
                <c:pt idx="3087">
                  <c:v>42004</c:v>
                </c:pt>
                <c:pt idx="3088">
                  <c:v>42009</c:v>
                </c:pt>
                <c:pt idx="3089">
                  <c:v>42010</c:v>
                </c:pt>
                <c:pt idx="3090">
                  <c:v>42011</c:v>
                </c:pt>
                <c:pt idx="3091">
                  <c:v>42012</c:v>
                </c:pt>
                <c:pt idx="3092">
                  <c:v>42013</c:v>
                </c:pt>
                <c:pt idx="3093">
                  <c:v>42016</c:v>
                </c:pt>
                <c:pt idx="3094">
                  <c:v>42017</c:v>
                </c:pt>
                <c:pt idx="3095">
                  <c:v>42018</c:v>
                </c:pt>
                <c:pt idx="3096">
                  <c:v>42019</c:v>
                </c:pt>
                <c:pt idx="3097">
                  <c:v>42020</c:v>
                </c:pt>
                <c:pt idx="3098">
                  <c:v>42023</c:v>
                </c:pt>
                <c:pt idx="3099">
                  <c:v>42024</c:v>
                </c:pt>
                <c:pt idx="3100">
                  <c:v>42025</c:v>
                </c:pt>
                <c:pt idx="3101">
                  <c:v>42026</c:v>
                </c:pt>
                <c:pt idx="3102">
                  <c:v>42027</c:v>
                </c:pt>
                <c:pt idx="3103">
                  <c:v>42030</c:v>
                </c:pt>
                <c:pt idx="3104">
                  <c:v>42031</c:v>
                </c:pt>
                <c:pt idx="3105">
                  <c:v>42032</c:v>
                </c:pt>
                <c:pt idx="3106">
                  <c:v>42033</c:v>
                </c:pt>
                <c:pt idx="3107">
                  <c:v>42034</c:v>
                </c:pt>
                <c:pt idx="3108">
                  <c:v>42037</c:v>
                </c:pt>
                <c:pt idx="3109">
                  <c:v>42038</c:v>
                </c:pt>
                <c:pt idx="3110">
                  <c:v>42039</c:v>
                </c:pt>
                <c:pt idx="3111">
                  <c:v>42040</c:v>
                </c:pt>
                <c:pt idx="3112">
                  <c:v>42041</c:v>
                </c:pt>
                <c:pt idx="3113">
                  <c:v>42044</c:v>
                </c:pt>
                <c:pt idx="3114">
                  <c:v>42045</c:v>
                </c:pt>
                <c:pt idx="3115">
                  <c:v>42046</c:v>
                </c:pt>
                <c:pt idx="3116">
                  <c:v>42047</c:v>
                </c:pt>
                <c:pt idx="3117">
                  <c:v>42048</c:v>
                </c:pt>
                <c:pt idx="3118">
                  <c:v>42051</c:v>
                </c:pt>
                <c:pt idx="3119">
                  <c:v>42052</c:v>
                </c:pt>
                <c:pt idx="3120">
                  <c:v>42060</c:v>
                </c:pt>
                <c:pt idx="3121">
                  <c:v>42061</c:v>
                </c:pt>
                <c:pt idx="3122">
                  <c:v>42062</c:v>
                </c:pt>
                <c:pt idx="3123">
                  <c:v>42065</c:v>
                </c:pt>
                <c:pt idx="3124">
                  <c:v>42066</c:v>
                </c:pt>
                <c:pt idx="3125">
                  <c:v>42067</c:v>
                </c:pt>
                <c:pt idx="3126">
                  <c:v>42068</c:v>
                </c:pt>
                <c:pt idx="3127">
                  <c:v>42069</c:v>
                </c:pt>
                <c:pt idx="3128">
                  <c:v>42072</c:v>
                </c:pt>
                <c:pt idx="3129">
                  <c:v>42073</c:v>
                </c:pt>
                <c:pt idx="3130">
                  <c:v>42074</c:v>
                </c:pt>
                <c:pt idx="3131">
                  <c:v>42075</c:v>
                </c:pt>
                <c:pt idx="3132">
                  <c:v>42076</c:v>
                </c:pt>
                <c:pt idx="3133">
                  <c:v>42079</c:v>
                </c:pt>
                <c:pt idx="3134">
                  <c:v>42080</c:v>
                </c:pt>
                <c:pt idx="3135">
                  <c:v>42081</c:v>
                </c:pt>
                <c:pt idx="3136">
                  <c:v>42082</c:v>
                </c:pt>
                <c:pt idx="3137">
                  <c:v>42083</c:v>
                </c:pt>
                <c:pt idx="3138">
                  <c:v>42086</c:v>
                </c:pt>
                <c:pt idx="3139">
                  <c:v>42087</c:v>
                </c:pt>
                <c:pt idx="3140">
                  <c:v>42088</c:v>
                </c:pt>
                <c:pt idx="3141">
                  <c:v>42089</c:v>
                </c:pt>
                <c:pt idx="3142">
                  <c:v>42090</c:v>
                </c:pt>
                <c:pt idx="3143">
                  <c:v>42093</c:v>
                </c:pt>
                <c:pt idx="3144">
                  <c:v>42094</c:v>
                </c:pt>
                <c:pt idx="3145">
                  <c:v>42095</c:v>
                </c:pt>
                <c:pt idx="3146">
                  <c:v>42096</c:v>
                </c:pt>
                <c:pt idx="3147">
                  <c:v>42097</c:v>
                </c:pt>
                <c:pt idx="3148">
                  <c:v>42101</c:v>
                </c:pt>
                <c:pt idx="3149">
                  <c:v>42102</c:v>
                </c:pt>
                <c:pt idx="3150">
                  <c:v>42103</c:v>
                </c:pt>
                <c:pt idx="3151">
                  <c:v>42104</c:v>
                </c:pt>
                <c:pt idx="3152">
                  <c:v>42107</c:v>
                </c:pt>
                <c:pt idx="3153">
                  <c:v>42108</c:v>
                </c:pt>
                <c:pt idx="3154">
                  <c:v>42109</c:v>
                </c:pt>
                <c:pt idx="3155">
                  <c:v>42110</c:v>
                </c:pt>
                <c:pt idx="3156">
                  <c:v>42111</c:v>
                </c:pt>
                <c:pt idx="3157">
                  <c:v>42114</c:v>
                </c:pt>
                <c:pt idx="3158">
                  <c:v>42115</c:v>
                </c:pt>
                <c:pt idx="3159">
                  <c:v>42116</c:v>
                </c:pt>
                <c:pt idx="3160">
                  <c:v>42117</c:v>
                </c:pt>
                <c:pt idx="3161">
                  <c:v>42118</c:v>
                </c:pt>
                <c:pt idx="3162">
                  <c:v>42121</c:v>
                </c:pt>
                <c:pt idx="3163">
                  <c:v>42122</c:v>
                </c:pt>
                <c:pt idx="3164">
                  <c:v>42123</c:v>
                </c:pt>
                <c:pt idx="3165">
                  <c:v>42124</c:v>
                </c:pt>
                <c:pt idx="3166">
                  <c:v>42128</c:v>
                </c:pt>
                <c:pt idx="3167">
                  <c:v>42129</c:v>
                </c:pt>
                <c:pt idx="3168">
                  <c:v>42130</c:v>
                </c:pt>
                <c:pt idx="3169">
                  <c:v>42131</c:v>
                </c:pt>
                <c:pt idx="3170">
                  <c:v>42132</c:v>
                </c:pt>
                <c:pt idx="3171">
                  <c:v>42135</c:v>
                </c:pt>
                <c:pt idx="3172">
                  <c:v>42136</c:v>
                </c:pt>
                <c:pt idx="3173">
                  <c:v>42137</c:v>
                </c:pt>
                <c:pt idx="3174">
                  <c:v>42138</c:v>
                </c:pt>
                <c:pt idx="3175">
                  <c:v>42139</c:v>
                </c:pt>
                <c:pt idx="3176">
                  <c:v>42142</c:v>
                </c:pt>
                <c:pt idx="3177">
                  <c:v>42143</c:v>
                </c:pt>
                <c:pt idx="3178">
                  <c:v>42144</c:v>
                </c:pt>
                <c:pt idx="3179">
                  <c:v>42145</c:v>
                </c:pt>
                <c:pt idx="3180">
                  <c:v>42146</c:v>
                </c:pt>
                <c:pt idx="3181">
                  <c:v>42149</c:v>
                </c:pt>
                <c:pt idx="3182">
                  <c:v>42150</c:v>
                </c:pt>
                <c:pt idx="3183">
                  <c:v>42151</c:v>
                </c:pt>
                <c:pt idx="3184">
                  <c:v>42152</c:v>
                </c:pt>
                <c:pt idx="3185">
                  <c:v>42153</c:v>
                </c:pt>
                <c:pt idx="3186">
                  <c:v>42156</c:v>
                </c:pt>
                <c:pt idx="3187">
                  <c:v>42157</c:v>
                </c:pt>
                <c:pt idx="3188">
                  <c:v>42158</c:v>
                </c:pt>
                <c:pt idx="3189">
                  <c:v>42159</c:v>
                </c:pt>
                <c:pt idx="3190">
                  <c:v>42160</c:v>
                </c:pt>
                <c:pt idx="3191">
                  <c:v>42163</c:v>
                </c:pt>
                <c:pt idx="3192">
                  <c:v>42164</c:v>
                </c:pt>
                <c:pt idx="3193">
                  <c:v>42165</c:v>
                </c:pt>
                <c:pt idx="3194">
                  <c:v>42166</c:v>
                </c:pt>
                <c:pt idx="3195">
                  <c:v>42167</c:v>
                </c:pt>
                <c:pt idx="3196">
                  <c:v>42170</c:v>
                </c:pt>
                <c:pt idx="3197">
                  <c:v>42171</c:v>
                </c:pt>
                <c:pt idx="3198">
                  <c:v>42172</c:v>
                </c:pt>
                <c:pt idx="3199">
                  <c:v>42173</c:v>
                </c:pt>
                <c:pt idx="3200">
                  <c:v>42174</c:v>
                </c:pt>
                <c:pt idx="3201">
                  <c:v>42178</c:v>
                </c:pt>
                <c:pt idx="3202">
                  <c:v>42179</c:v>
                </c:pt>
                <c:pt idx="3203">
                  <c:v>42180</c:v>
                </c:pt>
                <c:pt idx="3204">
                  <c:v>42181</c:v>
                </c:pt>
                <c:pt idx="3205">
                  <c:v>42184</c:v>
                </c:pt>
                <c:pt idx="3206">
                  <c:v>42185</c:v>
                </c:pt>
                <c:pt idx="3207">
                  <c:v>42186</c:v>
                </c:pt>
                <c:pt idx="3208">
                  <c:v>42187</c:v>
                </c:pt>
                <c:pt idx="3209">
                  <c:v>42188</c:v>
                </c:pt>
                <c:pt idx="3210">
                  <c:v>42191</c:v>
                </c:pt>
                <c:pt idx="3211">
                  <c:v>42192</c:v>
                </c:pt>
                <c:pt idx="3212">
                  <c:v>42193</c:v>
                </c:pt>
                <c:pt idx="3213">
                  <c:v>42194</c:v>
                </c:pt>
                <c:pt idx="3214">
                  <c:v>42195</c:v>
                </c:pt>
                <c:pt idx="3215">
                  <c:v>42198</c:v>
                </c:pt>
                <c:pt idx="3216">
                  <c:v>42199</c:v>
                </c:pt>
                <c:pt idx="3217">
                  <c:v>42200</c:v>
                </c:pt>
                <c:pt idx="3218">
                  <c:v>42201</c:v>
                </c:pt>
                <c:pt idx="3219">
                  <c:v>42202</c:v>
                </c:pt>
                <c:pt idx="3220">
                  <c:v>42205</c:v>
                </c:pt>
                <c:pt idx="3221">
                  <c:v>42206</c:v>
                </c:pt>
                <c:pt idx="3222">
                  <c:v>42207</c:v>
                </c:pt>
                <c:pt idx="3223">
                  <c:v>42208</c:v>
                </c:pt>
                <c:pt idx="3224">
                  <c:v>42209</c:v>
                </c:pt>
                <c:pt idx="3225">
                  <c:v>42212</c:v>
                </c:pt>
                <c:pt idx="3226">
                  <c:v>42213</c:v>
                </c:pt>
                <c:pt idx="3227">
                  <c:v>42214</c:v>
                </c:pt>
                <c:pt idx="3228">
                  <c:v>42215</c:v>
                </c:pt>
                <c:pt idx="3229">
                  <c:v>42216</c:v>
                </c:pt>
                <c:pt idx="3230">
                  <c:v>42219</c:v>
                </c:pt>
                <c:pt idx="3231">
                  <c:v>42220</c:v>
                </c:pt>
                <c:pt idx="3232">
                  <c:v>42221</c:v>
                </c:pt>
                <c:pt idx="3233">
                  <c:v>42222</c:v>
                </c:pt>
                <c:pt idx="3234">
                  <c:v>42223</c:v>
                </c:pt>
                <c:pt idx="3235">
                  <c:v>42226</c:v>
                </c:pt>
                <c:pt idx="3236">
                  <c:v>42227</c:v>
                </c:pt>
                <c:pt idx="3237">
                  <c:v>42228</c:v>
                </c:pt>
                <c:pt idx="3238">
                  <c:v>42229</c:v>
                </c:pt>
                <c:pt idx="3239">
                  <c:v>42230</c:v>
                </c:pt>
                <c:pt idx="3240">
                  <c:v>42233</c:v>
                </c:pt>
                <c:pt idx="3241">
                  <c:v>42234</c:v>
                </c:pt>
                <c:pt idx="3242">
                  <c:v>42235</c:v>
                </c:pt>
                <c:pt idx="3243">
                  <c:v>42236</c:v>
                </c:pt>
                <c:pt idx="3244">
                  <c:v>42237</c:v>
                </c:pt>
                <c:pt idx="3245">
                  <c:v>42240</c:v>
                </c:pt>
                <c:pt idx="3246">
                  <c:v>42241</c:v>
                </c:pt>
                <c:pt idx="3247">
                  <c:v>42242</c:v>
                </c:pt>
                <c:pt idx="3248">
                  <c:v>42243</c:v>
                </c:pt>
                <c:pt idx="3249">
                  <c:v>42244</c:v>
                </c:pt>
                <c:pt idx="3250">
                  <c:v>42247</c:v>
                </c:pt>
                <c:pt idx="3251">
                  <c:v>42248</c:v>
                </c:pt>
                <c:pt idx="3252">
                  <c:v>42249</c:v>
                </c:pt>
                <c:pt idx="3253">
                  <c:v>42254</c:v>
                </c:pt>
                <c:pt idx="3254">
                  <c:v>42255</c:v>
                </c:pt>
                <c:pt idx="3255">
                  <c:v>42256</c:v>
                </c:pt>
                <c:pt idx="3256">
                  <c:v>42257</c:v>
                </c:pt>
                <c:pt idx="3257">
                  <c:v>42258</c:v>
                </c:pt>
                <c:pt idx="3258">
                  <c:v>42261</c:v>
                </c:pt>
                <c:pt idx="3259">
                  <c:v>42262</c:v>
                </c:pt>
                <c:pt idx="3260">
                  <c:v>42263</c:v>
                </c:pt>
                <c:pt idx="3261">
                  <c:v>42264</c:v>
                </c:pt>
                <c:pt idx="3262">
                  <c:v>42265</c:v>
                </c:pt>
                <c:pt idx="3263">
                  <c:v>42268</c:v>
                </c:pt>
                <c:pt idx="3264">
                  <c:v>42269</c:v>
                </c:pt>
                <c:pt idx="3265">
                  <c:v>42270</c:v>
                </c:pt>
                <c:pt idx="3266">
                  <c:v>42271</c:v>
                </c:pt>
                <c:pt idx="3267">
                  <c:v>42272</c:v>
                </c:pt>
                <c:pt idx="3268">
                  <c:v>42275</c:v>
                </c:pt>
                <c:pt idx="3269">
                  <c:v>42276</c:v>
                </c:pt>
                <c:pt idx="3270">
                  <c:v>42277</c:v>
                </c:pt>
                <c:pt idx="3271">
                  <c:v>42285</c:v>
                </c:pt>
                <c:pt idx="3272">
                  <c:v>42286</c:v>
                </c:pt>
                <c:pt idx="3273">
                  <c:v>42289</c:v>
                </c:pt>
                <c:pt idx="3274">
                  <c:v>42290</c:v>
                </c:pt>
                <c:pt idx="3275">
                  <c:v>42291</c:v>
                </c:pt>
                <c:pt idx="3276">
                  <c:v>42292</c:v>
                </c:pt>
                <c:pt idx="3277">
                  <c:v>42293</c:v>
                </c:pt>
                <c:pt idx="3278">
                  <c:v>42296</c:v>
                </c:pt>
                <c:pt idx="3279">
                  <c:v>42297</c:v>
                </c:pt>
                <c:pt idx="3280">
                  <c:v>42298</c:v>
                </c:pt>
                <c:pt idx="3281">
                  <c:v>42299</c:v>
                </c:pt>
                <c:pt idx="3282">
                  <c:v>42300</c:v>
                </c:pt>
                <c:pt idx="3283">
                  <c:v>42303</c:v>
                </c:pt>
                <c:pt idx="3284">
                  <c:v>42304</c:v>
                </c:pt>
                <c:pt idx="3285">
                  <c:v>42305</c:v>
                </c:pt>
                <c:pt idx="3286">
                  <c:v>42306</c:v>
                </c:pt>
                <c:pt idx="3287">
                  <c:v>42307</c:v>
                </c:pt>
                <c:pt idx="3288">
                  <c:v>42310</c:v>
                </c:pt>
                <c:pt idx="3289">
                  <c:v>42311</c:v>
                </c:pt>
                <c:pt idx="3290">
                  <c:v>42312</c:v>
                </c:pt>
                <c:pt idx="3291">
                  <c:v>42313</c:v>
                </c:pt>
                <c:pt idx="3292">
                  <c:v>42314</c:v>
                </c:pt>
                <c:pt idx="3293">
                  <c:v>42317</c:v>
                </c:pt>
                <c:pt idx="3294">
                  <c:v>42318</c:v>
                </c:pt>
                <c:pt idx="3295">
                  <c:v>42319</c:v>
                </c:pt>
                <c:pt idx="3296">
                  <c:v>42320</c:v>
                </c:pt>
                <c:pt idx="3297">
                  <c:v>42321</c:v>
                </c:pt>
                <c:pt idx="3298">
                  <c:v>42324</c:v>
                </c:pt>
                <c:pt idx="3299">
                  <c:v>42325</c:v>
                </c:pt>
                <c:pt idx="3300">
                  <c:v>42326</c:v>
                </c:pt>
                <c:pt idx="3301">
                  <c:v>42327</c:v>
                </c:pt>
                <c:pt idx="3302">
                  <c:v>42328</c:v>
                </c:pt>
                <c:pt idx="3303">
                  <c:v>42331</c:v>
                </c:pt>
                <c:pt idx="3304">
                  <c:v>42332</c:v>
                </c:pt>
                <c:pt idx="3305">
                  <c:v>42333</c:v>
                </c:pt>
                <c:pt idx="3306">
                  <c:v>42334</c:v>
                </c:pt>
                <c:pt idx="3307">
                  <c:v>42335</c:v>
                </c:pt>
                <c:pt idx="3308">
                  <c:v>42338</c:v>
                </c:pt>
                <c:pt idx="3309">
                  <c:v>42339</c:v>
                </c:pt>
                <c:pt idx="3310">
                  <c:v>42340</c:v>
                </c:pt>
                <c:pt idx="3311">
                  <c:v>42341</c:v>
                </c:pt>
                <c:pt idx="3312">
                  <c:v>42342</c:v>
                </c:pt>
                <c:pt idx="3313">
                  <c:v>42345</c:v>
                </c:pt>
                <c:pt idx="3314">
                  <c:v>42346</c:v>
                </c:pt>
                <c:pt idx="3315">
                  <c:v>42347</c:v>
                </c:pt>
                <c:pt idx="3316">
                  <c:v>42348</c:v>
                </c:pt>
                <c:pt idx="3317">
                  <c:v>42349</c:v>
                </c:pt>
                <c:pt idx="3318">
                  <c:v>42352</c:v>
                </c:pt>
                <c:pt idx="3319">
                  <c:v>42353</c:v>
                </c:pt>
                <c:pt idx="3320">
                  <c:v>42354</c:v>
                </c:pt>
                <c:pt idx="3321">
                  <c:v>42355</c:v>
                </c:pt>
                <c:pt idx="3322">
                  <c:v>42356</c:v>
                </c:pt>
                <c:pt idx="3323">
                  <c:v>42359</c:v>
                </c:pt>
                <c:pt idx="3324">
                  <c:v>42360</c:v>
                </c:pt>
                <c:pt idx="3325">
                  <c:v>42361</c:v>
                </c:pt>
                <c:pt idx="3326">
                  <c:v>42362</c:v>
                </c:pt>
                <c:pt idx="3327">
                  <c:v>42363</c:v>
                </c:pt>
                <c:pt idx="3328">
                  <c:v>42366</c:v>
                </c:pt>
                <c:pt idx="3329">
                  <c:v>42367</c:v>
                </c:pt>
                <c:pt idx="3330">
                  <c:v>42368</c:v>
                </c:pt>
                <c:pt idx="3331">
                  <c:v>42369</c:v>
                </c:pt>
                <c:pt idx="3332">
                  <c:v>42373</c:v>
                </c:pt>
                <c:pt idx="3333">
                  <c:v>42374</c:v>
                </c:pt>
                <c:pt idx="3334">
                  <c:v>42375</c:v>
                </c:pt>
                <c:pt idx="3335">
                  <c:v>42376</c:v>
                </c:pt>
                <c:pt idx="3336">
                  <c:v>42377</c:v>
                </c:pt>
                <c:pt idx="3337">
                  <c:v>42380</c:v>
                </c:pt>
                <c:pt idx="3338">
                  <c:v>42381</c:v>
                </c:pt>
                <c:pt idx="3339">
                  <c:v>42382</c:v>
                </c:pt>
                <c:pt idx="3340">
                  <c:v>42383</c:v>
                </c:pt>
                <c:pt idx="3341">
                  <c:v>42384</c:v>
                </c:pt>
                <c:pt idx="3342">
                  <c:v>42387</c:v>
                </c:pt>
                <c:pt idx="3343">
                  <c:v>42388</c:v>
                </c:pt>
                <c:pt idx="3344">
                  <c:v>42389</c:v>
                </c:pt>
                <c:pt idx="3345">
                  <c:v>42390</c:v>
                </c:pt>
                <c:pt idx="3346">
                  <c:v>42391</c:v>
                </c:pt>
                <c:pt idx="3347">
                  <c:v>42394</c:v>
                </c:pt>
                <c:pt idx="3348">
                  <c:v>42395</c:v>
                </c:pt>
                <c:pt idx="3349">
                  <c:v>42396</c:v>
                </c:pt>
                <c:pt idx="3350">
                  <c:v>42397</c:v>
                </c:pt>
                <c:pt idx="3351">
                  <c:v>42398</c:v>
                </c:pt>
                <c:pt idx="3352">
                  <c:v>42401</c:v>
                </c:pt>
                <c:pt idx="3353">
                  <c:v>42402</c:v>
                </c:pt>
                <c:pt idx="3354">
                  <c:v>42403</c:v>
                </c:pt>
                <c:pt idx="3355">
                  <c:v>42404</c:v>
                </c:pt>
                <c:pt idx="3356">
                  <c:v>42405</c:v>
                </c:pt>
                <c:pt idx="3357">
                  <c:v>42415</c:v>
                </c:pt>
                <c:pt idx="3358">
                  <c:v>42416</c:v>
                </c:pt>
                <c:pt idx="3359">
                  <c:v>42417</c:v>
                </c:pt>
                <c:pt idx="3360">
                  <c:v>42418</c:v>
                </c:pt>
                <c:pt idx="3361">
                  <c:v>42419</c:v>
                </c:pt>
                <c:pt idx="3362">
                  <c:v>42422</c:v>
                </c:pt>
                <c:pt idx="3363">
                  <c:v>42423</c:v>
                </c:pt>
                <c:pt idx="3364">
                  <c:v>42424</c:v>
                </c:pt>
                <c:pt idx="3365">
                  <c:v>42425</c:v>
                </c:pt>
                <c:pt idx="3366">
                  <c:v>42426</c:v>
                </c:pt>
                <c:pt idx="3367">
                  <c:v>42429</c:v>
                </c:pt>
                <c:pt idx="3368">
                  <c:v>42430</c:v>
                </c:pt>
                <c:pt idx="3369">
                  <c:v>42431</c:v>
                </c:pt>
                <c:pt idx="3370">
                  <c:v>42432</c:v>
                </c:pt>
                <c:pt idx="3371">
                  <c:v>42433</c:v>
                </c:pt>
                <c:pt idx="3372">
                  <c:v>42436</c:v>
                </c:pt>
                <c:pt idx="3373">
                  <c:v>42437</c:v>
                </c:pt>
                <c:pt idx="3374">
                  <c:v>42438</c:v>
                </c:pt>
                <c:pt idx="3375">
                  <c:v>42439</c:v>
                </c:pt>
                <c:pt idx="3376">
                  <c:v>42440</c:v>
                </c:pt>
                <c:pt idx="3377">
                  <c:v>42443</c:v>
                </c:pt>
                <c:pt idx="3378">
                  <c:v>42444</c:v>
                </c:pt>
                <c:pt idx="3379">
                  <c:v>42445</c:v>
                </c:pt>
                <c:pt idx="3380">
                  <c:v>42446</c:v>
                </c:pt>
                <c:pt idx="3381">
                  <c:v>42447</c:v>
                </c:pt>
                <c:pt idx="3382">
                  <c:v>42450</c:v>
                </c:pt>
                <c:pt idx="3383">
                  <c:v>42451</c:v>
                </c:pt>
                <c:pt idx="3384">
                  <c:v>42452</c:v>
                </c:pt>
                <c:pt idx="3385">
                  <c:v>42453</c:v>
                </c:pt>
                <c:pt idx="3386">
                  <c:v>42454</c:v>
                </c:pt>
                <c:pt idx="3387">
                  <c:v>42457</c:v>
                </c:pt>
                <c:pt idx="3388">
                  <c:v>42458</c:v>
                </c:pt>
                <c:pt idx="3389">
                  <c:v>42459</c:v>
                </c:pt>
                <c:pt idx="3390">
                  <c:v>42460</c:v>
                </c:pt>
                <c:pt idx="3391">
                  <c:v>42461</c:v>
                </c:pt>
                <c:pt idx="3392">
                  <c:v>42465</c:v>
                </c:pt>
                <c:pt idx="3393">
                  <c:v>42466</c:v>
                </c:pt>
                <c:pt idx="3394">
                  <c:v>42467</c:v>
                </c:pt>
                <c:pt idx="3395">
                  <c:v>42468</c:v>
                </c:pt>
                <c:pt idx="3396">
                  <c:v>42471</c:v>
                </c:pt>
                <c:pt idx="3397">
                  <c:v>42472</c:v>
                </c:pt>
                <c:pt idx="3398">
                  <c:v>42473</c:v>
                </c:pt>
                <c:pt idx="3399">
                  <c:v>42474</c:v>
                </c:pt>
                <c:pt idx="3400">
                  <c:v>42475</c:v>
                </c:pt>
                <c:pt idx="3401">
                  <c:v>42478</c:v>
                </c:pt>
                <c:pt idx="3402">
                  <c:v>42479</c:v>
                </c:pt>
                <c:pt idx="3403">
                  <c:v>42480</c:v>
                </c:pt>
                <c:pt idx="3404">
                  <c:v>42481</c:v>
                </c:pt>
                <c:pt idx="3405">
                  <c:v>42482</c:v>
                </c:pt>
                <c:pt idx="3406">
                  <c:v>42485</c:v>
                </c:pt>
                <c:pt idx="3407">
                  <c:v>42486</c:v>
                </c:pt>
                <c:pt idx="3408">
                  <c:v>42487</c:v>
                </c:pt>
                <c:pt idx="3409">
                  <c:v>42488</c:v>
                </c:pt>
                <c:pt idx="3410">
                  <c:v>42489</c:v>
                </c:pt>
                <c:pt idx="3411">
                  <c:v>42493</c:v>
                </c:pt>
                <c:pt idx="3412">
                  <c:v>42494</c:v>
                </c:pt>
                <c:pt idx="3413">
                  <c:v>42495</c:v>
                </c:pt>
                <c:pt idx="3414">
                  <c:v>42496</c:v>
                </c:pt>
                <c:pt idx="3415">
                  <c:v>42499</c:v>
                </c:pt>
                <c:pt idx="3416">
                  <c:v>42500</c:v>
                </c:pt>
                <c:pt idx="3417">
                  <c:v>42501</c:v>
                </c:pt>
                <c:pt idx="3418">
                  <c:v>42502</c:v>
                </c:pt>
                <c:pt idx="3419">
                  <c:v>42503</c:v>
                </c:pt>
                <c:pt idx="3420">
                  <c:v>42506</c:v>
                </c:pt>
                <c:pt idx="3421">
                  <c:v>42507</c:v>
                </c:pt>
                <c:pt idx="3422">
                  <c:v>42508</c:v>
                </c:pt>
                <c:pt idx="3423">
                  <c:v>42509</c:v>
                </c:pt>
                <c:pt idx="3424">
                  <c:v>42510</c:v>
                </c:pt>
                <c:pt idx="3425">
                  <c:v>42513</c:v>
                </c:pt>
                <c:pt idx="3426">
                  <c:v>42514</c:v>
                </c:pt>
                <c:pt idx="3427">
                  <c:v>42515</c:v>
                </c:pt>
                <c:pt idx="3428">
                  <c:v>42516</c:v>
                </c:pt>
                <c:pt idx="3429">
                  <c:v>42517</c:v>
                </c:pt>
                <c:pt idx="3430">
                  <c:v>42520</c:v>
                </c:pt>
                <c:pt idx="3431">
                  <c:v>42521</c:v>
                </c:pt>
                <c:pt idx="3432">
                  <c:v>42522</c:v>
                </c:pt>
                <c:pt idx="3433">
                  <c:v>42523</c:v>
                </c:pt>
                <c:pt idx="3434">
                  <c:v>42524</c:v>
                </c:pt>
                <c:pt idx="3435">
                  <c:v>42527</c:v>
                </c:pt>
                <c:pt idx="3436">
                  <c:v>42528</c:v>
                </c:pt>
                <c:pt idx="3437">
                  <c:v>42529</c:v>
                </c:pt>
                <c:pt idx="3438">
                  <c:v>42534</c:v>
                </c:pt>
                <c:pt idx="3439">
                  <c:v>42535</c:v>
                </c:pt>
                <c:pt idx="3440">
                  <c:v>42536</c:v>
                </c:pt>
                <c:pt idx="3441">
                  <c:v>42537</c:v>
                </c:pt>
                <c:pt idx="3442">
                  <c:v>42538</c:v>
                </c:pt>
                <c:pt idx="3443">
                  <c:v>42541</c:v>
                </c:pt>
                <c:pt idx="3444">
                  <c:v>42542</c:v>
                </c:pt>
                <c:pt idx="3445">
                  <c:v>42543</c:v>
                </c:pt>
                <c:pt idx="3446">
                  <c:v>42544</c:v>
                </c:pt>
                <c:pt idx="3447">
                  <c:v>42545</c:v>
                </c:pt>
                <c:pt idx="3448">
                  <c:v>42548</c:v>
                </c:pt>
                <c:pt idx="3449">
                  <c:v>42549</c:v>
                </c:pt>
                <c:pt idx="3450">
                  <c:v>42550</c:v>
                </c:pt>
                <c:pt idx="3451">
                  <c:v>42551</c:v>
                </c:pt>
                <c:pt idx="3452">
                  <c:v>42552</c:v>
                </c:pt>
                <c:pt idx="3453">
                  <c:v>42555</c:v>
                </c:pt>
                <c:pt idx="3454">
                  <c:v>42556</c:v>
                </c:pt>
                <c:pt idx="3455">
                  <c:v>42557</c:v>
                </c:pt>
                <c:pt idx="3456">
                  <c:v>42558</c:v>
                </c:pt>
                <c:pt idx="3457">
                  <c:v>42559</c:v>
                </c:pt>
                <c:pt idx="3458">
                  <c:v>42562</c:v>
                </c:pt>
                <c:pt idx="3459">
                  <c:v>42563</c:v>
                </c:pt>
                <c:pt idx="3460">
                  <c:v>42564</c:v>
                </c:pt>
                <c:pt idx="3461">
                  <c:v>42565</c:v>
                </c:pt>
                <c:pt idx="3462">
                  <c:v>42566</c:v>
                </c:pt>
                <c:pt idx="3463">
                  <c:v>42569</c:v>
                </c:pt>
                <c:pt idx="3464">
                  <c:v>42570</c:v>
                </c:pt>
                <c:pt idx="3465">
                  <c:v>42571</c:v>
                </c:pt>
                <c:pt idx="3466">
                  <c:v>42572</c:v>
                </c:pt>
                <c:pt idx="3467">
                  <c:v>42573</c:v>
                </c:pt>
                <c:pt idx="3468">
                  <c:v>42576</c:v>
                </c:pt>
                <c:pt idx="3469">
                  <c:v>42577</c:v>
                </c:pt>
                <c:pt idx="3470">
                  <c:v>42578</c:v>
                </c:pt>
                <c:pt idx="3471">
                  <c:v>42579</c:v>
                </c:pt>
                <c:pt idx="3472">
                  <c:v>42580</c:v>
                </c:pt>
                <c:pt idx="3473">
                  <c:v>42583</c:v>
                </c:pt>
                <c:pt idx="3474">
                  <c:v>42584</c:v>
                </c:pt>
                <c:pt idx="3475">
                  <c:v>42585</c:v>
                </c:pt>
                <c:pt idx="3476">
                  <c:v>42586</c:v>
                </c:pt>
                <c:pt idx="3477">
                  <c:v>42587</c:v>
                </c:pt>
                <c:pt idx="3478">
                  <c:v>42590</c:v>
                </c:pt>
                <c:pt idx="3479">
                  <c:v>42591</c:v>
                </c:pt>
                <c:pt idx="3480">
                  <c:v>42592</c:v>
                </c:pt>
                <c:pt idx="3481">
                  <c:v>42593</c:v>
                </c:pt>
                <c:pt idx="3482">
                  <c:v>42594</c:v>
                </c:pt>
                <c:pt idx="3483">
                  <c:v>42597</c:v>
                </c:pt>
                <c:pt idx="3484">
                  <c:v>42598</c:v>
                </c:pt>
                <c:pt idx="3485">
                  <c:v>42599</c:v>
                </c:pt>
                <c:pt idx="3486">
                  <c:v>42600</c:v>
                </c:pt>
                <c:pt idx="3487">
                  <c:v>42601</c:v>
                </c:pt>
                <c:pt idx="3488">
                  <c:v>42604</c:v>
                </c:pt>
                <c:pt idx="3489">
                  <c:v>42605</c:v>
                </c:pt>
                <c:pt idx="3490">
                  <c:v>42606</c:v>
                </c:pt>
                <c:pt idx="3491">
                  <c:v>42607</c:v>
                </c:pt>
                <c:pt idx="3492">
                  <c:v>42608</c:v>
                </c:pt>
                <c:pt idx="3493">
                  <c:v>42611</c:v>
                </c:pt>
                <c:pt idx="3494">
                  <c:v>42612</c:v>
                </c:pt>
                <c:pt idx="3495">
                  <c:v>42613</c:v>
                </c:pt>
                <c:pt idx="3496">
                  <c:v>42614</c:v>
                </c:pt>
                <c:pt idx="3497">
                  <c:v>42615</c:v>
                </c:pt>
                <c:pt idx="3498">
                  <c:v>42618</c:v>
                </c:pt>
                <c:pt idx="3499">
                  <c:v>42619</c:v>
                </c:pt>
                <c:pt idx="3500">
                  <c:v>42620</c:v>
                </c:pt>
                <c:pt idx="3501">
                  <c:v>42621</c:v>
                </c:pt>
                <c:pt idx="3502">
                  <c:v>42622</c:v>
                </c:pt>
                <c:pt idx="3503">
                  <c:v>42625</c:v>
                </c:pt>
                <c:pt idx="3504">
                  <c:v>42626</c:v>
                </c:pt>
                <c:pt idx="3505">
                  <c:v>42627</c:v>
                </c:pt>
                <c:pt idx="3506">
                  <c:v>42632</c:v>
                </c:pt>
                <c:pt idx="3507">
                  <c:v>42633</c:v>
                </c:pt>
                <c:pt idx="3508">
                  <c:v>42634</c:v>
                </c:pt>
                <c:pt idx="3509">
                  <c:v>42635</c:v>
                </c:pt>
                <c:pt idx="3510">
                  <c:v>42636</c:v>
                </c:pt>
                <c:pt idx="3511">
                  <c:v>42639</c:v>
                </c:pt>
                <c:pt idx="3512">
                  <c:v>42640</c:v>
                </c:pt>
                <c:pt idx="3513">
                  <c:v>42641</c:v>
                </c:pt>
                <c:pt idx="3514">
                  <c:v>42642</c:v>
                </c:pt>
                <c:pt idx="3515">
                  <c:v>42643</c:v>
                </c:pt>
                <c:pt idx="3516">
                  <c:v>42653</c:v>
                </c:pt>
                <c:pt idx="3517">
                  <c:v>42654</c:v>
                </c:pt>
                <c:pt idx="3518">
                  <c:v>42655</c:v>
                </c:pt>
                <c:pt idx="3519">
                  <c:v>42656</c:v>
                </c:pt>
                <c:pt idx="3520">
                  <c:v>42657</c:v>
                </c:pt>
                <c:pt idx="3521">
                  <c:v>42660</c:v>
                </c:pt>
                <c:pt idx="3522">
                  <c:v>42661</c:v>
                </c:pt>
                <c:pt idx="3523">
                  <c:v>42662</c:v>
                </c:pt>
                <c:pt idx="3524">
                  <c:v>42663</c:v>
                </c:pt>
                <c:pt idx="3525">
                  <c:v>42664</c:v>
                </c:pt>
                <c:pt idx="3526">
                  <c:v>42667</c:v>
                </c:pt>
                <c:pt idx="3527">
                  <c:v>42668</c:v>
                </c:pt>
                <c:pt idx="3528">
                  <c:v>42669</c:v>
                </c:pt>
                <c:pt idx="3529">
                  <c:v>42670</c:v>
                </c:pt>
                <c:pt idx="3530">
                  <c:v>42671</c:v>
                </c:pt>
                <c:pt idx="3531">
                  <c:v>42674</c:v>
                </c:pt>
                <c:pt idx="3532">
                  <c:v>42675</c:v>
                </c:pt>
                <c:pt idx="3533">
                  <c:v>42676</c:v>
                </c:pt>
                <c:pt idx="3534">
                  <c:v>42677</c:v>
                </c:pt>
                <c:pt idx="3535">
                  <c:v>42678</c:v>
                </c:pt>
                <c:pt idx="3536">
                  <c:v>42681</c:v>
                </c:pt>
                <c:pt idx="3537">
                  <c:v>42682</c:v>
                </c:pt>
                <c:pt idx="3538">
                  <c:v>42683</c:v>
                </c:pt>
                <c:pt idx="3539">
                  <c:v>42684</c:v>
                </c:pt>
                <c:pt idx="3540">
                  <c:v>42685</c:v>
                </c:pt>
                <c:pt idx="3541">
                  <c:v>42688</c:v>
                </c:pt>
                <c:pt idx="3542">
                  <c:v>42689</c:v>
                </c:pt>
                <c:pt idx="3543">
                  <c:v>42690</c:v>
                </c:pt>
                <c:pt idx="3544">
                  <c:v>42691</c:v>
                </c:pt>
                <c:pt idx="3545">
                  <c:v>42692</c:v>
                </c:pt>
                <c:pt idx="3546">
                  <c:v>42695</c:v>
                </c:pt>
                <c:pt idx="3547">
                  <c:v>42696</c:v>
                </c:pt>
                <c:pt idx="3548">
                  <c:v>42697</c:v>
                </c:pt>
                <c:pt idx="3549">
                  <c:v>42698</c:v>
                </c:pt>
                <c:pt idx="3550">
                  <c:v>42699</c:v>
                </c:pt>
                <c:pt idx="3551">
                  <c:v>42702</c:v>
                </c:pt>
                <c:pt idx="3552">
                  <c:v>42703</c:v>
                </c:pt>
                <c:pt idx="3553">
                  <c:v>42704</c:v>
                </c:pt>
                <c:pt idx="3554">
                  <c:v>42705</c:v>
                </c:pt>
                <c:pt idx="3555">
                  <c:v>42706</c:v>
                </c:pt>
                <c:pt idx="3556">
                  <c:v>42709</c:v>
                </c:pt>
                <c:pt idx="3557">
                  <c:v>42710</c:v>
                </c:pt>
                <c:pt idx="3558">
                  <c:v>42711</c:v>
                </c:pt>
                <c:pt idx="3559">
                  <c:v>42712</c:v>
                </c:pt>
                <c:pt idx="3560">
                  <c:v>42713</c:v>
                </c:pt>
                <c:pt idx="3561">
                  <c:v>42716</c:v>
                </c:pt>
                <c:pt idx="3562">
                  <c:v>42717</c:v>
                </c:pt>
                <c:pt idx="3563">
                  <c:v>42718</c:v>
                </c:pt>
                <c:pt idx="3564">
                  <c:v>42719</c:v>
                </c:pt>
                <c:pt idx="3565">
                  <c:v>42720</c:v>
                </c:pt>
                <c:pt idx="3566">
                  <c:v>42723</c:v>
                </c:pt>
                <c:pt idx="3567">
                  <c:v>42724</c:v>
                </c:pt>
                <c:pt idx="3568">
                  <c:v>42725</c:v>
                </c:pt>
                <c:pt idx="3569">
                  <c:v>42726</c:v>
                </c:pt>
                <c:pt idx="3570">
                  <c:v>42727</c:v>
                </c:pt>
                <c:pt idx="3571">
                  <c:v>42730</c:v>
                </c:pt>
                <c:pt idx="3572">
                  <c:v>42731</c:v>
                </c:pt>
                <c:pt idx="3573">
                  <c:v>42732</c:v>
                </c:pt>
                <c:pt idx="3574">
                  <c:v>42733</c:v>
                </c:pt>
                <c:pt idx="3575">
                  <c:v>42734</c:v>
                </c:pt>
                <c:pt idx="3576">
                  <c:v>42738</c:v>
                </c:pt>
                <c:pt idx="3577">
                  <c:v>42739</c:v>
                </c:pt>
                <c:pt idx="3578">
                  <c:v>42740</c:v>
                </c:pt>
                <c:pt idx="3579">
                  <c:v>42741</c:v>
                </c:pt>
                <c:pt idx="3580">
                  <c:v>42744</c:v>
                </c:pt>
                <c:pt idx="3581">
                  <c:v>42745</c:v>
                </c:pt>
                <c:pt idx="3582">
                  <c:v>42746</c:v>
                </c:pt>
                <c:pt idx="3583">
                  <c:v>42747</c:v>
                </c:pt>
                <c:pt idx="3584">
                  <c:v>42748</c:v>
                </c:pt>
                <c:pt idx="3585">
                  <c:v>42751</c:v>
                </c:pt>
                <c:pt idx="3586">
                  <c:v>42752</c:v>
                </c:pt>
                <c:pt idx="3587">
                  <c:v>42753</c:v>
                </c:pt>
                <c:pt idx="3588">
                  <c:v>42754</c:v>
                </c:pt>
                <c:pt idx="3589">
                  <c:v>42755</c:v>
                </c:pt>
                <c:pt idx="3590">
                  <c:v>42758</c:v>
                </c:pt>
                <c:pt idx="3591">
                  <c:v>42759</c:v>
                </c:pt>
                <c:pt idx="3592">
                  <c:v>42760</c:v>
                </c:pt>
                <c:pt idx="3593">
                  <c:v>42761</c:v>
                </c:pt>
                <c:pt idx="3594">
                  <c:v>42769</c:v>
                </c:pt>
                <c:pt idx="3595">
                  <c:v>42772</c:v>
                </c:pt>
                <c:pt idx="3596">
                  <c:v>42773</c:v>
                </c:pt>
                <c:pt idx="3597">
                  <c:v>42774</c:v>
                </c:pt>
                <c:pt idx="3598">
                  <c:v>42775</c:v>
                </c:pt>
                <c:pt idx="3599">
                  <c:v>42776</c:v>
                </c:pt>
                <c:pt idx="3600">
                  <c:v>42779</c:v>
                </c:pt>
                <c:pt idx="3601">
                  <c:v>42780</c:v>
                </c:pt>
                <c:pt idx="3602">
                  <c:v>42781</c:v>
                </c:pt>
                <c:pt idx="3603">
                  <c:v>42782</c:v>
                </c:pt>
                <c:pt idx="3604">
                  <c:v>42783</c:v>
                </c:pt>
                <c:pt idx="3605">
                  <c:v>42786</c:v>
                </c:pt>
                <c:pt idx="3606">
                  <c:v>42787</c:v>
                </c:pt>
                <c:pt idx="3607">
                  <c:v>42788</c:v>
                </c:pt>
                <c:pt idx="3608">
                  <c:v>42789</c:v>
                </c:pt>
                <c:pt idx="3609">
                  <c:v>42790</c:v>
                </c:pt>
                <c:pt idx="3610">
                  <c:v>42793</c:v>
                </c:pt>
                <c:pt idx="3611">
                  <c:v>42794</c:v>
                </c:pt>
                <c:pt idx="3612">
                  <c:v>42795</c:v>
                </c:pt>
                <c:pt idx="3613">
                  <c:v>42796</c:v>
                </c:pt>
                <c:pt idx="3614">
                  <c:v>42797</c:v>
                </c:pt>
                <c:pt idx="3615">
                  <c:v>42800</c:v>
                </c:pt>
                <c:pt idx="3616">
                  <c:v>42801</c:v>
                </c:pt>
                <c:pt idx="3617">
                  <c:v>42802</c:v>
                </c:pt>
                <c:pt idx="3618">
                  <c:v>42803</c:v>
                </c:pt>
                <c:pt idx="3619">
                  <c:v>42804</c:v>
                </c:pt>
                <c:pt idx="3620">
                  <c:v>42807</c:v>
                </c:pt>
                <c:pt idx="3621">
                  <c:v>42808</c:v>
                </c:pt>
                <c:pt idx="3622">
                  <c:v>42809</c:v>
                </c:pt>
                <c:pt idx="3623">
                  <c:v>42810</c:v>
                </c:pt>
                <c:pt idx="3624">
                  <c:v>42811</c:v>
                </c:pt>
                <c:pt idx="3625">
                  <c:v>42814</c:v>
                </c:pt>
                <c:pt idx="3626">
                  <c:v>42815</c:v>
                </c:pt>
                <c:pt idx="3627">
                  <c:v>42816</c:v>
                </c:pt>
                <c:pt idx="3628">
                  <c:v>42817</c:v>
                </c:pt>
                <c:pt idx="3629">
                  <c:v>42818</c:v>
                </c:pt>
                <c:pt idx="3630">
                  <c:v>42821</c:v>
                </c:pt>
                <c:pt idx="3631">
                  <c:v>42822</c:v>
                </c:pt>
                <c:pt idx="3632">
                  <c:v>42823</c:v>
                </c:pt>
                <c:pt idx="3633">
                  <c:v>42824</c:v>
                </c:pt>
                <c:pt idx="3634">
                  <c:v>42825</c:v>
                </c:pt>
                <c:pt idx="3635">
                  <c:v>42830</c:v>
                </c:pt>
                <c:pt idx="3636">
                  <c:v>42831</c:v>
                </c:pt>
                <c:pt idx="3637">
                  <c:v>42832</c:v>
                </c:pt>
                <c:pt idx="3638">
                  <c:v>42835</c:v>
                </c:pt>
                <c:pt idx="3639">
                  <c:v>42836</c:v>
                </c:pt>
                <c:pt idx="3640">
                  <c:v>42837</c:v>
                </c:pt>
                <c:pt idx="3641">
                  <c:v>42838</c:v>
                </c:pt>
                <c:pt idx="3642">
                  <c:v>42839</c:v>
                </c:pt>
                <c:pt idx="3643">
                  <c:v>42842</c:v>
                </c:pt>
                <c:pt idx="3644">
                  <c:v>42843</c:v>
                </c:pt>
                <c:pt idx="3645">
                  <c:v>42844</c:v>
                </c:pt>
                <c:pt idx="3646">
                  <c:v>42845</c:v>
                </c:pt>
                <c:pt idx="3647">
                  <c:v>42846</c:v>
                </c:pt>
                <c:pt idx="3648">
                  <c:v>42849</c:v>
                </c:pt>
                <c:pt idx="3649">
                  <c:v>42850</c:v>
                </c:pt>
                <c:pt idx="3650">
                  <c:v>42851</c:v>
                </c:pt>
                <c:pt idx="3651">
                  <c:v>42852</c:v>
                </c:pt>
                <c:pt idx="3652">
                  <c:v>42853</c:v>
                </c:pt>
                <c:pt idx="3653">
                  <c:v>42857</c:v>
                </c:pt>
                <c:pt idx="3654">
                  <c:v>42858</c:v>
                </c:pt>
                <c:pt idx="3655">
                  <c:v>42859</c:v>
                </c:pt>
                <c:pt idx="3656">
                  <c:v>42860</c:v>
                </c:pt>
                <c:pt idx="3657">
                  <c:v>42863</c:v>
                </c:pt>
                <c:pt idx="3658">
                  <c:v>42864</c:v>
                </c:pt>
                <c:pt idx="3659">
                  <c:v>42865</c:v>
                </c:pt>
                <c:pt idx="3660">
                  <c:v>42866</c:v>
                </c:pt>
                <c:pt idx="3661">
                  <c:v>42867</c:v>
                </c:pt>
                <c:pt idx="3662">
                  <c:v>42870</c:v>
                </c:pt>
                <c:pt idx="3663">
                  <c:v>42871</c:v>
                </c:pt>
                <c:pt idx="3664">
                  <c:v>42872</c:v>
                </c:pt>
                <c:pt idx="3665">
                  <c:v>42873</c:v>
                </c:pt>
                <c:pt idx="3666">
                  <c:v>42874</c:v>
                </c:pt>
                <c:pt idx="3667">
                  <c:v>42877</c:v>
                </c:pt>
                <c:pt idx="3668">
                  <c:v>42878</c:v>
                </c:pt>
                <c:pt idx="3669">
                  <c:v>42879</c:v>
                </c:pt>
                <c:pt idx="3670">
                  <c:v>42880</c:v>
                </c:pt>
                <c:pt idx="3671">
                  <c:v>42881</c:v>
                </c:pt>
                <c:pt idx="3672">
                  <c:v>42886</c:v>
                </c:pt>
                <c:pt idx="3673">
                  <c:v>42887</c:v>
                </c:pt>
                <c:pt idx="3674">
                  <c:v>42888</c:v>
                </c:pt>
                <c:pt idx="3675">
                  <c:v>42891</c:v>
                </c:pt>
                <c:pt idx="3676">
                  <c:v>42892</c:v>
                </c:pt>
                <c:pt idx="3677">
                  <c:v>42893</c:v>
                </c:pt>
                <c:pt idx="3678">
                  <c:v>42894</c:v>
                </c:pt>
                <c:pt idx="3679">
                  <c:v>42895</c:v>
                </c:pt>
                <c:pt idx="3680">
                  <c:v>42898</c:v>
                </c:pt>
                <c:pt idx="3681">
                  <c:v>42899</c:v>
                </c:pt>
                <c:pt idx="3682">
                  <c:v>42900</c:v>
                </c:pt>
                <c:pt idx="3683">
                  <c:v>42901</c:v>
                </c:pt>
                <c:pt idx="3684">
                  <c:v>42902</c:v>
                </c:pt>
                <c:pt idx="3685">
                  <c:v>42905</c:v>
                </c:pt>
                <c:pt idx="3686">
                  <c:v>42906</c:v>
                </c:pt>
                <c:pt idx="3687">
                  <c:v>42907</c:v>
                </c:pt>
                <c:pt idx="3688">
                  <c:v>42908</c:v>
                </c:pt>
                <c:pt idx="3689">
                  <c:v>42909</c:v>
                </c:pt>
                <c:pt idx="3690">
                  <c:v>42912</c:v>
                </c:pt>
                <c:pt idx="3691">
                  <c:v>42913</c:v>
                </c:pt>
                <c:pt idx="3692">
                  <c:v>42914</c:v>
                </c:pt>
                <c:pt idx="3693">
                  <c:v>42915</c:v>
                </c:pt>
                <c:pt idx="3694">
                  <c:v>42916</c:v>
                </c:pt>
                <c:pt idx="3695">
                  <c:v>42919</c:v>
                </c:pt>
                <c:pt idx="3696">
                  <c:v>42920</c:v>
                </c:pt>
                <c:pt idx="3697">
                  <c:v>42921</c:v>
                </c:pt>
                <c:pt idx="3698">
                  <c:v>42922</c:v>
                </c:pt>
                <c:pt idx="3699">
                  <c:v>42923</c:v>
                </c:pt>
                <c:pt idx="3700">
                  <c:v>42926</c:v>
                </c:pt>
                <c:pt idx="3701">
                  <c:v>42927</c:v>
                </c:pt>
                <c:pt idx="3702">
                  <c:v>42928</c:v>
                </c:pt>
                <c:pt idx="3703">
                  <c:v>42929</c:v>
                </c:pt>
                <c:pt idx="3704">
                  <c:v>42930</c:v>
                </c:pt>
                <c:pt idx="3705">
                  <c:v>42933</c:v>
                </c:pt>
                <c:pt idx="3706">
                  <c:v>42934</c:v>
                </c:pt>
                <c:pt idx="3707">
                  <c:v>42935</c:v>
                </c:pt>
                <c:pt idx="3708">
                  <c:v>42936</c:v>
                </c:pt>
                <c:pt idx="3709">
                  <c:v>42937</c:v>
                </c:pt>
                <c:pt idx="3710">
                  <c:v>42940</c:v>
                </c:pt>
                <c:pt idx="3711">
                  <c:v>42941</c:v>
                </c:pt>
                <c:pt idx="3712">
                  <c:v>42942</c:v>
                </c:pt>
                <c:pt idx="3713">
                  <c:v>42943</c:v>
                </c:pt>
                <c:pt idx="3714">
                  <c:v>42944</c:v>
                </c:pt>
                <c:pt idx="3715">
                  <c:v>42947</c:v>
                </c:pt>
                <c:pt idx="3716">
                  <c:v>42948</c:v>
                </c:pt>
                <c:pt idx="3717">
                  <c:v>42949</c:v>
                </c:pt>
                <c:pt idx="3718">
                  <c:v>42950</c:v>
                </c:pt>
                <c:pt idx="3719">
                  <c:v>42951</c:v>
                </c:pt>
                <c:pt idx="3720">
                  <c:v>42954</c:v>
                </c:pt>
                <c:pt idx="3721">
                  <c:v>42955</c:v>
                </c:pt>
                <c:pt idx="3722">
                  <c:v>42956</c:v>
                </c:pt>
                <c:pt idx="3723">
                  <c:v>42957</c:v>
                </c:pt>
                <c:pt idx="3724">
                  <c:v>42958</c:v>
                </c:pt>
                <c:pt idx="3725">
                  <c:v>42961</c:v>
                </c:pt>
                <c:pt idx="3726">
                  <c:v>42962</c:v>
                </c:pt>
                <c:pt idx="3727">
                  <c:v>42963</c:v>
                </c:pt>
                <c:pt idx="3728">
                  <c:v>42964</c:v>
                </c:pt>
                <c:pt idx="3729">
                  <c:v>42965</c:v>
                </c:pt>
                <c:pt idx="3730">
                  <c:v>42968</c:v>
                </c:pt>
                <c:pt idx="3731">
                  <c:v>42969</c:v>
                </c:pt>
                <c:pt idx="3732">
                  <c:v>42970</c:v>
                </c:pt>
                <c:pt idx="3733">
                  <c:v>42971</c:v>
                </c:pt>
                <c:pt idx="3734">
                  <c:v>42972</c:v>
                </c:pt>
                <c:pt idx="3735">
                  <c:v>42975</c:v>
                </c:pt>
                <c:pt idx="3736">
                  <c:v>42976</c:v>
                </c:pt>
                <c:pt idx="3737">
                  <c:v>42977</c:v>
                </c:pt>
                <c:pt idx="3738">
                  <c:v>42978</c:v>
                </c:pt>
                <c:pt idx="3739">
                  <c:v>42979</c:v>
                </c:pt>
                <c:pt idx="3740">
                  <c:v>42982</c:v>
                </c:pt>
                <c:pt idx="3741">
                  <c:v>42983</c:v>
                </c:pt>
                <c:pt idx="3742">
                  <c:v>42984</c:v>
                </c:pt>
                <c:pt idx="3743">
                  <c:v>42985</c:v>
                </c:pt>
                <c:pt idx="3744">
                  <c:v>42986</c:v>
                </c:pt>
                <c:pt idx="3745">
                  <c:v>42989</c:v>
                </c:pt>
                <c:pt idx="3746">
                  <c:v>42990</c:v>
                </c:pt>
                <c:pt idx="3747">
                  <c:v>42991</c:v>
                </c:pt>
                <c:pt idx="3748">
                  <c:v>42992</c:v>
                </c:pt>
                <c:pt idx="3749">
                  <c:v>42993</c:v>
                </c:pt>
                <c:pt idx="3750">
                  <c:v>42996</c:v>
                </c:pt>
                <c:pt idx="3751">
                  <c:v>42997</c:v>
                </c:pt>
                <c:pt idx="3752">
                  <c:v>42998</c:v>
                </c:pt>
                <c:pt idx="3753">
                  <c:v>42999</c:v>
                </c:pt>
                <c:pt idx="3754">
                  <c:v>43000</c:v>
                </c:pt>
                <c:pt idx="3755">
                  <c:v>43003</c:v>
                </c:pt>
                <c:pt idx="3756">
                  <c:v>43004</c:v>
                </c:pt>
                <c:pt idx="3757">
                  <c:v>43005</c:v>
                </c:pt>
                <c:pt idx="3758">
                  <c:v>43006</c:v>
                </c:pt>
                <c:pt idx="3759">
                  <c:v>43007</c:v>
                </c:pt>
                <c:pt idx="3760">
                  <c:v>43017</c:v>
                </c:pt>
                <c:pt idx="3761">
                  <c:v>43018</c:v>
                </c:pt>
                <c:pt idx="3762">
                  <c:v>43019</c:v>
                </c:pt>
                <c:pt idx="3763">
                  <c:v>43020</c:v>
                </c:pt>
                <c:pt idx="3764">
                  <c:v>43021</c:v>
                </c:pt>
                <c:pt idx="3765">
                  <c:v>43024</c:v>
                </c:pt>
                <c:pt idx="3766">
                  <c:v>43025</c:v>
                </c:pt>
                <c:pt idx="3767">
                  <c:v>43026</c:v>
                </c:pt>
                <c:pt idx="3768">
                  <c:v>43027</c:v>
                </c:pt>
                <c:pt idx="3769">
                  <c:v>43028</c:v>
                </c:pt>
                <c:pt idx="3770">
                  <c:v>43031</c:v>
                </c:pt>
                <c:pt idx="3771">
                  <c:v>43032</c:v>
                </c:pt>
                <c:pt idx="3772">
                  <c:v>43033</c:v>
                </c:pt>
                <c:pt idx="3773">
                  <c:v>43034</c:v>
                </c:pt>
                <c:pt idx="3774">
                  <c:v>43035</c:v>
                </c:pt>
                <c:pt idx="3775">
                  <c:v>43038</c:v>
                </c:pt>
                <c:pt idx="3776">
                  <c:v>43039</c:v>
                </c:pt>
                <c:pt idx="3777">
                  <c:v>43040</c:v>
                </c:pt>
                <c:pt idx="3778">
                  <c:v>43041</c:v>
                </c:pt>
                <c:pt idx="3779">
                  <c:v>43042</c:v>
                </c:pt>
                <c:pt idx="3780">
                  <c:v>43045</c:v>
                </c:pt>
                <c:pt idx="3781">
                  <c:v>43046</c:v>
                </c:pt>
                <c:pt idx="3782">
                  <c:v>43047</c:v>
                </c:pt>
                <c:pt idx="3783">
                  <c:v>43048</c:v>
                </c:pt>
                <c:pt idx="3784">
                  <c:v>43049</c:v>
                </c:pt>
                <c:pt idx="3785">
                  <c:v>43052</c:v>
                </c:pt>
                <c:pt idx="3786">
                  <c:v>43053</c:v>
                </c:pt>
                <c:pt idx="3787">
                  <c:v>43054</c:v>
                </c:pt>
                <c:pt idx="3788">
                  <c:v>43055</c:v>
                </c:pt>
                <c:pt idx="3789">
                  <c:v>43056</c:v>
                </c:pt>
                <c:pt idx="3790">
                  <c:v>43059</c:v>
                </c:pt>
                <c:pt idx="3791">
                  <c:v>43060</c:v>
                </c:pt>
                <c:pt idx="3792">
                  <c:v>43061</c:v>
                </c:pt>
                <c:pt idx="3793">
                  <c:v>43062</c:v>
                </c:pt>
                <c:pt idx="3794">
                  <c:v>43063</c:v>
                </c:pt>
                <c:pt idx="3795">
                  <c:v>43066</c:v>
                </c:pt>
                <c:pt idx="3796">
                  <c:v>43067</c:v>
                </c:pt>
                <c:pt idx="3797">
                  <c:v>43068</c:v>
                </c:pt>
                <c:pt idx="3798">
                  <c:v>43069</c:v>
                </c:pt>
                <c:pt idx="3799">
                  <c:v>43070</c:v>
                </c:pt>
                <c:pt idx="3800">
                  <c:v>43073</c:v>
                </c:pt>
                <c:pt idx="3801">
                  <c:v>43074</c:v>
                </c:pt>
                <c:pt idx="3802">
                  <c:v>43075</c:v>
                </c:pt>
                <c:pt idx="3803">
                  <c:v>43076</c:v>
                </c:pt>
                <c:pt idx="3804">
                  <c:v>43077</c:v>
                </c:pt>
                <c:pt idx="3805">
                  <c:v>43080</c:v>
                </c:pt>
                <c:pt idx="3806">
                  <c:v>43081</c:v>
                </c:pt>
                <c:pt idx="3807">
                  <c:v>43082</c:v>
                </c:pt>
                <c:pt idx="3808">
                  <c:v>43083</c:v>
                </c:pt>
                <c:pt idx="3809">
                  <c:v>43084</c:v>
                </c:pt>
                <c:pt idx="3810">
                  <c:v>43087</c:v>
                </c:pt>
                <c:pt idx="3811">
                  <c:v>43088</c:v>
                </c:pt>
                <c:pt idx="3812">
                  <c:v>43089</c:v>
                </c:pt>
                <c:pt idx="3813">
                  <c:v>43090</c:v>
                </c:pt>
                <c:pt idx="3814">
                  <c:v>43091</c:v>
                </c:pt>
                <c:pt idx="3815">
                  <c:v>43094</c:v>
                </c:pt>
                <c:pt idx="3816">
                  <c:v>43095</c:v>
                </c:pt>
                <c:pt idx="3817">
                  <c:v>43096</c:v>
                </c:pt>
                <c:pt idx="3818">
                  <c:v>43097</c:v>
                </c:pt>
                <c:pt idx="3819">
                  <c:v>43098</c:v>
                </c:pt>
                <c:pt idx="3820">
                  <c:v>43102</c:v>
                </c:pt>
                <c:pt idx="3821">
                  <c:v>43103</c:v>
                </c:pt>
                <c:pt idx="3822">
                  <c:v>43104</c:v>
                </c:pt>
                <c:pt idx="3823">
                  <c:v>43105</c:v>
                </c:pt>
                <c:pt idx="3824">
                  <c:v>43108</c:v>
                </c:pt>
                <c:pt idx="3825">
                  <c:v>43109</c:v>
                </c:pt>
                <c:pt idx="3826">
                  <c:v>43110</c:v>
                </c:pt>
                <c:pt idx="3827">
                  <c:v>43111</c:v>
                </c:pt>
                <c:pt idx="3828">
                  <c:v>43112</c:v>
                </c:pt>
                <c:pt idx="3829">
                  <c:v>43115</c:v>
                </c:pt>
                <c:pt idx="3830">
                  <c:v>43116</c:v>
                </c:pt>
                <c:pt idx="3831">
                  <c:v>43117</c:v>
                </c:pt>
                <c:pt idx="3832">
                  <c:v>43118</c:v>
                </c:pt>
                <c:pt idx="3833">
                  <c:v>43119</c:v>
                </c:pt>
                <c:pt idx="3834">
                  <c:v>43122</c:v>
                </c:pt>
                <c:pt idx="3835">
                  <c:v>43123</c:v>
                </c:pt>
                <c:pt idx="3836">
                  <c:v>43124</c:v>
                </c:pt>
                <c:pt idx="3837">
                  <c:v>43125</c:v>
                </c:pt>
                <c:pt idx="3838">
                  <c:v>43126</c:v>
                </c:pt>
                <c:pt idx="3839">
                  <c:v>43129</c:v>
                </c:pt>
                <c:pt idx="3840">
                  <c:v>43130</c:v>
                </c:pt>
                <c:pt idx="3841">
                  <c:v>43131</c:v>
                </c:pt>
                <c:pt idx="3842">
                  <c:v>43132</c:v>
                </c:pt>
                <c:pt idx="3843">
                  <c:v>43133</c:v>
                </c:pt>
                <c:pt idx="3844">
                  <c:v>43136</c:v>
                </c:pt>
                <c:pt idx="3845">
                  <c:v>43137</c:v>
                </c:pt>
                <c:pt idx="3846">
                  <c:v>43138</c:v>
                </c:pt>
                <c:pt idx="3847">
                  <c:v>43139</c:v>
                </c:pt>
                <c:pt idx="3848">
                  <c:v>43140</c:v>
                </c:pt>
                <c:pt idx="3849">
                  <c:v>43143</c:v>
                </c:pt>
                <c:pt idx="3850">
                  <c:v>43144</c:v>
                </c:pt>
                <c:pt idx="3851">
                  <c:v>43145</c:v>
                </c:pt>
                <c:pt idx="3852">
                  <c:v>43153</c:v>
                </c:pt>
                <c:pt idx="3853">
                  <c:v>43154</c:v>
                </c:pt>
                <c:pt idx="3854">
                  <c:v>43157</c:v>
                </c:pt>
                <c:pt idx="3855">
                  <c:v>43158</c:v>
                </c:pt>
                <c:pt idx="3856">
                  <c:v>43159</c:v>
                </c:pt>
                <c:pt idx="3857">
                  <c:v>43160</c:v>
                </c:pt>
                <c:pt idx="3858">
                  <c:v>43161</c:v>
                </c:pt>
                <c:pt idx="3859">
                  <c:v>43164</c:v>
                </c:pt>
                <c:pt idx="3860">
                  <c:v>43165</c:v>
                </c:pt>
                <c:pt idx="3861">
                  <c:v>43166</c:v>
                </c:pt>
                <c:pt idx="3862">
                  <c:v>43167</c:v>
                </c:pt>
                <c:pt idx="3863">
                  <c:v>43168</c:v>
                </c:pt>
                <c:pt idx="3864">
                  <c:v>43171</c:v>
                </c:pt>
                <c:pt idx="3865">
                  <c:v>43172</c:v>
                </c:pt>
                <c:pt idx="3866">
                  <c:v>43173</c:v>
                </c:pt>
                <c:pt idx="3867">
                  <c:v>43174</c:v>
                </c:pt>
                <c:pt idx="3868">
                  <c:v>43175</c:v>
                </c:pt>
                <c:pt idx="3869">
                  <c:v>43178</c:v>
                </c:pt>
                <c:pt idx="3870">
                  <c:v>43179</c:v>
                </c:pt>
                <c:pt idx="3871">
                  <c:v>43180</c:v>
                </c:pt>
                <c:pt idx="3872">
                  <c:v>43181</c:v>
                </c:pt>
                <c:pt idx="3873">
                  <c:v>43182</c:v>
                </c:pt>
                <c:pt idx="3874">
                  <c:v>43185</c:v>
                </c:pt>
                <c:pt idx="3875">
                  <c:v>43186</c:v>
                </c:pt>
                <c:pt idx="3876">
                  <c:v>43187</c:v>
                </c:pt>
                <c:pt idx="3877">
                  <c:v>43188</c:v>
                </c:pt>
                <c:pt idx="3878">
                  <c:v>43189</c:v>
                </c:pt>
                <c:pt idx="3879">
                  <c:v>43192</c:v>
                </c:pt>
                <c:pt idx="3880">
                  <c:v>43193</c:v>
                </c:pt>
                <c:pt idx="3881">
                  <c:v>43194</c:v>
                </c:pt>
                <c:pt idx="3882">
                  <c:v>43199</c:v>
                </c:pt>
                <c:pt idx="3883">
                  <c:v>43200</c:v>
                </c:pt>
                <c:pt idx="3884">
                  <c:v>43201</c:v>
                </c:pt>
                <c:pt idx="3885">
                  <c:v>43202</c:v>
                </c:pt>
                <c:pt idx="3886">
                  <c:v>43203</c:v>
                </c:pt>
                <c:pt idx="3887">
                  <c:v>43206</c:v>
                </c:pt>
                <c:pt idx="3888">
                  <c:v>43207</c:v>
                </c:pt>
                <c:pt idx="3889">
                  <c:v>43208</c:v>
                </c:pt>
                <c:pt idx="3890">
                  <c:v>43209</c:v>
                </c:pt>
                <c:pt idx="3891">
                  <c:v>43210</c:v>
                </c:pt>
                <c:pt idx="3892">
                  <c:v>43213</c:v>
                </c:pt>
                <c:pt idx="3893">
                  <c:v>43214</c:v>
                </c:pt>
                <c:pt idx="3894">
                  <c:v>43215</c:v>
                </c:pt>
                <c:pt idx="3895">
                  <c:v>43216</c:v>
                </c:pt>
                <c:pt idx="3896">
                  <c:v>43217</c:v>
                </c:pt>
                <c:pt idx="3897">
                  <c:v>43222</c:v>
                </c:pt>
                <c:pt idx="3898">
                  <c:v>43223</c:v>
                </c:pt>
                <c:pt idx="3899">
                  <c:v>43224</c:v>
                </c:pt>
                <c:pt idx="3900">
                  <c:v>43227</c:v>
                </c:pt>
                <c:pt idx="3901">
                  <c:v>43228</c:v>
                </c:pt>
                <c:pt idx="3902">
                  <c:v>43229</c:v>
                </c:pt>
                <c:pt idx="3903">
                  <c:v>43230</c:v>
                </c:pt>
                <c:pt idx="3904">
                  <c:v>43231</c:v>
                </c:pt>
                <c:pt idx="3905">
                  <c:v>43234</c:v>
                </c:pt>
                <c:pt idx="3906">
                  <c:v>43235</c:v>
                </c:pt>
                <c:pt idx="3907">
                  <c:v>43236</c:v>
                </c:pt>
                <c:pt idx="3908">
                  <c:v>43237</c:v>
                </c:pt>
                <c:pt idx="3909">
                  <c:v>43238</c:v>
                </c:pt>
                <c:pt idx="3910">
                  <c:v>43241</c:v>
                </c:pt>
                <c:pt idx="3911">
                  <c:v>43242</c:v>
                </c:pt>
                <c:pt idx="3912">
                  <c:v>43243</c:v>
                </c:pt>
                <c:pt idx="3913">
                  <c:v>43244</c:v>
                </c:pt>
                <c:pt idx="3914">
                  <c:v>43245</c:v>
                </c:pt>
                <c:pt idx="3915">
                  <c:v>43248</c:v>
                </c:pt>
                <c:pt idx="3916">
                  <c:v>43249</c:v>
                </c:pt>
                <c:pt idx="3917">
                  <c:v>43250</c:v>
                </c:pt>
                <c:pt idx="3918">
                  <c:v>43251</c:v>
                </c:pt>
                <c:pt idx="3919">
                  <c:v>43252</c:v>
                </c:pt>
                <c:pt idx="3920">
                  <c:v>43255</c:v>
                </c:pt>
                <c:pt idx="3921">
                  <c:v>43256</c:v>
                </c:pt>
                <c:pt idx="3922">
                  <c:v>43257</c:v>
                </c:pt>
                <c:pt idx="3923">
                  <c:v>43258</c:v>
                </c:pt>
                <c:pt idx="3924">
                  <c:v>43259</c:v>
                </c:pt>
                <c:pt idx="3925">
                  <c:v>43262</c:v>
                </c:pt>
                <c:pt idx="3926">
                  <c:v>43263</c:v>
                </c:pt>
                <c:pt idx="3927">
                  <c:v>43264</c:v>
                </c:pt>
                <c:pt idx="3928">
                  <c:v>43265</c:v>
                </c:pt>
                <c:pt idx="3929">
                  <c:v>43266</c:v>
                </c:pt>
                <c:pt idx="3930">
                  <c:v>43270</c:v>
                </c:pt>
                <c:pt idx="3931">
                  <c:v>43271</c:v>
                </c:pt>
                <c:pt idx="3932">
                  <c:v>43272</c:v>
                </c:pt>
                <c:pt idx="3933">
                  <c:v>43273</c:v>
                </c:pt>
                <c:pt idx="3934">
                  <c:v>43276</c:v>
                </c:pt>
                <c:pt idx="3935">
                  <c:v>43277</c:v>
                </c:pt>
                <c:pt idx="3936">
                  <c:v>43278</c:v>
                </c:pt>
                <c:pt idx="3937">
                  <c:v>43279</c:v>
                </c:pt>
                <c:pt idx="3938">
                  <c:v>43280</c:v>
                </c:pt>
                <c:pt idx="3939">
                  <c:v>43283</c:v>
                </c:pt>
                <c:pt idx="3940">
                  <c:v>43284</c:v>
                </c:pt>
                <c:pt idx="3941">
                  <c:v>43285</c:v>
                </c:pt>
                <c:pt idx="3942">
                  <c:v>43286</c:v>
                </c:pt>
                <c:pt idx="3943">
                  <c:v>43287</c:v>
                </c:pt>
                <c:pt idx="3944">
                  <c:v>43290</c:v>
                </c:pt>
                <c:pt idx="3945">
                  <c:v>43291</c:v>
                </c:pt>
                <c:pt idx="3946">
                  <c:v>43292</c:v>
                </c:pt>
                <c:pt idx="3947">
                  <c:v>43293</c:v>
                </c:pt>
                <c:pt idx="3948">
                  <c:v>43294</c:v>
                </c:pt>
                <c:pt idx="3949">
                  <c:v>43297</c:v>
                </c:pt>
                <c:pt idx="3950">
                  <c:v>43298</c:v>
                </c:pt>
                <c:pt idx="3951">
                  <c:v>43299</c:v>
                </c:pt>
                <c:pt idx="3952">
                  <c:v>43300</c:v>
                </c:pt>
                <c:pt idx="3953">
                  <c:v>43301</c:v>
                </c:pt>
                <c:pt idx="3954">
                  <c:v>43304</c:v>
                </c:pt>
                <c:pt idx="3955">
                  <c:v>43305</c:v>
                </c:pt>
                <c:pt idx="3956">
                  <c:v>43306</c:v>
                </c:pt>
                <c:pt idx="3957">
                  <c:v>43307</c:v>
                </c:pt>
                <c:pt idx="3958">
                  <c:v>43308</c:v>
                </c:pt>
                <c:pt idx="3959">
                  <c:v>43311</c:v>
                </c:pt>
                <c:pt idx="3960">
                  <c:v>43312</c:v>
                </c:pt>
                <c:pt idx="3961">
                  <c:v>43313</c:v>
                </c:pt>
                <c:pt idx="3962">
                  <c:v>43314</c:v>
                </c:pt>
                <c:pt idx="3963">
                  <c:v>43315</c:v>
                </c:pt>
                <c:pt idx="3964">
                  <c:v>43318</c:v>
                </c:pt>
                <c:pt idx="3965">
                  <c:v>43319</c:v>
                </c:pt>
                <c:pt idx="3966">
                  <c:v>43320</c:v>
                </c:pt>
                <c:pt idx="3967">
                  <c:v>43321</c:v>
                </c:pt>
                <c:pt idx="3968">
                  <c:v>43322</c:v>
                </c:pt>
                <c:pt idx="3969">
                  <c:v>43325</c:v>
                </c:pt>
                <c:pt idx="3970">
                  <c:v>43326</c:v>
                </c:pt>
                <c:pt idx="3971">
                  <c:v>43327</c:v>
                </c:pt>
                <c:pt idx="3972">
                  <c:v>43328</c:v>
                </c:pt>
                <c:pt idx="3973">
                  <c:v>43329</c:v>
                </c:pt>
                <c:pt idx="3974">
                  <c:v>43332</c:v>
                </c:pt>
                <c:pt idx="3975">
                  <c:v>43333</c:v>
                </c:pt>
                <c:pt idx="3976">
                  <c:v>43334</c:v>
                </c:pt>
                <c:pt idx="3977">
                  <c:v>43335</c:v>
                </c:pt>
                <c:pt idx="3978">
                  <c:v>43336</c:v>
                </c:pt>
                <c:pt idx="3979">
                  <c:v>43339</c:v>
                </c:pt>
                <c:pt idx="3980">
                  <c:v>43340</c:v>
                </c:pt>
                <c:pt idx="3981">
                  <c:v>43341</c:v>
                </c:pt>
                <c:pt idx="3982">
                  <c:v>43342</c:v>
                </c:pt>
                <c:pt idx="3983">
                  <c:v>43343</c:v>
                </c:pt>
                <c:pt idx="3984">
                  <c:v>43346</c:v>
                </c:pt>
                <c:pt idx="3985">
                  <c:v>43347</c:v>
                </c:pt>
                <c:pt idx="3986">
                  <c:v>43348</c:v>
                </c:pt>
                <c:pt idx="3987">
                  <c:v>43349</c:v>
                </c:pt>
                <c:pt idx="3988">
                  <c:v>43350</c:v>
                </c:pt>
                <c:pt idx="3989">
                  <c:v>43353</c:v>
                </c:pt>
                <c:pt idx="3990">
                  <c:v>43354</c:v>
                </c:pt>
                <c:pt idx="3991">
                  <c:v>43355</c:v>
                </c:pt>
                <c:pt idx="3992">
                  <c:v>43356</c:v>
                </c:pt>
                <c:pt idx="3993">
                  <c:v>43357</c:v>
                </c:pt>
                <c:pt idx="3994">
                  <c:v>43360</c:v>
                </c:pt>
                <c:pt idx="3995">
                  <c:v>43361</c:v>
                </c:pt>
                <c:pt idx="3996">
                  <c:v>43362</c:v>
                </c:pt>
                <c:pt idx="3997">
                  <c:v>43363</c:v>
                </c:pt>
                <c:pt idx="3998">
                  <c:v>43364</c:v>
                </c:pt>
                <c:pt idx="3999">
                  <c:v>43368</c:v>
                </c:pt>
                <c:pt idx="4000">
                  <c:v>43369</c:v>
                </c:pt>
                <c:pt idx="4001">
                  <c:v>43370</c:v>
                </c:pt>
                <c:pt idx="4002">
                  <c:v>43371</c:v>
                </c:pt>
                <c:pt idx="4003">
                  <c:v>43381</c:v>
                </c:pt>
                <c:pt idx="4004">
                  <c:v>43382</c:v>
                </c:pt>
                <c:pt idx="4005">
                  <c:v>43383</c:v>
                </c:pt>
                <c:pt idx="4006">
                  <c:v>43384</c:v>
                </c:pt>
                <c:pt idx="4007">
                  <c:v>43385</c:v>
                </c:pt>
                <c:pt idx="4008">
                  <c:v>43388</c:v>
                </c:pt>
                <c:pt idx="4009">
                  <c:v>43389</c:v>
                </c:pt>
                <c:pt idx="4010">
                  <c:v>43390</c:v>
                </c:pt>
                <c:pt idx="4011">
                  <c:v>43391</c:v>
                </c:pt>
                <c:pt idx="4012">
                  <c:v>43392</c:v>
                </c:pt>
                <c:pt idx="4013">
                  <c:v>43395</c:v>
                </c:pt>
                <c:pt idx="4014">
                  <c:v>43396</c:v>
                </c:pt>
                <c:pt idx="4015">
                  <c:v>43397</c:v>
                </c:pt>
                <c:pt idx="4016">
                  <c:v>43398</c:v>
                </c:pt>
                <c:pt idx="4017">
                  <c:v>43399</c:v>
                </c:pt>
                <c:pt idx="4018">
                  <c:v>43402</c:v>
                </c:pt>
                <c:pt idx="4019">
                  <c:v>43403</c:v>
                </c:pt>
                <c:pt idx="4020">
                  <c:v>43404</c:v>
                </c:pt>
                <c:pt idx="4021">
                  <c:v>43405</c:v>
                </c:pt>
                <c:pt idx="4022">
                  <c:v>43406</c:v>
                </c:pt>
                <c:pt idx="4023">
                  <c:v>43409</c:v>
                </c:pt>
                <c:pt idx="4024">
                  <c:v>43410</c:v>
                </c:pt>
                <c:pt idx="4025">
                  <c:v>43411</c:v>
                </c:pt>
                <c:pt idx="4026">
                  <c:v>43412</c:v>
                </c:pt>
                <c:pt idx="4027">
                  <c:v>43413</c:v>
                </c:pt>
                <c:pt idx="4028">
                  <c:v>43416</c:v>
                </c:pt>
                <c:pt idx="4029">
                  <c:v>43417</c:v>
                </c:pt>
                <c:pt idx="4030">
                  <c:v>43418</c:v>
                </c:pt>
                <c:pt idx="4031">
                  <c:v>43419</c:v>
                </c:pt>
                <c:pt idx="4032">
                  <c:v>43420</c:v>
                </c:pt>
                <c:pt idx="4033">
                  <c:v>43423</c:v>
                </c:pt>
                <c:pt idx="4034">
                  <c:v>43424</c:v>
                </c:pt>
                <c:pt idx="4035">
                  <c:v>43425</c:v>
                </c:pt>
                <c:pt idx="4036">
                  <c:v>43426</c:v>
                </c:pt>
                <c:pt idx="4037">
                  <c:v>43427</c:v>
                </c:pt>
                <c:pt idx="4038">
                  <c:v>43430</c:v>
                </c:pt>
                <c:pt idx="4039">
                  <c:v>43431</c:v>
                </c:pt>
                <c:pt idx="4040">
                  <c:v>43432</c:v>
                </c:pt>
                <c:pt idx="4041">
                  <c:v>43433</c:v>
                </c:pt>
                <c:pt idx="4042">
                  <c:v>43434</c:v>
                </c:pt>
                <c:pt idx="4043">
                  <c:v>43437</c:v>
                </c:pt>
                <c:pt idx="4044">
                  <c:v>43438</c:v>
                </c:pt>
                <c:pt idx="4045">
                  <c:v>43439</c:v>
                </c:pt>
                <c:pt idx="4046">
                  <c:v>43440</c:v>
                </c:pt>
                <c:pt idx="4047">
                  <c:v>43441</c:v>
                </c:pt>
                <c:pt idx="4048">
                  <c:v>43444</c:v>
                </c:pt>
                <c:pt idx="4049">
                  <c:v>43445</c:v>
                </c:pt>
                <c:pt idx="4050">
                  <c:v>43446</c:v>
                </c:pt>
                <c:pt idx="4051">
                  <c:v>43447</c:v>
                </c:pt>
                <c:pt idx="4052">
                  <c:v>43448</c:v>
                </c:pt>
                <c:pt idx="4053">
                  <c:v>43451</c:v>
                </c:pt>
                <c:pt idx="4054">
                  <c:v>43452</c:v>
                </c:pt>
                <c:pt idx="4055">
                  <c:v>43453</c:v>
                </c:pt>
                <c:pt idx="4056">
                  <c:v>43454</c:v>
                </c:pt>
                <c:pt idx="4057">
                  <c:v>43455</c:v>
                </c:pt>
                <c:pt idx="4058">
                  <c:v>43458</c:v>
                </c:pt>
                <c:pt idx="4059">
                  <c:v>43459</c:v>
                </c:pt>
                <c:pt idx="4060">
                  <c:v>43460</c:v>
                </c:pt>
                <c:pt idx="4061">
                  <c:v>43461</c:v>
                </c:pt>
                <c:pt idx="4062">
                  <c:v>43462</c:v>
                </c:pt>
                <c:pt idx="4063">
                  <c:v>43467</c:v>
                </c:pt>
                <c:pt idx="4064">
                  <c:v>43468</c:v>
                </c:pt>
                <c:pt idx="4065">
                  <c:v>43469</c:v>
                </c:pt>
                <c:pt idx="4066">
                  <c:v>43472</c:v>
                </c:pt>
                <c:pt idx="4067">
                  <c:v>43473</c:v>
                </c:pt>
                <c:pt idx="4068">
                  <c:v>43474</c:v>
                </c:pt>
                <c:pt idx="4069">
                  <c:v>43475</c:v>
                </c:pt>
                <c:pt idx="4070">
                  <c:v>43476</c:v>
                </c:pt>
                <c:pt idx="4071">
                  <c:v>43479</c:v>
                </c:pt>
                <c:pt idx="4072">
                  <c:v>43480</c:v>
                </c:pt>
                <c:pt idx="4073">
                  <c:v>43481</c:v>
                </c:pt>
                <c:pt idx="4074">
                  <c:v>43482</c:v>
                </c:pt>
                <c:pt idx="4075">
                  <c:v>43483</c:v>
                </c:pt>
                <c:pt idx="4076">
                  <c:v>43486</c:v>
                </c:pt>
                <c:pt idx="4077">
                  <c:v>43487</c:v>
                </c:pt>
                <c:pt idx="4078">
                  <c:v>43488</c:v>
                </c:pt>
                <c:pt idx="4079">
                  <c:v>43489</c:v>
                </c:pt>
                <c:pt idx="4080">
                  <c:v>43490</c:v>
                </c:pt>
                <c:pt idx="4081">
                  <c:v>43493</c:v>
                </c:pt>
                <c:pt idx="4082">
                  <c:v>43494</c:v>
                </c:pt>
                <c:pt idx="4083">
                  <c:v>43495</c:v>
                </c:pt>
                <c:pt idx="4084">
                  <c:v>43496</c:v>
                </c:pt>
                <c:pt idx="4085">
                  <c:v>43497</c:v>
                </c:pt>
                <c:pt idx="4086">
                  <c:v>43507</c:v>
                </c:pt>
                <c:pt idx="4087">
                  <c:v>43508</c:v>
                </c:pt>
                <c:pt idx="4088">
                  <c:v>43509</c:v>
                </c:pt>
                <c:pt idx="4089">
                  <c:v>43510</c:v>
                </c:pt>
                <c:pt idx="4090">
                  <c:v>43511</c:v>
                </c:pt>
                <c:pt idx="4091">
                  <c:v>43514</c:v>
                </c:pt>
                <c:pt idx="4092">
                  <c:v>43515</c:v>
                </c:pt>
                <c:pt idx="4093">
                  <c:v>43516</c:v>
                </c:pt>
                <c:pt idx="4094">
                  <c:v>43517</c:v>
                </c:pt>
                <c:pt idx="4095">
                  <c:v>43518</c:v>
                </c:pt>
                <c:pt idx="4096">
                  <c:v>43521</c:v>
                </c:pt>
                <c:pt idx="4097">
                  <c:v>43522</c:v>
                </c:pt>
                <c:pt idx="4098">
                  <c:v>43523</c:v>
                </c:pt>
                <c:pt idx="4099">
                  <c:v>43524</c:v>
                </c:pt>
                <c:pt idx="4100">
                  <c:v>43525</c:v>
                </c:pt>
                <c:pt idx="4101">
                  <c:v>43528</c:v>
                </c:pt>
                <c:pt idx="4102">
                  <c:v>43529</c:v>
                </c:pt>
                <c:pt idx="4103">
                  <c:v>43530</c:v>
                </c:pt>
                <c:pt idx="4104">
                  <c:v>43531</c:v>
                </c:pt>
                <c:pt idx="4105">
                  <c:v>43532</c:v>
                </c:pt>
                <c:pt idx="4106">
                  <c:v>43535</c:v>
                </c:pt>
                <c:pt idx="4107">
                  <c:v>43536</c:v>
                </c:pt>
                <c:pt idx="4108">
                  <c:v>43537</c:v>
                </c:pt>
                <c:pt idx="4109">
                  <c:v>43538</c:v>
                </c:pt>
                <c:pt idx="4110">
                  <c:v>43539</c:v>
                </c:pt>
                <c:pt idx="4111">
                  <c:v>43542</c:v>
                </c:pt>
                <c:pt idx="4112">
                  <c:v>43543</c:v>
                </c:pt>
                <c:pt idx="4113">
                  <c:v>43544</c:v>
                </c:pt>
                <c:pt idx="4114">
                  <c:v>43545</c:v>
                </c:pt>
                <c:pt idx="4115">
                  <c:v>43546</c:v>
                </c:pt>
                <c:pt idx="4116">
                  <c:v>43549</c:v>
                </c:pt>
                <c:pt idx="4117">
                  <c:v>43550</c:v>
                </c:pt>
                <c:pt idx="4118">
                  <c:v>43551</c:v>
                </c:pt>
                <c:pt idx="4119">
                  <c:v>43552</c:v>
                </c:pt>
                <c:pt idx="4120">
                  <c:v>43553</c:v>
                </c:pt>
                <c:pt idx="4121">
                  <c:v>43556</c:v>
                </c:pt>
                <c:pt idx="4122">
                  <c:v>43557</c:v>
                </c:pt>
                <c:pt idx="4123">
                  <c:v>43558</c:v>
                </c:pt>
                <c:pt idx="4124">
                  <c:v>43559</c:v>
                </c:pt>
                <c:pt idx="4125">
                  <c:v>43563</c:v>
                </c:pt>
                <c:pt idx="4126">
                  <c:v>43564</c:v>
                </c:pt>
                <c:pt idx="4127">
                  <c:v>43565</c:v>
                </c:pt>
                <c:pt idx="4128">
                  <c:v>43566</c:v>
                </c:pt>
                <c:pt idx="4129">
                  <c:v>43567</c:v>
                </c:pt>
                <c:pt idx="4130">
                  <c:v>43570</c:v>
                </c:pt>
                <c:pt idx="4131">
                  <c:v>43571</c:v>
                </c:pt>
                <c:pt idx="4132">
                  <c:v>43572</c:v>
                </c:pt>
                <c:pt idx="4133">
                  <c:v>43573</c:v>
                </c:pt>
                <c:pt idx="4134">
                  <c:v>43574</c:v>
                </c:pt>
                <c:pt idx="4135">
                  <c:v>43577</c:v>
                </c:pt>
                <c:pt idx="4136">
                  <c:v>43578</c:v>
                </c:pt>
                <c:pt idx="4137">
                  <c:v>43579</c:v>
                </c:pt>
                <c:pt idx="4138">
                  <c:v>43580</c:v>
                </c:pt>
                <c:pt idx="4139">
                  <c:v>43581</c:v>
                </c:pt>
                <c:pt idx="4140">
                  <c:v>43584</c:v>
                </c:pt>
                <c:pt idx="4141">
                  <c:v>43585</c:v>
                </c:pt>
                <c:pt idx="4142">
                  <c:v>43591</c:v>
                </c:pt>
                <c:pt idx="4143">
                  <c:v>43592</c:v>
                </c:pt>
                <c:pt idx="4144">
                  <c:v>43593</c:v>
                </c:pt>
                <c:pt idx="4145">
                  <c:v>43594</c:v>
                </c:pt>
                <c:pt idx="4146">
                  <c:v>43595</c:v>
                </c:pt>
                <c:pt idx="4147">
                  <c:v>43598</c:v>
                </c:pt>
                <c:pt idx="4148">
                  <c:v>43599</c:v>
                </c:pt>
                <c:pt idx="4149">
                  <c:v>43600</c:v>
                </c:pt>
                <c:pt idx="4150">
                  <c:v>43601</c:v>
                </c:pt>
                <c:pt idx="4151">
                  <c:v>43602</c:v>
                </c:pt>
                <c:pt idx="4152">
                  <c:v>43605</c:v>
                </c:pt>
                <c:pt idx="4153">
                  <c:v>43606</c:v>
                </c:pt>
                <c:pt idx="4154">
                  <c:v>43607</c:v>
                </c:pt>
                <c:pt idx="4155">
                  <c:v>43608</c:v>
                </c:pt>
                <c:pt idx="4156">
                  <c:v>43609</c:v>
                </c:pt>
                <c:pt idx="4157">
                  <c:v>43612</c:v>
                </c:pt>
                <c:pt idx="4158">
                  <c:v>43613</c:v>
                </c:pt>
                <c:pt idx="4159">
                  <c:v>43614</c:v>
                </c:pt>
                <c:pt idx="4160">
                  <c:v>43615</c:v>
                </c:pt>
                <c:pt idx="4161">
                  <c:v>43616</c:v>
                </c:pt>
                <c:pt idx="4162">
                  <c:v>43619</c:v>
                </c:pt>
                <c:pt idx="4163">
                  <c:v>43620</c:v>
                </c:pt>
                <c:pt idx="4164">
                  <c:v>43621</c:v>
                </c:pt>
                <c:pt idx="4165">
                  <c:v>43622</c:v>
                </c:pt>
                <c:pt idx="4166">
                  <c:v>43626</c:v>
                </c:pt>
                <c:pt idx="4167">
                  <c:v>43627</c:v>
                </c:pt>
                <c:pt idx="4168">
                  <c:v>43628</c:v>
                </c:pt>
                <c:pt idx="4169">
                  <c:v>43629</c:v>
                </c:pt>
                <c:pt idx="4170">
                  <c:v>43630</c:v>
                </c:pt>
                <c:pt idx="4171">
                  <c:v>43633</c:v>
                </c:pt>
                <c:pt idx="4172">
                  <c:v>43634</c:v>
                </c:pt>
                <c:pt idx="4173">
                  <c:v>43635</c:v>
                </c:pt>
                <c:pt idx="4174">
                  <c:v>43636</c:v>
                </c:pt>
                <c:pt idx="4175">
                  <c:v>43637</c:v>
                </c:pt>
                <c:pt idx="4176">
                  <c:v>43640</c:v>
                </c:pt>
                <c:pt idx="4177">
                  <c:v>43641</c:v>
                </c:pt>
                <c:pt idx="4178">
                  <c:v>43642</c:v>
                </c:pt>
                <c:pt idx="4179">
                  <c:v>43643</c:v>
                </c:pt>
                <c:pt idx="4180">
                  <c:v>43644</c:v>
                </c:pt>
                <c:pt idx="4181">
                  <c:v>43647</c:v>
                </c:pt>
                <c:pt idx="4182">
                  <c:v>43648</c:v>
                </c:pt>
                <c:pt idx="4183">
                  <c:v>43649</c:v>
                </c:pt>
                <c:pt idx="4184">
                  <c:v>43650</c:v>
                </c:pt>
                <c:pt idx="4185">
                  <c:v>43651</c:v>
                </c:pt>
                <c:pt idx="4186">
                  <c:v>43654</c:v>
                </c:pt>
                <c:pt idx="4187">
                  <c:v>43655</c:v>
                </c:pt>
                <c:pt idx="4188">
                  <c:v>43656</c:v>
                </c:pt>
                <c:pt idx="4189">
                  <c:v>43657</c:v>
                </c:pt>
                <c:pt idx="4190">
                  <c:v>43658</c:v>
                </c:pt>
                <c:pt idx="4191">
                  <c:v>43661</c:v>
                </c:pt>
                <c:pt idx="4192">
                  <c:v>43662</c:v>
                </c:pt>
                <c:pt idx="4193">
                  <c:v>43663</c:v>
                </c:pt>
                <c:pt idx="4194">
                  <c:v>43664</c:v>
                </c:pt>
                <c:pt idx="4195">
                  <c:v>43665</c:v>
                </c:pt>
                <c:pt idx="4196">
                  <c:v>43668</c:v>
                </c:pt>
                <c:pt idx="4197">
                  <c:v>43669</c:v>
                </c:pt>
                <c:pt idx="4198">
                  <c:v>43670</c:v>
                </c:pt>
                <c:pt idx="4199">
                  <c:v>43671</c:v>
                </c:pt>
                <c:pt idx="4200">
                  <c:v>43672</c:v>
                </c:pt>
                <c:pt idx="4201">
                  <c:v>43675</c:v>
                </c:pt>
                <c:pt idx="4202">
                  <c:v>43676</c:v>
                </c:pt>
                <c:pt idx="4203">
                  <c:v>43677</c:v>
                </c:pt>
                <c:pt idx="4204">
                  <c:v>43678</c:v>
                </c:pt>
                <c:pt idx="4205">
                  <c:v>43679</c:v>
                </c:pt>
                <c:pt idx="4206">
                  <c:v>43682</c:v>
                </c:pt>
                <c:pt idx="4207">
                  <c:v>43683</c:v>
                </c:pt>
                <c:pt idx="4208">
                  <c:v>43684</c:v>
                </c:pt>
                <c:pt idx="4209">
                  <c:v>43685</c:v>
                </c:pt>
                <c:pt idx="4210">
                  <c:v>43686</c:v>
                </c:pt>
                <c:pt idx="4211">
                  <c:v>43689</c:v>
                </c:pt>
                <c:pt idx="4212">
                  <c:v>43690</c:v>
                </c:pt>
                <c:pt idx="4213">
                  <c:v>43691</c:v>
                </c:pt>
                <c:pt idx="4214">
                  <c:v>43692</c:v>
                </c:pt>
                <c:pt idx="4215">
                  <c:v>43693</c:v>
                </c:pt>
                <c:pt idx="4216">
                  <c:v>43696</c:v>
                </c:pt>
                <c:pt idx="4217">
                  <c:v>43697</c:v>
                </c:pt>
                <c:pt idx="4218">
                  <c:v>43698</c:v>
                </c:pt>
                <c:pt idx="4219">
                  <c:v>43699</c:v>
                </c:pt>
                <c:pt idx="4220">
                  <c:v>43700</c:v>
                </c:pt>
                <c:pt idx="4221">
                  <c:v>43703</c:v>
                </c:pt>
                <c:pt idx="4222">
                  <c:v>43704</c:v>
                </c:pt>
                <c:pt idx="4223">
                  <c:v>43705</c:v>
                </c:pt>
                <c:pt idx="4224">
                  <c:v>43706</c:v>
                </c:pt>
                <c:pt idx="4225">
                  <c:v>43707</c:v>
                </c:pt>
                <c:pt idx="4226">
                  <c:v>43710</c:v>
                </c:pt>
                <c:pt idx="4227">
                  <c:v>43711</c:v>
                </c:pt>
                <c:pt idx="4228">
                  <c:v>43712</c:v>
                </c:pt>
                <c:pt idx="4229">
                  <c:v>43713</c:v>
                </c:pt>
                <c:pt idx="4230">
                  <c:v>43714</c:v>
                </c:pt>
                <c:pt idx="4231">
                  <c:v>43717</c:v>
                </c:pt>
                <c:pt idx="4232">
                  <c:v>43718</c:v>
                </c:pt>
                <c:pt idx="4233">
                  <c:v>43719</c:v>
                </c:pt>
                <c:pt idx="4234">
                  <c:v>43720</c:v>
                </c:pt>
                <c:pt idx="4235">
                  <c:v>43724</c:v>
                </c:pt>
                <c:pt idx="4236">
                  <c:v>43725</c:v>
                </c:pt>
                <c:pt idx="4237">
                  <c:v>43726</c:v>
                </c:pt>
                <c:pt idx="4238">
                  <c:v>43727</c:v>
                </c:pt>
                <c:pt idx="4239">
                  <c:v>43728</c:v>
                </c:pt>
                <c:pt idx="4240">
                  <c:v>43731</c:v>
                </c:pt>
                <c:pt idx="4241">
                  <c:v>43732</c:v>
                </c:pt>
                <c:pt idx="4242">
                  <c:v>43733</c:v>
                </c:pt>
                <c:pt idx="4243">
                  <c:v>43734</c:v>
                </c:pt>
                <c:pt idx="4244">
                  <c:v>43735</c:v>
                </c:pt>
                <c:pt idx="4245">
                  <c:v>43738</c:v>
                </c:pt>
                <c:pt idx="4246">
                  <c:v>43746</c:v>
                </c:pt>
                <c:pt idx="4247">
                  <c:v>43747</c:v>
                </c:pt>
                <c:pt idx="4248">
                  <c:v>43748</c:v>
                </c:pt>
                <c:pt idx="4249">
                  <c:v>43749</c:v>
                </c:pt>
                <c:pt idx="4250">
                  <c:v>43752</c:v>
                </c:pt>
                <c:pt idx="4251">
                  <c:v>43753</c:v>
                </c:pt>
                <c:pt idx="4252">
                  <c:v>43754</c:v>
                </c:pt>
                <c:pt idx="4253">
                  <c:v>43755</c:v>
                </c:pt>
                <c:pt idx="4254">
                  <c:v>43756</c:v>
                </c:pt>
                <c:pt idx="4255">
                  <c:v>43759</c:v>
                </c:pt>
                <c:pt idx="4256">
                  <c:v>43760</c:v>
                </c:pt>
                <c:pt idx="4257">
                  <c:v>43761</c:v>
                </c:pt>
                <c:pt idx="4258">
                  <c:v>43762</c:v>
                </c:pt>
                <c:pt idx="4259">
                  <c:v>43763</c:v>
                </c:pt>
                <c:pt idx="4260">
                  <c:v>43766</c:v>
                </c:pt>
                <c:pt idx="4261">
                  <c:v>43767</c:v>
                </c:pt>
                <c:pt idx="4262">
                  <c:v>43768</c:v>
                </c:pt>
                <c:pt idx="4263">
                  <c:v>43769</c:v>
                </c:pt>
                <c:pt idx="4264">
                  <c:v>43770</c:v>
                </c:pt>
                <c:pt idx="4265">
                  <c:v>43773</c:v>
                </c:pt>
                <c:pt idx="4266">
                  <c:v>43774</c:v>
                </c:pt>
                <c:pt idx="4267">
                  <c:v>43775</c:v>
                </c:pt>
                <c:pt idx="4268">
                  <c:v>43776</c:v>
                </c:pt>
                <c:pt idx="4269">
                  <c:v>43777</c:v>
                </c:pt>
                <c:pt idx="4270">
                  <c:v>43780</c:v>
                </c:pt>
                <c:pt idx="4271">
                  <c:v>43781</c:v>
                </c:pt>
                <c:pt idx="4272">
                  <c:v>43782</c:v>
                </c:pt>
                <c:pt idx="4273">
                  <c:v>43783</c:v>
                </c:pt>
                <c:pt idx="4274">
                  <c:v>43784</c:v>
                </c:pt>
                <c:pt idx="4275">
                  <c:v>43787</c:v>
                </c:pt>
                <c:pt idx="4276">
                  <c:v>43788</c:v>
                </c:pt>
                <c:pt idx="4277">
                  <c:v>43789</c:v>
                </c:pt>
                <c:pt idx="4278">
                  <c:v>43790</c:v>
                </c:pt>
                <c:pt idx="4279">
                  <c:v>43791</c:v>
                </c:pt>
                <c:pt idx="4280">
                  <c:v>43794</c:v>
                </c:pt>
                <c:pt idx="4281">
                  <c:v>43795</c:v>
                </c:pt>
                <c:pt idx="4282">
                  <c:v>43796</c:v>
                </c:pt>
                <c:pt idx="4283">
                  <c:v>43797</c:v>
                </c:pt>
                <c:pt idx="4284">
                  <c:v>43798</c:v>
                </c:pt>
                <c:pt idx="4285">
                  <c:v>43801</c:v>
                </c:pt>
                <c:pt idx="4286">
                  <c:v>43802</c:v>
                </c:pt>
                <c:pt idx="4287">
                  <c:v>43803</c:v>
                </c:pt>
                <c:pt idx="4288">
                  <c:v>43804</c:v>
                </c:pt>
                <c:pt idx="4289">
                  <c:v>43805</c:v>
                </c:pt>
                <c:pt idx="4290">
                  <c:v>43808</c:v>
                </c:pt>
                <c:pt idx="4291">
                  <c:v>43809</c:v>
                </c:pt>
                <c:pt idx="4292">
                  <c:v>43810</c:v>
                </c:pt>
                <c:pt idx="4293">
                  <c:v>43811</c:v>
                </c:pt>
                <c:pt idx="4294">
                  <c:v>43812</c:v>
                </c:pt>
                <c:pt idx="4295">
                  <c:v>43815</c:v>
                </c:pt>
                <c:pt idx="4296">
                  <c:v>43816</c:v>
                </c:pt>
                <c:pt idx="4297">
                  <c:v>43817</c:v>
                </c:pt>
                <c:pt idx="4298">
                  <c:v>43818</c:v>
                </c:pt>
                <c:pt idx="4299">
                  <c:v>43819</c:v>
                </c:pt>
                <c:pt idx="4300">
                  <c:v>43822</c:v>
                </c:pt>
                <c:pt idx="4301">
                  <c:v>43823</c:v>
                </c:pt>
                <c:pt idx="4302">
                  <c:v>43824</c:v>
                </c:pt>
                <c:pt idx="4303">
                  <c:v>43825</c:v>
                </c:pt>
                <c:pt idx="4304">
                  <c:v>43826</c:v>
                </c:pt>
                <c:pt idx="4305">
                  <c:v>43829</c:v>
                </c:pt>
                <c:pt idx="4306">
                  <c:v>43830</c:v>
                </c:pt>
                <c:pt idx="4307">
                  <c:v>43832</c:v>
                </c:pt>
                <c:pt idx="4308">
                  <c:v>43833</c:v>
                </c:pt>
                <c:pt idx="4309">
                  <c:v>43836</c:v>
                </c:pt>
                <c:pt idx="4310">
                  <c:v>43837</c:v>
                </c:pt>
                <c:pt idx="4311">
                  <c:v>43838</c:v>
                </c:pt>
                <c:pt idx="4312">
                  <c:v>43839</c:v>
                </c:pt>
                <c:pt idx="4313">
                  <c:v>43840</c:v>
                </c:pt>
                <c:pt idx="4314">
                  <c:v>43843</c:v>
                </c:pt>
                <c:pt idx="4315">
                  <c:v>43844</c:v>
                </c:pt>
                <c:pt idx="4316">
                  <c:v>43845</c:v>
                </c:pt>
                <c:pt idx="4317">
                  <c:v>43846</c:v>
                </c:pt>
                <c:pt idx="4318">
                  <c:v>43847</c:v>
                </c:pt>
                <c:pt idx="4319">
                  <c:v>43850</c:v>
                </c:pt>
                <c:pt idx="4320">
                  <c:v>43851</c:v>
                </c:pt>
                <c:pt idx="4321">
                  <c:v>43852</c:v>
                </c:pt>
                <c:pt idx="4322">
                  <c:v>43853</c:v>
                </c:pt>
                <c:pt idx="4323">
                  <c:v>43864</c:v>
                </c:pt>
                <c:pt idx="4324">
                  <c:v>43865</c:v>
                </c:pt>
                <c:pt idx="4325">
                  <c:v>43866</c:v>
                </c:pt>
                <c:pt idx="4326">
                  <c:v>43867</c:v>
                </c:pt>
                <c:pt idx="4327">
                  <c:v>43868</c:v>
                </c:pt>
                <c:pt idx="4328">
                  <c:v>43871</c:v>
                </c:pt>
                <c:pt idx="4329">
                  <c:v>43872</c:v>
                </c:pt>
                <c:pt idx="4330">
                  <c:v>43873</c:v>
                </c:pt>
                <c:pt idx="4331">
                  <c:v>43874</c:v>
                </c:pt>
                <c:pt idx="4332">
                  <c:v>43875</c:v>
                </c:pt>
                <c:pt idx="4333">
                  <c:v>43878</c:v>
                </c:pt>
                <c:pt idx="4334">
                  <c:v>43879</c:v>
                </c:pt>
                <c:pt idx="4335">
                  <c:v>43880</c:v>
                </c:pt>
                <c:pt idx="4336">
                  <c:v>43881</c:v>
                </c:pt>
                <c:pt idx="4337">
                  <c:v>43882</c:v>
                </c:pt>
                <c:pt idx="4338">
                  <c:v>43885</c:v>
                </c:pt>
                <c:pt idx="4339">
                  <c:v>43886</c:v>
                </c:pt>
                <c:pt idx="4340">
                  <c:v>43887</c:v>
                </c:pt>
                <c:pt idx="4341">
                  <c:v>43888</c:v>
                </c:pt>
                <c:pt idx="4342">
                  <c:v>43889</c:v>
                </c:pt>
                <c:pt idx="4343">
                  <c:v>43892</c:v>
                </c:pt>
                <c:pt idx="4344">
                  <c:v>43893</c:v>
                </c:pt>
                <c:pt idx="4345">
                  <c:v>43894</c:v>
                </c:pt>
                <c:pt idx="4346">
                  <c:v>43895</c:v>
                </c:pt>
                <c:pt idx="4347">
                  <c:v>43896</c:v>
                </c:pt>
                <c:pt idx="4348">
                  <c:v>43899</c:v>
                </c:pt>
                <c:pt idx="4349">
                  <c:v>43900</c:v>
                </c:pt>
                <c:pt idx="4350">
                  <c:v>43901</c:v>
                </c:pt>
                <c:pt idx="4351">
                  <c:v>43902</c:v>
                </c:pt>
                <c:pt idx="4352">
                  <c:v>43903</c:v>
                </c:pt>
                <c:pt idx="4353">
                  <c:v>43906</c:v>
                </c:pt>
                <c:pt idx="4354">
                  <c:v>43907</c:v>
                </c:pt>
                <c:pt idx="4355">
                  <c:v>43908</c:v>
                </c:pt>
                <c:pt idx="4356">
                  <c:v>43909</c:v>
                </c:pt>
                <c:pt idx="4357">
                  <c:v>43910</c:v>
                </c:pt>
                <c:pt idx="4358">
                  <c:v>43913</c:v>
                </c:pt>
                <c:pt idx="4359">
                  <c:v>43914</c:v>
                </c:pt>
                <c:pt idx="4360">
                  <c:v>43915</c:v>
                </c:pt>
                <c:pt idx="4361">
                  <c:v>43916</c:v>
                </c:pt>
                <c:pt idx="4362">
                  <c:v>43917</c:v>
                </c:pt>
                <c:pt idx="4363">
                  <c:v>43920</c:v>
                </c:pt>
                <c:pt idx="4364">
                  <c:v>43921</c:v>
                </c:pt>
                <c:pt idx="4365">
                  <c:v>43922</c:v>
                </c:pt>
                <c:pt idx="4366">
                  <c:v>43923</c:v>
                </c:pt>
                <c:pt idx="4367">
                  <c:v>43924</c:v>
                </c:pt>
                <c:pt idx="4368">
                  <c:v>43928</c:v>
                </c:pt>
                <c:pt idx="4369">
                  <c:v>43929</c:v>
                </c:pt>
                <c:pt idx="4370">
                  <c:v>43930</c:v>
                </c:pt>
                <c:pt idx="4371">
                  <c:v>43931</c:v>
                </c:pt>
                <c:pt idx="4372">
                  <c:v>43934</c:v>
                </c:pt>
                <c:pt idx="4373">
                  <c:v>43935</c:v>
                </c:pt>
                <c:pt idx="4374">
                  <c:v>43936</c:v>
                </c:pt>
                <c:pt idx="4375">
                  <c:v>43937</c:v>
                </c:pt>
                <c:pt idx="4376">
                  <c:v>43938</c:v>
                </c:pt>
                <c:pt idx="4377">
                  <c:v>43941</c:v>
                </c:pt>
                <c:pt idx="4378">
                  <c:v>43942</c:v>
                </c:pt>
                <c:pt idx="4379">
                  <c:v>43943</c:v>
                </c:pt>
                <c:pt idx="4380">
                  <c:v>43944</c:v>
                </c:pt>
                <c:pt idx="4381">
                  <c:v>43945</c:v>
                </c:pt>
                <c:pt idx="4382">
                  <c:v>43948</c:v>
                </c:pt>
                <c:pt idx="4383">
                  <c:v>43949</c:v>
                </c:pt>
                <c:pt idx="4384">
                  <c:v>43950</c:v>
                </c:pt>
                <c:pt idx="4385">
                  <c:v>43951</c:v>
                </c:pt>
                <c:pt idx="4386">
                  <c:v>43957</c:v>
                </c:pt>
                <c:pt idx="4387">
                  <c:v>43958</c:v>
                </c:pt>
                <c:pt idx="4388">
                  <c:v>43959</c:v>
                </c:pt>
                <c:pt idx="4389">
                  <c:v>43962</c:v>
                </c:pt>
                <c:pt idx="4390">
                  <c:v>43963</c:v>
                </c:pt>
                <c:pt idx="4391">
                  <c:v>43964</c:v>
                </c:pt>
                <c:pt idx="4392">
                  <c:v>43965</c:v>
                </c:pt>
                <c:pt idx="4393">
                  <c:v>43966</c:v>
                </c:pt>
                <c:pt idx="4394">
                  <c:v>43969</c:v>
                </c:pt>
                <c:pt idx="4395">
                  <c:v>43970</c:v>
                </c:pt>
                <c:pt idx="4396">
                  <c:v>43971</c:v>
                </c:pt>
                <c:pt idx="4397">
                  <c:v>43972</c:v>
                </c:pt>
                <c:pt idx="4398">
                  <c:v>43973</c:v>
                </c:pt>
                <c:pt idx="4399">
                  <c:v>43976</c:v>
                </c:pt>
                <c:pt idx="4400">
                  <c:v>43977</c:v>
                </c:pt>
                <c:pt idx="4401">
                  <c:v>43978</c:v>
                </c:pt>
                <c:pt idx="4402">
                  <c:v>43979</c:v>
                </c:pt>
                <c:pt idx="4403">
                  <c:v>43980</c:v>
                </c:pt>
                <c:pt idx="4404">
                  <c:v>43983</c:v>
                </c:pt>
                <c:pt idx="4405">
                  <c:v>43984</c:v>
                </c:pt>
                <c:pt idx="4406">
                  <c:v>43985</c:v>
                </c:pt>
                <c:pt idx="4407">
                  <c:v>43986</c:v>
                </c:pt>
                <c:pt idx="4408">
                  <c:v>43987</c:v>
                </c:pt>
                <c:pt idx="4409">
                  <c:v>43990</c:v>
                </c:pt>
                <c:pt idx="4410">
                  <c:v>43991</c:v>
                </c:pt>
                <c:pt idx="4411">
                  <c:v>43992</c:v>
                </c:pt>
                <c:pt idx="4412">
                  <c:v>43993</c:v>
                </c:pt>
                <c:pt idx="4413">
                  <c:v>43994</c:v>
                </c:pt>
                <c:pt idx="4414">
                  <c:v>43997</c:v>
                </c:pt>
                <c:pt idx="4415">
                  <c:v>43998</c:v>
                </c:pt>
                <c:pt idx="4416">
                  <c:v>43999</c:v>
                </c:pt>
                <c:pt idx="4417">
                  <c:v>44000</c:v>
                </c:pt>
                <c:pt idx="4418">
                  <c:v>44001</c:v>
                </c:pt>
                <c:pt idx="4419">
                  <c:v>44004</c:v>
                </c:pt>
                <c:pt idx="4420">
                  <c:v>44005</c:v>
                </c:pt>
                <c:pt idx="4421">
                  <c:v>44006</c:v>
                </c:pt>
                <c:pt idx="4422">
                  <c:v>44011</c:v>
                </c:pt>
                <c:pt idx="4423">
                  <c:v>44012</c:v>
                </c:pt>
                <c:pt idx="4424">
                  <c:v>44013</c:v>
                </c:pt>
                <c:pt idx="4425">
                  <c:v>44014</c:v>
                </c:pt>
                <c:pt idx="4426">
                  <c:v>44015</c:v>
                </c:pt>
                <c:pt idx="4427">
                  <c:v>44018</c:v>
                </c:pt>
                <c:pt idx="4428">
                  <c:v>44019</c:v>
                </c:pt>
                <c:pt idx="4429">
                  <c:v>44020</c:v>
                </c:pt>
                <c:pt idx="4430">
                  <c:v>44021</c:v>
                </c:pt>
                <c:pt idx="4431">
                  <c:v>44022</c:v>
                </c:pt>
                <c:pt idx="4432">
                  <c:v>44025</c:v>
                </c:pt>
                <c:pt idx="4433">
                  <c:v>44026</c:v>
                </c:pt>
                <c:pt idx="4434">
                  <c:v>44027</c:v>
                </c:pt>
                <c:pt idx="4435">
                  <c:v>44028</c:v>
                </c:pt>
                <c:pt idx="4436">
                  <c:v>44029</c:v>
                </c:pt>
                <c:pt idx="4437">
                  <c:v>44032</c:v>
                </c:pt>
                <c:pt idx="4438">
                  <c:v>44033</c:v>
                </c:pt>
                <c:pt idx="4439">
                  <c:v>44034</c:v>
                </c:pt>
                <c:pt idx="4440">
                  <c:v>44035</c:v>
                </c:pt>
                <c:pt idx="4441">
                  <c:v>44036</c:v>
                </c:pt>
                <c:pt idx="4442">
                  <c:v>44039</c:v>
                </c:pt>
                <c:pt idx="4443">
                  <c:v>44040</c:v>
                </c:pt>
                <c:pt idx="4444">
                  <c:v>44041</c:v>
                </c:pt>
                <c:pt idx="4445">
                  <c:v>44042</c:v>
                </c:pt>
                <c:pt idx="4446">
                  <c:v>44043</c:v>
                </c:pt>
                <c:pt idx="4447">
                  <c:v>44046</c:v>
                </c:pt>
                <c:pt idx="4448">
                  <c:v>44047</c:v>
                </c:pt>
                <c:pt idx="4449">
                  <c:v>44048</c:v>
                </c:pt>
                <c:pt idx="4450">
                  <c:v>44049</c:v>
                </c:pt>
                <c:pt idx="4451">
                  <c:v>44050</c:v>
                </c:pt>
                <c:pt idx="4452">
                  <c:v>44053</c:v>
                </c:pt>
                <c:pt idx="4453">
                  <c:v>44054</c:v>
                </c:pt>
                <c:pt idx="4454">
                  <c:v>44055</c:v>
                </c:pt>
                <c:pt idx="4455">
                  <c:v>44056</c:v>
                </c:pt>
                <c:pt idx="4456">
                  <c:v>44057</c:v>
                </c:pt>
                <c:pt idx="4457">
                  <c:v>44060</c:v>
                </c:pt>
                <c:pt idx="4458">
                  <c:v>44061</c:v>
                </c:pt>
                <c:pt idx="4459">
                  <c:v>44062</c:v>
                </c:pt>
                <c:pt idx="4460">
                  <c:v>44063</c:v>
                </c:pt>
                <c:pt idx="4461">
                  <c:v>44064</c:v>
                </c:pt>
                <c:pt idx="4462">
                  <c:v>44067</c:v>
                </c:pt>
                <c:pt idx="4463">
                  <c:v>44068</c:v>
                </c:pt>
                <c:pt idx="4464">
                  <c:v>44069</c:v>
                </c:pt>
                <c:pt idx="4465">
                  <c:v>44070</c:v>
                </c:pt>
                <c:pt idx="4466">
                  <c:v>44071</c:v>
                </c:pt>
                <c:pt idx="4467">
                  <c:v>44074</c:v>
                </c:pt>
                <c:pt idx="4468">
                  <c:v>44075</c:v>
                </c:pt>
                <c:pt idx="4469">
                  <c:v>44076</c:v>
                </c:pt>
                <c:pt idx="4470">
                  <c:v>44077</c:v>
                </c:pt>
                <c:pt idx="4471">
                  <c:v>44078</c:v>
                </c:pt>
                <c:pt idx="4472">
                  <c:v>44081</c:v>
                </c:pt>
                <c:pt idx="4473">
                  <c:v>44082</c:v>
                </c:pt>
                <c:pt idx="4474">
                  <c:v>44083</c:v>
                </c:pt>
                <c:pt idx="4475">
                  <c:v>44084</c:v>
                </c:pt>
                <c:pt idx="4476">
                  <c:v>44085</c:v>
                </c:pt>
                <c:pt idx="4477">
                  <c:v>44088</c:v>
                </c:pt>
                <c:pt idx="4478">
                  <c:v>44089</c:v>
                </c:pt>
                <c:pt idx="4479">
                  <c:v>44090</c:v>
                </c:pt>
                <c:pt idx="4480">
                  <c:v>44091</c:v>
                </c:pt>
                <c:pt idx="4481">
                  <c:v>44092</c:v>
                </c:pt>
                <c:pt idx="4482">
                  <c:v>44095</c:v>
                </c:pt>
                <c:pt idx="4483">
                  <c:v>44096</c:v>
                </c:pt>
                <c:pt idx="4484">
                  <c:v>44097</c:v>
                </c:pt>
                <c:pt idx="4485">
                  <c:v>44098</c:v>
                </c:pt>
                <c:pt idx="4486">
                  <c:v>44099</c:v>
                </c:pt>
                <c:pt idx="4487">
                  <c:v>44102</c:v>
                </c:pt>
                <c:pt idx="4488">
                  <c:v>44103</c:v>
                </c:pt>
                <c:pt idx="4489">
                  <c:v>44104</c:v>
                </c:pt>
                <c:pt idx="4490">
                  <c:v>44113</c:v>
                </c:pt>
                <c:pt idx="4491">
                  <c:v>44116</c:v>
                </c:pt>
                <c:pt idx="4492">
                  <c:v>44117</c:v>
                </c:pt>
                <c:pt idx="4493">
                  <c:v>44118</c:v>
                </c:pt>
                <c:pt idx="4494">
                  <c:v>44119</c:v>
                </c:pt>
                <c:pt idx="4495">
                  <c:v>44120</c:v>
                </c:pt>
                <c:pt idx="4496">
                  <c:v>44123</c:v>
                </c:pt>
                <c:pt idx="4497">
                  <c:v>44124</c:v>
                </c:pt>
                <c:pt idx="4498">
                  <c:v>44125</c:v>
                </c:pt>
                <c:pt idx="4499">
                  <c:v>44126</c:v>
                </c:pt>
                <c:pt idx="4500">
                  <c:v>44127</c:v>
                </c:pt>
                <c:pt idx="4501">
                  <c:v>44130</c:v>
                </c:pt>
                <c:pt idx="4502">
                  <c:v>44131</c:v>
                </c:pt>
                <c:pt idx="4503">
                  <c:v>44132</c:v>
                </c:pt>
                <c:pt idx="4504">
                  <c:v>44133</c:v>
                </c:pt>
                <c:pt idx="4505">
                  <c:v>44134</c:v>
                </c:pt>
                <c:pt idx="4506">
                  <c:v>44137</c:v>
                </c:pt>
                <c:pt idx="4507">
                  <c:v>44138</c:v>
                </c:pt>
                <c:pt idx="4508">
                  <c:v>44139</c:v>
                </c:pt>
                <c:pt idx="4509">
                  <c:v>44140</c:v>
                </c:pt>
                <c:pt idx="4510">
                  <c:v>44141</c:v>
                </c:pt>
                <c:pt idx="4511">
                  <c:v>44144</c:v>
                </c:pt>
                <c:pt idx="4512">
                  <c:v>44145</c:v>
                </c:pt>
                <c:pt idx="4513">
                  <c:v>44146</c:v>
                </c:pt>
                <c:pt idx="4514">
                  <c:v>44147</c:v>
                </c:pt>
                <c:pt idx="4515">
                  <c:v>44148</c:v>
                </c:pt>
                <c:pt idx="4516">
                  <c:v>44151</c:v>
                </c:pt>
                <c:pt idx="4517">
                  <c:v>44152</c:v>
                </c:pt>
                <c:pt idx="4518">
                  <c:v>44153</c:v>
                </c:pt>
                <c:pt idx="4519">
                  <c:v>44154</c:v>
                </c:pt>
                <c:pt idx="4520">
                  <c:v>44155</c:v>
                </c:pt>
                <c:pt idx="4521">
                  <c:v>44158</c:v>
                </c:pt>
                <c:pt idx="4522">
                  <c:v>44159</c:v>
                </c:pt>
                <c:pt idx="4523">
                  <c:v>44160</c:v>
                </c:pt>
                <c:pt idx="4524">
                  <c:v>44161</c:v>
                </c:pt>
                <c:pt idx="4525">
                  <c:v>44162</c:v>
                </c:pt>
                <c:pt idx="4526">
                  <c:v>44165</c:v>
                </c:pt>
                <c:pt idx="4527">
                  <c:v>44166</c:v>
                </c:pt>
                <c:pt idx="4528">
                  <c:v>44167</c:v>
                </c:pt>
                <c:pt idx="4529">
                  <c:v>44168</c:v>
                </c:pt>
                <c:pt idx="4530">
                  <c:v>44169</c:v>
                </c:pt>
                <c:pt idx="4531">
                  <c:v>44172</c:v>
                </c:pt>
                <c:pt idx="4532">
                  <c:v>44173</c:v>
                </c:pt>
                <c:pt idx="4533">
                  <c:v>44174</c:v>
                </c:pt>
                <c:pt idx="4534">
                  <c:v>44175</c:v>
                </c:pt>
                <c:pt idx="4535">
                  <c:v>44176</c:v>
                </c:pt>
                <c:pt idx="4536">
                  <c:v>44179</c:v>
                </c:pt>
                <c:pt idx="4537">
                  <c:v>44180</c:v>
                </c:pt>
                <c:pt idx="4538">
                  <c:v>44181</c:v>
                </c:pt>
                <c:pt idx="4539">
                  <c:v>44182</c:v>
                </c:pt>
                <c:pt idx="4540">
                  <c:v>44183</c:v>
                </c:pt>
                <c:pt idx="4541">
                  <c:v>44186</c:v>
                </c:pt>
                <c:pt idx="4542">
                  <c:v>44187</c:v>
                </c:pt>
                <c:pt idx="4543">
                  <c:v>44188</c:v>
                </c:pt>
                <c:pt idx="4544">
                  <c:v>44189</c:v>
                </c:pt>
                <c:pt idx="4545">
                  <c:v>44190</c:v>
                </c:pt>
                <c:pt idx="4546">
                  <c:v>44193</c:v>
                </c:pt>
                <c:pt idx="4547">
                  <c:v>44194</c:v>
                </c:pt>
                <c:pt idx="4548">
                  <c:v>44195</c:v>
                </c:pt>
                <c:pt idx="4549">
                  <c:v>44196</c:v>
                </c:pt>
                <c:pt idx="4550">
                  <c:v>44200</c:v>
                </c:pt>
                <c:pt idx="4551">
                  <c:v>44201</c:v>
                </c:pt>
                <c:pt idx="4552">
                  <c:v>44202</c:v>
                </c:pt>
                <c:pt idx="4553">
                  <c:v>44203</c:v>
                </c:pt>
                <c:pt idx="4554">
                  <c:v>44204</c:v>
                </c:pt>
                <c:pt idx="4555">
                  <c:v>44207</c:v>
                </c:pt>
                <c:pt idx="4556">
                  <c:v>44208</c:v>
                </c:pt>
                <c:pt idx="4557">
                  <c:v>44209</c:v>
                </c:pt>
                <c:pt idx="4558">
                  <c:v>44210</c:v>
                </c:pt>
                <c:pt idx="4559">
                  <c:v>44211</c:v>
                </c:pt>
                <c:pt idx="4560">
                  <c:v>44214</c:v>
                </c:pt>
                <c:pt idx="4561">
                  <c:v>44215</c:v>
                </c:pt>
                <c:pt idx="4562">
                  <c:v>44216</c:v>
                </c:pt>
                <c:pt idx="4563">
                  <c:v>44217</c:v>
                </c:pt>
                <c:pt idx="4564">
                  <c:v>44218</c:v>
                </c:pt>
                <c:pt idx="4565">
                  <c:v>44221</c:v>
                </c:pt>
                <c:pt idx="4566">
                  <c:v>44222</c:v>
                </c:pt>
                <c:pt idx="4567">
                  <c:v>44223</c:v>
                </c:pt>
                <c:pt idx="4568">
                  <c:v>44224</c:v>
                </c:pt>
                <c:pt idx="4569">
                  <c:v>44225</c:v>
                </c:pt>
                <c:pt idx="4570">
                  <c:v>44228</c:v>
                </c:pt>
                <c:pt idx="4571">
                  <c:v>44229</c:v>
                </c:pt>
                <c:pt idx="4572">
                  <c:v>44230</c:v>
                </c:pt>
                <c:pt idx="4573">
                  <c:v>44231</c:v>
                </c:pt>
                <c:pt idx="4574">
                  <c:v>44232</c:v>
                </c:pt>
                <c:pt idx="4575">
                  <c:v>44235</c:v>
                </c:pt>
                <c:pt idx="4576">
                  <c:v>44236</c:v>
                </c:pt>
                <c:pt idx="4577">
                  <c:v>44237</c:v>
                </c:pt>
                <c:pt idx="4578">
                  <c:v>44245</c:v>
                </c:pt>
                <c:pt idx="4579">
                  <c:v>44246</c:v>
                </c:pt>
                <c:pt idx="4580">
                  <c:v>44249</c:v>
                </c:pt>
                <c:pt idx="4581">
                  <c:v>44250</c:v>
                </c:pt>
                <c:pt idx="4582">
                  <c:v>44251</c:v>
                </c:pt>
                <c:pt idx="4583">
                  <c:v>44252</c:v>
                </c:pt>
                <c:pt idx="4584">
                  <c:v>44253</c:v>
                </c:pt>
                <c:pt idx="4585">
                  <c:v>44256</c:v>
                </c:pt>
                <c:pt idx="4586">
                  <c:v>44257</c:v>
                </c:pt>
                <c:pt idx="4587">
                  <c:v>44258</c:v>
                </c:pt>
                <c:pt idx="4588">
                  <c:v>44259</c:v>
                </c:pt>
                <c:pt idx="4589">
                  <c:v>44260</c:v>
                </c:pt>
                <c:pt idx="4590">
                  <c:v>44263</c:v>
                </c:pt>
                <c:pt idx="4591">
                  <c:v>44264</c:v>
                </c:pt>
                <c:pt idx="4592">
                  <c:v>44265</c:v>
                </c:pt>
                <c:pt idx="4593">
                  <c:v>44266</c:v>
                </c:pt>
                <c:pt idx="4594">
                  <c:v>44267</c:v>
                </c:pt>
                <c:pt idx="4595">
                  <c:v>44270</c:v>
                </c:pt>
                <c:pt idx="4596">
                  <c:v>44271</c:v>
                </c:pt>
                <c:pt idx="4597">
                  <c:v>44272</c:v>
                </c:pt>
                <c:pt idx="4598">
                  <c:v>44273</c:v>
                </c:pt>
                <c:pt idx="4599">
                  <c:v>44274</c:v>
                </c:pt>
                <c:pt idx="4600">
                  <c:v>44277</c:v>
                </c:pt>
                <c:pt idx="4601">
                  <c:v>44278</c:v>
                </c:pt>
                <c:pt idx="4602">
                  <c:v>44279</c:v>
                </c:pt>
                <c:pt idx="4603">
                  <c:v>44280</c:v>
                </c:pt>
                <c:pt idx="4604">
                  <c:v>44281</c:v>
                </c:pt>
                <c:pt idx="4605">
                  <c:v>44284</c:v>
                </c:pt>
                <c:pt idx="4606">
                  <c:v>44285</c:v>
                </c:pt>
                <c:pt idx="4607">
                  <c:v>44286</c:v>
                </c:pt>
                <c:pt idx="4608">
                  <c:v>44287</c:v>
                </c:pt>
                <c:pt idx="4609">
                  <c:v>44288</c:v>
                </c:pt>
                <c:pt idx="4610">
                  <c:v>44292</c:v>
                </c:pt>
                <c:pt idx="4611">
                  <c:v>44293</c:v>
                </c:pt>
                <c:pt idx="4612">
                  <c:v>44294</c:v>
                </c:pt>
                <c:pt idx="4613">
                  <c:v>44295</c:v>
                </c:pt>
                <c:pt idx="4614">
                  <c:v>44298</c:v>
                </c:pt>
                <c:pt idx="4615">
                  <c:v>44299</c:v>
                </c:pt>
                <c:pt idx="4616">
                  <c:v>44300</c:v>
                </c:pt>
                <c:pt idx="4617">
                  <c:v>44301</c:v>
                </c:pt>
                <c:pt idx="4618">
                  <c:v>44302</c:v>
                </c:pt>
                <c:pt idx="4619">
                  <c:v>44305</c:v>
                </c:pt>
                <c:pt idx="4620">
                  <c:v>44306</c:v>
                </c:pt>
                <c:pt idx="4621">
                  <c:v>44307</c:v>
                </c:pt>
                <c:pt idx="4622">
                  <c:v>44308</c:v>
                </c:pt>
                <c:pt idx="4623">
                  <c:v>44309</c:v>
                </c:pt>
                <c:pt idx="4624">
                  <c:v>44312</c:v>
                </c:pt>
                <c:pt idx="4625">
                  <c:v>44313</c:v>
                </c:pt>
                <c:pt idx="4626">
                  <c:v>44314</c:v>
                </c:pt>
                <c:pt idx="4627">
                  <c:v>44315</c:v>
                </c:pt>
                <c:pt idx="4628">
                  <c:v>44316</c:v>
                </c:pt>
                <c:pt idx="4629">
                  <c:v>44322</c:v>
                </c:pt>
                <c:pt idx="4630">
                  <c:v>44323</c:v>
                </c:pt>
                <c:pt idx="4631">
                  <c:v>44326</c:v>
                </c:pt>
                <c:pt idx="4632">
                  <c:v>44327</c:v>
                </c:pt>
                <c:pt idx="4633">
                  <c:v>44328</c:v>
                </c:pt>
                <c:pt idx="4634">
                  <c:v>44329</c:v>
                </c:pt>
                <c:pt idx="4635">
                  <c:v>44330</c:v>
                </c:pt>
                <c:pt idx="4636">
                  <c:v>44333</c:v>
                </c:pt>
                <c:pt idx="4637">
                  <c:v>44334</c:v>
                </c:pt>
                <c:pt idx="4638">
                  <c:v>44335</c:v>
                </c:pt>
                <c:pt idx="4639">
                  <c:v>44336</c:v>
                </c:pt>
                <c:pt idx="4640">
                  <c:v>44337</c:v>
                </c:pt>
                <c:pt idx="4641">
                  <c:v>44340</c:v>
                </c:pt>
                <c:pt idx="4642">
                  <c:v>44341</c:v>
                </c:pt>
                <c:pt idx="4643">
                  <c:v>44342</c:v>
                </c:pt>
                <c:pt idx="4644">
                  <c:v>44343</c:v>
                </c:pt>
                <c:pt idx="4645">
                  <c:v>44344</c:v>
                </c:pt>
                <c:pt idx="4646">
                  <c:v>44347</c:v>
                </c:pt>
                <c:pt idx="4647">
                  <c:v>44348</c:v>
                </c:pt>
                <c:pt idx="4648">
                  <c:v>44349</c:v>
                </c:pt>
                <c:pt idx="4649">
                  <c:v>44350</c:v>
                </c:pt>
                <c:pt idx="4650">
                  <c:v>44351</c:v>
                </c:pt>
                <c:pt idx="4651">
                  <c:v>44354</c:v>
                </c:pt>
                <c:pt idx="4652">
                  <c:v>44355</c:v>
                </c:pt>
                <c:pt idx="4653">
                  <c:v>44356</c:v>
                </c:pt>
                <c:pt idx="4654">
                  <c:v>44357</c:v>
                </c:pt>
                <c:pt idx="4655">
                  <c:v>44358</c:v>
                </c:pt>
                <c:pt idx="4656">
                  <c:v>44362</c:v>
                </c:pt>
                <c:pt idx="4657">
                  <c:v>44363</c:v>
                </c:pt>
                <c:pt idx="4658">
                  <c:v>44364</c:v>
                </c:pt>
                <c:pt idx="4659">
                  <c:v>44365</c:v>
                </c:pt>
                <c:pt idx="4660">
                  <c:v>44368</c:v>
                </c:pt>
                <c:pt idx="4661">
                  <c:v>44369</c:v>
                </c:pt>
                <c:pt idx="4662">
                  <c:v>44370</c:v>
                </c:pt>
                <c:pt idx="4663">
                  <c:v>44371</c:v>
                </c:pt>
                <c:pt idx="4664">
                  <c:v>44372</c:v>
                </c:pt>
                <c:pt idx="4665">
                  <c:v>44375</c:v>
                </c:pt>
                <c:pt idx="4666">
                  <c:v>44376</c:v>
                </c:pt>
                <c:pt idx="4667">
                  <c:v>44377</c:v>
                </c:pt>
                <c:pt idx="4668">
                  <c:v>44378</c:v>
                </c:pt>
                <c:pt idx="4669">
                  <c:v>44379</c:v>
                </c:pt>
                <c:pt idx="4670">
                  <c:v>44382</c:v>
                </c:pt>
                <c:pt idx="4671">
                  <c:v>44383</c:v>
                </c:pt>
                <c:pt idx="4672">
                  <c:v>44384</c:v>
                </c:pt>
                <c:pt idx="4673">
                  <c:v>44385</c:v>
                </c:pt>
                <c:pt idx="4674">
                  <c:v>44386</c:v>
                </c:pt>
                <c:pt idx="4675">
                  <c:v>44389</c:v>
                </c:pt>
                <c:pt idx="4676">
                  <c:v>44390</c:v>
                </c:pt>
                <c:pt idx="4677">
                  <c:v>44391</c:v>
                </c:pt>
                <c:pt idx="4678">
                  <c:v>44392</c:v>
                </c:pt>
                <c:pt idx="4679">
                  <c:v>44393</c:v>
                </c:pt>
                <c:pt idx="4680">
                  <c:v>44396</c:v>
                </c:pt>
                <c:pt idx="4681">
                  <c:v>44397</c:v>
                </c:pt>
                <c:pt idx="4682">
                  <c:v>44398</c:v>
                </c:pt>
                <c:pt idx="4683">
                  <c:v>44399</c:v>
                </c:pt>
                <c:pt idx="4684">
                  <c:v>44400</c:v>
                </c:pt>
                <c:pt idx="4685">
                  <c:v>44403</c:v>
                </c:pt>
                <c:pt idx="4686">
                  <c:v>44404</c:v>
                </c:pt>
                <c:pt idx="4687">
                  <c:v>44405</c:v>
                </c:pt>
                <c:pt idx="4688">
                  <c:v>44406</c:v>
                </c:pt>
                <c:pt idx="4689">
                  <c:v>44407</c:v>
                </c:pt>
                <c:pt idx="4690">
                  <c:v>44410</c:v>
                </c:pt>
                <c:pt idx="4691">
                  <c:v>44411</c:v>
                </c:pt>
                <c:pt idx="4692">
                  <c:v>44412</c:v>
                </c:pt>
                <c:pt idx="4693">
                  <c:v>44413</c:v>
                </c:pt>
                <c:pt idx="4694">
                  <c:v>44414</c:v>
                </c:pt>
                <c:pt idx="4695">
                  <c:v>44417</c:v>
                </c:pt>
                <c:pt idx="4696">
                  <c:v>44418</c:v>
                </c:pt>
                <c:pt idx="4697">
                  <c:v>44419</c:v>
                </c:pt>
                <c:pt idx="4698">
                  <c:v>44420</c:v>
                </c:pt>
                <c:pt idx="4699">
                  <c:v>44421</c:v>
                </c:pt>
                <c:pt idx="4700">
                  <c:v>44424</c:v>
                </c:pt>
                <c:pt idx="4701">
                  <c:v>44425</c:v>
                </c:pt>
                <c:pt idx="4702">
                  <c:v>44426</c:v>
                </c:pt>
                <c:pt idx="4703">
                  <c:v>44427</c:v>
                </c:pt>
                <c:pt idx="4704">
                  <c:v>44428</c:v>
                </c:pt>
                <c:pt idx="4705">
                  <c:v>44431</c:v>
                </c:pt>
                <c:pt idx="4706">
                  <c:v>44432</c:v>
                </c:pt>
                <c:pt idx="4707">
                  <c:v>44433</c:v>
                </c:pt>
                <c:pt idx="4708">
                  <c:v>44434</c:v>
                </c:pt>
                <c:pt idx="4709">
                  <c:v>44435</c:v>
                </c:pt>
                <c:pt idx="4710">
                  <c:v>44438</c:v>
                </c:pt>
                <c:pt idx="4711">
                  <c:v>44439</c:v>
                </c:pt>
                <c:pt idx="4712">
                  <c:v>44440</c:v>
                </c:pt>
                <c:pt idx="4713">
                  <c:v>44441</c:v>
                </c:pt>
                <c:pt idx="4714">
                  <c:v>44442</c:v>
                </c:pt>
                <c:pt idx="4715">
                  <c:v>44445</c:v>
                </c:pt>
                <c:pt idx="4716">
                  <c:v>44446</c:v>
                </c:pt>
                <c:pt idx="4717">
                  <c:v>44447</c:v>
                </c:pt>
                <c:pt idx="4718">
                  <c:v>44448</c:v>
                </c:pt>
                <c:pt idx="4719">
                  <c:v>44449</c:v>
                </c:pt>
                <c:pt idx="4720">
                  <c:v>44452</c:v>
                </c:pt>
                <c:pt idx="4721">
                  <c:v>44453</c:v>
                </c:pt>
                <c:pt idx="4722">
                  <c:v>44454</c:v>
                </c:pt>
                <c:pt idx="4723">
                  <c:v>44455</c:v>
                </c:pt>
                <c:pt idx="4724">
                  <c:v>44456</c:v>
                </c:pt>
                <c:pt idx="4725">
                  <c:v>44461</c:v>
                </c:pt>
                <c:pt idx="4726">
                  <c:v>44462</c:v>
                </c:pt>
                <c:pt idx="4727">
                  <c:v>44463</c:v>
                </c:pt>
                <c:pt idx="4728">
                  <c:v>44466</c:v>
                </c:pt>
                <c:pt idx="4729">
                  <c:v>44467</c:v>
                </c:pt>
                <c:pt idx="4730">
                  <c:v>44468</c:v>
                </c:pt>
                <c:pt idx="4731">
                  <c:v>44469</c:v>
                </c:pt>
                <c:pt idx="4732">
                  <c:v>44477</c:v>
                </c:pt>
                <c:pt idx="4733">
                  <c:v>44480</c:v>
                </c:pt>
                <c:pt idx="4734">
                  <c:v>44481</c:v>
                </c:pt>
                <c:pt idx="4735">
                  <c:v>44482</c:v>
                </c:pt>
                <c:pt idx="4736">
                  <c:v>44483</c:v>
                </c:pt>
                <c:pt idx="4737">
                  <c:v>44484</c:v>
                </c:pt>
                <c:pt idx="4738">
                  <c:v>44487</c:v>
                </c:pt>
                <c:pt idx="4739">
                  <c:v>44488</c:v>
                </c:pt>
                <c:pt idx="4740">
                  <c:v>44489</c:v>
                </c:pt>
                <c:pt idx="4741">
                  <c:v>44490</c:v>
                </c:pt>
                <c:pt idx="4742">
                  <c:v>44491</c:v>
                </c:pt>
                <c:pt idx="4743">
                  <c:v>44494</c:v>
                </c:pt>
                <c:pt idx="4744">
                  <c:v>44495</c:v>
                </c:pt>
                <c:pt idx="4745">
                  <c:v>44496</c:v>
                </c:pt>
                <c:pt idx="4746">
                  <c:v>44497</c:v>
                </c:pt>
                <c:pt idx="4747">
                  <c:v>44498</c:v>
                </c:pt>
                <c:pt idx="4748">
                  <c:v>44501</c:v>
                </c:pt>
                <c:pt idx="4749">
                  <c:v>44502</c:v>
                </c:pt>
                <c:pt idx="4750">
                  <c:v>44503</c:v>
                </c:pt>
                <c:pt idx="4751">
                  <c:v>44504</c:v>
                </c:pt>
                <c:pt idx="4752">
                  <c:v>44505</c:v>
                </c:pt>
                <c:pt idx="4753">
                  <c:v>44508</c:v>
                </c:pt>
                <c:pt idx="4754">
                  <c:v>44509</c:v>
                </c:pt>
                <c:pt idx="4755">
                  <c:v>44510</c:v>
                </c:pt>
                <c:pt idx="4756">
                  <c:v>44511</c:v>
                </c:pt>
                <c:pt idx="4757">
                  <c:v>44512</c:v>
                </c:pt>
                <c:pt idx="4758">
                  <c:v>44515</c:v>
                </c:pt>
                <c:pt idx="4759">
                  <c:v>44516</c:v>
                </c:pt>
                <c:pt idx="4760">
                  <c:v>44517</c:v>
                </c:pt>
                <c:pt idx="4761">
                  <c:v>44518</c:v>
                </c:pt>
                <c:pt idx="4762">
                  <c:v>44519</c:v>
                </c:pt>
                <c:pt idx="4763">
                  <c:v>44522</c:v>
                </c:pt>
                <c:pt idx="4764">
                  <c:v>44523</c:v>
                </c:pt>
                <c:pt idx="4765">
                  <c:v>44524</c:v>
                </c:pt>
                <c:pt idx="4766">
                  <c:v>44525</c:v>
                </c:pt>
                <c:pt idx="4767">
                  <c:v>44526</c:v>
                </c:pt>
                <c:pt idx="4768">
                  <c:v>44529</c:v>
                </c:pt>
                <c:pt idx="4769">
                  <c:v>44530</c:v>
                </c:pt>
                <c:pt idx="4770">
                  <c:v>44531</c:v>
                </c:pt>
                <c:pt idx="4771">
                  <c:v>44532</c:v>
                </c:pt>
                <c:pt idx="4772">
                  <c:v>44533</c:v>
                </c:pt>
                <c:pt idx="4773">
                  <c:v>44536</c:v>
                </c:pt>
                <c:pt idx="4774">
                  <c:v>44537</c:v>
                </c:pt>
                <c:pt idx="4775">
                  <c:v>44538</c:v>
                </c:pt>
                <c:pt idx="4776">
                  <c:v>44539</c:v>
                </c:pt>
                <c:pt idx="4777">
                  <c:v>44540</c:v>
                </c:pt>
                <c:pt idx="4778">
                  <c:v>44543</c:v>
                </c:pt>
                <c:pt idx="4779">
                  <c:v>44544</c:v>
                </c:pt>
                <c:pt idx="4780">
                  <c:v>44545</c:v>
                </c:pt>
                <c:pt idx="4781">
                  <c:v>44546</c:v>
                </c:pt>
                <c:pt idx="4782">
                  <c:v>44547</c:v>
                </c:pt>
                <c:pt idx="4783">
                  <c:v>44550</c:v>
                </c:pt>
                <c:pt idx="4784">
                  <c:v>44551</c:v>
                </c:pt>
                <c:pt idx="4785">
                  <c:v>44552</c:v>
                </c:pt>
                <c:pt idx="4786">
                  <c:v>44553</c:v>
                </c:pt>
                <c:pt idx="4787">
                  <c:v>44554</c:v>
                </c:pt>
                <c:pt idx="4788">
                  <c:v>44557</c:v>
                </c:pt>
                <c:pt idx="4789">
                  <c:v>44558</c:v>
                </c:pt>
                <c:pt idx="4790">
                  <c:v>44559</c:v>
                </c:pt>
                <c:pt idx="4791">
                  <c:v>44560</c:v>
                </c:pt>
                <c:pt idx="4792">
                  <c:v>44561</c:v>
                </c:pt>
                <c:pt idx="4793">
                  <c:v>44565</c:v>
                </c:pt>
                <c:pt idx="4794">
                  <c:v>44566</c:v>
                </c:pt>
                <c:pt idx="4795">
                  <c:v>44567</c:v>
                </c:pt>
                <c:pt idx="4796">
                  <c:v>44568</c:v>
                </c:pt>
                <c:pt idx="4797">
                  <c:v>44571</c:v>
                </c:pt>
                <c:pt idx="4798">
                  <c:v>44572</c:v>
                </c:pt>
                <c:pt idx="4799">
                  <c:v>44573</c:v>
                </c:pt>
                <c:pt idx="4800">
                  <c:v>44574</c:v>
                </c:pt>
                <c:pt idx="4801">
                  <c:v>44575</c:v>
                </c:pt>
                <c:pt idx="4802">
                  <c:v>44578</c:v>
                </c:pt>
                <c:pt idx="4803">
                  <c:v>44579</c:v>
                </c:pt>
                <c:pt idx="4804">
                  <c:v>44580</c:v>
                </c:pt>
                <c:pt idx="4805">
                  <c:v>44581</c:v>
                </c:pt>
                <c:pt idx="4806">
                  <c:v>44582</c:v>
                </c:pt>
                <c:pt idx="4807">
                  <c:v>44585</c:v>
                </c:pt>
                <c:pt idx="4808">
                  <c:v>44586</c:v>
                </c:pt>
                <c:pt idx="4809">
                  <c:v>44587</c:v>
                </c:pt>
                <c:pt idx="4810">
                  <c:v>44588</c:v>
                </c:pt>
                <c:pt idx="4811">
                  <c:v>44589</c:v>
                </c:pt>
                <c:pt idx="4812">
                  <c:v>44599</c:v>
                </c:pt>
                <c:pt idx="4813">
                  <c:v>44600</c:v>
                </c:pt>
                <c:pt idx="4814">
                  <c:v>44601</c:v>
                </c:pt>
                <c:pt idx="4815">
                  <c:v>44602</c:v>
                </c:pt>
                <c:pt idx="4816">
                  <c:v>44603</c:v>
                </c:pt>
                <c:pt idx="4817">
                  <c:v>44606</c:v>
                </c:pt>
                <c:pt idx="4818">
                  <c:v>44607</c:v>
                </c:pt>
                <c:pt idx="4819">
                  <c:v>44608</c:v>
                </c:pt>
                <c:pt idx="4820">
                  <c:v>44609</c:v>
                </c:pt>
                <c:pt idx="4821">
                  <c:v>44610</c:v>
                </c:pt>
                <c:pt idx="4822">
                  <c:v>44613</c:v>
                </c:pt>
                <c:pt idx="4823">
                  <c:v>44614</c:v>
                </c:pt>
                <c:pt idx="4824">
                  <c:v>44615</c:v>
                </c:pt>
                <c:pt idx="4825">
                  <c:v>44616</c:v>
                </c:pt>
                <c:pt idx="4826">
                  <c:v>44617</c:v>
                </c:pt>
                <c:pt idx="4827">
                  <c:v>44620</c:v>
                </c:pt>
                <c:pt idx="4828">
                  <c:v>44621</c:v>
                </c:pt>
                <c:pt idx="4829">
                  <c:v>44622</c:v>
                </c:pt>
                <c:pt idx="4830">
                  <c:v>44623</c:v>
                </c:pt>
                <c:pt idx="4831">
                  <c:v>44624</c:v>
                </c:pt>
                <c:pt idx="4832">
                  <c:v>44627</c:v>
                </c:pt>
                <c:pt idx="4833">
                  <c:v>44628</c:v>
                </c:pt>
                <c:pt idx="4834">
                  <c:v>44629</c:v>
                </c:pt>
                <c:pt idx="4835">
                  <c:v>44630</c:v>
                </c:pt>
                <c:pt idx="4836">
                  <c:v>44631</c:v>
                </c:pt>
                <c:pt idx="4837">
                  <c:v>44634</c:v>
                </c:pt>
                <c:pt idx="4838">
                  <c:v>44635</c:v>
                </c:pt>
                <c:pt idx="4839">
                  <c:v>44636</c:v>
                </c:pt>
                <c:pt idx="4840">
                  <c:v>44637</c:v>
                </c:pt>
                <c:pt idx="4841">
                  <c:v>44638</c:v>
                </c:pt>
                <c:pt idx="4842">
                  <c:v>44641</c:v>
                </c:pt>
                <c:pt idx="4843">
                  <c:v>44642</c:v>
                </c:pt>
                <c:pt idx="4844">
                  <c:v>44643</c:v>
                </c:pt>
                <c:pt idx="4845">
                  <c:v>44644</c:v>
                </c:pt>
                <c:pt idx="4846">
                  <c:v>44645</c:v>
                </c:pt>
                <c:pt idx="4847">
                  <c:v>44648</c:v>
                </c:pt>
                <c:pt idx="4848">
                  <c:v>44649</c:v>
                </c:pt>
                <c:pt idx="4849">
                  <c:v>44650</c:v>
                </c:pt>
                <c:pt idx="4850">
                  <c:v>44651</c:v>
                </c:pt>
                <c:pt idx="4851">
                  <c:v>44652</c:v>
                </c:pt>
                <c:pt idx="4852">
                  <c:v>44657</c:v>
                </c:pt>
                <c:pt idx="4853">
                  <c:v>44658</c:v>
                </c:pt>
                <c:pt idx="4854">
                  <c:v>44659</c:v>
                </c:pt>
              </c:numCache>
            </c:numRef>
          </c:cat>
          <c:val>
            <c:numRef>
              <c:f>'v60'!$B$2:$B$4916</c:f>
              <c:numCache>
                <c:formatCode>General</c:formatCode>
                <c:ptCount val="4915"/>
                <c:pt idx="0">
                  <c:v>2.2060358186597202E-2</c:v>
                </c:pt>
                <c:pt idx="1">
                  <c:v>2.2019488906682001E-2</c:v>
                </c:pt>
                <c:pt idx="2">
                  <c:v>2.1999242230474898E-2</c:v>
                </c:pt>
                <c:pt idx="3">
                  <c:v>2.1895644976841301E-2</c:v>
                </c:pt>
                <c:pt idx="4">
                  <c:v>2.19386375707003E-2</c:v>
                </c:pt>
                <c:pt idx="5">
                  <c:v>2.16847266847436E-2</c:v>
                </c:pt>
                <c:pt idx="6">
                  <c:v>2.1134839416071301E-2</c:v>
                </c:pt>
                <c:pt idx="7">
                  <c:v>2.1030486244778601E-2</c:v>
                </c:pt>
                <c:pt idx="8">
                  <c:v>2.1007016942809199E-2</c:v>
                </c:pt>
                <c:pt idx="9">
                  <c:v>2.0208772527465401E-2</c:v>
                </c:pt>
                <c:pt idx="10">
                  <c:v>2.02624611380137E-2</c:v>
                </c:pt>
                <c:pt idx="11">
                  <c:v>1.96623249616577E-2</c:v>
                </c:pt>
                <c:pt idx="12">
                  <c:v>1.9660608162949799E-2</c:v>
                </c:pt>
                <c:pt idx="13">
                  <c:v>1.80361898165971E-2</c:v>
                </c:pt>
                <c:pt idx="14">
                  <c:v>1.80309501961473E-2</c:v>
                </c:pt>
                <c:pt idx="15">
                  <c:v>1.8066456619765501E-2</c:v>
                </c:pt>
                <c:pt idx="16">
                  <c:v>1.5787070396060501E-2</c:v>
                </c:pt>
                <c:pt idx="17">
                  <c:v>1.55703552210166E-2</c:v>
                </c:pt>
                <c:pt idx="18">
                  <c:v>1.5633327965729599E-2</c:v>
                </c:pt>
                <c:pt idx="19">
                  <c:v>1.39388782807096E-2</c:v>
                </c:pt>
                <c:pt idx="20">
                  <c:v>1.40027480956946E-2</c:v>
                </c:pt>
                <c:pt idx="21">
                  <c:v>1.3970226702688601E-2</c:v>
                </c:pt>
                <c:pt idx="22">
                  <c:v>1.4502993025786899E-2</c:v>
                </c:pt>
                <c:pt idx="23">
                  <c:v>1.42676365796879E-2</c:v>
                </c:pt>
                <c:pt idx="24">
                  <c:v>1.40566601245502E-2</c:v>
                </c:pt>
                <c:pt idx="25">
                  <c:v>1.41802343932752E-2</c:v>
                </c:pt>
                <c:pt idx="26">
                  <c:v>1.4044254150449201E-2</c:v>
                </c:pt>
                <c:pt idx="27">
                  <c:v>1.40430819306621E-2</c:v>
                </c:pt>
                <c:pt idx="28">
                  <c:v>1.4265604332668101E-2</c:v>
                </c:pt>
                <c:pt idx="29">
                  <c:v>1.42167593925438E-2</c:v>
                </c:pt>
                <c:pt idx="30">
                  <c:v>1.4118482008132999E-2</c:v>
                </c:pt>
                <c:pt idx="31">
                  <c:v>1.42289400002564E-2</c:v>
                </c:pt>
                <c:pt idx="32">
                  <c:v>1.38955650253087E-2</c:v>
                </c:pt>
                <c:pt idx="33">
                  <c:v>1.40180952036716E-2</c:v>
                </c:pt>
                <c:pt idx="34">
                  <c:v>1.44348718857919E-2</c:v>
                </c:pt>
                <c:pt idx="35">
                  <c:v>1.42552511342065E-2</c:v>
                </c:pt>
                <c:pt idx="36">
                  <c:v>1.4035283509781501E-2</c:v>
                </c:pt>
                <c:pt idx="37">
                  <c:v>1.40320638527933E-2</c:v>
                </c:pt>
                <c:pt idx="38">
                  <c:v>1.3938306041483601E-2</c:v>
                </c:pt>
                <c:pt idx="39">
                  <c:v>1.35591222791246E-2</c:v>
                </c:pt>
                <c:pt idx="40">
                  <c:v>1.3183255803602301E-2</c:v>
                </c:pt>
                <c:pt idx="41">
                  <c:v>1.31816782749426E-2</c:v>
                </c:pt>
                <c:pt idx="42">
                  <c:v>1.3182394734344899E-2</c:v>
                </c:pt>
                <c:pt idx="43">
                  <c:v>1.3138794436602499E-2</c:v>
                </c:pt>
                <c:pt idx="44">
                  <c:v>1.31804828740804E-2</c:v>
                </c:pt>
                <c:pt idx="45">
                  <c:v>1.3913442327134901E-2</c:v>
                </c:pt>
                <c:pt idx="46">
                  <c:v>1.8190155466567302E-2</c:v>
                </c:pt>
                <c:pt idx="47">
                  <c:v>1.80476910649961E-2</c:v>
                </c:pt>
                <c:pt idx="48">
                  <c:v>1.80568746935416E-2</c:v>
                </c:pt>
                <c:pt idx="49">
                  <c:v>1.8058913609181701E-2</c:v>
                </c:pt>
                <c:pt idx="50">
                  <c:v>1.7630459474393002E-2</c:v>
                </c:pt>
                <c:pt idx="51">
                  <c:v>1.7703214399804199E-2</c:v>
                </c:pt>
                <c:pt idx="52">
                  <c:v>1.75739366458308E-2</c:v>
                </c:pt>
                <c:pt idx="53">
                  <c:v>1.7570212744618601E-2</c:v>
                </c:pt>
                <c:pt idx="54">
                  <c:v>1.7315865973659399E-2</c:v>
                </c:pt>
                <c:pt idx="55">
                  <c:v>1.7303622590209299E-2</c:v>
                </c:pt>
                <c:pt idx="56">
                  <c:v>1.7314889996974999E-2</c:v>
                </c:pt>
                <c:pt idx="57">
                  <c:v>1.71812909737688E-2</c:v>
                </c:pt>
                <c:pt idx="58">
                  <c:v>1.7348445775826699E-2</c:v>
                </c:pt>
                <c:pt idx="59">
                  <c:v>1.7214020911912299E-2</c:v>
                </c:pt>
                <c:pt idx="60">
                  <c:v>1.7207744245984698E-2</c:v>
                </c:pt>
                <c:pt idx="61">
                  <c:v>1.7224880114852702E-2</c:v>
                </c:pt>
                <c:pt idx="62">
                  <c:v>1.7222615559938401E-2</c:v>
                </c:pt>
                <c:pt idx="63">
                  <c:v>1.7247219821033E-2</c:v>
                </c:pt>
                <c:pt idx="64">
                  <c:v>1.7177325120428698E-2</c:v>
                </c:pt>
                <c:pt idx="65">
                  <c:v>1.71802858789032E-2</c:v>
                </c:pt>
                <c:pt idx="66">
                  <c:v>1.73142234650688E-2</c:v>
                </c:pt>
                <c:pt idx="67">
                  <c:v>1.7308151051334101E-2</c:v>
                </c:pt>
                <c:pt idx="68">
                  <c:v>1.7283932148093199E-2</c:v>
                </c:pt>
                <c:pt idx="69">
                  <c:v>1.7303597600395099E-2</c:v>
                </c:pt>
                <c:pt idx="70">
                  <c:v>1.72117283625919E-2</c:v>
                </c:pt>
                <c:pt idx="71">
                  <c:v>1.71388528899361E-2</c:v>
                </c:pt>
                <c:pt idx="72">
                  <c:v>1.71375762236377E-2</c:v>
                </c:pt>
                <c:pt idx="73">
                  <c:v>1.7153217102800399E-2</c:v>
                </c:pt>
                <c:pt idx="74">
                  <c:v>1.71543530828995E-2</c:v>
                </c:pt>
                <c:pt idx="75">
                  <c:v>1.7134060846932801E-2</c:v>
                </c:pt>
                <c:pt idx="76">
                  <c:v>1.7074204308735599E-2</c:v>
                </c:pt>
                <c:pt idx="77">
                  <c:v>1.71097764171462E-2</c:v>
                </c:pt>
                <c:pt idx="78">
                  <c:v>1.70666250000923E-2</c:v>
                </c:pt>
                <c:pt idx="79">
                  <c:v>1.6596880299199399E-2</c:v>
                </c:pt>
                <c:pt idx="80">
                  <c:v>1.65644904734507E-2</c:v>
                </c:pt>
                <c:pt idx="81">
                  <c:v>1.6478247284942502E-2</c:v>
                </c:pt>
                <c:pt idx="82">
                  <c:v>1.5992265544963701E-2</c:v>
                </c:pt>
                <c:pt idx="83">
                  <c:v>1.5888295796896299E-2</c:v>
                </c:pt>
                <c:pt idx="84">
                  <c:v>1.5923746136958E-2</c:v>
                </c:pt>
                <c:pt idx="85">
                  <c:v>1.58087341577746E-2</c:v>
                </c:pt>
                <c:pt idx="86">
                  <c:v>1.5809930389181701E-2</c:v>
                </c:pt>
                <c:pt idx="87">
                  <c:v>1.5941378962703499E-2</c:v>
                </c:pt>
                <c:pt idx="88">
                  <c:v>1.5710297509097498E-2</c:v>
                </c:pt>
                <c:pt idx="89">
                  <c:v>1.57282737373226E-2</c:v>
                </c:pt>
                <c:pt idx="90">
                  <c:v>1.5702648811641799E-2</c:v>
                </c:pt>
                <c:pt idx="91">
                  <c:v>1.55015121341649E-2</c:v>
                </c:pt>
                <c:pt idx="92">
                  <c:v>1.5496554428102599E-2</c:v>
                </c:pt>
                <c:pt idx="93">
                  <c:v>1.5257755937145E-2</c:v>
                </c:pt>
                <c:pt idx="94">
                  <c:v>1.4443472128909099E-2</c:v>
                </c:pt>
                <c:pt idx="95">
                  <c:v>1.4437213647498E-2</c:v>
                </c:pt>
                <c:pt idx="96">
                  <c:v>1.43953589944135E-2</c:v>
                </c:pt>
                <c:pt idx="97">
                  <c:v>1.43774747968226E-2</c:v>
                </c:pt>
                <c:pt idx="98">
                  <c:v>1.43855200559883E-2</c:v>
                </c:pt>
                <c:pt idx="99">
                  <c:v>1.4439866287636299E-2</c:v>
                </c:pt>
                <c:pt idx="100">
                  <c:v>1.43767436094497E-2</c:v>
                </c:pt>
                <c:pt idx="101">
                  <c:v>1.4433116846070199E-2</c:v>
                </c:pt>
                <c:pt idx="102">
                  <c:v>1.42324036618678E-2</c:v>
                </c:pt>
                <c:pt idx="103">
                  <c:v>1.41704974899738E-2</c:v>
                </c:pt>
                <c:pt idx="104">
                  <c:v>1.41483598018552E-2</c:v>
                </c:pt>
                <c:pt idx="105">
                  <c:v>1.34566309304936E-2</c:v>
                </c:pt>
                <c:pt idx="106">
                  <c:v>6.8273546394647701E-3</c:v>
                </c:pt>
                <c:pt idx="107">
                  <c:v>6.8345692252848598E-3</c:v>
                </c:pt>
                <c:pt idx="108">
                  <c:v>6.8078845193383598E-3</c:v>
                </c:pt>
                <c:pt idx="109">
                  <c:v>7.2558006927741798E-3</c:v>
                </c:pt>
                <c:pt idx="110">
                  <c:v>7.2922701199762798E-3</c:v>
                </c:pt>
                <c:pt idx="111">
                  <c:v>7.1829640338015796E-3</c:v>
                </c:pt>
                <c:pt idx="112">
                  <c:v>7.1007816177220797E-3</c:v>
                </c:pt>
                <c:pt idx="113">
                  <c:v>7.0962207854779599E-3</c:v>
                </c:pt>
                <c:pt idx="114">
                  <c:v>7.0288956855891699E-3</c:v>
                </c:pt>
                <c:pt idx="115">
                  <c:v>7.02412266531192E-3</c:v>
                </c:pt>
                <c:pt idx="116">
                  <c:v>7.0359247307852498E-3</c:v>
                </c:pt>
                <c:pt idx="117">
                  <c:v>7.4212407625275202E-3</c:v>
                </c:pt>
                <c:pt idx="118">
                  <c:v>7.0983315117580997E-3</c:v>
                </c:pt>
                <c:pt idx="119">
                  <c:v>7.1011547580694901E-3</c:v>
                </c:pt>
                <c:pt idx="120">
                  <c:v>7.1622757928369004E-3</c:v>
                </c:pt>
                <c:pt idx="121">
                  <c:v>7.13183926911325E-3</c:v>
                </c:pt>
                <c:pt idx="122">
                  <c:v>7.2047264775162902E-3</c:v>
                </c:pt>
                <c:pt idx="123">
                  <c:v>7.3210640377917996E-3</c:v>
                </c:pt>
                <c:pt idx="124">
                  <c:v>7.3379767662181596E-3</c:v>
                </c:pt>
                <c:pt idx="125">
                  <c:v>7.3224684956963897E-3</c:v>
                </c:pt>
                <c:pt idx="126">
                  <c:v>7.3621816903314402E-3</c:v>
                </c:pt>
                <c:pt idx="127">
                  <c:v>7.3642520030296399E-3</c:v>
                </c:pt>
                <c:pt idx="128">
                  <c:v>7.4248921154616201E-3</c:v>
                </c:pt>
                <c:pt idx="129">
                  <c:v>7.4647493003244898E-3</c:v>
                </c:pt>
                <c:pt idx="130">
                  <c:v>7.5716098312494798E-3</c:v>
                </c:pt>
                <c:pt idx="131">
                  <c:v>7.5816620349028196E-3</c:v>
                </c:pt>
                <c:pt idx="132">
                  <c:v>7.5641882278622199E-3</c:v>
                </c:pt>
                <c:pt idx="133">
                  <c:v>7.4889506534582201E-3</c:v>
                </c:pt>
                <c:pt idx="134">
                  <c:v>7.5044457561204E-3</c:v>
                </c:pt>
                <c:pt idx="135">
                  <c:v>7.7918043459805596E-3</c:v>
                </c:pt>
                <c:pt idx="136">
                  <c:v>8.0643940374157605E-3</c:v>
                </c:pt>
                <c:pt idx="137">
                  <c:v>7.90592672235935E-3</c:v>
                </c:pt>
                <c:pt idx="138">
                  <c:v>7.9074831741894301E-3</c:v>
                </c:pt>
                <c:pt idx="139">
                  <c:v>8.31525458860706E-3</c:v>
                </c:pt>
                <c:pt idx="140">
                  <c:v>8.3935651074352902E-3</c:v>
                </c:pt>
                <c:pt idx="141">
                  <c:v>8.5209336453854097E-3</c:v>
                </c:pt>
                <c:pt idx="142">
                  <c:v>8.5497918681083692E-3</c:v>
                </c:pt>
                <c:pt idx="143">
                  <c:v>8.7594176259690199E-3</c:v>
                </c:pt>
                <c:pt idx="144">
                  <c:v>8.7510311359594098E-3</c:v>
                </c:pt>
                <c:pt idx="145">
                  <c:v>8.74235726343227E-3</c:v>
                </c:pt>
                <c:pt idx="146">
                  <c:v>8.8180765712450593E-3</c:v>
                </c:pt>
                <c:pt idx="147">
                  <c:v>8.8906689838382496E-3</c:v>
                </c:pt>
                <c:pt idx="148">
                  <c:v>9.3614974685565303E-3</c:v>
                </c:pt>
                <c:pt idx="149">
                  <c:v>9.2806702459569904E-3</c:v>
                </c:pt>
                <c:pt idx="150">
                  <c:v>9.3337170782536501E-3</c:v>
                </c:pt>
                <c:pt idx="151">
                  <c:v>9.5384082265342306E-3</c:v>
                </c:pt>
                <c:pt idx="152">
                  <c:v>9.6039244506276201E-3</c:v>
                </c:pt>
                <c:pt idx="153">
                  <c:v>1.04140090928844E-2</c:v>
                </c:pt>
                <c:pt idx="154">
                  <c:v>1.05908361613869E-2</c:v>
                </c:pt>
                <c:pt idx="155">
                  <c:v>1.10675251720544E-2</c:v>
                </c:pt>
                <c:pt idx="156">
                  <c:v>1.11914040018916E-2</c:v>
                </c:pt>
                <c:pt idx="157">
                  <c:v>1.1184291271466499E-2</c:v>
                </c:pt>
                <c:pt idx="158">
                  <c:v>1.1189394567588501E-2</c:v>
                </c:pt>
                <c:pt idx="159">
                  <c:v>1.1119680620462501E-2</c:v>
                </c:pt>
                <c:pt idx="160">
                  <c:v>1.1114534260808599E-2</c:v>
                </c:pt>
                <c:pt idx="161">
                  <c:v>1.1152620426613E-2</c:v>
                </c:pt>
                <c:pt idx="162">
                  <c:v>1.1146135902486099E-2</c:v>
                </c:pt>
                <c:pt idx="163">
                  <c:v>1.1182724660871101E-2</c:v>
                </c:pt>
                <c:pt idx="164">
                  <c:v>1.12611487467505E-2</c:v>
                </c:pt>
                <c:pt idx="165">
                  <c:v>1.13452996922542E-2</c:v>
                </c:pt>
                <c:pt idx="166">
                  <c:v>1.1284520478821501E-2</c:v>
                </c:pt>
                <c:pt idx="167">
                  <c:v>1.1278135168789401E-2</c:v>
                </c:pt>
                <c:pt idx="168">
                  <c:v>1.1269067525543901E-2</c:v>
                </c:pt>
                <c:pt idx="169">
                  <c:v>1.10686661915787E-2</c:v>
                </c:pt>
                <c:pt idx="170">
                  <c:v>1.1023097834875199E-2</c:v>
                </c:pt>
                <c:pt idx="171">
                  <c:v>1.10238285248707E-2</c:v>
                </c:pt>
                <c:pt idx="172">
                  <c:v>1.1037407445693301E-2</c:v>
                </c:pt>
                <c:pt idx="173">
                  <c:v>1.15310952074593E-2</c:v>
                </c:pt>
                <c:pt idx="174">
                  <c:v>1.1527931349320101E-2</c:v>
                </c:pt>
                <c:pt idx="175">
                  <c:v>1.15690662744431E-2</c:v>
                </c:pt>
                <c:pt idx="176">
                  <c:v>1.1531762487858701E-2</c:v>
                </c:pt>
                <c:pt idx="177">
                  <c:v>1.1718282991622401E-2</c:v>
                </c:pt>
                <c:pt idx="178">
                  <c:v>1.1715144077280699E-2</c:v>
                </c:pt>
                <c:pt idx="179">
                  <c:v>1.18325471040458E-2</c:v>
                </c:pt>
                <c:pt idx="180">
                  <c:v>1.17917408790204E-2</c:v>
                </c:pt>
                <c:pt idx="181">
                  <c:v>1.2403846483947699E-2</c:v>
                </c:pt>
                <c:pt idx="182">
                  <c:v>1.2618641698762499E-2</c:v>
                </c:pt>
                <c:pt idx="183">
                  <c:v>1.25249639482057E-2</c:v>
                </c:pt>
                <c:pt idx="184">
                  <c:v>1.25119151578685E-2</c:v>
                </c:pt>
                <c:pt idx="185">
                  <c:v>1.43684046855974E-2</c:v>
                </c:pt>
                <c:pt idx="186">
                  <c:v>1.4258156925643001E-2</c:v>
                </c:pt>
                <c:pt idx="187">
                  <c:v>1.4416408036118E-2</c:v>
                </c:pt>
                <c:pt idx="188">
                  <c:v>1.43864925074224E-2</c:v>
                </c:pt>
                <c:pt idx="189">
                  <c:v>1.43552539091325E-2</c:v>
                </c:pt>
                <c:pt idx="190">
                  <c:v>1.4485886994613501E-2</c:v>
                </c:pt>
                <c:pt idx="191">
                  <c:v>1.4464091908612999E-2</c:v>
                </c:pt>
                <c:pt idx="192">
                  <c:v>1.447961344741E-2</c:v>
                </c:pt>
                <c:pt idx="193">
                  <c:v>1.46616408092146E-2</c:v>
                </c:pt>
                <c:pt idx="194">
                  <c:v>1.4763129887770799E-2</c:v>
                </c:pt>
                <c:pt idx="195">
                  <c:v>1.4626555764850399E-2</c:v>
                </c:pt>
                <c:pt idx="196">
                  <c:v>1.44834029256548E-2</c:v>
                </c:pt>
                <c:pt idx="197">
                  <c:v>1.4580888879267E-2</c:v>
                </c:pt>
                <c:pt idx="198">
                  <c:v>1.46377392328916E-2</c:v>
                </c:pt>
                <c:pt idx="199">
                  <c:v>1.4458718061561E-2</c:v>
                </c:pt>
                <c:pt idx="200">
                  <c:v>1.4391229331354401E-2</c:v>
                </c:pt>
                <c:pt idx="201">
                  <c:v>1.42773533425277E-2</c:v>
                </c:pt>
                <c:pt idx="202">
                  <c:v>1.4298914661671699E-2</c:v>
                </c:pt>
                <c:pt idx="203">
                  <c:v>1.40787482484668E-2</c:v>
                </c:pt>
                <c:pt idx="204">
                  <c:v>1.41267716793266E-2</c:v>
                </c:pt>
                <c:pt idx="205">
                  <c:v>1.40592643161867E-2</c:v>
                </c:pt>
                <c:pt idx="206">
                  <c:v>1.42723247082181E-2</c:v>
                </c:pt>
                <c:pt idx="207">
                  <c:v>1.3924488490048801E-2</c:v>
                </c:pt>
                <c:pt idx="208">
                  <c:v>1.36660306069546E-2</c:v>
                </c:pt>
                <c:pt idx="209">
                  <c:v>1.36668635811979E-2</c:v>
                </c:pt>
                <c:pt idx="210">
                  <c:v>1.36601256340152E-2</c:v>
                </c:pt>
                <c:pt idx="211">
                  <c:v>1.33872108322887E-2</c:v>
                </c:pt>
                <c:pt idx="212">
                  <c:v>1.33928352428177E-2</c:v>
                </c:pt>
                <c:pt idx="213">
                  <c:v>1.2939284896642299E-2</c:v>
                </c:pt>
                <c:pt idx="214">
                  <c:v>1.28699121387779E-2</c:v>
                </c:pt>
                <c:pt idx="215">
                  <c:v>1.24523539012809E-2</c:v>
                </c:pt>
                <c:pt idx="216">
                  <c:v>1.24028975906361E-2</c:v>
                </c:pt>
                <c:pt idx="217">
                  <c:v>1.2618131592422799E-2</c:v>
                </c:pt>
                <c:pt idx="218">
                  <c:v>1.25826652206152E-2</c:v>
                </c:pt>
                <c:pt idx="219">
                  <c:v>1.2589962174170599E-2</c:v>
                </c:pt>
                <c:pt idx="220">
                  <c:v>1.2611326548410099E-2</c:v>
                </c:pt>
                <c:pt idx="221">
                  <c:v>1.25074513101497E-2</c:v>
                </c:pt>
                <c:pt idx="222">
                  <c:v>1.24853908945217E-2</c:v>
                </c:pt>
                <c:pt idx="223">
                  <c:v>1.24974211418219E-2</c:v>
                </c:pt>
                <c:pt idx="224">
                  <c:v>1.2469101120806E-2</c:v>
                </c:pt>
                <c:pt idx="225">
                  <c:v>1.24412574211962E-2</c:v>
                </c:pt>
                <c:pt idx="226">
                  <c:v>1.24585361692158E-2</c:v>
                </c:pt>
                <c:pt idx="227">
                  <c:v>1.24450212350936E-2</c:v>
                </c:pt>
                <c:pt idx="228">
                  <c:v>1.25169105270163E-2</c:v>
                </c:pt>
                <c:pt idx="229">
                  <c:v>1.24581268333212E-2</c:v>
                </c:pt>
                <c:pt idx="230">
                  <c:v>1.2876220530081601E-2</c:v>
                </c:pt>
                <c:pt idx="231">
                  <c:v>1.28792857560547E-2</c:v>
                </c:pt>
                <c:pt idx="232">
                  <c:v>1.29432743493707E-2</c:v>
                </c:pt>
                <c:pt idx="233">
                  <c:v>1.23943344392529E-2</c:v>
                </c:pt>
                <c:pt idx="234">
                  <c:v>1.2396657471779499E-2</c:v>
                </c:pt>
                <c:pt idx="235">
                  <c:v>1.23445618408065E-2</c:v>
                </c:pt>
                <c:pt idx="236">
                  <c:v>1.23342963030043E-2</c:v>
                </c:pt>
                <c:pt idx="237">
                  <c:v>1.18053198563967E-2</c:v>
                </c:pt>
                <c:pt idx="238">
                  <c:v>1.1797193355223201E-2</c:v>
                </c:pt>
                <c:pt idx="239">
                  <c:v>1.19135342766726E-2</c:v>
                </c:pt>
                <c:pt idx="240">
                  <c:v>1.1931598742541899E-2</c:v>
                </c:pt>
                <c:pt idx="241">
                  <c:v>1.1601683627071899E-2</c:v>
                </c:pt>
                <c:pt idx="242">
                  <c:v>1.17742564937916E-2</c:v>
                </c:pt>
                <c:pt idx="243">
                  <c:v>1.16947698684458E-2</c:v>
                </c:pt>
                <c:pt idx="244">
                  <c:v>1.18099638876054E-2</c:v>
                </c:pt>
                <c:pt idx="245">
                  <c:v>9.7460835544601193E-3</c:v>
                </c:pt>
                <c:pt idx="246">
                  <c:v>9.7313767842475002E-3</c:v>
                </c:pt>
                <c:pt idx="247">
                  <c:v>9.9526320262643703E-3</c:v>
                </c:pt>
                <c:pt idx="248">
                  <c:v>9.9258980679559003E-3</c:v>
                </c:pt>
                <c:pt idx="249">
                  <c:v>1.0172115325209801E-2</c:v>
                </c:pt>
                <c:pt idx="250">
                  <c:v>1.05574489560316E-2</c:v>
                </c:pt>
                <c:pt idx="251">
                  <c:v>1.0661599272657901E-2</c:v>
                </c:pt>
                <c:pt idx="252">
                  <c:v>1.1618994111440401E-2</c:v>
                </c:pt>
                <c:pt idx="253">
                  <c:v>1.16218718907101E-2</c:v>
                </c:pt>
                <c:pt idx="254">
                  <c:v>1.15355079304203E-2</c:v>
                </c:pt>
                <c:pt idx="255">
                  <c:v>1.15851572398922E-2</c:v>
                </c:pt>
                <c:pt idx="256">
                  <c:v>1.21700588452359E-2</c:v>
                </c:pt>
                <c:pt idx="257">
                  <c:v>1.23330935851941E-2</c:v>
                </c:pt>
                <c:pt idx="258">
                  <c:v>1.2652877047714801E-2</c:v>
                </c:pt>
                <c:pt idx="259">
                  <c:v>1.25816477306475E-2</c:v>
                </c:pt>
                <c:pt idx="260">
                  <c:v>1.25593447605529E-2</c:v>
                </c:pt>
                <c:pt idx="261">
                  <c:v>1.26527360271736E-2</c:v>
                </c:pt>
                <c:pt idx="262">
                  <c:v>1.26126461681481E-2</c:v>
                </c:pt>
                <c:pt idx="263">
                  <c:v>1.26576414146247E-2</c:v>
                </c:pt>
                <c:pt idx="264">
                  <c:v>1.2666826631895599E-2</c:v>
                </c:pt>
                <c:pt idx="265">
                  <c:v>1.2688150075444399E-2</c:v>
                </c:pt>
                <c:pt idx="266">
                  <c:v>1.2397490031854299E-2</c:v>
                </c:pt>
                <c:pt idx="267">
                  <c:v>1.2525001940861501E-2</c:v>
                </c:pt>
                <c:pt idx="268">
                  <c:v>1.24281356499E-2</c:v>
                </c:pt>
                <c:pt idx="269">
                  <c:v>1.24354686865217E-2</c:v>
                </c:pt>
                <c:pt idx="270">
                  <c:v>1.2436812342541801E-2</c:v>
                </c:pt>
                <c:pt idx="271">
                  <c:v>1.2539389939261099E-2</c:v>
                </c:pt>
                <c:pt idx="272">
                  <c:v>1.25444131086792E-2</c:v>
                </c:pt>
                <c:pt idx="273">
                  <c:v>1.2673913015533399E-2</c:v>
                </c:pt>
                <c:pt idx="274">
                  <c:v>1.27998808899025E-2</c:v>
                </c:pt>
                <c:pt idx="275">
                  <c:v>1.27596418002638E-2</c:v>
                </c:pt>
                <c:pt idx="276">
                  <c:v>1.27647258450203E-2</c:v>
                </c:pt>
                <c:pt idx="277">
                  <c:v>1.2722173679551601E-2</c:v>
                </c:pt>
                <c:pt idx="278">
                  <c:v>1.27374645473437E-2</c:v>
                </c:pt>
                <c:pt idx="279">
                  <c:v>1.27348021807438E-2</c:v>
                </c:pt>
                <c:pt idx="280">
                  <c:v>1.27097056153602E-2</c:v>
                </c:pt>
                <c:pt idx="281">
                  <c:v>1.27255670427128E-2</c:v>
                </c:pt>
                <c:pt idx="282">
                  <c:v>1.27313606632248E-2</c:v>
                </c:pt>
                <c:pt idx="283">
                  <c:v>1.27969593754439E-2</c:v>
                </c:pt>
                <c:pt idx="284">
                  <c:v>1.2828294829067799E-2</c:v>
                </c:pt>
                <c:pt idx="285">
                  <c:v>1.28959405586928E-2</c:v>
                </c:pt>
                <c:pt idx="286">
                  <c:v>1.28624763119192E-2</c:v>
                </c:pt>
                <c:pt idx="287">
                  <c:v>1.28984508377937E-2</c:v>
                </c:pt>
                <c:pt idx="288">
                  <c:v>1.28786069302013E-2</c:v>
                </c:pt>
                <c:pt idx="289">
                  <c:v>1.3013869529243299E-2</c:v>
                </c:pt>
                <c:pt idx="290">
                  <c:v>1.26208581778015E-2</c:v>
                </c:pt>
                <c:pt idx="291">
                  <c:v>1.26183564129594E-2</c:v>
                </c:pt>
                <c:pt idx="292">
                  <c:v>1.25755212047533E-2</c:v>
                </c:pt>
                <c:pt idx="293">
                  <c:v>1.2549008073380099E-2</c:v>
                </c:pt>
                <c:pt idx="294">
                  <c:v>1.25495591988615E-2</c:v>
                </c:pt>
                <c:pt idx="295">
                  <c:v>1.25233262094242E-2</c:v>
                </c:pt>
                <c:pt idx="296">
                  <c:v>1.25194596808096E-2</c:v>
                </c:pt>
                <c:pt idx="297">
                  <c:v>1.2534248261255701E-2</c:v>
                </c:pt>
                <c:pt idx="298">
                  <c:v>1.2812352806317E-2</c:v>
                </c:pt>
                <c:pt idx="299">
                  <c:v>1.2619495174677E-2</c:v>
                </c:pt>
                <c:pt idx="300">
                  <c:v>1.2566612746452601E-2</c:v>
                </c:pt>
                <c:pt idx="301">
                  <c:v>1.24027452973259E-2</c:v>
                </c:pt>
                <c:pt idx="302">
                  <c:v>1.19899072454263E-2</c:v>
                </c:pt>
                <c:pt idx="303">
                  <c:v>1.19814554963592E-2</c:v>
                </c:pt>
                <c:pt idx="304">
                  <c:v>1.2242264370228699E-2</c:v>
                </c:pt>
                <c:pt idx="305">
                  <c:v>1.22640956648826E-2</c:v>
                </c:pt>
                <c:pt idx="306">
                  <c:v>1.2257353794208101E-2</c:v>
                </c:pt>
                <c:pt idx="307">
                  <c:v>1.20063023807094E-2</c:v>
                </c:pt>
                <c:pt idx="308">
                  <c:v>1.2034051781138E-2</c:v>
                </c:pt>
                <c:pt idx="309">
                  <c:v>1.1923540326121401E-2</c:v>
                </c:pt>
                <c:pt idx="310">
                  <c:v>1.13498575128585E-2</c:v>
                </c:pt>
                <c:pt idx="311">
                  <c:v>1.1280152620037299E-2</c:v>
                </c:pt>
                <c:pt idx="312">
                  <c:v>1.02031199810608E-2</c:v>
                </c:pt>
                <c:pt idx="313">
                  <c:v>1.00117989262358E-2</c:v>
                </c:pt>
                <c:pt idx="314">
                  <c:v>9.9787213261437503E-3</c:v>
                </c:pt>
                <c:pt idx="315">
                  <c:v>1.0015437011852899E-2</c:v>
                </c:pt>
                <c:pt idx="316">
                  <c:v>9.3113523267785506E-3</c:v>
                </c:pt>
                <c:pt idx="317">
                  <c:v>8.9005638712400404E-3</c:v>
                </c:pt>
                <c:pt idx="318">
                  <c:v>8.3147418263322791E-3</c:v>
                </c:pt>
                <c:pt idx="319">
                  <c:v>8.4462161496185809E-3</c:v>
                </c:pt>
                <c:pt idx="320">
                  <c:v>8.4589878221373593E-3</c:v>
                </c:pt>
                <c:pt idx="321">
                  <c:v>8.3530944618187396E-3</c:v>
                </c:pt>
                <c:pt idx="322">
                  <c:v>8.4962039357268492E-3</c:v>
                </c:pt>
                <c:pt idx="323">
                  <c:v>8.4279640938412104E-3</c:v>
                </c:pt>
                <c:pt idx="324">
                  <c:v>8.2972402016819897E-3</c:v>
                </c:pt>
                <c:pt idx="325">
                  <c:v>8.2310685801358502E-3</c:v>
                </c:pt>
                <c:pt idx="326">
                  <c:v>8.2459820523928702E-3</c:v>
                </c:pt>
                <c:pt idx="327">
                  <c:v>8.1296474987862608E-3</c:v>
                </c:pt>
                <c:pt idx="328">
                  <c:v>7.9074763387321206E-3</c:v>
                </c:pt>
                <c:pt idx="329">
                  <c:v>7.8692151440797106E-3</c:v>
                </c:pt>
                <c:pt idx="330">
                  <c:v>7.9824508523161503E-3</c:v>
                </c:pt>
                <c:pt idx="331">
                  <c:v>7.8886182896279692E-3</c:v>
                </c:pt>
                <c:pt idx="332">
                  <c:v>7.7837824766839696E-3</c:v>
                </c:pt>
                <c:pt idx="333">
                  <c:v>7.6781993456320396E-3</c:v>
                </c:pt>
                <c:pt idx="334">
                  <c:v>7.5995164678678501E-3</c:v>
                </c:pt>
                <c:pt idx="335">
                  <c:v>7.8890935612119292E-3</c:v>
                </c:pt>
                <c:pt idx="336">
                  <c:v>7.8506024027539794E-3</c:v>
                </c:pt>
                <c:pt idx="337">
                  <c:v>7.4732434100539197E-3</c:v>
                </c:pt>
                <c:pt idx="338">
                  <c:v>7.4654931404868202E-3</c:v>
                </c:pt>
                <c:pt idx="339">
                  <c:v>7.5464461070037497E-3</c:v>
                </c:pt>
                <c:pt idx="340">
                  <c:v>7.5600974984041504E-3</c:v>
                </c:pt>
                <c:pt idx="341">
                  <c:v>7.5685502291518696E-3</c:v>
                </c:pt>
                <c:pt idx="342">
                  <c:v>7.5927966303217798E-3</c:v>
                </c:pt>
                <c:pt idx="343">
                  <c:v>7.5017732018278398E-3</c:v>
                </c:pt>
                <c:pt idx="344">
                  <c:v>7.5676237285545404E-3</c:v>
                </c:pt>
                <c:pt idx="345">
                  <c:v>7.5662486897537899E-3</c:v>
                </c:pt>
                <c:pt idx="346">
                  <c:v>7.61323612057291E-3</c:v>
                </c:pt>
                <c:pt idx="347">
                  <c:v>7.67981870903624E-3</c:v>
                </c:pt>
                <c:pt idx="348">
                  <c:v>7.5540512718978298E-3</c:v>
                </c:pt>
                <c:pt idx="349">
                  <c:v>7.3586450420909501E-3</c:v>
                </c:pt>
                <c:pt idx="350">
                  <c:v>7.3823847723933703E-3</c:v>
                </c:pt>
                <c:pt idx="351">
                  <c:v>7.4261875955065103E-3</c:v>
                </c:pt>
                <c:pt idx="352">
                  <c:v>7.2916496739740804E-3</c:v>
                </c:pt>
                <c:pt idx="353">
                  <c:v>7.4107033036398999E-3</c:v>
                </c:pt>
                <c:pt idx="354">
                  <c:v>7.4236694536664299E-3</c:v>
                </c:pt>
                <c:pt idx="355">
                  <c:v>7.5641997294359801E-3</c:v>
                </c:pt>
                <c:pt idx="356">
                  <c:v>7.63087298387075E-3</c:v>
                </c:pt>
                <c:pt idx="357">
                  <c:v>7.6325776917128604E-3</c:v>
                </c:pt>
                <c:pt idx="358">
                  <c:v>7.0477176357422499E-3</c:v>
                </c:pt>
                <c:pt idx="359">
                  <c:v>7.7592737188588801E-3</c:v>
                </c:pt>
                <c:pt idx="360">
                  <c:v>7.7559984092424898E-3</c:v>
                </c:pt>
                <c:pt idx="361">
                  <c:v>7.7882089879830699E-3</c:v>
                </c:pt>
                <c:pt idx="362">
                  <c:v>7.7503016710606604E-3</c:v>
                </c:pt>
                <c:pt idx="363">
                  <c:v>7.7889102779306997E-3</c:v>
                </c:pt>
                <c:pt idx="364">
                  <c:v>7.3544006259810097E-3</c:v>
                </c:pt>
                <c:pt idx="365">
                  <c:v>7.34485590309029E-3</c:v>
                </c:pt>
                <c:pt idx="366">
                  <c:v>7.35758063521663E-3</c:v>
                </c:pt>
                <c:pt idx="367">
                  <c:v>8.08803975830104E-3</c:v>
                </c:pt>
                <c:pt idx="368">
                  <c:v>8.1024719546952204E-3</c:v>
                </c:pt>
                <c:pt idx="369">
                  <c:v>8.0233882764787004E-3</c:v>
                </c:pt>
                <c:pt idx="370">
                  <c:v>8.0671576287090607E-3</c:v>
                </c:pt>
                <c:pt idx="371">
                  <c:v>8.0227070382884007E-3</c:v>
                </c:pt>
                <c:pt idx="372">
                  <c:v>8.0431834886918099E-3</c:v>
                </c:pt>
                <c:pt idx="373">
                  <c:v>8.1345491902992395E-3</c:v>
                </c:pt>
                <c:pt idx="374">
                  <c:v>8.1194428935054894E-3</c:v>
                </c:pt>
                <c:pt idx="375">
                  <c:v>8.1036336237209402E-3</c:v>
                </c:pt>
                <c:pt idx="376">
                  <c:v>8.5355232234119293E-3</c:v>
                </c:pt>
                <c:pt idx="377">
                  <c:v>8.5396833064719391E-3</c:v>
                </c:pt>
                <c:pt idx="378">
                  <c:v>8.79529779236605E-3</c:v>
                </c:pt>
                <c:pt idx="379">
                  <c:v>8.8276943287234205E-3</c:v>
                </c:pt>
                <c:pt idx="380">
                  <c:v>8.8326288631899504E-3</c:v>
                </c:pt>
                <c:pt idx="381">
                  <c:v>8.8175918442621598E-3</c:v>
                </c:pt>
                <c:pt idx="382">
                  <c:v>8.9526536191874007E-3</c:v>
                </c:pt>
                <c:pt idx="383">
                  <c:v>8.9488645585106708E-3</c:v>
                </c:pt>
                <c:pt idx="384">
                  <c:v>9.0274181155109903E-3</c:v>
                </c:pt>
                <c:pt idx="385">
                  <c:v>9.0305033134435494E-3</c:v>
                </c:pt>
                <c:pt idx="386">
                  <c:v>9.1468332023309801E-3</c:v>
                </c:pt>
                <c:pt idx="387">
                  <c:v>9.4078213478363797E-3</c:v>
                </c:pt>
                <c:pt idx="388">
                  <c:v>1.01414829904325E-2</c:v>
                </c:pt>
                <c:pt idx="389">
                  <c:v>1.0242605160147999E-2</c:v>
                </c:pt>
                <c:pt idx="390">
                  <c:v>1.0825851938168899E-2</c:v>
                </c:pt>
                <c:pt idx="391">
                  <c:v>1.0833872307976E-2</c:v>
                </c:pt>
                <c:pt idx="392">
                  <c:v>1.0843851862872501E-2</c:v>
                </c:pt>
                <c:pt idx="393">
                  <c:v>1.10112810273426E-2</c:v>
                </c:pt>
                <c:pt idx="394">
                  <c:v>1.09914088060593E-2</c:v>
                </c:pt>
                <c:pt idx="395">
                  <c:v>1.11242876057894E-2</c:v>
                </c:pt>
                <c:pt idx="396">
                  <c:v>1.1122244901905101E-2</c:v>
                </c:pt>
                <c:pt idx="397">
                  <c:v>1.1132250060484499E-2</c:v>
                </c:pt>
                <c:pt idx="398">
                  <c:v>1.11544918756953E-2</c:v>
                </c:pt>
                <c:pt idx="399">
                  <c:v>1.1073739213439701E-2</c:v>
                </c:pt>
                <c:pt idx="400">
                  <c:v>1.1135632792388101E-2</c:v>
                </c:pt>
                <c:pt idx="401">
                  <c:v>1.1131952146987201E-2</c:v>
                </c:pt>
                <c:pt idx="402">
                  <c:v>1.1252236157585501E-2</c:v>
                </c:pt>
                <c:pt idx="403">
                  <c:v>1.12519452503011E-2</c:v>
                </c:pt>
                <c:pt idx="404">
                  <c:v>1.11607266398081E-2</c:v>
                </c:pt>
                <c:pt idx="405">
                  <c:v>1.10762643746586E-2</c:v>
                </c:pt>
                <c:pt idx="406">
                  <c:v>1.10736555713561E-2</c:v>
                </c:pt>
                <c:pt idx="407">
                  <c:v>1.1027817235471599E-2</c:v>
                </c:pt>
                <c:pt idx="408">
                  <c:v>1.1034947424887601E-2</c:v>
                </c:pt>
                <c:pt idx="409">
                  <c:v>1.1091646999051E-2</c:v>
                </c:pt>
                <c:pt idx="410">
                  <c:v>1.15723724356192E-2</c:v>
                </c:pt>
                <c:pt idx="411">
                  <c:v>1.1568192169165799E-2</c:v>
                </c:pt>
                <c:pt idx="412">
                  <c:v>1.1618238058719E-2</c:v>
                </c:pt>
                <c:pt idx="413">
                  <c:v>1.15037856242294E-2</c:v>
                </c:pt>
                <c:pt idx="414">
                  <c:v>1.14805113020526E-2</c:v>
                </c:pt>
                <c:pt idx="415">
                  <c:v>1.1387589893226E-2</c:v>
                </c:pt>
                <c:pt idx="416">
                  <c:v>1.1357976457819699E-2</c:v>
                </c:pt>
                <c:pt idx="417">
                  <c:v>1.1448034728746699E-2</c:v>
                </c:pt>
                <c:pt idx="418">
                  <c:v>1.1479069924837101E-2</c:v>
                </c:pt>
                <c:pt idx="419">
                  <c:v>1.17001683552732E-2</c:v>
                </c:pt>
                <c:pt idx="420">
                  <c:v>1.1724308101394401E-2</c:v>
                </c:pt>
                <c:pt idx="421">
                  <c:v>1.1733971626225101E-2</c:v>
                </c:pt>
                <c:pt idx="422">
                  <c:v>1.18268591925386E-2</c:v>
                </c:pt>
                <c:pt idx="423">
                  <c:v>1.1851557830668699E-2</c:v>
                </c:pt>
                <c:pt idx="424">
                  <c:v>1.21315303028649E-2</c:v>
                </c:pt>
                <c:pt idx="425">
                  <c:v>1.20805068307328E-2</c:v>
                </c:pt>
                <c:pt idx="426">
                  <c:v>1.22177025949235E-2</c:v>
                </c:pt>
                <c:pt idx="427">
                  <c:v>1.18668080726367E-2</c:v>
                </c:pt>
                <c:pt idx="428">
                  <c:v>1.1829692802311101E-2</c:v>
                </c:pt>
                <c:pt idx="429">
                  <c:v>1.2069780410840499E-2</c:v>
                </c:pt>
                <c:pt idx="430">
                  <c:v>1.2452624931960799E-2</c:v>
                </c:pt>
                <c:pt idx="431">
                  <c:v>1.2663396544684199E-2</c:v>
                </c:pt>
                <c:pt idx="432">
                  <c:v>1.26482919265202E-2</c:v>
                </c:pt>
                <c:pt idx="433">
                  <c:v>1.2729739504426499E-2</c:v>
                </c:pt>
                <c:pt idx="434">
                  <c:v>1.2725625119989399E-2</c:v>
                </c:pt>
                <c:pt idx="435">
                  <c:v>1.27319187095951E-2</c:v>
                </c:pt>
                <c:pt idx="436">
                  <c:v>1.2669876997279899E-2</c:v>
                </c:pt>
                <c:pt idx="437">
                  <c:v>1.2656760224052399E-2</c:v>
                </c:pt>
                <c:pt idx="438">
                  <c:v>1.24216800984815E-2</c:v>
                </c:pt>
                <c:pt idx="439">
                  <c:v>1.22948237117857E-2</c:v>
                </c:pt>
                <c:pt idx="440">
                  <c:v>1.23171133009223E-2</c:v>
                </c:pt>
                <c:pt idx="441">
                  <c:v>1.2569383859665099E-2</c:v>
                </c:pt>
                <c:pt idx="442">
                  <c:v>1.2252974796293101E-2</c:v>
                </c:pt>
                <c:pt idx="443">
                  <c:v>1.22614591282802E-2</c:v>
                </c:pt>
                <c:pt idx="444">
                  <c:v>1.22945523444577E-2</c:v>
                </c:pt>
                <c:pt idx="445">
                  <c:v>1.2254501509251E-2</c:v>
                </c:pt>
                <c:pt idx="446">
                  <c:v>1.25427133857655E-2</c:v>
                </c:pt>
                <c:pt idx="447">
                  <c:v>1.24684564301019E-2</c:v>
                </c:pt>
                <c:pt idx="448">
                  <c:v>1.24142964639481E-2</c:v>
                </c:pt>
                <c:pt idx="449">
                  <c:v>1.2261651540386101E-2</c:v>
                </c:pt>
                <c:pt idx="450">
                  <c:v>1.1859038109687E-2</c:v>
                </c:pt>
                <c:pt idx="451">
                  <c:v>1.19098257574352E-2</c:v>
                </c:pt>
                <c:pt idx="452">
                  <c:v>1.19314612468258E-2</c:v>
                </c:pt>
                <c:pt idx="453">
                  <c:v>1.19162373398621E-2</c:v>
                </c:pt>
                <c:pt idx="454">
                  <c:v>1.19177973966025E-2</c:v>
                </c:pt>
                <c:pt idx="455">
                  <c:v>1.16956258400526E-2</c:v>
                </c:pt>
                <c:pt idx="456">
                  <c:v>1.19941495059579E-2</c:v>
                </c:pt>
                <c:pt idx="457">
                  <c:v>1.2005739001970399E-2</c:v>
                </c:pt>
                <c:pt idx="458">
                  <c:v>1.23098016067311E-2</c:v>
                </c:pt>
                <c:pt idx="459">
                  <c:v>1.23346904983946E-2</c:v>
                </c:pt>
                <c:pt idx="460">
                  <c:v>1.22220836730713E-2</c:v>
                </c:pt>
                <c:pt idx="461">
                  <c:v>1.2493918116380299E-2</c:v>
                </c:pt>
                <c:pt idx="462">
                  <c:v>1.24231331034808E-2</c:v>
                </c:pt>
                <c:pt idx="463">
                  <c:v>1.2418324857666E-2</c:v>
                </c:pt>
                <c:pt idx="464">
                  <c:v>1.27136493721793E-2</c:v>
                </c:pt>
                <c:pt idx="465">
                  <c:v>1.28229234838296E-2</c:v>
                </c:pt>
                <c:pt idx="466">
                  <c:v>1.27805820553648E-2</c:v>
                </c:pt>
                <c:pt idx="467">
                  <c:v>1.27748112310479E-2</c:v>
                </c:pt>
                <c:pt idx="468">
                  <c:v>1.2796974362699901E-2</c:v>
                </c:pt>
                <c:pt idx="469">
                  <c:v>1.2717861728841999E-2</c:v>
                </c:pt>
                <c:pt idx="470">
                  <c:v>1.23225908139332E-2</c:v>
                </c:pt>
                <c:pt idx="471">
                  <c:v>1.24355237949079E-2</c:v>
                </c:pt>
                <c:pt idx="472">
                  <c:v>1.24027190689317E-2</c:v>
                </c:pt>
                <c:pt idx="473">
                  <c:v>1.2421909010117501E-2</c:v>
                </c:pt>
                <c:pt idx="474">
                  <c:v>1.24416653527499E-2</c:v>
                </c:pt>
                <c:pt idx="475">
                  <c:v>1.2381673824161801E-2</c:v>
                </c:pt>
                <c:pt idx="476">
                  <c:v>1.23908310501488E-2</c:v>
                </c:pt>
                <c:pt idx="477">
                  <c:v>1.22840021613935E-2</c:v>
                </c:pt>
                <c:pt idx="478">
                  <c:v>1.2273134703421699E-2</c:v>
                </c:pt>
                <c:pt idx="479">
                  <c:v>1.1790119985027299E-2</c:v>
                </c:pt>
                <c:pt idx="480">
                  <c:v>1.22067490700461E-2</c:v>
                </c:pt>
                <c:pt idx="481">
                  <c:v>1.21488589939643E-2</c:v>
                </c:pt>
                <c:pt idx="482">
                  <c:v>1.2085938094779401E-2</c:v>
                </c:pt>
                <c:pt idx="483">
                  <c:v>1.21337604985531E-2</c:v>
                </c:pt>
                <c:pt idx="484">
                  <c:v>1.1886164169414201E-2</c:v>
                </c:pt>
                <c:pt idx="485">
                  <c:v>1.1939981462256799E-2</c:v>
                </c:pt>
                <c:pt idx="486">
                  <c:v>1.19900401582895E-2</c:v>
                </c:pt>
                <c:pt idx="487">
                  <c:v>1.20338408064823E-2</c:v>
                </c:pt>
                <c:pt idx="488">
                  <c:v>1.2044796884732799E-2</c:v>
                </c:pt>
                <c:pt idx="489">
                  <c:v>1.17396432980386E-2</c:v>
                </c:pt>
                <c:pt idx="490">
                  <c:v>1.1513153593197999E-2</c:v>
                </c:pt>
                <c:pt idx="491">
                  <c:v>1.12070213263045E-2</c:v>
                </c:pt>
                <c:pt idx="492">
                  <c:v>1.11816416765295E-2</c:v>
                </c:pt>
                <c:pt idx="493">
                  <c:v>1.08273893834965E-2</c:v>
                </c:pt>
                <c:pt idx="494">
                  <c:v>1.10674257568087E-2</c:v>
                </c:pt>
                <c:pt idx="495">
                  <c:v>1.10898663382911E-2</c:v>
                </c:pt>
                <c:pt idx="496">
                  <c:v>1.13394051074355E-2</c:v>
                </c:pt>
                <c:pt idx="497">
                  <c:v>1.1372117661619999E-2</c:v>
                </c:pt>
                <c:pt idx="498">
                  <c:v>1.17827033953125E-2</c:v>
                </c:pt>
                <c:pt idx="499">
                  <c:v>1.1768889414758401E-2</c:v>
                </c:pt>
                <c:pt idx="500">
                  <c:v>1.2075170448859401E-2</c:v>
                </c:pt>
                <c:pt idx="501">
                  <c:v>1.16805458410174E-2</c:v>
                </c:pt>
                <c:pt idx="502">
                  <c:v>1.17877445711073E-2</c:v>
                </c:pt>
                <c:pt idx="503">
                  <c:v>1.1716385700570899E-2</c:v>
                </c:pt>
                <c:pt idx="504">
                  <c:v>1.1727302500921299E-2</c:v>
                </c:pt>
                <c:pt idx="505">
                  <c:v>1.1754051618266899E-2</c:v>
                </c:pt>
                <c:pt idx="506">
                  <c:v>1.1449627667161901E-2</c:v>
                </c:pt>
                <c:pt idx="507">
                  <c:v>1.1666497524238499E-2</c:v>
                </c:pt>
                <c:pt idx="508">
                  <c:v>1.14650474654109E-2</c:v>
                </c:pt>
                <c:pt idx="509">
                  <c:v>1.18272532113004E-2</c:v>
                </c:pt>
                <c:pt idx="510">
                  <c:v>1.17066297736439E-2</c:v>
                </c:pt>
                <c:pt idx="511">
                  <c:v>1.1607109921741099E-2</c:v>
                </c:pt>
                <c:pt idx="512">
                  <c:v>1.17954012069591E-2</c:v>
                </c:pt>
                <c:pt idx="513">
                  <c:v>1.1692764537097401E-2</c:v>
                </c:pt>
                <c:pt idx="514">
                  <c:v>1.17731207140902E-2</c:v>
                </c:pt>
                <c:pt idx="515">
                  <c:v>1.17629036596071E-2</c:v>
                </c:pt>
                <c:pt idx="516">
                  <c:v>1.16711638593382E-2</c:v>
                </c:pt>
                <c:pt idx="517">
                  <c:v>1.17692585969479E-2</c:v>
                </c:pt>
                <c:pt idx="518">
                  <c:v>1.1511862791162701E-2</c:v>
                </c:pt>
                <c:pt idx="519">
                  <c:v>1.1414319451889801E-2</c:v>
                </c:pt>
                <c:pt idx="520">
                  <c:v>1.14164723796436E-2</c:v>
                </c:pt>
                <c:pt idx="521">
                  <c:v>1.11806681783352E-2</c:v>
                </c:pt>
                <c:pt idx="522">
                  <c:v>1.1463195906882001E-2</c:v>
                </c:pt>
                <c:pt idx="523">
                  <c:v>1.15002282330386E-2</c:v>
                </c:pt>
                <c:pt idx="524">
                  <c:v>1.1577162319075299E-2</c:v>
                </c:pt>
                <c:pt idx="525">
                  <c:v>1.13551749318662E-2</c:v>
                </c:pt>
                <c:pt idx="526">
                  <c:v>1.1369916188031E-2</c:v>
                </c:pt>
                <c:pt idx="527">
                  <c:v>1.14891697559434E-2</c:v>
                </c:pt>
                <c:pt idx="528">
                  <c:v>1.1506779594668001E-2</c:v>
                </c:pt>
                <c:pt idx="529">
                  <c:v>1.15178337310732E-2</c:v>
                </c:pt>
                <c:pt idx="530">
                  <c:v>1.16169987329547E-2</c:v>
                </c:pt>
                <c:pt idx="531">
                  <c:v>1.16257471385675E-2</c:v>
                </c:pt>
                <c:pt idx="532">
                  <c:v>1.1848024499688499E-2</c:v>
                </c:pt>
                <c:pt idx="533">
                  <c:v>1.1720791326296999E-2</c:v>
                </c:pt>
                <c:pt idx="534">
                  <c:v>1.2468756556302101E-2</c:v>
                </c:pt>
                <c:pt idx="535">
                  <c:v>1.241983871522E-2</c:v>
                </c:pt>
                <c:pt idx="536">
                  <c:v>1.24372034955936E-2</c:v>
                </c:pt>
                <c:pt idx="537">
                  <c:v>1.24166969048714E-2</c:v>
                </c:pt>
                <c:pt idx="538">
                  <c:v>1.2433507967508001E-2</c:v>
                </c:pt>
                <c:pt idx="539">
                  <c:v>1.2458568642814499E-2</c:v>
                </c:pt>
                <c:pt idx="540">
                  <c:v>1.219322797925E-2</c:v>
                </c:pt>
                <c:pt idx="541">
                  <c:v>1.24156908811821E-2</c:v>
                </c:pt>
                <c:pt idx="542">
                  <c:v>1.2437989720451299E-2</c:v>
                </c:pt>
                <c:pt idx="543">
                  <c:v>1.23472651405059E-2</c:v>
                </c:pt>
                <c:pt idx="544">
                  <c:v>1.25138368364413E-2</c:v>
                </c:pt>
                <c:pt idx="545">
                  <c:v>1.2960187634575199E-2</c:v>
                </c:pt>
                <c:pt idx="546">
                  <c:v>1.28783566027244E-2</c:v>
                </c:pt>
                <c:pt idx="547">
                  <c:v>1.28730517226423E-2</c:v>
                </c:pt>
                <c:pt idx="548">
                  <c:v>1.28482990175557E-2</c:v>
                </c:pt>
                <c:pt idx="549">
                  <c:v>1.31387505446029E-2</c:v>
                </c:pt>
                <c:pt idx="550">
                  <c:v>1.30521643024066E-2</c:v>
                </c:pt>
                <c:pt idx="551">
                  <c:v>1.31178383855343E-2</c:v>
                </c:pt>
                <c:pt idx="552">
                  <c:v>1.30839641113725E-2</c:v>
                </c:pt>
                <c:pt idx="553">
                  <c:v>1.31227027637094E-2</c:v>
                </c:pt>
                <c:pt idx="554">
                  <c:v>1.3078432184210301E-2</c:v>
                </c:pt>
                <c:pt idx="555">
                  <c:v>1.3142141414426199E-2</c:v>
                </c:pt>
                <c:pt idx="556">
                  <c:v>1.2749972685412701E-2</c:v>
                </c:pt>
                <c:pt idx="557">
                  <c:v>1.27321260786661E-2</c:v>
                </c:pt>
                <c:pt idx="558">
                  <c:v>1.2915728999126399E-2</c:v>
                </c:pt>
                <c:pt idx="559">
                  <c:v>1.2997455250880001E-2</c:v>
                </c:pt>
                <c:pt idx="560">
                  <c:v>1.27227185206093E-2</c:v>
                </c:pt>
                <c:pt idx="561">
                  <c:v>1.2702596589358E-2</c:v>
                </c:pt>
                <c:pt idx="562">
                  <c:v>1.26056768823856E-2</c:v>
                </c:pt>
                <c:pt idx="563">
                  <c:v>1.2667585916982801E-2</c:v>
                </c:pt>
                <c:pt idx="564">
                  <c:v>1.2702172069149999E-2</c:v>
                </c:pt>
                <c:pt idx="565">
                  <c:v>1.2669644231192399E-2</c:v>
                </c:pt>
                <c:pt idx="566">
                  <c:v>1.26858212303182E-2</c:v>
                </c:pt>
                <c:pt idx="567">
                  <c:v>1.2503360654194299E-2</c:v>
                </c:pt>
                <c:pt idx="568">
                  <c:v>1.2478814351444E-2</c:v>
                </c:pt>
                <c:pt idx="569">
                  <c:v>1.2170461741973299E-2</c:v>
                </c:pt>
                <c:pt idx="570">
                  <c:v>1.21680420831346E-2</c:v>
                </c:pt>
                <c:pt idx="571">
                  <c:v>1.2210216281833899E-2</c:v>
                </c:pt>
                <c:pt idx="572">
                  <c:v>1.2154566358535301E-2</c:v>
                </c:pt>
                <c:pt idx="573">
                  <c:v>1.2114978323926299E-2</c:v>
                </c:pt>
                <c:pt idx="574">
                  <c:v>1.19979894304394E-2</c:v>
                </c:pt>
                <c:pt idx="575">
                  <c:v>1.2053787889311199E-2</c:v>
                </c:pt>
                <c:pt idx="576">
                  <c:v>1.1957411310904701E-2</c:v>
                </c:pt>
                <c:pt idx="577">
                  <c:v>1.2104450743344101E-2</c:v>
                </c:pt>
                <c:pt idx="578">
                  <c:v>1.20000860209544E-2</c:v>
                </c:pt>
                <c:pt idx="579">
                  <c:v>1.20232613398905E-2</c:v>
                </c:pt>
                <c:pt idx="580">
                  <c:v>1.2019415742462101E-2</c:v>
                </c:pt>
                <c:pt idx="581">
                  <c:v>1.17101673500376E-2</c:v>
                </c:pt>
                <c:pt idx="582">
                  <c:v>1.14632329047207E-2</c:v>
                </c:pt>
                <c:pt idx="583">
                  <c:v>1.14739561275887E-2</c:v>
                </c:pt>
                <c:pt idx="584">
                  <c:v>1.1387383444951001E-2</c:v>
                </c:pt>
                <c:pt idx="585">
                  <c:v>1.1320623330583E-2</c:v>
                </c:pt>
                <c:pt idx="586">
                  <c:v>1.1585473902489899E-2</c:v>
                </c:pt>
                <c:pt idx="587">
                  <c:v>1.2208164264414101E-2</c:v>
                </c:pt>
                <c:pt idx="588">
                  <c:v>1.3347820458183699E-2</c:v>
                </c:pt>
                <c:pt idx="589">
                  <c:v>1.3379201094956101E-2</c:v>
                </c:pt>
                <c:pt idx="590">
                  <c:v>1.38373407080364E-2</c:v>
                </c:pt>
                <c:pt idx="591">
                  <c:v>1.44339592068968E-2</c:v>
                </c:pt>
                <c:pt idx="592">
                  <c:v>1.43786704923174E-2</c:v>
                </c:pt>
                <c:pt idx="593">
                  <c:v>1.4621829464800999E-2</c:v>
                </c:pt>
                <c:pt idx="594">
                  <c:v>1.47035385868902E-2</c:v>
                </c:pt>
                <c:pt idx="595">
                  <c:v>1.49222788337816E-2</c:v>
                </c:pt>
                <c:pt idx="596">
                  <c:v>1.4951349395459701E-2</c:v>
                </c:pt>
                <c:pt idx="597">
                  <c:v>1.49703640799693E-2</c:v>
                </c:pt>
                <c:pt idx="598">
                  <c:v>1.49864039624271E-2</c:v>
                </c:pt>
                <c:pt idx="599">
                  <c:v>1.50825529019302E-2</c:v>
                </c:pt>
                <c:pt idx="600">
                  <c:v>1.5288105444493799E-2</c:v>
                </c:pt>
                <c:pt idx="601">
                  <c:v>1.50294640475596E-2</c:v>
                </c:pt>
                <c:pt idx="602">
                  <c:v>1.52687615827591E-2</c:v>
                </c:pt>
                <c:pt idx="603">
                  <c:v>1.5267474337058299E-2</c:v>
                </c:pt>
                <c:pt idx="604">
                  <c:v>1.6047059367669501E-2</c:v>
                </c:pt>
                <c:pt idx="605">
                  <c:v>1.5671167269928898E-2</c:v>
                </c:pt>
                <c:pt idx="606">
                  <c:v>1.5671815210173998E-2</c:v>
                </c:pt>
                <c:pt idx="607">
                  <c:v>1.56564853920204E-2</c:v>
                </c:pt>
                <c:pt idx="608">
                  <c:v>1.5659808323440799E-2</c:v>
                </c:pt>
                <c:pt idx="609">
                  <c:v>1.5412251739662699E-2</c:v>
                </c:pt>
                <c:pt idx="610">
                  <c:v>1.5497749939908E-2</c:v>
                </c:pt>
                <c:pt idx="611">
                  <c:v>1.5499324508057801E-2</c:v>
                </c:pt>
                <c:pt idx="612">
                  <c:v>1.55490349309032E-2</c:v>
                </c:pt>
                <c:pt idx="613">
                  <c:v>1.55856764343426E-2</c:v>
                </c:pt>
                <c:pt idx="614">
                  <c:v>1.5482199343577901E-2</c:v>
                </c:pt>
                <c:pt idx="615">
                  <c:v>1.55355792128284E-2</c:v>
                </c:pt>
                <c:pt idx="616">
                  <c:v>1.5572692299830699E-2</c:v>
                </c:pt>
                <c:pt idx="617">
                  <c:v>1.55562364207545E-2</c:v>
                </c:pt>
                <c:pt idx="618">
                  <c:v>1.53137085317754E-2</c:v>
                </c:pt>
                <c:pt idx="619">
                  <c:v>1.5451369954582E-2</c:v>
                </c:pt>
                <c:pt idx="620">
                  <c:v>1.5453313156016101E-2</c:v>
                </c:pt>
                <c:pt idx="621">
                  <c:v>1.54374499334013E-2</c:v>
                </c:pt>
                <c:pt idx="622">
                  <c:v>1.54260416559355E-2</c:v>
                </c:pt>
                <c:pt idx="623">
                  <c:v>1.6119050307097E-2</c:v>
                </c:pt>
                <c:pt idx="624">
                  <c:v>1.60789460317394E-2</c:v>
                </c:pt>
                <c:pt idx="625">
                  <c:v>1.6078811418453E-2</c:v>
                </c:pt>
                <c:pt idx="626">
                  <c:v>1.61003643269866E-2</c:v>
                </c:pt>
                <c:pt idx="627">
                  <c:v>1.6090386704036199E-2</c:v>
                </c:pt>
                <c:pt idx="628">
                  <c:v>1.6138740709901501E-2</c:v>
                </c:pt>
                <c:pt idx="629">
                  <c:v>1.61108993770794E-2</c:v>
                </c:pt>
                <c:pt idx="630">
                  <c:v>1.6125993198111099E-2</c:v>
                </c:pt>
                <c:pt idx="631">
                  <c:v>1.60397921856173E-2</c:v>
                </c:pt>
                <c:pt idx="632">
                  <c:v>1.6020799041874E-2</c:v>
                </c:pt>
                <c:pt idx="633">
                  <c:v>1.6038324316619001E-2</c:v>
                </c:pt>
                <c:pt idx="634">
                  <c:v>1.6028101585877901E-2</c:v>
                </c:pt>
                <c:pt idx="635">
                  <c:v>1.5956868300320899E-2</c:v>
                </c:pt>
                <c:pt idx="636">
                  <c:v>1.6048680858041599E-2</c:v>
                </c:pt>
                <c:pt idx="637">
                  <c:v>1.5903194258348199E-2</c:v>
                </c:pt>
                <c:pt idx="638">
                  <c:v>1.578797978072E-2</c:v>
                </c:pt>
                <c:pt idx="639">
                  <c:v>1.57778884513653E-2</c:v>
                </c:pt>
                <c:pt idx="640">
                  <c:v>1.5777869510522301E-2</c:v>
                </c:pt>
                <c:pt idx="641">
                  <c:v>1.5770551386155501E-2</c:v>
                </c:pt>
                <c:pt idx="642">
                  <c:v>1.5842278027306901E-2</c:v>
                </c:pt>
                <c:pt idx="643">
                  <c:v>1.5792005887593399E-2</c:v>
                </c:pt>
                <c:pt idx="644">
                  <c:v>1.5640722844698401E-2</c:v>
                </c:pt>
                <c:pt idx="645">
                  <c:v>1.5773450990777101E-2</c:v>
                </c:pt>
                <c:pt idx="646">
                  <c:v>1.55244901992895E-2</c:v>
                </c:pt>
                <c:pt idx="647">
                  <c:v>1.50504290187126E-2</c:v>
                </c:pt>
                <c:pt idx="648">
                  <c:v>1.40713670774877E-2</c:v>
                </c:pt>
                <c:pt idx="649">
                  <c:v>1.40014848080741E-2</c:v>
                </c:pt>
                <c:pt idx="650">
                  <c:v>1.3382057233058299E-2</c:v>
                </c:pt>
                <c:pt idx="651">
                  <c:v>1.25978195020228E-2</c:v>
                </c:pt>
                <c:pt idx="652">
                  <c:v>1.25787388669072E-2</c:v>
                </c:pt>
                <c:pt idx="653">
                  <c:v>1.2829696071020399E-2</c:v>
                </c:pt>
                <c:pt idx="654">
                  <c:v>1.21814495581507E-2</c:v>
                </c:pt>
                <c:pt idx="655">
                  <c:v>1.1981587802593801E-2</c:v>
                </c:pt>
                <c:pt idx="656">
                  <c:v>1.19657010772079E-2</c:v>
                </c:pt>
                <c:pt idx="657">
                  <c:v>1.19056270594779E-2</c:v>
                </c:pt>
                <c:pt idx="658">
                  <c:v>1.18551933138998E-2</c:v>
                </c:pt>
                <c:pt idx="659">
                  <c:v>1.17620313945893E-2</c:v>
                </c:pt>
                <c:pt idx="660">
                  <c:v>1.14102619115183E-2</c:v>
                </c:pt>
                <c:pt idx="661">
                  <c:v>1.1574725222623801E-2</c:v>
                </c:pt>
                <c:pt idx="662">
                  <c:v>1.1429463988014E-2</c:v>
                </c:pt>
                <c:pt idx="663">
                  <c:v>1.1468496946207401E-2</c:v>
                </c:pt>
                <c:pt idx="664">
                  <c:v>1.0280133328161099E-2</c:v>
                </c:pt>
                <c:pt idx="665">
                  <c:v>1.03775719636237E-2</c:v>
                </c:pt>
                <c:pt idx="666">
                  <c:v>1.0386657271669699E-2</c:v>
                </c:pt>
                <c:pt idx="667">
                  <c:v>1.03734932249945E-2</c:v>
                </c:pt>
                <c:pt idx="668">
                  <c:v>1.03699694492842E-2</c:v>
                </c:pt>
                <c:pt idx="669">
                  <c:v>1.0314439378087801E-2</c:v>
                </c:pt>
                <c:pt idx="670">
                  <c:v>1.0487565782523999E-2</c:v>
                </c:pt>
                <c:pt idx="671">
                  <c:v>1.0438139270604999E-2</c:v>
                </c:pt>
                <c:pt idx="672">
                  <c:v>1.03737909674252E-2</c:v>
                </c:pt>
                <c:pt idx="673">
                  <c:v>1.03426520702318E-2</c:v>
                </c:pt>
                <c:pt idx="674">
                  <c:v>1.1001684511927E-2</c:v>
                </c:pt>
                <c:pt idx="675">
                  <c:v>1.1016476020770201E-2</c:v>
                </c:pt>
                <c:pt idx="676">
                  <c:v>1.09296874187864E-2</c:v>
                </c:pt>
                <c:pt idx="677">
                  <c:v>1.09669147495289E-2</c:v>
                </c:pt>
                <c:pt idx="678">
                  <c:v>1.0845517805323101E-2</c:v>
                </c:pt>
                <c:pt idx="679">
                  <c:v>1.05481801156714E-2</c:v>
                </c:pt>
                <c:pt idx="680">
                  <c:v>1.06940570978966E-2</c:v>
                </c:pt>
                <c:pt idx="681">
                  <c:v>1.06945959686181E-2</c:v>
                </c:pt>
                <c:pt idx="682">
                  <c:v>1.2709353423968801E-2</c:v>
                </c:pt>
                <c:pt idx="683">
                  <c:v>1.18303209548948E-2</c:v>
                </c:pt>
                <c:pt idx="684">
                  <c:v>1.2242752971977199E-2</c:v>
                </c:pt>
                <c:pt idx="685">
                  <c:v>1.2274381639679701E-2</c:v>
                </c:pt>
                <c:pt idx="686">
                  <c:v>1.2175582605130301E-2</c:v>
                </c:pt>
                <c:pt idx="687">
                  <c:v>1.22959023261576E-2</c:v>
                </c:pt>
                <c:pt idx="688">
                  <c:v>1.2527475954736E-2</c:v>
                </c:pt>
                <c:pt idx="689">
                  <c:v>1.2750360747426999E-2</c:v>
                </c:pt>
                <c:pt idx="690">
                  <c:v>1.27249723793932E-2</c:v>
                </c:pt>
                <c:pt idx="691">
                  <c:v>1.27201570406706E-2</c:v>
                </c:pt>
                <c:pt idx="692">
                  <c:v>1.26797836004968E-2</c:v>
                </c:pt>
                <c:pt idx="693">
                  <c:v>1.26783478288448E-2</c:v>
                </c:pt>
                <c:pt idx="694">
                  <c:v>1.26853511923012E-2</c:v>
                </c:pt>
                <c:pt idx="695">
                  <c:v>1.28056050662116E-2</c:v>
                </c:pt>
                <c:pt idx="696">
                  <c:v>1.2740760578208801E-2</c:v>
                </c:pt>
                <c:pt idx="697">
                  <c:v>1.2745714597214399E-2</c:v>
                </c:pt>
                <c:pt idx="698">
                  <c:v>1.2764575069336899E-2</c:v>
                </c:pt>
                <c:pt idx="699">
                  <c:v>1.29922284190549E-2</c:v>
                </c:pt>
                <c:pt idx="700">
                  <c:v>1.29919137570658E-2</c:v>
                </c:pt>
                <c:pt idx="701">
                  <c:v>1.3327388432467601E-2</c:v>
                </c:pt>
                <c:pt idx="702">
                  <c:v>1.3268918774288801E-2</c:v>
                </c:pt>
                <c:pt idx="703">
                  <c:v>1.3277163368188301E-2</c:v>
                </c:pt>
                <c:pt idx="704">
                  <c:v>1.3384763081558599E-2</c:v>
                </c:pt>
                <c:pt idx="705">
                  <c:v>1.33106231041873E-2</c:v>
                </c:pt>
                <c:pt idx="706">
                  <c:v>1.33514496946386E-2</c:v>
                </c:pt>
                <c:pt idx="707">
                  <c:v>1.3464685869481401E-2</c:v>
                </c:pt>
                <c:pt idx="708">
                  <c:v>1.34637110328646E-2</c:v>
                </c:pt>
                <c:pt idx="709">
                  <c:v>1.36441500500182E-2</c:v>
                </c:pt>
                <c:pt idx="710">
                  <c:v>1.36056100944126E-2</c:v>
                </c:pt>
                <c:pt idx="711">
                  <c:v>1.3538089442937801E-2</c:v>
                </c:pt>
                <c:pt idx="712">
                  <c:v>1.35387735098699E-2</c:v>
                </c:pt>
                <c:pt idx="713">
                  <c:v>1.30974092919266E-2</c:v>
                </c:pt>
                <c:pt idx="714">
                  <c:v>1.2924239594419001E-2</c:v>
                </c:pt>
                <c:pt idx="715">
                  <c:v>1.31323890214815E-2</c:v>
                </c:pt>
                <c:pt idx="716">
                  <c:v>1.3157601400047099E-2</c:v>
                </c:pt>
                <c:pt idx="717">
                  <c:v>1.40710799594098E-2</c:v>
                </c:pt>
                <c:pt idx="718">
                  <c:v>1.42092249162739E-2</c:v>
                </c:pt>
                <c:pt idx="719">
                  <c:v>1.4230864410048E-2</c:v>
                </c:pt>
                <c:pt idx="720">
                  <c:v>1.44459277695163E-2</c:v>
                </c:pt>
                <c:pt idx="721">
                  <c:v>1.43505869941392E-2</c:v>
                </c:pt>
                <c:pt idx="722">
                  <c:v>1.45003148573559E-2</c:v>
                </c:pt>
                <c:pt idx="723">
                  <c:v>1.44848952388822E-2</c:v>
                </c:pt>
                <c:pt idx="724">
                  <c:v>1.46526452496258E-2</c:v>
                </c:pt>
                <c:pt idx="725">
                  <c:v>1.4883400176636301E-2</c:v>
                </c:pt>
                <c:pt idx="726">
                  <c:v>1.49880840087753E-2</c:v>
                </c:pt>
                <c:pt idx="727">
                  <c:v>1.50815746485513E-2</c:v>
                </c:pt>
                <c:pt idx="728">
                  <c:v>1.51393496665225E-2</c:v>
                </c:pt>
                <c:pt idx="729">
                  <c:v>1.51060190003702E-2</c:v>
                </c:pt>
                <c:pt idx="730">
                  <c:v>1.4990200055351E-2</c:v>
                </c:pt>
                <c:pt idx="731">
                  <c:v>1.49818294043881E-2</c:v>
                </c:pt>
                <c:pt idx="732">
                  <c:v>1.4964905983086901E-2</c:v>
                </c:pt>
                <c:pt idx="733">
                  <c:v>1.4945149959331499E-2</c:v>
                </c:pt>
                <c:pt idx="734">
                  <c:v>1.45386208832933E-2</c:v>
                </c:pt>
                <c:pt idx="735">
                  <c:v>1.44367926134476E-2</c:v>
                </c:pt>
                <c:pt idx="736">
                  <c:v>1.46183164687463E-2</c:v>
                </c:pt>
                <c:pt idx="737">
                  <c:v>1.46411029983603E-2</c:v>
                </c:pt>
                <c:pt idx="738">
                  <c:v>1.48554928860643E-2</c:v>
                </c:pt>
                <c:pt idx="739">
                  <c:v>1.4860377595064599E-2</c:v>
                </c:pt>
                <c:pt idx="740">
                  <c:v>1.48239342926955E-2</c:v>
                </c:pt>
                <c:pt idx="741">
                  <c:v>1.4982046173695701E-2</c:v>
                </c:pt>
                <c:pt idx="742">
                  <c:v>1.3264601129602E-2</c:v>
                </c:pt>
                <c:pt idx="743">
                  <c:v>1.32680669762215E-2</c:v>
                </c:pt>
                <c:pt idx="744">
                  <c:v>1.2893867379964501E-2</c:v>
                </c:pt>
                <c:pt idx="745">
                  <c:v>1.28531627330626E-2</c:v>
                </c:pt>
                <c:pt idx="746">
                  <c:v>1.28611904129836E-2</c:v>
                </c:pt>
                <c:pt idx="747">
                  <c:v>1.27650955719568E-2</c:v>
                </c:pt>
                <c:pt idx="748">
                  <c:v>1.27079078536318E-2</c:v>
                </c:pt>
                <c:pt idx="749">
                  <c:v>1.23928166886857E-2</c:v>
                </c:pt>
                <c:pt idx="750">
                  <c:v>1.2399178828835501E-2</c:v>
                </c:pt>
                <c:pt idx="751">
                  <c:v>1.24486630667755E-2</c:v>
                </c:pt>
                <c:pt idx="752">
                  <c:v>1.2456694275981599E-2</c:v>
                </c:pt>
                <c:pt idx="753">
                  <c:v>1.2525181925624599E-2</c:v>
                </c:pt>
                <c:pt idx="754">
                  <c:v>1.2533689031279899E-2</c:v>
                </c:pt>
                <c:pt idx="755">
                  <c:v>1.2683268088570499E-2</c:v>
                </c:pt>
                <c:pt idx="756">
                  <c:v>1.28739499614333E-2</c:v>
                </c:pt>
                <c:pt idx="757">
                  <c:v>1.28812674366389E-2</c:v>
                </c:pt>
                <c:pt idx="758">
                  <c:v>1.33605753143884E-2</c:v>
                </c:pt>
                <c:pt idx="759">
                  <c:v>1.30520109229655E-2</c:v>
                </c:pt>
                <c:pt idx="760">
                  <c:v>1.68376040135144E-2</c:v>
                </c:pt>
                <c:pt idx="761">
                  <c:v>1.6657938848651601E-2</c:v>
                </c:pt>
                <c:pt idx="762">
                  <c:v>1.67948222136984E-2</c:v>
                </c:pt>
                <c:pt idx="763">
                  <c:v>1.67777049658221E-2</c:v>
                </c:pt>
                <c:pt idx="764">
                  <c:v>1.6701577321686999E-2</c:v>
                </c:pt>
                <c:pt idx="765">
                  <c:v>1.6810794011000801E-2</c:v>
                </c:pt>
                <c:pt idx="766">
                  <c:v>1.6914516950058599E-2</c:v>
                </c:pt>
                <c:pt idx="767">
                  <c:v>1.6841063804332899E-2</c:v>
                </c:pt>
                <c:pt idx="768">
                  <c:v>1.72930927151029E-2</c:v>
                </c:pt>
                <c:pt idx="769">
                  <c:v>1.7197906890790499E-2</c:v>
                </c:pt>
                <c:pt idx="770">
                  <c:v>1.7208148633298202E-2</c:v>
                </c:pt>
                <c:pt idx="771">
                  <c:v>1.72050520048991E-2</c:v>
                </c:pt>
                <c:pt idx="772">
                  <c:v>1.7225601404709901E-2</c:v>
                </c:pt>
                <c:pt idx="773">
                  <c:v>1.74308460738739E-2</c:v>
                </c:pt>
                <c:pt idx="774">
                  <c:v>1.7497273054816399E-2</c:v>
                </c:pt>
                <c:pt idx="775">
                  <c:v>1.7342825480578802E-2</c:v>
                </c:pt>
                <c:pt idx="776">
                  <c:v>1.75538183158911E-2</c:v>
                </c:pt>
                <c:pt idx="777">
                  <c:v>1.7008679049057802E-2</c:v>
                </c:pt>
                <c:pt idx="778">
                  <c:v>1.6906975516601402E-2</c:v>
                </c:pt>
                <c:pt idx="779">
                  <c:v>1.6909431718028799E-2</c:v>
                </c:pt>
                <c:pt idx="780">
                  <c:v>1.67084137938956E-2</c:v>
                </c:pt>
                <c:pt idx="781">
                  <c:v>1.6624880153736001E-2</c:v>
                </c:pt>
                <c:pt idx="782">
                  <c:v>1.6504463935409899E-2</c:v>
                </c:pt>
                <c:pt idx="783">
                  <c:v>1.6498056631646201E-2</c:v>
                </c:pt>
                <c:pt idx="784">
                  <c:v>1.70441861402361E-2</c:v>
                </c:pt>
                <c:pt idx="785">
                  <c:v>1.67391224214175E-2</c:v>
                </c:pt>
                <c:pt idx="786">
                  <c:v>1.6695890267416202E-2</c:v>
                </c:pt>
                <c:pt idx="787">
                  <c:v>1.66679457880811E-2</c:v>
                </c:pt>
                <c:pt idx="788">
                  <c:v>1.6659509878150399E-2</c:v>
                </c:pt>
                <c:pt idx="789">
                  <c:v>1.6664326371990699E-2</c:v>
                </c:pt>
                <c:pt idx="790">
                  <c:v>1.6629235868605801E-2</c:v>
                </c:pt>
                <c:pt idx="791">
                  <c:v>1.6621132731204101E-2</c:v>
                </c:pt>
                <c:pt idx="792">
                  <c:v>1.6819654058481799E-2</c:v>
                </c:pt>
                <c:pt idx="793">
                  <c:v>1.6787167188698399E-2</c:v>
                </c:pt>
                <c:pt idx="794">
                  <c:v>1.70345717303131E-2</c:v>
                </c:pt>
                <c:pt idx="795">
                  <c:v>1.7192440835270498E-2</c:v>
                </c:pt>
                <c:pt idx="796">
                  <c:v>1.7047616484999299E-2</c:v>
                </c:pt>
                <c:pt idx="797">
                  <c:v>1.7005601282148501E-2</c:v>
                </c:pt>
                <c:pt idx="798">
                  <c:v>1.67097696105055E-2</c:v>
                </c:pt>
                <c:pt idx="799">
                  <c:v>1.6793012559250999E-2</c:v>
                </c:pt>
                <c:pt idx="800">
                  <c:v>1.6737824922815499E-2</c:v>
                </c:pt>
                <c:pt idx="801">
                  <c:v>1.6589474004475701E-2</c:v>
                </c:pt>
                <c:pt idx="802">
                  <c:v>1.6812121330167899E-2</c:v>
                </c:pt>
                <c:pt idx="803">
                  <c:v>1.6707307771863099E-2</c:v>
                </c:pt>
                <c:pt idx="804">
                  <c:v>1.67016047688914E-2</c:v>
                </c:pt>
                <c:pt idx="805">
                  <c:v>1.6724395422235999E-2</c:v>
                </c:pt>
                <c:pt idx="806">
                  <c:v>1.6812768707285201E-2</c:v>
                </c:pt>
                <c:pt idx="807">
                  <c:v>1.6966279078777E-2</c:v>
                </c:pt>
                <c:pt idx="808">
                  <c:v>1.6811541333016398E-2</c:v>
                </c:pt>
                <c:pt idx="809">
                  <c:v>1.6868245869085498E-2</c:v>
                </c:pt>
                <c:pt idx="810">
                  <c:v>1.6891022167226901E-2</c:v>
                </c:pt>
                <c:pt idx="811">
                  <c:v>1.7426899043989402E-2</c:v>
                </c:pt>
                <c:pt idx="812">
                  <c:v>1.7374529693194599E-2</c:v>
                </c:pt>
                <c:pt idx="813">
                  <c:v>1.7388854461673299E-2</c:v>
                </c:pt>
                <c:pt idx="814">
                  <c:v>1.74395208985661E-2</c:v>
                </c:pt>
                <c:pt idx="815">
                  <c:v>1.71940410410065E-2</c:v>
                </c:pt>
                <c:pt idx="816">
                  <c:v>1.6884460485522199E-2</c:v>
                </c:pt>
                <c:pt idx="817">
                  <c:v>1.6889728602605899E-2</c:v>
                </c:pt>
                <c:pt idx="818">
                  <c:v>1.67040655099326E-2</c:v>
                </c:pt>
                <c:pt idx="819">
                  <c:v>1.6706678337702199E-2</c:v>
                </c:pt>
                <c:pt idx="820">
                  <c:v>1.3408187926545301E-2</c:v>
                </c:pt>
                <c:pt idx="821">
                  <c:v>1.3564935997374499E-2</c:v>
                </c:pt>
                <c:pt idx="822">
                  <c:v>1.3298370070820501E-2</c:v>
                </c:pt>
                <c:pt idx="823">
                  <c:v>1.33039442910407E-2</c:v>
                </c:pt>
                <c:pt idx="824">
                  <c:v>1.34254399745689E-2</c:v>
                </c:pt>
                <c:pt idx="825">
                  <c:v>1.33212056233699E-2</c:v>
                </c:pt>
                <c:pt idx="826">
                  <c:v>1.3218476544745001E-2</c:v>
                </c:pt>
                <c:pt idx="827">
                  <c:v>1.3257817681823899E-2</c:v>
                </c:pt>
                <c:pt idx="828">
                  <c:v>1.27473331229708E-2</c:v>
                </c:pt>
                <c:pt idx="829">
                  <c:v>1.27771714165571E-2</c:v>
                </c:pt>
                <c:pt idx="830">
                  <c:v>1.27872236727006E-2</c:v>
                </c:pt>
                <c:pt idx="831">
                  <c:v>1.27335244180756E-2</c:v>
                </c:pt>
                <c:pt idx="832">
                  <c:v>1.27309795089248E-2</c:v>
                </c:pt>
                <c:pt idx="833">
                  <c:v>1.25070723115318E-2</c:v>
                </c:pt>
                <c:pt idx="834">
                  <c:v>1.2438855821493301E-2</c:v>
                </c:pt>
                <c:pt idx="835">
                  <c:v>1.26638015391636E-2</c:v>
                </c:pt>
                <c:pt idx="836">
                  <c:v>1.26606241406546E-2</c:v>
                </c:pt>
                <c:pt idx="837">
                  <c:v>1.23521208484731E-2</c:v>
                </c:pt>
                <c:pt idx="838">
                  <c:v>1.23344554568327E-2</c:v>
                </c:pt>
                <c:pt idx="839">
                  <c:v>1.24780891839832E-2</c:v>
                </c:pt>
                <c:pt idx="840">
                  <c:v>1.2418265668565E-2</c:v>
                </c:pt>
                <c:pt idx="841">
                  <c:v>1.25185260247295E-2</c:v>
                </c:pt>
                <c:pt idx="842">
                  <c:v>1.22524381566801E-2</c:v>
                </c:pt>
                <c:pt idx="843">
                  <c:v>1.23173902704725E-2</c:v>
                </c:pt>
                <c:pt idx="844">
                  <c:v>1.17150733170443E-2</c:v>
                </c:pt>
                <c:pt idx="845">
                  <c:v>1.1674634927147201E-2</c:v>
                </c:pt>
                <c:pt idx="846">
                  <c:v>1.17278421083764E-2</c:v>
                </c:pt>
                <c:pt idx="847">
                  <c:v>1.1776545063986101E-2</c:v>
                </c:pt>
                <c:pt idx="848">
                  <c:v>1.1754078475602499E-2</c:v>
                </c:pt>
                <c:pt idx="849">
                  <c:v>1.1763187296438901E-2</c:v>
                </c:pt>
                <c:pt idx="850">
                  <c:v>1.1745368841395201E-2</c:v>
                </c:pt>
                <c:pt idx="851">
                  <c:v>1.1745208579189899E-2</c:v>
                </c:pt>
                <c:pt idx="852">
                  <c:v>1.1534667974958E-2</c:v>
                </c:pt>
                <c:pt idx="853">
                  <c:v>1.15235955704847E-2</c:v>
                </c:pt>
                <c:pt idx="854">
                  <c:v>1.13180005359998E-2</c:v>
                </c:pt>
                <c:pt idx="855">
                  <c:v>1.1349501356639599E-2</c:v>
                </c:pt>
                <c:pt idx="856">
                  <c:v>1.1342024835643E-2</c:v>
                </c:pt>
                <c:pt idx="857">
                  <c:v>1.13965439377034E-2</c:v>
                </c:pt>
                <c:pt idx="858">
                  <c:v>1.14596664492943E-2</c:v>
                </c:pt>
                <c:pt idx="859">
                  <c:v>1.13271391674356E-2</c:v>
                </c:pt>
                <c:pt idx="860">
                  <c:v>1.13877601196013E-2</c:v>
                </c:pt>
                <c:pt idx="861">
                  <c:v>1.14189364626854E-2</c:v>
                </c:pt>
                <c:pt idx="862">
                  <c:v>1.10664377290009E-2</c:v>
                </c:pt>
                <c:pt idx="863">
                  <c:v>1.1048510720239E-2</c:v>
                </c:pt>
                <c:pt idx="864">
                  <c:v>1.10365874080372E-2</c:v>
                </c:pt>
                <c:pt idx="865">
                  <c:v>1.0978729132409999E-2</c:v>
                </c:pt>
                <c:pt idx="866">
                  <c:v>1.1017417067384501E-2</c:v>
                </c:pt>
                <c:pt idx="867">
                  <c:v>1.08521262596955E-2</c:v>
                </c:pt>
                <c:pt idx="868">
                  <c:v>1.0579651488712E-2</c:v>
                </c:pt>
                <c:pt idx="869">
                  <c:v>1.05428023201561E-2</c:v>
                </c:pt>
                <c:pt idx="870">
                  <c:v>1.05298137613871E-2</c:v>
                </c:pt>
                <c:pt idx="871">
                  <c:v>9.6050235191504508E-3</c:v>
                </c:pt>
                <c:pt idx="872">
                  <c:v>1.0064842080650199E-2</c:v>
                </c:pt>
                <c:pt idx="873">
                  <c:v>9.9842210967964907E-3</c:v>
                </c:pt>
                <c:pt idx="874">
                  <c:v>1.0128388658558401E-2</c:v>
                </c:pt>
                <c:pt idx="875">
                  <c:v>1.0124930822384699E-2</c:v>
                </c:pt>
                <c:pt idx="876">
                  <c:v>1.01649817955973E-2</c:v>
                </c:pt>
                <c:pt idx="877">
                  <c:v>1.01760514862256E-2</c:v>
                </c:pt>
                <c:pt idx="878">
                  <c:v>1.0085458840105701E-2</c:v>
                </c:pt>
                <c:pt idx="879">
                  <c:v>1.01556706504795E-2</c:v>
                </c:pt>
                <c:pt idx="880">
                  <c:v>9.9768618885217996E-3</c:v>
                </c:pt>
                <c:pt idx="881">
                  <c:v>9.6677551033754992E-3</c:v>
                </c:pt>
                <c:pt idx="882">
                  <c:v>9.6512830014803801E-3</c:v>
                </c:pt>
                <c:pt idx="883">
                  <c:v>9.7064834294029595E-3</c:v>
                </c:pt>
                <c:pt idx="884">
                  <c:v>9.5653328953254207E-3</c:v>
                </c:pt>
                <c:pt idx="885">
                  <c:v>9.3546693000101898E-3</c:v>
                </c:pt>
                <c:pt idx="886">
                  <c:v>9.3420714876890597E-3</c:v>
                </c:pt>
                <c:pt idx="887">
                  <c:v>9.5588840488706802E-3</c:v>
                </c:pt>
                <c:pt idx="888">
                  <c:v>9.5618703840335897E-3</c:v>
                </c:pt>
                <c:pt idx="889">
                  <c:v>9.3315767955897497E-3</c:v>
                </c:pt>
                <c:pt idx="890">
                  <c:v>9.3928199676784306E-3</c:v>
                </c:pt>
                <c:pt idx="891">
                  <c:v>9.3927391635043097E-3</c:v>
                </c:pt>
                <c:pt idx="892">
                  <c:v>9.4502103343267509E-3</c:v>
                </c:pt>
                <c:pt idx="893">
                  <c:v>9.4305153477382397E-3</c:v>
                </c:pt>
                <c:pt idx="894">
                  <c:v>9.3983558562727408E-3</c:v>
                </c:pt>
                <c:pt idx="895">
                  <c:v>9.1307695536777603E-3</c:v>
                </c:pt>
                <c:pt idx="896">
                  <c:v>8.70788738413821E-3</c:v>
                </c:pt>
                <c:pt idx="897">
                  <c:v>8.7132423923064507E-3</c:v>
                </c:pt>
                <c:pt idx="898">
                  <c:v>8.7550173919614203E-3</c:v>
                </c:pt>
                <c:pt idx="899">
                  <c:v>8.5204551026503896E-3</c:v>
                </c:pt>
                <c:pt idx="900">
                  <c:v>8.5217060790470193E-3</c:v>
                </c:pt>
                <c:pt idx="901">
                  <c:v>8.4849558907247602E-3</c:v>
                </c:pt>
                <c:pt idx="902">
                  <c:v>8.5718760958883901E-3</c:v>
                </c:pt>
                <c:pt idx="903">
                  <c:v>8.7944423655287197E-3</c:v>
                </c:pt>
                <c:pt idx="904">
                  <c:v>8.9435570622714098E-3</c:v>
                </c:pt>
                <c:pt idx="905">
                  <c:v>9.0378306884784897E-3</c:v>
                </c:pt>
                <c:pt idx="906">
                  <c:v>8.9880204633811696E-3</c:v>
                </c:pt>
                <c:pt idx="907">
                  <c:v>8.8048870147328893E-3</c:v>
                </c:pt>
                <c:pt idx="908">
                  <c:v>8.7569965566023592E-3</c:v>
                </c:pt>
                <c:pt idx="909">
                  <c:v>8.8217577332603409E-3</c:v>
                </c:pt>
                <c:pt idx="910">
                  <c:v>8.8328685431099205E-3</c:v>
                </c:pt>
                <c:pt idx="911">
                  <c:v>9.1785954923532496E-3</c:v>
                </c:pt>
                <c:pt idx="912">
                  <c:v>9.1678507159325805E-3</c:v>
                </c:pt>
                <c:pt idx="913">
                  <c:v>9.48197931609286E-3</c:v>
                </c:pt>
                <c:pt idx="914">
                  <c:v>9.3054275504072404E-3</c:v>
                </c:pt>
                <c:pt idx="915">
                  <c:v>8.8213614836258596E-3</c:v>
                </c:pt>
                <c:pt idx="916">
                  <c:v>8.8176622479346801E-3</c:v>
                </c:pt>
                <c:pt idx="917">
                  <c:v>8.6887079787622296E-3</c:v>
                </c:pt>
                <c:pt idx="918">
                  <c:v>8.6987119645706105E-3</c:v>
                </c:pt>
                <c:pt idx="919">
                  <c:v>9.06159272270304E-3</c:v>
                </c:pt>
                <c:pt idx="920">
                  <c:v>9.0301481896305196E-3</c:v>
                </c:pt>
                <c:pt idx="921">
                  <c:v>8.9015897937350999E-3</c:v>
                </c:pt>
                <c:pt idx="922">
                  <c:v>9.13222115014415E-3</c:v>
                </c:pt>
                <c:pt idx="923">
                  <c:v>9.2077676863845295E-3</c:v>
                </c:pt>
                <c:pt idx="924">
                  <c:v>9.2139685805312701E-3</c:v>
                </c:pt>
                <c:pt idx="925">
                  <c:v>9.2029858455772908E-3</c:v>
                </c:pt>
                <c:pt idx="926">
                  <c:v>8.7609468804265705E-3</c:v>
                </c:pt>
                <c:pt idx="927">
                  <c:v>9.2938361651112404E-3</c:v>
                </c:pt>
                <c:pt idx="928">
                  <c:v>9.2685855741799494E-3</c:v>
                </c:pt>
                <c:pt idx="929">
                  <c:v>9.1918917335994995E-3</c:v>
                </c:pt>
                <c:pt idx="930">
                  <c:v>9.3439081813010399E-3</c:v>
                </c:pt>
                <c:pt idx="931">
                  <c:v>9.3464065584413208E-3</c:v>
                </c:pt>
                <c:pt idx="932">
                  <c:v>8.9944350925473208E-3</c:v>
                </c:pt>
                <c:pt idx="933">
                  <c:v>9.0162128327860407E-3</c:v>
                </c:pt>
                <c:pt idx="934">
                  <c:v>8.6811535090466699E-3</c:v>
                </c:pt>
                <c:pt idx="935">
                  <c:v>8.6647417985419098E-3</c:v>
                </c:pt>
                <c:pt idx="936">
                  <c:v>8.6564060758637304E-3</c:v>
                </c:pt>
                <c:pt idx="937">
                  <c:v>9.0390203942609104E-3</c:v>
                </c:pt>
                <c:pt idx="938">
                  <c:v>8.9901299647912394E-3</c:v>
                </c:pt>
                <c:pt idx="939">
                  <c:v>8.8594465887879403E-3</c:v>
                </c:pt>
                <c:pt idx="940">
                  <c:v>9.4834778721367193E-3</c:v>
                </c:pt>
                <c:pt idx="941">
                  <c:v>9.5319193007872092E-3</c:v>
                </c:pt>
                <c:pt idx="942">
                  <c:v>9.5473387856971799E-3</c:v>
                </c:pt>
                <c:pt idx="943">
                  <c:v>9.3630684221944292E-3</c:v>
                </c:pt>
                <c:pt idx="944">
                  <c:v>9.40162296464493E-3</c:v>
                </c:pt>
                <c:pt idx="945">
                  <c:v>9.3818931466643097E-3</c:v>
                </c:pt>
                <c:pt idx="946">
                  <c:v>9.4317184507394496E-3</c:v>
                </c:pt>
                <c:pt idx="947">
                  <c:v>9.3035892300533992E-3</c:v>
                </c:pt>
                <c:pt idx="948">
                  <c:v>9.3343083452996495E-3</c:v>
                </c:pt>
                <c:pt idx="949">
                  <c:v>9.4359028723821695E-3</c:v>
                </c:pt>
                <c:pt idx="950">
                  <c:v>9.3839207882645097E-3</c:v>
                </c:pt>
                <c:pt idx="951">
                  <c:v>9.3811920026271901E-3</c:v>
                </c:pt>
                <c:pt idx="952">
                  <c:v>9.3674061715289404E-3</c:v>
                </c:pt>
                <c:pt idx="953">
                  <c:v>9.4231849043865494E-3</c:v>
                </c:pt>
                <c:pt idx="954">
                  <c:v>9.4432823931970208E-3</c:v>
                </c:pt>
                <c:pt idx="955">
                  <c:v>9.4029130875603693E-3</c:v>
                </c:pt>
                <c:pt idx="956">
                  <c:v>9.42552442405418E-3</c:v>
                </c:pt>
                <c:pt idx="957">
                  <c:v>9.5209490455806095E-3</c:v>
                </c:pt>
                <c:pt idx="958">
                  <c:v>9.5082115483604793E-3</c:v>
                </c:pt>
                <c:pt idx="959">
                  <c:v>9.6652782008364493E-3</c:v>
                </c:pt>
                <c:pt idx="960">
                  <c:v>9.7016669970485803E-3</c:v>
                </c:pt>
                <c:pt idx="961">
                  <c:v>9.6691180838287295E-3</c:v>
                </c:pt>
                <c:pt idx="962">
                  <c:v>9.5396981293523198E-3</c:v>
                </c:pt>
                <c:pt idx="963">
                  <c:v>9.3028895913089896E-3</c:v>
                </c:pt>
                <c:pt idx="964">
                  <c:v>9.1720873276131699E-3</c:v>
                </c:pt>
                <c:pt idx="965">
                  <c:v>9.1052445190225508E-3</c:v>
                </c:pt>
                <c:pt idx="966">
                  <c:v>9.1551072479558997E-3</c:v>
                </c:pt>
                <c:pt idx="967">
                  <c:v>9.6314680926175497E-3</c:v>
                </c:pt>
                <c:pt idx="968">
                  <c:v>9.9445136566373594E-3</c:v>
                </c:pt>
                <c:pt idx="969">
                  <c:v>9.8943623829799605E-3</c:v>
                </c:pt>
                <c:pt idx="970">
                  <c:v>9.8605392302544108E-3</c:v>
                </c:pt>
                <c:pt idx="971">
                  <c:v>9.5028700305456494E-3</c:v>
                </c:pt>
                <c:pt idx="972">
                  <c:v>9.5365860472175802E-3</c:v>
                </c:pt>
                <c:pt idx="973">
                  <c:v>9.3664314079814001E-3</c:v>
                </c:pt>
                <c:pt idx="974">
                  <c:v>9.4013914206030197E-3</c:v>
                </c:pt>
                <c:pt idx="975">
                  <c:v>9.4095739605659194E-3</c:v>
                </c:pt>
                <c:pt idx="976">
                  <c:v>9.4922591987486298E-3</c:v>
                </c:pt>
                <c:pt idx="977">
                  <c:v>9.4992781368591003E-3</c:v>
                </c:pt>
                <c:pt idx="978">
                  <c:v>9.5749827007561E-3</c:v>
                </c:pt>
                <c:pt idx="979">
                  <c:v>1.03175116840124E-2</c:v>
                </c:pt>
                <c:pt idx="980">
                  <c:v>1.0744547605648001E-2</c:v>
                </c:pt>
                <c:pt idx="981">
                  <c:v>1.0795575763729699E-2</c:v>
                </c:pt>
                <c:pt idx="982">
                  <c:v>1.0694357039273499E-2</c:v>
                </c:pt>
                <c:pt idx="983">
                  <c:v>1.1269802448759801E-2</c:v>
                </c:pt>
                <c:pt idx="984">
                  <c:v>1.2295147224362099E-2</c:v>
                </c:pt>
                <c:pt idx="985">
                  <c:v>1.2564024046078599E-2</c:v>
                </c:pt>
                <c:pt idx="986">
                  <c:v>1.2563646431884399E-2</c:v>
                </c:pt>
                <c:pt idx="987">
                  <c:v>1.2167828021334001E-2</c:v>
                </c:pt>
                <c:pt idx="988">
                  <c:v>1.24645936359643E-2</c:v>
                </c:pt>
                <c:pt idx="989">
                  <c:v>1.24557749111155E-2</c:v>
                </c:pt>
                <c:pt idx="990">
                  <c:v>1.3733498500629099E-2</c:v>
                </c:pt>
                <c:pt idx="991">
                  <c:v>1.37948309605353E-2</c:v>
                </c:pt>
                <c:pt idx="992">
                  <c:v>1.38057281796718E-2</c:v>
                </c:pt>
                <c:pt idx="993">
                  <c:v>1.39131071774276E-2</c:v>
                </c:pt>
                <c:pt idx="994">
                  <c:v>1.4184389419595799E-2</c:v>
                </c:pt>
                <c:pt idx="995">
                  <c:v>1.4197057214049401E-2</c:v>
                </c:pt>
                <c:pt idx="996">
                  <c:v>1.4314415862616999E-2</c:v>
                </c:pt>
                <c:pt idx="997">
                  <c:v>1.43307760916548E-2</c:v>
                </c:pt>
                <c:pt idx="998">
                  <c:v>1.444460139294E-2</c:v>
                </c:pt>
                <c:pt idx="999">
                  <c:v>1.4422099376164999E-2</c:v>
                </c:pt>
                <c:pt idx="1000">
                  <c:v>1.39775547690559E-2</c:v>
                </c:pt>
                <c:pt idx="1001">
                  <c:v>1.6145702730174599E-2</c:v>
                </c:pt>
                <c:pt idx="1002">
                  <c:v>1.6098783748894799E-2</c:v>
                </c:pt>
                <c:pt idx="1003">
                  <c:v>1.6525426452962001E-2</c:v>
                </c:pt>
                <c:pt idx="1004">
                  <c:v>1.6503241111728399E-2</c:v>
                </c:pt>
                <c:pt idx="1005">
                  <c:v>1.6493694666334598E-2</c:v>
                </c:pt>
                <c:pt idx="1006">
                  <c:v>1.65871746056361E-2</c:v>
                </c:pt>
                <c:pt idx="1007">
                  <c:v>1.6577614939085099E-2</c:v>
                </c:pt>
                <c:pt idx="1008">
                  <c:v>1.6775283374186999E-2</c:v>
                </c:pt>
                <c:pt idx="1009">
                  <c:v>1.6770793464178601E-2</c:v>
                </c:pt>
                <c:pt idx="1010">
                  <c:v>1.67715170919472E-2</c:v>
                </c:pt>
                <c:pt idx="1011">
                  <c:v>1.67976189030896E-2</c:v>
                </c:pt>
                <c:pt idx="1012">
                  <c:v>1.6807733522006901E-2</c:v>
                </c:pt>
                <c:pt idx="1013">
                  <c:v>1.6761338444137599E-2</c:v>
                </c:pt>
                <c:pt idx="1014">
                  <c:v>1.6846714021927001E-2</c:v>
                </c:pt>
                <c:pt idx="1015">
                  <c:v>1.6854290928262999E-2</c:v>
                </c:pt>
                <c:pt idx="1016">
                  <c:v>1.6855887672206998E-2</c:v>
                </c:pt>
                <c:pt idx="1017">
                  <c:v>1.6945637304595099E-2</c:v>
                </c:pt>
                <c:pt idx="1018">
                  <c:v>1.6960214918829299E-2</c:v>
                </c:pt>
                <c:pt idx="1019">
                  <c:v>1.6982919950743101E-2</c:v>
                </c:pt>
                <c:pt idx="1020">
                  <c:v>1.7031914987279101E-2</c:v>
                </c:pt>
                <c:pt idx="1021">
                  <c:v>1.7159233529724299E-2</c:v>
                </c:pt>
                <c:pt idx="1022">
                  <c:v>1.7257889074745601E-2</c:v>
                </c:pt>
                <c:pt idx="1023">
                  <c:v>1.7297943237868998E-2</c:v>
                </c:pt>
                <c:pt idx="1024">
                  <c:v>1.7259392139083899E-2</c:v>
                </c:pt>
                <c:pt idx="1025">
                  <c:v>1.7259192198145701E-2</c:v>
                </c:pt>
                <c:pt idx="1026">
                  <c:v>1.7220764385083999E-2</c:v>
                </c:pt>
                <c:pt idx="1027">
                  <c:v>1.8454621251709099E-2</c:v>
                </c:pt>
                <c:pt idx="1028">
                  <c:v>1.8299408987557698E-2</c:v>
                </c:pt>
                <c:pt idx="1029">
                  <c:v>1.83259559548089E-2</c:v>
                </c:pt>
                <c:pt idx="1030">
                  <c:v>1.8325008470161101E-2</c:v>
                </c:pt>
                <c:pt idx="1031">
                  <c:v>1.8734755508643199E-2</c:v>
                </c:pt>
                <c:pt idx="1032">
                  <c:v>1.87235255763951E-2</c:v>
                </c:pt>
                <c:pt idx="1033">
                  <c:v>1.86892714266804E-2</c:v>
                </c:pt>
                <c:pt idx="1034">
                  <c:v>1.8657562585504599E-2</c:v>
                </c:pt>
                <c:pt idx="1035">
                  <c:v>1.86863765356346E-2</c:v>
                </c:pt>
                <c:pt idx="1036">
                  <c:v>1.8660866698130399E-2</c:v>
                </c:pt>
                <c:pt idx="1037">
                  <c:v>1.8749124514599001E-2</c:v>
                </c:pt>
                <c:pt idx="1038">
                  <c:v>1.87574775817906E-2</c:v>
                </c:pt>
                <c:pt idx="1039">
                  <c:v>1.8770754636643801E-2</c:v>
                </c:pt>
                <c:pt idx="1040">
                  <c:v>1.8507476206262599E-2</c:v>
                </c:pt>
                <c:pt idx="1041">
                  <c:v>1.8465788260062298E-2</c:v>
                </c:pt>
                <c:pt idx="1042">
                  <c:v>1.8433741743357601E-2</c:v>
                </c:pt>
                <c:pt idx="1043">
                  <c:v>1.8198421199751898E-2</c:v>
                </c:pt>
                <c:pt idx="1044">
                  <c:v>1.73847099580503E-2</c:v>
                </c:pt>
                <c:pt idx="1045">
                  <c:v>1.7568657657462999E-2</c:v>
                </c:pt>
                <c:pt idx="1046">
                  <c:v>1.7559570777953899E-2</c:v>
                </c:pt>
                <c:pt idx="1047">
                  <c:v>1.76945693924449E-2</c:v>
                </c:pt>
                <c:pt idx="1048">
                  <c:v>1.7355075925326299E-2</c:v>
                </c:pt>
                <c:pt idx="1049">
                  <c:v>1.7574425156575799E-2</c:v>
                </c:pt>
                <c:pt idx="1050">
                  <c:v>1.6914010695236601E-2</c:v>
                </c:pt>
                <c:pt idx="1051">
                  <c:v>1.69951943880844E-2</c:v>
                </c:pt>
                <c:pt idx="1052">
                  <c:v>1.7035125574846301E-2</c:v>
                </c:pt>
                <c:pt idx="1053">
                  <c:v>1.6870159443100899E-2</c:v>
                </c:pt>
                <c:pt idx="1054">
                  <c:v>1.65003616504662E-2</c:v>
                </c:pt>
                <c:pt idx="1055">
                  <c:v>1.65289614580699E-2</c:v>
                </c:pt>
                <c:pt idx="1056">
                  <c:v>1.64918917331312E-2</c:v>
                </c:pt>
                <c:pt idx="1057">
                  <c:v>1.6098775212990999E-2</c:v>
                </c:pt>
                <c:pt idx="1058">
                  <c:v>1.6073086636062699E-2</c:v>
                </c:pt>
                <c:pt idx="1059">
                  <c:v>1.63252852947748E-2</c:v>
                </c:pt>
                <c:pt idx="1060">
                  <c:v>1.6332020617822199E-2</c:v>
                </c:pt>
                <c:pt idx="1061">
                  <c:v>1.4508580331538399E-2</c:v>
                </c:pt>
                <c:pt idx="1062">
                  <c:v>1.45030967768626E-2</c:v>
                </c:pt>
                <c:pt idx="1063">
                  <c:v>1.42955250540725E-2</c:v>
                </c:pt>
                <c:pt idx="1064">
                  <c:v>1.44084085595625E-2</c:v>
                </c:pt>
                <c:pt idx="1065">
                  <c:v>1.4410881276911E-2</c:v>
                </c:pt>
                <c:pt idx="1066">
                  <c:v>1.43360628276556E-2</c:v>
                </c:pt>
                <c:pt idx="1067">
                  <c:v>1.44533253469984E-2</c:v>
                </c:pt>
                <c:pt idx="1068">
                  <c:v>1.4094802381188799E-2</c:v>
                </c:pt>
                <c:pt idx="1069">
                  <c:v>1.4012980162394001E-2</c:v>
                </c:pt>
                <c:pt idx="1070">
                  <c:v>1.40352292668974E-2</c:v>
                </c:pt>
                <c:pt idx="1071">
                  <c:v>1.40567756429775E-2</c:v>
                </c:pt>
                <c:pt idx="1072">
                  <c:v>1.40553261498202E-2</c:v>
                </c:pt>
                <c:pt idx="1073">
                  <c:v>1.4221738855894299E-2</c:v>
                </c:pt>
                <c:pt idx="1074">
                  <c:v>1.40916343395045E-2</c:v>
                </c:pt>
                <c:pt idx="1075">
                  <c:v>1.4093637171103301E-2</c:v>
                </c:pt>
                <c:pt idx="1076">
                  <c:v>1.4093128086976501E-2</c:v>
                </c:pt>
                <c:pt idx="1077">
                  <c:v>1.37872500568761E-2</c:v>
                </c:pt>
                <c:pt idx="1078">
                  <c:v>1.38356181790374E-2</c:v>
                </c:pt>
                <c:pt idx="1079">
                  <c:v>1.36105276055661E-2</c:v>
                </c:pt>
                <c:pt idx="1080">
                  <c:v>1.3652984454038E-2</c:v>
                </c:pt>
                <c:pt idx="1081">
                  <c:v>1.36239167223696E-2</c:v>
                </c:pt>
                <c:pt idx="1082">
                  <c:v>1.3495705002830901E-2</c:v>
                </c:pt>
                <c:pt idx="1083">
                  <c:v>1.3564639412095399E-2</c:v>
                </c:pt>
                <c:pt idx="1084">
                  <c:v>1.3890669441964799E-2</c:v>
                </c:pt>
                <c:pt idx="1085">
                  <c:v>1.38795045738983E-2</c:v>
                </c:pt>
                <c:pt idx="1086">
                  <c:v>1.38802646305764E-2</c:v>
                </c:pt>
                <c:pt idx="1087">
                  <c:v>1.2044535630919E-2</c:v>
                </c:pt>
                <c:pt idx="1088">
                  <c:v>1.2010796487991001E-2</c:v>
                </c:pt>
                <c:pt idx="1089">
                  <c:v>1.19972776523761E-2</c:v>
                </c:pt>
                <c:pt idx="1090">
                  <c:v>1.2005339299775699E-2</c:v>
                </c:pt>
                <c:pt idx="1091">
                  <c:v>1.1612477326915499E-2</c:v>
                </c:pt>
                <c:pt idx="1092">
                  <c:v>1.15926890093625E-2</c:v>
                </c:pt>
                <c:pt idx="1093">
                  <c:v>1.1557409840223101E-2</c:v>
                </c:pt>
                <c:pt idx="1094">
                  <c:v>1.19351417510833E-2</c:v>
                </c:pt>
                <c:pt idx="1095">
                  <c:v>1.21682933835967E-2</c:v>
                </c:pt>
                <c:pt idx="1096">
                  <c:v>1.21727001146295E-2</c:v>
                </c:pt>
                <c:pt idx="1097">
                  <c:v>1.2081799509365001E-2</c:v>
                </c:pt>
                <c:pt idx="1098">
                  <c:v>1.2103862851073101E-2</c:v>
                </c:pt>
                <c:pt idx="1099">
                  <c:v>1.1100597861801001E-2</c:v>
                </c:pt>
                <c:pt idx="1100">
                  <c:v>1.1082648234847199E-2</c:v>
                </c:pt>
                <c:pt idx="1101">
                  <c:v>1.1082700310531501E-2</c:v>
                </c:pt>
                <c:pt idx="1102">
                  <c:v>1.10667125177449E-2</c:v>
                </c:pt>
                <c:pt idx="1103">
                  <c:v>1.0522442344627E-2</c:v>
                </c:pt>
                <c:pt idx="1104">
                  <c:v>1.03468826851077E-2</c:v>
                </c:pt>
                <c:pt idx="1105">
                  <c:v>1.00337415852763E-2</c:v>
                </c:pt>
                <c:pt idx="1106">
                  <c:v>1.02087249225261E-2</c:v>
                </c:pt>
                <c:pt idx="1107">
                  <c:v>1.0244513142406301E-2</c:v>
                </c:pt>
                <c:pt idx="1108">
                  <c:v>1.0467773407687401E-2</c:v>
                </c:pt>
                <c:pt idx="1109">
                  <c:v>1.0279955113465101E-2</c:v>
                </c:pt>
                <c:pt idx="1110">
                  <c:v>1.0206829737366099E-2</c:v>
                </c:pt>
                <c:pt idx="1111">
                  <c:v>1.0584966087533201E-2</c:v>
                </c:pt>
                <c:pt idx="1112">
                  <c:v>1.04742484760819E-2</c:v>
                </c:pt>
                <c:pt idx="1113">
                  <c:v>1.0630879500700701E-2</c:v>
                </c:pt>
                <c:pt idx="1114">
                  <c:v>1.0833184137769E-2</c:v>
                </c:pt>
                <c:pt idx="1115">
                  <c:v>1.08381523755705E-2</c:v>
                </c:pt>
                <c:pt idx="1116">
                  <c:v>1.0837757912374801E-2</c:v>
                </c:pt>
                <c:pt idx="1117">
                  <c:v>1.08424252778865E-2</c:v>
                </c:pt>
                <c:pt idx="1118">
                  <c:v>1.08470385357927E-2</c:v>
                </c:pt>
                <c:pt idx="1119">
                  <c:v>1.05712908791772E-2</c:v>
                </c:pt>
                <c:pt idx="1120">
                  <c:v>1.06265766271022E-2</c:v>
                </c:pt>
                <c:pt idx="1121">
                  <c:v>1.07116598291352E-2</c:v>
                </c:pt>
                <c:pt idx="1122">
                  <c:v>1.1158001743658399E-2</c:v>
                </c:pt>
                <c:pt idx="1123">
                  <c:v>1.0869898995529099E-2</c:v>
                </c:pt>
                <c:pt idx="1124">
                  <c:v>1.1264374270026099E-2</c:v>
                </c:pt>
                <c:pt idx="1125">
                  <c:v>1.1266193332092E-2</c:v>
                </c:pt>
                <c:pt idx="1126">
                  <c:v>1.13933072188683E-2</c:v>
                </c:pt>
                <c:pt idx="1127">
                  <c:v>1.1179708841009699E-2</c:v>
                </c:pt>
                <c:pt idx="1128">
                  <c:v>1.24030359677415E-2</c:v>
                </c:pt>
                <c:pt idx="1129">
                  <c:v>1.3464182923988301E-2</c:v>
                </c:pt>
                <c:pt idx="1130">
                  <c:v>1.34656060048737E-2</c:v>
                </c:pt>
                <c:pt idx="1131">
                  <c:v>1.3389505187785899E-2</c:v>
                </c:pt>
                <c:pt idx="1132">
                  <c:v>1.34728035240029E-2</c:v>
                </c:pt>
                <c:pt idx="1133">
                  <c:v>1.3460671585911599E-2</c:v>
                </c:pt>
                <c:pt idx="1134">
                  <c:v>1.3704593953657199E-2</c:v>
                </c:pt>
                <c:pt idx="1135">
                  <c:v>1.3701559303640301E-2</c:v>
                </c:pt>
                <c:pt idx="1136">
                  <c:v>1.3685972312924901E-2</c:v>
                </c:pt>
                <c:pt idx="1137">
                  <c:v>1.3926698271988501E-2</c:v>
                </c:pt>
                <c:pt idx="1138">
                  <c:v>1.38933231835932E-2</c:v>
                </c:pt>
                <c:pt idx="1139">
                  <c:v>1.40382707533722E-2</c:v>
                </c:pt>
                <c:pt idx="1140">
                  <c:v>1.3894004568243299E-2</c:v>
                </c:pt>
                <c:pt idx="1141">
                  <c:v>1.40548139663174E-2</c:v>
                </c:pt>
                <c:pt idx="1142">
                  <c:v>1.4070912565905201E-2</c:v>
                </c:pt>
                <c:pt idx="1143">
                  <c:v>1.44043203600822E-2</c:v>
                </c:pt>
                <c:pt idx="1144">
                  <c:v>1.4259622321603599E-2</c:v>
                </c:pt>
                <c:pt idx="1145">
                  <c:v>1.42495727813366E-2</c:v>
                </c:pt>
                <c:pt idx="1146">
                  <c:v>1.44927457434183E-2</c:v>
                </c:pt>
                <c:pt idx="1147">
                  <c:v>1.4742324426460901E-2</c:v>
                </c:pt>
                <c:pt idx="1148">
                  <c:v>1.49101737257254E-2</c:v>
                </c:pt>
                <c:pt idx="1149">
                  <c:v>1.49529090945124E-2</c:v>
                </c:pt>
                <c:pt idx="1150">
                  <c:v>1.5523881167945701E-2</c:v>
                </c:pt>
                <c:pt idx="1151">
                  <c:v>1.64843820448029E-2</c:v>
                </c:pt>
                <c:pt idx="1152">
                  <c:v>1.66803049179279E-2</c:v>
                </c:pt>
                <c:pt idx="1153">
                  <c:v>1.70271925026656E-2</c:v>
                </c:pt>
                <c:pt idx="1154">
                  <c:v>1.6578661509676001E-2</c:v>
                </c:pt>
                <c:pt idx="1155">
                  <c:v>1.6805449273033402E-2</c:v>
                </c:pt>
                <c:pt idx="1156">
                  <c:v>1.7251053220774401E-2</c:v>
                </c:pt>
                <c:pt idx="1157">
                  <c:v>1.7250212110194701E-2</c:v>
                </c:pt>
                <c:pt idx="1158">
                  <c:v>1.70334137289633E-2</c:v>
                </c:pt>
                <c:pt idx="1159">
                  <c:v>1.7907084585824299E-2</c:v>
                </c:pt>
                <c:pt idx="1160">
                  <c:v>1.80113633099168E-2</c:v>
                </c:pt>
                <c:pt idx="1161">
                  <c:v>1.8131300915898499E-2</c:v>
                </c:pt>
                <c:pt idx="1162">
                  <c:v>1.8260510101350401E-2</c:v>
                </c:pt>
                <c:pt idx="1163">
                  <c:v>2.0763562500527698E-2</c:v>
                </c:pt>
                <c:pt idx="1164">
                  <c:v>2.0757623580227799E-2</c:v>
                </c:pt>
                <c:pt idx="1165">
                  <c:v>2.1704321238010998E-2</c:v>
                </c:pt>
                <c:pt idx="1166">
                  <c:v>2.1698066361275099E-2</c:v>
                </c:pt>
                <c:pt idx="1167">
                  <c:v>2.17135295353632E-2</c:v>
                </c:pt>
                <c:pt idx="1168">
                  <c:v>2.16386155506407E-2</c:v>
                </c:pt>
                <c:pt idx="1169">
                  <c:v>2.1387750438934799E-2</c:v>
                </c:pt>
                <c:pt idx="1170">
                  <c:v>2.1454129958627999E-2</c:v>
                </c:pt>
                <c:pt idx="1171">
                  <c:v>2.16222673417443E-2</c:v>
                </c:pt>
                <c:pt idx="1172">
                  <c:v>2.1607258028420701E-2</c:v>
                </c:pt>
                <c:pt idx="1173">
                  <c:v>2.16841702751925E-2</c:v>
                </c:pt>
                <c:pt idx="1174">
                  <c:v>2.1824545564431801E-2</c:v>
                </c:pt>
                <c:pt idx="1175">
                  <c:v>2.1831787223829401E-2</c:v>
                </c:pt>
                <c:pt idx="1176">
                  <c:v>2.1834735907025799E-2</c:v>
                </c:pt>
                <c:pt idx="1177">
                  <c:v>2.5733450454453698E-2</c:v>
                </c:pt>
                <c:pt idx="1178">
                  <c:v>2.5973803450069E-2</c:v>
                </c:pt>
                <c:pt idx="1179">
                  <c:v>2.6376891686732001E-2</c:v>
                </c:pt>
                <c:pt idx="1180">
                  <c:v>2.6350379503023699E-2</c:v>
                </c:pt>
                <c:pt idx="1181">
                  <c:v>2.6463693675789601E-2</c:v>
                </c:pt>
                <c:pt idx="1182">
                  <c:v>2.6357975159837E-2</c:v>
                </c:pt>
                <c:pt idx="1183">
                  <c:v>2.6491290452177602E-2</c:v>
                </c:pt>
                <c:pt idx="1184">
                  <c:v>2.6345945492523001E-2</c:v>
                </c:pt>
                <c:pt idx="1185">
                  <c:v>2.6396270785095301E-2</c:v>
                </c:pt>
                <c:pt idx="1186">
                  <c:v>2.6333978918515199E-2</c:v>
                </c:pt>
                <c:pt idx="1187">
                  <c:v>2.6312375633941301E-2</c:v>
                </c:pt>
                <c:pt idx="1188">
                  <c:v>2.58696883948152E-2</c:v>
                </c:pt>
                <c:pt idx="1189">
                  <c:v>2.5436949489213399E-2</c:v>
                </c:pt>
                <c:pt idx="1190">
                  <c:v>2.5598372313134301E-2</c:v>
                </c:pt>
                <c:pt idx="1191">
                  <c:v>2.5658742623532401E-2</c:v>
                </c:pt>
                <c:pt idx="1192">
                  <c:v>2.56165905947606E-2</c:v>
                </c:pt>
                <c:pt idx="1193">
                  <c:v>2.5585884673647301E-2</c:v>
                </c:pt>
                <c:pt idx="1194">
                  <c:v>2.54602015438153E-2</c:v>
                </c:pt>
                <c:pt idx="1195">
                  <c:v>2.5462409051556199E-2</c:v>
                </c:pt>
                <c:pt idx="1196">
                  <c:v>2.5505697100542801E-2</c:v>
                </c:pt>
                <c:pt idx="1197">
                  <c:v>2.53668623261896E-2</c:v>
                </c:pt>
                <c:pt idx="1198">
                  <c:v>2.5307510339851701E-2</c:v>
                </c:pt>
                <c:pt idx="1199">
                  <c:v>2.5260744152912601E-2</c:v>
                </c:pt>
                <c:pt idx="1200">
                  <c:v>2.5261208937471899E-2</c:v>
                </c:pt>
                <c:pt idx="1201">
                  <c:v>2.5278759301525601E-2</c:v>
                </c:pt>
                <c:pt idx="1202">
                  <c:v>2.5275894364547E-2</c:v>
                </c:pt>
                <c:pt idx="1203">
                  <c:v>2.5078643163048302E-2</c:v>
                </c:pt>
                <c:pt idx="1204">
                  <c:v>2.5073158159333302E-2</c:v>
                </c:pt>
                <c:pt idx="1205">
                  <c:v>2.5073169035027099E-2</c:v>
                </c:pt>
                <c:pt idx="1206">
                  <c:v>2.4997257265335301E-2</c:v>
                </c:pt>
                <c:pt idx="1207">
                  <c:v>2.4793356846221901E-2</c:v>
                </c:pt>
                <c:pt idx="1208">
                  <c:v>2.4680446626116799E-2</c:v>
                </c:pt>
                <c:pt idx="1209">
                  <c:v>2.46352538543919E-2</c:v>
                </c:pt>
                <c:pt idx="1210">
                  <c:v>2.42966673985975E-2</c:v>
                </c:pt>
                <c:pt idx="1211">
                  <c:v>2.3741413682387399E-2</c:v>
                </c:pt>
                <c:pt idx="1212">
                  <c:v>2.3555249022211198E-2</c:v>
                </c:pt>
                <c:pt idx="1213">
                  <c:v>2.3328737917484601E-2</c:v>
                </c:pt>
                <c:pt idx="1214">
                  <c:v>2.43387469151135E-2</c:v>
                </c:pt>
                <c:pt idx="1215">
                  <c:v>2.4560380612115799E-2</c:v>
                </c:pt>
                <c:pt idx="1216">
                  <c:v>2.46408174122703E-2</c:v>
                </c:pt>
                <c:pt idx="1217">
                  <c:v>2.46406883911598E-2</c:v>
                </c:pt>
                <c:pt idx="1218">
                  <c:v>2.46346345478092E-2</c:v>
                </c:pt>
                <c:pt idx="1219">
                  <c:v>2.41251222001117E-2</c:v>
                </c:pt>
                <c:pt idx="1220">
                  <c:v>2.40567566010782E-2</c:v>
                </c:pt>
                <c:pt idx="1221">
                  <c:v>2.4055980732647898E-2</c:v>
                </c:pt>
                <c:pt idx="1222">
                  <c:v>2.4274594464328399E-2</c:v>
                </c:pt>
                <c:pt idx="1223">
                  <c:v>2.2271477697818599E-2</c:v>
                </c:pt>
                <c:pt idx="1224">
                  <c:v>2.2267960193832901E-2</c:v>
                </c:pt>
                <c:pt idx="1225">
                  <c:v>2.1404787097079499E-2</c:v>
                </c:pt>
                <c:pt idx="1226">
                  <c:v>2.1252480018846401E-2</c:v>
                </c:pt>
                <c:pt idx="1227">
                  <c:v>2.1933355834347999E-2</c:v>
                </c:pt>
                <c:pt idx="1228">
                  <c:v>2.1976382927011599E-2</c:v>
                </c:pt>
                <c:pt idx="1229">
                  <c:v>2.20108372510559E-2</c:v>
                </c:pt>
                <c:pt idx="1230">
                  <c:v>2.1969856344314601E-2</c:v>
                </c:pt>
                <c:pt idx="1231">
                  <c:v>2.1668756145965501E-2</c:v>
                </c:pt>
                <c:pt idx="1232">
                  <c:v>2.1649010339975801E-2</c:v>
                </c:pt>
                <c:pt idx="1233">
                  <c:v>2.1555504507490299E-2</c:v>
                </c:pt>
                <c:pt idx="1234">
                  <c:v>2.1384151262414702E-2</c:v>
                </c:pt>
                <c:pt idx="1235">
                  <c:v>2.14193465887106E-2</c:v>
                </c:pt>
                <c:pt idx="1236">
                  <c:v>2.1498709890999501E-2</c:v>
                </c:pt>
                <c:pt idx="1237">
                  <c:v>1.6740047116158799E-2</c:v>
                </c:pt>
                <c:pt idx="1238">
                  <c:v>1.92596512841656E-2</c:v>
                </c:pt>
                <c:pt idx="1239">
                  <c:v>1.8695359487699501E-2</c:v>
                </c:pt>
                <c:pt idx="1240">
                  <c:v>1.9366043919207099E-2</c:v>
                </c:pt>
                <c:pt idx="1241">
                  <c:v>2.22487003839901E-2</c:v>
                </c:pt>
                <c:pt idx="1242">
                  <c:v>2.25029206279765E-2</c:v>
                </c:pt>
                <c:pt idx="1243">
                  <c:v>2.2347378332336E-2</c:v>
                </c:pt>
                <c:pt idx="1244">
                  <c:v>2.26012737016093E-2</c:v>
                </c:pt>
                <c:pt idx="1245">
                  <c:v>2.25461622431294E-2</c:v>
                </c:pt>
                <c:pt idx="1246">
                  <c:v>2.26536545562947E-2</c:v>
                </c:pt>
                <c:pt idx="1247">
                  <c:v>2.2789868944741502E-2</c:v>
                </c:pt>
                <c:pt idx="1248">
                  <c:v>2.2640730654709101E-2</c:v>
                </c:pt>
                <c:pt idx="1249">
                  <c:v>2.2714454934180801E-2</c:v>
                </c:pt>
                <c:pt idx="1250">
                  <c:v>2.2515051438034901E-2</c:v>
                </c:pt>
                <c:pt idx="1251">
                  <c:v>2.2649517420322601E-2</c:v>
                </c:pt>
                <c:pt idx="1252">
                  <c:v>2.2647872115111298E-2</c:v>
                </c:pt>
                <c:pt idx="1253">
                  <c:v>2.29805507410984E-2</c:v>
                </c:pt>
                <c:pt idx="1254">
                  <c:v>2.29765177023744E-2</c:v>
                </c:pt>
                <c:pt idx="1255">
                  <c:v>2.3618966559139701E-2</c:v>
                </c:pt>
                <c:pt idx="1256">
                  <c:v>2.4455836039988101E-2</c:v>
                </c:pt>
                <c:pt idx="1257">
                  <c:v>2.4473398188787701E-2</c:v>
                </c:pt>
                <c:pt idx="1258">
                  <c:v>2.4643812694586601E-2</c:v>
                </c:pt>
                <c:pt idx="1259">
                  <c:v>2.5512501805406401E-2</c:v>
                </c:pt>
                <c:pt idx="1260">
                  <c:v>2.5799149607668902E-2</c:v>
                </c:pt>
                <c:pt idx="1261">
                  <c:v>2.5688749575703499E-2</c:v>
                </c:pt>
                <c:pt idx="1262">
                  <c:v>2.5738498438673998E-2</c:v>
                </c:pt>
                <c:pt idx="1263">
                  <c:v>2.5988204413313499E-2</c:v>
                </c:pt>
                <c:pt idx="1264">
                  <c:v>2.7127889667210501E-2</c:v>
                </c:pt>
                <c:pt idx="1265">
                  <c:v>2.7724880306006498E-2</c:v>
                </c:pt>
                <c:pt idx="1266">
                  <c:v>2.78250729485509E-2</c:v>
                </c:pt>
                <c:pt idx="1267">
                  <c:v>2.7865355421941001E-2</c:v>
                </c:pt>
                <c:pt idx="1268">
                  <c:v>2.7837918948750699E-2</c:v>
                </c:pt>
                <c:pt idx="1269">
                  <c:v>2.7779892162133599E-2</c:v>
                </c:pt>
                <c:pt idx="1270">
                  <c:v>2.7772671240158201E-2</c:v>
                </c:pt>
                <c:pt idx="1271">
                  <c:v>2.79666827840717E-2</c:v>
                </c:pt>
                <c:pt idx="1272">
                  <c:v>2.81045548966312E-2</c:v>
                </c:pt>
                <c:pt idx="1273">
                  <c:v>2.8101457699765499E-2</c:v>
                </c:pt>
                <c:pt idx="1274">
                  <c:v>2.7322729268769198E-2</c:v>
                </c:pt>
                <c:pt idx="1275">
                  <c:v>2.73037180731295E-2</c:v>
                </c:pt>
                <c:pt idx="1276">
                  <c:v>2.73847336131583E-2</c:v>
                </c:pt>
                <c:pt idx="1277">
                  <c:v>2.7385813723184299E-2</c:v>
                </c:pt>
                <c:pt idx="1278">
                  <c:v>2.74959056082653E-2</c:v>
                </c:pt>
                <c:pt idx="1279">
                  <c:v>2.7485828432829099E-2</c:v>
                </c:pt>
                <c:pt idx="1280">
                  <c:v>2.7456105289410102E-2</c:v>
                </c:pt>
                <c:pt idx="1281">
                  <c:v>2.7437806584777999E-2</c:v>
                </c:pt>
                <c:pt idx="1282">
                  <c:v>2.7143936766684199E-2</c:v>
                </c:pt>
                <c:pt idx="1283">
                  <c:v>2.7680886019043199E-2</c:v>
                </c:pt>
                <c:pt idx="1284">
                  <c:v>2.79642543176916E-2</c:v>
                </c:pt>
                <c:pt idx="1285">
                  <c:v>2.8260228479214E-2</c:v>
                </c:pt>
                <c:pt idx="1286">
                  <c:v>2.8361046424776298E-2</c:v>
                </c:pt>
                <c:pt idx="1287">
                  <c:v>2.7889772511335599E-2</c:v>
                </c:pt>
                <c:pt idx="1288">
                  <c:v>2.78225164003695E-2</c:v>
                </c:pt>
                <c:pt idx="1289">
                  <c:v>2.7846584043067099E-2</c:v>
                </c:pt>
                <c:pt idx="1290">
                  <c:v>2.7904531144254299E-2</c:v>
                </c:pt>
                <c:pt idx="1291">
                  <c:v>2.7876019284265901E-2</c:v>
                </c:pt>
                <c:pt idx="1292">
                  <c:v>2.7907252848260702E-2</c:v>
                </c:pt>
                <c:pt idx="1293">
                  <c:v>2.7849131684653701E-2</c:v>
                </c:pt>
                <c:pt idx="1294">
                  <c:v>2.7942825220631299E-2</c:v>
                </c:pt>
                <c:pt idx="1295">
                  <c:v>2.8048255766133699E-2</c:v>
                </c:pt>
                <c:pt idx="1296">
                  <c:v>2.87385917626467E-2</c:v>
                </c:pt>
                <c:pt idx="1297">
                  <c:v>2.8681608356323302E-2</c:v>
                </c:pt>
                <c:pt idx="1298">
                  <c:v>2.7076693145962699E-2</c:v>
                </c:pt>
                <c:pt idx="1299">
                  <c:v>2.7110607080897499E-2</c:v>
                </c:pt>
                <c:pt idx="1300">
                  <c:v>2.6718262078613299E-2</c:v>
                </c:pt>
                <c:pt idx="1301">
                  <c:v>2.4260184257451099E-2</c:v>
                </c:pt>
                <c:pt idx="1302">
                  <c:v>2.3991270656888001E-2</c:v>
                </c:pt>
                <c:pt idx="1303">
                  <c:v>2.4138270982250298E-2</c:v>
                </c:pt>
                <c:pt idx="1304">
                  <c:v>2.3886381721435399E-2</c:v>
                </c:pt>
                <c:pt idx="1305">
                  <c:v>2.3890393649438402E-2</c:v>
                </c:pt>
                <c:pt idx="1306">
                  <c:v>2.38729039639562E-2</c:v>
                </c:pt>
                <c:pt idx="1307">
                  <c:v>2.3804672280986199E-2</c:v>
                </c:pt>
                <c:pt idx="1308">
                  <c:v>2.3723807782420701E-2</c:v>
                </c:pt>
                <c:pt idx="1309">
                  <c:v>2.3651328947567E-2</c:v>
                </c:pt>
                <c:pt idx="1310">
                  <c:v>2.3899113458441E-2</c:v>
                </c:pt>
                <c:pt idx="1311">
                  <c:v>2.3691634780965799E-2</c:v>
                </c:pt>
                <c:pt idx="1312">
                  <c:v>2.46298370304276E-2</c:v>
                </c:pt>
                <c:pt idx="1313">
                  <c:v>2.4442773426773801E-2</c:v>
                </c:pt>
                <c:pt idx="1314">
                  <c:v>2.4630711288206899E-2</c:v>
                </c:pt>
                <c:pt idx="1315">
                  <c:v>2.4086902776462499E-2</c:v>
                </c:pt>
                <c:pt idx="1316">
                  <c:v>2.3286140479199299E-2</c:v>
                </c:pt>
                <c:pt idx="1317">
                  <c:v>2.33010566855896E-2</c:v>
                </c:pt>
                <c:pt idx="1318">
                  <c:v>2.3199652642816E-2</c:v>
                </c:pt>
                <c:pt idx="1319">
                  <c:v>2.2238126005338098E-2</c:v>
                </c:pt>
                <c:pt idx="1320">
                  <c:v>2.1919128317336601E-2</c:v>
                </c:pt>
                <c:pt idx="1321">
                  <c:v>2.1895880099195901E-2</c:v>
                </c:pt>
                <c:pt idx="1322">
                  <c:v>2.19363221634475E-2</c:v>
                </c:pt>
                <c:pt idx="1323">
                  <c:v>2.1812141648055301E-2</c:v>
                </c:pt>
                <c:pt idx="1324">
                  <c:v>2.02148748523477E-2</c:v>
                </c:pt>
                <c:pt idx="1325">
                  <c:v>1.9694922836300099E-2</c:v>
                </c:pt>
                <c:pt idx="1326">
                  <c:v>1.94863870145403E-2</c:v>
                </c:pt>
                <c:pt idx="1327">
                  <c:v>1.9336974470803899E-2</c:v>
                </c:pt>
                <c:pt idx="1328">
                  <c:v>1.9344165424851401E-2</c:v>
                </c:pt>
                <c:pt idx="1329">
                  <c:v>1.93608340744514E-2</c:v>
                </c:pt>
                <c:pt idx="1330">
                  <c:v>1.9396154679160001E-2</c:v>
                </c:pt>
                <c:pt idx="1331">
                  <c:v>1.8720823606024499E-2</c:v>
                </c:pt>
                <c:pt idx="1332">
                  <c:v>1.8590735051642E-2</c:v>
                </c:pt>
                <c:pt idx="1333">
                  <c:v>1.8708242885409499E-2</c:v>
                </c:pt>
                <c:pt idx="1334">
                  <c:v>1.9515016315466101E-2</c:v>
                </c:pt>
                <c:pt idx="1335">
                  <c:v>1.89534262294975E-2</c:v>
                </c:pt>
                <c:pt idx="1336">
                  <c:v>1.8645246878309301E-2</c:v>
                </c:pt>
                <c:pt idx="1337">
                  <c:v>1.86654793410461E-2</c:v>
                </c:pt>
                <c:pt idx="1338">
                  <c:v>1.85297205420813E-2</c:v>
                </c:pt>
                <c:pt idx="1339">
                  <c:v>1.96450679363563E-2</c:v>
                </c:pt>
                <c:pt idx="1340">
                  <c:v>1.96674390455738E-2</c:v>
                </c:pt>
                <c:pt idx="1341">
                  <c:v>1.9622074650711401E-2</c:v>
                </c:pt>
                <c:pt idx="1342">
                  <c:v>1.9659928064464999E-2</c:v>
                </c:pt>
                <c:pt idx="1343">
                  <c:v>1.8907826173836201E-2</c:v>
                </c:pt>
                <c:pt idx="1344">
                  <c:v>1.8689795986732101E-2</c:v>
                </c:pt>
                <c:pt idx="1345">
                  <c:v>1.8547674383474402E-2</c:v>
                </c:pt>
                <c:pt idx="1346">
                  <c:v>1.8610492468042701E-2</c:v>
                </c:pt>
                <c:pt idx="1347">
                  <c:v>1.8654348495299101E-2</c:v>
                </c:pt>
                <c:pt idx="1348">
                  <c:v>1.85708265252615E-2</c:v>
                </c:pt>
                <c:pt idx="1349">
                  <c:v>1.9518350658750402E-2</c:v>
                </c:pt>
                <c:pt idx="1350">
                  <c:v>1.9516722773206499E-2</c:v>
                </c:pt>
                <c:pt idx="1351">
                  <c:v>1.9592653145629E-2</c:v>
                </c:pt>
                <c:pt idx="1352">
                  <c:v>1.9527605621852701E-2</c:v>
                </c:pt>
                <c:pt idx="1353">
                  <c:v>2.02153748563547E-2</c:v>
                </c:pt>
                <c:pt idx="1354">
                  <c:v>2.0169989726667E-2</c:v>
                </c:pt>
                <c:pt idx="1355">
                  <c:v>2.0077742342244801E-2</c:v>
                </c:pt>
                <c:pt idx="1356">
                  <c:v>1.8831767609762899E-2</c:v>
                </c:pt>
                <c:pt idx="1357">
                  <c:v>1.8791358711571799E-2</c:v>
                </c:pt>
                <c:pt idx="1358">
                  <c:v>1.8772945887811799E-2</c:v>
                </c:pt>
                <c:pt idx="1359">
                  <c:v>1.9551674534175702E-2</c:v>
                </c:pt>
                <c:pt idx="1360">
                  <c:v>1.9575999145359301E-2</c:v>
                </c:pt>
                <c:pt idx="1361">
                  <c:v>1.9604976328441399E-2</c:v>
                </c:pt>
                <c:pt idx="1362">
                  <c:v>1.9725744634460699E-2</c:v>
                </c:pt>
                <c:pt idx="1363">
                  <c:v>1.9704103785170901E-2</c:v>
                </c:pt>
                <c:pt idx="1364">
                  <c:v>2.0367011938156501E-2</c:v>
                </c:pt>
                <c:pt idx="1365">
                  <c:v>2.04762259908726E-2</c:v>
                </c:pt>
                <c:pt idx="1366">
                  <c:v>2.02565524460586E-2</c:v>
                </c:pt>
                <c:pt idx="1367">
                  <c:v>2.0301280319750498E-2</c:v>
                </c:pt>
                <c:pt idx="1368">
                  <c:v>2.06580026878358E-2</c:v>
                </c:pt>
                <c:pt idx="1369">
                  <c:v>2.06158610962149E-2</c:v>
                </c:pt>
                <c:pt idx="1370">
                  <c:v>2.0532570818887801E-2</c:v>
                </c:pt>
                <c:pt idx="1371">
                  <c:v>2.05714162091277E-2</c:v>
                </c:pt>
                <c:pt idx="1372">
                  <c:v>1.9606306498494701E-2</c:v>
                </c:pt>
                <c:pt idx="1373">
                  <c:v>1.95663704519096E-2</c:v>
                </c:pt>
                <c:pt idx="1374">
                  <c:v>1.9823472109136899E-2</c:v>
                </c:pt>
                <c:pt idx="1375">
                  <c:v>1.9955531026182801E-2</c:v>
                </c:pt>
                <c:pt idx="1376">
                  <c:v>1.9999547324822502E-2</c:v>
                </c:pt>
                <c:pt idx="1377">
                  <c:v>2.0003356681346101E-2</c:v>
                </c:pt>
                <c:pt idx="1378">
                  <c:v>2.0247417115789802E-2</c:v>
                </c:pt>
                <c:pt idx="1379">
                  <c:v>2.0311122082488201E-2</c:v>
                </c:pt>
                <c:pt idx="1380">
                  <c:v>2.03880248924596E-2</c:v>
                </c:pt>
                <c:pt idx="1381">
                  <c:v>2.0542535055597302E-2</c:v>
                </c:pt>
                <c:pt idx="1382">
                  <c:v>2.05045899295879E-2</c:v>
                </c:pt>
                <c:pt idx="1383">
                  <c:v>2.0427048584178702E-2</c:v>
                </c:pt>
                <c:pt idx="1384">
                  <c:v>2.0519154308325401E-2</c:v>
                </c:pt>
                <c:pt idx="1385">
                  <c:v>2.0196431853153798E-2</c:v>
                </c:pt>
                <c:pt idx="1386">
                  <c:v>2.01561121403032E-2</c:v>
                </c:pt>
                <c:pt idx="1387">
                  <c:v>2.0170798153438901E-2</c:v>
                </c:pt>
                <c:pt idx="1388">
                  <c:v>2.0228603694369601E-2</c:v>
                </c:pt>
                <c:pt idx="1389">
                  <c:v>2.0231210825248602E-2</c:v>
                </c:pt>
                <c:pt idx="1390">
                  <c:v>2.0235095525359199E-2</c:v>
                </c:pt>
                <c:pt idx="1391">
                  <c:v>2.0245684626465199E-2</c:v>
                </c:pt>
                <c:pt idx="1392">
                  <c:v>2.0252885906056901E-2</c:v>
                </c:pt>
                <c:pt idx="1393">
                  <c:v>2.0233384502279302E-2</c:v>
                </c:pt>
                <c:pt idx="1394">
                  <c:v>1.9683978590222799E-2</c:v>
                </c:pt>
                <c:pt idx="1395">
                  <c:v>1.97018487054108E-2</c:v>
                </c:pt>
                <c:pt idx="1396">
                  <c:v>1.9920939036713999E-2</c:v>
                </c:pt>
                <c:pt idx="1397">
                  <c:v>2.01316985208486E-2</c:v>
                </c:pt>
                <c:pt idx="1398">
                  <c:v>2.0135251710951499E-2</c:v>
                </c:pt>
                <c:pt idx="1399">
                  <c:v>2.0310740225110299E-2</c:v>
                </c:pt>
                <c:pt idx="1400">
                  <c:v>2.2638818203726499E-2</c:v>
                </c:pt>
                <c:pt idx="1401">
                  <c:v>2.3277109149517701E-2</c:v>
                </c:pt>
                <c:pt idx="1402">
                  <c:v>2.3218865038924001E-2</c:v>
                </c:pt>
                <c:pt idx="1403">
                  <c:v>2.3148120047038E-2</c:v>
                </c:pt>
                <c:pt idx="1404">
                  <c:v>2.4736423616109199E-2</c:v>
                </c:pt>
                <c:pt idx="1405">
                  <c:v>2.4607774692731701E-2</c:v>
                </c:pt>
                <c:pt idx="1406">
                  <c:v>2.4514618990748301E-2</c:v>
                </c:pt>
                <c:pt idx="1407">
                  <c:v>2.46040288958135E-2</c:v>
                </c:pt>
                <c:pt idx="1408">
                  <c:v>2.4600432349321601E-2</c:v>
                </c:pt>
                <c:pt idx="1409">
                  <c:v>2.6037112594618401E-2</c:v>
                </c:pt>
                <c:pt idx="1410">
                  <c:v>2.6013334894150399E-2</c:v>
                </c:pt>
                <c:pt idx="1411">
                  <c:v>2.6113618220830401E-2</c:v>
                </c:pt>
                <c:pt idx="1412">
                  <c:v>2.61555071398628E-2</c:v>
                </c:pt>
                <c:pt idx="1413">
                  <c:v>2.5644691331930199E-2</c:v>
                </c:pt>
                <c:pt idx="1414">
                  <c:v>2.5743049309885E-2</c:v>
                </c:pt>
                <c:pt idx="1415">
                  <c:v>2.58402324887359E-2</c:v>
                </c:pt>
                <c:pt idx="1416">
                  <c:v>2.6002829167067198E-2</c:v>
                </c:pt>
                <c:pt idx="1417">
                  <c:v>2.5938385026596501E-2</c:v>
                </c:pt>
                <c:pt idx="1418">
                  <c:v>2.6287979840811E-2</c:v>
                </c:pt>
                <c:pt idx="1419">
                  <c:v>2.6112214347543301E-2</c:v>
                </c:pt>
                <c:pt idx="1420">
                  <c:v>2.6001962294995899E-2</c:v>
                </c:pt>
                <c:pt idx="1421">
                  <c:v>2.62196468208605E-2</c:v>
                </c:pt>
                <c:pt idx="1422">
                  <c:v>2.61153871103714E-2</c:v>
                </c:pt>
                <c:pt idx="1423">
                  <c:v>2.61008763731219E-2</c:v>
                </c:pt>
                <c:pt idx="1424">
                  <c:v>2.5754853835970599E-2</c:v>
                </c:pt>
                <c:pt idx="1425">
                  <c:v>2.5807495601666001E-2</c:v>
                </c:pt>
                <c:pt idx="1426">
                  <c:v>2.5812733238601698E-2</c:v>
                </c:pt>
                <c:pt idx="1427">
                  <c:v>2.58153062073747E-2</c:v>
                </c:pt>
                <c:pt idx="1428">
                  <c:v>2.5596053164036799E-2</c:v>
                </c:pt>
                <c:pt idx="1429">
                  <c:v>2.6129896758719798E-2</c:v>
                </c:pt>
                <c:pt idx="1430">
                  <c:v>2.6051841536100701E-2</c:v>
                </c:pt>
                <c:pt idx="1431">
                  <c:v>2.6159931024764198E-2</c:v>
                </c:pt>
                <c:pt idx="1432">
                  <c:v>2.6322702652127002E-2</c:v>
                </c:pt>
                <c:pt idx="1433">
                  <c:v>2.6310700878159999E-2</c:v>
                </c:pt>
                <c:pt idx="1434">
                  <c:v>2.6531109151238401E-2</c:v>
                </c:pt>
                <c:pt idx="1435">
                  <c:v>2.7093419184024099E-2</c:v>
                </c:pt>
                <c:pt idx="1436">
                  <c:v>2.7387257080974999E-2</c:v>
                </c:pt>
                <c:pt idx="1437">
                  <c:v>2.7701879896568499E-2</c:v>
                </c:pt>
                <c:pt idx="1438">
                  <c:v>2.7522792424435401E-2</c:v>
                </c:pt>
                <c:pt idx="1439">
                  <c:v>2.7909334144665801E-2</c:v>
                </c:pt>
                <c:pt idx="1440">
                  <c:v>2.7907144028931401E-2</c:v>
                </c:pt>
                <c:pt idx="1441">
                  <c:v>2.7730392248685901E-2</c:v>
                </c:pt>
                <c:pt idx="1442">
                  <c:v>2.8154790883103801E-2</c:v>
                </c:pt>
                <c:pt idx="1443">
                  <c:v>2.8818076652787999E-2</c:v>
                </c:pt>
                <c:pt idx="1444">
                  <c:v>2.8866006665232799E-2</c:v>
                </c:pt>
                <c:pt idx="1445">
                  <c:v>2.9594220163970401E-2</c:v>
                </c:pt>
                <c:pt idx="1446">
                  <c:v>2.9527607727041199E-2</c:v>
                </c:pt>
                <c:pt idx="1447">
                  <c:v>2.98308216097572E-2</c:v>
                </c:pt>
                <c:pt idx="1448">
                  <c:v>3.0696982336897601E-2</c:v>
                </c:pt>
                <c:pt idx="1449">
                  <c:v>3.06815640630917E-2</c:v>
                </c:pt>
                <c:pt idx="1450">
                  <c:v>3.1290999744521403E-2</c:v>
                </c:pt>
                <c:pt idx="1451">
                  <c:v>3.1322730858796999E-2</c:v>
                </c:pt>
                <c:pt idx="1452">
                  <c:v>3.1300133542422497E-2</c:v>
                </c:pt>
                <c:pt idx="1453">
                  <c:v>3.2230181623374501E-2</c:v>
                </c:pt>
                <c:pt idx="1454">
                  <c:v>3.2298406515804103E-2</c:v>
                </c:pt>
                <c:pt idx="1455">
                  <c:v>3.2375473239926199E-2</c:v>
                </c:pt>
                <c:pt idx="1456">
                  <c:v>3.2339031368665498E-2</c:v>
                </c:pt>
                <c:pt idx="1457">
                  <c:v>3.24363247883993E-2</c:v>
                </c:pt>
                <c:pt idx="1458">
                  <c:v>3.2369360980667797E-2</c:v>
                </c:pt>
                <c:pt idx="1459">
                  <c:v>3.1955700723607303E-2</c:v>
                </c:pt>
                <c:pt idx="1460">
                  <c:v>3.1287795508032901E-2</c:v>
                </c:pt>
                <c:pt idx="1461">
                  <c:v>3.2936853464836803E-2</c:v>
                </c:pt>
                <c:pt idx="1462">
                  <c:v>3.2916703743132401E-2</c:v>
                </c:pt>
                <c:pt idx="1463">
                  <c:v>3.29158933746002E-2</c:v>
                </c:pt>
                <c:pt idx="1464">
                  <c:v>3.1852128347836003E-2</c:v>
                </c:pt>
                <c:pt idx="1465">
                  <c:v>3.2499297803982197E-2</c:v>
                </c:pt>
                <c:pt idx="1466">
                  <c:v>3.26706482957781E-2</c:v>
                </c:pt>
                <c:pt idx="1467">
                  <c:v>3.2616005756898103E-2</c:v>
                </c:pt>
                <c:pt idx="1468">
                  <c:v>3.3139411916690703E-2</c:v>
                </c:pt>
                <c:pt idx="1469">
                  <c:v>3.1578567524102603E-2</c:v>
                </c:pt>
                <c:pt idx="1470">
                  <c:v>3.1594437250861598E-2</c:v>
                </c:pt>
                <c:pt idx="1471">
                  <c:v>3.1536675427967002E-2</c:v>
                </c:pt>
                <c:pt idx="1472">
                  <c:v>3.1486274643743102E-2</c:v>
                </c:pt>
                <c:pt idx="1473">
                  <c:v>3.1791439522776598E-2</c:v>
                </c:pt>
                <c:pt idx="1474">
                  <c:v>3.16472832654748E-2</c:v>
                </c:pt>
                <c:pt idx="1475">
                  <c:v>3.14666089634612E-2</c:v>
                </c:pt>
                <c:pt idx="1476">
                  <c:v>3.1373567115940602E-2</c:v>
                </c:pt>
                <c:pt idx="1477">
                  <c:v>3.2018089015089103E-2</c:v>
                </c:pt>
                <c:pt idx="1478">
                  <c:v>3.18878282890886E-2</c:v>
                </c:pt>
                <c:pt idx="1479">
                  <c:v>3.1604966666080099E-2</c:v>
                </c:pt>
                <c:pt idx="1480">
                  <c:v>3.1614615596827801E-2</c:v>
                </c:pt>
                <c:pt idx="1481">
                  <c:v>3.1567921135913897E-2</c:v>
                </c:pt>
                <c:pt idx="1482">
                  <c:v>3.1590102775632102E-2</c:v>
                </c:pt>
                <c:pt idx="1483">
                  <c:v>3.17955810095518E-2</c:v>
                </c:pt>
                <c:pt idx="1484">
                  <c:v>3.1698892292783602E-2</c:v>
                </c:pt>
                <c:pt idx="1485">
                  <c:v>3.1629618806349298E-2</c:v>
                </c:pt>
                <c:pt idx="1486">
                  <c:v>3.16410199922324E-2</c:v>
                </c:pt>
                <c:pt idx="1487">
                  <c:v>3.15701167049652E-2</c:v>
                </c:pt>
                <c:pt idx="1488">
                  <c:v>3.1602808575597698E-2</c:v>
                </c:pt>
                <c:pt idx="1489">
                  <c:v>3.1224950429073701E-2</c:v>
                </c:pt>
                <c:pt idx="1490">
                  <c:v>3.12165431269886E-2</c:v>
                </c:pt>
                <c:pt idx="1491">
                  <c:v>3.2742665153575198E-2</c:v>
                </c:pt>
                <c:pt idx="1492">
                  <c:v>3.2693236380411002E-2</c:v>
                </c:pt>
                <c:pt idx="1493">
                  <c:v>3.2730584050775897E-2</c:v>
                </c:pt>
                <c:pt idx="1494">
                  <c:v>3.24928102242487E-2</c:v>
                </c:pt>
                <c:pt idx="1495">
                  <c:v>3.1899613270207003E-2</c:v>
                </c:pt>
                <c:pt idx="1496">
                  <c:v>3.1822743294473599E-2</c:v>
                </c:pt>
                <c:pt idx="1497">
                  <c:v>3.2351173283033399E-2</c:v>
                </c:pt>
                <c:pt idx="1498">
                  <c:v>3.3563578791487698E-2</c:v>
                </c:pt>
                <c:pt idx="1499">
                  <c:v>3.34297528002084E-2</c:v>
                </c:pt>
                <c:pt idx="1500">
                  <c:v>3.3412553438359902E-2</c:v>
                </c:pt>
                <c:pt idx="1501">
                  <c:v>3.3587906187908197E-2</c:v>
                </c:pt>
                <c:pt idx="1502">
                  <c:v>3.3722425079600597E-2</c:v>
                </c:pt>
                <c:pt idx="1503">
                  <c:v>3.3145663895034302E-2</c:v>
                </c:pt>
                <c:pt idx="1504">
                  <c:v>3.3631764704921401E-2</c:v>
                </c:pt>
                <c:pt idx="1505">
                  <c:v>3.2953264438334302E-2</c:v>
                </c:pt>
                <c:pt idx="1506">
                  <c:v>3.31717202545357E-2</c:v>
                </c:pt>
                <c:pt idx="1507">
                  <c:v>3.2893701169923399E-2</c:v>
                </c:pt>
                <c:pt idx="1508">
                  <c:v>3.22365170413264E-2</c:v>
                </c:pt>
                <c:pt idx="1509">
                  <c:v>3.2157401028877902E-2</c:v>
                </c:pt>
                <c:pt idx="1510">
                  <c:v>3.2334335033416303E-2</c:v>
                </c:pt>
                <c:pt idx="1511">
                  <c:v>3.2236797741297597E-2</c:v>
                </c:pt>
                <c:pt idx="1512">
                  <c:v>3.2668903172571803E-2</c:v>
                </c:pt>
                <c:pt idx="1513">
                  <c:v>3.1608219552458697E-2</c:v>
                </c:pt>
                <c:pt idx="1514">
                  <c:v>3.1541168527959802E-2</c:v>
                </c:pt>
                <c:pt idx="1515">
                  <c:v>3.1437177719275802E-2</c:v>
                </c:pt>
                <c:pt idx="1516">
                  <c:v>3.1636930813899601E-2</c:v>
                </c:pt>
                <c:pt idx="1517">
                  <c:v>3.1709979814978501E-2</c:v>
                </c:pt>
                <c:pt idx="1518">
                  <c:v>3.1722786542002002E-2</c:v>
                </c:pt>
                <c:pt idx="1519">
                  <c:v>3.2071715958017298E-2</c:v>
                </c:pt>
                <c:pt idx="1520">
                  <c:v>3.1770364124912603E-2</c:v>
                </c:pt>
                <c:pt idx="1521">
                  <c:v>2.9404414313492E-2</c:v>
                </c:pt>
                <c:pt idx="1522">
                  <c:v>2.93651172015051E-2</c:v>
                </c:pt>
                <c:pt idx="1523">
                  <c:v>2.9674461235547699E-2</c:v>
                </c:pt>
                <c:pt idx="1524">
                  <c:v>2.9617553634898999E-2</c:v>
                </c:pt>
                <c:pt idx="1525">
                  <c:v>2.8886307691930201E-2</c:v>
                </c:pt>
                <c:pt idx="1526">
                  <c:v>2.8687863395916599E-2</c:v>
                </c:pt>
                <c:pt idx="1527">
                  <c:v>2.86795592298754E-2</c:v>
                </c:pt>
                <c:pt idx="1528">
                  <c:v>2.82776944390941E-2</c:v>
                </c:pt>
                <c:pt idx="1529">
                  <c:v>2.8064779336974401E-2</c:v>
                </c:pt>
                <c:pt idx="1530">
                  <c:v>2.81570861100085E-2</c:v>
                </c:pt>
                <c:pt idx="1531">
                  <c:v>2.82268166818791E-2</c:v>
                </c:pt>
                <c:pt idx="1532">
                  <c:v>2.8258038310594299E-2</c:v>
                </c:pt>
                <c:pt idx="1533">
                  <c:v>2.7836580121522E-2</c:v>
                </c:pt>
                <c:pt idx="1534">
                  <c:v>2.8366040647736498E-2</c:v>
                </c:pt>
                <c:pt idx="1535">
                  <c:v>2.8983551133248998E-2</c:v>
                </c:pt>
                <c:pt idx="1536">
                  <c:v>2.8984206801113001E-2</c:v>
                </c:pt>
                <c:pt idx="1537">
                  <c:v>2.8378185354920999E-2</c:v>
                </c:pt>
                <c:pt idx="1538">
                  <c:v>2.8182598827698802E-2</c:v>
                </c:pt>
                <c:pt idx="1539">
                  <c:v>2.81625222314924E-2</c:v>
                </c:pt>
                <c:pt idx="1540">
                  <c:v>2.8876086850149502E-2</c:v>
                </c:pt>
                <c:pt idx="1541">
                  <c:v>2.8843411979233E-2</c:v>
                </c:pt>
                <c:pt idx="1542">
                  <c:v>3.0719666000030201E-2</c:v>
                </c:pt>
                <c:pt idx="1543">
                  <c:v>3.0642911339795999E-2</c:v>
                </c:pt>
                <c:pt idx="1544">
                  <c:v>3.0561338515794401E-2</c:v>
                </c:pt>
                <c:pt idx="1545">
                  <c:v>3.05039462535882E-2</c:v>
                </c:pt>
                <c:pt idx="1546">
                  <c:v>3.0605181716217698E-2</c:v>
                </c:pt>
                <c:pt idx="1547">
                  <c:v>3.0606539270728102E-2</c:v>
                </c:pt>
                <c:pt idx="1548">
                  <c:v>3.06070620880158E-2</c:v>
                </c:pt>
                <c:pt idx="1549">
                  <c:v>3.0857158637061399E-2</c:v>
                </c:pt>
                <c:pt idx="1550">
                  <c:v>3.1078625906909799E-2</c:v>
                </c:pt>
                <c:pt idx="1551">
                  <c:v>2.93642225988862E-2</c:v>
                </c:pt>
                <c:pt idx="1552">
                  <c:v>2.93371245107041E-2</c:v>
                </c:pt>
                <c:pt idx="1553">
                  <c:v>2.9309447133577599E-2</c:v>
                </c:pt>
                <c:pt idx="1554">
                  <c:v>2.9241728927225399E-2</c:v>
                </c:pt>
                <c:pt idx="1555">
                  <c:v>2.9366274471975401E-2</c:v>
                </c:pt>
                <c:pt idx="1556">
                  <c:v>2.9091232920190401E-2</c:v>
                </c:pt>
                <c:pt idx="1557">
                  <c:v>2.8174411937917299E-2</c:v>
                </c:pt>
                <c:pt idx="1558">
                  <c:v>2.68933300811432E-2</c:v>
                </c:pt>
                <c:pt idx="1559">
                  <c:v>2.65819213398403E-2</c:v>
                </c:pt>
                <c:pt idx="1560">
                  <c:v>2.6837188170114702E-2</c:v>
                </c:pt>
                <c:pt idx="1561">
                  <c:v>2.6880793964602401E-2</c:v>
                </c:pt>
                <c:pt idx="1562">
                  <c:v>2.6197126862538601E-2</c:v>
                </c:pt>
                <c:pt idx="1563">
                  <c:v>2.8997146156796001E-2</c:v>
                </c:pt>
                <c:pt idx="1564">
                  <c:v>2.9554150200743E-2</c:v>
                </c:pt>
                <c:pt idx="1565">
                  <c:v>2.9889096964548001E-2</c:v>
                </c:pt>
                <c:pt idx="1566">
                  <c:v>2.9672943252966901E-2</c:v>
                </c:pt>
                <c:pt idx="1567">
                  <c:v>3.0177031044052598E-2</c:v>
                </c:pt>
                <c:pt idx="1568">
                  <c:v>3.0034196058561401E-2</c:v>
                </c:pt>
                <c:pt idx="1569">
                  <c:v>3.06952628137576E-2</c:v>
                </c:pt>
                <c:pt idx="1570">
                  <c:v>2.9869627055932099E-2</c:v>
                </c:pt>
                <c:pt idx="1571">
                  <c:v>3.0133912417259101E-2</c:v>
                </c:pt>
                <c:pt idx="1572">
                  <c:v>2.9580680421364299E-2</c:v>
                </c:pt>
                <c:pt idx="1573">
                  <c:v>2.9981933778965301E-2</c:v>
                </c:pt>
                <c:pt idx="1574">
                  <c:v>3.06095401591217E-2</c:v>
                </c:pt>
                <c:pt idx="1575">
                  <c:v>3.0652299598666801E-2</c:v>
                </c:pt>
                <c:pt idx="1576">
                  <c:v>3.03102910702036E-2</c:v>
                </c:pt>
                <c:pt idx="1577">
                  <c:v>3.05541507631731E-2</c:v>
                </c:pt>
                <c:pt idx="1578">
                  <c:v>3.06012757761242E-2</c:v>
                </c:pt>
                <c:pt idx="1579">
                  <c:v>3.05746145625377E-2</c:v>
                </c:pt>
                <c:pt idx="1580">
                  <c:v>3.0121092027833401E-2</c:v>
                </c:pt>
                <c:pt idx="1581">
                  <c:v>3.0208519512251199E-2</c:v>
                </c:pt>
                <c:pt idx="1582">
                  <c:v>3.02282869434852E-2</c:v>
                </c:pt>
                <c:pt idx="1583">
                  <c:v>2.9902796640694201E-2</c:v>
                </c:pt>
                <c:pt idx="1584">
                  <c:v>3.10675573079159E-2</c:v>
                </c:pt>
                <c:pt idx="1585">
                  <c:v>3.14219478607803E-2</c:v>
                </c:pt>
                <c:pt idx="1586">
                  <c:v>3.1494919164539899E-2</c:v>
                </c:pt>
                <c:pt idx="1587">
                  <c:v>3.1778735690606102E-2</c:v>
                </c:pt>
                <c:pt idx="1588">
                  <c:v>3.1716812826094898E-2</c:v>
                </c:pt>
                <c:pt idx="1589">
                  <c:v>3.1595483564862602E-2</c:v>
                </c:pt>
                <c:pt idx="1590">
                  <c:v>3.1546163907965198E-2</c:v>
                </c:pt>
                <c:pt idx="1591">
                  <c:v>3.20484048823029E-2</c:v>
                </c:pt>
                <c:pt idx="1592">
                  <c:v>3.2064439439914098E-2</c:v>
                </c:pt>
                <c:pt idx="1593">
                  <c:v>3.2214217845494802E-2</c:v>
                </c:pt>
                <c:pt idx="1594">
                  <c:v>3.3352292718970798E-2</c:v>
                </c:pt>
                <c:pt idx="1595">
                  <c:v>3.2778498604164402E-2</c:v>
                </c:pt>
                <c:pt idx="1596">
                  <c:v>3.2850007593389602E-2</c:v>
                </c:pt>
                <c:pt idx="1597">
                  <c:v>3.3341159294429698E-2</c:v>
                </c:pt>
                <c:pt idx="1598">
                  <c:v>3.3753623609111702E-2</c:v>
                </c:pt>
                <c:pt idx="1599">
                  <c:v>3.3913491507707103E-2</c:v>
                </c:pt>
                <c:pt idx="1600">
                  <c:v>3.4559392921830301E-2</c:v>
                </c:pt>
                <c:pt idx="1601">
                  <c:v>3.5444470672856998E-2</c:v>
                </c:pt>
                <c:pt idx="1602">
                  <c:v>3.3915167209788197E-2</c:v>
                </c:pt>
                <c:pt idx="1603">
                  <c:v>3.3667291258288698E-2</c:v>
                </c:pt>
                <c:pt idx="1604">
                  <c:v>3.40322394120572E-2</c:v>
                </c:pt>
                <c:pt idx="1605">
                  <c:v>3.4032237113825498E-2</c:v>
                </c:pt>
                <c:pt idx="1606">
                  <c:v>3.3897771385026698E-2</c:v>
                </c:pt>
                <c:pt idx="1607">
                  <c:v>3.3981047263702699E-2</c:v>
                </c:pt>
                <c:pt idx="1608">
                  <c:v>3.4044887364196003E-2</c:v>
                </c:pt>
                <c:pt idx="1609">
                  <c:v>3.3981691136171902E-2</c:v>
                </c:pt>
                <c:pt idx="1610">
                  <c:v>3.3746936002558098E-2</c:v>
                </c:pt>
                <c:pt idx="1611">
                  <c:v>3.4285690985469602E-2</c:v>
                </c:pt>
                <c:pt idx="1612">
                  <c:v>3.4307275044054002E-2</c:v>
                </c:pt>
                <c:pt idx="1613">
                  <c:v>3.43749966052012E-2</c:v>
                </c:pt>
                <c:pt idx="1614">
                  <c:v>3.4580293781326397E-2</c:v>
                </c:pt>
                <c:pt idx="1615">
                  <c:v>3.45777326761008E-2</c:v>
                </c:pt>
                <c:pt idx="1616">
                  <c:v>3.4750642369343603E-2</c:v>
                </c:pt>
                <c:pt idx="1617">
                  <c:v>3.4884880907280501E-2</c:v>
                </c:pt>
                <c:pt idx="1618">
                  <c:v>3.5051969331608798E-2</c:v>
                </c:pt>
                <c:pt idx="1619">
                  <c:v>3.5065537533866403E-2</c:v>
                </c:pt>
                <c:pt idx="1620">
                  <c:v>3.4751156814383399E-2</c:v>
                </c:pt>
                <c:pt idx="1621">
                  <c:v>3.4424053319697501E-2</c:v>
                </c:pt>
                <c:pt idx="1622">
                  <c:v>3.4446868243742698E-2</c:v>
                </c:pt>
                <c:pt idx="1623">
                  <c:v>3.2452851090251103E-2</c:v>
                </c:pt>
                <c:pt idx="1624">
                  <c:v>3.1445874183850198E-2</c:v>
                </c:pt>
                <c:pt idx="1625">
                  <c:v>3.1704753528849203E-2</c:v>
                </c:pt>
                <c:pt idx="1626">
                  <c:v>3.1741664035579299E-2</c:v>
                </c:pt>
                <c:pt idx="1627">
                  <c:v>3.1293112947308299E-2</c:v>
                </c:pt>
                <c:pt idx="1628">
                  <c:v>3.1254797019581601E-2</c:v>
                </c:pt>
                <c:pt idx="1629">
                  <c:v>3.05727414262917E-2</c:v>
                </c:pt>
                <c:pt idx="1630">
                  <c:v>3.0568189266511499E-2</c:v>
                </c:pt>
                <c:pt idx="1631">
                  <c:v>3.0207724084900901E-2</c:v>
                </c:pt>
                <c:pt idx="1632">
                  <c:v>3.05396320714417E-2</c:v>
                </c:pt>
                <c:pt idx="1633">
                  <c:v>3.0254790320604599E-2</c:v>
                </c:pt>
                <c:pt idx="1634">
                  <c:v>2.9803360450601901E-2</c:v>
                </c:pt>
                <c:pt idx="1635">
                  <c:v>2.97580691461641E-2</c:v>
                </c:pt>
                <c:pt idx="1636">
                  <c:v>2.98018476133084E-2</c:v>
                </c:pt>
                <c:pt idx="1637">
                  <c:v>2.9067337605884602E-2</c:v>
                </c:pt>
                <c:pt idx="1638">
                  <c:v>2.92250020923824E-2</c:v>
                </c:pt>
                <c:pt idx="1639">
                  <c:v>2.9380689445000899E-2</c:v>
                </c:pt>
                <c:pt idx="1640">
                  <c:v>2.9359105924413199E-2</c:v>
                </c:pt>
                <c:pt idx="1641">
                  <c:v>2.9232586307424101E-2</c:v>
                </c:pt>
                <c:pt idx="1642">
                  <c:v>2.9259545783074201E-2</c:v>
                </c:pt>
                <c:pt idx="1643">
                  <c:v>2.8981124446544399E-2</c:v>
                </c:pt>
                <c:pt idx="1644">
                  <c:v>2.7215221180597202E-2</c:v>
                </c:pt>
                <c:pt idx="1645">
                  <c:v>2.7003110400963402E-2</c:v>
                </c:pt>
                <c:pt idx="1646">
                  <c:v>2.6715612838493101E-2</c:v>
                </c:pt>
                <c:pt idx="1647">
                  <c:v>2.66094503991595E-2</c:v>
                </c:pt>
                <c:pt idx="1648">
                  <c:v>2.6573636888514E-2</c:v>
                </c:pt>
                <c:pt idx="1649">
                  <c:v>2.6703231538071699E-2</c:v>
                </c:pt>
                <c:pt idx="1650">
                  <c:v>2.6616108895679801E-2</c:v>
                </c:pt>
                <c:pt idx="1651">
                  <c:v>2.66374073342578E-2</c:v>
                </c:pt>
                <c:pt idx="1652">
                  <c:v>2.6492212441729401E-2</c:v>
                </c:pt>
                <c:pt idx="1653">
                  <c:v>2.6468953197440099E-2</c:v>
                </c:pt>
                <c:pt idx="1654">
                  <c:v>2.5023228488607E-2</c:v>
                </c:pt>
                <c:pt idx="1655">
                  <c:v>2.49727661142446E-2</c:v>
                </c:pt>
                <c:pt idx="1656">
                  <c:v>2.5253616525224998E-2</c:v>
                </c:pt>
                <c:pt idx="1657">
                  <c:v>2.5001956548418299E-2</c:v>
                </c:pt>
                <c:pt idx="1658">
                  <c:v>2.5077368921588301E-2</c:v>
                </c:pt>
                <c:pt idx="1659">
                  <c:v>2.5779529467095299E-2</c:v>
                </c:pt>
                <c:pt idx="1660">
                  <c:v>2.3595628836110601E-2</c:v>
                </c:pt>
                <c:pt idx="1661">
                  <c:v>2.2525302777284002E-2</c:v>
                </c:pt>
                <c:pt idx="1662">
                  <c:v>2.26759300986316E-2</c:v>
                </c:pt>
                <c:pt idx="1663">
                  <c:v>2.35406513647862E-2</c:v>
                </c:pt>
                <c:pt idx="1664">
                  <c:v>2.27116099999938E-2</c:v>
                </c:pt>
                <c:pt idx="1665">
                  <c:v>2.3770224788618202E-2</c:v>
                </c:pt>
                <c:pt idx="1666">
                  <c:v>2.4002268264782599E-2</c:v>
                </c:pt>
                <c:pt idx="1667">
                  <c:v>2.39780515917799E-2</c:v>
                </c:pt>
                <c:pt idx="1668">
                  <c:v>2.38259487384503E-2</c:v>
                </c:pt>
                <c:pt idx="1669">
                  <c:v>2.5058224550220099E-2</c:v>
                </c:pt>
                <c:pt idx="1670">
                  <c:v>2.5066866826214201E-2</c:v>
                </c:pt>
                <c:pt idx="1671">
                  <c:v>2.4536237274223799E-2</c:v>
                </c:pt>
                <c:pt idx="1672">
                  <c:v>2.50142747190264E-2</c:v>
                </c:pt>
                <c:pt idx="1673">
                  <c:v>2.50345503339937E-2</c:v>
                </c:pt>
                <c:pt idx="1674">
                  <c:v>2.4566403408584399E-2</c:v>
                </c:pt>
                <c:pt idx="1675">
                  <c:v>2.43102538739976E-2</c:v>
                </c:pt>
                <c:pt idx="1676">
                  <c:v>2.4089794917491698E-2</c:v>
                </c:pt>
                <c:pt idx="1677">
                  <c:v>2.3943505096491E-2</c:v>
                </c:pt>
                <c:pt idx="1678">
                  <c:v>2.3612693798317E-2</c:v>
                </c:pt>
                <c:pt idx="1679">
                  <c:v>2.3605869415419801E-2</c:v>
                </c:pt>
                <c:pt idx="1680">
                  <c:v>2.37087259050613E-2</c:v>
                </c:pt>
                <c:pt idx="1681">
                  <c:v>2.3714524339671701E-2</c:v>
                </c:pt>
                <c:pt idx="1682">
                  <c:v>2.37597505404804E-2</c:v>
                </c:pt>
                <c:pt idx="1683">
                  <c:v>2.3761259887930299E-2</c:v>
                </c:pt>
                <c:pt idx="1684">
                  <c:v>2.38204443778911E-2</c:v>
                </c:pt>
                <c:pt idx="1685">
                  <c:v>2.30735142679745E-2</c:v>
                </c:pt>
                <c:pt idx="1686">
                  <c:v>2.2911198675686702E-2</c:v>
                </c:pt>
                <c:pt idx="1687">
                  <c:v>2.28856934243898E-2</c:v>
                </c:pt>
                <c:pt idx="1688">
                  <c:v>2.2859790219929801E-2</c:v>
                </c:pt>
                <c:pt idx="1689">
                  <c:v>2.2873005405682399E-2</c:v>
                </c:pt>
                <c:pt idx="1690">
                  <c:v>2.27764523021225E-2</c:v>
                </c:pt>
                <c:pt idx="1691">
                  <c:v>2.2723851095263099E-2</c:v>
                </c:pt>
                <c:pt idx="1692">
                  <c:v>2.2394524130739401E-2</c:v>
                </c:pt>
                <c:pt idx="1693">
                  <c:v>2.28298553161616E-2</c:v>
                </c:pt>
                <c:pt idx="1694">
                  <c:v>2.2836617739741098E-2</c:v>
                </c:pt>
                <c:pt idx="1695">
                  <c:v>2.27994356947918E-2</c:v>
                </c:pt>
                <c:pt idx="1696">
                  <c:v>2.2876138297944999E-2</c:v>
                </c:pt>
                <c:pt idx="1697">
                  <c:v>2.28710970621816E-2</c:v>
                </c:pt>
                <c:pt idx="1698">
                  <c:v>2.2554412712434101E-2</c:v>
                </c:pt>
                <c:pt idx="1699">
                  <c:v>2.20843690216227E-2</c:v>
                </c:pt>
                <c:pt idx="1700">
                  <c:v>2.22090348708361E-2</c:v>
                </c:pt>
                <c:pt idx="1701">
                  <c:v>2.2246070689585399E-2</c:v>
                </c:pt>
                <c:pt idx="1702">
                  <c:v>2.2340270806600799E-2</c:v>
                </c:pt>
                <c:pt idx="1703">
                  <c:v>2.30028601000161E-2</c:v>
                </c:pt>
                <c:pt idx="1704">
                  <c:v>2.2992956385935501E-2</c:v>
                </c:pt>
                <c:pt idx="1705">
                  <c:v>2.3026607878577E-2</c:v>
                </c:pt>
                <c:pt idx="1706">
                  <c:v>2.3262845410106099E-2</c:v>
                </c:pt>
                <c:pt idx="1707">
                  <c:v>2.3237399065820501E-2</c:v>
                </c:pt>
                <c:pt idx="1708">
                  <c:v>2.3407225669009199E-2</c:v>
                </c:pt>
                <c:pt idx="1709">
                  <c:v>2.3209777205668799E-2</c:v>
                </c:pt>
                <c:pt idx="1710">
                  <c:v>2.3510504226880401E-2</c:v>
                </c:pt>
                <c:pt idx="1711">
                  <c:v>2.3045538924184001E-2</c:v>
                </c:pt>
                <c:pt idx="1712">
                  <c:v>2.2892004936477701E-2</c:v>
                </c:pt>
                <c:pt idx="1713">
                  <c:v>2.2856610337785299E-2</c:v>
                </c:pt>
                <c:pt idx="1714">
                  <c:v>2.2865574021559702E-2</c:v>
                </c:pt>
                <c:pt idx="1715">
                  <c:v>2.30895520135493E-2</c:v>
                </c:pt>
                <c:pt idx="1716">
                  <c:v>2.2873196637845501E-2</c:v>
                </c:pt>
                <c:pt idx="1717">
                  <c:v>2.2682281182547101E-2</c:v>
                </c:pt>
                <c:pt idx="1718">
                  <c:v>2.22800290545336E-2</c:v>
                </c:pt>
                <c:pt idx="1719">
                  <c:v>2.1309112412921601E-2</c:v>
                </c:pt>
                <c:pt idx="1720">
                  <c:v>2.1293661994696199E-2</c:v>
                </c:pt>
                <c:pt idx="1721">
                  <c:v>2.12055511647051E-2</c:v>
                </c:pt>
                <c:pt idx="1722">
                  <c:v>2.1018606672708901E-2</c:v>
                </c:pt>
                <c:pt idx="1723">
                  <c:v>2.03025133660064E-2</c:v>
                </c:pt>
                <c:pt idx="1724">
                  <c:v>2.03177293088787E-2</c:v>
                </c:pt>
                <c:pt idx="1725">
                  <c:v>1.9057528291991001E-2</c:v>
                </c:pt>
                <c:pt idx="1726">
                  <c:v>1.8848779496223801E-2</c:v>
                </c:pt>
                <c:pt idx="1727">
                  <c:v>1.8875524537070001E-2</c:v>
                </c:pt>
                <c:pt idx="1728">
                  <c:v>1.9196142861813301E-2</c:v>
                </c:pt>
                <c:pt idx="1729">
                  <c:v>1.7517363427801799E-2</c:v>
                </c:pt>
                <c:pt idx="1730">
                  <c:v>1.7732887060157399E-2</c:v>
                </c:pt>
                <c:pt idx="1731">
                  <c:v>1.7662458955895601E-2</c:v>
                </c:pt>
                <c:pt idx="1732">
                  <c:v>1.68401361494495E-2</c:v>
                </c:pt>
                <c:pt idx="1733">
                  <c:v>1.67622573668081E-2</c:v>
                </c:pt>
                <c:pt idx="1734">
                  <c:v>1.66654513506895E-2</c:v>
                </c:pt>
                <c:pt idx="1735">
                  <c:v>1.6652548131324801E-2</c:v>
                </c:pt>
                <c:pt idx="1736">
                  <c:v>1.6710351160701499E-2</c:v>
                </c:pt>
                <c:pt idx="1737">
                  <c:v>1.6919815477482201E-2</c:v>
                </c:pt>
                <c:pt idx="1738">
                  <c:v>1.65597158179785E-2</c:v>
                </c:pt>
                <c:pt idx="1739">
                  <c:v>1.6576286717916101E-2</c:v>
                </c:pt>
                <c:pt idx="1740">
                  <c:v>1.6505437780381899E-2</c:v>
                </c:pt>
                <c:pt idx="1741">
                  <c:v>1.65583170680744E-2</c:v>
                </c:pt>
                <c:pt idx="1742">
                  <c:v>1.63435338962621E-2</c:v>
                </c:pt>
                <c:pt idx="1743">
                  <c:v>1.63475026170272E-2</c:v>
                </c:pt>
                <c:pt idx="1744">
                  <c:v>1.6032600823712499E-2</c:v>
                </c:pt>
                <c:pt idx="1745">
                  <c:v>1.5641706642060001E-2</c:v>
                </c:pt>
                <c:pt idx="1746">
                  <c:v>1.56451129247446E-2</c:v>
                </c:pt>
                <c:pt idx="1747">
                  <c:v>1.5595617481006499E-2</c:v>
                </c:pt>
                <c:pt idx="1748">
                  <c:v>1.5663567494962699E-2</c:v>
                </c:pt>
                <c:pt idx="1749">
                  <c:v>1.5617922658941401E-2</c:v>
                </c:pt>
                <c:pt idx="1750">
                  <c:v>1.5775920904920498E-2</c:v>
                </c:pt>
                <c:pt idx="1751">
                  <c:v>1.5805517823833701E-2</c:v>
                </c:pt>
                <c:pt idx="1752">
                  <c:v>1.58511893017639E-2</c:v>
                </c:pt>
                <c:pt idx="1753">
                  <c:v>1.48661490935257E-2</c:v>
                </c:pt>
                <c:pt idx="1754">
                  <c:v>1.49346866674426E-2</c:v>
                </c:pt>
                <c:pt idx="1755">
                  <c:v>1.4547545357715101E-2</c:v>
                </c:pt>
                <c:pt idx="1756">
                  <c:v>1.4381082342837E-2</c:v>
                </c:pt>
                <c:pt idx="1757">
                  <c:v>1.43804551431001E-2</c:v>
                </c:pt>
                <c:pt idx="1758">
                  <c:v>1.4510529026030601E-2</c:v>
                </c:pt>
                <c:pt idx="1759">
                  <c:v>1.48221210611934E-2</c:v>
                </c:pt>
                <c:pt idx="1760">
                  <c:v>1.46608672654282E-2</c:v>
                </c:pt>
                <c:pt idx="1761">
                  <c:v>1.4499049575887E-2</c:v>
                </c:pt>
                <c:pt idx="1762">
                  <c:v>1.43413773731623E-2</c:v>
                </c:pt>
                <c:pt idx="1763">
                  <c:v>1.3357105068892001E-2</c:v>
                </c:pt>
                <c:pt idx="1764">
                  <c:v>1.3601119844529899E-2</c:v>
                </c:pt>
                <c:pt idx="1765">
                  <c:v>1.36004411490504E-2</c:v>
                </c:pt>
                <c:pt idx="1766">
                  <c:v>1.3079291087734901E-2</c:v>
                </c:pt>
                <c:pt idx="1767">
                  <c:v>1.3070613573513599E-2</c:v>
                </c:pt>
                <c:pt idx="1768">
                  <c:v>1.27002104029678E-2</c:v>
                </c:pt>
                <c:pt idx="1769">
                  <c:v>1.27049667917058E-2</c:v>
                </c:pt>
                <c:pt idx="1770">
                  <c:v>1.43734311871066E-2</c:v>
                </c:pt>
                <c:pt idx="1771">
                  <c:v>1.45343419577327E-2</c:v>
                </c:pt>
                <c:pt idx="1772">
                  <c:v>1.4772927292137999E-2</c:v>
                </c:pt>
                <c:pt idx="1773">
                  <c:v>1.48065653844174E-2</c:v>
                </c:pt>
                <c:pt idx="1774">
                  <c:v>1.48179523369416E-2</c:v>
                </c:pt>
                <c:pt idx="1775">
                  <c:v>1.4526641990428199E-2</c:v>
                </c:pt>
                <c:pt idx="1776">
                  <c:v>1.47280521270971E-2</c:v>
                </c:pt>
                <c:pt idx="1777">
                  <c:v>1.5371564107471701E-2</c:v>
                </c:pt>
                <c:pt idx="1778">
                  <c:v>1.5323979829879601E-2</c:v>
                </c:pt>
                <c:pt idx="1779">
                  <c:v>1.5320091347958E-2</c:v>
                </c:pt>
                <c:pt idx="1780">
                  <c:v>1.66098430871791E-2</c:v>
                </c:pt>
                <c:pt idx="1781">
                  <c:v>1.6629140129165901E-2</c:v>
                </c:pt>
                <c:pt idx="1782">
                  <c:v>1.7046067083411501E-2</c:v>
                </c:pt>
                <c:pt idx="1783">
                  <c:v>1.87793528760666E-2</c:v>
                </c:pt>
                <c:pt idx="1784">
                  <c:v>1.8791512959344399E-2</c:v>
                </c:pt>
                <c:pt idx="1785">
                  <c:v>2.0010305439268801E-2</c:v>
                </c:pt>
                <c:pt idx="1786">
                  <c:v>2.0602677385083399E-2</c:v>
                </c:pt>
                <c:pt idx="1787">
                  <c:v>2.0650178045413602E-2</c:v>
                </c:pt>
                <c:pt idx="1788">
                  <c:v>2.0216518939547099E-2</c:v>
                </c:pt>
                <c:pt idx="1789">
                  <c:v>2.0859841052768099E-2</c:v>
                </c:pt>
                <c:pt idx="1790">
                  <c:v>2.0760631248837799E-2</c:v>
                </c:pt>
                <c:pt idx="1791">
                  <c:v>2.0771149305621298E-2</c:v>
                </c:pt>
                <c:pt idx="1792">
                  <c:v>2.12849774540688E-2</c:v>
                </c:pt>
                <c:pt idx="1793">
                  <c:v>2.3342506677220601E-2</c:v>
                </c:pt>
                <c:pt idx="1794">
                  <c:v>2.3344890329660899E-2</c:v>
                </c:pt>
                <c:pt idx="1795">
                  <c:v>2.3411703155588302E-2</c:v>
                </c:pt>
                <c:pt idx="1796">
                  <c:v>2.4422828687065599E-2</c:v>
                </c:pt>
                <c:pt idx="1797">
                  <c:v>2.4308880865558099E-2</c:v>
                </c:pt>
                <c:pt idx="1798">
                  <c:v>2.4197213824208901E-2</c:v>
                </c:pt>
                <c:pt idx="1799">
                  <c:v>2.4339120366129102E-2</c:v>
                </c:pt>
                <c:pt idx="1800">
                  <c:v>2.4270214474712899E-2</c:v>
                </c:pt>
                <c:pt idx="1801">
                  <c:v>2.42362017085129E-2</c:v>
                </c:pt>
                <c:pt idx="1802">
                  <c:v>2.4401976730237199E-2</c:v>
                </c:pt>
                <c:pt idx="1803">
                  <c:v>2.4490194382640499E-2</c:v>
                </c:pt>
                <c:pt idx="1804">
                  <c:v>2.4491010086292699E-2</c:v>
                </c:pt>
                <c:pt idx="1805">
                  <c:v>2.4521970405996699E-2</c:v>
                </c:pt>
                <c:pt idx="1806">
                  <c:v>2.46316636618714E-2</c:v>
                </c:pt>
                <c:pt idx="1807">
                  <c:v>2.5112316885581899E-2</c:v>
                </c:pt>
                <c:pt idx="1808">
                  <c:v>2.5027040965376599E-2</c:v>
                </c:pt>
                <c:pt idx="1809">
                  <c:v>2.5222687540800801E-2</c:v>
                </c:pt>
                <c:pt idx="1810">
                  <c:v>2.5214899487393101E-2</c:v>
                </c:pt>
                <c:pt idx="1811">
                  <c:v>2.5163256245499002E-2</c:v>
                </c:pt>
                <c:pt idx="1812">
                  <c:v>2.51020152868172E-2</c:v>
                </c:pt>
                <c:pt idx="1813">
                  <c:v>2.5256599689729799E-2</c:v>
                </c:pt>
                <c:pt idx="1814">
                  <c:v>2.52354035004916E-2</c:v>
                </c:pt>
                <c:pt idx="1815">
                  <c:v>2.52802868878267E-2</c:v>
                </c:pt>
                <c:pt idx="1816">
                  <c:v>2.6137620752933799E-2</c:v>
                </c:pt>
                <c:pt idx="1817">
                  <c:v>2.61387602411534E-2</c:v>
                </c:pt>
                <c:pt idx="1818">
                  <c:v>2.6187353736902699E-2</c:v>
                </c:pt>
                <c:pt idx="1819">
                  <c:v>2.5955842375803301E-2</c:v>
                </c:pt>
                <c:pt idx="1820">
                  <c:v>2.59145526827992E-2</c:v>
                </c:pt>
                <c:pt idx="1821">
                  <c:v>2.5911651682724999E-2</c:v>
                </c:pt>
                <c:pt idx="1822">
                  <c:v>2.6148589064464801E-2</c:v>
                </c:pt>
                <c:pt idx="1823">
                  <c:v>2.6082118853970701E-2</c:v>
                </c:pt>
                <c:pt idx="1824">
                  <c:v>2.60239237721713E-2</c:v>
                </c:pt>
                <c:pt idx="1825">
                  <c:v>2.5905747325767201E-2</c:v>
                </c:pt>
                <c:pt idx="1826">
                  <c:v>2.5985180641394399E-2</c:v>
                </c:pt>
                <c:pt idx="1827">
                  <c:v>2.5976285382508301E-2</c:v>
                </c:pt>
                <c:pt idx="1828">
                  <c:v>2.6071449947602798E-2</c:v>
                </c:pt>
                <c:pt idx="1829">
                  <c:v>2.6075806528303699E-2</c:v>
                </c:pt>
                <c:pt idx="1830">
                  <c:v>2.53561921121471E-2</c:v>
                </c:pt>
                <c:pt idx="1831">
                  <c:v>2.5228334528671501E-2</c:v>
                </c:pt>
                <c:pt idx="1832">
                  <c:v>2.53703140575527E-2</c:v>
                </c:pt>
                <c:pt idx="1833">
                  <c:v>2.5355956308342101E-2</c:v>
                </c:pt>
                <c:pt idx="1834">
                  <c:v>2.5371314980331901E-2</c:v>
                </c:pt>
                <c:pt idx="1835">
                  <c:v>2.5339367017638999E-2</c:v>
                </c:pt>
                <c:pt idx="1836">
                  <c:v>2.5219709869836002E-2</c:v>
                </c:pt>
                <c:pt idx="1837">
                  <c:v>2.4934185333322999E-2</c:v>
                </c:pt>
                <c:pt idx="1838">
                  <c:v>2.4933794620279299E-2</c:v>
                </c:pt>
                <c:pt idx="1839">
                  <c:v>2.49309182650795E-2</c:v>
                </c:pt>
                <c:pt idx="1840">
                  <c:v>2.4206639582037399E-2</c:v>
                </c:pt>
                <c:pt idx="1841">
                  <c:v>2.41623502982369E-2</c:v>
                </c:pt>
                <c:pt idx="1842">
                  <c:v>2.4159356640517601E-2</c:v>
                </c:pt>
                <c:pt idx="1843">
                  <c:v>2.2635508894293201E-2</c:v>
                </c:pt>
                <c:pt idx="1844">
                  <c:v>2.2614401418789402E-2</c:v>
                </c:pt>
                <c:pt idx="1845">
                  <c:v>2.1510896231146499E-2</c:v>
                </c:pt>
                <c:pt idx="1846">
                  <c:v>2.0904989640067401E-2</c:v>
                </c:pt>
                <c:pt idx="1847">
                  <c:v>2.08172071639528E-2</c:v>
                </c:pt>
                <c:pt idx="1848">
                  <c:v>2.12801753067553E-2</c:v>
                </c:pt>
                <c:pt idx="1849">
                  <c:v>2.08120919792356E-2</c:v>
                </c:pt>
                <c:pt idx="1850">
                  <c:v>2.1409859307616699E-2</c:v>
                </c:pt>
                <c:pt idx="1851">
                  <c:v>2.1781271146838099E-2</c:v>
                </c:pt>
                <c:pt idx="1852">
                  <c:v>2.1742667661681099E-2</c:v>
                </c:pt>
                <c:pt idx="1853">
                  <c:v>1.9357840286619899E-2</c:v>
                </c:pt>
                <c:pt idx="1854">
                  <c:v>1.93750254840451E-2</c:v>
                </c:pt>
                <c:pt idx="1855">
                  <c:v>1.9317846602410899E-2</c:v>
                </c:pt>
                <c:pt idx="1856">
                  <c:v>1.82037819339671E-2</c:v>
                </c:pt>
                <c:pt idx="1857">
                  <c:v>1.8198236060182602E-2</c:v>
                </c:pt>
                <c:pt idx="1858">
                  <c:v>1.8286644664346E-2</c:v>
                </c:pt>
                <c:pt idx="1859">
                  <c:v>1.8335189542980201E-2</c:v>
                </c:pt>
                <c:pt idx="1860">
                  <c:v>1.8329864284578001E-2</c:v>
                </c:pt>
                <c:pt idx="1861">
                  <c:v>1.82659394370949E-2</c:v>
                </c:pt>
                <c:pt idx="1862">
                  <c:v>1.8083191342562002E-2</c:v>
                </c:pt>
                <c:pt idx="1863">
                  <c:v>1.8018194458263699E-2</c:v>
                </c:pt>
                <c:pt idx="1864">
                  <c:v>1.8044768869509498E-2</c:v>
                </c:pt>
                <c:pt idx="1865">
                  <c:v>1.82142810027205E-2</c:v>
                </c:pt>
                <c:pt idx="1866">
                  <c:v>1.83870913972424E-2</c:v>
                </c:pt>
                <c:pt idx="1867">
                  <c:v>1.7723198935625701E-2</c:v>
                </c:pt>
                <c:pt idx="1868">
                  <c:v>1.8090336624162599E-2</c:v>
                </c:pt>
                <c:pt idx="1869">
                  <c:v>1.7823850216562302E-2</c:v>
                </c:pt>
                <c:pt idx="1870">
                  <c:v>1.7931748757071202E-2</c:v>
                </c:pt>
                <c:pt idx="1871">
                  <c:v>1.7936921627667302E-2</c:v>
                </c:pt>
                <c:pt idx="1872">
                  <c:v>1.79836870351553E-2</c:v>
                </c:pt>
                <c:pt idx="1873">
                  <c:v>1.75349869573635E-2</c:v>
                </c:pt>
                <c:pt idx="1874">
                  <c:v>1.76199061160414E-2</c:v>
                </c:pt>
                <c:pt idx="1875">
                  <c:v>1.7591125497518199E-2</c:v>
                </c:pt>
                <c:pt idx="1876">
                  <c:v>1.64832668689423E-2</c:v>
                </c:pt>
                <c:pt idx="1877">
                  <c:v>1.6485665065428201E-2</c:v>
                </c:pt>
                <c:pt idx="1878">
                  <c:v>1.6434292340443201E-2</c:v>
                </c:pt>
                <c:pt idx="1879">
                  <c:v>1.6642024793503601E-2</c:v>
                </c:pt>
                <c:pt idx="1880">
                  <c:v>1.66394796280942E-2</c:v>
                </c:pt>
                <c:pt idx="1881">
                  <c:v>1.6639532709204902E-2</c:v>
                </c:pt>
                <c:pt idx="1882">
                  <c:v>1.6405556574359301E-2</c:v>
                </c:pt>
                <c:pt idx="1883">
                  <c:v>1.6873696970137499E-2</c:v>
                </c:pt>
                <c:pt idx="1884">
                  <c:v>1.6961823666499499E-2</c:v>
                </c:pt>
                <c:pt idx="1885">
                  <c:v>1.6942171929830298E-2</c:v>
                </c:pt>
                <c:pt idx="1886">
                  <c:v>1.6772002524465101E-2</c:v>
                </c:pt>
                <c:pt idx="1887">
                  <c:v>1.6773136753845199E-2</c:v>
                </c:pt>
                <c:pt idx="1888">
                  <c:v>1.6874362674351499E-2</c:v>
                </c:pt>
                <c:pt idx="1889">
                  <c:v>1.6873422862154399E-2</c:v>
                </c:pt>
                <c:pt idx="1890">
                  <c:v>1.6629489821405E-2</c:v>
                </c:pt>
                <c:pt idx="1891">
                  <c:v>1.66519677055223E-2</c:v>
                </c:pt>
                <c:pt idx="1892">
                  <c:v>1.63988855549278E-2</c:v>
                </c:pt>
                <c:pt idx="1893">
                  <c:v>1.63894315561448E-2</c:v>
                </c:pt>
                <c:pt idx="1894">
                  <c:v>1.6374207677214599E-2</c:v>
                </c:pt>
                <c:pt idx="1895">
                  <c:v>1.63648410544034E-2</c:v>
                </c:pt>
                <c:pt idx="1896">
                  <c:v>1.64522126139863E-2</c:v>
                </c:pt>
                <c:pt idx="1897">
                  <c:v>1.6437430376757E-2</c:v>
                </c:pt>
                <c:pt idx="1898">
                  <c:v>1.6831262270179399E-2</c:v>
                </c:pt>
                <c:pt idx="1899">
                  <c:v>1.6833543925195298E-2</c:v>
                </c:pt>
                <c:pt idx="1900">
                  <c:v>1.7011722726646299E-2</c:v>
                </c:pt>
                <c:pt idx="1901">
                  <c:v>1.6987031112172101E-2</c:v>
                </c:pt>
                <c:pt idx="1902">
                  <c:v>1.6498906331262098E-2</c:v>
                </c:pt>
                <c:pt idx="1903">
                  <c:v>1.66292726305723E-2</c:v>
                </c:pt>
                <c:pt idx="1904">
                  <c:v>1.6633999820621099E-2</c:v>
                </c:pt>
                <c:pt idx="1905">
                  <c:v>1.6686829074982298E-2</c:v>
                </c:pt>
                <c:pt idx="1906">
                  <c:v>1.6692703250611601E-2</c:v>
                </c:pt>
                <c:pt idx="1907">
                  <c:v>1.6663225302022602E-2</c:v>
                </c:pt>
                <c:pt idx="1908">
                  <c:v>1.6312880267679901E-2</c:v>
                </c:pt>
                <c:pt idx="1909">
                  <c:v>1.6140950165031399E-2</c:v>
                </c:pt>
                <c:pt idx="1910">
                  <c:v>1.53180700024953E-2</c:v>
                </c:pt>
                <c:pt idx="1911">
                  <c:v>1.4936521796535001E-2</c:v>
                </c:pt>
                <c:pt idx="1912">
                  <c:v>1.40952114110043E-2</c:v>
                </c:pt>
                <c:pt idx="1913">
                  <c:v>1.4001265382582799E-2</c:v>
                </c:pt>
                <c:pt idx="1914">
                  <c:v>1.42740175413317E-2</c:v>
                </c:pt>
                <c:pt idx="1915">
                  <c:v>1.42858848227497E-2</c:v>
                </c:pt>
                <c:pt idx="1916">
                  <c:v>1.41858996466897E-2</c:v>
                </c:pt>
                <c:pt idx="1917">
                  <c:v>1.41765157166541E-2</c:v>
                </c:pt>
                <c:pt idx="1918">
                  <c:v>1.41327558782674E-2</c:v>
                </c:pt>
                <c:pt idx="1919">
                  <c:v>1.39402794789903E-2</c:v>
                </c:pt>
                <c:pt idx="1920">
                  <c:v>1.39878513461766E-2</c:v>
                </c:pt>
                <c:pt idx="1921">
                  <c:v>1.4101241138615E-2</c:v>
                </c:pt>
                <c:pt idx="1922">
                  <c:v>1.40509467897678E-2</c:v>
                </c:pt>
                <c:pt idx="1923">
                  <c:v>1.43517210279529E-2</c:v>
                </c:pt>
                <c:pt idx="1924">
                  <c:v>1.4337877966208E-2</c:v>
                </c:pt>
                <c:pt idx="1925">
                  <c:v>1.4107329940979799E-2</c:v>
                </c:pt>
                <c:pt idx="1926">
                  <c:v>1.3732008314495401E-2</c:v>
                </c:pt>
                <c:pt idx="1927">
                  <c:v>1.37662082740409E-2</c:v>
                </c:pt>
                <c:pt idx="1928">
                  <c:v>1.3316851860173499E-2</c:v>
                </c:pt>
                <c:pt idx="1929">
                  <c:v>1.3386832280571999E-2</c:v>
                </c:pt>
                <c:pt idx="1930">
                  <c:v>1.29127021060734E-2</c:v>
                </c:pt>
                <c:pt idx="1931">
                  <c:v>1.3333154281964001E-2</c:v>
                </c:pt>
                <c:pt idx="1932">
                  <c:v>1.31751540780025E-2</c:v>
                </c:pt>
                <c:pt idx="1933">
                  <c:v>1.31636824172729E-2</c:v>
                </c:pt>
                <c:pt idx="1934">
                  <c:v>1.31080691848032E-2</c:v>
                </c:pt>
                <c:pt idx="1935">
                  <c:v>1.31067903237897E-2</c:v>
                </c:pt>
                <c:pt idx="1936">
                  <c:v>1.30330736192164E-2</c:v>
                </c:pt>
                <c:pt idx="1937">
                  <c:v>1.2995943704293101E-2</c:v>
                </c:pt>
                <c:pt idx="1938">
                  <c:v>1.30564798206952E-2</c:v>
                </c:pt>
                <c:pt idx="1939">
                  <c:v>1.28818392617888E-2</c:v>
                </c:pt>
                <c:pt idx="1940">
                  <c:v>1.29146465514313E-2</c:v>
                </c:pt>
                <c:pt idx="1941">
                  <c:v>1.3015488828213399E-2</c:v>
                </c:pt>
                <c:pt idx="1942">
                  <c:v>1.28668586361207E-2</c:v>
                </c:pt>
                <c:pt idx="1943">
                  <c:v>1.21623743489278E-2</c:v>
                </c:pt>
                <c:pt idx="1944">
                  <c:v>1.21049417872307E-2</c:v>
                </c:pt>
                <c:pt idx="1945">
                  <c:v>1.3986635425392E-2</c:v>
                </c:pt>
                <c:pt idx="1946">
                  <c:v>1.39594582039561E-2</c:v>
                </c:pt>
                <c:pt idx="1947">
                  <c:v>1.42237418818713E-2</c:v>
                </c:pt>
                <c:pt idx="1948">
                  <c:v>1.3674761401849599E-2</c:v>
                </c:pt>
                <c:pt idx="1949">
                  <c:v>1.36621160052104E-2</c:v>
                </c:pt>
                <c:pt idx="1950">
                  <c:v>1.35936564997422E-2</c:v>
                </c:pt>
                <c:pt idx="1951">
                  <c:v>1.37554683547943E-2</c:v>
                </c:pt>
                <c:pt idx="1952">
                  <c:v>1.33696375645897E-2</c:v>
                </c:pt>
                <c:pt idx="1953">
                  <c:v>1.33446026679732E-2</c:v>
                </c:pt>
                <c:pt idx="1954">
                  <c:v>1.33441501830161E-2</c:v>
                </c:pt>
                <c:pt idx="1955">
                  <c:v>1.34840465659155E-2</c:v>
                </c:pt>
                <c:pt idx="1956">
                  <c:v>1.3360590084303899E-2</c:v>
                </c:pt>
                <c:pt idx="1957">
                  <c:v>1.46428736692517E-2</c:v>
                </c:pt>
                <c:pt idx="1958">
                  <c:v>1.4390659178379801E-2</c:v>
                </c:pt>
                <c:pt idx="1959">
                  <c:v>1.4443319292081499E-2</c:v>
                </c:pt>
                <c:pt idx="1960">
                  <c:v>1.4436044200153901E-2</c:v>
                </c:pt>
                <c:pt idx="1961">
                  <c:v>1.44734924230042E-2</c:v>
                </c:pt>
                <c:pt idx="1962">
                  <c:v>1.48265953483153E-2</c:v>
                </c:pt>
                <c:pt idx="1963">
                  <c:v>1.46965781589874E-2</c:v>
                </c:pt>
                <c:pt idx="1964">
                  <c:v>1.6201729643809899E-2</c:v>
                </c:pt>
                <c:pt idx="1965">
                  <c:v>1.6407730384590199E-2</c:v>
                </c:pt>
                <c:pt idx="1966">
                  <c:v>1.6403661317286398E-2</c:v>
                </c:pt>
                <c:pt idx="1967">
                  <c:v>1.6426592704053701E-2</c:v>
                </c:pt>
                <c:pt idx="1968">
                  <c:v>1.6450758775515301E-2</c:v>
                </c:pt>
                <c:pt idx="1969">
                  <c:v>1.7095053554439799E-2</c:v>
                </c:pt>
                <c:pt idx="1970">
                  <c:v>1.72639564635888E-2</c:v>
                </c:pt>
                <c:pt idx="1971">
                  <c:v>1.7147397283791999E-2</c:v>
                </c:pt>
                <c:pt idx="1972">
                  <c:v>1.7321006218940602E-2</c:v>
                </c:pt>
                <c:pt idx="1973">
                  <c:v>1.7275237319542499E-2</c:v>
                </c:pt>
                <c:pt idx="1974">
                  <c:v>1.7315861919904901E-2</c:v>
                </c:pt>
                <c:pt idx="1975">
                  <c:v>1.7330311360527598E-2</c:v>
                </c:pt>
                <c:pt idx="1976">
                  <c:v>1.7300875849290201E-2</c:v>
                </c:pt>
                <c:pt idx="1977">
                  <c:v>1.7272247676032901E-2</c:v>
                </c:pt>
                <c:pt idx="1978">
                  <c:v>1.7278751917357098E-2</c:v>
                </c:pt>
                <c:pt idx="1979">
                  <c:v>1.7383228703564398E-2</c:v>
                </c:pt>
                <c:pt idx="1980">
                  <c:v>1.7341619514353899E-2</c:v>
                </c:pt>
                <c:pt idx="1981">
                  <c:v>1.7781054810675899E-2</c:v>
                </c:pt>
                <c:pt idx="1982">
                  <c:v>1.7783713430997099E-2</c:v>
                </c:pt>
                <c:pt idx="1983">
                  <c:v>1.75170540414568E-2</c:v>
                </c:pt>
                <c:pt idx="1984">
                  <c:v>1.75209270783762E-2</c:v>
                </c:pt>
                <c:pt idx="1985">
                  <c:v>1.7555507970648001E-2</c:v>
                </c:pt>
                <c:pt idx="1986">
                  <c:v>1.8088090422624201E-2</c:v>
                </c:pt>
                <c:pt idx="1987">
                  <c:v>1.8081322558942001E-2</c:v>
                </c:pt>
                <c:pt idx="1988">
                  <c:v>1.8095402557990099E-2</c:v>
                </c:pt>
                <c:pt idx="1989">
                  <c:v>1.8032034831657499E-2</c:v>
                </c:pt>
                <c:pt idx="1990">
                  <c:v>1.7908409788150101E-2</c:v>
                </c:pt>
                <c:pt idx="1991">
                  <c:v>1.7528430914150399E-2</c:v>
                </c:pt>
                <c:pt idx="1992">
                  <c:v>1.8384464619520601E-2</c:v>
                </c:pt>
                <c:pt idx="1993">
                  <c:v>1.8404329163202799E-2</c:v>
                </c:pt>
                <c:pt idx="1994">
                  <c:v>1.8292400487398199E-2</c:v>
                </c:pt>
                <c:pt idx="1995">
                  <c:v>1.8281374649626401E-2</c:v>
                </c:pt>
                <c:pt idx="1996">
                  <c:v>1.8278276636419899E-2</c:v>
                </c:pt>
                <c:pt idx="1997">
                  <c:v>1.85579140996457E-2</c:v>
                </c:pt>
                <c:pt idx="1998">
                  <c:v>1.85910972074756E-2</c:v>
                </c:pt>
                <c:pt idx="1999">
                  <c:v>1.8503851594278999E-2</c:v>
                </c:pt>
                <c:pt idx="2000">
                  <c:v>1.8945293096932301E-2</c:v>
                </c:pt>
                <c:pt idx="2001">
                  <c:v>1.8931605986848302E-2</c:v>
                </c:pt>
                <c:pt idx="2002">
                  <c:v>1.8965374196334501E-2</c:v>
                </c:pt>
                <c:pt idx="2003">
                  <c:v>1.9022155488374399E-2</c:v>
                </c:pt>
                <c:pt idx="2004">
                  <c:v>1.90742616399329E-2</c:v>
                </c:pt>
                <c:pt idx="2005">
                  <c:v>1.7883962706365102E-2</c:v>
                </c:pt>
                <c:pt idx="2006">
                  <c:v>1.82512763040917E-2</c:v>
                </c:pt>
                <c:pt idx="2007">
                  <c:v>1.8295242041644601E-2</c:v>
                </c:pt>
                <c:pt idx="2008">
                  <c:v>1.8274258437373202E-2</c:v>
                </c:pt>
                <c:pt idx="2009">
                  <c:v>1.8373528016184699E-2</c:v>
                </c:pt>
                <c:pt idx="2010">
                  <c:v>1.8387100588558799E-2</c:v>
                </c:pt>
                <c:pt idx="2011">
                  <c:v>1.82633043609652E-2</c:v>
                </c:pt>
                <c:pt idx="2012">
                  <c:v>1.8268307290519099E-2</c:v>
                </c:pt>
                <c:pt idx="2013">
                  <c:v>1.8513676788406E-2</c:v>
                </c:pt>
                <c:pt idx="2014">
                  <c:v>1.85249222345155E-2</c:v>
                </c:pt>
                <c:pt idx="2015">
                  <c:v>1.8426870779703799E-2</c:v>
                </c:pt>
                <c:pt idx="2016">
                  <c:v>1.8548746860390201E-2</c:v>
                </c:pt>
                <c:pt idx="2017">
                  <c:v>1.76721631336859E-2</c:v>
                </c:pt>
                <c:pt idx="2018">
                  <c:v>1.7466147743334302E-2</c:v>
                </c:pt>
                <c:pt idx="2019">
                  <c:v>1.7478915769331901E-2</c:v>
                </c:pt>
                <c:pt idx="2020">
                  <c:v>1.7398552518312099E-2</c:v>
                </c:pt>
                <c:pt idx="2021">
                  <c:v>1.740388727834E-2</c:v>
                </c:pt>
                <c:pt idx="2022">
                  <c:v>1.7558873924255199E-2</c:v>
                </c:pt>
                <c:pt idx="2023">
                  <c:v>1.7559112778977301E-2</c:v>
                </c:pt>
                <c:pt idx="2024">
                  <c:v>1.61003123180622E-2</c:v>
                </c:pt>
                <c:pt idx="2025">
                  <c:v>1.59798669397378E-2</c:v>
                </c:pt>
                <c:pt idx="2026">
                  <c:v>1.6233247989373398E-2</c:v>
                </c:pt>
                <c:pt idx="2027">
                  <c:v>1.6144044955529999E-2</c:v>
                </c:pt>
                <c:pt idx="2028">
                  <c:v>1.6038390325673599E-2</c:v>
                </c:pt>
                <c:pt idx="2029">
                  <c:v>1.5339076969688999E-2</c:v>
                </c:pt>
                <c:pt idx="2030">
                  <c:v>1.5306213490878301E-2</c:v>
                </c:pt>
                <c:pt idx="2031">
                  <c:v>1.5306913316132599E-2</c:v>
                </c:pt>
                <c:pt idx="2032">
                  <c:v>1.5181318250964901E-2</c:v>
                </c:pt>
                <c:pt idx="2033">
                  <c:v>1.5493886820017301E-2</c:v>
                </c:pt>
                <c:pt idx="2034">
                  <c:v>1.5074168583630899E-2</c:v>
                </c:pt>
                <c:pt idx="2035">
                  <c:v>1.5007793030843699E-2</c:v>
                </c:pt>
                <c:pt idx="2036">
                  <c:v>1.5195809504246E-2</c:v>
                </c:pt>
                <c:pt idx="2037">
                  <c:v>1.5166981843691399E-2</c:v>
                </c:pt>
                <c:pt idx="2038">
                  <c:v>1.51960763877845E-2</c:v>
                </c:pt>
                <c:pt idx="2039">
                  <c:v>1.50721735507841E-2</c:v>
                </c:pt>
                <c:pt idx="2040">
                  <c:v>1.5073854849402799E-2</c:v>
                </c:pt>
                <c:pt idx="2041">
                  <c:v>1.4768401431994E-2</c:v>
                </c:pt>
                <c:pt idx="2042">
                  <c:v>1.46746338660404E-2</c:v>
                </c:pt>
                <c:pt idx="2043">
                  <c:v>1.46749767750558E-2</c:v>
                </c:pt>
                <c:pt idx="2044">
                  <c:v>1.4867755360487501E-2</c:v>
                </c:pt>
                <c:pt idx="2045">
                  <c:v>1.4674716673152901E-2</c:v>
                </c:pt>
                <c:pt idx="2046">
                  <c:v>1.42057378525005E-2</c:v>
                </c:pt>
                <c:pt idx="2047">
                  <c:v>1.4205749176354501E-2</c:v>
                </c:pt>
                <c:pt idx="2048">
                  <c:v>1.4351028850616201E-2</c:v>
                </c:pt>
                <c:pt idx="2049">
                  <c:v>1.45834990119644E-2</c:v>
                </c:pt>
                <c:pt idx="2050">
                  <c:v>1.4542717069245901E-2</c:v>
                </c:pt>
                <c:pt idx="2051">
                  <c:v>1.4519579272337199E-2</c:v>
                </c:pt>
                <c:pt idx="2052">
                  <c:v>1.3093656127598999E-2</c:v>
                </c:pt>
                <c:pt idx="2053">
                  <c:v>1.3121621342904699E-2</c:v>
                </c:pt>
                <c:pt idx="2054">
                  <c:v>1.30123629607495E-2</c:v>
                </c:pt>
                <c:pt idx="2055">
                  <c:v>1.30235189347115E-2</c:v>
                </c:pt>
                <c:pt idx="2056">
                  <c:v>1.31703923016345E-2</c:v>
                </c:pt>
                <c:pt idx="2057">
                  <c:v>1.36993748641457E-2</c:v>
                </c:pt>
                <c:pt idx="2058">
                  <c:v>1.40922048093131E-2</c:v>
                </c:pt>
                <c:pt idx="2059">
                  <c:v>1.41281750783246E-2</c:v>
                </c:pt>
                <c:pt idx="2060">
                  <c:v>1.3851317271804499E-2</c:v>
                </c:pt>
                <c:pt idx="2061">
                  <c:v>1.38152052984288E-2</c:v>
                </c:pt>
                <c:pt idx="2062">
                  <c:v>1.4071981987219101E-2</c:v>
                </c:pt>
                <c:pt idx="2063">
                  <c:v>1.4128320784983E-2</c:v>
                </c:pt>
                <c:pt idx="2064">
                  <c:v>1.40302752420102E-2</c:v>
                </c:pt>
                <c:pt idx="2065">
                  <c:v>1.40313419513597E-2</c:v>
                </c:pt>
                <c:pt idx="2066">
                  <c:v>1.3833211853076399E-2</c:v>
                </c:pt>
                <c:pt idx="2067">
                  <c:v>1.36345656210869E-2</c:v>
                </c:pt>
                <c:pt idx="2068">
                  <c:v>1.40516335398762E-2</c:v>
                </c:pt>
                <c:pt idx="2069">
                  <c:v>1.4048131956338999E-2</c:v>
                </c:pt>
                <c:pt idx="2070">
                  <c:v>1.43263261196686E-2</c:v>
                </c:pt>
                <c:pt idx="2071">
                  <c:v>1.43353611390321E-2</c:v>
                </c:pt>
                <c:pt idx="2072">
                  <c:v>1.43328861487608E-2</c:v>
                </c:pt>
                <c:pt idx="2073">
                  <c:v>1.44152251894123E-2</c:v>
                </c:pt>
                <c:pt idx="2074">
                  <c:v>1.4434405347235099E-2</c:v>
                </c:pt>
                <c:pt idx="2075">
                  <c:v>1.45514426532262E-2</c:v>
                </c:pt>
                <c:pt idx="2076">
                  <c:v>1.45629523852479E-2</c:v>
                </c:pt>
                <c:pt idx="2077">
                  <c:v>1.43467240701534E-2</c:v>
                </c:pt>
                <c:pt idx="2078">
                  <c:v>1.43580934263526E-2</c:v>
                </c:pt>
                <c:pt idx="2079">
                  <c:v>1.4331298440732399E-2</c:v>
                </c:pt>
                <c:pt idx="2080">
                  <c:v>1.4296114151352899E-2</c:v>
                </c:pt>
                <c:pt idx="2081">
                  <c:v>1.4286782895934999E-2</c:v>
                </c:pt>
                <c:pt idx="2082">
                  <c:v>1.6190392143903699E-2</c:v>
                </c:pt>
                <c:pt idx="2083">
                  <c:v>1.6193790064902101E-2</c:v>
                </c:pt>
                <c:pt idx="2084">
                  <c:v>1.72162936814916E-2</c:v>
                </c:pt>
                <c:pt idx="2085">
                  <c:v>1.7394445289635001E-2</c:v>
                </c:pt>
                <c:pt idx="2086">
                  <c:v>1.7243570768163699E-2</c:v>
                </c:pt>
                <c:pt idx="2087">
                  <c:v>1.7263502597909201E-2</c:v>
                </c:pt>
                <c:pt idx="2088">
                  <c:v>1.72650761867289E-2</c:v>
                </c:pt>
                <c:pt idx="2089">
                  <c:v>1.7481947505758998E-2</c:v>
                </c:pt>
                <c:pt idx="2090">
                  <c:v>1.74894341676399E-2</c:v>
                </c:pt>
                <c:pt idx="2091">
                  <c:v>1.75665460559178E-2</c:v>
                </c:pt>
                <c:pt idx="2092">
                  <c:v>1.7613872943946701E-2</c:v>
                </c:pt>
                <c:pt idx="2093">
                  <c:v>1.7299620836311699E-2</c:v>
                </c:pt>
                <c:pt idx="2094">
                  <c:v>1.74667922939271E-2</c:v>
                </c:pt>
                <c:pt idx="2095">
                  <c:v>1.74675574176151E-2</c:v>
                </c:pt>
                <c:pt idx="2096">
                  <c:v>1.7317978502757299E-2</c:v>
                </c:pt>
                <c:pt idx="2097">
                  <c:v>1.7303645863819501E-2</c:v>
                </c:pt>
                <c:pt idx="2098">
                  <c:v>1.7271884970815901E-2</c:v>
                </c:pt>
                <c:pt idx="2099">
                  <c:v>1.7252115907561601E-2</c:v>
                </c:pt>
                <c:pt idx="2100">
                  <c:v>1.73032946860079E-2</c:v>
                </c:pt>
                <c:pt idx="2101">
                  <c:v>1.7286312902911102E-2</c:v>
                </c:pt>
                <c:pt idx="2102">
                  <c:v>1.7348270670626199E-2</c:v>
                </c:pt>
                <c:pt idx="2103">
                  <c:v>1.7769875079948799E-2</c:v>
                </c:pt>
                <c:pt idx="2104">
                  <c:v>1.75760093618938E-2</c:v>
                </c:pt>
                <c:pt idx="2105">
                  <c:v>1.76105495455278E-2</c:v>
                </c:pt>
                <c:pt idx="2106">
                  <c:v>1.7597884379493198E-2</c:v>
                </c:pt>
                <c:pt idx="2107">
                  <c:v>1.76020223029511E-2</c:v>
                </c:pt>
                <c:pt idx="2108">
                  <c:v>1.7551937988786199E-2</c:v>
                </c:pt>
                <c:pt idx="2109">
                  <c:v>1.7536994993951699E-2</c:v>
                </c:pt>
                <c:pt idx="2110">
                  <c:v>1.7612998904415301E-2</c:v>
                </c:pt>
                <c:pt idx="2111">
                  <c:v>1.76468869294212E-2</c:v>
                </c:pt>
                <c:pt idx="2112">
                  <c:v>1.7693119430810901E-2</c:v>
                </c:pt>
                <c:pt idx="2113">
                  <c:v>1.78064992388779E-2</c:v>
                </c:pt>
                <c:pt idx="2114">
                  <c:v>1.79333300329961E-2</c:v>
                </c:pt>
                <c:pt idx="2115">
                  <c:v>1.7938545053576099E-2</c:v>
                </c:pt>
                <c:pt idx="2116">
                  <c:v>1.7747953768053899E-2</c:v>
                </c:pt>
                <c:pt idx="2117">
                  <c:v>1.7325907749783601E-2</c:v>
                </c:pt>
                <c:pt idx="2118">
                  <c:v>1.7109689208623401E-2</c:v>
                </c:pt>
                <c:pt idx="2119">
                  <c:v>1.7042774367449501E-2</c:v>
                </c:pt>
                <c:pt idx="2120">
                  <c:v>1.6954555884379101E-2</c:v>
                </c:pt>
                <c:pt idx="2121">
                  <c:v>1.69549675660251E-2</c:v>
                </c:pt>
                <c:pt idx="2122">
                  <c:v>1.65889030778445E-2</c:v>
                </c:pt>
                <c:pt idx="2123">
                  <c:v>1.65946986588873E-2</c:v>
                </c:pt>
                <c:pt idx="2124">
                  <c:v>1.63712874882503E-2</c:v>
                </c:pt>
                <c:pt idx="2125">
                  <c:v>1.6342478667758599E-2</c:v>
                </c:pt>
                <c:pt idx="2126">
                  <c:v>1.6437000714391501E-2</c:v>
                </c:pt>
                <c:pt idx="2127">
                  <c:v>1.71223168269714E-2</c:v>
                </c:pt>
                <c:pt idx="2128">
                  <c:v>1.66064689778904E-2</c:v>
                </c:pt>
                <c:pt idx="2129">
                  <c:v>1.6913033167784901E-2</c:v>
                </c:pt>
                <c:pt idx="2130">
                  <c:v>1.7270119727109599E-2</c:v>
                </c:pt>
                <c:pt idx="2131">
                  <c:v>1.73854619311733E-2</c:v>
                </c:pt>
                <c:pt idx="2132">
                  <c:v>1.7409452324562001E-2</c:v>
                </c:pt>
                <c:pt idx="2133">
                  <c:v>1.69795705081945E-2</c:v>
                </c:pt>
                <c:pt idx="2134">
                  <c:v>1.7108350893388101E-2</c:v>
                </c:pt>
                <c:pt idx="2135">
                  <c:v>1.7222333379088E-2</c:v>
                </c:pt>
                <c:pt idx="2136">
                  <c:v>1.70476332508772E-2</c:v>
                </c:pt>
                <c:pt idx="2137">
                  <c:v>1.7069302150972399E-2</c:v>
                </c:pt>
                <c:pt idx="2138">
                  <c:v>1.70211618366479E-2</c:v>
                </c:pt>
                <c:pt idx="2139">
                  <c:v>1.7055395247783298E-2</c:v>
                </c:pt>
                <c:pt idx="2140">
                  <c:v>1.7300255448919898E-2</c:v>
                </c:pt>
                <c:pt idx="2141">
                  <c:v>1.73142546607753E-2</c:v>
                </c:pt>
                <c:pt idx="2142">
                  <c:v>1.58118682067654E-2</c:v>
                </c:pt>
                <c:pt idx="2143">
                  <c:v>1.5782373044420601E-2</c:v>
                </c:pt>
                <c:pt idx="2144">
                  <c:v>1.4718400884041499E-2</c:v>
                </c:pt>
                <c:pt idx="2145">
                  <c:v>1.4450875034973399E-2</c:v>
                </c:pt>
                <c:pt idx="2146">
                  <c:v>1.44151214093452E-2</c:v>
                </c:pt>
                <c:pt idx="2147">
                  <c:v>1.44760167313933E-2</c:v>
                </c:pt>
                <c:pt idx="2148">
                  <c:v>1.49758184716864E-2</c:v>
                </c:pt>
                <c:pt idx="2149">
                  <c:v>1.4735826958096301E-2</c:v>
                </c:pt>
                <c:pt idx="2150">
                  <c:v>1.4468237162415199E-2</c:v>
                </c:pt>
                <c:pt idx="2151">
                  <c:v>1.4346491385443401E-2</c:v>
                </c:pt>
                <c:pt idx="2152">
                  <c:v>1.43984217777729E-2</c:v>
                </c:pt>
                <c:pt idx="2153">
                  <c:v>1.4408128616862101E-2</c:v>
                </c:pt>
                <c:pt idx="2154">
                  <c:v>1.42422671125839E-2</c:v>
                </c:pt>
                <c:pt idx="2155">
                  <c:v>1.4272504184595801E-2</c:v>
                </c:pt>
                <c:pt idx="2156">
                  <c:v>1.4379740718349099E-2</c:v>
                </c:pt>
                <c:pt idx="2157">
                  <c:v>1.45817021105611E-2</c:v>
                </c:pt>
                <c:pt idx="2158">
                  <c:v>1.4580479990037599E-2</c:v>
                </c:pt>
                <c:pt idx="2159">
                  <c:v>1.4520793437464199E-2</c:v>
                </c:pt>
                <c:pt idx="2160">
                  <c:v>1.46629941631883E-2</c:v>
                </c:pt>
                <c:pt idx="2161">
                  <c:v>1.45804077494647E-2</c:v>
                </c:pt>
                <c:pt idx="2162">
                  <c:v>1.45108763734716E-2</c:v>
                </c:pt>
                <c:pt idx="2163">
                  <c:v>1.4151226311496901E-2</c:v>
                </c:pt>
                <c:pt idx="2164">
                  <c:v>1.42621289141529E-2</c:v>
                </c:pt>
                <c:pt idx="2165">
                  <c:v>1.4382345435938399E-2</c:v>
                </c:pt>
                <c:pt idx="2166">
                  <c:v>1.4388181856449699E-2</c:v>
                </c:pt>
                <c:pt idx="2167">
                  <c:v>1.4390852816086101E-2</c:v>
                </c:pt>
                <c:pt idx="2168">
                  <c:v>1.4276286451141099E-2</c:v>
                </c:pt>
                <c:pt idx="2169">
                  <c:v>1.4087609462255599E-2</c:v>
                </c:pt>
                <c:pt idx="2170">
                  <c:v>1.40301262188704E-2</c:v>
                </c:pt>
                <c:pt idx="2171">
                  <c:v>1.40829349584167E-2</c:v>
                </c:pt>
                <c:pt idx="2172">
                  <c:v>1.4039471144491099E-2</c:v>
                </c:pt>
                <c:pt idx="2173">
                  <c:v>1.3842382031770401E-2</c:v>
                </c:pt>
                <c:pt idx="2174">
                  <c:v>1.36256871008388E-2</c:v>
                </c:pt>
                <c:pt idx="2175">
                  <c:v>1.3689421197500501E-2</c:v>
                </c:pt>
                <c:pt idx="2176">
                  <c:v>1.3814431254310901E-2</c:v>
                </c:pt>
                <c:pt idx="2177">
                  <c:v>1.36445388868798E-2</c:v>
                </c:pt>
                <c:pt idx="2178">
                  <c:v>1.3433828733338E-2</c:v>
                </c:pt>
                <c:pt idx="2179">
                  <c:v>1.34557922188088E-2</c:v>
                </c:pt>
                <c:pt idx="2180">
                  <c:v>1.3463085350472101E-2</c:v>
                </c:pt>
                <c:pt idx="2181">
                  <c:v>1.3467077688688401E-2</c:v>
                </c:pt>
                <c:pt idx="2182">
                  <c:v>1.33188061615647E-2</c:v>
                </c:pt>
                <c:pt idx="2183">
                  <c:v>1.3337169425676899E-2</c:v>
                </c:pt>
                <c:pt idx="2184">
                  <c:v>1.33249113800672E-2</c:v>
                </c:pt>
                <c:pt idx="2185">
                  <c:v>1.33241634410056E-2</c:v>
                </c:pt>
                <c:pt idx="2186">
                  <c:v>1.34011123188734E-2</c:v>
                </c:pt>
                <c:pt idx="2187">
                  <c:v>1.23418596541805E-2</c:v>
                </c:pt>
                <c:pt idx="2188">
                  <c:v>1.2357252585472E-2</c:v>
                </c:pt>
                <c:pt idx="2189">
                  <c:v>1.20912854806784E-2</c:v>
                </c:pt>
                <c:pt idx="2190">
                  <c:v>1.14167270362778E-2</c:v>
                </c:pt>
                <c:pt idx="2191">
                  <c:v>1.13556672088339E-2</c:v>
                </c:pt>
                <c:pt idx="2192">
                  <c:v>1.13099422682208E-2</c:v>
                </c:pt>
                <c:pt idx="2193">
                  <c:v>1.14748234923913E-2</c:v>
                </c:pt>
                <c:pt idx="2194">
                  <c:v>1.14177036993323E-2</c:v>
                </c:pt>
                <c:pt idx="2195">
                  <c:v>1.1267548745387599E-2</c:v>
                </c:pt>
                <c:pt idx="2196">
                  <c:v>1.1784326691804301E-2</c:v>
                </c:pt>
                <c:pt idx="2197">
                  <c:v>1.16703283289989E-2</c:v>
                </c:pt>
                <c:pt idx="2198">
                  <c:v>1.1672584985803499E-2</c:v>
                </c:pt>
                <c:pt idx="2199">
                  <c:v>1.1567329442675699E-2</c:v>
                </c:pt>
                <c:pt idx="2200">
                  <c:v>1.1302173847523699E-2</c:v>
                </c:pt>
                <c:pt idx="2201">
                  <c:v>1.12876491473971E-2</c:v>
                </c:pt>
                <c:pt idx="2202">
                  <c:v>1.06800185934948E-2</c:v>
                </c:pt>
                <c:pt idx="2203">
                  <c:v>1.07448017381702E-2</c:v>
                </c:pt>
                <c:pt idx="2204">
                  <c:v>1.0716859682221001E-2</c:v>
                </c:pt>
                <c:pt idx="2205">
                  <c:v>1.0742862234534E-2</c:v>
                </c:pt>
                <c:pt idx="2206">
                  <c:v>1.07142383812422E-2</c:v>
                </c:pt>
                <c:pt idx="2207">
                  <c:v>1.0563826477570801E-2</c:v>
                </c:pt>
                <c:pt idx="2208">
                  <c:v>9.8710321327601502E-3</c:v>
                </c:pt>
                <c:pt idx="2209">
                  <c:v>1.0680221653188601E-2</c:v>
                </c:pt>
                <c:pt idx="2210">
                  <c:v>1.06551267261613E-2</c:v>
                </c:pt>
                <c:pt idx="2211">
                  <c:v>1.07421357575413E-2</c:v>
                </c:pt>
                <c:pt idx="2212">
                  <c:v>1.05858668952824E-2</c:v>
                </c:pt>
                <c:pt idx="2213">
                  <c:v>1.05653564836644E-2</c:v>
                </c:pt>
                <c:pt idx="2214">
                  <c:v>1.05637281165229E-2</c:v>
                </c:pt>
                <c:pt idx="2215">
                  <c:v>1.07754016510902E-2</c:v>
                </c:pt>
                <c:pt idx="2216">
                  <c:v>1.0566110215488299E-2</c:v>
                </c:pt>
                <c:pt idx="2217">
                  <c:v>1.0379042739165701E-2</c:v>
                </c:pt>
                <c:pt idx="2218">
                  <c:v>1.04943415362437E-2</c:v>
                </c:pt>
                <c:pt idx="2219">
                  <c:v>1.05391956996282E-2</c:v>
                </c:pt>
                <c:pt idx="2220">
                  <c:v>1.0336172349393E-2</c:v>
                </c:pt>
                <c:pt idx="2221">
                  <c:v>1.0526332260455001E-2</c:v>
                </c:pt>
                <c:pt idx="2222">
                  <c:v>1.05137030115681E-2</c:v>
                </c:pt>
                <c:pt idx="2223">
                  <c:v>1.0290149540090001E-2</c:v>
                </c:pt>
                <c:pt idx="2224">
                  <c:v>1.03112093525459E-2</c:v>
                </c:pt>
                <c:pt idx="2225">
                  <c:v>1.0202001778545799E-2</c:v>
                </c:pt>
                <c:pt idx="2226">
                  <c:v>1.0321578512456801E-2</c:v>
                </c:pt>
                <c:pt idx="2227">
                  <c:v>1.03618217237591E-2</c:v>
                </c:pt>
                <c:pt idx="2228">
                  <c:v>1.03388370219032E-2</c:v>
                </c:pt>
                <c:pt idx="2229">
                  <c:v>1.0312503649072701E-2</c:v>
                </c:pt>
                <c:pt idx="2230">
                  <c:v>1.03106867033981E-2</c:v>
                </c:pt>
                <c:pt idx="2231">
                  <c:v>1.0408081038765201E-2</c:v>
                </c:pt>
                <c:pt idx="2232">
                  <c:v>1.0902352116634701E-2</c:v>
                </c:pt>
                <c:pt idx="2233">
                  <c:v>1.08578814171187E-2</c:v>
                </c:pt>
                <c:pt idx="2234">
                  <c:v>1.08640918047137E-2</c:v>
                </c:pt>
                <c:pt idx="2235">
                  <c:v>1.0925038690041401E-2</c:v>
                </c:pt>
                <c:pt idx="2236">
                  <c:v>1.09078415049949E-2</c:v>
                </c:pt>
                <c:pt idx="2237">
                  <c:v>1.07848375029449E-2</c:v>
                </c:pt>
                <c:pt idx="2238">
                  <c:v>1.1230287155746701E-2</c:v>
                </c:pt>
                <c:pt idx="2239">
                  <c:v>1.11590459505267E-2</c:v>
                </c:pt>
                <c:pt idx="2240">
                  <c:v>1.11436332335598E-2</c:v>
                </c:pt>
                <c:pt idx="2241">
                  <c:v>1.11487075846343E-2</c:v>
                </c:pt>
                <c:pt idx="2242">
                  <c:v>1.0991975074563299E-2</c:v>
                </c:pt>
                <c:pt idx="2243">
                  <c:v>1.0983572096708799E-2</c:v>
                </c:pt>
                <c:pt idx="2244">
                  <c:v>1.11935163533897E-2</c:v>
                </c:pt>
                <c:pt idx="2245">
                  <c:v>1.14198529730789E-2</c:v>
                </c:pt>
                <c:pt idx="2246">
                  <c:v>1.1190005426902501E-2</c:v>
                </c:pt>
                <c:pt idx="2247">
                  <c:v>1.12091669089118E-2</c:v>
                </c:pt>
                <c:pt idx="2248">
                  <c:v>1.11677459103539E-2</c:v>
                </c:pt>
                <c:pt idx="2249">
                  <c:v>1.1200264958287E-2</c:v>
                </c:pt>
                <c:pt idx="2250">
                  <c:v>1.10415699877577E-2</c:v>
                </c:pt>
                <c:pt idx="2251">
                  <c:v>1.1095053729975801E-2</c:v>
                </c:pt>
                <c:pt idx="2252">
                  <c:v>1.10796247334141E-2</c:v>
                </c:pt>
                <c:pt idx="2253">
                  <c:v>1.17004769636599E-2</c:v>
                </c:pt>
                <c:pt idx="2254">
                  <c:v>1.16284318162063E-2</c:v>
                </c:pt>
                <c:pt idx="2255">
                  <c:v>1.1647669478205501E-2</c:v>
                </c:pt>
                <c:pt idx="2256">
                  <c:v>1.12084314502358E-2</c:v>
                </c:pt>
                <c:pt idx="2257">
                  <c:v>1.12119887768573E-2</c:v>
                </c:pt>
                <c:pt idx="2258">
                  <c:v>1.1217169749512401E-2</c:v>
                </c:pt>
                <c:pt idx="2259">
                  <c:v>1.12378923087225E-2</c:v>
                </c:pt>
                <c:pt idx="2260">
                  <c:v>1.11836727395249E-2</c:v>
                </c:pt>
                <c:pt idx="2261">
                  <c:v>1.11881932530669E-2</c:v>
                </c:pt>
                <c:pt idx="2262">
                  <c:v>1.13767476452234E-2</c:v>
                </c:pt>
                <c:pt idx="2263">
                  <c:v>1.21796321959867E-2</c:v>
                </c:pt>
                <c:pt idx="2264">
                  <c:v>1.21524845174554E-2</c:v>
                </c:pt>
                <c:pt idx="2265">
                  <c:v>1.22040526803178E-2</c:v>
                </c:pt>
                <c:pt idx="2266">
                  <c:v>1.2338302844420701E-2</c:v>
                </c:pt>
                <c:pt idx="2267">
                  <c:v>1.23372800313738E-2</c:v>
                </c:pt>
                <c:pt idx="2268">
                  <c:v>1.25085419373427E-2</c:v>
                </c:pt>
                <c:pt idx="2269">
                  <c:v>1.18575675130667E-2</c:v>
                </c:pt>
                <c:pt idx="2270">
                  <c:v>1.18627610821614E-2</c:v>
                </c:pt>
                <c:pt idx="2271">
                  <c:v>1.19870358242477E-2</c:v>
                </c:pt>
                <c:pt idx="2272">
                  <c:v>1.20312226402169E-2</c:v>
                </c:pt>
                <c:pt idx="2273">
                  <c:v>1.2085391855588001E-2</c:v>
                </c:pt>
                <c:pt idx="2274">
                  <c:v>1.2268734353535701E-2</c:v>
                </c:pt>
                <c:pt idx="2275">
                  <c:v>1.2079922293152899E-2</c:v>
                </c:pt>
                <c:pt idx="2276">
                  <c:v>1.28489623165819E-2</c:v>
                </c:pt>
                <c:pt idx="2277">
                  <c:v>1.26828732997416E-2</c:v>
                </c:pt>
                <c:pt idx="2278">
                  <c:v>1.27811676836103E-2</c:v>
                </c:pt>
                <c:pt idx="2279">
                  <c:v>1.27564075982439E-2</c:v>
                </c:pt>
                <c:pt idx="2280">
                  <c:v>1.2757459993414299E-2</c:v>
                </c:pt>
                <c:pt idx="2281">
                  <c:v>1.2542662089664E-2</c:v>
                </c:pt>
                <c:pt idx="2282">
                  <c:v>1.2599470757249501E-2</c:v>
                </c:pt>
                <c:pt idx="2283">
                  <c:v>1.28758463181936E-2</c:v>
                </c:pt>
                <c:pt idx="2284">
                  <c:v>1.2732567989757901E-2</c:v>
                </c:pt>
                <c:pt idx="2285">
                  <c:v>1.2987904839388199E-2</c:v>
                </c:pt>
                <c:pt idx="2286">
                  <c:v>1.2885419985037901E-2</c:v>
                </c:pt>
                <c:pt idx="2287">
                  <c:v>1.2845295334893401E-2</c:v>
                </c:pt>
                <c:pt idx="2288">
                  <c:v>1.2899167978256999E-2</c:v>
                </c:pt>
                <c:pt idx="2289">
                  <c:v>1.2812541147221799E-2</c:v>
                </c:pt>
                <c:pt idx="2290">
                  <c:v>1.28121516834564E-2</c:v>
                </c:pt>
                <c:pt idx="2291">
                  <c:v>1.2604238575931501E-2</c:v>
                </c:pt>
                <c:pt idx="2292">
                  <c:v>1.2413369455121E-2</c:v>
                </c:pt>
                <c:pt idx="2293">
                  <c:v>1.2420604457063901E-2</c:v>
                </c:pt>
                <c:pt idx="2294">
                  <c:v>1.30726640706451E-2</c:v>
                </c:pt>
                <c:pt idx="2295">
                  <c:v>1.35371706266386E-2</c:v>
                </c:pt>
                <c:pt idx="2296">
                  <c:v>1.33749284982511E-2</c:v>
                </c:pt>
                <c:pt idx="2297">
                  <c:v>1.36096472024536E-2</c:v>
                </c:pt>
                <c:pt idx="2298">
                  <c:v>1.3286184952238701E-2</c:v>
                </c:pt>
                <c:pt idx="2299">
                  <c:v>1.33160762129324E-2</c:v>
                </c:pt>
                <c:pt idx="2300">
                  <c:v>1.33358826002783E-2</c:v>
                </c:pt>
                <c:pt idx="2301">
                  <c:v>1.3335590067558E-2</c:v>
                </c:pt>
                <c:pt idx="2302">
                  <c:v>1.33409610272258E-2</c:v>
                </c:pt>
                <c:pt idx="2303">
                  <c:v>1.3328687225333801E-2</c:v>
                </c:pt>
                <c:pt idx="2304">
                  <c:v>1.4101631327722901E-2</c:v>
                </c:pt>
                <c:pt idx="2305">
                  <c:v>1.3946051377613599E-2</c:v>
                </c:pt>
                <c:pt idx="2306">
                  <c:v>1.39267600995317E-2</c:v>
                </c:pt>
                <c:pt idx="2307">
                  <c:v>1.39333041004904E-2</c:v>
                </c:pt>
                <c:pt idx="2308">
                  <c:v>1.43241698426682E-2</c:v>
                </c:pt>
                <c:pt idx="2309">
                  <c:v>1.43045372764488E-2</c:v>
                </c:pt>
                <c:pt idx="2310">
                  <c:v>1.4568489919663001E-2</c:v>
                </c:pt>
                <c:pt idx="2311">
                  <c:v>1.45400395332176E-2</c:v>
                </c:pt>
                <c:pt idx="2312">
                  <c:v>1.5040966427794501E-2</c:v>
                </c:pt>
                <c:pt idx="2313">
                  <c:v>1.4766082309697901E-2</c:v>
                </c:pt>
                <c:pt idx="2314">
                  <c:v>1.4832185996917701E-2</c:v>
                </c:pt>
                <c:pt idx="2315">
                  <c:v>1.47912580668911E-2</c:v>
                </c:pt>
                <c:pt idx="2316">
                  <c:v>1.5030459284390099E-2</c:v>
                </c:pt>
                <c:pt idx="2317">
                  <c:v>1.5036134025104101E-2</c:v>
                </c:pt>
                <c:pt idx="2318">
                  <c:v>1.5032509380375699E-2</c:v>
                </c:pt>
                <c:pt idx="2319">
                  <c:v>1.5194542414585101E-2</c:v>
                </c:pt>
                <c:pt idx="2320">
                  <c:v>1.5196339734272901E-2</c:v>
                </c:pt>
                <c:pt idx="2321">
                  <c:v>1.5229157392819E-2</c:v>
                </c:pt>
                <c:pt idx="2322">
                  <c:v>1.50404468858303E-2</c:v>
                </c:pt>
                <c:pt idx="2323">
                  <c:v>1.4307639765976101E-2</c:v>
                </c:pt>
                <c:pt idx="2324">
                  <c:v>1.43542948672193E-2</c:v>
                </c:pt>
                <c:pt idx="2325">
                  <c:v>1.4501462565364101E-2</c:v>
                </c:pt>
                <c:pt idx="2326">
                  <c:v>1.43527363739024E-2</c:v>
                </c:pt>
                <c:pt idx="2327">
                  <c:v>1.460625233704E-2</c:v>
                </c:pt>
                <c:pt idx="2328">
                  <c:v>1.44658996051401E-2</c:v>
                </c:pt>
                <c:pt idx="2329">
                  <c:v>1.48479649777248E-2</c:v>
                </c:pt>
                <c:pt idx="2330">
                  <c:v>1.4845585280123899E-2</c:v>
                </c:pt>
                <c:pt idx="2331">
                  <c:v>1.49074178780551E-2</c:v>
                </c:pt>
                <c:pt idx="2332">
                  <c:v>1.4873550688002999E-2</c:v>
                </c:pt>
                <c:pt idx="2333">
                  <c:v>1.4821954863445499E-2</c:v>
                </c:pt>
                <c:pt idx="2334">
                  <c:v>1.47041193416169E-2</c:v>
                </c:pt>
                <c:pt idx="2335">
                  <c:v>1.47068821610008E-2</c:v>
                </c:pt>
                <c:pt idx="2336">
                  <c:v>1.40217122496357E-2</c:v>
                </c:pt>
                <c:pt idx="2337">
                  <c:v>1.4027621754993501E-2</c:v>
                </c:pt>
                <c:pt idx="2338">
                  <c:v>1.40325670708401E-2</c:v>
                </c:pt>
                <c:pt idx="2339">
                  <c:v>1.46426237391553E-2</c:v>
                </c:pt>
                <c:pt idx="2340">
                  <c:v>1.5025393174939099E-2</c:v>
                </c:pt>
                <c:pt idx="2341">
                  <c:v>1.50627896833994E-2</c:v>
                </c:pt>
                <c:pt idx="2342">
                  <c:v>1.5102250047142E-2</c:v>
                </c:pt>
                <c:pt idx="2343">
                  <c:v>1.4875361027189201E-2</c:v>
                </c:pt>
                <c:pt idx="2344">
                  <c:v>1.48745842657226E-2</c:v>
                </c:pt>
                <c:pt idx="2345">
                  <c:v>1.46039105859896E-2</c:v>
                </c:pt>
                <c:pt idx="2346">
                  <c:v>1.46060047971747E-2</c:v>
                </c:pt>
                <c:pt idx="2347">
                  <c:v>1.46495775085676E-2</c:v>
                </c:pt>
                <c:pt idx="2348">
                  <c:v>1.48500220424035E-2</c:v>
                </c:pt>
                <c:pt idx="2349">
                  <c:v>1.4861217126557601E-2</c:v>
                </c:pt>
                <c:pt idx="2350">
                  <c:v>1.5123502119713099E-2</c:v>
                </c:pt>
                <c:pt idx="2351">
                  <c:v>1.54139177673929E-2</c:v>
                </c:pt>
                <c:pt idx="2352">
                  <c:v>1.5232260601894599E-2</c:v>
                </c:pt>
                <c:pt idx="2353">
                  <c:v>1.5213250443980799E-2</c:v>
                </c:pt>
                <c:pt idx="2354">
                  <c:v>1.47331077165225E-2</c:v>
                </c:pt>
                <c:pt idx="2355">
                  <c:v>1.4258120675518401E-2</c:v>
                </c:pt>
                <c:pt idx="2356">
                  <c:v>1.4305655946523801E-2</c:v>
                </c:pt>
                <c:pt idx="2357">
                  <c:v>1.41001641391185E-2</c:v>
                </c:pt>
                <c:pt idx="2358">
                  <c:v>1.40837264925181E-2</c:v>
                </c:pt>
                <c:pt idx="2359">
                  <c:v>1.4049717326119799E-2</c:v>
                </c:pt>
                <c:pt idx="2360">
                  <c:v>1.40302451309668E-2</c:v>
                </c:pt>
                <c:pt idx="2361">
                  <c:v>1.4193348093433601E-2</c:v>
                </c:pt>
                <c:pt idx="2362">
                  <c:v>1.43618439640528E-2</c:v>
                </c:pt>
                <c:pt idx="2363">
                  <c:v>1.4398933949389099E-2</c:v>
                </c:pt>
                <c:pt idx="2364">
                  <c:v>1.35730087571305E-2</c:v>
                </c:pt>
                <c:pt idx="2365">
                  <c:v>1.4297595120831799E-2</c:v>
                </c:pt>
                <c:pt idx="2366">
                  <c:v>1.4979830384835901E-2</c:v>
                </c:pt>
                <c:pt idx="2367">
                  <c:v>1.49632369506978E-2</c:v>
                </c:pt>
                <c:pt idx="2368">
                  <c:v>1.4540560161830401E-2</c:v>
                </c:pt>
                <c:pt idx="2369">
                  <c:v>1.46817275111845E-2</c:v>
                </c:pt>
                <c:pt idx="2370">
                  <c:v>1.4583741591074799E-2</c:v>
                </c:pt>
                <c:pt idx="2371">
                  <c:v>1.5887416735990801E-2</c:v>
                </c:pt>
                <c:pt idx="2372">
                  <c:v>1.55954163509762E-2</c:v>
                </c:pt>
                <c:pt idx="2373">
                  <c:v>1.55982409136307E-2</c:v>
                </c:pt>
                <c:pt idx="2374">
                  <c:v>1.5661516789320599E-2</c:v>
                </c:pt>
                <c:pt idx="2375">
                  <c:v>1.57996708355355E-2</c:v>
                </c:pt>
                <c:pt idx="2376">
                  <c:v>1.55739950290044E-2</c:v>
                </c:pt>
                <c:pt idx="2377">
                  <c:v>1.5656019244410201E-2</c:v>
                </c:pt>
                <c:pt idx="2378">
                  <c:v>1.5983618450404798E-2</c:v>
                </c:pt>
                <c:pt idx="2379">
                  <c:v>1.5859478489113302E-2</c:v>
                </c:pt>
                <c:pt idx="2380">
                  <c:v>1.5857217163304401E-2</c:v>
                </c:pt>
                <c:pt idx="2381">
                  <c:v>1.5968956784759701E-2</c:v>
                </c:pt>
                <c:pt idx="2382">
                  <c:v>1.6398338952379601E-2</c:v>
                </c:pt>
                <c:pt idx="2383">
                  <c:v>1.63980525277257E-2</c:v>
                </c:pt>
                <c:pt idx="2384">
                  <c:v>1.6350537904243598E-2</c:v>
                </c:pt>
                <c:pt idx="2385">
                  <c:v>1.61841867332463E-2</c:v>
                </c:pt>
                <c:pt idx="2386">
                  <c:v>1.61881496004125E-2</c:v>
                </c:pt>
                <c:pt idx="2387">
                  <c:v>1.60219663428098E-2</c:v>
                </c:pt>
                <c:pt idx="2388">
                  <c:v>1.6030301865308801E-2</c:v>
                </c:pt>
                <c:pt idx="2389">
                  <c:v>1.5657093696307699E-2</c:v>
                </c:pt>
                <c:pt idx="2390">
                  <c:v>1.5657134178286999E-2</c:v>
                </c:pt>
                <c:pt idx="2391">
                  <c:v>1.5471887857809801E-2</c:v>
                </c:pt>
                <c:pt idx="2392">
                  <c:v>1.5574162961889499E-2</c:v>
                </c:pt>
                <c:pt idx="2393">
                  <c:v>1.5580540057330099E-2</c:v>
                </c:pt>
                <c:pt idx="2394">
                  <c:v>1.5660032611901201E-2</c:v>
                </c:pt>
                <c:pt idx="2395">
                  <c:v>1.5663104908630099E-2</c:v>
                </c:pt>
                <c:pt idx="2396">
                  <c:v>1.5631252068480199E-2</c:v>
                </c:pt>
                <c:pt idx="2397">
                  <c:v>1.5698550942075801E-2</c:v>
                </c:pt>
                <c:pt idx="2398">
                  <c:v>1.5602486053333999E-2</c:v>
                </c:pt>
                <c:pt idx="2399">
                  <c:v>1.5102995809487501E-2</c:v>
                </c:pt>
                <c:pt idx="2400">
                  <c:v>1.48178246443168E-2</c:v>
                </c:pt>
                <c:pt idx="2401">
                  <c:v>1.4902750790378E-2</c:v>
                </c:pt>
                <c:pt idx="2402">
                  <c:v>1.48119371228229E-2</c:v>
                </c:pt>
                <c:pt idx="2403">
                  <c:v>1.48882139219826E-2</c:v>
                </c:pt>
                <c:pt idx="2404">
                  <c:v>1.4935706596067201E-2</c:v>
                </c:pt>
                <c:pt idx="2405">
                  <c:v>1.49450068431707E-2</c:v>
                </c:pt>
                <c:pt idx="2406">
                  <c:v>1.49392654394495E-2</c:v>
                </c:pt>
                <c:pt idx="2407">
                  <c:v>1.53617897136134E-2</c:v>
                </c:pt>
                <c:pt idx="2408">
                  <c:v>1.5088704825669499E-2</c:v>
                </c:pt>
                <c:pt idx="2409">
                  <c:v>1.5114247871196499E-2</c:v>
                </c:pt>
                <c:pt idx="2410">
                  <c:v>1.4741017311221899E-2</c:v>
                </c:pt>
                <c:pt idx="2411">
                  <c:v>1.47379327963708E-2</c:v>
                </c:pt>
                <c:pt idx="2412">
                  <c:v>1.47299335190665E-2</c:v>
                </c:pt>
                <c:pt idx="2413">
                  <c:v>1.47234585545102E-2</c:v>
                </c:pt>
                <c:pt idx="2414">
                  <c:v>1.4650222853229099E-2</c:v>
                </c:pt>
                <c:pt idx="2415">
                  <c:v>1.46502081111231E-2</c:v>
                </c:pt>
                <c:pt idx="2416">
                  <c:v>1.46402209478473E-2</c:v>
                </c:pt>
                <c:pt idx="2417">
                  <c:v>1.5079359275258599E-2</c:v>
                </c:pt>
                <c:pt idx="2418">
                  <c:v>1.5074790942746399E-2</c:v>
                </c:pt>
                <c:pt idx="2419">
                  <c:v>1.5082916670802299E-2</c:v>
                </c:pt>
                <c:pt idx="2420">
                  <c:v>1.5355153407219701E-2</c:v>
                </c:pt>
                <c:pt idx="2421">
                  <c:v>1.5255891270024699E-2</c:v>
                </c:pt>
                <c:pt idx="2422">
                  <c:v>1.5066290886704799E-2</c:v>
                </c:pt>
                <c:pt idx="2423">
                  <c:v>1.50330963461782E-2</c:v>
                </c:pt>
                <c:pt idx="2424">
                  <c:v>1.50226049768951E-2</c:v>
                </c:pt>
                <c:pt idx="2425">
                  <c:v>1.46294004260628E-2</c:v>
                </c:pt>
                <c:pt idx="2426">
                  <c:v>1.4043782422192E-2</c:v>
                </c:pt>
                <c:pt idx="2427">
                  <c:v>1.40310294944544E-2</c:v>
                </c:pt>
                <c:pt idx="2428">
                  <c:v>1.41383409278185E-2</c:v>
                </c:pt>
                <c:pt idx="2429">
                  <c:v>1.42222017329176E-2</c:v>
                </c:pt>
                <c:pt idx="2430">
                  <c:v>1.39343936581131E-2</c:v>
                </c:pt>
                <c:pt idx="2431">
                  <c:v>1.2626390062926001E-2</c:v>
                </c:pt>
                <c:pt idx="2432">
                  <c:v>1.24898698033243E-2</c:v>
                </c:pt>
                <c:pt idx="2433">
                  <c:v>1.2274094046987099E-2</c:v>
                </c:pt>
                <c:pt idx="2434">
                  <c:v>1.2183447950413999E-2</c:v>
                </c:pt>
                <c:pt idx="2435">
                  <c:v>1.1945851980836799E-2</c:v>
                </c:pt>
                <c:pt idx="2436">
                  <c:v>1.19526561414486E-2</c:v>
                </c:pt>
                <c:pt idx="2437">
                  <c:v>1.20659492927004E-2</c:v>
                </c:pt>
                <c:pt idx="2438">
                  <c:v>1.17288887477886E-2</c:v>
                </c:pt>
                <c:pt idx="2439">
                  <c:v>1.17398121430125E-2</c:v>
                </c:pt>
                <c:pt idx="2440">
                  <c:v>1.17370612063795E-2</c:v>
                </c:pt>
                <c:pt idx="2441">
                  <c:v>1.1455428116346899E-2</c:v>
                </c:pt>
                <c:pt idx="2442">
                  <c:v>1.1224724722203599E-2</c:v>
                </c:pt>
                <c:pt idx="2443">
                  <c:v>1.1225248402194099E-2</c:v>
                </c:pt>
                <c:pt idx="2444">
                  <c:v>1.1277776115755801E-2</c:v>
                </c:pt>
                <c:pt idx="2445">
                  <c:v>1.13339708180721E-2</c:v>
                </c:pt>
                <c:pt idx="2446">
                  <c:v>1.13189301851827E-2</c:v>
                </c:pt>
                <c:pt idx="2447">
                  <c:v>1.1448852731147E-2</c:v>
                </c:pt>
                <c:pt idx="2448">
                  <c:v>1.1586714398417E-2</c:v>
                </c:pt>
                <c:pt idx="2449">
                  <c:v>1.1767376802037301E-2</c:v>
                </c:pt>
                <c:pt idx="2450">
                  <c:v>1.1783437284754599E-2</c:v>
                </c:pt>
                <c:pt idx="2451">
                  <c:v>1.1898884657017E-2</c:v>
                </c:pt>
                <c:pt idx="2452">
                  <c:v>1.1785622340519801E-2</c:v>
                </c:pt>
                <c:pt idx="2453">
                  <c:v>1.18272527189588E-2</c:v>
                </c:pt>
                <c:pt idx="2454">
                  <c:v>1.1688451832975901E-2</c:v>
                </c:pt>
                <c:pt idx="2455">
                  <c:v>1.18727698133369E-2</c:v>
                </c:pt>
                <c:pt idx="2456">
                  <c:v>1.20059498157632E-2</c:v>
                </c:pt>
                <c:pt idx="2457">
                  <c:v>1.1932554698906901E-2</c:v>
                </c:pt>
                <c:pt idx="2458">
                  <c:v>1.19432615959729E-2</c:v>
                </c:pt>
                <c:pt idx="2459">
                  <c:v>1.1719422362868799E-2</c:v>
                </c:pt>
                <c:pt idx="2460">
                  <c:v>1.2249289507096601E-2</c:v>
                </c:pt>
                <c:pt idx="2461">
                  <c:v>1.20877990176425E-2</c:v>
                </c:pt>
                <c:pt idx="2462">
                  <c:v>1.20576324588355E-2</c:v>
                </c:pt>
                <c:pt idx="2463">
                  <c:v>1.19605541493569E-2</c:v>
                </c:pt>
                <c:pt idx="2464">
                  <c:v>1.1894592666713E-2</c:v>
                </c:pt>
                <c:pt idx="2465">
                  <c:v>1.20294635128403E-2</c:v>
                </c:pt>
                <c:pt idx="2466">
                  <c:v>1.1976173138968401E-2</c:v>
                </c:pt>
                <c:pt idx="2467">
                  <c:v>1.15956198995951E-2</c:v>
                </c:pt>
                <c:pt idx="2468">
                  <c:v>1.15992511407306E-2</c:v>
                </c:pt>
                <c:pt idx="2469">
                  <c:v>1.1445011967072399E-2</c:v>
                </c:pt>
                <c:pt idx="2470">
                  <c:v>1.1461133058563E-2</c:v>
                </c:pt>
                <c:pt idx="2471">
                  <c:v>1.12943338067691E-2</c:v>
                </c:pt>
                <c:pt idx="2472">
                  <c:v>1.12961505221269E-2</c:v>
                </c:pt>
                <c:pt idx="2473">
                  <c:v>1.14764907070183E-2</c:v>
                </c:pt>
                <c:pt idx="2474">
                  <c:v>1.17297149047185E-2</c:v>
                </c:pt>
                <c:pt idx="2475">
                  <c:v>1.17277856618108E-2</c:v>
                </c:pt>
                <c:pt idx="2476">
                  <c:v>1.1727406336349999E-2</c:v>
                </c:pt>
                <c:pt idx="2477">
                  <c:v>1.1187351493435501E-2</c:v>
                </c:pt>
                <c:pt idx="2478">
                  <c:v>1.1228428624911999E-2</c:v>
                </c:pt>
                <c:pt idx="2479">
                  <c:v>1.12130871789739E-2</c:v>
                </c:pt>
                <c:pt idx="2480">
                  <c:v>1.07918155825684E-2</c:v>
                </c:pt>
                <c:pt idx="2481">
                  <c:v>1.0785351957847701E-2</c:v>
                </c:pt>
                <c:pt idx="2482">
                  <c:v>1.08628140332338E-2</c:v>
                </c:pt>
                <c:pt idx="2483">
                  <c:v>1.1022285883275499E-2</c:v>
                </c:pt>
                <c:pt idx="2484">
                  <c:v>1.1409156697614E-2</c:v>
                </c:pt>
                <c:pt idx="2485">
                  <c:v>1.10929874330496E-2</c:v>
                </c:pt>
                <c:pt idx="2486">
                  <c:v>1.1134292151487099E-2</c:v>
                </c:pt>
                <c:pt idx="2487">
                  <c:v>1.1217925711273899E-2</c:v>
                </c:pt>
                <c:pt idx="2488">
                  <c:v>1.11125814961789E-2</c:v>
                </c:pt>
                <c:pt idx="2489">
                  <c:v>1.09947335161112E-2</c:v>
                </c:pt>
                <c:pt idx="2490">
                  <c:v>1.1035526566122099E-2</c:v>
                </c:pt>
                <c:pt idx="2491">
                  <c:v>1.09044995413541E-2</c:v>
                </c:pt>
                <c:pt idx="2492">
                  <c:v>1.08931007099033E-2</c:v>
                </c:pt>
                <c:pt idx="2493">
                  <c:v>1.0961573683523001E-2</c:v>
                </c:pt>
                <c:pt idx="2494">
                  <c:v>1.10068463730193E-2</c:v>
                </c:pt>
                <c:pt idx="2495">
                  <c:v>1.10250009423276E-2</c:v>
                </c:pt>
                <c:pt idx="2496">
                  <c:v>1.10439644416287E-2</c:v>
                </c:pt>
                <c:pt idx="2497">
                  <c:v>1.06168869074755E-2</c:v>
                </c:pt>
                <c:pt idx="2498">
                  <c:v>1.06018803918241E-2</c:v>
                </c:pt>
                <c:pt idx="2499">
                  <c:v>1.05062459472127E-2</c:v>
                </c:pt>
                <c:pt idx="2500">
                  <c:v>1.04991995235685E-2</c:v>
                </c:pt>
                <c:pt idx="2501">
                  <c:v>1.06425883358941E-2</c:v>
                </c:pt>
                <c:pt idx="2502">
                  <c:v>1.04605146552606E-2</c:v>
                </c:pt>
                <c:pt idx="2503">
                  <c:v>1.05402509076373E-2</c:v>
                </c:pt>
                <c:pt idx="2504">
                  <c:v>1.0699887605745501E-2</c:v>
                </c:pt>
                <c:pt idx="2505">
                  <c:v>1.06727424861187E-2</c:v>
                </c:pt>
                <c:pt idx="2506">
                  <c:v>1.0671715347514999E-2</c:v>
                </c:pt>
                <c:pt idx="2507">
                  <c:v>1.05752325262485E-2</c:v>
                </c:pt>
                <c:pt idx="2508">
                  <c:v>1.0368648984674199E-2</c:v>
                </c:pt>
                <c:pt idx="2509">
                  <c:v>1.04937569029984E-2</c:v>
                </c:pt>
                <c:pt idx="2510">
                  <c:v>1.0468873363604801E-2</c:v>
                </c:pt>
                <c:pt idx="2511">
                  <c:v>1.0293670200349599E-2</c:v>
                </c:pt>
                <c:pt idx="2512">
                  <c:v>1.02982436015357E-2</c:v>
                </c:pt>
                <c:pt idx="2513">
                  <c:v>1.0265634733246499E-2</c:v>
                </c:pt>
                <c:pt idx="2514">
                  <c:v>1.02370039058095E-2</c:v>
                </c:pt>
                <c:pt idx="2515">
                  <c:v>1.00086101841297E-2</c:v>
                </c:pt>
                <c:pt idx="2516">
                  <c:v>9.8182405774735193E-3</c:v>
                </c:pt>
                <c:pt idx="2517">
                  <c:v>9.8410586820600696E-3</c:v>
                </c:pt>
                <c:pt idx="2518">
                  <c:v>9.9121233006484594E-3</c:v>
                </c:pt>
                <c:pt idx="2519">
                  <c:v>1.0192647702881599E-2</c:v>
                </c:pt>
                <c:pt idx="2520">
                  <c:v>9.6587436778956294E-3</c:v>
                </c:pt>
                <c:pt idx="2521">
                  <c:v>9.7143228613525406E-3</c:v>
                </c:pt>
                <c:pt idx="2522">
                  <c:v>9.7119767365384906E-3</c:v>
                </c:pt>
                <c:pt idx="2523">
                  <c:v>9.7011011009518807E-3</c:v>
                </c:pt>
                <c:pt idx="2524">
                  <c:v>9.8237607223119507E-3</c:v>
                </c:pt>
                <c:pt idx="2525">
                  <c:v>9.6745145463273795E-3</c:v>
                </c:pt>
                <c:pt idx="2526">
                  <c:v>9.6556254081099496E-3</c:v>
                </c:pt>
                <c:pt idx="2527">
                  <c:v>9.4591674581596692E-3</c:v>
                </c:pt>
                <c:pt idx="2528">
                  <c:v>1.11647659860383E-2</c:v>
                </c:pt>
                <c:pt idx="2529">
                  <c:v>1.1173513442524499E-2</c:v>
                </c:pt>
                <c:pt idx="2530">
                  <c:v>1.1154156380860701E-2</c:v>
                </c:pt>
                <c:pt idx="2531">
                  <c:v>1.1137380879438301E-2</c:v>
                </c:pt>
                <c:pt idx="2532">
                  <c:v>1.1181704783271899E-2</c:v>
                </c:pt>
                <c:pt idx="2533">
                  <c:v>1.10847491704671E-2</c:v>
                </c:pt>
                <c:pt idx="2534">
                  <c:v>1.11674503890108E-2</c:v>
                </c:pt>
                <c:pt idx="2535">
                  <c:v>1.12277489057311E-2</c:v>
                </c:pt>
                <c:pt idx="2536">
                  <c:v>1.1256604358337899E-2</c:v>
                </c:pt>
                <c:pt idx="2537">
                  <c:v>1.1548216287985099E-2</c:v>
                </c:pt>
                <c:pt idx="2538">
                  <c:v>1.13554133923727E-2</c:v>
                </c:pt>
                <c:pt idx="2539">
                  <c:v>1.14114985660739E-2</c:v>
                </c:pt>
                <c:pt idx="2540">
                  <c:v>1.14040642059093E-2</c:v>
                </c:pt>
                <c:pt idx="2541">
                  <c:v>1.14717815861089E-2</c:v>
                </c:pt>
                <c:pt idx="2542">
                  <c:v>1.20860091458168E-2</c:v>
                </c:pt>
                <c:pt idx="2543">
                  <c:v>1.21121775003461E-2</c:v>
                </c:pt>
                <c:pt idx="2544">
                  <c:v>1.18264239039957E-2</c:v>
                </c:pt>
                <c:pt idx="2545">
                  <c:v>1.2182336486945E-2</c:v>
                </c:pt>
                <c:pt idx="2546">
                  <c:v>1.21362731689554E-2</c:v>
                </c:pt>
                <c:pt idx="2547">
                  <c:v>1.2108418033462E-2</c:v>
                </c:pt>
                <c:pt idx="2548">
                  <c:v>1.21090976624516E-2</c:v>
                </c:pt>
                <c:pt idx="2549">
                  <c:v>1.18307457816692E-2</c:v>
                </c:pt>
                <c:pt idx="2550">
                  <c:v>1.18011685875764E-2</c:v>
                </c:pt>
                <c:pt idx="2551">
                  <c:v>1.1803383646138E-2</c:v>
                </c:pt>
                <c:pt idx="2552">
                  <c:v>1.1967601026965599E-2</c:v>
                </c:pt>
                <c:pt idx="2553">
                  <c:v>1.1894669701184701E-2</c:v>
                </c:pt>
                <c:pt idx="2554">
                  <c:v>1.17759473312292E-2</c:v>
                </c:pt>
                <c:pt idx="2555">
                  <c:v>1.18693666272383E-2</c:v>
                </c:pt>
                <c:pt idx="2556">
                  <c:v>1.1842451698300499E-2</c:v>
                </c:pt>
                <c:pt idx="2557">
                  <c:v>1.18579653213011E-2</c:v>
                </c:pt>
                <c:pt idx="2558">
                  <c:v>1.20995815643739E-2</c:v>
                </c:pt>
                <c:pt idx="2559">
                  <c:v>1.20975168903984E-2</c:v>
                </c:pt>
                <c:pt idx="2560">
                  <c:v>1.21017160442399E-2</c:v>
                </c:pt>
                <c:pt idx="2561">
                  <c:v>1.2043951000613401E-2</c:v>
                </c:pt>
                <c:pt idx="2562">
                  <c:v>1.22426910795178E-2</c:v>
                </c:pt>
                <c:pt idx="2563">
                  <c:v>1.22064119897032E-2</c:v>
                </c:pt>
                <c:pt idx="2564">
                  <c:v>1.2073158998726E-2</c:v>
                </c:pt>
                <c:pt idx="2565">
                  <c:v>1.20792637127623E-2</c:v>
                </c:pt>
                <c:pt idx="2566">
                  <c:v>1.2079684784973101E-2</c:v>
                </c:pt>
                <c:pt idx="2567">
                  <c:v>1.2225201117197699E-2</c:v>
                </c:pt>
                <c:pt idx="2568">
                  <c:v>1.22156646346426E-2</c:v>
                </c:pt>
                <c:pt idx="2569">
                  <c:v>1.19811225709037E-2</c:v>
                </c:pt>
                <c:pt idx="2570">
                  <c:v>1.21718515307678E-2</c:v>
                </c:pt>
                <c:pt idx="2571">
                  <c:v>1.2126233119804999E-2</c:v>
                </c:pt>
                <c:pt idx="2572">
                  <c:v>1.22221481351821E-2</c:v>
                </c:pt>
                <c:pt idx="2573">
                  <c:v>1.22496214522226E-2</c:v>
                </c:pt>
                <c:pt idx="2574">
                  <c:v>1.22380575962464E-2</c:v>
                </c:pt>
                <c:pt idx="2575">
                  <c:v>1.2220676363904399E-2</c:v>
                </c:pt>
                <c:pt idx="2576">
                  <c:v>1.23366570174366E-2</c:v>
                </c:pt>
                <c:pt idx="2577">
                  <c:v>1.23617748721849E-2</c:v>
                </c:pt>
                <c:pt idx="2578">
                  <c:v>1.23221810141335E-2</c:v>
                </c:pt>
                <c:pt idx="2579">
                  <c:v>1.2065085863125999E-2</c:v>
                </c:pt>
                <c:pt idx="2580">
                  <c:v>1.21316959062862E-2</c:v>
                </c:pt>
                <c:pt idx="2581">
                  <c:v>1.21241218404003E-2</c:v>
                </c:pt>
                <c:pt idx="2582">
                  <c:v>1.21459334447573E-2</c:v>
                </c:pt>
                <c:pt idx="2583">
                  <c:v>1.2240425455215099E-2</c:v>
                </c:pt>
                <c:pt idx="2584">
                  <c:v>1.2283512213793301E-2</c:v>
                </c:pt>
                <c:pt idx="2585">
                  <c:v>1.2303327480369899E-2</c:v>
                </c:pt>
                <c:pt idx="2586">
                  <c:v>1.31393253174976E-2</c:v>
                </c:pt>
                <c:pt idx="2587">
                  <c:v>1.30988419176117E-2</c:v>
                </c:pt>
                <c:pt idx="2588">
                  <c:v>1.2047585948172301E-2</c:v>
                </c:pt>
                <c:pt idx="2589">
                  <c:v>1.2121249521178301E-2</c:v>
                </c:pt>
                <c:pt idx="2590">
                  <c:v>1.21147840987368E-2</c:v>
                </c:pt>
                <c:pt idx="2591">
                  <c:v>1.2118097353240299E-2</c:v>
                </c:pt>
                <c:pt idx="2592">
                  <c:v>1.2142681210059099E-2</c:v>
                </c:pt>
                <c:pt idx="2593">
                  <c:v>1.37009842067454E-2</c:v>
                </c:pt>
                <c:pt idx="2594">
                  <c:v>1.3307009896552801E-2</c:v>
                </c:pt>
                <c:pt idx="2595">
                  <c:v>1.32252602896046E-2</c:v>
                </c:pt>
                <c:pt idx="2596">
                  <c:v>1.32151909298652E-2</c:v>
                </c:pt>
                <c:pt idx="2597">
                  <c:v>1.2861512163602399E-2</c:v>
                </c:pt>
                <c:pt idx="2598">
                  <c:v>1.28911263823028E-2</c:v>
                </c:pt>
                <c:pt idx="2599">
                  <c:v>1.28702411568235E-2</c:v>
                </c:pt>
                <c:pt idx="2600">
                  <c:v>1.3310587858324801E-2</c:v>
                </c:pt>
                <c:pt idx="2601">
                  <c:v>1.3199382112120401E-2</c:v>
                </c:pt>
                <c:pt idx="2602">
                  <c:v>1.2701091283364699E-2</c:v>
                </c:pt>
                <c:pt idx="2603">
                  <c:v>1.26246832622423E-2</c:v>
                </c:pt>
                <c:pt idx="2604">
                  <c:v>1.26972309599375E-2</c:v>
                </c:pt>
                <c:pt idx="2605">
                  <c:v>1.24211878132456E-2</c:v>
                </c:pt>
                <c:pt idx="2606">
                  <c:v>1.24278895517484E-2</c:v>
                </c:pt>
                <c:pt idx="2607">
                  <c:v>1.2370005767886501E-2</c:v>
                </c:pt>
                <c:pt idx="2608">
                  <c:v>1.23707177953756E-2</c:v>
                </c:pt>
                <c:pt idx="2609">
                  <c:v>1.2347793472218999E-2</c:v>
                </c:pt>
                <c:pt idx="2610">
                  <c:v>1.2628670730895899E-2</c:v>
                </c:pt>
                <c:pt idx="2611">
                  <c:v>1.34591952215233E-2</c:v>
                </c:pt>
                <c:pt idx="2612">
                  <c:v>1.33628457337862E-2</c:v>
                </c:pt>
                <c:pt idx="2613">
                  <c:v>1.34070391950975E-2</c:v>
                </c:pt>
                <c:pt idx="2614">
                  <c:v>1.3480333605670599E-2</c:v>
                </c:pt>
                <c:pt idx="2615">
                  <c:v>1.3490124705210001E-2</c:v>
                </c:pt>
                <c:pt idx="2616">
                  <c:v>1.3490584232519601E-2</c:v>
                </c:pt>
                <c:pt idx="2617">
                  <c:v>1.3471501251161399E-2</c:v>
                </c:pt>
                <c:pt idx="2618">
                  <c:v>1.3183057523125499E-2</c:v>
                </c:pt>
                <c:pt idx="2619">
                  <c:v>1.32355607937437E-2</c:v>
                </c:pt>
                <c:pt idx="2620">
                  <c:v>1.3263703459436799E-2</c:v>
                </c:pt>
                <c:pt idx="2621">
                  <c:v>1.3751952485370001E-2</c:v>
                </c:pt>
                <c:pt idx="2622">
                  <c:v>1.3612778515898901E-2</c:v>
                </c:pt>
                <c:pt idx="2623">
                  <c:v>1.36148278749505E-2</c:v>
                </c:pt>
                <c:pt idx="2624">
                  <c:v>1.36077083188896E-2</c:v>
                </c:pt>
                <c:pt idx="2625">
                  <c:v>1.3777996241056601E-2</c:v>
                </c:pt>
                <c:pt idx="2626">
                  <c:v>1.37631827497979E-2</c:v>
                </c:pt>
                <c:pt idx="2627">
                  <c:v>1.34833325896221E-2</c:v>
                </c:pt>
                <c:pt idx="2628">
                  <c:v>1.34666428995489E-2</c:v>
                </c:pt>
                <c:pt idx="2629">
                  <c:v>1.35191635319522E-2</c:v>
                </c:pt>
                <c:pt idx="2630">
                  <c:v>1.3233955860942901E-2</c:v>
                </c:pt>
                <c:pt idx="2631">
                  <c:v>1.33969927299319E-2</c:v>
                </c:pt>
                <c:pt idx="2632">
                  <c:v>1.35398097691996E-2</c:v>
                </c:pt>
                <c:pt idx="2633">
                  <c:v>1.34691525635853E-2</c:v>
                </c:pt>
                <c:pt idx="2634">
                  <c:v>1.43373289669869E-2</c:v>
                </c:pt>
                <c:pt idx="2635">
                  <c:v>1.4343974346841801E-2</c:v>
                </c:pt>
                <c:pt idx="2636">
                  <c:v>1.42745686074086E-2</c:v>
                </c:pt>
                <c:pt idx="2637">
                  <c:v>1.43823842038199E-2</c:v>
                </c:pt>
                <c:pt idx="2638">
                  <c:v>1.4407336647061E-2</c:v>
                </c:pt>
                <c:pt idx="2639">
                  <c:v>1.4753436058194999E-2</c:v>
                </c:pt>
                <c:pt idx="2640">
                  <c:v>1.46383100020446E-2</c:v>
                </c:pt>
                <c:pt idx="2641">
                  <c:v>1.5953883917048699E-2</c:v>
                </c:pt>
                <c:pt idx="2642">
                  <c:v>1.62758904027645E-2</c:v>
                </c:pt>
                <c:pt idx="2643">
                  <c:v>1.62692259526219E-2</c:v>
                </c:pt>
                <c:pt idx="2644">
                  <c:v>1.6219738972170002E-2</c:v>
                </c:pt>
                <c:pt idx="2645">
                  <c:v>1.62286556112522E-2</c:v>
                </c:pt>
                <c:pt idx="2646">
                  <c:v>1.5717779535220501E-2</c:v>
                </c:pt>
                <c:pt idx="2647">
                  <c:v>1.58593224762704E-2</c:v>
                </c:pt>
                <c:pt idx="2648">
                  <c:v>1.5795709273113301E-2</c:v>
                </c:pt>
                <c:pt idx="2649">
                  <c:v>1.57538857917509E-2</c:v>
                </c:pt>
                <c:pt idx="2650">
                  <c:v>1.57241849108277E-2</c:v>
                </c:pt>
                <c:pt idx="2651">
                  <c:v>1.5869644940233098E-2</c:v>
                </c:pt>
                <c:pt idx="2652">
                  <c:v>1.5807502126317499E-2</c:v>
                </c:pt>
                <c:pt idx="2653">
                  <c:v>1.51121743981854E-2</c:v>
                </c:pt>
                <c:pt idx="2654">
                  <c:v>1.51074550547896E-2</c:v>
                </c:pt>
                <c:pt idx="2655">
                  <c:v>1.5106904149498199E-2</c:v>
                </c:pt>
                <c:pt idx="2656">
                  <c:v>1.5114246113357901E-2</c:v>
                </c:pt>
                <c:pt idx="2657">
                  <c:v>1.52488602371367E-2</c:v>
                </c:pt>
                <c:pt idx="2658">
                  <c:v>1.5225668071143599E-2</c:v>
                </c:pt>
                <c:pt idx="2659">
                  <c:v>1.5861488912004101E-2</c:v>
                </c:pt>
                <c:pt idx="2660">
                  <c:v>1.54621030080125E-2</c:v>
                </c:pt>
                <c:pt idx="2661">
                  <c:v>1.54560454847279E-2</c:v>
                </c:pt>
                <c:pt idx="2662">
                  <c:v>1.54438958759399E-2</c:v>
                </c:pt>
                <c:pt idx="2663">
                  <c:v>1.5333019467572401E-2</c:v>
                </c:pt>
                <c:pt idx="2664">
                  <c:v>1.51772866145696E-2</c:v>
                </c:pt>
                <c:pt idx="2665">
                  <c:v>1.52057102983864E-2</c:v>
                </c:pt>
                <c:pt idx="2666">
                  <c:v>1.5193583856876899E-2</c:v>
                </c:pt>
                <c:pt idx="2667">
                  <c:v>1.5189129655479699E-2</c:v>
                </c:pt>
                <c:pt idx="2668">
                  <c:v>1.5209022591361599E-2</c:v>
                </c:pt>
                <c:pt idx="2669">
                  <c:v>1.52595042344071E-2</c:v>
                </c:pt>
                <c:pt idx="2670">
                  <c:v>1.51212077938474E-2</c:v>
                </c:pt>
                <c:pt idx="2671">
                  <c:v>1.4296964275520499E-2</c:v>
                </c:pt>
                <c:pt idx="2672">
                  <c:v>1.4267471479899201E-2</c:v>
                </c:pt>
                <c:pt idx="2673">
                  <c:v>1.47056765928245E-2</c:v>
                </c:pt>
                <c:pt idx="2674">
                  <c:v>1.4656666366734E-2</c:v>
                </c:pt>
                <c:pt idx="2675">
                  <c:v>1.50751294313474E-2</c:v>
                </c:pt>
                <c:pt idx="2676">
                  <c:v>1.52619372117711E-2</c:v>
                </c:pt>
                <c:pt idx="2677">
                  <c:v>1.5309841574673499E-2</c:v>
                </c:pt>
                <c:pt idx="2678">
                  <c:v>1.5326385377241999E-2</c:v>
                </c:pt>
                <c:pt idx="2679">
                  <c:v>1.5287967656649601E-2</c:v>
                </c:pt>
                <c:pt idx="2680">
                  <c:v>1.54635775821173E-2</c:v>
                </c:pt>
                <c:pt idx="2681">
                  <c:v>1.50230013510021E-2</c:v>
                </c:pt>
                <c:pt idx="2682">
                  <c:v>1.49711373122377E-2</c:v>
                </c:pt>
                <c:pt idx="2683">
                  <c:v>1.49730168635162E-2</c:v>
                </c:pt>
                <c:pt idx="2684">
                  <c:v>1.4986812481558E-2</c:v>
                </c:pt>
                <c:pt idx="2685">
                  <c:v>1.4735027569136701E-2</c:v>
                </c:pt>
                <c:pt idx="2686">
                  <c:v>1.4733736066792799E-2</c:v>
                </c:pt>
                <c:pt idx="2687">
                  <c:v>1.47767977966646E-2</c:v>
                </c:pt>
                <c:pt idx="2688">
                  <c:v>1.4800249517814E-2</c:v>
                </c:pt>
                <c:pt idx="2689">
                  <c:v>1.5008224833258201E-2</c:v>
                </c:pt>
                <c:pt idx="2690">
                  <c:v>1.51443181345522E-2</c:v>
                </c:pt>
                <c:pt idx="2691">
                  <c:v>1.51037645987591E-2</c:v>
                </c:pt>
                <c:pt idx="2692">
                  <c:v>1.49143091595329E-2</c:v>
                </c:pt>
                <c:pt idx="2693">
                  <c:v>1.4889594498007299E-2</c:v>
                </c:pt>
                <c:pt idx="2694">
                  <c:v>1.4306814314693E-2</c:v>
                </c:pt>
                <c:pt idx="2695">
                  <c:v>1.4309190845331299E-2</c:v>
                </c:pt>
                <c:pt idx="2696">
                  <c:v>1.43035174190707E-2</c:v>
                </c:pt>
                <c:pt idx="2697">
                  <c:v>1.4343974480411199E-2</c:v>
                </c:pt>
                <c:pt idx="2698">
                  <c:v>1.4284298048404099E-2</c:v>
                </c:pt>
                <c:pt idx="2699">
                  <c:v>1.37523082103589E-2</c:v>
                </c:pt>
                <c:pt idx="2700">
                  <c:v>1.38166954579704E-2</c:v>
                </c:pt>
                <c:pt idx="2701">
                  <c:v>1.23753309470911E-2</c:v>
                </c:pt>
                <c:pt idx="2702">
                  <c:v>1.1896663814751801E-2</c:v>
                </c:pt>
                <c:pt idx="2703">
                  <c:v>1.1814044980981001E-2</c:v>
                </c:pt>
                <c:pt idx="2704">
                  <c:v>1.18340181339236E-2</c:v>
                </c:pt>
                <c:pt idx="2705">
                  <c:v>1.2020962809388001E-2</c:v>
                </c:pt>
                <c:pt idx="2706">
                  <c:v>1.27715214958829E-2</c:v>
                </c:pt>
                <c:pt idx="2707">
                  <c:v>1.2699665832237099E-2</c:v>
                </c:pt>
                <c:pt idx="2708">
                  <c:v>1.26437772086376E-2</c:v>
                </c:pt>
                <c:pt idx="2709">
                  <c:v>1.2668360350482201E-2</c:v>
                </c:pt>
                <c:pt idx="2710">
                  <c:v>1.2691221721264301E-2</c:v>
                </c:pt>
                <c:pt idx="2711">
                  <c:v>1.3257714392065601E-2</c:v>
                </c:pt>
                <c:pt idx="2712">
                  <c:v>1.31893673627086E-2</c:v>
                </c:pt>
                <c:pt idx="2713">
                  <c:v>1.4826031405996899E-2</c:v>
                </c:pt>
                <c:pt idx="2714">
                  <c:v>1.48121200985185E-2</c:v>
                </c:pt>
                <c:pt idx="2715">
                  <c:v>1.4812426703411E-2</c:v>
                </c:pt>
                <c:pt idx="2716">
                  <c:v>1.48117168125867E-2</c:v>
                </c:pt>
                <c:pt idx="2717">
                  <c:v>1.4988263529071099E-2</c:v>
                </c:pt>
                <c:pt idx="2718">
                  <c:v>1.50080240979445E-2</c:v>
                </c:pt>
                <c:pt idx="2719">
                  <c:v>1.44819781348093E-2</c:v>
                </c:pt>
                <c:pt idx="2720">
                  <c:v>1.4504302786936899E-2</c:v>
                </c:pt>
                <c:pt idx="2721">
                  <c:v>1.45640276856689E-2</c:v>
                </c:pt>
                <c:pt idx="2722">
                  <c:v>1.4573229797240499E-2</c:v>
                </c:pt>
                <c:pt idx="2723">
                  <c:v>1.4982698356665301E-2</c:v>
                </c:pt>
                <c:pt idx="2724">
                  <c:v>1.4981652778502001E-2</c:v>
                </c:pt>
                <c:pt idx="2725">
                  <c:v>1.5440019126891099E-2</c:v>
                </c:pt>
                <c:pt idx="2726">
                  <c:v>1.6588989808458E-2</c:v>
                </c:pt>
                <c:pt idx="2727">
                  <c:v>1.68121822781091E-2</c:v>
                </c:pt>
                <c:pt idx="2728">
                  <c:v>1.6914849968182599E-2</c:v>
                </c:pt>
                <c:pt idx="2729">
                  <c:v>1.6886138727451001E-2</c:v>
                </c:pt>
                <c:pt idx="2730">
                  <c:v>1.6933350598733299E-2</c:v>
                </c:pt>
                <c:pt idx="2731">
                  <c:v>1.7048022022041399E-2</c:v>
                </c:pt>
                <c:pt idx="2732">
                  <c:v>1.7299639582597601E-2</c:v>
                </c:pt>
                <c:pt idx="2733">
                  <c:v>1.6888526356595799E-2</c:v>
                </c:pt>
                <c:pt idx="2734">
                  <c:v>1.73511836965447E-2</c:v>
                </c:pt>
                <c:pt idx="2735">
                  <c:v>1.6892563594072301E-2</c:v>
                </c:pt>
                <c:pt idx="2736">
                  <c:v>1.6691371075031901E-2</c:v>
                </c:pt>
                <c:pt idx="2737">
                  <c:v>1.6656223749215E-2</c:v>
                </c:pt>
                <c:pt idx="2738">
                  <c:v>1.6836923960842801E-2</c:v>
                </c:pt>
                <c:pt idx="2739">
                  <c:v>1.68654911434113E-2</c:v>
                </c:pt>
                <c:pt idx="2740">
                  <c:v>1.66798664553141E-2</c:v>
                </c:pt>
                <c:pt idx="2741">
                  <c:v>1.6894569235443399E-2</c:v>
                </c:pt>
                <c:pt idx="2742">
                  <c:v>1.6892273711219201E-2</c:v>
                </c:pt>
                <c:pt idx="2743">
                  <c:v>1.69902138097844E-2</c:v>
                </c:pt>
                <c:pt idx="2744">
                  <c:v>1.70167987649886E-2</c:v>
                </c:pt>
                <c:pt idx="2745">
                  <c:v>1.7001254801680198E-2</c:v>
                </c:pt>
                <c:pt idx="2746">
                  <c:v>1.6998869912636601E-2</c:v>
                </c:pt>
                <c:pt idx="2747">
                  <c:v>1.6926505460496899E-2</c:v>
                </c:pt>
                <c:pt idx="2748">
                  <c:v>1.73507840914295E-2</c:v>
                </c:pt>
                <c:pt idx="2749">
                  <c:v>1.71755349123471E-2</c:v>
                </c:pt>
                <c:pt idx="2750">
                  <c:v>1.7039993408942501E-2</c:v>
                </c:pt>
                <c:pt idx="2751">
                  <c:v>1.7053205569723801E-2</c:v>
                </c:pt>
                <c:pt idx="2752">
                  <c:v>1.7060211155066202E-2</c:v>
                </c:pt>
                <c:pt idx="2753">
                  <c:v>1.71493042872118E-2</c:v>
                </c:pt>
                <c:pt idx="2754">
                  <c:v>1.7101748575158799E-2</c:v>
                </c:pt>
                <c:pt idx="2755">
                  <c:v>1.7074208721359799E-2</c:v>
                </c:pt>
                <c:pt idx="2756">
                  <c:v>1.7070045675255899E-2</c:v>
                </c:pt>
                <c:pt idx="2757">
                  <c:v>1.6897782226905099E-2</c:v>
                </c:pt>
                <c:pt idx="2758">
                  <c:v>1.7166836641809E-2</c:v>
                </c:pt>
                <c:pt idx="2759">
                  <c:v>1.71751961503444E-2</c:v>
                </c:pt>
                <c:pt idx="2760">
                  <c:v>1.71439393691485E-2</c:v>
                </c:pt>
                <c:pt idx="2761">
                  <c:v>1.7146438356721101E-2</c:v>
                </c:pt>
                <c:pt idx="2762">
                  <c:v>1.7069359005278398E-2</c:v>
                </c:pt>
                <c:pt idx="2763">
                  <c:v>1.7079165798792099E-2</c:v>
                </c:pt>
                <c:pt idx="2764">
                  <c:v>1.7141574201176901E-2</c:v>
                </c:pt>
                <c:pt idx="2765">
                  <c:v>1.7008593841336701E-2</c:v>
                </c:pt>
                <c:pt idx="2766">
                  <c:v>1.6433733723256599E-2</c:v>
                </c:pt>
                <c:pt idx="2767">
                  <c:v>1.6432511436897099E-2</c:v>
                </c:pt>
                <c:pt idx="2768">
                  <c:v>1.7025069528293801E-2</c:v>
                </c:pt>
                <c:pt idx="2769">
                  <c:v>1.7100254332187401E-2</c:v>
                </c:pt>
                <c:pt idx="2770">
                  <c:v>1.7072808865081699E-2</c:v>
                </c:pt>
                <c:pt idx="2771">
                  <c:v>1.6511924532229098E-2</c:v>
                </c:pt>
                <c:pt idx="2772">
                  <c:v>1.65458321277351E-2</c:v>
                </c:pt>
                <c:pt idx="2773">
                  <c:v>1.40927463570104E-2</c:v>
                </c:pt>
                <c:pt idx="2774">
                  <c:v>1.43908483705543E-2</c:v>
                </c:pt>
                <c:pt idx="2775">
                  <c:v>1.4390680074041399E-2</c:v>
                </c:pt>
                <c:pt idx="2776">
                  <c:v>1.44897994073183E-2</c:v>
                </c:pt>
                <c:pt idx="2777">
                  <c:v>1.4441683332120699E-2</c:v>
                </c:pt>
                <c:pt idx="2778">
                  <c:v>1.44670370309791E-2</c:v>
                </c:pt>
                <c:pt idx="2779">
                  <c:v>1.4693244220133701E-2</c:v>
                </c:pt>
                <c:pt idx="2780">
                  <c:v>1.46469364772993E-2</c:v>
                </c:pt>
                <c:pt idx="2781">
                  <c:v>1.4631565649030899E-2</c:v>
                </c:pt>
                <c:pt idx="2782">
                  <c:v>1.47153783368736E-2</c:v>
                </c:pt>
                <c:pt idx="2783">
                  <c:v>1.4170447584093899E-2</c:v>
                </c:pt>
                <c:pt idx="2784">
                  <c:v>1.42520607850784E-2</c:v>
                </c:pt>
                <c:pt idx="2785">
                  <c:v>1.3961571588823701E-2</c:v>
                </c:pt>
                <c:pt idx="2786">
                  <c:v>1.27479910061942E-2</c:v>
                </c:pt>
                <c:pt idx="2787">
                  <c:v>1.2382940609647701E-2</c:v>
                </c:pt>
                <c:pt idx="2788">
                  <c:v>1.2541383911696799E-2</c:v>
                </c:pt>
                <c:pt idx="2789">
                  <c:v>1.2542668339211799E-2</c:v>
                </c:pt>
                <c:pt idx="2790">
                  <c:v>1.23804424933421E-2</c:v>
                </c:pt>
                <c:pt idx="2791">
                  <c:v>1.2363821719778E-2</c:v>
                </c:pt>
                <c:pt idx="2792">
                  <c:v>1.19779871976616E-2</c:v>
                </c:pt>
                <c:pt idx="2793">
                  <c:v>1.2087094333382301E-2</c:v>
                </c:pt>
                <c:pt idx="2794">
                  <c:v>1.1611169543163101E-2</c:v>
                </c:pt>
                <c:pt idx="2795">
                  <c:v>1.17098890142964E-2</c:v>
                </c:pt>
                <c:pt idx="2796">
                  <c:v>1.16866293056627E-2</c:v>
                </c:pt>
                <c:pt idx="2797">
                  <c:v>1.16515148912827E-2</c:v>
                </c:pt>
                <c:pt idx="2798">
                  <c:v>1.1387908207709499E-2</c:v>
                </c:pt>
                <c:pt idx="2799">
                  <c:v>1.15526451662486E-2</c:v>
                </c:pt>
                <c:pt idx="2800">
                  <c:v>1.15608214322208E-2</c:v>
                </c:pt>
                <c:pt idx="2801">
                  <c:v>1.1194136171833201E-2</c:v>
                </c:pt>
                <c:pt idx="2802">
                  <c:v>1.1194253541157001E-2</c:v>
                </c:pt>
                <c:pt idx="2803">
                  <c:v>1.1205139789312001E-2</c:v>
                </c:pt>
                <c:pt idx="2804">
                  <c:v>1.12026294911193E-2</c:v>
                </c:pt>
                <c:pt idx="2805">
                  <c:v>1.13296003085604E-2</c:v>
                </c:pt>
                <c:pt idx="2806">
                  <c:v>1.13344504132681E-2</c:v>
                </c:pt>
                <c:pt idx="2807">
                  <c:v>1.13990527106067E-2</c:v>
                </c:pt>
                <c:pt idx="2808">
                  <c:v>1.1150804130729599E-2</c:v>
                </c:pt>
                <c:pt idx="2809">
                  <c:v>1.11869178300878E-2</c:v>
                </c:pt>
                <c:pt idx="2810">
                  <c:v>1.14753226091889E-2</c:v>
                </c:pt>
                <c:pt idx="2811">
                  <c:v>1.2119960726836E-2</c:v>
                </c:pt>
                <c:pt idx="2812">
                  <c:v>1.2112982519242199E-2</c:v>
                </c:pt>
                <c:pt idx="2813">
                  <c:v>1.2041518415049701E-2</c:v>
                </c:pt>
                <c:pt idx="2814">
                  <c:v>1.2019257087508801E-2</c:v>
                </c:pt>
                <c:pt idx="2815">
                  <c:v>1.2038009025112701E-2</c:v>
                </c:pt>
                <c:pt idx="2816">
                  <c:v>1.20474621818355E-2</c:v>
                </c:pt>
                <c:pt idx="2817">
                  <c:v>1.2002577443716101E-2</c:v>
                </c:pt>
                <c:pt idx="2818">
                  <c:v>1.17857276484537E-2</c:v>
                </c:pt>
                <c:pt idx="2819">
                  <c:v>1.1851303696751201E-2</c:v>
                </c:pt>
                <c:pt idx="2820">
                  <c:v>1.1824255747612301E-2</c:v>
                </c:pt>
                <c:pt idx="2821">
                  <c:v>1.1865244804376601E-2</c:v>
                </c:pt>
                <c:pt idx="2822">
                  <c:v>1.19185790203398E-2</c:v>
                </c:pt>
                <c:pt idx="2823">
                  <c:v>1.2021189240587E-2</c:v>
                </c:pt>
                <c:pt idx="2824">
                  <c:v>1.18984214396176E-2</c:v>
                </c:pt>
                <c:pt idx="2825">
                  <c:v>1.1931456340247899E-2</c:v>
                </c:pt>
                <c:pt idx="2826">
                  <c:v>1.1917958878289701E-2</c:v>
                </c:pt>
                <c:pt idx="2827">
                  <c:v>1.18913932403788E-2</c:v>
                </c:pt>
                <c:pt idx="2828">
                  <c:v>1.12391416771268E-2</c:v>
                </c:pt>
                <c:pt idx="2829">
                  <c:v>1.1085158242928101E-2</c:v>
                </c:pt>
                <c:pt idx="2830">
                  <c:v>1.10752897532877E-2</c:v>
                </c:pt>
                <c:pt idx="2831">
                  <c:v>1.1172564654878E-2</c:v>
                </c:pt>
                <c:pt idx="2832">
                  <c:v>1.11523836535716E-2</c:v>
                </c:pt>
                <c:pt idx="2833">
                  <c:v>1.11449699514806E-2</c:v>
                </c:pt>
                <c:pt idx="2834">
                  <c:v>1.09097076200398E-2</c:v>
                </c:pt>
                <c:pt idx="2835">
                  <c:v>1.12948542944374E-2</c:v>
                </c:pt>
                <c:pt idx="2836">
                  <c:v>1.1077148928693501E-2</c:v>
                </c:pt>
                <c:pt idx="2837">
                  <c:v>1.10009820642835E-2</c:v>
                </c:pt>
                <c:pt idx="2838">
                  <c:v>1.1034182238416601E-2</c:v>
                </c:pt>
                <c:pt idx="2839">
                  <c:v>1.1004723234950799E-2</c:v>
                </c:pt>
                <c:pt idx="2840">
                  <c:v>1.1216744365161299E-2</c:v>
                </c:pt>
                <c:pt idx="2841">
                  <c:v>1.11848933366659E-2</c:v>
                </c:pt>
                <c:pt idx="2842">
                  <c:v>1.1178369957096999E-2</c:v>
                </c:pt>
                <c:pt idx="2843">
                  <c:v>1.11592478616613E-2</c:v>
                </c:pt>
                <c:pt idx="2844">
                  <c:v>1.12179109924042E-2</c:v>
                </c:pt>
                <c:pt idx="2845">
                  <c:v>1.1347266210313201E-2</c:v>
                </c:pt>
                <c:pt idx="2846">
                  <c:v>1.1340627165717E-2</c:v>
                </c:pt>
                <c:pt idx="2847">
                  <c:v>1.1349015490911701E-2</c:v>
                </c:pt>
                <c:pt idx="2848">
                  <c:v>1.11621578032932E-2</c:v>
                </c:pt>
                <c:pt idx="2849">
                  <c:v>1.11903965474338E-2</c:v>
                </c:pt>
                <c:pt idx="2850">
                  <c:v>1.11640515116114E-2</c:v>
                </c:pt>
                <c:pt idx="2851">
                  <c:v>1.0933528295357301E-2</c:v>
                </c:pt>
                <c:pt idx="2852">
                  <c:v>1.08764037357836E-2</c:v>
                </c:pt>
                <c:pt idx="2853">
                  <c:v>1.08098847822701E-2</c:v>
                </c:pt>
                <c:pt idx="2854">
                  <c:v>1.09277186694729E-2</c:v>
                </c:pt>
                <c:pt idx="2855">
                  <c:v>1.08321731513956E-2</c:v>
                </c:pt>
                <c:pt idx="2856">
                  <c:v>1.09304908260657E-2</c:v>
                </c:pt>
                <c:pt idx="2857">
                  <c:v>1.1454686480550201E-2</c:v>
                </c:pt>
                <c:pt idx="2858">
                  <c:v>1.1279148986091199E-2</c:v>
                </c:pt>
                <c:pt idx="2859">
                  <c:v>1.11908611835196E-2</c:v>
                </c:pt>
                <c:pt idx="2860">
                  <c:v>1.1278986534861399E-2</c:v>
                </c:pt>
                <c:pt idx="2861">
                  <c:v>1.12852513014946E-2</c:v>
                </c:pt>
                <c:pt idx="2862">
                  <c:v>1.12970424067217E-2</c:v>
                </c:pt>
                <c:pt idx="2863">
                  <c:v>1.12753719035449E-2</c:v>
                </c:pt>
                <c:pt idx="2864">
                  <c:v>1.1283258603249901E-2</c:v>
                </c:pt>
                <c:pt idx="2865">
                  <c:v>1.1619878253947899E-2</c:v>
                </c:pt>
                <c:pt idx="2866">
                  <c:v>1.1658640183532701E-2</c:v>
                </c:pt>
                <c:pt idx="2867">
                  <c:v>1.15816456187253E-2</c:v>
                </c:pt>
                <c:pt idx="2868">
                  <c:v>1.12329896278692E-2</c:v>
                </c:pt>
                <c:pt idx="2869">
                  <c:v>1.12315896475882E-2</c:v>
                </c:pt>
                <c:pt idx="2870">
                  <c:v>1.0964159013995001E-2</c:v>
                </c:pt>
                <c:pt idx="2871">
                  <c:v>1.0188369164995201E-2</c:v>
                </c:pt>
                <c:pt idx="2872">
                  <c:v>1.0283621390835201E-2</c:v>
                </c:pt>
                <c:pt idx="2873">
                  <c:v>1.0310838509324899E-2</c:v>
                </c:pt>
                <c:pt idx="2874">
                  <c:v>1.0358061897309799E-2</c:v>
                </c:pt>
                <c:pt idx="2875">
                  <c:v>1.0702810192396099E-2</c:v>
                </c:pt>
                <c:pt idx="2876">
                  <c:v>1.11592474329541E-2</c:v>
                </c:pt>
                <c:pt idx="2877">
                  <c:v>1.1171696864022199E-2</c:v>
                </c:pt>
                <c:pt idx="2878">
                  <c:v>1.10468370870065E-2</c:v>
                </c:pt>
                <c:pt idx="2879">
                  <c:v>1.10694441279067E-2</c:v>
                </c:pt>
                <c:pt idx="2880">
                  <c:v>1.11055451694977E-2</c:v>
                </c:pt>
                <c:pt idx="2881">
                  <c:v>1.10735864341488E-2</c:v>
                </c:pt>
                <c:pt idx="2882">
                  <c:v>1.1010861646086599E-2</c:v>
                </c:pt>
                <c:pt idx="2883">
                  <c:v>1.08637626983923E-2</c:v>
                </c:pt>
                <c:pt idx="2884">
                  <c:v>1.08634921919638E-2</c:v>
                </c:pt>
                <c:pt idx="2885">
                  <c:v>1.15634485780194E-2</c:v>
                </c:pt>
                <c:pt idx="2886">
                  <c:v>1.16042259071232E-2</c:v>
                </c:pt>
                <c:pt idx="2887">
                  <c:v>1.1614190058589E-2</c:v>
                </c:pt>
                <c:pt idx="2888">
                  <c:v>1.1616782705451099E-2</c:v>
                </c:pt>
                <c:pt idx="2889">
                  <c:v>1.16437216675287E-2</c:v>
                </c:pt>
                <c:pt idx="2890">
                  <c:v>1.17392144291594E-2</c:v>
                </c:pt>
                <c:pt idx="2891">
                  <c:v>1.1588672078408699E-2</c:v>
                </c:pt>
                <c:pt idx="2892">
                  <c:v>1.161109989807E-2</c:v>
                </c:pt>
                <c:pt idx="2893">
                  <c:v>1.1754117544338499E-2</c:v>
                </c:pt>
                <c:pt idx="2894">
                  <c:v>1.25764645597996E-2</c:v>
                </c:pt>
                <c:pt idx="2895">
                  <c:v>1.2288690955762399E-2</c:v>
                </c:pt>
                <c:pt idx="2896">
                  <c:v>1.2279654281140201E-2</c:v>
                </c:pt>
                <c:pt idx="2897">
                  <c:v>1.22758716871439E-2</c:v>
                </c:pt>
                <c:pt idx="2898">
                  <c:v>1.2253500870333899E-2</c:v>
                </c:pt>
                <c:pt idx="2899">
                  <c:v>1.20659472090932E-2</c:v>
                </c:pt>
                <c:pt idx="2900">
                  <c:v>1.1845304202828401E-2</c:v>
                </c:pt>
                <c:pt idx="2901">
                  <c:v>1.19015388870024E-2</c:v>
                </c:pt>
                <c:pt idx="2902">
                  <c:v>1.1816201220577799E-2</c:v>
                </c:pt>
                <c:pt idx="2903">
                  <c:v>1.18389830791127E-2</c:v>
                </c:pt>
                <c:pt idx="2904">
                  <c:v>1.1803288671782401E-2</c:v>
                </c:pt>
                <c:pt idx="2905">
                  <c:v>1.18438642271417E-2</c:v>
                </c:pt>
                <c:pt idx="2906">
                  <c:v>1.1844050397890099E-2</c:v>
                </c:pt>
                <c:pt idx="2907">
                  <c:v>1.2011884030160199E-2</c:v>
                </c:pt>
                <c:pt idx="2908">
                  <c:v>1.19550218868126E-2</c:v>
                </c:pt>
                <c:pt idx="2909">
                  <c:v>1.1907755306949199E-2</c:v>
                </c:pt>
                <c:pt idx="2910">
                  <c:v>1.2109881805658E-2</c:v>
                </c:pt>
                <c:pt idx="2911">
                  <c:v>1.2060266054922201E-2</c:v>
                </c:pt>
                <c:pt idx="2912">
                  <c:v>1.2066838618069E-2</c:v>
                </c:pt>
                <c:pt idx="2913">
                  <c:v>1.2065863248093601E-2</c:v>
                </c:pt>
                <c:pt idx="2914">
                  <c:v>1.21039579984947E-2</c:v>
                </c:pt>
                <c:pt idx="2915">
                  <c:v>1.20919170045251E-2</c:v>
                </c:pt>
                <c:pt idx="2916">
                  <c:v>1.2026733793562901E-2</c:v>
                </c:pt>
                <c:pt idx="2917">
                  <c:v>1.15569831915215E-2</c:v>
                </c:pt>
                <c:pt idx="2918">
                  <c:v>1.16119407685081E-2</c:v>
                </c:pt>
                <c:pt idx="2919">
                  <c:v>1.1733109927653E-2</c:v>
                </c:pt>
                <c:pt idx="2920">
                  <c:v>1.17135641801652E-2</c:v>
                </c:pt>
                <c:pt idx="2921">
                  <c:v>1.17101821341418E-2</c:v>
                </c:pt>
                <c:pt idx="2922">
                  <c:v>1.1698403614251099E-2</c:v>
                </c:pt>
                <c:pt idx="2923">
                  <c:v>1.16110704618802E-2</c:v>
                </c:pt>
                <c:pt idx="2924">
                  <c:v>1.1649998307809601E-2</c:v>
                </c:pt>
                <c:pt idx="2925">
                  <c:v>1.11721853119865E-2</c:v>
                </c:pt>
                <c:pt idx="2926">
                  <c:v>1.1110765178955401E-2</c:v>
                </c:pt>
                <c:pt idx="2927">
                  <c:v>1.1477489662668599E-2</c:v>
                </c:pt>
                <c:pt idx="2928">
                  <c:v>1.14655953043604E-2</c:v>
                </c:pt>
                <c:pt idx="2929">
                  <c:v>1.1419965590457101E-2</c:v>
                </c:pt>
                <c:pt idx="2930">
                  <c:v>1.14787617916648E-2</c:v>
                </c:pt>
                <c:pt idx="2931">
                  <c:v>1.13824231472266E-2</c:v>
                </c:pt>
                <c:pt idx="2932">
                  <c:v>1.13930616446885E-2</c:v>
                </c:pt>
                <c:pt idx="2933">
                  <c:v>1.13491828616293E-2</c:v>
                </c:pt>
                <c:pt idx="2934">
                  <c:v>1.1372264194766901E-2</c:v>
                </c:pt>
                <c:pt idx="2935">
                  <c:v>1.1026820720782499E-2</c:v>
                </c:pt>
                <c:pt idx="2936">
                  <c:v>1.0572666001898901E-2</c:v>
                </c:pt>
                <c:pt idx="2937">
                  <c:v>1.0577489635815999E-2</c:v>
                </c:pt>
                <c:pt idx="2938">
                  <c:v>1.05757425032839E-2</c:v>
                </c:pt>
                <c:pt idx="2939">
                  <c:v>1.05538746127642E-2</c:v>
                </c:pt>
                <c:pt idx="2940">
                  <c:v>1.05633357220802E-2</c:v>
                </c:pt>
                <c:pt idx="2941">
                  <c:v>1.0558702984961E-2</c:v>
                </c:pt>
                <c:pt idx="2942">
                  <c:v>1.04976539303261E-2</c:v>
                </c:pt>
                <c:pt idx="2943">
                  <c:v>1.0558778134763001E-2</c:v>
                </c:pt>
                <c:pt idx="2944">
                  <c:v>1.0646167889065399E-2</c:v>
                </c:pt>
                <c:pt idx="2945">
                  <c:v>9.7800924376819399E-3</c:v>
                </c:pt>
                <c:pt idx="2946">
                  <c:v>9.7592535032671301E-3</c:v>
                </c:pt>
                <c:pt idx="2947">
                  <c:v>9.8848225725868804E-3</c:v>
                </c:pt>
                <c:pt idx="2948">
                  <c:v>9.7596773821091894E-3</c:v>
                </c:pt>
                <c:pt idx="2949">
                  <c:v>9.7095459877657199E-3</c:v>
                </c:pt>
                <c:pt idx="2950">
                  <c:v>9.7278527769033094E-3</c:v>
                </c:pt>
                <c:pt idx="2951">
                  <c:v>9.7622558858342697E-3</c:v>
                </c:pt>
                <c:pt idx="2952">
                  <c:v>9.7964731387901894E-3</c:v>
                </c:pt>
                <c:pt idx="2953">
                  <c:v>9.5761024390912299E-3</c:v>
                </c:pt>
                <c:pt idx="2954">
                  <c:v>8.7558550690616695E-3</c:v>
                </c:pt>
                <c:pt idx="2955">
                  <c:v>8.7094442223422004E-3</c:v>
                </c:pt>
                <c:pt idx="2956">
                  <c:v>8.7098386338233403E-3</c:v>
                </c:pt>
                <c:pt idx="2957">
                  <c:v>8.7351036653304792E-3</c:v>
                </c:pt>
                <c:pt idx="2958">
                  <c:v>8.7147319406920398E-3</c:v>
                </c:pt>
                <c:pt idx="2959">
                  <c:v>8.7657276233194092E-3</c:v>
                </c:pt>
                <c:pt idx="2960">
                  <c:v>8.7592616041959597E-3</c:v>
                </c:pt>
                <c:pt idx="2961">
                  <c:v>8.746296044975E-3</c:v>
                </c:pt>
                <c:pt idx="2962">
                  <c:v>8.6814691189347898E-3</c:v>
                </c:pt>
                <c:pt idx="2963">
                  <c:v>8.6393270163786107E-3</c:v>
                </c:pt>
                <c:pt idx="2964">
                  <c:v>8.5702934995128006E-3</c:v>
                </c:pt>
                <c:pt idx="2965">
                  <c:v>7.9963574482602405E-3</c:v>
                </c:pt>
                <c:pt idx="2966">
                  <c:v>7.9956647930581499E-3</c:v>
                </c:pt>
                <c:pt idx="2967">
                  <c:v>7.72080599290289E-3</c:v>
                </c:pt>
                <c:pt idx="2968">
                  <c:v>7.9286395375973307E-3</c:v>
                </c:pt>
                <c:pt idx="2969">
                  <c:v>7.9320842612020503E-3</c:v>
                </c:pt>
                <c:pt idx="2970">
                  <c:v>7.6424676827461504E-3</c:v>
                </c:pt>
                <c:pt idx="2971">
                  <c:v>7.7846473956163197E-3</c:v>
                </c:pt>
                <c:pt idx="2972">
                  <c:v>7.7784508168549198E-3</c:v>
                </c:pt>
                <c:pt idx="2973">
                  <c:v>7.7808328705762401E-3</c:v>
                </c:pt>
                <c:pt idx="2974">
                  <c:v>7.5177063919996696E-3</c:v>
                </c:pt>
                <c:pt idx="2975">
                  <c:v>7.5077851050019901E-3</c:v>
                </c:pt>
                <c:pt idx="2976">
                  <c:v>7.5088822638236501E-3</c:v>
                </c:pt>
                <c:pt idx="2977">
                  <c:v>7.6717349282527597E-3</c:v>
                </c:pt>
                <c:pt idx="2978">
                  <c:v>7.5541709181327103E-3</c:v>
                </c:pt>
                <c:pt idx="2979">
                  <c:v>7.6054773436753202E-3</c:v>
                </c:pt>
                <c:pt idx="2980">
                  <c:v>7.5938137017812603E-3</c:v>
                </c:pt>
                <c:pt idx="2981">
                  <c:v>8.3498452931803201E-3</c:v>
                </c:pt>
                <c:pt idx="2982">
                  <c:v>8.3484097131074492E-3</c:v>
                </c:pt>
                <c:pt idx="2983">
                  <c:v>8.3759677261935096E-3</c:v>
                </c:pt>
                <c:pt idx="2984">
                  <c:v>8.3751236256696792E-3</c:v>
                </c:pt>
                <c:pt idx="2985">
                  <c:v>8.4788156207134795E-3</c:v>
                </c:pt>
                <c:pt idx="2986">
                  <c:v>8.7923300602748E-3</c:v>
                </c:pt>
                <c:pt idx="2987">
                  <c:v>8.4238472460910607E-3</c:v>
                </c:pt>
                <c:pt idx="2988">
                  <c:v>8.4254256731389095E-3</c:v>
                </c:pt>
                <c:pt idx="2989">
                  <c:v>8.6897645854322608E-3</c:v>
                </c:pt>
                <c:pt idx="2990">
                  <c:v>8.4858012004534102E-3</c:v>
                </c:pt>
                <c:pt idx="2991">
                  <c:v>8.6541855031056006E-3</c:v>
                </c:pt>
                <c:pt idx="2992">
                  <c:v>8.4216344566593101E-3</c:v>
                </c:pt>
                <c:pt idx="2993">
                  <c:v>8.4203924701142397E-3</c:v>
                </c:pt>
                <c:pt idx="2994">
                  <c:v>8.49000470822712E-3</c:v>
                </c:pt>
                <c:pt idx="2995">
                  <c:v>8.5534277104311902E-3</c:v>
                </c:pt>
                <c:pt idx="2996">
                  <c:v>8.5288098889433304E-3</c:v>
                </c:pt>
                <c:pt idx="2997">
                  <c:v>8.5276964169240192E-3</c:v>
                </c:pt>
                <c:pt idx="2998">
                  <c:v>8.5233270983122601E-3</c:v>
                </c:pt>
                <c:pt idx="2999">
                  <c:v>8.4898209216849197E-3</c:v>
                </c:pt>
                <c:pt idx="3000">
                  <c:v>8.4360265616523905E-3</c:v>
                </c:pt>
                <c:pt idx="3001">
                  <c:v>8.5565065962856703E-3</c:v>
                </c:pt>
                <c:pt idx="3002">
                  <c:v>8.62447239155259E-3</c:v>
                </c:pt>
                <c:pt idx="3003">
                  <c:v>8.4931628841571297E-3</c:v>
                </c:pt>
                <c:pt idx="3004">
                  <c:v>8.48073342588989E-3</c:v>
                </c:pt>
                <c:pt idx="3005">
                  <c:v>8.5089829729959095E-3</c:v>
                </c:pt>
                <c:pt idx="3006">
                  <c:v>8.5378473996465306E-3</c:v>
                </c:pt>
                <c:pt idx="3007">
                  <c:v>8.5504672165527401E-3</c:v>
                </c:pt>
                <c:pt idx="3008">
                  <c:v>8.6037680650472795E-3</c:v>
                </c:pt>
                <c:pt idx="3009">
                  <c:v>8.6035362912388006E-3</c:v>
                </c:pt>
                <c:pt idx="3010">
                  <c:v>8.5862260713712897E-3</c:v>
                </c:pt>
                <c:pt idx="3011">
                  <c:v>8.5713721491780404E-3</c:v>
                </c:pt>
                <c:pt idx="3012">
                  <c:v>8.4775037405197904E-3</c:v>
                </c:pt>
                <c:pt idx="3013">
                  <c:v>8.4696987186158208E-3</c:v>
                </c:pt>
                <c:pt idx="3014">
                  <c:v>8.1691076368718193E-3</c:v>
                </c:pt>
                <c:pt idx="3015">
                  <c:v>8.1709223259795599E-3</c:v>
                </c:pt>
                <c:pt idx="3016">
                  <c:v>8.6523924947783902E-3</c:v>
                </c:pt>
                <c:pt idx="3017">
                  <c:v>8.6539063280617994E-3</c:v>
                </c:pt>
                <c:pt idx="3018">
                  <c:v>8.6026640226725907E-3</c:v>
                </c:pt>
                <c:pt idx="3019">
                  <c:v>8.5977704753630903E-3</c:v>
                </c:pt>
                <c:pt idx="3020">
                  <c:v>9.0251834805512594E-3</c:v>
                </c:pt>
                <c:pt idx="3021">
                  <c:v>9.0445715087385404E-3</c:v>
                </c:pt>
                <c:pt idx="3022">
                  <c:v>9.2672662826985205E-3</c:v>
                </c:pt>
                <c:pt idx="3023">
                  <c:v>9.2808755562519794E-3</c:v>
                </c:pt>
                <c:pt idx="3024">
                  <c:v>9.2786029357483507E-3</c:v>
                </c:pt>
                <c:pt idx="3025">
                  <c:v>9.2779506750490896E-3</c:v>
                </c:pt>
                <c:pt idx="3026">
                  <c:v>9.2697465224868599E-3</c:v>
                </c:pt>
                <c:pt idx="3027">
                  <c:v>9.3443929162206792E-3</c:v>
                </c:pt>
                <c:pt idx="3028">
                  <c:v>9.0810005267238404E-3</c:v>
                </c:pt>
                <c:pt idx="3029">
                  <c:v>9.1240848222320196E-3</c:v>
                </c:pt>
                <c:pt idx="3030">
                  <c:v>9.1707413194158493E-3</c:v>
                </c:pt>
                <c:pt idx="3031">
                  <c:v>9.12584910574777E-3</c:v>
                </c:pt>
                <c:pt idx="3032">
                  <c:v>9.1489233285772398E-3</c:v>
                </c:pt>
                <c:pt idx="3033">
                  <c:v>9.2262877664526805E-3</c:v>
                </c:pt>
                <c:pt idx="3034">
                  <c:v>9.1702318785359099E-3</c:v>
                </c:pt>
                <c:pt idx="3035">
                  <c:v>9.1784965900686705E-3</c:v>
                </c:pt>
                <c:pt idx="3036">
                  <c:v>9.2834751015134793E-3</c:v>
                </c:pt>
                <c:pt idx="3037">
                  <c:v>9.2425164524197901E-3</c:v>
                </c:pt>
                <c:pt idx="3038">
                  <c:v>9.3515522223266805E-3</c:v>
                </c:pt>
                <c:pt idx="3039">
                  <c:v>9.1156413786982297E-3</c:v>
                </c:pt>
                <c:pt idx="3040">
                  <c:v>9.1277210340667599E-3</c:v>
                </c:pt>
                <c:pt idx="3041">
                  <c:v>8.7911089229144E-3</c:v>
                </c:pt>
                <c:pt idx="3042">
                  <c:v>8.9599549880688203E-3</c:v>
                </c:pt>
                <c:pt idx="3043">
                  <c:v>8.9731537923895092E-3</c:v>
                </c:pt>
                <c:pt idx="3044">
                  <c:v>9.0638553630620101E-3</c:v>
                </c:pt>
                <c:pt idx="3045">
                  <c:v>8.9685203167286804E-3</c:v>
                </c:pt>
                <c:pt idx="3046">
                  <c:v>8.6380399300517493E-3</c:v>
                </c:pt>
                <c:pt idx="3047">
                  <c:v>8.6481577183312695E-3</c:v>
                </c:pt>
                <c:pt idx="3048">
                  <c:v>8.6358892467529608E-3</c:v>
                </c:pt>
                <c:pt idx="3049">
                  <c:v>8.3769376801835094E-3</c:v>
                </c:pt>
                <c:pt idx="3050">
                  <c:v>8.9266513067987607E-3</c:v>
                </c:pt>
                <c:pt idx="3051">
                  <c:v>8.7790376695610108E-3</c:v>
                </c:pt>
                <c:pt idx="3052">
                  <c:v>8.9029136732277497E-3</c:v>
                </c:pt>
                <c:pt idx="3053">
                  <c:v>8.9512633990724792E-3</c:v>
                </c:pt>
                <c:pt idx="3054">
                  <c:v>8.8294426538639802E-3</c:v>
                </c:pt>
                <c:pt idx="3055">
                  <c:v>8.7984883014128306E-3</c:v>
                </c:pt>
                <c:pt idx="3056">
                  <c:v>8.9007739267258704E-3</c:v>
                </c:pt>
                <c:pt idx="3057">
                  <c:v>8.9070761903777794E-3</c:v>
                </c:pt>
                <c:pt idx="3058">
                  <c:v>8.8866987563868995E-3</c:v>
                </c:pt>
                <c:pt idx="3059">
                  <c:v>9.1124250552681498E-3</c:v>
                </c:pt>
                <c:pt idx="3060">
                  <c:v>9.6015848904041304E-3</c:v>
                </c:pt>
                <c:pt idx="3061">
                  <c:v>9.5992667194289092E-3</c:v>
                </c:pt>
                <c:pt idx="3062">
                  <c:v>9.6165125197974696E-3</c:v>
                </c:pt>
                <c:pt idx="3063">
                  <c:v>9.68271421761812E-3</c:v>
                </c:pt>
                <c:pt idx="3064">
                  <c:v>9.8313980552467792E-3</c:v>
                </c:pt>
                <c:pt idx="3065">
                  <c:v>9.7703499577414706E-3</c:v>
                </c:pt>
                <c:pt idx="3066">
                  <c:v>1.0655919236634301E-2</c:v>
                </c:pt>
                <c:pt idx="3067">
                  <c:v>1.06833829960086E-2</c:v>
                </c:pt>
                <c:pt idx="3068">
                  <c:v>1.19299197863727E-2</c:v>
                </c:pt>
                <c:pt idx="3069">
                  <c:v>1.1927665216652301E-2</c:v>
                </c:pt>
                <c:pt idx="3070">
                  <c:v>1.27832794107633E-2</c:v>
                </c:pt>
                <c:pt idx="3071">
                  <c:v>1.4340006096328999E-2</c:v>
                </c:pt>
                <c:pt idx="3072">
                  <c:v>1.48769565217168E-2</c:v>
                </c:pt>
                <c:pt idx="3073">
                  <c:v>1.49950254306728E-2</c:v>
                </c:pt>
                <c:pt idx="3074">
                  <c:v>1.4994528756456399E-2</c:v>
                </c:pt>
                <c:pt idx="3075">
                  <c:v>1.4985000637874E-2</c:v>
                </c:pt>
                <c:pt idx="3076">
                  <c:v>1.48882726393773E-2</c:v>
                </c:pt>
                <c:pt idx="3077">
                  <c:v>1.4965488826639201E-2</c:v>
                </c:pt>
                <c:pt idx="3078">
                  <c:v>1.5017546326387301E-2</c:v>
                </c:pt>
                <c:pt idx="3079">
                  <c:v>1.50339483802138E-2</c:v>
                </c:pt>
                <c:pt idx="3080">
                  <c:v>1.46804979076953E-2</c:v>
                </c:pt>
                <c:pt idx="3081">
                  <c:v>1.50722626007105E-2</c:v>
                </c:pt>
                <c:pt idx="3082">
                  <c:v>1.56208009379385E-2</c:v>
                </c:pt>
                <c:pt idx="3083">
                  <c:v>1.59871979901971E-2</c:v>
                </c:pt>
                <c:pt idx="3084">
                  <c:v>1.6355824966243899E-2</c:v>
                </c:pt>
                <c:pt idx="3085">
                  <c:v>1.6359354957503399E-2</c:v>
                </c:pt>
                <c:pt idx="3086">
                  <c:v>1.63628147581238E-2</c:v>
                </c:pt>
                <c:pt idx="3087">
                  <c:v>1.6479905446841601E-2</c:v>
                </c:pt>
                <c:pt idx="3088">
                  <c:v>1.67600510779463E-2</c:v>
                </c:pt>
                <c:pt idx="3089">
                  <c:v>1.6701887741498899E-2</c:v>
                </c:pt>
                <c:pt idx="3090">
                  <c:v>1.6653475411043599E-2</c:v>
                </c:pt>
                <c:pt idx="3091">
                  <c:v>1.7053938181224599E-2</c:v>
                </c:pt>
                <c:pt idx="3092">
                  <c:v>1.71001322258756E-2</c:v>
                </c:pt>
                <c:pt idx="3093">
                  <c:v>1.7121335728818601E-2</c:v>
                </c:pt>
                <c:pt idx="3094">
                  <c:v>1.71134126009942E-2</c:v>
                </c:pt>
                <c:pt idx="3095">
                  <c:v>1.7156025476532701E-2</c:v>
                </c:pt>
                <c:pt idx="3096">
                  <c:v>1.7292544491686698E-2</c:v>
                </c:pt>
                <c:pt idx="3097">
                  <c:v>1.7214495561194001E-2</c:v>
                </c:pt>
                <c:pt idx="3098">
                  <c:v>2.0459295215041601E-2</c:v>
                </c:pt>
                <c:pt idx="3099">
                  <c:v>2.0450467590783498E-2</c:v>
                </c:pt>
                <c:pt idx="3100">
                  <c:v>2.0933624582389398E-2</c:v>
                </c:pt>
                <c:pt idx="3101">
                  <c:v>2.0861860552731998E-2</c:v>
                </c:pt>
                <c:pt idx="3102">
                  <c:v>2.0847696305917599E-2</c:v>
                </c:pt>
                <c:pt idx="3103">
                  <c:v>2.0853289917529199E-2</c:v>
                </c:pt>
                <c:pt idx="3104">
                  <c:v>2.09102360749986E-2</c:v>
                </c:pt>
                <c:pt idx="3105">
                  <c:v>2.1060989553835799E-2</c:v>
                </c:pt>
                <c:pt idx="3106">
                  <c:v>2.11791925675236E-2</c:v>
                </c:pt>
                <c:pt idx="3107">
                  <c:v>2.1290224443842699E-2</c:v>
                </c:pt>
                <c:pt idx="3108">
                  <c:v>2.16106516611312E-2</c:v>
                </c:pt>
                <c:pt idx="3109">
                  <c:v>2.1742273976108201E-2</c:v>
                </c:pt>
                <c:pt idx="3110">
                  <c:v>2.16775828360306E-2</c:v>
                </c:pt>
                <c:pt idx="3111">
                  <c:v>2.1743082138910599E-2</c:v>
                </c:pt>
                <c:pt idx="3112">
                  <c:v>2.1873487945736202E-2</c:v>
                </c:pt>
                <c:pt idx="3113">
                  <c:v>2.1849297764939601E-2</c:v>
                </c:pt>
                <c:pt idx="3114">
                  <c:v>2.1914773181747799E-2</c:v>
                </c:pt>
                <c:pt idx="3115">
                  <c:v>2.1878701679792199E-2</c:v>
                </c:pt>
                <c:pt idx="3116">
                  <c:v>2.1793533398079601E-2</c:v>
                </c:pt>
                <c:pt idx="3117">
                  <c:v>2.1778341975728501E-2</c:v>
                </c:pt>
                <c:pt idx="3118">
                  <c:v>2.1771296899052401E-2</c:v>
                </c:pt>
                <c:pt idx="3119">
                  <c:v>2.1707582742196301E-2</c:v>
                </c:pt>
                <c:pt idx="3120">
                  <c:v>2.1663616353265799E-2</c:v>
                </c:pt>
                <c:pt idx="3121">
                  <c:v>2.1791784774825299E-2</c:v>
                </c:pt>
                <c:pt idx="3122">
                  <c:v>2.17617064246514E-2</c:v>
                </c:pt>
                <c:pt idx="3123">
                  <c:v>2.1747232828812101E-2</c:v>
                </c:pt>
                <c:pt idx="3124">
                  <c:v>2.2011714194050999E-2</c:v>
                </c:pt>
                <c:pt idx="3125">
                  <c:v>2.20146912954861E-2</c:v>
                </c:pt>
                <c:pt idx="3126">
                  <c:v>2.1662064439929799E-2</c:v>
                </c:pt>
                <c:pt idx="3127">
                  <c:v>2.1630353346597499E-2</c:v>
                </c:pt>
                <c:pt idx="3128">
                  <c:v>2.0990089666761899E-2</c:v>
                </c:pt>
                <c:pt idx="3129">
                  <c:v>2.1001309039144302E-2</c:v>
                </c:pt>
                <c:pt idx="3130">
                  <c:v>2.03951834507182E-2</c:v>
                </c:pt>
                <c:pt idx="3131">
                  <c:v>1.9552828759098601E-2</c:v>
                </c:pt>
                <c:pt idx="3132">
                  <c:v>1.9053349294115E-2</c:v>
                </c:pt>
                <c:pt idx="3133">
                  <c:v>1.9173855412211602E-2</c:v>
                </c:pt>
                <c:pt idx="3134">
                  <c:v>1.9228737826691301E-2</c:v>
                </c:pt>
                <c:pt idx="3135">
                  <c:v>1.9404609871564601E-2</c:v>
                </c:pt>
                <c:pt idx="3136">
                  <c:v>1.9166450337085E-2</c:v>
                </c:pt>
                <c:pt idx="3137">
                  <c:v>1.9126337982901601E-2</c:v>
                </c:pt>
                <c:pt idx="3138">
                  <c:v>1.9240749423105399E-2</c:v>
                </c:pt>
                <c:pt idx="3139">
                  <c:v>1.9213186147255999E-2</c:v>
                </c:pt>
                <c:pt idx="3140">
                  <c:v>1.9264613079083798E-2</c:v>
                </c:pt>
                <c:pt idx="3141">
                  <c:v>1.9022588953604199E-2</c:v>
                </c:pt>
                <c:pt idx="3142">
                  <c:v>1.8563253723611499E-2</c:v>
                </c:pt>
                <c:pt idx="3143">
                  <c:v>1.8486825246929999E-2</c:v>
                </c:pt>
                <c:pt idx="3144">
                  <c:v>1.8151653865678699E-2</c:v>
                </c:pt>
                <c:pt idx="3145">
                  <c:v>1.82558943801754E-2</c:v>
                </c:pt>
                <c:pt idx="3146">
                  <c:v>1.8256815319734901E-2</c:v>
                </c:pt>
                <c:pt idx="3147">
                  <c:v>1.81209226440078E-2</c:v>
                </c:pt>
                <c:pt idx="3148">
                  <c:v>1.7930414088178699E-2</c:v>
                </c:pt>
                <c:pt idx="3149">
                  <c:v>1.7941875518495801E-2</c:v>
                </c:pt>
                <c:pt idx="3150">
                  <c:v>1.7992614446601302E-2</c:v>
                </c:pt>
                <c:pt idx="3151">
                  <c:v>1.77850759747369E-2</c:v>
                </c:pt>
                <c:pt idx="3152">
                  <c:v>1.7854698544326499E-2</c:v>
                </c:pt>
                <c:pt idx="3153">
                  <c:v>1.7772174408924299E-2</c:v>
                </c:pt>
                <c:pt idx="3154">
                  <c:v>1.79009365583493E-2</c:v>
                </c:pt>
                <c:pt idx="3155">
                  <c:v>1.8192843001297199E-2</c:v>
                </c:pt>
                <c:pt idx="3156">
                  <c:v>1.8003834837199702E-2</c:v>
                </c:pt>
                <c:pt idx="3157">
                  <c:v>1.8183073843572501E-2</c:v>
                </c:pt>
                <c:pt idx="3158">
                  <c:v>1.46286638297206E-2</c:v>
                </c:pt>
                <c:pt idx="3159">
                  <c:v>1.48406755352748E-2</c:v>
                </c:pt>
                <c:pt idx="3160">
                  <c:v>1.3970414593939899E-2</c:v>
                </c:pt>
                <c:pt idx="3161">
                  <c:v>1.4069517425443E-2</c:v>
                </c:pt>
                <c:pt idx="3162">
                  <c:v>1.4240708346188E-2</c:v>
                </c:pt>
                <c:pt idx="3163">
                  <c:v>1.44265915204614E-2</c:v>
                </c:pt>
                <c:pt idx="3164">
                  <c:v>1.43154534329797E-2</c:v>
                </c:pt>
                <c:pt idx="3165">
                  <c:v>1.416338232671E-2</c:v>
                </c:pt>
                <c:pt idx="3166">
                  <c:v>1.39823959605196E-2</c:v>
                </c:pt>
                <c:pt idx="3167">
                  <c:v>1.50010747168521E-2</c:v>
                </c:pt>
                <c:pt idx="3168">
                  <c:v>1.4651054134986101E-2</c:v>
                </c:pt>
                <c:pt idx="3169">
                  <c:v>1.47338530902673E-2</c:v>
                </c:pt>
                <c:pt idx="3170">
                  <c:v>1.4731665194024199E-2</c:v>
                </c:pt>
                <c:pt idx="3171">
                  <c:v>1.49068289854074E-2</c:v>
                </c:pt>
                <c:pt idx="3172">
                  <c:v>1.4649707372452201E-2</c:v>
                </c:pt>
                <c:pt idx="3173">
                  <c:v>1.47224475391045E-2</c:v>
                </c:pt>
                <c:pt idx="3174">
                  <c:v>1.4681831676203599E-2</c:v>
                </c:pt>
                <c:pt idx="3175">
                  <c:v>1.49804657529366E-2</c:v>
                </c:pt>
                <c:pt idx="3176">
                  <c:v>1.5088718458457599E-2</c:v>
                </c:pt>
                <c:pt idx="3177">
                  <c:v>1.5536679707654599E-2</c:v>
                </c:pt>
                <c:pt idx="3178">
                  <c:v>1.5530494429859499E-2</c:v>
                </c:pt>
                <c:pt idx="3179">
                  <c:v>1.56177901021144E-2</c:v>
                </c:pt>
                <c:pt idx="3180">
                  <c:v>1.55969906498887E-2</c:v>
                </c:pt>
                <c:pt idx="3181">
                  <c:v>1.5703386158047401E-2</c:v>
                </c:pt>
                <c:pt idx="3182">
                  <c:v>1.5787372432743699E-2</c:v>
                </c:pt>
                <c:pt idx="3183">
                  <c:v>1.58343474408996E-2</c:v>
                </c:pt>
                <c:pt idx="3184">
                  <c:v>1.8138776076907202E-2</c:v>
                </c:pt>
                <c:pt idx="3185">
                  <c:v>1.8145166944765801E-2</c:v>
                </c:pt>
                <c:pt idx="3186">
                  <c:v>1.8832751919993201E-2</c:v>
                </c:pt>
                <c:pt idx="3187">
                  <c:v>1.8821322256023901E-2</c:v>
                </c:pt>
                <c:pt idx="3188">
                  <c:v>1.88165331755299E-2</c:v>
                </c:pt>
                <c:pt idx="3189">
                  <c:v>1.8760435840740001E-2</c:v>
                </c:pt>
                <c:pt idx="3190">
                  <c:v>1.8751312633162001E-2</c:v>
                </c:pt>
                <c:pt idx="3191">
                  <c:v>1.88056214781895E-2</c:v>
                </c:pt>
                <c:pt idx="3192">
                  <c:v>1.8885530436234001E-2</c:v>
                </c:pt>
                <c:pt idx="3193">
                  <c:v>1.8769653262170099E-2</c:v>
                </c:pt>
                <c:pt idx="3194">
                  <c:v>1.8759563964747501E-2</c:v>
                </c:pt>
                <c:pt idx="3195">
                  <c:v>1.8616040535633101E-2</c:v>
                </c:pt>
                <c:pt idx="3196">
                  <c:v>1.8920541227179E-2</c:v>
                </c:pt>
                <c:pt idx="3197">
                  <c:v>1.9431711216536501E-2</c:v>
                </c:pt>
                <c:pt idx="3198">
                  <c:v>1.93667689686099E-2</c:v>
                </c:pt>
                <c:pt idx="3199">
                  <c:v>2.0239877246450402E-2</c:v>
                </c:pt>
                <c:pt idx="3200">
                  <c:v>2.1863714553024199E-2</c:v>
                </c:pt>
                <c:pt idx="3201">
                  <c:v>2.2180116443398699E-2</c:v>
                </c:pt>
                <c:pt idx="3202">
                  <c:v>2.2277667089413301E-2</c:v>
                </c:pt>
                <c:pt idx="3203">
                  <c:v>2.2599842218080299E-2</c:v>
                </c:pt>
                <c:pt idx="3204">
                  <c:v>2.50496819132736E-2</c:v>
                </c:pt>
                <c:pt idx="3205">
                  <c:v>2.5354741857527299E-2</c:v>
                </c:pt>
                <c:pt idx="3206">
                  <c:v>2.6695819302446001E-2</c:v>
                </c:pt>
                <c:pt idx="3207">
                  <c:v>2.7485554030064901E-2</c:v>
                </c:pt>
                <c:pt idx="3208">
                  <c:v>2.7711904457536699E-2</c:v>
                </c:pt>
                <c:pt idx="3209">
                  <c:v>2.8577079998976501E-2</c:v>
                </c:pt>
                <c:pt idx="3210">
                  <c:v>2.8829223236456002E-2</c:v>
                </c:pt>
                <c:pt idx="3211">
                  <c:v>2.87850684554612E-2</c:v>
                </c:pt>
                <c:pt idx="3212">
                  <c:v>2.99822399158351E-2</c:v>
                </c:pt>
                <c:pt idx="3213">
                  <c:v>3.1132319984868401E-2</c:v>
                </c:pt>
                <c:pt idx="3214">
                  <c:v>3.1876677167210397E-2</c:v>
                </c:pt>
                <c:pt idx="3215">
                  <c:v>3.1806151466300697E-2</c:v>
                </c:pt>
                <c:pt idx="3216">
                  <c:v>3.1837595524708197E-2</c:v>
                </c:pt>
                <c:pt idx="3217">
                  <c:v>3.2089759022680998E-2</c:v>
                </c:pt>
                <c:pt idx="3218">
                  <c:v>3.1969094565581099E-2</c:v>
                </c:pt>
                <c:pt idx="3219">
                  <c:v>3.2186354230040702E-2</c:v>
                </c:pt>
                <c:pt idx="3220">
                  <c:v>3.2189873104796797E-2</c:v>
                </c:pt>
                <c:pt idx="3221">
                  <c:v>3.2183419076595603E-2</c:v>
                </c:pt>
                <c:pt idx="3222">
                  <c:v>3.2027646230396299E-2</c:v>
                </c:pt>
                <c:pt idx="3223">
                  <c:v>3.2149070442197503E-2</c:v>
                </c:pt>
                <c:pt idx="3224">
                  <c:v>3.2193056601108397E-2</c:v>
                </c:pt>
                <c:pt idx="3225">
                  <c:v>3.4107656182204002E-2</c:v>
                </c:pt>
                <c:pt idx="3226">
                  <c:v>3.4074612109989799E-2</c:v>
                </c:pt>
                <c:pt idx="3227">
                  <c:v>3.4013099248168199E-2</c:v>
                </c:pt>
                <c:pt idx="3228">
                  <c:v>3.4181806993049499E-2</c:v>
                </c:pt>
                <c:pt idx="3229">
                  <c:v>3.4123382844150299E-2</c:v>
                </c:pt>
                <c:pt idx="3230">
                  <c:v>3.4008414998094802E-2</c:v>
                </c:pt>
                <c:pt idx="3231">
                  <c:v>3.4040913390340197E-2</c:v>
                </c:pt>
                <c:pt idx="3232">
                  <c:v>3.4060945433013599E-2</c:v>
                </c:pt>
                <c:pt idx="3233">
                  <c:v>3.4067133798929797E-2</c:v>
                </c:pt>
                <c:pt idx="3234">
                  <c:v>3.41948264302505E-2</c:v>
                </c:pt>
                <c:pt idx="3235">
                  <c:v>3.46800982207328E-2</c:v>
                </c:pt>
                <c:pt idx="3236">
                  <c:v>3.4668743080776498E-2</c:v>
                </c:pt>
                <c:pt idx="3237">
                  <c:v>3.4377826267086298E-2</c:v>
                </c:pt>
                <c:pt idx="3238">
                  <c:v>3.4437268630340301E-2</c:v>
                </c:pt>
                <c:pt idx="3239">
                  <c:v>3.4333314441361097E-2</c:v>
                </c:pt>
                <c:pt idx="3240">
                  <c:v>3.4175413657766197E-2</c:v>
                </c:pt>
                <c:pt idx="3241">
                  <c:v>3.47814134900718E-2</c:v>
                </c:pt>
                <c:pt idx="3242">
                  <c:v>3.47426432750816E-2</c:v>
                </c:pt>
                <c:pt idx="3243">
                  <c:v>3.49261372952182E-2</c:v>
                </c:pt>
                <c:pt idx="3244">
                  <c:v>3.4339942438286503E-2</c:v>
                </c:pt>
                <c:pt idx="3245">
                  <c:v>3.6099386280925398E-2</c:v>
                </c:pt>
                <c:pt idx="3246">
                  <c:v>3.64149860233711E-2</c:v>
                </c:pt>
                <c:pt idx="3247">
                  <c:v>3.6266021182678999E-2</c:v>
                </c:pt>
                <c:pt idx="3248">
                  <c:v>3.7269626214909403E-2</c:v>
                </c:pt>
                <c:pt idx="3249">
                  <c:v>3.7769166616589599E-2</c:v>
                </c:pt>
                <c:pt idx="3250">
                  <c:v>3.77536480717462E-2</c:v>
                </c:pt>
                <c:pt idx="3251">
                  <c:v>3.7548431012700098E-2</c:v>
                </c:pt>
                <c:pt idx="3252">
                  <c:v>3.7565738566663301E-2</c:v>
                </c:pt>
                <c:pt idx="3253">
                  <c:v>3.7720470596083598E-2</c:v>
                </c:pt>
                <c:pt idx="3254">
                  <c:v>3.7956787163578698E-2</c:v>
                </c:pt>
                <c:pt idx="3255">
                  <c:v>3.8081939308192002E-2</c:v>
                </c:pt>
                <c:pt idx="3256">
                  <c:v>3.8042726725991002E-2</c:v>
                </c:pt>
                <c:pt idx="3257">
                  <c:v>3.7925530946511E-2</c:v>
                </c:pt>
                <c:pt idx="3258">
                  <c:v>3.7856559684504701E-2</c:v>
                </c:pt>
                <c:pt idx="3259">
                  <c:v>3.7837238805987897E-2</c:v>
                </c:pt>
                <c:pt idx="3260">
                  <c:v>3.7845060867809803E-2</c:v>
                </c:pt>
                <c:pt idx="3261">
                  <c:v>3.7583150256204602E-2</c:v>
                </c:pt>
                <c:pt idx="3262">
                  <c:v>3.74568097956752E-2</c:v>
                </c:pt>
                <c:pt idx="3263">
                  <c:v>3.7381488935373602E-2</c:v>
                </c:pt>
                <c:pt idx="3264">
                  <c:v>3.6066763220890703E-2</c:v>
                </c:pt>
                <c:pt idx="3265">
                  <c:v>3.5942520257539003E-2</c:v>
                </c:pt>
                <c:pt idx="3266">
                  <c:v>3.4811466188728199E-2</c:v>
                </c:pt>
                <c:pt idx="3267">
                  <c:v>3.4334418812535399E-2</c:v>
                </c:pt>
                <c:pt idx="3268">
                  <c:v>3.4119363707959503E-2</c:v>
                </c:pt>
                <c:pt idx="3269">
                  <c:v>3.3509703924054397E-2</c:v>
                </c:pt>
                <c:pt idx="3270">
                  <c:v>3.3279473789080902E-2</c:v>
                </c:pt>
                <c:pt idx="3271">
                  <c:v>3.3487629149730302E-2</c:v>
                </c:pt>
                <c:pt idx="3272">
                  <c:v>3.2372223447763498E-2</c:v>
                </c:pt>
                <c:pt idx="3273">
                  <c:v>3.1588527019518697E-2</c:v>
                </c:pt>
                <c:pt idx="3274">
                  <c:v>3.07760638632575E-2</c:v>
                </c:pt>
                <c:pt idx="3275">
                  <c:v>3.0569286980372298E-2</c:v>
                </c:pt>
                <c:pt idx="3276">
                  <c:v>3.0644837876784702E-2</c:v>
                </c:pt>
                <c:pt idx="3277">
                  <c:v>3.03995610150181E-2</c:v>
                </c:pt>
                <c:pt idx="3278">
                  <c:v>3.0374602758189598E-2</c:v>
                </c:pt>
                <c:pt idx="3279">
                  <c:v>2.99820948299892E-2</c:v>
                </c:pt>
                <c:pt idx="3280">
                  <c:v>3.0178865904797399E-2</c:v>
                </c:pt>
                <c:pt idx="3281">
                  <c:v>3.0260348932998001E-2</c:v>
                </c:pt>
                <c:pt idx="3282">
                  <c:v>3.0330324796267401E-2</c:v>
                </c:pt>
                <c:pt idx="3283">
                  <c:v>3.0172542599189799E-2</c:v>
                </c:pt>
                <c:pt idx="3284">
                  <c:v>3.0112862711178301E-2</c:v>
                </c:pt>
                <c:pt idx="3285">
                  <c:v>2.79602265139904E-2</c:v>
                </c:pt>
                <c:pt idx="3286">
                  <c:v>2.7964169588772798E-2</c:v>
                </c:pt>
                <c:pt idx="3287">
                  <c:v>2.76463755840861E-2</c:v>
                </c:pt>
                <c:pt idx="3288">
                  <c:v>2.74733051600153E-2</c:v>
                </c:pt>
                <c:pt idx="3289">
                  <c:v>2.7472805125026801E-2</c:v>
                </c:pt>
                <c:pt idx="3290">
                  <c:v>2.8146292067745E-2</c:v>
                </c:pt>
                <c:pt idx="3291">
                  <c:v>2.79929218757521E-2</c:v>
                </c:pt>
                <c:pt idx="3292">
                  <c:v>2.8044793603046399E-2</c:v>
                </c:pt>
                <c:pt idx="3293">
                  <c:v>2.8067344171951301E-2</c:v>
                </c:pt>
                <c:pt idx="3294">
                  <c:v>2.7952630107656799E-2</c:v>
                </c:pt>
                <c:pt idx="3295">
                  <c:v>2.7329283963357199E-2</c:v>
                </c:pt>
                <c:pt idx="3296">
                  <c:v>2.7350838671238699E-2</c:v>
                </c:pt>
                <c:pt idx="3297">
                  <c:v>2.7354508700203499E-2</c:v>
                </c:pt>
                <c:pt idx="3298">
                  <c:v>2.7287212294673398E-2</c:v>
                </c:pt>
                <c:pt idx="3299">
                  <c:v>2.7286993069056902E-2</c:v>
                </c:pt>
                <c:pt idx="3300">
                  <c:v>2.7316139296654902E-2</c:v>
                </c:pt>
                <c:pt idx="3301">
                  <c:v>2.6145790958913701E-2</c:v>
                </c:pt>
                <c:pt idx="3302">
                  <c:v>2.60616038851781E-2</c:v>
                </c:pt>
                <c:pt idx="3303">
                  <c:v>2.5728390183514999E-2</c:v>
                </c:pt>
                <c:pt idx="3304">
                  <c:v>2.4985873118621001E-2</c:v>
                </c:pt>
                <c:pt idx="3305">
                  <c:v>2.1861070983873299E-2</c:v>
                </c:pt>
                <c:pt idx="3306">
                  <c:v>1.9486770475977602E-2</c:v>
                </c:pt>
                <c:pt idx="3307">
                  <c:v>2.0889104689307499E-2</c:v>
                </c:pt>
                <c:pt idx="3308">
                  <c:v>1.9598026415864299E-2</c:v>
                </c:pt>
                <c:pt idx="3309">
                  <c:v>1.8898230236189101E-2</c:v>
                </c:pt>
                <c:pt idx="3310">
                  <c:v>1.94005785782249E-2</c:v>
                </c:pt>
                <c:pt idx="3311">
                  <c:v>1.9410042879394102E-2</c:v>
                </c:pt>
                <c:pt idx="3312">
                  <c:v>1.9600759126583999E-2</c:v>
                </c:pt>
                <c:pt idx="3313">
                  <c:v>1.9011245460251801E-2</c:v>
                </c:pt>
                <c:pt idx="3314">
                  <c:v>1.8930216171003801E-2</c:v>
                </c:pt>
                <c:pt idx="3315">
                  <c:v>1.87847240048362E-2</c:v>
                </c:pt>
                <c:pt idx="3316">
                  <c:v>1.8711843728589299E-2</c:v>
                </c:pt>
                <c:pt idx="3317">
                  <c:v>1.8716536080219701E-2</c:v>
                </c:pt>
                <c:pt idx="3318">
                  <c:v>1.8824794830102302E-2</c:v>
                </c:pt>
                <c:pt idx="3319">
                  <c:v>1.8018757052398599E-2</c:v>
                </c:pt>
                <c:pt idx="3320">
                  <c:v>1.6987160506981899E-2</c:v>
                </c:pt>
                <c:pt idx="3321">
                  <c:v>1.6834841026253201E-2</c:v>
                </c:pt>
                <c:pt idx="3322">
                  <c:v>1.6833230597638301E-2</c:v>
                </c:pt>
                <c:pt idx="3323">
                  <c:v>1.6991672169931901E-2</c:v>
                </c:pt>
                <c:pt idx="3324">
                  <c:v>1.6969172904961301E-2</c:v>
                </c:pt>
                <c:pt idx="3325">
                  <c:v>1.6650985293555E-2</c:v>
                </c:pt>
                <c:pt idx="3326">
                  <c:v>1.6719651524223E-2</c:v>
                </c:pt>
                <c:pt idx="3327">
                  <c:v>1.65359158375297E-2</c:v>
                </c:pt>
                <c:pt idx="3328">
                  <c:v>1.7046804673079299E-2</c:v>
                </c:pt>
                <c:pt idx="3329">
                  <c:v>1.6815824387085301E-2</c:v>
                </c:pt>
                <c:pt idx="3330">
                  <c:v>1.6805966779272999E-2</c:v>
                </c:pt>
                <c:pt idx="3331">
                  <c:v>1.6518645978263798E-2</c:v>
                </c:pt>
                <c:pt idx="3332">
                  <c:v>1.90699304177381E-2</c:v>
                </c:pt>
                <c:pt idx="3333">
                  <c:v>1.8631899031587899E-2</c:v>
                </c:pt>
                <c:pt idx="3334">
                  <c:v>1.87637635376415E-2</c:v>
                </c:pt>
                <c:pt idx="3335">
                  <c:v>2.09115895256076E-2</c:v>
                </c:pt>
                <c:pt idx="3336">
                  <c:v>2.0852863110452698E-2</c:v>
                </c:pt>
                <c:pt idx="3337">
                  <c:v>2.1780421814108501E-2</c:v>
                </c:pt>
                <c:pt idx="3338">
                  <c:v>2.18100985862789E-2</c:v>
                </c:pt>
                <c:pt idx="3339">
                  <c:v>2.1844750081348899E-2</c:v>
                </c:pt>
                <c:pt idx="3340">
                  <c:v>2.1733717164503102E-2</c:v>
                </c:pt>
                <c:pt idx="3341">
                  <c:v>2.1998297691555702E-2</c:v>
                </c:pt>
                <c:pt idx="3342">
                  <c:v>2.1921863812281901E-2</c:v>
                </c:pt>
                <c:pt idx="3343">
                  <c:v>2.2273391156844801E-2</c:v>
                </c:pt>
                <c:pt idx="3344">
                  <c:v>2.2337442102444201E-2</c:v>
                </c:pt>
                <c:pt idx="3345">
                  <c:v>2.2516636940445499E-2</c:v>
                </c:pt>
                <c:pt idx="3346">
                  <c:v>2.2567980057782398E-2</c:v>
                </c:pt>
                <c:pt idx="3347">
                  <c:v>2.2584476753031199E-2</c:v>
                </c:pt>
                <c:pt idx="3348">
                  <c:v>2.3812487353035601E-2</c:v>
                </c:pt>
                <c:pt idx="3349">
                  <c:v>2.3812628803427799E-2</c:v>
                </c:pt>
                <c:pt idx="3350">
                  <c:v>2.31247158957847E-2</c:v>
                </c:pt>
                <c:pt idx="3351">
                  <c:v>2.3362439220819101E-2</c:v>
                </c:pt>
                <c:pt idx="3352">
                  <c:v>2.3133840005168799E-2</c:v>
                </c:pt>
                <c:pt idx="3353">
                  <c:v>2.3259560234272E-2</c:v>
                </c:pt>
                <c:pt idx="3354">
                  <c:v>2.3257285414046602E-2</c:v>
                </c:pt>
                <c:pt idx="3355">
                  <c:v>2.3348691150689899E-2</c:v>
                </c:pt>
                <c:pt idx="3356">
                  <c:v>2.33391067406278E-2</c:v>
                </c:pt>
                <c:pt idx="3357">
                  <c:v>2.3311045574112E-2</c:v>
                </c:pt>
                <c:pt idx="3358">
                  <c:v>2.37010284644135E-2</c:v>
                </c:pt>
                <c:pt idx="3359">
                  <c:v>2.37520161294618E-2</c:v>
                </c:pt>
                <c:pt idx="3360">
                  <c:v>2.3728510549025202E-2</c:v>
                </c:pt>
                <c:pt idx="3361">
                  <c:v>2.35982332313458E-2</c:v>
                </c:pt>
                <c:pt idx="3362">
                  <c:v>2.38210105862382E-2</c:v>
                </c:pt>
                <c:pt idx="3363">
                  <c:v>2.3833092396399198E-2</c:v>
                </c:pt>
                <c:pt idx="3364">
                  <c:v>2.3862607718862901E-2</c:v>
                </c:pt>
                <c:pt idx="3365">
                  <c:v>2.50506980154881E-2</c:v>
                </c:pt>
                <c:pt idx="3366">
                  <c:v>2.5117522073290901E-2</c:v>
                </c:pt>
                <c:pt idx="3367">
                  <c:v>2.4349707695960201E-2</c:v>
                </c:pt>
                <c:pt idx="3368">
                  <c:v>2.4500837643222698E-2</c:v>
                </c:pt>
                <c:pt idx="3369">
                  <c:v>2.5107842655318999E-2</c:v>
                </c:pt>
                <c:pt idx="3370">
                  <c:v>2.4609079878107499E-2</c:v>
                </c:pt>
                <c:pt idx="3371">
                  <c:v>2.46457654543722E-2</c:v>
                </c:pt>
                <c:pt idx="3372">
                  <c:v>2.45690216321434E-2</c:v>
                </c:pt>
                <c:pt idx="3373">
                  <c:v>2.45632119428753E-2</c:v>
                </c:pt>
                <c:pt idx="3374">
                  <c:v>2.4513429756202899E-2</c:v>
                </c:pt>
                <c:pt idx="3375">
                  <c:v>2.45913708738138E-2</c:v>
                </c:pt>
                <c:pt idx="3376">
                  <c:v>2.45992008860275E-2</c:v>
                </c:pt>
                <c:pt idx="3377">
                  <c:v>2.4715825971387599E-2</c:v>
                </c:pt>
                <c:pt idx="3378">
                  <c:v>2.4393046741644501E-2</c:v>
                </c:pt>
                <c:pt idx="3379">
                  <c:v>2.44144963806345E-2</c:v>
                </c:pt>
                <c:pt idx="3380">
                  <c:v>2.4481045989285799E-2</c:v>
                </c:pt>
                <c:pt idx="3381">
                  <c:v>2.4429294744710998E-2</c:v>
                </c:pt>
                <c:pt idx="3382">
                  <c:v>2.46650282463757E-2</c:v>
                </c:pt>
                <c:pt idx="3383">
                  <c:v>2.43928837202772E-2</c:v>
                </c:pt>
                <c:pt idx="3384">
                  <c:v>2.4394586152749701E-2</c:v>
                </c:pt>
                <c:pt idx="3385">
                  <c:v>2.44603344612143E-2</c:v>
                </c:pt>
                <c:pt idx="3386">
                  <c:v>2.4468676820116601E-2</c:v>
                </c:pt>
                <c:pt idx="3387">
                  <c:v>2.44699640083548E-2</c:v>
                </c:pt>
                <c:pt idx="3388">
                  <c:v>2.42527102430425E-2</c:v>
                </c:pt>
                <c:pt idx="3389">
                  <c:v>2.4480368826380199E-2</c:v>
                </c:pt>
                <c:pt idx="3390">
                  <c:v>2.4479637066353602E-2</c:v>
                </c:pt>
                <c:pt idx="3391">
                  <c:v>2.4469375634858001E-2</c:v>
                </c:pt>
                <c:pt idx="3392">
                  <c:v>2.2735623847526601E-2</c:v>
                </c:pt>
                <c:pt idx="3393">
                  <c:v>2.2730535371021501E-2</c:v>
                </c:pt>
                <c:pt idx="3394">
                  <c:v>2.2667797675435999E-2</c:v>
                </c:pt>
                <c:pt idx="3395">
                  <c:v>2.07276334952173E-2</c:v>
                </c:pt>
                <c:pt idx="3396">
                  <c:v>2.0635852922013601E-2</c:v>
                </c:pt>
                <c:pt idx="3397">
                  <c:v>1.95277661097365E-2</c:v>
                </c:pt>
                <c:pt idx="3398">
                  <c:v>1.9580058783206199E-2</c:v>
                </c:pt>
                <c:pt idx="3399">
                  <c:v>1.9426650704360199E-2</c:v>
                </c:pt>
                <c:pt idx="3400">
                  <c:v>1.92495796166199E-2</c:v>
                </c:pt>
                <c:pt idx="3401">
                  <c:v>1.8854968818718398E-2</c:v>
                </c:pt>
                <c:pt idx="3402">
                  <c:v>1.8852917673903999E-2</c:v>
                </c:pt>
                <c:pt idx="3403">
                  <c:v>1.8621569559644099E-2</c:v>
                </c:pt>
                <c:pt idx="3404">
                  <c:v>1.8535724757885001E-2</c:v>
                </c:pt>
                <c:pt idx="3405">
                  <c:v>1.8129412908365099E-2</c:v>
                </c:pt>
                <c:pt idx="3406">
                  <c:v>1.8091951485919001E-2</c:v>
                </c:pt>
                <c:pt idx="3407">
                  <c:v>1.80940638673384E-2</c:v>
                </c:pt>
                <c:pt idx="3408">
                  <c:v>1.61514117852261E-2</c:v>
                </c:pt>
                <c:pt idx="3409">
                  <c:v>1.6144301911198599E-2</c:v>
                </c:pt>
                <c:pt idx="3410">
                  <c:v>1.5732594264956299E-2</c:v>
                </c:pt>
                <c:pt idx="3411">
                  <c:v>1.5377315281007799E-2</c:v>
                </c:pt>
                <c:pt idx="3412">
                  <c:v>1.52222177938179E-2</c:v>
                </c:pt>
                <c:pt idx="3413">
                  <c:v>1.5019010488231101E-2</c:v>
                </c:pt>
                <c:pt idx="3414">
                  <c:v>1.5424189332253599E-2</c:v>
                </c:pt>
                <c:pt idx="3415">
                  <c:v>1.56077379762557E-2</c:v>
                </c:pt>
                <c:pt idx="3416">
                  <c:v>1.55768512737753E-2</c:v>
                </c:pt>
                <c:pt idx="3417">
                  <c:v>1.5562033672664E-2</c:v>
                </c:pt>
                <c:pt idx="3418">
                  <c:v>1.5076846496392E-2</c:v>
                </c:pt>
                <c:pt idx="3419">
                  <c:v>1.50514459569129E-2</c:v>
                </c:pt>
                <c:pt idx="3420">
                  <c:v>1.5068827278646099E-2</c:v>
                </c:pt>
                <c:pt idx="3421">
                  <c:v>1.5074175883711301E-2</c:v>
                </c:pt>
                <c:pt idx="3422">
                  <c:v>1.48225490472003E-2</c:v>
                </c:pt>
                <c:pt idx="3423">
                  <c:v>1.4774511924514599E-2</c:v>
                </c:pt>
                <c:pt idx="3424">
                  <c:v>1.47649541152405E-2</c:v>
                </c:pt>
                <c:pt idx="3425">
                  <c:v>1.2219898562558101E-2</c:v>
                </c:pt>
                <c:pt idx="3426">
                  <c:v>1.22111629641236E-2</c:v>
                </c:pt>
                <c:pt idx="3427">
                  <c:v>1.1771015030252499E-2</c:v>
                </c:pt>
                <c:pt idx="3428">
                  <c:v>1.15502484701902E-2</c:v>
                </c:pt>
                <c:pt idx="3429">
                  <c:v>1.0314517786310699E-2</c:v>
                </c:pt>
                <c:pt idx="3430">
                  <c:v>1.0311724822484601E-2</c:v>
                </c:pt>
                <c:pt idx="3431">
                  <c:v>1.10615940228211E-2</c:v>
                </c:pt>
                <c:pt idx="3432">
                  <c:v>1.10616568424868E-2</c:v>
                </c:pt>
                <c:pt idx="3433">
                  <c:v>1.1063760753086601E-2</c:v>
                </c:pt>
                <c:pt idx="3434">
                  <c:v>1.09849684493504E-2</c:v>
                </c:pt>
                <c:pt idx="3435">
                  <c:v>1.0682768707649001E-2</c:v>
                </c:pt>
                <c:pt idx="3436">
                  <c:v>1.06838260663327E-2</c:v>
                </c:pt>
                <c:pt idx="3437">
                  <c:v>1.05250022518232E-2</c:v>
                </c:pt>
                <c:pt idx="3438">
                  <c:v>1.12944028484834E-2</c:v>
                </c:pt>
                <c:pt idx="3439">
                  <c:v>1.12832587445103E-2</c:v>
                </c:pt>
                <c:pt idx="3440">
                  <c:v>1.13203590492867E-2</c:v>
                </c:pt>
                <c:pt idx="3441">
                  <c:v>1.1176168395638701E-2</c:v>
                </c:pt>
                <c:pt idx="3442">
                  <c:v>1.07284839995476E-2</c:v>
                </c:pt>
                <c:pt idx="3443">
                  <c:v>1.0695134001926E-2</c:v>
                </c:pt>
                <c:pt idx="3444">
                  <c:v>1.0685088498088101E-2</c:v>
                </c:pt>
                <c:pt idx="3445">
                  <c:v>1.0538824929033399E-2</c:v>
                </c:pt>
                <c:pt idx="3446">
                  <c:v>1.0535829867674699E-2</c:v>
                </c:pt>
                <c:pt idx="3447">
                  <c:v>1.06051628130892E-2</c:v>
                </c:pt>
                <c:pt idx="3448">
                  <c:v>1.06782053644911E-2</c:v>
                </c:pt>
                <c:pt idx="3449">
                  <c:v>1.0163465369293599E-2</c:v>
                </c:pt>
                <c:pt idx="3450">
                  <c:v>1.01848287820829E-2</c:v>
                </c:pt>
                <c:pt idx="3451">
                  <c:v>1.01839844235513E-2</c:v>
                </c:pt>
                <c:pt idx="3452">
                  <c:v>1.00291593698535E-2</c:v>
                </c:pt>
                <c:pt idx="3453">
                  <c:v>1.0248953763731699E-2</c:v>
                </c:pt>
                <c:pt idx="3454">
                  <c:v>1.0067550651994699E-2</c:v>
                </c:pt>
                <c:pt idx="3455">
                  <c:v>1.00276939631675E-2</c:v>
                </c:pt>
                <c:pt idx="3456">
                  <c:v>9.8693770160523091E-3</c:v>
                </c:pt>
                <c:pt idx="3457">
                  <c:v>9.8839262598857097E-3</c:v>
                </c:pt>
                <c:pt idx="3458">
                  <c:v>9.7389022099443993E-3</c:v>
                </c:pt>
                <c:pt idx="3459">
                  <c:v>1.0123859894189201E-2</c:v>
                </c:pt>
                <c:pt idx="3460">
                  <c:v>1.01300109068334E-2</c:v>
                </c:pt>
                <c:pt idx="3461">
                  <c:v>9.9771905077221008E-3</c:v>
                </c:pt>
                <c:pt idx="3462">
                  <c:v>9.9705222758765498E-3</c:v>
                </c:pt>
                <c:pt idx="3463">
                  <c:v>9.7055257685296492E-3</c:v>
                </c:pt>
                <c:pt idx="3464">
                  <c:v>9.6832362930926903E-3</c:v>
                </c:pt>
                <c:pt idx="3465">
                  <c:v>9.6801161962794206E-3</c:v>
                </c:pt>
                <c:pt idx="3466">
                  <c:v>9.6781191715055899E-3</c:v>
                </c:pt>
                <c:pt idx="3467">
                  <c:v>9.7235459215192707E-3</c:v>
                </c:pt>
                <c:pt idx="3468">
                  <c:v>9.7081038748639201E-3</c:v>
                </c:pt>
                <c:pt idx="3469">
                  <c:v>9.8180301107060608E-3</c:v>
                </c:pt>
                <c:pt idx="3470">
                  <c:v>1.004169933119E-2</c:v>
                </c:pt>
                <c:pt idx="3471">
                  <c:v>9.7757186335580299E-3</c:v>
                </c:pt>
                <c:pt idx="3472">
                  <c:v>9.7992081402460598E-3</c:v>
                </c:pt>
                <c:pt idx="3473">
                  <c:v>9.8579557569232097E-3</c:v>
                </c:pt>
                <c:pt idx="3474">
                  <c:v>9.2523205291278107E-3</c:v>
                </c:pt>
                <c:pt idx="3475">
                  <c:v>8.8240671853560999E-3</c:v>
                </c:pt>
                <c:pt idx="3476">
                  <c:v>8.8267877679889094E-3</c:v>
                </c:pt>
                <c:pt idx="3477">
                  <c:v>8.8133281116789391E-3</c:v>
                </c:pt>
                <c:pt idx="3478">
                  <c:v>8.8770567761352701E-3</c:v>
                </c:pt>
                <c:pt idx="3479">
                  <c:v>8.8813480346329604E-3</c:v>
                </c:pt>
                <c:pt idx="3480">
                  <c:v>8.8744537863234604E-3</c:v>
                </c:pt>
                <c:pt idx="3481">
                  <c:v>8.8750084383356596E-3</c:v>
                </c:pt>
                <c:pt idx="3482">
                  <c:v>9.1251216336109692E-3</c:v>
                </c:pt>
                <c:pt idx="3483">
                  <c:v>9.8277199640650296E-3</c:v>
                </c:pt>
                <c:pt idx="3484">
                  <c:v>9.8493918038165505E-3</c:v>
                </c:pt>
                <c:pt idx="3485">
                  <c:v>9.8557093039104305E-3</c:v>
                </c:pt>
                <c:pt idx="3486">
                  <c:v>9.7967342047067998E-3</c:v>
                </c:pt>
                <c:pt idx="3487">
                  <c:v>9.7907407718881897E-3</c:v>
                </c:pt>
                <c:pt idx="3488">
                  <c:v>9.8756868492012005E-3</c:v>
                </c:pt>
                <c:pt idx="3489">
                  <c:v>9.8722726944223006E-3</c:v>
                </c:pt>
                <c:pt idx="3490">
                  <c:v>9.8937234655149496E-3</c:v>
                </c:pt>
                <c:pt idx="3491">
                  <c:v>9.0279887678596793E-3</c:v>
                </c:pt>
                <c:pt idx="3492">
                  <c:v>9.01752898488648E-3</c:v>
                </c:pt>
                <c:pt idx="3493">
                  <c:v>9.0161306660012999E-3</c:v>
                </c:pt>
                <c:pt idx="3494">
                  <c:v>8.9788689127595304E-3</c:v>
                </c:pt>
                <c:pt idx="3495">
                  <c:v>8.9792994081705907E-3</c:v>
                </c:pt>
                <c:pt idx="3496">
                  <c:v>9.0475219468594097E-3</c:v>
                </c:pt>
                <c:pt idx="3497">
                  <c:v>9.0345912616356192E-3</c:v>
                </c:pt>
                <c:pt idx="3498">
                  <c:v>7.9900750619832893E-3</c:v>
                </c:pt>
                <c:pt idx="3499">
                  <c:v>8.01914084475981E-3</c:v>
                </c:pt>
                <c:pt idx="3500">
                  <c:v>7.8748456104131594E-3</c:v>
                </c:pt>
                <c:pt idx="3501">
                  <c:v>7.8048676821171996E-3</c:v>
                </c:pt>
                <c:pt idx="3502">
                  <c:v>7.8516944872448705E-3</c:v>
                </c:pt>
                <c:pt idx="3503">
                  <c:v>8.1857746233447992E-3</c:v>
                </c:pt>
                <c:pt idx="3504">
                  <c:v>8.1797398491161698E-3</c:v>
                </c:pt>
                <c:pt idx="3505">
                  <c:v>8.1659618508485507E-3</c:v>
                </c:pt>
                <c:pt idx="3506">
                  <c:v>8.1775194790390197E-3</c:v>
                </c:pt>
                <c:pt idx="3507">
                  <c:v>7.9843122211764195E-3</c:v>
                </c:pt>
                <c:pt idx="3508">
                  <c:v>7.80304889968192E-3</c:v>
                </c:pt>
                <c:pt idx="3509">
                  <c:v>7.8315490985227301E-3</c:v>
                </c:pt>
                <c:pt idx="3510">
                  <c:v>7.8457313596789896E-3</c:v>
                </c:pt>
                <c:pt idx="3511">
                  <c:v>8.1715520459488909E-3</c:v>
                </c:pt>
                <c:pt idx="3512">
                  <c:v>8.2079308344754805E-3</c:v>
                </c:pt>
                <c:pt idx="3513">
                  <c:v>7.96490533627431E-3</c:v>
                </c:pt>
                <c:pt idx="3514">
                  <c:v>7.9814841964056908E-3</c:v>
                </c:pt>
                <c:pt idx="3515">
                  <c:v>7.9803815373132407E-3</c:v>
                </c:pt>
                <c:pt idx="3516">
                  <c:v>8.1279217636610595E-3</c:v>
                </c:pt>
                <c:pt idx="3517">
                  <c:v>8.1016016076062899E-3</c:v>
                </c:pt>
                <c:pt idx="3518">
                  <c:v>8.0993779697172696E-3</c:v>
                </c:pt>
                <c:pt idx="3519">
                  <c:v>7.6125672206193299E-3</c:v>
                </c:pt>
                <c:pt idx="3520">
                  <c:v>7.6044670874496701E-3</c:v>
                </c:pt>
                <c:pt idx="3521">
                  <c:v>7.6815657545946199E-3</c:v>
                </c:pt>
                <c:pt idx="3522">
                  <c:v>7.8671817786252398E-3</c:v>
                </c:pt>
                <c:pt idx="3523">
                  <c:v>7.8476648476194406E-3</c:v>
                </c:pt>
                <c:pt idx="3524">
                  <c:v>7.8254224152353898E-3</c:v>
                </c:pt>
                <c:pt idx="3525">
                  <c:v>7.8166786297797792E-3</c:v>
                </c:pt>
                <c:pt idx="3526">
                  <c:v>7.9381859936861407E-3</c:v>
                </c:pt>
                <c:pt idx="3527">
                  <c:v>7.8498527389317101E-3</c:v>
                </c:pt>
                <c:pt idx="3528">
                  <c:v>7.8697711335069306E-3</c:v>
                </c:pt>
                <c:pt idx="3529">
                  <c:v>7.7398894471261597E-3</c:v>
                </c:pt>
                <c:pt idx="3530">
                  <c:v>7.4474748483941396E-3</c:v>
                </c:pt>
                <c:pt idx="3531">
                  <c:v>7.4508807823511197E-3</c:v>
                </c:pt>
                <c:pt idx="3532">
                  <c:v>7.45186644961461E-3</c:v>
                </c:pt>
                <c:pt idx="3533">
                  <c:v>7.4352712416539801E-3</c:v>
                </c:pt>
                <c:pt idx="3534">
                  <c:v>7.5095175484050499E-3</c:v>
                </c:pt>
                <c:pt idx="3535">
                  <c:v>7.52820085135211E-3</c:v>
                </c:pt>
                <c:pt idx="3536">
                  <c:v>7.5252191152666301E-3</c:v>
                </c:pt>
                <c:pt idx="3537">
                  <c:v>7.53887263413825E-3</c:v>
                </c:pt>
                <c:pt idx="3538">
                  <c:v>7.5029859765442103E-3</c:v>
                </c:pt>
                <c:pt idx="3539">
                  <c:v>7.5810849520968598E-3</c:v>
                </c:pt>
                <c:pt idx="3540">
                  <c:v>7.6089716252738899E-3</c:v>
                </c:pt>
                <c:pt idx="3541">
                  <c:v>7.60028590059743E-3</c:v>
                </c:pt>
                <c:pt idx="3542">
                  <c:v>7.2385081015642703E-3</c:v>
                </c:pt>
                <c:pt idx="3543">
                  <c:v>6.1569474579924602E-3</c:v>
                </c:pt>
                <c:pt idx="3544">
                  <c:v>6.13076704201418E-3</c:v>
                </c:pt>
                <c:pt idx="3545">
                  <c:v>6.1729905658354902E-3</c:v>
                </c:pt>
                <c:pt idx="3546">
                  <c:v>6.2215438949895898E-3</c:v>
                </c:pt>
                <c:pt idx="3547">
                  <c:v>6.2965456543136698E-3</c:v>
                </c:pt>
                <c:pt idx="3548">
                  <c:v>6.1883384771584402E-3</c:v>
                </c:pt>
                <c:pt idx="3549">
                  <c:v>6.2025818371144398E-3</c:v>
                </c:pt>
                <c:pt idx="3550">
                  <c:v>6.2734823024774697E-3</c:v>
                </c:pt>
                <c:pt idx="3551">
                  <c:v>6.2122750002686503E-3</c:v>
                </c:pt>
                <c:pt idx="3552">
                  <c:v>6.2743688200204003E-3</c:v>
                </c:pt>
                <c:pt idx="3553">
                  <c:v>6.3703346167254598E-3</c:v>
                </c:pt>
                <c:pt idx="3554">
                  <c:v>6.4252484956674096E-3</c:v>
                </c:pt>
                <c:pt idx="3555">
                  <c:v>6.5736479348973099E-3</c:v>
                </c:pt>
                <c:pt idx="3556">
                  <c:v>6.8803434614290396E-3</c:v>
                </c:pt>
                <c:pt idx="3557">
                  <c:v>6.88627657513046E-3</c:v>
                </c:pt>
                <c:pt idx="3558">
                  <c:v>6.90532570943441E-3</c:v>
                </c:pt>
                <c:pt idx="3559">
                  <c:v>6.8646606317975698E-3</c:v>
                </c:pt>
                <c:pt idx="3560">
                  <c:v>6.9083239327172603E-3</c:v>
                </c:pt>
                <c:pt idx="3561">
                  <c:v>7.6375975401545403E-3</c:v>
                </c:pt>
                <c:pt idx="3562">
                  <c:v>7.5881862667972104E-3</c:v>
                </c:pt>
                <c:pt idx="3563">
                  <c:v>7.3221280333308301E-3</c:v>
                </c:pt>
                <c:pt idx="3564">
                  <c:v>7.4842415871617897E-3</c:v>
                </c:pt>
                <c:pt idx="3565">
                  <c:v>7.4282471127945001E-3</c:v>
                </c:pt>
                <c:pt idx="3566">
                  <c:v>7.4063798586715699E-3</c:v>
                </c:pt>
                <c:pt idx="3567">
                  <c:v>7.4468569178334897E-3</c:v>
                </c:pt>
                <c:pt idx="3568">
                  <c:v>7.5225698679976102E-3</c:v>
                </c:pt>
                <c:pt idx="3569">
                  <c:v>7.4658997633210503E-3</c:v>
                </c:pt>
                <c:pt idx="3570">
                  <c:v>7.5232491293022999E-3</c:v>
                </c:pt>
                <c:pt idx="3571">
                  <c:v>7.1943613127715697E-3</c:v>
                </c:pt>
                <c:pt idx="3572">
                  <c:v>7.1595265561407596E-3</c:v>
                </c:pt>
                <c:pt idx="3573">
                  <c:v>7.1724311510102503E-3</c:v>
                </c:pt>
                <c:pt idx="3574">
                  <c:v>7.1577866124273798E-3</c:v>
                </c:pt>
                <c:pt idx="3575">
                  <c:v>7.1647222622531603E-3</c:v>
                </c:pt>
                <c:pt idx="3576">
                  <c:v>7.0947548212175601E-3</c:v>
                </c:pt>
                <c:pt idx="3577">
                  <c:v>7.1464866571671701E-3</c:v>
                </c:pt>
                <c:pt idx="3578">
                  <c:v>7.1404465131192901E-3</c:v>
                </c:pt>
                <c:pt idx="3579">
                  <c:v>7.1867028681645E-3</c:v>
                </c:pt>
                <c:pt idx="3580">
                  <c:v>7.2107868306553599E-3</c:v>
                </c:pt>
                <c:pt idx="3581">
                  <c:v>7.1231402224080798E-3</c:v>
                </c:pt>
                <c:pt idx="3582">
                  <c:v>6.9868880337527898E-3</c:v>
                </c:pt>
                <c:pt idx="3583">
                  <c:v>7.0155300650365203E-3</c:v>
                </c:pt>
                <c:pt idx="3584">
                  <c:v>7.0154942195437796E-3</c:v>
                </c:pt>
                <c:pt idx="3585">
                  <c:v>7.0062512801125198E-3</c:v>
                </c:pt>
                <c:pt idx="3586">
                  <c:v>6.8351439213614898E-3</c:v>
                </c:pt>
                <c:pt idx="3587">
                  <c:v>6.8556891370689602E-3</c:v>
                </c:pt>
                <c:pt idx="3588">
                  <c:v>6.8497182232334398E-3</c:v>
                </c:pt>
                <c:pt idx="3589">
                  <c:v>6.9139283027082202E-3</c:v>
                </c:pt>
                <c:pt idx="3590">
                  <c:v>6.91880683587736E-3</c:v>
                </c:pt>
                <c:pt idx="3591">
                  <c:v>6.9167910293789396E-3</c:v>
                </c:pt>
                <c:pt idx="3592">
                  <c:v>6.8750560060922396E-3</c:v>
                </c:pt>
                <c:pt idx="3593">
                  <c:v>6.8128262874472397E-3</c:v>
                </c:pt>
                <c:pt idx="3594">
                  <c:v>6.7665363727287499E-3</c:v>
                </c:pt>
                <c:pt idx="3595">
                  <c:v>6.7610254616578E-3</c:v>
                </c:pt>
                <c:pt idx="3596">
                  <c:v>6.7671473119816803E-3</c:v>
                </c:pt>
                <c:pt idx="3597">
                  <c:v>6.77776036043684E-3</c:v>
                </c:pt>
                <c:pt idx="3598">
                  <c:v>6.7568482466751501E-3</c:v>
                </c:pt>
                <c:pt idx="3599">
                  <c:v>6.6346011502919303E-3</c:v>
                </c:pt>
                <c:pt idx="3600">
                  <c:v>6.6133685906915197E-3</c:v>
                </c:pt>
                <c:pt idx="3601">
                  <c:v>6.5954138471115004E-3</c:v>
                </c:pt>
                <c:pt idx="3602">
                  <c:v>6.6169955613019898E-3</c:v>
                </c:pt>
                <c:pt idx="3603">
                  <c:v>6.6569381036846896E-3</c:v>
                </c:pt>
                <c:pt idx="3604">
                  <c:v>6.6925207663581596E-3</c:v>
                </c:pt>
                <c:pt idx="3605">
                  <c:v>6.9109387436180397E-3</c:v>
                </c:pt>
                <c:pt idx="3606">
                  <c:v>6.8677754062477702E-3</c:v>
                </c:pt>
                <c:pt idx="3607">
                  <c:v>6.7977421265984998E-3</c:v>
                </c:pt>
                <c:pt idx="3608">
                  <c:v>6.82208196368915E-3</c:v>
                </c:pt>
                <c:pt idx="3609">
                  <c:v>6.8015912925895403E-3</c:v>
                </c:pt>
                <c:pt idx="3610">
                  <c:v>6.7641527074942202E-3</c:v>
                </c:pt>
                <c:pt idx="3611">
                  <c:v>6.7477145387547302E-3</c:v>
                </c:pt>
                <c:pt idx="3612">
                  <c:v>6.6595413736190998E-3</c:v>
                </c:pt>
                <c:pt idx="3613">
                  <c:v>6.6501652394182703E-3</c:v>
                </c:pt>
                <c:pt idx="3614">
                  <c:v>6.5672509534245097E-3</c:v>
                </c:pt>
                <c:pt idx="3615">
                  <c:v>6.4921838896872201E-3</c:v>
                </c:pt>
                <c:pt idx="3616">
                  <c:v>6.1215209489171498E-3</c:v>
                </c:pt>
                <c:pt idx="3617">
                  <c:v>6.1128002568630801E-3</c:v>
                </c:pt>
                <c:pt idx="3618">
                  <c:v>6.1322799248206897E-3</c:v>
                </c:pt>
                <c:pt idx="3619">
                  <c:v>6.1299300919011902E-3</c:v>
                </c:pt>
                <c:pt idx="3620">
                  <c:v>6.1739542812044197E-3</c:v>
                </c:pt>
                <c:pt idx="3621">
                  <c:v>5.2849788892681496E-3</c:v>
                </c:pt>
                <c:pt idx="3622">
                  <c:v>5.2864179042311603E-3</c:v>
                </c:pt>
                <c:pt idx="3623">
                  <c:v>5.2174705728548999E-3</c:v>
                </c:pt>
                <c:pt idx="3624">
                  <c:v>5.1744164145249901E-3</c:v>
                </c:pt>
                <c:pt idx="3625">
                  <c:v>5.1727729549610902E-3</c:v>
                </c:pt>
                <c:pt idx="3626">
                  <c:v>5.1490882728237597E-3</c:v>
                </c:pt>
                <c:pt idx="3627">
                  <c:v>5.1233999088714701E-3</c:v>
                </c:pt>
                <c:pt idx="3628">
                  <c:v>5.0236715037353299E-3</c:v>
                </c:pt>
                <c:pt idx="3629">
                  <c:v>5.1080776689868901E-3</c:v>
                </c:pt>
                <c:pt idx="3630">
                  <c:v>4.99303539132003E-3</c:v>
                </c:pt>
                <c:pt idx="3631">
                  <c:v>4.9868319896797797E-3</c:v>
                </c:pt>
                <c:pt idx="3632">
                  <c:v>4.9830940411895001E-3</c:v>
                </c:pt>
                <c:pt idx="3633">
                  <c:v>5.0742051055472203E-3</c:v>
                </c:pt>
                <c:pt idx="3634">
                  <c:v>5.1072337315128001E-3</c:v>
                </c:pt>
                <c:pt idx="3635">
                  <c:v>5.3626214392208001E-3</c:v>
                </c:pt>
                <c:pt idx="3636">
                  <c:v>5.2460421962963501E-3</c:v>
                </c:pt>
                <c:pt idx="3637">
                  <c:v>5.1664763411739803E-3</c:v>
                </c:pt>
                <c:pt idx="3638">
                  <c:v>5.1941951251415E-3</c:v>
                </c:pt>
                <c:pt idx="3639">
                  <c:v>5.1318942386649304E-3</c:v>
                </c:pt>
                <c:pt idx="3640">
                  <c:v>5.11947243754867E-3</c:v>
                </c:pt>
                <c:pt idx="3641">
                  <c:v>5.1107524276056701E-3</c:v>
                </c:pt>
                <c:pt idx="3642">
                  <c:v>5.1359282586541403E-3</c:v>
                </c:pt>
                <c:pt idx="3643">
                  <c:v>5.0909788681587197E-3</c:v>
                </c:pt>
                <c:pt idx="3644">
                  <c:v>5.1448467869443897E-3</c:v>
                </c:pt>
                <c:pt idx="3645">
                  <c:v>5.1941702995800202E-3</c:v>
                </c:pt>
                <c:pt idx="3646">
                  <c:v>5.2154974165650103E-3</c:v>
                </c:pt>
                <c:pt idx="3647">
                  <c:v>5.1994351090413398E-3</c:v>
                </c:pt>
                <c:pt idx="3648">
                  <c:v>5.3681397445404797E-3</c:v>
                </c:pt>
                <c:pt idx="3649">
                  <c:v>5.2946751202808603E-3</c:v>
                </c:pt>
                <c:pt idx="3650">
                  <c:v>5.2870689743727802E-3</c:v>
                </c:pt>
                <c:pt idx="3651">
                  <c:v>5.2869378551341304E-3</c:v>
                </c:pt>
                <c:pt idx="3652">
                  <c:v>5.2812139890286904E-3</c:v>
                </c:pt>
                <c:pt idx="3653">
                  <c:v>5.2903674207432898E-3</c:v>
                </c:pt>
                <c:pt idx="3654">
                  <c:v>5.2353788011217399E-3</c:v>
                </c:pt>
                <c:pt idx="3655">
                  <c:v>5.23844823644518E-3</c:v>
                </c:pt>
                <c:pt idx="3656">
                  <c:v>5.2986407864900704E-3</c:v>
                </c:pt>
                <c:pt idx="3657">
                  <c:v>5.3335676082421398E-3</c:v>
                </c:pt>
                <c:pt idx="3658">
                  <c:v>5.3126653022764602E-3</c:v>
                </c:pt>
                <c:pt idx="3659">
                  <c:v>5.2943477373853E-3</c:v>
                </c:pt>
                <c:pt idx="3660">
                  <c:v>5.2735202751572601E-3</c:v>
                </c:pt>
                <c:pt idx="3661">
                  <c:v>5.3976255298635997E-3</c:v>
                </c:pt>
                <c:pt idx="3662">
                  <c:v>5.4017093844731601E-3</c:v>
                </c:pt>
                <c:pt idx="3663">
                  <c:v>5.4696929666211399E-3</c:v>
                </c:pt>
                <c:pt idx="3664">
                  <c:v>5.4659811979415798E-3</c:v>
                </c:pt>
                <c:pt idx="3665">
                  <c:v>5.13779016395633E-3</c:v>
                </c:pt>
                <c:pt idx="3666">
                  <c:v>5.1226960793159396E-3</c:v>
                </c:pt>
                <c:pt idx="3667">
                  <c:v>5.1241454353238899E-3</c:v>
                </c:pt>
                <c:pt idx="3668">
                  <c:v>5.11969186320212E-3</c:v>
                </c:pt>
                <c:pt idx="3669">
                  <c:v>5.11952816316913E-3</c:v>
                </c:pt>
                <c:pt idx="3670">
                  <c:v>5.52448426948755E-3</c:v>
                </c:pt>
                <c:pt idx="3671">
                  <c:v>5.5240320040206101E-3</c:v>
                </c:pt>
                <c:pt idx="3672">
                  <c:v>5.5386138149445098E-3</c:v>
                </c:pt>
                <c:pt idx="3673">
                  <c:v>5.4650989541791999E-3</c:v>
                </c:pt>
                <c:pt idx="3674">
                  <c:v>5.4752242109880602E-3</c:v>
                </c:pt>
                <c:pt idx="3675">
                  <c:v>5.4765235604825498E-3</c:v>
                </c:pt>
                <c:pt idx="3676">
                  <c:v>5.5410669188245502E-3</c:v>
                </c:pt>
                <c:pt idx="3677">
                  <c:v>5.7305368021539002E-3</c:v>
                </c:pt>
                <c:pt idx="3678">
                  <c:v>5.73586766953959E-3</c:v>
                </c:pt>
                <c:pt idx="3679">
                  <c:v>5.7545840426977803E-3</c:v>
                </c:pt>
                <c:pt idx="3680">
                  <c:v>5.6579216111106098E-3</c:v>
                </c:pt>
                <c:pt idx="3681">
                  <c:v>5.6604554921182099E-3</c:v>
                </c:pt>
                <c:pt idx="3682">
                  <c:v>5.9301095497249698E-3</c:v>
                </c:pt>
                <c:pt idx="3683">
                  <c:v>5.90271087432577E-3</c:v>
                </c:pt>
                <c:pt idx="3684">
                  <c:v>5.7537915041546601E-3</c:v>
                </c:pt>
                <c:pt idx="3685">
                  <c:v>5.8831856909129796E-3</c:v>
                </c:pt>
                <c:pt idx="3686">
                  <c:v>5.86395207908576E-3</c:v>
                </c:pt>
                <c:pt idx="3687">
                  <c:v>6.00113880697512E-3</c:v>
                </c:pt>
                <c:pt idx="3688">
                  <c:v>5.9898842304476896E-3</c:v>
                </c:pt>
                <c:pt idx="3689">
                  <c:v>6.0137929459891503E-3</c:v>
                </c:pt>
                <c:pt idx="3690">
                  <c:v>6.1792593878418596E-3</c:v>
                </c:pt>
                <c:pt idx="3691">
                  <c:v>6.16546664637982E-3</c:v>
                </c:pt>
                <c:pt idx="3692">
                  <c:v>6.26193355296725E-3</c:v>
                </c:pt>
                <c:pt idx="3693">
                  <c:v>6.1836927842066703E-3</c:v>
                </c:pt>
                <c:pt idx="3694">
                  <c:v>6.1586233229690398E-3</c:v>
                </c:pt>
                <c:pt idx="3695">
                  <c:v>5.9632535142248901E-3</c:v>
                </c:pt>
                <c:pt idx="3696">
                  <c:v>6.0719126883835199E-3</c:v>
                </c:pt>
                <c:pt idx="3697">
                  <c:v>6.2188372860469097E-3</c:v>
                </c:pt>
                <c:pt idx="3698">
                  <c:v>6.1952120505891096E-3</c:v>
                </c:pt>
                <c:pt idx="3699">
                  <c:v>6.1891112298991897E-3</c:v>
                </c:pt>
                <c:pt idx="3700">
                  <c:v>6.1797719518572004E-3</c:v>
                </c:pt>
                <c:pt idx="3701">
                  <c:v>6.2006247560624497E-3</c:v>
                </c:pt>
                <c:pt idx="3702">
                  <c:v>6.1168857422367598E-3</c:v>
                </c:pt>
                <c:pt idx="3703">
                  <c:v>6.16950060240057E-3</c:v>
                </c:pt>
                <c:pt idx="3704">
                  <c:v>6.1353106478939101E-3</c:v>
                </c:pt>
                <c:pt idx="3705">
                  <c:v>6.2771538485427497E-3</c:v>
                </c:pt>
                <c:pt idx="3706">
                  <c:v>6.2601569083299098E-3</c:v>
                </c:pt>
                <c:pt idx="3707">
                  <c:v>6.5903548795012198E-3</c:v>
                </c:pt>
                <c:pt idx="3708">
                  <c:v>6.4297731676939097E-3</c:v>
                </c:pt>
                <c:pt idx="3709">
                  <c:v>6.4836392477306904E-3</c:v>
                </c:pt>
                <c:pt idx="3710">
                  <c:v>6.4925748410641203E-3</c:v>
                </c:pt>
                <c:pt idx="3711">
                  <c:v>6.5691953796670902E-3</c:v>
                </c:pt>
                <c:pt idx="3712">
                  <c:v>6.5884783692985198E-3</c:v>
                </c:pt>
                <c:pt idx="3713">
                  <c:v>6.5550165373474299E-3</c:v>
                </c:pt>
                <c:pt idx="3714">
                  <c:v>6.5202362443016696E-3</c:v>
                </c:pt>
                <c:pt idx="3715">
                  <c:v>6.5088283427063897E-3</c:v>
                </c:pt>
                <c:pt idx="3716">
                  <c:v>6.48633076393796E-3</c:v>
                </c:pt>
                <c:pt idx="3717">
                  <c:v>6.4076362169541096E-3</c:v>
                </c:pt>
                <c:pt idx="3718">
                  <c:v>6.5380949640976302E-3</c:v>
                </c:pt>
                <c:pt idx="3719">
                  <c:v>6.5556766697051697E-3</c:v>
                </c:pt>
                <c:pt idx="3720">
                  <c:v>6.5509950192820599E-3</c:v>
                </c:pt>
                <c:pt idx="3721">
                  <c:v>6.4902910326152998E-3</c:v>
                </c:pt>
                <c:pt idx="3722">
                  <c:v>6.4869730928792096E-3</c:v>
                </c:pt>
                <c:pt idx="3723">
                  <c:v>6.4591410036174603E-3</c:v>
                </c:pt>
                <c:pt idx="3724">
                  <c:v>6.9024485899348903E-3</c:v>
                </c:pt>
                <c:pt idx="3725">
                  <c:v>7.03967943258396E-3</c:v>
                </c:pt>
                <c:pt idx="3726">
                  <c:v>7.0429374805266601E-3</c:v>
                </c:pt>
                <c:pt idx="3727">
                  <c:v>7.0506010311821203E-3</c:v>
                </c:pt>
                <c:pt idx="3728">
                  <c:v>7.0625938433332798E-3</c:v>
                </c:pt>
                <c:pt idx="3729">
                  <c:v>7.0605218919862602E-3</c:v>
                </c:pt>
                <c:pt idx="3730">
                  <c:v>6.7374298548974502E-3</c:v>
                </c:pt>
                <c:pt idx="3731">
                  <c:v>6.7322275281203698E-3</c:v>
                </c:pt>
                <c:pt idx="3732">
                  <c:v>6.7254022823152503E-3</c:v>
                </c:pt>
                <c:pt idx="3733">
                  <c:v>6.7846453264362302E-3</c:v>
                </c:pt>
                <c:pt idx="3734">
                  <c:v>7.0351176612496596E-3</c:v>
                </c:pt>
                <c:pt idx="3735">
                  <c:v>7.1198483786606096E-3</c:v>
                </c:pt>
                <c:pt idx="3736">
                  <c:v>7.1031970514922899E-3</c:v>
                </c:pt>
                <c:pt idx="3737">
                  <c:v>6.9805413707652196E-3</c:v>
                </c:pt>
                <c:pt idx="3738">
                  <c:v>6.95533393111414E-3</c:v>
                </c:pt>
                <c:pt idx="3739">
                  <c:v>6.9449934059201204E-3</c:v>
                </c:pt>
                <c:pt idx="3740">
                  <c:v>6.9507546476912001E-3</c:v>
                </c:pt>
                <c:pt idx="3741">
                  <c:v>6.9532925783257604E-3</c:v>
                </c:pt>
                <c:pt idx="3742">
                  <c:v>6.7050212973521596E-3</c:v>
                </c:pt>
                <c:pt idx="3743">
                  <c:v>6.74493167461576E-3</c:v>
                </c:pt>
                <c:pt idx="3744">
                  <c:v>6.7296707130916397E-3</c:v>
                </c:pt>
                <c:pt idx="3745">
                  <c:v>6.6392609800983498E-3</c:v>
                </c:pt>
                <c:pt idx="3746">
                  <c:v>6.6301598573229497E-3</c:v>
                </c:pt>
                <c:pt idx="3747">
                  <c:v>6.4905508142881398E-3</c:v>
                </c:pt>
                <c:pt idx="3748">
                  <c:v>6.5156033728962903E-3</c:v>
                </c:pt>
                <c:pt idx="3749">
                  <c:v>6.4320103085788198E-3</c:v>
                </c:pt>
                <c:pt idx="3750">
                  <c:v>6.26060355110557E-3</c:v>
                </c:pt>
                <c:pt idx="3751">
                  <c:v>6.2766758302167797E-3</c:v>
                </c:pt>
                <c:pt idx="3752">
                  <c:v>6.1813054485097196E-3</c:v>
                </c:pt>
                <c:pt idx="3753">
                  <c:v>6.1470466872647796E-3</c:v>
                </c:pt>
                <c:pt idx="3754">
                  <c:v>6.1455216773743503E-3</c:v>
                </c:pt>
                <c:pt idx="3755">
                  <c:v>6.1584872367244801E-3</c:v>
                </c:pt>
                <c:pt idx="3756">
                  <c:v>6.0379336892912401E-3</c:v>
                </c:pt>
                <c:pt idx="3757">
                  <c:v>5.8937971935930696E-3</c:v>
                </c:pt>
                <c:pt idx="3758">
                  <c:v>5.8934654490307497E-3</c:v>
                </c:pt>
                <c:pt idx="3759">
                  <c:v>5.90019246915188E-3</c:v>
                </c:pt>
                <c:pt idx="3760">
                  <c:v>6.0663368445070904E-3</c:v>
                </c:pt>
                <c:pt idx="3761">
                  <c:v>6.0486708859952198E-3</c:v>
                </c:pt>
                <c:pt idx="3762">
                  <c:v>6.0300617713586104E-3</c:v>
                </c:pt>
                <c:pt idx="3763">
                  <c:v>5.9718041795924397E-3</c:v>
                </c:pt>
                <c:pt idx="3764">
                  <c:v>5.9570077496692297E-3</c:v>
                </c:pt>
                <c:pt idx="3765">
                  <c:v>5.7697783081109297E-3</c:v>
                </c:pt>
                <c:pt idx="3766">
                  <c:v>5.77183460170005E-3</c:v>
                </c:pt>
                <c:pt idx="3767">
                  <c:v>5.4618238584073697E-3</c:v>
                </c:pt>
                <c:pt idx="3768">
                  <c:v>5.4638049464558998E-3</c:v>
                </c:pt>
                <c:pt idx="3769">
                  <c:v>5.4138713676561102E-3</c:v>
                </c:pt>
                <c:pt idx="3770">
                  <c:v>5.3984441237684196E-3</c:v>
                </c:pt>
                <c:pt idx="3771">
                  <c:v>5.3766745588783504E-3</c:v>
                </c:pt>
                <c:pt idx="3772">
                  <c:v>5.35566733327251E-3</c:v>
                </c:pt>
                <c:pt idx="3773">
                  <c:v>5.3690133641994802E-3</c:v>
                </c:pt>
                <c:pt idx="3774">
                  <c:v>5.4195049371180502E-3</c:v>
                </c:pt>
                <c:pt idx="3775">
                  <c:v>5.4335771516316302E-3</c:v>
                </c:pt>
                <c:pt idx="3776">
                  <c:v>5.3488645892091104E-3</c:v>
                </c:pt>
                <c:pt idx="3777">
                  <c:v>5.3487877471773302E-3</c:v>
                </c:pt>
                <c:pt idx="3778">
                  <c:v>5.1924697558063896E-3</c:v>
                </c:pt>
                <c:pt idx="3779">
                  <c:v>5.12868956737564E-3</c:v>
                </c:pt>
                <c:pt idx="3780">
                  <c:v>5.1585465116878101E-3</c:v>
                </c:pt>
                <c:pt idx="3781">
                  <c:v>5.2370402135053697E-3</c:v>
                </c:pt>
                <c:pt idx="3782">
                  <c:v>5.2461486547985504E-3</c:v>
                </c:pt>
                <c:pt idx="3783">
                  <c:v>5.2444784897014204E-3</c:v>
                </c:pt>
                <c:pt idx="3784">
                  <c:v>4.6142431810263403E-3</c:v>
                </c:pt>
                <c:pt idx="3785">
                  <c:v>4.3953837436537602E-3</c:v>
                </c:pt>
                <c:pt idx="3786">
                  <c:v>4.5372760933585698E-3</c:v>
                </c:pt>
                <c:pt idx="3787">
                  <c:v>4.6377950324464502E-3</c:v>
                </c:pt>
                <c:pt idx="3788">
                  <c:v>4.6789517597336898E-3</c:v>
                </c:pt>
                <c:pt idx="3789">
                  <c:v>4.6866231309725297E-3</c:v>
                </c:pt>
                <c:pt idx="3790">
                  <c:v>4.7006714636890897E-3</c:v>
                </c:pt>
                <c:pt idx="3791">
                  <c:v>5.1309268271932801E-3</c:v>
                </c:pt>
                <c:pt idx="3792">
                  <c:v>5.1296709499003799E-3</c:v>
                </c:pt>
                <c:pt idx="3793">
                  <c:v>6.5212559005007201E-3</c:v>
                </c:pt>
                <c:pt idx="3794">
                  <c:v>6.2316877663733602E-3</c:v>
                </c:pt>
                <c:pt idx="3795">
                  <c:v>6.3417146984169797E-3</c:v>
                </c:pt>
                <c:pt idx="3796">
                  <c:v>6.3297997054246498E-3</c:v>
                </c:pt>
                <c:pt idx="3797">
                  <c:v>6.3312602260502003E-3</c:v>
                </c:pt>
                <c:pt idx="3798">
                  <c:v>6.5216992790356502E-3</c:v>
                </c:pt>
                <c:pt idx="3799">
                  <c:v>6.5286658051558104E-3</c:v>
                </c:pt>
                <c:pt idx="3800">
                  <c:v>6.5409672685862097E-3</c:v>
                </c:pt>
                <c:pt idx="3801">
                  <c:v>6.56122771697928E-3</c:v>
                </c:pt>
                <c:pt idx="3802">
                  <c:v>6.6109922642053004E-3</c:v>
                </c:pt>
                <c:pt idx="3803">
                  <c:v>6.7475398479260396E-3</c:v>
                </c:pt>
                <c:pt idx="3804">
                  <c:v>6.8128943554245499E-3</c:v>
                </c:pt>
                <c:pt idx="3805">
                  <c:v>7.1038869026460198E-3</c:v>
                </c:pt>
                <c:pt idx="3806">
                  <c:v>7.3317569667700798E-3</c:v>
                </c:pt>
                <c:pt idx="3807">
                  <c:v>7.3985834753585696E-3</c:v>
                </c:pt>
                <c:pt idx="3808">
                  <c:v>7.4314652859616302E-3</c:v>
                </c:pt>
                <c:pt idx="3809">
                  <c:v>7.5950279283151702E-3</c:v>
                </c:pt>
                <c:pt idx="3810">
                  <c:v>7.5885202974275597E-3</c:v>
                </c:pt>
                <c:pt idx="3811">
                  <c:v>7.72679376918363E-3</c:v>
                </c:pt>
                <c:pt idx="3812">
                  <c:v>7.7275113724906402E-3</c:v>
                </c:pt>
                <c:pt idx="3813">
                  <c:v>7.7987514196407003E-3</c:v>
                </c:pt>
                <c:pt idx="3814">
                  <c:v>7.8169359699022303E-3</c:v>
                </c:pt>
                <c:pt idx="3815">
                  <c:v>7.7947581225896196E-3</c:v>
                </c:pt>
                <c:pt idx="3816">
                  <c:v>7.7991425476818003E-3</c:v>
                </c:pt>
                <c:pt idx="3817">
                  <c:v>8.0845565879202001E-3</c:v>
                </c:pt>
                <c:pt idx="3818">
                  <c:v>8.12370432746869E-3</c:v>
                </c:pt>
                <c:pt idx="3819">
                  <c:v>8.1202069694904996E-3</c:v>
                </c:pt>
                <c:pt idx="3820">
                  <c:v>8.1725345958108594E-3</c:v>
                </c:pt>
                <c:pt idx="3821">
                  <c:v>8.1968183949815802E-3</c:v>
                </c:pt>
                <c:pt idx="3822">
                  <c:v>8.2022881052634701E-3</c:v>
                </c:pt>
                <c:pt idx="3823">
                  <c:v>8.2015676090927605E-3</c:v>
                </c:pt>
                <c:pt idx="3824">
                  <c:v>8.2185297471975404E-3</c:v>
                </c:pt>
                <c:pt idx="3825">
                  <c:v>8.2454044860282398E-3</c:v>
                </c:pt>
                <c:pt idx="3826">
                  <c:v>8.2545039641948505E-3</c:v>
                </c:pt>
                <c:pt idx="3827">
                  <c:v>8.2101327007856606E-3</c:v>
                </c:pt>
                <c:pt idx="3828">
                  <c:v>8.2024430147766697E-3</c:v>
                </c:pt>
                <c:pt idx="3829">
                  <c:v>8.1982055129501494E-3</c:v>
                </c:pt>
                <c:pt idx="3830">
                  <c:v>8.2424441590464703E-3</c:v>
                </c:pt>
                <c:pt idx="3831">
                  <c:v>8.2194283768490806E-3</c:v>
                </c:pt>
                <c:pt idx="3832">
                  <c:v>8.2275525741983598E-3</c:v>
                </c:pt>
                <c:pt idx="3833">
                  <c:v>8.2228193078846597E-3</c:v>
                </c:pt>
                <c:pt idx="3834">
                  <c:v>8.3040702176655993E-3</c:v>
                </c:pt>
                <c:pt idx="3835">
                  <c:v>8.3699780386257902E-3</c:v>
                </c:pt>
                <c:pt idx="3836">
                  <c:v>8.36487322342668E-3</c:v>
                </c:pt>
                <c:pt idx="3837">
                  <c:v>8.40041667565131E-3</c:v>
                </c:pt>
                <c:pt idx="3838">
                  <c:v>8.4034412602100109E-3</c:v>
                </c:pt>
                <c:pt idx="3839">
                  <c:v>8.7780956621531896E-3</c:v>
                </c:pt>
                <c:pt idx="3840">
                  <c:v>8.87849878785699E-3</c:v>
                </c:pt>
                <c:pt idx="3841">
                  <c:v>8.8401571908422096E-3</c:v>
                </c:pt>
                <c:pt idx="3842">
                  <c:v>8.8941133083307294E-3</c:v>
                </c:pt>
                <c:pt idx="3843">
                  <c:v>8.8842759320830605E-3</c:v>
                </c:pt>
                <c:pt idx="3844">
                  <c:v>8.8217269793704201E-3</c:v>
                </c:pt>
                <c:pt idx="3845">
                  <c:v>9.6422724763634195E-3</c:v>
                </c:pt>
                <c:pt idx="3846">
                  <c:v>1.0093411176702601E-2</c:v>
                </c:pt>
                <c:pt idx="3847">
                  <c:v>1.0135310500479699E-2</c:v>
                </c:pt>
                <c:pt idx="3848">
                  <c:v>1.15261600223109E-2</c:v>
                </c:pt>
                <c:pt idx="3849">
                  <c:v>1.16485488934473E-2</c:v>
                </c:pt>
                <c:pt idx="3850">
                  <c:v>1.1732296975647099E-2</c:v>
                </c:pt>
                <c:pt idx="3851">
                  <c:v>1.1537339903747701E-2</c:v>
                </c:pt>
                <c:pt idx="3852">
                  <c:v>1.1888233119793999E-2</c:v>
                </c:pt>
                <c:pt idx="3853">
                  <c:v>1.12629175183238E-2</c:v>
                </c:pt>
                <c:pt idx="3854">
                  <c:v>1.13634398033038E-2</c:v>
                </c:pt>
                <c:pt idx="3855">
                  <c:v>1.1389072326546699E-2</c:v>
                </c:pt>
                <c:pt idx="3856">
                  <c:v>1.14435571803849E-2</c:v>
                </c:pt>
                <c:pt idx="3857">
                  <c:v>1.14735329324734E-2</c:v>
                </c:pt>
                <c:pt idx="3858">
                  <c:v>1.14184236038294E-2</c:v>
                </c:pt>
                <c:pt idx="3859">
                  <c:v>1.1415386625846E-2</c:v>
                </c:pt>
                <c:pt idx="3860">
                  <c:v>1.15005121773417E-2</c:v>
                </c:pt>
                <c:pt idx="3861">
                  <c:v>1.15217427745893E-2</c:v>
                </c:pt>
                <c:pt idx="3862">
                  <c:v>1.1566860738032101E-2</c:v>
                </c:pt>
                <c:pt idx="3863">
                  <c:v>1.15060502393215E-2</c:v>
                </c:pt>
                <c:pt idx="3864">
                  <c:v>1.14757763872899E-2</c:v>
                </c:pt>
                <c:pt idx="3865">
                  <c:v>1.1346037970606199E-2</c:v>
                </c:pt>
                <c:pt idx="3866">
                  <c:v>1.12269315677189E-2</c:v>
                </c:pt>
                <c:pt idx="3867">
                  <c:v>1.1197500483692901E-2</c:v>
                </c:pt>
                <c:pt idx="3868">
                  <c:v>1.1243644205179501E-2</c:v>
                </c:pt>
                <c:pt idx="3869">
                  <c:v>1.11552861240331E-2</c:v>
                </c:pt>
                <c:pt idx="3870">
                  <c:v>1.1155045825022801E-2</c:v>
                </c:pt>
                <c:pt idx="3871">
                  <c:v>1.1055172114851399E-2</c:v>
                </c:pt>
                <c:pt idx="3872">
                  <c:v>1.1132009835862801E-2</c:v>
                </c:pt>
                <c:pt idx="3873">
                  <c:v>1.16785077428119E-2</c:v>
                </c:pt>
                <c:pt idx="3874">
                  <c:v>1.1697563899953E-2</c:v>
                </c:pt>
                <c:pt idx="3875">
                  <c:v>1.17539175656741E-2</c:v>
                </c:pt>
                <c:pt idx="3876">
                  <c:v>1.19624781005023E-2</c:v>
                </c:pt>
                <c:pt idx="3877">
                  <c:v>1.19431852127104E-2</c:v>
                </c:pt>
                <c:pt idx="3878">
                  <c:v>1.1906377772442101E-2</c:v>
                </c:pt>
                <c:pt idx="3879">
                  <c:v>1.19016927507183E-2</c:v>
                </c:pt>
                <c:pt idx="3880">
                  <c:v>1.17687466550581E-2</c:v>
                </c:pt>
                <c:pt idx="3881">
                  <c:v>1.17354782495549E-2</c:v>
                </c:pt>
                <c:pt idx="3882">
                  <c:v>1.17151297966372E-2</c:v>
                </c:pt>
                <c:pt idx="3883">
                  <c:v>1.1995541293180499E-2</c:v>
                </c:pt>
                <c:pt idx="3884">
                  <c:v>1.1979491730552501E-2</c:v>
                </c:pt>
                <c:pt idx="3885">
                  <c:v>1.19920715198376E-2</c:v>
                </c:pt>
                <c:pt idx="3886">
                  <c:v>1.19927351496432E-2</c:v>
                </c:pt>
                <c:pt idx="3887">
                  <c:v>1.2143753925113E-2</c:v>
                </c:pt>
                <c:pt idx="3888">
                  <c:v>1.22534510953132E-2</c:v>
                </c:pt>
                <c:pt idx="3889">
                  <c:v>1.22812028259007E-2</c:v>
                </c:pt>
                <c:pt idx="3890">
                  <c:v>1.2349315487417301E-2</c:v>
                </c:pt>
                <c:pt idx="3891">
                  <c:v>1.24400188056329E-2</c:v>
                </c:pt>
                <c:pt idx="3892">
                  <c:v>1.24097576350493E-2</c:v>
                </c:pt>
                <c:pt idx="3893">
                  <c:v>1.2724761861186901E-2</c:v>
                </c:pt>
                <c:pt idx="3894">
                  <c:v>1.2599343771129499E-2</c:v>
                </c:pt>
                <c:pt idx="3895">
                  <c:v>1.2681481387812299E-2</c:v>
                </c:pt>
                <c:pt idx="3896">
                  <c:v>1.26752756216463E-2</c:v>
                </c:pt>
                <c:pt idx="3897">
                  <c:v>1.26812598914213E-2</c:v>
                </c:pt>
                <c:pt idx="3898">
                  <c:v>1.2725535680936401E-2</c:v>
                </c:pt>
                <c:pt idx="3899">
                  <c:v>1.2559019346106801E-2</c:v>
                </c:pt>
                <c:pt idx="3900">
                  <c:v>1.2715706492219101E-2</c:v>
                </c:pt>
                <c:pt idx="3901">
                  <c:v>1.28052012000337E-2</c:v>
                </c:pt>
                <c:pt idx="3902">
                  <c:v>1.27854998674868E-2</c:v>
                </c:pt>
                <c:pt idx="3903">
                  <c:v>1.2781393899252201E-2</c:v>
                </c:pt>
                <c:pt idx="3904">
                  <c:v>1.27866094355068E-2</c:v>
                </c:pt>
                <c:pt idx="3905">
                  <c:v>1.23181119556577E-2</c:v>
                </c:pt>
                <c:pt idx="3906">
                  <c:v>1.1955364643966101E-2</c:v>
                </c:pt>
                <c:pt idx="3907">
                  <c:v>1.19373344354415E-2</c:v>
                </c:pt>
                <c:pt idx="3908">
                  <c:v>1.05532476809063E-2</c:v>
                </c:pt>
                <c:pt idx="3909">
                  <c:v>1.05030720505804E-2</c:v>
                </c:pt>
                <c:pt idx="3910">
                  <c:v>1.0410810750118999E-2</c:v>
                </c:pt>
                <c:pt idx="3911">
                  <c:v>1.03685033812343E-2</c:v>
                </c:pt>
                <c:pt idx="3912">
                  <c:v>1.0104882641853399E-2</c:v>
                </c:pt>
                <c:pt idx="3913">
                  <c:v>1.0112089473836201E-2</c:v>
                </c:pt>
                <c:pt idx="3914">
                  <c:v>9.9781571707912593E-3</c:v>
                </c:pt>
                <c:pt idx="3915">
                  <c:v>9.8498505459464897E-3</c:v>
                </c:pt>
                <c:pt idx="3916">
                  <c:v>9.8362921285932107E-3</c:v>
                </c:pt>
                <c:pt idx="3917">
                  <c:v>1.01372319225023E-2</c:v>
                </c:pt>
                <c:pt idx="3918">
                  <c:v>1.050077246423E-2</c:v>
                </c:pt>
                <c:pt idx="3919">
                  <c:v>1.0543422923111299E-2</c:v>
                </c:pt>
                <c:pt idx="3920">
                  <c:v>1.0500562163020701E-2</c:v>
                </c:pt>
                <c:pt idx="3921">
                  <c:v>1.0561440344471901E-2</c:v>
                </c:pt>
                <c:pt idx="3922">
                  <c:v>1.0464922167992E-2</c:v>
                </c:pt>
                <c:pt idx="3923">
                  <c:v>1.0403294312351E-2</c:v>
                </c:pt>
                <c:pt idx="3924">
                  <c:v>1.0495690516606501E-2</c:v>
                </c:pt>
                <c:pt idx="3925">
                  <c:v>1.0452346839866801E-2</c:v>
                </c:pt>
                <c:pt idx="3926">
                  <c:v>1.05859269015454E-2</c:v>
                </c:pt>
                <c:pt idx="3927">
                  <c:v>1.0609991840779501E-2</c:v>
                </c:pt>
                <c:pt idx="3928">
                  <c:v>1.05580663752792E-2</c:v>
                </c:pt>
                <c:pt idx="3929">
                  <c:v>1.0545155412567101E-2</c:v>
                </c:pt>
                <c:pt idx="3930">
                  <c:v>1.1442594388703301E-2</c:v>
                </c:pt>
                <c:pt idx="3931">
                  <c:v>1.14644792087311E-2</c:v>
                </c:pt>
                <c:pt idx="3932">
                  <c:v>1.14869199230044E-2</c:v>
                </c:pt>
                <c:pt idx="3933">
                  <c:v>1.0941412232333201E-2</c:v>
                </c:pt>
                <c:pt idx="3934">
                  <c:v>1.10352104569225E-2</c:v>
                </c:pt>
                <c:pt idx="3935">
                  <c:v>1.0990763501079E-2</c:v>
                </c:pt>
                <c:pt idx="3936">
                  <c:v>1.1054913421628201E-2</c:v>
                </c:pt>
                <c:pt idx="3937">
                  <c:v>1.09311976601855E-2</c:v>
                </c:pt>
                <c:pt idx="3938">
                  <c:v>1.1482170832389201E-2</c:v>
                </c:pt>
                <c:pt idx="3939">
                  <c:v>1.20388667191154E-2</c:v>
                </c:pt>
                <c:pt idx="3940">
                  <c:v>1.20310952825311E-2</c:v>
                </c:pt>
                <c:pt idx="3941">
                  <c:v>1.21201873276248E-2</c:v>
                </c:pt>
                <c:pt idx="3942">
                  <c:v>1.21292550887374E-2</c:v>
                </c:pt>
                <c:pt idx="3943">
                  <c:v>1.1861193601461401E-2</c:v>
                </c:pt>
                <c:pt idx="3944">
                  <c:v>1.24666546979818E-2</c:v>
                </c:pt>
                <c:pt idx="3945">
                  <c:v>1.2435859730569199E-2</c:v>
                </c:pt>
                <c:pt idx="3946">
                  <c:v>1.25796000891774E-2</c:v>
                </c:pt>
                <c:pt idx="3947">
                  <c:v>1.2799285001273499E-2</c:v>
                </c:pt>
                <c:pt idx="3948">
                  <c:v>1.26720326339732E-2</c:v>
                </c:pt>
                <c:pt idx="3949">
                  <c:v>1.2662709929142301E-2</c:v>
                </c:pt>
                <c:pt idx="3950">
                  <c:v>1.2556748089910801E-2</c:v>
                </c:pt>
                <c:pt idx="3951">
                  <c:v>1.2470360556021499E-2</c:v>
                </c:pt>
                <c:pt idx="3952">
                  <c:v>1.24645408272135E-2</c:v>
                </c:pt>
                <c:pt idx="3953">
                  <c:v>1.24179047505108E-2</c:v>
                </c:pt>
                <c:pt idx="3954">
                  <c:v>1.24941387456497E-2</c:v>
                </c:pt>
                <c:pt idx="3955">
                  <c:v>1.24609055620243E-2</c:v>
                </c:pt>
                <c:pt idx="3956">
                  <c:v>1.24600343375893E-2</c:v>
                </c:pt>
                <c:pt idx="3957">
                  <c:v>1.2533226085733699E-2</c:v>
                </c:pt>
                <c:pt idx="3958">
                  <c:v>1.24860663012103E-2</c:v>
                </c:pt>
                <c:pt idx="3959">
                  <c:v>1.24772166389518E-2</c:v>
                </c:pt>
                <c:pt idx="3960">
                  <c:v>1.2282821303339001E-2</c:v>
                </c:pt>
                <c:pt idx="3961">
                  <c:v>1.2396979528532E-2</c:v>
                </c:pt>
                <c:pt idx="3962">
                  <c:v>1.2675042662950499E-2</c:v>
                </c:pt>
                <c:pt idx="3963">
                  <c:v>1.27658745653218E-2</c:v>
                </c:pt>
                <c:pt idx="3964">
                  <c:v>1.2828228428363E-2</c:v>
                </c:pt>
                <c:pt idx="3965">
                  <c:v>1.33739111095794E-2</c:v>
                </c:pt>
                <c:pt idx="3966">
                  <c:v>1.34649812967299E-2</c:v>
                </c:pt>
                <c:pt idx="3967">
                  <c:v>1.39073505225982E-2</c:v>
                </c:pt>
                <c:pt idx="3968">
                  <c:v>1.39023930905064E-2</c:v>
                </c:pt>
                <c:pt idx="3969">
                  <c:v>1.38129656738958E-2</c:v>
                </c:pt>
                <c:pt idx="3970">
                  <c:v>1.3786779933907501E-2</c:v>
                </c:pt>
                <c:pt idx="3971">
                  <c:v>1.40699865361327E-2</c:v>
                </c:pt>
                <c:pt idx="3972">
                  <c:v>1.40051903808136E-2</c:v>
                </c:pt>
                <c:pt idx="3973">
                  <c:v>1.4076551653923601E-2</c:v>
                </c:pt>
                <c:pt idx="3974">
                  <c:v>1.41990173879241E-2</c:v>
                </c:pt>
                <c:pt idx="3975">
                  <c:v>1.4419887231082401E-2</c:v>
                </c:pt>
                <c:pt idx="3976">
                  <c:v>1.44096535884745E-2</c:v>
                </c:pt>
                <c:pt idx="3977">
                  <c:v>1.4208575667506799E-2</c:v>
                </c:pt>
                <c:pt idx="3978">
                  <c:v>1.38956961812958E-2</c:v>
                </c:pt>
                <c:pt idx="3979">
                  <c:v>1.42805874056644E-2</c:v>
                </c:pt>
                <c:pt idx="3980">
                  <c:v>1.42011863236842E-2</c:v>
                </c:pt>
                <c:pt idx="3981">
                  <c:v>1.41193461969834E-2</c:v>
                </c:pt>
                <c:pt idx="3982">
                  <c:v>1.41610664101293E-2</c:v>
                </c:pt>
                <c:pt idx="3983">
                  <c:v>1.4165115433544701E-2</c:v>
                </c:pt>
                <c:pt idx="3984">
                  <c:v>1.4090386700593E-2</c:v>
                </c:pt>
                <c:pt idx="3985">
                  <c:v>1.42159011066473E-2</c:v>
                </c:pt>
                <c:pt idx="3986">
                  <c:v>1.42771821042632E-2</c:v>
                </c:pt>
                <c:pt idx="3987">
                  <c:v>1.42852650368446E-2</c:v>
                </c:pt>
                <c:pt idx="3988">
                  <c:v>1.4312331912992299E-2</c:v>
                </c:pt>
                <c:pt idx="3989">
                  <c:v>1.4395258043126399E-2</c:v>
                </c:pt>
                <c:pt idx="3990">
                  <c:v>1.3711816423533901E-2</c:v>
                </c:pt>
                <c:pt idx="3991">
                  <c:v>1.37044937223165E-2</c:v>
                </c:pt>
                <c:pt idx="3992">
                  <c:v>1.37438965966983E-2</c:v>
                </c:pt>
                <c:pt idx="3993">
                  <c:v>1.3727694461374101E-2</c:v>
                </c:pt>
                <c:pt idx="3994">
                  <c:v>1.37014360613841E-2</c:v>
                </c:pt>
                <c:pt idx="3995">
                  <c:v>1.3955279535658401E-2</c:v>
                </c:pt>
                <c:pt idx="3996">
                  <c:v>1.3843084363801999E-2</c:v>
                </c:pt>
                <c:pt idx="3997">
                  <c:v>1.37848820972998E-2</c:v>
                </c:pt>
                <c:pt idx="3998">
                  <c:v>1.39442833625788E-2</c:v>
                </c:pt>
                <c:pt idx="3999">
                  <c:v>1.34541470943433E-2</c:v>
                </c:pt>
                <c:pt idx="4000">
                  <c:v>1.3530946477178901E-2</c:v>
                </c:pt>
                <c:pt idx="4001">
                  <c:v>1.34259702149382E-2</c:v>
                </c:pt>
                <c:pt idx="4002">
                  <c:v>1.34604665685897E-2</c:v>
                </c:pt>
                <c:pt idx="4003">
                  <c:v>1.4604079934620399E-2</c:v>
                </c:pt>
                <c:pt idx="4004">
                  <c:v>1.41359287485038E-2</c:v>
                </c:pt>
                <c:pt idx="4005">
                  <c:v>1.4130423310452301E-2</c:v>
                </c:pt>
                <c:pt idx="4006">
                  <c:v>1.53046259780824E-2</c:v>
                </c:pt>
                <c:pt idx="4007">
                  <c:v>1.5162202280347601E-2</c:v>
                </c:pt>
                <c:pt idx="4008">
                  <c:v>1.5233277846212199E-2</c:v>
                </c:pt>
                <c:pt idx="4009">
                  <c:v>1.52463528021694E-2</c:v>
                </c:pt>
                <c:pt idx="4010">
                  <c:v>1.52635938118874E-2</c:v>
                </c:pt>
                <c:pt idx="4011">
                  <c:v>1.5526853303024101E-2</c:v>
                </c:pt>
                <c:pt idx="4012">
                  <c:v>1.6044203468591901E-2</c:v>
                </c:pt>
                <c:pt idx="4013">
                  <c:v>1.6817356197192601E-2</c:v>
                </c:pt>
                <c:pt idx="4014">
                  <c:v>1.7084864087947401E-2</c:v>
                </c:pt>
                <c:pt idx="4015">
                  <c:v>1.6936588315390699E-2</c:v>
                </c:pt>
                <c:pt idx="4016">
                  <c:v>1.69435966164866E-2</c:v>
                </c:pt>
                <c:pt idx="4017">
                  <c:v>1.6906107772124899E-2</c:v>
                </c:pt>
                <c:pt idx="4018">
                  <c:v>1.73182490182913E-2</c:v>
                </c:pt>
                <c:pt idx="4019">
                  <c:v>1.73998001718134E-2</c:v>
                </c:pt>
                <c:pt idx="4020">
                  <c:v>1.7518109670149499E-2</c:v>
                </c:pt>
                <c:pt idx="4021">
                  <c:v>1.7389000813606802E-2</c:v>
                </c:pt>
                <c:pt idx="4022">
                  <c:v>1.7786476847206301E-2</c:v>
                </c:pt>
                <c:pt idx="4023">
                  <c:v>1.76900314297142E-2</c:v>
                </c:pt>
                <c:pt idx="4024">
                  <c:v>1.7630922819713499E-2</c:v>
                </c:pt>
                <c:pt idx="4025">
                  <c:v>1.7233597392456598E-2</c:v>
                </c:pt>
                <c:pt idx="4026">
                  <c:v>1.71153663146302E-2</c:v>
                </c:pt>
                <c:pt idx="4027">
                  <c:v>1.6878105512145299E-2</c:v>
                </c:pt>
                <c:pt idx="4028">
                  <c:v>1.69563095342515E-2</c:v>
                </c:pt>
                <c:pt idx="4029">
                  <c:v>1.70096914303642E-2</c:v>
                </c:pt>
                <c:pt idx="4030">
                  <c:v>1.7042984179034399E-2</c:v>
                </c:pt>
                <c:pt idx="4031">
                  <c:v>1.6835173017169899E-2</c:v>
                </c:pt>
                <c:pt idx="4032">
                  <c:v>1.6837125155416299E-2</c:v>
                </c:pt>
                <c:pt idx="4033">
                  <c:v>1.6792425952655E-2</c:v>
                </c:pt>
                <c:pt idx="4034">
                  <c:v>1.7001108120844401E-2</c:v>
                </c:pt>
                <c:pt idx="4035">
                  <c:v>1.6835745399262799E-2</c:v>
                </c:pt>
                <c:pt idx="4036">
                  <c:v>1.6827747513888599E-2</c:v>
                </c:pt>
                <c:pt idx="4037">
                  <c:v>1.7052278256927199E-2</c:v>
                </c:pt>
                <c:pt idx="4038">
                  <c:v>1.70491327253714E-2</c:v>
                </c:pt>
                <c:pt idx="4039">
                  <c:v>1.6727998038120001E-2</c:v>
                </c:pt>
                <c:pt idx="4040">
                  <c:v>1.6833219796211499E-2</c:v>
                </c:pt>
                <c:pt idx="4041">
                  <c:v>1.6900086696146201E-2</c:v>
                </c:pt>
                <c:pt idx="4042">
                  <c:v>1.6929984194107399E-2</c:v>
                </c:pt>
                <c:pt idx="4043">
                  <c:v>1.73110525074422E-2</c:v>
                </c:pt>
                <c:pt idx="4044">
                  <c:v>1.7307903865019798E-2</c:v>
                </c:pt>
                <c:pt idx="4045">
                  <c:v>1.7234391741999699E-2</c:v>
                </c:pt>
                <c:pt idx="4046">
                  <c:v>1.7276533044345701E-2</c:v>
                </c:pt>
                <c:pt idx="4047">
                  <c:v>1.7225147159903701E-2</c:v>
                </c:pt>
                <c:pt idx="4048">
                  <c:v>1.72728288079315E-2</c:v>
                </c:pt>
                <c:pt idx="4049">
                  <c:v>1.71890087378277E-2</c:v>
                </c:pt>
                <c:pt idx="4050">
                  <c:v>1.71947752021381E-2</c:v>
                </c:pt>
                <c:pt idx="4051">
                  <c:v>1.7289364383688301E-2</c:v>
                </c:pt>
                <c:pt idx="4052">
                  <c:v>1.7368072402947899E-2</c:v>
                </c:pt>
                <c:pt idx="4053">
                  <c:v>1.7366507810853499E-2</c:v>
                </c:pt>
                <c:pt idx="4054">
                  <c:v>1.73550533897294E-2</c:v>
                </c:pt>
                <c:pt idx="4055">
                  <c:v>1.72099247181733E-2</c:v>
                </c:pt>
                <c:pt idx="4056">
                  <c:v>1.7132003744546001E-2</c:v>
                </c:pt>
                <c:pt idx="4057">
                  <c:v>1.7192548096145299E-2</c:v>
                </c:pt>
                <c:pt idx="4058">
                  <c:v>1.67047836045074E-2</c:v>
                </c:pt>
                <c:pt idx="4059">
                  <c:v>1.66916697242196E-2</c:v>
                </c:pt>
                <c:pt idx="4060">
                  <c:v>1.66098122086927E-2</c:v>
                </c:pt>
                <c:pt idx="4061">
                  <c:v>1.6609528103086101E-2</c:v>
                </c:pt>
                <c:pt idx="4062">
                  <c:v>1.6570215170525801E-2</c:v>
                </c:pt>
                <c:pt idx="4063">
                  <c:v>1.5716454177769401E-2</c:v>
                </c:pt>
                <c:pt idx="4064">
                  <c:v>1.57158714965921E-2</c:v>
                </c:pt>
                <c:pt idx="4065">
                  <c:v>1.6054103370598202E-2</c:v>
                </c:pt>
                <c:pt idx="4066">
                  <c:v>1.47961112794804E-2</c:v>
                </c:pt>
                <c:pt idx="4067">
                  <c:v>1.46624455683022E-2</c:v>
                </c:pt>
                <c:pt idx="4068">
                  <c:v>1.4619211849181499E-2</c:v>
                </c:pt>
                <c:pt idx="4069">
                  <c:v>1.4583903858654599E-2</c:v>
                </c:pt>
                <c:pt idx="4070">
                  <c:v>1.4596033241937E-2</c:v>
                </c:pt>
                <c:pt idx="4071">
                  <c:v>1.43040460608569E-2</c:v>
                </c:pt>
                <c:pt idx="4072">
                  <c:v>1.4016440221916801E-2</c:v>
                </c:pt>
                <c:pt idx="4073">
                  <c:v>1.28701376725082E-2</c:v>
                </c:pt>
                <c:pt idx="4074">
                  <c:v>1.24212069876963E-2</c:v>
                </c:pt>
                <c:pt idx="4075">
                  <c:v>1.2646042109004199E-2</c:v>
                </c:pt>
                <c:pt idx="4076">
                  <c:v>1.2664198490507801E-2</c:v>
                </c:pt>
                <c:pt idx="4077">
                  <c:v>1.2754414467334101E-2</c:v>
                </c:pt>
                <c:pt idx="4078">
                  <c:v>1.20972592482665E-2</c:v>
                </c:pt>
                <c:pt idx="4079">
                  <c:v>1.20399800396363E-2</c:v>
                </c:pt>
                <c:pt idx="4080">
                  <c:v>1.19513955999083E-2</c:v>
                </c:pt>
                <c:pt idx="4081">
                  <c:v>1.1914300313298E-2</c:v>
                </c:pt>
                <c:pt idx="4082">
                  <c:v>1.10042329909458E-2</c:v>
                </c:pt>
                <c:pt idx="4083">
                  <c:v>1.1000048579402901E-2</c:v>
                </c:pt>
                <c:pt idx="4084">
                  <c:v>1.1064019849326701E-2</c:v>
                </c:pt>
                <c:pt idx="4085">
                  <c:v>1.11859358176341E-2</c:v>
                </c:pt>
                <c:pt idx="4086">
                  <c:v>1.14140332185814E-2</c:v>
                </c:pt>
                <c:pt idx="4087">
                  <c:v>1.12808589710527E-2</c:v>
                </c:pt>
                <c:pt idx="4088">
                  <c:v>1.1458765378584699E-2</c:v>
                </c:pt>
                <c:pt idx="4089">
                  <c:v>1.13974885436796E-2</c:v>
                </c:pt>
                <c:pt idx="4090">
                  <c:v>1.15936517055859E-2</c:v>
                </c:pt>
                <c:pt idx="4091">
                  <c:v>1.2183326286893E-2</c:v>
                </c:pt>
                <c:pt idx="4092">
                  <c:v>1.2178778825214299E-2</c:v>
                </c:pt>
                <c:pt idx="4093">
                  <c:v>1.2108062789150701E-2</c:v>
                </c:pt>
                <c:pt idx="4094">
                  <c:v>1.1695315899427501E-2</c:v>
                </c:pt>
                <c:pt idx="4095">
                  <c:v>1.20080555988988E-2</c:v>
                </c:pt>
                <c:pt idx="4096">
                  <c:v>1.40154312342659E-2</c:v>
                </c:pt>
                <c:pt idx="4097">
                  <c:v>1.3768587659353199E-2</c:v>
                </c:pt>
                <c:pt idx="4098">
                  <c:v>1.37733202439916E-2</c:v>
                </c:pt>
                <c:pt idx="4099">
                  <c:v>1.37798378493062E-2</c:v>
                </c:pt>
                <c:pt idx="4100">
                  <c:v>1.39324095830209E-2</c:v>
                </c:pt>
                <c:pt idx="4101">
                  <c:v>1.3822889262856301E-2</c:v>
                </c:pt>
                <c:pt idx="4102">
                  <c:v>1.3788025976477301E-2</c:v>
                </c:pt>
                <c:pt idx="4103">
                  <c:v>1.34321592905929E-2</c:v>
                </c:pt>
                <c:pt idx="4104">
                  <c:v>1.35366291923102E-2</c:v>
                </c:pt>
                <c:pt idx="4105">
                  <c:v>1.46086887212651E-2</c:v>
                </c:pt>
                <c:pt idx="4106">
                  <c:v>1.4442291743868499E-2</c:v>
                </c:pt>
                <c:pt idx="4107">
                  <c:v>1.44476493836476E-2</c:v>
                </c:pt>
                <c:pt idx="4108">
                  <c:v>1.4398081764484399E-2</c:v>
                </c:pt>
                <c:pt idx="4109">
                  <c:v>1.44502609044507E-2</c:v>
                </c:pt>
                <c:pt idx="4110">
                  <c:v>1.4506186148553001E-2</c:v>
                </c:pt>
                <c:pt idx="4111">
                  <c:v>1.4784178454637E-2</c:v>
                </c:pt>
                <c:pt idx="4112">
                  <c:v>1.45892733782199E-2</c:v>
                </c:pt>
                <c:pt idx="4113">
                  <c:v>1.4581085969103E-2</c:v>
                </c:pt>
                <c:pt idx="4114">
                  <c:v>1.44761059072929E-2</c:v>
                </c:pt>
                <c:pt idx="4115">
                  <c:v>1.43458850488227E-2</c:v>
                </c:pt>
                <c:pt idx="4116">
                  <c:v>1.4713377818255701E-2</c:v>
                </c:pt>
                <c:pt idx="4117">
                  <c:v>1.46943496383708E-2</c:v>
                </c:pt>
                <c:pt idx="4118">
                  <c:v>1.47323016682279E-2</c:v>
                </c:pt>
                <c:pt idx="4119">
                  <c:v>1.4702394975873299E-2</c:v>
                </c:pt>
                <c:pt idx="4120">
                  <c:v>1.5309781884238999E-2</c:v>
                </c:pt>
                <c:pt idx="4121">
                  <c:v>1.5523468949588601E-2</c:v>
                </c:pt>
                <c:pt idx="4122">
                  <c:v>1.55367790556089E-2</c:v>
                </c:pt>
                <c:pt idx="4123">
                  <c:v>1.53815715134594E-2</c:v>
                </c:pt>
                <c:pt idx="4124">
                  <c:v>1.53690476599106E-2</c:v>
                </c:pt>
                <c:pt idx="4125">
                  <c:v>1.5198331271732301E-2</c:v>
                </c:pt>
                <c:pt idx="4126">
                  <c:v>1.51975508515987E-2</c:v>
                </c:pt>
                <c:pt idx="4127">
                  <c:v>1.51730637556244E-2</c:v>
                </c:pt>
                <c:pt idx="4128">
                  <c:v>1.55431493422793E-2</c:v>
                </c:pt>
                <c:pt idx="4129">
                  <c:v>1.5545676326564501E-2</c:v>
                </c:pt>
                <c:pt idx="4130">
                  <c:v>1.55721430499357E-2</c:v>
                </c:pt>
                <c:pt idx="4131">
                  <c:v>1.57606428323981E-2</c:v>
                </c:pt>
                <c:pt idx="4132">
                  <c:v>1.5651947357968099E-2</c:v>
                </c:pt>
                <c:pt idx="4133">
                  <c:v>1.5678195948912899E-2</c:v>
                </c:pt>
                <c:pt idx="4134">
                  <c:v>1.5652358306344101E-2</c:v>
                </c:pt>
                <c:pt idx="4135">
                  <c:v>1.59614091344196E-2</c:v>
                </c:pt>
                <c:pt idx="4136">
                  <c:v>1.5976591416459001E-2</c:v>
                </c:pt>
                <c:pt idx="4137">
                  <c:v>1.5816376688022701E-2</c:v>
                </c:pt>
                <c:pt idx="4138">
                  <c:v>1.6166011636295899E-2</c:v>
                </c:pt>
                <c:pt idx="4139">
                  <c:v>1.6315557631429799E-2</c:v>
                </c:pt>
                <c:pt idx="4140">
                  <c:v>1.6304370986461099E-2</c:v>
                </c:pt>
                <c:pt idx="4141">
                  <c:v>1.6297543794294999E-2</c:v>
                </c:pt>
                <c:pt idx="4142">
                  <c:v>1.8250879993153599E-2</c:v>
                </c:pt>
                <c:pt idx="4143">
                  <c:v>1.8223369052145E-2</c:v>
                </c:pt>
                <c:pt idx="4144">
                  <c:v>1.8326211080115101E-2</c:v>
                </c:pt>
                <c:pt idx="4145">
                  <c:v>1.8453871898043098E-2</c:v>
                </c:pt>
                <c:pt idx="4146">
                  <c:v>1.8854650963648901E-2</c:v>
                </c:pt>
                <c:pt idx="4147">
                  <c:v>1.89948630153625E-2</c:v>
                </c:pt>
                <c:pt idx="4148">
                  <c:v>1.8870296111464801E-2</c:v>
                </c:pt>
                <c:pt idx="4149">
                  <c:v>1.90651225301816E-2</c:v>
                </c:pt>
                <c:pt idx="4150">
                  <c:v>1.8880216419955902E-2</c:v>
                </c:pt>
                <c:pt idx="4151">
                  <c:v>1.8804503578065401E-2</c:v>
                </c:pt>
                <c:pt idx="4152">
                  <c:v>1.8841241846623401E-2</c:v>
                </c:pt>
                <c:pt idx="4153">
                  <c:v>1.89085376071556E-2</c:v>
                </c:pt>
                <c:pt idx="4154">
                  <c:v>1.8917315729498001E-2</c:v>
                </c:pt>
                <c:pt idx="4155">
                  <c:v>1.8865290133312999E-2</c:v>
                </c:pt>
                <c:pt idx="4156">
                  <c:v>1.7296254985519999E-2</c:v>
                </c:pt>
                <c:pt idx="4157">
                  <c:v>1.7304790227660301E-2</c:v>
                </c:pt>
                <c:pt idx="4158">
                  <c:v>1.7349716964759499E-2</c:v>
                </c:pt>
                <c:pt idx="4159">
                  <c:v>1.7349308369604501E-2</c:v>
                </c:pt>
                <c:pt idx="4160">
                  <c:v>1.7130707136447799E-2</c:v>
                </c:pt>
                <c:pt idx="4161">
                  <c:v>1.70578423647458E-2</c:v>
                </c:pt>
                <c:pt idx="4162">
                  <c:v>1.7037550763022401E-2</c:v>
                </c:pt>
                <c:pt idx="4163">
                  <c:v>1.70284575906684E-2</c:v>
                </c:pt>
                <c:pt idx="4164">
                  <c:v>1.6986368843619599E-2</c:v>
                </c:pt>
                <c:pt idx="4165">
                  <c:v>1.6211973021795799E-2</c:v>
                </c:pt>
                <c:pt idx="4166">
                  <c:v>1.6093602858234898E-2</c:v>
                </c:pt>
                <c:pt idx="4167">
                  <c:v>1.6533684603824799E-2</c:v>
                </c:pt>
                <c:pt idx="4168">
                  <c:v>1.6527863807261099E-2</c:v>
                </c:pt>
                <c:pt idx="4169">
                  <c:v>1.6505062908173999E-2</c:v>
                </c:pt>
                <c:pt idx="4170">
                  <c:v>1.6455277804451201E-2</c:v>
                </c:pt>
                <c:pt idx="4171">
                  <c:v>1.6024338313650601E-2</c:v>
                </c:pt>
                <c:pt idx="4172">
                  <c:v>1.6026403682608301E-2</c:v>
                </c:pt>
                <c:pt idx="4173">
                  <c:v>1.6125119286345999E-2</c:v>
                </c:pt>
                <c:pt idx="4174">
                  <c:v>1.6595101318734502E-2</c:v>
                </c:pt>
                <c:pt idx="4175">
                  <c:v>1.65958324327883E-2</c:v>
                </c:pt>
                <c:pt idx="4176">
                  <c:v>1.62947419349035E-2</c:v>
                </c:pt>
                <c:pt idx="4177">
                  <c:v>1.6283709759783199E-2</c:v>
                </c:pt>
                <c:pt idx="4178">
                  <c:v>1.6220729510401599E-2</c:v>
                </c:pt>
                <c:pt idx="4179">
                  <c:v>1.6265814797350699E-2</c:v>
                </c:pt>
                <c:pt idx="4180">
                  <c:v>1.55092633758564E-2</c:v>
                </c:pt>
                <c:pt idx="4181">
                  <c:v>1.55839791754192E-2</c:v>
                </c:pt>
                <c:pt idx="4182">
                  <c:v>1.5583971153562101E-2</c:v>
                </c:pt>
                <c:pt idx="4183">
                  <c:v>1.55545032227116E-2</c:v>
                </c:pt>
                <c:pt idx="4184">
                  <c:v>1.55049168401694E-2</c:v>
                </c:pt>
                <c:pt idx="4185">
                  <c:v>1.55239126133509E-2</c:v>
                </c:pt>
                <c:pt idx="4186">
                  <c:v>1.57840561707384E-2</c:v>
                </c:pt>
                <c:pt idx="4187">
                  <c:v>1.5777478601778298E-2</c:v>
                </c:pt>
                <c:pt idx="4188">
                  <c:v>1.55442525146866E-2</c:v>
                </c:pt>
                <c:pt idx="4189">
                  <c:v>1.55433786794605E-2</c:v>
                </c:pt>
                <c:pt idx="4190">
                  <c:v>1.5566566008079E-2</c:v>
                </c:pt>
                <c:pt idx="4191">
                  <c:v>1.5139056394556301E-2</c:v>
                </c:pt>
                <c:pt idx="4192">
                  <c:v>1.51442832236179E-2</c:v>
                </c:pt>
                <c:pt idx="4193">
                  <c:v>1.5140810686384801E-2</c:v>
                </c:pt>
                <c:pt idx="4194">
                  <c:v>1.5081980933882499E-2</c:v>
                </c:pt>
                <c:pt idx="4195">
                  <c:v>1.48820703887557E-2</c:v>
                </c:pt>
                <c:pt idx="4196">
                  <c:v>1.49019938178146E-2</c:v>
                </c:pt>
                <c:pt idx="4197">
                  <c:v>1.48996993397492E-2</c:v>
                </c:pt>
                <c:pt idx="4198">
                  <c:v>1.46807278977714E-2</c:v>
                </c:pt>
                <c:pt idx="4199">
                  <c:v>1.4623505359142201E-2</c:v>
                </c:pt>
                <c:pt idx="4200">
                  <c:v>1.46208475234901E-2</c:v>
                </c:pt>
                <c:pt idx="4201">
                  <c:v>1.4614160992493399E-2</c:v>
                </c:pt>
                <c:pt idx="4202">
                  <c:v>1.23224694092529E-2</c:v>
                </c:pt>
                <c:pt idx="4203">
                  <c:v>1.2331043508354299E-2</c:v>
                </c:pt>
                <c:pt idx="4204">
                  <c:v>1.2231323478108199E-2</c:v>
                </c:pt>
                <c:pt idx="4205">
                  <c:v>1.21392488340578E-2</c:v>
                </c:pt>
                <c:pt idx="4206">
                  <c:v>1.1511544072129299E-2</c:v>
                </c:pt>
                <c:pt idx="4207">
                  <c:v>1.1393076128306701E-2</c:v>
                </c:pt>
                <c:pt idx="4208">
                  <c:v>1.1375122751571799E-2</c:v>
                </c:pt>
                <c:pt idx="4209">
                  <c:v>1.1130232620057801E-2</c:v>
                </c:pt>
                <c:pt idx="4210">
                  <c:v>1.11793493114837E-2</c:v>
                </c:pt>
                <c:pt idx="4211">
                  <c:v>1.09249961225259E-2</c:v>
                </c:pt>
                <c:pt idx="4212">
                  <c:v>1.09324412226485E-2</c:v>
                </c:pt>
                <c:pt idx="4213">
                  <c:v>1.0809433281451199E-2</c:v>
                </c:pt>
                <c:pt idx="4214">
                  <c:v>1.0797750528828901E-2</c:v>
                </c:pt>
                <c:pt idx="4215">
                  <c:v>1.0539694850012001E-2</c:v>
                </c:pt>
                <c:pt idx="4216">
                  <c:v>1.08768871868784E-2</c:v>
                </c:pt>
                <c:pt idx="4217">
                  <c:v>1.07810706715662E-2</c:v>
                </c:pt>
                <c:pt idx="4218">
                  <c:v>1.07207528203303E-2</c:v>
                </c:pt>
                <c:pt idx="4219">
                  <c:v>1.0719718580685799E-2</c:v>
                </c:pt>
                <c:pt idx="4220">
                  <c:v>1.07152512050726E-2</c:v>
                </c:pt>
                <c:pt idx="4221">
                  <c:v>1.08848271883619E-2</c:v>
                </c:pt>
                <c:pt idx="4222">
                  <c:v>1.1010489252103101E-2</c:v>
                </c:pt>
                <c:pt idx="4223">
                  <c:v>1.0947608449599701E-2</c:v>
                </c:pt>
                <c:pt idx="4224">
                  <c:v>1.0959736876396699E-2</c:v>
                </c:pt>
                <c:pt idx="4225">
                  <c:v>1.08835377270302E-2</c:v>
                </c:pt>
                <c:pt idx="4226">
                  <c:v>1.08818038181503E-2</c:v>
                </c:pt>
                <c:pt idx="4227">
                  <c:v>1.0216140921701601E-2</c:v>
                </c:pt>
                <c:pt idx="4228">
                  <c:v>1.02070652434555E-2</c:v>
                </c:pt>
                <c:pt idx="4229">
                  <c:v>1.0270620463993199E-2</c:v>
                </c:pt>
                <c:pt idx="4230">
                  <c:v>1.02146612424058E-2</c:v>
                </c:pt>
                <c:pt idx="4231">
                  <c:v>1.02324842196151E-2</c:v>
                </c:pt>
                <c:pt idx="4232">
                  <c:v>1.0247540510349601E-2</c:v>
                </c:pt>
                <c:pt idx="4233">
                  <c:v>1.01883390131062E-2</c:v>
                </c:pt>
                <c:pt idx="4234">
                  <c:v>9.5470858496778405E-3</c:v>
                </c:pt>
                <c:pt idx="4235">
                  <c:v>9.5626239350185705E-3</c:v>
                </c:pt>
                <c:pt idx="4236">
                  <c:v>9.8227733580756108E-3</c:v>
                </c:pt>
                <c:pt idx="4237">
                  <c:v>9.7391969356074495E-3</c:v>
                </c:pt>
                <c:pt idx="4238">
                  <c:v>9.7429249974553701E-3</c:v>
                </c:pt>
                <c:pt idx="4239">
                  <c:v>9.6584078884865195E-3</c:v>
                </c:pt>
                <c:pt idx="4240">
                  <c:v>9.7742922859468204E-3</c:v>
                </c:pt>
                <c:pt idx="4241">
                  <c:v>9.0576952077100394E-3</c:v>
                </c:pt>
                <c:pt idx="4242">
                  <c:v>9.1103071691206305E-3</c:v>
                </c:pt>
                <c:pt idx="4243">
                  <c:v>9.0518728585905796E-3</c:v>
                </c:pt>
                <c:pt idx="4244">
                  <c:v>9.0367550883138307E-3</c:v>
                </c:pt>
                <c:pt idx="4245">
                  <c:v>9.0980724130346104E-3</c:v>
                </c:pt>
                <c:pt idx="4246">
                  <c:v>8.6100085100852108E-3</c:v>
                </c:pt>
                <c:pt idx="4247">
                  <c:v>8.6042448137457692E-3</c:v>
                </c:pt>
                <c:pt idx="4248">
                  <c:v>8.6606563165849797E-3</c:v>
                </c:pt>
                <c:pt idx="4249">
                  <c:v>8.73991032802293E-3</c:v>
                </c:pt>
                <c:pt idx="4250">
                  <c:v>8.8055857774811501E-3</c:v>
                </c:pt>
                <c:pt idx="4251">
                  <c:v>8.8165035447424402E-3</c:v>
                </c:pt>
                <c:pt idx="4252">
                  <c:v>8.8070357617566295E-3</c:v>
                </c:pt>
                <c:pt idx="4253">
                  <c:v>8.8059143581609503E-3</c:v>
                </c:pt>
                <c:pt idx="4254">
                  <c:v>8.9190021740423401E-3</c:v>
                </c:pt>
                <c:pt idx="4255">
                  <c:v>8.8286122440164299E-3</c:v>
                </c:pt>
                <c:pt idx="4256">
                  <c:v>8.7884352163098301E-3</c:v>
                </c:pt>
                <c:pt idx="4257">
                  <c:v>8.8301126367928695E-3</c:v>
                </c:pt>
                <c:pt idx="4258">
                  <c:v>8.7749911177581498E-3</c:v>
                </c:pt>
                <c:pt idx="4259">
                  <c:v>8.7551529405103697E-3</c:v>
                </c:pt>
                <c:pt idx="4260">
                  <c:v>8.8048460357276603E-3</c:v>
                </c:pt>
                <c:pt idx="4261">
                  <c:v>8.8219763123554493E-3</c:v>
                </c:pt>
                <c:pt idx="4262">
                  <c:v>8.8310360807049206E-3</c:v>
                </c:pt>
                <c:pt idx="4263">
                  <c:v>8.7505617551272199E-3</c:v>
                </c:pt>
                <c:pt idx="4264">
                  <c:v>8.9318396494271705E-3</c:v>
                </c:pt>
                <c:pt idx="4265">
                  <c:v>8.7273703992607598E-3</c:v>
                </c:pt>
                <c:pt idx="4266">
                  <c:v>8.3328404978747894E-3</c:v>
                </c:pt>
                <c:pt idx="4267">
                  <c:v>8.2158316166596398E-3</c:v>
                </c:pt>
                <c:pt idx="4268">
                  <c:v>8.1825146883408393E-3</c:v>
                </c:pt>
                <c:pt idx="4269">
                  <c:v>8.0811434631311106E-3</c:v>
                </c:pt>
                <c:pt idx="4270">
                  <c:v>8.3294944783969104E-3</c:v>
                </c:pt>
                <c:pt idx="4271">
                  <c:v>8.0365699913713898E-3</c:v>
                </c:pt>
                <c:pt idx="4272">
                  <c:v>7.9338824432209805E-3</c:v>
                </c:pt>
                <c:pt idx="4273">
                  <c:v>7.9208683463619593E-3</c:v>
                </c:pt>
                <c:pt idx="4274">
                  <c:v>7.9886351185272392E-3</c:v>
                </c:pt>
                <c:pt idx="4275">
                  <c:v>8.0278356523520392E-3</c:v>
                </c:pt>
                <c:pt idx="4276">
                  <c:v>7.6556720408150203E-3</c:v>
                </c:pt>
                <c:pt idx="4277">
                  <c:v>7.7760182913626198E-3</c:v>
                </c:pt>
                <c:pt idx="4278">
                  <c:v>7.8005225968894396E-3</c:v>
                </c:pt>
                <c:pt idx="4279">
                  <c:v>7.9134343030622008E-3</c:v>
                </c:pt>
                <c:pt idx="4280">
                  <c:v>7.9152223546557904E-3</c:v>
                </c:pt>
                <c:pt idx="4281">
                  <c:v>7.6847184509744202E-3</c:v>
                </c:pt>
                <c:pt idx="4282">
                  <c:v>7.5173776443948999E-3</c:v>
                </c:pt>
                <c:pt idx="4283">
                  <c:v>7.5145097244326796E-3</c:v>
                </c:pt>
                <c:pt idx="4284">
                  <c:v>7.5910076381802503E-3</c:v>
                </c:pt>
                <c:pt idx="4285">
                  <c:v>7.5885093118442997E-3</c:v>
                </c:pt>
                <c:pt idx="4286">
                  <c:v>7.4241352238811203E-3</c:v>
                </c:pt>
                <c:pt idx="4287">
                  <c:v>7.4220965609197104E-3</c:v>
                </c:pt>
                <c:pt idx="4288">
                  <c:v>7.4087694255616596E-3</c:v>
                </c:pt>
                <c:pt idx="4289">
                  <c:v>7.3319108605467602E-3</c:v>
                </c:pt>
                <c:pt idx="4290">
                  <c:v>7.2924977621918697E-3</c:v>
                </c:pt>
                <c:pt idx="4291">
                  <c:v>7.2469289464285698E-3</c:v>
                </c:pt>
                <c:pt idx="4292">
                  <c:v>7.2360340468342801E-3</c:v>
                </c:pt>
                <c:pt idx="4293">
                  <c:v>7.1845053352496404E-3</c:v>
                </c:pt>
                <c:pt idx="4294">
                  <c:v>7.4997531578192E-3</c:v>
                </c:pt>
                <c:pt idx="4295">
                  <c:v>7.5099409305830703E-3</c:v>
                </c:pt>
                <c:pt idx="4296">
                  <c:v>7.3645129959461998E-3</c:v>
                </c:pt>
                <c:pt idx="4297">
                  <c:v>7.3526822006260498E-3</c:v>
                </c:pt>
                <c:pt idx="4298">
                  <c:v>7.3450704053807797E-3</c:v>
                </c:pt>
                <c:pt idx="4299">
                  <c:v>7.3473236902455701E-3</c:v>
                </c:pt>
                <c:pt idx="4300">
                  <c:v>7.3776341219480603E-3</c:v>
                </c:pt>
                <c:pt idx="4301">
                  <c:v>7.4146900944909904E-3</c:v>
                </c:pt>
                <c:pt idx="4302">
                  <c:v>7.3386419457117302E-3</c:v>
                </c:pt>
                <c:pt idx="4303">
                  <c:v>7.33352153394591E-3</c:v>
                </c:pt>
                <c:pt idx="4304">
                  <c:v>7.3311894051972604E-3</c:v>
                </c:pt>
                <c:pt idx="4305">
                  <c:v>7.4139611966884296E-3</c:v>
                </c:pt>
                <c:pt idx="4306">
                  <c:v>7.39343076124675E-3</c:v>
                </c:pt>
                <c:pt idx="4307">
                  <c:v>7.5649741768014896E-3</c:v>
                </c:pt>
                <c:pt idx="4308">
                  <c:v>7.5208609297511197E-3</c:v>
                </c:pt>
                <c:pt idx="4309">
                  <c:v>7.4649177087765702E-3</c:v>
                </c:pt>
                <c:pt idx="4310">
                  <c:v>7.4075781433212799E-3</c:v>
                </c:pt>
                <c:pt idx="4311">
                  <c:v>7.5515986964511499E-3</c:v>
                </c:pt>
                <c:pt idx="4312">
                  <c:v>7.6835720723071304E-3</c:v>
                </c:pt>
                <c:pt idx="4313">
                  <c:v>7.6852329893159202E-3</c:v>
                </c:pt>
                <c:pt idx="4314">
                  <c:v>7.4987608658377202E-3</c:v>
                </c:pt>
                <c:pt idx="4315">
                  <c:v>7.5205859687412302E-3</c:v>
                </c:pt>
                <c:pt idx="4316">
                  <c:v>7.56364712208116E-3</c:v>
                </c:pt>
                <c:pt idx="4317">
                  <c:v>7.53273696204332E-3</c:v>
                </c:pt>
                <c:pt idx="4318">
                  <c:v>7.5309702772391098E-3</c:v>
                </c:pt>
                <c:pt idx="4319">
                  <c:v>7.5402863672378697E-3</c:v>
                </c:pt>
                <c:pt idx="4320">
                  <c:v>7.8572520012670094E-3</c:v>
                </c:pt>
                <c:pt idx="4321">
                  <c:v>7.8426661491199992E-3</c:v>
                </c:pt>
                <c:pt idx="4322">
                  <c:v>8.8614984447293599E-3</c:v>
                </c:pt>
                <c:pt idx="4323">
                  <c:v>1.38624099736591E-2</c:v>
                </c:pt>
                <c:pt idx="4324">
                  <c:v>1.41120522330385E-2</c:v>
                </c:pt>
                <c:pt idx="4325">
                  <c:v>1.4166773487359801E-2</c:v>
                </c:pt>
                <c:pt idx="4326">
                  <c:v>1.43538956533914E-2</c:v>
                </c:pt>
                <c:pt idx="4327">
                  <c:v>1.43441085403618E-2</c:v>
                </c:pt>
                <c:pt idx="4328">
                  <c:v>1.43533224501578E-2</c:v>
                </c:pt>
                <c:pt idx="4329">
                  <c:v>1.43940616520601E-2</c:v>
                </c:pt>
                <c:pt idx="4330">
                  <c:v>1.42413418903576E-2</c:v>
                </c:pt>
                <c:pt idx="4331">
                  <c:v>1.42661596763335E-2</c:v>
                </c:pt>
                <c:pt idx="4332">
                  <c:v>1.42918165424734E-2</c:v>
                </c:pt>
                <c:pt idx="4333">
                  <c:v>1.4567789632573601E-2</c:v>
                </c:pt>
                <c:pt idx="4334">
                  <c:v>1.4547775156429301E-2</c:v>
                </c:pt>
                <c:pt idx="4335">
                  <c:v>1.4520024241647099E-2</c:v>
                </c:pt>
                <c:pt idx="4336">
                  <c:v>1.47525810592848E-2</c:v>
                </c:pt>
                <c:pt idx="4337">
                  <c:v>1.4684423055807E-2</c:v>
                </c:pt>
                <c:pt idx="4338">
                  <c:v>1.46803227805802E-2</c:v>
                </c:pt>
                <c:pt idx="4339">
                  <c:v>1.4612391045012E-2</c:v>
                </c:pt>
                <c:pt idx="4340">
                  <c:v>1.4692870434617301E-2</c:v>
                </c:pt>
                <c:pt idx="4341">
                  <c:v>1.46913606207812E-2</c:v>
                </c:pt>
                <c:pt idx="4342">
                  <c:v>1.54344059293672E-2</c:v>
                </c:pt>
                <c:pt idx="4343">
                  <c:v>1.5971289731117201E-2</c:v>
                </c:pt>
                <c:pt idx="4344">
                  <c:v>1.5930893788421999E-2</c:v>
                </c:pt>
                <c:pt idx="4345">
                  <c:v>1.5941988397902299E-2</c:v>
                </c:pt>
                <c:pt idx="4346">
                  <c:v>1.61649432136176E-2</c:v>
                </c:pt>
                <c:pt idx="4347">
                  <c:v>1.6326704628180502E-2</c:v>
                </c:pt>
                <c:pt idx="4348">
                  <c:v>1.6949140709671798E-2</c:v>
                </c:pt>
                <c:pt idx="4349">
                  <c:v>1.7145425296827301E-2</c:v>
                </c:pt>
                <c:pt idx="4350">
                  <c:v>1.7239739332318298E-2</c:v>
                </c:pt>
                <c:pt idx="4351">
                  <c:v>1.7431357986062702E-2</c:v>
                </c:pt>
                <c:pt idx="4352">
                  <c:v>1.75298672429865E-2</c:v>
                </c:pt>
                <c:pt idx="4353">
                  <c:v>1.8421610280396902E-2</c:v>
                </c:pt>
                <c:pt idx="4354">
                  <c:v>1.82333273288873E-2</c:v>
                </c:pt>
                <c:pt idx="4355">
                  <c:v>1.8376794043267499E-2</c:v>
                </c:pt>
                <c:pt idx="4356">
                  <c:v>1.8328048082570901E-2</c:v>
                </c:pt>
                <c:pt idx="4357">
                  <c:v>1.8503380668163E-2</c:v>
                </c:pt>
                <c:pt idx="4358">
                  <c:v>1.8975136987986699E-2</c:v>
                </c:pt>
                <c:pt idx="4359">
                  <c:v>1.9333189656990699E-2</c:v>
                </c:pt>
                <c:pt idx="4360">
                  <c:v>1.9617617839658499E-2</c:v>
                </c:pt>
                <c:pt idx="4361">
                  <c:v>1.9604935431542E-2</c:v>
                </c:pt>
                <c:pt idx="4362">
                  <c:v>1.9613420881052099E-2</c:v>
                </c:pt>
                <c:pt idx="4363">
                  <c:v>1.9599309712050799E-2</c:v>
                </c:pt>
                <c:pt idx="4364">
                  <c:v>1.9609007218093302E-2</c:v>
                </c:pt>
                <c:pt idx="4365">
                  <c:v>1.94945556101257E-2</c:v>
                </c:pt>
                <c:pt idx="4366">
                  <c:v>1.9618023167507301E-2</c:v>
                </c:pt>
                <c:pt idx="4367">
                  <c:v>1.9525008916148199E-2</c:v>
                </c:pt>
                <c:pt idx="4368">
                  <c:v>1.9778394100421402E-2</c:v>
                </c:pt>
                <c:pt idx="4369">
                  <c:v>1.9780478008384301E-2</c:v>
                </c:pt>
                <c:pt idx="4370">
                  <c:v>1.9755869295399499E-2</c:v>
                </c:pt>
                <c:pt idx="4371">
                  <c:v>1.9721890183391499E-2</c:v>
                </c:pt>
                <c:pt idx="4372">
                  <c:v>1.96384307322689E-2</c:v>
                </c:pt>
                <c:pt idx="4373">
                  <c:v>1.9821544404098699E-2</c:v>
                </c:pt>
                <c:pt idx="4374">
                  <c:v>1.97816406485463E-2</c:v>
                </c:pt>
                <c:pt idx="4375">
                  <c:v>1.9784196009021902E-2</c:v>
                </c:pt>
                <c:pt idx="4376">
                  <c:v>1.9830864031633699E-2</c:v>
                </c:pt>
                <c:pt idx="4377">
                  <c:v>1.9837509972449801E-2</c:v>
                </c:pt>
                <c:pt idx="4378">
                  <c:v>1.9881456837126301E-2</c:v>
                </c:pt>
                <c:pt idx="4379">
                  <c:v>1.9887493061687401E-2</c:v>
                </c:pt>
                <c:pt idx="4380">
                  <c:v>1.9779854710597299E-2</c:v>
                </c:pt>
                <c:pt idx="4381">
                  <c:v>1.9789331585847499E-2</c:v>
                </c:pt>
                <c:pt idx="4382">
                  <c:v>1.9416915848282701E-2</c:v>
                </c:pt>
                <c:pt idx="4383">
                  <c:v>1.6238881905021801E-2</c:v>
                </c:pt>
                <c:pt idx="4384">
                  <c:v>1.5904875515655E-2</c:v>
                </c:pt>
                <c:pt idx="4385">
                  <c:v>1.59101440329514E-2</c:v>
                </c:pt>
                <c:pt idx="4386">
                  <c:v>1.57510386665883E-2</c:v>
                </c:pt>
                <c:pt idx="4387">
                  <c:v>1.5755942076127599E-2</c:v>
                </c:pt>
                <c:pt idx="4388">
                  <c:v>1.5797631415687598E-2</c:v>
                </c:pt>
                <c:pt idx="4389">
                  <c:v>1.57531973977455E-2</c:v>
                </c:pt>
                <c:pt idx="4390">
                  <c:v>1.57179458142911E-2</c:v>
                </c:pt>
                <c:pt idx="4391">
                  <c:v>1.5699901862480398E-2</c:v>
                </c:pt>
                <c:pt idx="4392">
                  <c:v>1.5735383623117299E-2</c:v>
                </c:pt>
                <c:pt idx="4393">
                  <c:v>1.5458906118807399E-2</c:v>
                </c:pt>
                <c:pt idx="4394">
                  <c:v>1.5454521396465E-2</c:v>
                </c:pt>
                <c:pt idx="4395">
                  <c:v>1.54977012499013E-2</c:v>
                </c:pt>
                <c:pt idx="4396">
                  <c:v>1.52073716735798E-2</c:v>
                </c:pt>
                <c:pt idx="4397">
                  <c:v>1.52164403513369E-2</c:v>
                </c:pt>
                <c:pt idx="4398">
                  <c:v>1.54805165757625E-2</c:v>
                </c:pt>
                <c:pt idx="4399">
                  <c:v>1.54838728255532E-2</c:v>
                </c:pt>
                <c:pt idx="4400">
                  <c:v>1.54962551234909E-2</c:v>
                </c:pt>
                <c:pt idx="4401">
                  <c:v>1.5508672187994999E-2</c:v>
                </c:pt>
                <c:pt idx="4402">
                  <c:v>1.48145374598598E-2</c:v>
                </c:pt>
                <c:pt idx="4403">
                  <c:v>1.41854720689467E-2</c:v>
                </c:pt>
                <c:pt idx="4404">
                  <c:v>1.4602921628452E-2</c:v>
                </c:pt>
                <c:pt idx="4405">
                  <c:v>1.45874306376004E-2</c:v>
                </c:pt>
                <c:pt idx="4406">
                  <c:v>1.42836658987818E-2</c:v>
                </c:pt>
                <c:pt idx="4407">
                  <c:v>1.4139111212887001E-2</c:v>
                </c:pt>
                <c:pt idx="4408">
                  <c:v>1.34254005858654E-2</c:v>
                </c:pt>
                <c:pt idx="4409">
                  <c:v>1.31536875066951E-2</c:v>
                </c:pt>
                <c:pt idx="4410">
                  <c:v>1.30649747157222E-2</c:v>
                </c:pt>
                <c:pt idx="4411">
                  <c:v>1.28146908864641E-2</c:v>
                </c:pt>
                <c:pt idx="4412">
                  <c:v>1.27587190636855E-2</c:v>
                </c:pt>
                <c:pt idx="4413">
                  <c:v>1.13516262854398E-2</c:v>
                </c:pt>
                <c:pt idx="4414">
                  <c:v>1.14545289709619E-2</c:v>
                </c:pt>
                <c:pt idx="4415">
                  <c:v>1.12522746558914E-2</c:v>
                </c:pt>
                <c:pt idx="4416">
                  <c:v>1.10863726176422E-2</c:v>
                </c:pt>
                <c:pt idx="4417">
                  <c:v>1.09091959211263E-2</c:v>
                </c:pt>
                <c:pt idx="4418">
                  <c:v>9.9400389011948895E-3</c:v>
                </c:pt>
                <c:pt idx="4419">
                  <c:v>9.42835942111293E-3</c:v>
                </c:pt>
                <c:pt idx="4420">
                  <c:v>8.8741581639142902E-3</c:v>
                </c:pt>
                <c:pt idx="4421">
                  <c:v>8.8122254046253696E-3</c:v>
                </c:pt>
                <c:pt idx="4422">
                  <c:v>8.8858653037548405E-3</c:v>
                </c:pt>
                <c:pt idx="4423">
                  <c:v>8.8767842214590702E-3</c:v>
                </c:pt>
                <c:pt idx="4424">
                  <c:v>9.1701559945276696E-3</c:v>
                </c:pt>
                <c:pt idx="4425">
                  <c:v>9.4357100957281198E-3</c:v>
                </c:pt>
                <c:pt idx="4426">
                  <c:v>9.5174672789323598E-3</c:v>
                </c:pt>
                <c:pt idx="4427">
                  <c:v>1.16061590702523E-2</c:v>
                </c:pt>
                <c:pt idx="4428">
                  <c:v>1.1346368649307499E-2</c:v>
                </c:pt>
                <c:pt idx="4429">
                  <c:v>1.1406769620405601E-2</c:v>
                </c:pt>
                <c:pt idx="4430">
                  <c:v>1.1479176126867101E-2</c:v>
                </c:pt>
                <c:pt idx="4431">
                  <c:v>1.1763643601342201E-2</c:v>
                </c:pt>
                <c:pt idx="4432">
                  <c:v>1.1914153069934199E-2</c:v>
                </c:pt>
                <c:pt idx="4433">
                  <c:v>1.18845320810712E-2</c:v>
                </c:pt>
                <c:pt idx="4434">
                  <c:v>1.19956157836858E-2</c:v>
                </c:pt>
                <c:pt idx="4435">
                  <c:v>1.38094324552682E-2</c:v>
                </c:pt>
                <c:pt idx="4436">
                  <c:v>1.3787688163167999E-2</c:v>
                </c:pt>
                <c:pt idx="4437">
                  <c:v>1.42086229605659E-2</c:v>
                </c:pt>
                <c:pt idx="4438">
                  <c:v>1.40706123376831E-2</c:v>
                </c:pt>
                <c:pt idx="4439">
                  <c:v>1.40584558184599E-2</c:v>
                </c:pt>
                <c:pt idx="4440">
                  <c:v>1.40461127409493E-2</c:v>
                </c:pt>
                <c:pt idx="4441">
                  <c:v>1.52993840897132E-2</c:v>
                </c:pt>
                <c:pt idx="4442">
                  <c:v>1.52935471112577E-2</c:v>
                </c:pt>
                <c:pt idx="4443">
                  <c:v>1.53038866750941E-2</c:v>
                </c:pt>
                <c:pt idx="4444">
                  <c:v>1.55433391377423E-2</c:v>
                </c:pt>
                <c:pt idx="4445">
                  <c:v>1.5536672510515701E-2</c:v>
                </c:pt>
                <c:pt idx="4446">
                  <c:v>1.5547295310901699E-2</c:v>
                </c:pt>
                <c:pt idx="4447">
                  <c:v>1.5619933576611299E-2</c:v>
                </c:pt>
                <c:pt idx="4448">
                  <c:v>1.55987303457747E-2</c:v>
                </c:pt>
                <c:pt idx="4449">
                  <c:v>1.55944924049123E-2</c:v>
                </c:pt>
                <c:pt idx="4450">
                  <c:v>1.5609592604173699E-2</c:v>
                </c:pt>
                <c:pt idx="4451">
                  <c:v>1.57234896700034E-2</c:v>
                </c:pt>
                <c:pt idx="4452">
                  <c:v>1.5619634558880701E-2</c:v>
                </c:pt>
                <c:pt idx="4453">
                  <c:v>1.56794155021826E-2</c:v>
                </c:pt>
                <c:pt idx="4454">
                  <c:v>1.57357818276475E-2</c:v>
                </c:pt>
                <c:pt idx="4455">
                  <c:v>1.57332520890659E-2</c:v>
                </c:pt>
                <c:pt idx="4456">
                  <c:v>1.57744230254603E-2</c:v>
                </c:pt>
                <c:pt idx="4457">
                  <c:v>1.59483739659796E-2</c:v>
                </c:pt>
                <c:pt idx="4458">
                  <c:v>1.55703610794274E-2</c:v>
                </c:pt>
                <c:pt idx="4459">
                  <c:v>1.5758368013748601E-2</c:v>
                </c:pt>
                <c:pt idx="4460">
                  <c:v>1.58691671724141E-2</c:v>
                </c:pt>
                <c:pt idx="4461">
                  <c:v>1.5826489498161501E-2</c:v>
                </c:pt>
                <c:pt idx="4462">
                  <c:v>1.5836481901893299E-2</c:v>
                </c:pt>
                <c:pt idx="4463">
                  <c:v>1.58387358540369E-2</c:v>
                </c:pt>
                <c:pt idx="4464">
                  <c:v>1.56624660639209E-2</c:v>
                </c:pt>
                <c:pt idx="4465">
                  <c:v>1.5665809851688001E-2</c:v>
                </c:pt>
                <c:pt idx="4466">
                  <c:v>1.58870720514981E-2</c:v>
                </c:pt>
                <c:pt idx="4467">
                  <c:v>1.5923605996639001E-2</c:v>
                </c:pt>
                <c:pt idx="4468">
                  <c:v>1.5924792626305501E-2</c:v>
                </c:pt>
                <c:pt idx="4469">
                  <c:v>1.5926713175553501E-2</c:v>
                </c:pt>
                <c:pt idx="4470">
                  <c:v>1.5960049749330001E-2</c:v>
                </c:pt>
                <c:pt idx="4471">
                  <c:v>1.6032935370005202E-2</c:v>
                </c:pt>
                <c:pt idx="4472">
                  <c:v>1.6239712938306401E-2</c:v>
                </c:pt>
                <c:pt idx="4473">
                  <c:v>1.6243213616734298E-2</c:v>
                </c:pt>
                <c:pt idx="4474">
                  <c:v>1.6488321755884001E-2</c:v>
                </c:pt>
                <c:pt idx="4475">
                  <c:v>1.64106166015002E-2</c:v>
                </c:pt>
                <c:pt idx="4476">
                  <c:v>1.6438894258349501E-2</c:v>
                </c:pt>
                <c:pt idx="4477">
                  <c:v>1.6433332819105501E-2</c:v>
                </c:pt>
                <c:pt idx="4478">
                  <c:v>1.6387131742605199E-2</c:v>
                </c:pt>
                <c:pt idx="4479">
                  <c:v>1.64265170781208E-2</c:v>
                </c:pt>
                <c:pt idx="4480">
                  <c:v>1.6450328441626898E-2</c:v>
                </c:pt>
                <c:pt idx="4481">
                  <c:v>1.6656677688697701E-2</c:v>
                </c:pt>
                <c:pt idx="4482">
                  <c:v>1.6684626677138801E-2</c:v>
                </c:pt>
                <c:pt idx="4483">
                  <c:v>1.6720478676834401E-2</c:v>
                </c:pt>
                <c:pt idx="4484">
                  <c:v>1.6552175093248599E-2</c:v>
                </c:pt>
                <c:pt idx="4485">
                  <c:v>1.6577097987917299E-2</c:v>
                </c:pt>
                <c:pt idx="4486">
                  <c:v>1.6402894012358601E-2</c:v>
                </c:pt>
                <c:pt idx="4487">
                  <c:v>1.47604499056308E-2</c:v>
                </c:pt>
                <c:pt idx="4488">
                  <c:v>1.47409944528386E-2</c:v>
                </c:pt>
                <c:pt idx="4489">
                  <c:v>1.45829230672957E-2</c:v>
                </c:pt>
                <c:pt idx="4490">
                  <c:v>1.4712535044163E-2</c:v>
                </c:pt>
                <c:pt idx="4491">
                  <c:v>1.5039890042906E-2</c:v>
                </c:pt>
                <c:pt idx="4492">
                  <c:v>1.48027237074111E-2</c:v>
                </c:pt>
                <c:pt idx="4493">
                  <c:v>1.4775590937726801E-2</c:v>
                </c:pt>
                <c:pt idx="4494">
                  <c:v>1.4678409713074299E-2</c:v>
                </c:pt>
                <c:pt idx="4495">
                  <c:v>1.31661713735846E-2</c:v>
                </c:pt>
                <c:pt idx="4496">
                  <c:v>1.3193300725420701E-2</c:v>
                </c:pt>
                <c:pt idx="4497">
                  <c:v>1.26848122200235E-2</c:v>
                </c:pt>
                <c:pt idx="4498">
                  <c:v>1.26825390845157E-2</c:v>
                </c:pt>
                <c:pt idx="4499">
                  <c:v>1.2675550282855901E-2</c:v>
                </c:pt>
                <c:pt idx="4500">
                  <c:v>1.27819115214784E-2</c:v>
                </c:pt>
                <c:pt idx="4501">
                  <c:v>1.1372594516808301E-2</c:v>
                </c:pt>
                <c:pt idx="4502">
                  <c:v>1.13589047060055E-2</c:v>
                </c:pt>
                <c:pt idx="4503">
                  <c:v>1.1350753079050001E-2</c:v>
                </c:pt>
                <c:pt idx="4504">
                  <c:v>1.09694165801844E-2</c:v>
                </c:pt>
                <c:pt idx="4505">
                  <c:v>1.11609264742268E-2</c:v>
                </c:pt>
                <c:pt idx="4506">
                  <c:v>1.1131111487373301E-2</c:v>
                </c:pt>
                <c:pt idx="4507">
                  <c:v>1.1042105781424401E-2</c:v>
                </c:pt>
                <c:pt idx="4508">
                  <c:v>1.1084062191200899E-2</c:v>
                </c:pt>
                <c:pt idx="4509">
                  <c:v>1.12432708554284E-2</c:v>
                </c:pt>
                <c:pt idx="4510">
                  <c:v>1.12345740717739E-2</c:v>
                </c:pt>
                <c:pt idx="4511">
                  <c:v>1.1383986424143599E-2</c:v>
                </c:pt>
                <c:pt idx="4512">
                  <c:v>1.14088651296715E-2</c:v>
                </c:pt>
                <c:pt idx="4513">
                  <c:v>1.1420749955037E-2</c:v>
                </c:pt>
                <c:pt idx="4514">
                  <c:v>1.1371222379572801E-2</c:v>
                </c:pt>
                <c:pt idx="4515">
                  <c:v>1.1459281797096699E-2</c:v>
                </c:pt>
                <c:pt idx="4516">
                  <c:v>1.1372913065963599E-2</c:v>
                </c:pt>
                <c:pt idx="4517">
                  <c:v>1.09847735598065E-2</c:v>
                </c:pt>
                <c:pt idx="4518">
                  <c:v>1.09849363883593E-2</c:v>
                </c:pt>
                <c:pt idx="4519">
                  <c:v>1.0834542923182901E-2</c:v>
                </c:pt>
                <c:pt idx="4520">
                  <c:v>1.0687833045764501E-2</c:v>
                </c:pt>
                <c:pt idx="4521">
                  <c:v>1.07472950155769E-2</c:v>
                </c:pt>
                <c:pt idx="4522">
                  <c:v>1.0748155739451599E-2</c:v>
                </c:pt>
                <c:pt idx="4523">
                  <c:v>1.08905067586851E-2</c:v>
                </c:pt>
                <c:pt idx="4524">
                  <c:v>1.07709543742319E-2</c:v>
                </c:pt>
                <c:pt idx="4525">
                  <c:v>1.08594946304824E-2</c:v>
                </c:pt>
                <c:pt idx="4526">
                  <c:v>1.04583043226412E-2</c:v>
                </c:pt>
                <c:pt idx="4527">
                  <c:v>1.0767217851640301E-2</c:v>
                </c:pt>
                <c:pt idx="4528">
                  <c:v>1.0751324807846799E-2</c:v>
                </c:pt>
                <c:pt idx="4529">
                  <c:v>1.07570832405114E-2</c:v>
                </c:pt>
                <c:pt idx="4530">
                  <c:v>1.07262700549714E-2</c:v>
                </c:pt>
                <c:pt idx="4531">
                  <c:v>1.07084372119E-2</c:v>
                </c:pt>
                <c:pt idx="4532">
                  <c:v>1.0314247135134401E-2</c:v>
                </c:pt>
                <c:pt idx="4533">
                  <c:v>1.0470807249161201E-2</c:v>
                </c:pt>
                <c:pt idx="4534">
                  <c:v>9.9658551715202503E-3</c:v>
                </c:pt>
                <c:pt idx="4535">
                  <c:v>1.00755186803375E-2</c:v>
                </c:pt>
                <c:pt idx="4536">
                  <c:v>1.00665044792323E-2</c:v>
                </c:pt>
                <c:pt idx="4537">
                  <c:v>1.0053397819629E-2</c:v>
                </c:pt>
                <c:pt idx="4538">
                  <c:v>1.00120087906608E-2</c:v>
                </c:pt>
                <c:pt idx="4539">
                  <c:v>1.00765615937511E-2</c:v>
                </c:pt>
                <c:pt idx="4540">
                  <c:v>1.0059313828111399E-2</c:v>
                </c:pt>
                <c:pt idx="4541">
                  <c:v>9.7345693996880294E-3</c:v>
                </c:pt>
                <c:pt idx="4542">
                  <c:v>9.8972355913154193E-3</c:v>
                </c:pt>
                <c:pt idx="4543">
                  <c:v>9.7975134044653509E-3</c:v>
                </c:pt>
                <c:pt idx="4544">
                  <c:v>9.7989650355511902E-3</c:v>
                </c:pt>
                <c:pt idx="4545">
                  <c:v>9.4603117717726205E-3</c:v>
                </c:pt>
                <c:pt idx="4546">
                  <c:v>9.4670350946196493E-3</c:v>
                </c:pt>
                <c:pt idx="4547">
                  <c:v>9.4973858132167792E-3</c:v>
                </c:pt>
                <c:pt idx="4548">
                  <c:v>9.6299520489199399E-3</c:v>
                </c:pt>
                <c:pt idx="4549">
                  <c:v>9.8720242106710206E-3</c:v>
                </c:pt>
                <c:pt idx="4550">
                  <c:v>9.6510999568895205E-3</c:v>
                </c:pt>
                <c:pt idx="4551">
                  <c:v>9.2079464601395392E-3</c:v>
                </c:pt>
                <c:pt idx="4552">
                  <c:v>9.2546209767099801E-3</c:v>
                </c:pt>
                <c:pt idx="4553">
                  <c:v>9.4029029053645692E-3</c:v>
                </c:pt>
                <c:pt idx="4554">
                  <c:v>9.4164837891089603E-3</c:v>
                </c:pt>
                <c:pt idx="4555">
                  <c:v>9.5357244426468504E-3</c:v>
                </c:pt>
                <c:pt idx="4556">
                  <c:v>1.002178743532E-2</c:v>
                </c:pt>
                <c:pt idx="4557">
                  <c:v>1.0027249620066099E-2</c:v>
                </c:pt>
                <c:pt idx="4558">
                  <c:v>1.0417054458876101E-2</c:v>
                </c:pt>
                <c:pt idx="4559">
                  <c:v>1.0410381053185499E-2</c:v>
                </c:pt>
                <c:pt idx="4560">
                  <c:v>1.02880714036573E-2</c:v>
                </c:pt>
                <c:pt idx="4561">
                  <c:v>1.04763893319617E-2</c:v>
                </c:pt>
                <c:pt idx="4562">
                  <c:v>1.0493168529120699E-2</c:v>
                </c:pt>
                <c:pt idx="4563">
                  <c:v>1.06140900022624E-2</c:v>
                </c:pt>
                <c:pt idx="4564">
                  <c:v>1.05976373770185E-2</c:v>
                </c:pt>
                <c:pt idx="4565">
                  <c:v>1.03421447736495E-2</c:v>
                </c:pt>
                <c:pt idx="4566">
                  <c:v>1.07644244771715E-2</c:v>
                </c:pt>
                <c:pt idx="4567">
                  <c:v>1.06941205426303E-2</c:v>
                </c:pt>
                <c:pt idx="4568">
                  <c:v>1.13547898955298E-2</c:v>
                </c:pt>
                <c:pt idx="4569">
                  <c:v>1.1257599719996901E-2</c:v>
                </c:pt>
                <c:pt idx="4570">
                  <c:v>1.13398367598105E-2</c:v>
                </c:pt>
                <c:pt idx="4571">
                  <c:v>1.12435444579175E-2</c:v>
                </c:pt>
                <c:pt idx="4572">
                  <c:v>1.1220115783177199E-2</c:v>
                </c:pt>
                <c:pt idx="4573">
                  <c:v>1.1127339782715301E-2</c:v>
                </c:pt>
                <c:pt idx="4574">
                  <c:v>1.11264069981644E-2</c:v>
                </c:pt>
                <c:pt idx="4575">
                  <c:v>1.11265480758627E-2</c:v>
                </c:pt>
                <c:pt idx="4576">
                  <c:v>1.13657855256699E-2</c:v>
                </c:pt>
                <c:pt idx="4577">
                  <c:v>1.1602340775808901E-2</c:v>
                </c:pt>
                <c:pt idx="4578">
                  <c:v>1.1660822871272399E-2</c:v>
                </c:pt>
                <c:pt idx="4579">
                  <c:v>1.1645358289065899E-2</c:v>
                </c:pt>
                <c:pt idx="4580">
                  <c:v>1.2470677693975901E-2</c:v>
                </c:pt>
                <c:pt idx="4581">
                  <c:v>1.2413722166100901E-2</c:v>
                </c:pt>
                <c:pt idx="4582">
                  <c:v>1.28776463836415E-2</c:v>
                </c:pt>
                <c:pt idx="4583">
                  <c:v>1.2750282778226501E-2</c:v>
                </c:pt>
                <c:pt idx="4584">
                  <c:v>1.3197130206910801E-2</c:v>
                </c:pt>
                <c:pt idx="4585">
                  <c:v>1.3243209393522E-2</c:v>
                </c:pt>
                <c:pt idx="4586">
                  <c:v>1.3352267151855699E-2</c:v>
                </c:pt>
                <c:pt idx="4587">
                  <c:v>1.32964794401179E-2</c:v>
                </c:pt>
                <c:pt idx="4588">
                  <c:v>1.3969387230362401E-2</c:v>
                </c:pt>
                <c:pt idx="4589">
                  <c:v>1.39751364357956E-2</c:v>
                </c:pt>
                <c:pt idx="4590">
                  <c:v>1.4726751063257999E-2</c:v>
                </c:pt>
                <c:pt idx="4591">
                  <c:v>1.49517739445395E-2</c:v>
                </c:pt>
                <c:pt idx="4592">
                  <c:v>1.4973527834454299E-2</c:v>
                </c:pt>
                <c:pt idx="4593">
                  <c:v>1.5198370115236601E-2</c:v>
                </c:pt>
                <c:pt idx="4594">
                  <c:v>1.5202358709089E-2</c:v>
                </c:pt>
                <c:pt idx="4595">
                  <c:v>1.54128528456123E-2</c:v>
                </c:pt>
                <c:pt idx="4596">
                  <c:v>1.54078433302735E-2</c:v>
                </c:pt>
                <c:pt idx="4597">
                  <c:v>1.54141039923891E-2</c:v>
                </c:pt>
                <c:pt idx="4598">
                  <c:v>1.5443545938789299E-2</c:v>
                </c:pt>
                <c:pt idx="4599">
                  <c:v>1.5750398788725702E-2</c:v>
                </c:pt>
                <c:pt idx="4600">
                  <c:v>1.5795885578557E-2</c:v>
                </c:pt>
                <c:pt idx="4601">
                  <c:v>1.5798427502465701E-2</c:v>
                </c:pt>
                <c:pt idx="4602">
                  <c:v>1.5795261440637601E-2</c:v>
                </c:pt>
                <c:pt idx="4603">
                  <c:v>1.5754732551759298E-2</c:v>
                </c:pt>
                <c:pt idx="4604">
                  <c:v>1.60233309756658E-2</c:v>
                </c:pt>
                <c:pt idx="4605">
                  <c:v>1.5988443689699899E-2</c:v>
                </c:pt>
                <c:pt idx="4606">
                  <c:v>1.6024878802740498E-2</c:v>
                </c:pt>
                <c:pt idx="4607">
                  <c:v>1.6059809883141402E-2</c:v>
                </c:pt>
                <c:pt idx="4608">
                  <c:v>1.6037004627449201E-2</c:v>
                </c:pt>
                <c:pt idx="4609">
                  <c:v>1.5898444983215701E-2</c:v>
                </c:pt>
                <c:pt idx="4610">
                  <c:v>1.58410497021448E-2</c:v>
                </c:pt>
                <c:pt idx="4611">
                  <c:v>1.5657711364447199E-2</c:v>
                </c:pt>
                <c:pt idx="4612">
                  <c:v>1.5606818396848601E-2</c:v>
                </c:pt>
                <c:pt idx="4613">
                  <c:v>1.55196796895892E-2</c:v>
                </c:pt>
                <c:pt idx="4614">
                  <c:v>1.56558831533751E-2</c:v>
                </c:pt>
                <c:pt idx="4615">
                  <c:v>1.5619053034111799E-2</c:v>
                </c:pt>
                <c:pt idx="4616">
                  <c:v>1.51826054300272E-2</c:v>
                </c:pt>
                <c:pt idx="4617">
                  <c:v>1.51924760455862E-2</c:v>
                </c:pt>
                <c:pt idx="4618">
                  <c:v>1.5033206056578799E-2</c:v>
                </c:pt>
                <c:pt idx="4619">
                  <c:v>1.5393131367049799E-2</c:v>
                </c:pt>
                <c:pt idx="4620">
                  <c:v>1.53100032037494E-2</c:v>
                </c:pt>
                <c:pt idx="4621">
                  <c:v>1.52178033064281E-2</c:v>
                </c:pt>
                <c:pt idx="4622">
                  <c:v>1.5179887105448001E-2</c:v>
                </c:pt>
                <c:pt idx="4623">
                  <c:v>1.50715052079378E-2</c:v>
                </c:pt>
                <c:pt idx="4624">
                  <c:v>1.5124191944608199E-2</c:v>
                </c:pt>
                <c:pt idx="4625">
                  <c:v>1.5058173560593901E-2</c:v>
                </c:pt>
                <c:pt idx="4626">
                  <c:v>1.48858222133646E-2</c:v>
                </c:pt>
                <c:pt idx="4627">
                  <c:v>1.4933114749494899E-2</c:v>
                </c:pt>
                <c:pt idx="4628">
                  <c:v>1.45509977130717E-2</c:v>
                </c:pt>
                <c:pt idx="4629">
                  <c:v>1.46177421837471E-2</c:v>
                </c:pt>
                <c:pt idx="4630">
                  <c:v>1.45952716435065E-2</c:v>
                </c:pt>
                <c:pt idx="4631">
                  <c:v>1.4431433250703399E-2</c:v>
                </c:pt>
                <c:pt idx="4632">
                  <c:v>1.4464784378010799E-2</c:v>
                </c:pt>
                <c:pt idx="4633">
                  <c:v>1.4483457364793201E-2</c:v>
                </c:pt>
                <c:pt idx="4634">
                  <c:v>1.4522932093781299E-2</c:v>
                </c:pt>
                <c:pt idx="4635">
                  <c:v>1.47268629382449E-2</c:v>
                </c:pt>
                <c:pt idx="4636">
                  <c:v>1.45646560587133E-2</c:v>
                </c:pt>
                <c:pt idx="4637">
                  <c:v>1.4260608453720999E-2</c:v>
                </c:pt>
                <c:pt idx="4638">
                  <c:v>1.42467910770325E-2</c:v>
                </c:pt>
                <c:pt idx="4639">
                  <c:v>1.42512494818331E-2</c:v>
                </c:pt>
                <c:pt idx="4640">
                  <c:v>1.3739422722994599E-2</c:v>
                </c:pt>
                <c:pt idx="4641">
                  <c:v>1.3756424952948799E-2</c:v>
                </c:pt>
                <c:pt idx="4642">
                  <c:v>1.3999493245054E-2</c:v>
                </c:pt>
                <c:pt idx="4643">
                  <c:v>1.39759937257629E-2</c:v>
                </c:pt>
                <c:pt idx="4644">
                  <c:v>1.3619458722498499E-2</c:v>
                </c:pt>
                <c:pt idx="4645">
                  <c:v>1.3476970104374901E-2</c:v>
                </c:pt>
                <c:pt idx="4646">
                  <c:v>1.33786709138303E-2</c:v>
                </c:pt>
                <c:pt idx="4647">
                  <c:v>1.31460967622208E-2</c:v>
                </c:pt>
                <c:pt idx="4648">
                  <c:v>1.25390689307624E-2</c:v>
                </c:pt>
                <c:pt idx="4649">
                  <c:v>1.25605003007899E-2</c:v>
                </c:pt>
                <c:pt idx="4650">
                  <c:v>1.1687739705759001E-2</c:v>
                </c:pt>
                <c:pt idx="4651">
                  <c:v>1.13162727649384E-2</c:v>
                </c:pt>
                <c:pt idx="4652">
                  <c:v>1.13601676041503E-2</c:v>
                </c:pt>
                <c:pt idx="4653">
                  <c:v>1.0920121076486201E-2</c:v>
                </c:pt>
                <c:pt idx="4654">
                  <c:v>1.0943060377043999E-2</c:v>
                </c:pt>
                <c:pt idx="4655">
                  <c:v>1.0622648439571799E-2</c:v>
                </c:pt>
                <c:pt idx="4656">
                  <c:v>1.0676747797615099E-2</c:v>
                </c:pt>
                <c:pt idx="4657">
                  <c:v>1.08881242252262E-2</c:v>
                </c:pt>
                <c:pt idx="4658">
                  <c:v>1.0851569038432599E-2</c:v>
                </c:pt>
                <c:pt idx="4659">
                  <c:v>1.02826352103695E-2</c:v>
                </c:pt>
                <c:pt idx="4660">
                  <c:v>1.0209744316086801E-2</c:v>
                </c:pt>
                <c:pt idx="4661">
                  <c:v>1.0160298228022399E-2</c:v>
                </c:pt>
                <c:pt idx="4662">
                  <c:v>9.9394904690095695E-3</c:v>
                </c:pt>
                <c:pt idx="4663">
                  <c:v>9.9389570367315206E-3</c:v>
                </c:pt>
                <c:pt idx="4664">
                  <c:v>9.7389943326743299E-3</c:v>
                </c:pt>
                <c:pt idx="4665">
                  <c:v>9.7401291525064208E-3</c:v>
                </c:pt>
                <c:pt idx="4666">
                  <c:v>9.8000210838037893E-3</c:v>
                </c:pt>
                <c:pt idx="4667">
                  <c:v>9.7515368113822495E-3</c:v>
                </c:pt>
                <c:pt idx="4668">
                  <c:v>9.6298376923192493E-3</c:v>
                </c:pt>
                <c:pt idx="4669">
                  <c:v>1.0258128128720101E-2</c:v>
                </c:pt>
                <c:pt idx="4670">
                  <c:v>1.0246628026214601E-2</c:v>
                </c:pt>
                <c:pt idx="4671">
                  <c:v>1.0205891592361601E-2</c:v>
                </c:pt>
                <c:pt idx="4672">
                  <c:v>1.0307573055944199E-2</c:v>
                </c:pt>
                <c:pt idx="4673">
                  <c:v>1.0202984638899199E-2</c:v>
                </c:pt>
                <c:pt idx="4674">
                  <c:v>9.9487924092245203E-3</c:v>
                </c:pt>
                <c:pt idx="4675">
                  <c:v>1.0064387675374299E-2</c:v>
                </c:pt>
                <c:pt idx="4676">
                  <c:v>1.00159241715134E-2</c:v>
                </c:pt>
                <c:pt idx="4677">
                  <c:v>1.00982117214865E-2</c:v>
                </c:pt>
                <c:pt idx="4678">
                  <c:v>1.0228346861748601E-2</c:v>
                </c:pt>
                <c:pt idx="4679">
                  <c:v>9.8628861579049404E-3</c:v>
                </c:pt>
                <c:pt idx="4680">
                  <c:v>9.8735291349109095E-3</c:v>
                </c:pt>
                <c:pt idx="4681">
                  <c:v>9.8668106311011593E-3</c:v>
                </c:pt>
                <c:pt idx="4682">
                  <c:v>9.9023242675537401E-3</c:v>
                </c:pt>
                <c:pt idx="4683">
                  <c:v>9.8355892785677596E-3</c:v>
                </c:pt>
                <c:pt idx="4684">
                  <c:v>9.8521223590492396E-3</c:v>
                </c:pt>
                <c:pt idx="4685">
                  <c:v>1.0715042425639899E-2</c:v>
                </c:pt>
                <c:pt idx="4686">
                  <c:v>1.16161484770416E-2</c:v>
                </c:pt>
                <c:pt idx="4687">
                  <c:v>1.15500479502581E-2</c:v>
                </c:pt>
                <c:pt idx="4688">
                  <c:v>1.18018941715333E-2</c:v>
                </c:pt>
                <c:pt idx="4689">
                  <c:v>1.17463284179094E-2</c:v>
                </c:pt>
                <c:pt idx="4690">
                  <c:v>1.2105575338254401E-2</c:v>
                </c:pt>
                <c:pt idx="4691">
                  <c:v>1.2105467121830899E-2</c:v>
                </c:pt>
                <c:pt idx="4692">
                  <c:v>1.2136047855702801E-2</c:v>
                </c:pt>
                <c:pt idx="4693">
                  <c:v>1.2145755249378099E-2</c:v>
                </c:pt>
                <c:pt idx="4694">
                  <c:v>1.20948724010152E-2</c:v>
                </c:pt>
                <c:pt idx="4695">
                  <c:v>1.18242018802581E-2</c:v>
                </c:pt>
                <c:pt idx="4696">
                  <c:v>1.17670280178757E-2</c:v>
                </c:pt>
                <c:pt idx="4697">
                  <c:v>1.1784400427064599E-2</c:v>
                </c:pt>
                <c:pt idx="4698">
                  <c:v>1.18241024592429E-2</c:v>
                </c:pt>
                <c:pt idx="4699">
                  <c:v>1.18320437301661E-2</c:v>
                </c:pt>
                <c:pt idx="4700">
                  <c:v>1.1768473702587601E-2</c:v>
                </c:pt>
                <c:pt idx="4701">
                  <c:v>1.2045422179480601E-2</c:v>
                </c:pt>
                <c:pt idx="4702">
                  <c:v>1.14105079742777E-2</c:v>
                </c:pt>
                <c:pt idx="4703">
                  <c:v>1.1427576744135101E-2</c:v>
                </c:pt>
                <c:pt idx="4704">
                  <c:v>1.16367171710749E-2</c:v>
                </c:pt>
                <c:pt idx="4705">
                  <c:v>1.18111765304114E-2</c:v>
                </c:pt>
                <c:pt idx="4706">
                  <c:v>1.1910930478814301E-2</c:v>
                </c:pt>
                <c:pt idx="4707">
                  <c:v>1.1911423447602499E-2</c:v>
                </c:pt>
                <c:pt idx="4708">
                  <c:v>1.2102395576058E-2</c:v>
                </c:pt>
                <c:pt idx="4709">
                  <c:v>1.21168022427206E-2</c:v>
                </c:pt>
                <c:pt idx="4710">
                  <c:v>1.20875665617771E-2</c:v>
                </c:pt>
                <c:pt idx="4711">
                  <c:v>1.20872481501847E-2</c:v>
                </c:pt>
                <c:pt idx="4712">
                  <c:v>1.2198574482841699E-2</c:v>
                </c:pt>
                <c:pt idx="4713">
                  <c:v>1.21966977127128E-2</c:v>
                </c:pt>
                <c:pt idx="4714">
                  <c:v>1.2164196644619501E-2</c:v>
                </c:pt>
                <c:pt idx="4715">
                  <c:v>1.23917271021338E-2</c:v>
                </c:pt>
                <c:pt idx="4716">
                  <c:v>1.24270985377714E-2</c:v>
                </c:pt>
                <c:pt idx="4717">
                  <c:v>1.2253209380036399E-2</c:v>
                </c:pt>
                <c:pt idx="4718">
                  <c:v>1.22385585270905E-2</c:v>
                </c:pt>
                <c:pt idx="4719">
                  <c:v>1.2295373239004899E-2</c:v>
                </c:pt>
                <c:pt idx="4720">
                  <c:v>1.2303805138888501E-2</c:v>
                </c:pt>
                <c:pt idx="4721">
                  <c:v>1.2417616237671099E-2</c:v>
                </c:pt>
                <c:pt idx="4722">
                  <c:v>1.2455288412655001E-2</c:v>
                </c:pt>
                <c:pt idx="4723">
                  <c:v>1.2536516322059099E-2</c:v>
                </c:pt>
                <c:pt idx="4724">
                  <c:v>1.24166179386004E-2</c:v>
                </c:pt>
                <c:pt idx="4725">
                  <c:v>1.24300922708169E-2</c:v>
                </c:pt>
                <c:pt idx="4726">
                  <c:v>1.23966939601345E-2</c:v>
                </c:pt>
                <c:pt idx="4727">
                  <c:v>1.2357116898114201E-2</c:v>
                </c:pt>
                <c:pt idx="4728">
                  <c:v>1.23866176988133E-2</c:v>
                </c:pt>
                <c:pt idx="4729">
                  <c:v>1.1845520983934399E-2</c:v>
                </c:pt>
                <c:pt idx="4730">
                  <c:v>1.1908149476468601E-2</c:v>
                </c:pt>
                <c:pt idx="4731">
                  <c:v>1.19478208351846E-2</c:v>
                </c:pt>
                <c:pt idx="4732">
                  <c:v>1.19795773740795E-2</c:v>
                </c:pt>
                <c:pt idx="4733">
                  <c:v>1.1916534063974501E-2</c:v>
                </c:pt>
                <c:pt idx="4734">
                  <c:v>1.19818560779049E-2</c:v>
                </c:pt>
                <c:pt idx="4735">
                  <c:v>1.19650089457718E-2</c:v>
                </c:pt>
                <c:pt idx="4736">
                  <c:v>1.19760082268082E-2</c:v>
                </c:pt>
                <c:pt idx="4737">
                  <c:v>1.19051317036473E-2</c:v>
                </c:pt>
                <c:pt idx="4738">
                  <c:v>1.18498311565955E-2</c:v>
                </c:pt>
                <c:pt idx="4739">
                  <c:v>1.1853010727747601E-2</c:v>
                </c:pt>
                <c:pt idx="4740">
                  <c:v>1.18424882429092E-2</c:v>
                </c:pt>
                <c:pt idx="4741">
                  <c:v>1.1855458308415801E-2</c:v>
                </c:pt>
                <c:pt idx="4742">
                  <c:v>1.1851085031589201E-2</c:v>
                </c:pt>
                <c:pt idx="4743">
                  <c:v>1.18629021841112E-2</c:v>
                </c:pt>
                <c:pt idx="4744">
                  <c:v>1.17700992917478E-2</c:v>
                </c:pt>
                <c:pt idx="4745">
                  <c:v>1.1111944825794501E-2</c:v>
                </c:pt>
                <c:pt idx="4746">
                  <c:v>1.01108105416355E-2</c:v>
                </c:pt>
                <c:pt idx="4747">
                  <c:v>1.01719799530879E-2</c:v>
                </c:pt>
                <c:pt idx="4748">
                  <c:v>9.9009247758891292E-3</c:v>
                </c:pt>
                <c:pt idx="4749">
                  <c:v>9.93871991375243E-3</c:v>
                </c:pt>
                <c:pt idx="4750">
                  <c:v>9.3896684717963592E-3</c:v>
                </c:pt>
                <c:pt idx="4751">
                  <c:v>9.4817447013724101E-3</c:v>
                </c:pt>
                <c:pt idx="4752">
                  <c:v>9.42747276018009E-3</c:v>
                </c:pt>
                <c:pt idx="4753">
                  <c:v>9.4007775053431795E-3</c:v>
                </c:pt>
                <c:pt idx="4754">
                  <c:v>9.3764199124638705E-3</c:v>
                </c:pt>
                <c:pt idx="4755">
                  <c:v>9.2363530073895604E-3</c:v>
                </c:pt>
                <c:pt idx="4756">
                  <c:v>9.3519581138068793E-3</c:v>
                </c:pt>
                <c:pt idx="4757">
                  <c:v>9.3310587462624803E-3</c:v>
                </c:pt>
                <c:pt idx="4758">
                  <c:v>9.2728378896209107E-3</c:v>
                </c:pt>
                <c:pt idx="4759">
                  <c:v>9.2477202430704206E-3</c:v>
                </c:pt>
                <c:pt idx="4760">
                  <c:v>9.2475896703959597E-3</c:v>
                </c:pt>
                <c:pt idx="4761">
                  <c:v>8.9215477618293498E-3</c:v>
                </c:pt>
                <c:pt idx="4762">
                  <c:v>8.90231334661035E-3</c:v>
                </c:pt>
                <c:pt idx="4763">
                  <c:v>8.87917417689091E-3</c:v>
                </c:pt>
                <c:pt idx="4764">
                  <c:v>8.5038908180481397E-3</c:v>
                </c:pt>
                <c:pt idx="4765">
                  <c:v>8.3208166374793297E-3</c:v>
                </c:pt>
                <c:pt idx="4766">
                  <c:v>8.2233623481058494E-3</c:v>
                </c:pt>
                <c:pt idx="4767">
                  <c:v>8.2751878216604097E-3</c:v>
                </c:pt>
                <c:pt idx="4768">
                  <c:v>7.8614679230689394E-3</c:v>
                </c:pt>
                <c:pt idx="4769">
                  <c:v>7.8505664999909998E-3</c:v>
                </c:pt>
                <c:pt idx="4770">
                  <c:v>7.8474973821361805E-3</c:v>
                </c:pt>
                <c:pt idx="4771">
                  <c:v>7.8504655204146203E-3</c:v>
                </c:pt>
                <c:pt idx="4772">
                  <c:v>7.7543068086712999E-3</c:v>
                </c:pt>
                <c:pt idx="4773">
                  <c:v>7.7578701332345103E-3</c:v>
                </c:pt>
                <c:pt idx="4774">
                  <c:v>7.7607700848468303E-3</c:v>
                </c:pt>
                <c:pt idx="4775">
                  <c:v>7.6279024546794102E-3</c:v>
                </c:pt>
                <c:pt idx="4776">
                  <c:v>7.7665365286588399E-3</c:v>
                </c:pt>
                <c:pt idx="4777">
                  <c:v>7.7716163877234699E-3</c:v>
                </c:pt>
                <c:pt idx="4778">
                  <c:v>7.8019271531949499E-3</c:v>
                </c:pt>
                <c:pt idx="4779">
                  <c:v>7.7769023391582497E-3</c:v>
                </c:pt>
                <c:pt idx="4780">
                  <c:v>7.8393364057540403E-3</c:v>
                </c:pt>
                <c:pt idx="4781">
                  <c:v>7.6174884878442003E-3</c:v>
                </c:pt>
                <c:pt idx="4782">
                  <c:v>7.78975051902256E-3</c:v>
                </c:pt>
                <c:pt idx="4783">
                  <c:v>7.8743304075569506E-3</c:v>
                </c:pt>
                <c:pt idx="4784">
                  <c:v>7.8174835820682808E-3</c:v>
                </c:pt>
                <c:pt idx="4785">
                  <c:v>7.7592087628901001E-3</c:v>
                </c:pt>
                <c:pt idx="4786">
                  <c:v>7.7655844655199601E-3</c:v>
                </c:pt>
                <c:pt idx="4787">
                  <c:v>7.8014548682119097E-3</c:v>
                </c:pt>
                <c:pt idx="4788">
                  <c:v>7.7683100340966999E-3</c:v>
                </c:pt>
                <c:pt idx="4789">
                  <c:v>7.8236980864276502E-3</c:v>
                </c:pt>
                <c:pt idx="4790">
                  <c:v>7.9456179965675007E-3</c:v>
                </c:pt>
                <c:pt idx="4791">
                  <c:v>7.9616335818274795E-3</c:v>
                </c:pt>
                <c:pt idx="4792">
                  <c:v>7.7984676465492498E-3</c:v>
                </c:pt>
                <c:pt idx="4793">
                  <c:v>7.8193683436618196E-3</c:v>
                </c:pt>
                <c:pt idx="4794">
                  <c:v>7.8078180192915096E-3</c:v>
                </c:pt>
                <c:pt idx="4795">
                  <c:v>7.7693560801530299E-3</c:v>
                </c:pt>
                <c:pt idx="4796">
                  <c:v>7.7435195628798199E-3</c:v>
                </c:pt>
                <c:pt idx="4797">
                  <c:v>7.7505690827609601E-3</c:v>
                </c:pt>
                <c:pt idx="4798">
                  <c:v>7.7030138816872196E-3</c:v>
                </c:pt>
                <c:pt idx="4799">
                  <c:v>7.7058950548552401E-3</c:v>
                </c:pt>
                <c:pt idx="4800">
                  <c:v>7.9841742972632506E-3</c:v>
                </c:pt>
                <c:pt idx="4801">
                  <c:v>8.0274253018539805E-3</c:v>
                </c:pt>
                <c:pt idx="4802">
                  <c:v>8.0639896559509799E-3</c:v>
                </c:pt>
                <c:pt idx="4803">
                  <c:v>8.1513114372029107E-3</c:v>
                </c:pt>
                <c:pt idx="4804">
                  <c:v>8.1845963190824503E-3</c:v>
                </c:pt>
                <c:pt idx="4805">
                  <c:v>8.1083648654846404E-3</c:v>
                </c:pt>
                <c:pt idx="4806">
                  <c:v>8.1448011931628105E-3</c:v>
                </c:pt>
                <c:pt idx="4807">
                  <c:v>8.0543904489520993E-3</c:v>
                </c:pt>
                <c:pt idx="4808">
                  <c:v>8.5522106855348296E-3</c:v>
                </c:pt>
                <c:pt idx="4809">
                  <c:v>8.5161925505977398E-3</c:v>
                </c:pt>
                <c:pt idx="4810">
                  <c:v>8.8662015023132593E-3</c:v>
                </c:pt>
                <c:pt idx="4811">
                  <c:v>8.8788388526991405E-3</c:v>
                </c:pt>
                <c:pt idx="4812">
                  <c:v>9.1067046349382307E-3</c:v>
                </c:pt>
                <c:pt idx="4813">
                  <c:v>9.1234715644086493E-3</c:v>
                </c:pt>
                <c:pt idx="4814">
                  <c:v>9.2177765016003398E-3</c:v>
                </c:pt>
                <c:pt idx="4815">
                  <c:v>9.2016506460668706E-3</c:v>
                </c:pt>
                <c:pt idx="4816">
                  <c:v>8.9914939280745405E-3</c:v>
                </c:pt>
                <c:pt idx="4817">
                  <c:v>9.0796663420321198E-3</c:v>
                </c:pt>
                <c:pt idx="4818">
                  <c:v>9.2058937364184901E-3</c:v>
                </c:pt>
                <c:pt idx="4819">
                  <c:v>9.2262390382155703E-3</c:v>
                </c:pt>
                <c:pt idx="4820">
                  <c:v>9.2345939347596093E-3</c:v>
                </c:pt>
                <c:pt idx="4821">
                  <c:v>9.1862072182663703E-3</c:v>
                </c:pt>
                <c:pt idx="4822">
                  <c:v>9.0698648293709907E-3</c:v>
                </c:pt>
                <c:pt idx="4823">
                  <c:v>9.1750447086892395E-3</c:v>
                </c:pt>
                <c:pt idx="4824">
                  <c:v>9.2998598113149707E-3</c:v>
                </c:pt>
                <c:pt idx="4825">
                  <c:v>9.6299686256582605E-3</c:v>
                </c:pt>
                <c:pt idx="4826">
                  <c:v>9.7275954752960407E-3</c:v>
                </c:pt>
                <c:pt idx="4827">
                  <c:v>9.6991795922206497E-3</c:v>
                </c:pt>
                <c:pt idx="4828">
                  <c:v>9.7716500356240694E-3</c:v>
                </c:pt>
                <c:pt idx="4829">
                  <c:v>9.8195240782120406E-3</c:v>
                </c:pt>
                <c:pt idx="4830">
                  <c:v>9.8305428798141099E-3</c:v>
                </c:pt>
                <c:pt idx="4831">
                  <c:v>9.9234183199153302E-3</c:v>
                </c:pt>
                <c:pt idx="4832">
                  <c:v>1.0611667781715701E-2</c:v>
                </c:pt>
                <c:pt idx="4833">
                  <c:v>1.0871408419871499E-2</c:v>
                </c:pt>
                <c:pt idx="4834">
                  <c:v>1.0851968529897799E-2</c:v>
                </c:pt>
                <c:pt idx="4835">
                  <c:v>1.0871988422972E-2</c:v>
                </c:pt>
                <c:pt idx="4836">
                  <c:v>1.0611863782604E-2</c:v>
                </c:pt>
                <c:pt idx="4837">
                  <c:v>1.1222791431838601E-2</c:v>
                </c:pt>
                <c:pt idx="4838">
                  <c:v>1.24943774732043E-2</c:v>
                </c:pt>
                <c:pt idx="4839">
                  <c:v>1.3849029333508499E-2</c:v>
                </c:pt>
                <c:pt idx="4840">
                  <c:v>1.41348720836566E-2</c:v>
                </c:pt>
                <c:pt idx="4841">
                  <c:v>1.41444256799634E-2</c:v>
                </c:pt>
                <c:pt idx="4842">
                  <c:v>1.40374963853517E-2</c:v>
                </c:pt>
                <c:pt idx="4843">
                  <c:v>1.39411140006516E-2</c:v>
                </c:pt>
                <c:pt idx="4844">
                  <c:v>1.39234486816639E-2</c:v>
                </c:pt>
                <c:pt idx="4845">
                  <c:v>1.3927117788032699E-2</c:v>
                </c:pt>
                <c:pt idx="4846">
                  <c:v>1.4018881451412999E-2</c:v>
                </c:pt>
                <c:pt idx="4847">
                  <c:v>1.4021552732722301E-2</c:v>
                </c:pt>
                <c:pt idx="4848">
                  <c:v>1.4018096724661399E-2</c:v>
                </c:pt>
                <c:pt idx="4849">
                  <c:v>1.4539449771985E-2</c:v>
                </c:pt>
                <c:pt idx="4850">
                  <c:v>1.4466088694369401E-2</c:v>
                </c:pt>
                <c:pt idx="4851">
                  <c:v>1.45372642898648E-2</c:v>
                </c:pt>
                <c:pt idx="4852">
                  <c:v>1.45148066147442E-2</c:v>
                </c:pt>
                <c:pt idx="4853">
                  <c:v>1.45753179873789E-2</c:v>
                </c:pt>
                <c:pt idx="4854">
                  <c:v>1.4574606934991101E-2</c:v>
                </c:pt>
              </c:numCache>
            </c:numRef>
          </c:val>
          <c:smooth val="0"/>
          <c:extLst>
            <c:ext xmlns:c16="http://schemas.microsoft.com/office/drawing/2014/chart" uri="{C3380CC4-5D6E-409C-BE32-E72D297353CC}">
              <c16:uniqueId val="{00000001-A453-4679-8CD4-0E382E926464}"/>
            </c:ext>
          </c:extLst>
        </c:ser>
        <c:ser>
          <c:idx val="3"/>
          <c:order val="2"/>
          <c:tx>
            <c:strRef>
              <c:f>'v60'!$D$1</c:f>
              <c:strCache>
                <c:ptCount val="1"/>
                <c:pt idx="0">
                  <c:v>Volatility 200</c:v>
                </c:pt>
              </c:strCache>
            </c:strRef>
          </c:tx>
          <c:spPr>
            <a:ln w="28575" cap="rnd">
              <a:solidFill>
                <a:schemeClr val="accent4"/>
              </a:solidFill>
              <a:round/>
            </a:ln>
            <a:effectLst/>
          </c:spPr>
          <c:marker>
            <c:symbol val="none"/>
          </c:marker>
          <c:cat>
            <c:numRef>
              <c:f>'v60'!$A$2:$A$4856</c:f>
              <c:numCache>
                <c:formatCode>yyyy\-mm\-dd;@</c:formatCode>
                <c:ptCount val="4855"/>
                <c:pt idx="0">
                  <c:v>37358</c:v>
                </c:pt>
                <c:pt idx="1">
                  <c:v>37361</c:v>
                </c:pt>
                <c:pt idx="2">
                  <c:v>37362</c:v>
                </c:pt>
                <c:pt idx="3">
                  <c:v>37363</c:v>
                </c:pt>
                <c:pt idx="4">
                  <c:v>37364</c:v>
                </c:pt>
                <c:pt idx="5">
                  <c:v>37365</c:v>
                </c:pt>
                <c:pt idx="6">
                  <c:v>37368</c:v>
                </c:pt>
                <c:pt idx="7">
                  <c:v>37369</c:v>
                </c:pt>
                <c:pt idx="8">
                  <c:v>37370</c:v>
                </c:pt>
                <c:pt idx="9">
                  <c:v>37371</c:v>
                </c:pt>
                <c:pt idx="10">
                  <c:v>37372</c:v>
                </c:pt>
                <c:pt idx="11">
                  <c:v>37375</c:v>
                </c:pt>
                <c:pt idx="12">
                  <c:v>37376</c:v>
                </c:pt>
                <c:pt idx="13">
                  <c:v>37384</c:v>
                </c:pt>
                <c:pt idx="14">
                  <c:v>37385</c:v>
                </c:pt>
                <c:pt idx="15">
                  <c:v>37386</c:v>
                </c:pt>
                <c:pt idx="16">
                  <c:v>37389</c:v>
                </c:pt>
                <c:pt idx="17">
                  <c:v>37390</c:v>
                </c:pt>
                <c:pt idx="18">
                  <c:v>37391</c:v>
                </c:pt>
                <c:pt idx="19">
                  <c:v>37392</c:v>
                </c:pt>
                <c:pt idx="20">
                  <c:v>37393</c:v>
                </c:pt>
                <c:pt idx="21">
                  <c:v>37396</c:v>
                </c:pt>
                <c:pt idx="22">
                  <c:v>37397</c:v>
                </c:pt>
                <c:pt idx="23">
                  <c:v>37398</c:v>
                </c:pt>
                <c:pt idx="24">
                  <c:v>37399</c:v>
                </c:pt>
                <c:pt idx="25">
                  <c:v>37400</c:v>
                </c:pt>
                <c:pt idx="26">
                  <c:v>37403</c:v>
                </c:pt>
                <c:pt idx="27">
                  <c:v>37404</c:v>
                </c:pt>
                <c:pt idx="28">
                  <c:v>37405</c:v>
                </c:pt>
                <c:pt idx="29">
                  <c:v>37406</c:v>
                </c:pt>
                <c:pt idx="30">
                  <c:v>37407</c:v>
                </c:pt>
                <c:pt idx="31">
                  <c:v>37410</c:v>
                </c:pt>
                <c:pt idx="32">
                  <c:v>37411</c:v>
                </c:pt>
                <c:pt idx="33">
                  <c:v>37412</c:v>
                </c:pt>
                <c:pt idx="34">
                  <c:v>37413</c:v>
                </c:pt>
                <c:pt idx="35">
                  <c:v>37414</c:v>
                </c:pt>
                <c:pt idx="36">
                  <c:v>37417</c:v>
                </c:pt>
                <c:pt idx="37">
                  <c:v>37418</c:v>
                </c:pt>
                <c:pt idx="38">
                  <c:v>37419</c:v>
                </c:pt>
                <c:pt idx="39">
                  <c:v>37420</c:v>
                </c:pt>
                <c:pt idx="40">
                  <c:v>37421</c:v>
                </c:pt>
                <c:pt idx="41">
                  <c:v>37424</c:v>
                </c:pt>
                <c:pt idx="42">
                  <c:v>37425</c:v>
                </c:pt>
                <c:pt idx="43">
                  <c:v>37426</c:v>
                </c:pt>
                <c:pt idx="44">
                  <c:v>37427</c:v>
                </c:pt>
                <c:pt idx="45">
                  <c:v>37428</c:v>
                </c:pt>
                <c:pt idx="46">
                  <c:v>37431</c:v>
                </c:pt>
                <c:pt idx="47">
                  <c:v>37432</c:v>
                </c:pt>
                <c:pt idx="48">
                  <c:v>37433</c:v>
                </c:pt>
                <c:pt idx="49">
                  <c:v>37434</c:v>
                </c:pt>
                <c:pt idx="50">
                  <c:v>37435</c:v>
                </c:pt>
                <c:pt idx="51">
                  <c:v>37438</c:v>
                </c:pt>
                <c:pt idx="52">
                  <c:v>37439</c:v>
                </c:pt>
                <c:pt idx="53">
                  <c:v>37440</c:v>
                </c:pt>
                <c:pt idx="54">
                  <c:v>37441</c:v>
                </c:pt>
                <c:pt idx="55">
                  <c:v>37442</c:v>
                </c:pt>
                <c:pt idx="56">
                  <c:v>37445</c:v>
                </c:pt>
                <c:pt idx="57">
                  <c:v>37446</c:v>
                </c:pt>
                <c:pt idx="58">
                  <c:v>37447</c:v>
                </c:pt>
                <c:pt idx="59">
                  <c:v>37448</c:v>
                </c:pt>
                <c:pt idx="60">
                  <c:v>37449</c:v>
                </c:pt>
                <c:pt idx="61">
                  <c:v>37452</c:v>
                </c:pt>
                <c:pt idx="62">
                  <c:v>37453</c:v>
                </c:pt>
                <c:pt idx="63">
                  <c:v>37454</c:v>
                </c:pt>
                <c:pt idx="64">
                  <c:v>37455</c:v>
                </c:pt>
                <c:pt idx="65">
                  <c:v>37456</c:v>
                </c:pt>
                <c:pt idx="66">
                  <c:v>37459</c:v>
                </c:pt>
                <c:pt idx="67">
                  <c:v>37460</c:v>
                </c:pt>
                <c:pt idx="68">
                  <c:v>37461</c:v>
                </c:pt>
                <c:pt idx="69">
                  <c:v>37462</c:v>
                </c:pt>
                <c:pt idx="70">
                  <c:v>37463</c:v>
                </c:pt>
                <c:pt idx="71">
                  <c:v>37466</c:v>
                </c:pt>
                <c:pt idx="72">
                  <c:v>37467</c:v>
                </c:pt>
                <c:pt idx="73">
                  <c:v>37468</c:v>
                </c:pt>
                <c:pt idx="74">
                  <c:v>37469</c:v>
                </c:pt>
                <c:pt idx="75">
                  <c:v>37470</c:v>
                </c:pt>
                <c:pt idx="76">
                  <c:v>37473</c:v>
                </c:pt>
                <c:pt idx="77">
                  <c:v>37474</c:v>
                </c:pt>
                <c:pt idx="78">
                  <c:v>37475</c:v>
                </c:pt>
                <c:pt idx="79">
                  <c:v>37476</c:v>
                </c:pt>
                <c:pt idx="80">
                  <c:v>37477</c:v>
                </c:pt>
                <c:pt idx="81">
                  <c:v>37480</c:v>
                </c:pt>
                <c:pt idx="82">
                  <c:v>37481</c:v>
                </c:pt>
                <c:pt idx="83">
                  <c:v>37482</c:v>
                </c:pt>
                <c:pt idx="84">
                  <c:v>37483</c:v>
                </c:pt>
                <c:pt idx="85">
                  <c:v>37484</c:v>
                </c:pt>
                <c:pt idx="86">
                  <c:v>37487</c:v>
                </c:pt>
                <c:pt idx="87">
                  <c:v>37488</c:v>
                </c:pt>
                <c:pt idx="88">
                  <c:v>37489</c:v>
                </c:pt>
                <c:pt idx="89">
                  <c:v>37490</c:v>
                </c:pt>
                <c:pt idx="90">
                  <c:v>37491</c:v>
                </c:pt>
                <c:pt idx="91">
                  <c:v>37494</c:v>
                </c:pt>
                <c:pt idx="92">
                  <c:v>37495</c:v>
                </c:pt>
                <c:pt idx="93">
                  <c:v>37496</c:v>
                </c:pt>
                <c:pt idx="94">
                  <c:v>37497</c:v>
                </c:pt>
                <c:pt idx="95">
                  <c:v>37498</c:v>
                </c:pt>
                <c:pt idx="96">
                  <c:v>37501</c:v>
                </c:pt>
                <c:pt idx="97">
                  <c:v>37502</c:v>
                </c:pt>
                <c:pt idx="98">
                  <c:v>37503</c:v>
                </c:pt>
                <c:pt idx="99">
                  <c:v>37504</c:v>
                </c:pt>
                <c:pt idx="100">
                  <c:v>37505</c:v>
                </c:pt>
                <c:pt idx="101">
                  <c:v>37508</c:v>
                </c:pt>
                <c:pt idx="102">
                  <c:v>37509</c:v>
                </c:pt>
                <c:pt idx="103">
                  <c:v>37510</c:v>
                </c:pt>
                <c:pt idx="104">
                  <c:v>37511</c:v>
                </c:pt>
                <c:pt idx="105">
                  <c:v>37512</c:v>
                </c:pt>
                <c:pt idx="106">
                  <c:v>37515</c:v>
                </c:pt>
                <c:pt idx="107">
                  <c:v>37516</c:v>
                </c:pt>
                <c:pt idx="108">
                  <c:v>37517</c:v>
                </c:pt>
                <c:pt idx="109">
                  <c:v>37518</c:v>
                </c:pt>
                <c:pt idx="110">
                  <c:v>37519</c:v>
                </c:pt>
                <c:pt idx="111">
                  <c:v>37522</c:v>
                </c:pt>
                <c:pt idx="112">
                  <c:v>37523</c:v>
                </c:pt>
                <c:pt idx="113">
                  <c:v>37524</c:v>
                </c:pt>
                <c:pt idx="114">
                  <c:v>37525</c:v>
                </c:pt>
                <c:pt idx="115">
                  <c:v>37526</c:v>
                </c:pt>
                <c:pt idx="116">
                  <c:v>37537</c:v>
                </c:pt>
                <c:pt idx="117">
                  <c:v>37538</c:v>
                </c:pt>
                <c:pt idx="118">
                  <c:v>37539</c:v>
                </c:pt>
                <c:pt idx="119">
                  <c:v>37540</c:v>
                </c:pt>
                <c:pt idx="120">
                  <c:v>37543</c:v>
                </c:pt>
                <c:pt idx="121">
                  <c:v>37544</c:v>
                </c:pt>
                <c:pt idx="122">
                  <c:v>37545</c:v>
                </c:pt>
                <c:pt idx="123">
                  <c:v>37546</c:v>
                </c:pt>
                <c:pt idx="124">
                  <c:v>37547</c:v>
                </c:pt>
                <c:pt idx="125">
                  <c:v>37550</c:v>
                </c:pt>
                <c:pt idx="126">
                  <c:v>37551</c:v>
                </c:pt>
                <c:pt idx="127">
                  <c:v>37552</c:v>
                </c:pt>
                <c:pt idx="128">
                  <c:v>37553</c:v>
                </c:pt>
                <c:pt idx="129">
                  <c:v>37554</c:v>
                </c:pt>
                <c:pt idx="130">
                  <c:v>37557</c:v>
                </c:pt>
                <c:pt idx="131">
                  <c:v>37558</c:v>
                </c:pt>
                <c:pt idx="132">
                  <c:v>37559</c:v>
                </c:pt>
                <c:pt idx="133">
                  <c:v>37560</c:v>
                </c:pt>
                <c:pt idx="134">
                  <c:v>37561</c:v>
                </c:pt>
                <c:pt idx="135">
                  <c:v>37564</c:v>
                </c:pt>
                <c:pt idx="136">
                  <c:v>37565</c:v>
                </c:pt>
                <c:pt idx="137">
                  <c:v>37566</c:v>
                </c:pt>
                <c:pt idx="138">
                  <c:v>37567</c:v>
                </c:pt>
                <c:pt idx="139">
                  <c:v>37568</c:v>
                </c:pt>
                <c:pt idx="140">
                  <c:v>37571</c:v>
                </c:pt>
                <c:pt idx="141">
                  <c:v>37572</c:v>
                </c:pt>
                <c:pt idx="142">
                  <c:v>37573</c:v>
                </c:pt>
                <c:pt idx="143">
                  <c:v>37574</c:v>
                </c:pt>
                <c:pt idx="144">
                  <c:v>37575</c:v>
                </c:pt>
                <c:pt idx="145">
                  <c:v>37578</c:v>
                </c:pt>
                <c:pt idx="146">
                  <c:v>37579</c:v>
                </c:pt>
                <c:pt idx="147">
                  <c:v>37580</c:v>
                </c:pt>
                <c:pt idx="148">
                  <c:v>37581</c:v>
                </c:pt>
                <c:pt idx="149">
                  <c:v>37582</c:v>
                </c:pt>
                <c:pt idx="150">
                  <c:v>37585</c:v>
                </c:pt>
                <c:pt idx="151">
                  <c:v>37586</c:v>
                </c:pt>
                <c:pt idx="152">
                  <c:v>37587</c:v>
                </c:pt>
                <c:pt idx="153">
                  <c:v>37588</c:v>
                </c:pt>
                <c:pt idx="154">
                  <c:v>37589</c:v>
                </c:pt>
                <c:pt idx="155">
                  <c:v>37592</c:v>
                </c:pt>
                <c:pt idx="156">
                  <c:v>37593</c:v>
                </c:pt>
                <c:pt idx="157">
                  <c:v>37594</c:v>
                </c:pt>
                <c:pt idx="158">
                  <c:v>37595</c:v>
                </c:pt>
                <c:pt idx="159">
                  <c:v>37596</c:v>
                </c:pt>
                <c:pt idx="160">
                  <c:v>37599</c:v>
                </c:pt>
                <c:pt idx="161">
                  <c:v>37600</c:v>
                </c:pt>
                <c:pt idx="162">
                  <c:v>37601</c:v>
                </c:pt>
                <c:pt idx="163">
                  <c:v>37602</c:v>
                </c:pt>
                <c:pt idx="164">
                  <c:v>37603</c:v>
                </c:pt>
                <c:pt idx="165">
                  <c:v>37606</c:v>
                </c:pt>
                <c:pt idx="166">
                  <c:v>37607</c:v>
                </c:pt>
                <c:pt idx="167">
                  <c:v>37608</c:v>
                </c:pt>
                <c:pt idx="168">
                  <c:v>37609</c:v>
                </c:pt>
                <c:pt idx="169">
                  <c:v>37610</c:v>
                </c:pt>
                <c:pt idx="170">
                  <c:v>37613</c:v>
                </c:pt>
                <c:pt idx="171">
                  <c:v>37614</c:v>
                </c:pt>
                <c:pt idx="172">
                  <c:v>37615</c:v>
                </c:pt>
                <c:pt idx="173">
                  <c:v>37616</c:v>
                </c:pt>
                <c:pt idx="174">
                  <c:v>37617</c:v>
                </c:pt>
                <c:pt idx="175">
                  <c:v>37620</c:v>
                </c:pt>
                <c:pt idx="176">
                  <c:v>37621</c:v>
                </c:pt>
                <c:pt idx="177">
                  <c:v>37623</c:v>
                </c:pt>
                <c:pt idx="178">
                  <c:v>37624</c:v>
                </c:pt>
                <c:pt idx="179">
                  <c:v>37627</c:v>
                </c:pt>
                <c:pt idx="180">
                  <c:v>37628</c:v>
                </c:pt>
                <c:pt idx="181">
                  <c:v>37629</c:v>
                </c:pt>
                <c:pt idx="182">
                  <c:v>37630</c:v>
                </c:pt>
                <c:pt idx="183">
                  <c:v>37631</c:v>
                </c:pt>
                <c:pt idx="184">
                  <c:v>37634</c:v>
                </c:pt>
                <c:pt idx="185">
                  <c:v>37635</c:v>
                </c:pt>
                <c:pt idx="186">
                  <c:v>37636</c:v>
                </c:pt>
                <c:pt idx="187">
                  <c:v>37637</c:v>
                </c:pt>
                <c:pt idx="188">
                  <c:v>37638</c:v>
                </c:pt>
                <c:pt idx="189">
                  <c:v>37641</c:v>
                </c:pt>
                <c:pt idx="190">
                  <c:v>37642</c:v>
                </c:pt>
                <c:pt idx="191">
                  <c:v>37643</c:v>
                </c:pt>
                <c:pt idx="192">
                  <c:v>37644</c:v>
                </c:pt>
                <c:pt idx="193">
                  <c:v>37645</c:v>
                </c:pt>
                <c:pt idx="194">
                  <c:v>37648</c:v>
                </c:pt>
                <c:pt idx="195">
                  <c:v>37649</c:v>
                </c:pt>
                <c:pt idx="196">
                  <c:v>37650</c:v>
                </c:pt>
                <c:pt idx="197">
                  <c:v>37662</c:v>
                </c:pt>
                <c:pt idx="198">
                  <c:v>37663</c:v>
                </c:pt>
                <c:pt idx="199">
                  <c:v>37664</c:v>
                </c:pt>
                <c:pt idx="200">
                  <c:v>37665</c:v>
                </c:pt>
                <c:pt idx="201">
                  <c:v>37666</c:v>
                </c:pt>
                <c:pt idx="202">
                  <c:v>37669</c:v>
                </c:pt>
                <c:pt idx="203">
                  <c:v>37670</c:v>
                </c:pt>
                <c:pt idx="204">
                  <c:v>37671</c:v>
                </c:pt>
                <c:pt idx="205">
                  <c:v>37672</c:v>
                </c:pt>
                <c:pt idx="206">
                  <c:v>37673</c:v>
                </c:pt>
                <c:pt idx="207">
                  <c:v>37676</c:v>
                </c:pt>
                <c:pt idx="208">
                  <c:v>37677</c:v>
                </c:pt>
                <c:pt idx="209">
                  <c:v>37678</c:v>
                </c:pt>
                <c:pt idx="210">
                  <c:v>37679</c:v>
                </c:pt>
                <c:pt idx="211">
                  <c:v>37680</c:v>
                </c:pt>
                <c:pt idx="212">
                  <c:v>37683</c:v>
                </c:pt>
                <c:pt idx="213">
                  <c:v>37684</c:v>
                </c:pt>
                <c:pt idx="214">
                  <c:v>37685</c:v>
                </c:pt>
                <c:pt idx="215">
                  <c:v>37686</c:v>
                </c:pt>
                <c:pt idx="216">
                  <c:v>37687</c:v>
                </c:pt>
                <c:pt idx="217">
                  <c:v>37690</c:v>
                </c:pt>
                <c:pt idx="218">
                  <c:v>37691</c:v>
                </c:pt>
                <c:pt idx="219">
                  <c:v>37692</c:v>
                </c:pt>
                <c:pt idx="220">
                  <c:v>37693</c:v>
                </c:pt>
                <c:pt idx="221">
                  <c:v>37694</c:v>
                </c:pt>
                <c:pt idx="222">
                  <c:v>37697</c:v>
                </c:pt>
                <c:pt idx="223">
                  <c:v>37698</c:v>
                </c:pt>
                <c:pt idx="224">
                  <c:v>37699</c:v>
                </c:pt>
                <c:pt idx="225">
                  <c:v>37700</c:v>
                </c:pt>
                <c:pt idx="226">
                  <c:v>37701</c:v>
                </c:pt>
                <c:pt idx="227">
                  <c:v>37704</c:v>
                </c:pt>
                <c:pt idx="228">
                  <c:v>37705</c:v>
                </c:pt>
                <c:pt idx="229">
                  <c:v>37706</c:v>
                </c:pt>
                <c:pt idx="230">
                  <c:v>37707</c:v>
                </c:pt>
                <c:pt idx="231">
                  <c:v>37708</c:v>
                </c:pt>
                <c:pt idx="232">
                  <c:v>37711</c:v>
                </c:pt>
                <c:pt idx="233">
                  <c:v>37712</c:v>
                </c:pt>
                <c:pt idx="234">
                  <c:v>37713</c:v>
                </c:pt>
                <c:pt idx="235">
                  <c:v>37714</c:v>
                </c:pt>
                <c:pt idx="236">
                  <c:v>37715</c:v>
                </c:pt>
                <c:pt idx="237">
                  <c:v>37718</c:v>
                </c:pt>
                <c:pt idx="238">
                  <c:v>37719</c:v>
                </c:pt>
                <c:pt idx="239">
                  <c:v>37720</c:v>
                </c:pt>
                <c:pt idx="240">
                  <c:v>37721</c:v>
                </c:pt>
                <c:pt idx="241">
                  <c:v>37722</c:v>
                </c:pt>
                <c:pt idx="242">
                  <c:v>37725</c:v>
                </c:pt>
                <c:pt idx="243">
                  <c:v>37726</c:v>
                </c:pt>
                <c:pt idx="244">
                  <c:v>37727</c:v>
                </c:pt>
                <c:pt idx="245">
                  <c:v>37728</c:v>
                </c:pt>
                <c:pt idx="246">
                  <c:v>37729</c:v>
                </c:pt>
                <c:pt idx="247">
                  <c:v>37732</c:v>
                </c:pt>
                <c:pt idx="248">
                  <c:v>37733</c:v>
                </c:pt>
                <c:pt idx="249">
                  <c:v>37734</c:v>
                </c:pt>
                <c:pt idx="250">
                  <c:v>37735</c:v>
                </c:pt>
                <c:pt idx="251">
                  <c:v>37736</c:v>
                </c:pt>
                <c:pt idx="252">
                  <c:v>37739</c:v>
                </c:pt>
                <c:pt idx="253">
                  <c:v>37740</c:v>
                </c:pt>
                <c:pt idx="254">
                  <c:v>37741</c:v>
                </c:pt>
                <c:pt idx="255">
                  <c:v>37753</c:v>
                </c:pt>
                <c:pt idx="256">
                  <c:v>37754</c:v>
                </c:pt>
                <c:pt idx="257">
                  <c:v>37755</c:v>
                </c:pt>
                <c:pt idx="258">
                  <c:v>37756</c:v>
                </c:pt>
                <c:pt idx="259">
                  <c:v>37757</c:v>
                </c:pt>
                <c:pt idx="260">
                  <c:v>37760</c:v>
                </c:pt>
                <c:pt idx="261">
                  <c:v>37761</c:v>
                </c:pt>
                <c:pt idx="262">
                  <c:v>37762</c:v>
                </c:pt>
                <c:pt idx="263">
                  <c:v>37763</c:v>
                </c:pt>
                <c:pt idx="264">
                  <c:v>37764</c:v>
                </c:pt>
                <c:pt idx="265">
                  <c:v>37767</c:v>
                </c:pt>
                <c:pt idx="266">
                  <c:v>37768</c:v>
                </c:pt>
                <c:pt idx="267">
                  <c:v>37769</c:v>
                </c:pt>
                <c:pt idx="268">
                  <c:v>37770</c:v>
                </c:pt>
                <c:pt idx="269">
                  <c:v>37771</c:v>
                </c:pt>
                <c:pt idx="270">
                  <c:v>37774</c:v>
                </c:pt>
                <c:pt idx="271">
                  <c:v>37775</c:v>
                </c:pt>
                <c:pt idx="272">
                  <c:v>37776</c:v>
                </c:pt>
                <c:pt idx="273">
                  <c:v>37777</c:v>
                </c:pt>
                <c:pt idx="274">
                  <c:v>37778</c:v>
                </c:pt>
                <c:pt idx="275">
                  <c:v>37781</c:v>
                </c:pt>
                <c:pt idx="276">
                  <c:v>37782</c:v>
                </c:pt>
                <c:pt idx="277">
                  <c:v>37783</c:v>
                </c:pt>
                <c:pt idx="278">
                  <c:v>37784</c:v>
                </c:pt>
                <c:pt idx="279">
                  <c:v>37785</c:v>
                </c:pt>
                <c:pt idx="280">
                  <c:v>37788</c:v>
                </c:pt>
                <c:pt idx="281">
                  <c:v>37789</c:v>
                </c:pt>
                <c:pt idx="282">
                  <c:v>37790</c:v>
                </c:pt>
                <c:pt idx="283">
                  <c:v>37791</c:v>
                </c:pt>
                <c:pt idx="284">
                  <c:v>37792</c:v>
                </c:pt>
                <c:pt idx="285">
                  <c:v>37795</c:v>
                </c:pt>
                <c:pt idx="286">
                  <c:v>37796</c:v>
                </c:pt>
                <c:pt idx="287">
                  <c:v>37797</c:v>
                </c:pt>
                <c:pt idx="288">
                  <c:v>37798</c:v>
                </c:pt>
                <c:pt idx="289">
                  <c:v>37799</c:v>
                </c:pt>
                <c:pt idx="290">
                  <c:v>37802</c:v>
                </c:pt>
                <c:pt idx="291">
                  <c:v>37803</c:v>
                </c:pt>
                <c:pt idx="292">
                  <c:v>37804</c:v>
                </c:pt>
                <c:pt idx="293">
                  <c:v>37805</c:v>
                </c:pt>
                <c:pt idx="294">
                  <c:v>37806</c:v>
                </c:pt>
                <c:pt idx="295">
                  <c:v>37809</c:v>
                </c:pt>
                <c:pt idx="296">
                  <c:v>37810</c:v>
                </c:pt>
                <c:pt idx="297">
                  <c:v>37811</c:v>
                </c:pt>
                <c:pt idx="298">
                  <c:v>37812</c:v>
                </c:pt>
                <c:pt idx="299">
                  <c:v>37813</c:v>
                </c:pt>
                <c:pt idx="300">
                  <c:v>37816</c:v>
                </c:pt>
                <c:pt idx="301">
                  <c:v>37817</c:v>
                </c:pt>
                <c:pt idx="302">
                  <c:v>37818</c:v>
                </c:pt>
                <c:pt idx="303">
                  <c:v>37819</c:v>
                </c:pt>
                <c:pt idx="304">
                  <c:v>37820</c:v>
                </c:pt>
                <c:pt idx="305">
                  <c:v>37823</c:v>
                </c:pt>
                <c:pt idx="306">
                  <c:v>37824</c:v>
                </c:pt>
                <c:pt idx="307">
                  <c:v>37825</c:v>
                </c:pt>
                <c:pt idx="308">
                  <c:v>37826</c:v>
                </c:pt>
                <c:pt idx="309">
                  <c:v>37827</c:v>
                </c:pt>
                <c:pt idx="310">
                  <c:v>37830</c:v>
                </c:pt>
                <c:pt idx="311">
                  <c:v>37831</c:v>
                </c:pt>
                <c:pt idx="312">
                  <c:v>37832</c:v>
                </c:pt>
                <c:pt idx="313">
                  <c:v>37833</c:v>
                </c:pt>
                <c:pt idx="314">
                  <c:v>37834</c:v>
                </c:pt>
                <c:pt idx="315">
                  <c:v>37837</c:v>
                </c:pt>
                <c:pt idx="316">
                  <c:v>37838</c:v>
                </c:pt>
                <c:pt idx="317">
                  <c:v>37839</c:v>
                </c:pt>
                <c:pt idx="318">
                  <c:v>37840</c:v>
                </c:pt>
                <c:pt idx="319">
                  <c:v>37841</c:v>
                </c:pt>
                <c:pt idx="320">
                  <c:v>37844</c:v>
                </c:pt>
                <c:pt idx="321">
                  <c:v>37845</c:v>
                </c:pt>
                <c:pt idx="322">
                  <c:v>37846</c:v>
                </c:pt>
                <c:pt idx="323">
                  <c:v>37847</c:v>
                </c:pt>
                <c:pt idx="324">
                  <c:v>37848</c:v>
                </c:pt>
                <c:pt idx="325">
                  <c:v>37851</c:v>
                </c:pt>
                <c:pt idx="326">
                  <c:v>37852</c:v>
                </c:pt>
                <c:pt idx="327">
                  <c:v>37853</c:v>
                </c:pt>
                <c:pt idx="328">
                  <c:v>37854</c:v>
                </c:pt>
                <c:pt idx="329">
                  <c:v>37855</c:v>
                </c:pt>
                <c:pt idx="330">
                  <c:v>37858</c:v>
                </c:pt>
                <c:pt idx="331">
                  <c:v>37859</c:v>
                </c:pt>
                <c:pt idx="332">
                  <c:v>37860</c:v>
                </c:pt>
                <c:pt idx="333">
                  <c:v>37861</c:v>
                </c:pt>
                <c:pt idx="334">
                  <c:v>37862</c:v>
                </c:pt>
                <c:pt idx="335">
                  <c:v>37865</c:v>
                </c:pt>
                <c:pt idx="336">
                  <c:v>37866</c:v>
                </c:pt>
                <c:pt idx="337">
                  <c:v>37867</c:v>
                </c:pt>
                <c:pt idx="338">
                  <c:v>37868</c:v>
                </c:pt>
                <c:pt idx="339">
                  <c:v>37869</c:v>
                </c:pt>
                <c:pt idx="340">
                  <c:v>37872</c:v>
                </c:pt>
                <c:pt idx="341">
                  <c:v>37873</c:v>
                </c:pt>
                <c:pt idx="342">
                  <c:v>37874</c:v>
                </c:pt>
                <c:pt idx="343">
                  <c:v>37875</c:v>
                </c:pt>
                <c:pt idx="344">
                  <c:v>37876</c:v>
                </c:pt>
                <c:pt idx="345">
                  <c:v>37879</c:v>
                </c:pt>
                <c:pt idx="346">
                  <c:v>37880</c:v>
                </c:pt>
                <c:pt idx="347">
                  <c:v>37881</c:v>
                </c:pt>
                <c:pt idx="348">
                  <c:v>37882</c:v>
                </c:pt>
                <c:pt idx="349">
                  <c:v>37883</c:v>
                </c:pt>
                <c:pt idx="350">
                  <c:v>37886</c:v>
                </c:pt>
                <c:pt idx="351">
                  <c:v>37887</c:v>
                </c:pt>
                <c:pt idx="352">
                  <c:v>37888</c:v>
                </c:pt>
                <c:pt idx="353">
                  <c:v>37889</c:v>
                </c:pt>
                <c:pt idx="354">
                  <c:v>37890</c:v>
                </c:pt>
                <c:pt idx="355">
                  <c:v>37893</c:v>
                </c:pt>
                <c:pt idx="356">
                  <c:v>37894</c:v>
                </c:pt>
                <c:pt idx="357">
                  <c:v>37902</c:v>
                </c:pt>
                <c:pt idx="358">
                  <c:v>37903</c:v>
                </c:pt>
                <c:pt idx="359">
                  <c:v>37904</c:v>
                </c:pt>
                <c:pt idx="360">
                  <c:v>37907</c:v>
                </c:pt>
                <c:pt idx="361">
                  <c:v>37908</c:v>
                </c:pt>
                <c:pt idx="362">
                  <c:v>37909</c:v>
                </c:pt>
                <c:pt idx="363">
                  <c:v>37910</c:v>
                </c:pt>
                <c:pt idx="364">
                  <c:v>37911</c:v>
                </c:pt>
                <c:pt idx="365">
                  <c:v>37914</c:v>
                </c:pt>
                <c:pt idx="366">
                  <c:v>37915</c:v>
                </c:pt>
                <c:pt idx="367">
                  <c:v>37916</c:v>
                </c:pt>
                <c:pt idx="368">
                  <c:v>37917</c:v>
                </c:pt>
                <c:pt idx="369">
                  <c:v>37918</c:v>
                </c:pt>
                <c:pt idx="370">
                  <c:v>37921</c:v>
                </c:pt>
                <c:pt idx="371">
                  <c:v>37922</c:v>
                </c:pt>
                <c:pt idx="372">
                  <c:v>37923</c:v>
                </c:pt>
                <c:pt idx="373">
                  <c:v>37924</c:v>
                </c:pt>
                <c:pt idx="374">
                  <c:v>37925</c:v>
                </c:pt>
                <c:pt idx="375">
                  <c:v>37928</c:v>
                </c:pt>
                <c:pt idx="376">
                  <c:v>37929</c:v>
                </c:pt>
                <c:pt idx="377">
                  <c:v>37930</c:v>
                </c:pt>
                <c:pt idx="378">
                  <c:v>37931</c:v>
                </c:pt>
                <c:pt idx="379">
                  <c:v>37932</c:v>
                </c:pt>
                <c:pt idx="380">
                  <c:v>37935</c:v>
                </c:pt>
                <c:pt idx="381">
                  <c:v>37936</c:v>
                </c:pt>
                <c:pt idx="382">
                  <c:v>37937</c:v>
                </c:pt>
                <c:pt idx="383">
                  <c:v>37938</c:v>
                </c:pt>
                <c:pt idx="384">
                  <c:v>37939</c:v>
                </c:pt>
                <c:pt idx="385">
                  <c:v>37942</c:v>
                </c:pt>
                <c:pt idx="386">
                  <c:v>37943</c:v>
                </c:pt>
                <c:pt idx="387">
                  <c:v>37944</c:v>
                </c:pt>
                <c:pt idx="388">
                  <c:v>37945</c:v>
                </c:pt>
                <c:pt idx="389">
                  <c:v>37946</c:v>
                </c:pt>
                <c:pt idx="390">
                  <c:v>37949</c:v>
                </c:pt>
                <c:pt idx="391">
                  <c:v>37950</c:v>
                </c:pt>
                <c:pt idx="392">
                  <c:v>37951</c:v>
                </c:pt>
                <c:pt idx="393">
                  <c:v>37952</c:v>
                </c:pt>
                <c:pt idx="394">
                  <c:v>37953</c:v>
                </c:pt>
                <c:pt idx="395">
                  <c:v>37956</c:v>
                </c:pt>
                <c:pt idx="396">
                  <c:v>37957</c:v>
                </c:pt>
                <c:pt idx="397">
                  <c:v>37958</c:v>
                </c:pt>
                <c:pt idx="398">
                  <c:v>37959</c:v>
                </c:pt>
                <c:pt idx="399">
                  <c:v>37960</c:v>
                </c:pt>
                <c:pt idx="400">
                  <c:v>37963</c:v>
                </c:pt>
                <c:pt idx="401">
                  <c:v>37964</c:v>
                </c:pt>
                <c:pt idx="402">
                  <c:v>37965</c:v>
                </c:pt>
                <c:pt idx="403">
                  <c:v>37966</c:v>
                </c:pt>
                <c:pt idx="404">
                  <c:v>37967</c:v>
                </c:pt>
                <c:pt idx="405">
                  <c:v>37970</c:v>
                </c:pt>
                <c:pt idx="406">
                  <c:v>37971</c:v>
                </c:pt>
                <c:pt idx="407">
                  <c:v>37972</c:v>
                </c:pt>
                <c:pt idx="408">
                  <c:v>37973</c:v>
                </c:pt>
                <c:pt idx="409">
                  <c:v>37974</c:v>
                </c:pt>
                <c:pt idx="410">
                  <c:v>37977</c:v>
                </c:pt>
                <c:pt idx="411">
                  <c:v>37978</c:v>
                </c:pt>
                <c:pt idx="412">
                  <c:v>37979</c:v>
                </c:pt>
                <c:pt idx="413">
                  <c:v>37980</c:v>
                </c:pt>
                <c:pt idx="414">
                  <c:v>37981</c:v>
                </c:pt>
                <c:pt idx="415">
                  <c:v>37984</c:v>
                </c:pt>
                <c:pt idx="416">
                  <c:v>37985</c:v>
                </c:pt>
                <c:pt idx="417">
                  <c:v>37986</c:v>
                </c:pt>
                <c:pt idx="418">
                  <c:v>37988</c:v>
                </c:pt>
                <c:pt idx="419">
                  <c:v>37991</c:v>
                </c:pt>
                <c:pt idx="420">
                  <c:v>37992</c:v>
                </c:pt>
                <c:pt idx="421">
                  <c:v>37993</c:v>
                </c:pt>
                <c:pt idx="422">
                  <c:v>37994</c:v>
                </c:pt>
                <c:pt idx="423">
                  <c:v>37995</c:v>
                </c:pt>
                <c:pt idx="424">
                  <c:v>37998</c:v>
                </c:pt>
                <c:pt idx="425">
                  <c:v>37999</c:v>
                </c:pt>
                <c:pt idx="426">
                  <c:v>38000</c:v>
                </c:pt>
                <c:pt idx="427">
                  <c:v>38001</c:v>
                </c:pt>
                <c:pt idx="428">
                  <c:v>38002</c:v>
                </c:pt>
                <c:pt idx="429">
                  <c:v>38015</c:v>
                </c:pt>
                <c:pt idx="430">
                  <c:v>38016</c:v>
                </c:pt>
                <c:pt idx="431">
                  <c:v>38019</c:v>
                </c:pt>
                <c:pt idx="432">
                  <c:v>38020</c:v>
                </c:pt>
                <c:pt idx="433">
                  <c:v>38021</c:v>
                </c:pt>
                <c:pt idx="434">
                  <c:v>38022</c:v>
                </c:pt>
                <c:pt idx="435">
                  <c:v>38023</c:v>
                </c:pt>
                <c:pt idx="436">
                  <c:v>38026</c:v>
                </c:pt>
                <c:pt idx="437">
                  <c:v>38027</c:v>
                </c:pt>
                <c:pt idx="438">
                  <c:v>38028</c:v>
                </c:pt>
                <c:pt idx="439">
                  <c:v>38029</c:v>
                </c:pt>
                <c:pt idx="440">
                  <c:v>38030</c:v>
                </c:pt>
                <c:pt idx="441">
                  <c:v>38033</c:v>
                </c:pt>
                <c:pt idx="442">
                  <c:v>38034</c:v>
                </c:pt>
                <c:pt idx="443">
                  <c:v>38035</c:v>
                </c:pt>
                <c:pt idx="444">
                  <c:v>38036</c:v>
                </c:pt>
                <c:pt idx="445">
                  <c:v>38037</c:v>
                </c:pt>
                <c:pt idx="446">
                  <c:v>38040</c:v>
                </c:pt>
                <c:pt idx="447">
                  <c:v>38041</c:v>
                </c:pt>
                <c:pt idx="448">
                  <c:v>38042</c:v>
                </c:pt>
                <c:pt idx="449">
                  <c:v>38043</c:v>
                </c:pt>
                <c:pt idx="450">
                  <c:v>38044</c:v>
                </c:pt>
                <c:pt idx="451">
                  <c:v>38047</c:v>
                </c:pt>
                <c:pt idx="452">
                  <c:v>38048</c:v>
                </c:pt>
                <c:pt idx="453">
                  <c:v>38049</c:v>
                </c:pt>
                <c:pt idx="454">
                  <c:v>38050</c:v>
                </c:pt>
                <c:pt idx="455">
                  <c:v>38051</c:v>
                </c:pt>
                <c:pt idx="456">
                  <c:v>38054</c:v>
                </c:pt>
                <c:pt idx="457">
                  <c:v>38055</c:v>
                </c:pt>
                <c:pt idx="458">
                  <c:v>38056</c:v>
                </c:pt>
                <c:pt idx="459">
                  <c:v>38057</c:v>
                </c:pt>
                <c:pt idx="460">
                  <c:v>38058</c:v>
                </c:pt>
                <c:pt idx="461">
                  <c:v>38061</c:v>
                </c:pt>
                <c:pt idx="462">
                  <c:v>38062</c:v>
                </c:pt>
                <c:pt idx="463">
                  <c:v>38063</c:v>
                </c:pt>
                <c:pt idx="464">
                  <c:v>38064</c:v>
                </c:pt>
                <c:pt idx="465">
                  <c:v>38065</c:v>
                </c:pt>
                <c:pt idx="466">
                  <c:v>38068</c:v>
                </c:pt>
                <c:pt idx="467">
                  <c:v>38069</c:v>
                </c:pt>
                <c:pt idx="468">
                  <c:v>38070</c:v>
                </c:pt>
                <c:pt idx="469">
                  <c:v>38071</c:v>
                </c:pt>
                <c:pt idx="470">
                  <c:v>38072</c:v>
                </c:pt>
                <c:pt idx="471">
                  <c:v>38075</c:v>
                </c:pt>
                <c:pt idx="472">
                  <c:v>38076</c:v>
                </c:pt>
                <c:pt idx="473">
                  <c:v>38077</c:v>
                </c:pt>
                <c:pt idx="474">
                  <c:v>38078</c:v>
                </c:pt>
                <c:pt idx="475">
                  <c:v>38079</c:v>
                </c:pt>
                <c:pt idx="476">
                  <c:v>38082</c:v>
                </c:pt>
                <c:pt idx="477">
                  <c:v>38083</c:v>
                </c:pt>
                <c:pt idx="478">
                  <c:v>38084</c:v>
                </c:pt>
                <c:pt idx="479">
                  <c:v>38085</c:v>
                </c:pt>
                <c:pt idx="480">
                  <c:v>38086</c:v>
                </c:pt>
                <c:pt idx="481">
                  <c:v>38089</c:v>
                </c:pt>
                <c:pt idx="482">
                  <c:v>38090</c:v>
                </c:pt>
                <c:pt idx="483">
                  <c:v>38091</c:v>
                </c:pt>
                <c:pt idx="484">
                  <c:v>38092</c:v>
                </c:pt>
                <c:pt idx="485">
                  <c:v>38093</c:v>
                </c:pt>
                <c:pt idx="486">
                  <c:v>38096</c:v>
                </c:pt>
                <c:pt idx="487">
                  <c:v>38097</c:v>
                </c:pt>
                <c:pt idx="488">
                  <c:v>38098</c:v>
                </c:pt>
                <c:pt idx="489">
                  <c:v>38099</c:v>
                </c:pt>
                <c:pt idx="490">
                  <c:v>38100</c:v>
                </c:pt>
                <c:pt idx="491">
                  <c:v>38103</c:v>
                </c:pt>
                <c:pt idx="492">
                  <c:v>38104</c:v>
                </c:pt>
                <c:pt idx="493">
                  <c:v>38105</c:v>
                </c:pt>
                <c:pt idx="494">
                  <c:v>38106</c:v>
                </c:pt>
                <c:pt idx="495">
                  <c:v>38107</c:v>
                </c:pt>
                <c:pt idx="496">
                  <c:v>38117</c:v>
                </c:pt>
                <c:pt idx="497">
                  <c:v>38118</c:v>
                </c:pt>
                <c:pt idx="498">
                  <c:v>38119</c:v>
                </c:pt>
                <c:pt idx="499">
                  <c:v>38120</c:v>
                </c:pt>
                <c:pt idx="500">
                  <c:v>38121</c:v>
                </c:pt>
                <c:pt idx="501">
                  <c:v>38124</c:v>
                </c:pt>
                <c:pt idx="502">
                  <c:v>38125</c:v>
                </c:pt>
                <c:pt idx="503">
                  <c:v>38126</c:v>
                </c:pt>
                <c:pt idx="504">
                  <c:v>38127</c:v>
                </c:pt>
                <c:pt idx="505">
                  <c:v>38128</c:v>
                </c:pt>
                <c:pt idx="506">
                  <c:v>38131</c:v>
                </c:pt>
                <c:pt idx="507">
                  <c:v>38132</c:v>
                </c:pt>
                <c:pt idx="508">
                  <c:v>38133</c:v>
                </c:pt>
                <c:pt idx="509">
                  <c:v>38134</c:v>
                </c:pt>
                <c:pt idx="510">
                  <c:v>38135</c:v>
                </c:pt>
                <c:pt idx="511">
                  <c:v>38138</c:v>
                </c:pt>
                <c:pt idx="512">
                  <c:v>38139</c:v>
                </c:pt>
                <c:pt idx="513">
                  <c:v>38140</c:v>
                </c:pt>
                <c:pt idx="514">
                  <c:v>38141</c:v>
                </c:pt>
                <c:pt idx="515">
                  <c:v>38142</c:v>
                </c:pt>
                <c:pt idx="516">
                  <c:v>38145</c:v>
                </c:pt>
                <c:pt idx="517">
                  <c:v>38146</c:v>
                </c:pt>
                <c:pt idx="518">
                  <c:v>38147</c:v>
                </c:pt>
                <c:pt idx="519">
                  <c:v>38148</c:v>
                </c:pt>
                <c:pt idx="520">
                  <c:v>38149</c:v>
                </c:pt>
                <c:pt idx="521">
                  <c:v>38152</c:v>
                </c:pt>
                <c:pt idx="522">
                  <c:v>38153</c:v>
                </c:pt>
                <c:pt idx="523">
                  <c:v>38154</c:v>
                </c:pt>
                <c:pt idx="524">
                  <c:v>38155</c:v>
                </c:pt>
                <c:pt idx="525">
                  <c:v>38156</c:v>
                </c:pt>
                <c:pt idx="526">
                  <c:v>38159</c:v>
                </c:pt>
                <c:pt idx="527">
                  <c:v>38160</c:v>
                </c:pt>
                <c:pt idx="528">
                  <c:v>38161</c:v>
                </c:pt>
                <c:pt idx="529">
                  <c:v>38162</c:v>
                </c:pt>
                <c:pt idx="530">
                  <c:v>38163</c:v>
                </c:pt>
                <c:pt idx="531">
                  <c:v>38166</c:v>
                </c:pt>
                <c:pt idx="532">
                  <c:v>38167</c:v>
                </c:pt>
                <c:pt idx="533">
                  <c:v>38168</c:v>
                </c:pt>
                <c:pt idx="534">
                  <c:v>38169</c:v>
                </c:pt>
                <c:pt idx="535">
                  <c:v>38170</c:v>
                </c:pt>
                <c:pt idx="536">
                  <c:v>38173</c:v>
                </c:pt>
                <c:pt idx="537">
                  <c:v>38174</c:v>
                </c:pt>
                <c:pt idx="538">
                  <c:v>38175</c:v>
                </c:pt>
                <c:pt idx="539">
                  <c:v>38176</c:v>
                </c:pt>
                <c:pt idx="540">
                  <c:v>38177</c:v>
                </c:pt>
                <c:pt idx="541">
                  <c:v>38180</c:v>
                </c:pt>
                <c:pt idx="542">
                  <c:v>38181</c:v>
                </c:pt>
                <c:pt idx="543">
                  <c:v>38182</c:v>
                </c:pt>
                <c:pt idx="544">
                  <c:v>38183</c:v>
                </c:pt>
                <c:pt idx="545">
                  <c:v>38184</c:v>
                </c:pt>
                <c:pt idx="546">
                  <c:v>38187</c:v>
                </c:pt>
                <c:pt idx="547">
                  <c:v>38188</c:v>
                </c:pt>
                <c:pt idx="548">
                  <c:v>38189</c:v>
                </c:pt>
                <c:pt idx="549">
                  <c:v>38190</c:v>
                </c:pt>
                <c:pt idx="550">
                  <c:v>38191</c:v>
                </c:pt>
                <c:pt idx="551">
                  <c:v>38194</c:v>
                </c:pt>
                <c:pt idx="552">
                  <c:v>38195</c:v>
                </c:pt>
                <c:pt idx="553">
                  <c:v>38196</c:v>
                </c:pt>
                <c:pt idx="554">
                  <c:v>38197</c:v>
                </c:pt>
                <c:pt idx="555">
                  <c:v>38198</c:v>
                </c:pt>
                <c:pt idx="556">
                  <c:v>38201</c:v>
                </c:pt>
                <c:pt idx="557">
                  <c:v>38202</c:v>
                </c:pt>
                <c:pt idx="558">
                  <c:v>38203</c:v>
                </c:pt>
                <c:pt idx="559">
                  <c:v>38204</c:v>
                </c:pt>
                <c:pt idx="560">
                  <c:v>38205</c:v>
                </c:pt>
                <c:pt idx="561">
                  <c:v>38208</c:v>
                </c:pt>
                <c:pt idx="562">
                  <c:v>38209</c:v>
                </c:pt>
                <c:pt idx="563">
                  <c:v>38210</c:v>
                </c:pt>
                <c:pt idx="564">
                  <c:v>38211</c:v>
                </c:pt>
                <c:pt idx="565">
                  <c:v>38212</c:v>
                </c:pt>
                <c:pt idx="566">
                  <c:v>38215</c:v>
                </c:pt>
                <c:pt idx="567">
                  <c:v>38216</c:v>
                </c:pt>
                <c:pt idx="568">
                  <c:v>38217</c:v>
                </c:pt>
                <c:pt idx="569">
                  <c:v>38218</c:v>
                </c:pt>
                <c:pt idx="570">
                  <c:v>38219</c:v>
                </c:pt>
                <c:pt idx="571">
                  <c:v>38222</c:v>
                </c:pt>
                <c:pt idx="572">
                  <c:v>38223</c:v>
                </c:pt>
                <c:pt idx="573">
                  <c:v>38224</c:v>
                </c:pt>
                <c:pt idx="574">
                  <c:v>38225</c:v>
                </c:pt>
                <c:pt idx="575">
                  <c:v>38226</c:v>
                </c:pt>
                <c:pt idx="576">
                  <c:v>38229</c:v>
                </c:pt>
                <c:pt idx="577">
                  <c:v>38230</c:v>
                </c:pt>
                <c:pt idx="578">
                  <c:v>38231</c:v>
                </c:pt>
                <c:pt idx="579">
                  <c:v>38232</c:v>
                </c:pt>
                <c:pt idx="580">
                  <c:v>38233</c:v>
                </c:pt>
                <c:pt idx="581">
                  <c:v>38236</c:v>
                </c:pt>
                <c:pt idx="582">
                  <c:v>38237</c:v>
                </c:pt>
                <c:pt idx="583">
                  <c:v>38238</c:v>
                </c:pt>
                <c:pt idx="584">
                  <c:v>38239</c:v>
                </c:pt>
                <c:pt idx="585">
                  <c:v>38240</c:v>
                </c:pt>
                <c:pt idx="586">
                  <c:v>38243</c:v>
                </c:pt>
                <c:pt idx="587">
                  <c:v>38244</c:v>
                </c:pt>
                <c:pt idx="588">
                  <c:v>38245</c:v>
                </c:pt>
                <c:pt idx="589">
                  <c:v>38246</c:v>
                </c:pt>
                <c:pt idx="590">
                  <c:v>38247</c:v>
                </c:pt>
                <c:pt idx="591">
                  <c:v>38250</c:v>
                </c:pt>
                <c:pt idx="592">
                  <c:v>38251</c:v>
                </c:pt>
                <c:pt idx="593">
                  <c:v>38252</c:v>
                </c:pt>
                <c:pt idx="594">
                  <c:v>38253</c:v>
                </c:pt>
                <c:pt idx="595">
                  <c:v>38254</c:v>
                </c:pt>
                <c:pt idx="596">
                  <c:v>38257</c:v>
                </c:pt>
                <c:pt idx="597">
                  <c:v>38258</c:v>
                </c:pt>
                <c:pt idx="598">
                  <c:v>38259</c:v>
                </c:pt>
                <c:pt idx="599">
                  <c:v>38260</c:v>
                </c:pt>
                <c:pt idx="600">
                  <c:v>38268</c:v>
                </c:pt>
                <c:pt idx="601">
                  <c:v>38271</c:v>
                </c:pt>
                <c:pt idx="602">
                  <c:v>38272</c:v>
                </c:pt>
                <c:pt idx="603">
                  <c:v>38273</c:v>
                </c:pt>
                <c:pt idx="604">
                  <c:v>38274</c:v>
                </c:pt>
                <c:pt idx="605">
                  <c:v>38275</c:v>
                </c:pt>
                <c:pt idx="606">
                  <c:v>38278</c:v>
                </c:pt>
                <c:pt idx="607">
                  <c:v>38279</c:v>
                </c:pt>
                <c:pt idx="608">
                  <c:v>38280</c:v>
                </c:pt>
                <c:pt idx="609">
                  <c:v>38281</c:v>
                </c:pt>
                <c:pt idx="610">
                  <c:v>38282</c:v>
                </c:pt>
                <c:pt idx="611">
                  <c:v>38285</c:v>
                </c:pt>
                <c:pt idx="612">
                  <c:v>38286</c:v>
                </c:pt>
                <c:pt idx="613">
                  <c:v>38287</c:v>
                </c:pt>
                <c:pt idx="614">
                  <c:v>38288</c:v>
                </c:pt>
                <c:pt idx="615">
                  <c:v>38289</c:v>
                </c:pt>
                <c:pt idx="616">
                  <c:v>38292</c:v>
                </c:pt>
                <c:pt idx="617">
                  <c:v>38293</c:v>
                </c:pt>
                <c:pt idx="618">
                  <c:v>38294</c:v>
                </c:pt>
                <c:pt idx="619">
                  <c:v>38295</c:v>
                </c:pt>
                <c:pt idx="620">
                  <c:v>38296</c:v>
                </c:pt>
                <c:pt idx="621">
                  <c:v>38299</c:v>
                </c:pt>
                <c:pt idx="622">
                  <c:v>38300</c:v>
                </c:pt>
                <c:pt idx="623">
                  <c:v>38301</c:v>
                </c:pt>
                <c:pt idx="624">
                  <c:v>38302</c:v>
                </c:pt>
                <c:pt idx="625">
                  <c:v>38303</c:v>
                </c:pt>
                <c:pt idx="626">
                  <c:v>38306</c:v>
                </c:pt>
                <c:pt idx="627">
                  <c:v>38307</c:v>
                </c:pt>
                <c:pt idx="628">
                  <c:v>38308</c:v>
                </c:pt>
                <c:pt idx="629">
                  <c:v>38309</c:v>
                </c:pt>
                <c:pt idx="630">
                  <c:v>38310</c:v>
                </c:pt>
                <c:pt idx="631">
                  <c:v>38313</c:v>
                </c:pt>
                <c:pt idx="632">
                  <c:v>38314</c:v>
                </c:pt>
                <c:pt idx="633">
                  <c:v>38315</c:v>
                </c:pt>
                <c:pt idx="634">
                  <c:v>38316</c:v>
                </c:pt>
                <c:pt idx="635">
                  <c:v>38317</c:v>
                </c:pt>
                <c:pt idx="636">
                  <c:v>38320</c:v>
                </c:pt>
                <c:pt idx="637">
                  <c:v>38321</c:v>
                </c:pt>
                <c:pt idx="638">
                  <c:v>38322</c:v>
                </c:pt>
                <c:pt idx="639">
                  <c:v>38323</c:v>
                </c:pt>
                <c:pt idx="640">
                  <c:v>38324</c:v>
                </c:pt>
                <c:pt idx="641">
                  <c:v>38327</c:v>
                </c:pt>
                <c:pt idx="642">
                  <c:v>38328</c:v>
                </c:pt>
                <c:pt idx="643">
                  <c:v>38329</c:v>
                </c:pt>
                <c:pt idx="644">
                  <c:v>38330</c:v>
                </c:pt>
                <c:pt idx="645">
                  <c:v>38331</c:v>
                </c:pt>
                <c:pt idx="646">
                  <c:v>38334</c:v>
                </c:pt>
                <c:pt idx="647">
                  <c:v>38335</c:v>
                </c:pt>
                <c:pt idx="648">
                  <c:v>38336</c:v>
                </c:pt>
                <c:pt idx="649">
                  <c:v>38337</c:v>
                </c:pt>
                <c:pt idx="650">
                  <c:v>38338</c:v>
                </c:pt>
                <c:pt idx="651">
                  <c:v>38341</c:v>
                </c:pt>
                <c:pt idx="652">
                  <c:v>38342</c:v>
                </c:pt>
                <c:pt idx="653">
                  <c:v>38343</c:v>
                </c:pt>
                <c:pt idx="654">
                  <c:v>38344</c:v>
                </c:pt>
                <c:pt idx="655">
                  <c:v>38345</c:v>
                </c:pt>
                <c:pt idx="656">
                  <c:v>38348</c:v>
                </c:pt>
                <c:pt idx="657">
                  <c:v>38349</c:v>
                </c:pt>
                <c:pt idx="658">
                  <c:v>38350</c:v>
                </c:pt>
                <c:pt idx="659">
                  <c:v>38351</c:v>
                </c:pt>
                <c:pt idx="660">
                  <c:v>38352</c:v>
                </c:pt>
                <c:pt idx="661">
                  <c:v>38356</c:v>
                </c:pt>
                <c:pt idx="662">
                  <c:v>38357</c:v>
                </c:pt>
                <c:pt idx="663">
                  <c:v>38358</c:v>
                </c:pt>
                <c:pt idx="664">
                  <c:v>38359</c:v>
                </c:pt>
                <c:pt idx="665">
                  <c:v>38362</c:v>
                </c:pt>
                <c:pt idx="666">
                  <c:v>38363</c:v>
                </c:pt>
                <c:pt idx="667">
                  <c:v>38364</c:v>
                </c:pt>
                <c:pt idx="668">
                  <c:v>38365</c:v>
                </c:pt>
                <c:pt idx="669">
                  <c:v>38366</c:v>
                </c:pt>
                <c:pt idx="670">
                  <c:v>38369</c:v>
                </c:pt>
                <c:pt idx="671">
                  <c:v>38370</c:v>
                </c:pt>
                <c:pt idx="672">
                  <c:v>38371</c:v>
                </c:pt>
                <c:pt idx="673">
                  <c:v>38372</c:v>
                </c:pt>
                <c:pt idx="674">
                  <c:v>38373</c:v>
                </c:pt>
                <c:pt idx="675">
                  <c:v>38376</c:v>
                </c:pt>
                <c:pt idx="676">
                  <c:v>38377</c:v>
                </c:pt>
                <c:pt idx="677">
                  <c:v>38378</c:v>
                </c:pt>
                <c:pt idx="678">
                  <c:v>38379</c:v>
                </c:pt>
                <c:pt idx="679">
                  <c:v>38380</c:v>
                </c:pt>
                <c:pt idx="680">
                  <c:v>38383</c:v>
                </c:pt>
                <c:pt idx="681">
                  <c:v>38384</c:v>
                </c:pt>
                <c:pt idx="682">
                  <c:v>38385</c:v>
                </c:pt>
                <c:pt idx="683">
                  <c:v>38386</c:v>
                </c:pt>
                <c:pt idx="684">
                  <c:v>38387</c:v>
                </c:pt>
                <c:pt idx="685">
                  <c:v>38399</c:v>
                </c:pt>
                <c:pt idx="686">
                  <c:v>38400</c:v>
                </c:pt>
                <c:pt idx="687">
                  <c:v>38401</c:v>
                </c:pt>
                <c:pt idx="688">
                  <c:v>38404</c:v>
                </c:pt>
                <c:pt idx="689">
                  <c:v>38405</c:v>
                </c:pt>
                <c:pt idx="690">
                  <c:v>38406</c:v>
                </c:pt>
                <c:pt idx="691">
                  <c:v>38407</c:v>
                </c:pt>
                <c:pt idx="692">
                  <c:v>38408</c:v>
                </c:pt>
                <c:pt idx="693">
                  <c:v>38411</c:v>
                </c:pt>
                <c:pt idx="694">
                  <c:v>38412</c:v>
                </c:pt>
                <c:pt idx="695">
                  <c:v>38413</c:v>
                </c:pt>
                <c:pt idx="696">
                  <c:v>38414</c:v>
                </c:pt>
                <c:pt idx="697">
                  <c:v>38415</c:v>
                </c:pt>
                <c:pt idx="698">
                  <c:v>38418</c:v>
                </c:pt>
                <c:pt idx="699">
                  <c:v>38419</c:v>
                </c:pt>
                <c:pt idx="700">
                  <c:v>38420</c:v>
                </c:pt>
                <c:pt idx="701">
                  <c:v>38421</c:v>
                </c:pt>
                <c:pt idx="702">
                  <c:v>38422</c:v>
                </c:pt>
                <c:pt idx="703">
                  <c:v>38425</c:v>
                </c:pt>
                <c:pt idx="704">
                  <c:v>38426</c:v>
                </c:pt>
                <c:pt idx="705">
                  <c:v>38427</c:v>
                </c:pt>
                <c:pt idx="706">
                  <c:v>38428</c:v>
                </c:pt>
                <c:pt idx="707">
                  <c:v>38429</c:v>
                </c:pt>
                <c:pt idx="708">
                  <c:v>38432</c:v>
                </c:pt>
                <c:pt idx="709">
                  <c:v>38433</c:v>
                </c:pt>
                <c:pt idx="710">
                  <c:v>38434</c:v>
                </c:pt>
                <c:pt idx="711">
                  <c:v>38435</c:v>
                </c:pt>
                <c:pt idx="712">
                  <c:v>38436</c:v>
                </c:pt>
                <c:pt idx="713">
                  <c:v>38439</c:v>
                </c:pt>
                <c:pt idx="714">
                  <c:v>38440</c:v>
                </c:pt>
                <c:pt idx="715">
                  <c:v>38441</c:v>
                </c:pt>
                <c:pt idx="716">
                  <c:v>38442</c:v>
                </c:pt>
                <c:pt idx="717">
                  <c:v>38443</c:v>
                </c:pt>
                <c:pt idx="718">
                  <c:v>38446</c:v>
                </c:pt>
                <c:pt idx="719">
                  <c:v>38447</c:v>
                </c:pt>
                <c:pt idx="720">
                  <c:v>38448</c:v>
                </c:pt>
                <c:pt idx="721">
                  <c:v>38449</c:v>
                </c:pt>
                <c:pt idx="722">
                  <c:v>38450</c:v>
                </c:pt>
                <c:pt idx="723">
                  <c:v>38453</c:v>
                </c:pt>
                <c:pt idx="724">
                  <c:v>38454</c:v>
                </c:pt>
                <c:pt idx="725">
                  <c:v>38455</c:v>
                </c:pt>
                <c:pt idx="726">
                  <c:v>38456</c:v>
                </c:pt>
                <c:pt idx="727">
                  <c:v>38457</c:v>
                </c:pt>
                <c:pt idx="728">
                  <c:v>38460</c:v>
                </c:pt>
                <c:pt idx="729">
                  <c:v>38461</c:v>
                </c:pt>
                <c:pt idx="730">
                  <c:v>38462</c:v>
                </c:pt>
                <c:pt idx="731">
                  <c:v>38463</c:v>
                </c:pt>
                <c:pt idx="732">
                  <c:v>38464</c:v>
                </c:pt>
                <c:pt idx="733">
                  <c:v>38467</c:v>
                </c:pt>
                <c:pt idx="734">
                  <c:v>38468</c:v>
                </c:pt>
                <c:pt idx="735">
                  <c:v>38469</c:v>
                </c:pt>
                <c:pt idx="736">
                  <c:v>38470</c:v>
                </c:pt>
                <c:pt idx="737">
                  <c:v>38471</c:v>
                </c:pt>
                <c:pt idx="738">
                  <c:v>38481</c:v>
                </c:pt>
                <c:pt idx="739">
                  <c:v>38482</c:v>
                </c:pt>
                <c:pt idx="740">
                  <c:v>38483</c:v>
                </c:pt>
                <c:pt idx="741">
                  <c:v>38484</c:v>
                </c:pt>
                <c:pt idx="742">
                  <c:v>38485</c:v>
                </c:pt>
                <c:pt idx="743">
                  <c:v>38488</c:v>
                </c:pt>
                <c:pt idx="744">
                  <c:v>38489</c:v>
                </c:pt>
                <c:pt idx="745">
                  <c:v>38490</c:v>
                </c:pt>
                <c:pt idx="746">
                  <c:v>38491</c:v>
                </c:pt>
                <c:pt idx="747">
                  <c:v>38492</c:v>
                </c:pt>
                <c:pt idx="748">
                  <c:v>38495</c:v>
                </c:pt>
                <c:pt idx="749">
                  <c:v>38496</c:v>
                </c:pt>
                <c:pt idx="750">
                  <c:v>38497</c:v>
                </c:pt>
                <c:pt idx="751">
                  <c:v>38498</c:v>
                </c:pt>
                <c:pt idx="752">
                  <c:v>38499</c:v>
                </c:pt>
                <c:pt idx="753">
                  <c:v>38502</c:v>
                </c:pt>
                <c:pt idx="754">
                  <c:v>38503</c:v>
                </c:pt>
                <c:pt idx="755">
                  <c:v>38504</c:v>
                </c:pt>
                <c:pt idx="756">
                  <c:v>38505</c:v>
                </c:pt>
                <c:pt idx="757">
                  <c:v>38506</c:v>
                </c:pt>
                <c:pt idx="758">
                  <c:v>38509</c:v>
                </c:pt>
                <c:pt idx="759">
                  <c:v>38510</c:v>
                </c:pt>
                <c:pt idx="760">
                  <c:v>38511</c:v>
                </c:pt>
                <c:pt idx="761">
                  <c:v>38512</c:v>
                </c:pt>
                <c:pt idx="762">
                  <c:v>38513</c:v>
                </c:pt>
                <c:pt idx="763">
                  <c:v>38516</c:v>
                </c:pt>
                <c:pt idx="764">
                  <c:v>38517</c:v>
                </c:pt>
                <c:pt idx="765">
                  <c:v>38518</c:v>
                </c:pt>
                <c:pt idx="766">
                  <c:v>38519</c:v>
                </c:pt>
                <c:pt idx="767">
                  <c:v>38520</c:v>
                </c:pt>
                <c:pt idx="768">
                  <c:v>38523</c:v>
                </c:pt>
                <c:pt idx="769">
                  <c:v>38524</c:v>
                </c:pt>
                <c:pt idx="770">
                  <c:v>38525</c:v>
                </c:pt>
                <c:pt idx="771">
                  <c:v>38526</c:v>
                </c:pt>
                <c:pt idx="772">
                  <c:v>38527</c:v>
                </c:pt>
                <c:pt idx="773">
                  <c:v>38530</c:v>
                </c:pt>
                <c:pt idx="774">
                  <c:v>38531</c:v>
                </c:pt>
                <c:pt idx="775">
                  <c:v>38532</c:v>
                </c:pt>
                <c:pt idx="776">
                  <c:v>38533</c:v>
                </c:pt>
                <c:pt idx="777">
                  <c:v>38534</c:v>
                </c:pt>
                <c:pt idx="778">
                  <c:v>38537</c:v>
                </c:pt>
                <c:pt idx="779">
                  <c:v>38538</c:v>
                </c:pt>
                <c:pt idx="780">
                  <c:v>38539</c:v>
                </c:pt>
                <c:pt idx="781">
                  <c:v>38540</c:v>
                </c:pt>
                <c:pt idx="782">
                  <c:v>38541</c:v>
                </c:pt>
                <c:pt idx="783">
                  <c:v>38544</c:v>
                </c:pt>
                <c:pt idx="784">
                  <c:v>38545</c:v>
                </c:pt>
                <c:pt idx="785">
                  <c:v>38546</c:v>
                </c:pt>
                <c:pt idx="786">
                  <c:v>38547</c:v>
                </c:pt>
                <c:pt idx="787">
                  <c:v>38548</c:v>
                </c:pt>
                <c:pt idx="788">
                  <c:v>38551</c:v>
                </c:pt>
                <c:pt idx="789">
                  <c:v>38552</c:v>
                </c:pt>
                <c:pt idx="790">
                  <c:v>38553</c:v>
                </c:pt>
                <c:pt idx="791">
                  <c:v>38554</c:v>
                </c:pt>
                <c:pt idx="792">
                  <c:v>38555</c:v>
                </c:pt>
                <c:pt idx="793">
                  <c:v>38558</c:v>
                </c:pt>
                <c:pt idx="794">
                  <c:v>38559</c:v>
                </c:pt>
                <c:pt idx="795">
                  <c:v>38560</c:v>
                </c:pt>
                <c:pt idx="796">
                  <c:v>38561</c:v>
                </c:pt>
                <c:pt idx="797">
                  <c:v>38562</c:v>
                </c:pt>
                <c:pt idx="798">
                  <c:v>38565</c:v>
                </c:pt>
                <c:pt idx="799">
                  <c:v>38566</c:v>
                </c:pt>
                <c:pt idx="800">
                  <c:v>38567</c:v>
                </c:pt>
                <c:pt idx="801">
                  <c:v>38568</c:v>
                </c:pt>
                <c:pt idx="802">
                  <c:v>38569</c:v>
                </c:pt>
                <c:pt idx="803">
                  <c:v>38572</c:v>
                </c:pt>
                <c:pt idx="804">
                  <c:v>38573</c:v>
                </c:pt>
                <c:pt idx="805">
                  <c:v>38574</c:v>
                </c:pt>
                <c:pt idx="806">
                  <c:v>38575</c:v>
                </c:pt>
                <c:pt idx="807">
                  <c:v>38576</c:v>
                </c:pt>
                <c:pt idx="808">
                  <c:v>38579</c:v>
                </c:pt>
                <c:pt idx="809">
                  <c:v>38580</c:v>
                </c:pt>
                <c:pt idx="810">
                  <c:v>38581</c:v>
                </c:pt>
                <c:pt idx="811">
                  <c:v>38582</c:v>
                </c:pt>
                <c:pt idx="812">
                  <c:v>38583</c:v>
                </c:pt>
                <c:pt idx="813">
                  <c:v>38586</c:v>
                </c:pt>
                <c:pt idx="814">
                  <c:v>38587</c:v>
                </c:pt>
                <c:pt idx="815">
                  <c:v>38588</c:v>
                </c:pt>
                <c:pt idx="816">
                  <c:v>38589</c:v>
                </c:pt>
                <c:pt idx="817">
                  <c:v>38590</c:v>
                </c:pt>
                <c:pt idx="818">
                  <c:v>38593</c:v>
                </c:pt>
                <c:pt idx="819">
                  <c:v>38594</c:v>
                </c:pt>
                <c:pt idx="820">
                  <c:v>38595</c:v>
                </c:pt>
                <c:pt idx="821">
                  <c:v>38596</c:v>
                </c:pt>
                <c:pt idx="822">
                  <c:v>38597</c:v>
                </c:pt>
                <c:pt idx="823">
                  <c:v>38600</c:v>
                </c:pt>
                <c:pt idx="824">
                  <c:v>38601</c:v>
                </c:pt>
                <c:pt idx="825">
                  <c:v>38602</c:v>
                </c:pt>
                <c:pt idx="826">
                  <c:v>38603</c:v>
                </c:pt>
                <c:pt idx="827">
                  <c:v>38604</c:v>
                </c:pt>
                <c:pt idx="828">
                  <c:v>38607</c:v>
                </c:pt>
                <c:pt idx="829">
                  <c:v>38608</c:v>
                </c:pt>
                <c:pt idx="830">
                  <c:v>38609</c:v>
                </c:pt>
                <c:pt idx="831">
                  <c:v>38610</c:v>
                </c:pt>
                <c:pt idx="832">
                  <c:v>38611</c:v>
                </c:pt>
                <c:pt idx="833">
                  <c:v>38614</c:v>
                </c:pt>
                <c:pt idx="834">
                  <c:v>38615</c:v>
                </c:pt>
                <c:pt idx="835">
                  <c:v>38616</c:v>
                </c:pt>
                <c:pt idx="836">
                  <c:v>38617</c:v>
                </c:pt>
                <c:pt idx="837">
                  <c:v>38618</c:v>
                </c:pt>
                <c:pt idx="838">
                  <c:v>38621</c:v>
                </c:pt>
                <c:pt idx="839">
                  <c:v>38622</c:v>
                </c:pt>
                <c:pt idx="840">
                  <c:v>38623</c:v>
                </c:pt>
                <c:pt idx="841">
                  <c:v>38624</c:v>
                </c:pt>
                <c:pt idx="842">
                  <c:v>38625</c:v>
                </c:pt>
                <c:pt idx="843">
                  <c:v>38635</c:v>
                </c:pt>
                <c:pt idx="844">
                  <c:v>38636</c:v>
                </c:pt>
                <c:pt idx="845">
                  <c:v>38637</c:v>
                </c:pt>
                <c:pt idx="846">
                  <c:v>38638</c:v>
                </c:pt>
                <c:pt idx="847">
                  <c:v>38639</c:v>
                </c:pt>
                <c:pt idx="848">
                  <c:v>38642</c:v>
                </c:pt>
                <c:pt idx="849">
                  <c:v>38643</c:v>
                </c:pt>
                <c:pt idx="850">
                  <c:v>38644</c:v>
                </c:pt>
                <c:pt idx="851">
                  <c:v>38645</c:v>
                </c:pt>
                <c:pt idx="852">
                  <c:v>38646</c:v>
                </c:pt>
                <c:pt idx="853">
                  <c:v>38649</c:v>
                </c:pt>
                <c:pt idx="854">
                  <c:v>38650</c:v>
                </c:pt>
                <c:pt idx="855">
                  <c:v>38651</c:v>
                </c:pt>
                <c:pt idx="856">
                  <c:v>38652</c:v>
                </c:pt>
                <c:pt idx="857">
                  <c:v>38653</c:v>
                </c:pt>
                <c:pt idx="858">
                  <c:v>38656</c:v>
                </c:pt>
                <c:pt idx="859">
                  <c:v>38657</c:v>
                </c:pt>
                <c:pt idx="860">
                  <c:v>38658</c:v>
                </c:pt>
                <c:pt idx="861">
                  <c:v>38659</c:v>
                </c:pt>
                <c:pt idx="862">
                  <c:v>38660</c:v>
                </c:pt>
                <c:pt idx="863">
                  <c:v>38663</c:v>
                </c:pt>
                <c:pt idx="864">
                  <c:v>38664</c:v>
                </c:pt>
                <c:pt idx="865">
                  <c:v>38665</c:v>
                </c:pt>
                <c:pt idx="866">
                  <c:v>38666</c:v>
                </c:pt>
                <c:pt idx="867">
                  <c:v>38667</c:v>
                </c:pt>
                <c:pt idx="868">
                  <c:v>38670</c:v>
                </c:pt>
                <c:pt idx="869">
                  <c:v>38671</c:v>
                </c:pt>
                <c:pt idx="870">
                  <c:v>38672</c:v>
                </c:pt>
                <c:pt idx="871">
                  <c:v>38673</c:v>
                </c:pt>
                <c:pt idx="872">
                  <c:v>38674</c:v>
                </c:pt>
                <c:pt idx="873">
                  <c:v>38677</c:v>
                </c:pt>
                <c:pt idx="874">
                  <c:v>38678</c:v>
                </c:pt>
                <c:pt idx="875">
                  <c:v>38679</c:v>
                </c:pt>
                <c:pt idx="876">
                  <c:v>38680</c:v>
                </c:pt>
                <c:pt idx="877">
                  <c:v>38681</c:v>
                </c:pt>
                <c:pt idx="878">
                  <c:v>38684</c:v>
                </c:pt>
                <c:pt idx="879">
                  <c:v>38685</c:v>
                </c:pt>
                <c:pt idx="880">
                  <c:v>38686</c:v>
                </c:pt>
                <c:pt idx="881">
                  <c:v>38687</c:v>
                </c:pt>
                <c:pt idx="882">
                  <c:v>38688</c:v>
                </c:pt>
                <c:pt idx="883">
                  <c:v>38691</c:v>
                </c:pt>
                <c:pt idx="884">
                  <c:v>38692</c:v>
                </c:pt>
                <c:pt idx="885">
                  <c:v>38693</c:v>
                </c:pt>
                <c:pt idx="886">
                  <c:v>38694</c:v>
                </c:pt>
                <c:pt idx="887">
                  <c:v>38695</c:v>
                </c:pt>
                <c:pt idx="888">
                  <c:v>38698</c:v>
                </c:pt>
                <c:pt idx="889">
                  <c:v>38699</c:v>
                </c:pt>
                <c:pt idx="890">
                  <c:v>38700</c:v>
                </c:pt>
                <c:pt idx="891">
                  <c:v>38701</c:v>
                </c:pt>
                <c:pt idx="892">
                  <c:v>38702</c:v>
                </c:pt>
                <c:pt idx="893">
                  <c:v>38705</c:v>
                </c:pt>
                <c:pt idx="894">
                  <c:v>38706</c:v>
                </c:pt>
                <c:pt idx="895">
                  <c:v>38707</c:v>
                </c:pt>
                <c:pt idx="896">
                  <c:v>38708</c:v>
                </c:pt>
                <c:pt idx="897">
                  <c:v>38709</c:v>
                </c:pt>
                <c:pt idx="898">
                  <c:v>38712</c:v>
                </c:pt>
                <c:pt idx="899">
                  <c:v>38713</c:v>
                </c:pt>
                <c:pt idx="900">
                  <c:v>38714</c:v>
                </c:pt>
                <c:pt idx="901">
                  <c:v>38715</c:v>
                </c:pt>
                <c:pt idx="902">
                  <c:v>38716</c:v>
                </c:pt>
                <c:pt idx="903">
                  <c:v>38721</c:v>
                </c:pt>
                <c:pt idx="904">
                  <c:v>38722</c:v>
                </c:pt>
                <c:pt idx="905">
                  <c:v>38723</c:v>
                </c:pt>
                <c:pt idx="906">
                  <c:v>38726</c:v>
                </c:pt>
                <c:pt idx="907">
                  <c:v>38727</c:v>
                </c:pt>
                <c:pt idx="908">
                  <c:v>38728</c:v>
                </c:pt>
                <c:pt idx="909">
                  <c:v>38729</c:v>
                </c:pt>
                <c:pt idx="910">
                  <c:v>38730</c:v>
                </c:pt>
                <c:pt idx="911">
                  <c:v>38733</c:v>
                </c:pt>
                <c:pt idx="912">
                  <c:v>38734</c:v>
                </c:pt>
                <c:pt idx="913">
                  <c:v>38735</c:v>
                </c:pt>
                <c:pt idx="914">
                  <c:v>38736</c:v>
                </c:pt>
                <c:pt idx="915">
                  <c:v>38737</c:v>
                </c:pt>
                <c:pt idx="916">
                  <c:v>38740</c:v>
                </c:pt>
                <c:pt idx="917">
                  <c:v>38741</c:v>
                </c:pt>
                <c:pt idx="918">
                  <c:v>38742</c:v>
                </c:pt>
                <c:pt idx="919">
                  <c:v>38754</c:v>
                </c:pt>
                <c:pt idx="920">
                  <c:v>38755</c:v>
                </c:pt>
                <c:pt idx="921">
                  <c:v>38756</c:v>
                </c:pt>
                <c:pt idx="922">
                  <c:v>38757</c:v>
                </c:pt>
                <c:pt idx="923">
                  <c:v>38758</c:v>
                </c:pt>
                <c:pt idx="924">
                  <c:v>38761</c:v>
                </c:pt>
                <c:pt idx="925">
                  <c:v>38762</c:v>
                </c:pt>
                <c:pt idx="926">
                  <c:v>38763</c:v>
                </c:pt>
                <c:pt idx="927">
                  <c:v>38764</c:v>
                </c:pt>
                <c:pt idx="928">
                  <c:v>38765</c:v>
                </c:pt>
                <c:pt idx="929">
                  <c:v>38768</c:v>
                </c:pt>
                <c:pt idx="930">
                  <c:v>38769</c:v>
                </c:pt>
                <c:pt idx="931">
                  <c:v>38770</c:v>
                </c:pt>
                <c:pt idx="932">
                  <c:v>38771</c:v>
                </c:pt>
                <c:pt idx="933">
                  <c:v>38772</c:v>
                </c:pt>
                <c:pt idx="934">
                  <c:v>38775</c:v>
                </c:pt>
                <c:pt idx="935">
                  <c:v>38776</c:v>
                </c:pt>
                <c:pt idx="936">
                  <c:v>38777</c:v>
                </c:pt>
                <c:pt idx="937">
                  <c:v>38778</c:v>
                </c:pt>
                <c:pt idx="938">
                  <c:v>38779</c:v>
                </c:pt>
                <c:pt idx="939">
                  <c:v>38782</c:v>
                </c:pt>
                <c:pt idx="940">
                  <c:v>38783</c:v>
                </c:pt>
                <c:pt idx="941">
                  <c:v>38784</c:v>
                </c:pt>
                <c:pt idx="942">
                  <c:v>38785</c:v>
                </c:pt>
                <c:pt idx="943">
                  <c:v>38786</c:v>
                </c:pt>
                <c:pt idx="944">
                  <c:v>38789</c:v>
                </c:pt>
                <c:pt idx="945">
                  <c:v>38790</c:v>
                </c:pt>
                <c:pt idx="946">
                  <c:v>38791</c:v>
                </c:pt>
                <c:pt idx="947">
                  <c:v>38792</c:v>
                </c:pt>
                <c:pt idx="948">
                  <c:v>38793</c:v>
                </c:pt>
                <c:pt idx="949">
                  <c:v>38796</c:v>
                </c:pt>
                <c:pt idx="950">
                  <c:v>38797</c:v>
                </c:pt>
                <c:pt idx="951">
                  <c:v>38798</c:v>
                </c:pt>
                <c:pt idx="952">
                  <c:v>38799</c:v>
                </c:pt>
                <c:pt idx="953">
                  <c:v>38800</c:v>
                </c:pt>
                <c:pt idx="954">
                  <c:v>38803</c:v>
                </c:pt>
                <c:pt idx="955">
                  <c:v>38804</c:v>
                </c:pt>
                <c:pt idx="956">
                  <c:v>38805</c:v>
                </c:pt>
                <c:pt idx="957">
                  <c:v>38806</c:v>
                </c:pt>
                <c:pt idx="958">
                  <c:v>38807</c:v>
                </c:pt>
                <c:pt idx="959">
                  <c:v>38810</c:v>
                </c:pt>
                <c:pt idx="960">
                  <c:v>38811</c:v>
                </c:pt>
                <c:pt idx="961">
                  <c:v>38812</c:v>
                </c:pt>
                <c:pt idx="962">
                  <c:v>38813</c:v>
                </c:pt>
                <c:pt idx="963">
                  <c:v>38814</c:v>
                </c:pt>
                <c:pt idx="964">
                  <c:v>38817</c:v>
                </c:pt>
                <c:pt idx="965">
                  <c:v>38818</c:v>
                </c:pt>
                <c:pt idx="966">
                  <c:v>38819</c:v>
                </c:pt>
                <c:pt idx="967">
                  <c:v>38820</c:v>
                </c:pt>
                <c:pt idx="968">
                  <c:v>38821</c:v>
                </c:pt>
                <c:pt idx="969">
                  <c:v>38824</c:v>
                </c:pt>
                <c:pt idx="970">
                  <c:v>38825</c:v>
                </c:pt>
                <c:pt idx="971">
                  <c:v>38826</c:v>
                </c:pt>
                <c:pt idx="972">
                  <c:v>38827</c:v>
                </c:pt>
                <c:pt idx="973">
                  <c:v>38828</c:v>
                </c:pt>
                <c:pt idx="974">
                  <c:v>38831</c:v>
                </c:pt>
                <c:pt idx="975">
                  <c:v>38832</c:v>
                </c:pt>
                <c:pt idx="976">
                  <c:v>38833</c:v>
                </c:pt>
                <c:pt idx="977">
                  <c:v>38834</c:v>
                </c:pt>
                <c:pt idx="978">
                  <c:v>38835</c:v>
                </c:pt>
                <c:pt idx="979">
                  <c:v>38845</c:v>
                </c:pt>
                <c:pt idx="980">
                  <c:v>38846</c:v>
                </c:pt>
                <c:pt idx="981">
                  <c:v>38847</c:v>
                </c:pt>
                <c:pt idx="982">
                  <c:v>38848</c:v>
                </c:pt>
                <c:pt idx="983">
                  <c:v>38849</c:v>
                </c:pt>
                <c:pt idx="984">
                  <c:v>38852</c:v>
                </c:pt>
                <c:pt idx="985">
                  <c:v>38853</c:v>
                </c:pt>
                <c:pt idx="986">
                  <c:v>38854</c:v>
                </c:pt>
                <c:pt idx="987">
                  <c:v>38855</c:v>
                </c:pt>
                <c:pt idx="988">
                  <c:v>38856</c:v>
                </c:pt>
                <c:pt idx="989">
                  <c:v>38859</c:v>
                </c:pt>
                <c:pt idx="990">
                  <c:v>38860</c:v>
                </c:pt>
                <c:pt idx="991">
                  <c:v>38861</c:v>
                </c:pt>
                <c:pt idx="992">
                  <c:v>38862</c:v>
                </c:pt>
                <c:pt idx="993">
                  <c:v>38863</c:v>
                </c:pt>
                <c:pt idx="994">
                  <c:v>38866</c:v>
                </c:pt>
                <c:pt idx="995">
                  <c:v>38867</c:v>
                </c:pt>
                <c:pt idx="996">
                  <c:v>38868</c:v>
                </c:pt>
                <c:pt idx="997">
                  <c:v>38869</c:v>
                </c:pt>
                <c:pt idx="998">
                  <c:v>38870</c:v>
                </c:pt>
                <c:pt idx="999">
                  <c:v>38873</c:v>
                </c:pt>
                <c:pt idx="1000">
                  <c:v>38874</c:v>
                </c:pt>
                <c:pt idx="1001">
                  <c:v>38875</c:v>
                </c:pt>
                <c:pt idx="1002">
                  <c:v>38876</c:v>
                </c:pt>
                <c:pt idx="1003">
                  <c:v>38877</c:v>
                </c:pt>
                <c:pt idx="1004">
                  <c:v>38880</c:v>
                </c:pt>
                <c:pt idx="1005">
                  <c:v>38881</c:v>
                </c:pt>
                <c:pt idx="1006">
                  <c:v>38882</c:v>
                </c:pt>
                <c:pt idx="1007">
                  <c:v>38883</c:v>
                </c:pt>
                <c:pt idx="1008">
                  <c:v>38884</c:v>
                </c:pt>
                <c:pt idx="1009">
                  <c:v>38887</c:v>
                </c:pt>
                <c:pt idx="1010">
                  <c:v>38888</c:v>
                </c:pt>
                <c:pt idx="1011">
                  <c:v>38889</c:v>
                </c:pt>
                <c:pt idx="1012">
                  <c:v>38890</c:v>
                </c:pt>
                <c:pt idx="1013">
                  <c:v>38891</c:v>
                </c:pt>
                <c:pt idx="1014">
                  <c:v>38894</c:v>
                </c:pt>
                <c:pt idx="1015">
                  <c:v>38895</c:v>
                </c:pt>
                <c:pt idx="1016">
                  <c:v>38896</c:v>
                </c:pt>
                <c:pt idx="1017">
                  <c:v>38897</c:v>
                </c:pt>
                <c:pt idx="1018">
                  <c:v>38898</c:v>
                </c:pt>
                <c:pt idx="1019">
                  <c:v>38901</c:v>
                </c:pt>
                <c:pt idx="1020">
                  <c:v>38902</c:v>
                </c:pt>
                <c:pt idx="1021">
                  <c:v>38903</c:v>
                </c:pt>
                <c:pt idx="1022">
                  <c:v>38904</c:v>
                </c:pt>
                <c:pt idx="1023">
                  <c:v>38905</c:v>
                </c:pt>
                <c:pt idx="1024">
                  <c:v>38908</c:v>
                </c:pt>
                <c:pt idx="1025">
                  <c:v>38909</c:v>
                </c:pt>
                <c:pt idx="1026">
                  <c:v>38910</c:v>
                </c:pt>
                <c:pt idx="1027">
                  <c:v>38911</c:v>
                </c:pt>
                <c:pt idx="1028">
                  <c:v>38912</c:v>
                </c:pt>
                <c:pt idx="1029">
                  <c:v>38915</c:v>
                </c:pt>
                <c:pt idx="1030">
                  <c:v>38916</c:v>
                </c:pt>
                <c:pt idx="1031">
                  <c:v>38917</c:v>
                </c:pt>
                <c:pt idx="1032">
                  <c:v>38918</c:v>
                </c:pt>
                <c:pt idx="1033">
                  <c:v>38919</c:v>
                </c:pt>
                <c:pt idx="1034">
                  <c:v>38922</c:v>
                </c:pt>
                <c:pt idx="1035">
                  <c:v>38923</c:v>
                </c:pt>
                <c:pt idx="1036">
                  <c:v>38924</c:v>
                </c:pt>
                <c:pt idx="1037">
                  <c:v>38925</c:v>
                </c:pt>
                <c:pt idx="1038">
                  <c:v>38926</c:v>
                </c:pt>
                <c:pt idx="1039">
                  <c:v>38929</c:v>
                </c:pt>
                <c:pt idx="1040">
                  <c:v>38930</c:v>
                </c:pt>
                <c:pt idx="1041">
                  <c:v>38931</c:v>
                </c:pt>
                <c:pt idx="1042">
                  <c:v>38932</c:v>
                </c:pt>
                <c:pt idx="1043">
                  <c:v>38933</c:v>
                </c:pt>
                <c:pt idx="1044">
                  <c:v>38936</c:v>
                </c:pt>
                <c:pt idx="1045">
                  <c:v>38937</c:v>
                </c:pt>
                <c:pt idx="1046">
                  <c:v>38938</c:v>
                </c:pt>
                <c:pt idx="1047">
                  <c:v>38939</c:v>
                </c:pt>
                <c:pt idx="1048">
                  <c:v>38940</c:v>
                </c:pt>
                <c:pt idx="1049">
                  <c:v>38943</c:v>
                </c:pt>
                <c:pt idx="1050">
                  <c:v>38944</c:v>
                </c:pt>
                <c:pt idx="1051">
                  <c:v>38945</c:v>
                </c:pt>
                <c:pt idx="1052">
                  <c:v>38946</c:v>
                </c:pt>
                <c:pt idx="1053">
                  <c:v>38947</c:v>
                </c:pt>
                <c:pt idx="1054">
                  <c:v>38950</c:v>
                </c:pt>
                <c:pt idx="1055">
                  <c:v>38951</c:v>
                </c:pt>
                <c:pt idx="1056">
                  <c:v>38952</c:v>
                </c:pt>
                <c:pt idx="1057">
                  <c:v>38953</c:v>
                </c:pt>
                <c:pt idx="1058">
                  <c:v>38954</c:v>
                </c:pt>
                <c:pt idx="1059">
                  <c:v>38957</c:v>
                </c:pt>
                <c:pt idx="1060">
                  <c:v>38958</c:v>
                </c:pt>
                <c:pt idx="1061">
                  <c:v>38959</c:v>
                </c:pt>
                <c:pt idx="1062">
                  <c:v>38960</c:v>
                </c:pt>
                <c:pt idx="1063">
                  <c:v>38961</c:v>
                </c:pt>
                <c:pt idx="1064">
                  <c:v>38964</c:v>
                </c:pt>
                <c:pt idx="1065">
                  <c:v>38965</c:v>
                </c:pt>
                <c:pt idx="1066">
                  <c:v>38966</c:v>
                </c:pt>
                <c:pt idx="1067">
                  <c:v>38967</c:v>
                </c:pt>
                <c:pt idx="1068">
                  <c:v>38968</c:v>
                </c:pt>
                <c:pt idx="1069">
                  <c:v>38971</c:v>
                </c:pt>
                <c:pt idx="1070">
                  <c:v>38972</c:v>
                </c:pt>
                <c:pt idx="1071">
                  <c:v>38973</c:v>
                </c:pt>
                <c:pt idx="1072">
                  <c:v>38974</c:v>
                </c:pt>
                <c:pt idx="1073">
                  <c:v>38975</c:v>
                </c:pt>
                <c:pt idx="1074">
                  <c:v>38978</c:v>
                </c:pt>
                <c:pt idx="1075">
                  <c:v>38979</c:v>
                </c:pt>
                <c:pt idx="1076">
                  <c:v>38980</c:v>
                </c:pt>
                <c:pt idx="1077">
                  <c:v>38981</c:v>
                </c:pt>
                <c:pt idx="1078">
                  <c:v>38982</c:v>
                </c:pt>
                <c:pt idx="1079">
                  <c:v>38985</c:v>
                </c:pt>
                <c:pt idx="1080">
                  <c:v>38986</c:v>
                </c:pt>
                <c:pt idx="1081">
                  <c:v>38987</c:v>
                </c:pt>
                <c:pt idx="1082">
                  <c:v>38988</c:v>
                </c:pt>
                <c:pt idx="1083">
                  <c:v>38989</c:v>
                </c:pt>
                <c:pt idx="1084">
                  <c:v>38999</c:v>
                </c:pt>
                <c:pt idx="1085">
                  <c:v>39000</c:v>
                </c:pt>
                <c:pt idx="1086">
                  <c:v>39001</c:v>
                </c:pt>
                <c:pt idx="1087">
                  <c:v>39002</c:v>
                </c:pt>
                <c:pt idx="1088">
                  <c:v>39003</c:v>
                </c:pt>
                <c:pt idx="1089">
                  <c:v>39006</c:v>
                </c:pt>
                <c:pt idx="1090">
                  <c:v>39007</c:v>
                </c:pt>
                <c:pt idx="1091">
                  <c:v>39008</c:v>
                </c:pt>
                <c:pt idx="1092">
                  <c:v>39009</c:v>
                </c:pt>
                <c:pt idx="1093">
                  <c:v>39010</c:v>
                </c:pt>
                <c:pt idx="1094">
                  <c:v>39013</c:v>
                </c:pt>
                <c:pt idx="1095">
                  <c:v>39014</c:v>
                </c:pt>
                <c:pt idx="1096">
                  <c:v>39015</c:v>
                </c:pt>
                <c:pt idx="1097">
                  <c:v>39016</c:v>
                </c:pt>
                <c:pt idx="1098">
                  <c:v>39017</c:v>
                </c:pt>
                <c:pt idx="1099">
                  <c:v>39020</c:v>
                </c:pt>
                <c:pt idx="1100">
                  <c:v>39021</c:v>
                </c:pt>
                <c:pt idx="1101">
                  <c:v>39022</c:v>
                </c:pt>
                <c:pt idx="1102">
                  <c:v>39023</c:v>
                </c:pt>
                <c:pt idx="1103">
                  <c:v>39024</c:v>
                </c:pt>
                <c:pt idx="1104">
                  <c:v>39027</c:v>
                </c:pt>
                <c:pt idx="1105">
                  <c:v>39028</c:v>
                </c:pt>
                <c:pt idx="1106">
                  <c:v>39029</c:v>
                </c:pt>
                <c:pt idx="1107">
                  <c:v>39030</c:v>
                </c:pt>
                <c:pt idx="1108">
                  <c:v>39031</c:v>
                </c:pt>
                <c:pt idx="1109">
                  <c:v>39034</c:v>
                </c:pt>
                <c:pt idx="1110">
                  <c:v>39035</c:v>
                </c:pt>
                <c:pt idx="1111">
                  <c:v>39036</c:v>
                </c:pt>
                <c:pt idx="1112">
                  <c:v>39037</c:v>
                </c:pt>
                <c:pt idx="1113">
                  <c:v>39038</c:v>
                </c:pt>
                <c:pt idx="1114">
                  <c:v>39041</c:v>
                </c:pt>
                <c:pt idx="1115">
                  <c:v>39042</c:v>
                </c:pt>
                <c:pt idx="1116">
                  <c:v>39043</c:v>
                </c:pt>
                <c:pt idx="1117">
                  <c:v>39044</c:v>
                </c:pt>
                <c:pt idx="1118">
                  <c:v>39045</c:v>
                </c:pt>
                <c:pt idx="1119">
                  <c:v>39048</c:v>
                </c:pt>
                <c:pt idx="1120">
                  <c:v>39049</c:v>
                </c:pt>
                <c:pt idx="1121">
                  <c:v>39050</c:v>
                </c:pt>
                <c:pt idx="1122">
                  <c:v>39051</c:v>
                </c:pt>
                <c:pt idx="1123">
                  <c:v>39052</c:v>
                </c:pt>
                <c:pt idx="1124">
                  <c:v>39055</c:v>
                </c:pt>
                <c:pt idx="1125">
                  <c:v>39056</c:v>
                </c:pt>
                <c:pt idx="1126">
                  <c:v>39057</c:v>
                </c:pt>
                <c:pt idx="1127">
                  <c:v>39058</c:v>
                </c:pt>
                <c:pt idx="1128">
                  <c:v>39059</c:v>
                </c:pt>
                <c:pt idx="1129">
                  <c:v>39062</c:v>
                </c:pt>
                <c:pt idx="1130">
                  <c:v>39063</c:v>
                </c:pt>
                <c:pt idx="1131">
                  <c:v>39064</c:v>
                </c:pt>
                <c:pt idx="1132">
                  <c:v>39065</c:v>
                </c:pt>
                <c:pt idx="1133">
                  <c:v>39066</c:v>
                </c:pt>
                <c:pt idx="1134">
                  <c:v>39069</c:v>
                </c:pt>
                <c:pt idx="1135">
                  <c:v>39070</c:v>
                </c:pt>
                <c:pt idx="1136">
                  <c:v>39071</c:v>
                </c:pt>
                <c:pt idx="1137">
                  <c:v>39072</c:v>
                </c:pt>
                <c:pt idx="1138">
                  <c:v>39073</c:v>
                </c:pt>
                <c:pt idx="1139">
                  <c:v>39076</c:v>
                </c:pt>
                <c:pt idx="1140">
                  <c:v>39077</c:v>
                </c:pt>
                <c:pt idx="1141">
                  <c:v>39078</c:v>
                </c:pt>
                <c:pt idx="1142">
                  <c:v>39079</c:v>
                </c:pt>
                <c:pt idx="1143">
                  <c:v>39080</c:v>
                </c:pt>
                <c:pt idx="1144">
                  <c:v>39086</c:v>
                </c:pt>
                <c:pt idx="1145">
                  <c:v>39087</c:v>
                </c:pt>
                <c:pt idx="1146">
                  <c:v>39090</c:v>
                </c:pt>
                <c:pt idx="1147">
                  <c:v>39091</c:v>
                </c:pt>
                <c:pt idx="1148">
                  <c:v>39092</c:v>
                </c:pt>
                <c:pt idx="1149">
                  <c:v>39093</c:v>
                </c:pt>
                <c:pt idx="1150">
                  <c:v>39094</c:v>
                </c:pt>
                <c:pt idx="1151">
                  <c:v>39097</c:v>
                </c:pt>
                <c:pt idx="1152">
                  <c:v>39098</c:v>
                </c:pt>
                <c:pt idx="1153">
                  <c:v>39099</c:v>
                </c:pt>
                <c:pt idx="1154">
                  <c:v>39100</c:v>
                </c:pt>
                <c:pt idx="1155">
                  <c:v>39101</c:v>
                </c:pt>
                <c:pt idx="1156">
                  <c:v>39104</c:v>
                </c:pt>
                <c:pt idx="1157">
                  <c:v>39105</c:v>
                </c:pt>
                <c:pt idx="1158">
                  <c:v>39106</c:v>
                </c:pt>
                <c:pt idx="1159">
                  <c:v>39107</c:v>
                </c:pt>
                <c:pt idx="1160">
                  <c:v>39108</c:v>
                </c:pt>
                <c:pt idx="1161">
                  <c:v>39111</c:v>
                </c:pt>
                <c:pt idx="1162">
                  <c:v>39112</c:v>
                </c:pt>
                <c:pt idx="1163">
                  <c:v>39113</c:v>
                </c:pt>
                <c:pt idx="1164">
                  <c:v>39114</c:v>
                </c:pt>
                <c:pt idx="1165">
                  <c:v>39115</c:v>
                </c:pt>
                <c:pt idx="1166">
                  <c:v>39118</c:v>
                </c:pt>
                <c:pt idx="1167">
                  <c:v>39119</c:v>
                </c:pt>
                <c:pt idx="1168">
                  <c:v>39120</c:v>
                </c:pt>
                <c:pt idx="1169">
                  <c:v>39121</c:v>
                </c:pt>
                <c:pt idx="1170">
                  <c:v>39122</c:v>
                </c:pt>
                <c:pt idx="1171">
                  <c:v>39125</c:v>
                </c:pt>
                <c:pt idx="1172">
                  <c:v>39126</c:v>
                </c:pt>
                <c:pt idx="1173">
                  <c:v>39127</c:v>
                </c:pt>
                <c:pt idx="1174">
                  <c:v>39128</c:v>
                </c:pt>
                <c:pt idx="1175">
                  <c:v>39129</c:v>
                </c:pt>
                <c:pt idx="1176">
                  <c:v>39139</c:v>
                </c:pt>
                <c:pt idx="1177">
                  <c:v>39140</c:v>
                </c:pt>
                <c:pt idx="1178">
                  <c:v>39141</c:v>
                </c:pt>
                <c:pt idx="1179">
                  <c:v>39142</c:v>
                </c:pt>
                <c:pt idx="1180">
                  <c:v>39143</c:v>
                </c:pt>
                <c:pt idx="1181">
                  <c:v>39146</c:v>
                </c:pt>
                <c:pt idx="1182">
                  <c:v>39147</c:v>
                </c:pt>
                <c:pt idx="1183">
                  <c:v>39148</c:v>
                </c:pt>
                <c:pt idx="1184">
                  <c:v>39149</c:v>
                </c:pt>
                <c:pt idx="1185">
                  <c:v>39150</c:v>
                </c:pt>
                <c:pt idx="1186">
                  <c:v>39153</c:v>
                </c:pt>
                <c:pt idx="1187">
                  <c:v>39154</c:v>
                </c:pt>
                <c:pt idx="1188">
                  <c:v>39155</c:v>
                </c:pt>
                <c:pt idx="1189">
                  <c:v>39156</c:v>
                </c:pt>
                <c:pt idx="1190">
                  <c:v>39157</c:v>
                </c:pt>
                <c:pt idx="1191">
                  <c:v>39160</c:v>
                </c:pt>
                <c:pt idx="1192">
                  <c:v>39161</c:v>
                </c:pt>
                <c:pt idx="1193">
                  <c:v>39162</c:v>
                </c:pt>
                <c:pt idx="1194">
                  <c:v>39163</c:v>
                </c:pt>
                <c:pt idx="1195">
                  <c:v>39164</c:v>
                </c:pt>
                <c:pt idx="1196">
                  <c:v>39167</c:v>
                </c:pt>
                <c:pt idx="1197">
                  <c:v>39168</c:v>
                </c:pt>
                <c:pt idx="1198">
                  <c:v>39169</c:v>
                </c:pt>
                <c:pt idx="1199">
                  <c:v>39170</c:v>
                </c:pt>
                <c:pt idx="1200">
                  <c:v>39171</c:v>
                </c:pt>
                <c:pt idx="1201">
                  <c:v>39174</c:v>
                </c:pt>
                <c:pt idx="1202">
                  <c:v>39175</c:v>
                </c:pt>
                <c:pt idx="1203">
                  <c:v>39176</c:v>
                </c:pt>
                <c:pt idx="1204">
                  <c:v>39177</c:v>
                </c:pt>
                <c:pt idx="1205">
                  <c:v>39178</c:v>
                </c:pt>
                <c:pt idx="1206">
                  <c:v>39181</c:v>
                </c:pt>
                <c:pt idx="1207">
                  <c:v>39182</c:v>
                </c:pt>
                <c:pt idx="1208">
                  <c:v>39183</c:v>
                </c:pt>
                <c:pt idx="1209">
                  <c:v>39184</c:v>
                </c:pt>
                <c:pt idx="1210">
                  <c:v>39185</c:v>
                </c:pt>
                <c:pt idx="1211">
                  <c:v>39188</c:v>
                </c:pt>
                <c:pt idx="1212">
                  <c:v>39189</c:v>
                </c:pt>
                <c:pt idx="1213">
                  <c:v>39190</c:v>
                </c:pt>
                <c:pt idx="1214">
                  <c:v>39191</c:v>
                </c:pt>
                <c:pt idx="1215">
                  <c:v>39192</c:v>
                </c:pt>
                <c:pt idx="1216">
                  <c:v>39195</c:v>
                </c:pt>
                <c:pt idx="1217">
                  <c:v>39196</c:v>
                </c:pt>
                <c:pt idx="1218">
                  <c:v>39197</c:v>
                </c:pt>
                <c:pt idx="1219">
                  <c:v>39198</c:v>
                </c:pt>
                <c:pt idx="1220">
                  <c:v>39199</c:v>
                </c:pt>
                <c:pt idx="1221">
                  <c:v>39202</c:v>
                </c:pt>
                <c:pt idx="1222">
                  <c:v>39210</c:v>
                </c:pt>
                <c:pt idx="1223">
                  <c:v>39211</c:v>
                </c:pt>
                <c:pt idx="1224">
                  <c:v>39212</c:v>
                </c:pt>
                <c:pt idx="1225">
                  <c:v>39213</c:v>
                </c:pt>
                <c:pt idx="1226">
                  <c:v>39216</c:v>
                </c:pt>
                <c:pt idx="1227">
                  <c:v>39217</c:v>
                </c:pt>
                <c:pt idx="1228">
                  <c:v>39218</c:v>
                </c:pt>
                <c:pt idx="1229">
                  <c:v>39219</c:v>
                </c:pt>
                <c:pt idx="1230">
                  <c:v>39220</c:v>
                </c:pt>
                <c:pt idx="1231">
                  <c:v>39223</c:v>
                </c:pt>
                <c:pt idx="1232">
                  <c:v>39224</c:v>
                </c:pt>
                <c:pt idx="1233">
                  <c:v>39225</c:v>
                </c:pt>
                <c:pt idx="1234">
                  <c:v>39226</c:v>
                </c:pt>
                <c:pt idx="1235">
                  <c:v>39227</c:v>
                </c:pt>
                <c:pt idx="1236">
                  <c:v>39230</c:v>
                </c:pt>
                <c:pt idx="1237">
                  <c:v>39231</c:v>
                </c:pt>
                <c:pt idx="1238">
                  <c:v>39232</c:v>
                </c:pt>
                <c:pt idx="1239">
                  <c:v>39233</c:v>
                </c:pt>
                <c:pt idx="1240">
                  <c:v>39234</c:v>
                </c:pt>
                <c:pt idx="1241">
                  <c:v>39237</c:v>
                </c:pt>
                <c:pt idx="1242">
                  <c:v>39238</c:v>
                </c:pt>
                <c:pt idx="1243">
                  <c:v>39239</c:v>
                </c:pt>
                <c:pt idx="1244">
                  <c:v>39240</c:v>
                </c:pt>
                <c:pt idx="1245">
                  <c:v>39241</c:v>
                </c:pt>
                <c:pt idx="1246">
                  <c:v>39244</c:v>
                </c:pt>
                <c:pt idx="1247">
                  <c:v>39245</c:v>
                </c:pt>
                <c:pt idx="1248">
                  <c:v>39246</c:v>
                </c:pt>
                <c:pt idx="1249">
                  <c:v>39247</c:v>
                </c:pt>
                <c:pt idx="1250">
                  <c:v>39248</c:v>
                </c:pt>
                <c:pt idx="1251">
                  <c:v>39251</c:v>
                </c:pt>
                <c:pt idx="1252">
                  <c:v>39252</c:v>
                </c:pt>
                <c:pt idx="1253">
                  <c:v>39253</c:v>
                </c:pt>
                <c:pt idx="1254">
                  <c:v>39254</c:v>
                </c:pt>
                <c:pt idx="1255">
                  <c:v>39255</c:v>
                </c:pt>
                <c:pt idx="1256">
                  <c:v>39258</c:v>
                </c:pt>
                <c:pt idx="1257">
                  <c:v>39259</c:v>
                </c:pt>
                <c:pt idx="1258">
                  <c:v>39260</c:v>
                </c:pt>
                <c:pt idx="1259">
                  <c:v>39261</c:v>
                </c:pt>
                <c:pt idx="1260">
                  <c:v>39262</c:v>
                </c:pt>
                <c:pt idx="1261">
                  <c:v>39265</c:v>
                </c:pt>
                <c:pt idx="1262">
                  <c:v>39266</c:v>
                </c:pt>
                <c:pt idx="1263">
                  <c:v>39267</c:v>
                </c:pt>
                <c:pt idx="1264">
                  <c:v>39268</c:v>
                </c:pt>
                <c:pt idx="1265">
                  <c:v>39269</c:v>
                </c:pt>
                <c:pt idx="1266">
                  <c:v>39272</c:v>
                </c:pt>
                <c:pt idx="1267">
                  <c:v>39273</c:v>
                </c:pt>
                <c:pt idx="1268">
                  <c:v>39274</c:v>
                </c:pt>
                <c:pt idx="1269">
                  <c:v>39275</c:v>
                </c:pt>
                <c:pt idx="1270">
                  <c:v>39276</c:v>
                </c:pt>
                <c:pt idx="1271">
                  <c:v>39279</c:v>
                </c:pt>
                <c:pt idx="1272">
                  <c:v>39280</c:v>
                </c:pt>
                <c:pt idx="1273">
                  <c:v>39281</c:v>
                </c:pt>
                <c:pt idx="1274">
                  <c:v>39282</c:v>
                </c:pt>
                <c:pt idx="1275">
                  <c:v>39283</c:v>
                </c:pt>
                <c:pt idx="1276">
                  <c:v>39286</c:v>
                </c:pt>
                <c:pt idx="1277">
                  <c:v>39287</c:v>
                </c:pt>
                <c:pt idx="1278">
                  <c:v>39288</c:v>
                </c:pt>
                <c:pt idx="1279">
                  <c:v>39289</c:v>
                </c:pt>
                <c:pt idx="1280">
                  <c:v>39290</c:v>
                </c:pt>
                <c:pt idx="1281">
                  <c:v>39293</c:v>
                </c:pt>
                <c:pt idx="1282">
                  <c:v>39294</c:v>
                </c:pt>
                <c:pt idx="1283">
                  <c:v>39295</c:v>
                </c:pt>
                <c:pt idx="1284">
                  <c:v>39296</c:v>
                </c:pt>
                <c:pt idx="1285">
                  <c:v>39297</c:v>
                </c:pt>
                <c:pt idx="1286">
                  <c:v>39300</c:v>
                </c:pt>
                <c:pt idx="1287">
                  <c:v>39301</c:v>
                </c:pt>
                <c:pt idx="1288">
                  <c:v>39302</c:v>
                </c:pt>
                <c:pt idx="1289">
                  <c:v>39303</c:v>
                </c:pt>
                <c:pt idx="1290">
                  <c:v>39304</c:v>
                </c:pt>
                <c:pt idx="1291">
                  <c:v>39307</c:v>
                </c:pt>
                <c:pt idx="1292">
                  <c:v>39308</c:v>
                </c:pt>
                <c:pt idx="1293">
                  <c:v>39309</c:v>
                </c:pt>
                <c:pt idx="1294">
                  <c:v>39310</c:v>
                </c:pt>
                <c:pt idx="1295">
                  <c:v>39311</c:v>
                </c:pt>
                <c:pt idx="1296">
                  <c:v>39314</c:v>
                </c:pt>
                <c:pt idx="1297">
                  <c:v>39315</c:v>
                </c:pt>
                <c:pt idx="1298">
                  <c:v>39316</c:v>
                </c:pt>
                <c:pt idx="1299">
                  <c:v>39317</c:v>
                </c:pt>
                <c:pt idx="1300">
                  <c:v>39318</c:v>
                </c:pt>
                <c:pt idx="1301">
                  <c:v>39321</c:v>
                </c:pt>
                <c:pt idx="1302">
                  <c:v>39322</c:v>
                </c:pt>
                <c:pt idx="1303">
                  <c:v>39323</c:v>
                </c:pt>
                <c:pt idx="1304">
                  <c:v>39324</c:v>
                </c:pt>
                <c:pt idx="1305">
                  <c:v>39325</c:v>
                </c:pt>
                <c:pt idx="1306">
                  <c:v>39328</c:v>
                </c:pt>
                <c:pt idx="1307">
                  <c:v>39329</c:v>
                </c:pt>
                <c:pt idx="1308">
                  <c:v>39330</c:v>
                </c:pt>
                <c:pt idx="1309">
                  <c:v>39331</c:v>
                </c:pt>
                <c:pt idx="1310">
                  <c:v>39332</c:v>
                </c:pt>
                <c:pt idx="1311">
                  <c:v>39335</c:v>
                </c:pt>
                <c:pt idx="1312">
                  <c:v>39336</c:v>
                </c:pt>
                <c:pt idx="1313">
                  <c:v>39337</c:v>
                </c:pt>
                <c:pt idx="1314">
                  <c:v>39338</c:v>
                </c:pt>
                <c:pt idx="1315">
                  <c:v>39339</c:v>
                </c:pt>
                <c:pt idx="1316">
                  <c:v>39342</c:v>
                </c:pt>
                <c:pt idx="1317">
                  <c:v>39343</c:v>
                </c:pt>
                <c:pt idx="1318">
                  <c:v>39344</c:v>
                </c:pt>
                <c:pt idx="1319">
                  <c:v>39345</c:v>
                </c:pt>
                <c:pt idx="1320">
                  <c:v>39346</c:v>
                </c:pt>
                <c:pt idx="1321">
                  <c:v>39349</c:v>
                </c:pt>
                <c:pt idx="1322">
                  <c:v>39350</c:v>
                </c:pt>
                <c:pt idx="1323">
                  <c:v>39351</c:v>
                </c:pt>
                <c:pt idx="1324">
                  <c:v>39352</c:v>
                </c:pt>
                <c:pt idx="1325">
                  <c:v>39353</c:v>
                </c:pt>
                <c:pt idx="1326">
                  <c:v>39363</c:v>
                </c:pt>
                <c:pt idx="1327">
                  <c:v>39364</c:v>
                </c:pt>
                <c:pt idx="1328">
                  <c:v>39365</c:v>
                </c:pt>
                <c:pt idx="1329">
                  <c:v>39366</c:v>
                </c:pt>
                <c:pt idx="1330">
                  <c:v>39367</c:v>
                </c:pt>
                <c:pt idx="1331">
                  <c:v>39370</c:v>
                </c:pt>
                <c:pt idx="1332">
                  <c:v>39371</c:v>
                </c:pt>
                <c:pt idx="1333">
                  <c:v>39372</c:v>
                </c:pt>
                <c:pt idx="1334">
                  <c:v>39373</c:v>
                </c:pt>
                <c:pt idx="1335">
                  <c:v>39374</c:v>
                </c:pt>
                <c:pt idx="1336">
                  <c:v>39377</c:v>
                </c:pt>
                <c:pt idx="1337">
                  <c:v>39378</c:v>
                </c:pt>
                <c:pt idx="1338">
                  <c:v>39379</c:v>
                </c:pt>
                <c:pt idx="1339">
                  <c:v>39380</c:v>
                </c:pt>
                <c:pt idx="1340">
                  <c:v>39381</c:v>
                </c:pt>
                <c:pt idx="1341">
                  <c:v>39384</c:v>
                </c:pt>
                <c:pt idx="1342">
                  <c:v>39385</c:v>
                </c:pt>
                <c:pt idx="1343">
                  <c:v>39386</c:v>
                </c:pt>
                <c:pt idx="1344">
                  <c:v>39387</c:v>
                </c:pt>
                <c:pt idx="1345">
                  <c:v>39388</c:v>
                </c:pt>
                <c:pt idx="1346">
                  <c:v>39391</c:v>
                </c:pt>
                <c:pt idx="1347">
                  <c:v>39392</c:v>
                </c:pt>
                <c:pt idx="1348">
                  <c:v>39393</c:v>
                </c:pt>
                <c:pt idx="1349">
                  <c:v>39394</c:v>
                </c:pt>
                <c:pt idx="1350">
                  <c:v>39395</c:v>
                </c:pt>
                <c:pt idx="1351">
                  <c:v>39398</c:v>
                </c:pt>
                <c:pt idx="1352">
                  <c:v>39399</c:v>
                </c:pt>
                <c:pt idx="1353">
                  <c:v>39400</c:v>
                </c:pt>
                <c:pt idx="1354">
                  <c:v>39401</c:v>
                </c:pt>
                <c:pt idx="1355">
                  <c:v>39402</c:v>
                </c:pt>
                <c:pt idx="1356">
                  <c:v>39405</c:v>
                </c:pt>
                <c:pt idx="1357">
                  <c:v>39406</c:v>
                </c:pt>
                <c:pt idx="1358">
                  <c:v>39407</c:v>
                </c:pt>
                <c:pt idx="1359">
                  <c:v>39408</c:v>
                </c:pt>
                <c:pt idx="1360">
                  <c:v>39409</c:v>
                </c:pt>
                <c:pt idx="1361">
                  <c:v>39412</c:v>
                </c:pt>
                <c:pt idx="1362">
                  <c:v>39413</c:v>
                </c:pt>
                <c:pt idx="1363">
                  <c:v>39414</c:v>
                </c:pt>
                <c:pt idx="1364">
                  <c:v>39415</c:v>
                </c:pt>
                <c:pt idx="1365">
                  <c:v>39416</c:v>
                </c:pt>
                <c:pt idx="1366">
                  <c:v>39419</c:v>
                </c:pt>
                <c:pt idx="1367">
                  <c:v>39420</c:v>
                </c:pt>
                <c:pt idx="1368">
                  <c:v>39421</c:v>
                </c:pt>
                <c:pt idx="1369">
                  <c:v>39422</c:v>
                </c:pt>
                <c:pt idx="1370">
                  <c:v>39423</c:v>
                </c:pt>
                <c:pt idx="1371">
                  <c:v>39426</c:v>
                </c:pt>
                <c:pt idx="1372">
                  <c:v>39427</c:v>
                </c:pt>
                <c:pt idx="1373">
                  <c:v>39428</c:v>
                </c:pt>
                <c:pt idx="1374">
                  <c:v>39429</c:v>
                </c:pt>
                <c:pt idx="1375">
                  <c:v>39430</c:v>
                </c:pt>
                <c:pt idx="1376">
                  <c:v>39433</c:v>
                </c:pt>
                <c:pt idx="1377">
                  <c:v>39434</c:v>
                </c:pt>
                <c:pt idx="1378">
                  <c:v>39435</c:v>
                </c:pt>
                <c:pt idx="1379">
                  <c:v>39436</c:v>
                </c:pt>
                <c:pt idx="1380">
                  <c:v>39437</c:v>
                </c:pt>
                <c:pt idx="1381">
                  <c:v>39440</c:v>
                </c:pt>
                <c:pt idx="1382">
                  <c:v>39441</c:v>
                </c:pt>
                <c:pt idx="1383">
                  <c:v>39442</c:v>
                </c:pt>
                <c:pt idx="1384">
                  <c:v>39443</c:v>
                </c:pt>
                <c:pt idx="1385">
                  <c:v>39444</c:v>
                </c:pt>
                <c:pt idx="1386">
                  <c:v>39449</c:v>
                </c:pt>
                <c:pt idx="1387">
                  <c:v>39450</c:v>
                </c:pt>
                <c:pt idx="1388">
                  <c:v>39451</c:v>
                </c:pt>
                <c:pt idx="1389">
                  <c:v>39454</c:v>
                </c:pt>
                <c:pt idx="1390">
                  <c:v>39455</c:v>
                </c:pt>
                <c:pt idx="1391">
                  <c:v>39456</c:v>
                </c:pt>
                <c:pt idx="1392">
                  <c:v>39457</c:v>
                </c:pt>
                <c:pt idx="1393">
                  <c:v>39458</c:v>
                </c:pt>
                <c:pt idx="1394">
                  <c:v>39461</c:v>
                </c:pt>
                <c:pt idx="1395">
                  <c:v>39462</c:v>
                </c:pt>
                <c:pt idx="1396">
                  <c:v>39463</c:v>
                </c:pt>
                <c:pt idx="1397">
                  <c:v>39464</c:v>
                </c:pt>
                <c:pt idx="1398">
                  <c:v>39465</c:v>
                </c:pt>
                <c:pt idx="1399">
                  <c:v>39468</c:v>
                </c:pt>
                <c:pt idx="1400">
                  <c:v>39469</c:v>
                </c:pt>
                <c:pt idx="1401">
                  <c:v>39470</c:v>
                </c:pt>
                <c:pt idx="1402">
                  <c:v>39471</c:v>
                </c:pt>
                <c:pt idx="1403">
                  <c:v>39472</c:v>
                </c:pt>
                <c:pt idx="1404">
                  <c:v>39475</c:v>
                </c:pt>
                <c:pt idx="1405">
                  <c:v>39476</c:v>
                </c:pt>
                <c:pt idx="1406">
                  <c:v>39477</c:v>
                </c:pt>
                <c:pt idx="1407">
                  <c:v>39478</c:v>
                </c:pt>
                <c:pt idx="1408">
                  <c:v>39479</c:v>
                </c:pt>
                <c:pt idx="1409">
                  <c:v>39482</c:v>
                </c:pt>
                <c:pt idx="1410">
                  <c:v>39483</c:v>
                </c:pt>
                <c:pt idx="1411">
                  <c:v>39491</c:v>
                </c:pt>
                <c:pt idx="1412">
                  <c:v>39492</c:v>
                </c:pt>
                <c:pt idx="1413">
                  <c:v>39493</c:v>
                </c:pt>
                <c:pt idx="1414">
                  <c:v>39496</c:v>
                </c:pt>
                <c:pt idx="1415">
                  <c:v>39497</c:v>
                </c:pt>
                <c:pt idx="1416">
                  <c:v>39498</c:v>
                </c:pt>
                <c:pt idx="1417">
                  <c:v>39499</c:v>
                </c:pt>
                <c:pt idx="1418">
                  <c:v>39500</c:v>
                </c:pt>
                <c:pt idx="1419">
                  <c:v>39503</c:v>
                </c:pt>
                <c:pt idx="1420">
                  <c:v>39504</c:v>
                </c:pt>
                <c:pt idx="1421">
                  <c:v>39505</c:v>
                </c:pt>
                <c:pt idx="1422">
                  <c:v>39506</c:v>
                </c:pt>
                <c:pt idx="1423">
                  <c:v>39507</c:v>
                </c:pt>
                <c:pt idx="1424">
                  <c:v>39510</c:v>
                </c:pt>
                <c:pt idx="1425">
                  <c:v>39511</c:v>
                </c:pt>
                <c:pt idx="1426">
                  <c:v>39512</c:v>
                </c:pt>
                <c:pt idx="1427">
                  <c:v>39513</c:v>
                </c:pt>
                <c:pt idx="1428">
                  <c:v>39514</c:v>
                </c:pt>
                <c:pt idx="1429">
                  <c:v>39517</c:v>
                </c:pt>
                <c:pt idx="1430">
                  <c:v>39518</c:v>
                </c:pt>
                <c:pt idx="1431">
                  <c:v>39519</c:v>
                </c:pt>
                <c:pt idx="1432">
                  <c:v>39520</c:v>
                </c:pt>
                <c:pt idx="1433">
                  <c:v>39521</c:v>
                </c:pt>
                <c:pt idx="1434">
                  <c:v>39524</c:v>
                </c:pt>
                <c:pt idx="1435">
                  <c:v>39525</c:v>
                </c:pt>
                <c:pt idx="1436">
                  <c:v>39526</c:v>
                </c:pt>
                <c:pt idx="1437">
                  <c:v>39527</c:v>
                </c:pt>
                <c:pt idx="1438">
                  <c:v>39528</c:v>
                </c:pt>
                <c:pt idx="1439">
                  <c:v>39531</c:v>
                </c:pt>
                <c:pt idx="1440">
                  <c:v>39532</c:v>
                </c:pt>
                <c:pt idx="1441">
                  <c:v>39533</c:v>
                </c:pt>
                <c:pt idx="1442">
                  <c:v>39534</c:v>
                </c:pt>
                <c:pt idx="1443">
                  <c:v>39535</c:v>
                </c:pt>
                <c:pt idx="1444">
                  <c:v>39538</c:v>
                </c:pt>
                <c:pt idx="1445">
                  <c:v>39539</c:v>
                </c:pt>
                <c:pt idx="1446">
                  <c:v>39540</c:v>
                </c:pt>
                <c:pt idx="1447">
                  <c:v>39541</c:v>
                </c:pt>
                <c:pt idx="1448">
                  <c:v>39545</c:v>
                </c:pt>
                <c:pt idx="1449">
                  <c:v>39546</c:v>
                </c:pt>
                <c:pt idx="1450">
                  <c:v>39547</c:v>
                </c:pt>
                <c:pt idx="1451">
                  <c:v>39548</c:v>
                </c:pt>
                <c:pt idx="1452">
                  <c:v>39549</c:v>
                </c:pt>
                <c:pt idx="1453">
                  <c:v>39552</c:v>
                </c:pt>
                <c:pt idx="1454">
                  <c:v>39553</c:v>
                </c:pt>
                <c:pt idx="1455">
                  <c:v>39554</c:v>
                </c:pt>
                <c:pt idx="1456">
                  <c:v>39555</c:v>
                </c:pt>
                <c:pt idx="1457">
                  <c:v>39556</c:v>
                </c:pt>
                <c:pt idx="1458">
                  <c:v>39559</c:v>
                </c:pt>
                <c:pt idx="1459">
                  <c:v>39560</c:v>
                </c:pt>
                <c:pt idx="1460">
                  <c:v>39561</c:v>
                </c:pt>
                <c:pt idx="1461">
                  <c:v>39562</c:v>
                </c:pt>
                <c:pt idx="1462">
                  <c:v>39563</c:v>
                </c:pt>
                <c:pt idx="1463">
                  <c:v>39566</c:v>
                </c:pt>
                <c:pt idx="1464">
                  <c:v>39567</c:v>
                </c:pt>
                <c:pt idx="1465">
                  <c:v>39568</c:v>
                </c:pt>
                <c:pt idx="1466">
                  <c:v>39573</c:v>
                </c:pt>
                <c:pt idx="1467">
                  <c:v>39574</c:v>
                </c:pt>
                <c:pt idx="1468">
                  <c:v>39575</c:v>
                </c:pt>
                <c:pt idx="1469">
                  <c:v>39576</c:v>
                </c:pt>
                <c:pt idx="1470">
                  <c:v>39577</c:v>
                </c:pt>
                <c:pt idx="1471">
                  <c:v>39580</c:v>
                </c:pt>
                <c:pt idx="1472">
                  <c:v>39581</c:v>
                </c:pt>
                <c:pt idx="1473">
                  <c:v>39582</c:v>
                </c:pt>
                <c:pt idx="1474">
                  <c:v>39583</c:v>
                </c:pt>
                <c:pt idx="1475">
                  <c:v>39584</c:v>
                </c:pt>
                <c:pt idx="1476">
                  <c:v>39587</c:v>
                </c:pt>
                <c:pt idx="1477">
                  <c:v>39588</c:v>
                </c:pt>
                <c:pt idx="1478">
                  <c:v>39589</c:v>
                </c:pt>
                <c:pt idx="1479">
                  <c:v>39590</c:v>
                </c:pt>
                <c:pt idx="1480">
                  <c:v>39591</c:v>
                </c:pt>
                <c:pt idx="1481">
                  <c:v>39594</c:v>
                </c:pt>
                <c:pt idx="1482">
                  <c:v>39595</c:v>
                </c:pt>
                <c:pt idx="1483">
                  <c:v>39596</c:v>
                </c:pt>
                <c:pt idx="1484">
                  <c:v>39597</c:v>
                </c:pt>
                <c:pt idx="1485">
                  <c:v>39598</c:v>
                </c:pt>
                <c:pt idx="1486">
                  <c:v>39601</c:v>
                </c:pt>
                <c:pt idx="1487">
                  <c:v>39602</c:v>
                </c:pt>
                <c:pt idx="1488">
                  <c:v>39603</c:v>
                </c:pt>
                <c:pt idx="1489">
                  <c:v>39604</c:v>
                </c:pt>
                <c:pt idx="1490">
                  <c:v>39605</c:v>
                </c:pt>
                <c:pt idx="1491">
                  <c:v>39609</c:v>
                </c:pt>
                <c:pt idx="1492">
                  <c:v>39610</c:v>
                </c:pt>
                <c:pt idx="1493">
                  <c:v>39611</c:v>
                </c:pt>
                <c:pt idx="1494">
                  <c:v>39612</c:v>
                </c:pt>
                <c:pt idx="1495">
                  <c:v>39615</c:v>
                </c:pt>
                <c:pt idx="1496">
                  <c:v>39616</c:v>
                </c:pt>
                <c:pt idx="1497">
                  <c:v>39617</c:v>
                </c:pt>
                <c:pt idx="1498">
                  <c:v>39618</c:v>
                </c:pt>
                <c:pt idx="1499">
                  <c:v>39619</c:v>
                </c:pt>
                <c:pt idx="1500">
                  <c:v>39622</c:v>
                </c:pt>
                <c:pt idx="1501">
                  <c:v>39623</c:v>
                </c:pt>
                <c:pt idx="1502">
                  <c:v>39624</c:v>
                </c:pt>
                <c:pt idx="1503">
                  <c:v>39625</c:v>
                </c:pt>
                <c:pt idx="1504">
                  <c:v>39626</c:v>
                </c:pt>
                <c:pt idx="1505">
                  <c:v>39629</c:v>
                </c:pt>
                <c:pt idx="1506">
                  <c:v>39630</c:v>
                </c:pt>
                <c:pt idx="1507">
                  <c:v>39631</c:v>
                </c:pt>
                <c:pt idx="1508">
                  <c:v>39632</c:v>
                </c:pt>
                <c:pt idx="1509">
                  <c:v>39633</c:v>
                </c:pt>
                <c:pt idx="1510">
                  <c:v>39636</c:v>
                </c:pt>
                <c:pt idx="1511">
                  <c:v>39637</c:v>
                </c:pt>
                <c:pt idx="1512">
                  <c:v>39638</c:v>
                </c:pt>
                <c:pt idx="1513">
                  <c:v>39639</c:v>
                </c:pt>
                <c:pt idx="1514">
                  <c:v>39640</c:v>
                </c:pt>
                <c:pt idx="1515">
                  <c:v>39643</c:v>
                </c:pt>
                <c:pt idx="1516">
                  <c:v>39644</c:v>
                </c:pt>
                <c:pt idx="1517">
                  <c:v>39645</c:v>
                </c:pt>
                <c:pt idx="1518">
                  <c:v>39646</c:v>
                </c:pt>
                <c:pt idx="1519">
                  <c:v>39647</c:v>
                </c:pt>
                <c:pt idx="1520">
                  <c:v>39650</c:v>
                </c:pt>
                <c:pt idx="1521">
                  <c:v>39651</c:v>
                </c:pt>
                <c:pt idx="1522">
                  <c:v>39652</c:v>
                </c:pt>
                <c:pt idx="1523">
                  <c:v>39653</c:v>
                </c:pt>
                <c:pt idx="1524">
                  <c:v>39654</c:v>
                </c:pt>
                <c:pt idx="1525">
                  <c:v>39657</c:v>
                </c:pt>
                <c:pt idx="1526">
                  <c:v>39658</c:v>
                </c:pt>
                <c:pt idx="1527">
                  <c:v>39659</c:v>
                </c:pt>
                <c:pt idx="1528">
                  <c:v>39660</c:v>
                </c:pt>
                <c:pt idx="1529">
                  <c:v>39661</c:v>
                </c:pt>
                <c:pt idx="1530">
                  <c:v>39664</c:v>
                </c:pt>
                <c:pt idx="1531">
                  <c:v>39665</c:v>
                </c:pt>
                <c:pt idx="1532">
                  <c:v>39666</c:v>
                </c:pt>
                <c:pt idx="1533">
                  <c:v>39667</c:v>
                </c:pt>
                <c:pt idx="1534">
                  <c:v>39668</c:v>
                </c:pt>
                <c:pt idx="1535">
                  <c:v>39671</c:v>
                </c:pt>
                <c:pt idx="1536">
                  <c:v>39672</c:v>
                </c:pt>
                <c:pt idx="1537">
                  <c:v>39673</c:v>
                </c:pt>
                <c:pt idx="1538">
                  <c:v>39674</c:v>
                </c:pt>
                <c:pt idx="1539">
                  <c:v>39675</c:v>
                </c:pt>
                <c:pt idx="1540">
                  <c:v>39678</c:v>
                </c:pt>
                <c:pt idx="1541">
                  <c:v>39679</c:v>
                </c:pt>
                <c:pt idx="1542">
                  <c:v>39680</c:v>
                </c:pt>
                <c:pt idx="1543">
                  <c:v>39681</c:v>
                </c:pt>
                <c:pt idx="1544">
                  <c:v>39682</c:v>
                </c:pt>
                <c:pt idx="1545">
                  <c:v>39685</c:v>
                </c:pt>
                <c:pt idx="1546">
                  <c:v>39686</c:v>
                </c:pt>
                <c:pt idx="1547">
                  <c:v>39687</c:v>
                </c:pt>
                <c:pt idx="1548">
                  <c:v>39688</c:v>
                </c:pt>
                <c:pt idx="1549">
                  <c:v>39689</c:v>
                </c:pt>
                <c:pt idx="1550">
                  <c:v>39692</c:v>
                </c:pt>
                <c:pt idx="1551">
                  <c:v>39693</c:v>
                </c:pt>
                <c:pt idx="1552">
                  <c:v>39694</c:v>
                </c:pt>
                <c:pt idx="1553">
                  <c:v>39695</c:v>
                </c:pt>
                <c:pt idx="1554">
                  <c:v>39696</c:v>
                </c:pt>
                <c:pt idx="1555">
                  <c:v>39699</c:v>
                </c:pt>
                <c:pt idx="1556">
                  <c:v>39700</c:v>
                </c:pt>
                <c:pt idx="1557">
                  <c:v>39701</c:v>
                </c:pt>
                <c:pt idx="1558">
                  <c:v>39702</c:v>
                </c:pt>
                <c:pt idx="1559">
                  <c:v>39703</c:v>
                </c:pt>
                <c:pt idx="1560">
                  <c:v>39707</c:v>
                </c:pt>
                <c:pt idx="1561">
                  <c:v>39708</c:v>
                </c:pt>
                <c:pt idx="1562">
                  <c:v>39709</c:v>
                </c:pt>
                <c:pt idx="1563">
                  <c:v>39710</c:v>
                </c:pt>
                <c:pt idx="1564">
                  <c:v>39713</c:v>
                </c:pt>
                <c:pt idx="1565">
                  <c:v>39714</c:v>
                </c:pt>
                <c:pt idx="1566">
                  <c:v>39715</c:v>
                </c:pt>
                <c:pt idx="1567">
                  <c:v>39716</c:v>
                </c:pt>
                <c:pt idx="1568">
                  <c:v>39717</c:v>
                </c:pt>
                <c:pt idx="1569">
                  <c:v>39727</c:v>
                </c:pt>
                <c:pt idx="1570">
                  <c:v>39728</c:v>
                </c:pt>
                <c:pt idx="1571">
                  <c:v>39729</c:v>
                </c:pt>
                <c:pt idx="1572">
                  <c:v>39730</c:v>
                </c:pt>
                <c:pt idx="1573">
                  <c:v>39731</c:v>
                </c:pt>
                <c:pt idx="1574">
                  <c:v>39734</c:v>
                </c:pt>
                <c:pt idx="1575">
                  <c:v>39735</c:v>
                </c:pt>
                <c:pt idx="1576">
                  <c:v>39736</c:v>
                </c:pt>
                <c:pt idx="1577">
                  <c:v>39737</c:v>
                </c:pt>
                <c:pt idx="1578">
                  <c:v>39738</c:v>
                </c:pt>
                <c:pt idx="1579">
                  <c:v>39741</c:v>
                </c:pt>
                <c:pt idx="1580">
                  <c:v>39742</c:v>
                </c:pt>
                <c:pt idx="1581">
                  <c:v>39743</c:v>
                </c:pt>
                <c:pt idx="1582">
                  <c:v>39744</c:v>
                </c:pt>
                <c:pt idx="1583">
                  <c:v>39745</c:v>
                </c:pt>
                <c:pt idx="1584">
                  <c:v>39748</c:v>
                </c:pt>
                <c:pt idx="1585">
                  <c:v>39749</c:v>
                </c:pt>
                <c:pt idx="1586">
                  <c:v>39750</c:v>
                </c:pt>
                <c:pt idx="1587">
                  <c:v>39751</c:v>
                </c:pt>
                <c:pt idx="1588">
                  <c:v>39752</c:v>
                </c:pt>
                <c:pt idx="1589">
                  <c:v>39755</c:v>
                </c:pt>
                <c:pt idx="1590">
                  <c:v>39756</c:v>
                </c:pt>
                <c:pt idx="1591">
                  <c:v>39757</c:v>
                </c:pt>
                <c:pt idx="1592">
                  <c:v>39758</c:v>
                </c:pt>
                <c:pt idx="1593">
                  <c:v>39759</c:v>
                </c:pt>
                <c:pt idx="1594">
                  <c:v>39762</c:v>
                </c:pt>
                <c:pt idx="1595">
                  <c:v>39763</c:v>
                </c:pt>
                <c:pt idx="1596">
                  <c:v>39764</c:v>
                </c:pt>
                <c:pt idx="1597">
                  <c:v>39765</c:v>
                </c:pt>
                <c:pt idx="1598">
                  <c:v>39766</c:v>
                </c:pt>
                <c:pt idx="1599">
                  <c:v>39769</c:v>
                </c:pt>
                <c:pt idx="1600">
                  <c:v>39770</c:v>
                </c:pt>
                <c:pt idx="1601">
                  <c:v>39771</c:v>
                </c:pt>
                <c:pt idx="1602">
                  <c:v>39772</c:v>
                </c:pt>
                <c:pt idx="1603">
                  <c:v>39773</c:v>
                </c:pt>
                <c:pt idx="1604">
                  <c:v>39776</c:v>
                </c:pt>
                <c:pt idx="1605">
                  <c:v>39777</c:v>
                </c:pt>
                <c:pt idx="1606">
                  <c:v>39778</c:v>
                </c:pt>
                <c:pt idx="1607">
                  <c:v>39779</c:v>
                </c:pt>
                <c:pt idx="1608">
                  <c:v>39780</c:v>
                </c:pt>
                <c:pt idx="1609">
                  <c:v>39783</c:v>
                </c:pt>
                <c:pt idx="1610">
                  <c:v>39784</c:v>
                </c:pt>
                <c:pt idx="1611">
                  <c:v>39785</c:v>
                </c:pt>
                <c:pt idx="1612">
                  <c:v>39786</c:v>
                </c:pt>
                <c:pt idx="1613">
                  <c:v>39787</c:v>
                </c:pt>
                <c:pt idx="1614">
                  <c:v>39790</c:v>
                </c:pt>
                <c:pt idx="1615">
                  <c:v>39791</c:v>
                </c:pt>
                <c:pt idx="1616">
                  <c:v>39792</c:v>
                </c:pt>
                <c:pt idx="1617">
                  <c:v>39793</c:v>
                </c:pt>
                <c:pt idx="1618">
                  <c:v>39794</c:v>
                </c:pt>
                <c:pt idx="1619">
                  <c:v>39797</c:v>
                </c:pt>
                <c:pt idx="1620">
                  <c:v>39798</c:v>
                </c:pt>
                <c:pt idx="1621">
                  <c:v>39799</c:v>
                </c:pt>
                <c:pt idx="1622">
                  <c:v>39800</c:v>
                </c:pt>
                <c:pt idx="1623">
                  <c:v>39801</c:v>
                </c:pt>
                <c:pt idx="1624">
                  <c:v>39804</c:v>
                </c:pt>
                <c:pt idx="1625">
                  <c:v>39805</c:v>
                </c:pt>
                <c:pt idx="1626">
                  <c:v>39806</c:v>
                </c:pt>
                <c:pt idx="1627">
                  <c:v>39807</c:v>
                </c:pt>
                <c:pt idx="1628">
                  <c:v>39808</c:v>
                </c:pt>
                <c:pt idx="1629">
                  <c:v>39811</c:v>
                </c:pt>
                <c:pt idx="1630">
                  <c:v>39812</c:v>
                </c:pt>
                <c:pt idx="1631">
                  <c:v>39813</c:v>
                </c:pt>
                <c:pt idx="1632">
                  <c:v>39818</c:v>
                </c:pt>
                <c:pt idx="1633">
                  <c:v>39819</c:v>
                </c:pt>
                <c:pt idx="1634">
                  <c:v>39820</c:v>
                </c:pt>
                <c:pt idx="1635">
                  <c:v>39821</c:v>
                </c:pt>
                <c:pt idx="1636">
                  <c:v>39822</c:v>
                </c:pt>
                <c:pt idx="1637">
                  <c:v>39825</c:v>
                </c:pt>
                <c:pt idx="1638">
                  <c:v>39826</c:v>
                </c:pt>
                <c:pt idx="1639">
                  <c:v>39827</c:v>
                </c:pt>
                <c:pt idx="1640">
                  <c:v>39828</c:v>
                </c:pt>
                <c:pt idx="1641">
                  <c:v>39829</c:v>
                </c:pt>
                <c:pt idx="1642">
                  <c:v>39832</c:v>
                </c:pt>
                <c:pt idx="1643">
                  <c:v>39833</c:v>
                </c:pt>
                <c:pt idx="1644">
                  <c:v>39834</c:v>
                </c:pt>
                <c:pt idx="1645">
                  <c:v>39835</c:v>
                </c:pt>
                <c:pt idx="1646">
                  <c:v>39836</c:v>
                </c:pt>
                <c:pt idx="1647">
                  <c:v>39846</c:v>
                </c:pt>
                <c:pt idx="1648">
                  <c:v>39847</c:v>
                </c:pt>
                <c:pt idx="1649">
                  <c:v>39848</c:v>
                </c:pt>
                <c:pt idx="1650">
                  <c:v>39849</c:v>
                </c:pt>
                <c:pt idx="1651">
                  <c:v>39850</c:v>
                </c:pt>
                <c:pt idx="1652">
                  <c:v>39853</c:v>
                </c:pt>
                <c:pt idx="1653">
                  <c:v>39854</c:v>
                </c:pt>
                <c:pt idx="1654">
                  <c:v>39855</c:v>
                </c:pt>
                <c:pt idx="1655">
                  <c:v>39856</c:v>
                </c:pt>
                <c:pt idx="1656">
                  <c:v>39857</c:v>
                </c:pt>
                <c:pt idx="1657">
                  <c:v>39860</c:v>
                </c:pt>
                <c:pt idx="1658">
                  <c:v>39861</c:v>
                </c:pt>
                <c:pt idx="1659">
                  <c:v>39862</c:v>
                </c:pt>
                <c:pt idx="1660">
                  <c:v>39863</c:v>
                </c:pt>
                <c:pt idx="1661">
                  <c:v>39864</c:v>
                </c:pt>
                <c:pt idx="1662">
                  <c:v>39867</c:v>
                </c:pt>
                <c:pt idx="1663">
                  <c:v>39868</c:v>
                </c:pt>
                <c:pt idx="1664">
                  <c:v>39869</c:v>
                </c:pt>
                <c:pt idx="1665">
                  <c:v>39870</c:v>
                </c:pt>
                <c:pt idx="1666">
                  <c:v>39871</c:v>
                </c:pt>
                <c:pt idx="1667">
                  <c:v>39874</c:v>
                </c:pt>
                <c:pt idx="1668">
                  <c:v>39875</c:v>
                </c:pt>
                <c:pt idx="1669">
                  <c:v>39876</c:v>
                </c:pt>
                <c:pt idx="1670">
                  <c:v>39877</c:v>
                </c:pt>
                <c:pt idx="1671">
                  <c:v>39878</c:v>
                </c:pt>
                <c:pt idx="1672">
                  <c:v>39881</c:v>
                </c:pt>
                <c:pt idx="1673">
                  <c:v>39882</c:v>
                </c:pt>
                <c:pt idx="1674">
                  <c:v>39883</c:v>
                </c:pt>
                <c:pt idx="1675">
                  <c:v>39884</c:v>
                </c:pt>
                <c:pt idx="1676">
                  <c:v>39885</c:v>
                </c:pt>
                <c:pt idx="1677">
                  <c:v>39888</c:v>
                </c:pt>
                <c:pt idx="1678">
                  <c:v>39889</c:v>
                </c:pt>
                <c:pt idx="1679">
                  <c:v>39890</c:v>
                </c:pt>
                <c:pt idx="1680">
                  <c:v>39891</c:v>
                </c:pt>
                <c:pt idx="1681">
                  <c:v>39892</c:v>
                </c:pt>
                <c:pt idx="1682">
                  <c:v>39895</c:v>
                </c:pt>
                <c:pt idx="1683">
                  <c:v>39896</c:v>
                </c:pt>
                <c:pt idx="1684">
                  <c:v>39897</c:v>
                </c:pt>
                <c:pt idx="1685">
                  <c:v>39898</c:v>
                </c:pt>
                <c:pt idx="1686">
                  <c:v>39899</c:v>
                </c:pt>
                <c:pt idx="1687">
                  <c:v>39902</c:v>
                </c:pt>
                <c:pt idx="1688">
                  <c:v>39903</c:v>
                </c:pt>
                <c:pt idx="1689">
                  <c:v>39904</c:v>
                </c:pt>
                <c:pt idx="1690">
                  <c:v>39905</c:v>
                </c:pt>
                <c:pt idx="1691">
                  <c:v>39906</c:v>
                </c:pt>
                <c:pt idx="1692">
                  <c:v>39910</c:v>
                </c:pt>
                <c:pt idx="1693">
                  <c:v>39911</c:v>
                </c:pt>
                <c:pt idx="1694">
                  <c:v>39912</c:v>
                </c:pt>
                <c:pt idx="1695">
                  <c:v>39913</c:v>
                </c:pt>
                <c:pt idx="1696">
                  <c:v>39916</c:v>
                </c:pt>
                <c:pt idx="1697">
                  <c:v>39917</c:v>
                </c:pt>
                <c:pt idx="1698">
                  <c:v>39918</c:v>
                </c:pt>
                <c:pt idx="1699">
                  <c:v>39919</c:v>
                </c:pt>
                <c:pt idx="1700">
                  <c:v>39920</c:v>
                </c:pt>
                <c:pt idx="1701">
                  <c:v>39923</c:v>
                </c:pt>
                <c:pt idx="1702">
                  <c:v>39924</c:v>
                </c:pt>
                <c:pt idx="1703">
                  <c:v>39925</c:v>
                </c:pt>
                <c:pt idx="1704">
                  <c:v>39926</c:v>
                </c:pt>
                <c:pt idx="1705">
                  <c:v>39927</c:v>
                </c:pt>
                <c:pt idx="1706">
                  <c:v>39930</c:v>
                </c:pt>
                <c:pt idx="1707">
                  <c:v>39931</c:v>
                </c:pt>
                <c:pt idx="1708">
                  <c:v>39932</c:v>
                </c:pt>
                <c:pt idx="1709">
                  <c:v>39933</c:v>
                </c:pt>
                <c:pt idx="1710">
                  <c:v>39937</c:v>
                </c:pt>
                <c:pt idx="1711">
                  <c:v>39938</c:v>
                </c:pt>
                <c:pt idx="1712">
                  <c:v>39939</c:v>
                </c:pt>
                <c:pt idx="1713">
                  <c:v>39940</c:v>
                </c:pt>
                <c:pt idx="1714">
                  <c:v>39941</c:v>
                </c:pt>
                <c:pt idx="1715">
                  <c:v>39944</c:v>
                </c:pt>
                <c:pt idx="1716">
                  <c:v>39945</c:v>
                </c:pt>
                <c:pt idx="1717">
                  <c:v>39946</c:v>
                </c:pt>
                <c:pt idx="1718">
                  <c:v>39947</c:v>
                </c:pt>
                <c:pt idx="1719">
                  <c:v>39948</c:v>
                </c:pt>
                <c:pt idx="1720">
                  <c:v>39951</c:v>
                </c:pt>
                <c:pt idx="1721">
                  <c:v>39952</c:v>
                </c:pt>
                <c:pt idx="1722">
                  <c:v>39953</c:v>
                </c:pt>
                <c:pt idx="1723">
                  <c:v>39954</c:v>
                </c:pt>
                <c:pt idx="1724">
                  <c:v>39955</c:v>
                </c:pt>
                <c:pt idx="1725">
                  <c:v>39958</c:v>
                </c:pt>
                <c:pt idx="1726">
                  <c:v>39959</c:v>
                </c:pt>
                <c:pt idx="1727">
                  <c:v>39960</c:v>
                </c:pt>
                <c:pt idx="1728">
                  <c:v>39965</c:v>
                </c:pt>
                <c:pt idx="1729">
                  <c:v>39966</c:v>
                </c:pt>
                <c:pt idx="1730">
                  <c:v>39967</c:v>
                </c:pt>
                <c:pt idx="1731">
                  <c:v>39968</c:v>
                </c:pt>
                <c:pt idx="1732">
                  <c:v>39969</c:v>
                </c:pt>
                <c:pt idx="1733">
                  <c:v>39972</c:v>
                </c:pt>
                <c:pt idx="1734">
                  <c:v>39973</c:v>
                </c:pt>
                <c:pt idx="1735">
                  <c:v>39974</c:v>
                </c:pt>
                <c:pt idx="1736">
                  <c:v>39975</c:v>
                </c:pt>
                <c:pt idx="1737">
                  <c:v>39976</c:v>
                </c:pt>
                <c:pt idx="1738">
                  <c:v>39979</c:v>
                </c:pt>
                <c:pt idx="1739">
                  <c:v>39980</c:v>
                </c:pt>
                <c:pt idx="1740">
                  <c:v>39981</c:v>
                </c:pt>
                <c:pt idx="1741">
                  <c:v>39982</c:v>
                </c:pt>
                <c:pt idx="1742">
                  <c:v>39983</c:v>
                </c:pt>
                <c:pt idx="1743">
                  <c:v>39986</c:v>
                </c:pt>
                <c:pt idx="1744">
                  <c:v>39987</c:v>
                </c:pt>
                <c:pt idx="1745">
                  <c:v>39988</c:v>
                </c:pt>
                <c:pt idx="1746">
                  <c:v>39989</c:v>
                </c:pt>
                <c:pt idx="1747">
                  <c:v>39990</c:v>
                </c:pt>
                <c:pt idx="1748">
                  <c:v>39993</c:v>
                </c:pt>
                <c:pt idx="1749">
                  <c:v>39994</c:v>
                </c:pt>
                <c:pt idx="1750">
                  <c:v>39995</c:v>
                </c:pt>
                <c:pt idx="1751">
                  <c:v>39996</c:v>
                </c:pt>
                <c:pt idx="1752">
                  <c:v>39997</c:v>
                </c:pt>
                <c:pt idx="1753">
                  <c:v>40000</c:v>
                </c:pt>
                <c:pt idx="1754">
                  <c:v>40001</c:v>
                </c:pt>
                <c:pt idx="1755">
                  <c:v>40002</c:v>
                </c:pt>
                <c:pt idx="1756">
                  <c:v>40003</c:v>
                </c:pt>
                <c:pt idx="1757">
                  <c:v>40004</c:v>
                </c:pt>
                <c:pt idx="1758">
                  <c:v>40007</c:v>
                </c:pt>
                <c:pt idx="1759">
                  <c:v>40008</c:v>
                </c:pt>
                <c:pt idx="1760">
                  <c:v>40009</c:v>
                </c:pt>
                <c:pt idx="1761">
                  <c:v>40010</c:v>
                </c:pt>
                <c:pt idx="1762">
                  <c:v>40011</c:v>
                </c:pt>
                <c:pt idx="1763">
                  <c:v>40014</c:v>
                </c:pt>
                <c:pt idx="1764">
                  <c:v>40015</c:v>
                </c:pt>
                <c:pt idx="1765">
                  <c:v>40016</c:v>
                </c:pt>
                <c:pt idx="1766">
                  <c:v>40017</c:v>
                </c:pt>
                <c:pt idx="1767">
                  <c:v>40018</c:v>
                </c:pt>
                <c:pt idx="1768">
                  <c:v>40021</c:v>
                </c:pt>
                <c:pt idx="1769">
                  <c:v>40022</c:v>
                </c:pt>
                <c:pt idx="1770">
                  <c:v>40023</c:v>
                </c:pt>
                <c:pt idx="1771">
                  <c:v>40024</c:v>
                </c:pt>
                <c:pt idx="1772">
                  <c:v>40025</c:v>
                </c:pt>
                <c:pt idx="1773">
                  <c:v>40028</c:v>
                </c:pt>
                <c:pt idx="1774">
                  <c:v>40029</c:v>
                </c:pt>
                <c:pt idx="1775">
                  <c:v>40030</c:v>
                </c:pt>
                <c:pt idx="1776">
                  <c:v>40031</c:v>
                </c:pt>
                <c:pt idx="1777">
                  <c:v>40032</c:v>
                </c:pt>
                <c:pt idx="1778">
                  <c:v>40035</c:v>
                </c:pt>
                <c:pt idx="1779">
                  <c:v>40036</c:v>
                </c:pt>
                <c:pt idx="1780">
                  <c:v>40037</c:v>
                </c:pt>
                <c:pt idx="1781">
                  <c:v>40038</c:v>
                </c:pt>
                <c:pt idx="1782">
                  <c:v>40039</c:v>
                </c:pt>
                <c:pt idx="1783">
                  <c:v>40042</c:v>
                </c:pt>
                <c:pt idx="1784">
                  <c:v>40043</c:v>
                </c:pt>
                <c:pt idx="1785">
                  <c:v>40044</c:v>
                </c:pt>
                <c:pt idx="1786">
                  <c:v>40045</c:v>
                </c:pt>
                <c:pt idx="1787">
                  <c:v>40046</c:v>
                </c:pt>
                <c:pt idx="1788">
                  <c:v>40049</c:v>
                </c:pt>
                <c:pt idx="1789">
                  <c:v>40050</c:v>
                </c:pt>
                <c:pt idx="1790">
                  <c:v>40051</c:v>
                </c:pt>
                <c:pt idx="1791">
                  <c:v>40052</c:v>
                </c:pt>
                <c:pt idx="1792">
                  <c:v>40053</c:v>
                </c:pt>
                <c:pt idx="1793">
                  <c:v>40056</c:v>
                </c:pt>
                <c:pt idx="1794">
                  <c:v>40057</c:v>
                </c:pt>
                <c:pt idx="1795">
                  <c:v>40058</c:v>
                </c:pt>
                <c:pt idx="1796">
                  <c:v>40059</c:v>
                </c:pt>
                <c:pt idx="1797">
                  <c:v>40060</c:v>
                </c:pt>
                <c:pt idx="1798">
                  <c:v>40063</c:v>
                </c:pt>
                <c:pt idx="1799">
                  <c:v>40064</c:v>
                </c:pt>
                <c:pt idx="1800">
                  <c:v>40065</c:v>
                </c:pt>
                <c:pt idx="1801">
                  <c:v>40066</c:v>
                </c:pt>
                <c:pt idx="1802">
                  <c:v>40067</c:v>
                </c:pt>
                <c:pt idx="1803">
                  <c:v>40070</c:v>
                </c:pt>
                <c:pt idx="1804">
                  <c:v>40071</c:v>
                </c:pt>
                <c:pt idx="1805">
                  <c:v>40072</c:v>
                </c:pt>
                <c:pt idx="1806">
                  <c:v>40073</c:v>
                </c:pt>
                <c:pt idx="1807">
                  <c:v>40074</c:v>
                </c:pt>
                <c:pt idx="1808">
                  <c:v>40077</c:v>
                </c:pt>
                <c:pt idx="1809">
                  <c:v>40078</c:v>
                </c:pt>
                <c:pt idx="1810">
                  <c:v>40079</c:v>
                </c:pt>
                <c:pt idx="1811">
                  <c:v>40080</c:v>
                </c:pt>
                <c:pt idx="1812">
                  <c:v>40081</c:v>
                </c:pt>
                <c:pt idx="1813">
                  <c:v>40084</c:v>
                </c:pt>
                <c:pt idx="1814">
                  <c:v>40085</c:v>
                </c:pt>
                <c:pt idx="1815">
                  <c:v>40086</c:v>
                </c:pt>
                <c:pt idx="1816">
                  <c:v>40095</c:v>
                </c:pt>
                <c:pt idx="1817">
                  <c:v>40098</c:v>
                </c:pt>
                <c:pt idx="1818">
                  <c:v>40099</c:v>
                </c:pt>
                <c:pt idx="1819">
                  <c:v>40100</c:v>
                </c:pt>
                <c:pt idx="1820">
                  <c:v>40101</c:v>
                </c:pt>
                <c:pt idx="1821">
                  <c:v>40102</c:v>
                </c:pt>
                <c:pt idx="1822">
                  <c:v>40105</c:v>
                </c:pt>
                <c:pt idx="1823">
                  <c:v>40106</c:v>
                </c:pt>
                <c:pt idx="1824">
                  <c:v>40107</c:v>
                </c:pt>
                <c:pt idx="1825">
                  <c:v>40108</c:v>
                </c:pt>
                <c:pt idx="1826">
                  <c:v>40109</c:v>
                </c:pt>
                <c:pt idx="1827">
                  <c:v>40112</c:v>
                </c:pt>
                <c:pt idx="1828">
                  <c:v>40113</c:v>
                </c:pt>
                <c:pt idx="1829">
                  <c:v>40114</c:v>
                </c:pt>
                <c:pt idx="1830">
                  <c:v>40115</c:v>
                </c:pt>
                <c:pt idx="1831">
                  <c:v>40116</c:v>
                </c:pt>
                <c:pt idx="1832">
                  <c:v>40119</c:v>
                </c:pt>
                <c:pt idx="1833">
                  <c:v>40120</c:v>
                </c:pt>
                <c:pt idx="1834">
                  <c:v>40121</c:v>
                </c:pt>
                <c:pt idx="1835">
                  <c:v>40122</c:v>
                </c:pt>
                <c:pt idx="1836">
                  <c:v>40123</c:v>
                </c:pt>
                <c:pt idx="1837">
                  <c:v>40126</c:v>
                </c:pt>
                <c:pt idx="1838">
                  <c:v>40127</c:v>
                </c:pt>
                <c:pt idx="1839">
                  <c:v>40128</c:v>
                </c:pt>
                <c:pt idx="1840">
                  <c:v>40129</c:v>
                </c:pt>
                <c:pt idx="1841">
                  <c:v>40130</c:v>
                </c:pt>
                <c:pt idx="1842">
                  <c:v>40133</c:v>
                </c:pt>
                <c:pt idx="1843">
                  <c:v>40134</c:v>
                </c:pt>
                <c:pt idx="1844">
                  <c:v>40135</c:v>
                </c:pt>
                <c:pt idx="1845">
                  <c:v>40136</c:v>
                </c:pt>
                <c:pt idx="1846">
                  <c:v>40137</c:v>
                </c:pt>
                <c:pt idx="1847">
                  <c:v>40140</c:v>
                </c:pt>
                <c:pt idx="1848">
                  <c:v>40141</c:v>
                </c:pt>
                <c:pt idx="1849">
                  <c:v>40142</c:v>
                </c:pt>
                <c:pt idx="1850">
                  <c:v>40143</c:v>
                </c:pt>
                <c:pt idx="1851">
                  <c:v>40144</c:v>
                </c:pt>
                <c:pt idx="1852">
                  <c:v>40147</c:v>
                </c:pt>
                <c:pt idx="1853">
                  <c:v>40148</c:v>
                </c:pt>
                <c:pt idx="1854">
                  <c:v>40149</c:v>
                </c:pt>
                <c:pt idx="1855">
                  <c:v>40150</c:v>
                </c:pt>
                <c:pt idx="1856">
                  <c:v>40151</c:v>
                </c:pt>
                <c:pt idx="1857">
                  <c:v>40154</c:v>
                </c:pt>
                <c:pt idx="1858">
                  <c:v>40155</c:v>
                </c:pt>
                <c:pt idx="1859">
                  <c:v>40156</c:v>
                </c:pt>
                <c:pt idx="1860">
                  <c:v>40157</c:v>
                </c:pt>
                <c:pt idx="1861">
                  <c:v>40158</c:v>
                </c:pt>
                <c:pt idx="1862">
                  <c:v>40161</c:v>
                </c:pt>
                <c:pt idx="1863">
                  <c:v>40162</c:v>
                </c:pt>
                <c:pt idx="1864">
                  <c:v>40163</c:v>
                </c:pt>
                <c:pt idx="1865">
                  <c:v>40164</c:v>
                </c:pt>
                <c:pt idx="1866">
                  <c:v>40165</c:v>
                </c:pt>
                <c:pt idx="1867">
                  <c:v>40168</c:v>
                </c:pt>
                <c:pt idx="1868">
                  <c:v>40169</c:v>
                </c:pt>
                <c:pt idx="1869">
                  <c:v>40170</c:v>
                </c:pt>
                <c:pt idx="1870">
                  <c:v>40171</c:v>
                </c:pt>
                <c:pt idx="1871">
                  <c:v>40172</c:v>
                </c:pt>
                <c:pt idx="1872">
                  <c:v>40175</c:v>
                </c:pt>
                <c:pt idx="1873">
                  <c:v>40176</c:v>
                </c:pt>
                <c:pt idx="1874">
                  <c:v>40177</c:v>
                </c:pt>
                <c:pt idx="1875">
                  <c:v>40178</c:v>
                </c:pt>
                <c:pt idx="1876">
                  <c:v>40182</c:v>
                </c:pt>
                <c:pt idx="1877">
                  <c:v>40183</c:v>
                </c:pt>
                <c:pt idx="1878">
                  <c:v>40184</c:v>
                </c:pt>
                <c:pt idx="1879">
                  <c:v>40185</c:v>
                </c:pt>
                <c:pt idx="1880">
                  <c:v>40186</c:v>
                </c:pt>
                <c:pt idx="1881">
                  <c:v>40189</c:v>
                </c:pt>
                <c:pt idx="1882">
                  <c:v>40190</c:v>
                </c:pt>
                <c:pt idx="1883">
                  <c:v>40191</c:v>
                </c:pt>
                <c:pt idx="1884">
                  <c:v>40192</c:v>
                </c:pt>
                <c:pt idx="1885">
                  <c:v>40193</c:v>
                </c:pt>
                <c:pt idx="1886">
                  <c:v>40196</c:v>
                </c:pt>
                <c:pt idx="1887">
                  <c:v>40197</c:v>
                </c:pt>
                <c:pt idx="1888">
                  <c:v>40198</c:v>
                </c:pt>
                <c:pt idx="1889">
                  <c:v>40199</c:v>
                </c:pt>
                <c:pt idx="1890">
                  <c:v>40200</c:v>
                </c:pt>
                <c:pt idx="1891">
                  <c:v>40203</c:v>
                </c:pt>
                <c:pt idx="1892">
                  <c:v>40204</c:v>
                </c:pt>
                <c:pt idx="1893">
                  <c:v>40205</c:v>
                </c:pt>
                <c:pt idx="1894">
                  <c:v>40206</c:v>
                </c:pt>
                <c:pt idx="1895">
                  <c:v>40207</c:v>
                </c:pt>
                <c:pt idx="1896">
                  <c:v>40210</c:v>
                </c:pt>
                <c:pt idx="1897">
                  <c:v>40211</c:v>
                </c:pt>
                <c:pt idx="1898">
                  <c:v>40212</c:v>
                </c:pt>
                <c:pt idx="1899">
                  <c:v>40213</c:v>
                </c:pt>
                <c:pt idx="1900">
                  <c:v>40214</c:v>
                </c:pt>
                <c:pt idx="1901">
                  <c:v>40217</c:v>
                </c:pt>
                <c:pt idx="1902">
                  <c:v>40218</c:v>
                </c:pt>
                <c:pt idx="1903">
                  <c:v>40219</c:v>
                </c:pt>
                <c:pt idx="1904">
                  <c:v>40220</c:v>
                </c:pt>
                <c:pt idx="1905">
                  <c:v>40221</c:v>
                </c:pt>
                <c:pt idx="1906">
                  <c:v>40231</c:v>
                </c:pt>
                <c:pt idx="1907">
                  <c:v>40232</c:v>
                </c:pt>
                <c:pt idx="1908">
                  <c:v>40233</c:v>
                </c:pt>
                <c:pt idx="1909">
                  <c:v>40234</c:v>
                </c:pt>
                <c:pt idx="1910">
                  <c:v>40235</c:v>
                </c:pt>
                <c:pt idx="1911">
                  <c:v>40238</c:v>
                </c:pt>
                <c:pt idx="1912">
                  <c:v>40239</c:v>
                </c:pt>
                <c:pt idx="1913">
                  <c:v>40240</c:v>
                </c:pt>
                <c:pt idx="1914">
                  <c:v>40241</c:v>
                </c:pt>
                <c:pt idx="1915">
                  <c:v>40242</c:v>
                </c:pt>
                <c:pt idx="1916">
                  <c:v>40245</c:v>
                </c:pt>
                <c:pt idx="1917">
                  <c:v>40246</c:v>
                </c:pt>
                <c:pt idx="1918">
                  <c:v>40247</c:v>
                </c:pt>
                <c:pt idx="1919">
                  <c:v>40248</c:v>
                </c:pt>
                <c:pt idx="1920">
                  <c:v>40249</c:v>
                </c:pt>
                <c:pt idx="1921">
                  <c:v>40252</c:v>
                </c:pt>
                <c:pt idx="1922">
                  <c:v>40253</c:v>
                </c:pt>
                <c:pt idx="1923">
                  <c:v>40254</c:v>
                </c:pt>
                <c:pt idx="1924">
                  <c:v>40255</c:v>
                </c:pt>
                <c:pt idx="1925">
                  <c:v>40256</c:v>
                </c:pt>
                <c:pt idx="1926">
                  <c:v>40259</c:v>
                </c:pt>
                <c:pt idx="1927">
                  <c:v>40260</c:v>
                </c:pt>
                <c:pt idx="1928">
                  <c:v>40261</c:v>
                </c:pt>
                <c:pt idx="1929">
                  <c:v>40262</c:v>
                </c:pt>
                <c:pt idx="1930">
                  <c:v>40263</c:v>
                </c:pt>
                <c:pt idx="1931">
                  <c:v>40266</c:v>
                </c:pt>
                <c:pt idx="1932">
                  <c:v>40267</c:v>
                </c:pt>
                <c:pt idx="1933">
                  <c:v>40268</c:v>
                </c:pt>
                <c:pt idx="1934">
                  <c:v>40269</c:v>
                </c:pt>
                <c:pt idx="1935">
                  <c:v>40270</c:v>
                </c:pt>
                <c:pt idx="1936">
                  <c:v>40274</c:v>
                </c:pt>
                <c:pt idx="1937">
                  <c:v>40275</c:v>
                </c:pt>
                <c:pt idx="1938">
                  <c:v>40276</c:v>
                </c:pt>
                <c:pt idx="1939">
                  <c:v>40277</c:v>
                </c:pt>
                <c:pt idx="1940">
                  <c:v>40280</c:v>
                </c:pt>
                <c:pt idx="1941">
                  <c:v>40281</c:v>
                </c:pt>
                <c:pt idx="1942">
                  <c:v>40282</c:v>
                </c:pt>
                <c:pt idx="1943">
                  <c:v>40283</c:v>
                </c:pt>
                <c:pt idx="1944">
                  <c:v>40284</c:v>
                </c:pt>
                <c:pt idx="1945">
                  <c:v>40287</c:v>
                </c:pt>
                <c:pt idx="1946">
                  <c:v>40288</c:v>
                </c:pt>
                <c:pt idx="1947">
                  <c:v>40289</c:v>
                </c:pt>
                <c:pt idx="1948">
                  <c:v>40290</c:v>
                </c:pt>
                <c:pt idx="1949">
                  <c:v>40291</c:v>
                </c:pt>
                <c:pt idx="1950">
                  <c:v>40294</c:v>
                </c:pt>
                <c:pt idx="1951">
                  <c:v>40295</c:v>
                </c:pt>
                <c:pt idx="1952">
                  <c:v>40296</c:v>
                </c:pt>
                <c:pt idx="1953">
                  <c:v>40297</c:v>
                </c:pt>
                <c:pt idx="1954">
                  <c:v>40298</c:v>
                </c:pt>
                <c:pt idx="1955">
                  <c:v>40302</c:v>
                </c:pt>
                <c:pt idx="1956">
                  <c:v>40303</c:v>
                </c:pt>
                <c:pt idx="1957">
                  <c:v>40304</c:v>
                </c:pt>
                <c:pt idx="1958">
                  <c:v>40305</c:v>
                </c:pt>
                <c:pt idx="1959">
                  <c:v>40308</c:v>
                </c:pt>
                <c:pt idx="1960">
                  <c:v>40309</c:v>
                </c:pt>
                <c:pt idx="1961">
                  <c:v>40310</c:v>
                </c:pt>
                <c:pt idx="1962">
                  <c:v>40311</c:v>
                </c:pt>
                <c:pt idx="1963">
                  <c:v>40312</c:v>
                </c:pt>
                <c:pt idx="1964">
                  <c:v>40315</c:v>
                </c:pt>
                <c:pt idx="1965">
                  <c:v>40316</c:v>
                </c:pt>
                <c:pt idx="1966">
                  <c:v>40317</c:v>
                </c:pt>
                <c:pt idx="1967">
                  <c:v>40318</c:v>
                </c:pt>
                <c:pt idx="1968">
                  <c:v>40319</c:v>
                </c:pt>
                <c:pt idx="1969">
                  <c:v>40322</c:v>
                </c:pt>
                <c:pt idx="1970">
                  <c:v>40323</c:v>
                </c:pt>
                <c:pt idx="1971">
                  <c:v>40324</c:v>
                </c:pt>
                <c:pt idx="1972">
                  <c:v>40325</c:v>
                </c:pt>
                <c:pt idx="1973">
                  <c:v>40326</c:v>
                </c:pt>
                <c:pt idx="1974">
                  <c:v>40329</c:v>
                </c:pt>
                <c:pt idx="1975">
                  <c:v>40330</c:v>
                </c:pt>
                <c:pt idx="1976">
                  <c:v>40331</c:v>
                </c:pt>
                <c:pt idx="1977">
                  <c:v>40332</c:v>
                </c:pt>
                <c:pt idx="1978">
                  <c:v>40333</c:v>
                </c:pt>
                <c:pt idx="1979">
                  <c:v>40336</c:v>
                </c:pt>
                <c:pt idx="1980">
                  <c:v>40337</c:v>
                </c:pt>
                <c:pt idx="1981">
                  <c:v>40338</c:v>
                </c:pt>
                <c:pt idx="1982">
                  <c:v>40339</c:v>
                </c:pt>
                <c:pt idx="1983">
                  <c:v>40340</c:v>
                </c:pt>
                <c:pt idx="1984">
                  <c:v>40346</c:v>
                </c:pt>
                <c:pt idx="1985">
                  <c:v>40347</c:v>
                </c:pt>
                <c:pt idx="1986">
                  <c:v>40350</c:v>
                </c:pt>
                <c:pt idx="1987">
                  <c:v>40351</c:v>
                </c:pt>
                <c:pt idx="1988">
                  <c:v>40352</c:v>
                </c:pt>
                <c:pt idx="1989">
                  <c:v>40353</c:v>
                </c:pt>
                <c:pt idx="1990">
                  <c:v>40354</c:v>
                </c:pt>
                <c:pt idx="1991">
                  <c:v>40357</c:v>
                </c:pt>
                <c:pt idx="1992">
                  <c:v>40358</c:v>
                </c:pt>
                <c:pt idx="1993">
                  <c:v>40359</c:v>
                </c:pt>
                <c:pt idx="1994">
                  <c:v>40360</c:v>
                </c:pt>
                <c:pt idx="1995">
                  <c:v>40361</c:v>
                </c:pt>
                <c:pt idx="1996">
                  <c:v>40364</c:v>
                </c:pt>
                <c:pt idx="1997">
                  <c:v>40365</c:v>
                </c:pt>
                <c:pt idx="1998">
                  <c:v>40366</c:v>
                </c:pt>
                <c:pt idx="1999">
                  <c:v>40367</c:v>
                </c:pt>
                <c:pt idx="2000">
                  <c:v>40368</c:v>
                </c:pt>
                <c:pt idx="2001">
                  <c:v>40371</c:v>
                </c:pt>
                <c:pt idx="2002">
                  <c:v>40372</c:v>
                </c:pt>
                <c:pt idx="2003">
                  <c:v>40373</c:v>
                </c:pt>
                <c:pt idx="2004">
                  <c:v>40374</c:v>
                </c:pt>
                <c:pt idx="2005">
                  <c:v>40375</c:v>
                </c:pt>
                <c:pt idx="2006">
                  <c:v>40378</c:v>
                </c:pt>
                <c:pt idx="2007">
                  <c:v>40379</c:v>
                </c:pt>
                <c:pt idx="2008">
                  <c:v>40380</c:v>
                </c:pt>
                <c:pt idx="2009">
                  <c:v>40381</c:v>
                </c:pt>
                <c:pt idx="2010">
                  <c:v>40382</c:v>
                </c:pt>
                <c:pt idx="2011">
                  <c:v>40385</c:v>
                </c:pt>
                <c:pt idx="2012">
                  <c:v>40386</c:v>
                </c:pt>
                <c:pt idx="2013">
                  <c:v>40387</c:v>
                </c:pt>
                <c:pt idx="2014">
                  <c:v>40388</c:v>
                </c:pt>
                <c:pt idx="2015">
                  <c:v>40389</c:v>
                </c:pt>
                <c:pt idx="2016">
                  <c:v>40392</c:v>
                </c:pt>
                <c:pt idx="2017">
                  <c:v>40393</c:v>
                </c:pt>
                <c:pt idx="2018">
                  <c:v>40394</c:v>
                </c:pt>
                <c:pt idx="2019">
                  <c:v>40395</c:v>
                </c:pt>
                <c:pt idx="2020">
                  <c:v>40396</c:v>
                </c:pt>
                <c:pt idx="2021">
                  <c:v>40399</c:v>
                </c:pt>
                <c:pt idx="2022">
                  <c:v>40400</c:v>
                </c:pt>
                <c:pt idx="2023">
                  <c:v>40401</c:v>
                </c:pt>
                <c:pt idx="2024">
                  <c:v>40402</c:v>
                </c:pt>
                <c:pt idx="2025">
                  <c:v>40403</c:v>
                </c:pt>
                <c:pt idx="2026">
                  <c:v>40406</c:v>
                </c:pt>
                <c:pt idx="2027">
                  <c:v>40407</c:v>
                </c:pt>
                <c:pt idx="2028">
                  <c:v>40408</c:v>
                </c:pt>
                <c:pt idx="2029">
                  <c:v>40409</c:v>
                </c:pt>
                <c:pt idx="2030">
                  <c:v>40410</c:v>
                </c:pt>
                <c:pt idx="2031">
                  <c:v>40413</c:v>
                </c:pt>
                <c:pt idx="2032">
                  <c:v>40414</c:v>
                </c:pt>
                <c:pt idx="2033">
                  <c:v>40415</c:v>
                </c:pt>
                <c:pt idx="2034">
                  <c:v>40416</c:v>
                </c:pt>
                <c:pt idx="2035">
                  <c:v>40417</c:v>
                </c:pt>
                <c:pt idx="2036">
                  <c:v>40420</c:v>
                </c:pt>
                <c:pt idx="2037">
                  <c:v>40421</c:v>
                </c:pt>
                <c:pt idx="2038">
                  <c:v>40422</c:v>
                </c:pt>
                <c:pt idx="2039">
                  <c:v>40423</c:v>
                </c:pt>
                <c:pt idx="2040">
                  <c:v>40424</c:v>
                </c:pt>
                <c:pt idx="2041">
                  <c:v>40427</c:v>
                </c:pt>
                <c:pt idx="2042">
                  <c:v>40428</c:v>
                </c:pt>
                <c:pt idx="2043">
                  <c:v>40429</c:v>
                </c:pt>
                <c:pt idx="2044">
                  <c:v>40430</c:v>
                </c:pt>
                <c:pt idx="2045">
                  <c:v>40431</c:v>
                </c:pt>
                <c:pt idx="2046">
                  <c:v>40434</c:v>
                </c:pt>
                <c:pt idx="2047">
                  <c:v>40435</c:v>
                </c:pt>
                <c:pt idx="2048">
                  <c:v>40436</c:v>
                </c:pt>
                <c:pt idx="2049">
                  <c:v>40437</c:v>
                </c:pt>
                <c:pt idx="2050">
                  <c:v>40438</c:v>
                </c:pt>
                <c:pt idx="2051">
                  <c:v>40441</c:v>
                </c:pt>
                <c:pt idx="2052">
                  <c:v>40442</c:v>
                </c:pt>
                <c:pt idx="2053">
                  <c:v>40448</c:v>
                </c:pt>
                <c:pt idx="2054">
                  <c:v>40449</c:v>
                </c:pt>
                <c:pt idx="2055">
                  <c:v>40450</c:v>
                </c:pt>
                <c:pt idx="2056">
                  <c:v>40451</c:v>
                </c:pt>
                <c:pt idx="2057">
                  <c:v>40459</c:v>
                </c:pt>
                <c:pt idx="2058">
                  <c:v>40462</c:v>
                </c:pt>
                <c:pt idx="2059">
                  <c:v>40463</c:v>
                </c:pt>
                <c:pt idx="2060">
                  <c:v>40464</c:v>
                </c:pt>
                <c:pt idx="2061">
                  <c:v>40465</c:v>
                </c:pt>
                <c:pt idx="2062">
                  <c:v>40466</c:v>
                </c:pt>
                <c:pt idx="2063">
                  <c:v>40469</c:v>
                </c:pt>
                <c:pt idx="2064">
                  <c:v>40470</c:v>
                </c:pt>
                <c:pt idx="2065">
                  <c:v>40471</c:v>
                </c:pt>
                <c:pt idx="2066">
                  <c:v>40472</c:v>
                </c:pt>
                <c:pt idx="2067">
                  <c:v>40473</c:v>
                </c:pt>
                <c:pt idx="2068">
                  <c:v>40476</c:v>
                </c:pt>
                <c:pt idx="2069">
                  <c:v>40477</c:v>
                </c:pt>
                <c:pt idx="2070">
                  <c:v>40478</c:v>
                </c:pt>
                <c:pt idx="2071">
                  <c:v>40479</c:v>
                </c:pt>
                <c:pt idx="2072">
                  <c:v>40480</c:v>
                </c:pt>
                <c:pt idx="2073">
                  <c:v>40483</c:v>
                </c:pt>
                <c:pt idx="2074">
                  <c:v>40484</c:v>
                </c:pt>
                <c:pt idx="2075">
                  <c:v>40485</c:v>
                </c:pt>
                <c:pt idx="2076">
                  <c:v>40486</c:v>
                </c:pt>
                <c:pt idx="2077">
                  <c:v>40487</c:v>
                </c:pt>
                <c:pt idx="2078">
                  <c:v>40490</c:v>
                </c:pt>
                <c:pt idx="2079">
                  <c:v>40491</c:v>
                </c:pt>
                <c:pt idx="2080">
                  <c:v>40492</c:v>
                </c:pt>
                <c:pt idx="2081">
                  <c:v>40493</c:v>
                </c:pt>
                <c:pt idx="2082">
                  <c:v>40494</c:v>
                </c:pt>
                <c:pt idx="2083">
                  <c:v>40497</c:v>
                </c:pt>
                <c:pt idx="2084">
                  <c:v>40498</c:v>
                </c:pt>
                <c:pt idx="2085">
                  <c:v>40499</c:v>
                </c:pt>
                <c:pt idx="2086">
                  <c:v>40500</c:v>
                </c:pt>
                <c:pt idx="2087">
                  <c:v>40501</c:v>
                </c:pt>
                <c:pt idx="2088">
                  <c:v>40504</c:v>
                </c:pt>
                <c:pt idx="2089">
                  <c:v>40505</c:v>
                </c:pt>
                <c:pt idx="2090">
                  <c:v>40506</c:v>
                </c:pt>
                <c:pt idx="2091">
                  <c:v>40507</c:v>
                </c:pt>
                <c:pt idx="2092">
                  <c:v>40508</c:v>
                </c:pt>
                <c:pt idx="2093">
                  <c:v>40511</c:v>
                </c:pt>
                <c:pt idx="2094">
                  <c:v>40512</c:v>
                </c:pt>
                <c:pt idx="2095">
                  <c:v>40513</c:v>
                </c:pt>
                <c:pt idx="2096">
                  <c:v>40514</c:v>
                </c:pt>
                <c:pt idx="2097">
                  <c:v>40515</c:v>
                </c:pt>
                <c:pt idx="2098">
                  <c:v>40518</c:v>
                </c:pt>
                <c:pt idx="2099">
                  <c:v>40519</c:v>
                </c:pt>
                <c:pt idx="2100">
                  <c:v>40520</c:v>
                </c:pt>
                <c:pt idx="2101">
                  <c:v>40521</c:v>
                </c:pt>
                <c:pt idx="2102">
                  <c:v>40522</c:v>
                </c:pt>
                <c:pt idx="2103">
                  <c:v>40525</c:v>
                </c:pt>
                <c:pt idx="2104">
                  <c:v>40526</c:v>
                </c:pt>
                <c:pt idx="2105">
                  <c:v>40527</c:v>
                </c:pt>
                <c:pt idx="2106">
                  <c:v>40528</c:v>
                </c:pt>
                <c:pt idx="2107">
                  <c:v>40529</c:v>
                </c:pt>
                <c:pt idx="2108">
                  <c:v>40532</c:v>
                </c:pt>
                <c:pt idx="2109">
                  <c:v>40533</c:v>
                </c:pt>
                <c:pt idx="2110">
                  <c:v>40534</c:v>
                </c:pt>
                <c:pt idx="2111">
                  <c:v>40535</c:v>
                </c:pt>
                <c:pt idx="2112">
                  <c:v>40536</c:v>
                </c:pt>
                <c:pt idx="2113">
                  <c:v>40539</c:v>
                </c:pt>
                <c:pt idx="2114">
                  <c:v>40540</c:v>
                </c:pt>
                <c:pt idx="2115">
                  <c:v>40541</c:v>
                </c:pt>
                <c:pt idx="2116">
                  <c:v>40542</c:v>
                </c:pt>
                <c:pt idx="2117">
                  <c:v>40543</c:v>
                </c:pt>
                <c:pt idx="2118">
                  <c:v>40547</c:v>
                </c:pt>
                <c:pt idx="2119">
                  <c:v>40548</c:v>
                </c:pt>
                <c:pt idx="2120">
                  <c:v>40549</c:v>
                </c:pt>
                <c:pt idx="2121">
                  <c:v>40550</c:v>
                </c:pt>
                <c:pt idx="2122">
                  <c:v>40553</c:v>
                </c:pt>
                <c:pt idx="2123">
                  <c:v>40554</c:v>
                </c:pt>
                <c:pt idx="2124">
                  <c:v>40555</c:v>
                </c:pt>
                <c:pt idx="2125">
                  <c:v>40556</c:v>
                </c:pt>
                <c:pt idx="2126">
                  <c:v>40557</c:v>
                </c:pt>
                <c:pt idx="2127">
                  <c:v>40560</c:v>
                </c:pt>
                <c:pt idx="2128">
                  <c:v>40561</c:v>
                </c:pt>
                <c:pt idx="2129">
                  <c:v>40562</c:v>
                </c:pt>
                <c:pt idx="2130">
                  <c:v>40563</c:v>
                </c:pt>
                <c:pt idx="2131">
                  <c:v>40564</c:v>
                </c:pt>
                <c:pt idx="2132">
                  <c:v>40567</c:v>
                </c:pt>
                <c:pt idx="2133">
                  <c:v>40568</c:v>
                </c:pt>
                <c:pt idx="2134">
                  <c:v>40569</c:v>
                </c:pt>
                <c:pt idx="2135">
                  <c:v>40570</c:v>
                </c:pt>
                <c:pt idx="2136">
                  <c:v>40571</c:v>
                </c:pt>
                <c:pt idx="2137">
                  <c:v>40574</c:v>
                </c:pt>
                <c:pt idx="2138">
                  <c:v>40575</c:v>
                </c:pt>
                <c:pt idx="2139">
                  <c:v>40583</c:v>
                </c:pt>
                <c:pt idx="2140">
                  <c:v>40584</c:v>
                </c:pt>
                <c:pt idx="2141">
                  <c:v>40585</c:v>
                </c:pt>
                <c:pt idx="2142">
                  <c:v>40588</c:v>
                </c:pt>
                <c:pt idx="2143">
                  <c:v>40589</c:v>
                </c:pt>
                <c:pt idx="2144">
                  <c:v>40590</c:v>
                </c:pt>
                <c:pt idx="2145">
                  <c:v>40591</c:v>
                </c:pt>
                <c:pt idx="2146">
                  <c:v>40592</c:v>
                </c:pt>
                <c:pt idx="2147">
                  <c:v>40595</c:v>
                </c:pt>
                <c:pt idx="2148">
                  <c:v>40596</c:v>
                </c:pt>
                <c:pt idx="2149">
                  <c:v>40597</c:v>
                </c:pt>
                <c:pt idx="2150">
                  <c:v>40598</c:v>
                </c:pt>
                <c:pt idx="2151">
                  <c:v>40599</c:v>
                </c:pt>
                <c:pt idx="2152">
                  <c:v>40602</c:v>
                </c:pt>
                <c:pt idx="2153">
                  <c:v>40603</c:v>
                </c:pt>
                <c:pt idx="2154">
                  <c:v>40604</c:v>
                </c:pt>
                <c:pt idx="2155">
                  <c:v>40605</c:v>
                </c:pt>
                <c:pt idx="2156">
                  <c:v>40606</c:v>
                </c:pt>
                <c:pt idx="2157">
                  <c:v>40609</c:v>
                </c:pt>
                <c:pt idx="2158">
                  <c:v>40610</c:v>
                </c:pt>
                <c:pt idx="2159">
                  <c:v>40611</c:v>
                </c:pt>
                <c:pt idx="2160">
                  <c:v>40612</c:v>
                </c:pt>
                <c:pt idx="2161">
                  <c:v>40613</c:v>
                </c:pt>
                <c:pt idx="2162">
                  <c:v>40616</c:v>
                </c:pt>
                <c:pt idx="2163">
                  <c:v>40617</c:v>
                </c:pt>
                <c:pt idx="2164">
                  <c:v>40618</c:v>
                </c:pt>
                <c:pt idx="2165">
                  <c:v>40619</c:v>
                </c:pt>
                <c:pt idx="2166">
                  <c:v>40620</c:v>
                </c:pt>
                <c:pt idx="2167">
                  <c:v>40623</c:v>
                </c:pt>
                <c:pt idx="2168">
                  <c:v>40624</c:v>
                </c:pt>
                <c:pt idx="2169">
                  <c:v>40625</c:v>
                </c:pt>
                <c:pt idx="2170">
                  <c:v>40626</c:v>
                </c:pt>
                <c:pt idx="2171">
                  <c:v>40627</c:v>
                </c:pt>
                <c:pt idx="2172">
                  <c:v>40630</c:v>
                </c:pt>
                <c:pt idx="2173">
                  <c:v>40631</c:v>
                </c:pt>
                <c:pt idx="2174">
                  <c:v>40632</c:v>
                </c:pt>
                <c:pt idx="2175">
                  <c:v>40633</c:v>
                </c:pt>
                <c:pt idx="2176">
                  <c:v>40634</c:v>
                </c:pt>
                <c:pt idx="2177">
                  <c:v>40639</c:v>
                </c:pt>
                <c:pt idx="2178">
                  <c:v>40640</c:v>
                </c:pt>
                <c:pt idx="2179">
                  <c:v>40641</c:v>
                </c:pt>
                <c:pt idx="2180">
                  <c:v>40644</c:v>
                </c:pt>
                <c:pt idx="2181">
                  <c:v>40645</c:v>
                </c:pt>
                <c:pt idx="2182">
                  <c:v>40646</c:v>
                </c:pt>
                <c:pt idx="2183">
                  <c:v>40647</c:v>
                </c:pt>
                <c:pt idx="2184">
                  <c:v>40648</c:v>
                </c:pt>
                <c:pt idx="2185">
                  <c:v>40651</c:v>
                </c:pt>
                <c:pt idx="2186">
                  <c:v>40652</c:v>
                </c:pt>
                <c:pt idx="2187">
                  <c:v>40653</c:v>
                </c:pt>
                <c:pt idx="2188">
                  <c:v>40654</c:v>
                </c:pt>
                <c:pt idx="2189">
                  <c:v>40655</c:v>
                </c:pt>
                <c:pt idx="2190">
                  <c:v>40658</c:v>
                </c:pt>
                <c:pt idx="2191">
                  <c:v>40659</c:v>
                </c:pt>
                <c:pt idx="2192">
                  <c:v>40660</c:v>
                </c:pt>
                <c:pt idx="2193">
                  <c:v>40661</c:v>
                </c:pt>
                <c:pt idx="2194">
                  <c:v>40662</c:v>
                </c:pt>
                <c:pt idx="2195">
                  <c:v>40666</c:v>
                </c:pt>
                <c:pt idx="2196">
                  <c:v>40667</c:v>
                </c:pt>
                <c:pt idx="2197">
                  <c:v>40668</c:v>
                </c:pt>
                <c:pt idx="2198">
                  <c:v>40669</c:v>
                </c:pt>
                <c:pt idx="2199">
                  <c:v>40672</c:v>
                </c:pt>
                <c:pt idx="2200">
                  <c:v>40673</c:v>
                </c:pt>
                <c:pt idx="2201">
                  <c:v>40674</c:v>
                </c:pt>
                <c:pt idx="2202">
                  <c:v>40675</c:v>
                </c:pt>
                <c:pt idx="2203">
                  <c:v>40676</c:v>
                </c:pt>
                <c:pt idx="2204">
                  <c:v>40679</c:v>
                </c:pt>
                <c:pt idx="2205">
                  <c:v>40680</c:v>
                </c:pt>
                <c:pt idx="2206">
                  <c:v>40681</c:v>
                </c:pt>
                <c:pt idx="2207">
                  <c:v>40682</c:v>
                </c:pt>
                <c:pt idx="2208">
                  <c:v>40683</c:v>
                </c:pt>
                <c:pt idx="2209">
                  <c:v>40686</c:v>
                </c:pt>
                <c:pt idx="2210">
                  <c:v>40687</c:v>
                </c:pt>
                <c:pt idx="2211">
                  <c:v>40688</c:v>
                </c:pt>
                <c:pt idx="2212">
                  <c:v>40689</c:v>
                </c:pt>
                <c:pt idx="2213">
                  <c:v>40690</c:v>
                </c:pt>
                <c:pt idx="2214">
                  <c:v>40693</c:v>
                </c:pt>
                <c:pt idx="2215">
                  <c:v>40694</c:v>
                </c:pt>
                <c:pt idx="2216">
                  <c:v>40695</c:v>
                </c:pt>
                <c:pt idx="2217">
                  <c:v>40696</c:v>
                </c:pt>
                <c:pt idx="2218">
                  <c:v>40697</c:v>
                </c:pt>
                <c:pt idx="2219">
                  <c:v>40701</c:v>
                </c:pt>
                <c:pt idx="2220">
                  <c:v>40702</c:v>
                </c:pt>
                <c:pt idx="2221">
                  <c:v>40703</c:v>
                </c:pt>
                <c:pt idx="2222">
                  <c:v>40704</c:v>
                </c:pt>
                <c:pt idx="2223">
                  <c:v>40707</c:v>
                </c:pt>
                <c:pt idx="2224">
                  <c:v>40708</c:v>
                </c:pt>
                <c:pt idx="2225">
                  <c:v>40709</c:v>
                </c:pt>
                <c:pt idx="2226">
                  <c:v>40710</c:v>
                </c:pt>
                <c:pt idx="2227">
                  <c:v>40711</c:v>
                </c:pt>
                <c:pt idx="2228">
                  <c:v>40714</c:v>
                </c:pt>
                <c:pt idx="2229">
                  <c:v>40715</c:v>
                </c:pt>
                <c:pt idx="2230">
                  <c:v>40716</c:v>
                </c:pt>
                <c:pt idx="2231">
                  <c:v>40717</c:v>
                </c:pt>
                <c:pt idx="2232">
                  <c:v>40718</c:v>
                </c:pt>
                <c:pt idx="2233">
                  <c:v>40721</c:v>
                </c:pt>
                <c:pt idx="2234">
                  <c:v>40722</c:v>
                </c:pt>
                <c:pt idx="2235">
                  <c:v>40723</c:v>
                </c:pt>
                <c:pt idx="2236">
                  <c:v>40724</c:v>
                </c:pt>
                <c:pt idx="2237">
                  <c:v>40725</c:v>
                </c:pt>
                <c:pt idx="2238">
                  <c:v>40728</c:v>
                </c:pt>
                <c:pt idx="2239">
                  <c:v>40729</c:v>
                </c:pt>
                <c:pt idx="2240">
                  <c:v>40730</c:v>
                </c:pt>
                <c:pt idx="2241">
                  <c:v>40731</c:v>
                </c:pt>
                <c:pt idx="2242">
                  <c:v>40732</c:v>
                </c:pt>
                <c:pt idx="2243">
                  <c:v>40735</c:v>
                </c:pt>
                <c:pt idx="2244">
                  <c:v>40736</c:v>
                </c:pt>
                <c:pt idx="2245">
                  <c:v>40737</c:v>
                </c:pt>
                <c:pt idx="2246">
                  <c:v>40738</c:v>
                </c:pt>
                <c:pt idx="2247">
                  <c:v>40739</c:v>
                </c:pt>
                <c:pt idx="2248">
                  <c:v>40742</c:v>
                </c:pt>
                <c:pt idx="2249">
                  <c:v>40743</c:v>
                </c:pt>
                <c:pt idx="2250">
                  <c:v>40744</c:v>
                </c:pt>
                <c:pt idx="2251">
                  <c:v>40745</c:v>
                </c:pt>
                <c:pt idx="2252">
                  <c:v>40746</c:v>
                </c:pt>
                <c:pt idx="2253">
                  <c:v>40749</c:v>
                </c:pt>
                <c:pt idx="2254">
                  <c:v>40750</c:v>
                </c:pt>
                <c:pt idx="2255">
                  <c:v>40751</c:v>
                </c:pt>
                <c:pt idx="2256">
                  <c:v>40752</c:v>
                </c:pt>
                <c:pt idx="2257">
                  <c:v>40753</c:v>
                </c:pt>
                <c:pt idx="2258">
                  <c:v>40756</c:v>
                </c:pt>
                <c:pt idx="2259">
                  <c:v>40757</c:v>
                </c:pt>
                <c:pt idx="2260">
                  <c:v>40758</c:v>
                </c:pt>
                <c:pt idx="2261">
                  <c:v>40759</c:v>
                </c:pt>
                <c:pt idx="2262">
                  <c:v>40760</c:v>
                </c:pt>
                <c:pt idx="2263">
                  <c:v>40763</c:v>
                </c:pt>
                <c:pt idx="2264">
                  <c:v>40764</c:v>
                </c:pt>
                <c:pt idx="2265">
                  <c:v>40765</c:v>
                </c:pt>
                <c:pt idx="2266">
                  <c:v>40766</c:v>
                </c:pt>
                <c:pt idx="2267">
                  <c:v>40767</c:v>
                </c:pt>
                <c:pt idx="2268">
                  <c:v>40770</c:v>
                </c:pt>
                <c:pt idx="2269">
                  <c:v>40771</c:v>
                </c:pt>
                <c:pt idx="2270">
                  <c:v>40772</c:v>
                </c:pt>
                <c:pt idx="2271">
                  <c:v>40773</c:v>
                </c:pt>
                <c:pt idx="2272">
                  <c:v>40774</c:v>
                </c:pt>
                <c:pt idx="2273">
                  <c:v>40777</c:v>
                </c:pt>
                <c:pt idx="2274">
                  <c:v>40778</c:v>
                </c:pt>
                <c:pt idx="2275">
                  <c:v>40779</c:v>
                </c:pt>
                <c:pt idx="2276">
                  <c:v>40780</c:v>
                </c:pt>
                <c:pt idx="2277">
                  <c:v>40781</c:v>
                </c:pt>
                <c:pt idx="2278">
                  <c:v>40784</c:v>
                </c:pt>
                <c:pt idx="2279">
                  <c:v>40785</c:v>
                </c:pt>
                <c:pt idx="2280">
                  <c:v>40786</c:v>
                </c:pt>
                <c:pt idx="2281">
                  <c:v>40787</c:v>
                </c:pt>
                <c:pt idx="2282">
                  <c:v>40788</c:v>
                </c:pt>
                <c:pt idx="2283">
                  <c:v>40791</c:v>
                </c:pt>
                <c:pt idx="2284">
                  <c:v>40792</c:v>
                </c:pt>
                <c:pt idx="2285">
                  <c:v>40793</c:v>
                </c:pt>
                <c:pt idx="2286">
                  <c:v>40794</c:v>
                </c:pt>
                <c:pt idx="2287">
                  <c:v>40795</c:v>
                </c:pt>
                <c:pt idx="2288">
                  <c:v>40799</c:v>
                </c:pt>
                <c:pt idx="2289">
                  <c:v>40800</c:v>
                </c:pt>
                <c:pt idx="2290">
                  <c:v>40801</c:v>
                </c:pt>
                <c:pt idx="2291">
                  <c:v>40802</c:v>
                </c:pt>
                <c:pt idx="2292">
                  <c:v>40805</c:v>
                </c:pt>
                <c:pt idx="2293">
                  <c:v>40806</c:v>
                </c:pt>
                <c:pt idx="2294">
                  <c:v>40807</c:v>
                </c:pt>
                <c:pt idx="2295">
                  <c:v>40808</c:v>
                </c:pt>
                <c:pt idx="2296">
                  <c:v>40809</c:v>
                </c:pt>
                <c:pt idx="2297">
                  <c:v>40812</c:v>
                </c:pt>
                <c:pt idx="2298">
                  <c:v>40813</c:v>
                </c:pt>
                <c:pt idx="2299">
                  <c:v>40814</c:v>
                </c:pt>
                <c:pt idx="2300">
                  <c:v>40815</c:v>
                </c:pt>
                <c:pt idx="2301">
                  <c:v>40816</c:v>
                </c:pt>
                <c:pt idx="2302">
                  <c:v>40826</c:v>
                </c:pt>
                <c:pt idx="2303">
                  <c:v>40827</c:v>
                </c:pt>
                <c:pt idx="2304">
                  <c:v>40828</c:v>
                </c:pt>
                <c:pt idx="2305">
                  <c:v>40829</c:v>
                </c:pt>
                <c:pt idx="2306">
                  <c:v>40830</c:v>
                </c:pt>
                <c:pt idx="2307">
                  <c:v>40833</c:v>
                </c:pt>
                <c:pt idx="2308">
                  <c:v>40834</c:v>
                </c:pt>
                <c:pt idx="2309">
                  <c:v>40835</c:v>
                </c:pt>
                <c:pt idx="2310">
                  <c:v>40836</c:v>
                </c:pt>
                <c:pt idx="2311">
                  <c:v>40837</c:v>
                </c:pt>
                <c:pt idx="2312">
                  <c:v>40840</c:v>
                </c:pt>
                <c:pt idx="2313">
                  <c:v>40841</c:v>
                </c:pt>
                <c:pt idx="2314">
                  <c:v>40842</c:v>
                </c:pt>
                <c:pt idx="2315">
                  <c:v>40843</c:v>
                </c:pt>
                <c:pt idx="2316">
                  <c:v>40844</c:v>
                </c:pt>
                <c:pt idx="2317">
                  <c:v>40847</c:v>
                </c:pt>
                <c:pt idx="2318">
                  <c:v>40848</c:v>
                </c:pt>
                <c:pt idx="2319">
                  <c:v>40849</c:v>
                </c:pt>
                <c:pt idx="2320">
                  <c:v>40850</c:v>
                </c:pt>
                <c:pt idx="2321">
                  <c:v>40851</c:v>
                </c:pt>
                <c:pt idx="2322">
                  <c:v>40854</c:v>
                </c:pt>
                <c:pt idx="2323">
                  <c:v>40855</c:v>
                </c:pt>
                <c:pt idx="2324">
                  <c:v>40856</c:v>
                </c:pt>
                <c:pt idx="2325">
                  <c:v>40857</c:v>
                </c:pt>
                <c:pt idx="2326">
                  <c:v>40858</c:v>
                </c:pt>
                <c:pt idx="2327">
                  <c:v>40861</c:v>
                </c:pt>
                <c:pt idx="2328">
                  <c:v>40862</c:v>
                </c:pt>
                <c:pt idx="2329">
                  <c:v>40863</c:v>
                </c:pt>
                <c:pt idx="2330">
                  <c:v>40864</c:v>
                </c:pt>
                <c:pt idx="2331">
                  <c:v>40865</c:v>
                </c:pt>
                <c:pt idx="2332">
                  <c:v>40868</c:v>
                </c:pt>
                <c:pt idx="2333">
                  <c:v>40869</c:v>
                </c:pt>
                <c:pt idx="2334">
                  <c:v>40870</c:v>
                </c:pt>
                <c:pt idx="2335">
                  <c:v>40871</c:v>
                </c:pt>
                <c:pt idx="2336">
                  <c:v>40872</c:v>
                </c:pt>
                <c:pt idx="2337">
                  <c:v>40875</c:v>
                </c:pt>
                <c:pt idx="2338">
                  <c:v>40876</c:v>
                </c:pt>
                <c:pt idx="2339">
                  <c:v>40877</c:v>
                </c:pt>
                <c:pt idx="2340">
                  <c:v>40878</c:v>
                </c:pt>
                <c:pt idx="2341">
                  <c:v>40879</c:v>
                </c:pt>
                <c:pt idx="2342">
                  <c:v>40882</c:v>
                </c:pt>
                <c:pt idx="2343">
                  <c:v>40883</c:v>
                </c:pt>
                <c:pt idx="2344">
                  <c:v>40884</c:v>
                </c:pt>
                <c:pt idx="2345">
                  <c:v>40885</c:v>
                </c:pt>
                <c:pt idx="2346">
                  <c:v>40886</c:v>
                </c:pt>
                <c:pt idx="2347">
                  <c:v>40889</c:v>
                </c:pt>
                <c:pt idx="2348">
                  <c:v>40890</c:v>
                </c:pt>
                <c:pt idx="2349">
                  <c:v>40891</c:v>
                </c:pt>
                <c:pt idx="2350">
                  <c:v>40892</c:v>
                </c:pt>
                <c:pt idx="2351">
                  <c:v>40893</c:v>
                </c:pt>
                <c:pt idx="2352">
                  <c:v>40896</c:v>
                </c:pt>
                <c:pt idx="2353">
                  <c:v>40897</c:v>
                </c:pt>
                <c:pt idx="2354">
                  <c:v>40898</c:v>
                </c:pt>
                <c:pt idx="2355">
                  <c:v>40899</c:v>
                </c:pt>
                <c:pt idx="2356">
                  <c:v>40900</c:v>
                </c:pt>
                <c:pt idx="2357">
                  <c:v>40903</c:v>
                </c:pt>
                <c:pt idx="2358">
                  <c:v>40904</c:v>
                </c:pt>
                <c:pt idx="2359">
                  <c:v>40905</c:v>
                </c:pt>
                <c:pt idx="2360">
                  <c:v>40906</c:v>
                </c:pt>
                <c:pt idx="2361">
                  <c:v>40907</c:v>
                </c:pt>
                <c:pt idx="2362">
                  <c:v>40912</c:v>
                </c:pt>
                <c:pt idx="2363">
                  <c:v>40913</c:v>
                </c:pt>
                <c:pt idx="2364">
                  <c:v>40914</c:v>
                </c:pt>
                <c:pt idx="2365">
                  <c:v>40917</c:v>
                </c:pt>
                <c:pt idx="2366">
                  <c:v>40918</c:v>
                </c:pt>
                <c:pt idx="2367">
                  <c:v>40919</c:v>
                </c:pt>
                <c:pt idx="2368">
                  <c:v>40920</c:v>
                </c:pt>
                <c:pt idx="2369">
                  <c:v>40921</c:v>
                </c:pt>
                <c:pt idx="2370">
                  <c:v>40924</c:v>
                </c:pt>
                <c:pt idx="2371">
                  <c:v>40925</c:v>
                </c:pt>
                <c:pt idx="2372">
                  <c:v>40926</c:v>
                </c:pt>
                <c:pt idx="2373">
                  <c:v>40927</c:v>
                </c:pt>
                <c:pt idx="2374">
                  <c:v>40928</c:v>
                </c:pt>
                <c:pt idx="2375">
                  <c:v>40938</c:v>
                </c:pt>
                <c:pt idx="2376">
                  <c:v>40939</c:v>
                </c:pt>
                <c:pt idx="2377">
                  <c:v>40940</c:v>
                </c:pt>
                <c:pt idx="2378">
                  <c:v>40941</c:v>
                </c:pt>
                <c:pt idx="2379">
                  <c:v>40942</c:v>
                </c:pt>
                <c:pt idx="2380">
                  <c:v>40945</c:v>
                </c:pt>
                <c:pt idx="2381">
                  <c:v>40946</c:v>
                </c:pt>
                <c:pt idx="2382">
                  <c:v>40947</c:v>
                </c:pt>
                <c:pt idx="2383">
                  <c:v>40948</c:v>
                </c:pt>
                <c:pt idx="2384">
                  <c:v>40949</c:v>
                </c:pt>
                <c:pt idx="2385">
                  <c:v>40952</c:v>
                </c:pt>
                <c:pt idx="2386">
                  <c:v>40953</c:v>
                </c:pt>
                <c:pt idx="2387">
                  <c:v>40954</c:v>
                </c:pt>
                <c:pt idx="2388">
                  <c:v>40955</c:v>
                </c:pt>
                <c:pt idx="2389">
                  <c:v>40956</c:v>
                </c:pt>
                <c:pt idx="2390">
                  <c:v>40959</c:v>
                </c:pt>
                <c:pt idx="2391">
                  <c:v>40960</c:v>
                </c:pt>
                <c:pt idx="2392">
                  <c:v>40961</c:v>
                </c:pt>
                <c:pt idx="2393">
                  <c:v>40962</c:v>
                </c:pt>
                <c:pt idx="2394">
                  <c:v>40963</c:v>
                </c:pt>
                <c:pt idx="2395">
                  <c:v>40966</c:v>
                </c:pt>
                <c:pt idx="2396">
                  <c:v>40967</c:v>
                </c:pt>
                <c:pt idx="2397">
                  <c:v>40968</c:v>
                </c:pt>
                <c:pt idx="2398">
                  <c:v>40969</c:v>
                </c:pt>
                <c:pt idx="2399">
                  <c:v>40970</c:v>
                </c:pt>
                <c:pt idx="2400">
                  <c:v>40973</c:v>
                </c:pt>
                <c:pt idx="2401">
                  <c:v>40974</c:v>
                </c:pt>
                <c:pt idx="2402">
                  <c:v>40975</c:v>
                </c:pt>
                <c:pt idx="2403">
                  <c:v>40976</c:v>
                </c:pt>
                <c:pt idx="2404">
                  <c:v>40977</c:v>
                </c:pt>
                <c:pt idx="2405">
                  <c:v>40980</c:v>
                </c:pt>
                <c:pt idx="2406">
                  <c:v>40981</c:v>
                </c:pt>
                <c:pt idx="2407">
                  <c:v>40982</c:v>
                </c:pt>
                <c:pt idx="2408">
                  <c:v>40983</c:v>
                </c:pt>
                <c:pt idx="2409">
                  <c:v>40984</c:v>
                </c:pt>
                <c:pt idx="2410">
                  <c:v>40987</c:v>
                </c:pt>
                <c:pt idx="2411">
                  <c:v>40988</c:v>
                </c:pt>
                <c:pt idx="2412">
                  <c:v>40989</c:v>
                </c:pt>
                <c:pt idx="2413">
                  <c:v>40990</c:v>
                </c:pt>
                <c:pt idx="2414">
                  <c:v>40991</c:v>
                </c:pt>
                <c:pt idx="2415">
                  <c:v>40994</c:v>
                </c:pt>
                <c:pt idx="2416">
                  <c:v>40995</c:v>
                </c:pt>
                <c:pt idx="2417">
                  <c:v>40996</c:v>
                </c:pt>
                <c:pt idx="2418">
                  <c:v>40997</c:v>
                </c:pt>
                <c:pt idx="2419">
                  <c:v>40998</c:v>
                </c:pt>
                <c:pt idx="2420">
                  <c:v>41004</c:v>
                </c:pt>
                <c:pt idx="2421">
                  <c:v>41005</c:v>
                </c:pt>
                <c:pt idx="2422">
                  <c:v>41008</c:v>
                </c:pt>
                <c:pt idx="2423">
                  <c:v>41009</c:v>
                </c:pt>
                <c:pt idx="2424">
                  <c:v>41010</c:v>
                </c:pt>
                <c:pt idx="2425">
                  <c:v>41011</c:v>
                </c:pt>
                <c:pt idx="2426">
                  <c:v>41012</c:v>
                </c:pt>
                <c:pt idx="2427">
                  <c:v>41015</c:v>
                </c:pt>
                <c:pt idx="2428">
                  <c:v>41016</c:v>
                </c:pt>
                <c:pt idx="2429">
                  <c:v>41017</c:v>
                </c:pt>
                <c:pt idx="2430">
                  <c:v>41018</c:v>
                </c:pt>
                <c:pt idx="2431">
                  <c:v>41019</c:v>
                </c:pt>
                <c:pt idx="2432">
                  <c:v>41022</c:v>
                </c:pt>
                <c:pt idx="2433">
                  <c:v>41023</c:v>
                </c:pt>
                <c:pt idx="2434">
                  <c:v>41024</c:v>
                </c:pt>
                <c:pt idx="2435">
                  <c:v>41025</c:v>
                </c:pt>
                <c:pt idx="2436">
                  <c:v>41026</c:v>
                </c:pt>
                <c:pt idx="2437">
                  <c:v>41031</c:v>
                </c:pt>
                <c:pt idx="2438">
                  <c:v>41032</c:v>
                </c:pt>
                <c:pt idx="2439">
                  <c:v>41033</c:v>
                </c:pt>
                <c:pt idx="2440">
                  <c:v>41036</c:v>
                </c:pt>
                <c:pt idx="2441">
                  <c:v>41037</c:v>
                </c:pt>
                <c:pt idx="2442">
                  <c:v>41038</c:v>
                </c:pt>
                <c:pt idx="2443">
                  <c:v>41039</c:v>
                </c:pt>
                <c:pt idx="2444">
                  <c:v>41040</c:v>
                </c:pt>
                <c:pt idx="2445">
                  <c:v>41043</c:v>
                </c:pt>
                <c:pt idx="2446">
                  <c:v>41044</c:v>
                </c:pt>
                <c:pt idx="2447">
                  <c:v>41045</c:v>
                </c:pt>
                <c:pt idx="2448">
                  <c:v>41046</c:v>
                </c:pt>
                <c:pt idx="2449">
                  <c:v>41047</c:v>
                </c:pt>
                <c:pt idx="2450">
                  <c:v>41050</c:v>
                </c:pt>
                <c:pt idx="2451">
                  <c:v>41051</c:v>
                </c:pt>
                <c:pt idx="2452">
                  <c:v>41052</c:v>
                </c:pt>
                <c:pt idx="2453">
                  <c:v>41053</c:v>
                </c:pt>
                <c:pt idx="2454">
                  <c:v>41054</c:v>
                </c:pt>
                <c:pt idx="2455">
                  <c:v>41057</c:v>
                </c:pt>
                <c:pt idx="2456">
                  <c:v>41058</c:v>
                </c:pt>
                <c:pt idx="2457">
                  <c:v>41059</c:v>
                </c:pt>
                <c:pt idx="2458">
                  <c:v>41060</c:v>
                </c:pt>
                <c:pt idx="2459">
                  <c:v>41061</c:v>
                </c:pt>
                <c:pt idx="2460">
                  <c:v>41064</c:v>
                </c:pt>
                <c:pt idx="2461">
                  <c:v>41065</c:v>
                </c:pt>
                <c:pt idx="2462">
                  <c:v>41066</c:v>
                </c:pt>
                <c:pt idx="2463">
                  <c:v>41067</c:v>
                </c:pt>
                <c:pt idx="2464">
                  <c:v>41068</c:v>
                </c:pt>
                <c:pt idx="2465">
                  <c:v>41071</c:v>
                </c:pt>
                <c:pt idx="2466">
                  <c:v>41072</c:v>
                </c:pt>
                <c:pt idx="2467">
                  <c:v>41073</c:v>
                </c:pt>
                <c:pt idx="2468">
                  <c:v>41074</c:v>
                </c:pt>
                <c:pt idx="2469">
                  <c:v>41075</c:v>
                </c:pt>
                <c:pt idx="2470">
                  <c:v>41078</c:v>
                </c:pt>
                <c:pt idx="2471">
                  <c:v>41079</c:v>
                </c:pt>
                <c:pt idx="2472">
                  <c:v>41080</c:v>
                </c:pt>
                <c:pt idx="2473">
                  <c:v>41081</c:v>
                </c:pt>
                <c:pt idx="2474">
                  <c:v>41085</c:v>
                </c:pt>
                <c:pt idx="2475">
                  <c:v>41086</c:v>
                </c:pt>
                <c:pt idx="2476">
                  <c:v>41087</c:v>
                </c:pt>
                <c:pt idx="2477">
                  <c:v>41088</c:v>
                </c:pt>
                <c:pt idx="2478">
                  <c:v>41089</c:v>
                </c:pt>
                <c:pt idx="2479">
                  <c:v>41092</c:v>
                </c:pt>
                <c:pt idx="2480">
                  <c:v>41093</c:v>
                </c:pt>
                <c:pt idx="2481">
                  <c:v>41094</c:v>
                </c:pt>
                <c:pt idx="2482">
                  <c:v>41095</c:v>
                </c:pt>
                <c:pt idx="2483">
                  <c:v>41096</c:v>
                </c:pt>
                <c:pt idx="2484">
                  <c:v>41099</c:v>
                </c:pt>
                <c:pt idx="2485">
                  <c:v>41100</c:v>
                </c:pt>
                <c:pt idx="2486">
                  <c:v>41101</c:v>
                </c:pt>
                <c:pt idx="2487">
                  <c:v>41102</c:v>
                </c:pt>
                <c:pt idx="2488">
                  <c:v>41103</c:v>
                </c:pt>
                <c:pt idx="2489">
                  <c:v>41106</c:v>
                </c:pt>
                <c:pt idx="2490">
                  <c:v>41107</c:v>
                </c:pt>
                <c:pt idx="2491">
                  <c:v>41108</c:v>
                </c:pt>
                <c:pt idx="2492">
                  <c:v>41109</c:v>
                </c:pt>
                <c:pt idx="2493">
                  <c:v>41110</c:v>
                </c:pt>
                <c:pt idx="2494">
                  <c:v>41113</c:v>
                </c:pt>
                <c:pt idx="2495">
                  <c:v>41114</c:v>
                </c:pt>
                <c:pt idx="2496">
                  <c:v>41115</c:v>
                </c:pt>
                <c:pt idx="2497">
                  <c:v>41116</c:v>
                </c:pt>
                <c:pt idx="2498">
                  <c:v>41117</c:v>
                </c:pt>
                <c:pt idx="2499">
                  <c:v>41120</c:v>
                </c:pt>
                <c:pt idx="2500">
                  <c:v>41121</c:v>
                </c:pt>
                <c:pt idx="2501">
                  <c:v>41122</c:v>
                </c:pt>
                <c:pt idx="2502">
                  <c:v>41123</c:v>
                </c:pt>
                <c:pt idx="2503">
                  <c:v>41124</c:v>
                </c:pt>
                <c:pt idx="2504">
                  <c:v>41127</c:v>
                </c:pt>
                <c:pt idx="2505">
                  <c:v>41128</c:v>
                </c:pt>
                <c:pt idx="2506">
                  <c:v>41129</c:v>
                </c:pt>
                <c:pt idx="2507">
                  <c:v>41130</c:v>
                </c:pt>
                <c:pt idx="2508">
                  <c:v>41131</c:v>
                </c:pt>
                <c:pt idx="2509">
                  <c:v>41134</c:v>
                </c:pt>
                <c:pt idx="2510">
                  <c:v>41135</c:v>
                </c:pt>
                <c:pt idx="2511">
                  <c:v>41136</c:v>
                </c:pt>
                <c:pt idx="2512">
                  <c:v>41137</c:v>
                </c:pt>
                <c:pt idx="2513">
                  <c:v>41138</c:v>
                </c:pt>
                <c:pt idx="2514">
                  <c:v>41141</c:v>
                </c:pt>
                <c:pt idx="2515">
                  <c:v>41142</c:v>
                </c:pt>
                <c:pt idx="2516">
                  <c:v>41143</c:v>
                </c:pt>
                <c:pt idx="2517">
                  <c:v>41144</c:v>
                </c:pt>
                <c:pt idx="2518">
                  <c:v>41145</c:v>
                </c:pt>
                <c:pt idx="2519">
                  <c:v>41148</c:v>
                </c:pt>
                <c:pt idx="2520">
                  <c:v>41149</c:v>
                </c:pt>
                <c:pt idx="2521">
                  <c:v>41150</c:v>
                </c:pt>
                <c:pt idx="2522">
                  <c:v>41151</c:v>
                </c:pt>
                <c:pt idx="2523">
                  <c:v>41152</c:v>
                </c:pt>
                <c:pt idx="2524">
                  <c:v>41155</c:v>
                </c:pt>
                <c:pt idx="2525">
                  <c:v>41156</c:v>
                </c:pt>
                <c:pt idx="2526">
                  <c:v>41157</c:v>
                </c:pt>
                <c:pt idx="2527">
                  <c:v>41158</c:v>
                </c:pt>
                <c:pt idx="2528">
                  <c:v>41159</c:v>
                </c:pt>
                <c:pt idx="2529">
                  <c:v>41162</c:v>
                </c:pt>
                <c:pt idx="2530">
                  <c:v>41163</c:v>
                </c:pt>
                <c:pt idx="2531">
                  <c:v>41164</c:v>
                </c:pt>
                <c:pt idx="2532">
                  <c:v>41165</c:v>
                </c:pt>
                <c:pt idx="2533">
                  <c:v>41166</c:v>
                </c:pt>
                <c:pt idx="2534">
                  <c:v>41169</c:v>
                </c:pt>
                <c:pt idx="2535">
                  <c:v>41170</c:v>
                </c:pt>
                <c:pt idx="2536">
                  <c:v>41171</c:v>
                </c:pt>
                <c:pt idx="2537">
                  <c:v>41172</c:v>
                </c:pt>
                <c:pt idx="2538">
                  <c:v>41173</c:v>
                </c:pt>
                <c:pt idx="2539">
                  <c:v>41176</c:v>
                </c:pt>
                <c:pt idx="2540">
                  <c:v>41177</c:v>
                </c:pt>
                <c:pt idx="2541">
                  <c:v>41178</c:v>
                </c:pt>
                <c:pt idx="2542">
                  <c:v>41179</c:v>
                </c:pt>
                <c:pt idx="2543">
                  <c:v>41180</c:v>
                </c:pt>
                <c:pt idx="2544">
                  <c:v>41190</c:v>
                </c:pt>
                <c:pt idx="2545">
                  <c:v>41191</c:v>
                </c:pt>
                <c:pt idx="2546">
                  <c:v>41192</c:v>
                </c:pt>
                <c:pt idx="2547">
                  <c:v>41193</c:v>
                </c:pt>
                <c:pt idx="2548">
                  <c:v>41194</c:v>
                </c:pt>
                <c:pt idx="2549">
                  <c:v>41197</c:v>
                </c:pt>
                <c:pt idx="2550">
                  <c:v>41198</c:v>
                </c:pt>
                <c:pt idx="2551">
                  <c:v>41199</c:v>
                </c:pt>
                <c:pt idx="2552">
                  <c:v>41200</c:v>
                </c:pt>
                <c:pt idx="2553">
                  <c:v>41201</c:v>
                </c:pt>
                <c:pt idx="2554">
                  <c:v>41204</c:v>
                </c:pt>
                <c:pt idx="2555">
                  <c:v>41205</c:v>
                </c:pt>
                <c:pt idx="2556">
                  <c:v>41206</c:v>
                </c:pt>
                <c:pt idx="2557">
                  <c:v>41207</c:v>
                </c:pt>
                <c:pt idx="2558">
                  <c:v>41208</c:v>
                </c:pt>
                <c:pt idx="2559">
                  <c:v>41211</c:v>
                </c:pt>
                <c:pt idx="2560">
                  <c:v>41212</c:v>
                </c:pt>
                <c:pt idx="2561">
                  <c:v>41213</c:v>
                </c:pt>
                <c:pt idx="2562">
                  <c:v>41214</c:v>
                </c:pt>
                <c:pt idx="2563">
                  <c:v>41215</c:v>
                </c:pt>
                <c:pt idx="2564">
                  <c:v>41218</c:v>
                </c:pt>
                <c:pt idx="2565">
                  <c:v>41219</c:v>
                </c:pt>
                <c:pt idx="2566">
                  <c:v>41220</c:v>
                </c:pt>
                <c:pt idx="2567">
                  <c:v>41221</c:v>
                </c:pt>
                <c:pt idx="2568">
                  <c:v>41222</c:v>
                </c:pt>
                <c:pt idx="2569">
                  <c:v>41225</c:v>
                </c:pt>
                <c:pt idx="2570">
                  <c:v>41226</c:v>
                </c:pt>
                <c:pt idx="2571">
                  <c:v>41227</c:v>
                </c:pt>
                <c:pt idx="2572">
                  <c:v>41228</c:v>
                </c:pt>
                <c:pt idx="2573">
                  <c:v>41229</c:v>
                </c:pt>
                <c:pt idx="2574">
                  <c:v>41232</c:v>
                </c:pt>
                <c:pt idx="2575">
                  <c:v>41233</c:v>
                </c:pt>
                <c:pt idx="2576">
                  <c:v>41234</c:v>
                </c:pt>
                <c:pt idx="2577">
                  <c:v>41235</c:v>
                </c:pt>
                <c:pt idx="2578">
                  <c:v>41236</c:v>
                </c:pt>
                <c:pt idx="2579">
                  <c:v>41239</c:v>
                </c:pt>
                <c:pt idx="2580">
                  <c:v>41240</c:v>
                </c:pt>
                <c:pt idx="2581">
                  <c:v>41241</c:v>
                </c:pt>
                <c:pt idx="2582">
                  <c:v>41242</c:v>
                </c:pt>
                <c:pt idx="2583">
                  <c:v>41243</c:v>
                </c:pt>
                <c:pt idx="2584">
                  <c:v>41246</c:v>
                </c:pt>
                <c:pt idx="2585">
                  <c:v>41247</c:v>
                </c:pt>
                <c:pt idx="2586">
                  <c:v>41248</c:v>
                </c:pt>
                <c:pt idx="2587">
                  <c:v>41249</c:v>
                </c:pt>
                <c:pt idx="2588">
                  <c:v>41250</c:v>
                </c:pt>
                <c:pt idx="2589">
                  <c:v>41253</c:v>
                </c:pt>
                <c:pt idx="2590">
                  <c:v>41254</c:v>
                </c:pt>
                <c:pt idx="2591">
                  <c:v>41255</c:v>
                </c:pt>
                <c:pt idx="2592">
                  <c:v>41256</c:v>
                </c:pt>
                <c:pt idx="2593">
                  <c:v>41257</c:v>
                </c:pt>
                <c:pt idx="2594">
                  <c:v>41260</c:v>
                </c:pt>
                <c:pt idx="2595">
                  <c:v>41261</c:v>
                </c:pt>
                <c:pt idx="2596">
                  <c:v>41262</c:v>
                </c:pt>
                <c:pt idx="2597">
                  <c:v>41263</c:v>
                </c:pt>
                <c:pt idx="2598">
                  <c:v>41264</c:v>
                </c:pt>
                <c:pt idx="2599">
                  <c:v>41267</c:v>
                </c:pt>
                <c:pt idx="2600">
                  <c:v>41268</c:v>
                </c:pt>
                <c:pt idx="2601">
                  <c:v>41269</c:v>
                </c:pt>
                <c:pt idx="2602">
                  <c:v>41270</c:v>
                </c:pt>
                <c:pt idx="2603">
                  <c:v>41271</c:v>
                </c:pt>
                <c:pt idx="2604">
                  <c:v>41274</c:v>
                </c:pt>
                <c:pt idx="2605">
                  <c:v>41278</c:v>
                </c:pt>
                <c:pt idx="2606">
                  <c:v>41281</c:v>
                </c:pt>
                <c:pt idx="2607">
                  <c:v>41282</c:v>
                </c:pt>
                <c:pt idx="2608">
                  <c:v>41283</c:v>
                </c:pt>
                <c:pt idx="2609">
                  <c:v>41284</c:v>
                </c:pt>
                <c:pt idx="2610">
                  <c:v>41285</c:v>
                </c:pt>
                <c:pt idx="2611">
                  <c:v>41288</c:v>
                </c:pt>
                <c:pt idx="2612">
                  <c:v>41289</c:v>
                </c:pt>
                <c:pt idx="2613">
                  <c:v>41290</c:v>
                </c:pt>
                <c:pt idx="2614">
                  <c:v>41291</c:v>
                </c:pt>
                <c:pt idx="2615">
                  <c:v>41292</c:v>
                </c:pt>
                <c:pt idx="2616">
                  <c:v>41295</c:v>
                </c:pt>
                <c:pt idx="2617">
                  <c:v>41296</c:v>
                </c:pt>
                <c:pt idx="2618">
                  <c:v>41297</c:v>
                </c:pt>
                <c:pt idx="2619">
                  <c:v>41298</c:v>
                </c:pt>
                <c:pt idx="2620">
                  <c:v>41299</c:v>
                </c:pt>
                <c:pt idx="2621">
                  <c:v>41302</c:v>
                </c:pt>
                <c:pt idx="2622">
                  <c:v>41303</c:v>
                </c:pt>
                <c:pt idx="2623">
                  <c:v>41304</c:v>
                </c:pt>
                <c:pt idx="2624">
                  <c:v>41305</c:v>
                </c:pt>
                <c:pt idx="2625">
                  <c:v>41306</c:v>
                </c:pt>
                <c:pt idx="2626">
                  <c:v>41309</c:v>
                </c:pt>
                <c:pt idx="2627">
                  <c:v>41310</c:v>
                </c:pt>
                <c:pt idx="2628">
                  <c:v>41311</c:v>
                </c:pt>
                <c:pt idx="2629">
                  <c:v>41312</c:v>
                </c:pt>
                <c:pt idx="2630">
                  <c:v>41313</c:v>
                </c:pt>
                <c:pt idx="2631">
                  <c:v>41323</c:v>
                </c:pt>
                <c:pt idx="2632">
                  <c:v>41324</c:v>
                </c:pt>
                <c:pt idx="2633">
                  <c:v>41325</c:v>
                </c:pt>
                <c:pt idx="2634">
                  <c:v>41326</c:v>
                </c:pt>
                <c:pt idx="2635">
                  <c:v>41327</c:v>
                </c:pt>
                <c:pt idx="2636">
                  <c:v>41330</c:v>
                </c:pt>
                <c:pt idx="2637">
                  <c:v>41331</c:v>
                </c:pt>
                <c:pt idx="2638">
                  <c:v>41332</c:v>
                </c:pt>
                <c:pt idx="2639">
                  <c:v>41333</c:v>
                </c:pt>
                <c:pt idx="2640">
                  <c:v>41334</c:v>
                </c:pt>
                <c:pt idx="2641">
                  <c:v>41337</c:v>
                </c:pt>
                <c:pt idx="2642">
                  <c:v>41338</c:v>
                </c:pt>
                <c:pt idx="2643">
                  <c:v>41339</c:v>
                </c:pt>
                <c:pt idx="2644">
                  <c:v>41340</c:v>
                </c:pt>
                <c:pt idx="2645">
                  <c:v>41341</c:v>
                </c:pt>
                <c:pt idx="2646">
                  <c:v>41344</c:v>
                </c:pt>
                <c:pt idx="2647">
                  <c:v>41345</c:v>
                </c:pt>
                <c:pt idx="2648">
                  <c:v>41346</c:v>
                </c:pt>
                <c:pt idx="2649">
                  <c:v>41347</c:v>
                </c:pt>
                <c:pt idx="2650">
                  <c:v>41348</c:v>
                </c:pt>
                <c:pt idx="2651">
                  <c:v>41351</c:v>
                </c:pt>
                <c:pt idx="2652">
                  <c:v>41352</c:v>
                </c:pt>
                <c:pt idx="2653">
                  <c:v>41353</c:v>
                </c:pt>
                <c:pt idx="2654">
                  <c:v>41354</c:v>
                </c:pt>
                <c:pt idx="2655">
                  <c:v>41355</c:v>
                </c:pt>
                <c:pt idx="2656">
                  <c:v>41358</c:v>
                </c:pt>
                <c:pt idx="2657">
                  <c:v>41359</c:v>
                </c:pt>
                <c:pt idx="2658">
                  <c:v>41360</c:v>
                </c:pt>
                <c:pt idx="2659">
                  <c:v>41361</c:v>
                </c:pt>
                <c:pt idx="2660">
                  <c:v>41362</c:v>
                </c:pt>
                <c:pt idx="2661">
                  <c:v>41365</c:v>
                </c:pt>
                <c:pt idx="2662">
                  <c:v>41366</c:v>
                </c:pt>
                <c:pt idx="2663">
                  <c:v>41367</c:v>
                </c:pt>
                <c:pt idx="2664">
                  <c:v>41372</c:v>
                </c:pt>
                <c:pt idx="2665">
                  <c:v>41373</c:v>
                </c:pt>
                <c:pt idx="2666">
                  <c:v>41374</c:v>
                </c:pt>
                <c:pt idx="2667">
                  <c:v>41375</c:v>
                </c:pt>
                <c:pt idx="2668">
                  <c:v>41376</c:v>
                </c:pt>
                <c:pt idx="2669">
                  <c:v>41379</c:v>
                </c:pt>
                <c:pt idx="2670">
                  <c:v>41380</c:v>
                </c:pt>
                <c:pt idx="2671">
                  <c:v>41381</c:v>
                </c:pt>
                <c:pt idx="2672">
                  <c:v>41382</c:v>
                </c:pt>
                <c:pt idx="2673">
                  <c:v>41383</c:v>
                </c:pt>
                <c:pt idx="2674">
                  <c:v>41386</c:v>
                </c:pt>
                <c:pt idx="2675">
                  <c:v>41387</c:v>
                </c:pt>
                <c:pt idx="2676">
                  <c:v>41388</c:v>
                </c:pt>
                <c:pt idx="2677">
                  <c:v>41389</c:v>
                </c:pt>
                <c:pt idx="2678">
                  <c:v>41390</c:v>
                </c:pt>
                <c:pt idx="2679">
                  <c:v>41396</c:v>
                </c:pt>
                <c:pt idx="2680">
                  <c:v>41397</c:v>
                </c:pt>
                <c:pt idx="2681">
                  <c:v>41400</c:v>
                </c:pt>
                <c:pt idx="2682">
                  <c:v>41401</c:v>
                </c:pt>
                <c:pt idx="2683">
                  <c:v>41402</c:v>
                </c:pt>
                <c:pt idx="2684">
                  <c:v>41403</c:v>
                </c:pt>
                <c:pt idx="2685">
                  <c:v>41404</c:v>
                </c:pt>
                <c:pt idx="2686">
                  <c:v>41407</c:v>
                </c:pt>
                <c:pt idx="2687">
                  <c:v>41408</c:v>
                </c:pt>
                <c:pt idx="2688">
                  <c:v>41409</c:v>
                </c:pt>
                <c:pt idx="2689">
                  <c:v>41410</c:v>
                </c:pt>
                <c:pt idx="2690">
                  <c:v>41411</c:v>
                </c:pt>
                <c:pt idx="2691">
                  <c:v>41414</c:v>
                </c:pt>
                <c:pt idx="2692">
                  <c:v>41415</c:v>
                </c:pt>
                <c:pt idx="2693">
                  <c:v>41416</c:v>
                </c:pt>
                <c:pt idx="2694">
                  <c:v>41417</c:v>
                </c:pt>
                <c:pt idx="2695">
                  <c:v>41418</c:v>
                </c:pt>
                <c:pt idx="2696">
                  <c:v>41421</c:v>
                </c:pt>
                <c:pt idx="2697">
                  <c:v>41422</c:v>
                </c:pt>
                <c:pt idx="2698">
                  <c:v>41423</c:v>
                </c:pt>
                <c:pt idx="2699">
                  <c:v>41424</c:v>
                </c:pt>
                <c:pt idx="2700">
                  <c:v>41425</c:v>
                </c:pt>
                <c:pt idx="2701">
                  <c:v>41428</c:v>
                </c:pt>
                <c:pt idx="2702">
                  <c:v>41429</c:v>
                </c:pt>
                <c:pt idx="2703">
                  <c:v>41430</c:v>
                </c:pt>
                <c:pt idx="2704">
                  <c:v>41431</c:v>
                </c:pt>
                <c:pt idx="2705">
                  <c:v>41432</c:v>
                </c:pt>
                <c:pt idx="2706">
                  <c:v>41438</c:v>
                </c:pt>
                <c:pt idx="2707">
                  <c:v>41439</c:v>
                </c:pt>
                <c:pt idx="2708">
                  <c:v>41442</c:v>
                </c:pt>
                <c:pt idx="2709">
                  <c:v>41443</c:v>
                </c:pt>
                <c:pt idx="2710">
                  <c:v>41444</c:v>
                </c:pt>
                <c:pt idx="2711">
                  <c:v>41445</c:v>
                </c:pt>
                <c:pt idx="2712">
                  <c:v>41446</c:v>
                </c:pt>
                <c:pt idx="2713">
                  <c:v>41449</c:v>
                </c:pt>
                <c:pt idx="2714">
                  <c:v>41450</c:v>
                </c:pt>
                <c:pt idx="2715">
                  <c:v>41451</c:v>
                </c:pt>
                <c:pt idx="2716">
                  <c:v>41452</c:v>
                </c:pt>
                <c:pt idx="2717">
                  <c:v>41453</c:v>
                </c:pt>
                <c:pt idx="2718">
                  <c:v>41456</c:v>
                </c:pt>
                <c:pt idx="2719">
                  <c:v>41457</c:v>
                </c:pt>
                <c:pt idx="2720">
                  <c:v>41458</c:v>
                </c:pt>
                <c:pt idx="2721">
                  <c:v>41459</c:v>
                </c:pt>
                <c:pt idx="2722">
                  <c:v>41460</c:v>
                </c:pt>
                <c:pt idx="2723">
                  <c:v>41463</c:v>
                </c:pt>
                <c:pt idx="2724">
                  <c:v>41464</c:v>
                </c:pt>
                <c:pt idx="2725">
                  <c:v>41465</c:v>
                </c:pt>
                <c:pt idx="2726">
                  <c:v>41466</c:v>
                </c:pt>
                <c:pt idx="2727">
                  <c:v>41467</c:v>
                </c:pt>
                <c:pt idx="2728">
                  <c:v>41470</c:v>
                </c:pt>
                <c:pt idx="2729">
                  <c:v>41471</c:v>
                </c:pt>
                <c:pt idx="2730">
                  <c:v>41472</c:v>
                </c:pt>
                <c:pt idx="2731">
                  <c:v>41473</c:v>
                </c:pt>
                <c:pt idx="2732">
                  <c:v>41474</c:v>
                </c:pt>
                <c:pt idx="2733">
                  <c:v>41477</c:v>
                </c:pt>
                <c:pt idx="2734">
                  <c:v>41478</c:v>
                </c:pt>
                <c:pt idx="2735">
                  <c:v>41479</c:v>
                </c:pt>
                <c:pt idx="2736">
                  <c:v>41480</c:v>
                </c:pt>
                <c:pt idx="2737">
                  <c:v>41481</c:v>
                </c:pt>
                <c:pt idx="2738">
                  <c:v>41484</c:v>
                </c:pt>
                <c:pt idx="2739">
                  <c:v>41485</c:v>
                </c:pt>
                <c:pt idx="2740">
                  <c:v>41486</c:v>
                </c:pt>
                <c:pt idx="2741">
                  <c:v>41487</c:v>
                </c:pt>
                <c:pt idx="2742">
                  <c:v>41488</c:v>
                </c:pt>
                <c:pt idx="2743">
                  <c:v>41491</c:v>
                </c:pt>
                <c:pt idx="2744">
                  <c:v>41492</c:v>
                </c:pt>
                <c:pt idx="2745">
                  <c:v>41493</c:v>
                </c:pt>
                <c:pt idx="2746">
                  <c:v>41494</c:v>
                </c:pt>
                <c:pt idx="2747">
                  <c:v>41495</c:v>
                </c:pt>
                <c:pt idx="2748">
                  <c:v>41498</c:v>
                </c:pt>
                <c:pt idx="2749">
                  <c:v>41499</c:v>
                </c:pt>
                <c:pt idx="2750">
                  <c:v>41500</c:v>
                </c:pt>
                <c:pt idx="2751">
                  <c:v>41501</c:v>
                </c:pt>
                <c:pt idx="2752">
                  <c:v>41502</c:v>
                </c:pt>
                <c:pt idx="2753">
                  <c:v>41505</c:v>
                </c:pt>
                <c:pt idx="2754">
                  <c:v>41506</c:v>
                </c:pt>
                <c:pt idx="2755">
                  <c:v>41507</c:v>
                </c:pt>
                <c:pt idx="2756">
                  <c:v>41508</c:v>
                </c:pt>
                <c:pt idx="2757">
                  <c:v>41509</c:v>
                </c:pt>
                <c:pt idx="2758">
                  <c:v>41512</c:v>
                </c:pt>
                <c:pt idx="2759">
                  <c:v>41513</c:v>
                </c:pt>
                <c:pt idx="2760">
                  <c:v>41514</c:v>
                </c:pt>
                <c:pt idx="2761">
                  <c:v>41515</c:v>
                </c:pt>
                <c:pt idx="2762">
                  <c:v>41516</c:v>
                </c:pt>
                <c:pt idx="2763">
                  <c:v>41519</c:v>
                </c:pt>
                <c:pt idx="2764">
                  <c:v>41520</c:v>
                </c:pt>
                <c:pt idx="2765">
                  <c:v>41521</c:v>
                </c:pt>
                <c:pt idx="2766">
                  <c:v>41522</c:v>
                </c:pt>
                <c:pt idx="2767">
                  <c:v>41523</c:v>
                </c:pt>
                <c:pt idx="2768">
                  <c:v>41526</c:v>
                </c:pt>
                <c:pt idx="2769">
                  <c:v>41527</c:v>
                </c:pt>
                <c:pt idx="2770">
                  <c:v>41528</c:v>
                </c:pt>
                <c:pt idx="2771">
                  <c:v>41529</c:v>
                </c:pt>
                <c:pt idx="2772">
                  <c:v>41530</c:v>
                </c:pt>
                <c:pt idx="2773">
                  <c:v>41533</c:v>
                </c:pt>
                <c:pt idx="2774">
                  <c:v>41534</c:v>
                </c:pt>
                <c:pt idx="2775">
                  <c:v>41535</c:v>
                </c:pt>
                <c:pt idx="2776">
                  <c:v>41540</c:v>
                </c:pt>
                <c:pt idx="2777">
                  <c:v>41541</c:v>
                </c:pt>
                <c:pt idx="2778">
                  <c:v>41542</c:v>
                </c:pt>
                <c:pt idx="2779">
                  <c:v>41543</c:v>
                </c:pt>
                <c:pt idx="2780">
                  <c:v>41544</c:v>
                </c:pt>
                <c:pt idx="2781">
                  <c:v>41547</c:v>
                </c:pt>
                <c:pt idx="2782">
                  <c:v>41555</c:v>
                </c:pt>
                <c:pt idx="2783">
                  <c:v>41556</c:v>
                </c:pt>
                <c:pt idx="2784">
                  <c:v>41557</c:v>
                </c:pt>
                <c:pt idx="2785">
                  <c:v>41558</c:v>
                </c:pt>
                <c:pt idx="2786">
                  <c:v>41561</c:v>
                </c:pt>
                <c:pt idx="2787">
                  <c:v>41562</c:v>
                </c:pt>
                <c:pt idx="2788">
                  <c:v>41563</c:v>
                </c:pt>
                <c:pt idx="2789">
                  <c:v>41564</c:v>
                </c:pt>
                <c:pt idx="2790">
                  <c:v>41565</c:v>
                </c:pt>
                <c:pt idx="2791">
                  <c:v>41568</c:v>
                </c:pt>
                <c:pt idx="2792">
                  <c:v>41569</c:v>
                </c:pt>
                <c:pt idx="2793">
                  <c:v>41570</c:v>
                </c:pt>
                <c:pt idx="2794">
                  <c:v>41571</c:v>
                </c:pt>
                <c:pt idx="2795">
                  <c:v>41572</c:v>
                </c:pt>
                <c:pt idx="2796">
                  <c:v>41575</c:v>
                </c:pt>
                <c:pt idx="2797">
                  <c:v>41576</c:v>
                </c:pt>
                <c:pt idx="2798">
                  <c:v>41577</c:v>
                </c:pt>
                <c:pt idx="2799">
                  <c:v>41578</c:v>
                </c:pt>
                <c:pt idx="2800">
                  <c:v>41579</c:v>
                </c:pt>
                <c:pt idx="2801">
                  <c:v>41582</c:v>
                </c:pt>
                <c:pt idx="2802">
                  <c:v>41583</c:v>
                </c:pt>
                <c:pt idx="2803">
                  <c:v>41584</c:v>
                </c:pt>
                <c:pt idx="2804">
                  <c:v>41585</c:v>
                </c:pt>
                <c:pt idx="2805">
                  <c:v>41586</c:v>
                </c:pt>
                <c:pt idx="2806">
                  <c:v>41589</c:v>
                </c:pt>
                <c:pt idx="2807">
                  <c:v>41590</c:v>
                </c:pt>
                <c:pt idx="2808">
                  <c:v>41591</c:v>
                </c:pt>
                <c:pt idx="2809">
                  <c:v>41592</c:v>
                </c:pt>
                <c:pt idx="2810">
                  <c:v>41593</c:v>
                </c:pt>
                <c:pt idx="2811">
                  <c:v>41596</c:v>
                </c:pt>
                <c:pt idx="2812">
                  <c:v>41597</c:v>
                </c:pt>
                <c:pt idx="2813">
                  <c:v>41598</c:v>
                </c:pt>
                <c:pt idx="2814">
                  <c:v>41599</c:v>
                </c:pt>
                <c:pt idx="2815">
                  <c:v>41600</c:v>
                </c:pt>
                <c:pt idx="2816">
                  <c:v>41603</c:v>
                </c:pt>
                <c:pt idx="2817">
                  <c:v>41604</c:v>
                </c:pt>
                <c:pt idx="2818">
                  <c:v>41605</c:v>
                </c:pt>
                <c:pt idx="2819">
                  <c:v>41606</c:v>
                </c:pt>
                <c:pt idx="2820">
                  <c:v>41607</c:v>
                </c:pt>
                <c:pt idx="2821">
                  <c:v>41610</c:v>
                </c:pt>
                <c:pt idx="2822">
                  <c:v>41611</c:v>
                </c:pt>
                <c:pt idx="2823">
                  <c:v>41612</c:v>
                </c:pt>
                <c:pt idx="2824">
                  <c:v>41613</c:v>
                </c:pt>
                <c:pt idx="2825">
                  <c:v>41614</c:v>
                </c:pt>
                <c:pt idx="2826">
                  <c:v>41617</c:v>
                </c:pt>
                <c:pt idx="2827">
                  <c:v>41618</c:v>
                </c:pt>
                <c:pt idx="2828">
                  <c:v>41619</c:v>
                </c:pt>
                <c:pt idx="2829">
                  <c:v>41620</c:v>
                </c:pt>
                <c:pt idx="2830">
                  <c:v>41621</c:v>
                </c:pt>
                <c:pt idx="2831">
                  <c:v>41624</c:v>
                </c:pt>
                <c:pt idx="2832">
                  <c:v>41625</c:v>
                </c:pt>
                <c:pt idx="2833">
                  <c:v>41626</c:v>
                </c:pt>
                <c:pt idx="2834">
                  <c:v>41627</c:v>
                </c:pt>
                <c:pt idx="2835">
                  <c:v>41628</c:v>
                </c:pt>
                <c:pt idx="2836">
                  <c:v>41631</c:v>
                </c:pt>
                <c:pt idx="2837">
                  <c:v>41632</c:v>
                </c:pt>
                <c:pt idx="2838">
                  <c:v>41633</c:v>
                </c:pt>
                <c:pt idx="2839">
                  <c:v>41634</c:v>
                </c:pt>
                <c:pt idx="2840">
                  <c:v>41635</c:v>
                </c:pt>
                <c:pt idx="2841">
                  <c:v>41638</c:v>
                </c:pt>
                <c:pt idx="2842">
                  <c:v>41639</c:v>
                </c:pt>
                <c:pt idx="2843">
                  <c:v>41641</c:v>
                </c:pt>
                <c:pt idx="2844">
                  <c:v>41642</c:v>
                </c:pt>
                <c:pt idx="2845">
                  <c:v>41645</c:v>
                </c:pt>
                <c:pt idx="2846">
                  <c:v>41646</c:v>
                </c:pt>
                <c:pt idx="2847">
                  <c:v>41647</c:v>
                </c:pt>
                <c:pt idx="2848">
                  <c:v>41648</c:v>
                </c:pt>
                <c:pt idx="2849">
                  <c:v>41649</c:v>
                </c:pt>
                <c:pt idx="2850">
                  <c:v>41652</c:v>
                </c:pt>
                <c:pt idx="2851">
                  <c:v>41653</c:v>
                </c:pt>
                <c:pt idx="2852">
                  <c:v>41654</c:v>
                </c:pt>
                <c:pt idx="2853">
                  <c:v>41655</c:v>
                </c:pt>
                <c:pt idx="2854">
                  <c:v>41656</c:v>
                </c:pt>
                <c:pt idx="2855">
                  <c:v>41659</c:v>
                </c:pt>
                <c:pt idx="2856">
                  <c:v>41660</c:v>
                </c:pt>
                <c:pt idx="2857">
                  <c:v>41661</c:v>
                </c:pt>
                <c:pt idx="2858">
                  <c:v>41662</c:v>
                </c:pt>
                <c:pt idx="2859">
                  <c:v>41663</c:v>
                </c:pt>
                <c:pt idx="2860">
                  <c:v>41666</c:v>
                </c:pt>
                <c:pt idx="2861">
                  <c:v>41667</c:v>
                </c:pt>
                <c:pt idx="2862">
                  <c:v>41668</c:v>
                </c:pt>
                <c:pt idx="2863">
                  <c:v>41669</c:v>
                </c:pt>
                <c:pt idx="2864">
                  <c:v>41677</c:v>
                </c:pt>
                <c:pt idx="2865">
                  <c:v>41680</c:v>
                </c:pt>
                <c:pt idx="2866">
                  <c:v>41681</c:v>
                </c:pt>
                <c:pt idx="2867">
                  <c:v>41682</c:v>
                </c:pt>
                <c:pt idx="2868">
                  <c:v>41683</c:v>
                </c:pt>
                <c:pt idx="2869">
                  <c:v>41684</c:v>
                </c:pt>
                <c:pt idx="2870">
                  <c:v>41687</c:v>
                </c:pt>
                <c:pt idx="2871">
                  <c:v>41688</c:v>
                </c:pt>
                <c:pt idx="2872">
                  <c:v>41689</c:v>
                </c:pt>
                <c:pt idx="2873">
                  <c:v>41690</c:v>
                </c:pt>
                <c:pt idx="2874">
                  <c:v>41691</c:v>
                </c:pt>
                <c:pt idx="2875">
                  <c:v>41694</c:v>
                </c:pt>
                <c:pt idx="2876">
                  <c:v>41695</c:v>
                </c:pt>
                <c:pt idx="2877">
                  <c:v>41696</c:v>
                </c:pt>
                <c:pt idx="2878">
                  <c:v>41697</c:v>
                </c:pt>
                <c:pt idx="2879">
                  <c:v>41698</c:v>
                </c:pt>
                <c:pt idx="2880">
                  <c:v>41701</c:v>
                </c:pt>
                <c:pt idx="2881">
                  <c:v>41702</c:v>
                </c:pt>
                <c:pt idx="2882">
                  <c:v>41703</c:v>
                </c:pt>
                <c:pt idx="2883">
                  <c:v>41704</c:v>
                </c:pt>
                <c:pt idx="2884">
                  <c:v>41705</c:v>
                </c:pt>
                <c:pt idx="2885">
                  <c:v>41708</c:v>
                </c:pt>
                <c:pt idx="2886">
                  <c:v>41709</c:v>
                </c:pt>
                <c:pt idx="2887">
                  <c:v>41710</c:v>
                </c:pt>
                <c:pt idx="2888">
                  <c:v>41711</c:v>
                </c:pt>
                <c:pt idx="2889">
                  <c:v>41712</c:v>
                </c:pt>
                <c:pt idx="2890">
                  <c:v>41715</c:v>
                </c:pt>
                <c:pt idx="2891">
                  <c:v>41716</c:v>
                </c:pt>
                <c:pt idx="2892">
                  <c:v>41717</c:v>
                </c:pt>
                <c:pt idx="2893">
                  <c:v>41718</c:v>
                </c:pt>
                <c:pt idx="2894">
                  <c:v>41719</c:v>
                </c:pt>
                <c:pt idx="2895">
                  <c:v>41722</c:v>
                </c:pt>
                <c:pt idx="2896">
                  <c:v>41723</c:v>
                </c:pt>
                <c:pt idx="2897">
                  <c:v>41724</c:v>
                </c:pt>
                <c:pt idx="2898">
                  <c:v>41725</c:v>
                </c:pt>
                <c:pt idx="2899">
                  <c:v>41726</c:v>
                </c:pt>
                <c:pt idx="2900">
                  <c:v>41729</c:v>
                </c:pt>
                <c:pt idx="2901">
                  <c:v>41730</c:v>
                </c:pt>
                <c:pt idx="2902">
                  <c:v>41731</c:v>
                </c:pt>
                <c:pt idx="2903">
                  <c:v>41732</c:v>
                </c:pt>
                <c:pt idx="2904">
                  <c:v>41733</c:v>
                </c:pt>
                <c:pt idx="2905">
                  <c:v>41737</c:v>
                </c:pt>
                <c:pt idx="2906">
                  <c:v>41738</c:v>
                </c:pt>
                <c:pt idx="2907">
                  <c:v>41739</c:v>
                </c:pt>
                <c:pt idx="2908">
                  <c:v>41740</c:v>
                </c:pt>
                <c:pt idx="2909">
                  <c:v>41743</c:v>
                </c:pt>
                <c:pt idx="2910">
                  <c:v>41744</c:v>
                </c:pt>
                <c:pt idx="2911">
                  <c:v>41745</c:v>
                </c:pt>
                <c:pt idx="2912">
                  <c:v>41746</c:v>
                </c:pt>
                <c:pt idx="2913">
                  <c:v>41747</c:v>
                </c:pt>
                <c:pt idx="2914">
                  <c:v>41750</c:v>
                </c:pt>
                <c:pt idx="2915">
                  <c:v>41751</c:v>
                </c:pt>
                <c:pt idx="2916">
                  <c:v>41752</c:v>
                </c:pt>
                <c:pt idx="2917">
                  <c:v>41753</c:v>
                </c:pt>
                <c:pt idx="2918">
                  <c:v>41754</c:v>
                </c:pt>
                <c:pt idx="2919">
                  <c:v>41757</c:v>
                </c:pt>
                <c:pt idx="2920">
                  <c:v>41758</c:v>
                </c:pt>
                <c:pt idx="2921">
                  <c:v>41759</c:v>
                </c:pt>
                <c:pt idx="2922">
                  <c:v>41764</c:v>
                </c:pt>
                <c:pt idx="2923">
                  <c:v>41765</c:v>
                </c:pt>
                <c:pt idx="2924">
                  <c:v>41766</c:v>
                </c:pt>
                <c:pt idx="2925">
                  <c:v>41767</c:v>
                </c:pt>
                <c:pt idx="2926">
                  <c:v>41768</c:v>
                </c:pt>
                <c:pt idx="2927">
                  <c:v>41771</c:v>
                </c:pt>
                <c:pt idx="2928">
                  <c:v>41772</c:v>
                </c:pt>
                <c:pt idx="2929">
                  <c:v>41773</c:v>
                </c:pt>
                <c:pt idx="2930">
                  <c:v>41774</c:v>
                </c:pt>
                <c:pt idx="2931">
                  <c:v>41775</c:v>
                </c:pt>
                <c:pt idx="2932">
                  <c:v>41778</c:v>
                </c:pt>
                <c:pt idx="2933">
                  <c:v>41779</c:v>
                </c:pt>
                <c:pt idx="2934">
                  <c:v>41780</c:v>
                </c:pt>
                <c:pt idx="2935">
                  <c:v>41781</c:v>
                </c:pt>
                <c:pt idx="2936">
                  <c:v>41782</c:v>
                </c:pt>
                <c:pt idx="2937">
                  <c:v>41785</c:v>
                </c:pt>
                <c:pt idx="2938">
                  <c:v>41786</c:v>
                </c:pt>
                <c:pt idx="2939">
                  <c:v>41787</c:v>
                </c:pt>
                <c:pt idx="2940">
                  <c:v>41788</c:v>
                </c:pt>
                <c:pt idx="2941">
                  <c:v>41789</c:v>
                </c:pt>
                <c:pt idx="2942">
                  <c:v>41793</c:v>
                </c:pt>
                <c:pt idx="2943">
                  <c:v>41794</c:v>
                </c:pt>
                <c:pt idx="2944">
                  <c:v>41795</c:v>
                </c:pt>
                <c:pt idx="2945">
                  <c:v>41796</c:v>
                </c:pt>
                <c:pt idx="2946">
                  <c:v>41799</c:v>
                </c:pt>
                <c:pt idx="2947">
                  <c:v>41800</c:v>
                </c:pt>
                <c:pt idx="2948">
                  <c:v>41801</c:v>
                </c:pt>
                <c:pt idx="2949">
                  <c:v>41802</c:v>
                </c:pt>
                <c:pt idx="2950">
                  <c:v>41803</c:v>
                </c:pt>
                <c:pt idx="2951">
                  <c:v>41806</c:v>
                </c:pt>
                <c:pt idx="2952">
                  <c:v>41807</c:v>
                </c:pt>
                <c:pt idx="2953">
                  <c:v>41808</c:v>
                </c:pt>
                <c:pt idx="2954">
                  <c:v>41809</c:v>
                </c:pt>
                <c:pt idx="2955">
                  <c:v>41810</c:v>
                </c:pt>
                <c:pt idx="2956">
                  <c:v>41813</c:v>
                </c:pt>
                <c:pt idx="2957">
                  <c:v>41814</c:v>
                </c:pt>
                <c:pt idx="2958">
                  <c:v>41815</c:v>
                </c:pt>
                <c:pt idx="2959">
                  <c:v>41816</c:v>
                </c:pt>
                <c:pt idx="2960">
                  <c:v>41817</c:v>
                </c:pt>
                <c:pt idx="2961">
                  <c:v>41820</c:v>
                </c:pt>
                <c:pt idx="2962">
                  <c:v>41821</c:v>
                </c:pt>
                <c:pt idx="2963">
                  <c:v>41822</c:v>
                </c:pt>
                <c:pt idx="2964">
                  <c:v>41823</c:v>
                </c:pt>
                <c:pt idx="2965">
                  <c:v>41824</c:v>
                </c:pt>
                <c:pt idx="2966">
                  <c:v>41827</c:v>
                </c:pt>
                <c:pt idx="2967">
                  <c:v>41828</c:v>
                </c:pt>
                <c:pt idx="2968">
                  <c:v>41829</c:v>
                </c:pt>
                <c:pt idx="2969">
                  <c:v>41830</c:v>
                </c:pt>
                <c:pt idx="2970">
                  <c:v>41831</c:v>
                </c:pt>
                <c:pt idx="2971">
                  <c:v>41834</c:v>
                </c:pt>
                <c:pt idx="2972">
                  <c:v>41835</c:v>
                </c:pt>
                <c:pt idx="2973">
                  <c:v>41836</c:v>
                </c:pt>
                <c:pt idx="2974">
                  <c:v>41837</c:v>
                </c:pt>
                <c:pt idx="2975">
                  <c:v>41838</c:v>
                </c:pt>
                <c:pt idx="2976">
                  <c:v>41841</c:v>
                </c:pt>
                <c:pt idx="2977">
                  <c:v>41842</c:v>
                </c:pt>
                <c:pt idx="2978">
                  <c:v>41843</c:v>
                </c:pt>
                <c:pt idx="2979">
                  <c:v>41844</c:v>
                </c:pt>
                <c:pt idx="2980">
                  <c:v>41845</c:v>
                </c:pt>
                <c:pt idx="2981">
                  <c:v>41848</c:v>
                </c:pt>
                <c:pt idx="2982">
                  <c:v>41849</c:v>
                </c:pt>
                <c:pt idx="2983">
                  <c:v>41850</c:v>
                </c:pt>
                <c:pt idx="2984">
                  <c:v>41851</c:v>
                </c:pt>
                <c:pt idx="2985">
                  <c:v>41852</c:v>
                </c:pt>
                <c:pt idx="2986">
                  <c:v>41855</c:v>
                </c:pt>
                <c:pt idx="2987">
                  <c:v>41856</c:v>
                </c:pt>
                <c:pt idx="2988">
                  <c:v>41857</c:v>
                </c:pt>
                <c:pt idx="2989">
                  <c:v>41858</c:v>
                </c:pt>
                <c:pt idx="2990">
                  <c:v>41859</c:v>
                </c:pt>
                <c:pt idx="2991">
                  <c:v>41862</c:v>
                </c:pt>
                <c:pt idx="2992">
                  <c:v>41863</c:v>
                </c:pt>
                <c:pt idx="2993">
                  <c:v>41864</c:v>
                </c:pt>
                <c:pt idx="2994">
                  <c:v>41865</c:v>
                </c:pt>
                <c:pt idx="2995">
                  <c:v>41866</c:v>
                </c:pt>
                <c:pt idx="2996">
                  <c:v>41869</c:v>
                </c:pt>
                <c:pt idx="2997">
                  <c:v>41870</c:v>
                </c:pt>
                <c:pt idx="2998">
                  <c:v>41871</c:v>
                </c:pt>
                <c:pt idx="2999">
                  <c:v>41872</c:v>
                </c:pt>
                <c:pt idx="3000">
                  <c:v>41873</c:v>
                </c:pt>
                <c:pt idx="3001">
                  <c:v>41876</c:v>
                </c:pt>
                <c:pt idx="3002">
                  <c:v>41877</c:v>
                </c:pt>
                <c:pt idx="3003">
                  <c:v>41878</c:v>
                </c:pt>
                <c:pt idx="3004">
                  <c:v>41879</c:v>
                </c:pt>
                <c:pt idx="3005">
                  <c:v>41880</c:v>
                </c:pt>
                <c:pt idx="3006">
                  <c:v>41883</c:v>
                </c:pt>
                <c:pt idx="3007">
                  <c:v>41884</c:v>
                </c:pt>
                <c:pt idx="3008">
                  <c:v>41885</c:v>
                </c:pt>
                <c:pt idx="3009">
                  <c:v>41886</c:v>
                </c:pt>
                <c:pt idx="3010">
                  <c:v>41887</c:v>
                </c:pt>
                <c:pt idx="3011">
                  <c:v>41891</c:v>
                </c:pt>
                <c:pt idx="3012">
                  <c:v>41892</c:v>
                </c:pt>
                <c:pt idx="3013">
                  <c:v>41893</c:v>
                </c:pt>
                <c:pt idx="3014">
                  <c:v>41894</c:v>
                </c:pt>
                <c:pt idx="3015">
                  <c:v>41897</c:v>
                </c:pt>
                <c:pt idx="3016">
                  <c:v>41898</c:v>
                </c:pt>
                <c:pt idx="3017">
                  <c:v>41899</c:v>
                </c:pt>
                <c:pt idx="3018">
                  <c:v>41900</c:v>
                </c:pt>
                <c:pt idx="3019">
                  <c:v>41901</c:v>
                </c:pt>
                <c:pt idx="3020">
                  <c:v>41904</c:v>
                </c:pt>
                <c:pt idx="3021">
                  <c:v>41905</c:v>
                </c:pt>
                <c:pt idx="3022">
                  <c:v>41906</c:v>
                </c:pt>
                <c:pt idx="3023">
                  <c:v>41907</c:v>
                </c:pt>
                <c:pt idx="3024">
                  <c:v>41908</c:v>
                </c:pt>
                <c:pt idx="3025">
                  <c:v>41911</c:v>
                </c:pt>
                <c:pt idx="3026">
                  <c:v>41912</c:v>
                </c:pt>
                <c:pt idx="3027">
                  <c:v>41920</c:v>
                </c:pt>
                <c:pt idx="3028">
                  <c:v>41921</c:v>
                </c:pt>
                <c:pt idx="3029">
                  <c:v>41922</c:v>
                </c:pt>
                <c:pt idx="3030">
                  <c:v>41925</c:v>
                </c:pt>
                <c:pt idx="3031">
                  <c:v>41926</c:v>
                </c:pt>
                <c:pt idx="3032">
                  <c:v>41927</c:v>
                </c:pt>
                <c:pt idx="3033">
                  <c:v>41928</c:v>
                </c:pt>
                <c:pt idx="3034">
                  <c:v>41929</c:v>
                </c:pt>
                <c:pt idx="3035">
                  <c:v>41932</c:v>
                </c:pt>
                <c:pt idx="3036">
                  <c:v>41933</c:v>
                </c:pt>
                <c:pt idx="3037">
                  <c:v>41934</c:v>
                </c:pt>
                <c:pt idx="3038">
                  <c:v>41935</c:v>
                </c:pt>
                <c:pt idx="3039">
                  <c:v>41936</c:v>
                </c:pt>
                <c:pt idx="3040">
                  <c:v>41939</c:v>
                </c:pt>
                <c:pt idx="3041">
                  <c:v>41940</c:v>
                </c:pt>
                <c:pt idx="3042">
                  <c:v>41941</c:v>
                </c:pt>
                <c:pt idx="3043">
                  <c:v>41942</c:v>
                </c:pt>
                <c:pt idx="3044">
                  <c:v>41943</c:v>
                </c:pt>
                <c:pt idx="3045">
                  <c:v>41946</c:v>
                </c:pt>
                <c:pt idx="3046">
                  <c:v>41947</c:v>
                </c:pt>
                <c:pt idx="3047">
                  <c:v>41948</c:v>
                </c:pt>
                <c:pt idx="3048">
                  <c:v>41949</c:v>
                </c:pt>
                <c:pt idx="3049">
                  <c:v>41950</c:v>
                </c:pt>
                <c:pt idx="3050">
                  <c:v>41953</c:v>
                </c:pt>
                <c:pt idx="3051">
                  <c:v>41954</c:v>
                </c:pt>
                <c:pt idx="3052">
                  <c:v>41955</c:v>
                </c:pt>
                <c:pt idx="3053">
                  <c:v>41956</c:v>
                </c:pt>
                <c:pt idx="3054">
                  <c:v>41957</c:v>
                </c:pt>
                <c:pt idx="3055">
                  <c:v>41960</c:v>
                </c:pt>
                <c:pt idx="3056">
                  <c:v>41961</c:v>
                </c:pt>
                <c:pt idx="3057">
                  <c:v>41962</c:v>
                </c:pt>
                <c:pt idx="3058">
                  <c:v>41963</c:v>
                </c:pt>
                <c:pt idx="3059">
                  <c:v>41964</c:v>
                </c:pt>
                <c:pt idx="3060">
                  <c:v>41967</c:v>
                </c:pt>
                <c:pt idx="3061">
                  <c:v>41968</c:v>
                </c:pt>
                <c:pt idx="3062">
                  <c:v>41969</c:v>
                </c:pt>
                <c:pt idx="3063">
                  <c:v>41970</c:v>
                </c:pt>
                <c:pt idx="3064">
                  <c:v>41971</c:v>
                </c:pt>
                <c:pt idx="3065">
                  <c:v>41974</c:v>
                </c:pt>
                <c:pt idx="3066">
                  <c:v>41975</c:v>
                </c:pt>
                <c:pt idx="3067">
                  <c:v>41976</c:v>
                </c:pt>
                <c:pt idx="3068">
                  <c:v>41977</c:v>
                </c:pt>
                <c:pt idx="3069">
                  <c:v>41978</c:v>
                </c:pt>
                <c:pt idx="3070">
                  <c:v>41981</c:v>
                </c:pt>
                <c:pt idx="3071">
                  <c:v>41982</c:v>
                </c:pt>
                <c:pt idx="3072">
                  <c:v>41983</c:v>
                </c:pt>
                <c:pt idx="3073">
                  <c:v>41984</c:v>
                </c:pt>
                <c:pt idx="3074">
                  <c:v>41985</c:v>
                </c:pt>
                <c:pt idx="3075">
                  <c:v>41988</c:v>
                </c:pt>
                <c:pt idx="3076">
                  <c:v>41989</c:v>
                </c:pt>
                <c:pt idx="3077">
                  <c:v>41990</c:v>
                </c:pt>
                <c:pt idx="3078">
                  <c:v>41991</c:v>
                </c:pt>
                <c:pt idx="3079">
                  <c:v>41992</c:v>
                </c:pt>
                <c:pt idx="3080">
                  <c:v>41995</c:v>
                </c:pt>
                <c:pt idx="3081">
                  <c:v>41996</c:v>
                </c:pt>
                <c:pt idx="3082">
                  <c:v>41997</c:v>
                </c:pt>
                <c:pt idx="3083">
                  <c:v>41998</c:v>
                </c:pt>
                <c:pt idx="3084">
                  <c:v>41999</c:v>
                </c:pt>
                <c:pt idx="3085">
                  <c:v>42002</c:v>
                </c:pt>
                <c:pt idx="3086">
                  <c:v>42003</c:v>
                </c:pt>
                <c:pt idx="3087">
                  <c:v>42004</c:v>
                </c:pt>
                <c:pt idx="3088">
                  <c:v>42009</c:v>
                </c:pt>
                <c:pt idx="3089">
                  <c:v>42010</c:v>
                </c:pt>
                <c:pt idx="3090">
                  <c:v>42011</c:v>
                </c:pt>
                <c:pt idx="3091">
                  <c:v>42012</c:v>
                </c:pt>
                <c:pt idx="3092">
                  <c:v>42013</c:v>
                </c:pt>
                <c:pt idx="3093">
                  <c:v>42016</c:v>
                </c:pt>
                <c:pt idx="3094">
                  <c:v>42017</c:v>
                </c:pt>
                <c:pt idx="3095">
                  <c:v>42018</c:v>
                </c:pt>
                <c:pt idx="3096">
                  <c:v>42019</c:v>
                </c:pt>
                <c:pt idx="3097">
                  <c:v>42020</c:v>
                </c:pt>
                <c:pt idx="3098">
                  <c:v>42023</c:v>
                </c:pt>
                <c:pt idx="3099">
                  <c:v>42024</c:v>
                </c:pt>
                <c:pt idx="3100">
                  <c:v>42025</c:v>
                </c:pt>
                <c:pt idx="3101">
                  <c:v>42026</c:v>
                </c:pt>
                <c:pt idx="3102">
                  <c:v>42027</c:v>
                </c:pt>
                <c:pt idx="3103">
                  <c:v>42030</c:v>
                </c:pt>
                <c:pt idx="3104">
                  <c:v>42031</c:v>
                </c:pt>
                <c:pt idx="3105">
                  <c:v>42032</c:v>
                </c:pt>
                <c:pt idx="3106">
                  <c:v>42033</c:v>
                </c:pt>
                <c:pt idx="3107">
                  <c:v>42034</c:v>
                </c:pt>
                <c:pt idx="3108">
                  <c:v>42037</c:v>
                </c:pt>
                <c:pt idx="3109">
                  <c:v>42038</c:v>
                </c:pt>
                <c:pt idx="3110">
                  <c:v>42039</c:v>
                </c:pt>
                <c:pt idx="3111">
                  <c:v>42040</c:v>
                </c:pt>
                <c:pt idx="3112">
                  <c:v>42041</c:v>
                </c:pt>
                <c:pt idx="3113">
                  <c:v>42044</c:v>
                </c:pt>
                <c:pt idx="3114">
                  <c:v>42045</c:v>
                </c:pt>
                <c:pt idx="3115">
                  <c:v>42046</c:v>
                </c:pt>
                <c:pt idx="3116">
                  <c:v>42047</c:v>
                </c:pt>
                <c:pt idx="3117">
                  <c:v>42048</c:v>
                </c:pt>
                <c:pt idx="3118">
                  <c:v>42051</c:v>
                </c:pt>
                <c:pt idx="3119">
                  <c:v>42052</c:v>
                </c:pt>
                <c:pt idx="3120">
                  <c:v>42060</c:v>
                </c:pt>
                <c:pt idx="3121">
                  <c:v>42061</c:v>
                </c:pt>
                <c:pt idx="3122">
                  <c:v>42062</c:v>
                </c:pt>
                <c:pt idx="3123">
                  <c:v>42065</c:v>
                </c:pt>
                <c:pt idx="3124">
                  <c:v>42066</c:v>
                </c:pt>
                <c:pt idx="3125">
                  <c:v>42067</c:v>
                </c:pt>
                <c:pt idx="3126">
                  <c:v>42068</c:v>
                </c:pt>
                <c:pt idx="3127">
                  <c:v>42069</c:v>
                </c:pt>
                <c:pt idx="3128">
                  <c:v>42072</c:v>
                </c:pt>
                <c:pt idx="3129">
                  <c:v>42073</c:v>
                </c:pt>
                <c:pt idx="3130">
                  <c:v>42074</c:v>
                </c:pt>
                <c:pt idx="3131">
                  <c:v>42075</c:v>
                </c:pt>
                <c:pt idx="3132">
                  <c:v>42076</c:v>
                </c:pt>
                <c:pt idx="3133">
                  <c:v>42079</c:v>
                </c:pt>
                <c:pt idx="3134">
                  <c:v>42080</c:v>
                </c:pt>
                <c:pt idx="3135">
                  <c:v>42081</c:v>
                </c:pt>
                <c:pt idx="3136">
                  <c:v>42082</c:v>
                </c:pt>
                <c:pt idx="3137">
                  <c:v>42083</c:v>
                </c:pt>
                <c:pt idx="3138">
                  <c:v>42086</c:v>
                </c:pt>
                <c:pt idx="3139">
                  <c:v>42087</c:v>
                </c:pt>
                <c:pt idx="3140">
                  <c:v>42088</c:v>
                </c:pt>
                <c:pt idx="3141">
                  <c:v>42089</c:v>
                </c:pt>
                <c:pt idx="3142">
                  <c:v>42090</c:v>
                </c:pt>
                <c:pt idx="3143">
                  <c:v>42093</c:v>
                </c:pt>
                <c:pt idx="3144">
                  <c:v>42094</c:v>
                </c:pt>
                <c:pt idx="3145">
                  <c:v>42095</c:v>
                </c:pt>
                <c:pt idx="3146">
                  <c:v>42096</c:v>
                </c:pt>
                <c:pt idx="3147">
                  <c:v>42097</c:v>
                </c:pt>
                <c:pt idx="3148">
                  <c:v>42101</c:v>
                </c:pt>
                <c:pt idx="3149">
                  <c:v>42102</c:v>
                </c:pt>
                <c:pt idx="3150">
                  <c:v>42103</c:v>
                </c:pt>
                <c:pt idx="3151">
                  <c:v>42104</c:v>
                </c:pt>
                <c:pt idx="3152">
                  <c:v>42107</c:v>
                </c:pt>
                <c:pt idx="3153">
                  <c:v>42108</c:v>
                </c:pt>
                <c:pt idx="3154">
                  <c:v>42109</c:v>
                </c:pt>
                <c:pt idx="3155">
                  <c:v>42110</c:v>
                </c:pt>
                <c:pt idx="3156">
                  <c:v>42111</c:v>
                </c:pt>
                <c:pt idx="3157">
                  <c:v>42114</c:v>
                </c:pt>
                <c:pt idx="3158">
                  <c:v>42115</c:v>
                </c:pt>
                <c:pt idx="3159">
                  <c:v>42116</c:v>
                </c:pt>
                <c:pt idx="3160">
                  <c:v>42117</c:v>
                </c:pt>
                <c:pt idx="3161">
                  <c:v>42118</c:v>
                </c:pt>
                <c:pt idx="3162">
                  <c:v>42121</c:v>
                </c:pt>
                <c:pt idx="3163">
                  <c:v>42122</c:v>
                </c:pt>
                <c:pt idx="3164">
                  <c:v>42123</c:v>
                </c:pt>
                <c:pt idx="3165">
                  <c:v>42124</c:v>
                </c:pt>
                <c:pt idx="3166">
                  <c:v>42128</c:v>
                </c:pt>
                <c:pt idx="3167">
                  <c:v>42129</c:v>
                </c:pt>
                <c:pt idx="3168">
                  <c:v>42130</c:v>
                </c:pt>
                <c:pt idx="3169">
                  <c:v>42131</c:v>
                </c:pt>
                <c:pt idx="3170">
                  <c:v>42132</c:v>
                </c:pt>
                <c:pt idx="3171">
                  <c:v>42135</c:v>
                </c:pt>
                <c:pt idx="3172">
                  <c:v>42136</c:v>
                </c:pt>
                <c:pt idx="3173">
                  <c:v>42137</c:v>
                </c:pt>
                <c:pt idx="3174">
                  <c:v>42138</c:v>
                </c:pt>
                <c:pt idx="3175">
                  <c:v>42139</c:v>
                </c:pt>
                <c:pt idx="3176">
                  <c:v>42142</c:v>
                </c:pt>
                <c:pt idx="3177">
                  <c:v>42143</c:v>
                </c:pt>
                <c:pt idx="3178">
                  <c:v>42144</c:v>
                </c:pt>
                <c:pt idx="3179">
                  <c:v>42145</c:v>
                </c:pt>
                <c:pt idx="3180">
                  <c:v>42146</c:v>
                </c:pt>
                <c:pt idx="3181">
                  <c:v>42149</c:v>
                </c:pt>
                <c:pt idx="3182">
                  <c:v>42150</c:v>
                </c:pt>
                <c:pt idx="3183">
                  <c:v>42151</c:v>
                </c:pt>
                <c:pt idx="3184">
                  <c:v>42152</c:v>
                </c:pt>
                <c:pt idx="3185">
                  <c:v>42153</c:v>
                </c:pt>
                <c:pt idx="3186">
                  <c:v>42156</c:v>
                </c:pt>
                <c:pt idx="3187">
                  <c:v>42157</c:v>
                </c:pt>
                <c:pt idx="3188">
                  <c:v>42158</c:v>
                </c:pt>
                <c:pt idx="3189">
                  <c:v>42159</c:v>
                </c:pt>
                <c:pt idx="3190">
                  <c:v>42160</c:v>
                </c:pt>
                <c:pt idx="3191">
                  <c:v>42163</c:v>
                </c:pt>
                <c:pt idx="3192">
                  <c:v>42164</c:v>
                </c:pt>
                <c:pt idx="3193">
                  <c:v>42165</c:v>
                </c:pt>
                <c:pt idx="3194">
                  <c:v>42166</c:v>
                </c:pt>
                <c:pt idx="3195">
                  <c:v>42167</c:v>
                </c:pt>
                <c:pt idx="3196">
                  <c:v>42170</c:v>
                </c:pt>
                <c:pt idx="3197">
                  <c:v>42171</c:v>
                </c:pt>
                <c:pt idx="3198">
                  <c:v>42172</c:v>
                </c:pt>
                <c:pt idx="3199">
                  <c:v>42173</c:v>
                </c:pt>
                <c:pt idx="3200">
                  <c:v>42174</c:v>
                </c:pt>
                <c:pt idx="3201">
                  <c:v>42178</c:v>
                </c:pt>
                <c:pt idx="3202">
                  <c:v>42179</c:v>
                </c:pt>
                <c:pt idx="3203">
                  <c:v>42180</c:v>
                </c:pt>
                <c:pt idx="3204">
                  <c:v>42181</c:v>
                </c:pt>
                <c:pt idx="3205">
                  <c:v>42184</c:v>
                </c:pt>
                <c:pt idx="3206">
                  <c:v>42185</c:v>
                </c:pt>
                <c:pt idx="3207">
                  <c:v>42186</c:v>
                </c:pt>
                <c:pt idx="3208">
                  <c:v>42187</c:v>
                </c:pt>
                <c:pt idx="3209">
                  <c:v>42188</c:v>
                </c:pt>
                <c:pt idx="3210">
                  <c:v>42191</c:v>
                </c:pt>
                <c:pt idx="3211">
                  <c:v>42192</c:v>
                </c:pt>
                <c:pt idx="3212">
                  <c:v>42193</c:v>
                </c:pt>
                <c:pt idx="3213">
                  <c:v>42194</c:v>
                </c:pt>
                <c:pt idx="3214">
                  <c:v>42195</c:v>
                </c:pt>
                <c:pt idx="3215">
                  <c:v>42198</c:v>
                </c:pt>
                <c:pt idx="3216">
                  <c:v>42199</c:v>
                </c:pt>
                <c:pt idx="3217">
                  <c:v>42200</c:v>
                </c:pt>
                <c:pt idx="3218">
                  <c:v>42201</c:v>
                </c:pt>
                <c:pt idx="3219">
                  <c:v>42202</c:v>
                </c:pt>
                <c:pt idx="3220">
                  <c:v>42205</c:v>
                </c:pt>
                <c:pt idx="3221">
                  <c:v>42206</c:v>
                </c:pt>
                <c:pt idx="3222">
                  <c:v>42207</c:v>
                </c:pt>
                <c:pt idx="3223">
                  <c:v>42208</c:v>
                </c:pt>
                <c:pt idx="3224">
                  <c:v>42209</c:v>
                </c:pt>
                <c:pt idx="3225">
                  <c:v>42212</c:v>
                </c:pt>
                <c:pt idx="3226">
                  <c:v>42213</c:v>
                </c:pt>
                <c:pt idx="3227">
                  <c:v>42214</c:v>
                </c:pt>
                <c:pt idx="3228">
                  <c:v>42215</c:v>
                </c:pt>
                <c:pt idx="3229">
                  <c:v>42216</c:v>
                </c:pt>
                <c:pt idx="3230">
                  <c:v>42219</c:v>
                </c:pt>
                <c:pt idx="3231">
                  <c:v>42220</c:v>
                </c:pt>
                <c:pt idx="3232">
                  <c:v>42221</c:v>
                </c:pt>
                <c:pt idx="3233">
                  <c:v>42222</c:v>
                </c:pt>
                <c:pt idx="3234">
                  <c:v>42223</c:v>
                </c:pt>
                <c:pt idx="3235">
                  <c:v>42226</c:v>
                </c:pt>
                <c:pt idx="3236">
                  <c:v>42227</c:v>
                </c:pt>
                <c:pt idx="3237">
                  <c:v>42228</c:v>
                </c:pt>
                <c:pt idx="3238">
                  <c:v>42229</c:v>
                </c:pt>
                <c:pt idx="3239">
                  <c:v>42230</c:v>
                </c:pt>
                <c:pt idx="3240">
                  <c:v>42233</c:v>
                </c:pt>
                <c:pt idx="3241">
                  <c:v>42234</c:v>
                </c:pt>
                <c:pt idx="3242">
                  <c:v>42235</c:v>
                </c:pt>
                <c:pt idx="3243">
                  <c:v>42236</c:v>
                </c:pt>
                <c:pt idx="3244">
                  <c:v>42237</c:v>
                </c:pt>
                <c:pt idx="3245">
                  <c:v>42240</c:v>
                </c:pt>
                <c:pt idx="3246">
                  <c:v>42241</c:v>
                </c:pt>
                <c:pt idx="3247">
                  <c:v>42242</c:v>
                </c:pt>
                <c:pt idx="3248">
                  <c:v>42243</c:v>
                </c:pt>
                <c:pt idx="3249">
                  <c:v>42244</c:v>
                </c:pt>
                <c:pt idx="3250">
                  <c:v>42247</c:v>
                </c:pt>
                <c:pt idx="3251">
                  <c:v>42248</c:v>
                </c:pt>
                <c:pt idx="3252">
                  <c:v>42249</c:v>
                </c:pt>
                <c:pt idx="3253">
                  <c:v>42254</c:v>
                </c:pt>
                <c:pt idx="3254">
                  <c:v>42255</c:v>
                </c:pt>
                <c:pt idx="3255">
                  <c:v>42256</c:v>
                </c:pt>
                <c:pt idx="3256">
                  <c:v>42257</c:v>
                </c:pt>
                <c:pt idx="3257">
                  <c:v>42258</c:v>
                </c:pt>
                <c:pt idx="3258">
                  <c:v>42261</c:v>
                </c:pt>
                <c:pt idx="3259">
                  <c:v>42262</c:v>
                </c:pt>
                <c:pt idx="3260">
                  <c:v>42263</c:v>
                </c:pt>
                <c:pt idx="3261">
                  <c:v>42264</c:v>
                </c:pt>
                <c:pt idx="3262">
                  <c:v>42265</c:v>
                </c:pt>
                <c:pt idx="3263">
                  <c:v>42268</c:v>
                </c:pt>
                <c:pt idx="3264">
                  <c:v>42269</c:v>
                </c:pt>
                <c:pt idx="3265">
                  <c:v>42270</c:v>
                </c:pt>
                <c:pt idx="3266">
                  <c:v>42271</c:v>
                </c:pt>
                <c:pt idx="3267">
                  <c:v>42272</c:v>
                </c:pt>
                <c:pt idx="3268">
                  <c:v>42275</c:v>
                </c:pt>
                <c:pt idx="3269">
                  <c:v>42276</c:v>
                </c:pt>
                <c:pt idx="3270">
                  <c:v>42277</c:v>
                </c:pt>
                <c:pt idx="3271">
                  <c:v>42285</c:v>
                </c:pt>
                <c:pt idx="3272">
                  <c:v>42286</c:v>
                </c:pt>
                <c:pt idx="3273">
                  <c:v>42289</c:v>
                </c:pt>
                <c:pt idx="3274">
                  <c:v>42290</c:v>
                </c:pt>
                <c:pt idx="3275">
                  <c:v>42291</c:v>
                </c:pt>
                <c:pt idx="3276">
                  <c:v>42292</c:v>
                </c:pt>
                <c:pt idx="3277">
                  <c:v>42293</c:v>
                </c:pt>
                <c:pt idx="3278">
                  <c:v>42296</c:v>
                </c:pt>
                <c:pt idx="3279">
                  <c:v>42297</c:v>
                </c:pt>
                <c:pt idx="3280">
                  <c:v>42298</c:v>
                </c:pt>
                <c:pt idx="3281">
                  <c:v>42299</c:v>
                </c:pt>
                <c:pt idx="3282">
                  <c:v>42300</c:v>
                </c:pt>
                <c:pt idx="3283">
                  <c:v>42303</c:v>
                </c:pt>
                <c:pt idx="3284">
                  <c:v>42304</c:v>
                </c:pt>
                <c:pt idx="3285">
                  <c:v>42305</c:v>
                </c:pt>
                <c:pt idx="3286">
                  <c:v>42306</c:v>
                </c:pt>
                <c:pt idx="3287">
                  <c:v>42307</c:v>
                </c:pt>
                <c:pt idx="3288">
                  <c:v>42310</c:v>
                </c:pt>
                <c:pt idx="3289">
                  <c:v>42311</c:v>
                </c:pt>
                <c:pt idx="3290">
                  <c:v>42312</c:v>
                </c:pt>
                <c:pt idx="3291">
                  <c:v>42313</c:v>
                </c:pt>
                <c:pt idx="3292">
                  <c:v>42314</c:v>
                </c:pt>
                <c:pt idx="3293">
                  <c:v>42317</c:v>
                </c:pt>
                <c:pt idx="3294">
                  <c:v>42318</c:v>
                </c:pt>
                <c:pt idx="3295">
                  <c:v>42319</c:v>
                </c:pt>
                <c:pt idx="3296">
                  <c:v>42320</c:v>
                </c:pt>
                <c:pt idx="3297">
                  <c:v>42321</c:v>
                </c:pt>
                <c:pt idx="3298">
                  <c:v>42324</c:v>
                </c:pt>
                <c:pt idx="3299">
                  <c:v>42325</c:v>
                </c:pt>
                <c:pt idx="3300">
                  <c:v>42326</c:v>
                </c:pt>
                <c:pt idx="3301">
                  <c:v>42327</c:v>
                </c:pt>
                <c:pt idx="3302">
                  <c:v>42328</c:v>
                </c:pt>
                <c:pt idx="3303">
                  <c:v>42331</c:v>
                </c:pt>
                <c:pt idx="3304">
                  <c:v>42332</c:v>
                </c:pt>
                <c:pt idx="3305">
                  <c:v>42333</c:v>
                </c:pt>
                <c:pt idx="3306">
                  <c:v>42334</c:v>
                </c:pt>
                <c:pt idx="3307">
                  <c:v>42335</c:v>
                </c:pt>
                <c:pt idx="3308">
                  <c:v>42338</c:v>
                </c:pt>
                <c:pt idx="3309">
                  <c:v>42339</c:v>
                </c:pt>
                <c:pt idx="3310">
                  <c:v>42340</c:v>
                </c:pt>
                <c:pt idx="3311">
                  <c:v>42341</c:v>
                </c:pt>
                <c:pt idx="3312">
                  <c:v>42342</c:v>
                </c:pt>
                <c:pt idx="3313">
                  <c:v>42345</c:v>
                </c:pt>
                <c:pt idx="3314">
                  <c:v>42346</c:v>
                </c:pt>
                <c:pt idx="3315">
                  <c:v>42347</c:v>
                </c:pt>
                <c:pt idx="3316">
                  <c:v>42348</c:v>
                </c:pt>
                <c:pt idx="3317">
                  <c:v>42349</c:v>
                </c:pt>
                <c:pt idx="3318">
                  <c:v>42352</c:v>
                </c:pt>
                <c:pt idx="3319">
                  <c:v>42353</c:v>
                </c:pt>
                <c:pt idx="3320">
                  <c:v>42354</c:v>
                </c:pt>
                <c:pt idx="3321">
                  <c:v>42355</c:v>
                </c:pt>
                <c:pt idx="3322">
                  <c:v>42356</c:v>
                </c:pt>
                <c:pt idx="3323">
                  <c:v>42359</c:v>
                </c:pt>
                <c:pt idx="3324">
                  <c:v>42360</c:v>
                </c:pt>
                <c:pt idx="3325">
                  <c:v>42361</c:v>
                </c:pt>
                <c:pt idx="3326">
                  <c:v>42362</c:v>
                </c:pt>
                <c:pt idx="3327">
                  <c:v>42363</c:v>
                </c:pt>
                <c:pt idx="3328">
                  <c:v>42366</c:v>
                </c:pt>
                <c:pt idx="3329">
                  <c:v>42367</c:v>
                </c:pt>
                <c:pt idx="3330">
                  <c:v>42368</c:v>
                </c:pt>
                <c:pt idx="3331">
                  <c:v>42369</c:v>
                </c:pt>
                <c:pt idx="3332">
                  <c:v>42373</c:v>
                </c:pt>
                <c:pt idx="3333">
                  <c:v>42374</c:v>
                </c:pt>
                <c:pt idx="3334">
                  <c:v>42375</c:v>
                </c:pt>
                <c:pt idx="3335">
                  <c:v>42376</c:v>
                </c:pt>
                <c:pt idx="3336">
                  <c:v>42377</c:v>
                </c:pt>
                <c:pt idx="3337">
                  <c:v>42380</c:v>
                </c:pt>
                <c:pt idx="3338">
                  <c:v>42381</c:v>
                </c:pt>
                <c:pt idx="3339">
                  <c:v>42382</c:v>
                </c:pt>
                <c:pt idx="3340">
                  <c:v>42383</c:v>
                </c:pt>
                <c:pt idx="3341">
                  <c:v>42384</c:v>
                </c:pt>
                <c:pt idx="3342">
                  <c:v>42387</c:v>
                </c:pt>
                <c:pt idx="3343">
                  <c:v>42388</c:v>
                </c:pt>
                <c:pt idx="3344">
                  <c:v>42389</c:v>
                </c:pt>
                <c:pt idx="3345">
                  <c:v>42390</c:v>
                </c:pt>
                <c:pt idx="3346">
                  <c:v>42391</c:v>
                </c:pt>
                <c:pt idx="3347">
                  <c:v>42394</c:v>
                </c:pt>
                <c:pt idx="3348">
                  <c:v>42395</c:v>
                </c:pt>
                <c:pt idx="3349">
                  <c:v>42396</c:v>
                </c:pt>
                <c:pt idx="3350">
                  <c:v>42397</c:v>
                </c:pt>
                <c:pt idx="3351">
                  <c:v>42398</c:v>
                </c:pt>
                <c:pt idx="3352">
                  <c:v>42401</c:v>
                </c:pt>
                <c:pt idx="3353">
                  <c:v>42402</c:v>
                </c:pt>
                <c:pt idx="3354">
                  <c:v>42403</c:v>
                </c:pt>
                <c:pt idx="3355">
                  <c:v>42404</c:v>
                </c:pt>
                <c:pt idx="3356">
                  <c:v>42405</c:v>
                </c:pt>
                <c:pt idx="3357">
                  <c:v>42415</c:v>
                </c:pt>
                <c:pt idx="3358">
                  <c:v>42416</c:v>
                </c:pt>
                <c:pt idx="3359">
                  <c:v>42417</c:v>
                </c:pt>
                <c:pt idx="3360">
                  <c:v>42418</c:v>
                </c:pt>
                <c:pt idx="3361">
                  <c:v>42419</c:v>
                </c:pt>
                <c:pt idx="3362">
                  <c:v>42422</c:v>
                </c:pt>
                <c:pt idx="3363">
                  <c:v>42423</c:v>
                </c:pt>
                <c:pt idx="3364">
                  <c:v>42424</c:v>
                </c:pt>
                <c:pt idx="3365">
                  <c:v>42425</c:v>
                </c:pt>
                <c:pt idx="3366">
                  <c:v>42426</c:v>
                </c:pt>
                <c:pt idx="3367">
                  <c:v>42429</c:v>
                </c:pt>
                <c:pt idx="3368">
                  <c:v>42430</c:v>
                </c:pt>
                <c:pt idx="3369">
                  <c:v>42431</c:v>
                </c:pt>
                <c:pt idx="3370">
                  <c:v>42432</c:v>
                </c:pt>
                <c:pt idx="3371">
                  <c:v>42433</c:v>
                </c:pt>
                <c:pt idx="3372">
                  <c:v>42436</c:v>
                </c:pt>
                <c:pt idx="3373">
                  <c:v>42437</c:v>
                </c:pt>
                <c:pt idx="3374">
                  <c:v>42438</c:v>
                </c:pt>
                <c:pt idx="3375">
                  <c:v>42439</c:v>
                </c:pt>
                <c:pt idx="3376">
                  <c:v>42440</c:v>
                </c:pt>
                <c:pt idx="3377">
                  <c:v>42443</c:v>
                </c:pt>
                <c:pt idx="3378">
                  <c:v>42444</c:v>
                </c:pt>
                <c:pt idx="3379">
                  <c:v>42445</c:v>
                </c:pt>
                <c:pt idx="3380">
                  <c:v>42446</c:v>
                </c:pt>
                <c:pt idx="3381">
                  <c:v>42447</c:v>
                </c:pt>
                <c:pt idx="3382">
                  <c:v>42450</c:v>
                </c:pt>
                <c:pt idx="3383">
                  <c:v>42451</c:v>
                </c:pt>
                <c:pt idx="3384">
                  <c:v>42452</c:v>
                </c:pt>
                <c:pt idx="3385">
                  <c:v>42453</c:v>
                </c:pt>
                <c:pt idx="3386">
                  <c:v>42454</c:v>
                </c:pt>
                <c:pt idx="3387">
                  <c:v>42457</c:v>
                </c:pt>
                <c:pt idx="3388">
                  <c:v>42458</c:v>
                </c:pt>
                <c:pt idx="3389">
                  <c:v>42459</c:v>
                </c:pt>
                <c:pt idx="3390">
                  <c:v>42460</c:v>
                </c:pt>
                <c:pt idx="3391">
                  <c:v>42461</c:v>
                </c:pt>
                <c:pt idx="3392">
                  <c:v>42465</c:v>
                </c:pt>
                <c:pt idx="3393">
                  <c:v>42466</c:v>
                </c:pt>
                <c:pt idx="3394">
                  <c:v>42467</c:v>
                </c:pt>
                <c:pt idx="3395">
                  <c:v>42468</c:v>
                </c:pt>
                <c:pt idx="3396">
                  <c:v>42471</c:v>
                </c:pt>
                <c:pt idx="3397">
                  <c:v>42472</c:v>
                </c:pt>
                <c:pt idx="3398">
                  <c:v>42473</c:v>
                </c:pt>
                <c:pt idx="3399">
                  <c:v>42474</c:v>
                </c:pt>
                <c:pt idx="3400">
                  <c:v>42475</c:v>
                </c:pt>
                <c:pt idx="3401">
                  <c:v>42478</c:v>
                </c:pt>
                <c:pt idx="3402">
                  <c:v>42479</c:v>
                </c:pt>
                <c:pt idx="3403">
                  <c:v>42480</c:v>
                </c:pt>
                <c:pt idx="3404">
                  <c:v>42481</c:v>
                </c:pt>
                <c:pt idx="3405">
                  <c:v>42482</c:v>
                </c:pt>
                <c:pt idx="3406">
                  <c:v>42485</c:v>
                </c:pt>
                <c:pt idx="3407">
                  <c:v>42486</c:v>
                </c:pt>
                <c:pt idx="3408">
                  <c:v>42487</c:v>
                </c:pt>
                <c:pt idx="3409">
                  <c:v>42488</c:v>
                </c:pt>
                <c:pt idx="3410">
                  <c:v>42489</c:v>
                </c:pt>
                <c:pt idx="3411">
                  <c:v>42493</c:v>
                </c:pt>
                <c:pt idx="3412">
                  <c:v>42494</c:v>
                </c:pt>
                <c:pt idx="3413">
                  <c:v>42495</c:v>
                </c:pt>
                <c:pt idx="3414">
                  <c:v>42496</c:v>
                </c:pt>
                <c:pt idx="3415">
                  <c:v>42499</c:v>
                </c:pt>
                <c:pt idx="3416">
                  <c:v>42500</c:v>
                </c:pt>
                <c:pt idx="3417">
                  <c:v>42501</c:v>
                </c:pt>
                <c:pt idx="3418">
                  <c:v>42502</c:v>
                </c:pt>
                <c:pt idx="3419">
                  <c:v>42503</c:v>
                </c:pt>
                <c:pt idx="3420">
                  <c:v>42506</c:v>
                </c:pt>
                <c:pt idx="3421">
                  <c:v>42507</c:v>
                </c:pt>
                <c:pt idx="3422">
                  <c:v>42508</c:v>
                </c:pt>
                <c:pt idx="3423">
                  <c:v>42509</c:v>
                </c:pt>
                <c:pt idx="3424">
                  <c:v>42510</c:v>
                </c:pt>
                <c:pt idx="3425">
                  <c:v>42513</c:v>
                </c:pt>
                <c:pt idx="3426">
                  <c:v>42514</c:v>
                </c:pt>
                <c:pt idx="3427">
                  <c:v>42515</c:v>
                </c:pt>
                <c:pt idx="3428">
                  <c:v>42516</c:v>
                </c:pt>
                <c:pt idx="3429">
                  <c:v>42517</c:v>
                </c:pt>
                <c:pt idx="3430">
                  <c:v>42520</c:v>
                </c:pt>
                <c:pt idx="3431">
                  <c:v>42521</c:v>
                </c:pt>
                <c:pt idx="3432">
                  <c:v>42522</c:v>
                </c:pt>
                <c:pt idx="3433">
                  <c:v>42523</c:v>
                </c:pt>
                <c:pt idx="3434">
                  <c:v>42524</c:v>
                </c:pt>
                <c:pt idx="3435">
                  <c:v>42527</c:v>
                </c:pt>
                <c:pt idx="3436">
                  <c:v>42528</c:v>
                </c:pt>
                <c:pt idx="3437">
                  <c:v>42529</c:v>
                </c:pt>
                <c:pt idx="3438">
                  <c:v>42534</c:v>
                </c:pt>
                <c:pt idx="3439">
                  <c:v>42535</c:v>
                </c:pt>
                <c:pt idx="3440">
                  <c:v>42536</c:v>
                </c:pt>
                <c:pt idx="3441">
                  <c:v>42537</c:v>
                </c:pt>
                <c:pt idx="3442">
                  <c:v>42538</c:v>
                </c:pt>
                <c:pt idx="3443">
                  <c:v>42541</c:v>
                </c:pt>
                <c:pt idx="3444">
                  <c:v>42542</c:v>
                </c:pt>
                <c:pt idx="3445">
                  <c:v>42543</c:v>
                </c:pt>
                <c:pt idx="3446">
                  <c:v>42544</c:v>
                </c:pt>
                <c:pt idx="3447">
                  <c:v>42545</c:v>
                </c:pt>
                <c:pt idx="3448">
                  <c:v>42548</c:v>
                </c:pt>
                <c:pt idx="3449">
                  <c:v>42549</c:v>
                </c:pt>
                <c:pt idx="3450">
                  <c:v>42550</c:v>
                </c:pt>
                <c:pt idx="3451">
                  <c:v>42551</c:v>
                </c:pt>
                <c:pt idx="3452">
                  <c:v>42552</c:v>
                </c:pt>
                <c:pt idx="3453">
                  <c:v>42555</c:v>
                </c:pt>
                <c:pt idx="3454">
                  <c:v>42556</c:v>
                </c:pt>
                <c:pt idx="3455">
                  <c:v>42557</c:v>
                </c:pt>
                <c:pt idx="3456">
                  <c:v>42558</c:v>
                </c:pt>
                <c:pt idx="3457">
                  <c:v>42559</c:v>
                </c:pt>
                <c:pt idx="3458">
                  <c:v>42562</c:v>
                </c:pt>
                <c:pt idx="3459">
                  <c:v>42563</c:v>
                </c:pt>
                <c:pt idx="3460">
                  <c:v>42564</c:v>
                </c:pt>
                <c:pt idx="3461">
                  <c:v>42565</c:v>
                </c:pt>
                <c:pt idx="3462">
                  <c:v>42566</c:v>
                </c:pt>
                <c:pt idx="3463">
                  <c:v>42569</c:v>
                </c:pt>
                <c:pt idx="3464">
                  <c:v>42570</c:v>
                </c:pt>
                <c:pt idx="3465">
                  <c:v>42571</c:v>
                </c:pt>
                <c:pt idx="3466">
                  <c:v>42572</c:v>
                </c:pt>
                <c:pt idx="3467">
                  <c:v>42573</c:v>
                </c:pt>
                <c:pt idx="3468">
                  <c:v>42576</c:v>
                </c:pt>
                <c:pt idx="3469">
                  <c:v>42577</c:v>
                </c:pt>
                <c:pt idx="3470">
                  <c:v>42578</c:v>
                </c:pt>
                <c:pt idx="3471">
                  <c:v>42579</c:v>
                </c:pt>
                <c:pt idx="3472">
                  <c:v>42580</c:v>
                </c:pt>
                <c:pt idx="3473">
                  <c:v>42583</c:v>
                </c:pt>
                <c:pt idx="3474">
                  <c:v>42584</c:v>
                </c:pt>
                <c:pt idx="3475">
                  <c:v>42585</c:v>
                </c:pt>
                <c:pt idx="3476">
                  <c:v>42586</c:v>
                </c:pt>
                <c:pt idx="3477">
                  <c:v>42587</c:v>
                </c:pt>
                <c:pt idx="3478">
                  <c:v>42590</c:v>
                </c:pt>
                <c:pt idx="3479">
                  <c:v>42591</c:v>
                </c:pt>
                <c:pt idx="3480">
                  <c:v>42592</c:v>
                </c:pt>
                <c:pt idx="3481">
                  <c:v>42593</c:v>
                </c:pt>
                <c:pt idx="3482">
                  <c:v>42594</c:v>
                </c:pt>
                <c:pt idx="3483">
                  <c:v>42597</c:v>
                </c:pt>
                <c:pt idx="3484">
                  <c:v>42598</c:v>
                </c:pt>
                <c:pt idx="3485">
                  <c:v>42599</c:v>
                </c:pt>
                <c:pt idx="3486">
                  <c:v>42600</c:v>
                </c:pt>
                <c:pt idx="3487">
                  <c:v>42601</c:v>
                </c:pt>
                <c:pt idx="3488">
                  <c:v>42604</c:v>
                </c:pt>
                <c:pt idx="3489">
                  <c:v>42605</c:v>
                </c:pt>
                <c:pt idx="3490">
                  <c:v>42606</c:v>
                </c:pt>
                <c:pt idx="3491">
                  <c:v>42607</c:v>
                </c:pt>
                <c:pt idx="3492">
                  <c:v>42608</c:v>
                </c:pt>
                <c:pt idx="3493">
                  <c:v>42611</c:v>
                </c:pt>
                <c:pt idx="3494">
                  <c:v>42612</c:v>
                </c:pt>
                <c:pt idx="3495">
                  <c:v>42613</c:v>
                </c:pt>
                <c:pt idx="3496">
                  <c:v>42614</c:v>
                </c:pt>
                <c:pt idx="3497">
                  <c:v>42615</c:v>
                </c:pt>
                <c:pt idx="3498">
                  <c:v>42618</c:v>
                </c:pt>
                <c:pt idx="3499">
                  <c:v>42619</c:v>
                </c:pt>
                <c:pt idx="3500">
                  <c:v>42620</c:v>
                </c:pt>
                <c:pt idx="3501">
                  <c:v>42621</c:v>
                </c:pt>
                <c:pt idx="3502">
                  <c:v>42622</c:v>
                </c:pt>
                <c:pt idx="3503">
                  <c:v>42625</c:v>
                </c:pt>
                <c:pt idx="3504">
                  <c:v>42626</c:v>
                </c:pt>
                <c:pt idx="3505">
                  <c:v>42627</c:v>
                </c:pt>
                <c:pt idx="3506">
                  <c:v>42632</c:v>
                </c:pt>
                <c:pt idx="3507">
                  <c:v>42633</c:v>
                </c:pt>
                <c:pt idx="3508">
                  <c:v>42634</c:v>
                </c:pt>
                <c:pt idx="3509">
                  <c:v>42635</c:v>
                </c:pt>
                <c:pt idx="3510">
                  <c:v>42636</c:v>
                </c:pt>
                <c:pt idx="3511">
                  <c:v>42639</c:v>
                </c:pt>
                <c:pt idx="3512">
                  <c:v>42640</c:v>
                </c:pt>
                <c:pt idx="3513">
                  <c:v>42641</c:v>
                </c:pt>
                <c:pt idx="3514">
                  <c:v>42642</c:v>
                </c:pt>
                <c:pt idx="3515">
                  <c:v>42643</c:v>
                </c:pt>
                <c:pt idx="3516">
                  <c:v>42653</c:v>
                </c:pt>
                <c:pt idx="3517">
                  <c:v>42654</c:v>
                </c:pt>
                <c:pt idx="3518">
                  <c:v>42655</c:v>
                </c:pt>
                <c:pt idx="3519">
                  <c:v>42656</c:v>
                </c:pt>
                <c:pt idx="3520">
                  <c:v>42657</c:v>
                </c:pt>
                <c:pt idx="3521">
                  <c:v>42660</c:v>
                </c:pt>
                <c:pt idx="3522">
                  <c:v>42661</c:v>
                </c:pt>
                <c:pt idx="3523">
                  <c:v>42662</c:v>
                </c:pt>
                <c:pt idx="3524">
                  <c:v>42663</c:v>
                </c:pt>
                <c:pt idx="3525">
                  <c:v>42664</c:v>
                </c:pt>
                <c:pt idx="3526">
                  <c:v>42667</c:v>
                </c:pt>
                <c:pt idx="3527">
                  <c:v>42668</c:v>
                </c:pt>
                <c:pt idx="3528">
                  <c:v>42669</c:v>
                </c:pt>
                <c:pt idx="3529">
                  <c:v>42670</c:v>
                </c:pt>
                <c:pt idx="3530">
                  <c:v>42671</c:v>
                </c:pt>
                <c:pt idx="3531">
                  <c:v>42674</c:v>
                </c:pt>
                <c:pt idx="3532">
                  <c:v>42675</c:v>
                </c:pt>
                <c:pt idx="3533">
                  <c:v>42676</c:v>
                </c:pt>
                <c:pt idx="3534">
                  <c:v>42677</c:v>
                </c:pt>
                <c:pt idx="3535">
                  <c:v>42678</c:v>
                </c:pt>
                <c:pt idx="3536">
                  <c:v>42681</c:v>
                </c:pt>
                <c:pt idx="3537">
                  <c:v>42682</c:v>
                </c:pt>
                <c:pt idx="3538">
                  <c:v>42683</c:v>
                </c:pt>
                <c:pt idx="3539">
                  <c:v>42684</c:v>
                </c:pt>
                <c:pt idx="3540">
                  <c:v>42685</c:v>
                </c:pt>
                <c:pt idx="3541">
                  <c:v>42688</c:v>
                </c:pt>
                <c:pt idx="3542">
                  <c:v>42689</c:v>
                </c:pt>
                <c:pt idx="3543">
                  <c:v>42690</c:v>
                </c:pt>
                <c:pt idx="3544">
                  <c:v>42691</c:v>
                </c:pt>
                <c:pt idx="3545">
                  <c:v>42692</c:v>
                </c:pt>
                <c:pt idx="3546">
                  <c:v>42695</c:v>
                </c:pt>
                <c:pt idx="3547">
                  <c:v>42696</c:v>
                </c:pt>
                <c:pt idx="3548">
                  <c:v>42697</c:v>
                </c:pt>
                <c:pt idx="3549">
                  <c:v>42698</c:v>
                </c:pt>
                <c:pt idx="3550">
                  <c:v>42699</c:v>
                </c:pt>
                <c:pt idx="3551">
                  <c:v>42702</c:v>
                </c:pt>
                <c:pt idx="3552">
                  <c:v>42703</c:v>
                </c:pt>
                <c:pt idx="3553">
                  <c:v>42704</c:v>
                </c:pt>
                <c:pt idx="3554">
                  <c:v>42705</c:v>
                </c:pt>
                <c:pt idx="3555">
                  <c:v>42706</c:v>
                </c:pt>
                <c:pt idx="3556">
                  <c:v>42709</c:v>
                </c:pt>
                <c:pt idx="3557">
                  <c:v>42710</c:v>
                </c:pt>
                <c:pt idx="3558">
                  <c:v>42711</c:v>
                </c:pt>
                <c:pt idx="3559">
                  <c:v>42712</c:v>
                </c:pt>
                <c:pt idx="3560">
                  <c:v>42713</c:v>
                </c:pt>
                <c:pt idx="3561">
                  <c:v>42716</c:v>
                </c:pt>
                <c:pt idx="3562">
                  <c:v>42717</c:v>
                </c:pt>
                <c:pt idx="3563">
                  <c:v>42718</c:v>
                </c:pt>
                <c:pt idx="3564">
                  <c:v>42719</c:v>
                </c:pt>
                <c:pt idx="3565">
                  <c:v>42720</c:v>
                </c:pt>
                <c:pt idx="3566">
                  <c:v>42723</c:v>
                </c:pt>
                <c:pt idx="3567">
                  <c:v>42724</c:v>
                </c:pt>
                <c:pt idx="3568">
                  <c:v>42725</c:v>
                </c:pt>
                <c:pt idx="3569">
                  <c:v>42726</c:v>
                </c:pt>
                <c:pt idx="3570">
                  <c:v>42727</c:v>
                </c:pt>
                <c:pt idx="3571">
                  <c:v>42730</c:v>
                </c:pt>
                <c:pt idx="3572">
                  <c:v>42731</c:v>
                </c:pt>
                <c:pt idx="3573">
                  <c:v>42732</c:v>
                </c:pt>
                <c:pt idx="3574">
                  <c:v>42733</c:v>
                </c:pt>
                <c:pt idx="3575">
                  <c:v>42734</c:v>
                </c:pt>
                <c:pt idx="3576">
                  <c:v>42738</c:v>
                </c:pt>
                <c:pt idx="3577">
                  <c:v>42739</c:v>
                </c:pt>
                <c:pt idx="3578">
                  <c:v>42740</c:v>
                </c:pt>
                <c:pt idx="3579">
                  <c:v>42741</c:v>
                </c:pt>
                <c:pt idx="3580">
                  <c:v>42744</c:v>
                </c:pt>
                <c:pt idx="3581">
                  <c:v>42745</c:v>
                </c:pt>
                <c:pt idx="3582">
                  <c:v>42746</c:v>
                </c:pt>
                <c:pt idx="3583">
                  <c:v>42747</c:v>
                </c:pt>
                <c:pt idx="3584">
                  <c:v>42748</c:v>
                </c:pt>
                <c:pt idx="3585">
                  <c:v>42751</c:v>
                </c:pt>
                <c:pt idx="3586">
                  <c:v>42752</c:v>
                </c:pt>
                <c:pt idx="3587">
                  <c:v>42753</c:v>
                </c:pt>
                <c:pt idx="3588">
                  <c:v>42754</c:v>
                </c:pt>
                <c:pt idx="3589">
                  <c:v>42755</c:v>
                </c:pt>
                <c:pt idx="3590">
                  <c:v>42758</c:v>
                </c:pt>
                <c:pt idx="3591">
                  <c:v>42759</c:v>
                </c:pt>
                <c:pt idx="3592">
                  <c:v>42760</c:v>
                </c:pt>
                <c:pt idx="3593">
                  <c:v>42761</c:v>
                </c:pt>
                <c:pt idx="3594">
                  <c:v>42769</c:v>
                </c:pt>
                <c:pt idx="3595">
                  <c:v>42772</c:v>
                </c:pt>
                <c:pt idx="3596">
                  <c:v>42773</c:v>
                </c:pt>
                <c:pt idx="3597">
                  <c:v>42774</c:v>
                </c:pt>
                <c:pt idx="3598">
                  <c:v>42775</c:v>
                </c:pt>
                <c:pt idx="3599">
                  <c:v>42776</c:v>
                </c:pt>
                <c:pt idx="3600">
                  <c:v>42779</c:v>
                </c:pt>
                <c:pt idx="3601">
                  <c:v>42780</c:v>
                </c:pt>
                <c:pt idx="3602">
                  <c:v>42781</c:v>
                </c:pt>
                <c:pt idx="3603">
                  <c:v>42782</c:v>
                </c:pt>
                <c:pt idx="3604">
                  <c:v>42783</c:v>
                </c:pt>
                <c:pt idx="3605">
                  <c:v>42786</c:v>
                </c:pt>
                <c:pt idx="3606">
                  <c:v>42787</c:v>
                </c:pt>
                <c:pt idx="3607">
                  <c:v>42788</c:v>
                </c:pt>
                <c:pt idx="3608">
                  <c:v>42789</c:v>
                </c:pt>
                <c:pt idx="3609">
                  <c:v>42790</c:v>
                </c:pt>
                <c:pt idx="3610">
                  <c:v>42793</c:v>
                </c:pt>
                <c:pt idx="3611">
                  <c:v>42794</c:v>
                </c:pt>
                <c:pt idx="3612">
                  <c:v>42795</c:v>
                </c:pt>
                <c:pt idx="3613">
                  <c:v>42796</c:v>
                </c:pt>
                <c:pt idx="3614">
                  <c:v>42797</c:v>
                </c:pt>
                <c:pt idx="3615">
                  <c:v>42800</c:v>
                </c:pt>
                <c:pt idx="3616">
                  <c:v>42801</c:v>
                </c:pt>
                <c:pt idx="3617">
                  <c:v>42802</c:v>
                </c:pt>
                <c:pt idx="3618">
                  <c:v>42803</c:v>
                </c:pt>
                <c:pt idx="3619">
                  <c:v>42804</c:v>
                </c:pt>
                <c:pt idx="3620">
                  <c:v>42807</c:v>
                </c:pt>
                <c:pt idx="3621">
                  <c:v>42808</c:v>
                </c:pt>
                <c:pt idx="3622">
                  <c:v>42809</c:v>
                </c:pt>
                <c:pt idx="3623">
                  <c:v>42810</c:v>
                </c:pt>
                <c:pt idx="3624">
                  <c:v>42811</c:v>
                </c:pt>
                <c:pt idx="3625">
                  <c:v>42814</c:v>
                </c:pt>
                <c:pt idx="3626">
                  <c:v>42815</c:v>
                </c:pt>
                <c:pt idx="3627">
                  <c:v>42816</c:v>
                </c:pt>
                <c:pt idx="3628">
                  <c:v>42817</c:v>
                </c:pt>
                <c:pt idx="3629">
                  <c:v>42818</c:v>
                </c:pt>
                <c:pt idx="3630">
                  <c:v>42821</c:v>
                </c:pt>
                <c:pt idx="3631">
                  <c:v>42822</c:v>
                </c:pt>
                <c:pt idx="3632">
                  <c:v>42823</c:v>
                </c:pt>
                <c:pt idx="3633">
                  <c:v>42824</c:v>
                </c:pt>
                <c:pt idx="3634">
                  <c:v>42825</c:v>
                </c:pt>
                <c:pt idx="3635">
                  <c:v>42830</c:v>
                </c:pt>
                <c:pt idx="3636">
                  <c:v>42831</c:v>
                </c:pt>
                <c:pt idx="3637">
                  <c:v>42832</c:v>
                </c:pt>
                <c:pt idx="3638">
                  <c:v>42835</c:v>
                </c:pt>
                <c:pt idx="3639">
                  <c:v>42836</c:v>
                </c:pt>
                <c:pt idx="3640">
                  <c:v>42837</c:v>
                </c:pt>
                <c:pt idx="3641">
                  <c:v>42838</c:v>
                </c:pt>
                <c:pt idx="3642">
                  <c:v>42839</c:v>
                </c:pt>
                <c:pt idx="3643">
                  <c:v>42842</c:v>
                </c:pt>
                <c:pt idx="3644">
                  <c:v>42843</c:v>
                </c:pt>
                <c:pt idx="3645">
                  <c:v>42844</c:v>
                </c:pt>
                <c:pt idx="3646">
                  <c:v>42845</c:v>
                </c:pt>
                <c:pt idx="3647">
                  <c:v>42846</c:v>
                </c:pt>
                <c:pt idx="3648">
                  <c:v>42849</c:v>
                </c:pt>
                <c:pt idx="3649">
                  <c:v>42850</c:v>
                </c:pt>
                <c:pt idx="3650">
                  <c:v>42851</c:v>
                </c:pt>
                <c:pt idx="3651">
                  <c:v>42852</c:v>
                </c:pt>
                <c:pt idx="3652">
                  <c:v>42853</c:v>
                </c:pt>
                <c:pt idx="3653">
                  <c:v>42857</c:v>
                </c:pt>
                <c:pt idx="3654">
                  <c:v>42858</c:v>
                </c:pt>
                <c:pt idx="3655">
                  <c:v>42859</c:v>
                </c:pt>
                <c:pt idx="3656">
                  <c:v>42860</c:v>
                </c:pt>
                <c:pt idx="3657">
                  <c:v>42863</c:v>
                </c:pt>
                <c:pt idx="3658">
                  <c:v>42864</c:v>
                </c:pt>
                <c:pt idx="3659">
                  <c:v>42865</c:v>
                </c:pt>
                <c:pt idx="3660">
                  <c:v>42866</c:v>
                </c:pt>
                <c:pt idx="3661">
                  <c:v>42867</c:v>
                </c:pt>
                <c:pt idx="3662">
                  <c:v>42870</c:v>
                </c:pt>
                <c:pt idx="3663">
                  <c:v>42871</c:v>
                </c:pt>
                <c:pt idx="3664">
                  <c:v>42872</c:v>
                </c:pt>
                <c:pt idx="3665">
                  <c:v>42873</c:v>
                </c:pt>
                <c:pt idx="3666">
                  <c:v>42874</c:v>
                </c:pt>
                <c:pt idx="3667">
                  <c:v>42877</c:v>
                </c:pt>
                <c:pt idx="3668">
                  <c:v>42878</c:v>
                </c:pt>
                <c:pt idx="3669">
                  <c:v>42879</c:v>
                </c:pt>
                <c:pt idx="3670">
                  <c:v>42880</c:v>
                </c:pt>
                <c:pt idx="3671">
                  <c:v>42881</c:v>
                </c:pt>
                <c:pt idx="3672">
                  <c:v>42886</c:v>
                </c:pt>
                <c:pt idx="3673">
                  <c:v>42887</c:v>
                </c:pt>
                <c:pt idx="3674">
                  <c:v>42888</c:v>
                </c:pt>
                <c:pt idx="3675">
                  <c:v>42891</c:v>
                </c:pt>
                <c:pt idx="3676">
                  <c:v>42892</c:v>
                </c:pt>
                <c:pt idx="3677">
                  <c:v>42893</c:v>
                </c:pt>
                <c:pt idx="3678">
                  <c:v>42894</c:v>
                </c:pt>
                <c:pt idx="3679">
                  <c:v>42895</c:v>
                </c:pt>
                <c:pt idx="3680">
                  <c:v>42898</c:v>
                </c:pt>
                <c:pt idx="3681">
                  <c:v>42899</c:v>
                </c:pt>
                <c:pt idx="3682">
                  <c:v>42900</c:v>
                </c:pt>
                <c:pt idx="3683">
                  <c:v>42901</c:v>
                </c:pt>
                <c:pt idx="3684">
                  <c:v>42902</c:v>
                </c:pt>
                <c:pt idx="3685">
                  <c:v>42905</c:v>
                </c:pt>
                <c:pt idx="3686">
                  <c:v>42906</c:v>
                </c:pt>
                <c:pt idx="3687">
                  <c:v>42907</c:v>
                </c:pt>
                <c:pt idx="3688">
                  <c:v>42908</c:v>
                </c:pt>
                <c:pt idx="3689">
                  <c:v>42909</c:v>
                </c:pt>
                <c:pt idx="3690">
                  <c:v>42912</c:v>
                </c:pt>
                <c:pt idx="3691">
                  <c:v>42913</c:v>
                </c:pt>
                <c:pt idx="3692">
                  <c:v>42914</c:v>
                </c:pt>
                <c:pt idx="3693">
                  <c:v>42915</c:v>
                </c:pt>
                <c:pt idx="3694">
                  <c:v>42916</c:v>
                </c:pt>
                <c:pt idx="3695">
                  <c:v>42919</c:v>
                </c:pt>
                <c:pt idx="3696">
                  <c:v>42920</c:v>
                </c:pt>
                <c:pt idx="3697">
                  <c:v>42921</c:v>
                </c:pt>
                <c:pt idx="3698">
                  <c:v>42922</c:v>
                </c:pt>
                <c:pt idx="3699">
                  <c:v>42923</c:v>
                </c:pt>
                <c:pt idx="3700">
                  <c:v>42926</c:v>
                </c:pt>
                <c:pt idx="3701">
                  <c:v>42927</c:v>
                </c:pt>
                <c:pt idx="3702">
                  <c:v>42928</c:v>
                </c:pt>
                <c:pt idx="3703">
                  <c:v>42929</c:v>
                </c:pt>
                <c:pt idx="3704">
                  <c:v>42930</c:v>
                </c:pt>
                <c:pt idx="3705">
                  <c:v>42933</c:v>
                </c:pt>
                <c:pt idx="3706">
                  <c:v>42934</c:v>
                </c:pt>
                <c:pt idx="3707">
                  <c:v>42935</c:v>
                </c:pt>
                <c:pt idx="3708">
                  <c:v>42936</c:v>
                </c:pt>
                <c:pt idx="3709">
                  <c:v>42937</c:v>
                </c:pt>
                <c:pt idx="3710">
                  <c:v>42940</c:v>
                </c:pt>
                <c:pt idx="3711">
                  <c:v>42941</c:v>
                </c:pt>
                <c:pt idx="3712">
                  <c:v>42942</c:v>
                </c:pt>
                <c:pt idx="3713">
                  <c:v>42943</c:v>
                </c:pt>
                <c:pt idx="3714">
                  <c:v>42944</c:v>
                </c:pt>
                <c:pt idx="3715">
                  <c:v>42947</c:v>
                </c:pt>
                <c:pt idx="3716">
                  <c:v>42948</c:v>
                </c:pt>
                <c:pt idx="3717">
                  <c:v>42949</c:v>
                </c:pt>
                <c:pt idx="3718">
                  <c:v>42950</c:v>
                </c:pt>
                <c:pt idx="3719">
                  <c:v>42951</c:v>
                </c:pt>
                <c:pt idx="3720">
                  <c:v>42954</c:v>
                </c:pt>
                <c:pt idx="3721">
                  <c:v>42955</c:v>
                </c:pt>
                <c:pt idx="3722">
                  <c:v>42956</c:v>
                </c:pt>
                <c:pt idx="3723">
                  <c:v>42957</c:v>
                </c:pt>
                <c:pt idx="3724">
                  <c:v>42958</c:v>
                </c:pt>
                <c:pt idx="3725">
                  <c:v>42961</c:v>
                </c:pt>
                <c:pt idx="3726">
                  <c:v>42962</c:v>
                </c:pt>
                <c:pt idx="3727">
                  <c:v>42963</c:v>
                </c:pt>
                <c:pt idx="3728">
                  <c:v>42964</c:v>
                </c:pt>
                <c:pt idx="3729">
                  <c:v>42965</c:v>
                </c:pt>
                <c:pt idx="3730">
                  <c:v>42968</c:v>
                </c:pt>
                <c:pt idx="3731">
                  <c:v>42969</c:v>
                </c:pt>
                <c:pt idx="3732">
                  <c:v>42970</c:v>
                </c:pt>
                <c:pt idx="3733">
                  <c:v>42971</c:v>
                </c:pt>
                <c:pt idx="3734">
                  <c:v>42972</c:v>
                </c:pt>
                <c:pt idx="3735">
                  <c:v>42975</c:v>
                </c:pt>
                <c:pt idx="3736">
                  <c:v>42976</c:v>
                </c:pt>
                <c:pt idx="3737">
                  <c:v>42977</c:v>
                </c:pt>
                <c:pt idx="3738">
                  <c:v>42978</c:v>
                </c:pt>
                <c:pt idx="3739">
                  <c:v>42979</c:v>
                </c:pt>
                <c:pt idx="3740">
                  <c:v>42982</c:v>
                </c:pt>
                <c:pt idx="3741">
                  <c:v>42983</c:v>
                </c:pt>
                <c:pt idx="3742">
                  <c:v>42984</c:v>
                </c:pt>
                <c:pt idx="3743">
                  <c:v>42985</c:v>
                </c:pt>
                <c:pt idx="3744">
                  <c:v>42986</c:v>
                </c:pt>
                <c:pt idx="3745">
                  <c:v>42989</c:v>
                </c:pt>
                <c:pt idx="3746">
                  <c:v>42990</c:v>
                </c:pt>
                <c:pt idx="3747">
                  <c:v>42991</c:v>
                </c:pt>
                <c:pt idx="3748">
                  <c:v>42992</c:v>
                </c:pt>
                <c:pt idx="3749">
                  <c:v>42993</c:v>
                </c:pt>
                <c:pt idx="3750">
                  <c:v>42996</c:v>
                </c:pt>
                <c:pt idx="3751">
                  <c:v>42997</c:v>
                </c:pt>
                <c:pt idx="3752">
                  <c:v>42998</c:v>
                </c:pt>
                <c:pt idx="3753">
                  <c:v>42999</c:v>
                </c:pt>
                <c:pt idx="3754">
                  <c:v>43000</c:v>
                </c:pt>
                <c:pt idx="3755">
                  <c:v>43003</c:v>
                </c:pt>
                <c:pt idx="3756">
                  <c:v>43004</c:v>
                </c:pt>
                <c:pt idx="3757">
                  <c:v>43005</c:v>
                </c:pt>
                <c:pt idx="3758">
                  <c:v>43006</c:v>
                </c:pt>
                <c:pt idx="3759">
                  <c:v>43007</c:v>
                </c:pt>
                <c:pt idx="3760">
                  <c:v>43017</c:v>
                </c:pt>
                <c:pt idx="3761">
                  <c:v>43018</c:v>
                </c:pt>
                <c:pt idx="3762">
                  <c:v>43019</c:v>
                </c:pt>
                <c:pt idx="3763">
                  <c:v>43020</c:v>
                </c:pt>
                <c:pt idx="3764">
                  <c:v>43021</c:v>
                </c:pt>
                <c:pt idx="3765">
                  <c:v>43024</c:v>
                </c:pt>
                <c:pt idx="3766">
                  <c:v>43025</c:v>
                </c:pt>
                <c:pt idx="3767">
                  <c:v>43026</c:v>
                </c:pt>
                <c:pt idx="3768">
                  <c:v>43027</c:v>
                </c:pt>
                <c:pt idx="3769">
                  <c:v>43028</c:v>
                </c:pt>
                <c:pt idx="3770">
                  <c:v>43031</c:v>
                </c:pt>
                <c:pt idx="3771">
                  <c:v>43032</c:v>
                </c:pt>
                <c:pt idx="3772">
                  <c:v>43033</c:v>
                </c:pt>
                <c:pt idx="3773">
                  <c:v>43034</c:v>
                </c:pt>
                <c:pt idx="3774">
                  <c:v>43035</c:v>
                </c:pt>
                <c:pt idx="3775">
                  <c:v>43038</c:v>
                </c:pt>
                <c:pt idx="3776">
                  <c:v>43039</c:v>
                </c:pt>
                <c:pt idx="3777">
                  <c:v>43040</c:v>
                </c:pt>
                <c:pt idx="3778">
                  <c:v>43041</c:v>
                </c:pt>
                <c:pt idx="3779">
                  <c:v>43042</c:v>
                </c:pt>
                <c:pt idx="3780">
                  <c:v>43045</c:v>
                </c:pt>
                <c:pt idx="3781">
                  <c:v>43046</c:v>
                </c:pt>
                <c:pt idx="3782">
                  <c:v>43047</c:v>
                </c:pt>
                <c:pt idx="3783">
                  <c:v>43048</c:v>
                </c:pt>
                <c:pt idx="3784">
                  <c:v>43049</c:v>
                </c:pt>
                <c:pt idx="3785">
                  <c:v>43052</c:v>
                </c:pt>
                <c:pt idx="3786">
                  <c:v>43053</c:v>
                </c:pt>
                <c:pt idx="3787">
                  <c:v>43054</c:v>
                </c:pt>
                <c:pt idx="3788">
                  <c:v>43055</c:v>
                </c:pt>
                <c:pt idx="3789">
                  <c:v>43056</c:v>
                </c:pt>
                <c:pt idx="3790">
                  <c:v>43059</c:v>
                </c:pt>
                <c:pt idx="3791">
                  <c:v>43060</c:v>
                </c:pt>
                <c:pt idx="3792">
                  <c:v>43061</c:v>
                </c:pt>
                <c:pt idx="3793">
                  <c:v>43062</c:v>
                </c:pt>
                <c:pt idx="3794">
                  <c:v>43063</c:v>
                </c:pt>
                <c:pt idx="3795">
                  <c:v>43066</c:v>
                </c:pt>
                <c:pt idx="3796">
                  <c:v>43067</c:v>
                </c:pt>
                <c:pt idx="3797">
                  <c:v>43068</c:v>
                </c:pt>
                <c:pt idx="3798">
                  <c:v>43069</c:v>
                </c:pt>
                <c:pt idx="3799">
                  <c:v>43070</c:v>
                </c:pt>
                <c:pt idx="3800">
                  <c:v>43073</c:v>
                </c:pt>
                <c:pt idx="3801">
                  <c:v>43074</c:v>
                </c:pt>
                <c:pt idx="3802">
                  <c:v>43075</c:v>
                </c:pt>
                <c:pt idx="3803">
                  <c:v>43076</c:v>
                </c:pt>
                <c:pt idx="3804">
                  <c:v>43077</c:v>
                </c:pt>
                <c:pt idx="3805">
                  <c:v>43080</c:v>
                </c:pt>
                <c:pt idx="3806">
                  <c:v>43081</c:v>
                </c:pt>
                <c:pt idx="3807">
                  <c:v>43082</c:v>
                </c:pt>
                <c:pt idx="3808">
                  <c:v>43083</c:v>
                </c:pt>
                <c:pt idx="3809">
                  <c:v>43084</c:v>
                </c:pt>
                <c:pt idx="3810">
                  <c:v>43087</c:v>
                </c:pt>
                <c:pt idx="3811">
                  <c:v>43088</c:v>
                </c:pt>
                <c:pt idx="3812">
                  <c:v>43089</c:v>
                </c:pt>
                <c:pt idx="3813">
                  <c:v>43090</c:v>
                </c:pt>
                <c:pt idx="3814">
                  <c:v>43091</c:v>
                </c:pt>
                <c:pt idx="3815">
                  <c:v>43094</c:v>
                </c:pt>
                <c:pt idx="3816">
                  <c:v>43095</c:v>
                </c:pt>
                <c:pt idx="3817">
                  <c:v>43096</c:v>
                </c:pt>
                <c:pt idx="3818">
                  <c:v>43097</c:v>
                </c:pt>
                <c:pt idx="3819">
                  <c:v>43098</c:v>
                </c:pt>
                <c:pt idx="3820">
                  <c:v>43102</c:v>
                </c:pt>
                <c:pt idx="3821">
                  <c:v>43103</c:v>
                </c:pt>
                <c:pt idx="3822">
                  <c:v>43104</c:v>
                </c:pt>
                <c:pt idx="3823">
                  <c:v>43105</c:v>
                </c:pt>
                <c:pt idx="3824">
                  <c:v>43108</c:v>
                </c:pt>
                <c:pt idx="3825">
                  <c:v>43109</c:v>
                </c:pt>
                <c:pt idx="3826">
                  <c:v>43110</c:v>
                </c:pt>
                <c:pt idx="3827">
                  <c:v>43111</c:v>
                </c:pt>
                <c:pt idx="3828">
                  <c:v>43112</c:v>
                </c:pt>
                <c:pt idx="3829">
                  <c:v>43115</c:v>
                </c:pt>
                <c:pt idx="3830">
                  <c:v>43116</c:v>
                </c:pt>
                <c:pt idx="3831">
                  <c:v>43117</c:v>
                </c:pt>
                <c:pt idx="3832">
                  <c:v>43118</c:v>
                </c:pt>
                <c:pt idx="3833">
                  <c:v>43119</c:v>
                </c:pt>
                <c:pt idx="3834">
                  <c:v>43122</c:v>
                </c:pt>
                <c:pt idx="3835">
                  <c:v>43123</c:v>
                </c:pt>
                <c:pt idx="3836">
                  <c:v>43124</c:v>
                </c:pt>
                <c:pt idx="3837">
                  <c:v>43125</c:v>
                </c:pt>
                <c:pt idx="3838">
                  <c:v>43126</c:v>
                </c:pt>
                <c:pt idx="3839">
                  <c:v>43129</c:v>
                </c:pt>
                <c:pt idx="3840">
                  <c:v>43130</c:v>
                </c:pt>
                <c:pt idx="3841">
                  <c:v>43131</c:v>
                </c:pt>
                <c:pt idx="3842">
                  <c:v>43132</c:v>
                </c:pt>
                <c:pt idx="3843">
                  <c:v>43133</c:v>
                </c:pt>
                <c:pt idx="3844">
                  <c:v>43136</c:v>
                </c:pt>
                <c:pt idx="3845">
                  <c:v>43137</c:v>
                </c:pt>
                <c:pt idx="3846">
                  <c:v>43138</c:v>
                </c:pt>
                <c:pt idx="3847">
                  <c:v>43139</c:v>
                </c:pt>
                <c:pt idx="3848">
                  <c:v>43140</c:v>
                </c:pt>
                <c:pt idx="3849">
                  <c:v>43143</c:v>
                </c:pt>
                <c:pt idx="3850">
                  <c:v>43144</c:v>
                </c:pt>
                <c:pt idx="3851">
                  <c:v>43145</c:v>
                </c:pt>
                <c:pt idx="3852">
                  <c:v>43153</c:v>
                </c:pt>
                <c:pt idx="3853">
                  <c:v>43154</c:v>
                </c:pt>
                <c:pt idx="3854">
                  <c:v>43157</c:v>
                </c:pt>
                <c:pt idx="3855">
                  <c:v>43158</c:v>
                </c:pt>
                <c:pt idx="3856">
                  <c:v>43159</c:v>
                </c:pt>
                <c:pt idx="3857">
                  <c:v>43160</c:v>
                </c:pt>
                <c:pt idx="3858">
                  <c:v>43161</c:v>
                </c:pt>
                <c:pt idx="3859">
                  <c:v>43164</c:v>
                </c:pt>
                <c:pt idx="3860">
                  <c:v>43165</c:v>
                </c:pt>
                <c:pt idx="3861">
                  <c:v>43166</c:v>
                </c:pt>
                <c:pt idx="3862">
                  <c:v>43167</c:v>
                </c:pt>
                <c:pt idx="3863">
                  <c:v>43168</c:v>
                </c:pt>
                <c:pt idx="3864">
                  <c:v>43171</c:v>
                </c:pt>
                <c:pt idx="3865">
                  <c:v>43172</c:v>
                </c:pt>
                <c:pt idx="3866">
                  <c:v>43173</c:v>
                </c:pt>
                <c:pt idx="3867">
                  <c:v>43174</c:v>
                </c:pt>
                <c:pt idx="3868">
                  <c:v>43175</c:v>
                </c:pt>
                <c:pt idx="3869">
                  <c:v>43178</c:v>
                </c:pt>
                <c:pt idx="3870">
                  <c:v>43179</c:v>
                </c:pt>
                <c:pt idx="3871">
                  <c:v>43180</c:v>
                </c:pt>
                <c:pt idx="3872">
                  <c:v>43181</c:v>
                </c:pt>
                <c:pt idx="3873">
                  <c:v>43182</c:v>
                </c:pt>
                <c:pt idx="3874">
                  <c:v>43185</c:v>
                </c:pt>
                <c:pt idx="3875">
                  <c:v>43186</c:v>
                </c:pt>
                <c:pt idx="3876">
                  <c:v>43187</c:v>
                </c:pt>
                <c:pt idx="3877">
                  <c:v>43188</c:v>
                </c:pt>
                <c:pt idx="3878">
                  <c:v>43189</c:v>
                </c:pt>
                <c:pt idx="3879">
                  <c:v>43192</c:v>
                </c:pt>
                <c:pt idx="3880">
                  <c:v>43193</c:v>
                </c:pt>
                <c:pt idx="3881">
                  <c:v>43194</c:v>
                </c:pt>
                <c:pt idx="3882">
                  <c:v>43199</c:v>
                </c:pt>
                <c:pt idx="3883">
                  <c:v>43200</c:v>
                </c:pt>
                <c:pt idx="3884">
                  <c:v>43201</c:v>
                </c:pt>
                <c:pt idx="3885">
                  <c:v>43202</c:v>
                </c:pt>
                <c:pt idx="3886">
                  <c:v>43203</c:v>
                </c:pt>
                <c:pt idx="3887">
                  <c:v>43206</c:v>
                </c:pt>
                <c:pt idx="3888">
                  <c:v>43207</c:v>
                </c:pt>
                <c:pt idx="3889">
                  <c:v>43208</c:v>
                </c:pt>
                <c:pt idx="3890">
                  <c:v>43209</c:v>
                </c:pt>
                <c:pt idx="3891">
                  <c:v>43210</c:v>
                </c:pt>
                <c:pt idx="3892">
                  <c:v>43213</c:v>
                </c:pt>
                <c:pt idx="3893">
                  <c:v>43214</c:v>
                </c:pt>
                <c:pt idx="3894">
                  <c:v>43215</c:v>
                </c:pt>
                <c:pt idx="3895">
                  <c:v>43216</c:v>
                </c:pt>
                <c:pt idx="3896">
                  <c:v>43217</c:v>
                </c:pt>
                <c:pt idx="3897">
                  <c:v>43222</c:v>
                </c:pt>
                <c:pt idx="3898">
                  <c:v>43223</c:v>
                </c:pt>
                <c:pt idx="3899">
                  <c:v>43224</c:v>
                </c:pt>
                <c:pt idx="3900">
                  <c:v>43227</c:v>
                </c:pt>
                <c:pt idx="3901">
                  <c:v>43228</c:v>
                </c:pt>
                <c:pt idx="3902">
                  <c:v>43229</c:v>
                </c:pt>
                <c:pt idx="3903">
                  <c:v>43230</c:v>
                </c:pt>
                <c:pt idx="3904">
                  <c:v>43231</c:v>
                </c:pt>
                <c:pt idx="3905">
                  <c:v>43234</c:v>
                </c:pt>
                <c:pt idx="3906">
                  <c:v>43235</c:v>
                </c:pt>
                <c:pt idx="3907">
                  <c:v>43236</c:v>
                </c:pt>
                <c:pt idx="3908">
                  <c:v>43237</c:v>
                </c:pt>
                <c:pt idx="3909">
                  <c:v>43238</c:v>
                </c:pt>
                <c:pt idx="3910">
                  <c:v>43241</c:v>
                </c:pt>
                <c:pt idx="3911">
                  <c:v>43242</c:v>
                </c:pt>
                <c:pt idx="3912">
                  <c:v>43243</c:v>
                </c:pt>
                <c:pt idx="3913">
                  <c:v>43244</c:v>
                </c:pt>
                <c:pt idx="3914">
                  <c:v>43245</c:v>
                </c:pt>
                <c:pt idx="3915">
                  <c:v>43248</c:v>
                </c:pt>
                <c:pt idx="3916">
                  <c:v>43249</c:v>
                </c:pt>
                <c:pt idx="3917">
                  <c:v>43250</c:v>
                </c:pt>
                <c:pt idx="3918">
                  <c:v>43251</c:v>
                </c:pt>
                <c:pt idx="3919">
                  <c:v>43252</c:v>
                </c:pt>
                <c:pt idx="3920">
                  <c:v>43255</c:v>
                </c:pt>
                <c:pt idx="3921">
                  <c:v>43256</c:v>
                </c:pt>
                <c:pt idx="3922">
                  <c:v>43257</c:v>
                </c:pt>
                <c:pt idx="3923">
                  <c:v>43258</c:v>
                </c:pt>
                <c:pt idx="3924">
                  <c:v>43259</c:v>
                </c:pt>
                <c:pt idx="3925">
                  <c:v>43262</c:v>
                </c:pt>
                <c:pt idx="3926">
                  <c:v>43263</c:v>
                </c:pt>
                <c:pt idx="3927">
                  <c:v>43264</c:v>
                </c:pt>
                <c:pt idx="3928">
                  <c:v>43265</c:v>
                </c:pt>
                <c:pt idx="3929">
                  <c:v>43266</c:v>
                </c:pt>
                <c:pt idx="3930">
                  <c:v>43270</c:v>
                </c:pt>
                <c:pt idx="3931">
                  <c:v>43271</c:v>
                </c:pt>
                <c:pt idx="3932">
                  <c:v>43272</c:v>
                </c:pt>
                <c:pt idx="3933">
                  <c:v>43273</c:v>
                </c:pt>
                <c:pt idx="3934">
                  <c:v>43276</c:v>
                </c:pt>
                <c:pt idx="3935">
                  <c:v>43277</c:v>
                </c:pt>
                <c:pt idx="3936">
                  <c:v>43278</c:v>
                </c:pt>
                <c:pt idx="3937">
                  <c:v>43279</c:v>
                </c:pt>
                <c:pt idx="3938">
                  <c:v>43280</c:v>
                </c:pt>
                <c:pt idx="3939">
                  <c:v>43283</c:v>
                </c:pt>
                <c:pt idx="3940">
                  <c:v>43284</c:v>
                </c:pt>
                <c:pt idx="3941">
                  <c:v>43285</c:v>
                </c:pt>
                <c:pt idx="3942">
                  <c:v>43286</c:v>
                </c:pt>
                <c:pt idx="3943">
                  <c:v>43287</c:v>
                </c:pt>
                <c:pt idx="3944">
                  <c:v>43290</c:v>
                </c:pt>
                <c:pt idx="3945">
                  <c:v>43291</c:v>
                </c:pt>
                <c:pt idx="3946">
                  <c:v>43292</c:v>
                </c:pt>
                <c:pt idx="3947">
                  <c:v>43293</c:v>
                </c:pt>
                <c:pt idx="3948">
                  <c:v>43294</c:v>
                </c:pt>
                <c:pt idx="3949">
                  <c:v>43297</c:v>
                </c:pt>
                <c:pt idx="3950">
                  <c:v>43298</c:v>
                </c:pt>
                <c:pt idx="3951">
                  <c:v>43299</c:v>
                </c:pt>
                <c:pt idx="3952">
                  <c:v>43300</c:v>
                </c:pt>
                <c:pt idx="3953">
                  <c:v>43301</c:v>
                </c:pt>
                <c:pt idx="3954">
                  <c:v>43304</c:v>
                </c:pt>
                <c:pt idx="3955">
                  <c:v>43305</c:v>
                </c:pt>
                <c:pt idx="3956">
                  <c:v>43306</c:v>
                </c:pt>
                <c:pt idx="3957">
                  <c:v>43307</c:v>
                </c:pt>
                <c:pt idx="3958">
                  <c:v>43308</c:v>
                </c:pt>
                <c:pt idx="3959">
                  <c:v>43311</c:v>
                </c:pt>
                <c:pt idx="3960">
                  <c:v>43312</c:v>
                </c:pt>
                <c:pt idx="3961">
                  <c:v>43313</c:v>
                </c:pt>
                <c:pt idx="3962">
                  <c:v>43314</c:v>
                </c:pt>
                <c:pt idx="3963">
                  <c:v>43315</c:v>
                </c:pt>
                <c:pt idx="3964">
                  <c:v>43318</c:v>
                </c:pt>
                <c:pt idx="3965">
                  <c:v>43319</c:v>
                </c:pt>
                <c:pt idx="3966">
                  <c:v>43320</c:v>
                </c:pt>
                <c:pt idx="3967">
                  <c:v>43321</c:v>
                </c:pt>
                <c:pt idx="3968">
                  <c:v>43322</c:v>
                </c:pt>
                <c:pt idx="3969">
                  <c:v>43325</c:v>
                </c:pt>
                <c:pt idx="3970">
                  <c:v>43326</c:v>
                </c:pt>
                <c:pt idx="3971">
                  <c:v>43327</c:v>
                </c:pt>
                <c:pt idx="3972">
                  <c:v>43328</c:v>
                </c:pt>
                <c:pt idx="3973">
                  <c:v>43329</c:v>
                </c:pt>
                <c:pt idx="3974">
                  <c:v>43332</c:v>
                </c:pt>
                <c:pt idx="3975">
                  <c:v>43333</c:v>
                </c:pt>
                <c:pt idx="3976">
                  <c:v>43334</c:v>
                </c:pt>
                <c:pt idx="3977">
                  <c:v>43335</c:v>
                </c:pt>
                <c:pt idx="3978">
                  <c:v>43336</c:v>
                </c:pt>
                <c:pt idx="3979">
                  <c:v>43339</c:v>
                </c:pt>
                <c:pt idx="3980">
                  <c:v>43340</c:v>
                </c:pt>
                <c:pt idx="3981">
                  <c:v>43341</c:v>
                </c:pt>
                <c:pt idx="3982">
                  <c:v>43342</c:v>
                </c:pt>
                <c:pt idx="3983">
                  <c:v>43343</c:v>
                </c:pt>
                <c:pt idx="3984">
                  <c:v>43346</c:v>
                </c:pt>
                <c:pt idx="3985">
                  <c:v>43347</c:v>
                </c:pt>
                <c:pt idx="3986">
                  <c:v>43348</c:v>
                </c:pt>
                <c:pt idx="3987">
                  <c:v>43349</c:v>
                </c:pt>
                <c:pt idx="3988">
                  <c:v>43350</c:v>
                </c:pt>
                <c:pt idx="3989">
                  <c:v>43353</c:v>
                </c:pt>
                <c:pt idx="3990">
                  <c:v>43354</c:v>
                </c:pt>
                <c:pt idx="3991">
                  <c:v>43355</c:v>
                </c:pt>
                <c:pt idx="3992">
                  <c:v>43356</c:v>
                </c:pt>
                <c:pt idx="3993">
                  <c:v>43357</c:v>
                </c:pt>
                <c:pt idx="3994">
                  <c:v>43360</c:v>
                </c:pt>
                <c:pt idx="3995">
                  <c:v>43361</c:v>
                </c:pt>
                <c:pt idx="3996">
                  <c:v>43362</c:v>
                </c:pt>
                <c:pt idx="3997">
                  <c:v>43363</c:v>
                </c:pt>
                <c:pt idx="3998">
                  <c:v>43364</c:v>
                </c:pt>
                <c:pt idx="3999">
                  <c:v>43368</c:v>
                </c:pt>
                <c:pt idx="4000">
                  <c:v>43369</c:v>
                </c:pt>
                <c:pt idx="4001">
                  <c:v>43370</c:v>
                </c:pt>
                <c:pt idx="4002">
                  <c:v>43371</c:v>
                </c:pt>
                <c:pt idx="4003">
                  <c:v>43381</c:v>
                </c:pt>
                <c:pt idx="4004">
                  <c:v>43382</c:v>
                </c:pt>
                <c:pt idx="4005">
                  <c:v>43383</c:v>
                </c:pt>
                <c:pt idx="4006">
                  <c:v>43384</c:v>
                </c:pt>
                <c:pt idx="4007">
                  <c:v>43385</c:v>
                </c:pt>
                <c:pt idx="4008">
                  <c:v>43388</c:v>
                </c:pt>
                <c:pt idx="4009">
                  <c:v>43389</c:v>
                </c:pt>
                <c:pt idx="4010">
                  <c:v>43390</c:v>
                </c:pt>
                <c:pt idx="4011">
                  <c:v>43391</c:v>
                </c:pt>
                <c:pt idx="4012">
                  <c:v>43392</c:v>
                </c:pt>
                <c:pt idx="4013">
                  <c:v>43395</c:v>
                </c:pt>
                <c:pt idx="4014">
                  <c:v>43396</c:v>
                </c:pt>
                <c:pt idx="4015">
                  <c:v>43397</c:v>
                </c:pt>
                <c:pt idx="4016">
                  <c:v>43398</c:v>
                </c:pt>
                <c:pt idx="4017">
                  <c:v>43399</c:v>
                </c:pt>
                <c:pt idx="4018">
                  <c:v>43402</c:v>
                </c:pt>
                <c:pt idx="4019">
                  <c:v>43403</c:v>
                </c:pt>
                <c:pt idx="4020">
                  <c:v>43404</c:v>
                </c:pt>
                <c:pt idx="4021">
                  <c:v>43405</c:v>
                </c:pt>
                <c:pt idx="4022">
                  <c:v>43406</c:v>
                </c:pt>
                <c:pt idx="4023">
                  <c:v>43409</c:v>
                </c:pt>
                <c:pt idx="4024">
                  <c:v>43410</c:v>
                </c:pt>
                <c:pt idx="4025">
                  <c:v>43411</c:v>
                </c:pt>
                <c:pt idx="4026">
                  <c:v>43412</c:v>
                </c:pt>
                <c:pt idx="4027">
                  <c:v>43413</c:v>
                </c:pt>
                <c:pt idx="4028">
                  <c:v>43416</c:v>
                </c:pt>
                <c:pt idx="4029">
                  <c:v>43417</c:v>
                </c:pt>
                <c:pt idx="4030">
                  <c:v>43418</c:v>
                </c:pt>
                <c:pt idx="4031">
                  <c:v>43419</c:v>
                </c:pt>
                <c:pt idx="4032">
                  <c:v>43420</c:v>
                </c:pt>
                <c:pt idx="4033">
                  <c:v>43423</c:v>
                </c:pt>
                <c:pt idx="4034">
                  <c:v>43424</c:v>
                </c:pt>
                <c:pt idx="4035">
                  <c:v>43425</c:v>
                </c:pt>
                <c:pt idx="4036">
                  <c:v>43426</c:v>
                </c:pt>
                <c:pt idx="4037">
                  <c:v>43427</c:v>
                </c:pt>
                <c:pt idx="4038">
                  <c:v>43430</c:v>
                </c:pt>
                <c:pt idx="4039">
                  <c:v>43431</c:v>
                </c:pt>
                <c:pt idx="4040">
                  <c:v>43432</c:v>
                </c:pt>
                <c:pt idx="4041">
                  <c:v>43433</c:v>
                </c:pt>
                <c:pt idx="4042">
                  <c:v>43434</c:v>
                </c:pt>
                <c:pt idx="4043">
                  <c:v>43437</c:v>
                </c:pt>
                <c:pt idx="4044">
                  <c:v>43438</c:v>
                </c:pt>
                <c:pt idx="4045">
                  <c:v>43439</c:v>
                </c:pt>
                <c:pt idx="4046">
                  <c:v>43440</c:v>
                </c:pt>
                <c:pt idx="4047">
                  <c:v>43441</c:v>
                </c:pt>
                <c:pt idx="4048">
                  <c:v>43444</c:v>
                </c:pt>
                <c:pt idx="4049">
                  <c:v>43445</c:v>
                </c:pt>
                <c:pt idx="4050">
                  <c:v>43446</c:v>
                </c:pt>
                <c:pt idx="4051">
                  <c:v>43447</c:v>
                </c:pt>
                <c:pt idx="4052">
                  <c:v>43448</c:v>
                </c:pt>
                <c:pt idx="4053">
                  <c:v>43451</c:v>
                </c:pt>
                <c:pt idx="4054">
                  <c:v>43452</c:v>
                </c:pt>
                <c:pt idx="4055">
                  <c:v>43453</c:v>
                </c:pt>
                <c:pt idx="4056">
                  <c:v>43454</c:v>
                </c:pt>
                <c:pt idx="4057">
                  <c:v>43455</c:v>
                </c:pt>
                <c:pt idx="4058">
                  <c:v>43458</c:v>
                </c:pt>
                <c:pt idx="4059">
                  <c:v>43459</c:v>
                </c:pt>
                <c:pt idx="4060">
                  <c:v>43460</c:v>
                </c:pt>
                <c:pt idx="4061">
                  <c:v>43461</c:v>
                </c:pt>
                <c:pt idx="4062">
                  <c:v>43462</c:v>
                </c:pt>
                <c:pt idx="4063">
                  <c:v>43467</c:v>
                </c:pt>
                <c:pt idx="4064">
                  <c:v>43468</c:v>
                </c:pt>
                <c:pt idx="4065">
                  <c:v>43469</c:v>
                </c:pt>
                <c:pt idx="4066">
                  <c:v>43472</c:v>
                </c:pt>
                <c:pt idx="4067">
                  <c:v>43473</c:v>
                </c:pt>
                <c:pt idx="4068">
                  <c:v>43474</c:v>
                </c:pt>
                <c:pt idx="4069">
                  <c:v>43475</c:v>
                </c:pt>
                <c:pt idx="4070">
                  <c:v>43476</c:v>
                </c:pt>
                <c:pt idx="4071">
                  <c:v>43479</c:v>
                </c:pt>
                <c:pt idx="4072">
                  <c:v>43480</c:v>
                </c:pt>
                <c:pt idx="4073">
                  <c:v>43481</c:v>
                </c:pt>
                <c:pt idx="4074">
                  <c:v>43482</c:v>
                </c:pt>
                <c:pt idx="4075">
                  <c:v>43483</c:v>
                </c:pt>
                <c:pt idx="4076">
                  <c:v>43486</c:v>
                </c:pt>
                <c:pt idx="4077">
                  <c:v>43487</c:v>
                </c:pt>
                <c:pt idx="4078">
                  <c:v>43488</c:v>
                </c:pt>
                <c:pt idx="4079">
                  <c:v>43489</c:v>
                </c:pt>
                <c:pt idx="4080">
                  <c:v>43490</c:v>
                </c:pt>
                <c:pt idx="4081">
                  <c:v>43493</c:v>
                </c:pt>
                <c:pt idx="4082">
                  <c:v>43494</c:v>
                </c:pt>
                <c:pt idx="4083">
                  <c:v>43495</c:v>
                </c:pt>
                <c:pt idx="4084">
                  <c:v>43496</c:v>
                </c:pt>
                <c:pt idx="4085">
                  <c:v>43497</c:v>
                </c:pt>
                <c:pt idx="4086">
                  <c:v>43507</c:v>
                </c:pt>
                <c:pt idx="4087">
                  <c:v>43508</c:v>
                </c:pt>
                <c:pt idx="4088">
                  <c:v>43509</c:v>
                </c:pt>
                <c:pt idx="4089">
                  <c:v>43510</c:v>
                </c:pt>
                <c:pt idx="4090">
                  <c:v>43511</c:v>
                </c:pt>
                <c:pt idx="4091">
                  <c:v>43514</c:v>
                </c:pt>
                <c:pt idx="4092">
                  <c:v>43515</c:v>
                </c:pt>
                <c:pt idx="4093">
                  <c:v>43516</c:v>
                </c:pt>
                <c:pt idx="4094">
                  <c:v>43517</c:v>
                </c:pt>
                <c:pt idx="4095">
                  <c:v>43518</c:v>
                </c:pt>
                <c:pt idx="4096">
                  <c:v>43521</c:v>
                </c:pt>
                <c:pt idx="4097">
                  <c:v>43522</c:v>
                </c:pt>
                <c:pt idx="4098">
                  <c:v>43523</c:v>
                </c:pt>
                <c:pt idx="4099">
                  <c:v>43524</c:v>
                </c:pt>
                <c:pt idx="4100">
                  <c:v>43525</c:v>
                </c:pt>
                <c:pt idx="4101">
                  <c:v>43528</c:v>
                </c:pt>
                <c:pt idx="4102">
                  <c:v>43529</c:v>
                </c:pt>
                <c:pt idx="4103">
                  <c:v>43530</c:v>
                </c:pt>
                <c:pt idx="4104">
                  <c:v>43531</c:v>
                </c:pt>
                <c:pt idx="4105">
                  <c:v>43532</c:v>
                </c:pt>
                <c:pt idx="4106">
                  <c:v>43535</c:v>
                </c:pt>
                <c:pt idx="4107">
                  <c:v>43536</c:v>
                </c:pt>
                <c:pt idx="4108">
                  <c:v>43537</c:v>
                </c:pt>
                <c:pt idx="4109">
                  <c:v>43538</c:v>
                </c:pt>
                <c:pt idx="4110">
                  <c:v>43539</c:v>
                </c:pt>
                <c:pt idx="4111">
                  <c:v>43542</c:v>
                </c:pt>
                <c:pt idx="4112">
                  <c:v>43543</c:v>
                </c:pt>
                <c:pt idx="4113">
                  <c:v>43544</c:v>
                </c:pt>
                <c:pt idx="4114">
                  <c:v>43545</c:v>
                </c:pt>
                <c:pt idx="4115">
                  <c:v>43546</c:v>
                </c:pt>
                <c:pt idx="4116">
                  <c:v>43549</c:v>
                </c:pt>
                <c:pt idx="4117">
                  <c:v>43550</c:v>
                </c:pt>
                <c:pt idx="4118">
                  <c:v>43551</c:v>
                </c:pt>
                <c:pt idx="4119">
                  <c:v>43552</c:v>
                </c:pt>
                <c:pt idx="4120">
                  <c:v>43553</c:v>
                </c:pt>
                <c:pt idx="4121">
                  <c:v>43556</c:v>
                </c:pt>
                <c:pt idx="4122">
                  <c:v>43557</c:v>
                </c:pt>
                <c:pt idx="4123">
                  <c:v>43558</c:v>
                </c:pt>
                <c:pt idx="4124">
                  <c:v>43559</c:v>
                </c:pt>
                <c:pt idx="4125">
                  <c:v>43563</c:v>
                </c:pt>
                <c:pt idx="4126">
                  <c:v>43564</c:v>
                </c:pt>
                <c:pt idx="4127">
                  <c:v>43565</c:v>
                </c:pt>
                <c:pt idx="4128">
                  <c:v>43566</c:v>
                </c:pt>
                <c:pt idx="4129">
                  <c:v>43567</c:v>
                </c:pt>
                <c:pt idx="4130">
                  <c:v>43570</c:v>
                </c:pt>
                <c:pt idx="4131">
                  <c:v>43571</c:v>
                </c:pt>
                <c:pt idx="4132">
                  <c:v>43572</c:v>
                </c:pt>
                <c:pt idx="4133">
                  <c:v>43573</c:v>
                </c:pt>
                <c:pt idx="4134">
                  <c:v>43574</c:v>
                </c:pt>
                <c:pt idx="4135">
                  <c:v>43577</c:v>
                </c:pt>
                <c:pt idx="4136">
                  <c:v>43578</c:v>
                </c:pt>
                <c:pt idx="4137">
                  <c:v>43579</c:v>
                </c:pt>
                <c:pt idx="4138">
                  <c:v>43580</c:v>
                </c:pt>
                <c:pt idx="4139">
                  <c:v>43581</c:v>
                </c:pt>
                <c:pt idx="4140">
                  <c:v>43584</c:v>
                </c:pt>
                <c:pt idx="4141">
                  <c:v>43585</c:v>
                </c:pt>
                <c:pt idx="4142">
                  <c:v>43591</c:v>
                </c:pt>
                <c:pt idx="4143">
                  <c:v>43592</c:v>
                </c:pt>
                <c:pt idx="4144">
                  <c:v>43593</c:v>
                </c:pt>
                <c:pt idx="4145">
                  <c:v>43594</c:v>
                </c:pt>
                <c:pt idx="4146">
                  <c:v>43595</c:v>
                </c:pt>
                <c:pt idx="4147">
                  <c:v>43598</c:v>
                </c:pt>
                <c:pt idx="4148">
                  <c:v>43599</c:v>
                </c:pt>
                <c:pt idx="4149">
                  <c:v>43600</c:v>
                </c:pt>
                <c:pt idx="4150">
                  <c:v>43601</c:v>
                </c:pt>
                <c:pt idx="4151">
                  <c:v>43602</c:v>
                </c:pt>
                <c:pt idx="4152">
                  <c:v>43605</c:v>
                </c:pt>
                <c:pt idx="4153">
                  <c:v>43606</c:v>
                </c:pt>
                <c:pt idx="4154">
                  <c:v>43607</c:v>
                </c:pt>
                <c:pt idx="4155">
                  <c:v>43608</c:v>
                </c:pt>
                <c:pt idx="4156">
                  <c:v>43609</c:v>
                </c:pt>
                <c:pt idx="4157">
                  <c:v>43612</c:v>
                </c:pt>
                <c:pt idx="4158">
                  <c:v>43613</c:v>
                </c:pt>
                <c:pt idx="4159">
                  <c:v>43614</c:v>
                </c:pt>
                <c:pt idx="4160">
                  <c:v>43615</c:v>
                </c:pt>
                <c:pt idx="4161">
                  <c:v>43616</c:v>
                </c:pt>
                <c:pt idx="4162">
                  <c:v>43619</c:v>
                </c:pt>
                <c:pt idx="4163">
                  <c:v>43620</c:v>
                </c:pt>
                <c:pt idx="4164">
                  <c:v>43621</c:v>
                </c:pt>
                <c:pt idx="4165">
                  <c:v>43622</c:v>
                </c:pt>
                <c:pt idx="4166">
                  <c:v>43626</c:v>
                </c:pt>
                <c:pt idx="4167">
                  <c:v>43627</c:v>
                </c:pt>
                <c:pt idx="4168">
                  <c:v>43628</c:v>
                </c:pt>
                <c:pt idx="4169">
                  <c:v>43629</c:v>
                </c:pt>
                <c:pt idx="4170">
                  <c:v>43630</c:v>
                </c:pt>
                <c:pt idx="4171">
                  <c:v>43633</c:v>
                </c:pt>
                <c:pt idx="4172">
                  <c:v>43634</c:v>
                </c:pt>
                <c:pt idx="4173">
                  <c:v>43635</c:v>
                </c:pt>
                <c:pt idx="4174">
                  <c:v>43636</c:v>
                </c:pt>
                <c:pt idx="4175">
                  <c:v>43637</c:v>
                </c:pt>
                <c:pt idx="4176">
                  <c:v>43640</c:v>
                </c:pt>
                <c:pt idx="4177">
                  <c:v>43641</c:v>
                </c:pt>
                <c:pt idx="4178">
                  <c:v>43642</c:v>
                </c:pt>
                <c:pt idx="4179">
                  <c:v>43643</c:v>
                </c:pt>
                <c:pt idx="4180">
                  <c:v>43644</c:v>
                </c:pt>
                <c:pt idx="4181">
                  <c:v>43647</c:v>
                </c:pt>
                <c:pt idx="4182">
                  <c:v>43648</c:v>
                </c:pt>
                <c:pt idx="4183">
                  <c:v>43649</c:v>
                </c:pt>
                <c:pt idx="4184">
                  <c:v>43650</c:v>
                </c:pt>
                <c:pt idx="4185">
                  <c:v>43651</c:v>
                </c:pt>
                <c:pt idx="4186">
                  <c:v>43654</c:v>
                </c:pt>
                <c:pt idx="4187">
                  <c:v>43655</c:v>
                </c:pt>
                <c:pt idx="4188">
                  <c:v>43656</c:v>
                </c:pt>
                <c:pt idx="4189">
                  <c:v>43657</c:v>
                </c:pt>
                <c:pt idx="4190">
                  <c:v>43658</c:v>
                </c:pt>
                <c:pt idx="4191">
                  <c:v>43661</c:v>
                </c:pt>
                <c:pt idx="4192">
                  <c:v>43662</c:v>
                </c:pt>
                <c:pt idx="4193">
                  <c:v>43663</c:v>
                </c:pt>
                <c:pt idx="4194">
                  <c:v>43664</c:v>
                </c:pt>
                <c:pt idx="4195">
                  <c:v>43665</c:v>
                </c:pt>
                <c:pt idx="4196">
                  <c:v>43668</c:v>
                </c:pt>
                <c:pt idx="4197">
                  <c:v>43669</c:v>
                </c:pt>
                <c:pt idx="4198">
                  <c:v>43670</c:v>
                </c:pt>
                <c:pt idx="4199">
                  <c:v>43671</c:v>
                </c:pt>
                <c:pt idx="4200">
                  <c:v>43672</c:v>
                </c:pt>
                <c:pt idx="4201">
                  <c:v>43675</c:v>
                </c:pt>
                <c:pt idx="4202">
                  <c:v>43676</c:v>
                </c:pt>
                <c:pt idx="4203">
                  <c:v>43677</c:v>
                </c:pt>
                <c:pt idx="4204">
                  <c:v>43678</c:v>
                </c:pt>
                <c:pt idx="4205">
                  <c:v>43679</c:v>
                </c:pt>
                <c:pt idx="4206">
                  <c:v>43682</c:v>
                </c:pt>
                <c:pt idx="4207">
                  <c:v>43683</c:v>
                </c:pt>
                <c:pt idx="4208">
                  <c:v>43684</c:v>
                </c:pt>
                <c:pt idx="4209">
                  <c:v>43685</c:v>
                </c:pt>
                <c:pt idx="4210">
                  <c:v>43686</c:v>
                </c:pt>
                <c:pt idx="4211">
                  <c:v>43689</c:v>
                </c:pt>
                <c:pt idx="4212">
                  <c:v>43690</c:v>
                </c:pt>
                <c:pt idx="4213">
                  <c:v>43691</c:v>
                </c:pt>
                <c:pt idx="4214">
                  <c:v>43692</c:v>
                </c:pt>
                <c:pt idx="4215">
                  <c:v>43693</c:v>
                </c:pt>
                <c:pt idx="4216">
                  <c:v>43696</c:v>
                </c:pt>
                <c:pt idx="4217">
                  <c:v>43697</c:v>
                </c:pt>
                <c:pt idx="4218">
                  <c:v>43698</c:v>
                </c:pt>
                <c:pt idx="4219">
                  <c:v>43699</c:v>
                </c:pt>
                <c:pt idx="4220">
                  <c:v>43700</c:v>
                </c:pt>
                <c:pt idx="4221">
                  <c:v>43703</c:v>
                </c:pt>
                <c:pt idx="4222">
                  <c:v>43704</c:v>
                </c:pt>
                <c:pt idx="4223">
                  <c:v>43705</c:v>
                </c:pt>
                <c:pt idx="4224">
                  <c:v>43706</c:v>
                </c:pt>
                <c:pt idx="4225">
                  <c:v>43707</c:v>
                </c:pt>
                <c:pt idx="4226">
                  <c:v>43710</c:v>
                </c:pt>
                <c:pt idx="4227">
                  <c:v>43711</c:v>
                </c:pt>
                <c:pt idx="4228">
                  <c:v>43712</c:v>
                </c:pt>
                <c:pt idx="4229">
                  <c:v>43713</c:v>
                </c:pt>
                <c:pt idx="4230">
                  <c:v>43714</c:v>
                </c:pt>
                <c:pt idx="4231">
                  <c:v>43717</c:v>
                </c:pt>
                <c:pt idx="4232">
                  <c:v>43718</c:v>
                </c:pt>
                <c:pt idx="4233">
                  <c:v>43719</c:v>
                </c:pt>
                <c:pt idx="4234">
                  <c:v>43720</c:v>
                </c:pt>
                <c:pt idx="4235">
                  <c:v>43724</c:v>
                </c:pt>
                <c:pt idx="4236">
                  <c:v>43725</c:v>
                </c:pt>
                <c:pt idx="4237">
                  <c:v>43726</c:v>
                </c:pt>
                <c:pt idx="4238">
                  <c:v>43727</c:v>
                </c:pt>
                <c:pt idx="4239">
                  <c:v>43728</c:v>
                </c:pt>
                <c:pt idx="4240">
                  <c:v>43731</c:v>
                </c:pt>
                <c:pt idx="4241">
                  <c:v>43732</c:v>
                </c:pt>
                <c:pt idx="4242">
                  <c:v>43733</c:v>
                </c:pt>
                <c:pt idx="4243">
                  <c:v>43734</c:v>
                </c:pt>
                <c:pt idx="4244">
                  <c:v>43735</c:v>
                </c:pt>
                <c:pt idx="4245">
                  <c:v>43738</c:v>
                </c:pt>
                <c:pt idx="4246">
                  <c:v>43746</c:v>
                </c:pt>
                <c:pt idx="4247">
                  <c:v>43747</c:v>
                </c:pt>
                <c:pt idx="4248">
                  <c:v>43748</c:v>
                </c:pt>
                <c:pt idx="4249">
                  <c:v>43749</c:v>
                </c:pt>
                <c:pt idx="4250">
                  <c:v>43752</c:v>
                </c:pt>
                <c:pt idx="4251">
                  <c:v>43753</c:v>
                </c:pt>
                <c:pt idx="4252">
                  <c:v>43754</c:v>
                </c:pt>
                <c:pt idx="4253">
                  <c:v>43755</c:v>
                </c:pt>
                <c:pt idx="4254">
                  <c:v>43756</c:v>
                </c:pt>
                <c:pt idx="4255">
                  <c:v>43759</c:v>
                </c:pt>
                <c:pt idx="4256">
                  <c:v>43760</c:v>
                </c:pt>
                <c:pt idx="4257">
                  <c:v>43761</c:v>
                </c:pt>
                <c:pt idx="4258">
                  <c:v>43762</c:v>
                </c:pt>
                <c:pt idx="4259">
                  <c:v>43763</c:v>
                </c:pt>
                <c:pt idx="4260">
                  <c:v>43766</c:v>
                </c:pt>
                <c:pt idx="4261">
                  <c:v>43767</c:v>
                </c:pt>
                <c:pt idx="4262">
                  <c:v>43768</c:v>
                </c:pt>
                <c:pt idx="4263">
                  <c:v>43769</c:v>
                </c:pt>
                <c:pt idx="4264">
                  <c:v>43770</c:v>
                </c:pt>
                <c:pt idx="4265">
                  <c:v>43773</c:v>
                </c:pt>
                <c:pt idx="4266">
                  <c:v>43774</c:v>
                </c:pt>
                <c:pt idx="4267">
                  <c:v>43775</c:v>
                </c:pt>
                <c:pt idx="4268">
                  <c:v>43776</c:v>
                </c:pt>
                <c:pt idx="4269">
                  <c:v>43777</c:v>
                </c:pt>
                <c:pt idx="4270">
                  <c:v>43780</c:v>
                </c:pt>
                <c:pt idx="4271">
                  <c:v>43781</c:v>
                </c:pt>
                <c:pt idx="4272">
                  <c:v>43782</c:v>
                </c:pt>
                <c:pt idx="4273">
                  <c:v>43783</c:v>
                </c:pt>
                <c:pt idx="4274">
                  <c:v>43784</c:v>
                </c:pt>
                <c:pt idx="4275">
                  <c:v>43787</c:v>
                </c:pt>
                <c:pt idx="4276">
                  <c:v>43788</c:v>
                </c:pt>
                <c:pt idx="4277">
                  <c:v>43789</c:v>
                </c:pt>
                <c:pt idx="4278">
                  <c:v>43790</c:v>
                </c:pt>
                <c:pt idx="4279">
                  <c:v>43791</c:v>
                </c:pt>
                <c:pt idx="4280">
                  <c:v>43794</c:v>
                </c:pt>
                <c:pt idx="4281">
                  <c:v>43795</c:v>
                </c:pt>
                <c:pt idx="4282">
                  <c:v>43796</c:v>
                </c:pt>
                <c:pt idx="4283">
                  <c:v>43797</c:v>
                </c:pt>
                <c:pt idx="4284">
                  <c:v>43798</c:v>
                </c:pt>
                <c:pt idx="4285">
                  <c:v>43801</c:v>
                </c:pt>
                <c:pt idx="4286">
                  <c:v>43802</c:v>
                </c:pt>
                <c:pt idx="4287">
                  <c:v>43803</c:v>
                </c:pt>
                <c:pt idx="4288">
                  <c:v>43804</c:v>
                </c:pt>
                <c:pt idx="4289">
                  <c:v>43805</c:v>
                </c:pt>
                <c:pt idx="4290">
                  <c:v>43808</c:v>
                </c:pt>
                <c:pt idx="4291">
                  <c:v>43809</c:v>
                </c:pt>
                <c:pt idx="4292">
                  <c:v>43810</c:v>
                </c:pt>
                <c:pt idx="4293">
                  <c:v>43811</c:v>
                </c:pt>
                <c:pt idx="4294">
                  <c:v>43812</c:v>
                </c:pt>
                <c:pt idx="4295">
                  <c:v>43815</c:v>
                </c:pt>
                <c:pt idx="4296">
                  <c:v>43816</c:v>
                </c:pt>
                <c:pt idx="4297">
                  <c:v>43817</c:v>
                </c:pt>
                <c:pt idx="4298">
                  <c:v>43818</c:v>
                </c:pt>
                <c:pt idx="4299">
                  <c:v>43819</c:v>
                </c:pt>
                <c:pt idx="4300">
                  <c:v>43822</c:v>
                </c:pt>
                <c:pt idx="4301">
                  <c:v>43823</c:v>
                </c:pt>
                <c:pt idx="4302">
                  <c:v>43824</c:v>
                </c:pt>
                <c:pt idx="4303">
                  <c:v>43825</c:v>
                </c:pt>
                <c:pt idx="4304">
                  <c:v>43826</c:v>
                </c:pt>
                <c:pt idx="4305">
                  <c:v>43829</c:v>
                </c:pt>
                <c:pt idx="4306">
                  <c:v>43830</c:v>
                </c:pt>
                <c:pt idx="4307">
                  <c:v>43832</c:v>
                </c:pt>
                <c:pt idx="4308">
                  <c:v>43833</c:v>
                </c:pt>
                <c:pt idx="4309">
                  <c:v>43836</c:v>
                </c:pt>
                <c:pt idx="4310">
                  <c:v>43837</c:v>
                </c:pt>
                <c:pt idx="4311">
                  <c:v>43838</c:v>
                </c:pt>
                <c:pt idx="4312">
                  <c:v>43839</c:v>
                </c:pt>
                <c:pt idx="4313">
                  <c:v>43840</c:v>
                </c:pt>
                <c:pt idx="4314">
                  <c:v>43843</c:v>
                </c:pt>
                <c:pt idx="4315">
                  <c:v>43844</c:v>
                </c:pt>
                <c:pt idx="4316">
                  <c:v>43845</c:v>
                </c:pt>
                <c:pt idx="4317">
                  <c:v>43846</c:v>
                </c:pt>
                <c:pt idx="4318">
                  <c:v>43847</c:v>
                </c:pt>
                <c:pt idx="4319">
                  <c:v>43850</c:v>
                </c:pt>
                <c:pt idx="4320">
                  <c:v>43851</c:v>
                </c:pt>
                <c:pt idx="4321">
                  <c:v>43852</c:v>
                </c:pt>
                <c:pt idx="4322">
                  <c:v>43853</c:v>
                </c:pt>
                <c:pt idx="4323">
                  <c:v>43864</c:v>
                </c:pt>
                <c:pt idx="4324">
                  <c:v>43865</c:v>
                </c:pt>
                <c:pt idx="4325">
                  <c:v>43866</c:v>
                </c:pt>
                <c:pt idx="4326">
                  <c:v>43867</c:v>
                </c:pt>
                <c:pt idx="4327">
                  <c:v>43868</c:v>
                </c:pt>
                <c:pt idx="4328">
                  <c:v>43871</c:v>
                </c:pt>
                <c:pt idx="4329">
                  <c:v>43872</c:v>
                </c:pt>
                <c:pt idx="4330">
                  <c:v>43873</c:v>
                </c:pt>
                <c:pt idx="4331">
                  <c:v>43874</c:v>
                </c:pt>
                <c:pt idx="4332">
                  <c:v>43875</c:v>
                </c:pt>
                <c:pt idx="4333">
                  <c:v>43878</c:v>
                </c:pt>
                <c:pt idx="4334">
                  <c:v>43879</c:v>
                </c:pt>
                <c:pt idx="4335">
                  <c:v>43880</c:v>
                </c:pt>
                <c:pt idx="4336">
                  <c:v>43881</c:v>
                </c:pt>
                <c:pt idx="4337">
                  <c:v>43882</c:v>
                </c:pt>
                <c:pt idx="4338">
                  <c:v>43885</c:v>
                </c:pt>
                <c:pt idx="4339">
                  <c:v>43886</c:v>
                </c:pt>
                <c:pt idx="4340">
                  <c:v>43887</c:v>
                </c:pt>
                <c:pt idx="4341">
                  <c:v>43888</c:v>
                </c:pt>
                <c:pt idx="4342">
                  <c:v>43889</c:v>
                </c:pt>
                <c:pt idx="4343">
                  <c:v>43892</c:v>
                </c:pt>
                <c:pt idx="4344">
                  <c:v>43893</c:v>
                </c:pt>
                <c:pt idx="4345">
                  <c:v>43894</c:v>
                </c:pt>
                <c:pt idx="4346">
                  <c:v>43895</c:v>
                </c:pt>
                <c:pt idx="4347">
                  <c:v>43896</c:v>
                </c:pt>
                <c:pt idx="4348">
                  <c:v>43899</c:v>
                </c:pt>
                <c:pt idx="4349">
                  <c:v>43900</c:v>
                </c:pt>
                <c:pt idx="4350">
                  <c:v>43901</c:v>
                </c:pt>
                <c:pt idx="4351">
                  <c:v>43902</c:v>
                </c:pt>
                <c:pt idx="4352">
                  <c:v>43903</c:v>
                </c:pt>
                <c:pt idx="4353">
                  <c:v>43906</c:v>
                </c:pt>
                <c:pt idx="4354">
                  <c:v>43907</c:v>
                </c:pt>
                <c:pt idx="4355">
                  <c:v>43908</c:v>
                </c:pt>
                <c:pt idx="4356">
                  <c:v>43909</c:v>
                </c:pt>
                <c:pt idx="4357">
                  <c:v>43910</c:v>
                </c:pt>
                <c:pt idx="4358">
                  <c:v>43913</c:v>
                </c:pt>
                <c:pt idx="4359">
                  <c:v>43914</c:v>
                </c:pt>
                <c:pt idx="4360">
                  <c:v>43915</c:v>
                </c:pt>
                <c:pt idx="4361">
                  <c:v>43916</c:v>
                </c:pt>
                <c:pt idx="4362">
                  <c:v>43917</c:v>
                </c:pt>
                <c:pt idx="4363">
                  <c:v>43920</c:v>
                </c:pt>
                <c:pt idx="4364">
                  <c:v>43921</c:v>
                </c:pt>
                <c:pt idx="4365">
                  <c:v>43922</c:v>
                </c:pt>
                <c:pt idx="4366">
                  <c:v>43923</c:v>
                </c:pt>
                <c:pt idx="4367">
                  <c:v>43924</c:v>
                </c:pt>
                <c:pt idx="4368">
                  <c:v>43928</c:v>
                </c:pt>
                <c:pt idx="4369">
                  <c:v>43929</c:v>
                </c:pt>
                <c:pt idx="4370">
                  <c:v>43930</c:v>
                </c:pt>
                <c:pt idx="4371">
                  <c:v>43931</c:v>
                </c:pt>
                <c:pt idx="4372">
                  <c:v>43934</c:v>
                </c:pt>
                <c:pt idx="4373">
                  <c:v>43935</c:v>
                </c:pt>
                <c:pt idx="4374">
                  <c:v>43936</c:v>
                </c:pt>
                <c:pt idx="4375">
                  <c:v>43937</c:v>
                </c:pt>
                <c:pt idx="4376">
                  <c:v>43938</c:v>
                </c:pt>
                <c:pt idx="4377">
                  <c:v>43941</c:v>
                </c:pt>
                <c:pt idx="4378">
                  <c:v>43942</c:v>
                </c:pt>
                <c:pt idx="4379">
                  <c:v>43943</c:v>
                </c:pt>
                <c:pt idx="4380">
                  <c:v>43944</c:v>
                </c:pt>
                <c:pt idx="4381">
                  <c:v>43945</c:v>
                </c:pt>
                <c:pt idx="4382">
                  <c:v>43948</c:v>
                </c:pt>
                <c:pt idx="4383">
                  <c:v>43949</c:v>
                </c:pt>
                <c:pt idx="4384">
                  <c:v>43950</c:v>
                </c:pt>
                <c:pt idx="4385">
                  <c:v>43951</c:v>
                </c:pt>
                <c:pt idx="4386">
                  <c:v>43957</c:v>
                </c:pt>
                <c:pt idx="4387">
                  <c:v>43958</c:v>
                </c:pt>
                <c:pt idx="4388">
                  <c:v>43959</c:v>
                </c:pt>
                <c:pt idx="4389">
                  <c:v>43962</c:v>
                </c:pt>
                <c:pt idx="4390">
                  <c:v>43963</c:v>
                </c:pt>
                <c:pt idx="4391">
                  <c:v>43964</c:v>
                </c:pt>
                <c:pt idx="4392">
                  <c:v>43965</c:v>
                </c:pt>
                <c:pt idx="4393">
                  <c:v>43966</c:v>
                </c:pt>
                <c:pt idx="4394">
                  <c:v>43969</c:v>
                </c:pt>
                <c:pt idx="4395">
                  <c:v>43970</c:v>
                </c:pt>
                <c:pt idx="4396">
                  <c:v>43971</c:v>
                </c:pt>
                <c:pt idx="4397">
                  <c:v>43972</c:v>
                </c:pt>
                <c:pt idx="4398">
                  <c:v>43973</c:v>
                </c:pt>
                <c:pt idx="4399">
                  <c:v>43976</c:v>
                </c:pt>
                <c:pt idx="4400">
                  <c:v>43977</c:v>
                </c:pt>
                <c:pt idx="4401">
                  <c:v>43978</c:v>
                </c:pt>
                <c:pt idx="4402">
                  <c:v>43979</c:v>
                </c:pt>
                <c:pt idx="4403">
                  <c:v>43980</c:v>
                </c:pt>
                <c:pt idx="4404">
                  <c:v>43983</c:v>
                </c:pt>
                <c:pt idx="4405">
                  <c:v>43984</c:v>
                </c:pt>
                <c:pt idx="4406">
                  <c:v>43985</c:v>
                </c:pt>
                <c:pt idx="4407">
                  <c:v>43986</c:v>
                </c:pt>
                <c:pt idx="4408">
                  <c:v>43987</c:v>
                </c:pt>
                <c:pt idx="4409">
                  <c:v>43990</c:v>
                </c:pt>
                <c:pt idx="4410">
                  <c:v>43991</c:v>
                </c:pt>
                <c:pt idx="4411">
                  <c:v>43992</c:v>
                </c:pt>
                <c:pt idx="4412">
                  <c:v>43993</c:v>
                </c:pt>
                <c:pt idx="4413">
                  <c:v>43994</c:v>
                </c:pt>
                <c:pt idx="4414">
                  <c:v>43997</c:v>
                </c:pt>
                <c:pt idx="4415">
                  <c:v>43998</c:v>
                </c:pt>
                <c:pt idx="4416">
                  <c:v>43999</c:v>
                </c:pt>
                <c:pt idx="4417">
                  <c:v>44000</c:v>
                </c:pt>
                <c:pt idx="4418">
                  <c:v>44001</c:v>
                </c:pt>
                <c:pt idx="4419">
                  <c:v>44004</c:v>
                </c:pt>
                <c:pt idx="4420">
                  <c:v>44005</c:v>
                </c:pt>
                <c:pt idx="4421">
                  <c:v>44006</c:v>
                </c:pt>
                <c:pt idx="4422">
                  <c:v>44011</c:v>
                </c:pt>
                <c:pt idx="4423">
                  <c:v>44012</c:v>
                </c:pt>
                <c:pt idx="4424">
                  <c:v>44013</c:v>
                </c:pt>
                <c:pt idx="4425">
                  <c:v>44014</c:v>
                </c:pt>
                <c:pt idx="4426">
                  <c:v>44015</c:v>
                </c:pt>
                <c:pt idx="4427">
                  <c:v>44018</c:v>
                </c:pt>
                <c:pt idx="4428">
                  <c:v>44019</c:v>
                </c:pt>
                <c:pt idx="4429">
                  <c:v>44020</c:v>
                </c:pt>
                <c:pt idx="4430">
                  <c:v>44021</c:v>
                </c:pt>
                <c:pt idx="4431">
                  <c:v>44022</c:v>
                </c:pt>
                <c:pt idx="4432">
                  <c:v>44025</c:v>
                </c:pt>
                <c:pt idx="4433">
                  <c:v>44026</c:v>
                </c:pt>
                <c:pt idx="4434">
                  <c:v>44027</c:v>
                </c:pt>
                <c:pt idx="4435">
                  <c:v>44028</c:v>
                </c:pt>
                <c:pt idx="4436">
                  <c:v>44029</c:v>
                </c:pt>
                <c:pt idx="4437">
                  <c:v>44032</c:v>
                </c:pt>
                <c:pt idx="4438">
                  <c:v>44033</c:v>
                </c:pt>
                <c:pt idx="4439">
                  <c:v>44034</c:v>
                </c:pt>
                <c:pt idx="4440">
                  <c:v>44035</c:v>
                </c:pt>
                <c:pt idx="4441">
                  <c:v>44036</c:v>
                </c:pt>
                <c:pt idx="4442">
                  <c:v>44039</c:v>
                </c:pt>
                <c:pt idx="4443">
                  <c:v>44040</c:v>
                </c:pt>
                <c:pt idx="4444">
                  <c:v>44041</c:v>
                </c:pt>
                <c:pt idx="4445">
                  <c:v>44042</c:v>
                </c:pt>
                <c:pt idx="4446">
                  <c:v>44043</c:v>
                </c:pt>
                <c:pt idx="4447">
                  <c:v>44046</c:v>
                </c:pt>
                <c:pt idx="4448">
                  <c:v>44047</c:v>
                </c:pt>
                <c:pt idx="4449">
                  <c:v>44048</c:v>
                </c:pt>
                <c:pt idx="4450">
                  <c:v>44049</c:v>
                </c:pt>
                <c:pt idx="4451">
                  <c:v>44050</c:v>
                </c:pt>
                <c:pt idx="4452">
                  <c:v>44053</c:v>
                </c:pt>
                <c:pt idx="4453">
                  <c:v>44054</c:v>
                </c:pt>
                <c:pt idx="4454">
                  <c:v>44055</c:v>
                </c:pt>
                <c:pt idx="4455">
                  <c:v>44056</c:v>
                </c:pt>
                <c:pt idx="4456">
                  <c:v>44057</c:v>
                </c:pt>
                <c:pt idx="4457">
                  <c:v>44060</c:v>
                </c:pt>
                <c:pt idx="4458">
                  <c:v>44061</c:v>
                </c:pt>
                <c:pt idx="4459">
                  <c:v>44062</c:v>
                </c:pt>
                <c:pt idx="4460">
                  <c:v>44063</c:v>
                </c:pt>
                <c:pt idx="4461">
                  <c:v>44064</c:v>
                </c:pt>
                <c:pt idx="4462">
                  <c:v>44067</c:v>
                </c:pt>
                <c:pt idx="4463">
                  <c:v>44068</c:v>
                </c:pt>
                <c:pt idx="4464">
                  <c:v>44069</c:v>
                </c:pt>
                <c:pt idx="4465">
                  <c:v>44070</c:v>
                </c:pt>
                <c:pt idx="4466">
                  <c:v>44071</c:v>
                </c:pt>
                <c:pt idx="4467">
                  <c:v>44074</c:v>
                </c:pt>
                <c:pt idx="4468">
                  <c:v>44075</c:v>
                </c:pt>
                <c:pt idx="4469">
                  <c:v>44076</c:v>
                </c:pt>
                <c:pt idx="4470">
                  <c:v>44077</c:v>
                </c:pt>
                <c:pt idx="4471">
                  <c:v>44078</c:v>
                </c:pt>
                <c:pt idx="4472">
                  <c:v>44081</c:v>
                </c:pt>
                <c:pt idx="4473">
                  <c:v>44082</c:v>
                </c:pt>
                <c:pt idx="4474">
                  <c:v>44083</c:v>
                </c:pt>
                <c:pt idx="4475">
                  <c:v>44084</c:v>
                </c:pt>
                <c:pt idx="4476">
                  <c:v>44085</c:v>
                </c:pt>
                <c:pt idx="4477">
                  <c:v>44088</c:v>
                </c:pt>
                <c:pt idx="4478">
                  <c:v>44089</c:v>
                </c:pt>
                <c:pt idx="4479">
                  <c:v>44090</c:v>
                </c:pt>
                <c:pt idx="4480">
                  <c:v>44091</c:v>
                </c:pt>
                <c:pt idx="4481">
                  <c:v>44092</c:v>
                </c:pt>
                <c:pt idx="4482">
                  <c:v>44095</c:v>
                </c:pt>
                <c:pt idx="4483">
                  <c:v>44096</c:v>
                </c:pt>
                <c:pt idx="4484">
                  <c:v>44097</c:v>
                </c:pt>
                <c:pt idx="4485">
                  <c:v>44098</c:v>
                </c:pt>
                <c:pt idx="4486">
                  <c:v>44099</c:v>
                </c:pt>
                <c:pt idx="4487">
                  <c:v>44102</c:v>
                </c:pt>
                <c:pt idx="4488">
                  <c:v>44103</c:v>
                </c:pt>
                <c:pt idx="4489">
                  <c:v>44104</c:v>
                </c:pt>
                <c:pt idx="4490">
                  <c:v>44113</c:v>
                </c:pt>
                <c:pt idx="4491">
                  <c:v>44116</c:v>
                </c:pt>
                <c:pt idx="4492">
                  <c:v>44117</c:v>
                </c:pt>
                <c:pt idx="4493">
                  <c:v>44118</c:v>
                </c:pt>
                <c:pt idx="4494">
                  <c:v>44119</c:v>
                </c:pt>
                <c:pt idx="4495">
                  <c:v>44120</c:v>
                </c:pt>
                <c:pt idx="4496">
                  <c:v>44123</c:v>
                </c:pt>
                <c:pt idx="4497">
                  <c:v>44124</c:v>
                </c:pt>
                <c:pt idx="4498">
                  <c:v>44125</c:v>
                </c:pt>
                <c:pt idx="4499">
                  <c:v>44126</c:v>
                </c:pt>
                <c:pt idx="4500">
                  <c:v>44127</c:v>
                </c:pt>
                <c:pt idx="4501">
                  <c:v>44130</c:v>
                </c:pt>
                <c:pt idx="4502">
                  <c:v>44131</c:v>
                </c:pt>
                <c:pt idx="4503">
                  <c:v>44132</c:v>
                </c:pt>
                <c:pt idx="4504">
                  <c:v>44133</c:v>
                </c:pt>
                <c:pt idx="4505">
                  <c:v>44134</c:v>
                </c:pt>
                <c:pt idx="4506">
                  <c:v>44137</c:v>
                </c:pt>
                <c:pt idx="4507">
                  <c:v>44138</c:v>
                </c:pt>
                <c:pt idx="4508">
                  <c:v>44139</c:v>
                </c:pt>
                <c:pt idx="4509">
                  <c:v>44140</c:v>
                </c:pt>
                <c:pt idx="4510">
                  <c:v>44141</c:v>
                </c:pt>
                <c:pt idx="4511">
                  <c:v>44144</c:v>
                </c:pt>
                <c:pt idx="4512">
                  <c:v>44145</c:v>
                </c:pt>
                <c:pt idx="4513">
                  <c:v>44146</c:v>
                </c:pt>
                <c:pt idx="4514">
                  <c:v>44147</c:v>
                </c:pt>
                <c:pt idx="4515">
                  <c:v>44148</c:v>
                </c:pt>
                <c:pt idx="4516">
                  <c:v>44151</c:v>
                </c:pt>
                <c:pt idx="4517">
                  <c:v>44152</c:v>
                </c:pt>
                <c:pt idx="4518">
                  <c:v>44153</c:v>
                </c:pt>
                <c:pt idx="4519">
                  <c:v>44154</c:v>
                </c:pt>
                <c:pt idx="4520">
                  <c:v>44155</c:v>
                </c:pt>
                <c:pt idx="4521">
                  <c:v>44158</c:v>
                </c:pt>
                <c:pt idx="4522">
                  <c:v>44159</c:v>
                </c:pt>
                <c:pt idx="4523">
                  <c:v>44160</c:v>
                </c:pt>
                <c:pt idx="4524">
                  <c:v>44161</c:v>
                </c:pt>
                <c:pt idx="4525">
                  <c:v>44162</c:v>
                </c:pt>
                <c:pt idx="4526">
                  <c:v>44165</c:v>
                </c:pt>
                <c:pt idx="4527">
                  <c:v>44166</c:v>
                </c:pt>
                <c:pt idx="4528">
                  <c:v>44167</c:v>
                </c:pt>
                <c:pt idx="4529">
                  <c:v>44168</c:v>
                </c:pt>
                <c:pt idx="4530">
                  <c:v>44169</c:v>
                </c:pt>
                <c:pt idx="4531">
                  <c:v>44172</c:v>
                </c:pt>
                <c:pt idx="4532">
                  <c:v>44173</c:v>
                </c:pt>
                <c:pt idx="4533">
                  <c:v>44174</c:v>
                </c:pt>
                <c:pt idx="4534">
                  <c:v>44175</c:v>
                </c:pt>
                <c:pt idx="4535">
                  <c:v>44176</c:v>
                </c:pt>
                <c:pt idx="4536">
                  <c:v>44179</c:v>
                </c:pt>
                <c:pt idx="4537">
                  <c:v>44180</c:v>
                </c:pt>
                <c:pt idx="4538">
                  <c:v>44181</c:v>
                </c:pt>
                <c:pt idx="4539">
                  <c:v>44182</c:v>
                </c:pt>
                <c:pt idx="4540">
                  <c:v>44183</c:v>
                </c:pt>
                <c:pt idx="4541">
                  <c:v>44186</c:v>
                </c:pt>
                <c:pt idx="4542">
                  <c:v>44187</c:v>
                </c:pt>
                <c:pt idx="4543">
                  <c:v>44188</c:v>
                </c:pt>
                <c:pt idx="4544">
                  <c:v>44189</c:v>
                </c:pt>
                <c:pt idx="4545">
                  <c:v>44190</c:v>
                </c:pt>
                <c:pt idx="4546">
                  <c:v>44193</c:v>
                </c:pt>
                <c:pt idx="4547">
                  <c:v>44194</c:v>
                </c:pt>
                <c:pt idx="4548">
                  <c:v>44195</c:v>
                </c:pt>
                <c:pt idx="4549">
                  <c:v>44196</c:v>
                </c:pt>
                <c:pt idx="4550">
                  <c:v>44200</c:v>
                </c:pt>
                <c:pt idx="4551">
                  <c:v>44201</c:v>
                </c:pt>
                <c:pt idx="4552">
                  <c:v>44202</c:v>
                </c:pt>
                <c:pt idx="4553">
                  <c:v>44203</c:v>
                </c:pt>
                <c:pt idx="4554">
                  <c:v>44204</c:v>
                </c:pt>
                <c:pt idx="4555">
                  <c:v>44207</c:v>
                </c:pt>
                <c:pt idx="4556">
                  <c:v>44208</c:v>
                </c:pt>
                <c:pt idx="4557">
                  <c:v>44209</c:v>
                </c:pt>
                <c:pt idx="4558">
                  <c:v>44210</c:v>
                </c:pt>
                <c:pt idx="4559">
                  <c:v>44211</c:v>
                </c:pt>
                <c:pt idx="4560">
                  <c:v>44214</c:v>
                </c:pt>
                <c:pt idx="4561">
                  <c:v>44215</c:v>
                </c:pt>
                <c:pt idx="4562">
                  <c:v>44216</c:v>
                </c:pt>
                <c:pt idx="4563">
                  <c:v>44217</c:v>
                </c:pt>
                <c:pt idx="4564">
                  <c:v>44218</c:v>
                </c:pt>
                <c:pt idx="4565">
                  <c:v>44221</c:v>
                </c:pt>
                <c:pt idx="4566">
                  <c:v>44222</c:v>
                </c:pt>
                <c:pt idx="4567">
                  <c:v>44223</c:v>
                </c:pt>
                <c:pt idx="4568">
                  <c:v>44224</c:v>
                </c:pt>
                <c:pt idx="4569">
                  <c:v>44225</c:v>
                </c:pt>
                <c:pt idx="4570">
                  <c:v>44228</c:v>
                </c:pt>
                <c:pt idx="4571">
                  <c:v>44229</c:v>
                </c:pt>
                <c:pt idx="4572">
                  <c:v>44230</c:v>
                </c:pt>
                <c:pt idx="4573">
                  <c:v>44231</c:v>
                </c:pt>
                <c:pt idx="4574">
                  <c:v>44232</c:v>
                </c:pt>
                <c:pt idx="4575">
                  <c:v>44235</c:v>
                </c:pt>
                <c:pt idx="4576">
                  <c:v>44236</c:v>
                </c:pt>
                <c:pt idx="4577">
                  <c:v>44237</c:v>
                </c:pt>
                <c:pt idx="4578">
                  <c:v>44245</c:v>
                </c:pt>
                <c:pt idx="4579">
                  <c:v>44246</c:v>
                </c:pt>
                <c:pt idx="4580">
                  <c:v>44249</c:v>
                </c:pt>
                <c:pt idx="4581">
                  <c:v>44250</c:v>
                </c:pt>
                <c:pt idx="4582">
                  <c:v>44251</c:v>
                </c:pt>
                <c:pt idx="4583">
                  <c:v>44252</c:v>
                </c:pt>
                <c:pt idx="4584">
                  <c:v>44253</c:v>
                </c:pt>
                <c:pt idx="4585">
                  <c:v>44256</c:v>
                </c:pt>
                <c:pt idx="4586">
                  <c:v>44257</c:v>
                </c:pt>
                <c:pt idx="4587">
                  <c:v>44258</c:v>
                </c:pt>
                <c:pt idx="4588">
                  <c:v>44259</c:v>
                </c:pt>
                <c:pt idx="4589">
                  <c:v>44260</c:v>
                </c:pt>
                <c:pt idx="4590">
                  <c:v>44263</c:v>
                </c:pt>
                <c:pt idx="4591">
                  <c:v>44264</c:v>
                </c:pt>
                <c:pt idx="4592">
                  <c:v>44265</c:v>
                </c:pt>
                <c:pt idx="4593">
                  <c:v>44266</c:v>
                </c:pt>
                <c:pt idx="4594">
                  <c:v>44267</c:v>
                </c:pt>
                <c:pt idx="4595">
                  <c:v>44270</c:v>
                </c:pt>
                <c:pt idx="4596">
                  <c:v>44271</c:v>
                </c:pt>
                <c:pt idx="4597">
                  <c:v>44272</c:v>
                </c:pt>
                <c:pt idx="4598">
                  <c:v>44273</c:v>
                </c:pt>
                <c:pt idx="4599">
                  <c:v>44274</c:v>
                </c:pt>
                <c:pt idx="4600">
                  <c:v>44277</c:v>
                </c:pt>
                <c:pt idx="4601">
                  <c:v>44278</c:v>
                </c:pt>
                <c:pt idx="4602">
                  <c:v>44279</c:v>
                </c:pt>
                <c:pt idx="4603">
                  <c:v>44280</c:v>
                </c:pt>
                <c:pt idx="4604">
                  <c:v>44281</c:v>
                </c:pt>
                <c:pt idx="4605">
                  <c:v>44284</c:v>
                </c:pt>
                <c:pt idx="4606">
                  <c:v>44285</c:v>
                </c:pt>
                <c:pt idx="4607">
                  <c:v>44286</c:v>
                </c:pt>
                <c:pt idx="4608">
                  <c:v>44287</c:v>
                </c:pt>
                <c:pt idx="4609">
                  <c:v>44288</c:v>
                </c:pt>
                <c:pt idx="4610">
                  <c:v>44292</c:v>
                </c:pt>
                <c:pt idx="4611">
                  <c:v>44293</c:v>
                </c:pt>
                <c:pt idx="4612">
                  <c:v>44294</c:v>
                </c:pt>
                <c:pt idx="4613">
                  <c:v>44295</c:v>
                </c:pt>
                <c:pt idx="4614">
                  <c:v>44298</c:v>
                </c:pt>
                <c:pt idx="4615">
                  <c:v>44299</c:v>
                </c:pt>
                <c:pt idx="4616">
                  <c:v>44300</c:v>
                </c:pt>
                <c:pt idx="4617">
                  <c:v>44301</c:v>
                </c:pt>
                <c:pt idx="4618">
                  <c:v>44302</c:v>
                </c:pt>
                <c:pt idx="4619">
                  <c:v>44305</c:v>
                </c:pt>
                <c:pt idx="4620">
                  <c:v>44306</c:v>
                </c:pt>
                <c:pt idx="4621">
                  <c:v>44307</c:v>
                </c:pt>
                <c:pt idx="4622">
                  <c:v>44308</c:v>
                </c:pt>
                <c:pt idx="4623">
                  <c:v>44309</c:v>
                </c:pt>
                <c:pt idx="4624">
                  <c:v>44312</c:v>
                </c:pt>
                <c:pt idx="4625">
                  <c:v>44313</c:v>
                </c:pt>
                <c:pt idx="4626">
                  <c:v>44314</c:v>
                </c:pt>
                <c:pt idx="4627">
                  <c:v>44315</c:v>
                </c:pt>
                <c:pt idx="4628">
                  <c:v>44316</c:v>
                </c:pt>
                <c:pt idx="4629">
                  <c:v>44322</c:v>
                </c:pt>
                <c:pt idx="4630">
                  <c:v>44323</c:v>
                </c:pt>
                <c:pt idx="4631">
                  <c:v>44326</c:v>
                </c:pt>
                <c:pt idx="4632">
                  <c:v>44327</c:v>
                </c:pt>
                <c:pt idx="4633">
                  <c:v>44328</c:v>
                </c:pt>
                <c:pt idx="4634">
                  <c:v>44329</c:v>
                </c:pt>
                <c:pt idx="4635">
                  <c:v>44330</c:v>
                </c:pt>
                <c:pt idx="4636">
                  <c:v>44333</c:v>
                </c:pt>
                <c:pt idx="4637">
                  <c:v>44334</c:v>
                </c:pt>
                <c:pt idx="4638">
                  <c:v>44335</c:v>
                </c:pt>
                <c:pt idx="4639">
                  <c:v>44336</c:v>
                </c:pt>
                <c:pt idx="4640">
                  <c:v>44337</c:v>
                </c:pt>
                <c:pt idx="4641">
                  <c:v>44340</c:v>
                </c:pt>
                <c:pt idx="4642">
                  <c:v>44341</c:v>
                </c:pt>
                <c:pt idx="4643">
                  <c:v>44342</c:v>
                </c:pt>
                <c:pt idx="4644">
                  <c:v>44343</c:v>
                </c:pt>
                <c:pt idx="4645">
                  <c:v>44344</c:v>
                </c:pt>
                <c:pt idx="4646">
                  <c:v>44347</c:v>
                </c:pt>
                <c:pt idx="4647">
                  <c:v>44348</c:v>
                </c:pt>
                <c:pt idx="4648">
                  <c:v>44349</c:v>
                </c:pt>
                <c:pt idx="4649">
                  <c:v>44350</c:v>
                </c:pt>
                <c:pt idx="4650">
                  <c:v>44351</c:v>
                </c:pt>
                <c:pt idx="4651">
                  <c:v>44354</c:v>
                </c:pt>
                <c:pt idx="4652">
                  <c:v>44355</c:v>
                </c:pt>
                <c:pt idx="4653">
                  <c:v>44356</c:v>
                </c:pt>
                <c:pt idx="4654">
                  <c:v>44357</c:v>
                </c:pt>
                <c:pt idx="4655">
                  <c:v>44358</c:v>
                </c:pt>
                <c:pt idx="4656">
                  <c:v>44362</c:v>
                </c:pt>
                <c:pt idx="4657">
                  <c:v>44363</c:v>
                </c:pt>
                <c:pt idx="4658">
                  <c:v>44364</c:v>
                </c:pt>
                <c:pt idx="4659">
                  <c:v>44365</c:v>
                </c:pt>
                <c:pt idx="4660">
                  <c:v>44368</c:v>
                </c:pt>
                <c:pt idx="4661">
                  <c:v>44369</c:v>
                </c:pt>
                <c:pt idx="4662">
                  <c:v>44370</c:v>
                </c:pt>
                <c:pt idx="4663">
                  <c:v>44371</c:v>
                </c:pt>
                <c:pt idx="4664">
                  <c:v>44372</c:v>
                </c:pt>
                <c:pt idx="4665">
                  <c:v>44375</c:v>
                </c:pt>
                <c:pt idx="4666">
                  <c:v>44376</c:v>
                </c:pt>
                <c:pt idx="4667">
                  <c:v>44377</c:v>
                </c:pt>
                <c:pt idx="4668">
                  <c:v>44378</c:v>
                </c:pt>
                <c:pt idx="4669">
                  <c:v>44379</c:v>
                </c:pt>
                <c:pt idx="4670">
                  <c:v>44382</c:v>
                </c:pt>
                <c:pt idx="4671">
                  <c:v>44383</c:v>
                </c:pt>
                <c:pt idx="4672">
                  <c:v>44384</c:v>
                </c:pt>
                <c:pt idx="4673">
                  <c:v>44385</c:v>
                </c:pt>
                <c:pt idx="4674">
                  <c:v>44386</c:v>
                </c:pt>
                <c:pt idx="4675">
                  <c:v>44389</c:v>
                </c:pt>
                <c:pt idx="4676">
                  <c:v>44390</c:v>
                </c:pt>
                <c:pt idx="4677">
                  <c:v>44391</c:v>
                </c:pt>
                <c:pt idx="4678">
                  <c:v>44392</c:v>
                </c:pt>
                <c:pt idx="4679">
                  <c:v>44393</c:v>
                </c:pt>
                <c:pt idx="4680">
                  <c:v>44396</c:v>
                </c:pt>
                <c:pt idx="4681">
                  <c:v>44397</c:v>
                </c:pt>
                <c:pt idx="4682">
                  <c:v>44398</c:v>
                </c:pt>
                <c:pt idx="4683">
                  <c:v>44399</c:v>
                </c:pt>
                <c:pt idx="4684">
                  <c:v>44400</c:v>
                </c:pt>
                <c:pt idx="4685">
                  <c:v>44403</c:v>
                </c:pt>
                <c:pt idx="4686">
                  <c:v>44404</c:v>
                </c:pt>
                <c:pt idx="4687">
                  <c:v>44405</c:v>
                </c:pt>
                <c:pt idx="4688">
                  <c:v>44406</c:v>
                </c:pt>
                <c:pt idx="4689">
                  <c:v>44407</c:v>
                </c:pt>
                <c:pt idx="4690">
                  <c:v>44410</c:v>
                </c:pt>
                <c:pt idx="4691">
                  <c:v>44411</c:v>
                </c:pt>
                <c:pt idx="4692">
                  <c:v>44412</c:v>
                </c:pt>
                <c:pt idx="4693">
                  <c:v>44413</c:v>
                </c:pt>
                <c:pt idx="4694">
                  <c:v>44414</c:v>
                </c:pt>
                <c:pt idx="4695">
                  <c:v>44417</c:v>
                </c:pt>
                <c:pt idx="4696">
                  <c:v>44418</c:v>
                </c:pt>
                <c:pt idx="4697">
                  <c:v>44419</c:v>
                </c:pt>
                <c:pt idx="4698">
                  <c:v>44420</c:v>
                </c:pt>
                <c:pt idx="4699">
                  <c:v>44421</c:v>
                </c:pt>
                <c:pt idx="4700">
                  <c:v>44424</c:v>
                </c:pt>
                <c:pt idx="4701">
                  <c:v>44425</c:v>
                </c:pt>
                <c:pt idx="4702">
                  <c:v>44426</c:v>
                </c:pt>
                <c:pt idx="4703">
                  <c:v>44427</c:v>
                </c:pt>
                <c:pt idx="4704">
                  <c:v>44428</c:v>
                </c:pt>
                <c:pt idx="4705">
                  <c:v>44431</c:v>
                </c:pt>
                <c:pt idx="4706">
                  <c:v>44432</c:v>
                </c:pt>
                <c:pt idx="4707">
                  <c:v>44433</c:v>
                </c:pt>
                <c:pt idx="4708">
                  <c:v>44434</c:v>
                </c:pt>
                <c:pt idx="4709">
                  <c:v>44435</c:v>
                </c:pt>
                <c:pt idx="4710">
                  <c:v>44438</c:v>
                </c:pt>
                <c:pt idx="4711">
                  <c:v>44439</c:v>
                </c:pt>
                <c:pt idx="4712">
                  <c:v>44440</c:v>
                </c:pt>
                <c:pt idx="4713">
                  <c:v>44441</c:v>
                </c:pt>
                <c:pt idx="4714">
                  <c:v>44442</c:v>
                </c:pt>
                <c:pt idx="4715">
                  <c:v>44445</c:v>
                </c:pt>
                <c:pt idx="4716">
                  <c:v>44446</c:v>
                </c:pt>
                <c:pt idx="4717">
                  <c:v>44447</c:v>
                </c:pt>
                <c:pt idx="4718">
                  <c:v>44448</c:v>
                </c:pt>
                <c:pt idx="4719">
                  <c:v>44449</c:v>
                </c:pt>
                <c:pt idx="4720">
                  <c:v>44452</c:v>
                </c:pt>
                <c:pt idx="4721">
                  <c:v>44453</c:v>
                </c:pt>
                <c:pt idx="4722">
                  <c:v>44454</c:v>
                </c:pt>
                <c:pt idx="4723">
                  <c:v>44455</c:v>
                </c:pt>
                <c:pt idx="4724">
                  <c:v>44456</c:v>
                </c:pt>
                <c:pt idx="4725">
                  <c:v>44461</c:v>
                </c:pt>
                <c:pt idx="4726">
                  <c:v>44462</c:v>
                </c:pt>
                <c:pt idx="4727">
                  <c:v>44463</c:v>
                </c:pt>
                <c:pt idx="4728">
                  <c:v>44466</c:v>
                </c:pt>
                <c:pt idx="4729">
                  <c:v>44467</c:v>
                </c:pt>
                <c:pt idx="4730">
                  <c:v>44468</c:v>
                </c:pt>
                <c:pt idx="4731">
                  <c:v>44469</c:v>
                </c:pt>
                <c:pt idx="4732">
                  <c:v>44477</c:v>
                </c:pt>
                <c:pt idx="4733">
                  <c:v>44480</c:v>
                </c:pt>
                <c:pt idx="4734">
                  <c:v>44481</c:v>
                </c:pt>
                <c:pt idx="4735">
                  <c:v>44482</c:v>
                </c:pt>
                <c:pt idx="4736">
                  <c:v>44483</c:v>
                </c:pt>
                <c:pt idx="4737">
                  <c:v>44484</c:v>
                </c:pt>
                <c:pt idx="4738">
                  <c:v>44487</c:v>
                </c:pt>
                <c:pt idx="4739">
                  <c:v>44488</c:v>
                </c:pt>
                <c:pt idx="4740">
                  <c:v>44489</c:v>
                </c:pt>
                <c:pt idx="4741">
                  <c:v>44490</c:v>
                </c:pt>
                <c:pt idx="4742">
                  <c:v>44491</c:v>
                </c:pt>
                <c:pt idx="4743">
                  <c:v>44494</c:v>
                </c:pt>
                <c:pt idx="4744">
                  <c:v>44495</c:v>
                </c:pt>
                <c:pt idx="4745">
                  <c:v>44496</c:v>
                </c:pt>
                <c:pt idx="4746">
                  <c:v>44497</c:v>
                </c:pt>
                <c:pt idx="4747">
                  <c:v>44498</c:v>
                </c:pt>
                <c:pt idx="4748">
                  <c:v>44501</c:v>
                </c:pt>
                <c:pt idx="4749">
                  <c:v>44502</c:v>
                </c:pt>
                <c:pt idx="4750">
                  <c:v>44503</c:v>
                </c:pt>
                <c:pt idx="4751">
                  <c:v>44504</c:v>
                </c:pt>
                <c:pt idx="4752">
                  <c:v>44505</c:v>
                </c:pt>
                <c:pt idx="4753">
                  <c:v>44508</c:v>
                </c:pt>
                <c:pt idx="4754">
                  <c:v>44509</c:v>
                </c:pt>
                <c:pt idx="4755">
                  <c:v>44510</c:v>
                </c:pt>
                <c:pt idx="4756">
                  <c:v>44511</c:v>
                </c:pt>
                <c:pt idx="4757">
                  <c:v>44512</c:v>
                </c:pt>
                <c:pt idx="4758">
                  <c:v>44515</c:v>
                </c:pt>
                <c:pt idx="4759">
                  <c:v>44516</c:v>
                </c:pt>
                <c:pt idx="4760">
                  <c:v>44517</c:v>
                </c:pt>
                <c:pt idx="4761">
                  <c:v>44518</c:v>
                </c:pt>
                <c:pt idx="4762">
                  <c:v>44519</c:v>
                </c:pt>
                <c:pt idx="4763">
                  <c:v>44522</c:v>
                </c:pt>
                <c:pt idx="4764">
                  <c:v>44523</c:v>
                </c:pt>
                <c:pt idx="4765">
                  <c:v>44524</c:v>
                </c:pt>
                <c:pt idx="4766">
                  <c:v>44525</c:v>
                </c:pt>
                <c:pt idx="4767">
                  <c:v>44526</c:v>
                </c:pt>
                <c:pt idx="4768">
                  <c:v>44529</c:v>
                </c:pt>
                <c:pt idx="4769">
                  <c:v>44530</c:v>
                </c:pt>
                <c:pt idx="4770">
                  <c:v>44531</c:v>
                </c:pt>
                <c:pt idx="4771">
                  <c:v>44532</c:v>
                </c:pt>
                <c:pt idx="4772">
                  <c:v>44533</c:v>
                </c:pt>
                <c:pt idx="4773">
                  <c:v>44536</c:v>
                </c:pt>
                <c:pt idx="4774">
                  <c:v>44537</c:v>
                </c:pt>
                <c:pt idx="4775">
                  <c:v>44538</c:v>
                </c:pt>
                <c:pt idx="4776">
                  <c:v>44539</c:v>
                </c:pt>
                <c:pt idx="4777">
                  <c:v>44540</c:v>
                </c:pt>
                <c:pt idx="4778">
                  <c:v>44543</c:v>
                </c:pt>
                <c:pt idx="4779">
                  <c:v>44544</c:v>
                </c:pt>
                <c:pt idx="4780">
                  <c:v>44545</c:v>
                </c:pt>
                <c:pt idx="4781">
                  <c:v>44546</c:v>
                </c:pt>
                <c:pt idx="4782">
                  <c:v>44547</c:v>
                </c:pt>
                <c:pt idx="4783">
                  <c:v>44550</c:v>
                </c:pt>
                <c:pt idx="4784">
                  <c:v>44551</c:v>
                </c:pt>
                <c:pt idx="4785">
                  <c:v>44552</c:v>
                </c:pt>
                <c:pt idx="4786">
                  <c:v>44553</c:v>
                </c:pt>
                <c:pt idx="4787">
                  <c:v>44554</c:v>
                </c:pt>
                <c:pt idx="4788">
                  <c:v>44557</c:v>
                </c:pt>
                <c:pt idx="4789">
                  <c:v>44558</c:v>
                </c:pt>
                <c:pt idx="4790">
                  <c:v>44559</c:v>
                </c:pt>
                <c:pt idx="4791">
                  <c:v>44560</c:v>
                </c:pt>
                <c:pt idx="4792">
                  <c:v>44561</c:v>
                </c:pt>
                <c:pt idx="4793">
                  <c:v>44565</c:v>
                </c:pt>
                <c:pt idx="4794">
                  <c:v>44566</c:v>
                </c:pt>
                <c:pt idx="4795">
                  <c:v>44567</c:v>
                </c:pt>
                <c:pt idx="4796">
                  <c:v>44568</c:v>
                </c:pt>
                <c:pt idx="4797">
                  <c:v>44571</c:v>
                </c:pt>
                <c:pt idx="4798">
                  <c:v>44572</c:v>
                </c:pt>
                <c:pt idx="4799">
                  <c:v>44573</c:v>
                </c:pt>
                <c:pt idx="4800">
                  <c:v>44574</c:v>
                </c:pt>
                <c:pt idx="4801">
                  <c:v>44575</c:v>
                </c:pt>
                <c:pt idx="4802">
                  <c:v>44578</c:v>
                </c:pt>
                <c:pt idx="4803">
                  <c:v>44579</c:v>
                </c:pt>
                <c:pt idx="4804">
                  <c:v>44580</c:v>
                </c:pt>
                <c:pt idx="4805">
                  <c:v>44581</c:v>
                </c:pt>
                <c:pt idx="4806">
                  <c:v>44582</c:v>
                </c:pt>
                <c:pt idx="4807">
                  <c:v>44585</c:v>
                </c:pt>
                <c:pt idx="4808">
                  <c:v>44586</c:v>
                </c:pt>
                <c:pt idx="4809">
                  <c:v>44587</c:v>
                </c:pt>
                <c:pt idx="4810">
                  <c:v>44588</c:v>
                </c:pt>
                <c:pt idx="4811">
                  <c:v>44589</c:v>
                </c:pt>
                <c:pt idx="4812">
                  <c:v>44599</c:v>
                </c:pt>
                <c:pt idx="4813">
                  <c:v>44600</c:v>
                </c:pt>
                <c:pt idx="4814">
                  <c:v>44601</c:v>
                </c:pt>
                <c:pt idx="4815">
                  <c:v>44602</c:v>
                </c:pt>
                <c:pt idx="4816">
                  <c:v>44603</c:v>
                </c:pt>
                <c:pt idx="4817">
                  <c:v>44606</c:v>
                </c:pt>
                <c:pt idx="4818">
                  <c:v>44607</c:v>
                </c:pt>
                <c:pt idx="4819">
                  <c:v>44608</c:v>
                </c:pt>
                <c:pt idx="4820">
                  <c:v>44609</c:v>
                </c:pt>
                <c:pt idx="4821">
                  <c:v>44610</c:v>
                </c:pt>
                <c:pt idx="4822">
                  <c:v>44613</c:v>
                </c:pt>
                <c:pt idx="4823">
                  <c:v>44614</c:v>
                </c:pt>
                <c:pt idx="4824">
                  <c:v>44615</c:v>
                </c:pt>
                <c:pt idx="4825">
                  <c:v>44616</c:v>
                </c:pt>
                <c:pt idx="4826">
                  <c:v>44617</c:v>
                </c:pt>
                <c:pt idx="4827">
                  <c:v>44620</c:v>
                </c:pt>
                <c:pt idx="4828">
                  <c:v>44621</c:v>
                </c:pt>
                <c:pt idx="4829">
                  <c:v>44622</c:v>
                </c:pt>
                <c:pt idx="4830">
                  <c:v>44623</c:v>
                </c:pt>
                <c:pt idx="4831">
                  <c:v>44624</c:v>
                </c:pt>
                <c:pt idx="4832">
                  <c:v>44627</c:v>
                </c:pt>
                <c:pt idx="4833">
                  <c:v>44628</c:v>
                </c:pt>
                <c:pt idx="4834">
                  <c:v>44629</c:v>
                </c:pt>
                <c:pt idx="4835">
                  <c:v>44630</c:v>
                </c:pt>
                <c:pt idx="4836">
                  <c:v>44631</c:v>
                </c:pt>
                <c:pt idx="4837">
                  <c:v>44634</c:v>
                </c:pt>
                <c:pt idx="4838">
                  <c:v>44635</c:v>
                </c:pt>
                <c:pt idx="4839">
                  <c:v>44636</c:v>
                </c:pt>
                <c:pt idx="4840">
                  <c:v>44637</c:v>
                </c:pt>
                <c:pt idx="4841">
                  <c:v>44638</c:v>
                </c:pt>
                <c:pt idx="4842">
                  <c:v>44641</c:v>
                </c:pt>
                <c:pt idx="4843">
                  <c:v>44642</c:v>
                </c:pt>
                <c:pt idx="4844">
                  <c:v>44643</c:v>
                </c:pt>
                <c:pt idx="4845">
                  <c:v>44644</c:v>
                </c:pt>
                <c:pt idx="4846">
                  <c:v>44645</c:v>
                </c:pt>
                <c:pt idx="4847">
                  <c:v>44648</c:v>
                </c:pt>
                <c:pt idx="4848">
                  <c:v>44649</c:v>
                </c:pt>
                <c:pt idx="4849">
                  <c:v>44650</c:v>
                </c:pt>
                <c:pt idx="4850">
                  <c:v>44651</c:v>
                </c:pt>
                <c:pt idx="4851">
                  <c:v>44652</c:v>
                </c:pt>
                <c:pt idx="4852">
                  <c:v>44657</c:v>
                </c:pt>
                <c:pt idx="4853">
                  <c:v>44658</c:v>
                </c:pt>
                <c:pt idx="4854">
                  <c:v>44659</c:v>
                </c:pt>
              </c:numCache>
            </c:numRef>
          </c:cat>
          <c:val>
            <c:numRef>
              <c:f>'v60'!$D$2:$D$4916</c:f>
              <c:numCache>
                <c:formatCode>General</c:formatCode>
                <c:ptCount val="4915"/>
                <c:pt idx="140">
                  <c:v>1.6065923017333499E-2</c:v>
                </c:pt>
                <c:pt idx="141">
                  <c:v>1.60791356908014E-2</c:v>
                </c:pt>
                <c:pt idx="142">
                  <c:v>1.6075628817782101E-2</c:v>
                </c:pt>
                <c:pt idx="143">
                  <c:v>1.6093807790264002E-2</c:v>
                </c:pt>
                <c:pt idx="144">
                  <c:v>1.60874420542341E-2</c:v>
                </c:pt>
                <c:pt idx="145">
                  <c:v>1.6008735162694999E-2</c:v>
                </c:pt>
                <c:pt idx="146">
                  <c:v>1.5809298870447099E-2</c:v>
                </c:pt>
                <c:pt idx="147">
                  <c:v>1.58595101002902E-2</c:v>
                </c:pt>
                <c:pt idx="148">
                  <c:v>1.5936169818939701E-2</c:v>
                </c:pt>
                <c:pt idx="149">
                  <c:v>1.56561291424317E-2</c:v>
                </c:pt>
                <c:pt idx="150">
                  <c:v>1.56587246037239E-2</c:v>
                </c:pt>
                <c:pt idx="151">
                  <c:v>1.55102365351293E-2</c:v>
                </c:pt>
                <c:pt idx="152">
                  <c:v>1.5518087990066E-2</c:v>
                </c:pt>
                <c:pt idx="153">
                  <c:v>1.4974126320029899E-2</c:v>
                </c:pt>
                <c:pt idx="154">
                  <c:v>1.49941079418479E-2</c:v>
                </c:pt>
                <c:pt idx="155">
                  <c:v>1.5119507212022199E-2</c:v>
                </c:pt>
                <c:pt idx="156">
                  <c:v>1.43842895785496E-2</c:v>
                </c:pt>
                <c:pt idx="157">
                  <c:v>1.4281317329519001E-2</c:v>
                </c:pt>
                <c:pt idx="158">
                  <c:v>1.42854457240388E-2</c:v>
                </c:pt>
                <c:pt idx="159">
                  <c:v>1.35381833570704E-2</c:v>
                </c:pt>
                <c:pt idx="160">
                  <c:v>1.3535692417511E-2</c:v>
                </c:pt>
                <c:pt idx="161">
                  <c:v>1.35014640932292E-2</c:v>
                </c:pt>
                <c:pt idx="162">
                  <c:v>1.3491680627694701E-2</c:v>
                </c:pt>
                <c:pt idx="163">
                  <c:v>1.3388943424581599E-2</c:v>
                </c:pt>
                <c:pt idx="164">
                  <c:v>1.33284005867967E-2</c:v>
                </c:pt>
                <c:pt idx="165">
                  <c:v>1.3339176923692801E-2</c:v>
                </c:pt>
                <c:pt idx="166">
                  <c:v>1.3298505632518E-2</c:v>
                </c:pt>
                <c:pt idx="167">
                  <c:v>1.3300873506731099E-2</c:v>
                </c:pt>
                <c:pt idx="168">
                  <c:v>1.32998352100362E-2</c:v>
                </c:pt>
                <c:pt idx="169">
                  <c:v>1.33086733720486E-2</c:v>
                </c:pt>
                <c:pt idx="170">
                  <c:v>1.32738891426438E-2</c:v>
                </c:pt>
                <c:pt idx="171">
                  <c:v>1.3228938710779301E-2</c:v>
                </c:pt>
                <c:pt idx="172">
                  <c:v>1.3126676695013001E-2</c:v>
                </c:pt>
                <c:pt idx="173">
                  <c:v>1.3248293172381799E-2</c:v>
                </c:pt>
                <c:pt idx="174">
                  <c:v>1.3061505204854801E-2</c:v>
                </c:pt>
                <c:pt idx="175">
                  <c:v>1.30125615060597E-2</c:v>
                </c:pt>
                <c:pt idx="176">
                  <c:v>1.29415697432551E-2</c:v>
                </c:pt>
                <c:pt idx="177">
                  <c:v>1.30464244193356E-2</c:v>
                </c:pt>
                <c:pt idx="178">
                  <c:v>1.3013415970195801E-2</c:v>
                </c:pt>
                <c:pt idx="179">
                  <c:v>1.29131843203351E-2</c:v>
                </c:pt>
                <c:pt idx="180">
                  <c:v>1.27755336456702E-2</c:v>
                </c:pt>
                <c:pt idx="181">
                  <c:v>1.2932610801271401E-2</c:v>
                </c:pt>
                <c:pt idx="182">
                  <c:v>1.29218123798444E-2</c:v>
                </c:pt>
                <c:pt idx="183">
                  <c:v>1.29111214372159E-2</c:v>
                </c:pt>
                <c:pt idx="184">
                  <c:v>1.2911140588014401E-2</c:v>
                </c:pt>
                <c:pt idx="185">
                  <c:v>1.3448971404350399E-2</c:v>
                </c:pt>
                <c:pt idx="186">
                  <c:v>1.34538689615384E-2</c:v>
                </c:pt>
                <c:pt idx="187">
                  <c:v>1.3453825029173999E-2</c:v>
                </c:pt>
                <c:pt idx="188">
                  <c:v>1.3454292317936699E-2</c:v>
                </c:pt>
                <c:pt idx="189">
                  <c:v>1.3456984576634299E-2</c:v>
                </c:pt>
                <c:pt idx="190">
                  <c:v>1.33666497985907E-2</c:v>
                </c:pt>
                <c:pt idx="191">
                  <c:v>1.33654032403091E-2</c:v>
                </c:pt>
                <c:pt idx="192">
                  <c:v>1.33254490820502E-2</c:v>
                </c:pt>
                <c:pt idx="193">
                  <c:v>1.33787442405622E-2</c:v>
                </c:pt>
                <c:pt idx="194">
                  <c:v>1.3272154818778499E-2</c:v>
                </c:pt>
                <c:pt idx="195">
                  <c:v>1.3271911687081899E-2</c:v>
                </c:pt>
                <c:pt idx="196">
                  <c:v>1.32716423733859E-2</c:v>
                </c:pt>
                <c:pt idx="197">
                  <c:v>1.32429053681176E-2</c:v>
                </c:pt>
                <c:pt idx="198">
                  <c:v>1.32508275036766E-2</c:v>
                </c:pt>
                <c:pt idx="199">
                  <c:v>1.3230630925393699E-2</c:v>
                </c:pt>
                <c:pt idx="200">
                  <c:v>1.3229625252530301E-2</c:v>
                </c:pt>
                <c:pt idx="201">
                  <c:v>1.3230510227265299E-2</c:v>
                </c:pt>
                <c:pt idx="202">
                  <c:v>1.3239002467256801E-2</c:v>
                </c:pt>
                <c:pt idx="203">
                  <c:v>1.3239001893802799E-2</c:v>
                </c:pt>
                <c:pt idx="204">
                  <c:v>1.3235715250729601E-2</c:v>
                </c:pt>
                <c:pt idx="205">
                  <c:v>1.32334625366375E-2</c:v>
                </c:pt>
                <c:pt idx="206">
                  <c:v>1.3299405703934101E-2</c:v>
                </c:pt>
                <c:pt idx="207">
                  <c:v>1.32966179744317E-2</c:v>
                </c:pt>
                <c:pt idx="208">
                  <c:v>1.33542048252856E-2</c:v>
                </c:pt>
                <c:pt idx="209">
                  <c:v>1.33530479532074E-2</c:v>
                </c:pt>
                <c:pt idx="210">
                  <c:v>1.33111419903997E-2</c:v>
                </c:pt>
                <c:pt idx="211">
                  <c:v>1.3274334266784701E-2</c:v>
                </c:pt>
                <c:pt idx="212">
                  <c:v>1.3285425161412101E-2</c:v>
                </c:pt>
                <c:pt idx="213">
                  <c:v>1.3273607192887499E-2</c:v>
                </c:pt>
                <c:pt idx="214">
                  <c:v>1.3274511231300801E-2</c:v>
                </c:pt>
                <c:pt idx="215">
                  <c:v>1.3295051633266299E-2</c:v>
                </c:pt>
                <c:pt idx="216">
                  <c:v>1.3272252755084099E-2</c:v>
                </c:pt>
                <c:pt idx="217">
                  <c:v>1.33196185922665E-2</c:v>
                </c:pt>
                <c:pt idx="218">
                  <c:v>1.33065106137057E-2</c:v>
                </c:pt>
                <c:pt idx="219">
                  <c:v>1.31421270387588E-2</c:v>
                </c:pt>
                <c:pt idx="220">
                  <c:v>1.3117448451858801E-2</c:v>
                </c:pt>
                <c:pt idx="221">
                  <c:v>1.3080277261750499E-2</c:v>
                </c:pt>
                <c:pt idx="222">
                  <c:v>1.28860782944472E-2</c:v>
                </c:pt>
                <c:pt idx="223">
                  <c:v>1.2850874849636901E-2</c:v>
                </c:pt>
                <c:pt idx="224">
                  <c:v>1.28544299293796E-2</c:v>
                </c:pt>
                <c:pt idx="225">
                  <c:v>1.2815993752577901E-2</c:v>
                </c:pt>
                <c:pt idx="226">
                  <c:v>1.28271673587451E-2</c:v>
                </c:pt>
                <c:pt idx="227">
                  <c:v>1.2828098814749301E-2</c:v>
                </c:pt>
                <c:pt idx="228">
                  <c:v>1.27744122820917E-2</c:v>
                </c:pt>
                <c:pt idx="229">
                  <c:v>1.27773595305503E-2</c:v>
                </c:pt>
                <c:pt idx="230">
                  <c:v>1.2900006797840501E-2</c:v>
                </c:pt>
                <c:pt idx="231">
                  <c:v>1.28188936333709E-2</c:v>
                </c:pt>
                <c:pt idx="232">
                  <c:v>1.28480498312839E-2</c:v>
                </c:pt>
                <c:pt idx="233">
                  <c:v>1.27864146396519E-2</c:v>
                </c:pt>
                <c:pt idx="234">
                  <c:v>1.2466244740205201E-2</c:v>
                </c:pt>
                <c:pt idx="235">
                  <c:v>1.2467412938494E-2</c:v>
                </c:pt>
                <c:pt idx="236">
                  <c:v>1.2467264834318301E-2</c:v>
                </c:pt>
                <c:pt idx="237">
                  <c:v>1.24602949733837E-2</c:v>
                </c:pt>
                <c:pt idx="238">
                  <c:v>1.2457821249547399E-2</c:v>
                </c:pt>
                <c:pt idx="239">
                  <c:v>1.2502835325833401E-2</c:v>
                </c:pt>
                <c:pt idx="240">
                  <c:v>1.2497183723024E-2</c:v>
                </c:pt>
                <c:pt idx="241">
                  <c:v>1.2544370970592E-2</c:v>
                </c:pt>
                <c:pt idx="242">
                  <c:v>1.25866299890373E-2</c:v>
                </c:pt>
                <c:pt idx="243">
                  <c:v>1.25769402783307E-2</c:v>
                </c:pt>
                <c:pt idx="244">
                  <c:v>1.2588487026420301E-2</c:v>
                </c:pt>
                <c:pt idx="245">
                  <c:v>1.23550272265455E-2</c:v>
                </c:pt>
                <c:pt idx="246">
                  <c:v>1.0591072722926099E-2</c:v>
                </c:pt>
                <c:pt idx="247">
                  <c:v>1.0681684206893201E-2</c:v>
                </c:pt>
                <c:pt idx="248">
                  <c:v>1.06726195782761E-2</c:v>
                </c:pt>
                <c:pt idx="249">
                  <c:v>1.07261357397265E-2</c:v>
                </c:pt>
                <c:pt idx="250">
                  <c:v>1.0896944956743799E-2</c:v>
                </c:pt>
                <c:pt idx="251">
                  <c:v>1.08962122483156E-2</c:v>
                </c:pt>
                <c:pt idx="252">
                  <c:v>1.12031112574098E-2</c:v>
                </c:pt>
                <c:pt idx="253">
                  <c:v>1.12507505867441E-2</c:v>
                </c:pt>
                <c:pt idx="254">
                  <c:v>1.12421880991597E-2</c:v>
                </c:pt>
                <c:pt idx="255">
                  <c:v>1.1261922991204499E-2</c:v>
                </c:pt>
                <c:pt idx="256">
                  <c:v>1.14208076221314E-2</c:v>
                </c:pt>
                <c:pt idx="257">
                  <c:v>1.15296886260684E-2</c:v>
                </c:pt>
                <c:pt idx="258">
                  <c:v>1.15882778130494E-2</c:v>
                </c:pt>
                <c:pt idx="259">
                  <c:v>1.1588355738921001E-2</c:v>
                </c:pt>
                <c:pt idx="260">
                  <c:v>1.15888861390389E-2</c:v>
                </c:pt>
                <c:pt idx="261">
                  <c:v>1.1605054553475E-2</c:v>
                </c:pt>
                <c:pt idx="262">
                  <c:v>1.1603941943255799E-2</c:v>
                </c:pt>
                <c:pt idx="263">
                  <c:v>1.16091835174384E-2</c:v>
                </c:pt>
                <c:pt idx="264">
                  <c:v>1.16316662596816E-2</c:v>
                </c:pt>
                <c:pt idx="265">
                  <c:v>1.16390086183168E-2</c:v>
                </c:pt>
                <c:pt idx="266">
                  <c:v>1.15829331426484E-2</c:v>
                </c:pt>
                <c:pt idx="267">
                  <c:v>1.16125965493785E-2</c:v>
                </c:pt>
                <c:pt idx="268">
                  <c:v>1.16520219204524E-2</c:v>
                </c:pt>
                <c:pt idx="269">
                  <c:v>1.16508263391657E-2</c:v>
                </c:pt>
                <c:pt idx="270">
                  <c:v>1.16495861038422E-2</c:v>
                </c:pt>
                <c:pt idx="271">
                  <c:v>1.16696806754484E-2</c:v>
                </c:pt>
                <c:pt idx="272">
                  <c:v>1.16843831932002E-2</c:v>
                </c:pt>
                <c:pt idx="273">
                  <c:v>1.1699196880552E-2</c:v>
                </c:pt>
                <c:pt idx="274">
                  <c:v>1.17371788586286E-2</c:v>
                </c:pt>
                <c:pt idx="275">
                  <c:v>1.1754876641380699E-2</c:v>
                </c:pt>
                <c:pt idx="276">
                  <c:v>1.1757922155720401E-2</c:v>
                </c:pt>
                <c:pt idx="277">
                  <c:v>1.1797496329391101E-2</c:v>
                </c:pt>
                <c:pt idx="278">
                  <c:v>1.17995986718841E-2</c:v>
                </c:pt>
                <c:pt idx="279">
                  <c:v>1.17968541579498E-2</c:v>
                </c:pt>
                <c:pt idx="280">
                  <c:v>1.17890288469617E-2</c:v>
                </c:pt>
                <c:pt idx="281">
                  <c:v>1.1780339689643E-2</c:v>
                </c:pt>
                <c:pt idx="282">
                  <c:v>1.1780038800113499E-2</c:v>
                </c:pt>
                <c:pt idx="283">
                  <c:v>1.17905952396833E-2</c:v>
                </c:pt>
                <c:pt idx="284">
                  <c:v>1.1788740800787E-2</c:v>
                </c:pt>
                <c:pt idx="285">
                  <c:v>1.17994635282422E-2</c:v>
                </c:pt>
                <c:pt idx="286">
                  <c:v>1.18010044644614E-2</c:v>
                </c:pt>
                <c:pt idx="287">
                  <c:v>1.17455515307199E-2</c:v>
                </c:pt>
                <c:pt idx="288">
                  <c:v>1.1767206313670699E-2</c:v>
                </c:pt>
                <c:pt idx="289">
                  <c:v>1.17936567106463E-2</c:v>
                </c:pt>
                <c:pt idx="290">
                  <c:v>1.1797707693791799E-2</c:v>
                </c:pt>
                <c:pt idx="291">
                  <c:v>1.17805953529154E-2</c:v>
                </c:pt>
                <c:pt idx="292">
                  <c:v>1.1804233762043899E-2</c:v>
                </c:pt>
                <c:pt idx="293">
                  <c:v>1.1806309737473699E-2</c:v>
                </c:pt>
                <c:pt idx="294">
                  <c:v>1.1803477920404501E-2</c:v>
                </c:pt>
                <c:pt idx="295">
                  <c:v>1.18044731943542E-2</c:v>
                </c:pt>
                <c:pt idx="296">
                  <c:v>1.18139664453652E-2</c:v>
                </c:pt>
                <c:pt idx="297">
                  <c:v>1.1818538939364799E-2</c:v>
                </c:pt>
                <c:pt idx="298">
                  <c:v>1.1909033955761801E-2</c:v>
                </c:pt>
                <c:pt idx="299">
                  <c:v>1.1876493421341699E-2</c:v>
                </c:pt>
                <c:pt idx="300">
                  <c:v>1.18738411049975E-2</c:v>
                </c:pt>
                <c:pt idx="301">
                  <c:v>1.1861592001800401E-2</c:v>
                </c:pt>
                <c:pt idx="302">
                  <c:v>1.18659562392259E-2</c:v>
                </c:pt>
                <c:pt idx="303">
                  <c:v>1.18757148976776E-2</c:v>
                </c:pt>
                <c:pt idx="304">
                  <c:v>1.1975386515516899E-2</c:v>
                </c:pt>
                <c:pt idx="305">
                  <c:v>1.19865105067903E-2</c:v>
                </c:pt>
                <c:pt idx="306">
                  <c:v>1.1945194606616799E-2</c:v>
                </c:pt>
                <c:pt idx="307">
                  <c:v>1.19473963719498E-2</c:v>
                </c:pt>
                <c:pt idx="308">
                  <c:v>1.19475061198158E-2</c:v>
                </c:pt>
                <c:pt idx="309">
                  <c:v>1.18924372923934E-2</c:v>
                </c:pt>
                <c:pt idx="310">
                  <c:v>1.1873507797471001E-2</c:v>
                </c:pt>
                <c:pt idx="311">
                  <c:v>1.1880574078904801E-2</c:v>
                </c:pt>
                <c:pt idx="312">
                  <c:v>1.1877869055597999E-2</c:v>
                </c:pt>
                <c:pt idx="313">
                  <c:v>1.1878062292306001E-2</c:v>
                </c:pt>
                <c:pt idx="314">
                  <c:v>1.18725266798726E-2</c:v>
                </c:pt>
                <c:pt idx="315">
                  <c:v>1.1896392622362899E-2</c:v>
                </c:pt>
                <c:pt idx="316">
                  <c:v>1.1876277927673699E-2</c:v>
                </c:pt>
                <c:pt idx="317">
                  <c:v>1.1795784341065501E-2</c:v>
                </c:pt>
                <c:pt idx="318">
                  <c:v>1.1790961792736299E-2</c:v>
                </c:pt>
                <c:pt idx="319">
                  <c:v>1.18193547306676E-2</c:v>
                </c:pt>
                <c:pt idx="320">
                  <c:v>1.18156556117967E-2</c:v>
                </c:pt>
                <c:pt idx="321">
                  <c:v>1.1814621188545101E-2</c:v>
                </c:pt>
                <c:pt idx="322">
                  <c:v>1.18367626742759E-2</c:v>
                </c:pt>
                <c:pt idx="323">
                  <c:v>1.1792558344117099E-2</c:v>
                </c:pt>
                <c:pt idx="324">
                  <c:v>1.1788684679530899E-2</c:v>
                </c:pt>
                <c:pt idx="325">
                  <c:v>1.17880640132666E-2</c:v>
                </c:pt>
                <c:pt idx="326">
                  <c:v>1.1747643658141699E-2</c:v>
                </c:pt>
                <c:pt idx="327">
                  <c:v>1.1752293644629701E-2</c:v>
                </c:pt>
                <c:pt idx="328">
                  <c:v>1.1736419688080301E-2</c:v>
                </c:pt>
                <c:pt idx="329">
                  <c:v>1.17216401279704E-2</c:v>
                </c:pt>
                <c:pt idx="330">
                  <c:v>1.1723590458707E-2</c:v>
                </c:pt>
                <c:pt idx="331">
                  <c:v>1.1716142121133401E-2</c:v>
                </c:pt>
                <c:pt idx="332">
                  <c:v>1.17161661694131E-2</c:v>
                </c:pt>
                <c:pt idx="333">
                  <c:v>1.1728104749480101E-2</c:v>
                </c:pt>
                <c:pt idx="334">
                  <c:v>1.17408721653736E-2</c:v>
                </c:pt>
                <c:pt idx="335">
                  <c:v>1.1759148963254199E-2</c:v>
                </c:pt>
                <c:pt idx="336">
                  <c:v>1.1709741465109299E-2</c:v>
                </c:pt>
                <c:pt idx="337">
                  <c:v>1.1706212820346401E-2</c:v>
                </c:pt>
                <c:pt idx="338">
                  <c:v>1.17066104906779E-2</c:v>
                </c:pt>
                <c:pt idx="339">
                  <c:v>1.16313487837466E-2</c:v>
                </c:pt>
                <c:pt idx="340">
                  <c:v>1.1606982214620301E-2</c:v>
                </c:pt>
                <c:pt idx="341">
                  <c:v>1.15677545879445E-2</c:v>
                </c:pt>
                <c:pt idx="342">
                  <c:v>1.15656646778981E-2</c:v>
                </c:pt>
                <c:pt idx="343">
                  <c:v>1.14872500235684E-2</c:v>
                </c:pt>
                <c:pt idx="344">
                  <c:v>1.15111268530757E-2</c:v>
                </c:pt>
                <c:pt idx="345">
                  <c:v>1.1510979678274901E-2</c:v>
                </c:pt>
                <c:pt idx="346">
                  <c:v>1.15102336211778E-2</c:v>
                </c:pt>
                <c:pt idx="347">
                  <c:v>1.1412518092573E-2</c:v>
                </c:pt>
                <c:pt idx="348">
                  <c:v>1.12636531181404E-2</c:v>
                </c:pt>
                <c:pt idx="349">
                  <c:v>1.1262686566852699E-2</c:v>
                </c:pt>
                <c:pt idx="350">
                  <c:v>1.12697761706483E-2</c:v>
                </c:pt>
                <c:pt idx="351">
                  <c:v>1.1188185802102801E-2</c:v>
                </c:pt>
                <c:pt idx="352">
                  <c:v>1.11789117834869E-2</c:v>
                </c:pt>
                <c:pt idx="353">
                  <c:v>1.10367966326223E-2</c:v>
                </c:pt>
                <c:pt idx="354">
                  <c:v>1.10076694395322E-2</c:v>
                </c:pt>
                <c:pt idx="355">
                  <c:v>1.087316030068E-2</c:v>
                </c:pt>
                <c:pt idx="356">
                  <c:v>1.08693297635215E-2</c:v>
                </c:pt>
                <c:pt idx="357">
                  <c:v>1.0870969939283799E-2</c:v>
                </c:pt>
                <c:pt idx="358">
                  <c:v>1.0861500713440201E-2</c:v>
                </c:pt>
                <c:pt idx="359">
                  <c:v>1.09866403926864E-2</c:v>
                </c:pt>
                <c:pt idx="360">
                  <c:v>1.09866930256932E-2</c:v>
                </c:pt>
                <c:pt idx="361">
                  <c:v>1.09702814336492E-2</c:v>
                </c:pt>
                <c:pt idx="362">
                  <c:v>1.0966629894663101E-2</c:v>
                </c:pt>
                <c:pt idx="363">
                  <c:v>1.1001193320037799E-2</c:v>
                </c:pt>
                <c:pt idx="364">
                  <c:v>1.0986236644593901E-2</c:v>
                </c:pt>
                <c:pt idx="365">
                  <c:v>1.09809189333234E-2</c:v>
                </c:pt>
                <c:pt idx="366">
                  <c:v>1.0975230822257201E-2</c:v>
                </c:pt>
                <c:pt idx="367">
                  <c:v>1.1112355989643399E-2</c:v>
                </c:pt>
                <c:pt idx="368">
                  <c:v>1.11264559882043E-2</c:v>
                </c:pt>
                <c:pt idx="369">
                  <c:v>1.11028677779141E-2</c:v>
                </c:pt>
                <c:pt idx="370">
                  <c:v>1.1117735324907899E-2</c:v>
                </c:pt>
                <c:pt idx="371">
                  <c:v>1.1117753920088401E-2</c:v>
                </c:pt>
                <c:pt idx="372">
                  <c:v>1.11171764442012E-2</c:v>
                </c:pt>
                <c:pt idx="373">
                  <c:v>1.0967370185296799E-2</c:v>
                </c:pt>
                <c:pt idx="374">
                  <c:v>1.09673388292355E-2</c:v>
                </c:pt>
                <c:pt idx="375">
                  <c:v>1.09693016910688E-2</c:v>
                </c:pt>
                <c:pt idx="376">
                  <c:v>1.1046161407454E-2</c:v>
                </c:pt>
                <c:pt idx="377">
                  <c:v>1.08922065338384E-2</c:v>
                </c:pt>
                <c:pt idx="378">
                  <c:v>1.0965734025313501E-2</c:v>
                </c:pt>
                <c:pt idx="379">
                  <c:v>1.0984478005338E-2</c:v>
                </c:pt>
                <c:pt idx="380">
                  <c:v>1.09854600613042E-2</c:v>
                </c:pt>
                <c:pt idx="381">
                  <c:v>1.08113109007056E-2</c:v>
                </c:pt>
                <c:pt idx="382">
                  <c:v>1.08069663454715E-2</c:v>
                </c:pt>
                <c:pt idx="383">
                  <c:v>1.0788427466831301E-2</c:v>
                </c:pt>
                <c:pt idx="384">
                  <c:v>1.0800708023215E-2</c:v>
                </c:pt>
                <c:pt idx="385">
                  <c:v>1.0114839146025199E-2</c:v>
                </c:pt>
                <c:pt idx="386">
                  <c:v>1.0149101967993001E-2</c:v>
                </c:pt>
                <c:pt idx="387">
                  <c:v>1.01501584695844E-2</c:v>
                </c:pt>
                <c:pt idx="388">
                  <c:v>1.0341558496968E-2</c:v>
                </c:pt>
                <c:pt idx="389">
                  <c:v>1.0372736668045999E-2</c:v>
                </c:pt>
                <c:pt idx="390">
                  <c:v>1.04842426004616E-2</c:v>
                </c:pt>
                <c:pt idx="391">
                  <c:v>1.04861021596887E-2</c:v>
                </c:pt>
                <c:pt idx="392">
                  <c:v>1.0480550077333299E-2</c:v>
                </c:pt>
                <c:pt idx="393">
                  <c:v>1.0476509572013499E-2</c:v>
                </c:pt>
                <c:pt idx="394">
                  <c:v>1.04435824347822E-2</c:v>
                </c:pt>
                <c:pt idx="395">
                  <c:v>1.05602810821932E-2</c:v>
                </c:pt>
                <c:pt idx="396">
                  <c:v>1.05601388684538E-2</c:v>
                </c:pt>
                <c:pt idx="397">
                  <c:v>1.0515319458496699E-2</c:v>
                </c:pt>
                <c:pt idx="398">
                  <c:v>1.0502162576665801E-2</c:v>
                </c:pt>
                <c:pt idx="399">
                  <c:v>1.0472096386390101E-2</c:v>
                </c:pt>
                <c:pt idx="400">
                  <c:v>1.04920058309274E-2</c:v>
                </c:pt>
                <c:pt idx="401">
                  <c:v>1.0492300721009699E-2</c:v>
                </c:pt>
                <c:pt idx="402">
                  <c:v>1.05213208362366E-2</c:v>
                </c:pt>
                <c:pt idx="403">
                  <c:v>1.0521302055220901E-2</c:v>
                </c:pt>
                <c:pt idx="404">
                  <c:v>1.04990157935406E-2</c:v>
                </c:pt>
                <c:pt idx="405">
                  <c:v>1.04992593309024E-2</c:v>
                </c:pt>
                <c:pt idx="406">
                  <c:v>1.04149687871799E-2</c:v>
                </c:pt>
                <c:pt idx="407">
                  <c:v>1.0428309491005001E-2</c:v>
                </c:pt>
                <c:pt idx="408">
                  <c:v>1.03504034701842E-2</c:v>
                </c:pt>
                <c:pt idx="409">
                  <c:v>1.03665428511027E-2</c:v>
                </c:pt>
                <c:pt idx="410">
                  <c:v>1.05429161697426E-2</c:v>
                </c:pt>
                <c:pt idx="411">
                  <c:v>1.0547976394390901E-2</c:v>
                </c:pt>
                <c:pt idx="412">
                  <c:v>1.0554084692564801E-2</c:v>
                </c:pt>
                <c:pt idx="413">
                  <c:v>1.05556080204355E-2</c:v>
                </c:pt>
                <c:pt idx="414">
                  <c:v>1.05525035669434E-2</c:v>
                </c:pt>
                <c:pt idx="415">
                  <c:v>1.0527845019860401E-2</c:v>
                </c:pt>
                <c:pt idx="416">
                  <c:v>1.0535685459517901E-2</c:v>
                </c:pt>
                <c:pt idx="417">
                  <c:v>1.0489082622175501E-2</c:v>
                </c:pt>
                <c:pt idx="418">
                  <c:v>1.05048910494627E-2</c:v>
                </c:pt>
                <c:pt idx="419">
                  <c:v>1.0703032841816699E-2</c:v>
                </c:pt>
                <c:pt idx="420">
                  <c:v>1.0709435767070299E-2</c:v>
                </c:pt>
                <c:pt idx="421">
                  <c:v>1.07406952606633E-2</c:v>
                </c:pt>
                <c:pt idx="422">
                  <c:v>1.0784765065390599E-2</c:v>
                </c:pt>
                <c:pt idx="423">
                  <c:v>1.0827519880514501E-2</c:v>
                </c:pt>
                <c:pt idx="424">
                  <c:v>1.0929947611822401E-2</c:v>
                </c:pt>
                <c:pt idx="425">
                  <c:v>1.09265426419722E-2</c:v>
                </c:pt>
                <c:pt idx="426">
                  <c:v>1.09475798536672E-2</c:v>
                </c:pt>
                <c:pt idx="427">
                  <c:v>1.0950309784289101E-2</c:v>
                </c:pt>
                <c:pt idx="428">
                  <c:v>1.0941148377357201E-2</c:v>
                </c:pt>
                <c:pt idx="429">
                  <c:v>1.10350428680447E-2</c:v>
                </c:pt>
                <c:pt idx="430">
                  <c:v>1.10246726591642E-2</c:v>
                </c:pt>
                <c:pt idx="431">
                  <c:v>1.1111432369667299E-2</c:v>
                </c:pt>
                <c:pt idx="432">
                  <c:v>1.10973553359407E-2</c:v>
                </c:pt>
                <c:pt idx="433">
                  <c:v>1.1182068413348199E-2</c:v>
                </c:pt>
                <c:pt idx="434">
                  <c:v>1.11841455636224E-2</c:v>
                </c:pt>
                <c:pt idx="435">
                  <c:v>1.11804495856687E-2</c:v>
                </c:pt>
                <c:pt idx="436">
                  <c:v>1.12248899878596E-2</c:v>
                </c:pt>
                <c:pt idx="437">
                  <c:v>1.12240221007271E-2</c:v>
                </c:pt>
                <c:pt idx="438">
                  <c:v>1.12325882218307E-2</c:v>
                </c:pt>
                <c:pt idx="439">
                  <c:v>1.11795146105563E-2</c:v>
                </c:pt>
                <c:pt idx="440">
                  <c:v>1.1161513899878499E-2</c:v>
                </c:pt>
                <c:pt idx="441">
                  <c:v>1.1222330418909699E-2</c:v>
                </c:pt>
                <c:pt idx="442">
                  <c:v>1.10968823538443E-2</c:v>
                </c:pt>
                <c:pt idx="443">
                  <c:v>1.10958685553641E-2</c:v>
                </c:pt>
                <c:pt idx="444">
                  <c:v>1.1075506203806301E-2</c:v>
                </c:pt>
                <c:pt idx="445">
                  <c:v>1.1076728532046399E-2</c:v>
                </c:pt>
                <c:pt idx="446">
                  <c:v>1.11928901102374E-2</c:v>
                </c:pt>
                <c:pt idx="447">
                  <c:v>1.1101280571847E-2</c:v>
                </c:pt>
                <c:pt idx="448">
                  <c:v>1.11938826976631E-2</c:v>
                </c:pt>
                <c:pt idx="449">
                  <c:v>1.11371089615855E-2</c:v>
                </c:pt>
                <c:pt idx="450">
                  <c:v>1.09739346814938E-2</c:v>
                </c:pt>
                <c:pt idx="451">
                  <c:v>1.0969495056688899E-2</c:v>
                </c:pt>
                <c:pt idx="452">
                  <c:v>1.06648289344862E-2</c:v>
                </c:pt>
                <c:pt idx="453">
                  <c:v>1.06713378065571E-2</c:v>
                </c:pt>
                <c:pt idx="454">
                  <c:v>1.06702697950277E-2</c:v>
                </c:pt>
                <c:pt idx="455">
                  <c:v>1.06619466274014E-2</c:v>
                </c:pt>
                <c:pt idx="456">
                  <c:v>1.05510537717892E-2</c:v>
                </c:pt>
                <c:pt idx="457">
                  <c:v>1.04437214369122E-2</c:v>
                </c:pt>
                <c:pt idx="458">
                  <c:v>1.04338617583565E-2</c:v>
                </c:pt>
                <c:pt idx="459">
                  <c:v>1.0454242409634801E-2</c:v>
                </c:pt>
                <c:pt idx="460">
                  <c:v>1.04540380286831E-2</c:v>
                </c:pt>
                <c:pt idx="461">
                  <c:v>1.05392924980298E-2</c:v>
                </c:pt>
                <c:pt idx="462">
                  <c:v>1.05410624240355E-2</c:v>
                </c:pt>
                <c:pt idx="463">
                  <c:v>1.0524191963459901E-2</c:v>
                </c:pt>
                <c:pt idx="464">
                  <c:v>1.0587194306515099E-2</c:v>
                </c:pt>
                <c:pt idx="465">
                  <c:v>1.0630929933421299E-2</c:v>
                </c:pt>
                <c:pt idx="466">
                  <c:v>1.0634485121469601E-2</c:v>
                </c:pt>
                <c:pt idx="467">
                  <c:v>1.06091238493895E-2</c:v>
                </c:pt>
                <c:pt idx="468">
                  <c:v>1.0572335867811301E-2</c:v>
                </c:pt>
                <c:pt idx="469">
                  <c:v>1.05677905794287E-2</c:v>
                </c:pt>
                <c:pt idx="470">
                  <c:v>1.05677059375441E-2</c:v>
                </c:pt>
                <c:pt idx="471">
                  <c:v>1.0563581767232299E-2</c:v>
                </c:pt>
                <c:pt idx="472">
                  <c:v>1.05481425740274E-2</c:v>
                </c:pt>
                <c:pt idx="473">
                  <c:v>1.0524327455138E-2</c:v>
                </c:pt>
                <c:pt idx="474">
                  <c:v>1.0491168985580401E-2</c:v>
                </c:pt>
                <c:pt idx="475">
                  <c:v>1.0471996131162601E-2</c:v>
                </c:pt>
                <c:pt idx="476">
                  <c:v>1.0469154220871701E-2</c:v>
                </c:pt>
                <c:pt idx="477">
                  <c:v>1.04059488509049E-2</c:v>
                </c:pt>
                <c:pt idx="478">
                  <c:v>1.04023080360829E-2</c:v>
                </c:pt>
                <c:pt idx="479">
                  <c:v>1.0406257313549799E-2</c:v>
                </c:pt>
                <c:pt idx="480">
                  <c:v>1.0540015133312401E-2</c:v>
                </c:pt>
                <c:pt idx="481">
                  <c:v>1.0540914409420499E-2</c:v>
                </c:pt>
                <c:pt idx="482">
                  <c:v>1.0556410132979701E-2</c:v>
                </c:pt>
                <c:pt idx="483">
                  <c:v>1.0594175785532201E-2</c:v>
                </c:pt>
                <c:pt idx="484">
                  <c:v>1.06058203769218E-2</c:v>
                </c:pt>
                <c:pt idx="485">
                  <c:v>1.059787869841E-2</c:v>
                </c:pt>
                <c:pt idx="486">
                  <c:v>1.0648382704016E-2</c:v>
                </c:pt>
                <c:pt idx="487">
                  <c:v>1.06538402547988E-2</c:v>
                </c:pt>
                <c:pt idx="488">
                  <c:v>1.0652633380960201E-2</c:v>
                </c:pt>
                <c:pt idx="489">
                  <c:v>1.06076101347441E-2</c:v>
                </c:pt>
                <c:pt idx="490">
                  <c:v>1.06607348353629E-2</c:v>
                </c:pt>
                <c:pt idx="491">
                  <c:v>1.0660730540333001E-2</c:v>
                </c:pt>
                <c:pt idx="492">
                  <c:v>1.06601574615233E-2</c:v>
                </c:pt>
                <c:pt idx="493">
                  <c:v>1.06647439921889E-2</c:v>
                </c:pt>
                <c:pt idx="494">
                  <c:v>1.0755862170947501E-2</c:v>
                </c:pt>
                <c:pt idx="495">
                  <c:v>1.0760861285331E-2</c:v>
                </c:pt>
                <c:pt idx="496">
                  <c:v>1.09209420320252E-2</c:v>
                </c:pt>
                <c:pt idx="497">
                  <c:v>1.0917387647586299E-2</c:v>
                </c:pt>
                <c:pt idx="498">
                  <c:v>1.09321071275141E-2</c:v>
                </c:pt>
                <c:pt idx="499">
                  <c:v>1.0935925234506099E-2</c:v>
                </c:pt>
                <c:pt idx="500">
                  <c:v>1.10458734471768E-2</c:v>
                </c:pt>
                <c:pt idx="501">
                  <c:v>1.10660622699984E-2</c:v>
                </c:pt>
                <c:pt idx="502">
                  <c:v>1.1095038111411101E-2</c:v>
                </c:pt>
                <c:pt idx="503">
                  <c:v>1.1081491366331801E-2</c:v>
                </c:pt>
                <c:pt idx="504">
                  <c:v>1.0980710182652601E-2</c:v>
                </c:pt>
                <c:pt idx="505">
                  <c:v>1.0977108662198301E-2</c:v>
                </c:pt>
                <c:pt idx="506">
                  <c:v>1.09862739954076E-2</c:v>
                </c:pt>
                <c:pt idx="507">
                  <c:v>1.1067476775349101E-2</c:v>
                </c:pt>
                <c:pt idx="508">
                  <c:v>1.10626463101907E-2</c:v>
                </c:pt>
                <c:pt idx="509">
                  <c:v>1.1145627597776901E-2</c:v>
                </c:pt>
                <c:pt idx="510">
                  <c:v>1.1148474708465E-2</c:v>
                </c:pt>
                <c:pt idx="511">
                  <c:v>1.11458668067629E-2</c:v>
                </c:pt>
                <c:pt idx="512">
                  <c:v>1.11908051618561E-2</c:v>
                </c:pt>
                <c:pt idx="513">
                  <c:v>1.1213006086625701E-2</c:v>
                </c:pt>
                <c:pt idx="514">
                  <c:v>1.12626667810624E-2</c:v>
                </c:pt>
                <c:pt idx="515">
                  <c:v>1.1233790410819001E-2</c:v>
                </c:pt>
                <c:pt idx="516">
                  <c:v>1.1275731855021001E-2</c:v>
                </c:pt>
                <c:pt idx="517">
                  <c:v>1.13105710197917E-2</c:v>
                </c:pt>
                <c:pt idx="518">
                  <c:v>1.1394477244285399E-2</c:v>
                </c:pt>
                <c:pt idx="519">
                  <c:v>1.13649202462935E-2</c:v>
                </c:pt>
                <c:pt idx="520">
                  <c:v>1.13622437743557E-2</c:v>
                </c:pt>
                <c:pt idx="521">
                  <c:v>1.1464915317107E-2</c:v>
                </c:pt>
                <c:pt idx="522">
                  <c:v>1.1501253643807699E-2</c:v>
                </c:pt>
                <c:pt idx="523">
                  <c:v>1.15011584477263E-2</c:v>
                </c:pt>
                <c:pt idx="524">
                  <c:v>1.1601063607591E-2</c:v>
                </c:pt>
                <c:pt idx="525">
                  <c:v>1.1628013092070901E-2</c:v>
                </c:pt>
                <c:pt idx="526">
                  <c:v>1.16327365948892E-2</c:v>
                </c:pt>
                <c:pt idx="527">
                  <c:v>1.16487413354842E-2</c:v>
                </c:pt>
                <c:pt idx="528">
                  <c:v>1.16632686675112E-2</c:v>
                </c:pt>
                <c:pt idx="529">
                  <c:v>1.1679746987699399E-2</c:v>
                </c:pt>
                <c:pt idx="530">
                  <c:v>1.17064754422862E-2</c:v>
                </c:pt>
                <c:pt idx="531">
                  <c:v>1.1731960301920299E-2</c:v>
                </c:pt>
                <c:pt idx="532">
                  <c:v>1.17767590928594E-2</c:v>
                </c:pt>
                <c:pt idx="533">
                  <c:v>1.1771388042190399E-2</c:v>
                </c:pt>
                <c:pt idx="534">
                  <c:v>1.19647142008585E-2</c:v>
                </c:pt>
                <c:pt idx="535">
                  <c:v>1.18964910685623E-2</c:v>
                </c:pt>
                <c:pt idx="536">
                  <c:v>1.1896447736813E-2</c:v>
                </c:pt>
                <c:pt idx="537">
                  <c:v>1.19007296130304E-2</c:v>
                </c:pt>
                <c:pt idx="538">
                  <c:v>1.1918246883517799E-2</c:v>
                </c:pt>
                <c:pt idx="539">
                  <c:v>1.18974597857216E-2</c:v>
                </c:pt>
                <c:pt idx="540">
                  <c:v>1.18982139109199E-2</c:v>
                </c:pt>
                <c:pt idx="541">
                  <c:v>1.19895161672889E-2</c:v>
                </c:pt>
                <c:pt idx="542">
                  <c:v>1.1989447147268E-2</c:v>
                </c:pt>
                <c:pt idx="543">
                  <c:v>1.1990179231843799E-2</c:v>
                </c:pt>
                <c:pt idx="544">
                  <c:v>1.2009138084737799E-2</c:v>
                </c:pt>
                <c:pt idx="545">
                  <c:v>1.2128056076971301E-2</c:v>
                </c:pt>
                <c:pt idx="546">
                  <c:v>1.2119924790984501E-2</c:v>
                </c:pt>
                <c:pt idx="547">
                  <c:v>1.21080775173292E-2</c:v>
                </c:pt>
                <c:pt idx="548">
                  <c:v>1.2107954577575001E-2</c:v>
                </c:pt>
                <c:pt idx="549">
                  <c:v>1.22350515121973E-2</c:v>
                </c:pt>
                <c:pt idx="550">
                  <c:v>1.22278992129745E-2</c:v>
                </c:pt>
                <c:pt idx="551">
                  <c:v>1.22554715091714E-2</c:v>
                </c:pt>
                <c:pt idx="552">
                  <c:v>1.22557466862292E-2</c:v>
                </c:pt>
                <c:pt idx="553">
                  <c:v>1.22342378921282E-2</c:v>
                </c:pt>
                <c:pt idx="554">
                  <c:v>1.22674311472111E-2</c:v>
                </c:pt>
                <c:pt idx="555">
                  <c:v>1.22729835791588E-2</c:v>
                </c:pt>
                <c:pt idx="556">
                  <c:v>1.22650706241887E-2</c:v>
                </c:pt>
                <c:pt idx="557">
                  <c:v>1.22699272590297E-2</c:v>
                </c:pt>
                <c:pt idx="558">
                  <c:v>1.2425458316324601E-2</c:v>
                </c:pt>
                <c:pt idx="559">
                  <c:v>1.23486239884647E-2</c:v>
                </c:pt>
                <c:pt idx="560">
                  <c:v>1.23469648010925E-2</c:v>
                </c:pt>
                <c:pt idx="561">
                  <c:v>1.2339092935957601E-2</c:v>
                </c:pt>
                <c:pt idx="562">
                  <c:v>1.2342447502385201E-2</c:v>
                </c:pt>
                <c:pt idx="563">
                  <c:v>1.2335139014942501E-2</c:v>
                </c:pt>
                <c:pt idx="564">
                  <c:v>1.23538524316555E-2</c:v>
                </c:pt>
                <c:pt idx="565">
                  <c:v>1.23460523345957E-2</c:v>
                </c:pt>
                <c:pt idx="566">
                  <c:v>1.2358488268802099E-2</c:v>
                </c:pt>
                <c:pt idx="567">
                  <c:v>1.2234082349465601E-2</c:v>
                </c:pt>
                <c:pt idx="568">
                  <c:v>1.22222328810642E-2</c:v>
                </c:pt>
                <c:pt idx="569">
                  <c:v>1.22477273532914E-2</c:v>
                </c:pt>
                <c:pt idx="570">
                  <c:v>1.22346634921241E-2</c:v>
                </c:pt>
                <c:pt idx="571">
                  <c:v>1.22641538353309E-2</c:v>
                </c:pt>
                <c:pt idx="572">
                  <c:v>1.22851419703498E-2</c:v>
                </c:pt>
                <c:pt idx="573">
                  <c:v>1.2263437936290899E-2</c:v>
                </c:pt>
                <c:pt idx="574">
                  <c:v>1.2266578647827099E-2</c:v>
                </c:pt>
                <c:pt idx="575">
                  <c:v>1.2266400315674501E-2</c:v>
                </c:pt>
                <c:pt idx="576">
                  <c:v>1.2187803900481801E-2</c:v>
                </c:pt>
                <c:pt idx="577">
                  <c:v>1.2243910806986801E-2</c:v>
                </c:pt>
                <c:pt idx="578">
                  <c:v>1.2227234137571E-2</c:v>
                </c:pt>
                <c:pt idx="579">
                  <c:v>1.2196838786921901E-2</c:v>
                </c:pt>
                <c:pt idx="580">
                  <c:v>1.21937695140641E-2</c:v>
                </c:pt>
                <c:pt idx="581">
                  <c:v>1.21959140047058E-2</c:v>
                </c:pt>
                <c:pt idx="582">
                  <c:v>1.2133194064182199E-2</c:v>
                </c:pt>
                <c:pt idx="583">
                  <c:v>1.21497236106022E-2</c:v>
                </c:pt>
                <c:pt idx="584">
                  <c:v>1.22057653222294E-2</c:v>
                </c:pt>
                <c:pt idx="585">
                  <c:v>1.2205307713247101E-2</c:v>
                </c:pt>
                <c:pt idx="586">
                  <c:v>1.2262823416578901E-2</c:v>
                </c:pt>
                <c:pt idx="587">
                  <c:v>1.23973835053866E-2</c:v>
                </c:pt>
                <c:pt idx="588">
                  <c:v>1.25811108889232E-2</c:v>
                </c:pt>
                <c:pt idx="589">
                  <c:v>1.25771701907495E-2</c:v>
                </c:pt>
                <c:pt idx="590">
                  <c:v>1.26185908001422E-2</c:v>
                </c:pt>
                <c:pt idx="591">
                  <c:v>1.28555434317374E-2</c:v>
                </c:pt>
                <c:pt idx="592">
                  <c:v>1.2864545033060301E-2</c:v>
                </c:pt>
                <c:pt idx="593">
                  <c:v>1.2892416855685001E-2</c:v>
                </c:pt>
                <c:pt idx="594">
                  <c:v>1.30984528367931E-2</c:v>
                </c:pt>
                <c:pt idx="595">
                  <c:v>1.30744698429107E-2</c:v>
                </c:pt>
                <c:pt idx="596">
                  <c:v>1.30834515519635E-2</c:v>
                </c:pt>
                <c:pt idx="597">
                  <c:v>1.3091668041129999E-2</c:v>
                </c:pt>
                <c:pt idx="598">
                  <c:v>1.31079754434282E-2</c:v>
                </c:pt>
                <c:pt idx="599">
                  <c:v>1.31393947764604E-2</c:v>
                </c:pt>
                <c:pt idx="600">
                  <c:v>1.3198720462471799E-2</c:v>
                </c:pt>
                <c:pt idx="601">
                  <c:v>1.31995275884814E-2</c:v>
                </c:pt>
                <c:pt idx="602">
                  <c:v>1.32428785113681E-2</c:v>
                </c:pt>
                <c:pt idx="603">
                  <c:v>1.3243022112539899E-2</c:v>
                </c:pt>
                <c:pt idx="604">
                  <c:v>1.3546944401663499E-2</c:v>
                </c:pt>
                <c:pt idx="605">
                  <c:v>1.3547019608064301E-2</c:v>
                </c:pt>
                <c:pt idx="606">
                  <c:v>1.3543654213464099E-2</c:v>
                </c:pt>
                <c:pt idx="607">
                  <c:v>1.3536447336074901E-2</c:v>
                </c:pt>
                <c:pt idx="608">
                  <c:v>1.3535358129054599E-2</c:v>
                </c:pt>
                <c:pt idx="609">
                  <c:v>1.35494808050703E-2</c:v>
                </c:pt>
                <c:pt idx="610">
                  <c:v>1.3440098997811799E-2</c:v>
                </c:pt>
                <c:pt idx="611">
                  <c:v>1.34643219733871E-2</c:v>
                </c:pt>
                <c:pt idx="612">
                  <c:v>1.34651507749005E-2</c:v>
                </c:pt>
                <c:pt idx="613">
                  <c:v>1.34847292262821E-2</c:v>
                </c:pt>
                <c:pt idx="614">
                  <c:v>1.3484744454375299E-2</c:v>
                </c:pt>
                <c:pt idx="615">
                  <c:v>1.3527410020523699E-2</c:v>
                </c:pt>
                <c:pt idx="616">
                  <c:v>1.3538788887371001E-2</c:v>
                </c:pt>
                <c:pt idx="617">
                  <c:v>1.35224710698938E-2</c:v>
                </c:pt>
                <c:pt idx="618">
                  <c:v>1.3573481409919499E-2</c:v>
                </c:pt>
                <c:pt idx="619">
                  <c:v>1.34811620451822E-2</c:v>
                </c:pt>
                <c:pt idx="620">
                  <c:v>1.3465062821609201E-2</c:v>
                </c:pt>
                <c:pt idx="621">
                  <c:v>1.34341975193262E-2</c:v>
                </c:pt>
                <c:pt idx="622">
                  <c:v>1.33929820013444E-2</c:v>
                </c:pt>
                <c:pt idx="623">
                  <c:v>1.36283507298032E-2</c:v>
                </c:pt>
                <c:pt idx="624">
                  <c:v>1.3534943842704299E-2</c:v>
                </c:pt>
                <c:pt idx="625">
                  <c:v>1.35367614930933E-2</c:v>
                </c:pt>
                <c:pt idx="626">
                  <c:v>1.35415686987957E-2</c:v>
                </c:pt>
                <c:pt idx="627">
                  <c:v>1.35404296629115E-2</c:v>
                </c:pt>
                <c:pt idx="628">
                  <c:v>1.35386350713609E-2</c:v>
                </c:pt>
                <c:pt idx="629">
                  <c:v>1.34683589203677E-2</c:v>
                </c:pt>
                <c:pt idx="630">
                  <c:v>1.3379980120576101E-2</c:v>
                </c:pt>
                <c:pt idx="631">
                  <c:v>1.33002064909176E-2</c:v>
                </c:pt>
                <c:pt idx="632">
                  <c:v>1.32870740900246E-2</c:v>
                </c:pt>
                <c:pt idx="633">
                  <c:v>1.32018679799237E-2</c:v>
                </c:pt>
                <c:pt idx="634">
                  <c:v>1.3197434359437E-2</c:v>
                </c:pt>
                <c:pt idx="635">
                  <c:v>1.3194728826622501E-2</c:v>
                </c:pt>
                <c:pt idx="636">
                  <c:v>1.3164364535539701E-2</c:v>
                </c:pt>
                <c:pt idx="637">
                  <c:v>1.31640000436214E-2</c:v>
                </c:pt>
                <c:pt idx="638">
                  <c:v>1.31613621132748E-2</c:v>
                </c:pt>
                <c:pt idx="639">
                  <c:v>1.3155676026855599E-2</c:v>
                </c:pt>
                <c:pt idx="640">
                  <c:v>1.3157507772639E-2</c:v>
                </c:pt>
                <c:pt idx="641">
                  <c:v>1.30484457041546E-2</c:v>
                </c:pt>
                <c:pt idx="642">
                  <c:v>1.30600786068455E-2</c:v>
                </c:pt>
                <c:pt idx="643">
                  <c:v>1.3044403916147499E-2</c:v>
                </c:pt>
                <c:pt idx="644">
                  <c:v>1.3067317106730999E-2</c:v>
                </c:pt>
                <c:pt idx="645">
                  <c:v>1.30989760053288E-2</c:v>
                </c:pt>
                <c:pt idx="646">
                  <c:v>1.30115657220688E-2</c:v>
                </c:pt>
                <c:pt idx="647">
                  <c:v>1.3011997063396501E-2</c:v>
                </c:pt>
                <c:pt idx="648">
                  <c:v>1.29486000497417E-2</c:v>
                </c:pt>
                <c:pt idx="649">
                  <c:v>1.29434047475444E-2</c:v>
                </c:pt>
                <c:pt idx="650">
                  <c:v>1.2924809500614899E-2</c:v>
                </c:pt>
                <c:pt idx="651">
                  <c:v>1.2921202416929701E-2</c:v>
                </c:pt>
                <c:pt idx="652">
                  <c:v>1.2920930934884899E-2</c:v>
                </c:pt>
                <c:pt idx="653">
                  <c:v>1.30172001279374E-2</c:v>
                </c:pt>
                <c:pt idx="654">
                  <c:v>1.3059364071481E-2</c:v>
                </c:pt>
                <c:pt idx="655">
                  <c:v>1.30562846299843E-2</c:v>
                </c:pt>
                <c:pt idx="656">
                  <c:v>1.30014980098162E-2</c:v>
                </c:pt>
                <c:pt idx="657">
                  <c:v>1.30013124069033E-2</c:v>
                </c:pt>
                <c:pt idx="658">
                  <c:v>1.28869029453178E-2</c:v>
                </c:pt>
                <c:pt idx="659">
                  <c:v>1.28633308493157E-2</c:v>
                </c:pt>
                <c:pt idx="660">
                  <c:v>1.2863721807339501E-2</c:v>
                </c:pt>
                <c:pt idx="661">
                  <c:v>1.2796363326046599E-2</c:v>
                </c:pt>
                <c:pt idx="662">
                  <c:v>1.2816198981653201E-2</c:v>
                </c:pt>
                <c:pt idx="663">
                  <c:v>1.2825461169153601E-2</c:v>
                </c:pt>
                <c:pt idx="664">
                  <c:v>1.2770235219707601E-2</c:v>
                </c:pt>
                <c:pt idx="665">
                  <c:v>1.27392358281348E-2</c:v>
                </c:pt>
                <c:pt idx="666">
                  <c:v>1.27370619473467E-2</c:v>
                </c:pt>
                <c:pt idx="667">
                  <c:v>1.2731389012925001E-2</c:v>
                </c:pt>
                <c:pt idx="668">
                  <c:v>1.2731663660210999E-2</c:v>
                </c:pt>
                <c:pt idx="669">
                  <c:v>1.27404306193165E-2</c:v>
                </c:pt>
                <c:pt idx="670">
                  <c:v>1.28149318583499E-2</c:v>
                </c:pt>
                <c:pt idx="671">
                  <c:v>1.28158088675152E-2</c:v>
                </c:pt>
                <c:pt idx="672">
                  <c:v>1.2822036418130799E-2</c:v>
                </c:pt>
                <c:pt idx="673">
                  <c:v>1.28156821086473E-2</c:v>
                </c:pt>
                <c:pt idx="674">
                  <c:v>1.2959210401945901E-2</c:v>
                </c:pt>
                <c:pt idx="675">
                  <c:v>1.30043782507985E-2</c:v>
                </c:pt>
                <c:pt idx="676">
                  <c:v>1.30044967814504E-2</c:v>
                </c:pt>
                <c:pt idx="677">
                  <c:v>1.30002261971244E-2</c:v>
                </c:pt>
                <c:pt idx="678">
                  <c:v>1.3036746502964399E-2</c:v>
                </c:pt>
                <c:pt idx="679">
                  <c:v>1.30382983477988E-2</c:v>
                </c:pt>
                <c:pt idx="680">
                  <c:v>1.29811206803578E-2</c:v>
                </c:pt>
                <c:pt idx="681">
                  <c:v>1.29817369807914E-2</c:v>
                </c:pt>
                <c:pt idx="682">
                  <c:v>1.35181867895387E-2</c:v>
                </c:pt>
                <c:pt idx="683">
                  <c:v>1.3505630831832901E-2</c:v>
                </c:pt>
                <c:pt idx="684">
                  <c:v>1.3606905415739E-2</c:v>
                </c:pt>
                <c:pt idx="685">
                  <c:v>1.3597905162039301E-2</c:v>
                </c:pt>
                <c:pt idx="686">
                  <c:v>1.3566386065461501E-2</c:v>
                </c:pt>
                <c:pt idx="687">
                  <c:v>1.35888098958551E-2</c:v>
                </c:pt>
                <c:pt idx="688">
                  <c:v>1.3655480977597801E-2</c:v>
                </c:pt>
                <c:pt idx="689">
                  <c:v>1.3732725379755501E-2</c:v>
                </c:pt>
                <c:pt idx="690">
                  <c:v>1.3694101472460699E-2</c:v>
                </c:pt>
                <c:pt idx="691">
                  <c:v>1.3694794559964E-2</c:v>
                </c:pt>
                <c:pt idx="692">
                  <c:v>1.3680984760755599E-2</c:v>
                </c:pt>
                <c:pt idx="693">
                  <c:v>1.36836960225301E-2</c:v>
                </c:pt>
                <c:pt idx="694">
                  <c:v>1.3620571166227301E-2</c:v>
                </c:pt>
                <c:pt idx="695">
                  <c:v>1.3646735326738499E-2</c:v>
                </c:pt>
                <c:pt idx="696">
                  <c:v>1.35291696006292E-2</c:v>
                </c:pt>
                <c:pt idx="697">
                  <c:v>1.3524772776272899E-2</c:v>
                </c:pt>
                <c:pt idx="698">
                  <c:v>1.3432820770334201E-2</c:v>
                </c:pt>
                <c:pt idx="699">
                  <c:v>1.3499762388843E-2</c:v>
                </c:pt>
                <c:pt idx="700">
                  <c:v>1.3413003707894E-2</c:v>
                </c:pt>
                <c:pt idx="701">
                  <c:v>1.34920694344055E-2</c:v>
                </c:pt>
                <c:pt idx="702">
                  <c:v>1.3467620554388901E-2</c:v>
                </c:pt>
                <c:pt idx="703">
                  <c:v>1.3470963696273401E-2</c:v>
                </c:pt>
                <c:pt idx="704">
                  <c:v>1.3514407060359401E-2</c:v>
                </c:pt>
                <c:pt idx="705">
                  <c:v>1.3521671047740699E-2</c:v>
                </c:pt>
                <c:pt idx="706">
                  <c:v>1.35309087401984E-2</c:v>
                </c:pt>
                <c:pt idx="707">
                  <c:v>1.3501158786871401E-2</c:v>
                </c:pt>
                <c:pt idx="708">
                  <c:v>1.34989978803741E-2</c:v>
                </c:pt>
                <c:pt idx="709">
                  <c:v>1.34606699530692E-2</c:v>
                </c:pt>
                <c:pt idx="710">
                  <c:v>1.3459750480212E-2</c:v>
                </c:pt>
                <c:pt idx="711">
                  <c:v>1.34638808344788E-2</c:v>
                </c:pt>
                <c:pt idx="712">
                  <c:v>1.34198387605453E-2</c:v>
                </c:pt>
                <c:pt idx="713">
                  <c:v>1.3405524572138301E-2</c:v>
                </c:pt>
                <c:pt idx="714">
                  <c:v>1.3371975806086501E-2</c:v>
                </c:pt>
                <c:pt idx="715">
                  <c:v>1.34329010837381E-2</c:v>
                </c:pt>
                <c:pt idx="716">
                  <c:v>1.3410587874282899E-2</c:v>
                </c:pt>
                <c:pt idx="717">
                  <c:v>1.36550205060125E-2</c:v>
                </c:pt>
                <c:pt idx="718">
                  <c:v>1.36336343210219E-2</c:v>
                </c:pt>
                <c:pt idx="719">
                  <c:v>1.3639025624634499E-2</c:v>
                </c:pt>
                <c:pt idx="720">
                  <c:v>1.37088376062529E-2</c:v>
                </c:pt>
                <c:pt idx="721">
                  <c:v>1.36498851578628E-2</c:v>
                </c:pt>
                <c:pt idx="722">
                  <c:v>1.36602701029602E-2</c:v>
                </c:pt>
                <c:pt idx="723">
                  <c:v>1.36634835920839E-2</c:v>
                </c:pt>
                <c:pt idx="724">
                  <c:v>1.36301327896868E-2</c:v>
                </c:pt>
                <c:pt idx="725">
                  <c:v>1.37042251630533E-2</c:v>
                </c:pt>
                <c:pt idx="726">
                  <c:v>1.37309694080063E-2</c:v>
                </c:pt>
                <c:pt idx="727">
                  <c:v>1.37411371737882E-2</c:v>
                </c:pt>
                <c:pt idx="728">
                  <c:v>1.37478679674874E-2</c:v>
                </c:pt>
                <c:pt idx="729">
                  <c:v>1.37353803827341E-2</c:v>
                </c:pt>
                <c:pt idx="730">
                  <c:v>1.37310244359E-2</c:v>
                </c:pt>
                <c:pt idx="731">
                  <c:v>1.37171841348085E-2</c:v>
                </c:pt>
                <c:pt idx="732">
                  <c:v>1.36812755864185E-2</c:v>
                </c:pt>
                <c:pt idx="733">
                  <c:v>1.36914289687315E-2</c:v>
                </c:pt>
                <c:pt idx="734">
                  <c:v>1.35179195706998E-2</c:v>
                </c:pt>
                <c:pt idx="735">
                  <c:v>1.3535947342111001E-2</c:v>
                </c:pt>
                <c:pt idx="736">
                  <c:v>1.3591419463073399E-2</c:v>
                </c:pt>
                <c:pt idx="737">
                  <c:v>1.3602805252679E-2</c:v>
                </c:pt>
                <c:pt idx="738">
                  <c:v>1.36976268962784E-2</c:v>
                </c:pt>
                <c:pt idx="739">
                  <c:v>1.3700918285460899E-2</c:v>
                </c:pt>
                <c:pt idx="740">
                  <c:v>1.3720893873862701E-2</c:v>
                </c:pt>
                <c:pt idx="741">
                  <c:v>1.3695089410648899E-2</c:v>
                </c:pt>
                <c:pt idx="742">
                  <c:v>1.3693190736931E-2</c:v>
                </c:pt>
                <c:pt idx="743">
                  <c:v>1.37220542223717E-2</c:v>
                </c:pt>
                <c:pt idx="744">
                  <c:v>1.3693005963275599E-2</c:v>
                </c:pt>
                <c:pt idx="745">
                  <c:v>1.35611416083763E-2</c:v>
                </c:pt>
                <c:pt idx="746">
                  <c:v>1.35607627153243E-2</c:v>
                </c:pt>
                <c:pt idx="747">
                  <c:v>1.35532063803326E-2</c:v>
                </c:pt>
                <c:pt idx="748">
                  <c:v>1.36342963615578E-2</c:v>
                </c:pt>
                <c:pt idx="749">
                  <c:v>1.35394075751527E-2</c:v>
                </c:pt>
                <c:pt idx="750">
                  <c:v>1.3535765709311601E-2</c:v>
                </c:pt>
                <c:pt idx="751">
                  <c:v>1.3534860493751501E-2</c:v>
                </c:pt>
                <c:pt idx="752">
                  <c:v>1.3545584802901901E-2</c:v>
                </c:pt>
                <c:pt idx="753">
                  <c:v>1.3549878688332699E-2</c:v>
                </c:pt>
                <c:pt idx="754">
                  <c:v>1.35108071900285E-2</c:v>
                </c:pt>
                <c:pt idx="755">
                  <c:v>1.35579537288847E-2</c:v>
                </c:pt>
                <c:pt idx="756">
                  <c:v>1.36386242435864E-2</c:v>
                </c:pt>
                <c:pt idx="757">
                  <c:v>1.36340026440087E-2</c:v>
                </c:pt>
                <c:pt idx="758">
                  <c:v>1.3611229667583401E-2</c:v>
                </c:pt>
                <c:pt idx="759">
                  <c:v>1.3584247166352601E-2</c:v>
                </c:pt>
                <c:pt idx="760">
                  <c:v>1.47133964229929E-2</c:v>
                </c:pt>
                <c:pt idx="761">
                  <c:v>1.4719934403480199E-2</c:v>
                </c:pt>
                <c:pt idx="762">
                  <c:v>1.47760405871992E-2</c:v>
                </c:pt>
                <c:pt idx="763">
                  <c:v>1.47575668298812E-2</c:v>
                </c:pt>
                <c:pt idx="764">
                  <c:v>1.47581626851021E-2</c:v>
                </c:pt>
                <c:pt idx="765">
                  <c:v>1.4811763179313099E-2</c:v>
                </c:pt>
                <c:pt idx="766">
                  <c:v>1.4840402949235901E-2</c:v>
                </c:pt>
                <c:pt idx="767">
                  <c:v>1.48360043685066E-2</c:v>
                </c:pt>
                <c:pt idx="768">
                  <c:v>1.4986830560307401E-2</c:v>
                </c:pt>
                <c:pt idx="769">
                  <c:v>1.49844743776348E-2</c:v>
                </c:pt>
                <c:pt idx="770">
                  <c:v>1.4989596207136699E-2</c:v>
                </c:pt>
                <c:pt idx="771">
                  <c:v>1.49756415219782E-2</c:v>
                </c:pt>
                <c:pt idx="772">
                  <c:v>1.49560458730707E-2</c:v>
                </c:pt>
                <c:pt idx="773">
                  <c:v>1.50238525156592E-2</c:v>
                </c:pt>
                <c:pt idx="774">
                  <c:v>1.50491269815689E-2</c:v>
                </c:pt>
                <c:pt idx="775">
                  <c:v>1.5034247393190101E-2</c:v>
                </c:pt>
                <c:pt idx="776">
                  <c:v>1.51146217199321E-2</c:v>
                </c:pt>
                <c:pt idx="777">
                  <c:v>1.5136559166787401E-2</c:v>
                </c:pt>
                <c:pt idx="778">
                  <c:v>1.51047970592982E-2</c:v>
                </c:pt>
                <c:pt idx="779">
                  <c:v>1.51052634838493E-2</c:v>
                </c:pt>
                <c:pt idx="780">
                  <c:v>1.5114194704236901E-2</c:v>
                </c:pt>
                <c:pt idx="781">
                  <c:v>1.5115202913685099E-2</c:v>
                </c:pt>
                <c:pt idx="782">
                  <c:v>1.5162508487606899E-2</c:v>
                </c:pt>
                <c:pt idx="783">
                  <c:v>1.51556496654691E-2</c:v>
                </c:pt>
                <c:pt idx="784">
                  <c:v>1.5295897737621701E-2</c:v>
                </c:pt>
                <c:pt idx="785">
                  <c:v>1.5299282649022399E-2</c:v>
                </c:pt>
                <c:pt idx="786">
                  <c:v>1.52308216984006E-2</c:v>
                </c:pt>
                <c:pt idx="787">
                  <c:v>1.5088027392343601E-2</c:v>
                </c:pt>
                <c:pt idx="788">
                  <c:v>1.4801427834267E-2</c:v>
                </c:pt>
                <c:pt idx="789">
                  <c:v>1.47797728189138E-2</c:v>
                </c:pt>
                <c:pt idx="790">
                  <c:v>1.4607974336788E-2</c:v>
                </c:pt>
                <c:pt idx="791">
                  <c:v>1.43820435656964E-2</c:v>
                </c:pt>
                <c:pt idx="792">
                  <c:v>1.44448248612827E-2</c:v>
                </c:pt>
                <c:pt idx="793">
                  <c:v>1.43808711889141E-2</c:v>
                </c:pt>
                <c:pt idx="794">
                  <c:v>1.4272305903423099E-2</c:v>
                </c:pt>
                <c:pt idx="795">
                  <c:v>1.4294546664714001E-2</c:v>
                </c:pt>
                <c:pt idx="796">
                  <c:v>1.4289553039818201E-2</c:v>
                </c:pt>
                <c:pt idx="797">
                  <c:v>1.4277369798015201E-2</c:v>
                </c:pt>
                <c:pt idx="798">
                  <c:v>1.42652831305955E-2</c:v>
                </c:pt>
                <c:pt idx="799">
                  <c:v>1.4276422224731701E-2</c:v>
                </c:pt>
                <c:pt idx="800">
                  <c:v>1.42072349666592E-2</c:v>
                </c:pt>
                <c:pt idx="801">
                  <c:v>1.42088197975261E-2</c:v>
                </c:pt>
                <c:pt idx="802">
                  <c:v>1.42314590348634E-2</c:v>
                </c:pt>
                <c:pt idx="803">
                  <c:v>1.4235231619427101E-2</c:v>
                </c:pt>
                <c:pt idx="804">
                  <c:v>1.39589138285256E-2</c:v>
                </c:pt>
                <c:pt idx="805">
                  <c:v>1.3970838257274401E-2</c:v>
                </c:pt>
                <c:pt idx="806">
                  <c:v>1.4010054502026499E-2</c:v>
                </c:pt>
                <c:pt idx="807">
                  <c:v>1.40534432989149E-2</c:v>
                </c:pt>
                <c:pt idx="808">
                  <c:v>1.41077339285398E-2</c:v>
                </c:pt>
                <c:pt idx="809">
                  <c:v>1.4099081474198799E-2</c:v>
                </c:pt>
                <c:pt idx="810">
                  <c:v>1.40831059831117E-2</c:v>
                </c:pt>
                <c:pt idx="811">
                  <c:v>1.4258962936538999E-2</c:v>
                </c:pt>
                <c:pt idx="812">
                  <c:v>1.42424238082655E-2</c:v>
                </c:pt>
                <c:pt idx="813">
                  <c:v>1.4240610036978799E-2</c:v>
                </c:pt>
                <c:pt idx="814">
                  <c:v>1.4252443731894699E-2</c:v>
                </c:pt>
                <c:pt idx="815">
                  <c:v>1.42160146283182E-2</c:v>
                </c:pt>
                <c:pt idx="816">
                  <c:v>1.4195429866213E-2</c:v>
                </c:pt>
                <c:pt idx="817">
                  <c:v>1.4195056385651701E-2</c:v>
                </c:pt>
                <c:pt idx="818">
                  <c:v>1.4154803108638999E-2</c:v>
                </c:pt>
                <c:pt idx="819">
                  <c:v>1.4081506408816899E-2</c:v>
                </c:pt>
                <c:pt idx="820">
                  <c:v>1.4119678940836501E-2</c:v>
                </c:pt>
                <c:pt idx="821">
                  <c:v>1.41785793930121E-2</c:v>
                </c:pt>
                <c:pt idx="822">
                  <c:v>1.41799866702794E-2</c:v>
                </c:pt>
                <c:pt idx="823">
                  <c:v>1.3934222796705101E-2</c:v>
                </c:pt>
                <c:pt idx="824">
                  <c:v>1.3978305397649099E-2</c:v>
                </c:pt>
                <c:pt idx="825">
                  <c:v>1.40332422671546E-2</c:v>
                </c:pt>
                <c:pt idx="826">
                  <c:v>1.40100961427768E-2</c:v>
                </c:pt>
                <c:pt idx="827">
                  <c:v>1.4016211495896101E-2</c:v>
                </c:pt>
                <c:pt idx="828">
                  <c:v>1.40023471078173E-2</c:v>
                </c:pt>
                <c:pt idx="829">
                  <c:v>1.40258713651523E-2</c:v>
                </c:pt>
                <c:pt idx="830">
                  <c:v>1.40278589230604E-2</c:v>
                </c:pt>
                <c:pt idx="831">
                  <c:v>1.40258802570042E-2</c:v>
                </c:pt>
                <c:pt idx="832">
                  <c:v>1.40145624912661E-2</c:v>
                </c:pt>
                <c:pt idx="833">
                  <c:v>1.4011161231484199E-2</c:v>
                </c:pt>
                <c:pt idx="834">
                  <c:v>1.4025586961952E-2</c:v>
                </c:pt>
                <c:pt idx="835">
                  <c:v>1.40819414803387E-2</c:v>
                </c:pt>
                <c:pt idx="836">
                  <c:v>1.4141796498066799E-2</c:v>
                </c:pt>
                <c:pt idx="837">
                  <c:v>1.41497754116774E-2</c:v>
                </c:pt>
                <c:pt idx="838">
                  <c:v>1.41492905609706E-2</c:v>
                </c:pt>
                <c:pt idx="839">
                  <c:v>1.41885339391449E-2</c:v>
                </c:pt>
                <c:pt idx="840">
                  <c:v>1.41870237706646E-2</c:v>
                </c:pt>
                <c:pt idx="841">
                  <c:v>1.42216983805098E-2</c:v>
                </c:pt>
                <c:pt idx="842">
                  <c:v>1.4202150427699199E-2</c:v>
                </c:pt>
                <c:pt idx="843">
                  <c:v>1.42205758305489E-2</c:v>
                </c:pt>
                <c:pt idx="844">
                  <c:v>1.42370474231811E-2</c:v>
                </c:pt>
                <c:pt idx="845">
                  <c:v>1.42036919324777E-2</c:v>
                </c:pt>
                <c:pt idx="846">
                  <c:v>1.42074455451097E-2</c:v>
                </c:pt>
                <c:pt idx="847">
                  <c:v>1.42325953919295E-2</c:v>
                </c:pt>
                <c:pt idx="848">
                  <c:v>1.42389508962E-2</c:v>
                </c:pt>
                <c:pt idx="849">
                  <c:v>1.4242777916698099E-2</c:v>
                </c:pt>
                <c:pt idx="850">
                  <c:v>1.42294280729315E-2</c:v>
                </c:pt>
                <c:pt idx="851">
                  <c:v>1.42011116996378E-2</c:v>
                </c:pt>
                <c:pt idx="852">
                  <c:v>1.4206449588142401E-2</c:v>
                </c:pt>
                <c:pt idx="853">
                  <c:v>1.40882860812226E-2</c:v>
                </c:pt>
                <c:pt idx="854">
                  <c:v>1.4064723444008701E-2</c:v>
                </c:pt>
                <c:pt idx="855">
                  <c:v>1.41366857693203E-2</c:v>
                </c:pt>
                <c:pt idx="856">
                  <c:v>1.4135016660877299E-2</c:v>
                </c:pt>
                <c:pt idx="857">
                  <c:v>1.41478948757811E-2</c:v>
                </c:pt>
                <c:pt idx="858">
                  <c:v>1.41641353015124E-2</c:v>
                </c:pt>
                <c:pt idx="859">
                  <c:v>1.41658327483721E-2</c:v>
                </c:pt>
                <c:pt idx="860">
                  <c:v>1.41877768385335E-2</c:v>
                </c:pt>
                <c:pt idx="861">
                  <c:v>1.41504691197985E-2</c:v>
                </c:pt>
                <c:pt idx="862">
                  <c:v>1.4135205673293599E-2</c:v>
                </c:pt>
                <c:pt idx="863">
                  <c:v>1.41211443599247E-2</c:v>
                </c:pt>
                <c:pt idx="864">
                  <c:v>1.4125965390032E-2</c:v>
                </c:pt>
                <c:pt idx="865">
                  <c:v>1.4106629410418301E-2</c:v>
                </c:pt>
                <c:pt idx="866">
                  <c:v>1.41616016145734E-2</c:v>
                </c:pt>
                <c:pt idx="867">
                  <c:v>1.41629968035241E-2</c:v>
                </c:pt>
                <c:pt idx="868">
                  <c:v>1.4163839960569099E-2</c:v>
                </c:pt>
                <c:pt idx="869">
                  <c:v>1.4158475309057899E-2</c:v>
                </c:pt>
                <c:pt idx="870">
                  <c:v>1.40942340492429E-2</c:v>
                </c:pt>
                <c:pt idx="871">
                  <c:v>1.40826884023649E-2</c:v>
                </c:pt>
                <c:pt idx="872">
                  <c:v>1.41674704876181E-2</c:v>
                </c:pt>
                <c:pt idx="873">
                  <c:v>1.41470310420094E-2</c:v>
                </c:pt>
                <c:pt idx="874">
                  <c:v>1.4054670212566201E-2</c:v>
                </c:pt>
                <c:pt idx="875">
                  <c:v>1.40190853908538E-2</c:v>
                </c:pt>
                <c:pt idx="876">
                  <c:v>1.40269242113082E-2</c:v>
                </c:pt>
                <c:pt idx="877">
                  <c:v>1.40196311805727E-2</c:v>
                </c:pt>
                <c:pt idx="878">
                  <c:v>1.39818136769949E-2</c:v>
                </c:pt>
                <c:pt idx="879">
                  <c:v>1.3993763828421499E-2</c:v>
                </c:pt>
                <c:pt idx="880">
                  <c:v>1.39584948423259E-2</c:v>
                </c:pt>
                <c:pt idx="881">
                  <c:v>1.3958084049158199E-2</c:v>
                </c:pt>
                <c:pt idx="882">
                  <c:v>1.3453919208213899E-2</c:v>
                </c:pt>
                <c:pt idx="883">
                  <c:v>1.3446041654453201E-2</c:v>
                </c:pt>
                <c:pt idx="884">
                  <c:v>1.33482339212634E-2</c:v>
                </c:pt>
                <c:pt idx="885">
                  <c:v>1.33557418071892E-2</c:v>
                </c:pt>
                <c:pt idx="886">
                  <c:v>1.33550953785411E-2</c:v>
                </c:pt>
                <c:pt idx="887">
                  <c:v>1.3366982912567899E-2</c:v>
                </c:pt>
                <c:pt idx="888">
                  <c:v>1.32927916981071E-2</c:v>
                </c:pt>
                <c:pt idx="889">
                  <c:v>1.3208430472900899E-2</c:v>
                </c:pt>
                <c:pt idx="890">
                  <c:v>1.3230377762273499E-2</c:v>
                </c:pt>
                <c:pt idx="891">
                  <c:v>1.32296995315292E-2</c:v>
                </c:pt>
                <c:pt idx="892">
                  <c:v>1.32398209374121E-2</c:v>
                </c:pt>
                <c:pt idx="893">
                  <c:v>1.3233747607221799E-2</c:v>
                </c:pt>
                <c:pt idx="894">
                  <c:v>1.32376333020613E-2</c:v>
                </c:pt>
                <c:pt idx="895">
                  <c:v>1.3205674547204E-2</c:v>
                </c:pt>
                <c:pt idx="896">
                  <c:v>1.32055584555698E-2</c:v>
                </c:pt>
                <c:pt idx="897">
                  <c:v>1.3216877612812801E-2</c:v>
                </c:pt>
                <c:pt idx="898">
                  <c:v>1.3219639232061301E-2</c:v>
                </c:pt>
                <c:pt idx="899">
                  <c:v>1.3152209723969801E-2</c:v>
                </c:pt>
                <c:pt idx="900">
                  <c:v>1.3152715195122001E-2</c:v>
                </c:pt>
                <c:pt idx="901">
                  <c:v>1.3083492008280399E-2</c:v>
                </c:pt>
                <c:pt idx="902">
                  <c:v>1.30926008950547E-2</c:v>
                </c:pt>
                <c:pt idx="903">
                  <c:v>1.31644094252664E-2</c:v>
                </c:pt>
                <c:pt idx="904">
                  <c:v>1.31796059168338E-2</c:v>
                </c:pt>
                <c:pt idx="905">
                  <c:v>1.3185302235568901E-2</c:v>
                </c:pt>
                <c:pt idx="906">
                  <c:v>1.3171601510965599E-2</c:v>
                </c:pt>
                <c:pt idx="907">
                  <c:v>1.31340061695936E-2</c:v>
                </c:pt>
                <c:pt idx="908">
                  <c:v>1.31362528384353E-2</c:v>
                </c:pt>
                <c:pt idx="909">
                  <c:v>1.3092276015823299E-2</c:v>
                </c:pt>
                <c:pt idx="910">
                  <c:v>1.3091862594672E-2</c:v>
                </c:pt>
                <c:pt idx="911">
                  <c:v>1.3146712588454099E-2</c:v>
                </c:pt>
                <c:pt idx="912">
                  <c:v>1.31477003119377E-2</c:v>
                </c:pt>
                <c:pt idx="913">
                  <c:v>1.32211908272748E-2</c:v>
                </c:pt>
                <c:pt idx="914">
                  <c:v>1.322538663751E-2</c:v>
                </c:pt>
                <c:pt idx="915">
                  <c:v>1.31541314459643E-2</c:v>
                </c:pt>
                <c:pt idx="916">
                  <c:v>1.3150173646528899E-2</c:v>
                </c:pt>
                <c:pt idx="917">
                  <c:v>1.28837502193882E-2</c:v>
                </c:pt>
                <c:pt idx="918">
                  <c:v>1.2850329936170499E-2</c:v>
                </c:pt>
                <c:pt idx="919">
                  <c:v>1.2941780972047E-2</c:v>
                </c:pt>
                <c:pt idx="920">
                  <c:v>1.2878327829518E-2</c:v>
                </c:pt>
                <c:pt idx="921">
                  <c:v>1.28560533568331E-2</c:v>
                </c:pt>
                <c:pt idx="922">
                  <c:v>1.28223594110102E-2</c:v>
                </c:pt>
                <c:pt idx="923">
                  <c:v>1.2838865010269601E-2</c:v>
                </c:pt>
                <c:pt idx="924">
                  <c:v>1.27812629678633E-2</c:v>
                </c:pt>
                <c:pt idx="925">
                  <c:v>1.26922266107796E-2</c:v>
                </c:pt>
                <c:pt idx="926">
                  <c:v>1.2653602402075199E-2</c:v>
                </c:pt>
                <c:pt idx="927">
                  <c:v>1.27065875357723E-2</c:v>
                </c:pt>
                <c:pt idx="928">
                  <c:v>1.2683077495143E-2</c:v>
                </c:pt>
                <c:pt idx="929">
                  <c:v>1.26825344276998E-2</c:v>
                </c:pt>
                <c:pt idx="930">
                  <c:v>1.26843337601298E-2</c:v>
                </c:pt>
                <c:pt idx="931">
                  <c:v>1.26728536329775E-2</c:v>
                </c:pt>
                <c:pt idx="932">
                  <c:v>1.26680720284551E-2</c:v>
                </c:pt>
                <c:pt idx="933">
                  <c:v>1.2657507420829399E-2</c:v>
                </c:pt>
                <c:pt idx="934">
                  <c:v>1.26488511883984E-2</c:v>
                </c:pt>
                <c:pt idx="935">
                  <c:v>1.26246502433043E-2</c:v>
                </c:pt>
                <c:pt idx="936">
                  <c:v>1.2575494800516099E-2</c:v>
                </c:pt>
                <c:pt idx="937">
                  <c:v>1.26143379532246E-2</c:v>
                </c:pt>
                <c:pt idx="938">
                  <c:v>1.24816857935428E-2</c:v>
                </c:pt>
                <c:pt idx="939">
                  <c:v>1.24813133653417E-2</c:v>
                </c:pt>
                <c:pt idx="940">
                  <c:v>1.25619835100663E-2</c:v>
                </c:pt>
                <c:pt idx="941">
                  <c:v>1.25007860481894E-2</c:v>
                </c:pt>
                <c:pt idx="942">
                  <c:v>1.2506593473426199E-2</c:v>
                </c:pt>
                <c:pt idx="943">
                  <c:v>1.24667939062894E-2</c:v>
                </c:pt>
                <c:pt idx="944">
                  <c:v>1.2479216645570701E-2</c:v>
                </c:pt>
                <c:pt idx="945">
                  <c:v>1.24799484074912E-2</c:v>
                </c:pt>
                <c:pt idx="946">
                  <c:v>1.2498883970322399E-2</c:v>
                </c:pt>
                <c:pt idx="947">
                  <c:v>1.2498623929018E-2</c:v>
                </c:pt>
                <c:pt idx="948">
                  <c:v>1.2395121272708001E-2</c:v>
                </c:pt>
                <c:pt idx="949">
                  <c:v>1.2420912209032299E-2</c:v>
                </c:pt>
                <c:pt idx="950">
                  <c:v>1.2421624875125801E-2</c:v>
                </c:pt>
                <c:pt idx="951">
                  <c:v>1.2389321965718099E-2</c:v>
                </c:pt>
                <c:pt idx="952">
                  <c:v>1.2368251092811301E-2</c:v>
                </c:pt>
                <c:pt idx="953">
                  <c:v>1.23697293503889E-2</c:v>
                </c:pt>
                <c:pt idx="954">
                  <c:v>1.23788829812897E-2</c:v>
                </c:pt>
                <c:pt idx="955">
                  <c:v>1.22756105142455E-2</c:v>
                </c:pt>
                <c:pt idx="956">
                  <c:v>1.2165200335713101E-2</c:v>
                </c:pt>
                <c:pt idx="957">
                  <c:v>1.21869315267849E-2</c:v>
                </c:pt>
                <c:pt idx="958">
                  <c:v>1.2069944618330501E-2</c:v>
                </c:pt>
                <c:pt idx="959">
                  <c:v>1.2119660508728499E-2</c:v>
                </c:pt>
                <c:pt idx="960">
                  <c:v>1.0817381627644901E-2</c:v>
                </c:pt>
                <c:pt idx="961">
                  <c:v>1.08251141047816E-2</c:v>
                </c:pt>
                <c:pt idx="962">
                  <c:v>1.07236088212275E-2</c:v>
                </c:pt>
                <c:pt idx="963">
                  <c:v>1.0722016564447E-2</c:v>
                </c:pt>
                <c:pt idx="964">
                  <c:v>1.07245507951239E-2</c:v>
                </c:pt>
                <c:pt idx="965">
                  <c:v>1.06303145285131E-2</c:v>
                </c:pt>
                <c:pt idx="966">
                  <c:v>1.06015080598018E-2</c:v>
                </c:pt>
                <c:pt idx="967">
                  <c:v>1.07163638671115E-2</c:v>
                </c:pt>
                <c:pt idx="968">
                  <c:v>1.06388701289036E-2</c:v>
                </c:pt>
                <c:pt idx="969">
                  <c:v>1.0607080785341699E-2</c:v>
                </c:pt>
                <c:pt idx="970">
                  <c:v>1.0609384178930901E-2</c:v>
                </c:pt>
                <c:pt idx="971">
                  <c:v>1.0595728358970999E-2</c:v>
                </c:pt>
                <c:pt idx="972">
                  <c:v>1.0596745310391601E-2</c:v>
                </c:pt>
                <c:pt idx="973">
                  <c:v>1.05492995485739E-2</c:v>
                </c:pt>
                <c:pt idx="974">
                  <c:v>1.0508781126328101E-2</c:v>
                </c:pt>
                <c:pt idx="975">
                  <c:v>1.0499399865443E-2</c:v>
                </c:pt>
                <c:pt idx="976">
                  <c:v>1.03882536605313E-2</c:v>
                </c:pt>
                <c:pt idx="977">
                  <c:v>1.0254425882931399E-2</c:v>
                </c:pt>
                <c:pt idx="978">
                  <c:v>1.02888454160631E-2</c:v>
                </c:pt>
                <c:pt idx="979">
                  <c:v>1.0596569036062001E-2</c:v>
                </c:pt>
                <c:pt idx="980">
                  <c:v>1.07184145626109E-2</c:v>
                </c:pt>
                <c:pt idx="981">
                  <c:v>1.07389239158849E-2</c:v>
                </c:pt>
                <c:pt idx="982">
                  <c:v>1.06694508266925E-2</c:v>
                </c:pt>
                <c:pt idx="983">
                  <c:v>1.08639476678817E-2</c:v>
                </c:pt>
                <c:pt idx="984">
                  <c:v>1.1012390099151699E-2</c:v>
                </c:pt>
                <c:pt idx="985">
                  <c:v>1.1067910244189801E-2</c:v>
                </c:pt>
                <c:pt idx="986">
                  <c:v>1.1067495109985E-2</c:v>
                </c:pt>
                <c:pt idx="987">
                  <c:v>1.1039234740843101E-2</c:v>
                </c:pt>
                <c:pt idx="988">
                  <c:v>1.11320149625505E-2</c:v>
                </c:pt>
                <c:pt idx="989">
                  <c:v>1.11340147128075E-2</c:v>
                </c:pt>
                <c:pt idx="990">
                  <c:v>1.1554714286222499E-2</c:v>
                </c:pt>
                <c:pt idx="991">
                  <c:v>1.15737513049027E-2</c:v>
                </c:pt>
                <c:pt idx="992">
                  <c:v>1.1517448096785499E-2</c:v>
                </c:pt>
                <c:pt idx="993">
                  <c:v>1.1563470721635501E-2</c:v>
                </c:pt>
                <c:pt idx="994">
                  <c:v>1.15973014048443E-2</c:v>
                </c:pt>
                <c:pt idx="995">
                  <c:v>1.15402665228008E-2</c:v>
                </c:pt>
                <c:pt idx="996">
                  <c:v>1.1563879187794199E-2</c:v>
                </c:pt>
                <c:pt idx="997">
                  <c:v>1.16911114093282E-2</c:v>
                </c:pt>
                <c:pt idx="998">
                  <c:v>1.1718395445649401E-2</c:v>
                </c:pt>
                <c:pt idx="999">
                  <c:v>1.1702629388644199E-2</c:v>
                </c:pt>
                <c:pt idx="1000">
                  <c:v>1.17039234988821E-2</c:v>
                </c:pt>
                <c:pt idx="1001">
                  <c:v>1.2441697500678001E-2</c:v>
                </c:pt>
                <c:pt idx="1002">
                  <c:v>1.2364738250706201E-2</c:v>
                </c:pt>
                <c:pt idx="1003">
                  <c:v>1.2500385535071301E-2</c:v>
                </c:pt>
                <c:pt idx="1004">
                  <c:v>1.2496734780189599E-2</c:v>
                </c:pt>
                <c:pt idx="1005">
                  <c:v>1.2489421617298199E-2</c:v>
                </c:pt>
                <c:pt idx="1006">
                  <c:v>1.24887607622595E-2</c:v>
                </c:pt>
                <c:pt idx="1007">
                  <c:v>1.24227634146373E-2</c:v>
                </c:pt>
                <c:pt idx="1008">
                  <c:v>1.24853793435954E-2</c:v>
                </c:pt>
                <c:pt idx="1009">
                  <c:v>1.24828540928975E-2</c:v>
                </c:pt>
                <c:pt idx="1010">
                  <c:v>1.2474032126831699E-2</c:v>
                </c:pt>
                <c:pt idx="1011">
                  <c:v>1.22115035923304E-2</c:v>
                </c:pt>
                <c:pt idx="1012">
                  <c:v>1.22136732241943E-2</c:v>
                </c:pt>
                <c:pt idx="1013">
                  <c:v>1.2205597258449601E-2</c:v>
                </c:pt>
                <c:pt idx="1014">
                  <c:v>1.2233314742154401E-2</c:v>
                </c:pt>
                <c:pt idx="1015">
                  <c:v>1.22267178681207E-2</c:v>
                </c:pt>
                <c:pt idx="1016">
                  <c:v>1.2226898347727101E-2</c:v>
                </c:pt>
                <c:pt idx="1017">
                  <c:v>1.2317417879392599E-2</c:v>
                </c:pt>
                <c:pt idx="1018">
                  <c:v>1.22798551978464E-2</c:v>
                </c:pt>
                <c:pt idx="1019">
                  <c:v>1.23312557501448E-2</c:v>
                </c:pt>
                <c:pt idx="1020">
                  <c:v>1.2317413757463201E-2</c:v>
                </c:pt>
                <c:pt idx="1021">
                  <c:v>1.23118129860937E-2</c:v>
                </c:pt>
                <c:pt idx="1022">
                  <c:v>1.23653181386812E-2</c:v>
                </c:pt>
                <c:pt idx="1023">
                  <c:v>1.237577216281E-2</c:v>
                </c:pt>
                <c:pt idx="1024">
                  <c:v>1.23019196564345E-2</c:v>
                </c:pt>
                <c:pt idx="1025">
                  <c:v>1.2256745286056E-2</c:v>
                </c:pt>
                <c:pt idx="1026">
                  <c:v>1.22571479512788E-2</c:v>
                </c:pt>
                <c:pt idx="1027">
                  <c:v>1.28432423788408E-2</c:v>
                </c:pt>
                <c:pt idx="1028">
                  <c:v>1.2850924589496699E-2</c:v>
                </c:pt>
                <c:pt idx="1029">
                  <c:v>1.28341277018713E-2</c:v>
                </c:pt>
                <c:pt idx="1030">
                  <c:v>1.28296100238053E-2</c:v>
                </c:pt>
                <c:pt idx="1031">
                  <c:v>1.29902111040934E-2</c:v>
                </c:pt>
                <c:pt idx="1032">
                  <c:v>1.29917893791792E-2</c:v>
                </c:pt>
                <c:pt idx="1033">
                  <c:v>1.2998778575518901E-2</c:v>
                </c:pt>
                <c:pt idx="1034">
                  <c:v>1.29743564731046E-2</c:v>
                </c:pt>
                <c:pt idx="1035">
                  <c:v>1.29145945838105E-2</c:v>
                </c:pt>
                <c:pt idx="1036">
                  <c:v>1.27998213943399E-2</c:v>
                </c:pt>
                <c:pt idx="1037">
                  <c:v>1.2817184826971599E-2</c:v>
                </c:pt>
                <c:pt idx="1038">
                  <c:v>1.28473467766999E-2</c:v>
                </c:pt>
                <c:pt idx="1039">
                  <c:v>1.30614350723389E-2</c:v>
                </c:pt>
                <c:pt idx="1040">
                  <c:v>1.3084930480909999E-2</c:v>
                </c:pt>
                <c:pt idx="1041">
                  <c:v>1.3068125368576501E-2</c:v>
                </c:pt>
                <c:pt idx="1042">
                  <c:v>1.3071635221043701E-2</c:v>
                </c:pt>
                <c:pt idx="1043">
                  <c:v>1.31639979617106E-2</c:v>
                </c:pt>
                <c:pt idx="1044">
                  <c:v>1.3184675526487199E-2</c:v>
                </c:pt>
                <c:pt idx="1045">
                  <c:v>1.3270135741837399E-2</c:v>
                </c:pt>
                <c:pt idx="1046">
                  <c:v>1.3255417670682701E-2</c:v>
                </c:pt>
                <c:pt idx="1047">
                  <c:v>1.3254969515160499E-2</c:v>
                </c:pt>
                <c:pt idx="1048">
                  <c:v>1.3237471597226999E-2</c:v>
                </c:pt>
                <c:pt idx="1049">
                  <c:v>1.33571955474841E-2</c:v>
                </c:pt>
                <c:pt idx="1050">
                  <c:v>1.3389932192029601E-2</c:v>
                </c:pt>
                <c:pt idx="1051">
                  <c:v>1.3417567134401599E-2</c:v>
                </c:pt>
                <c:pt idx="1052">
                  <c:v>1.34385996803914E-2</c:v>
                </c:pt>
                <c:pt idx="1053">
                  <c:v>1.34425296188792E-2</c:v>
                </c:pt>
                <c:pt idx="1054">
                  <c:v>1.33977820142857E-2</c:v>
                </c:pt>
                <c:pt idx="1055">
                  <c:v>1.33185995721009E-2</c:v>
                </c:pt>
                <c:pt idx="1056">
                  <c:v>1.33184124599695E-2</c:v>
                </c:pt>
                <c:pt idx="1057">
                  <c:v>1.32964358101178E-2</c:v>
                </c:pt>
                <c:pt idx="1058">
                  <c:v>1.32848668643926E-2</c:v>
                </c:pt>
                <c:pt idx="1059">
                  <c:v>1.33630963622248E-2</c:v>
                </c:pt>
                <c:pt idx="1060">
                  <c:v>1.33485130273571E-2</c:v>
                </c:pt>
                <c:pt idx="1061">
                  <c:v>1.33257260573283E-2</c:v>
                </c:pt>
                <c:pt idx="1062">
                  <c:v>1.3324963130248699E-2</c:v>
                </c:pt>
                <c:pt idx="1063">
                  <c:v>1.3381009329369699E-2</c:v>
                </c:pt>
                <c:pt idx="1064">
                  <c:v>1.3408220590845E-2</c:v>
                </c:pt>
                <c:pt idx="1065">
                  <c:v>1.3404166569254901E-2</c:v>
                </c:pt>
                <c:pt idx="1066">
                  <c:v>1.33231901713514E-2</c:v>
                </c:pt>
                <c:pt idx="1067">
                  <c:v>1.3369221478608299E-2</c:v>
                </c:pt>
                <c:pt idx="1068">
                  <c:v>1.33641880498008E-2</c:v>
                </c:pt>
                <c:pt idx="1069">
                  <c:v>1.3351644233983899E-2</c:v>
                </c:pt>
                <c:pt idx="1070">
                  <c:v>1.3349958170846899E-2</c:v>
                </c:pt>
                <c:pt idx="1071">
                  <c:v>1.33641159783705E-2</c:v>
                </c:pt>
                <c:pt idx="1072">
                  <c:v>1.32873182368877E-2</c:v>
                </c:pt>
                <c:pt idx="1073">
                  <c:v>1.33337177940557E-2</c:v>
                </c:pt>
                <c:pt idx="1074">
                  <c:v>1.3279685074414099E-2</c:v>
                </c:pt>
                <c:pt idx="1075">
                  <c:v>1.32743975005126E-2</c:v>
                </c:pt>
                <c:pt idx="1076">
                  <c:v>1.32726251316798E-2</c:v>
                </c:pt>
                <c:pt idx="1077">
                  <c:v>1.32758628817725E-2</c:v>
                </c:pt>
                <c:pt idx="1078">
                  <c:v>1.3291532775210601E-2</c:v>
                </c:pt>
                <c:pt idx="1079">
                  <c:v>1.32656681675569E-2</c:v>
                </c:pt>
                <c:pt idx="1080">
                  <c:v>1.3297771038846501E-2</c:v>
                </c:pt>
                <c:pt idx="1081">
                  <c:v>1.3306988412464599E-2</c:v>
                </c:pt>
                <c:pt idx="1082">
                  <c:v>1.3316496317092299E-2</c:v>
                </c:pt>
                <c:pt idx="1083">
                  <c:v>1.32939111611441E-2</c:v>
                </c:pt>
                <c:pt idx="1084">
                  <c:v>1.3369281053964E-2</c:v>
                </c:pt>
                <c:pt idx="1085">
                  <c:v>1.3362087591733801E-2</c:v>
                </c:pt>
                <c:pt idx="1086">
                  <c:v>1.33633461813502E-2</c:v>
                </c:pt>
                <c:pt idx="1087">
                  <c:v>1.33483755045624E-2</c:v>
                </c:pt>
                <c:pt idx="1088">
                  <c:v>1.33482483579275E-2</c:v>
                </c:pt>
                <c:pt idx="1089">
                  <c:v>1.3370601329541199E-2</c:v>
                </c:pt>
                <c:pt idx="1090">
                  <c:v>1.3364131856730899E-2</c:v>
                </c:pt>
                <c:pt idx="1091">
                  <c:v>1.3397105816442101E-2</c:v>
                </c:pt>
                <c:pt idx="1092">
                  <c:v>1.33935907004237E-2</c:v>
                </c:pt>
                <c:pt idx="1093">
                  <c:v>1.3393473358248699E-2</c:v>
                </c:pt>
                <c:pt idx="1094">
                  <c:v>1.3503016068391599E-2</c:v>
                </c:pt>
                <c:pt idx="1095">
                  <c:v>1.35664836981169E-2</c:v>
                </c:pt>
                <c:pt idx="1096">
                  <c:v>1.35647578380414E-2</c:v>
                </c:pt>
                <c:pt idx="1097">
                  <c:v>1.3562205913359901E-2</c:v>
                </c:pt>
                <c:pt idx="1098">
                  <c:v>1.3594485196264199E-2</c:v>
                </c:pt>
                <c:pt idx="1099">
                  <c:v>1.35902315167048E-2</c:v>
                </c:pt>
                <c:pt idx="1100">
                  <c:v>1.3609515395260501E-2</c:v>
                </c:pt>
                <c:pt idx="1101">
                  <c:v>1.36035591670125E-2</c:v>
                </c:pt>
                <c:pt idx="1102">
                  <c:v>1.3579627366977799E-2</c:v>
                </c:pt>
                <c:pt idx="1103">
                  <c:v>1.3528568255986801E-2</c:v>
                </c:pt>
                <c:pt idx="1104">
                  <c:v>1.35005805938341E-2</c:v>
                </c:pt>
                <c:pt idx="1105">
                  <c:v>1.34872065115906E-2</c:v>
                </c:pt>
                <c:pt idx="1106">
                  <c:v>1.3522246762976401E-2</c:v>
                </c:pt>
                <c:pt idx="1107">
                  <c:v>1.35659954105795E-2</c:v>
                </c:pt>
                <c:pt idx="1108">
                  <c:v>1.3603344420812E-2</c:v>
                </c:pt>
                <c:pt idx="1109">
                  <c:v>1.36723524298936E-2</c:v>
                </c:pt>
                <c:pt idx="1110">
                  <c:v>1.36817214393633E-2</c:v>
                </c:pt>
                <c:pt idx="1111">
                  <c:v>1.3720535999677701E-2</c:v>
                </c:pt>
                <c:pt idx="1112">
                  <c:v>1.37224413878169E-2</c:v>
                </c:pt>
                <c:pt idx="1113">
                  <c:v>1.3714729700917199E-2</c:v>
                </c:pt>
                <c:pt idx="1114">
                  <c:v>1.37645891945113E-2</c:v>
                </c:pt>
                <c:pt idx="1115">
                  <c:v>1.37810900002906E-2</c:v>
                </c:pt>
                <c:pt idx="1116">
                  <c:v>1.3785343720487E-2</c:v>
                </c:pt>
                <c:pt idx="1117">
                  <c:v>1.3788552502965399E-2</c:v>
                </c:pt>
                <c:pt idx="1118">
                  <c:v>1.3777176853587401E-2</c:v>
                </c:pt>
                <c:pt idx="1119">
                  <c:v>1.37070613160816E-2</c:v>
                </c:pt>
                <c:pt idx="1120">
                  <c:v>1.37106131229767E-2</c:v>
                </c:pt>
                <c:pt idx="1121">
                  <c:v>1.37351922611515E-2</c:v>
                </c:pt>
                <c:pt idx="1122">
                  <c:v>1.380870478204E-2</c:v>
                </c:pt>
                <c:pt idx="1123">
                  <c:v>1.37977641701377E-2</c:v>
                </c:pt>
                <c:pt idx="1124">
                  <c:v>1.39249772625818E-2</c:v>
                </c:pt>
                <c:pt idx="1125">
                  <c:v>1.3926340140282699E-2</c:v>
                </c:pt>
                <c:pt idx="1126">
                  <c:v>1.3948135835549399E-2</c:v>
                </c:pt>
                <c:pt idx="1127">
                  <c:v>1.3851465222531299E-2</c:v>
                </c:pt>
                <c:pt idx="1128">
                  <c:v>1.4130067133982601E-2</c:v>
                </c:pt>
                <c:pt idx="1129">
                  <c:v>1.4440825697706499E-2</c:v>
                </c:pt>
                <c:pt idx="1130">
                  <c:v>1.44105402201102E-2</c:v>
                </c:pt>
                <c:pt idx="1131">
                  <c:v>1.44090285975421E-2</c:v>
                </c:pt>
                <c:pt idx="1132">
                  <c:v>1.4447829684370601E-2</c:v>
                </c:pt>
                <c:pt idx="1133">
                  <c:v>1.4478514124261E-2</c:v>
                </c:pt>
                <c:pt idx="1134">
                  <c:v>1.45639982936519E-2</c:v>
                </c:pt>
                <c:pt idx="1135">
                  <c:v>1.4563385092472099E-2</c:v>
                </c:pt>
                <c:pt idx="1136">
                  <c:v>1.45673562314885E-2</c:v>
                </c:pt>
                <c:pt idx="1137">
                  <c:v>1.45492129667339E-2</c:v>
                </c:pt>
                <c:pt idx="1138">
                  <c:v>1.4566594500775E-2</c:v>
                </c:pt>
                <c:pt idx="1139">
                  <c:v>1.46270830335053E-2</c:v>
                </c:pt>
                <c:pt idx="1140">
                  <c:v>1.4508663379246001E-2</c:v>
                </c:pt>
                <c:pt idx="1141">
                  <c:v>1.45603486368572E-2</c:v>
                </c:pt>
                <c:pt idx="1142">
                  <c:v>1.45526101206583E-2</c:v>
                </c:pt>
                <c:pt idx="1143">
                  <c:v>1.46772264541135E-2</c:v>
                </c:pt>
                <c:pt idx="1144">
                  <c:v>1.4682491676670901E-2</c:v>
                </c:pt>
                <c:pt idx="1145">
                  <c:v>1.4678129139444201E-2</c:v>
                </c:pt>
                <c:pt idx="1146">
                  <c:v>1.4771035871838501E-2</c:v>
                </c:pt>
                <c:pt idx="1147">
                  <c:v>1.4898785304347999E-2</c:v>
                </c:pt>
                <c:pt idx="1148">
                  <c:v>1.4965257562298001E-2</c:v>
                </c:pt>
                <c:pt idx="1149">
                  <c:v>1.4987047585519799E-2</c:v>
                </c:pt>
                <c:pt idx="1150">
                  <c:v>1.51374207834913E-2</c:v>
                </c:pt>
                <c:pt idx="1151">
                  <c:v>1.55006236446141E-2</c:v>
                </c:pt>
                <c:pt idx="1152">
                  <c:v>1.55975905887458E-2</c:v>
                </c:pt>
                <c:pt idx="1153">
                  <c:v>1.5669643777151999E-2</c:v>
                </c:pt>
                <c:pt idx="1154">
                  <c:v>1.5667378585778401E-2</c:v>
                </c:pt>
                <c:pt idx="1155">
                  <c:v>1.58061775212321E-2</c:v>
                </c:pt>
                <c:pt idx="1156">
                  <c:v>1.59941748329816E-2</c:v>
                </c:pt>
                <c:pt idx="1157">
                  <c:v>1.59668941855786E-2</c:v>
                </c:pt>
                <c:pt idx="1158">
                  <c:v>1.59742317087265E-2</c:v>
                </c:pt>
                <c:pt idx="1159">
                  <c:v>1.61713301456291E-2</c:v>
                </c:pt>
                <c:pt idx="1160">
                  <c:v>1.62296703875408E-2</c:v>
                </c:pt>
                <c:pt idx="1161">
                  <c:v>1.6292751611374001E-2</c:v>
                </c:pt>
                <c:pt idx="1162">
                  <c:v>1.6322660303825901E-2</c:v>
                </c:pt>
                <c:pt idx="1163">
                  <c:v>1.7089283101283399E-2</c:v>
                </c:pt>
                <c:pt idx="1164">
                  <c:v>1.70761368939732E-2</c:v>
                </c:pt>
                <c:pt idx="1165">
                  <c:v>1.73727810148387E-2</c:v>
                </c:pt>
                <c:pt idx="1166">
                  <c:v>1.7393375738612198E-2</c:v>
                </c:pt>
                <c:pt idx="1167">
                  <c:v>1.7341324187288301E-2</c:v>
                </c:pt>
                <c:pt idx="1168">
                  <c:v>1.7344782588449299E-2</c:v>
                </c:pt>
                <c:pt idx="1169">
                  <c:v>1.7370074573480301E-2</c:v>
                </c:pt>
                <c:pt idx="1170">
                  <c:v>1.7381912007276599E-2</c:v>
                </c:pt>
                <c:pt idx="1171">
                  <c:v>1.7531103027135699E-2</c:v>
                </c:pt>
                <c:pt idx="1172">
                  <c:v>1.7540460284630299E-2</c:v>
                </c:pt>
                <c:pt idx="1173">
                  <c:v>1.75963750574319E-2</c:v>
                </c:pt>
                <c:pt idx="1174">
                  <c:v>1.7681962163802599E-2</c:v>
                </c:pt>
                <c:pt idx="1175">
                  <c:v>1.76787263445361E-2</c:v>
                </c:pt>
                <c:pt idx="1176">
                  <c:v>1.76776189598138E-2</c:v>
                </c:pt>
                <c:pt idx="1177">
                  <c:v>1.90690386482107E-2</c:v>
                </c:pt>
                <c:pt idx="1178">
                  <c:v>1.9179796923093399E-2</c:v>
                </c:pt>
                <c:pt idx="1179">
                  <c:v>1.9154873720631401E-2</c:v>
                </c:pt>
                <c:pt idx="1180">
                  <c:v>1.9098105304958101E-2</c:v>
                </c:pt>
                <c:pt idx="1181">
                  <c:v>1.9126458212492099E-2</c:v>
                </c:pt>
                <c:pt idx="1182">
                  <c:v>1.9134847985649701E-2</c:v>
                </c:pt>
                <c:pt idx="1183">
                  <c:v>1.9098678158257699E-2</c:v>
                </c:pt>
                <c:pt idx="1184">
                  <c:v>1.89161051535724E-2</c:v>
                </c:pt>
                <c:pt idx="1185">
                  <c:v>1.8880118044663701E-2</c:v>
                </c:pt>
                <c:pt idx="1186">
                  <c:v>1.8880431650673501E-2</c:v>
                </c:pt>
                <c:pt idx="1187">
                  <c:v>1.8878960010226799E-2</c:v>
                </c:pt>
                <c:pt idx="1188">
                  <c:v>1.8862683844518099E-2</c:v>
                </c:pt>
                <c:pt idx="1189">
                  <c:v>1.8892494237128299E-2</c:v>
                </c:pt>
                <c:pt idx="1190">
                  <c:v>1.8670579892452001E-2</c:v>
                </c:pt>
                <c:pt idx="1191">
                  <c:v>1.8696484010688599E-2</c:v>
                </c:pt>
                <c:pt idx="1192">
                  <c:v>1.8694644817247901E-2</c:v>
                </c:pt>
                <c:pt idx="1193">
                  <c:v>1.86754900762078E-2</c:v>
                </c:pt>
                <c:pt idx="1194">
                  <c:v>1.8606231279267301E-2</c:v>
                </c:pt>
                <c:pt idx="1195">
                  <c:v>1.86022178457106E-2</c:v>
                </c:pt>
                <c:pt idx="1196">
                  <c:v>1.8605197709230002E-2</c:v>
                </c:pt>
                <c:pt idx="1197">
                  <c:v>1.85319282370736E-2</c:v>
                </c:pt>
                <c:pt idx="1198">
                  <c:v>1.8510668581420701E-2</c:v>
                </c:pt>
                <c:pt idx="1199">
                  <c:v>1.8516019461342698E-2</c:v>
                </c:pt>
                <c:pt idx="1200">
                  <c:v>1.8512784063125499E-2</c:v>
                </c:pt>
                <c:pt idx="1201">
                  <c:v>1.8048116361114398E-2</c:v>
                </c:pt>
                <c:pt idx="1202">
                  <c:v>1.80603246465913E-2</c:v>
                </c:pt>
                <c:pt idx="1203">
                  <c:v>1.7951500319471601E-2</c:v>
                </c:pt>
                <c:pt idx="1204">
                  <c:v>1.7958628436326798E-2</c:v>
                </c:pt>
                <c:pt idx="1205">
                  <c:v>1.7960253384189599E-2</c:v>
                </c:pt>
                <c:pt idx="1206">
                  <c:v>1.79714586252505E-2</c:v>
                </c:pt>
                <c:pt idx="1207">
                  <c:v>1.7983604351489199E-2</c:v>
                </c:pt>
                <c:pt idx="1208">
                  <c:v>1.7933591699365099E-2</c:v>
                </c:pt>
                <c:pt idx="1209">
                  <c:v>1.7948039375976801E-2</c:v>
                </c:pt>
                <c:pt idx="1210">
                  <c:v>1.7953657975727198E-2</c:v>
                </c:pt>
                <c:pt idx="1211">
                  <c:v>1.8016448497549999E-2</c:v>
                </c:pt>
                <c:pt idx="1212">
                  <c:v>1.8013650039155098E-2</c:v>
                </c:pt>
                <c:pt idx="1213">
                  <c:v>1.8013843613272001E-2</c:v>
                </c:pt>
                <c:pt idx="1214">
                  <c:v>1.8364632670661601E-2</c:v>
                </c:pt>
                <c:pt idx="1215">
                  <c:v>1.8568165609735999E-2</c:v>
                </c:pt>
                <c:pt idx="1216">
                  <c:v>1.8756489861878198E-2</c:v>
                </c:pt>
                <c:pt idx="1217">
                  <c:v>1.8709098690316998E-2</c:v>
                </c:pt>
                <c:pt idx="1218">
                  <c:v>1.8707016169154E-2</c:v>
                </c:pt>
                <c:pt idx="1219">
                  <c:v>1.86896142102893E-2</c:v>
                </c:pt>
                <c:pt idx="1220">
                  <c:v>1.86897308787672E-2</c:v>
                </c:pt>
                <c:pt idx="1221">
                  <c:v>1.8705355001294499E-2</c:v>
                </c:pt>
                <c:pt idx="1222">
                  <c:v>1.8804807632753301E-2</c:v>
                </c:pt>
                <c:pt idx="1223">
                  <c:v>1.87897602435802E-2</c:v>
                </c:pt>
                <c:pt idx="1224">
                  <c:v>1.87882589980909E-2</c:v>
                </c:pt>
                <c:pt idx="1225">
                  <c:v>1.88036129632113E-2</c:v>
                </c:pt>
                <c:pt idx="1226">
                  <c:v>1.88029156081485E-2</c:v>
                </c:pt>
                <c:pt idx="1227">
                  <c:v>1.8572032676471398E-2</c:v>
                </c:pt>
                <c:pt idx="1228">
                  <c:v>1.8631467490586699E-2</c:v>
                </c:pt>
                <c:pt idx="1229">
                  <c:v>1.8660640451627401E-2</c:v>
                </c:pt>
                <c:pt idx="1230">
                  <c:v>1.8662455437886201E-2</c:v>
                </c:pt>
                <c:pt idx="1231">
                  <c:v>1.8533001982553698E-2</c:v>
                </c:pt>
                <c:pt idx="1232">
                  <c:v>1.8536046785218599E-2</c:v>
                </c:pt>
                <c:pt idx="1233">
                  <c:v>1.8555293686014999E-2</c:v>
                </c:pt>
                <c:pt idx="1234">
                  <c:v>1.85674529600134E-2</c:v>
                </c:pt>
                <c:pt idx="1235">
                  <c:v>1.8579001107339E-2</c:v>
                </c:pt>
                <c:pt idx="1236">
                  <c:v>1.8607327675706199E-2</c:v>
                </c:pt>
                <c:pt idx="1237">
                  <c:v>1.8610230720123098E-2</c:v>
                </c:pt>
                <c:pt idx="1238">
                  <c:v>1.9330926497066601E-2</c:v>
                </c:pt>
                <c:pt idx="1239">
                  <c:v>1.9113122260018201E-2</c:v>
                </c:pt>
                <c:pt idx="1240">
                  <c:v>1.9268409122043799E-2</c:v>
                </c:pt>
                <c:pt idx="1241">
                  <c:v>2.01799868388421E-2</c:v>
                </c:pt>
                <c:pt idx="1242">
                  <c:v>2.02792691574155E-2</c:v>
                </c:pt>
                <c:pt idx="1243">
                  <c:v>2.01793743600511E-2</c:v>
                </c:pt>
                <c:pt idx="1244">
                  <c:v>2.0225808544929301E-2</c:v>
                </c:pt>
                <c:pt idx="1245">
                  <c:v>2.0190644982914101E-2</c:v>
                </c:pt>
                <c:pt idx="1246">
                  <c:v>2.02280423806694E-2</c:v>
                </c:pt>
                <c:pt idx="1247">
                  <c:v>2.0266765867783799E-2</c:v>
                </c:pt>
                <c:pt idx="1248">
                  <c:v>2.0291426431373102E-2</c:v>
                </c:pt>
                <c:pt idx="1249">
                  <c:v>2.0215249008387001E-2</c:v>
                </c:pt>
                <c:pt idx="1250">
                  <c:v>2.02024755031554E-2</c:v>
                </c:pt>
                <c:pt idx="1251">
                  <c:v>2.0271395101836901E-2</c:v>
                </c:pt>
                <c:pt idx="1252">
                  <c:v>2.0242192436175001E-2</c:v>
                </c:pt>
                <c:pt idx="1253">
                  <c:v>2.0334099323838801E-2</c:v>
                </c:pt>
                <c:pt idx="1254">
                  <c:v>2.0333830555341801E-2</c:v>
                </c:pt>
                <c:pt idx="1255">
                  <c:v>2.0538842536865401E-2</c:v>
                </c:pt>
                <c:pt idx="1256">
                  <c:v>2.0832864112608599E-2</c:v>
                </c:pt>
                <c:pt idx="1257">
                  <c:v>2.0839510072382501E-2</c:v>
                </c:pt>
                <c:pt idx="1258">
                  <c:v>2.0899476740524701E-2</c:v>
                </c:pt>
                <c:pt idx="1259">
                  <c:v>2.1179872858754299E-2</c:v>
                </c:pt>
                <c:pt idx="1260">
                  <c:v>2.1286236149187399E-2</c:v>
                </c:pt>
                <c:pt idx="1261">
                  <c:v>2.1291463755143201E-2</c:v>
                </c:pt>
                <c:pt idx="1262">
                  <c:v>2.1315457417568399E-2</c:v>
                </c:pt>
                <c:pt idx="1263">
                  <c:v>2.1361418727584899E-2</c:v>
                </c:pt>
                <c:pt idx="1264">
                  <c:v>2.17941893167494E-2</c:v>
                </c:pt>
                <c:pt idx="1265">
                  <c:v>2.20029886276433E-2</c:v>
                </c:pt>
                <c:pt idx="1266">
                  <c:v>2.20703881214892E-2</c:v>
                </c:pt>
                <c:pt idx="1267">
                  <c:v>2.2064557175319601E-2</c:v>
                </c:pt>
                <c:pt idx="1268">
                  <c:v>2.2064148140277701E-2</c:v>
                </c:pt>
                <c:pt idx="1269">
                  <c:v>2.2064541041298201E-2</c:v>
                </c:pt>
                <c:pt idx="1270">
                  <c:v>2.2066512503279598E-2</c:v>
                </c:pt>
                <c:pt idx="1271">
                  <c:v>2.2210900390920899E-2</c:v>
                </c:pt>
                <c:pt idx="1272">
                  <c:v>2.22501182428337E-2</c:v>
                </c:pt>
                <c:pt idx="1273">
                  <c:v>2.2232114775418501E-2</c:v>
                </c:pt>
                <c:pt idx="1274">
                  <c:v>2.22328993313252E-2</c:v>
                </c:pt>
                <c:pt idx="1275">
                  <c:v>2.2387657343003398E-2</c:v>
                </c:pt>
                <c:pt idx="1276">
                  <c:v>2.2564112978916199E-2</c:v>
                </c:pt>
                <c:pt idx="1277">
                  <c:v>2.25661631998125E-2</c:v>
                </c:pt>
                <c:pt idx="1278">
                  <c:v>2.2573708745379801E-2</c:v>
                </c:pt>
                <c:pt idx="1279">
                  <c:v>2.2570838481077601E-2</c:v>
                </c:pt>
                <c:pt idx="1280">
                  <c:v>2.25429265769348E-2</c:v>
                </c:pt>
                <c:pt idx="1281">
                  <c:v>2.2576617641506699E-2</c:v>
                </c:pt>
                <c:pt idx="1282">
                  <c:v>2.25763894989645E-2</c:v>
                </c:pt>
                <c:pt idx="1283">
                  <c:v>2.2792693954293598E-2</c:v>
                </c:pt>
                <c:pt idx="1284">
                  <c:v>2.28440039873458E-2</c:v>
                </c:pt>
                <c:pt idx="1285">
                  <c:v>2.2941336852623399E-2</c:v>
                </c:pt>
                <c:pt idx="1286">
                  <c:v>2.2967273111490199E-2</c:v>
                </c:pt>
                <c:pt idx="1287">
                  <c:v>2.2950355861347801E-2</c:v>
                </c:pt>
                <c:pt idx="1288">
                  <c:v>2.2984781307199401E-2</c:v>
                </c:pt>
                <c:pt idx="1289">
                  <c:v>2.29933457609106E-2</c:v>
                </c:pt>
                <c:pt idx="1290">
                  <c:v>2.3015114345188901E-2</c:v>
                </c:pt>
                <c:pt idx="1291">
                  <c:v>2.3009252633326E-2</c:v>
                </c:pt>
                <c:pt idx="1292">
                  <c:v>2.3016970283305099E-2</c:v>
                </c:pt>
                <c:pt idx="1293">
                  <c:v>2.30168436425634E-2</c:v>
                </c:pt>
                <c:pt idx="1294">
                  <c:v>2.2984152880548201E-2</c:v>
                </c:pt>
                <c:pt idx="1295">
                  <c:v>2.3031790718876299E-2</c:v>
                </c:pt>
                <c:pt idx="1296">
                  <c:v>2.32865978684485E-2</c:v>
                </c:pt>
                <c:pt idx="1297">
                  <c:v>2.33010912743996E-2</c:v>
                </c:pt>
                <c:pt idx="1298">
                  <c:v>2.3276016444111002E-2</c:v>
                </c:pt>
                <c:pt idx="1299">
                  <c:v>2.32871226990055E-2</c:v>
                </c:pt>
                <c:pt idx="1300">
                  <c:v>2.3292589805159199E-2</c:v>
                </c:pt>
                <c:pt idx="1301">
                  <c:v>2.3291250623857802E-2</c:v>
                </c:pt>
                <c:pt idx="1302">
                  <c:v>2.3289525871679002E-2</c:v>
                </c:pt>
                <c:pt idx="1303">
                  <c:v>2.3339882025554301E-2</c:v>
                </c:pt>
                <c:pt idx="1304">
                  <c:v>2.3340254711856901E-2</c:v>
                </c:pt>
                <c:pt idx="1305">
                  <c:v>2.3342180122034501E-2</c:v>
                </c:pt>
                <c:pt idx="1306">
                  <c:v>2.33356650582137E-2</c:v>
                </c:pt>
                <c:pt idx="1307">
                  <c:v>2.33542747627867E-2</c:v>
                </c:pt>
                <c:pt idx="1308">
                  <c:v>2.33149802589564E-2</c:v>
                </c:pt>
                <c:pt idx="1309">
                  <c:v>2.3246049934202501E-2</c:v>
                </c:pt>
                <c:pt idx="1310">
                  <c:v>2.3329020971458399E-2</c:v>
                </c:pt>
                <c:pt idx="1311">
                  <c:v>2.3291560140474399E-2</c:v>
                </c:pt>
                <c:pt idx="1312">
                  <c:v>2.36029074076155E-2</c:v>
                </c:pt>
                <c:pt idx="1313">
                  <c:v>2.3595135624128301E-2</c:v>
                </c:pt>
                <c:pt idx="1314">
                  <c:v>2.36260522853909E-2</c:v>
                </c:pt>
                <c:pt idx="1315">
                  <c:v>2.36232047225533E-2</c:v>
                </c:pt>
                <c:pt idx="1316">
                  <c:v>2.3639888597421201E-2</c:v>
                </c:pt>
                <c:pt idx="1317">
                  <c:v>2.3650674357642999E-2</c:v>
                </c:pt>
                <c:pt idx="1318">
                  <c:v>2.3677223318289899E-2</c:v>
                </c:pt>
                <c:pt idx="1319">
                  <c:v>2.3682659484961802E-2</c:v>
                </c:pt>
                <c:pt idx="1320">
                  <c:v>2.36830396517008E-2</c:v>
                </c:pt>
                <c:pt idx="1321">
                  <c:v>2.3676873090500899E-2</c:v>
                </c:pt>
                <c:pt idx="1322">
                  <c:v>2.36548563201468E-2</c:v>
                </c:pt>
                <c:pt idx="1323">
                  <c:v>2.37102336026268E-2</c:v>
                </c:pt>
                <c:pt idx="1324">
                  <c:v>2.36552407076011E-2</c:v>
                </c:pt>
                <c:pt idx="1325">
                  <c:v>2.3707150955145001E-2</c:v>
                </c:pt>
                <c:pt idx="1326">
                  <c:v>2.3691730234419402E-2</c:v>
                </c:pt>
                <c:pt idx="1327">
                  <c:v>2.3685483009456498E-2</c:v>
                </c:pt>
                <c:pt idx="1328">
                  <c:v>2.3493229322230701E-2</c:v>
                </c:pt>
                <c:pt idx="1329">
                  <c:v>2.33367848867208E-2</c:v>
                </c:pt>
                <c:pt idx="1330">
                  <c:v>2.3346911562664802E-2</c:v>
                </c:pt>
                <c:pt idx="1331">
                  <c:v>2.33522097854117E-2</c:v>
                </c:pt>
                <c:pt idx="1332">
                  <c:v>2.3338439302124502E-2</c:v>
                </c:pt>
                <c:pt idx="1333">
                  <c:v>2.3348451074192499E-2</c:v>
                </c:pt>
                <c:pt idx="1334">
                  <c:v>2.3494068374405999E-2</c:v>
                </c:pt>
                <c:pt idx="1335">
                  <c:v>2.3496788095342801E-2</c:v>
                </c:pt>
                <c:pt idx="1336">
                  <c:v>2.35972058494885E-2</c:v>
                </c:pt>
                <c:pt idx="1337">
                  <c:v>2.35614875496E-2</c:v>
                </c:pt>
                <c:pt idx="1338">
                  <c:v>2.3546251786175899E-2</c:v>
                </c:pt>
                <c:pt idx="1339">
                  <c:v>2.37987102833702E-2</c:v>
                </c:pt>
                <c:pt idx="1340">
                  <c:v>2.37996514063414E-2</c:v>
                </c:pt>
                <c:pt idx="1341">
                  <c:v>2.3792813897511401E-2</c:v>
                </c:pt>
                <c:pt idx="1342">
                  <c:v>2.3800124168030699E-2</c:v>
                </c:pt>
                <c:pt idx="1343">
                  <c:v>2.3746105088329E-2</c:v>
                </c:pt>
                <c:pt idx="1344">
                  <c:v>2.37814563332099E-2</c:v>
                </c:pt>
                <c:pt idx="1345">
                  <c:v>2.38684955035392E-2</c:v>
                </c:pt>
                <c:pt idx="1346">
                  <c:v>2.3880502461621898E-2</c:v>
                </c:pt>
                <c:pt idx="1347">
                  <c:v>2.3819463605859799E-2</c:v>
                </c:pt>
                <c:pt idx="1348">
                  <c:v>2.3774506562127901E-2</c:v>
                </c:pt>
                <c:pt idx="1349">
                  <c:v>2.4050691465158501E-2</c:v>
                </c:pt>
                <c:pt idx="1350">
                  <c:v>2.3976185364136302E-2</c:v>
                </c:pt>
                <c:pt idx="1351">
                  <c:v>2.3773383472836699E-2</c:v>
                </c:pt>
                <c:pt idx="1352">
                  <c:v>2.3722316014298899E-2</c:v>
                </c:pt>
                <c:pt idx="1353">
                  <c:v>2.3811491974708301E-2</c:v>
                </c:pt>
                <c:pt idx="1354">
                  <c:v>2.38406539600108E-2</c:v>
                </c:pt>
                <c:pt idx="1355">
                  <c:v>2.3783046428342499E-2</c:v>
                </c:pt>
                <c:pt idx="1356">
                  <c:v>2.36544914628894E-2</c:v>
                </c:pt>
                <c:pt idx="1357">
                  <c:v>2.3667181775254401E-2</c:v>
                </c:pt>
                <c:pt idx="1358">
                  <c:v>2.3694067329621801E-2</c:v>
                </c:pt>
                <c:pt idx="1359">
                  <c:v>2.3808653037597199E-2</c:v>
                </c:pt>
                <c:pt idx="1360">
                  <c:v>2.3783385285413398E-2</c:v>
                </c:pt>
                <c:pt idx="1361">
                  <c:v>2.37556770065021E-2</c:v>
                </c:pt>
                <c:pt idx="1362">
                  <c:v>2.3788394607876202E-2</c:v>
                </c:pt>
                <c:pt idx="1363">
                  <c:v>2.3284134508783999E-2</c:v>
                </c:pt>
                <c:pt idx="1364">
                  <c:v>2.3433864450328998E-2</c:v>
                </c:pt>
                <c:pt idx="1365">
                  <c:v>2.3285720522494301E-2</c:v>
                </c:pt>
                <c:pt idx="1366">
                  <c:v>2.3262522736392802E-2</c:v>
                </c:pt>
                <c:pt idx="1367">
                  <c:v>2.3243310413399901E-2</c:v>
                </c:pt>
                <c:pt idx="1368">
                  <c:v>2.32667074838095E-2</c:v>
                </c:pt>
                <c:pt idx="1369">
                  <c:v>2.3248011857761701E-2</c:v>
                </c:pt>
                <c:pt idx="1370">
                  <c:v>2.3250450929971401E-2</c:v>
                </c:pt>
                <c:pt idx="1371">
                  <c:v>2.31591559781643E-2</c:v>
                </c:pt>
                <c:pt idx="1372">
                  <c:v>2.31459425054166E-2</c:v>
                </c:pt>
                <c:pt idx="1373">
                  <c:v>2.3118987090115999E-2</c:v>
                </c:pt>
                <c:pt idx="1374">
                  <c:v>2.3228846413165999E-2</c:v>
                </c:pt>
                <c:pt idx="1375">
                  <c:v>2.32560721727906E-2</c:v>
                </c:pt>
                <c:pt idx="1376">
                  <c:v>2.3329824536481102E-2</c:v>
                </c:pt>
                <c:pt idx="1377">
                  <c:v>2.2233228297218199E-2</c:v>
                </c:pt>
                <c:pt idx="1378">
                  <c:v>2.2168514860279102E-2</c:v>
                </c:pt>
                <c:pt idx="1379">
                  <c:v>2.2078807725299E-2</c:v>
                </c:pt>
                <c:pt idx="1380">
                  <c:v>2.2075716795234599E-2</c:v>
                </c:pt>
                <c:pt idx="1381">
                  <c:v>2.2075213942204599E-2</c:v>
                </c:pt>
                <c:pt idx="1382">
                  <c:v>2.20525984596768E-2</c:v>
                </c:pt>
                <c:pt idx="1383">
                  <c:v>2.1993316235633401E-2</c:v>
                </c:pt>
                <c:pt idx="1384">
                  <c:v>2.2007519967369101E-2</c:v>
                </c:pt>
                <c:pt idx="1385">
                  <c:v>2.2005940769815099E-2</c:v>
                </c:pt>
                <c:pt idx="1386">
                  <c:v>2.20086020049159E-2</c:v>
                </c:pt>
                <c:pt idx="1387">
                  <c:v>2.20063046276892E-2</c:v>
                </c:pt>
                <c:pt idx="1388">
                  <c:v>2.1967184176532699E-2</c:v>
                </c:pt>
                <c:pt idx="1389">
                  <c:v>2.1952899333797401E-2</c:v>
                </c:pt>
                <c:pt idx="1390">
                  <c:v>2.1918484016288799E-2</c:v>
                </c:pt>
                <c:pt idx="1391">
                  <c:v>2.19000145320297E-2</c:v>
                </c:pt>
                <c:pt idx="1392">
                  <c:v>2.1904826675796601E-2</c:v>
                </c:pt>
                <c:pt idx="1393">
                  <c:v>2.18987403040585E-2</c:v>
                </c:pt>
                <c:pt idx="1394">
                  <c:v>2.18991545904734E-2</c:v>
                </c:pt>
                <c:pt idx="1395">
                  <c:v>2.1909988644252299E-2</c:v>
                </c:pt>
                <c:pt idx="1396">
                  <c:v>2.2049907934172198E-2</c:v>
                </c:pt>
                <c:pt idx="1397">
                  <c:v>2.21447704704654E-2</c:v>
                </c:pt>
                <c:pt idx="1398">
                  <c:v>2.2148262442139001E-2</c:v>
                </c:pt>
                <c:pt idx="1399">
                  <c:v>2.2470023240735201E-2</c:v>
                </c:pt>
                <c:pt idx="1400">
                  <c:v>2.3209940649346599E-2</c:v>
                </c:pt>
                <c:pt idx="1401">
                  <c:v>2.3357170727709299E-2</c:v>
                </c:pt>
                <c:pt idx="1402">
                  <c:v>2.3351656192591899E-2</c:v>
                </c:pt>
                <c:pt idx="1403">
                  <c:v>2.3354044957154901E-2</c:v>
                </c:pt>
                <c:pt idx="1404">
                  <c:v>2.3913309289233801E-2</c:v>
                </c:pt>
                <c:pt idx="1405">
                  <c:v>2.3910203163229199E-2</c:v>
                </c:pt>
                <c:pt idx="1406">
                  <c:v>2.3887363326728601E-2</c:v>
                </c:pt>
                <c:pt idx="1407">
                  <c:v>2.3920416341179699E-2</c:v>
                </c:pt>
                <c:pt idx="1408">
                  <c:v>2.3924484704947499E-2</c:v>
                </c:pt>
                <c:pt idx="1409">
                  <c:v>2.4521292946207699E-2</c:v>
                </c:pt>
                <c:pt idx="1410">
                  <c:v>2.45256955696176E-2</c:v>
                </c:pt>
                <c:pt idx="1411">
                  <c:v>2.4520041470639901E-2</c:v>
                </c:pt>
                <c:pt idx="1412">
                  <c:v>2.45287559455705E-2</c:v>
                </c:pt>
                <c:pt idx="1413">
                  <c:v>2.4552134307663301E-2</c:v>
                </c:pt>
                <c:pt idx="1414">
                  <c:v>2.4330256238909199E-2</c:v>
                </c:pt>
                <c:pt idx="1415">
                  <c:v>2.41973116010652E-2</c:v>
                </c:pt>
                <c:pt idx="1416">
                  <c:v>2.40906591565067E-2</c:v>
                </c:pt>
                <c:pt idx="1417">
                  <c:v>2.4097558027061899E-2</c:v>
                </c:pt>
                <c:pt idx="1418">
                  <c:v>2.4247090420511101E-2</c:v>
                </c:pt>
                <c:pt idx="1419">
                  <c:v>2.4406691658791099E-2</c:v>
                </c:pt>
                <c:pt idx="1420">
                  <c:v>2.4400744030370299E-2</c:v>
                </c:pt>
                <c:pt idx="1421">
                  <c:v>2.44112030673426E-2</c:v>
                </c:pt>
                <c:pt idx="1422">
                  <c:v>2.4295110458242501E-2</c:v>
                </c:pt>
                <c:pt idx="1423">
                  <c:v>2.43048303545714E-2</c:v>
                </c:pt>
                <c:pt idx="1424">
                  <c:v>2.4358451841285801E-2</c:v>
                </c:pt>
                <c:pt idx="1425">
                  <c:v>2.4425530028758899E-2</c:v>
                </c:pt>
                <c:pt idx="1426">
                  <c:v>2.4430631918106901E-2</c:v>
                </c:pt>
                <c:pt idx="1427">
                  <c:v>2.4305041602357001E-2</c:v>
                </c:pt>
                <c:pt idx="1428">
                  <c:v>2.4263223304423299E-2</c:v>
                </c:pt>
                <c:pt idx="1429">
                  <c:v>2.44124650907558E-2</c:v>
                </c:pt>
                <c:pt idx="1430">
                  <c:v>2.44124734056731E-2</c:v>
                </c:pt>
                <c:pt idx="1431">
                  <c:v>2.44904040061611E-2</c:v>
                </c:pt>
                <c:pt idx="1432">
                  <c:v>2.4552926463574001E-2</c:v>
                </c:pt>
                <c:pt idx="1433">
                  <c:v>2.4533254887263999E-2</c:v>
                </c:pt>
                <c:pt idx="1434">
                  <c:v>2.4761535254220601E-2</c:v>
                </c:pt>
                <c:pt idx="1435">
                  <c:v>2.5006380813218401E-2</c:v>
                </c:pt>
                <c:pt idx="1436">
                  <c:v>2.50667570706666E-2</c:v>
                </c:pt>
                <c:pt idx="1437">
                  <c:v>2.5095083309227498E-2</c:v>
                </c:pt>
                <c:pt idx="1438">
                  <c:v>2.4607786094388601E-2</c:v>
                </c:pt>
                <c:pt idx="1439">
                  <c:v>2.4810142628599201E-2</c:v>
                </c:pt>
                <c:pt idx="1440">
                  <c:v>2.4721522813804998E-2</c:v>
                </c:pt>
                <c:pt idx="1441">
                  <c:v>2.4056700684692501E-2</c:v>
                </c:pt>
                <c:pt idx="1442">
                  <c:v>2.4132839503167199E-2</c:v>
                </c:pt>
                <c:pt idx="1443">
                  <c:v>2.4319141831661902E-2</c:v>
                </c:pt>
                <c:pt idx="1444">
                  <c:v>2.4319597944414201E-2</c:v>
                </c:pt>
                <c:pt idx="1445">
                  <c:v>2.4634161069958398E-2</c:v>
                </c:pt>
                <c:pt idx="1446">
                  <c:v>2.4581185998743399E-2</c:v>
                </c:pt>
                <c:pt idx="1447">
                  <c:v>2.4594691489424201E-2</c:v>
                </c:pt>
                <c:pt idx="1448">
                  <c:v>2.4831773863421801E-2</c:v>
                </c:pt>
                <c:pt idx="1449">
                  <c:v>2.4836030988390798E-2</c:v>
                </c:pt>
                <c:pt idx="1450">
                  <c:v>2.51167537359177E-2</c:v>
                </c:pt>
                <c:pt idx="1451">
                  <c:v>2.5052409708300701E-2</c:v>
                </c:pt>
                <c:pt idx="1452">
                  <c:v>2.50549441117012E-2</c:v>
                </c:pt>
                <c:pt idx="1453">
                  <c:v>2.5452444379503902E-2</c:v>
                </c:pt>
                <c:pt idx="1454">
                  <c:v>2.5461306357306399E-2</c:v>
                </c:pt>
                <c:pt idx="1455">
                  <c:v>2.54021590401667E-2</c:v>
                </c:pt>
                <c:pt idx="1456">
                  <c:v>2.5309914141175699E-2</c:v>
                </c:pt>
                <c:pt idx="1457">
                  <c:v>2.5402251374523802E-2</c:v>
                </c:pt>
                <c:pt idx="1458">
                  <c:v>2.5317993899120698E-2</c:v>
                </c:pt>
                <c:pt idx="1459">
                  <c:v>2.51241979251078E-2</c:v>
                </c:pt>
                <c:pt idx="1460">
                  <c:v>2.52886800882475E-2</c:v>
                </c:pt>
                <c:pt idx="1461">
                  <c:v>2.6063869023809E-2</c:v>
                </c:pt>
                <c:pt idx="1462">
                  <c:v>2.60320886832692E-2</c:v>
                </c:pt>
                <c:pt idx="1463">
                  <c:v>2.6016420728848699E-2</c:v>
                </c:pt>
                <c:pt idx="1464">
                  <c:v>2.5718495161621599E-2</c:v>
                </c:pt>
                <c:pt idx="1465">
                  <c:v>2.57130081396236E-2</c:v>
                </c:pt>
                <c:pt idx="1466">
                  <c:v>2.5685232572833099E-2</c:v>
                </c:pt>
                <c:pt idx="1467">
                  <c:v>2.5683149845291998E-2</c:v>
                </c:pt>
                <c:pt idx="1468">
                  <c:v>2.5911831619834201E-2</c:v>
                </c:pt>
                <c:pt idx="1469">
                  <c:v>2.59760462770895E-2</c:v>
                </c:pt>
                <c:pt idx="1470">
                  <c:v>2.5989752570545699E-2</c:v>
                </c:pt>
                <c:pt idx="1471">
                  <c:v>2.5890457568528698E-2</c:v>
                </c:pt>
                <c:pt idx="1472">
                  <c:v>2.58518188318623E-2</c:v>
                </c:pt>
                <c:pt idx="1473">
                  <c:v>2.5946424041730198E-2</c:v>
                </c:pt>
                <c:pt idx="1474">
                  <c:v>2.5951415194120701E-2</c:v>
                </c:pt>
                <c:pt idx="1475">
                  <c:v>2.57782923871465E-2</c:v>
                </c:pt>
                <c:pt idx="1476">
                  <c:v>2.55771945906474E-2</c:v>
                </c:pt>
                <c:pt idx="1477">
                  <c:v>2.5850276832973699E-2</c:v>
                </c:pt>
                <c:pt idx="1478">
                  <c:v>2.58374366376561E-2</c:v>
                </c:pt>
                <c:pt idx="1479">
                  <c:v>2.58569383273363E-2</c:v>
                </c:pt>
                <c:pt idx="1480">
                  <c:v>2.5864636838943401E-2</c:v>
                </c:pt>
                <c:pt idx="1481">
                  <c:v>2.5899896926532499E-2</c:v>
                </c:pt>
                <c:pt idx="1482">
                  <c:v>2.58882471591864E-2</c:v>
                </c:pt>
                <c:pt idx="1483">
                  <c:v>2.5827468415737399E-2</c:v>
                </c:pt>
                <c:pt idx="1484">
                  <c:v>2.57754033137572E-2</c:v>
                </c:pt>
                <c:pt idx="1485">
                  <c:v>2.5650308667619501E-2</c:v>
                </c:pt>
                <c:pt idx="1486">
                  <c:v>2.5596732112270398E-2</c:v>
                </c:pt>
                <c:pt idx="1487">
                  <c:v>2.5593921358243701E-2</c:v>
                </c:pt>
                <c:pt idx="1488">
                  <c:v>2.56125013194578E-2</c:v>
                </c:pt>
                <c:pt idx="1489">
                  <c:v>2.55601012756464E-2</c:v>
                </c:pt>
                <c:pt idx="1490">
                  <c:v>2.5554318085995901E-2</c:v>
                </c:pt>
                <c:pt idx="1491">
                  <c:v>2.6220245528580599E-2</c:v>
                </c:pt>
                <c:pt idx="1492">
                  <c:v>2.6224434995981899E-2</c:v>
                </c:pt>
                <c:pt idx="1493">
                  <c:v>2.6247346332186599E-2</c:v>
                </c:pt>
                <c:pt idx="1494">
                  <c:v>2.6330181543329102E-2</c:v>
                </c:pt>
                <c:pt idx="1495">
                  <c:v>2.6303209878965499E-2</c:v>
                </c:pt>
                <c:pt idx="1496">
                  <c:v>2.6112374611954099E-2</c:v>
                </c:pt>
                <c:pt idx="1497">
                  <c:v>2.6347720750313001E-2</c:v>
                </c:pt>
                <c:pt idx="1498">
                  <c:v>2.6818533741459798E-2</c:v>
                </c:pt>
                <c:pt idx="1499">
                  <c:v>2.68683666181198E-2</c:v>
                </c:pt>
                <c:pt idx="1500">
                  <c:v>2.6866068341499599E-2</c:v>
                </c:pt>
                <c:pt idx="1501">
                  <c:v>2.6918797578896599E-2</c:v>
                </c:pt>
                <c:pt idx="1502">
                  <c:v>2.7091778725313299E-2</c:v>
                </c:pt>
                <c:pt idx="1503">
                  <c:v>2.7081268151140502E-2</c:v>
                </c:pt>
                <c:pt idx="1504">
                  <c:v>2.7325904435150698E-2</c:v>
                </c:pt>
                <c:pt idx="1505">
                  <c:v>2.7311394099579001E-2</c:v>
                </c:pt>
                <c:pt idx="1506">
                  <c:v>2.7335076009497101E-2</c:v>
                </c:pt>
                <c:pt idx="1507">
                  <c:v>2.7331375001689799E-2</c:v>
                </c:pt>
                <c:pt idx="1508">
                  <c:v>2.7390726214305799E-2</c:v>
                </c:pt>
                <c:pt idx="1509">
                  <c:v>2.7377678873061501E-2</c:v>
                </c:pt>
                <c:pt idx="1510">
                  <c:v>2.7605766439991099E-2</c:v>
                </c:pt>
                <c:pt idx="1511">
                  <c:v>2.7583070118437299E-2</c:v>
                </c:pt>
                <c:pt idx="1512">
                  <c:v>2.7550069379338699E-2</c:v>
                </c:pt>
                <c:pt idx="1513">
                  <c:v>2.75318209766377E-2</c:v>
                </c:pt>
                <c:pt idx="1514">
                  <c:v>2.7446724570250099E-2</c:v>
                </c:pt>
                <c:pt idx="1515">
                  <c:v>2.74441553822421E-2</c:v>
                </c:pt>
                <c:pt idx="1516">
                  <c:v>2.7540105103296301E-2</c:v>
                </c:pt>
                <c:pt idx="1517">
                  <c:v>2.7651585580928398E-2</c:v>
                </c:pt>
                <c:pt idx="1518">
                  <c:v>2.7650974216759699E-2</c:v>
                </c:pt>
                <c:pt idx="1519">
                  <c:v>2.7759084979385298E-2</c:v>
                </c:pt>
                <c:pt idx="1520">
                  <c:v>2.7880062693678601E-2</c:v>
                </c:pt>
                <c:pt idx="1521">
                  <c:v>2.78681932759841E-2</c:v>
                </c:pt>
                <c:pt idx="1522">
                  <c:v>2.7864561960699499E-2</c:v>
                </c:pt>
                <c:pt idx="1523">
                  <c:v>2.7957573151255601E-2</c:v>
                </c:pt>
                <c:pt idx="1524">
                  <c:v>2.7945174819779001E-2</c:v>
                </c:pt>
                <c:pt idx="1525">
                  <c:v>2.7868810669167899E-2</c:v>
                </c:pt>
                <c:pt idx="1526">
                  <c:v>2.7867243853189401E-2</c:v>
                </c:pt>
                <c:pt idx="1527">
                  <c:v>2.7863764800478499E-2</c:v>
                </c:pt>
                <c:pt idx="1528">
                  <c:v>2.7914856985357801E-2</c:v>
                </c:pt>
                <c:pt idx="1529">
                  <c:v>2.7913731817154099E-2</c:v>
                </c:pt>
                <c:pt idx="1530">
                  <c:v>2.7951570246858001E-2</c:v>
                </c:pt>
                <c:pt idx="1531">
                  <c:v>2.7964372753683301E-2</c:v>
                </c:pt>
                <c:pt idx="1532">
                  <c:v>2.7958596273433702E-2</c:v>
                </c:pt>
                <c:pt idx="1533">
                  <c:v>2.7957143581635001E-2</c:v>
                </c:pt>
                <c:pt idx="1534">
                  <c:v>2.8041385659702898E-2</c:v>
                </c:pt>
                <c:pt idx="1535">
                  <c:v>2.82576179425452E-2</c:v>
                </c:pt>
                <c:pt idx="1536">
                  <c:v>2.8216878976238102E-2</c:v>
                </c:pt>
                <c:pt idx="1537">
                  <c:v>2.8194826999594001E-2</c:v>
                </c:pt>
                <c:pt idx="1538">
                  <c:v>2.8181572217050501E-2</c:v>
                </c:pt>
                <c:pt idx="1539">
                  <c:v>2.8022626437301499E-2</c:v>
                </c:pt>
                <c:pt idx="1540">
                  <c:v>2.8245892289398201E-2</c:v>
                </c:pt>
                <c:pt idx="1541">
                  <c:v>2.8223054476747899E-2</c:v>
                </c:pt>
                <c:pt idx="1542">
                  <c:v>2.8748781667944201E-2</c:v>
                </c:pt>
                <c:pt idx="1543">
                  <c:v>2.87996672673035E-2</c:v>
                </c:pt>
                <c:pt idx="1544">
                  <c:v>2.8802312916812099E-2</c:v>
                </c:pt>
                <c:pt idx="1545">
                  <c:v>2.87688863245502E-2</c:v>
                </c:pt>
                <c:pt idx="1546">
                  <c:v>2.8799379686438201E-2</c:v>
                </c:pt>
                <c:pt idx="1547">
                  <c:v>2.87982681108526E-2</c:v>
                </c:pt>
                <c:pt idx="1548">
                  <c:v>2.87955033380719E-2</c:v>
                </c:pt>
                <c:pt idx="1549">
                  <c:v>2.8682875423467102E-2</c:v>
                </c:pt>
                <c:pt idx="1550">
                  <c:v>2.8764430882838601E-2</c:v>
                </c:pt>
                <c:pt idx="1551">
                  <c:v>2.87616988668663E-2</c:v>
                </c:pt>
                <c:pt idx="1552">
                  <c:v>2.8776243127126899E-2</c:v>
                </c:pt>
                <c:pt idx="1553">
                  <c:v>2.8602233739349E-2</c:v>
                </c:pt>
                <c:pt idx="1554">
                  <c:v>2.8656914808840601E-2</c:v>
                </c:pt>
                <c:pt idx="1555">
                  <c:v>2.8690623712722799E-2</c:v>
                </c:pt>
                <c:pt idx="1556">
                  <c:v>2.8699474702432101E-2</c:v>
                </c:pt>
                <c:pt idx="1557">
                  <c:v>2.8670605582309501E-2</c:v>
                </c:pt>
                <c:pt idx="1558">
                  <c:v>2.8737476973804299E-2</c:v>
                </c:pt>
                <c:pt idx="1559">
                  <c:v>2.85887557212046E-2</c:v>
                </c:pt>
                <c:pt idx="1560">
                  <c:v>2.8646526964128598E-2</c:v>
                </c:pt>
                <c:pt idx="1561">
                  <c:v>2.8731220747690401E-2</c:v>
                </c:pt>
                <c:pt idx="1562">
                  <c:v>2.8728000957938201E-2</c:v>
                </c:pt>
                <c:pt idx="1563">
                  <c:v>2.9477369170563299E-2</c:v>
                </c:pt>
                <c:pt idx="1564">
                  <c:v>2.96869499298511E-2</c:v>
                </c:pt>
                <c:pt idx="1565">
                  <c:v>2.9762784796242E-2</c:v>
                </c:pt>
                <c:pt idx="1566">
                  <c:v>2.9762396064275901E-2</c:v>
                </c:pt>
                <c:pt idx="1567">
                  <c:v>2.9895681154474898E-2</c:v>
                </c:pt>
                <c:pt idx="1568">
                  <c:v>2.9824423747304801E-2</c:v>
                </c:pt>
                <c:pt idx="1569">
                  <c:v>3.0019650982306498E-2</c:v>
                </c:pt>
                <c:pt idx="1570">
                  <c:v>2.9996960498944E-2</c:v>
                </c:pt>
                <c:pt idx="1571">
                  <c:v>3.0051184231462202E-2</c:v>
                </c:pt>
                <c:pt idx="1572">
                  <c:v>3.0055050049806999E-2</c:v>
                </c:pt>
                <c:pt idx="1573">
                  <c:v>3.0187051400305899E-2</c:v>
                </c:pt>
                <c:pt idx="1574">
                  <c:v>3.0259287126322199E-2</c:v>
                </c:pt>
                <c:pt idx="1575">
                  <c:v>3.02510745982821E-2</c:v>
                </c:pt>
                <c:pt idx="1576">
                  <c:v>3.0221371548384598E-2</c:v>
                </c:pt>
                <c:pt idx="1577">
                  <c:v>3.0391330745532401E-2</c:v>
                </c:pt>
                <c:pt idx="1578">
                  <c:v>3.03343252947657E-2</c:v>
                </c:pt>
                <c:pt idx="1579">
                  <c:v>3.0415597488914502E-2</c:v>
                </c:pt>
                <c:pt idx="1580">
                  <c:v>3.0390572622140899E-2</c:v>
                </c:pt>
                <c:pt idx="1581">
                  <c:v>3.03724154786577E-2</c:v>
                </c:pt>
                <c:pt idx="1582">
                  <c:v>3.0371265631236901E-2</c:v>
                </c:pt>
                <c:pt idx="1583">
                  <c:v>3.0401818776167999E-2</c:v>
                </c:pt>
                <c:pt idx="1584">
                  <c:v>3.07337074284375E-2</c:v>
                </c:pt>
                <c:pt idx="1585">
                  <c:v>3.0840871090715601E-2</c:v>
                </c:pt>
                <c:pt idx="1586">
                  <c:v>3.0864923100689699E-2</c:v>
                </c:pt>
                <c:pt idx="1587">
                  <c:v>3.0921920163125401E-2</c:v>
                </c:pt>
                <c:pt idx="1588">
                  <c:v>3.0914643812278798E-2</c:v>
                </c:pt>
                <c:pt idx="1589">
                  <c:v>3.08845886228248E-2</c:v>
                </c:pt>
                <c:pt idx="1590">
                  <c:v>3.0892055797332101E-2</c:v>
                </c:pt>
                <c:pt idx="1591">
                  <c:v>3.10148972485998E-2</c:v>
                </c:pt>
                <c:pt idx="1592">
                  <c:v>3.1021772054525502E-2</c:v>
                </c:pt>
                <c:pt idx="1593">
                  <c:v>3.1055002853478501E-2</c:v>
                </c:pt>
                <c:pt idx="1594">
                  <c:v>3.1522226384245997E-2</c:v>
                </c:pt>
                <c:pt idx="1595">
                  <c:v>3.1524658890236097E-2</c:v>
                </c:pt>
                <c:pt idx="1596">
                  <c:v>3.1483899853973103E-2</c:v>
                </c:pt>
                <c:pt idx="1597">
                  <c:v>3.1610348522790203E-2</c:v>
                </c:pt>
                <c:pt idx="1598">
                  <c:v>3.1731789670132703E-2</c:v>
                </c:pt>
                <c:pt idx="1599">
                  <c:v>3.16224986640617E-2</c:v>
                </c:pt>
                <c:pt idx="1600">
                  <c:v>3.1597598603992097E-2</c:v>
                </c:pt>
                <c:pt idx="1601">
                  <c:v>3.1727676233216699E-2</c:v>
                </c:pt>
                <c:pt idx="1602">
                  <c:v>3.1712303920464001E-2</c:v>
                </c:pt>
                <c:pt idx="1603">
                  <c:v>3.16951604864667E-2</c:v>
                </c:pt>
                <c:pt idx="1604">
                  <c:v>3.1475616616927299E-2</c:v>
                </c:pt>
                <c:pt idx="1605">
                  <c:v>3.1466442301828303E-2</c:v>
                </c:pt>
                <c:pt idx="1606">
                  <c:v>3.1471016677598898E-2</c:v>
                </c:pt>
                <c:pt idx="1607">
                  <c:v>3.1482888721674603E-2</c:v>
                </c:pt>
                <c:pt idx="1608">
                  <c:v>3.1504089097095102E-2</c:v>
                </c:pt>
                <c:pt idx="1609">
                  <c:v>3.0977510806442302E-2</c:v>
                </c:pt>
                <c:pt idx="1610">
                  <c:v>3.0981690052400101E-2</c:v>
                </c:pt>
                <c:pt idx="1611">
                  <c:v>3.1149785564872599E-2</c:v>
                </c:pt>
                <c:pt idx="1612">
                  <c:v>3.11562858275811E-2</c:v>
                </c:pt>
                <c:pt idx="1613">
                  <c:v>3.1180067960500199E-2</c:v>
                </c:pt>
                <c:pt idx="1614">
                  <c:v>3.1289090771706302E-2</c:v>
                </c:pt>
                <c:pt idx="1615">
                  <c:v>3.1271015072609203E-2</c:v>
                </c:pt>
                <c:pt idx="1616">
                  <c:v>3.1322745340512798E-2</c:v>
                </c:pt>
                <c:pt idx="1617">
                  <c:v>3.1353932403238798E-2</c:v>
                </c:pt>
                <c:pt idx="1618">
                  <c:v>3.1391317375672897E-2</c:v>
                </c:pt>
                <c:pt idx="1619">
                  <c:v>3.1302309079500198E-2</c:v>
                </c:pt>
                <c:pt idx="1620">
                  <c:v>3.1317000630972099E-2</c:v>
                </c:pt>
                <c:pt idx="1621">
                  <c:v>3.1243052442206501E-2</c:v>
                </c:pt>
                <c:pt idx="1622">
                  <c:v>3.1296240830772301E-2</c:v>
                </c:pt>
                <c:pt idx="1623">
                  <c:v>3.1281762796521402E-2</c:v>
                </c:pt>
                <c:pt idx="1624">
                  <c:v>3.1228311709570099E-2</c:v>
                </c:pt>
                <c:pt idx="1625">
                  <c:v>3.13610484215706E-2</c:v>
                </c:pt>
                <c:pt idx="1626">
                  <c:v>3.1371401053384498E-2</c:v>
                </c:pt>
                <c:pt idx="1627">
                  <c:v>3.1350618446364303E-2</c:v>
                </c:pt>
                <c:pt idx="1628">
                  <c:v>3.1344062683434398E-2</c:v>
                </c:pt>
                <c:pt idx="1629">
                  <c:v>3.12308402773297E-2</c:v>
                </c:pt>
                <c:pt idx="1630">
                  <c:v>3.12315258820949E-2</c:v>
                </c:pt>
                <c:pt idx="1631">
                  <c:v>3.1179821164298901E-2</c:v>
                </c:pt>
                <c:pt idx="1632">
                  <c:v>3.1266459105542398E-2</c:v>
                </c:pt>
                <c:pt idx="1633">
                  <c:v>3.1363013034530603E-2</c:v>
                </c:pt>
                <c:pt idx="1634">
                  <c:v>3.1209893044125098E-2</c:v>
                </c:pt>
                <c:pt idx="1635">
                  <c:v>3.1048805495059902E-2</c:v>
                </c:pt>
                <c:pt idx="1636">
                  <c:v>3.0973656997829599E-2</c:v>
                </c:pt>
                <c:pt idx="1637">
                  <c:v>3.08911204835083E-2</c:v>
                </c:pt>
                <c:pt idx="1638">
                  <c:v>3.0909515681875999E-2</c:v>
                </c:pt>
                <c:pt idx="1639">
                  <c:v>3.0928651872011902E-2</c:v>
                </c:pt>
                <c:pt idx="1640">
                  <c:v>3.0908777226977099E-2</c:v>
                </c:pt>
                <c:pt idx="1641">
                  <c:v>3.09432012359581E-2</c:v>
                </c:pt>
                <c:pt idx="1642">
                  <c:v>3.0830228776314701E-2</c:v>
                </c:pt>
                <c:pt idx="1643">
                  <c:v>3.0654300020350699E-2</c:v>
                </c:pt>
                <c:pt idx="1644">
                  <c:v>3.0581144964787799E-2</c:v>
                </c:pt>
                <c:pt idx="1645">
                  <c:v>3.0362923696059401E-2</c:v>
                </c:pt>
                <c:pt idx="1646">
                  <c:v>3.0359641217894601E-2</c:v>
                </c:pt>
                <c:pt idx="1647">
                  <c:v>3.0296151194389598E-2</c:v>
                </c:pt>
                <c:pt idx="1648">
                  <c:v>3.0108892700999399E-2</c:v>
                </c:pt>
                <c:pt idx="1649">
                  <c:v>3.01653393406787E-2</c:v>
                </c:pt>
                <c:pt idx="1650">
                  <c:v>2.9951624805182101E-2</c:v>
                </c:pt>
                <c:pt idx="1651">
                  <c:v>3.0063901756744001E-2</c:v>
                </c:pt>
                <c:pt idx="1652">
                  <c:v>3.0124119971673999E-2</c:v>
                </c:pt>
                <c:pt idx="1653">
                  <c:v>2.97858335988717E-2</c:v>
                </c:pt>
                <c:pt idx="1654">
                  <c:v>2.9767390989024801E-2</c:v>
                </c:pt>
                <c:pt idx="1655">
                  <c:v>2.97231763727028E-2</c:v>
                </c:pt>
                <c:pt idx="1656">
                  <c:v>2.9760700660934301E-2</c:v>
                </c:pt>
                <c:pt idx="1657">
                  <c:v>2.9734530016593302E-2</c:v>
                </c:pt>
                <c:pt idx="1658">
                  <c:v>2.9811787330419299E-2</c:v>
                </c:pt>
                <c:pt idx="1659">
                  <c:v>2.9974744077152501E-2</c:v>
                </c:pt>
                <c:pt idx="1660">
                  <c:v>2.97878356339767E-2</c:v>
                </c:pt>
                <c:pt idx="1661">
                  <c:v>2.9122349770783498E-2</c:v>
                </c:pt>
                <c:pt idx="1662">
                  <c:v>2.9192343569239401E-2</c:v>
                </c:pt>
                <c:pt idx="1663">
                  <c:v>2.93311739497784E-2</c:v>
                </c:pt>
                <c:pt idx="1664">
                  <c:v>2.93124802768924E-2</c:v>
                </c:pt>
                <c:pt idx="1665">
                  <c:v>2.9297613426246101E-2</c:v>
                </c:pt>
                <c:pt idx="1666">
                  <c:v>2.9268032839172502E-2</c:v>
                </c:pt>
                <c:pt idx="1667">
                  <c:v>2.9280283440239099E-2</c:v>
                </c:pt>
                <c:pt idx="1668">
                  <c:v>2.9107469439402602E-2</c:v>
                </c:pt>
                <c:pt idx="1669">
                  <c:v>2.9422611862590702E-2</c:v>
                </c:pt>
                <c:pt idx="1670">
                  <c:v>2.9426279238186599E-2</c:v>
                </c:pt>
                <c:pt idx="1671">
                  <c:v>2.94213059214685E-2</c:v>
                </c:pt>
                <c:pt idx="1672">
                  <c:v>2.95137654848832E-2</c:v>
                </c:pt>
                <c:pt idx="1673">
                  <c:v>2.9446343577791901E-2</c:v>
                </c:pt>
                <c:pt idx="1674">
                  <c:v>2.94482554574475E-2</c:v>
                </c:pt>
                <c:pt idx="1675">
                  <c:v>2.9448303240618701E-2</c:v>
                </c:pt>
                <c:pt idx="1676">
                  <c:v>2.94479296453534E-2</c:v>
                </c:pt>
                <c:pt idx="1677">
                  <c:v>2.9259312199030801E-2</c:v>
                </c:pt>
                <c:pt idx="1678">
                  <c:v>2.9341805859013598E-2</c:v>
                </c:pt>
                <c:pt idx="1679">
                  <c:v>2.9321774007329798E-2</c:v>
                </c:pt>
                <c:pt idx="1680">
                  <c:v>2.9363799529474901E-2</c:v>
                </c:pt>
                <c:pt idx="1681">
                  <c:v>2.9286957114730301E-2</c:v>
                </c:pt>
                <c:pt idx="1682">
                  <c:v>2.93440997759669E-2</c:v>
                </c:pt>
                <c:pt idx="1683">
                  <c:v>2.9273450064911902E-2</c:v>
                </c:pt>
                <c:pt idx="1684">
                  <c:v>2.9253155652267802E-2</c:v>
                </c:pt>
                <c:pt idx="1685">
                  <c:v>2.93435246193527E-2</c:v>
                </c:pt>
                <c:pt idx="1686">
                  <c:v>2.9348390488268199E-2</c:v>
                </c:pt>
                <c:pt idx="1687">
                  <c:v>2.9349550496811601E-2</c:v>
                </c:pt>
                <c:pt idx="1688">
                  <c:v>2.93355361496585E-2</c:v>
                </c:pt>
                <c:pt idx="1689">
                  <c:v>2.9356508017158198E-2</c:v>
                </c:pt>
                <c:pt idx="1690">
                  <c:v>2.93679438491916E-2</c:v>
                </c:pt>
                <c:pt idx="1691">
                  <c:v>2.87689972033984E-2</c:v>
                </c:pt>
                <c:pt idx="1692">
                  <c:v>2.8735725994848998E-2</c:v>
                </c:pt>
                <c:pt idx="1693">
                  <c:v>2.8834158993836401E-2</c:v>
                </c:pt>
                <c:pt idx="1694">
                  <c:v>2.8757452783253201E-2</c:v>
                </c:pt>
                <c:pt idx="1695">
                  <c:v>2.8836342706701601E-2</c:v>
                </c:pt>
                <c:pt idx="1696">
                  <c:v>2.8763872526260399E-2</c:v>
                </c:pt>
                <c:pt idx="1697">
                  <c:v>2.8537927015868901E-2</c:v>
                </c:pt>
                <c:pt idx="1698">
                  <c:v>2.8034679446048E-2</c:v>
                </c:pt>
                <c:pt idx="1699">
                  <c:v>2.7966973036791101E-2</c:v>
                </c:pt>
                <c:pt idx="1700">
                  <c:v>2.7943752230347601E-2</c:v>
                </c:pt>
                <c:pt idx="1701">
                  <c:v>2.7940982863563099E-2</c:v>
                </c:pt>
                <c:pt idx="1702">
                  <c:v>2.7802980778151899E-2</c:v>
                </c:pt>
                <c:pt idx="1703">
                  <c:v>2.7925591045907399E-2</c:v>
                </c:pt>
                <c:pt idx="1704">
                  <c:v>2.76433722276903E-2</c:v>
                </c:pt>
                <c:pt idx="1705">
                  <c:v>2.7642467954186199E-2</c:v>
                </c:pt>
                <c:pt idx="1706">
                  <c:v>2.75876750314165E-2</c:v>
                </c:pt>
                <c:pt idx="1707">
                  <c:v>2.7588154167933601E-2</c:v>
                </c:pt>
                <c:pt idx="1708">
                  <c:v>2.7647932264980302E-2</c:v>
                </c:pt>
                <c:pt idx="1709">
                  <c:v>2.7648436128430699E-2</c:v>
                </c:pt>
                <c:pt idx="1710">
                  <c:v>2.7525725501631501E-2</c:v>
                </c:pt>
                <c:pt idx="1711">
                  <c:v>2.75236376894126E-2</c:v>
                </c:pt>
                <c:pt idx="1712">
                  <c:v>2.7405282118774001E-2</c:v>
                </c:pt>
                <c:pt idx="1713">
                  <c:v>2.7388865227107401E-2</c:v>
                </c:pt>
                <c:pt idx="1714">
                  <c:v>2.7391293981961301E-2</c:v>
                </c:pt>
                <c:pt idx="1715">
                  <c:v>2.74332640849035E-2</c:v>
                </c:pt>
                <c:pt idx="1716">
                  <c:v>2.7321645576285299E-2</c:v>
                </c:pt>
                <c:pt idx="1717">
                  <c:v>2.7193544302420401E-2</c:v>
                </c:pt>
                <c:pt idx="1718">
                  <c:v>2.71894918196065E-2</c:v>
                </c:pt>
                <c:pt idx="1719">
                  <c:v>2.70751921496118E-2</c:v>
                </c:pt>
                <c:pt idx="1720">
                  <c:v>2.69734661176536E-2</c:v>
                </c:pt>
                <c:pt idx="1721">
                  <c:v>2.6983526517101501E-2</c:v>
                </c:pt>
                <c:pt idx="1722">
                  <c:v>2.6987005962233801E-2</c:v>
                </c:pt>
                <c:pt idx="1723">
                  <c:v>2.6935960104506999E-2</c:v>
                </c:pt>
                <c:pt idx="1724">
                  <c:v>2.6922174256279598E-2</c:v>
                </c:pt>
                <c:pt idx="1725">
                  <c:v>2.6918743703498699E-2</c:v>
                </c:pt>
                <c:pt idx="1726">
                  <c:v>2.6899638969595002E-2</c:v>
                </c:pt>
                <c:pt idx="1727">
                  <c:v>2.6915591865245499E-2</c:v>
                </c:pt>
                <c:pt idx="1728">
                  <c:v>2.6959104206105599E-2</c:v>
                </c:pt>
                <c:pt idx="1729">
                  <c:v>2.69449455973866E-2</c:v>
                </c:pt>
                <c:pt idx="1730">
                  <c:v>2.6950352205186899E-2</c:v>
                </c:pt>
                <c:pt idx="1731">
                  <c:v>2.6889350667518099E-2</c:v>
                </c:pt>
                <c:pt idx="1732">
                  <c:v>2.68881060577826E-2</c:v>
                </c:pt>
                <c:pt idx="1733">
                  <c:v>2.6888730116528599E-2</c:v>
                </c:pt>
                <c:pt idx="1734">
                  <c:v>2.66636371360853E-2</c:v>
                </c:pt>
                <c:pt idx="1735">
                  <c:v>2.6393164990721502E-2</c:v>
                </c:pt>
                <c:pt idx="1736">
                  <c:v>2.63998217868541E-2</c:v>
                </c:pt>
                <c:pt idx="1737">
                  <c:v>2.6436965972001601E-2</c:v>
                </c:pt>
                <c:pt idx="1738">
                  <c:v>2.6472836876121099E-2</c:v>
                </c:pt>
                <c:pt idx="1739">
                  <c:v>2.64734486384651E-2</c:v>
                </c:pt>
                <c:pt idx="1740">
                  <c:v>2.6180229919324199E-2</c:v>
                </c:pt>
                <c:pt idx="1741">
                  <c:v>2.61812799064969E-2</c:v>
                </c:pt>
                <c:pt idx="1742">
                  <c:v>2.5647340333946101E-2</c:v>
                </c:pt>
                <c:pt idx="1743">
                  <c:v>2.5514172056547199E-2</c:v>
                </c:pt>
                <c:pt idx="1744">
                  <c:v>2.54847088756779E-2</c:v>
                </c:pt>
                <c:pt idx="1745">
                  <c:v>2.5494824882202699E-2</c:v>
                </c:pt>
                <c:pt idx="1746">
                  <c:v>2.54031608871115E-2</c:v>
                </c:pt>
                <c:pt idx="1747">
                  <c:v>2.5401813527540201E-2</c:v>
                </c:pt>
                <c:pt idx="1748">
                  <c:v>2.5422657340140101E-2</c:v>
                </c:pt>
                <c:pt idx="1749">
                  <c:v>2.53774733188314E-2</c:v>
                </c:pt>
                <c:pt idx="1750">
                  <c:v>2.5287084895538301E-2</c:v>
                </c:pt>
                <c:pt idx="1751">
                  <c:v>2.52865957657872E-2</c:v>
                </c:pt>
                <c:pt idx="1752">
                  <c:v>2.52630891463154E-2</c:v>
                </c:pt>
                <c:pt idx="1753">
                  <c:v>2.5277910867553099E-2</c:v>
                </c:pt>
                <c:pt idx="1754">
                  <c:v>2.5186972225716801E-2</c:v>
                </c:pt>
                <c:pt idx="1755">
                  <c:v>2.5105353353071701E-2</c:v>
                </c:pt>
                <c:pt idx="1756">
                  <c:v>2.5115610850430702E-2</c:v>
                </c:pt>
                <c:pt idx="1757">
                  <c:v>2.51158874542785E-2</c:v>
                </c:pt>
                <c:pt idx="1758">
                  <c:v>2.5003401102813402E-2</c:v>
                </c:pt>
                <c:pt idx="1759">
                  <c:v>2.5066262551071E-2</c:v>
                </c:pt>
                <c:pt idx="1760">
                  <c:v>2.4908271498617001E-2</c:v>
                </c:pt>
                <c:pt idx="1761">
                  <c:v>2.4752171545007199E-2</c:v>
                </c:pt>
                <c:pt idx="1762">
                  <c:v>2.4710532268962599E-2</c:v>
                </c:pt>
                <c:pt idx="1763">
                  <c:v>2.3970476020438499E-2</c:v>
                </c:pt>
                <c:pt idx="1764">
                  <c:v>2.3616727464176802E-2</c:v>
                </c:pt>
                <c:pt idx="1765">
                  <c:v>2.34624009096134E-2</c:v>
                </c:pt>
                <c:pt idx="1766">
                  <c:v>2.3470363748726401E-2</c:v>
                </c:pt>
                <c:pt idx="1767">
                  <c:v>2.3329651387301701E-2</c:v>
                </c:pt>
                <c:pt idx="1768">
                  <c:v>2.3359994509327402E-2</c:v>
                </c:pt>
                <c:pt idx="1769">
                  <c:v>2.3028799641784899E-2</c:v>
                </c:pt>
                <c:pt idx="1770">
                  <c:v>2.33522671286947E-2</c:v>
                </c:pt>
                <c:pt idx="1771">
                  <c:v>2.32043005159644E-2</c:v>
                </c:pt>
                <c:pt idx="1772">
                  <c:v>2.3236514019663899E-2</c:v>
                </c:pt>
                <c:pt idx="1773">
                  <c:v>2.2992459954869E-2</c:v>
                </c:pt>
                <c:pt idx="1774">
                  <c:v>2.2843455413992599E-2</c:v>
                </c:pt>
                <c:pt idx="1775">
                  <c:v>2.27755439503214E-2</c:v>
                </c:pt>
                <c:pt idx="1776">
                  <c:v>2.2819599099992E-2</c:v>
                </c:pt>
                <c:pt idx="1777">
                  <c:v>2.2626991878759099E-2</c:v>
                </c:pt>
                <c:pt idx="1778">
                  <c:v>2.2630075860887899E-2</c:v>
                </c:pt>
                <c:pt idx="1779">
                  <c:v>2.2524397708068598E-2</c:v>
                </c:pt>
                <c:pt idx="1780">
                  <c:v>2.2774565755035101E-2</c:v>
                </c:pt>
                <c:pt idx="1781">
                  <c:v>2.2692259936279401E-2</c:v>
                </c:pt>
                <c:pt idx="1782">
                  <c:v>2.2801145796880098E-2</c:v>
                </c:pt>
                <c:pt idx="1783">
                  <c:v>2.31618722688938E-2</c:v>
                </c:pt>
                <c:pt idx="1784">
                  <c:v>2.2515784047576301E-2</c:v>
                </c:pt>
                <c:pt idx="1785">
                  <c:v>2.2755592119271601E-2</c:v>
                </c:pt>
                <c:pt idx="1786">
                  <c:v>2.2816314691650599E-2</c:v>
                </c:pt>
                <c:pt idx="1787">
                  <c:v>2.2797211365382101E-2</c:v>
                </c:pt>
                <c:pt idx="1788">
                  <c:v>2.2738963987849501E-2</c:v>
                </c:pt>
                <c:pt idx="1789">
                  <c:v>2.2914642887440301E-2</c:v>
                </c:pt>
                <c:pt idx="1790">
                  <c:v>2.2905690206401E-2</c:v>
                </c:pt>
                <c:pt idx="1791">
                  <c:v>2.27774940592263E-2</c:v>
                </c:pt>
                <c:pt idx="1792">
                  <c:v>2.2853491540321701E-2</c:v>
                </c:pt>
                <c:pt idx="1793">
                  <c:v>2.3467942733227699E-2</c:v>
                </c:pt>
                <c:pt idx="1794">
                  <c:v>2.2956675639917701E-2</c:v>
                </c:pt>
                <c:pt idx="1795">
                  <c:v>2.2957991579949402E-2</c:v>
                </c:pt>
                <c:pt idx="1796">
                  <c:v>2.3239881790840002E-2</c:v>
                </c:pt>
                <c:pt idx="1797">
                  <c:v>2.30967821663682E-2</c:v>
                </c:pt>
                <c:pt idx="1798">
                  <c:v>2.29747969134791E-2</c:v>
                </c:pt>
                <c:pt idx="1799">
                  <c:v>2.29709980518472E-2</c:v>
                </c:pt>
                <c:pt idx="1800">
                  <c:v>2.2269564344252799E-2</c:v>
                </c:pt>
                <c:pt idx="1801">
                  <c:v>2.19157177688632E-2</c:v>
                </c:pt>
                <c:pt idx="1802">
                  <c:v>2.19464201677078E-2</c:v>
                </c:pt>
                <c:pt idx="1803">
                  <c:v>2.1961092440647399E-2</c:v>
                </c:pt>
                <c:pt idx="1804">
                  <c:v>2.17064328748875E-2</c:v>
                </c:pt>
                <c:pt idx="1805">
                  <c:v>2.17351008937182E-2</c:v>
                </c:pt>
                <c:pt idx="1806">
                  <c:v>2.17637983315273E-2</c:v>
                </c:pt>
                <c:pt idx="1807">
                  <c:v>2.1929782239309002E-2</c:v>
                </c:pt>
                <c:pt idx="1808">
                  <c:v>2.1859977521830699E-2</c:v>
                </c:pt>
                <c:pt idx="1809">
                  <c:v>2.1915843620103102E-2</c:v>
                </c:pt>
                <c:pt idx="1810">
                  <c:v>2.1989992827892001E-2</c:v>
                </c:pt>
                <c:pt idx="1811">
                  <c:v>2.1793434137966802E-2</c:v>
                </c:pt>
                <c:pt idx="1812">
                  <c:v>2.1783932531655802E-2</c:v>
                </c:pt>
                <c:pt idx="1813">
                  <c:v>2.1871604865089201E-2</c:v>
                </c:pt>
                <c:pt idx="1814">
                  <c:v>2.1705461573214801E-2</c:v>
                </c:pt>
                <c:pt idx="1815">
                  <c:v>2.1623704099956099E-2</c:v>
                </c:pt>
                <c:pt idx="1816">
                  <c:v>2.18359936080737E-2</c:v>
                </c:pt>
                <c:pt idx="1817">
                  <c:v>2.1760491992738499E-2</c:v>
                </c:pt>
                <c:pt idx="1818">
                  <c:v>2.15412407221524E-2</c:v>
                </c:pt>
                <c:pt idx="1819">
                  <c:v>2.1543316397934002E-2</c:v>
                </c:pt>
                <c:pt idx="1820">
                  <c:v>2.1537235753866499E-2</c:v>
                </c:pt>
                <c:pt idx="1821">
                  <c:v>2.1537471581027302E-2</c:v>
                </c:pt>
                <c:pt idx="1822">
                  <c:v>2.1562897363865099E-2</c:v>
                </c:pt>
                <c:pt idx="1823">
                  <c:v>2.1579486738375599E-2</c:v>
                </c:pt>
                <c:pt idx="1824">
                  <c:v>2.15380071405714E-2</c:v>
                </c:pt>
                <c:pt idx="1825">
                  <c:v>2.1220680224549999E-2</c:v>
                </c:pt>
                <c:pt idx="1826">
                  <c:v>2.1207828041972802E-2</c:v>
                </c:pt>
                <c:pt idx="1827">
                  <c:v>2.1192559292592401E-2</c:v>
                </c:pt>
                <c:pt idx="1828">
                  <c:v>2.1310836916706301E-2</c:v>
                </c:pt>
                <c:pt idx="1829">
                  <c:v>2.1305561010130501E-2</c:v>
                </c:pt>
                <c:pt idx="1830">
                  <c:v>2.1372722320865199E-2</c:v>
                </c:pt>
                <c:pt idx="1831">
                  <c:v>2.13634027208832E-2</c:v>
                </c:pt>
                <c:pt idx="1832">
                  <c:v>2.13518086234376E-2</c:v>
                </c:pt>
                <c:pt idx="1833">
                  <c:v>2.1267631413406901E-2</c:v>
                </c:pt>
                <c:pt idx="1834">
                  <c:v>2.12590460577891E-2</c:v>
                </c:pt>
                <c:pt idx="1835">
                  <c:v>2.118151352514E-2</c:v>
                </c:pt>
                <c:pt idx="1836">
                  <c:v>2.1162266887264001E-2</c:v>
                </c:pt>
                <c:pt idx="1837">
                  <c:v>2.1161944388531102E-2</c:v>
                </c:pt>
                <c:pt idx="1838">
                  <c:v>2.1078472529966401E-2</c:v>
                </c:pt>
                <c:pt idx="1839">
                  <c:v>2.09067102708566E-2</c:v>
                </c:pt>
                <c:pt idx="1840">
                  <c:v>2.0905893514697401E-2</c:v>
                </c:pt>
                <c:pt idx="1841">
                  <c:v>2.08794314911558E-2</c:v>
                </c:pt>
                <c:pt idx="1842">
                  <c:v>2.0959389297629399E-2</c:v>
                </c:pt>
                <c:pt idx="1843">
                  <c:v>2.09586212097491E-2</c:v>
                </c:pt>
                <c:pt idx="1844">
                  <c:v>2.09567313362524E-2</c:v>
                </c:pt>
                <c:pt idx="1845">
                  <c:v>2.0948440892511799E-2</c:v>
                </c:pt>
                <c:pt idx="1846">
                  <c:v>2.09436985340056E-2</c:v>
                </c:pt>
                <c:pt idx="1847">
                  <c:v>2.0939085814873099E-2</c:v>
                </c:pt>
                <c:pt idx="1848">
                  <c:v>2.1029597076896198E-2</c:v>
                </c:pt>
                <c:pt idx="1849">
                  <c:v>2.1007410684549001E-2</c:v>
                </c:pt>
                <c:pt idx="1850">
                  <c:v>2.1215758960622201E-2</c:v>
                </c:pt>
                <c:pt idx="1851">
                  <c:v>2.11763430699413E-2</c:v>
                </c:pt>
                <c:pt idx="1852">
                  <c:v>2.1255763894845101E-2</c:v>
                </c:pt>
                <c:pt idx="1853">
                  <c:v>2.12581363248339E-2</c:v>
                </c:pt>
                <c:pt idx="1854">
                  <c:v>2.1265785416218499E-2</c:v>
                </c:pt>
                <c:pt idx="1855">
                  <c:v>2.12606729385631E-2</c:v>
                </c:pt>
                <c:pt idx="1856">
                  <c:v>2.11569028467967E-2</c:v>
                </c:pt>
                <c:pt idx="1857">
                  <c:v>2.10915046645394E-2</c:v>
                </c:pt>
                <c:pt idx="1858">
                  <c:v>2.0979600550019999E-2</c:v>
                </c:pt>
                <c:pt idx="1859">
                  <c:v>2.07447305353794E-2</c:v>
                </c:pt>
                <c:pt idx="1860">
                  <c:v>2.0739744141891801E-2</c:v>
                </c:pt>
                <c:pt idx="1861">
                  <c:v>2.0703050278760501E-2</c:v>
                </c:pt>
                <c:pt idx="1862">
                  <c:v>2.0630995527572499E-2</c:v>
                </c:pt>
                <c:pt idx="1863">
                  <c:v>2.0358800523330702E-2</c:v>
                </c:pt>
                <c:pt idx="1864">
                  <c:v>2.0367608193398098E-2</c:v>
                </c:pt>
                <c:pt idx="1865">
                  <c:v>2.00970487166988E-2</c:v>
                </c:pt>
                <c:pt idx="1866">
                  <c:v>2.0115558173675701E-2</c:v>
                </c:pt>
                <c:pt idx="1867">
                  <c:v>2.0105624752530499E-2</c:v>
                </c:pt>
                <c:pt idx="1868">
                  <c:v>2.01933333051636E-2</c:v>
                </c:pt>
                <c:pt idx="1869">
                  <c:v>1.97066199710864E-2</c:v>
                </c:pt>
                <c:pt idx="1870">
                  <c:v>1.9802581864042001E-2</c:v>
                </c:pt>
                <c:pt idx="1871">
                  <c:v>1.9794618317962E-2</c:v>
                </c:pt>
                <c:pt idx="1872">
                  <c:v>1.9617510052518002E-2</c:v>
                </c:pt>
                <c:pt idx="1873">
                  <c:v>1.9591020540229299E-2</c:v>
                </c:pt>
                <c:pt idx="1874">
                  <c:v>1.95999879097489E-2</c:v>
                </c:pt>
                <c:pt idx="1875">
                  <c:v>1.9598109701639801E-2</c:v>
                </c:pt>
                <c:pt idx="1876">
                  <c:v>1.96160214459517E-2</c:v>
                </c:pt>
                <c:pt idx="1877">
                  <c:v>1.9595404643112699E-2</c:v>
                </c:pt>
                <c:pt idx="1878">
                  <c:v>1.94629397214553E-2</c:v>
                </c:pt>
                <c:pt idx="1879">
                  <c:v>1.95251130237378E-2</c:v>
                </c:pt>
                <c:pt idx="1880">
                  <c:v>1.9477510960635699E-2</c:v>
                </c:pt>
                <c:pt idx="1881">
                  <c:v>1.9476552122778299E-2</c:v>
                </c:pt>
                <c:pt idx="1882">
                  <c:v>1.94316488751934E-2</c:v>
                </c:pt>
                <c:pt idx="1883">
                  <c:v>1.9583345040205299E-2</c:v>
                </c:pt>
                <c:pt idx="1884">
                  <c:v>1.9537036992801599E-2</c:v>
                </c:pt>
                <c:pt idx="1885">
                  <c:v>1.9418569404904801E-2</c:v>
                </c:pt>
                <c:pt idx="1886">
                  <c:v>1.94154524525392E-2</c:v>
                </c:pt>
                <c:pt idx="1887">
                  <c:v>1.9408178856864799E-2</c:v>
                </c:pt>
                <c:pt idx="1888">
                  <c:v>1.9552958549303501E-2</c:v>
                </c:pt>
                <c:pt idx="1889">
                  <c:v>1.9526807965638701E-2</c:v>
                </c:pt>
                <c:pt idx="1890">
                  <c:v>1.9539814887560701E-2</c:v>
                </c:pt>
                <c:pt idx="1891">
                  <c:v>1.9558951437047299E-2</c:v>
                </c:pt>
                <c:pt idx="1892">
                  <c:v>1.96532564684644E-2</c:v>
                </c:pt>
                <c:pt idx="1893">
                  <c:v>1.9478301672577501E-2</c:v>
                </c:pt>
                <c:pt idx="1894">
                  <c:v>1.9452858182558101E-2</c:v>
                </c:pt>
                <c:pt idx="1895">
                  <c:v>1.9341922512128601E-2</c:v>
                </c:pt>
                <c:pt idx="1896">
                  <c:v>1.9315643542849901E-2</c:v>
                </c:pt>
                <c:pt idx="1897">
                  <c:v>1.9310725022583498E-2</c:v>
                </c:pt>
                <c:pt idx="1898">
                  <c:v>1.93950322388774E-2</c:v>
                </c:pt>
                <c:pt idx="1899">
                  <c:v>1.93976858973125E-2</c:v>
                </c:pt>
                <c:pt idx="1900">
                  <c:v>1.9430242305527201E-2</c:v>
                </c:pt>
                <c:pt idx="1901">
                  <c:v>1.93763426776111E-2</c:v>
                </c:pt>
                <c:pt idx="1902">
                  <c:v>1.9358350941304E-2</c:v>
                </c:pt>
                <c:pt idx="1903">
                  <c:v>1.9185034588463299E-2</c:v>
                </c:pt>
                <c:pt idx="1904">
                  <c:v>1.9181036348853198E-2</c:v>
                </c:pt>
                <c:pt idx="1905">
                  <c:v>1.9179402360409499E-2</c:v>
                </c:pt>
                <c:pt idx="1906">
                  <c:v>1.91056068186338E-2</c:v>
                </c:pt>
                <c:pt idx="1907">
                  <c:v>1.9124513113490098E-2</c:v>
                </c:pt>
                <c:pt idx="1908">
                  <c:v>1.9005703154365498E-2</c:v>
                </c:pt>
                <c:pt idx="1909">
                  <c:v>1.9025507995206199E-2</c:v>
                </c:pt>
                <c:pt idx="1910">
                  <c:v>1.8881762423406698E-2</c:v>
                </c:pt>
                <c:pt idx="1911">
                  <c:v>1.88990067052161E-2</c:v>
                </c:pt>
                <c:pt idx="1912">
                  <c:v>1.8880152508820601E-2</c:v>
                </c:pt>
                <c:pt idx="1913">
                  <c:v>1.8885357600611299E-2</c:v>
                </c:pt>
                <c:pt idx="1914">
                  <c:v>1.89719549820625E-2</c:v>
                </c:pt>
                <c:pt idx="1915">
                  <c:v>1.8896004840188701E-2</c:v>
                </c:pt>
                <c:pt idx="1916">
                  <c:v>1.8838002734285899E-2</c:v>
                </c:pt>
                <c:pt idx="1917">
                  <c:v>1.8832423517676399E-2</c:v>
                </c:pt>
                <c:pt idx="1918">
                  <c:v>1.8833135331758299E-2</c:v>
                </c:pt>
                <c:pt idx="1919">
                  <c:v>1.8833495914504901E-2</c:v>
                </c:pt>
                <c:pt idx="1920">
                  <c:v>1.8857546577293102E-2</c:v>
                </c:pt>
                <c:pt idx="1921">
                  <c:v>1.8879702230155501E-2</c:v>
                </c:pt>
                <c:pt idx="1922">
                  <c:v>1.8870383673456299E-2</c:v>
                </c:pt>
                <c:pt idx="1923">
                  <c:v>1.8855511146079699E-2</c:v>
                </c:pt>
                <c:pt idx="1924">
                  <c:v>1.8854136639153401E-2</c:v>
                </c:pt>
                <c:pt idx="1925">
                  <c:v>1.8859285233661802E-2</c:v>
                </c:pt>
                <c:pt idx="1926">
                  <c:v>1.8837221211437299E-2</c:v>
                </c:pt>
                <c:pt idx="1927">
                  <c:v>1.8823443341209702E-2</c:v>
                </c:pt>
                <c:pt idx="1928">
                  <c:v>1.8665348715939601E-2</c:v>
                </c:pt>
                <c:pt idx="1929">
                  <c:v>1.8696251773112502E-2</c:v>
                </c:pt>
                <c:pt idx="1930">
                  <c:v>1.8636587708267299E-2</c:v>
                </c:pt>
                <c:pt idx="1931">
                  <c:v>1.8715516332439799E-2</c:v>
                </c:pt>
                <c:pt idx="1932">
                  <c:v>1.8711784254268799E-2</c:v>
                </c:pt>
                <c:pt idx="1933">
                  <c:v>1.8717442551499298E-2</c:v>
                </c:pt>
                <c:pt idx="1934">
                  <c:v>1.87388743991138E-2</c:v>
                </c:pt>
                <c:pt idx="1935">
                  <c:v>1.8729786928978202E-2</c:v>
                </c:pt>
                <c:pt idx="1936">
                  <c:v>1.8716397918322799E-2</c:v>
                </c:pt>
                <c:pt idx="1937">
                  <c:v>1.86697805556118E-2</c:v>
                </c:pt>
                <c:pt idx="1938">
                  <c:v>1.86388974984938E-2</c:v>
                </c:pt>
                <c:pt idx="1939">
                  <c:v>1.8649123105935399E-2</c:v>
                </c:pt>
                <c:pt idx="1940">
                  <c:v>1.8625386689388099E-2</c:v>
                </c:pt>
                <c:pt idx="1941">
                  <c:v>1.86129438108588E-2</c:v>
                </c:pt>
                <c:pt idx="1942">
                  <c:v>1.8607847908600102E-2</c:v>
                </c:pt>
                <c:pt idx="1943">
                  <c:v>1.8609197531563398E-2</c:v>
                </c:pt>
                <c:pt idx="1944">
                  <c:v>1.86279294548489E-2</c:v>
                </c:pt>
                <c:pt idx="1945">
                  <c:v>1.9018841666676899E-2</c:v>
                </c:pt>
                <c:pt idx="1946">
                  <c:v>1.9018857774678301E-2</c:v>
                </c:pt>
                <c:pt idx="1947">
                  <c:v>1.9068292735009099E-2</c:v>
                </c:pt>
                <c:pt idx="1948">
                  <c:v>1.9049520631905001E-2</c:v>
                </c:pt>
                <c:pt idx="1949">
                  <c:v>1.9048847207018101E-2</c:v>
                </c:pt>
                <c:pt idx="1950">
                  <c:v>1.8987090248366801E-2</c:v>
                </c:pt>
                <c:pt idx="1951">
                  <c:v>1.9015044757240199E-2</c:v>
                </c:pt>
                <c:pt idx="1952">
                  <c:v>1.8991021615511999E-2</c:v>
                </c:pt>
                <c:pt idx="1953">
                  <c:v>1.89807703176838E-2</c:v>
                </c:pt>
                <c:pt idx="1954">
                  <c:v>1.8969264542784799E-2</c:v>
                </c:pt>
                <c:pt idx="1955">
                  <c:v>1.89980184239225E-2</c:v>
                </c:pt>
                <c:pt idx="1956">
                  <c:v>1.89785610899952E-2</c:v>
                </c:pt>
                <c:pt idx="1957">
                  <c:v>1.9260820208263099E-2</c:v>
                </c:pt>
                <c:pt idx="1958">
                  <c:v>1.93000385785921E-2</c:v>
                </c:pt>
                <c:pt idx="1959">
                  <c:v>1.9203996501599801E-2</c:v>
                </c:pt>
                <c:pt idx="1960">
                  <c:v>1.9233290471525302E-2</c:v>
                </c:pt>
                <c:pt idx="1961">
                  <c:v>1.9238711346453202E-2</c:v>
                </c:pt>
                <c:pt idx="1962">
                  <c:v>1.9315872754922699E-2</c:v>
                </c:pt>
                <c:pt idx="1963">
                  <c:v>1.9261749043799799E-2</c:v>
                </c:pt>
                <c:pt idx="1964">
                  <c:v>1.9612232630121001E-2</c:v>
                </c:pt>
                <c:pt idx="1965">
                  <c:v>1.9622308964740199E-2</c:v>
                </c:pt>
                <c:pt idx="1966">
                  <c:v>1.95985096774881E-2</c:v>
                </c:pt>
                <c:pt idx="1967">
                  <c:v>1.9611992209924298E-2</c:v>
                </c:pt>
                <c:pt idx="1968">
                  <c:v>1.9587130868160899E-2</c:v>
                </c:pt>
                <c:pt idx="1969">
                  <c:v>1.97739062114357E-2</c:v>
                </c:pt>
                <c:pt idx="1970">
                  <c:v>1.9467732948145699E-2</c:v>
                </c:pt>
                <c:pt idx="1971">
                  <c:v>1.94028027522807E-2</c:v>
                </c:pt>
                <c:pt idx="1972">
                  <c:v>1.93381185779022E-2</c:v>
                </c:pt>
                <c:pt idx="1973">
                  <c:v>1.9308153380143099E-2</c:v>
                </c:pt>
                <c:pt idx="1974">
                  <c:v>1.9395080808190902E-2</c:v>
                </c:pt>
                <c:pt idx="1975">
                  <c:v>1.9391051681644799E-2</c:v>
                </c:pt>
                <c:pt idx="1976">
                  <c:v>1.9346759738412E-2</c:v>
                </c:pt>
                <c:pt idx="1977">
                  <c:v>1.92459037598505E-2</c:v>
                </c:pt>
                <c:pt idx="1978">
                  <c:v>1.9247979072246801E-2</c:v>
                </c:pt>
                <c:pt idx="1979">
                  <c:v>1.9280910158253398E-2</c:v>
                </c:pt>
                <c:pt idx="1980">
                  <c:v>1.9022416899348901E-2</c:v>
                </c:pt>
                <c:pt idx="1981">
                  <c:v>1.9126489616262898E-2</c:v>
                </c:pt>
                <c:pt idx="1982">
                  <c:v>1.9042523025304299E-2</c:v>
                </c:pt>
                <c:pt idx="1983">
                  <c:v>1.8527494104919998E-2</c:v>
                </c:pt>
                <c:pt idx="1984">
                  <c:v>1.8515493662995899E-2</c:v>
                </c:pt>
                <c:pt idx="1985">
                  <c:v>1.82069936061625E-2</c:v>
                </c:pt>
                <c:pt idx="1986">
                  <c:v>1.8090860929676399E-2</c:v>
                </c:pt>
                <c:pt idx="1987">
                  <c:v>1.8039375902784701E-2</c:v>
                </c:pt>
                <c:pt idx="1988">
                  <c:v>1.80382595269452E-2</c:v>
                </c:pt>
                <c:pt idx="1989">
                  <c:v>1.7845571660526301E-2</c:v>
                </c:pt>
                <c:pt idx="1990">
                  <c:v>1.7792818692632498E-2</c:v>
                </c:pt>
                <c:pt idx="1991">
                  <c:v>1.7795962380936801E-2</c:v>
                </c:pt>
                <c:pt idx="1992">
                  <c:v>1.7928824273378802E-2</c:v>
                </c:pt>
                <c:pt idx="1993">
                  <c:v>1.7180844799253199E-2</c:v>
                </c:pt>
                <c:pt idx="1994">
                  <c:v>1.720540463669E-2</c:v>
                </c:pt>
                <c:pt idx="1995">
                  <c:v>1.7164778965431001E-2</c:v>
                </c:pt>
                <c:pt idx="1996">
                  <c:v>1.6724652413211201E-2</c:v>
                </c:pt>
                <c:pt idx="1997">
                  <c:v>1.6776617841166599E-2</c:v>
                </c:pt>
                <c:pt idx="1998">
                  <c:v>1.6771597309300501E-2</c:v>
                </c:pt>
                <c:pt idx="1999">
                  <c:v>1.6697294478517099E-2</c:v>
                </c:pt>
                <c:pt idx="2000">
                  <c:v>1.68061104770314E-2</c:v>
                </c:pt>
                <c:pt idx="2001">
                  <c:v>1.6814431462585398E-2</c:v>
                </c:pt>
                <c:pt idx="2002">
                  <c:v>1.67575874737858E-2</c:v>
                </c:pt>
                <c:pt idx="2003">
                  <c:v>1.6719290791943599E-2</c:v>
                </c:pt>
                <c:pt idx="2004">
                  <c:v>1.67554358731399E-2</c:v>
                </c:pt>
                <c:pt idx="2005">
                  <c:v>1.67348411982098E-2</c:v>
                </c:pt>
                <c:pt idx="2006">
                  <c:v>1.6777854129804998E-2</c:v>
                </c:pt>
                <c:pt idx="2007">
                  <c:v>1.6660204914210899E-2</c:v>
                </c:pt>
                <c:pt idx="2008">
                  <c:v>1.6659569142262201E-2</c:v>
                </c:pt>
                <c:pt idx="2009">
                  <c:v>1.6599467807884901E-2</c:v>
                </c:pt>
                <c:pt idx="2010">
                  <c:v>1.6526782566097499E-2</c:v>
                </c:pt>
                <c:pt idx="2011">
                  <c:v>1.65259729532959E-2</c:v>
                </c:pt>
                <c:pt idx="2012">
                  <c:v>1.6522681209747699E-2</c:v>
                </c:pt>
                <c:pt idx="2013">
                  <c:v>1.64921763808498E-2</c:v>
                </c:pt>
                <c:pt idx="2014">
                  <c:v>1.6496202145074999E-2</c:v>
                </c:pt>
                <c:pt idx="2015">
                  <c:v>1.6478854537084801E-2</c:v>
                </c:pt>
                <c:pt idx="2016">
                  <c:v>1.6109176530509899E-2</c:v>
                </c:pt>
                <c:pt idx="2017">
                  <c:v>1.6154031642386799E-2</c:v>
                </c:pt>
                <c:pt idx="2018">
                  <c:v>1.6120396774693201E-2</c:v>
                </c:pt>
                <c:pt idx="2019">
                  <c:v>1.6117043412548E-2</c:v>
                </c:pt>
                <c:pt idx="2020">
                  <c:v>1.6158439528986799E-2</c:v>
                </c:pt>
                <c:pt idx="2021">
                  <c:v>1.61672465373656E-2</c:v>
                </c:pt>
                <c:pt idx="2022">
                  <c:v>1.6183182912431E-2</c:v>
                </c:pt>
                <c:pt idx="2023">
                  <c:v>1.61546141563353E-2</c:v>
                </c:pt>
                <c:pt idx="2024">
                  <c:v>1.6173253980182201E-2</c:v>
                </c:pt>
                <c:pt idx="2025">
                  <c:v>1.62015477229191E-2</c:v>
                </c:pt>
                <c:pt idx="2026">
                  <c:v>1.6225650798117101E-2</c:v>
                </c:pt>
                <c:pt idx="2027">
                  <c:v>1.62345465337181E-2</c:v>
                </c:pt>
                <c:pt idx="2028">
                  <c:v>1.6104852852419301E-2</c:v>
                </c:pt>
                <c:pt idx="2029">
                  <c:v>1.61080065881412E-2</c:v>
                </c:pt>
                <c:pt idx="2030">
                  <c:v>1.6070596357254201E-2</c:v>
                </c:pt>
                <c:pt idx="2031">
                  <c:v>1.6052336991950099E-2</c:v>
                </c:pt>
                <c:pt idx="2032">
                  <c:v>1.5871961404536401E-2</c:v>
                </c:pt>
                <c:pt idx="2033">
                  <c:v>1.5927859730576199E-2</c:v>
                </c:pt>
                <c:pt idx="2034">
                  <c:v>1.5923436844789699E-2</c:v>
                </c:pt>
                <c:pt idx="2035">
                  <c:v>1.5923381560173599E-2</c:v>
                </c:pt>
                <c:pt idx="2036">
                  <c:v>1.5983153735610701E-2</c:v>
                </c:pt>
                <c:pt idx="2037">
                  <c:v>1.5981435294462502E-2</c:v>
                </c:pt>
                <c:pt idx="2038">
                  <c:v>1.59848397392564E-2</c:v>
                </c:pt>
                <c:pt idx="2039">
                  <c:v>1.6014458064934099E-2</c:v>
                </c:pt>
                <c:pt idx="2040">
                  <c:v>1.6013780726030699E-2</c:v>
                </c:pt>
                <c:pt idx="2041">
                  <c:v>1.6067248399530401E-2</c:v>
                </c:pt>
                <c:pt idx="2042">
                  <c:v>1.5919428196797501E-2</c:v>
                </c:pt>
                <c:pt idx="2043">
                  <c:v>1.5918992385603702E-2</c:v>
                </c:pt>
                <c:pt idx="2044">
                  <c:v>1.5966467590204401E-2</c:v>
                </c:pt>
                <c:pt idx="2045">
                  <c:v>1.5964938343482601E-2</c:v>
                </c:pt>
                <c:pt idx="2046">
                  <c:v>1.5983808396309099E-2</c:v>
                </c:pt>
                <c:pt idx="2047">
                  <c:v>1.5967078902838199E-2</c:v>
                </c:pt>
                <c:pt idx="2048">
                  <c:v>1.5853568222230299E-2</c:v>
                </c:pt>
                <c:pt idx="2049">
                  <c:v>1.5815615246866199E-2</c:v>
                </c:pt>
                <c:pt idx="2050">
                  <c:v>1.5568559044575801E-2</c:v>
                </c:pt>
                <c:pt idx="2051">
                  <c:v>1.5432408711262601E-2</c:v>
                </c:pt>
                <c:pt idx="2052">
                  <c:v>1.5192388613900199E-2</c:v>
                </c:pt>
                <c:pt idx="2053">
                  <c:v>1.52063461361333E-2</c:v>
                </c:pt>
                <c:pt idx="2054">
                  <c:v>1.5194124437050699E-2</c:v>
                </c:pt>
                <c:pt idx="2055">
                  <c:v>1.51942153644872E-2</c:v>
                </c:pt>
                <c:pt idx="2056">
                  <c:v>1.52338271115339E-2</c:v>
                </c:pt>
                <c:pt idx="2057">
                  <c:v>1.54519961417164E-2</c:v>
                </c:pt>
                <c:pt idx="2058">
                  <c:v>1.5572087824451099E-2</c:v>
                </c:pt>
                <c:pt idx="2059">
                  <c:v>1.55439381704463E-2</c:v>
                </c:pt>
                <c:pt idx="2060">
                  <c:v>1.55705386336104E-2</c:v>
                </c:pt>
                <c:pt idx="2061">
                  <c:v>1.55715945007155E-2</c:v>
                </c:pt>
                <c:pt idx="2062">
                  <c:v>1.5717502088907299E-2</c:v>
                </c:pt>
                <c:pt idx="2063">
                  <c:v>1.5713769317883299E-2</c:v>
                </c:pt>
                <c:pt idx="2064">
                  <c:v>1.57793452073536E-2</c:v>
                </c:pt>
                <c:pt idx="2065">
                  <c:v>1.57038016624194E-2</c:v>
                </c:pt>
                <c:pt idx="2066">
                  <c:v>1.56048688025006E-2</c:v>
                </c:pt>
                <c:pt idx="2067">
                  <c:v>1.56047563534427E-2</c:v>
                </c:pt>
                <c:pt idx="2068">
                  <c:v>1.5627245209147898E-2</c:v>
                </c:pt>
                <c:pt idx="2069">
                  <c:v>1.56172697494732E-2</c:v>
                </c:pt>
                <c:pt idx="2070">
                  <c:v>1.5523998891154699E-2</c:v>
                </c:pt>
                <c:pt idx="2071">
                  <c:v>1.55218576637852E-2</c:v>
                </c:pt>
                <c:pt idx="2072">
                  <c:v>1.54865121694573E-2</c:v>
                </c:pt>
                <c:pt idx="2073">
                  <c:v>1.5599667805813599E-2</c:v>
                </c:pt>
                <c:pt idx="2074">
                  <c:v>1.55566964771421E-2</c:v>
                </c:pt>
                <c:pt idx="2075">
                  <c:v>1.55770652842667E-2</c:v>
                </c:pt>
                <c:pt idx="2076">
                  <c:v>1.56066073731033E-2</c:v>
                </c:pt>
                <c:pt idx="2077">
                  <c:v>1.56174002805587E-2</c:v>
                </c:pt>
                <c:pt idx="2078">
                  <c:v>1.5621103240585001E-2</c:v>
                </c:pt>
                <c:pt idx="2079">
                  <c:v>1.55640216527604E-2</c:v>
                </c:pt>
                <c:pt idx="2080">
                  <c:v>1.55712515395746E-2</c:v>
                </c:pt>
                <c:pt idx="2081">
                  <c:v>1.55727271061481E-2</c:v>
                </c:pt>
                <c:pt idx="2082">
                  <c:v>1.6184344882464299E-2</c:v>
                </c:pt>
                <c:pt idx="2083">
                  <c:v>1.6028149655032901E-2</c:v>
                </c:pt>
                <c:pt idx="2084">
                  <c:v>1.6304986866968699E-2</c:v>
                </c:pt>
                <c:pt idx="2085">
                  <c:v>1.6366011839884499E-2</c:v>
                </c:pt>
                <c:pt idx="2086">
                  <c:v>1.6393944177595501E-2</c:v>
                </c:pt>
                <c:pt idx="2087">
                  <c:v>1.6409200452845499E-2</c:v>
                </c:pt>
                <c:pt idx="2088">
                  <c:v>1.62486815359624E-2</c:v>
                </c:pt>
                <c:pt idx="2089">
                  <c:v>1.63086226816762E-2</c:v>
                </c:pt>
                <c:pt idx="2090">
                  <c:v>1.6364611511627401E-2</c:v>
                </c:pt>
                <c:pt idx="2091">
                  <c:v>1.6378735379486101E-2</c:v>
                </c:pt>
                <c:pt idx="2092">
                  <c:v>1.6288103046661201E-2</c:v>
                </c:pt>
                <c:pt idx="2093">
                  <c:v>1.62594987320787E-2</c:v>
                </c:pt>
                <c:pt idx="2094">
                  <c:v>1.63015870251421E-2</c:v>
                </c:pt>
                <c:pt idx="2095">
                  <c:v>1.6301529451582902E-2</c:v>
                </c:pt>
                <c:pt idx="2096">
                  <c:v>1.62671080535246E-2</c:v>
                </c:pt>
                <c:pt idx="2097">
                  <c:v>1.6266584342435102E-2</c:v>
                </c:pt>
                <c:pt idx="2098">
                  <c:v>1.6158186441051901E-2</c:v>
                </c:pt>
                <c:pt idx="2099">
                  <c:v>1.6174905981863601E-2</c:v>
                </c:pt>
                <c:pt idx="2100">
                  <c:v>1.6121125960898101E-2</c:v>
                </c:pt>
                <c:pt idx="2101">
                  <c:v>1.6158001619861299E-2</c:v>
                </c:pt>
                <c:pt idx="2102">
                  <c:v>1.6176360992274801E-2</c:v>
                </c:pt>
                <c:pt idx="2103">
                  <c:v>1.6292848906080501E-2</c:v>
                </c:pt>
                <c:pt idx="2104">
                  <c:v>1.6293271878778201E-2</c:v>
                </c:pt>
                <c:pt idx="2105">
                  <c:v>1.6286322602516001E-2</c:v>
                </c:pt>
                <c:pt idx="2106">
                  <c:v>1.6285839600761E-2</c:v>
                </c:pt>
                <c:pt idx="2107">
                  <c:v>1.6268165211307299E-2</c:v>
                </c:pt>
                <c:pt idx="2108">
                  <c:v>1.6269883992443501E-2</c:v>
                </c:pt>
                <c:pt idx="2109">
                  <c:v>1.6312242177893899E-2</c:v>
                </c:pt>
                <c:pt idx="2110">
                  <c:v>1.6327587090474601E-2</c:v>
                </c:pt>
                <c:pt idx="2111">
                  <c:v>1.63115945423465E-2</c:v>
                </c:pt>
                <c:pt idx="2112">
                  <c:v>1.6318933870530399E-2</c:v>
                </c:pt>
                <c:pt idx="2113">
                  <c:v>1.6371241102528501E-2</c:v>
                </c:pt>
                <c:pt idx="2114">
                  <c:v>1.6319684788598899E-2</c:v>
                </c:pt>
                <c:pt idx="2115">
                  <c:v>1.6323440893245101E-2</c:v>
                </c:pt>
                <c:pt idx="2116">
                  <c:v>1.63127439265611E-2</c:v>
                </c:pt>
                <c:pt idx="2117">
                  <c:v>1.6374702460750901E-2</c:v>
                </c:pt>
                <c:pt idx="2118">
                  <c:v>1.6424688561641199E-2</c:v>
                </c:pt>
                <c:pt idx="2119">
                  <c:v>1.6427372233718401E-2</c:v>
                </c:pt>
                <c:pt idx="2120">
                  <c:v>1.6404194744771901E-2</c:v>
                </c:pt>
                <c:pt idx="2121">
                  <c:v>1.6368153735167899E-2</c:v>
                </c:pt>
                <c:pt idx="2122">
                  <c:v>1.6414141893495601E-2</c:v>
                </c:pt>
                <c:pt idx="2123">
                  <c:v>1.63460557540668E-2</c:v>
                </c:pt>
                <c:pt idx="2124">
                  <c:v>1.6350717999712699E-2</c:v>
                </c:pt>
                <c:pt idx="2125">
                  <c:v>1.6340293683398899E-2</c:v>
                </c:pt>
                <c:pt idx="2126">
                  <c:v>1.6376221519035401E-2</c:v>
                </c:pt>
                <c:pt idx="2127">
                  <c:v>1.65909749188577E-2</c:v>
                </c:pt>
                <c:pt idx="2128">
                  <c:v>1.6591256546101101E-2</c:v>
                </c:pt>
                <c:pt idx="2129">
                  <c:v>1.66385871948793E-2</c:v>
                </c:pt>
                <c:pt idx="2130">
                  <c:v>1.6770966502958101E-2</c:v>
                </c:pt>
                <c:pt idx="2131">
                  <c:v>1.6699327145476901E-2</c:v>
                </c:pt>
                <c:pt idx="2132">
                  <c:v>1.67107195659944E-2</c:v>
                </c:pt>
                <c:pt idx="2133">
                  <c:v>1.67091761313682E-2</c:v>
                </c:pt>
                <c:pt idx="2134">
                  <c:v>1.67078606721205E-2</c:v>
                </c:pt>
                <c:pt idx="2135">
                  <c:v>1.6745372587833901E-2</c:v>
                </c:pt>
                <c:pt idx="2136">
                  <c:v>1.67477369699571E-2</c:v>
                </c:pt>
                <c:pt idx="2137">
                  <c:v>1.67717116269172E-2</c:v>
                </c:pt>
                <c:pt idx="2138">
                  <c:v>1.67519857111646E-2</c:v>
                </c:pt>
                <c:pt idx="2139">
                  <c:v>1.6756135081352101E-2</c:v>
                </c:pt>
                <c:pt idx="2140">
                  <c:v>1.6813285202398401E-2</c:v>
                </c:pt>
                <c:pt idx="2141">
                  <c:v>1.6795561396540901E-2</c:v>
                </c:pt>
                <c:pt idx="2142">
                  <c:v>1.6939452265102899E-2</c:v>
                </c:pt>
                <c:pt idx="2143">
                  <c:v>1.6938591641096901E-2</c:v>
                </c:pt>
                <c:pt idx="2144">
                  <c:v>1.6934401593749801E-2</c:v>
                </c:pt>
                <c:pt idx="2145">
                  <c:v>1.64784585344202E-2</c:v>
                </c:pt>
                <c:pt idx="2146">
                  <c:v>1.64954916658176E-2</c:v>
                </c:pt>
                <c:pt idx="2147">
                  <c:v>1.6466948531556801E-2</c:v>
                </c:pt>
                <c:pt idx="2148">
                  <c:v>1.6580023051808002E-2</c:v>
                </c:pt>
                <c:pt idx="2149">
                  <c:v>1.6580016597278101E-2</c:v>
                </c:pt>
                <c:pt idx="2150">
                  <c:v>1.65790806462329E-2</c:v>
                </c:pt>
                <c:pt idx="2151">
                  <c:v>1.6516896016425101E-2</c:v>
                </c:pt>
                <c:pt idx="2152">
                  <c:v>1.6539853671994401E-2</c:v>
                </c:pt>
                <c:pt idx="2153">
                  <c:v>1.65195771468045E-2</c:v>
                </c:pt>
                <c:pt idx="2154">
                  <c:v>1.6521178476333099E-2</c:v>
                </c:pt>
                <c:pt idx="2155">
                  <c:v>1.64893884102023E-2</c:v>
                </c:pt>
                <c:pt idx="2156">
                  <c:v>1.6518236792048599E-2</c:v>
                </c:pt>
                <c:pt idx="2157">
                  <c:v>1.6225013193514399E-2</c:v>
                </c:pt>
                <c:pt idx="2158">
                  <c:v>1.6151846887308498E-2</c:v>
                </c:pt>
                <c:pt idx="2159">
                  <c:v>1.6144812130172902E-2</c:v>
                </c:pt>
                <c:pt idx="2160">
                  <c:v>1.6128896553252101E-2</c:v>
                </c:pt>
                <c:pt idx="2161">
                  <c:v>1.6142559970050999E-2</c:v>
                </c:pt>
                <c:pt idx="2162">
                  <c:v>1.6059446400707101E-2</c:v>
                </c:pt>
                <c:pt idx="2163">
                  <c:v>1.6106785918743299E-2</c:v>
                </c:pt>
                <c:pt idx="2164">
                  <c:v>1.5643178723816299E-2</c:v>
                </c:pt>
                <c:pt idx="2165">
                  <c:v>1.5624539336094499E-2</c:v>
                </c:pt>
                <c:pt idx="2166">
                  <c:v>1.56260127357741E-2</c:v>
                </c:pt>
                <c:pt idx="2167">
                  <c:v>1.55965707320326E-2</c:v>
                </c:pt>
                <c:pt idx="2168">
                  <c:v>1.55641038715721E-2</c:v>
                </c:pt>
                <c:pt idx="2169">
                  <c:v>1.5373092725598E-2</c:v>
                </c:pt>
                <c:pt idx="2170">
                  <c:v>1.53003964401126E-2</c:v>
                </c:pt>
                <c:pt idx="2171">
                  <c:v>1.5325611604668299E-2</c:v>
                </c:pt>
                <c:pt idx="2172">
                  <c:v>1.52868670439578E-2</c:v>
                </c:pt>
                <c:pt idx="2173">
                  <c:v>1.53027303479567E-2</c:v>
                </c:pt>
                <c:pt idx="2174">
                  <c:v>1.5172481021327599E-2</c:v>
                </c:pt>
                <c:pt idx="2175">
                  <c:v>1.5170905458297201E-2</c:v>
                </c:pt>
                <c:pt idx="2176">
                  <c:v>1.52024843756852E-2</c:v>
                </c:pt>
                <c:pt idx="2177">
                  <c:v>1.52090028964802E-2</c:v>
                </c:pt>
                <c:pt idx="2178">
                  <c:v>1.5209845225157E-2</c:v>
                </c:pt>
                <c:pt idx="2179">
                  <c:v>1.51602883643917E-2</c:v>
                </c:pt>
                <c:pt idx="2180">
                  <c:v>1.51684747842823E-2</c:v>
                </c:pt>
                <c:pt idx="2181">
                  <c:v>1.5027713139757801E-2</c:v>
                </c:pt>
                <c:pt idx="2182">
                  <c:v>1.50276752436485E-2</c:v>
                </c:pt>
                <c:pt idx="2183">
                  <c:v>1.50338963107737E-2</c:v>
                </c:pt>
                <c:pt idx="2184">
                  <c:v>1.50260864383936E-2</c:v>
                </c:pt>
                <c:pt idx="2185">
                  <c:v>1.49708684341722E-2</c:v>
                </c:pt>
                <c:pt idx="2186">
                  <c:v>1.48885735101628E-2</c:v>
                </c:pt>
                <c:pt idx="2187">
                  <c:v>1.48886881759932E-2</c:v>
                </c:pt>
                <c:pt idx="2188">
                  <c:v>1.4877251869606299E-2</c:v>
                </c:pt>
                <c:pt idx="2189">
                  <c:v>1.4883423378613401E-2</c:v>
                </c:pt>
                <c:pt idx="2190">
                  <c:v>1.49155372697942E-2</c:v>
                </c:pt>
                <c:pt idx="2191">
                  <c:v>1.49120575286195E-2</c:v>
                </c:pt>
                <c:pt idx="2192">
                  <c:v>1.45291139675031E-2</c:v>
                </c:pt>
                <c:pt idx="2193">
                  <c:v>1.45474657005589E-2</c:v>
                </c:pt>
                <c:pt idx="2194">
                  <c:v>1.45179831327808E-2</c:v>
                </c:pt>
                <c:pt idx="2195">
                  <c:v>1.45209083331367E-2</c:v>
                </c:pt>
                <c:pt idx="2196">
                  <c:v>1.4630911385723699E-2</c:v>
                </c:pt>
                <c:pt idx="2197">
                  <c:v>1.45710444026177E-2</c:v>
                </c:pt>
                <c:pt idx="2198">
                  <c:v>1.4566178407356601E-2</c:v>
                </c:pt>
                <c:pt idx="2199">
                  <c:v>1.45653971803702E-2</c:v>
                </c:pt>
                <c:pt idx="2200">
                  <c:v>1.4452723797049699E-2</c:v>
                </c:pt>
                <c:pt idx="2201">
                  <c:v>1.4437018852169199E-2</c:v>
                </c:pt>
                <c:pt idx="2202">
                  <c:v>1.44274872560257E-2</c:v>
                </c:pt>
                <c:pt idx="2203">
                  <c:v>1.4430697038809099E-2</c:v>
                </c:pt>
                <c:pt idx="2204">
                  <c:v>1.43907814721757E-2</c:v>
                </c:pt>
                <c:pt idx="2205">
                  <c:v>1.4393044587835401E-2</c:v>
                </c:pt>
                <c:pt idx="2206">
                  <c:v>1.4298085662066201E-2</c:v>
                </c:pt>
                <c:pt idx="2207">
                  <c:v>1.4227945772051401E-2</c:v>
                </c:pt>
                <c:pt idx="2208">
                  <c:v>1.42275763031544E-2</c:v>
                </c:pt>
                <c:pt idx="2209">
                  <c:v>1.4390276720517001E-2</c:v>
                </c:pt>
                <c:pt idx="2210">
                  <c:v>1.43878034980096E-2</c:v>
                </c:pt>
                <c:pt idx="2211">
                  <c:v>1.44077166022713E-2</c:v>
                </c:pt>
                <c:pt idx="2212">
                  <c:v>1.4405135770558301E-2</c:v>
                </c:pt>
                <c:pt idx="2213">
                  <c:v>1.43110577390539E-2</c:v>
                </c:pt>
                <c:pt idx="2214">
                  <c:v>1.43086999566121E-2</c:v>
                </c:pt>
                <c:pt idx="2215">
                  <c:v>1.43495105695474E-2</c:v>
                </c:pt>
                <c:pt idx="2216">
                  <c:v>1.43015291742954E-2</c:v>
                </c:pt>
                <c:pt idx="2217">
                  <c:v>1.42925914314037E-2</c:v>
                </c:pt>
                <c:pt idx="2218">
                  <c:v>1.43085459735774E-2</c:v>
                </c:pt>
                <c:pt idx="2219">
                  <c:v>1.42996097221097E-2</c:v>
                </c:pt>
                <c:pt idx="2220">
                  <c:v>1.4254440160040099E-2</c:v>
                </c:pt>
                <c:pt idx="2221">
                  <c:v>1.4310569590842899E-2</c:v>
                </c:pt>
                <c:pt idx="2222">
                  <c:v>1.41544901425856E-2</c:v>
                </c:pt>
                <c:pt idx="2223">
                  <c:v>1.41511360456739E-2</c:v>
                </c:pt>
                <c:pt idx="2224">
                  <c:v>1.4161122254084399E-2</c:v>
                </c:pt>
                <c:pt idx="2225">
                  <c:v>1.41479077589147E-2</c:v>
                </c:pt>
                <c:pt idx="2226">
                  <c:v>1.40974301158473E-2</c:v>
                </c:pt>
                <c:pt idx="2227">
                  <c:v>1.4102349549019001E-2</c:v>
                </c:pt>
                <c:pt idx="2228">
                  <c:v>1.41080824051439E-2</c:v>
                </c:pt>
                <c:pt idx="2229">
                  <c:v>1.41264462249191E-2</c:v>
                </c:pt>
                <c:pt idx="2230">
                  <c:v>1.40588733216181E-2</c:v>
                </c:pt>
                <c:pt idx="2231">
                  <c:v>1.41082878543281E-2</c:v>
                </c:pt>
                <c:pt idx="2232">
                  <c:v>1.4198881199358301E-2</c:v>
                </c:pt>
                <c:pt idx="2233">
                  <c:v>1.40963800737825E-2</c:v>
                </c:pt>
                <c:pt idx="2234">
                  <c:v>1.40958990238497E-2</c:v>
                </c:pt>
                <c:pt idx="2235">
                  <c:v>1.4129712850006301E-2</c:v>
                </c:pt>
                <c:pt idx="2236">
                  <c:v>1.40996716510198E-2</c:v>
                </c:pt>
                <c:pt idx="2237">
                  <c:v>1.40968560130412E-2</c:v>
                </c:pt>
                <c:pt idx="2238">
                  <c:v>1.41830069640781E-2</c:v>
                </c:pt>
                <c:pt idx="2239">
                  <c:v>1.41552941997161E-2</c:v>
                </c:pt>
                <c:pt idx="2240">
                  <c:v>1.41569559082115E-2</c:v>
                </c:pt>
                <c:pt idx="2241">
                  <c:v>1.4100088714848601E-2</c:v>
                </c:pt>
                <c:pt idx="2242">
                  <c:v>1.40998571506535E-2</c:v>
                </c:pt>
                <c:pt idx="2243">
                  <c:v>1.4099912283852999E-2</c:v>
                </c:pt>
                <c:pt idx="2244">
                  <c:v>1.40985521469597E-2</c:v>
                </c:pt>
                <c:pt idx="2245">
                  <c:v>1.41421477977124E-2</c:v>
                </c:pt>
                <c:pt idx="2246">
                  <c:v>1.4126346998059199E-2</c:v>
                </c:pt>
                <c:pt idx="2247">
                  <c:v>1.41290441576869E-2</c:v>
                </c:pt>
                <c:pt idx="2248">
                  <c:v>1.4072657401441001E-2</c:v>
                </c:pt>
                <c:pt idx="2249">
                  <c:v>1.40192972686944E-2</c:v>
                </c:pt>
                <c:pt idx="2250">
                  <c:v>1.40195921291013E-2</c:v>
                </c:pt>
                <c:pt idx="2251">
                  <c:v>1.4037447306004199E-2</c:v>
                </c:pt>
                <c:pt idx="2252">
                  <c:v>1.40376282508423E-2</c:v>
                </c:pt>
                <c:pt idx="2253">
                  <c:v>1.4187533881895399E-2</c:v>
                </c:pt>
                <c:pt idx="2254">
                  <c:v>1.4176462167010601E-2</c:v>
                </c:pt>
                <c:pt idx="2255">
                  <c:v>1.4184869267044599E-2</c:v>
                </c:pt>
                <c:pt idx="2256">
                  <c:v>1.41158068189343E-2</c:v>
                </c:pt>
                <c:pt idx="2257">
                  <c:v>1.3879989979044299E-2</c:v>
                </c:pt>
                <c:pt idx="2258">
                  <c:v>1.37287817539445E-2</c:v>
                </c:pt>
                <c:pt idx="2259">
                  <c:v>1.37068193547884E-2</c:v>
                </c:pt>
                <c:pt idx="2260">
                  <c:v>1.3668617552477899E-2</c:v>
                </c:pt>
                <c:pt idx="2261">
                  <c:v>1.3668445972704399E-2</c:v>
                </c:pt>
                <c:pt idx="2262">
                  <c:v>1.3558178552111E-2</c:v>
                </c:pt>
                <c:pt idx="2263">
                  <c:v>1.3785275545332E-2</c:v>
                </c:pt>
                <c:pt idx="2264">
                  <c:v>1.3700287150699099E-2</c:v>
                </c:pt>
                <c:pt idx="2265">
                  <c:v>1.3709703354967601E-2</c:v>
                </c:pt>
                <c:pt idx="2266">
                  <c:v>1.37501166531804E-2</c:v>
                </c:pt>
                <c:pt idx="2267">
                  <c:v>1.3751970464565701E-2</c:v>
                </c:pt>
                <c:pt idx="2268">
                  <c:v>1.36230908065498E-2</c:v>
                </c:pt>
                <c:pt idx="2269">
                  <c:v>1.3627766682294399E-2</c:v>
                </c:pt>
                <c:pt idx="2270">
                  <c:v>1.3574614594437101E-2</c:v>
                </c:pt>
                <c:pt idx="2271">
                  <c:v>1.3629296692435899E-2</c:v>
                </c:pt>
                <c:pt idx="2272">
                  <c:v>1.36392174062334E-2</c:v>
                </c:pt>
                <c:pt idx="2273">
                  <c:v>1.35096436487368E-2</c:v>
                </c:pt>
                <c:pt idx="2274">
                  <c:v>1.3559641439484399E-2</c:v>
                </c:pt>
                <c:pt idx="2275">
                  <c:v>1.3536973372699599E-2</c:v>
                </c:pt>
                <c:pt idx="2276">
                  <c:v>1.3685314327543699E-2</c:v>
                </c:pt>
                <c:pt idx="2277">
                  <c:v>1.36568447288733E-2</c:v>
                </c:pt>
                <c:pt idx="2278">
                  <c:v>1.3688194822976301E-2</c:v>
                </c:pt>
                <c:pt idx="2279">
                  <c:v>1.36832940757808E-2</c:v>
                </c:pt>
                <c:pt idx="2280">
                  <c:v>1.36781043486249E-2</c:v>
                </c:pt>
                <c:pt idx="2281">
                  <c:v>1.3676888580929599E-2</c:v>
                </c:pt>
                <c:pt idx="2282">
                  <c:v>1.2940766820062E-2</c:v>
                </c:pt>
                <c:pt idx="2283">
                  <c:v>1.3012337341633999E-2</c:v>
                </c:pt>
                <c:pt idx="2284">
                  <c:v>1.2642034480525199E-2</c:v>
                </c:pt>
                <c:pt idx="2285">
                  <c:v>1.2647492897970699E-2</c:v>
                </c:pt>
                <c:pt idx="2286">
                  <c:v>1.26162837108592E-2</c:v>
                </c:pt>
                <c:pt idx="2287">
                  <c:v>1.2594734368069E-2</c:v>
                </c:pt>
                <c:pt idx="2288">
                  <c:v>1.2616388269601301E-2</c:v>
                </c:pt>
                <c:pt idx="2289">
                  <c:v>1.25429544235524E-2</c:v>
                </c:pt>
                <c:pt idx="2290">
                  <c:v>1.2437262860219201E-2</c:v>
                </c:pt>
                <c:pt idx="2291">
                  <c:v>1.23912324864847E-2</c:v>
                </c:pt>
                <c:pt idx="2292">
                  <c:v>1.24539165835604E-2</c:v>
                </c:pt>
                <c:pt idx="2293">
                  <c:v>1.24584965216392E-2</c:v>
                </c:pt>
                <c:pt idx="2294">
                  <c:v>1.2593058666335101E-2</c:v>
                </c:pt>
                <c:pt idx="2295">
                  <c:v>1.2778203252845901E-2</c:v>
                </c:pt>
                <c:pt idx="2296">
                  <c:v>1.2774370514916601E-2</c:v>
                </c:pt>
                <c:pt idx="2297">
                  <c:v>1.28625053130349E-2</c:v>
                </c:pt>
                <c:pt idx="2298">
                  <c:v>1.2884913703995899E-2</c:v>
                </c:pt>
                <c:pt idx="2299">
                  <c:v>1.28747025173173E-2</c:v>
                </c:pt>
                <c:pt idx="2300">
                  <c:v>1.2873748356566701E-2</c:v>
                </c:pt>
                <c:pt idx="2301">
                  <c:v>1.28336021383958E-2</c:v>
                </c:pt>
                <c:pt idx="2302">
                  <c:v>1.2812932868329401E-2</c:v>
                </c:pt>
                <c:pt idx="2303">
                  <c:v>1.2610705471230801E-2</c:v>
                </c:pt>
                <c:pt idx="2304">
                  <c:v>1.2875717954167301E-2</c:v>
                </c:pt>
                <c:pt idx="2305">
                  <c:v>1.28811563614995E-2</c:v>
                </c:pt>
                <c:pt idx="2306">
                  <c:v>1.2878690427236401E-2</c:v>
                </c:pt>
                <c:pt idx="2307">
                  <c:v>1.28854540627951E-2</c:v>
                </c:pt>
                <c:pt idx="2308">
                  <c:v>1.2995241301706499E-2</c:v>
                </c:pt>
                <c:pt idx="2309">
                  <c:v>1.28925686724525E-2</c:v>
                </c:pt>
                <c:pt idx="2310">
                  <c:v>1.2981290478120499E-2</c:v>
                </c:pt>
                <c:pt idx="2311">
                  <c:v>1.29741573468028E-2</c:v>
                </c:pt>
                <c:pt idx="2312">
                  <c:v>1.31176823426583E-2</c:v>
                </c:pt>
                <c:pt idx="2313">
                  <c:v>1.31206842583644E-2</c:v>
                </c:pt>
                <c:pt idx="2314">
                  <c:v>1.30867603455267E-2</c:v>
                </c:pt>
                <c:pt idx="2315">
                  <c:v>1.30809062742713E-2</c:v>
                </c:pt>
                <c:pt idx="2316">
                  <c:v>1.3156152513924799E-2</c:v>
                </c:pt>
                <c:pt idx="2317">
                  <c:v>1.30720813354799E-2</c:v>
                </c:pt>
                <c:pt idx="2318">
                  <c:v>1.2993646226674699E-2</c:v>
                </c:pt>
                <c:pt idx="2319">
                  <c:v>1.30487287282069E-2</c:v>
                </c:pt>
                <c:pt idx="2320">
                  <c:v>1.30454899391407E-2</c:v>
                </c:pt>
                <c:pt idx="2321">
                  <c:v>1.30554500656914E-2</c:v>
                </c:pt>
                <c:pt idx="2322">
                  <c:v>1.3010049169593399E-2</c:v>
                </c:pt>
                <c:pt idx="2323">
                  <c:v>1.3004209346294E-2</c:v>
                </c:pt>
                <c:pt idx="2324">
                  <c:v>1.3013813487716699E-2</c:v>
                </c:pt>
                <c:pt idx="2325">
                  <c:v>1.30789186593715E-2</c:v>
                </c:pt>
                <c:pt idx="2326">
                  <c:v>1.30350220534353E-2</c:v>
                </c:pt>
                <c:pt idx="2327">
                  <c:v>1.2835615122149599E-2</c:v>
                </c:pt>
                <c:pt idx="2328">
                  <c:v>1.2835676867167E-2</c:v>
                </c:pt>
                <c:pt idx="2329">
                  <c:v>1.28762116533119E-2</c:v>
                </c:pt>
                <c:pt idx="2330">
                  <c:v>1.26649488024992E-2</c:v>
                </c:pt>
                <c:pt idx="2331">
                  <c:v>1.27110940733593E-2</c:v>
                </c:pt>
                <c:pt idx="2332">
                  <c:v>1.26950526906255E-2</c:v>
                </c:pt>
                <c:pt idx="2333">
                  <c:v>1.2690770628786201E-2</c:v>
                </c:pt>
                <c:pt idx="2334">
                  <c:v>1.26679981843027E-2</c:v>
                </c:pt>
                <c:pt idx="2335">
                  <c:v>1.2613647092955101E-2</c:v>
                </c:pt>
                <c:pt idx="2336">
                  <c:v>1.2618657368456101E-2</c:v>
                </c:pt>
                <c:pt idx="2337">
                  <c:v>1.2581203609391E-2</c:v>
                </c:pt>
                <c:pt idx="2338">
                  <c:v>1.2622674713744999E-2</c:v>
                </c:pt>
                <c:pt idx="2339">
                  <c:v>1.2814693638217601E-2</c:v>
                </c:pt>
                <c:pt idx="2340">
                  <c:v>1.28490468742898E-2</c:v>
                </c:pt>
                <c:pt idx="2341">
                  <c:v>1.28579695027825E-2</c:v>
                </c:pt>
                <c:pt idx="2342">
                  <c:v>1.26889405673859E-2</c:v>
                </c:pt>
                <c:pt idx="2343">
                  <c:v>1.2688943890425E-2</c:v>
                </c:pt>
                <c:pt idx="2344">
                  <c:v>1.26729183361359E-2</c:v>
                </c:pt>
                <c:pt idx="2345">
                  <c:v>1.26728787006016E-2</c:v>
                </c:pt>
                <c:pt idx="2346">
                  <c:v>1.26663848765451E-2</c:v>
                </c:pt>
                <c:pt idx="2347">
                  <c:v>1.2634671243287701E-2</c:v>
                </c:pt>
                <c:pt idx="2348">
                  <c:v>1.25694211406377E-2</c:v>
                </c:pt>
                <c:pt idx="2349">
                  <c:v>1.25800321532538E-2</c:v>
                </c:pt>
                <c:pt idx="2350">
                  <c:v>1.26717764345465E-2</c:v>
                </c:pt>
                <c:pt idx="2351">
                  <c:v>1.2767998071223001E-2</c:v>
                </c:pt>
                <c:pt idx="2352">
                  <c:v>1.27265763129078E-2</c:v>
                </c:pt>
                <c:pt idx="2353">
                  <c:v>1.27192684658432E-2</c:v>
                </c:pt>
                <c:pt idx="2354">
                  <c:v>1.2759947254272101E-2</c:v>
                </c:pt>
                <c:pt idx="2355">
                  <c:v>1.27562017430836E-2</c:v>
                </c:pt>
                <c:pt idx="2356">
                  <c:v>1.27179103291181E-2</c:v>
                </c:pt>
                <c:pt idx="2357">
                  <c:v>1.2643825667031299E-2</c:v>
                </c:pt>
                <c:pt idx="2358">
                  <c:v>1.26681716884595E-2</c:v>
                </c:pt>
                <c:pt idx="2359">
                  <c:v>1.26690593838293E-2</c:v>
                </c:pt>
                <c:pt idx="2360">
                  <c:v>1.26209155524264E-2</c:v>
                </c:pt>
                <c:pt idx="2361">
                  <c:v>1.26607450364082E-2</c:v>
                </c:pt>
                <c:pt idx="2362">
                  <c:v>1.2720578428985E-2</c:v>
                </c:pt>
                <c:pt idx="2363">
                  <c:v>1.2679488240797201E-2</c:v>
                </c:pt>
                <c:pt idx="2364">
                  <c:v>1.26447196950193E-2</c:v>
                </c:pt>
                <c:pt idx="2365">
                  <c:v>1.2847581257329699E-2</c:v>
                </c:pt>
                <c:pt idx="2366">
                  <c:v>1.3063640755761901E-2</c:v>
                </c:pt>
                <c:pt idx="2367">
                  <c:v>1.30655883629396E-2</c:v>
                </c:pt>
                <c:pt idx="2368">
                  <c:v>1.3058198896484101E-2</c:v>
                </c:pt>
                <c:pt idx="2369">
                  <c:v>1.3064195476416501E-2</c:v>
                </c:pt>
                <c:pt idx="2370">
                  <c:v>1.3131805838228001E-2</c:v>
                </c:pt>
                <c:pt idx="2371">
                  <c:v>1.35503799804291E-2</c:v>
                </c:pt>
                <c:pt idx="2372">
                  <c:v>1.3587897320365401E-2</c:v>
                </c:pt>
                <c:pt idx="2373">
                  <c:v>1.36508951293162E-2</c:v>
                </c:pt>
                <c:pt idx="2374">
                  <c:v>1.36962297930894E-2</c:v>
                </c:pt>
                <c:pt idx="2375">
                  <c:v>1.3729803040358099E-2</c:v>
                </c:pt>
                <c:pt idx="2376">
                  <c:v>1.36807075044493E-2</c:v>
                </c:pt>
                <c:pt idx="2377">
                  <c:v>1.36797572329226E-2</c:v>
                </c:pt>
                <c:pt idx="2378">
                  <c:v>1.3786668861856199E-2</c:v>
                </c:pt>
                <c:pt idx="2379">
                  <c:v>1.3784122631199901E-2</c:v>
                </c:pt>
                <c:pt idx="2380">
                  <c:v>1.3780500346780401E-2</c:v>
                </c:pt>
                <c:pt idx="2381">
                  <c:v>1.3834396286526799E-2</c:v>
                </c:pt>
                <c:pt idx="2382">
                  <c:v>1.3952985108594799E-2</c:v>
                </c:pt>
                <c:pt idx="2383">
                  <c:v>1.39506004230361E-2</c:v>
                </c:pt>
                <c:pt idx="2384">
                  <c:v>1.3950745948452799E-2</c:v>
                </c:pt>
                <c:pt idx="2385">
                  <c:v>1.39504124700266E-2</c:v>
                </c:pt>
                <c:pt idx="2386">
                  <c:v>1.3894731595975599E-2</c:v>
                </c:pt>
                <c:pt idx="2387">
                  <c:v>1.39211202038251E-2</c:v>
                </c:pt>
                <c:pt idx="2388">
                  <c:v>1.3912904251524799E-2</c:v>
                </c:pt>
                <c:pt idx="2389">
                  <c:v>1.3910642418321399E-2</c:v>
                </c:pt>
                <c:pt idx="2390">
                  <c:v>1.3875957959759599E-2</c:v>
                </c:pt>
                <c:pt idx="2391">
                  <c:v>1.38892950283567E-2</c:v>
                </c:pt>
                <c:pt idx="2392">
                  <c:v>1.39226894726529E-2</c:v>
                </c:pt>
                <c:pt idx="2393">
                  <c:v>1.3890915789190101E-2</c:v>
                </c:pt>
                <c:pt idx="2394">
                  <c:v>1.39215516977844E-2</c:v>
                </c:pt>
                <c:pt idx="2395">
                  <c:v>1.3916601286780799E-2</c:v>
                </c:pt>
                <c:pt idx="2396">
                  <c:v>1.3804838315132399E-2</c:v>
                </c:pt>
                <c:pt idx="2397">
                  <c:v>1.3822526876858299E-2</c:v>
                </c:pt>
                <c:pt idx="2398">
                  <c:v>1.38225038397448E-2</c:v>
                </c:pt>
                <c:pt idx="2399">
                  <c:v>1.38813536568439E-2</c:v>
                </c:pt>
                <c:pt idx="2400">
                  <c:v>1.38747038600138E-2</c:v>
                </c:pt>
                <c:pt idx="2401">
                  <c:v>1.39142571099749E-2</c:v>
                </c:pt>
                <c:pt idx="2402">
                  <c:v>1.3890103482644E-2</c:v>
                </c:pt>
                <c:pt idx="2403">
                  <c:v>1.3906596708254899E-2</c:v>
                </c:pt>
                <c:pt idx="2404">
                  <c:v>1.39190066631329E-2</c:v>
                </c:pt>
                <c:pt idx="2405">
                  <c:v>1.39145194928067E-2</c:v>
                </c:pt>
                <c:pt idx="2406">
                  <c:v>1.39232273816288E-2</c:v>
                </c:pt>
                <c:pt idx="2407">
                  <c:v>1.4058224523779601E-2</c:v>
                </c:pt>
                <c:pt idx="2408">
                  <c:v>1.40657709728372E-2</c:v>
                </c:pt>
                <c:pt idx="2409">
                  <c:v>1.39327807352174E-2</c:v>
                </c:pt>
                <c:pt idx="2410">
                  <c:v>1.3934030511652699E-2</c:v>
                </c:pt>
                <c:pt idx="2411">
                  <c:v>1.3961983517292199E-2</c:v>
                </c:pt>
                <c:pt idx="2412">
                  <c:v>1.39607592158135E-2</c:v>
                </c:pt>
                <c:pt idx="2413">
                  <c:v>1.3957444132877E-2</c:v>
                </c:pt>
                <c:pt idx="2414">
                  <c:v>1.3979441032009401E-2</c:v>
                </c:pt>
                <c:pt idx="2415">
                  <c:v>1.39305743309205E-2</c:v>
                </c:pt>
                <c:pt idx="2416">
                  <c:v>1.39311352417139E-2</c:v>
                </c:pt>
                <c:pt idx="2417">
                  <c:v>1.40285275260578E-2</c:v>
                </c:pt>
                <c:pt idx="2418">
                  <c:v>1.40315216278742E-2</c:v>
                </c:pt>
                <c:pt idx="2419">
                  <c:v>1.4028840734458901E-2</c:v>
                </c:pt>
                <c:pt idx="2420">
                  <c:v>1.41329803175324E-2</c:v>
                </c:pt>
                <c:pt idx="2421">
                  <c:v>1.40763185010776E-2</c:v>
                </c:pt>
                <c:pt idx="2422">
                  <c:v>1.4087652277342501E-2</c:v>
                </c:pt>
                <c:pt idx="2423">
                  <c:v>1.41061610448851E-2</c:v>
                </c:pt>
                <c:pt idx="2424">
                  <c:v>1.4064203598829801E-2</c:v>
                </c:pt>
                <c:pt idx="2425">
                  <c:v>1.4123899690878799E-2</c:v>
                </c:pt>
                <c:pt idx="2426">
                  <c:v>1.40884342324261E-2</c:v>
                </c:pt>
                <c:pt idx="2427">
                  <c:v>1.40772126022983E-2</c:v>
                </c:pt>
                <c:pt idx="2428">
                  <c:v>1.4097607668300999E-2</c:v>
                </c:pt>
                <c:pt idx="2429">
                  <c:v>1.41656314836475E-2</c:v>
                </c:pt>
                <c:pt idx="2430">
                  <c:v>1.41657526827092E-2</c:v>
                </c:pt>
                <c:pt idx="2431">
                  <c:v>1.4139748656051301E-2</c:v>
                </c:pt>
                <c:pt idx="2432">
                  <c:v>1.4046414388021299E-2</c:v>
                </c:pt>
                <c:pt idx="2433">
                  <c:v>1.4043938570716501E-2</c:v>
                </c:pt>
                <c:pt idx="2434">
                  <c:v>1.40567731760933E-2</c:v>
                </c:pt>
                <c:pt idx="2435">
                  <c:v>1.40276340547254E-2</c:v>
                </c:pt>
                <c:pt idx="2436">
                  <c:v>1.39863438207278E-2</c:v>
                </c:pt>
                <c:pt idx="2437">
                  <c:v>1.40741146377538E-2</c:v>
                </c:pt>
                <c:pt idx="2438">
                  <c:v>1.3972487712435699E-2</c:v>
                </c:pt>
                <c:pt idx="2439">
                  <c:v>1.39893592940462E-2</c:v>
                </c:pt>
                <c:pt idx="2440">
                  <c:v>1.3988890346953199E-2</c:v>
                </c:pt>
                <c:pt idx="2441">
                  <c:v>1.39881939112133E-2</c:v>
                </c:pt>
                <c:pt idx="2442">
                  <c:v>1.4047787943429301E-2</c:v>
                </c:pt>
                <c:pt idx="2443">
                  <c:v>1.40470929725495E-2</c:v>
                </c:pt>
                <c:pt idx="2444">
                  <c:v>1.40008520660181E-2</c:v>
                </c:pt>
                <c:pt idx="2445">
                  <c:v>1.3959758222578601E-2</c:v>
                </c:pt>
                <c:pt idx="2446">
                  <c:v>1.3957436276866001E-2</c:v>
                </c:pt>
                <c:pt idx="2447">
                  <c:v>1.3996076926322499E-2</c:v>
                </c:pt>
                <c:pt idx="2448">
                  <c:v>1.4042191634080501E-2</c:v>
                </c:pt>
                <c:pt idx="2449">
                  <c:v>1.40685324258971E-2</c:v>
                </c:pt>
                <c:pt idx="2450">
                  <c:v>1.4075037014973099E-2</c:v>
                </c:pt>
                <c:pt idx="2451">
                  <c:v>1.4105462908235E-2</c:v>
                </c:pt>
                <c:pt idx="2452">
                  <c:v>1.4104993224360899E-2</c:v>
                </c:pt>
                <c:pt idx="2453">
                  <c:v>1.39281814671372E-2</c:v>
                </c:pt>
                <c:pt idx="2454">
                  <c:v>1.3936635307754301E-2</c:v>
                </c:pt>
                <c:pt idx="2455">
                  <c:v>1.39751075944615E-2</c:v>
                </c:pt>
                <c:pt idx="2456">
                  <c:v>1.40062995103475E-2</c:v>
                </c:pt>
                <c:pt idx="2457">
                  <c:v>1.40065258254202E-2</c:v>
                </c:pt>
                <c:pt idx="2458">
                  <c:v>1.40073275301393E-2</c:v>
                </c:pt>
                <c:pt idx="2459">
                  <c:v>1.39996917330917E-2</c:v>
                </c:pt>
                <c:pt idx="2460">
                  <c:v>1.4138170809950199E-2</c:v>
                </c:pt>
                <c:pt idx="2461">
                  <c:v>1.41370781424897E-2</c:v>
                </c:pt>
                <c:pt idx="2462">
                  <c:v>1.4060000866463701E-2</c:v>
                </c:pt>
                <c:pt idx="2463">
                  <c:v>1.38339662637244E-2</c:v>
                </c:pt>
                <c:pt idx="2464">
                  <c:v>1.38410162580724E-2</c:v>
                </c:pt>
                <c:pt idx="2465">
                  <c:v>1.3858696618078099E-2</c:v>
                </c:pt>
                <c:pt idx="2466">
                  <c:v>1.3822348365912399E-2</c:v>
                </c:pt>
                <c:pt idx="2467">
                  <c:v>1.3868766811366701E-2</c:v>
                </c:pt>
                <c:pt idx="2468">
                  <c:v>1.3836040846135701E-2</c:v>
                </c:pt>
                <c:pt idx="2469">
                  <c:v>1.3831069744389199E-2</c:v>
                </c:pt>
                <c:pt idx="2470">
                  <c:v>1.3834830512785799E-2</c:v>
                </c:pt>
                <c:pt idx="2471">
                  <c:v>1.3791120500732199E-2</c:v>
                </c:pt>
                <c:pt idx="2472">
                  <c:v>1.3777207001960201E-2</c:v>
                </c:pt>
                <c:pt idx="2473">
                  <c:v>1.3801844524073299E-2</c:v>
                </c:pt>
                <c:pt idx="2474">
                  <c:v>1.3841602729526101E-2</c:v>
                </c:pt>
                <c:pt idx="2475">
                  <c:v>1.3839725102866501E-2</c:v>
                </c:pt>
                <c:pt idx="2476">
                  <c:v>1.36341751999835E-2</c:v>
                </c:pt>
                <c:pt idx="2477">
                  <c:v>1.3645778649574799E-2</c:v>
                </c:pt>
                <c:pt idx="2478">
                  <c:v>1.3642811673720801E-2</c:v>
                </c:pt>
                <c:pt idx="2479">
                  <c:v>1.36418575103138E-2</c:v>
                </c:pt>
                <c:pt idx="2480">
                  <c:v>1.3641550973604101E-2</c:v>
                </c:pt>
                <c:pt idx="2481">
                  <c:v>1.3639287714637601E-2</c:v>
                </c:pt>
                <c:pt idx="2482">
                  <c:v>1.3653314596565101E-2</c:v>
                </c:pt>
                <c:pt idx="2483">
                  <c:v>1.3630572305327E-2</c:v>
                </c:pt>
                <c:pt idx="2484">
                  <c:v>1.3715436011008299E-2</c:v>
                </c:pt>
                <c:pt idx="2485">
                  <c:v>1.3636786145643599E-2</c:v>
                </c:pt>
                <c:pt idx="2486">
                  <c:v>1.36393405170715E-2</c:v>
                </c:pt>
                <c:pt idx="2487">
                  <c:v>1.3658588377265701E-2</c:v>
                </c:pt>
                <c:pt idx="2488">
                  <c:v>1.3637695116870701E-2</c:v>
                </c:pt>
                <c:pt idx="2489">
                  <c:v>1.37090421750967E-2</c:v>
                </c:pt>
                <c:pt idx="2490">
                  <c:v>1.37169948643345E-2</c:v>
                </c:pt>
                <c:pt idx="2491">
                  <c:v>1.3716000465150299E-2</c:v>
                </c:pt>
                <c:pt idx="2492">
                  <c:v>1.36490782110632E-2</c:v>
                </c:pt>
                <c:pt idx="2493">
                  <c:v>1.3664484079746299E-2</c:v>
                </c:pt>
                <c:pt idx="2494">
                  <c:v>1.3525716172464199E-2</c:v>
                </c:pt>
                <c:pt idx="2495">
                  <c:v>1.33559651423177E-2</c:v>
                </c:pt>
                <c:pt idx="2496">
                  <c:v>1.33574085879208E-2</c:v>
                </c:pt>
                <c:pt idx="2497">
                  <c:v>1.3273615046215799E-2</c:v>
                </c:pt>
                <c:pt idx="2498">
                  <c:v>1.3251694540512501E-2</c:v>
                </c:pt>
                <c:pt idx="2499">
                  <c:v>1.32383287674466E-2</c:v>
                </c:pt>
                <c:pt idx="2500">
                  <c:v>1.32260234939657E-2</c:v>
                </c:pt>
                <c:pt idx="2501">
                  <c:v>1.32500369882276E-2</c:v>
                </c:pt>
                <c:pt idx="2502">
                  <c:v>1.3252452625619001E-2</c:v>
                </c:pt>
                <c:pt idx="2503">
                  <c:v>1.32655988157708E-2</c:v>
                </c:pt>
                <c:pt idx="2504">
                  <c:v>1.3052786678301899E-2</c:v>
                </c:pt>
                <c:pt idx="2505">
                  <c:v>1.3043351364048199E-2</c:v>
                </c:pt>
                <c:pt idx="2506">
                  <c:v>1.3042021189325599E-2</c:v>
                </c:pt>
                <c:pt idx="2507">
                  <c:v>1.3054150978877899E-2</c:v>
                </c:pt>
                <c:pt idx="2508">
                  <c:v>1.2906567801257599E-2</c:v>
                </c:pt>
                <c:pt idx="2509">
                  <c:v>1.2980045436812301E-2</c:v>
                </c:pt>
                <c:pt idx="2510">
                  <c:v>1.2868303876585401E-2</c:v>
                </c:pt>
                <c:pt idx="2511">
                  <c:v>1.28854954307578E-2</c:v>
                </c:pt>
                <c:pt idx="2512">
                  <c:v>1.27414623378687E-2</c:v>
                </c:pt>
                <c:pt idx="2513">
                  <c:v>1.26684677154754E-2</c:v>
                </c:pt>
                <c:pt idx="2514">
                  <c:v>1.2649971102880599E-2</c:v>
                </c:pt>
                <c:pt idx="2515">
                  <c:v>1.26551267512728E-2</c:v>
                </c:pt>
                <c:pt idx="2516">
                  <c:v>1.25857687303169E-2</c:v>
                </c:pt>
                <c:pt idx="2517">
                  <c:v>1.25848448035406E-2</c:v>
                </c:pt>
                <c:pt idx="2518">
                  <c:v>1.26074309995521E-2</c:v>
                </c:pt>
                <c:pt idx="2519">
                  <c:v>1.26276582987073E-2</c:v>
                </c:pt>
                <c:pt idx="2520">
                  <c:v>1.26333053922097E-2</c:v>
                </c:pt>
                <c:pt idx="2521">
                  <c:v>1.2638260153316301E-2</c:v>
                </c:pt>
                <c:pt idx="2522">
                  <c:v>1.2622496615489601E-2</c:v>
                </c:pt>
                <c:pt idx="2523">
                  <c:v>1.2622353646564E-2</c:v>
                </c:pt>
                <c:pt idx="2524">
                  <c:v>1.26303111911568E-2</c:v>
                </c:pt>
                <c:pt idx="2525">
                  <c:v>1.25843077705672E-2</c:v>
                </c:pt>
                <c:pt idx="2526">
                  <c:v>1.2584430565260899E-2</c:v>
                </c:pt>
                <c:pt idx="2527">
                  <c:v>1.25102316792129E-2</c:v>
                </c:pt>
                <c:pt idx="2528">
                  <c:v>1.2906599578175601E-2</c:v>
                </c:pt>
                <c:pt idx="2529">
                  <c:v>1.27709282480325E-2</c:v>
                </c:pt>
                <c:pt idx="2530">
                  <c:v>1.27761868129711E-2</c:v>
                </c:pt>
                <c:pt idx="2531">
                  <c:v>1.26972622508209E-2</c:v>
                </c:pt>
                <c:pt idx="2532">
                  <c:v>1.27117388199186E-2</c:v>
                </c:pt>
                <c:pt idx="2533">
                  <c:v>1.2724388645636501E-2</c:v>
                </c:pt>
                <c:pt idx="2534">
                  <c:v>1.282316267845E-2</c:v>
                </c:pt>
                <c:pt idx="2535">
                  <c:v>1.2840419120682E-2</c:v>
                </c:pt>
                <c:pt idx="2536">
                  <c:v>1.28379492069139E-2</c:v>
                </c:pt>
                <c:pt idx="2537">
                  <c:v>1.29307538961518E-2</c:v>
                </c:pt>
                <c:pt idx="2538">
                  <c:v>1.2891214685103699E-2</c:v>
                </c:pt>
                <c:pt idx="2539">
                  <c:v>1.26880413834447E-2</c:v>
                </c:pt>
                <c:pt idx="2540">
                  <c:v>1.2563856973980599E-2</c:v>
                </c:pt>
                <c:pt idx="2541">
                  <c:v>1.2568948423769001E-2</c:v>
                </c:pt>
                <c:pt idx="2542">
                  <c:v>1.27214552082381E-2</c:v>
                </c:pt>
                <c:pt idx="2543">
                  <c:v>1.27901164711381E-2</c:v>
                </c:pt>
                <c:pt idx="2544">
                  <c:v>1.28028919291225E-2</c:v>
                </c:pt>
                <c:pt idx="2545">
                  <c:v>1.2900123044847601E-2</c:v>
                </c:pt>
                <c:pt idx="2546">
                  <c:v>1.2887977911074299E-2</c:v>
                </c:pt>
                <c:pt idx="2547">
                  <c:v>1.2884232348048801E-2</c:v>
                </c:pt>
                <c:pt idx="2548">
                  <c:v>1.27858014010012E-2</c:v>
                </c:pt>
                <c:pt idx="2549">
                  <c:v>1.27695797442062E-2</c:v>
                </c:pt>
                <c:pt idx="2550">
                  <c:v>1.2658380516807699E-2</c:v>
                </c:pt>
                <c:pt idx="2551">
                  <c:v>1.2570870043226901E-2</c:v>
                </c:pt>
                <c:pt idx="2552">
                  <c:v>1.26169533443232E-2</c:v>
                </c:pt>
                <c:pt idx="2553">
                  <c:v>1.2615596955787799E-2</c:v>
                </c:pt>
                <c:pt idx="2554">
                  <c:v>1.25672805098529E-2</c:v>
                </c:pt>
                <c:pt idx="2555">
                  <c:v>1.25990602207533E-2</c:v>
                </c:pt>
                <c:pt idx="2556">
                  <c:v>1.2587955722141201E-2</c:v>
                </c:pt>
                <c:pt idx="2557">
                  <c:v>1.2578458148645199E-2</c:v>
                </c:pt>
                <c:pt idx="2558">
                  <c:v>1.2616077483152899E-2</c:v>
                </c:pt>
                <c:pt idx="2559">
                  <c:v>1.26211516967003E-2</c:v>
                </c:pt>
                <c:pt idx="2560">
                  <c:v>1.26213780834365E-2</c:v>
                </c:pt>
                <c:pt idx="2561">
                  <c:v>1.25861558514171E-2</c:v>
                </c:pt>
                <c:pt idx="2562">
                  <c:v>1.2577406305637299E-2</c:v>
                </c:pt>
                <c:pt idx="2563">
                  <c:v>1.2561112280249099E-2</c:v>
                </c:pt>
                <c:pt idx="2564">
                  <c:v>1.2554416886846E-2</c:v>
                </c:pt>
                <c:pt idx="2565">
                  <c:v>1.2330686762461801E-2</c:v>
                </c:pt>
                <c:pt idx="2566">
                  <c:v>1.21078350648602E-2</c:v>
                </c:pt>
                <c:pt idx="2567">
                  <c:v>1.2172343734977199E-2</c:v>
                </c:pt>
                <c:pt idx="2568">
                  <c:v>1.21728528782078E-2</c:v>
                </c:pt>
                <c:pt idx="2569">
                  <c:v>1.2121695854063801E-2</c:v>
                </c:pt>
                <c:pt idx="2570">
                  <c:v>1.2099193282607499E-2</c:v>
                </c:pt>
                <c:pt idx="2571">
                  <c:v>1.16117063469764E-2</c:v>
                </c:pt>
                <c:pt idx="2572">
                  <c:v>1.15972394602698E-2</c:v>
                </c:pt>
                <c:pt idx="2573">
                  <c:v>1.15255632843049E-2</c:v>
                </c:pt>
                <c:pt idx="2574">
                  <c:v>1.14761655717927E-2</c:v>
                </c:pt>
                <c:pt idx="2575">
                  <c:v>1.1417711335414299E-2</c:v>
                </c:pt>
                <c:pt idx="2576">
                  <c:v>1.14622143621591E-2</c:v>
                </c:pt>
                <c:pt idx="2577">
                  <c:v>1.1432023248761899E-2</c:v>
                </c:pt>
                <c:pt idx="2578">
                  <c:v>1.1318493297018299E-2</c:v>
                </c:pt>
                <c:pt idx="2579">
                  <c:v>1.13133539739791E-2</c:v>
                </c:pt>
                <c:pt idx="2580">
                  <c:v>1.1339251751047301E-2</c:v>
                </c:pt>
                <c:pt idx="2581">
                  <c:v>1.12868949506872E-2</c:v>
                </c:pt>
                <c:pt idx="2582">
                  <c:v>1.1105064109276501E-2</c:v>
                </c:pt>
                <c:pt idx="2583">
                  <c:v>1.11379723215509E-2</c:v>
                </c:pt>
                <c:pt idx="2584">
                  <c:v>1.1178252921170201E-2</c:v>
                </c:pt>
                <c:pt idx="2585">
                  <c:v>1.12082281547904E-2</c:v>
                </c:pt>
                <c:pt idx="2586">
                  <c:v>1.1492673117952599E-2</c:v>
                </c:pt>
                <c:pt idx="2587">
                  <c:v>1.14638512057995E-2</c:v>
                </c:pt>
                <c:pt idx="2588">
                  <c:v>1.15470284891826E-2</c:v>
                </c:pt>
                <c:pt idx="2589">
                  <c:v>1.1574731852525401E-2</c:v>
                </c:pt>
                <c:pt idx="2590">
                  <c:v>1.1579227328635E-2</c:v>
                </c:pt>
                <c:pt idx="2591">
                  <c:v>1.1565956522902999E-2</c:v>
                </c:pt>
                <c:pt idx="2592">
                  <c:v>1.15456389103632E-2</c:v>
                </c:pt>
                <c:pt idx="2593">
                  <c:v>1.20714582217547E-2</c:v>
                </c:pt>
                <c:pt idx="2594">
                  <c:v>1.2020634661635599E-2</c:v>
                </c:pt>
                <c:pt idx="2595">
                  <c:v>1.2017914289371E-2</c:v>
                </c:pt>
                <c:pt idx="2596">
                  <c:v>1.2016991747161599E-2</c:v>
                </c:pt>
                <c:pt idx="2597">
                  <c:v>1.20037294230592E-2</c:v>
                </c:pt>
                <c:pt idx="2598">
                  <c:v>1.2008704449365399E-2</c:v>
                </c:pt>
                <c:pt idx="2599">
                  <c:v>1.1944174351682201E-2</c:v>
                </c:pt>
                <c:pt idx="2600">
                  <c:v>1.21044604917636E-2</c:v>
                </c:pt>
                <c:pt idx="2601">
                  <c:v>1.20587178896575E-2</c:v>
                </c:pt>
                <c:pt idx="2602">
                  <c:v>1.2054877365619301E-2</c:v>
                </c:pt>
                <c:pt idx="2603">
                  <c:v>1.20657007605963E-2</c:v>
                </c:pt>
                <c:pt idx="2604">
                  <c:v>1.21035560924117E-2</c:v>
                </c:pt>
                <c:pt idx="2605">
                  <c:v>1.21012159796141E-2</c:v>
                </c:pt>
                <c:pt idx="2606">
                  <c:v>1.2084205678003499E-2</c:v>
                </c:pt>
                <c:pt idx="2607">
                  <c:v>1.1917199623543401E-2</c:v>
                </c:pt>
                <c:pt idx="2608">
                  <c:v>1.1905689539375E-2</c:v>
                </c:pt>
                <c:pt idx="2609">
                  <c:v>1.18605985852213E-2</c:v>
                </c:pt>
                <c:pt idx="2610">
                  <c:v>1.19325196706401E-2</c:v>
                </c:pt>
                <c:pt idx="2611">
                  <c:v>1.2163181334251399E-2</c:v>
                </c:pt>
                <c:pt idx="2612">
                  <c:v>1.21729769860148E-2</c:v>
                </c:pt>
                <c:pt idx="2613">
                  <c:v>1.21833420107983E-2</c:v>
                </c:pt>
                <c:pt idx="2614">
                  <c:v>1.21722219192394E-2</c:v>
                </c:pt>
                <c:pt idx="2615">
                  <c:v>1.22283954636246E-2</c:v>
                </c:pt>
                <c:pt idx="2616">
                  <c:v>1.2233086875796301E-2</c:v>
                </c:pt>
                <c:pt idx="2617">
                  <c:v>1.2066116252455E-2</c:v>
                </c:pt>
                <c:pt idx="2618">
                  <c:v>1.2032715919527801E-2</c:v>
                </c:pt>
                <c:pt idx="2619">
                  <c:v>1.2048524175291699E-2</c:v>
                </c:pt>
                <c:pt idx="2620">
                  <c:v>1.1940589510045599E-2</c:v>
                </c:pt>
                <c:pt idx="2621">
                  <c:v>1.2133615976475999E-2</c:v>
                </c:pt>
                <c:pt idx="2622">
                  <c:v>1.21280144023642E-2</c:v>
                </c:pt>
                <c:pt idx="2623">
                  <c:v>1.2113451486267499E-2</c:v>
                </c:pt>
                <c:pt idx="2624">
                  <c:v>1.21136499499962E-2</c:v>
                </c:pt>
                <c:pt idx="2625">
                  <c:v>1.21218153430827E-2</c:v>
                </c:pt>
                <c:pt idx="2626">
                  <c:v>1.21195819262698E-2</c:v>
                </c:pt>
                <c:pt idx="2627">
                  <c:v>1.21319480692542E-2</c:v>
                </c:pt>
                <c:pt idx="2628">
                  <c:v>1.20972659806884E-2</c:v>
                </c:pt>
                <c:pt idx="2629">
                  <c:v>1.2002328236595E-2</c:v>
                </c:pt>
                <c:pt idx="2630">
                  <c:v>1.2004961469408E-2</c:v>
                </c:pt>
                <c:pt idx="2631">
                  <c:v>1.2010965319669799E-2</c:v>
                </c:pt>
                <c:pt idx="2632">
                  <c:v>1.20749324339682E-2</c:v>
                </c:pt>
                <c:pt idx="2633">
                  <c:v>1.20827309304031E-2</c:v>
                </c:pt>
                <c:pt idx="2634">
                  <c:v>1.2318179330121999E-2</c:v>
                </c:pt>
                <c:pt idx="2635">
                  <c:v>1.23229949949438E-2</c:v>
                </c:pt>
                <c:pt idx="2636">
                  <c:v>1.2324378109478701E-2</c:v>
                </c:pt>
                <c:pt idx="2637">
                  <c:v>1.2269825963527501E-2</c:v>
                </c:pt>
                <c:pt idx="2638">
                  <c:v>1.2291157407458E-2</c:v>
                </c:pt>
                <c:pt idx="2639">
                  <c:v>1.24568493198506E-2</c:v>
                </c:pt>
                <c:pt idx="2640">
                  <c:v>1.24572390720935E-2</c:v>
                </c:pt>
                <c:pt idx="2641">
                  <c:v>1.2893885405786201E-2</c:v>
                </c:pt>
                <c:pt idx="2642">
                  <c:v>1.2998400846655701E-2</c:v>
                </c:pt>
                <c:pt idx="2643">
                  <c:v>1.30194039043056E-2</c:v>
                </c:pt>
                <c:pt idx="2644">
                  <c:v>1.3034255240718801E-2</c:v>
                </c:pt>
                <c:pt idx="2645">
                  <c:v>1.3025942888079799E-2</c:v>
                </c:pt>
                <c:pt idx="2646">
                  <c:v>1.30318184578088E-2</c:v>
                </c:pt>
                <c:pt idx="2647">
                  <c:v>1.3018959049305801E-2</c:v>
                </c:pt>
                <c:pt idx="2648">
                  <c:v>1.29972609991649E-2</c:v>
                </c:pt>
                <c:pt idx="2649">
                  <c:v>1.2953556270832001E-2</c:v>
                </c:pt>
                <c:pt idx="2650">
                  <c:v>1.29492904954032E-2</c:v>
                </c:pt>
                <c:pt idx="2651">
                  <c:v>1.2943613535585799E-2</c:v>
                </c:pt>
                <c:pt idx="2652">
                  <c:v>1.29571728195079E-2</c:v>
                </c:pt>
                <c:pt idx="2653">
                  <c:v>1.3156409511423901E-2</c:v>
                </c:pt>
                <c:pt idx="2654">
                  <c:v>1.31427911987672E-2</c:v>
                </c:pt>
                <c:pt idx="2655">
                  <c:v>1.3094106524699899E-2</c:v>
                </c:pt>
                <c:pt idx="2656">
                  <c:v>1.30584255455718E-2</c:v>
                </c:pt>
                <c:pt idx="2657">
                  <c:v>1.30972985683225E-2</c:v>
                </c:pt>
                <c:pt idx="2658">
                  <c:v>1.3096795848517801E-2</c:v>
                </c:pt>
                <c:pt idx="2659">
                  <c:v>1.3303636321288901E-2</c:v>
                </c:pt>
                <c:pt idx="2660">
                  <c:v>1.3151913755189201E-2</c:v>
                </c:pt>
                <c:pt idx="2661">
                  <c:v>1.3151988909657001E-2</c:v>
                </c:pt>
                <c:pt idx="2662">
                  <c:v>1.31532411752062E-2</c:v>
                </c:pt>
                <c:pt idx="2663">
                  <c:v>1.3146920281811201E-2</c:v>
                </c:pt>
                <c:pt idx="2664">
                  <c:v>1.31414753638669E-2</c:v>
                </c:pt>
                <c:pt idx="2665">
                  <c:v>1.31161665524088E-2</c:v>
                </c:pt>
                <c:pt idx="2666">
                  <c:v>1.3107298422944899E-2</c:v>
                </c:pt>
                <c:pt idx="2667">
                  <c:v>1.3059936747592199E-2</c:v>
                </c:pt>
                <c:pt idx="2668">
                  <c:v>1.3055988152552E-2</c:v>
                </c:pt>
                <c:pt idx="2669">
                  <c:v>1.30736149344707E-2</c:v>
                </c:pt>
                <c:pt idx="2670">
                  <c:v>1.3085618559925599E-2</c:v>
                </c:pt>
                <c:pt idx="2671">
                  <c:v>1.3071520274960601E-2</c:v>
                </c:pt>
                <c:pt idx="2672">
                  <c:v>1.3072104293489799E-2</c:v>
                </c:pt>
                <c:pt idx="2673">
                  <c:v>1.31702998208931E-2</c:v>
                </c:pt>
                <c:pt idx="2674">
                  <c:v>1.30736674016446E-2</c:v>
                </c:pt>
                <c:pt idx="2675">
                  <c:v>1.3277247959811399E-2</c:v>
                </c:pt>
                <c:pt idx="2676">
                  <c:v>1.33406789105104E-2</c:v>
                </c:pt>
                <c:pt idx="2677">
                  <c:v>1.33495964256303E-2</c:v>
                </c:pt>
                <c:pt idx="2678">
                  <c:v>1.33224243713058E-2</c:v>
                </c:pt>
                <c:pt idx="2679">
                  <c:v>1.33221796501936E-2</c:v>
                </c:pt>
                <c:pt idx="2680">
                  <c:v>1.33794519065366E-2</c:v>
                </c:pt>
                <c:pt idx="2681">
                  <c:v>1.3411109890980001E-2</c:v>
                </c:pt>
                <c:pt idx="2682">
                  <c:v>1.33732361455086E-2</c:v>
                </c:pt>
                <c:pt idx="2683">
                  <c:v>1.3322968618591301E-2</c:v>
                </c:pt>
                <c:pt idx="2684">
                  <c:v>1.32270240818222E-2</c:v>
                </c:pt>
                <c:pt idx="2685">
                  <c:v>1.32283652484573E-2</c:v>
                </c:pt>
                <c:pt idx="2686">
                  <c:v>1.3220866631032901E-2</c:v>
                </c:pt>
                <c:pt idx="2687">
                  <c:v>1.32466129137388E-2</c:v>
                </c:pt>
                <c:pt idx="2688">
                  <c:v>1.3251963318666101E-2</c:v>
                </c:pt>
                <c:pt idx="2689">
                  <c:v>1.3227375688716601E-2</c:v>
                </c:pt>
                <c:pt idx="2690">
                  <c:v>1.3263717509155301E-2</c:v>
                </c:pt>
                <c:pt idx="2691">
                  <c:v>1.32714062482565E-2</c:v>
                </c:pt>
                <c:pt idx="2692">
                  <c:v>1.32692540529891E-2</c:v>
                </c:pt>
                <c:pt idx="2693">
                  <c:v>1.3245890670092301E-2</c:v>
                </c:pt>
                <c:pt idx="2694">
                  <c:v>1.3244075924656699E-2</c:v>
                </c:pt>
                <c:pt idx="2695">
                  <c:v>1.3245975304823399E-2</c:v>
                </c:pt>
                <c:pt idx="2696">
                  <c:v>1.32362224950042E-2</c:v>
                </c:pt>
                <c:pt idx="2697">
                  <c:v>1.3281469186022399E-2</c:v>
                </c:pt>
                <c:pt idx="2698">
                  <c:v>1.32817738958675E-2</c:v>
                </c:pt>
                <c:pt idx="2699">
                  <c:v>1.32769242118585E-2</c:v>
                </c:pt>
                <c:pt idx="2700">
                  <c:v>1.33001154814512E-2</c:v>
                </c:pt>
                <c:pt idx="2701">
                  <c:v>1.3280233806812401E-2</c:v>
                </c:pt>
                <c:pt idx="2702">
                  <c:v>1.33002513736824E-2</c:v>
                </c:pt>
                <c:pt idx="2703">
                  <c:v>1.32904712844017E-2</c:v>
                </c:pt>
                <c:pt idx="2704">
                  <c:v>1.32910396276847E-2</c:v>
                </c:pt>
                <c:pt idx="2705">
                  <c:v>1.33497171932452E-2</c:v>
                </c:pt>
                <c:pt idx="2706">
                  <c:v>1.35731410003546E-2</c:v>
                </c:pt>
                <c:pt idx="2707">
                  <c:v>1.3566787879584799E-2</c:v>
                </c:pt>
                <c:pt idx="2708">
                  <c:v>1.3567549184550699E-2</c:v>
                </c:pt>
                <c:pt idx="2709">
                  <c:v>1.34987020592915E-2</c:v>
                </c:pt>
                <c:pt idx="2710">
                  <c:v>1.35086065408602E-2</c:v>
                </c:pt>
                <c:pt idx="2711">
                  <c:v>1.3695601959827801E-2</c:v>
                </c:pt>
                <c:pt idx="2712">
                  <c:v>1.36913497817734E-2</c:v>
                </c:pt>
                <c:pt idx="2713">
                  <c:v>1.44447150829014E-2</c:v>
                </c:pt>
                <c:pt idx="2714">
                  <c:v>1.44417507356434E-2</c:v>
                </c:pt>
                <c:pt idx="2715">
                  <c:v>1.44370034801884E-2</c:v>
                </c:pt>
                <c:pt idx="2716">
                  <c:v>1.4428854103595901E-2</c:v>
                </c:pt>
                <c:pt idx="2717">
                  <c:v>1.4487015792329999E-2</c:v>
                </c:pt>
                <c:pt idx="2718">
                  <c:v>1.44705449090952E-2</c:v>
                </c:pt>
                <c:pt idx="2719">
                  <c:v>1.4396474630861E-2</c:v>
                </c:pt>
                <c:pt idx="2720">
                  <c:v>1.4404360763352501E-2</c:v>
                </c:pt>
                <c:pt idx="2721">
                  <c:v>1.4396699305810501E-2</c:v>
                </c:pt>
                <c:pt idx="2722">
                  <c:v>1.43970808113479E-2</c:v>
                </c:pt>
                <c:pt idx="2723">
                  <c:v>1.4539402435939401E-2</c:v>
                </c:pt>
                <c:pt idx="2724">
                  <c:v>1.4519532827119401E-2</c:v>
                </c:pt>
                <c:pt idx="2725">
                  <c:v>1.4635178778500501E-2</c:v>
                </c:pt>
                <c:pt idx="2726">
                  <c:v>1.49771476331731E-2</c:v>
                </c:pt>
                <c:pt idx="2727">
                  <c:v>1.5051436172354E-2</c:v>
                </c:pt>
                <c:pt idx="2728">
                  <c:v>1.4760950871637301E-2</c:v>
                </c:pt>
                <c:pt idx="2729">
                  <c:v>1.4761653265817701E-2</c:v>
                </c:pt>
                <c:pt idx="2730">
                  <c:v>1.47940089191574E-2</c:v>
                </c:pt>
                <c:pt idx="2731">
                  <c:v>1.4837669701776499E-2</c:v>
                </c:pt>
                <c:pt idx="2732">
                  <c:v>1.4925107123654699E-2</c:v>
                </c:pt>
                <c:pt idx="2733">
                  <c:v>1.4920492857339001E-2</c:v>
                </c:pt>
                <c:pt idx="2734">
                  <c:v>1.4955299255966101E-2</c:v>
                </c:pt>
                <c:pt idx="2735">
                  <c:v>1.49461255912107E-2</c:v>
                </c:pt>
                <c:pt idx="2736">
                  <c:v>1.49464887828872E-2</c:v>
                </c:pt>
                <c:pt idx="2737">
                  <c:v>1.48662750417112E-2</c:v>
                </c:pt>
                <c:pt idx="2738">
                  <c:v>1.494635897688E-2</c:v>
                </c:pt>
                <c:pt idx="2739">
                  <c:v>1.4943340750547899E-2</c:v>
                </c:pt>
                <c:pt idx="2740">
                  <c:v>1.4942879430039699E-2</c:v>
                </c:pt>
                <c:pt idx="2741">
                  <c:v>1.50134604996464E-2</c:v>
                </c:pt>
                <c:pt idx="2742">
                  <c:v>1.4861516165066001E-2</c:v>
                </c:pt>
                <c:pt idx="2743">
                  <c:v>1.4837248990576E-2</c:v>
                </c:pt>
                <c:pt idx="2744">
                  <c:v>1.4827487547002499E-2</c:v>
                </c:pt>
                <c:pt idx="2745">
                  <c:v>1.47518419145659E-2</c:v>
                </c:pt>
                <c:pt idx="2746">
                  <c:v>1.4751721225768099E-2</c:v>
                </c:pt>
                <c:pt idx="2747">
                  <c:v>1.47399851201936E-2</c:v>
                </c:pt>
                <c:pt idx="2748">
                  <c:v>1.48801936745589E-2</c:v>
                </c:pt>
                <c:pt idx="2749">
                  <c:v>1.4878127495125499E-2</c:v>
                </c:pt>
                <c:pt idx="2750">
                  <c:v>1.48810572930411E-2</c:v>
                </c:pt>
                <c:pt idx="2751">
                  <c:v>1.4904566640351899E-2</c:v>
                </c:pt>
                <c:pt idx="2752">
                  <c:v>1.48749934777432E-2</c:v>
                </c:pt>
                <c:pt idx="2753">
                  <c:v>1.48981483466932E-2</c:v>
                </c:pt>
                <c:pt idx="2754">
                  <c:v>1.4906690731330101E-2</c:v>
                </c:pt>
                <c:pt idx="2755">
                  <c:v>1.4880160921610999E-2</c:v>
                </c:pt>
                <c:pt idx="2756">
                  <c:v>1.48802647588148E-2</c:v>
                </c:pt>
                <c:pt idx="2757">
                  <c:v>1.4880789625626299E-2</c:v>
                </c:pt>
                <c:pt idx="2758">
                  <c:v>1.4892941492773201E-2</c:v>
                </c:pt>
                <c:pt idx="2759">
                  <c:v>1.4888370672397599E-2</c:v>
                </c:pt>
                <c:pt idx="2760">
                  <c:v>1.4893432058489401E-2</c:v>
                </c:pt>
                <c:pt idx="2761">
                  <c:v>1.48895545702468E-2</c:v>
                </c:pt>
                <c:pt idx="2762">
                  <c:v>1.4830270082034001E-2</c:v>
                </c:pt>
                <c:pt idx="2763">
                  <c:v>1.4829060435709E-2</c:v>
                </c:pt>
                <c:pt idx="2764">
                  <c:v>1.4864041882131701E-2</c:v>
                </c:pt>
                <c:pt idx="2765">
                  <c:v>1.4861382162481699E-2</c:v>
                </c:pt>
                <c:pt idx="2766">
                  <c:v>1.4863208087402E-2</c:v>
                </c:pt>
                <c:pt idx="2767">
                  <c:v>1.48111116941532E-2</c:v>
                </c:pt>
                <c:pt idx="2768">
                  <c:v>1.50072125593154E-2</c:v>
                </c:pt>
                <c:pt idx="2769">
                  <c:v>1.5034428672663301E-2</c:v>
                </c:pt>
                <c:pt idx="2770">
                  <c:v>1.4980313370868401E-2</c:v>
                </c:pt>
                <c:pt idx="2771">
                  <c:v>1.4991694744673101E-2</c:v>
                </c:pt>
                <c:pt idx="2772">
                  <c:v>1.4969817713083601E-2</c:v>
                </c:pt>
                <c:pt idx="2773">
                  <c:v>1.4962692083458601E-2</c:v>
                </c:pt>
                <c:pt idx="2774">
                  <c:v>1.5039092607559101E-2</c:v>
                </c:pt>
                <c:pt idx="2775">
                  <c:v>1.5034942902992701E-2</c:v>
                </c:pt>
                <c:pt idx="2776">
                  <c:v>1.5046734308965999E-2</c:v>
                </c:pt>
                <c:pt idx="2777">
                  <c:v>1.50592110114184E-2</c:v>
                </c:pt>
                <c:pt idx="2778">
                  <c:v>1.50597839262332E-2</c:v>
                </c:pt>
                <c:pt idx="2779">
                  <c:v>1.5108507339777E-2</c:v>
                </c:pt>
                <c:pt idx="2780">
                  <c:v>1.5086936098172301E-2</c:v>
                </c:pt>
                <c:pt idx="2781">
                  <c:v>1.5072804273901799E-2</c:v>
                </c:pt>
                <c:pt idx="2782">
                  <c:v>1.50920805941714E-2</c:v>
                </c:pt>
                <c:pt idx="2783">
                  <c:v>1.5076281541773699E-2</c:v>
                </c:pt>
                <c:pt idx="2784">
                  <c:v>1.5056605243817099E-2</c:v>
                </c:pt>
                <c:pt idx="2785">
                  <c:v>1.5079047936864799E-2</c:v>
                </c:pt>
                <c:pt idx="2786">
                  <c:v>1.48787356727835E-2</c:v>
                </c:pt>
                <c:pt idx="2787">
                  <c:v>1.48788149509175E-2</c:v>
                </c:pt>
                <c:pt idx="2788">
                  <c:v>1.4881549761160901E-2</c:v>
                </c:pt>
                <c:pt idx="2789">
                  <c:v>1.4865498017701401E-2</c:v>
                </c:pt>
                <c:pt idx="2790">
                  <c:v>1.48637710515207E-2</c:v>
                </c:pt>
                <c:pt idx="2791">
                  <c:v>1.49167033065165E-2</c:v>
                </c:pt>
                <c:pt idx="2792">
                  <c:v>1.4913691772540301E-2</c:v>
                </c:pt>
                <c:pt idx="2793">
                  <c:v>1.4527146513640499E-2</c:v>
                </c:pt>
                <c:pt idx="2794">
                  <c:v>1.45335522758713E-2</c:v>
                </c:pt>
                <c:pt idx="2795">
                  <c:v>1.45646685689919E-2</c:v>
                </c:pt>
                <c:pt idx="2796">
                  <c:v>1.45645995441421E-2</c:v>
                </c:pt>
                <c:pt idx="2797">
                  <c:v>1.45599874805516E-2</c:v>
                </c:pt>
                <c:pt idx="2798">
                  <c:v>1.4592682400424099E-2</c:v>
                </c:pt>
                <c:pt idx="2799">
                  <c:v>1.46245560971958E-2</c:v>
                </c:pt>
                <c:pt idx="2800">
                  <c:v>1.44942405321812E-2</c:v>
                </c:pt>
                <c:pt idx="2801">
                  <c:v>1.44921275854478E-2</c:v>
                </c:pt>
                <c:pt idx="2802">
                  <c:v>1.4487896348068499E-2</c:v>
                </c:pt>
                <c:pt idx="2803">
                  <c:v>1.4478291856055901E-2</c:v>
                </c:pt>
                <c:pt idx="2804">
                  <c:v>1.44300000763441E-2</c:v>
                </c:pt>
                <c:pt idx="2805">
                  <c:v>1.44620679499841E-2</c:v>
                </c:pt>
                <c:pt idx="2806">
                  <c:v>1.4460298869569699E-2</c:v>
                </c:pt>
                <c:pt idx="2807">
                  <c:v>1.4477956792161E-2</c:v>
                </c:pt>
                <c:pt idx="2808">
                  <c:v>1.45614784812666E-2</c:v>
                </c:pt>
                <c:pt idx="2809">
                  <c:v>1.45706164494569E-2</c:v>
                </c:pt>
                <c:pt idx="2810">
                  <c:v>1.4582102861693E-2</c:v>
                </c:pt>
                <c:pt idx="2811">
                  <c:v>1.4525565489595899E-2</c:v>
                </c:pt>
                <c:pt idx="2812">
                  <c:v>1.45237416681751E-2</c:v>
                </c:pt>
                <c:pt idx="2813">
                  <c:v>1.45208459273701E-2</c:v>
                </c:pt>
                <c:pt idx="2814">
                  <c:v>1.45121544874532E-2</c:v>
                </c:pt>
                <c:pt idx="2815">
                  <c:v>1.44662639033911E-2</c:v>
                </c:pt>
                <c:pt idx="2816">
                  <c:v>1.4461340453313201E-2</c:v>
                </c:pt>
                <c:pt idx="2817">
                  <c:v>1.44570941821497E-2</c:v>
                </c:pt>
                <c:pt idx="2818">
                  <c:v>1.4477303686180099E-2</c:v>
                </c:pt>
                <c:pt idx="2819">
                  <c:v>1.44823753130184E-2</c:v>
                </c:pt>
                <c:pt idx="2820">
                  <c:v>1.44795603922152E-2</c:v>
                </c:pt>
                <c:pt idx="2821">
                  <c:v>1.4322134276156299E-2</c:v>
                </c:pt>
                <c:pt idx="2822">
                  <c:v>1.4325107207231701E-2</c:v>
                </c:pt>
                <c:pt idx="2823">
                  <c:v>1.43527154571624E-2</c:v>
                </c:pt>
                <c:pt idx="2824">
                  <c:v>1.43537022790812E-2</c:v>
                </c:pt>
                <c:pt idx="2825">
                  <c:v>1.42804896895516E-2</c:v>
                </c:pt>
                <c:pt idx="2826">
                  <c:v>1.42795735417129E-2</c:v>
                </c:pt>
                <c:pt idx="2827">
                  <c:v>1.42652461979713E-2</c:v>
                </c:pt>
                <c:pt idx="2828">
                  <c:v>1.4309535888404499E-2</c:v>
                </c:pt>
                <c:pt idx="2829">
                  <c:v>1.4305038106244001E-2</c:v>
                </c:pt>
                <c:pt idx="2830">
                  <c:v>1.430077027606E-2</c:v>
                </c:pt>
                <c:pt idx="2831">
                  <c:v>1.43188503199492E-2</c:v>
                </c:pt>
                <c:pt idx="2832">
                  <c:v>1.42621820561849E-2</c:v>
                </c:pt>
                <c:pt idx="2833">
                  <c:v>1.42537586317038E-2</c:v>
                </c:pt>
                <c:pt idx="2834">
                  <c:v>1.4065702556548701E-2</c:v>
                </c:pt>
                <c:pt idx="2835">
                  <c:v>1.41553417015646E-2</c:v>
                </c:pt>
                <c:pt idx="2836">
                  <c:v>1.41548418630204E-2</c:v>
                </c:pt>
                <c:pt idx="2837">
                  <c:v>1.41217030022475E-2</c:v>
                </c:pt>
                <c:pt idx="2838">
                  <c:v>1.41110330982762E-2</c:v>
                </c:pt>
                <c:pt idx="2839">
                  <c:v>1.39937777770983E-2</c:v>
                </c:pt>
                <c:pt idx="2840">
                  <c:v>1.4048403838109701E-2</c:v>
                </c:pt>
                <c:pt idx="2841">
                  <c:v>1.3654592431128E-2</c:v>
                </c:pt>
                <c:pt idx="2842">
                  <c:v>1.3518879696791801E-2</c:v>
                </c:pt>
                <c:pt idx="2843">
                  <c:v>1.34978052818566E-2</c:v>
                </c:pt>
                <c:pt idx="2844">
                  <c:v>1.3506100583439099E-2</c:v>
                </c:pt>
                <c:pt idx="2845">
                  <c:v>1.3595276389430399E-2</c:v>
                </c:pt>
                <c:pt idx="2846">
                  <c:v>1.35909634371871E-2</c:v>
                </c:pt>
                <c:pt idx="2847">
                  <c:v>1.3557897582658599E-2</c:v>
                </c:pt>
                <c:pt idx="2848">
                  <c:v>1.35501699935057E-2</c:v>
                </c:pt>
                <c:pt idx="2849">
                  <c:v>1.35576404456762E-2</c:v>
                </c:pt>
                <c:pt idx="2850">
                  <c:v>1.3559588570712801E-2</c:v>
                </c:pt>
                <c:pt idx="2851">
                  <c:v>1.35387415910795E-2</c:v>
                </c:pt>
                <c:pt idx="2852">
                  <c:v>1.35217332913211E-2</c:v>
                </c:pt>
                <c:pt idx="2853">
                  <c:v>1.33074956744393E-2</c:v>
                </c:pt>
                <c:pt idx="2854">
                  <c:v>1.3344780686836699E-2</c:v>
                </c:pt>
                <c:pt idx="2855">
                  <c:v>1.33482503830185E-2</c:v>
                </c:pt>
                <c:pt idx="2856">
                  <c:v>1.3369806537901201E-2</c:v>
                </c:pt>
                <c:pt idx="2857">
                  <c:v>1.34626911846748E-2</c:v>
                </c:pt>
                <c:pt idx="2858">
                  <c:v>1.34636783059811E-2</c:v>
                </c:pt>
                <c:pt idx="2859">
                  <c:v>1.32736794942075E-2</c:v>
                </c:pt>
                <c:pt idx="2860">
                  <c:v>1.33043039410033E-2</c:v>
                </c:pt>
                <c:pt idx="2861">
                  <c:v>1.33053532522797E-2</c:v>
                </c:pt>
                <c:pt idx="2862">
                  <c:v>1.3307682102484101E-2</c:v>
                </c:pt>
                <c:pt idx="2863">
                  <c:v>1.3329871698181801E-2</c:v>
                </c:pt>
                <c:pt idx="2864">
                  <c:v>1.33318566059104E-2</c:v>
                </c:pt>
                <c:pt idx="2865">
                  <c:v>1.3439676833247E-2</c:v>
                </c:pt>
                <c:pt idx="2866">
                  <c:v>1.34524701699887E-2</c:v>
                </c:pt>
                <c:pt idx="2867">
                  <c:v>1.3452780182826699E-2</c:v>
                </c:pt>
                <c:pt idx="2868">
                  <c:v>1.3450245091706101E-2</c:v>
                </c:pt>
                <c:pt idx="2869">
                  <c:v>1.34417036700173E-2</c:v>
                </c:pt>
                <c:pt idx="2870">
                  <c:v>1.3434375986625899E-2</c:v>
                </c:pt>
                <c:pt idx="2871">
                  <c:v>1.3462987369552299E-2</c:v>
                </c:pt>
                <c:pt idx="2872">
                  <c:v>1.34872123360519E-2</c:v>
                </c:pt>
                <c:pt idx="2873">
                  <c:v>1.3354769886060901E-2</c:v>
                </c:pt>
                <c:pt idx="2874">
                  <c:v>1.33721400183433E-2</c:v>
                </c:pt>
                <c:pt idx="2875">
                  <c:v>1.3266807330728899E-2</c:v>
                </c:pt>
                <c:pt idx="2876">
                  <c:v>1.3317410924696699E-2</c:v>
                </c:pt>
                <c:pt idx="2877">
                  <c:v>1.32986979405892E-2</c:v>
                </c:pt>
                <c:pt idx="2878">
                  <c:v>1.32899603199584E-2</c:v>
                </c:pt>
                <c:pt idx="2879">
                  <c:v>1.33170882094144E-2</c:v>
                </c:pt>
                <c:pt idx="2880">
                  <c:v>1.3261406960427401E-2</c:v>
                </c:pt>
                <c:pt idx="2881">
                  <c:v>1.3225772756745399E-2</c:v>
                </c:pt>
                <c:pt idx="2882">
                  <c:v>1.3238724090477799E-2</c:v>
                </c:pt>
                <c:pt idx="2883">
                  <c:v>1.32374179756328E-2</c:v>
                </c:pt>
                <c:pt idx="2884">
                  <c:v>1.32329110543158E-2</c:v>
                </c:pt>
                <c:pt idx="2885">
                  <c:v>1.34218635308895E-2</c:v>
                </c:pt>
                <c:pt idx="2886">
                  <c:v>1.34271107236684E-2</c:v>
                </c:pt>
                <c:pt idx="2887">
                  <c:v>1.33924618292224E-2</c:v>
                </c:pt>
                <c:pt idx="2888">
                  <c:v>1.3417440978850901E-2</c:v>
                </c:pt>
                <c:pt idx="2889">
                  <c:v>1.33601657687645E-2</c:v>
                </c:pt>
                <c:pt idx="2890">
                  <c:v>1.3330963758443301E-2</c:v>
                </c:pt>
                <c:pt idx="2891">
                  <c:v>1.33200389872501E-2</c:v>
                </c:pt>
                <c:pt idx="2892">
                  <c:v>1.33277727200157E-2</c:v>
                </c:pt>
                <c:pt idx="2893">
                  <c:v>1.3369252851248001E-2</c:v>
                </c:pt>
                <c:pt idx="2894">
                  <c:v>1.356667625673E-2</c:v>
                </c:pt>
                <c:pt idx="2895">
                  <c:v>1.35742526610888E-2</c:v>
                </c:pt>
                <c:pt idx="2896">
                  <c:v>1.3573656519296699E-2</c:v>
                </c:pt>
                <c:pt idx="2897">
                  <c:v>1.3513521474600901E-2</c:v>
                </c:pt>
                <c:pt idx="2898">
                  <c:v>1.35203933091001E-2</c:v>
                </c:pt>
                <c:pt idx="2899">
                  <c:v>1.351966400659E-2</c:v>
                </c:pt>
                <c:pt idx="2900">
                  <c:v>1.35028426709723E-2</c:v>
                </c:pt>
                <c:pt idx="2901">
                  <c:v>1.35170310546324E-2</c:v>
                </c:pt>
                <c:pt idx="2902">
                  <c:v>1.3498485723528599E-2</c:v>
                </c:pt>
                <c:pt idx="2903">
                  <c:v>1.35058716420753E-2</c:v>
                </c:pt>
                <c:pt idx="2904">
                  <c:v>1.3498082678090001E-2</c:v>
                </c:pt>
                <c:pt idx="2905">
                  <c:v>1.35532746766929E-2</c:v>
                </c:pt>
                <c:pt idx="2906">
                  <c:v>1.3336735396074899E-2</c:v>
                </c:pt>
                <c:pt idx="2907">
                  <c:v>1.3374240881082701E-2</c:v>
                </c:pt>
                <c:pt idx="2908">
                  <c:v>1.3369625010036801E-2</c:v>
                </c:pt>
                <c:pt idx="2909">
                  <c:v>1.3361785314415E-2</c:v>
                </c:pt>
                <c:pt idx="2910">
                  <c:v>1.34069318642409E-2</c:v>
                </c:pt>
                <c:pt idx="2911">
                  <c:v>1.3197926763194499E-2</c:v>
                </c:pt>
                <c:pt idx="2912">
                  <c:v>1.3199497929249E-2</c:v>
                </c:pt>
                <c:pt idx="2913">
                  <c:v>1.23660850740733E-2</c:v>
                </c:pt>
                <c:pt idx="2914">
                  <c:v>1.2422881187121201E-2</c:v>
                </c:pt>
                <c:pt idx="2915">
                  <c:v>1.2426291683083899E-2</c:v>
                </c:pt>
                <c:pt idx="2916">
                  <c:v>1.24239421046864E-2</c:v>
                </c:pt>
                <c:pt idx="2917">
                  <c:v>1.2357019774199699E-2</c:v>
                </c:pt>
                <c:pt idx="2918">
                  <c:v>1.23718300638019E-2</c:v>
                </c:pt>
                <c:pt idx="2919">
                  <c:v>1.2414855641258099E-2</c:v>
                </c:pt>
                <c:pt idx="2920">
                  <c:v>1.2426665553069E-2</c:v>
                </c:pt>
                <c:pt idx="2921">
                  <c:v>1.24126497152755E-2</c:v>
                </c:pt>
                <c:pt idx="2922">
                  <c:v>1.24116900725118E-2</c:v>
                </c:pt>
                <c:pt idx="2923">
                  <c:v>1.2243650622479001E-2</c:v>
                </c:pt>
                <c:pt idx="2924">
                  <c:v>1.22612845234335E-2</c:v>
                </c:pt>
                <c:pt idx="2925">
                  <c:v>1.2098197124758099E-2</c:v>
                </c:pt>
                <c:pt idx="2926">
                  <c:v>1.1661818263943099E-2</c:v>
                </c:pt>
                <c:pt idx="2927">
                  <c:v>1.1659316434254901E-2</c:v>
                </c:pt>
                <c:pt idx="2928">
                  <c:v>1.1616827163345399E-2</c:v>
                </c:pt>
                <c:pt idx="2929">
                  <c:v>1.1611841904583401E-2</c:v>
                </c:pt>
                <c:pt idx="2930">
                  <c:v>1.1599183322560901E-2</c:v>
                </c:pt>
                <c:pt idx="2931">
                  <c:v>1.1541786448729101E-2</c:v>
                </c:pt>
                <c:pt idx="2932">
                  <c:v>1.14547271952286E-2</c:v>
                </c:pt>
                <c:pt idx="2933">
                  <c:v>1.1448095281760599E-2</c:v>
                </c:pt>
                <c:pt idx="2934">
                  <c:v>1.12864011704363E-2</c:v>
                </c:pt>
                <c:pt idx="2935">
                  <c:v>1.1276103968653599E-2</c:v>
                </c:pt>
                <c:pt idx="2936">
                  <c:v>1.12866533404163E-2</c:v>
                </c:pt>
                <c:pt idx="2937">
                  <c:v>1.12818180286125E-2</c:v>
                </c:pt>
                <c:pt idx="2938">
                  <c:v>1.1179672306572901E-2</c:v>
                </c:pt>
                <c:pt idx="2939">
                  <c:v>1.1194769173989901E-2</c:v>
                </c:pt>
                <c:pt idx="2940">
                  <c:v>1.1203570519259199E-2</c:v>
                </c:pt>
                <c:pt idx="2941">
                  <c:v>1.10766824978452E-2</c:v>
                </c:pt>
                <c:pt idx="2942">
                  <c:v>1.10782398228313E-2</c:v>
                </c:pt>
                <c:pt idx="2943">
                  <c:v>1.10556479490543E-2</c:v>
                </c:pt>
                <c:pt idx="2944">
                  <c:v>1.10707652066809E-2</c:v>
                </c:pt>
                <c:pt idx="2945">
                  <c:v>1.1075620939372401E-2</c:v>
                </c:pt>
                <c:pt idx="2946">
                  <c:v>1.1075205688462699E-2</c:v>
                </c:pt>
                <c:pt idx="2947">
                  <c:v>1.1108436038534E-2</c:v>
                </c:pt>
                <c:pt idx="2948">
                  <c:v>1.0914592535934801E-2</c:v>
                </c:pt>
                <c:pt idx="2949">
                  <c:v>1.0914403142754501E-2</c:v>
                </c:pt>
                <c:pt idx="2950">
                  <c:v>1.0938687148054699E-2</c:v>
                </c:pt>
                <c:pt idx="2951">
                  <c:v>1.0921482034202E-2</c:v>
                </c:pt>
                <c:pt idx="2952">
                  <c:v>1.0931859681598899E-2</c:v>
                </c:pt>
                <c:pt idx="2953">
                  <c:v>1.0901787147854501E-2</c:v>
                </c:pt>
                <c:pt idx="2954">
                  <c:v>1.09407122917442E-2</c:v>
                </c:pt>
                <c:pt idx="2955">
                  <c:v>1.0946098419686801E-2</c:v>
                </c:pt>
                <c:pt idx="2956">
                  <c:v>1.09456469977401E-2</c:v>
                </c:pt>
                <c:pt idx="2957">
                  <c:v>1.0940812295343201E-2</c:v>
                </c:pt>
                <c:pt idx="2958">
                  <c:v>1.0840312826199299E-2</c:v>
                </c:pt>
                <c:pt idx="2959">
                  <c:v>1.08526478206937E-2</c:v>
                </c:pt>
                <c:pt idx="2960">
                  <c:v>1.08468872875395E-2</c:v>
                </c:pt>
                <c:pt idx="2961">
                  <c:v>1.08556881241775E-2</c:v>
                </c:pt>
                <c:pt idx="2962">
                  <c:v>1.0855124830779699E-2</c:v>
                </c:pt>
                <c:pt idx="2963">
                  <c:v>1.08553246633048E-2</c:v>
                </c:pt>
                <c:pt idx="2964">
                  <c:v>1.08083181986802E-2</c:v>
                </c:pt>
                <c:pt idx="2965">
                  <c:v>1.0807985907764901E-2</c:v>
                </c:pt>
                <c:pt idx="2966">
                  <c:v>1.08053504811511E-2</c:v>
                </c:pt>
                <c:pt idx="2967">
                  <c:v>1.0794501732211401E-2</c:v>
                </c:pt>
                <c:pt idx="2968">
                  <c:v>1.0552645212473E-2</c:v>
                </c:pt>
                <c:pt idx="2969">
                  <c:v>1.0502591754128701E-2</c:v>
                </c:pt>
                <c:pt idx="2970">
                  <c:v>1.0501199723933201E-2</c:v>
                </c:pt>
                <c:pt idx="2971">
                  <c:v>1.05073246538722E-2</c:v>
                </c:pt>
                <c:pt idx="2972">
                  <c:v>1.0497613946904001E-2</c:v>
                </c:pt>
                <c:pt idx="2973">
                  <c:v>1.0494932489844601E-2</c:v>
                </c:pt>
                <c:pt idx="2974">
                  <c:v>1.0404823245954001E-2</c:v>
                </c:pt>
                <c:pt idx="2975">
                  <c:v>1.04066294625225E-2</c:v>
                </c:pt>
                <c:pt idx="2976">
                  <c:v>1.0338541339903499E-2</c:v>
                </c:pt>
                <c:pt idx="2977">
                  <c:v>1.03486715495843E-2</c:v>
                </c:pt>
                <c:pt idx="2978">
                  <c:v>1.03430995026422E-2</c:v>
                </c:pt>
                <c:pt idx="2979">
                  <c:v>1.03427971016153E-2</c:v>
                </c:pt>
                <c:pt idx="2980">
                  <c:v>1.0365316785833301E-2</c:v>
                </c:pt>
                <c:pt idx="2981">
                  <c:v>1.05437076953645E-2</c:v>
                </c:pt>
                <c:pt idx="2982">
                  <c:v>1.05015655618789E-2</c:v>
                </c:pt>
                <c:pt idx="2983">
                  <c:v>1.04988337026862E-2</c:v>
                </c:pt>
                <c:pt idx="2984">
                  <c:v>1.05124913047848E-2</c:v>
                </c:pt>
                <c:pt idx="2985">
                  <c:v>1.04674496675862E-2</c:v>
                </c:pt>
                <c:pt idx="2986">
                  <c:v>1.0561172082079601E-2</c:v>
                </c:pt>
                <c:pt idx="2987">
                  <c:v>1.0561792504078901E-2</c:v>
                </c:pt>
                <c:pt idx="2988">
                  <c:v>1.04795277672517E-2</c:v>
                </c:pt>
                <c:pt idx="2989">
                  <c:v>1.0531621969335299E-2</c:v>
                </c:pt>
                <c:pt idx="2990">
                  <c:v>1.05252850242598E-2</c:v>
                </c:pt>
                <c:pt idx="2991">
                  <c:v>1.0493948152889E-2</c:v>
                </c:pt>
                <c:pt idx="2992">
                  <c:v>1.0471928838149401E-2</c:v>
                </c:pt>
                <c:pt idx="2993">
                  <c:v>1.0442479351319599E-2</c:v>
                </c:pt>
                <c:pt idx="2994">
                  <c:v>1.0451930242425999E-2</c:v>
                </c:pt>
                <c:pt idx="2995">
                  <c:v>1.0436214169216701E-2</c:v>
                </c:pt>
                <c:pt idx="2996">
                  <c:v>1.04442382459453E-2</c:v>
                </c:pt>
                <c:pt idx="2997">
                  <c:v>1.0442659265109899E-2</c:v>
                </c:pt>
                <c:pt idx="2998">
                  <c:v>1.0392510825213501E-2</c:v>
                </c:pt>
                <c:pt idx="2999">
                  <c:v>1.0350664219253E-2</c:v>
                </c:pt>
                <c:pt idx="3000">
                  <c:v>1.03506371031669E-2</c:v>
                </c:pt>
                <c:pt idx="3001">
                  <c:v>1.03716963642747E-2</c:v>
                </c:pt>
                <c:pt idx="3002">
                  <c:v>1.0386418071686899E-2</c:v>
                </c:pt>
                <c:pt idx="3003">
                  <c:v>1.03481992007234E-2</c:v>
                </c:pt>
                <c:pt idx="3004">
                  <c:v>1.03526897194797E-2</c:v>
                </c:pt>
                <c:pt idx="3005">
                  <c:v>1.03376778712256E-2</c:v>
                </c:pt>
                <c:pt idx="3006">
                  <c:v>1.034746630993E-2</c:v>
                </c:pt>
                <c:pt idx="3007">
                  <c:v>1.0363175181014201E-2</c:v>
                </c:pt>
                <c:pt idx="3008">
                  <c:v>1.0259167351891601E-2</c:v>
                </c:pt>
                <c:pt idx="3009">
                  <c:v>1.02593566350859E-2</c:v>
                </c:pt>
                <c:pt idx="3010">
                  <c:v>1.0185531502897799E-2</c:v>
                </c:pt>
                <c:pt idx="3011">
                  <c:v>9.9208131873419203E-3</c:v>
                </c:pt>
                <c:pt idx="3012">
                  <c:v>9.9156321167901493E-3</c:v>
                </c:pt>
                <c:pt idx="3013">
                  <c:v>9.9122098470274204E-3</c:v>
                </c:pt>
                <c:pt idx="3014">
                  <c:v>9.9119945588082604E-3</c:v>
                </c:pt>
                <c:pt idx="3015">
                  <c:v>9.9055428048329397E-3</c:v>
                </c:pt>
                <c:pt idx="3016">
                  <c:v>1.00036790712428E-2</c:v>
                </c:pt>
                <c:pt idx="3017">
                  <c:v>1.0010477213421401E-2</c:v>
                </c:pt>
                <c:pt idx="3018">
                  <c:v>9.9809170409451992E-3</c:v>
                </c:pt>
                <c:pt idx="3019">
                  <c:v>9.9658549012709707E-3</c:v>
                </c:pt>
                <c:pt idx="3020">
                  <c:v>1.0058306488979299E-2</c:v>
                </c:pt>
                <c:pt idx="3021">
                  <c:v>1.00602715495793E-2</c:v>
                </c:pt>
                <c:pt idx="3022">
                  <c:v>1.01125185531979E-2</c:v>
                </c:pt>
                <c:pt idx="3023">
                  <c:v>1.0070096809534799E-2</c:v>
                </c:pt>
                <c:pt idx="3024">
                  <c:v>1.00682338116288E-2</c:v>
                </c:pt>
                <c:pt idx="3025">
                  <c:v>1.00626911437169E-2</c:v>
                </c:pt>
                <c:pt idx="3026">
                  <c:v>1.0063035070876801E-2</c:v>
                </c:pt>
                <c:pt idx="3027">
                  <c:v>1.0093446926129601E-2</c:v>
                </c:pt>
                <c:pt idx="3028">
                  <c:v>1.00236754714316E-2</c:v>
                </c:pt>
                <c:pt idx="3029">
                  <c:v>1.0033091942832899E-2</c:v>
                </c:pt>
                <c:pt idx="3030">
                  <c:v>1.00385784189618E-2</c:v>
                </c:pt>
                <c:pt idx="3031">
                  <c:v>9.9746208563139E-3</c:v>
                </c:pt>
                <c:pt idx="3032">
                  <c:v>9.9799667308074803E-3</c:v>
                </c:pt>
                <c:pt idx="3033">
                  <c:v>9.9966112496809E-3</c:v>
                </c:pt>
                <c:pt idx="3034">
                  <c:v>9.9677285912725191E-3</c:v>
                </c:pt>
                <c:pt idx="3035">
                  <c:v>9.8297679366984303E-3</c:v>
                </c:pt>
                <c:pt idx="3036">
                  <c:v>9.8491840254260696E-3</c:v>
                </c:pt>
                <c:pt idx="3037">
                  <c:v>9.85911939486348E-3</c:v>
                </c:pt>
                <c:pt idx="3038">
                  <c:v>9.8700505653858302E-3</c:v>
                </c:pt>
                <c:pt idx="3039">
                  <c:v>9.7920227913300996E-3</c:v>
                </c:pt>
                <c:pt idx="3040">
                  <c:v>9.7447524091023308E-3</c:v>
                </c:pt>
                <c:pt idx="3041">
                  <c:v>9.8442729774054494E-3</c:v>
                </c:pt>
                <c:pt idx="3042">
                  <c:v>9.8515816349951397E-3</c:v>
                </c:pt>
                <c:pt idx="3043">
                  <c:v>9.8599873598818697E-3</c:v>
                </c:pt>
                <c:pt idx="3044">
                  <c:v>9.8715010482183507E-3</c:v>
                </c:pt>
                <c:pt idx="3045">
                  <c:v>9.7298002747250902E-3</c:v>
                </c:pt>
                <c:pt idx="3046">
                  <c:v>9.7296357410550007E-3</c:v>
                </c:pt>
                <c:pt idx="3047">
                  <c:v>9.7343679639487306E-3</c:v>
                </c:pt>
                <c:pt idx="3048">
                  <c:v>9.7116018175511503E-3</c:v>
                </c:pt>
                <c:pt idx="3049">
                  <c:v>9.6942841585803893E-3</c:v>
                </c:pt>
                <c:pt idx="3050">
                  <c:v>9.8386429802090301E-3</c:v>
                </c:pt>
                <c:pt idx="3051">
                  <c:v>9.8256981273943996E-3</c:v>
                </c:pt>
                <c:pt idx="3052">
                  <c:v>9.8678180911281992E-3</c:v>
                </c:pt>
                <c:pt idx="3053">
                  <c:v>9.8782325028921505E-3</c:v>
                </c:pt>
                <c:pt idx="3054">
                  <c:v>9.8129120133528692E-3</c:v>
                </c:pt>
                <c:pt idx="3055">
                  <c:v>9.81185769268649E-3</c:v>
                </c:pt>
                <c:pt idx="3056">
                  <c:v>9.8210882822599502E-3</c:v>
                </c:pt>
                <c:pt idx="3057">
                  <c:v>9.66425999822078E-3</c:v>
                </c:pt>
                <c:pt idx="3058">
                  <c:v>9.6551707483077502E-3</c:v>
                </c:pt>
                <c:pt idx="3059">
                  <c:v>9.7261933811019392E-3</c:v>
                </c:pt>
                <c:pt idx="3060">
                  <c:v>9.8272549093343202E-3</c:v>
                </c:pt>
                <c:pt idx="3061">
                  <c:v>9.8681318873938204E-3</c:v>
                </c:pt>
                <c:pt idx="3062">
                  <c:v>9.9085515576420192E-3</c:v>
                </c:pt>
                <c:pt idx="3063">
                  <c:v>9.8965311338334392E-3</c:v>
                </c:pt>
                <c:pt idx="3064">
                  <c:v>9.9790075555068105E-3</c:v>
                </c:pt>
                <c:pt idx="3065">
                  <c:v>9.8416997449726797E-3</c:v>
                </c:pt>
                <c:pt idx="3066">
                  <c:v>1.0140074015999199E-2</c:v>
                </c:pt>
                <c:pt idx="3067">
                  <c:v>1.0185045202356901E-2</c:v>
                </c:pt>
                <c:pt idx="3068">
                  <c:v>1.0634584121981001E-2</c:v>
                </c:pt>
                <c:pt idx="3069">
                  <c:v>1.0633569819692001E-2</c:v>
                </c:pt>
                <c:pt idx="3070">
                  <c:v>1.09719476258424E-2</c:v>
                </c:pt>
                <c:pt idx="3071">
                  <c:v>1.1432659208521E-2</c:v>
                </c:pt>
                <c:pt idx="3072">
                  <c:v>1.16725146280253E-2</c:v>
                </c:pt>
                <c:pt idx="3073">
                  <c:v>1.16873313634057E-2</c:v>
                </c:pt>
                <c:pt idx="3074">
                  <c:v>1.1657564018405901E-2</c:v>
                </c:pt>
                <c:pt idx="3075">
                  <c:v>1.1539570116588E-2</c:v>
                </c:pt>
                <c:pt idx="3076">
                  <c:v>1.1500130448792299E-2</c:v>
                </c:pt>
                <c:pt idx="3077">
                  <c:v>1.15491636340286E-2</c:v>
                </c:pt>
                <c:pt idx="3078">
                  <c:v>1.15493538536984E-2</c:v>
                </c:pt>
                <c:pt idx="3079">
                  <c:v>1.1547750662007601E-2</c:v>
                </c:pt>
                <c:pt idx="3080">
                  <c:v>1.15460459852945E-2</c:v>
                </c:pt>
                <c:pt idx="3081">
                  <c:v>1.1653870093944901E-2</c:v>
                </c:pt>
                <c:pt idx="3082">
                  <c:v>1.1830376435904099E-2</c:v>
                </c:pt>
                <c:pt idx="3083">
                  <c:v>1.20178622769929E-2</c:v>
                </c:pt>
                <c:pt idx="3084">
                  <c:v>1.2204342303900099E-2</c:v>
                </c:pt>
                <c:pt idx="3085">
                  <c:v>1.1942215396059301E-2</c:v>
                </c:pt>
                <c:pt idx="3086">
                  <c:v>1.1941442420852599E-2</c:v>
                </c:pt>
                <c:pt idx="3087">
                  <c:v>1.20192986138309E-2</c:v>
                </c:pt>
                <c:pt idx="3088">
                  <c:v>1.2156296964240801E-2</c:v>
                </c:pt>
                <c:pt idx="3089">
                  <c:v>1.2133428204509701E-2</c:v>
                </c:pt>
                <c:pt idx="3090">
                  <c:v>1.2124632853960799E-2</c:v>
                </c:pt>
                <c:pt idx="3091">
                  <c:v>1.22597855952318E-2</c:v>
                </c:pt>
                <c:pt idx="3092">
                  <c:v>1.2244064153066199E-2</c:v>
                </c:pt>
                <c:pt idx="3093">
                  <c:v>1.22016544551924E-2</c:v>
                </c:pt>
                <c:pt idx="3094">
                  <c:v>1.1999168447044401E-2</c:v>
                </c:pt>
                <c:pt idx="3095">
                  <c:v>1.19990198766186E-2</c:v>
                </c:pt>
                <c:pt idx="3096">
                  <c:v>1.21391686112077E-2</c:v>
                </c:pt>
                <c:pt idx="3097">
                  <c:v>1.2143171260416899E-2</c:v>
                </c:pt>
                <c:pt idx="3098">
                  <c:v>1.3462706166741801E-2</c:v>
                </c:pt>
                <c:pt idx="3099">
                  <c:v>1.34780908810184E-2</c:v>
                </c:pt>
                <c:pt idx="3100">
                  <c:v>1.3791912714337599E-2</c:v>
                </c:pt>
                <c:pt idx="3101">
                  <c:v>1.3788188110560399E-2</c:v>
                </c:pt>
                <c:pt idx="3102">
                  <c:v>1.37827368861507E-2</c:v>
                </c:pt>
                <c:pt idx="3103">
                  <c:v>1.37759264357461E-2</c:v>
                </c:pt>
                <c:pt idx="3104">
                  <c:v>1.37922559834912E-2</c:v>
                </c:pt>
                <c:pt idx="3105">
                  <c:v>1.37599082960755E-2</c:v>
                </c:pt>
                <c:pt idx="3106">
                  <c:v>1.37986091118257E-2</c:v>
                </c:pt>
                <c:pt idx="3107">
                  <c:v>1.3811429452019399E-2</c:v>
                </c:pt>
                <c:pt idx="3108">
                  <c:v>1.39290582773865E-2</c:v>
                </c:pt>
                <c:pt idx="3109">
                  <c:v>1.40191484549085E-2</c:v>
                </c:pt>
                <c:pt idx="3110">
                  <c:v>1.3979054333031199E-2</c:v>
                </c:pt>
                <c:pt idx="3111">
                  <c:v>1.40064498407915E-2</c:v>
                </c:pt>
                <c:pt idx="3112">
                  <c:v>1.4061340644126299E-2</c:v>
                </c:pt>
                <c:pt idx="3113">
                  <c:v>1.4072074200991699E-2</c:v>
                </c:pt>
                <c:pt idx="3114">
                  <c:v>1.40529513666353E-2</c:v>
                </c:pt>
                <c:pt idx="3115">
                  <c:v>1.40579904438571E-2</c:v>
                </c:pt>
                <c:pt idx="3116">
                  <c:v>1.4056161969453499E-2</c:v>
                </c:pt>
                <c:pt idx="3117">
                  <c:v>1.40584773243744E-2</c:v>
                </c:pt>
                <c:pt idx="3118">
                  <c:v>1.4036252219088399E-2</c:v>
                </c:pt>
                <c:pt idx="3119">
                  <c:v>1.39828702668528E-2</c:v>
                </c:pt>
                <c:pt idx="3120">
                  <c:v>1.40097340592483E-2</c:v>
                </c:pt>
                <c:pt idx="3121">
                  <c:v>1.40985463355569E-2</c:v>
                </c:pt>
                <c:pt idx="3122">
                  <c:v>1.40964061607323E-2</c:v>
                </c:pt>
                <c:pt idx="3123">
                  <c:v>1.4100749646413301E-2</c:v>
                </c:pt>
                <c:pt idx="3124">
                  <c:v>1.4222927132707799E-2</c:v>
                </c:pt>
                <c:pt idx="3125">
                  <c:v>1.42237977235558E-2</c:v>
                </c:pt>
                <c:pt idx="3126">
                  <c:v>1.4248671797022799E-2</c:v>
                </c:pt>
                <c:pt idx="3127">
                  <c:v>1.4194936329638801E-2</c:v>
                </c:pt>
                <c:pt idx="3128">
                  <c:v>1.4228078668086201E-2</c:v>
                </c:pt>
                <c:pt idx="3129">
                  <c:v>1.4235192552107499E-2</c:v>
                </c:pt>
                <c:pt idx="3130">
                  <c:v>1.41927063764295E-2</c:v>
                </c:pt>
                <c:pt idx="3131">
                  <c:v>1.42411003326078E-2</c:v>
                </c:pt>
                <c:pt idx="3132">
                  <c:v>1.41926723803695E-2</c:v>
                </c:pt>
                <c:pt idx="3133">
                  <c:v>1.42716652044127E-2</c:v>
                </c:pt>
                <c:pt idx="3134">
                  <c:v>1.4285055767353699E-2</c:v>
                </c:pt>
                <c:pt idx="3135">
                  <c:v>1.4354017147324099E-2</c:v>
                </c:pt>
                <c:pt idx="3136">
                  <c:v>1.43528160916086E-2</c:v>
                </c:pt>
                <c:pt idx="3137">
                  <c:v>1.43729194986973E-2</c:v>
                </c:pt>
                <c:pt idx="3138">
                  <c:v>1.4415865785288501E-2</c:v>
                </c:pt>
                <c:pt idx="3139">
                  <c:v>1.44082583589282E-2</c:v>
                </c:pt>
                <c:pt idx="3140">
                  <c:v>1.44143909298229E-2</c:v>
                </c:pt>
                <c:pt idx="3141">
                  <c:v>1.4413432069846599E-2</c:v>
                </c:pt>
                <c:pt idx="3142">
                  <c:v>1.44080069608777E-2</c:v>
                </c:pt>
                <c:pt idx="3143">
                  <c:v>1.4492502540204301E-2</c:v>
                </c:pt>
                <c:pt idx="3144">
                  <c:v>1.45096863217686E-2</c:v>
                </c:pt>
                <c:pt idx="3145">
                  <c:v>1.45267637099645E-2</c:v>
                </c:pt>
                <c:pt idx="3146">
                  <c:v>1.45262863067633E-2</c:v>
                </c:pt>
                <c:pt idx="3147">
                  <c:v>1.4521770647122701E-2</c:v>
                </c:pt>
                <c:pt idx="3148">
                  <c:v>1.45748580359247E-2</c:v>
                </c:pt>
                <c:pt idx="3149">
                  <c:v>1.4571002455582001E-2</c:v>
                </c:pt>
                <c:pt idx="3150">
                  <c:v>1.45841225383563E-2</c:v>
                </c:pt>
                <c:pt idx="3151">
                  <c:v>1.4624258684104699E-2</c:v>
                </c:pt>
                <c:pt idx="3152">
                  <c:v>1.4625847669412899E-2</c:v>
                </c:pt>
                <c:pt idx="3153">
                  <c:v>1.46150399524377E-2</c:v>
                </c:pt>
                <c:pt idx="3154">
                  <c:v>1.45998135264476E-2</c:v>
                </c:pt>
                <c:pt idx="3155">
                  <c:v>1.47177104483317E-2</c:v>
                </c:pt>
                <c:pt idx="3156">
                  <c:v>1.47485176631083E-2</c:v>
                </c:pt>
                <c:pt idx="3157">
                  <c:v>1.4816677699408001E-2</c:v>
                </c:pt>
                <c:pt idx="3158">
                  <c:v>1.48542521069027E-2</c:v>
                </c:pt>
                <c:pt idx="3159">
                  <c:v>1.49329989733194E-2</c:v>
                </c:pt>
                <c:pt idx="3160">
                  <c:v>1.49333842340979E-2</c:v>
                </c:pt>
                <c:pt idx="3161">
                  <c:v>1.4956176436447401E-2</c:v>
                </c:pt>
                <c:pt idx="3162">
                  <c:v>1.5008399005330599E-2</c:v>
                </c:pt>
                <c:pt idx="3163">
                  <c:v>1.50606627855389E-2</c:v>
                </c:pt>
                <c:pt idx="3164">
                  <c:v>1.50620537576522E-2</c:v>
                </c:pt>
                <c:pt idx="3165">
                  <c:v>1.50721663804142E-2</c:v>
                </c:pt>
                <c:pt idx="3166">
                  <c:v>1.50706452609607E-2</c:v>
                </c:pt>
                <c:pt idx="3167">
                  <c:v>1.53970156543893E-2</c:v>
                </c:pt>
                <c:pt idx="3168">
                  <c:v>1.53703146732172E-2</c:v>
                </c:pt>
                <c:pt idx="3169">
                  <c:v>1.5443663001974301E-2</c:v>
                </c:pt>
                <c:pt idx="3170">
                  <c:v>1.5484169331142E-2</c:v>
                </c:pt>
                <c:pt idx="3171">
                  <c:v>1.55750555747855E-2</c:v>
                </c:pt>
                <c:pt idx="3172">
                  <c:v>1.55849195157964E-2</c:v>
                </c:pt>
                <c:pt idx="3173">
                  <c:v>1.5595694174119599E-2</c:v>
                </c:pt>
                <c:pt idx="3174">
                  <c:v>1.5588113888967799E-2</c:v>
                </c:pt>
                <c:pt idx="3175">
                  <c:v>1.56639419360898E-2</c:v>
                </c:pt>
                <c:pt idx="3176">
                  <c:v>1.5689690370544799E-2</c:v>
                </c:pt>
                <c:pt idx="3177">
                  <c:v>1.58198358258743E-2</c:v>
                </c:pt>
                <c:pt idx="3178">
                  <c:v>1.58196794430433E-2</c:v>
                </c:pt>
                <c:pt idx="3179">
                  <c:v>1.5820845383486E-2</c:v>
                </c:pt>
                <c:pt idx="3180">
                  <c:v>1.58692454492123E-2</c:v>
                </c:pt>
                <c:pt idx="3181">
                  <c:v>1.5883304772918501E-2</c:v>
                </c:pt>
                <c:pt idx="3182">
                  <c:v>1.5920387964866601E-2</c:v>
                </c:pt>
                <c:pt idx="3183">
                  <c:v>1.59187990333957E-2</c:v>
                </c:pt>
                <c:pt idx="3184">
                  <c:v>1.6733201526396901E-2</c:v>
                </c:pt>
                <c:pt idx="3185">
                  <c:v>1.6710305397495399E-2</c:v>
                </c:pt>
                <c:pt idx="3186">
                  <c:v>1.6958100460513902E-2</c:v>
                </c:pt>
                <c:pt idx="3187">
                  <c:v>1.6976490648370601E-2</c:v>
                </c:pt>
                <c:pt idx="3188">
                  <c:v>1.69784623347328E-2</c:v>
                </c:pt>
                <c:pt idx="3189">
                  <c:v>1.6925561992779802E-2</c:v>
                </c:pt>
                <c:pt idx="3190">
                  <c:v>1.69290284192063E-2</c:v>
                </c:pt>
                <c:pt idx="3191">
                  <c:v>1.6967406354504101E-2</c:v>
                </c:pt>
                <c:pt idx="3192">
                  <c:v>1.6976391829458301E-2</c:v>
                </c:pt>
                <c:pt idx="3193">
                  <c:v>1.6979498922199101E-2</c:v>
                </c:pt>
                <c:pt idx="3194">
                  <c:v>1.6954138697699999E-2</c:v>
                </c:pt>
                <c:pt idx="3195">
                  <c:v>1.6948261097573601E-2</c:v>
                </c:pt>
                <c:pt idx="3196">
                  <c:v>1.7044610085020302E-2</c:v>
                </c:pt>
                <c:pt idx="3197">
                  <c:v>1.72147466435024E-2</c:v>
                </c:pt>
                <c:pt idx="3198">
                  <c:v>1.7223223719655501E-2</c:v>
                </c:pt>
                <c:pt idx="3199">
                  <c:v>1.75070541620105E-2</c:v>
                </c:pt>
                <c:pt idx="3200">
                  <c:v>1.8101321472230002E-2</c:v>
                </c:pt>
                <c:pt idx="3201">
                  <c:v>1.8187684410084799E-2</c:v>
                </c:pt>
                <c:pt idx="3202">
                  <c:v>1.8203381238905299E-2</c:v>
                </c:pt>
                <c:pt idx="3203">
                  <c:v>1.8420529626107001E-2</c:v>
                </c:pt>
                <c:pt idx="3204">
                  <c:v>1.9373364953640101E-2</c:v>
                </c:pt>
                <c:pt idx="3205">
                  <c:v>1.9540226064672601E-2</c:v>
                </c:pt>
                <c:pt idx="3206">
                  <c:v>2.0025050079690101E-2</c:v>
                </c:pt>
                <c:pt idx="3207">
                  <c:v>2.0368179374178799E-2</c:v>
                </c:pt>
                <c:pt idx="3208">
                  <c:v>2.0535404841015702E-2</c:v>
                </c:pt>
                <c:pt idx="3209">
                  <c:v>2.0941564265330798E-2</c:v>
                </c:pt>
                <c:pt idx="3210">
                  <c:v>2.10176144558968E-2</c:v>
                </c:pt>
                <c:pt idx="3211">
                  <c:v>2.10644147212623E-2</c:v>
                </c:pt>
                <c:pt idx="3212">
                  <c:v>2.1668262992518301E-2</c:v>
                </c:pt>
                <c:pt idx="3213">
                  <c:v>2.2075926456759501E-2</c:v>
                </c:pt>
                <c:pt idx="3214">
                  <c:v>2.2354089675512799E-2</c:v>
                </c:pt>
                <c:pt idx="3215">
                  <c:v>2.24104944708368E-2</c:v>
                </c:pt>
                <c:pt idx="3216">
                  <c:v>2.2431997979779301E-2</c:v>
                </c:pt>
                <c:pt idx="3217">
                  <c:v>2.2597577408240799E-2</c:v>
                </c:pt>
                <c:pt idx="3218">
                  <c:v>2.26005105733019E-2</c:v>
                </c:pt>
                <c:pt idx="3219">
                  <c:v>2.2736053634094401E-2</c:v>
                </c:pt>
                <c:pt idx="3220">
                  <c:v>2.2682474089333601E-2</c:v>
                </c:pt>
                <c:pt idx="3221">
                  <c:v>2.26789639297976E-2</c:v>
                </c:pt>
                <c:pt idx="3222">
                  <c:v>2.2657255025636501E-2</c:v>
                </c:pt>
                <c:pt idx="3223">
                  <c:v>2.2697155037859199E-2</c:v>
                </c:pt>
                <c:pt idx="3224">
                  <c:v>2.2742522494532801E-2</c:v>
                </c:pt>
                <c:pt idx="3225">
                  <c:v>2.36580086045549E-2</c:v>
                </c:pt>
                <c:pt idx="3226">
                  <c:v>2.3659809569525701E-2</c:v>
                </c:pt>
                <c:pt idx="3227">
                  <c:v>2.3737998286364002E-2</c:v>
                </c:pt>
                <c:pt idx="3228">
                  <c:v>2.3845506056760699E-2</c:v>
                </c:pt>
                <c:pt idx="3229">
                  <c:v>2.38386035673183E-2</c:v>
                </c:pt>
                <c:pt idx="3230">
                  <c:v>2.3833540363879201E-2</c:v>
                </c:pt>
                <c:pt idx="3231">
                  <c:v>2.39142256130635E-2</c:v>
                </c:pt>
                <c:pt idx="3232">
                  <c:v>2.39679772358883E-2</c:v>
                </c:pt>
                <c:pt idx="3233">
                  <c:v>2.3970623209198998E-2</c:v>
                </c:pt>
                <c:pt idx="3234">
                  <c:v>2.4000076952374799E-2</c:v>
                </c:pt>
                <c:pt idx="3235">
                  <c:v>2.4182872027652E-2</c:v>
                </c:pt>
                <c:pt idx="3236">
                  <c:v>2.4174593428336701E-2</c:v>
                </c:pt>
                <c:pt idx="3237">
                  <c:v>2.41904090896322E-2</c:v>
                </c:pt>
                <c:pt idx="3238">
                  <c:v>2.41905179635321E-2</c:v>
                </c:pt>
                <c:pt idx="3239">
                  <c:v>2.4189097772069498E-2</c:v>
                </c:pt>
                <c:pt idx="3240">
                  <c:v>2.4174697803179102E-2</c:v>
                </c:pt>
                <c:pt idx="3241">
                  <c:v>2.45976905033564E-2</c:v>
                </c:pt>
                <c:pt idx="3242">
                  <c:v>2.4601537885169798E-2</c:v>
                </c:pt>
                <c:pt idx="3243">
                  <c:v>2.4722558610189599E-2</c:v>
                </c:pt>
                <c:pt idx="3244">
                  <c:v>2.4943317343065399E-2</c:v>
                </c:pt>
                <c:pt idx="3245">
                  <c:v>2.5801704735738701E-2</c:v>
                </c:pt>
                <c:pt idx="3246">
                  <c:v>2.6340837110172901E-2</c:v>
                </c:pt>
                <c:pt idx="3247">
                  <c:v>2.63428119572626E-2</c:v>
                </c:pt>
                <c:pt idx="3248">
                  <c:v>2.66475049074207E-2</c:v>
                </c:pt>
                <c:pt idx="3249">
                  <c:v>2.6800205886134E-2</c:v>
                </c:pt>
                <c:pt idx="3250">
                  <c:v>2.6750728781941801E-2</c:v>
                </c:pt>
                <c:pt idx="3251">
                  <c:v>2.67497967528601E-2</c:v>
                </c:pt>
                <c:pt idx="3252">
                  <c:v>2.67350581711722E-2</c:v>
                </c:pt>
                <c:pt idx="3253">
                  <c:v>2.6852834079703899E-2</c:v>
                </c:pt>
                <c:pt idx="3254">
                  <c:v>2.6907328123118801E-2</c:v>
                </c:pt>
                <c:pt idx="3255">
                  <c:v>2.6933455895714699E-2</c:v>
                </c:pt>
                <c:pt idx="3256">
                  <c:v>2.6938873662692001E-2</c:v>
                </c:pt>
                <c:pt idx="3257">
                  <c:v>2.69398838525307E-2</c:v>
                </c:pt>
                <c:pt idx="3258">
                  <c:v>2.6981862803111802E-2</c:v>
                </c:pt>
                <c:pt idx="3259">
                  <c:v>2.71129406288649E-2</c:v>
                </c:pt>
                <c:pt idx="3260">
                  <c:v>2.7268281399131001E-2</c:v>
                </c:pt>
                <c:pt idx="3261">
                  <c:v>2.73028215342365E-2</c:v>
                </c:pt>
                <c:pt idx="3262">
                  <c:v>2.7288523547297001E-2</c:v>
                </c:pt>
                <c:pt idx="3263">
                  <c:v>2.7303178069288E-2</c:v>
                </c:pt>
                <c:pt idx="3264">
                  <c:v>2.72776337958207E-2</c:v>
                </c:pt>
                <c:pt idx="3265">
                  <c:v>2.73289648946459E-2</c:v>
                </c:pt>
                <c:pt idx="3266">
                  <c:v>2.7215539051530499E-2</c:v>
                </c:pt>
                <c:pt idx="3267">
                  <c:v>2.7222670353834601E-2</c:v>
                </c:pt>
                <c:pt idx="3268">
                  <c:v>2.7038092236309E-2</c:v>
                </c:pt>
                <c:pt idx="3269">
                  <c:v>2.7071586045457102E-2</c:v>
                </c:pt>
                <c:pt idx="3270">
                  <c:v>2.6926966435050499E-2</c:v>
                </c:pt>
                <c:pt idx="3271">
                  <c:v>2.6805781951575E-2</c:v>
                </c:pt>
                <c:pt idx="3272">
                  <c:v>2.6699755263038201E-2</c:v>
                </c:pt>
                <c:pt idx="3273">
                  <c:v>2.67781726142872E-2</c:v>
                </c:pt>
                <c:pt idx="3274">
                  <c:v>2.6777554353137702E-2</c:v>
                </c:pt>
                <c:pt idx="3275">
                  <c:v>2.6785586980329901E-2</c:v>
                </c:pt>
                <c:pt idx="3276">
                  <c:v>2.6771654678327001E-2</c:v>
                </c:pt>
                <c:pt idx="3277">
                  <c:v>2.67611779783502E-2</c:v>
                </c:pt>
                <c:pt idx="3278">
                  <c:v>2.6759163721367399E-2</c:v>
                </c:pt>
                <c:pt idx="3279">
                  <c:v>2.67616641065705E-2</c:v>
                </c:pt>
                <c:pt idx="3280">
                  <c:v>2.6844134595003101E-2</c:v>
                </c:pt>
                <c:pt idx="3281">
                  <c:v>2.6822762153279899E-2</c:v>
                </c:pt>
                <c:pt idx="3282">
                  <c:v>2.6757873236729499E-2</c:v>
                </c:pt>
                <c:pt idx="3283">
                  <c:v>2.6666165234316801E-2</c:v>
                </c:pt>
                <c:pt idx="3284">
                  <c:v>2.6567845080460398E-2</c:v>
                </c:pt>
                <c:pt idx="3285">
                  <c:v>2.6602213710544501E-2</c:v>
                </c:pt>
                <c:pt idx="3286">
                  <c:v>2.6602678184675099E-2</c:v>
                </c:pt>
                <c:pt idx="3287">
                  <c:v>2.6558030846972398E-2</c:v>
                </c:pt>
                <c:pt idx="3288">
                  <c:v>2.6497474202522499E-2</c:v>
                </c:pt>
                <c:pt idx="3289">
                  <c:v>2.6498204211656998E-2</c:v>
                </c:pt>
                <c:pt idx="3290">
                  <c:v>2.6698972884620399E-2</c:v>
                </c:pt>
                <c:pt idx="3291">
                  <c:v>2.6688321528127199E-2</c:v>
                </c:pt>
                <c:pt idx="3292">
                  <c:v>2.6736897948812899E-2</c:v>
                </c:pt>
                <c:pt idx="3293">
                  <c:v>2.67412610995761E-2</c:v>
                </c:pt>
                <c:pt idx="3294">
                  <c:v>2.6741746065304599E-2</c:v>
                </c:pt>
                <c:pt idx="3295">
                  <c:v>2.6740431529579899E-2</c:v>
                </c:pt>
                <c:pt idx="3296">
                  <c:v>2.6675438428798801E-2</c:v>
                </c:pt>
                <c:pt idx="3297">
                  <c:v>2.66853034919061E-2</c:v>
                </c:pt>
                <c:pt idx="3298">
                  <c:v>2.6069668166896199E-2</c:v>
                </c:pt>
                <c:pt idx="3299">
                  <c:v>2.6057057277513999E-2</c:v>
                </c:pt>
                <c:pt idx="3300">
                  <c:v>2.5886648392487201E-2</c:v>
                </c:pt>
                <c:pt idx="3301">
                  <c:v>2.5907833907481598E-2</c:v>
                </c:pt>
                <c:pt idx="3302">
                  <c:v>2.5907778057302901E-2</c:v>
                </c:pt>
                <c:pt idx="3303">
                  <c:v>2.59016336905688E-2</c:v>
                </c:pt>
                <c:pt idx="3304">
                  <c:v>2.5893013868985199E-2</c:v>
                </c:pt>
                <c:pt idx="3305">
                  <c:v>2.5878080534830501E-2</c:v>
                </c:pt>
                <c:pt idx="3306">
                  <c:v>2.5865989652966902E-2</c:v>
                </c:pt>
                <c:pt idx="3307">
                  <c:v>2.6146097385902001E-2</c:v>
                </c:pt>
                <c:pt idx="3308">
                  <c:v>2.60915255378882E-2</c:v>
                </c:pt>
                <c:pt idx="3309">
                  <c:v>2.6038949521466199E-2</c:v>
                </c:pt>
                <c:pt idx="3310">
                  <c:v>2.6147685866176999E-2</c:v>
                </c:pt>
                <c:pt idx="3311">
                  <c:v>2.6140992936739601E-2</c:v>
                </c:pt>
                <c:pt idx="3312">
                  <c:v>2.6151514251946301E-2</c:v>
                </c:pt>
                <c:pt idx="3313">
                  <c:v>2.6143207518044199E-2</c:v>
                </c:pt>
                <c:pt idx="3314">
                  <c:v>2.6144552153237299E-2</c:v>
                </c:pt>
                <c:pt idx="3315">
                  <c:v>2.6139951423503002E-2</c:v>
                </c:pt>
                <c:pt idx="3316">
                  <c:v>2.61408520339712E-2</c:v>
                </c:pt>
                <c:pt idx="3317">
                  <c:v>2.61371800981441E-2</c:v>
                </c:pt>
                <c:pt idx="3318">
                  <c:v>2.6205744145170899E-2</c:v>
                </c:pt>
                <c:pt idx="3319">
                  <c:v>2.6204256117713699E-2</c:v>
                </c:pt>
                <c:pt idx="3320">
                  <c:v>2.6189440890224701E-2</c:v>
                </c:pt>
                <c:pt idx="3321">
                  <c:v>2.61648409501253E-2</c:v>
                </c:pt>
                <c:pt idx="3322">
                  <c:v>2.6165430287215699E-2</c:v>
                </c:pt>
                <c:pt idx="3323">
                  <c:v>2.62216647489436E-2</c:v>
                </c:pt>
                <c:pt idx="3324">
                  <c:v>2.6153817120636601E-2</c:v>
                </c:pt>
                <c:pt idx="3325">
                  <c:v>2.6151270683238501E-2</c:v>
                </c:pt>
                <c:pt idx="3326">
                  <c:v>2.6150874314942899E-2</c:v>
                </c:pt>
                <c:pt idx="3327">
                  <c:v>2.6148198030469701E-2</c:v>
                </c:pt>
                <c:pt idx="3328">
                  <c:v>2.62061828360881E-2</c:v>
                </c:pt>
                <c:pt idx="3329">
                  <c:v>2.6211140864734899E-2</c:v>
                </c:pt>
                <c:pt idx="3330">
                  <c:v>2.62111058823945E-2</c:v>
                </c:pt>
                <c:pt idx="3331">
                  <c:v>2.6185274340895098E-2</c:v>
                </c:pt>
                <c:pt idx="3332">
                  <c:v>2.6684206240897401E-2</c:v>
                </c:pt>
                <c:pt idx="3333">
                  <c:v>2.6629432827816799E-2</c:v>
                </c:pt>
                <c:pt idx="3334">
                  <c:v>2.66402383597556E-2</c:v>
                </c:pt>
                <c:pt idx="3335">
                  <c:v>2.7062592185826701E-2</c:v>
                </c:pt>
                <c:pt idx="3336">
                  <c:v>2.7103063252551001E-2</c:v>
                </c:pt>
                <c:pt idx="3337">
                  <c:v>2.7321833245076799E-2</c:v>
                </c:pt>
                <c:pt idx="3338">
                  <c:v>2.7286636747943401E-2</c:v>
                </c:pt>
                <c:pt idx="3339">
                  <c:v>2.7315226257173E-2</c:v>
                </c:pt>
                <c:pt idx="3340">
                  <c:v>2.7353707355063098E-2</c:v>
                </c:pt>
                <c:pt idx="3341">
                  <c:v>2.7442690395767199E-2</c:v>
                </c:pt>
                <c:pt idx="3342">
                  <c:v>2.74409368621094E-2</c:v>
                </c:pt>
                <c:pt idx="3343">
                  <c:v>2.7441937713664401E-2</c:v>
                </c:pt>
                <c:pt idx="3344">
                  <c:v>2.74542850782157E-2</c:v>
                </c:pt>
                <c:pt idx="3345">
                  <c:v>2.7494629980067301E-2</c:v>
                </c:pt>
                <c:pt idx="3346">
                  <c:v>2.7507101098616399E-2</c:v>
                </c:pt>
                <c:pt idx="3347">
                  <c:v>2.74966315801096E-2</c:v>
                </c:pt>
                <c:pt idx="3348">
                  <c:v>2.7781242563886199E-2</c:v>
                </c:pt>
                <c:pt idx="3349">
                  <c:v>2.7771978616618499E-2</c:v>
                </c:pt>
                <c:pt idx="3350">
                  <c:v>2.7823191923188401E-2</c:v>
                </c:pt>
                <c:pt idx="3351">
                  <c:v>2.7886197181955001E-2</c:v>
                </c:pt>
                <c:pt idx="3352">
                  <c:v>2.7868016622854201E-2</c:v>
                </c:pt>
                <c:pt idx="3353">
                  <c:v>2.7910990135446099E-2</c:v>
                </c:pt>
                <c:pt idx="3354">
                  <c:v>2.79004137745128E-2</c:v>
                </c:pt>
                <c:pt idx="3355">
                  <c:v>2.7826587861030299E-2</c:v>
                </c:pt>
                <c:pt idx="3356">
                  <c:v>2.77916755424484E-2</c:v>
                </c:pt>
                <c:pt idx="3357">
                  <c:v>2.7774843905440501E-2</c:v>
                </c:pt>
                <c:pt idx="3358">
                  <c:v>2.78197488724688E-2</c:v>
                </c:pt>
                <c:pt idx="3359">
                  <c:v>2.77597094460518E-2</c:v>
                </c:pt>
                <c:pt idx="3360">
                  <c:v>2.7759262364498799E-2</c:v>
                </c:pt>
                <c:pt idx="3361">
                  <c:v>2.7756290913214299E-2</c:v>
                </c:pt>
                <c:pt idx="3362">
                  <c:v>2.77551394166176E-2</c:v>
                </c:pt>
                <c:pt idx="3363">
                  <c:v>2.7747824486158999E-2</c:v>
                </c:pt>
                <c:pt idx="3364">
                  <c:v>2.7747329571760002E-2</c:v>
                </c:pt>
                <c:pt idx="3365">
                  <c:v>2.8081890135941499E-2</c:v>
                </c:pt>
                <c:pt idx="3366">
                  <c:v>2.8086056943539099E-2</c:v>
                </c:pt>
                <c:pt idx="3367">
                  <c:v>2.7997328754055899E-2</c:v>
                </c:pt>
                <c:pt idx="3368">
                  <c:v>2.80306880908445E-2</c:v>
                </c:pt>
                <c:pt idx="3369">
                  <c:v>2.8167375806424901E-2</c:v>
                </c:pt>
                <c:pt idx="3370">
                  <c:v>2.81276842914371E-2</c:v>
                </c:pt>
                <c:pt idx="3371">
                  <c:v>2.80603425374726E-2</c:v>
                </c:pt>
                <c:pt idx="3372">
                  <c:v>2.80452340539699E-2</c:v>
                </c:pt>
                <c:pt idx="3373">
                  <c:v>2.8044603362435701E-2</c:v>
                </c:pt>
                <c:pt idx="3374">
                  <c:v>2.8052388793212198E-2</c:v>
                </c:pt>
                <c:pt idx="3375">
                  <c:v>2.80566123977396E-2</c:v>
                </c:pt>
                <c:pt idx="3376">
                  <c:v>2.8053393192178401E-2</c:v>
                </c:pt>
                <c:pt idx="3377">
                  <c:v>2.7967394039296802E-2</c:v>
                </c:pt>
                <c:pt idx="3378">
                  <c:v>2.7965142798835999E-2</c:v>
                </c:pt>
                <c:pt idx="3379">
                  <c:v>2.7933252351552199E-2</c:v>
                </c:pt>
                <c:pt idx="3380">
                  <c:v>2.78936787234739E-2</c:v>
                </c:pt>
                <c:pt idx="3381">
                  <c:v>2.7830004875559498E-2</c:v>
                </c:pt>
                <c:pt idx="3382">
                  <c:v>2.7850976474222099E-2</c:v>
                </c:pt>
                <c:pt idx="3383">
                  <c:v>2.7853090457911601E-2</c:v>
                </c:pt>
                <c:pt idx="3384">
                  <c:v>2.7445144183464502E-2</c:v>
                </c:pt>
                <c:pt idx="3385">
                  <c:v>2.74642305658763E-2</c:v>
                </c:pt>
                <c:pt idx="3386">
                  <c:v>2.7242323146117801E-2</c:v>
                </c:pt>
                <c:pt idx="3387">
                  <c:v>2.7212445315899898E-2</c:v>
                </c:pt>
                <c:pt idx="3388">
                  <c:v>2.7218895939090201E-2</c:v>
                </c:pt>
                <c:pt idx="3389">
                  <c:v>2.7281863747516399E-2</c:v>
                </c:pt>
                <c:pt idx="3390">
                  <c:v>2.7269754164017501E-2</c:v>
                </c:pt>
                <c:pt idx="3391">
                  <c:v>2.7209762490512102E-2</c:v>
                </c:pt>
                <c:pt idx="3392">
                  <c:v>2.72305806697355E-2</c:v>
                </c:pt>
                <c:pt idx="3393">
                  <c:v>2.72305196086709E-2</c:v>
                </c:pt>
                <c:pt idx="3394">
                  <c:v>2.72444273506448E-2</c:v>
                </c:pt>
                <c:pt idx="3395">
                  <c:v>2.7240803723348202E-2</c:v>
                </c:pt>
                <c:pt idx="3396">
                  <c:v>2.7231722787593698E-2</c:v>
                </c:pt>
                <c:pt idx="3397">
                  <c:v>2.7159084146335701E-2</c:v>
                </c:pt>
                <c:pt idx="3398">
                  <c:v>2.7155330148776101E-2</c:v>
                </c:pt>
                <c:pt idx="3399">
                  <c:v>2.7016687345841499E-2</c:v>
                </c:pt>
                <c:pt idx="3400">
                  <c:v>2.66857117945286E-2</c:v>
                </c:pt>
                <c:pt idx="3401">
                  <c:v>2.6592626710938299E-2</c:v>
                </c:pt>
                <c:pt idx="3402">
                  <c:v>2.65514664486073E-2</c:v>
                </c:pt>
                <c:pt idx="3403">
                  <c:v>2.6464260666197101E-2</c:v>
                </c:pt>
                <c:pt idx="3404">
                  <c:v>2.5848770302083102E-2</c:v>
                </c:pt>
                <c:pt idx="3405">
                  <c:v>2.5749785338599701E-2</c:v>
                </c:pt>
                <c:pt idx="3406">
                  <c:v>2.53145580257115E-2</c:v>
                </c:pt>
                <c:pt idx="3407">
                  <c:v>2.5081636976041499E-2</c:v>
                </c:pt>
                <c:pt idx="3408">
                  <c:v>2.49709965922408E-2</c:v>
                </c:pt>
                <c:pt idx="3409">
                  <c:v>2.4671361370830001E-2</c:v>
                </c:pt>
                <c:pt idx="3410">
                  <c:v>2.4581504733564401E-2</c:v>
                </c:pt>
                <c:pt idx="3411">
                  <c:v>2.4589576952536898E-2</c:v>
                </c:pt>
                <c:pt idx="3412">
                  <c:v>2.40981417163262E-2</c:v>
                </c:pt>
                <c:pt idx="3413">
                  <c:v>2.36827141587952E-2</c:v>
                </c:pt>
                <c:pt idx="3414">
                  <c:v>2.3446555342231699E-2</c:v>
                </c:pt>
                <c:pt idx="3415">
                  <c:v>2.34101011031904E-2</c:v>
                </c:pt>
                <c:pt idx="3416">
                  <c:v>2.3356847947338201E-2</c:v>
                </c:pt>
                <c:pt idx="3417">
                  <c:v>2.3231107339785E-2</c:v>
                </c:pt>
                <c:pt idx="3418">
                  <c:v>2.3223866472427201E-2</c:v>
                </c:pt>
                <c:pt idx="3419">
                  <c:v>2.30581303331816E-2</c:v>
                </c:pt>
                <c:pt idx="3420">
                  <c:v>2.3063788642011501E-2</c:v>
                </c:pt>
                <c:pt idx="3421">
                  <c:v>2.3063193097652201E-2</c:v>
                </c:pt>
                <c:pt idx="3422">
                  <c:v>2.3065197535687299E-2</c:v>
                </c:pt>
                <c:pt idx="3423">
                  <c:v>2.30031218856603E-2</c:v>
                </c:pt>
                <c:pt idx="3424">
                  <c:v>2.2979681657628901E-2</c:v>
                </c:pt>
                <c:pt idx="3425">
                  <c:v>2.2114602056069899E-2</c:v>
                </c:pt>
                <c:pt idx="3426">
                  <c:v>2.2119477245568099E-2</c:v>
                </c:pt>
                <c:pt idx="3427">
                  <c:v>2.20029098455214E-2</c:v>
                </c:pt>
                <c:pt idx="3428">
                  <c:v>2.19107729435646E-2</c:v>
                </c:pt>
                <c:pt idx="3429">
                  <c:v>2.191056976486E-2</c:v>
                </c:pt>
                <c:pt idx="3430">
                  <c:v>2.19090689101007E-2</c:v>
                </c:pt>
                <c:pt idx="3431">
                  <c:v>2.19271975450838E-2</c:v>
                </c:pt>
                <c:pt idx="3432">
                  <c:v>2.1882856575421699E-2</c:v>
                </c:pt>
                <c:pt idx="3433">
                  <c:v>2.18763447850473E-2</c:v>
                </c:pt>
                <c:pt idx="3434">
                  <c:v>2.1835865556646301E-2</c:v>
                </c:pt>
                <c:pt idx="3435">
                  <c:v>2.1596415190168101E-2</c:v>
                </c:pt>
                <c:pt idx="3436">
                  <c:v>2.1595355891559798E-2</c:v>
                </c:pt>
                <c:pt idx="3437">
                  <c:v>2.15814975932326E-2</c:v>
                </c:pt>
                <c:pt idx="3438">
                  <c:v>2.1656737173262199E-2</c:v>
                </c:pt>
                <c:pt idx="3439">
                  <c:v>2.1659038384826801E-2</c:v>
                </c:pt>
                <c:pt idx="3440">
                  <c:v>2.1682457891345201E-2</c:v>
                </c:pt>
                <c:pt idx="3441">
                  <c:v>2.1225870733064499E-2</c:v>
                </c:pt>
                <c:pt idx="3442">
                  <c:v>2.1196760633132802E-2</c:v>
                </c:pt>
                <c:pt idx="3443">
                  <c:v>2.1078574903034001E-2</c:v>
                </c:pt>
                <c:pt idx="3444">
                  <c:v>2.08255989926713E-2</c:v>
                </c:pt>
                <c:pt idx="3445">
                  <c:v>1.9810696638645899E-2</c:v>
                </c:pt>
                <c:pt idx="3446">
                  <c:v>1.9114813148684101E-2</c:v>
                </c:pt>
                <c:pt idx="3447">
                  <c:v>1.9132857957169201E-2</c:v>
                </c:pt>
                <c:pt idx="3448">
                  <c:v>1.87154420014559E-2</c:v>
                </c:pt>
                <c:pt idx="3449">
                  <c:v>1.84812543120563E-2</c:v>
                </c:pt>
                <c:pt idx="3450">
                  <c:v>1.8477022389720502E-2</c:v>
                </c:pt>
                <c:pt idx="3451">
                  <c:v>1.8477059025981801E-2</c:v>
                </c:pt>
                <c:pt idx="3452">
                  <c:v>1.8476801225784899E-2</c:v>
                </c:pt>
                <c:pt idx="3453">
                  <c:v>1.8348055436748702E-2</c:v>
                </c:pt>
                <c:pt idx="3454">
                  <c:v>1.8258885521906E-2</c:v>
                </c:pt>
                <c:pt idx="3455">
                  <c:v>1.8207175876976199E-2</c:v>
                </c:pt>
                <c:pt idx="3456">
                  <c:v>1.8187423897648401E-2</c:v>
                </c:pt>
                <c:pt idx="3457">
                  <c:v>1.8190156388847401E-2</c:v>
                </c:pt>
                <c:pt idx="3458">
                  <c:v>1.8138000783416802E-2</c:v>
                </c:pt>
                <c:pt idx="3459">
                  <c:v>1.79786732387241E-2</c:v>
                </c:pt>
                <c:pt idx="3460">
                  <c:v>1.7647545970537901E-2</c:v>
                </c:pt>
                <c:pt idx="3461">
                  <c:v>1.7578466915125501E-2</c:v>
                </c:pt>
                <c:pt idx="3462">
                  <c:v>1.7575768735725101E-2</c:v>
                </c:pt>
                <c:pt idx="3463">
                  <c:v>1.7535191902589699E-2</c:v>
                </c:pt>
                <c:pt idx="3464">
                  <c:v>1.7525068728140799E-2</c:v>
                </c:pt>
                <c:pt idx="3465">
                  <c:v>1.7450948806971001E-2</c:v>
                </c:pt>
                <c:pt idx="3466">
                  <c:v>1.7447477598448401E-2</c:v>
                </c:pt>
                <c:pt idx="3467">
                  <c:v>1.7419627670955298E-2</c:v>
                </c:pt>
                <c:pt idx="3468">
                  <c:v>1.7418470352717701E-2</c:v>
                </c:pt>
                <c:pt idx="3469">
                  <c:v>1.7381183379381E-2</c:v>
                </c:pt>
                <c:pt idx="3470">
                  <c:v>1.7409694144314002E-2</c:v>
                </c:pt>
                <c:pt idx="3471">
                  <c:v>1.7289463651479001E-2</c:v>
                </c:pt>
                <c:pt idx="3472">
                  <c:v>1.7267614292416598E-2</c:v>
                </c:pt>
                <c:pt idx="3473">
                  <c:v>1.7127754191914799E-2</c:v>
                </c:pt>
                <c:pt idx="3474">
                  <c:v>1.7130374873997101E-2</c:v>
                </c:pt>
                <c:pt idx="3475">
                  <c:v>1.71130349002508E-2</c:v>
                </c:pt>
                <c:pt idx="3476">
                  <c:v>1.7030871699515199E-2</c:v>
                </c:pt>
                <c:pt idx="3477">
                  <c:v>1.7002672549365199E-2</c:v>
                </c:pt>
                <c:pt idx="3478">
                  <c:v>1.70159535474852E-2</c:v>
                </c:pt>
                <c:pt idx="3479">
                  <c:v>1.70004127421363E-2</c:v>
                </c:pt>
                <c:pt idx="3480">
                  <c:v>1.6875863217811E-2</c:v>
                </c:pt>
                <c:pt idx="3481">
                  <c:v>1.68432210368922E-2</c:v>
                </c:pt>
                <c:pt idx="3482">
                  <c:v>1.68699148256315E-2</c:v>
                </c:pt>
                <c:pt idx="3483">
                  <c:v>1.6999230432067199E-2</c:v>
                </c:pt>
                <c:pt idx="3484">
                  <c:v>1.7001569729753599E-2</c:v>
                </c:pt>
                <c:pt idx="3485">
                  <c:v>1.6949317845789201E-2</c:v>
                </c:pt>
                <c:pt idx="3486">
                  <c:v>1.6949098113135799E-2</c:v>
                </c:pt>
                <c:pt idx="3487">
                  <c:v>1.6949090367016799E-2</c:v>
                </c:pt>
                <c:pt idx="3488">
                  <c:v>1.6919366677180799E-2</c:v>
                </c:pt>
                <c:pt idx="3489">
                  <c:v>1.6918612961668199E-2</c:v>
                </c:pt>
                <c:pt idx="3490">
                  <c:v>1.65990878720516E-2</c:v>
                </c:pt>
                <c:pt idx="3491">
                  <c:v>1.6533336326335201E-2</c:v>
                </c:pt>
                <c:pt idx="3492">
                  <c:v>1.6446038096351399E-2</c:v>
                </c:pt>
                <c:pt idx="3493">
                  <c:v>1.6420230401348199E-2</c:v>
                </c:pt>
                <c:pt idx="3494">
                  <c:v>1.6420658885155801E-2</c:v>
                </c:pt>
                <c:pt idx="3495">
                  <c:v>1.64251461439614E-2</c:v>
                </c:pt>
                <c:pt idx="3496">
                  <c:v>1.6419723590125002E-2</c:v>
                </c:pt>
                <c:pt idx="3497">
                  <c:v>1.6399349732242899E-2</c:v>
                </c:pt>
                <c:pt idx="3498">
                  <c:v>1.6395717463113E-2</c:v>
                </c:pt>
                <c:pt idx="3499">
                  <c:v>1.6404198403464999E-2</c:v>
                </c:pt>
                <c:pt idx="3500">
                  <c:v>1.6386000716767601E-2</c:v>
                </c:pt>
                <c:pt idx="3501">
                  <c:v>1.6344562773478601E-2</c:v>
                </c:pt>
                <c:pt idx="3502">
                  <c:v>1.6349763853957099E-2</c:v>
                </c:pt>
                <c:pt idx="3503">
                  <c:v>1.63862249960029E-2</c:v>
                </c:pt>
                <c:pt idx="3504">
                  <c:v>1.6386114416802499E-2</c:v>
                </c:pt>
                <c:pt idx="3505">
                  <c:v>1.6381411606479501E-2</c:v>
                </c:pt>
                <c:pt idx="3506">
                  <c:v>1.6387780310078402E-2</c:v>
                </c:pt>
                <c:pt idx="3507">
                  <c:v>1.5921287538995601E-2</c:v>
                </c:pt>
                <c:pt idx="3508">
                  <c:v>1.59214759168196E-2</c:v>
                </c:pt>
                <c:pt idx="3509">
                  <c:v>1.59224481622596E-2</c:v>
                </c:pt>
                <c:pt idx="3510">
                  <c:v>1.5717540977513201E-2</c:v>
                </c:pt>
                <c:pt idx="3511">
                  <c:v>1.57499800941617E-2</c:v>
                </c:pt>
                <c:pt idx="3512">
                  <c:v>1.57025189063668E-2</c:v>
                </c:pt>
                <c:pt idx="3513">
                  <c:v>1.5701626270977102E-2</c:v>
                </c:pt>
                <c:pt idx="3514">
                  <c:v>1.56586227166697E-2</c:v>
                </c:pt>
                <c:pt idx="3515">
                  <c:v>1.56576444821485E-2</c:v>
                </c:pt>
                <c:pt idx="3516">
                  <c:v>1.56829220023527E-2</c:v>
                </c:pt>
                <c:pt idx="3517">
                  <c:v>1.5683695508040899E-2</c:v>
                </c:pt>
                <c:pt idx="3518">
                  <c:v>1.5551257526706099E-2</c:v>
                </c:pt>
                <c:pt idx="3519">
                  <c:v>1.55489793464625E-2</c:v>
                </c:pt>
                <c:pt idx="3520">
                  <c:v>1.55487856664833E-2</c:v>
                </c:pt>
                <c:pt idx="3521">
                  <c:v>1.5497000740997101E-2</c:v>
                </c:pt>
                <c:pt idx="3522">
                  <c:v>1.5525554682528499E-2</c:v>
                </c:pt>
                <c:pt idx="3523">
                  <c:v>1.5412541295995201E-2</c:v>
                </c:pt>
                <c:pt idx="3524">
                  <c:v>1.54108437913122E-2</c:v>
                </c:pt>
                <c:pt idx="3525">
                  <c:v>1.54122624733199E-2</c:v>
                </c:pt>
                <c:pt idx="3526">
                  <c:v>1.5425173455658201E-2</c:v>
                </c:pt>
                <c:pt idx="3527">
                  <c:v>1.54238224152018E-2</c:v>
                </c:pt>
                <c:pt idx="3528">
                  <c:v>1.52912704039691E-2</c:v>
                </c:pt>
                <c:pt idx="3529">
                  <c:v>1.5276569194640099E-2</c:v>
                </c:pt>
                <c:pt idx="3530">
                  <c:v>1.5276402378917101E-2</c:v>
                </c:pt>
                <c:pt idx="3531">
                  <c:v>1.52644556297797E-2</c:v>
                </c:pt>
                <c:pt idx="3532">
                  <c:v>1.4383994365824699E-2</c:v>
                </c:pt>
                <c:pt idx="3533">
                  <c:v>1.4392245695485299E-2</c:v>
                </c:pt>
                <c:pt idx="3534">
                  <c:v>1.4354427568956E-2</c:v>
                </c:pt>
                <c:pt idx="3535">
                  <c:v>1.34243602735345E-2</c:v>
                </c:pt>
                <c:pt idx="3536">
                  <c:v>1.3348269121729499E-2</c:v>
                </c:pt>
                <c:pt idx="3537">
                  <c:v>1.28377307832695E-2</c:v>
                </c:pt>
                <c:pt idx="3538">
                  <c:v>1.28342598969919E-2</c:v>
                </c:pt>
                <c:pt idx="3539">
                  <c:v>1.2786084474281201E-2</c:v>
                </c:pt>
                <c:pt idx="3540">
                  <c:v>1.27161425129269E-2</c:v>
                </c:pt>
                <c:pt idx="3541">
                  <c:v>1.2503738778458401E-2</c:v>
                </c:pt>
                <c:pt idx="3542">
                  <c:v>1.25015176951845E-2</c:v>
                </c:pt>
                <c:pt idx="3543">
                  <c:v>1.2334865727467E-2</c:v>
                </c:pt>
                <c:pt idx="3544">
                  <c:v>1.2285802190745701E-2</c:v>
                </c:pt>
                <c:pt idx="3545">
                  <c:v>1.21053581429213E-2</c:v>
                </c:pt>
                <c:pt idx="3546">
                  <c:v>1.20936510234911E-2</c:v>
                </c:pt>
                <c:pt idx="3547">
                  <c:v>1.2100876353118401E-2</c:v>
                </c:pt>
                <c:pt idx="3548">
                  <c:v>1.12533788850703E-2</c:v>
                </c:pt>
                <c:pt idx="3549">
                  <c:v>1.12514667623592E-2</c:v>
                </c:pt>
                <c:pt idx="3550">
                  <c:v>1.10976887764383E-2</c:v>
                </c:pt>
                <c:pt idx="3551">
                  <c:v>1.08819093543555E-2</c:v>
                </c:pt>
                <c:pt idx="3552">
                  <c:v>1.08318037039062E-2</c:v>
                </c:pt>
                <c:pt idx="3553">
                  <c:v>1.0758337051352099E-2</c:v>
                </c:pt>
                <c:pt idx="3554">
                  <c:v>1.0762453562199599E-2</c:v>
                </c:pt>
                <c:pt idx="3555">
                  <c:v>1.07613377550208E-2</c:v>
                </c:pt>
                <c:pt idx="3556">
                  <c:v>1.082094891133E-2</c:v>
                </c:pt>
                <c:pt idx="3557">
                  <c:v>1.0814187562035499E-2</c:v>
                </c:pt>
                <c:pt idx="3558">
                  <c:v>1.06145650995134E-2</c:v>
                </c:pt>
                <c:pt idx="3559">
                  <c:v>1.06007456269525E-2</c:v>
                </c:pt>
                <c:pt idx="3560">
                  <c:v>1.0606205221983399E-2</c:v>
                </c:pt>
                <c:pt idx="3561">
                  <c:v>1.0754054801843301E-2</c:v>
                </c:pt>
                <c:pt idx="3562">
                  <c:v>1.064810328987E-2</c:v>
                </c:pt>
                <c:pt idx="3563">
                  <c:v>1.06403544065839E-2</c:v>
                </c:pt>
                <c:pt idx="3564">
                  <c:v>1.0664770499716101E-2</c:v>
                </c:pt>
                <c:pt idx="3565">
                  <c:v>9.6572178988181892E-3</c:v>
                </c:pt>
                <c:pt idx="3566">
                  <c:v>9.6431429040960692E-3</c:v>
                </c:pt>
                <c:pt idx="3567">
                  <c:v>9.4922288114043206E-3</c:v>
                </c:pt>
                <c:pt idx="3568">
                  <c:v>9.4273088281161196E-3</c:v>
                </c:pt>
                <c:pt idx="3569">
                  <c:v>8.9959793216066401E-3</c:v>
                </c:pt>
                <c:pt idx="3570">
                  <c:v>9.0169148805267201E-3</c:v>
                </c:pt>
                <c:pt idx="3571">
                  <c:v>8.9868426771471301E-3</c:v>
                </c:pt>
                <c:pt idx="3572">
                  <c:v>8.9852939754906293E-3</c:v>
                </c:pt>
                <c:pt idx="3573">
                  <c:v>8.9913652005944797E-3</c:v>
                </c:pt>
                <c:pt idx="3574">
                  <c:v>8.9523894179799005E-3</c:v>
                </c:pt>
                <c:pt idx="3575">
                  <c:v>8.8456338772715699E-3</c:v>
                </c:pt>
                <c:pt idx="3576">
                  <c:v>8.8691026046723003E-3</c:v>
                </c:pt>
                <c:pt idx="3577">
                  <c:v>8.8194349152266299E-3</c:v>
                </c:pt>
                <c:pt idx="3578">
                  <c:v>8.8177659142845994E-3</c:v>
                </c:pt>
                <c:pt idx="3579">
                  <c:v>8.8236873280707097E-3</c:v>
                </c:pt>
                <c:pt idx="3580">
                  <c:v>8.7972201827865408E-3</c:v>
                </c:pt>
                <c:pt idx="3581">
                  <c:v>8.7352152214024408E-3</c:v>
                </c:pt>
                <c:pt idx="3582">
                  <c:v>8.5846356602442102E-3</c:v>
                </c:pt>
                <c:pt idx="3583">
                  <c:v>8.5763767497153108E-3</c:v>
                </c:pt>
                <c:pt idx="3584">
                  <c:v>8.5737347488096197E-3</c:v>
                </c:pt>
                <c:pt idx="3585">
                  <c:v>8.4879137843239492E-3</c:v>
                </c:pt>
                <c:pt idx="3586">
                  <c:v>8.4821262493231398E-3</c:v>
                </c:pt>
                <c:pt idx="3587">
                  <c:v>8.4618313343615397E-3</c:v>
                </c:pt>
                <c:pt idx="3588">
                  <c:v>8.4279776243965498E-3</c:v>
                </c:pt>
                <c:pt idx="3589">
                  <c:v>8.25303748770638E-3</c:v>
                </c:pt>
                <c:pt idx="3590">
                  <c:v>8.2549327831603903E-3</c:v>
                </c:pt>
                <c:pt idx="3591">
                  <c:v>8.2546553304933094E-3</c:v>
                </c:pt>
                <c:pt idx="3592">
                  <c:v>8.2066505282343202E-3</c:v>
                </c:pt>
                <c:pt idx="3593">
                  <c:v>8.2085135505303095E-3</c:v>
                </c:pt>
                <c:pt idx="3594">
                  <c:v>8.1539355577800298E-3</c:v>
                </c:pt>
                <c:pt idx="3595">
                  <c:v>8.1376527407930298E-3</c:v>
                </c:pt>
                <c:pt idx="3596">
                  <c:v>8.0823754786729807E-3</c:v>
                </c:pt>
                <c:pt idx="3597">
                  <c:v>8.0855323356217104E-3</c:v>
                </c:pt>
                <c:pt idx="3598">
                  <c:v>8.0367188799555702E-3</c:v>
                </c:pt>
                <c:pt idx="3599">
                  <c:v>8.0385059445368095E-3</c:v>
                </c:pt>
                <c:pt idx="3600">
                  <c:v>8.0508619659153905E-3</c:v>
                </c:pt>
                <c:pt idx="3601">
                  <c:v>7.9917696893438799E-3</c:v>
                </c:pt>
                <c:pt idx="3602">
                  <c:v>7.9954802104135105E-3</c:v>
                </c:pt>
                <c:pt idx="3603">
                  <c:v>7.8997916156905105E-3</c:v>
                </c:pt>
                <c:pt idx="3604">
                  <c:v>7.8966578635090504E-3</c:v>
                </c:pt>
                <c:pt idx="3605">
                  <c:v>7.9541265217077297E-3</c:v>
                </c:pt>
                <c:pt idx="3606">
                  <c:v>7.9501692567662298E-3</c:v>
                </c:pt>
                <c:pt idx="3607">
                  <c:v>7.9432169923226402E-3</c:v>
                </c:pt>
                <c:pt idx="3608">
                  <c:v>7.9449221434048593E-3</c:v>
                </c:pt>
                <c:pt idx="3609">
                  <c:v>7.9434833359335495E-3</c:v>
                </c:pt>
                <c:pt idx="3610">
                  <c:v>7.9651112160356308E-3</c:v>
                </c:pt>
                <c:pt idx="3611">
                  <c:v>7.8694093016312902E-3</c:v>
                </c:pt>
                <c:pt idx="3612">
                  <c:v>7.8690631728010798E-3</c:v>
                </c:pt>
                <c:pt idx="3613">
                  <c:v>7.8849130104245296E-3</c:v>
                </c:pt>
                <c:pt idx="3614">
                  <c:v>7.6557337541619504E-3</c:v>
                </c:pt>
                <c:pt idx="3615">
                  <c:v>7.51174522103021E-3</c:v>
                </c:pt>
                <c:pt idx="3616">
                  <c:v>7.5124790030805296E-3</c:v>
                </c:pt>
                <c:pt idx="3617">
                  <c:v>7.5089104223056901E-3</c:v>
                </c:pt>
                <c:pt idx="3618">
                  <c:v>7.5235947385112502E-3</c:v>
                </c:pt>
                <c:pt idx="3619">
                  <c:v>7.5136490540607098E-3</c:v>
                </c:pt>
                <c:pt idx="3620">
                  <c:v>7.5240120877714698E-3</c:v>
                </c:pt>
                <c:pt idx="3621">
                  <c:v>7.5200766420480802E-3</c:v>
                </c:pt>
                <c:pt idx="3622">
                  <c:v>7.5069262657525499E-3</c:v>
                </c:pt>
                <c:pt idx="3623">
                  <c:v>7.5117913555147698E-3</c:v>
                </c:pt>
                <c:pt idx="3624">
                  <c:v>7.5447044394487796E-3</c:v>
                </c:pt>
                <c:pt idx="3625">
                  <c:v>7.5429474944400899E-3</c:v>
                </c:pt>
                <c:pt idx="3626">
                  <c:v>7.5261237009517801E-3</c:v>
                </c:pt>
                <c:pt idx="3627">
                  <c:v>7.5342106967157896E-3</c:v>
                </c:pt>
                <c:pt idx="3628">
                  <c:v>7.5365644479510998E-3</c:v>
                </c:pt>
                <c:pt idx="3629">
                  <c:v>7.5539112782530204E-3</c:v>
                </c:pt>
                <c:pt idx="3630">
                  <c:v>7.5589450266865697E-3</c:v>
                </c:pt>
                <c:pt idx="3631">
                  <c:v>7.2034621444829203E-3</c:v>
                </c:pt>
                <c:pt idx="3632">
                  <c:v>7.2007721842726998E-3</c:v>
                </c:pt>
                <c:pt idx="3633">
                  <c:v>7.2260386055311198E-3</c:v>
                </c:pt>
                <c:pt idx="3634">
                  <c:v>7.2203119414201797E-3</c:v>
                </c:pt>
                <c:pt idx="3635">
                  <c:v>7.2767711227632696E-3</c:v>
                </c:pt>
                <c:pt idx="3636">
                  <c:v>7.2783841112706296E-3</c:v>
                </c:pt>
                <c:pt idx="3637">
                  <c:v>7.27103185015296E-3</c:v>
                </c:pt>
                <c:pt idx="3638">
                  <c:v>6.91545860426236E-3</c:v>
                </c:pt>
                <c:pt idx="3639">
                  <c:v>6.9160960405785397E-3</c:v>
                </c:pt>
                <c:pt idx="3640">
                  <c:v>6.8629221442531099E-3</c:v>
                </c:pt>
                <c:pt idx="3641">
                  <c:v>6.8419909817774502E-3</c:v>
                </c:pt>
                <c:pt idx="3642">
                  <c:v>6.8619788267260803E-3</c:v>
                </c:pt>
                <c:pt idx="3643">
                  <c:v>6.8641603226698E-3</c:v>
                </c:pt>
                <c:pt idx="3644">
                  <c:v>6.87278859330351E-3</c:v>
                </c:pt>
                <c:pt idx="3645">
                  <c:v>6.8579034226935098E-3</c:v>
                </c:pt>
                <c:pt idx="3646">
                  <c:v>6.8514526873741004E-3</c:v>
                </c:pt>
                <c:pt idx="3647">
                  <c:v>6.78435996196861E-3</c:v>
                </c:pt>
                <c:pt idx="3648">
                  <c:v>6.7606793629924802E-3</c:v>
                </c:pt>
                <c:pt idx="3649">
                  <c:v>6.7548753174099798E-3</c:v>
                </c:pt>
                <c:pt idx="3650">
                  <c:v>6.74817080836599E-3</c:v>
                </c:pt>
                <c:pt idx="3651">
                  <c:v>6.7481231636583698E-3</c:v>
                </c:pt>
                <c:pt idx="3652">
                  <c:v>6.75033570341259E-3</c:v>
                </c:pt>
                <c:pt idx="3653">
                  <c:v>6.6670314827413698E-3</c:v>
                </c:pt>
                <c:pt idx="3654">
                  <c:v>6.6737543019869403E-3</c:v>
                </c:pt>
                <c:pt idx="3655">
                  <c:v>6.6742211054467001E-3</c:v>
                </c:pt>
                <c:pt idx="3656">
                  <c:v>6.6889708713406297E-3</c:v>
                </c:pt>
                <c:pt idx="3657">
                  <c:v>6.6964498098098903E-3</c:v>
                </c:pt>
                <c:pt idx="3658">
                  <c:v>6.69424653959135E-3</c:v>
                </c:pt>
                <c:pt idx="3659">
                  <c:v>6.5280892609275599E-3</c:v>
                </c:pt>
                <c:pt idx="3660">
                  <c:v>6.5368394169338798E-3</c:v>
                </c:pt>
                <c:pt idx="3661">
                  <c:v>6.5622807479149099E-3</c:v>
                </c:pt>
                <c:pt idx="3662">
                  <c:v>6.5680548392204902E-3</c:v>
                </c:pt>
                <c:pt idx="3663">
                  <c:v>6.5870823531240501E-3</c:v>
                </c:pt>
                <c:pt idx="3664">
                  <c:v>6.5918493708056296E-3</c:v>
                </c:pt>
                <c:pt idx="3665">
                  <c:v>6.5924271528388801E-3</c:v>
                </c:pt>
                <c:pt idx="3666">
                  <c:v>6.5859835682428999E-3</c:v>
                </c:pt>
                <c:pt idx="3667">
                  <c:v>6.5584392734730698E-3</c:v>
                </c:pt>
                <c:pt idx="3668">
                  <c:v>6.5622907337231301E-3</c:v>
                </c:pt>
                <c:pt idx="3669">
                  <c:v>6.5101796566534196E-3</c:v>
                </c:pt>
                <c:pt idx="3670">
                  <c:v>6.5275251579472197E-3</c:v>
                </c:pt>
                <c:pt idx="3671">
                  <c:v>6.5288076216432596E-3</c:v>
                </c:pt>
                <c:pt idx="3672">
                  <c:v>6.5198502995413498E-3</c:v>
                </c:pt>
                <c:pt idx="3673">
                  <c:v>6.4891961795427696E-3</c:v>
                </c:pt>
                <c:pt idx="3674">
                  <c:v>6.4900091913970698E-3</c:v>
                </c:pt>
                <c:pt idx="3675">
                  <c:v>6.5015036254458701E-3</c:v>
                </c:pt>
                <c:pt idx="3676">
                  <c:v>6.5162941947292698E-3</c:v>
                </c:pt>
                <c:pt idx="3677">
                  <c:v>6.5643213587668501E-3</c:v>
                </c:pt>
                <c:pt idx="3678">
                  <c:v>6.5559813809556201E-3</c:v>
                </c:pt>
                <c:pt idx="3679">
                  <c:v>6.5450094286456303E-3</c:v>
                </c:pt>
                <c:pt idx="3680">
                  <c:v>6.5369846047191498E-3</c:v>
                </c:pt>
                <c:pt idx="3681">
                  <c:v>6.5331693625830401E-3</c:v>
                </c:pt>
                <c:pt idx="3682">
                  <c:v>6.4767458803506699E-3</c:v>
                </c:pt>
                <c:pt idx="3683">
                  <c:v>6.1343113712278704E-3</c:v>
                </c:pt>
                <c:pt idx="3684">
                  <c:v>6.1291381014540996E-3</c:v>
                </c:pt>
                <c:pt idx="3685">
                  <c:v>6.16583476429479E-3</c:v>
                </c:pt>
                <c:pt idx="3686">
                  <c:v>6.1647597064454496E-3</c:v>
                </c:pt>
                <c:pt idx="3687">
                  <c:v>6.2168819203964496E-3</c:v>
                </c:pt>
                <c:pt idx="3688">
                  <c:v>6.1857743211934501E-3</c:v>
                </c:pt>
                <c:pt idx="3689">
                  <c:v>6.2154927967175101E-3</c:v>
                </c:pt>
                <c:pt idx="3690">
                  <c:v>6.2665162759051101E-3</c:v>
                </c:pt>
                <c:pt idx="3691">
                  <c:v>6.2486454183661704E-3</c:v>
                </c:pt>
                <c:pt idx="3692">
                  <c:v>6.27586089634529E-3</c:v>
                </c:pt>
                <c:pt idx="3693">
                  <c:v>6.2887861580261497E-3</c:v>
                </c:pt>
                <c:pt idx="3694">
                  <c:v>6.2890110313959203E-3</c:v>
                </c:pt>
                <c:pt idx="3695">
                  <c:v>6.2910953425162498E-3</c:v>
                </c:pt>
                <c:pt idx="3696">
                  <c:v>6.2951359699369297E-3</c:v>
                </c:pt>
                <c:pt idx="3697">
                  <c:v>6.3340545902833998E-3</c:v>
                </c:pt>
                <c:pt idx="3698">
                  <c:v>6.3335518803246602E-3</c:v>
                </c:pt>
                <c:pt idx="3699">
                  <c:v>6.31820059602983E-3</c:v>
                </c:pt>
                <c:pt idx="3700">
                  <c:v>6.3182586869730498E-3</c:v>
                </c:pt>
                <c:pt idx="3701">
                  <c:v>6.3250394926076797E-3</c:v>
                </c:pt>
                <c:pt idx="3702">
                  <c:v>6.3114547828498901E-3</c:v>
                </c:pt>
                <c:pt idx="3703">
                  <c:v>6.2101878699461002E-3</c:v>
                </c:pt>
                <c:pt idx="3704">
                  <c:v>6.2151769834381402E-3</c:v>
                </c:pt>
                <c:pt idx="3705">
                  <c:v>6.2458717557150496E-3</c:v>
                </c:pt>
                <c:pt idx="3706">
                  <c:v>6.2267364828409097E-3</c:v>
                </c:pt>
                <c:pt idx="3707">
                  <c:v>6.3306242873485503E-3</c:v>
                </c:pt>
                <c:pt idx="3708">
                  <c:v>6.3356784741187304E-3</c:v>
                </c:pt>
                <c:pt idx="3709">
                  <c:v>6.3306838011060003E-3</c:v>
                </c:pt>
                <c:pt idx="3710">
                  <c:v>6.3237275489103203E-3</c:v>
                </c:pt>
                <c:pt idx="3711">
                  <c:v>6.2177215615898396E-3</c:v>
                </c:pt>
                <c:pt idx="3712">
                  <c:v>6.2130876111634497E-3</c:v>
                </c:pt>
                <c:pt idx="3713">
                  <c:v>6.2079974773549098E-3</c:v>
                </c:pt>
                <c:pt idx="3714">
                  <c:v>6.2045878308620997E-3</c:v>
                </c:pt>
                <c:pt idx="3715">
                  <c:v>6.2081222023782998E-3</c:v>
                </c:pt>
                <c:pt idx="3716">
                  <c:v>6.1782504576935997E-3</c:v>
                </c:pt>
                <c:pt idx="3717">
                  <c:v>6.1782629919999001E-3</c:v>
                </c:pt>
                <c:pt idx="3718">
                  <c:v>6.21168458163878E-3</c:v>
                </c:pt>
                <c:pt idx="3719">
                  <c:v>6.22641038714725E-3</c:v>
                </c:pt>
                <c:pt idx="3720">
                  <c:v>6.2348080124699796E-3</c:v>
                </c:pt>
                <c:pt idx="3721">
                  <c:v>6.2014709107048403E-3</c:v>
                </c:pt>
                <c:pt idx="3722">
                  <c:v>6.1376472331073897E-3</c:v>
                </c:pt>
                <c:pt idx="3723">
                  <c:v>6.1446208878902803E-3</c:v>
                </c:pt>
                <c:pt idx="3724">
                  <c:v>6.2927139538456901E-3</c:v>
                </c:pt>
                <c:pt idx="3725">
                  <c:v>6.3517588422028403E-3</c:v>
                </c:pt>
                <c:pt idx="3726">
                  <c:v>6.3027830470872804E-3</c:v>
                </c:pt>
                <c:pt idx="3727">
                  <c:v>6.3038686587373804E-3</c:v>
                </c:pt>
                <c:pt idx="3728">
                  <c:v>6.3060348128894097E-3</c:v>
                </c:pt>
                <c:pt idx="3729">
                  <c:v>6.3018998396479802E-3</c:v>
                </c:pt>
                <c:pt idx="3730">
                  <c:v>6.3057568223720299E-3</c:v>
                </c:pt>
                <c:pt idx="3731">
                  <c:v>6.3069388558110598E-3</c:v>
                </c:pt>
                <c:pt idx="3732">
                  <c:v>6.2915400883677298E-3</c:v>
                </c:pt>
                <c:pt idx="3733">
                  <c:v>6.2801786137917197E-3</c:v>
                </c:pt>
                <c:pt idx="3734">
                  <c:v>6.3460981290438803E-3</c:v>
                </c:pt>
                <c:pt idx="3735">
                  <c:v>6.39370433661084E-3</c:v>
                </c:pt>
                <c:pt idx="3736">
                  <c:v>6.3967860347230497E-3</c:v>
                </c:pt>
                <c:pt idx="3737">
                  <c:v>6.3917107135443799E-3</c:v>
                </c:pt>
                <c:pt idx="3738">
                  <c:v>6.3832334123879097E-3</c:v>
                </c:pt>
                <c:pt idx="3739">
                  <c:v>6.3406131838839898E-3</c:v>
                </c:pt>
                <c:pt idx="3740">
                  <c:v>6.3243423415382596E-3</c:v>
                </c:pt>
                <c:pt idx="3741">
                  <c:v>6.3224788183096903E-3</c:v>
                </c:pt>
                <c:pt idx="3742">
                  <c:v>6.3248801264553902E-3</c:v>
                </c:pt>
                <c:pt idx="3743">
                  <c:v>6.3374455761597004E-3</c:v>
                </c:pt>
                <c:pt idx="3744">
                  <c:v>6.3375393832955798E-3</c:v>
                </c:pt>
                <c:pt idx="3745">
                  <c:v>6.3228449204709098E-3</c:v>
                </c:pt>
                <c:pt idx="3746">
                  <c:v>6.3096405495897002E-3</c:v>
                </c:pt>
                <c:pt idx="3747">
                  <c:v>6.2882300959478396E-3</c:v>
                </c:pt>
                <c:pt idx="3748">
                  <c:v>6.2932761026263202E-3</c:v>
                </c:pt>
                <c:pt idx="3749">
                  <c:v>6.2882594369477098E-3</c:v>
                </c:pt>
                <c:pt idx="3750">
                  <c:v>6.2597628980171601E-3</c:v>
                </c:pt>
                <c:pt idx="3751">
                  <c:v>6.25923673196909E-3</c:v>
                </c:pt>
                <c:pt idx="3752">
                  <c:v>6.2370915748621199E-3</c:v>
                </c:pt>
                <c:pt idx="3753">
                  <c:v>6.2140362221738896E-3</c:v>
                </c:pt>
                <c:pt idx="3754">
                  <c:v>6.19295599006038E-3</c:v>
                </c:pt>
                <c:pt idx="3755">
                  <c:v>6.1603422038974103E-3</c:v>
                </c:pt>
                <c:pt idx="3756">
                  <c:v>6.03486583395638E-3</c:v>
                </c:pt>
                <c:pt idx="3757">
                  <c:v>6.0299636534642403E-3</c:v>
                </c:pt>
                <c:pt idx="3758">
                  <c:v>6.0222592635784901E-3</c:v>
                </c:pt>
                <c:pt idx="3759">
                  <c:v>6.0245692664606396E-3</c:v>
                </c:pt>
                <c:pt idx="3760">
                  <c:v>6.0616864548211696E-3</c:v>
                </c:pt>
                <c:pt idx="3761">
                  <c:v>5.79585847686526E-3</c:v>
                </c:pt>
                <c:pt idx="3762">
                  <c:v>5.7972970883162301E-3</c:v>
                </c:pt>
                <c:pt idx="3763">
                  <c:v>5.7682407291526697E-3</c:v>
                </c:pt>
                <c:pt idx="3764">
                  <c:v>5.7034160291395504E-3</c:v>
                </c:pt>
                <c:pt idx="3765">
                  <c:v>5.7063303039710297E-3</c:v>
                </c:pt>
                <c:pt idx="3766">
                  <c:v>5.6913115961870504E-3</c:v>
                </c:pt>
                <c:pt idx="3767">
                  <c:v>5.6926988504177401E-3</c:v>
                </c:pt>
                <c:pt idx="3768">
                  <c:v>5.6717718007494398E-3</c:v>
                </c:pt>
                <c:pt idx="3769">
                  <c:v>5.6721876446975102E-3</c:v>
                </c:pt>
                <c:pt idx="3770">
                  <c:v>5.6338393996305403E-3</c:v>
                </c:pt>
                <c:pt idx="3771">
                  <c:v>5.6462137965080598E-3</c:v>
                </c:pt>
                <c:pt idx="3772">
                  <c:v>5.6485070053373604E-3</c:v>
                </c:pt>
                <c:pt idx="3773">
                  <c:v>5.6406318422487396E-3</c:v>
                </c:pt>
                <c:pt idx="3774">
                  <c:v>5.65505126875465E-3</c:v>
                </c:pt>
                <c:pt idx="3775">
                  <c:v>5.6588840443864601E-3</c:v>
                </c:pt>
                <c:pt idx="3776">
                  <c:v>5.6261810106834802E-3</c:v>
                </c:pt>
                <c:pt idx="3777">
                  <c:v>5.6101231201243799E-3</c:v>
                </c:pt>
                <c:pt idx="3778">
                  <c:v>5.6099035444254399E-3</c:v>
                </c:pt>
                <c:pt idx="3779">
                  <c:v>5.59053894325589E-3</c:v>
                </c:pt>
                <c:pt idx="3780">
                  <c:v>5.6005115196234301E-3</c:v>
                </c:pt>
                <c:pt idx="3781">
                  <c:v>5.6216647445761396E-3</c:v>
                </c:pt>
                <c:pt idx="3782">
                  <c:v>5.5953609440492899E-3</c:v>
                </c:pt>
                <c:pt idx="3783">
                  <c:v>5.5942474427580604E-3</c:v>
                </c:pt>
                <c:pt idx="3784">
                  <c:v>5.6210772985762596E-3</c:v>
                </c:pt>
                <c:pt idx="3785">
                  <c:v>5.6240243377144198E-3</c:v>
                </c:pt>
                <c:pt idx="3786">
                  <c:v>5.6524383242536804E-3</c:v>
                </c:pt>
                <c:pt idx="3787">
                  <c:v>5.6724150623002302E-3</c:v>
                </c:pt>
                <c:pt idx="3788">
                  <c:v>5.6847080672493703E-3</c:v>
                </c:pt>
                <c:pt idx="3789">
                  <c:v>5.6688019992637596E-3</c:v>
                </c:pt>
                <c:pt idx="3790">
                  <c:v>5.6765937024352998E-3</c:v>
                </c:pt>
                <c:pt idx="3791">
                  <c:v>5.7966245990957498E-3</c:v>
                </c:pt>
                <c:pt idx="3792">
                  <c:v>5.7950254290556197E-3</c:v>
                </c:pt>
                <c:pt idx="3793">
                  <c:v>6.1975290343843498E-3</c:v>
                </c:pt>
                <c:pt idx="3794">
                  <c:v>6.17211998201084E-3</c:v>
                </c:pt>
                <c:pt idx="3795">
                  <c:v>6.2532808834007596E-3</c:v>
                </c:pt>
                <c:pt idx="3796">
                  <c:v>6.24938276329227E-3</c:v>
                </c:pt>
                <c:pt idx="3797">
                  <c:v>6.2427651134720798E-3</c:v>
                </c:pt>
                <c:pt idx="3798">
                  <c:v>6.3037197244260402E-3</c:v>
                </c:pt>
                <c:pt idx="3799">
                  <c:v>6.2996592507544597E-3</c:v>
                </c:pt>
                <c:pt idx="3800">
                  <c:v>6.2935846334954996E-3</c:v>
                </c:pt>
                <c:pt idx="3801">
                  <c:v>6.3012850925433499E-3</c:v>
                </c:pt>
                <c:pt idx="3802">
                  <c:v>6.3103600924690403E-3</c:v>
                </c:pt>
                <c:pt idx="3803">
                  <c:v>6.3578635735904799E-3</c:v>
                </c:pt>
                <c:pt idx="3804">
                  <c:v>6.3628947674718899E-3</c:v>
                </c:pt>
                <c:pt idx="3805">
                  <c:v>6.3846922507729501E-3</c:v>
                </c:pt>
                <c:pt idx="3806">
                  <c:v>6.4586743094963003E-3</c:v>
                </c:pt>
                <c:pt idx="3807">
                  <c:v>6.48119637340189E-3</c:v>
                </c:pt>
                <c:pt idx="3808">
                  <c:v>6.4868688814121401E-3</c:v>
                </c:pt>
                <c:pt idx="3809">
                  <c:v>6.54249545909229E-3</c:v>
                </c:pt>
                <c:pt idx="3810">
                  <c:v>6.5134980367762899E-3</c:v>
                </c:pt>
                <c:pt idx="3811">
                  <c:v>6.5658014633630897E-3</c:v>
                </c:pt>
                <c:pt idx="3812">
                  <c:v>6.5670093960509997E-3</c:v>
                </c:pt>
                <c:pt idx="3813">
                  <c:v>6.5721757401092902E-3</c:v>
                </c:pt>
                <c:pt idx="3814">
                  <c:v>6.5752850162570401E-3</c:v>
                </c:pt>
                <c:pt idx="3815">
                  <c:v>6.5734513777810696E-3</c:v>
                </c:pt>
                <c:pt idx="3816">
                  <c:v>6.5745610051571599E-3</c:v>
                </c:pt>
                <c:pt idx="3817">
                  <c:v>6.6731384716926401E-3</c:v>
                </c:pt>
                <c:pt idx="3818">
                  <c:v>6.6683882802095404E-3</c:v>
                </c:pt>
                <c:pt idx="3819">
                  <c:v>6.6700507991643799E-3</c:v>
                </c:pt>
                <c:pt idx="3820">
                  <c:v>6.7108407533922601E-3</c:v>
                </c:pt>
                <c:pt idx="3821">
                  <c:v>6.7196031425366797E-3</c:v>
                </c:pt>
                <c:pt idx="3822">
                  <c:v>6.7233292192148504E-3</c:v>
                </c:pt>
                <c:pt idx="3823">
                  <c:v>6.7173765999167297E-3</c:v>
                </c:pt>
                <c:pt idx="3824">
                  <c:v>6.6770251380601697E-3</c:v>
                </c:pt>
                <c:pt idx="3825">
                  <c:v>6.6906561580981801E-3</c:v>
                </c:pt>
                <c:pt idx="3826">
                  <c:v>6.6894694209538499E-3</c:v>
                </c:pt>
                <c:pt idx="3827">
                  <c:v>6.6781395340541798E-3</c:v>
                </c:pt>
                <c:pt idx="3828">
                  <c:v>6.6807717919294398E-3</c:v>
                </c:pt>
                <c:pt idx="3829">
                  <c:v>6.6627933515818099E-3</c:v>
                </c:pt>
                <c:pt idx="3830">
                  <c:v>6.6734962463206203E-3</c:v>
                </c:pt>
                <c:pt idx="3831">
                  <c:v>6.67366158352723E-3</c:v>
                </c:pt>
                <c:pt idx="3832">
                  <c:v>6.6789853058536802E-3</c:v>
                </c:pt>
                <c:pt idx="3833">
                  <c:v>6.6480955810975396E-3</c:v>
                </c:pt>
                <c:pt idx="3834">
                  <c:v>6.6841563460506501E-3</c:v>
                </c:pt>
                <c:pt idx="3835">
                  <c:v>6.6576358315799502E-3</c:v>
                </c:pt>
                <c:pt idx="3836">
                  <c:v>6.6565521122166999E-3</c:v>
                </c:pt>
                <c:pt idx="3837">
                  <c:v>6.6737917237568497E-3</c:v>
                </c:pt>
                <c:pt idx="3838">
                  <c:v>6.6683691053866902E-3</c:v>
                </c:pt>
                <c:pt idx="3839">
                  <c:v>6.8054417031572804E-3</c:v>
                </c:pt>
                <c:pt idx="3840">
                  <c:v>6.8521142720596104E-3</c:v>
                </c:pt>
                <c:pt idx="3841">
                  <c:v>6.8569610742178801E-3</c:v>
                </c:pt>
                <c:pt idx="3842">
                  <c:v>6.8508569769081696E-3</c:v>
                </c:pt>
                <c:pt idx="3843">
                  <c:v>6.8567567340941703E-3</c:v>
                </c:pt>
                <c:pt idx="3844">
                  <c:v>6.8436276896074299E-3</c:v>
                </c:pt>
                <c:pt idx="3845">
                  <c:v>7.1700008911005104E-3</c:v>
                </c:pt>
                <c:pt idx="3846">
                  <c:v>7.3787428168860403E-3</c:v>
                </c:pt>
                <c:pt idx="3847">
                  <c:v>7.4145589533367003E-3</c:v>
                </c:pt>
                <c:pt idx="3848">
                  <c:v>8.0148923583109408E-3</c:v>
                </c:pt>
                <c:pt idx="3849">
                  <c:v>8.0598924883100304E-3</c:v>
                </c:pt>
                <c:pt idx="3850">
                  <c:v>8.0973964215766102E-3</c:v>
                </c:pt>
                <c:pt idx="3851">
                  <c:v>8.1136494971432299E-3</c:v>
                </c:pt>
                <c:pt idx="3852">
                  <c:v>8.2420164356162093E-3</c:v>
                </c:pt>
                <c:pt idx="3853">
                  <c:v>8.2394743726518505E-3</c:v>
                </c:pt>
                <c:pt idx="3854">
                  <c:v>8.2669461619771407E-3</c:v>
                </c:pt>
                <c:pt idx="3855">
                  <c:v>8.3355171293940499E-3</c:v>
                </c:pt>
                <c:pt idx="3856">
                  <c:v>8.3472896664696702E-3</c:v>
                </c:pt>
                <c:pt idx="3857">
                  <c:v>8.3370770480988704E-3</c:v>
                </c:pt>
                <c:pt idx="3858">
                  <c:v>8.3591677746644704E-3</c:v>
                </c:pt>
                <c:pt idx="3859">
                  <c:v>8.3506411851311108E-3</c:v>
                </c:pt>
                <c:pt idx="3860">
                  <c:v>8.3805939377026798E-3</c:v>
                </c:pt>
                <c:pt idx="3861">
                  <c:v>8.3839245076281904E-3</c:v>
                </c:pt>
                <c:pt idx="3862">
                  <c:v>8.4062295961599195E-3</c:v>
                </c:pt>
                <c:pt idx="3863">
                  <c:v>8.4019516506371392E-3</c:v>
                </c:pt>
                <c:pt idx="3864">
                  <c:v>8.3936766221444793E-3</c:v>
                </c:pt>
                <c:pt idx="3865">
                  <c:v>8.41655521562403E-3</c:v>
                </c:pt>
                <c:pt idx="3866">
                  <c:v>8.4247582951796508E-3</c:v>
                </c:pt>
                <c:pt idx="3867">
                  <c:v>8.4308138151957899E-3</c:v>
                </c:pt>
                <c:pt idx="3868">
                  <c:v>8.4619126713223296E-3</c:v>
                </c:pt>
                <c:pt idx="3869">
                  <c:v>8.4653854742378302E-3</c:v>
                </c:pt>
                <c:pt idx="3870">
                  <c:v>8.3794599779369594E-3</c:v>
                </c:pt>
                <c:pt idx="3871">
                  <c:v>8.3850099892419892E-3</c:v>
                </c:pt>
                <c:pt idx="3872">
                  <c:v>8.4175564432241601E-3</c:v>
                </c:pt>
                <c:pt idx="3873">
                  <c:v>8.6776098811705994E-3</c:v>
                </c:pt>
                <c:pt idx="3874">
                  <c:v>8.6876136163307003E-3</c:v>
                </c:pt>
                <c:pt idx="3875">
                  <c:v>8.6967919029665094E-3</c:v>
                </c:pt>
                <c:pt idx="3876">
                  <c:v>8.7859147853236799E-3</c:v>
                </c:pt>
                <c:pt idx="3877">
                  <c:v>8.7968933039643295E-3</c:v>
                </c:pt>
                <c:pt idx="3878">
                  <c:v>8.7823142608308598E-3</c:v>
                </c:pt>
                <c:pt idx="3879">
                  <c:v>8.7814610018755995E-3</c:v>
                </c:pt>
                <c:pt idx="3880">
                  <c:v>8.7941013859138099E-3</c:v>
                </c:pt>
                <c:pt idx="3881">
                  <c:v>8.7947301518197397E-3</c:v>
                </c:pt>
                <c:pt idx="3882">
                  <c:v>8.7419855473490696E-3</c:v>
                </c:pt>
                <c:pt idx="3883">
                  <c:v>8.8393508757481799E-3</c:v>
                </c:pt>
                <c:pt idx="3884">
                  <c:v>8.8375658478354498E-3</c:v>
                </c:pt>
                <c:pt idx="3885">
                  <c:v>8.8448754429342104E-3</c:v>
                </c:pt>
                <c:pt idx="3886">
                  <c:v>8.8592305375358206E-3</c:v>
                </c:pt>
                <c:pt idx="3887">
                  <c:v>8.9012248394649603E-3</c:v>
                </c:pt>
                <c:pt idx="3888">
                  <c:v>8.9748984420761208E-3</c:v>
                </c:pt>
                <c:pt idx="3889">
                  <c:v>8.9587613868317498E-3</c:v>
                </c:pt>
                <c:pt idx="3890">
                  <c:v>8.9562154186986296E-3</c:v>
                </c:pt>
                <c:pt idx="3891">
                  <c:v>9.0073530272583493E-3</c:v>
                </c:pt>
                <c:pt idx="3892">
                  <c:v>8.9902410386532294E-3</c:v>
                </c:pt>
                <c:pt idx="3893">
                  <c:v>9.0923204765204005E-3</c:v>
                </c:pt>
                <c:pt idx="3894">
                  <c:v>9.0967517791343995E-3</c:v>
                </c:pt>
                <c:pt idx="3895">
                  <c:v>9.1953964414878703E-3</c:v>
                </c:pt>
                <c:pt idx="3896">
                  <c:v>9.1749172258284301E-3</c:v>
                </c:pt>
                <c:pt idx="3897">
                  <c:v>9.14398561976398E-3</c:v>
                </c:pt>
                <c:pt idx="3898">
                  <c:v>9.1598793247237298E-3</c:v>
                </c:pt>
                <c:pt idx="3899">
                  <c:v>9.1663522631167099E-3</c:v>
                </c:pt>
                <c:pt idx="3900">
                  <c:v>9.2314829352755194E-3</c:v>
                </c:pt>
                <c:pt idx="3901">
                  <c:v>9.2607490045625504E-3</c:v>
                </c:pt>
                <c:pt idx="3902">
                  <c:v>9.2585256999465002E-3</c:v>
                </c:pt>
                <c:pt idx="3903">
                  <c:v>9.2512347948935907E-3</c:v>
                </c:pt>
                <c:pt idx="3904">
                  <c:v>9.2546889581504692E-3</c:v>
                </c:pt>
                <c:pt idx="3905">
                  <c:v>9.2442424216988804E-3</c:v>
                </c:pt>
                <c:pt idx="3906">
                  <c:v>9.24735936654013E-3</c:v>
                </c:pt>
                <c:pt idx="3907">
                  <c:v>9.1905368171079204E-3</c:v>
                </c:pt>
                <c:pt idx="3908">
                  <c:v>9.2003973801281294E-3</c:v>
                </c:pt>
                <c:pt idx="3909">
                  <c:v>9.2190868661051594E-3</c:v>
                </c:pt>
                <c:pt idx="3910">
                  <c:v>9.2205711007925899E-3</c:v>
                </c:pt>
                <c:pt idx="3911">
                  <c:v>9.2130653530279796E-3</c:v>
                </c:pt>
                <c:pt idx="3912">
                  <c:v>9.2584061398377996E-3</c:v>
                </c:pt>
                <c:pt idx="3913">
                  <c:v>9.2721048742255702E-3</c:v>
                </c:pt>
                <c:pt idx="3914">
                  <c:v>9.2727994481049507E-3</c:v>
                </c:pt>
                <c:pt idx="3915">
                  <c:v>9.2730217885256001E-3</c:v>
                </c:pt>
                <c:pt idx="3916">
                  <c:v>9.2693525709764708E-3</c:v>
                </c:pt>
                <c:pt idx="3917">
                  <c:v>9.3912301440601201E-3</c:v>
                </c:pt>
                <c:pt idx="3918">
                  <c:v>9.4875040399085495E-3</c:v>
                </c:pt>
                <c:pt idx="3919">
                  <c:v>9.4984508255052703E-3</c:v>
                </c:pt>
                <c:pt idx="3920">
                  <c:v>9.5163464532793604E-3</c:v>
                </c:pt>
                <c:pt idx="3921">
                  <c:v>9.5408718257781796E-3</c:v>
                </c:pt>
                <c:pt idx="3922">
                  <c:v>9.5421139089947298E-3</c:v>
                </c:pt>
                <c:pt idx="3923">
                  <c:v>9.5383055064030501E-3</c:v>
                </c:pt>
                <c:pt idx="3924">
                  <c:v>9.49442076655857E-3</c:v>
                </c:pt>
                <c:pt idx="3925">
                  <c:v>9.4513243630396006E-3</c:v>
                </c:pt>
                <c:pt idx="3926">
                  <c:v>9.4869334899522102E-3</c:v>
                </c:pt>
                <c:pt idx="3927">
                  <c:v>9.5129576952412108E-3</c:v>
                </c:pt>
                <c:pt idx="3928">
                  <c:v>9.5099911052511001E-3</c:v>
                </c:pt>
                <c:pt idx="3929">
                  <c:v>9.5173632989769795E-3</c:v>
                </c:pt>
                <c:pt idx="3930">
                  <c:v>9.84533544694822E-3</c:v>
                </c:pt>
                <c:pt idx="3931">
                  <c:v>9.8470610916731507E-3</c:v>
                </c:pt>
                <c:pt idx="3932">
                  <c:v>9.8807393450814594E-3</c:v>
                </c:pt>
                <c:pt idx="3933">
                  <c:v>9.8783976785675204E-3</c:v>
                </c:pt>
                <c:pt idx="3934">
                  <c:v>9.8540788271346703E-3</c:v>
                </c:pt>
                <c:pt idx="3935">
                  <c:v>9.8290943779013804E-3</c:v>
                </c:pt>
                <c:pt idx="3936">
                  <c:v>9.9310206832257993E-3</c:v>
                </c:pt>
                <c:pt idx="3937">
                  <c:v>9.9554384827209696E-3</c:v>
                </c:pt>
                <c:pt idx="3938">
                  <c:v>1.01191959711768E-2</c:v>
                </c:pt>
                <c:pt idx="3939">
                  <c:v>1.03280369663872E-2</c:v>
                </c:pt>
                <c:pt idx="3940">
                  <c:v>1.03232943589522E-2</c:v>
                </c:pt>
                <c:pt idx="3941">
                  <c:v>1.03599416946786E-2</c:v>
                </c:pt>
                <c:pt idx="3942">
                  <c:v>1.0367313385197601E-2</c:v>
                </c:pt>
                <c:pt idx="3943">
                  <c:v>1.0375980457607001E-2</c:v>
                </c:pt>
                <c:pt idx="3944">
                  <c:v>1.05659897757551E-2</c:v>
                </c:pt>
                <c:pt idx="3945">
                  <c:v>1.05679576764738E-2</c:v>
                </c:pt>
                <c:pt idx="3946">
                  <c:v>1.0632397515322399E-2</c:v>
                </c:pt>
                <c:pt idx="3947">
                  <c:v>1.07443445379828E-2</c:v>
                </c:pt>
                <c:pt idx="3948">
                  <c:v>1.0745884485059601E-2</c:v>
                </c:pt>
                <c:pt idx="3949">
                  <c:v>1.0752639406284001E-2</c:v>
                </c:pt>
                <c:pt idx="3950">
                  <c:v>1.0758147571644601E-2</c:v>
                </c:pt>
                <c:pt idx="3951">
                  <c:v>1.07620500516216E-2</c:v>
                </c:pt>
                <c:pt idx="3952">
                  <c:v>1.07596048731899E-2</c:v>
                </c:pt>
                <c:pt idx="3953">
                  <c:v>1.0845006592521999E-2</c:v>
                </c:pt>
                <c:pt idx="3954">
                  <c:v>1.08672431195027E-2</c:v>
                </c:pt>
                <c:pt idx="3955">
                  <c:v>1.09217652576276E-2</c:v>
                </c:pt>
                <c:pt idx="3956">
                  <c:v>1.0921624276282E-2</c:v>
                </c:pt>
                <c:pt idx="3957">
                  <c:v>1.09509580604481E-2</c:v>
                </c:pt>
                <c:pt idx="3958">
                  <c:v>1.0954242703036699E-2</c:v>
                </c:pt>
                <c:pt idx="3959">
                  <c:v>1.0950845986123101E-2</c:v>
                </c:pt>
                <c:pt idx="3960">
                  <c:v>1.0916356705546399E-2</c:v>
                </c:pt>
                <c:pt idx="3961">
                  <c:v>1.1003245267611201E-2</c:v>
                </c:pt>
                <c:pt idx="3962">
                  <c:v>1.11072119257942E-2</c:v>
                </c:pt>
                <c:pt idx="3963">
                  <c:v>1.1161463168931501E-2</c:v>
                </c:pt>
                <c:pt idx="3964">
                  <c:v>1.1191310057767599E-2</c:v>
                </c:pt>
                <c:pt idx="3965">
                  <c:v>1.13862316855313E-2</c:v>
                </c:pt>
                <c:pt idx="3966">
                  <c:v>1.14388685839563E-2</c:v>
                </c:pt>
                <c:pt idx="3967">
                  <c:v>1.1564674337477999E-2</c:v>
                </c:pt>
                <c:pt idx="3968">
                  <c:v>1.1565136364382601E-2</c:v>
                </c:pt>
                <c:pt idx="3969">
                  <c:v>1.15679087498435E-2</c:v>
                </c:pt>
                <c:pt idx="3970">
                  <c:v>1.1571452405477399E-2</c:v>
                </c:pt>
                <c:pt idx="3971">
                  <c:v>1.16760816976209E-2</c:v>
                </c:pt>
                <c:pt idx="3972">
                  <c:v>1.16728216533504E-2</c:v>
                </c:pt>
                <c:pt idx="3973">
                  <c:v>1.17060159916218E-2</c:v>
                </c:pt>
                <c:pt idx="3974">
                  <c:v>1.1726060557190301E-2</c:v>
                </c:pt>
                <c:pt idx="3975">
                  <c:v>1.1802281324456199E-2</c:v>
                </c:pt>
                <c:pt idx="3976">
                  <c:v>1.18069570506221E-2</c:v>
                </c:pt>
                <c:pt idx="3977">
                  <c:v>1.1810903749466899E-2</c:v>
                </c:pt>
                <c:pt idx="3978">
                  <c:v>1.1812018231003101E-2</c:v>
                </c:pt>
                <c:pt idx="3979">
                  <c:v>1.19441464015304E-2</c:v>
                </c:pt>
                <c:pt idx="3980">
                  <c:v>1.19314095263149E-2</c:v>
                </c:pt>
                <c:pt idx="3981">
                  <c:v>1.1915914674903201E-2</c:v>
                </c:pt>
                <c:pt idx="3982">
                  <c:v>1.19352904033999E-2</c:v>
                </c:pt>
                <c:pt idx="3983">
                  <c:v>1.1925694764109001E-2</c:v>
                </c:pt>
                <c:pt idx="3984">
                  <c:v>1.1906937783159099E-2</c:v>
                </c:pt>
                <c:pt idx="3985">
                  <c:v>1.1940903748689899E-2</c:v>
                </c:pt>
                <c:pt idx="3986">
                  <c:v>1.2006809731807301E-2</c:v>
                </c:pt>
                <c:pt idx="3987">
                  <c:v>1.2020661243092199E-2</c:v>
                </c:pt>
                <c:pt idx="3988">
                  <c:v>1.20111668138526E-2</c:v>
                </c:pt>
                <c:pt idx="3989">
                  <c:v>1.2043677518209501E-2</c:v>
                </c:pt>
                <c:pt idx="3990">
                  <c:v>1.20341049789125E-2</c:v>
                </c:pt>
                <c:pt idx="3991">
                  <c:v>1.1965174088034301E-2</c:v>
                </c:pt>
                <c:pt idx="3992">
                  <c:v>1.1992964235889501E-2</c:v>
                </c:pt>
                <c:pt idx="3993">
                  <c:v>1.1819791385960799E-2</c:v>
                </c:pt>
                <c:pt idx="3994">
                  <c:v>1.1841853931032599E-2</c:v>
                </c:pt>
                <c:pt idx="3995">
                  <c:v>1.1904653618151099E-2</c:v>
                </c:pt>
                <c:pt idx="3996">
                  <c:v>1.19453721415458E-2</c:v>
                </c:pt>
                <c:pt idx="3997">
                  <c:v>1.1945338400731999E-2</c:v>
                </c:pt>
                <c:pt idx="3998">
                  <c:v>1.2118271536461001E-2</c:v>
                </c:pt>
                <c:pt idx="3999">
                  <c:v>1.21319808454281E-2</c:v>
                </c:pt>
                <c:pt idx="4000">
                  <c:v>1.21535628515804E-2</c:v>
                </c:pt>
                <c:pt idx="4001">
                  <c:v>1.2147887324833601E-2</c:v>
                </c:pt>
                <c:pt idx="4002">
                  <c:v>1.21678177309405E-2</c:v>
                </c:pt>
                <c:pt idx="4003">
                  <c:v>1.2524432686320501E-2</c:v>
                </c:pt>
                <c:pt idx="4004">
                  <c:v>1.25079452678031E-2</c:v>
                </c:pt>
                <c:pt idx="4005">
                  <c:v>1.24471607522991E-2</c:v>
                </c:pt>
                <c:pt idx="4006">
                  <c:v>1.2875795583283599E-2</c:v>
                </c:pt>
                <c:pt idx="4007">
                  <c:v>1.29077245014409E-2</c:v>
                </c:pt>
                <c:pt idx="4008">
                  <c:v>1.29354129205696E-2</c:v>
                </c:pt>
                <c:pt idx="4009">
                  <c:v>1.2925085666679499E-2</c:v>
                </c:pt>
                <c:pt idx="4010">
                  <c:v>1.29329847094273E-2</c:v>
                </c:pt>
                <c:pt idx="4011">
                  <c:v>1.2995557185180201E-2</c:v>
                </c:pt>
                <c:pt idx="4012">
                  <c:v>1.31758755043564E-2</c:v>
                </c:pt>
                <c:pt idx="4013">
                  <c:v>1.35107256661829E-2</c:v>
                </c:pt>
                <c:pt idx="4014">
                  <c:v>1.3632777452909001E-2</c:v>
                </c:pt>
                <c:pt idx="4015">
                  <c:v>1.36333575270221E-2</c:v>
                </c:pt>
                <c:pt idx="4016">
                  <c:v>1.36319227666532E-2</c:v>
                </c:pt>
                <c:pt idx="4017">
                  <c:v>1.35991664989014E-2</c:v>
                </c:pt>
                <c:pt idx="4018">
                  <c:v>1.3749235887600899E-2</c:v>
                </c:pt>
                <c:pt idx="4019">
                  <c:v>1.3772628697730299E-2</c:v>
                </c:pt>
                <c:pt idx="4020">
                  <c:v>1.3772497080014601E-2</c:v>
                </c:pt>
                <c:pt idx="4021">
                  <c:v>1.37767551612294E-2</c:v>
                </c:pt>
                <c:pt idx="4022">
                  <c:v>1.40087790025586E-2</c:v>
                </c:pt>
                <c:pt idx="4023">
                  <c:v>1.4015802581617399E-2</c:v>
                </c:pt>
                <c:pt idx="4024">
                  <c:v>1.40127050684459E-2</c:v>
                </c:pt>
                <c:pt idx="4025">
                  <c:v>1.4005493585817701E-2</c:v>
                </c:pt>
                <c:pt idx="4026">
                  <c:v>1.39999916219317E-2</c:v>
                </c:pt>
                <c:pt idx="4027">
                  <c:v>1.4029355776215001E-2</c:v>
                </c:pt>
                <c:pt idx="4028">
                  <c:v>1.40542318089498E-2</c:v>
                </c:pt>
                <c:pt idx="4029">
                  <c:v>1.40769478183571E-2</c:v>
                </c:pt>
                <c:pt idx="4030">
                  <c:v>1.40753002007939E-2</c:v>
                </c:pt>
                <c:pt idx="4031">
                  <c:v>1.41052272550953E-2</c:v>
                </c:pt>
                <c:pt idx="4032">
                  <c:v>1.4103478196958201E-2</c:v>
                </c:pt>
                <c:pt idx="4033">
                  <c:v>1.41279993023357E-2</c:v>
                </c:pt>
                <c:pt idx="4034">
                  <c:v>1.41825646749901E-2</c:v>
                </c:pt>
                <c:pt idx="4035">
                  <c:v>1.4159619305558801E-2</c:v>
                </c:pt>
                <c:pt idx="4036">
                  <c:v>1.41586560020708E-2</c:v>
                </c:pt>
                <c:pt idx="4037">
                  <c:v>1.42317147060137E-2</c:v>
                </c:pt>
                <c:pt idx="4038">
                  <c:v>1.42267947125824E-2</c:v>
                </c:pt>
                <c:pt idx="4039">
                  <c:v>1.4177833029306501E-2</c:v>
                </c:pt>
                <c:pt idx="4040">
                  <c:v>1.4201172927454099E-2</c:v>
                </c:pt>
                <c:pt idx="4041">
                  <c:v>1.4218155431815401E-2</c:v>
                </c:pt>
                <c:pt idx="4042">
                  <c:v>1.4240807166885999E-2</c:v>
                </c:pt>
                <c:pt idx="4043">
                  <c:v>1.43773853215713E-2</c:v>
                </c:pt>
                <c:pt idx="4044">
                  <c:v>1.43787057930936E-2</c:v>
                </c:pt>
                <c:pt idx="4045">
                  <c:v>1.42386338309434E-2</c:v>
                </c:pt>
                <c:pt idx="4046">
                  <c:v>1.4222247171337099E-2</c:v>
                </c:pt>
                <c:pt idx="4047">
                  <c:v>1.42101441815187E-2</c:v>
                </c:pt>
                <c:pt idx="4048">
                  <c:v>1.3905993858762801E-2</c:v>
                </c:pt>
                <c:pt idx="4049">
                  <c:v>1.38775638085737E-2</c:v>
                </c:pt>
                <c:pt idx="4050">
                  <c:v>1.3851971574548099E-2</c:v>
                </c:pt>
                <c:pt idx="4051">
                  <c:v>1.3886189678326499E-2</c:v>
                </c:pt>
                <c:pt idx="4052">
                  <c:v>1.3838895778561001E-2</c:v>
                </c:pt>
                <c:pt idx="4053">
                  <c:v>1.3832860617804E-2</c:v>
                </c:pt>
                <c:pt idx="4054">
                  <c:v>1.3817770135900201E-2</c:v>
                </c:pt>
                <c:pt idx="4055">
                  <c:v>1.3806760995571699E-2</c:v>
                </c:pt>
                <c:pt idx="4056">
                  <c:v>1.38041508873406E-2</c:v>
                </c:pt>
                <c:pt idx="4057">
                  <c:v>1.38156286438225E-2</c:v>
                </c:pt>
                <c:pt idx="4058">
                  <c:v>1.3810941573258E-2</c:v>
                </c:pt>
                <c:pt idx="4059">
                  <c:v>1.3815830877082999E-2</c:v>
                </c:pt>
                <c:pt idx="4060">
                  <c:v>1.37851798393724E-2</c:v>
                </c:pt>
                <c:pt idx="4061">
                  <c:v>1.3779885503404799E-2</c:v>
                </c:pt>
                <c:pt idx="4062">
                  <c:v>1.3767658838995601E-2</c:v>
                </c:pt>
                <c:pt idx="4063">
                  <c:v>1.3779242973498701E-2</c:v>
                </c:pt>
                <c:pt idx="4064">
                  <c:v>1.3772223139811499E-2</c:v>
                </c:pt>
                <c:pt idx="4065">
                  <c:v>1.3878417055221101E-2</c:v>
                </c:pt>
                <c:pt idx="4066">
                  <c:v>1.38871016925259E-2</c:v>
                </c:pt>
                <c:pt idx="4067">
                  <c:v>1.3878207278841301E-2</c:v>
                </c:pt>
                <c:pt idx="4068">
                  <c:v>1.3889519193854999E-2</c:v>
                </c:pt>
                <c:pt idx="4069">
                  <c:v>1.3883515635679199E-2</c:v>
                </c:pt>
                <c:pt idx="4070">
                  <c:v>1.3895856416989301E-2</c:v>
                </c:pt>
                <c:pt idx="4071">
                  <c:v>1.39043611974026E-2</c:v>
                </c:pt>
                <c:pt idx="4072">
                  <c:v>1.3968315640321E-2</c:v>
                </c:pt>
                <c:pt idx="4073">
                  <c:v>1.3827485331469399E-2</c:v>
                </c:pt>
                <c:pt idx="4074">
                  <c:v>1.38258679527194E-2</c:v>
                </c:pt>
                <c:pt idx="4075">
                  <c:v>1.38755457209883E-2</c:v>
                </c:pt>
                <c:pt idx="4076">
                  <c:v>1.38295650441912E-2</c:v>
                </c:pt>
                <c:pt idx="4077">
                  <c:v>1.3820344970858199E-2</c:v>
                </c:pt>
                <c:pt idx="4078">
                  <c:v>1.38194735296469E-2</c:v>
                </c:pt>
                <c:pt idx="4079">
                  <c:v>1.3826934912864301E-2</c:v>
                </c:pt>
                <c:pt idx="4080">
                  <c:v>1.3836866065734201E-2</c:v>
                </c:pt>
                <c:pt idx="4081">
                  <c:v>1.38367798616475E-2</c:v>
                </c:pt>
                <c:pt idx="4082">
                  <c:v>1.38398595300718E-2</c:v>
                </c:pt>
                <c:pt idx="4083">
                  <c:v>1.3775344188974701E-2</c:v>
                </c:pt>
                <c:pt idx="4084">
                  <c:v>1.3796525986322399E-2</c:v>
                </c:pt>
                <c:pt idx="4085">
                  <c:v>1.38231364888011E-2</c:v>
                </c:pt>
                <c:pt idx="4086">
                  <c:v>1.3880741334553401E-2</c:v>
                </c:pt>
                <c:pt idx="4087">
                  <c:v>1.38486393374063E-2</c:v>
                </c:pt>
                <c:pt idx="4088">
                  <c:v>1.3881394504854301E-2</c:v>
                </c:pt>
                <c:pt idx="4089">
                  <c:v>1.38772353802387E-2</c:v>
                </c:pt>
                <c:pt idx="4090">
                  <c:v>1.39086319548154E-2</c:v>
                </c:pt>
                <c:pt idx="4091">
                  <c:v>1.40638508485753E-2</c:v>
                </c:pt>
                <c:pt idx="4092">
                  <c:v>1.40635231498663E-2</c:v>
                </c:pt>
                <c:pt idx="4093">
                  <c:v>1.3989176686615701E-2</c:v>
                </c:pt>
                <c:pt idx="4094">
                  <c:v>1.39880182256458E-2</c:v>
                </c:pt>
                <c:pt idx="4095">
                  <c:v>1.4016229921158301E-2</c:v>
                </c:pt>
                <c:pt idx="4096">
                  <c:v>1.4605848416156799E-2</c:v>
                </c:pt>
                <c:pt idx="4097">
                  <c:v>1.4630043127941699E-2</c:v>
                </c:pt>
                <c:pt idx="4098">
                  <c:v>1.4619756904547801E-2</c:v>
                </c:pt>
                <c:pt idx="4099">
                  <c:v>1.4616850507714701E-2</c:v>
                </c:pt>
                <c:pt idx="4100">
                  <c:v>1.46555191458758E-2</c:v>
                </c:pt>
                <c:pt idx="4101">
                  <c:v>1.46564550330391E-2</c:v>
                </c:pt>
                <c:pt idx="4102">
                  <c:v>1.46618062828579E-2</c:v>
                </c:pt>
                <c:pt idx="4103">
                  <c:v>1.4668652011636699E-2</c:v>
                </c:pt>
                <c:pt idx="4104">
                  <c:v>1.4681873713234799E-2</c:v>
                </c:pt>
                <c:pt idx="4105">
                  <c:v>1.49420548373966E-2</c:v>
                </c:pt>
                <c:pt idx="4106">
                  <c:v>1.50056271984342E-2</c:v>
                </c:pt>
                <c:pt idx="4107">
                  <c:v>1.50037013320331E-2</c:v>
                </c:pt>
                <c:pt idx="4108">
                  <c:v>1.50060440386668E-2</c:v>
                </c:pt>
                <c:pt idx="4109">
                  <c:v>1.49958862390239E-2</c:v>
                </c:pt>
                <c:pt idx="4110">
                  <c:v>1.50190849537346E-2</c:v>
                </c:pt>
                <c:pt idx="4111">
                  <c:v>1.51497788433339E-2</c:v>
                </c:pt>
                <c:pt idx="4112">
                  <c:v>1.51240896459284E-2</c:v>
                </c:pt>
                <c:pt idx="4113">
                  <c:v>1.5115702336083101E-2</c:v>
                </c:pt>
                <c:pt idx="4114">
                  <c:v>1.5114398493729E-2</c:v>
                </c:pt>
                <c:pt idx="4115">
                  <c:v>1.51113378383267E-2</c:v>
                </c:pt>
                <c:pt idx="4116">
                  <c:v>1.5197007921895199E-2</c:v>
                </c:pt>
                <c:pt idx="4117">
                  <c:v>1.5142642329608699E-2</c:v>
                </c:pt>
                <c:pt idx="4118">
                  <c:v>1.5091320769740801E-2</c:v>
                </c:pt>
                <c:pt idx="4119">
                  <c:v>1.5082361104747401E-2</c:v>
                </c:pt>
                <c:pt idx="4120">
                  <c:v>1.5303763763570099E-2</c:v>
                </c:pt>
                <c:pt idx="4121">
                  <c:v>1.53969577058504E-2</c:v>
                </c:pt>
                <c:pt idx="4122">
                  <c:v>1.53962499424725E-2</c:v>
                </c:pt>
                <c:pt idx="4123">
                  <c:v>1.54212474520203E-2</c:v>
                </c:pt>
                <c:pt idx="4124">
                  <c:v>1.54052295021144E-2</c:v>
                </c:pt>
                <c:pt idx="4125">
                  <c:v>1.5405630026871E-2</c:v>
                </c:pt>
                <c:pt idx="4126">
                  <c:v>1.53858845372689E-2</c:v>
                </c:pt>
                <c:pt idx="4127">
                  <c:v>1.5369594924465199E-2</c:v>
                </c:pt>
                <c:pt idx="4128">
                  <c:v>1.54467670832482E-2</c:v>
                </c:pt>
                <c:pt idx="4129">
                  <c:v>1.5442724796742999E-2</c:v>
                </c:pt>
                <c:pt idx="4130">
                  <c:v>1.52293874677719E-2</c:v>
                </c:pt>
                <c:pt idx="4131">
                  <c:v>1.5345809506697099E-2</c:v>
                </c:pt>
                <c:pt idx="4132">
                  <c:v>1.5320766215951499E-2</c:v>
                </c:pt>
                <c:pt idx="4133">
                  <c:v>1.5321487520236401E-2</c:v>
                </c:pt>
                <c:pt idx="4134">
                  <c:v>1.5309030881640999E-2</c:v>
                </c:pt>
                <c:pt idx="4135">
                  <c:v>1.53902662919096E-2</c:v>
                </c:pt>
                <c:pt idx="4136">
                  <c:v>1.5317198139025E-2</c:v>
                </c:pt>
                <c:pt idx="4137">
                  <c:v>1.5297373016937101E-2</c:v>
                </c:pt>
                <c:pt idx="4138">
                  <c:v>1.5284276785788E-2</c:v>
                </c:pt>
                <c:pt idx="4139">
                  <c:v>1.51642824294688E-2</c:v>
                </c:pt>
                <c:pt idx="4140">
                  <c:v>1.51650518601079E-2</c:v>
                </c:pt>
                <c:pt idx="4141">
                  <c:v>1.5132905529022401E-2</c:v>
                </c:pt>
                <c:pt idx="4142">
                  <c:v>1.5727171799074399E-2</c:v>
                </c:pt>
                <c:pt idx="4143">
                  <c:v>1.57345384966814E-2</c:v>
                </c:pt>
                <c:pt idx="4144">
                  <c:v>1.5651417907193502E-2</c:v>
                </c:pt>
                <c:pt idx="4145">
                  <c:v>1.57078355847113E-2</c:v>
                </c:pt>
                <c:pt idx="4146">
                  <c:v>1.5856591578831999E-2</c:v>
                </c:pt>
                <c:pt idx="4147">
                  <c:v>1.5832765638148699E-2</c:v>
                </c:pt>
                <c:pt idx="4148">
                  <c:v>1.5838336567474302E-2</c:v>
                </c:pt>
                <c:pt idx="4149">
                  <c:v>1.5908490332729501E-2</c:v>
                </c:pt>
                <c:pt idx="4150">
                  <c:v>1.5903572569561601E-2</c:v>
                </c:pt>
                <c:pt idx="4151">
                  <c:v>1.6006020061239301E-2</c:v>
                </c:pt>
                <c:pt idx="4152">
                  <c:v>1.60179951997442E-2</c:v>
                </c:pt>
                <c:pt idx="4153">
                  <c:v>1.5992192323125199E-2</c:v>
                </c:pt>
                <c:pt idx="4154">
                  <c:v>1.59828901104902E-2</c:v>
                </c:pt>
                <c:pt idx="4155">
                  <c:v>1.5996274164912401E-2</c:v>
                </c:pt>
                <c:pt idx="4156">
                  <c:v>1.5997273573257299E-2</c:v>
                </c:pt>
                <c:pt idx="4157">
                  <c:v>1.5997804052624302E-2</c:v>
                </c:pt>
                <c:pt idx="4158">
                  <c:v>1.6008645614513099E-2</c:v>
                </c:pt>
                <c:pt idx="4159">
                  <c:v>1.6009013922294299E-2</c:v>
                </c:pt>
                <c:pt idx="4160">
                  <c:v>1.6015420975482201E-2</c:v>
                </c:pt>
                <c:pt idx="4161">
                  <c:v>1.5951804540989802E-2</c:v>
                </c:pt>
                <c:pt idx="4162">
                  <c:v>1.58701944137523E-2</c:v>
                </c:pt>
                <c:pt idx="4163">
                  <c:v>1.58389574061212E-2</c:v>
                </c:pt>
                <c:pt idx="4164">
                  <c:v>1.5811427579761402E-2</c:v>
                </c:pt>
                <c:pt idx="4165">
                  <c:v>1.56968879174917E-2</c:v>
                </c:pt>
                <c:pt idx="4166">
                  <c:v>1.5677589818633601E-2</c:v>
                </c:pt>
                <c:pt idx="4167">
                  <c:v>1.57193440613882E-2</c:v>
                </c:pt>
                <c:pt idx="4168">
                  <c:v>1.5729153318160799E-2</c:v>
                </c:pt>
                <c:pt idx="4169">
                  <c:v>1.57261905381837E-2</c:v>
                </c:pt>
                <c:pt idx="4170">
                  <c:v>1.5733398683766699E-2</c:v>
                </c:pt>
                <c:pt idx="4171">
                  <c:v>1.5635315321427999E-2</c:v>
                </c:pt>
                <c:pt idx="4172">
                  <c:v>1.56323938161822E-2</c:v>
                </c:pt>
                <c:pt idx="4173">
                  <c:v>1.5620612798130399E-2</c:v>
                </c:pt>
                <c:pt idx="4174">
                  <c:v>1.5737490026625198E-2</c:v>
                </c:pt>
                <c:pt idx="4175">
                  <c:v>1.56898929664551E-2</c:v>
                </c:pt>
                <c:pt idx="4176">
                  <c:v>1.5683626239415702E-2</c:v>
                </c:pt>
                <c:pt idx="4177">
                  <c:v>1.5702223272002901E-2</c:v>
                </c:pt>
                <c:pt idx="4178">
                  <c:v>1.5703090825362899E-2</c:v>
                </c:pt>
                <c:pt idx="4179">
                  <c:v>1.5630441262050501E-2</c:v>
                </c:pt>
                <c:pt idx="4180">
                  <c:v>1.56309068213825E-2</c:v>
                </c:pt>
                <c:pt idx="4181">
                  <c:v>1.5750566236549201E-2</c:v>
                </c:pt>
                <c:pt idx="4182">
                  <c:v>1.57301752505659E-2</c:v>
                </c:pt>
                <c:pt idx="4183">
                  <c:v>1.5747636220188099E-2</c:v>
                </c:pt>
                <c:pt idx="4184">
                  <c:v>1.57500932811682E-2</c:v>
                </c:pt>
                <c:pt idx="4185">
                  <c:v>1.57308484203506E-2</c:v>
                </c:pt>
                <c:pt idx="4186">
                  <c:v>1.5757617053974E-2</c:v>
                </c:pt>
                <c:pt idx="4187">
                  <c:v>1.57382992310953E-2</c:v>
                </c:pt>
                <c:pt idx="4188">
                  <c:v>1.5736960527921701E-2</c:v>
                </c:pt>
                <c:pt idx="4189">
                  <c:v>1.56993766895853E-2</c:v>
                </c:pt>
                <c:pt idx="4190">
                  <c:v>1.57029004582615E-2</c:v>
                </c:pt>
                <c:pt idx="4191">
                  <c:v>1.56948756879941E-2</c:v>
                </c:pt>
                <c:pt idx="4192">
                  <c:v>1.5683899326485898E-2</c:v>
                </c:pt>
                <c:pt idx="4193">
                  <c:v>1.5684076808608099E-2</c:v>
                </c:pt>
                <c:pt idx="4194">
                  <c:v>1.5676943267216401E-2</c:v>
                </c:pt>
                <c:pt idx="4195">
                  <c:v>1.5633099904432401E-2</c:v>
                </c:pt>
                <c:pt idx="4196">
                  <c:v>1.5617878382097199E-2</c:v>
                </c:pt>
                <c:pt idx="4197">
                  <c:v>1.56179364152262E-2</c:v>
                </c:pt>
                <c:pt idx="4198">
                  <c:v>1.54882254055058E-2</c:v>
                </c:pt>
                <c:pt idx="4199">
                  <c:v>1.5482331684027399E-2</c:v>
                </c:pt>
                <c:pt idx="4200">
                  <c:v>1.5465095094160001E-2</c:v>
                </c:pt>
                <c:pt idx="4201">
                  <c:v>1.54621175748355E-2</c:v>
                </c:pt>
                <c:pt idx="4202">
                  <c:v>1.54488602854694E-2</c:v>
                </c:pt>
                <c:pt idx="4203">
                  <c:v>1.51368347447072E-2</c:v>
                </c:pt>
                <c:pt idx="4204">
                  <c:v>1.51502279956228E-2</c:v>
                </c:pt>
                <c:pt idx="4205">
                  <c:v>1.5188858855816501E-2</c:v>
                </c:pt>
                <c:pt idx="4206">
                  <c:v>1.48392390385603E-2</c:v>
                </c:pt>
                <c:pt idx="4207">
                  <c:v>1.48281978989892E-2</c:v>
                </c:pt>
                <c:pt idx="4208">
                  <c:v>1.4795107851167701E-2</c:v>
                </c:pt>
                <c:pt idx="4209">
                  <c:v>1.48072990774555E-2</c:v>
                </c:pt>
                <c:pt idx="4210">
                  <c:v>1.48225098673762E-2</c:v>
                </c:pt>
                <c:pt idx="4211">
                  <c:v>1.47668860516177E-2</c:v>
                </c:pt>
                <c:pt idx="4212">
                  <c:v>1.4645611112947401E-2</c:v>
                </c:pt>
                <c:pt idx="4213">
                  <c:v>1.43486510906944E-2</c:v>
                </c:pt>
                <c:pt idx="4214">
                  <c:v>1.4215895374491999E-2</c:v>
                </c:pt>
                <c:pt idx="4215">
                  <c:v>1.42182378552143E-2</c:v>
                </c:pt>
                <c:pt idx="4216">
                  <c:v>1.42933140818934E-2</c:v>
                </c:pt>
                <c:pt idx="4217">
                  <c:v>1.4284325691848501E-2</c:v>
                </c:pt>
                <c:pt idx="4218">
                  <c:v>1.41051392166685E-2</c:v>
                </c:pt>
                <c:pt idx="4219">
                  <c:v>1.40888880282341E-2</c:v>
                </c:pt>
                <c:pt idx="4220">
                  <c:v>1.40659173123061E-2</c:v>
                </c:pt>
                <c:pt idx="4221">
                  <c:v>1.4100806666308901E-2</c:v>
                </c:pt>
                <c:pt idx="4222">
                  <c:v>1.3919564772230501E-2</c:v>
                </c:pt>
                <c:pt idx="4223">
                  <c:v>1.3908245676827399E-2</c:v>
                </c:pt>
                <c:pt idx="4224">
                  <c:v>1.3902771710382801E-2</c:v>
                </c:pt>
                <c:pt idx="4225">
                  <c:v>1.38934520927501E-2</c:v>
                </c:pt>
                <c:pt idx="4226">
                  <c:v>1.3916474667797E-2</c:v>
                </c:pt>
                <c:pt idx="4227">
                  <c:v>1.38750002515616E-2</c:v>
                </c:pt>
                <c:pt idx="4228">
                  <c:v>1.38635486009071E-2</c:v>
                </c:pt>
                <c:pt idx="4229">
                  <c:v>1.3863742460456499E-2</c:v>
                </c:pt>
                <c:pt idx="4230">
                  <c:v>1.3845832954281699E-2</c:v>
                </c:pt>
                <c:pt idx="4231">
                  <c:v>1.3830301623662101E-2</c:v>
                </c:pt>
                <c:pt idx="4232">
                  <c:v>1.38313875166315E-2</c:v>
                </c:pt>
                <c:pt idx="4233">
                  <c:v>1.3824533813941499E-2</c:v>
                </c:pt>
                <c:pt idx="4234">
                  <c:v>1.37335632825981E-2</c:v>
                </c:pt>
                <c:pt idx="4235">
                  <c:v>1.37372675434453E-2</c:v>
                </c:pt>
                <c:pt idx="4236">
                  <c:v>1.3791885903514401E-2</c:v>
                </c:pt>
                <c:pt idx="4237">
                  <c:v>1.3694926187781301E-2</c:v>
                </c:pt>
                <c:pt idx="4238">
                  <c:v>1.3695513457726001E-2</c:v>
                </c:pt>
                <c:pt idx="4239">
                  <c:v>1.3695017155726101E-2</c:v>
                </c:pt>
                <c:pt idx="4240">
                  <c:v>1.3697010099532799E-2</c:v>
                </c:pt>
                <c:pt idx="4241">
                  <c:v>1.36608734492369E-2</c:v>
                </c:pt>
                <c:pt idx="4242">
                  <c:v>1.36564470638714E-2</c:v>
                </c:pt>
                <c:pt idx="4243">
                  <c:v>1.35401877394758E-2</c:v>
                </c:pt>
                <c:pt idx="4244">
                  <c:v>1.3540772450872001E-2</c:v>
                </c:pt>
                <c:pt idx="4245">
                  <c:v>1.3556342853450601E-2</c:v>
                </c:pt>
                <c:pt idx="4246">
                  <c:v>1.34652455538631E-2</c:v>
                </c:pt>
                <c:pt idx="4247">
                  <c:v>1.3465115869141901E-2</c:v>
                </c:pt>
                <c:pt idx="4248">
                  <c:v>1.3444863800856801E-2</c:v>
                </c:pt>
                <c:pt idx="4249">
                  <c:v>1.34556822077161E-2</c:v>
                </c:pt>
                <c:pt idx="4250">
                  <c:v>1.34714127506053E-2</c:v>
                </c:pt>
                <c:pt idx="4251">
                  <c:v>1.3438554865938E-2</c:v>
                </c:pt>
                <c:pt idx="4252">
                  <c:v>1.33824146774602E-2</c:v>
                </c:pt>
                <c:pt idx="4253">
                  <c:v>1.3381213628341E-2</c:v>
                </c:pt>
                <c:pt idx="4254">
                  <c:v>1.3400932065310499E-2</c:v>
                </c:pt>
                <c:pt idx="4255">
                  <c:v>1.33693919164983E-2</c:v>
                </c:pt>
                <c:pt idx="4256">
                  <c:v>1.33559826672036E-2</c:v>
                </c:pt>
                <c:pt idx="4257">
                  <c:v>1.33315963855236E-2</c:v>
                </c:pt>
                <c:pt idx="4258">
                  <c:v>1.33313934824959E-2</c:v>
                </c:pt>
                <c:pt idx="4259">
                  <c:v>1.33245207532362E-2</c:v>
                </c:pt>
                <c:pt idx="4260">
                  <c:v>1.33243528098502E-2</c:v>
                </c:pt>
                <c:pt idx="4261">
                  <c:v>1.3325019600518601E-2</c:v>
                </c:pt>
                <c:pt idx="4262">
                  <c:v>1.3326728401199001E-2</c:v>
                </c:pt>
                <c:pt idx="4263">
                  <c:v>1.32850307729505E-2</c:v>
                </c:pt>
                <c:pt idx="4264">
                  <c:v>1.33278814503751E-2</c:v>
                </c:pt>
                <c:pt idx="4265">
                  <c:v>1.3238892471576001E-2</c:v>
                </c:pt>
                <c:pt idx="4266">
                  <c:v>1.32391365614755E-2</c:v>
                </c:pt>
                <c:pt idx="4267">
                  <c:v>1.3243261675759401E-2</c:v>
                </c:pt>
                <c:pt idx="4268">
                  <c:v>1.32288335768279E-2</c:v>
                </c:pt>
                <c:pt idx="4269">
                  <c:v>1.32338195343013E-2</c:v>
                </c:pt>
                <c:pt idx="4270">
                  <c:v>1.32955578036222E-2</c:v>
                </c:pt>
                <c:pt idx="4271">
                  <c:v>1.32770431741774E-2</c:v>
                </c:pt>
                <c:pt idx="4272">
                  <c:v>1.32144796961017E-2</c:v>
                </c:pt>
                <c:pt idx="4273">
                  <c:v>1.3214357820195401E-2</c:v>
                </c:pt>
                <c:pt idx="4274">
                  <c:v>1.32197366324939E-2</c:v>
                </c:pt>
                <c:pt idx="4275">
                  <c:v>1.31736404750192E-2</c:v>
                </c:pt>
                <c:pt idx="4276">
                  <c:v>1.31849775755011E-2</c:v>
                </c:pt>
                <c:pt idx="4277">
                  <c:v>1.31684506618737E-2</c:v>
                </c:pt>
                <c:pt idx="4278">
                  <c:v>1.3174165738402001E-2</c:v>
                </c:pt>
                <c:pt idx="4279">
                  <c:v>1.3194316988612601E-2</c:v>
                </c:pt>
                <c:pt idx="4280">
                  <c:v>1.3192279225827599E-2</c:v>
                </c:pt>
                <c:pt idx="4281">
                  <c:v>1.31931568970701E-2</c:v>
                </c:pt>
                <c:pt idx="4282">
                  <c:v>1.31972050766959E-2</c:v>
                </c:pt>
                <c:pt idx="4283">
                  <c:v>1.31855302616761E-2</c:v>
                </c:pt>
                <c:pt idx="4284">
                  <c:v>1.31863391758919E-2</c:v>
                </c:pt>
                <c:pt idx="4285">
                  <c:v>1.3152649703255199E-2</c:v>
                </c:pt>
                <c:pt idx="4286">
                  <c:v>1.3097681700889201E-2</c:v>
                </c:pt>
                <c:pt idx="4287">
                  <c:v>1.3089920507207999E-2</c:v>
                </c:pt>
                <c:pt idx="4288">
                  <c:v>1.30287830819416E-2</c:v>
                </c:pt>
                <c:pt idx="4289">
                  <c:v>1.30339531965071E-2</c:v>
                </c:pt>
                <c:pt idx="4290">
                  <c:v>1.2961273632731999E-2</c:v>
                </c:pt>
                <c:pt idx="4291">
                  <c:v>1.2775369609434701E-2</c:v>
                </c:pt>
                <c:pt idx="4292">
                  <c:v>1.27742308930702E-2</c:v>
                </c:pt>
                <c:pt idx="4293">
                  <c:v>1.27750922431658E-2</c:v>
                </c:pt>
                <c:pt idx="4294">
                  <c:v>1.2843667585339599E-2</c:v>
                </c:pt>
                <c:pt idx="4295">
                  <c:v>1.2755793477965899E-2</c:v>
                </c:pt>
                <c:pt idx="4296">
                  <c:v>1.21277814543626E-2</c:v>
                </c:pt>
                <c:pt idx="4297">
                  <c:v>1.20967903943287E-2</c:v>
                </c:pt>
                <c:pt idx="4298">
                  <c:v>1.2096528524332901E-2</c:v>
                </c:pt>
                <c:pt idx="4299">
                  <c:v>1.20965359854952E-2</c:v>
                </c:pt>
                <c:pt idx="4300">
                  <c:v>1.20369552140796E-2</c:v>
                </c:pt>
                <c:pt idx="4301">
                  <c:v>1.20174320158014E-2</c:v>
                </c:pt>
                <c:pt idx="4302">
                  <c:v>1.20111851970155E-2</c:v>
                </c:pt>
                <c:pt idx="4303">
                  <c:v>1.20125463220638E-2</c:v>
                </c:pt>
                <c:pt idx="4304">
                  <c:v>1.1989788303319499E-2</c:v>
                </c:pt>
                <c:pt idx="4305">
                  <c:v>1.1677398591973E-2</c:v>
                </c:pt>
                <c:pt idx="4306">
                  <c:v>1.16009129787527E-2</c:v>
                </c:pt>
                <c:pt idx="4307">
                  <c:v>1.1628938311135199E-2</c:v>
                </c:pt>
                <c:pt idx="4308">
                  <c:v>1.16131185634219E-2</c:v>
                </c:pt>
                <c:pt idx="4309">
                  <c:v>1.1605103267975999E-2</c:v>
                </c:pt>
                <c:pt idx="4310">
                  <c:v>1.15844888651604E-2</c:v>
                </c:pt>
                <c:pt idx="4311">
                  <c:v>1.14488375218939E-2</c:v>
                </c:pt>
                <c:pt idx="4312">
                  <c:v>1.14760231730373E-2</c:v>
                </c:pt>
                <c:pt idx="4313">
                  <c:v>1.1476129529280199E-2</c:v>
                </c:pt>
                <c:pt idx="4314">
                  <c:v>1.1495136535851901E-2</c:v>
                </c:pt>
                <c:pt idx="4315">
                  <c:v>1.1497964287529E-2</c:v>
                </c:pt>
                <c:pt idx="4316">
                  <c:v>1.13740316584442E-2</c:v>
                </c:pt>
                <c:pt idx="4317">
                  <c:v>1.1347592473843E-2</c:v>
                </c:pt>
                <c:pt idx="4318">
                  <c:v>1.1320964123350701E-2</c:v>
                </c:pt>
                <c:pt idx="4319">
                  <c:v>1.13268439631056E-2</c:v>
                </c:pt>
                <c:pt idx="4320">
                  <c:v>1.1082582319057699E-2</c:v>
                </c:pt>
                <c:pt idx="4321">
                  <c:v>1.09361559768665E-2</c:v>
                </c:pt>
                <c:pt idx="4322">
                  <c:v>1.11629880031998E-2</c:v>
                </c:pt>
                <c:pt idx="4323">
                  <c:v>1.2548782969217E-2</c:v>
                </c:pt>
                <c:pt idx="4324">
                  <c:v>1.2666784245001599E-2</c:v>
                </c:pt>
                <c:pt idx="4325">
                  <c:v>1.2693224974282999E-2</c:v>
                </c:pt>
                <c:pt idx="4326">
                  <c:v>1.27578083336409E-2</c:v>
                </c:pt>
                <c:pt idx="4327">
                  <c:v>1.27562983254506E-2</c:v>
                </c:pt>
                <c:pt idx="4328">
                  <c:v>1.26671097046191E-2</c:v>
                </c:pt>
                <c:pt idx="4329">
                  <c:v>1.2683465994802299E-2</c:v>
                </c:pt>
                <c:pt idx="4330">
                  <c:v>1.2694251357475501E-2</c:v>
                </c:pt>
                <c:pt idx="4331">
                  <c:v>1.25518659848077E-2</c:v>
                </c:pt>
                <c:pt idx="4332">
                  <c:v>1.2562012487259199E-2</c:v>
                </c:pt>
                <c:pt idx="4333">
                  <c:v>1.2658436541165399E-2</c:v>
                </c:pt>
                <c:pt idx="4334">
                  <c:v>1.2635076681527101E-2</c:v>
                </c:pt>
                <c:pt idx="4335">
                  <c:v>1.2527090178299701E-2</c:v>
                </c:pt>
                <c:pt idx="4336">
                  <c:v>1.26293092772843E-2</c:v>
                </c:pt>
                <c:pt idx="4337">
                  <c:v>1.26281659312035E-2</c:v>
                </c:pt>
                <c:pt idx="4338">
                  <c:v>1.2532053866492599E-2</c:v>
                </c:pt>
                <c:pt idx="4339">
                  <c:v>1.24956448236962E-2</c:v>
                </c:pt>
                <c:pt idx="4340">
                  <c:v>1.2526476257224001E-2</c:v>
                </c:pt>
                <c:pt idx="4341">
                  <c:v>1.25260255262034E-2</c:v>
                </c:pt>
                <c:pt idx="4342">
                  <c:v>1.2048966266479499E-2</c:v>
                </c:pt>
                <c:pt idx="4343">
                  <c:v>1.22424282252894E-2</c:v>
                </c:pt>
                <c:pt idx="4344">
                  <c:v>1.2201547551966599E-2</c:v>
                </c:pt>
                <c:pt idx="4345">
                  <c:v>1.2130474800277799E-2</c:v>
                </c:pt>
                <c:pt idx="4346">
                  <c:v>1.19699035967604E-2</c:v>
                </c:pt>
                <c:pt idx="4347">
                  <c:v>1.1967506588771401E-2</c:v>
                </c:pt>
                <c:pt idx="4348">
                  <c:v>1.22161751469709E-2</c:v>
                </c:pt>
                <c:pt idx="4349">
                  <c:v>1.22070717833857E-2</c:v>
                </c:pt>
                <c:pt idx="4350">
                  <c:v>1.2242749393949899E-2</c:v>
                </c:pt>
                <c:pt idx="4351">
                  <c:v>1.21829487550078E-2</c:v>
                </c:pt>
                <c:pt idx="4352">
                  <c:v>1.22102526033251E-2</c:v>
                </c:pt>
                <c:pt idx="4353">
                  <c:v>1.2570423976917801E-2</c:v>
                </c:pt>
                <c:pt idx="4354">
                  <c:v>1.25706723779442E-2</c:v>
                </c:pt>
                <c:pt idx="4355">
                  <c:v>1.25851910654989E-2</c:v>
                </c:pt>
                <c:pt idx="4356">
                  <c:v>1.26178582448264E-2</c:v>
                </c:pt>
                <c:pt idx="4357">
                  <c:v>1.2651705150569299E-2</c:v>
                </c:pt>
                <c:pt idx="4358">
                  <c:v>1.2862745570396E-2</c:v>
                </c:pt>
                <c:pt idx="4359">
                  <c:v>1.2999576783647E-2</c:v>
                </c:pt>
                <c:pt idx="4360">
                  <c:v>1.3127002365699801E-2</c:v>
                </c:pt>
                <c:pt idx="4361">
                  <c:v>1.3133582329441101E-2</c:v>
                </c:pt>
                <c:pt idx="4362">
                  <c:v>1.3135421536009301E-2</c:v>
                </c:pt>
                <c:pt idx="4363">
                  <c:v>1.3137111779311801E-2</c:v>
                </c:pt>
                <c:pt idx="4364">
                  <c:v>1.3138976772479501E-2</c:v>
                </c:pt>
                <c:pt idx="4365">
                  <c:v>1.3124699752966699E-2</c:v>
                </c:pt>
                <c:pt idx="4366">
                  <c:v>1.31422338150032E-2</c:v>
                </c:pt>
                <c:pt idx="4367">
                  <c:v>1.2980884908107801E-2</c:v>
                </c:pt>
                <c:pt idx="4368">
                  <c:v>1.3067305367971301E-2</c:v>
                </c:pt>
                <c:pt idx="4369">
                  <c:v>1.3071191844106799E-2</c:v>
                </c:pt>
                <c:pt idx="4370">
                  <c:v>1.30592901990746E-2</c:v>
                </c:pt>
                <c:pt idx="4371">
                  <c:v>1.30672093882292E-2</c:v>
                </c:pt>
                <c:pt idx="4372">
                  <c:v>1.30687043566556E-2</c:v>
                </c:pt>
                <c:pt idx="4373">
                  <c:v>1.3105673075278599E-2</c:v>
                </c:pt>
                <c:pt idx="4374">
                  <c:v>1.2945254067987501E-2</c:v>
                </c:pt>
                <c:pt idx="4375">
                  <c:v>1.2945202878458399E-2</c:v>
                </c:pt>
                <c:pt idx="4376">
                  <c:v>1.2962857534589501E-2</c:v>
                </c:pt>
                <c:pt idx="4377">
                  <c:v>1.2944024801895901E-2</c:v>
                </c:pt>
                <c:pt idx="4378">
                  <c:v>1.2970785721188101E-2</c:v>
                </c:pt>
                <c:pt idx="4379">
                  <c:v>1.2961973434138E-2</c:v>
                </c:pt>
                <c:pt idx="4380">
                  <c:v>1.29620705520166E-2</c:v>
                </c:pt>
                <c:pt idx="4381">
                  <c:v>1.2817956706121099E-2</c:v>
                </c:pt>
                <c:pt idx="4382">
                  <c:v>1.28273309947903E-2</c:v>
                </c:pt>
                <c:pt idx="4383">
                  <c:v>1.28129752732348E-2</c:v>
                </c:pt>
                <c:pt idx="4384">
                  <c:v>1.28118858749656E-2</c:v>
                </c:pt>
                <c:pt idx="4385">
                  <c:v>1.28334841565879E-2</c:v>
                </c:pt>
                <c:pt idx="4386">
                  <c:v>1.2730968763443699E-2</c:v>
                </c:pt>
                <c:pt idx="4387">
                  <c:v>1.2731364028124E-2</c:v>
                </c:pt>
                <c:pt idx="4388">
                  <c:v>1.2748913852722501E-2</c:v>
                </c:pt>
                <c:pt idx="4389">
                  <c:v>1.2749072445688601E-2</c:v>
                </c:pt>
                <c:pt idx="4390">
                  <c:v>1.27420273510057E-2</c:v>
                </c:pt>
                <c:pt idx="4391">
                  <c:v>1.2739748539425499E-2</c:v>
                </c:pt>
                <c:pt idx="4392">
                  <c:v>1.2759522827940699E-2</c:v>
                </c:pt>
                <c:pt idx="4393">
                  <c:v>1.27615775997736E-2</c:v>
                </c:pt>
                <c:pt idx="4394">
                  <c:v>1.2744020713762299E-2</c:v>
                </c:pt>
                <c:pt idx="4395">
                  <c:v>1.2736790530548599E-2</c:v>
                </c:pt>
                <c:pt idx="4396">
                  <c:v>1.2732810130461399E-2</c:v>
                </c:pt>
                <c:pt idx="4397">
                  <c:v>1.27383023990724E-2</c:v>
                </c:pt>
                <c:pt idx="4398">
                  <c:v>1.28328791265692E-2</c:v>
                </c:pt>
                <c:pt idx="4399">
                  <c:v>1.28202232720024E-2</c:v>
                </c:pt>
                <c:pt idx="4400">
                  <c:v>1.28444257423959E-2</c:v>
                </c:pt>
                <c:pt idx="4401">
                  <c:v>1.2853876178596201E-2</c:v>
                </c:pt>
                <c:pt idx="4402">
                  <c:v>1.2852093750488999E-2</c:v>
                </c:pt>
                <c:pt idx="4403">
                  <c:v>1.28373501706098E-2</c:v>
                </c:pt>
                <c:pt idx="4404">
                  <c:v>1.2960047427650801E-2</c:v>
                </c:pt>
                <c:pt idx="4405">
                  <c:v>1.2917298531257299E-2</c:v>
                </c:pt>
                <c:pt idx="4406">
                  <c:v>1.2841718561625999E-2</c:v>
                </c:pt>
                <c:pt idx="4407">
                  <c:v>1.2817301140183601E-2</c:v>
                </c:pt>
                <c:pt idx="4408">
                  <c:v>1.2816806649749799E-2</c:v>
                </c:pt>
                <c:pt idx="4409">
                  <c:v>1.27897015611508E-2</c:v>
                </c:pt>
                <c:pt idx="4410">
                  <c:v>1.2775304604816301E-2</c:v>
                </c:pt>
                <c:pt idx="4411">
                  <c:v>1.2716698167711701E-2</c:v>
                </c:pt>
                <c:pt idx="4412">
                  <c:v>1.27243225884138E-2</c:v>
                </c:pt>
                <c:pt idx="4413">
                  <c:v>1.2721364687706399E-2</c:v>
                </c:pt>
                <c:pt idx="4414">
                  <c:v>1.2750510460433601E-2</c:v>
                </c:pt>
                <c:pt idx="4415">
                  <c:v>1.27890556803199E-2</c:v>
                </c:pt>
                <c:pt idx="4416">
                  <c:v>1.2701035176411701E-2</c:v>
                </c:pt>
                <c:pt idx="4417">
                  <c:v>1.2708694338939199E-2</c:v>
                </c:pt>
                <c:pt idx="4418">
                  <c:v>1.2741210475959301E-2</c:v>
                </c:pt>
                <c:pt idx="4419">
                  <c:v>1.27398013747115E-2</c:v>
                </c:pt>
                <c:pt idx="4420">
                  <c:v>1.2734529434126901E-2</c:v>
                </c:pt>
                <c:pt idx="4421">
                  <c:v>1.2693348559768799E-2</c:v>
                </c:pt>
                <c:pt idx="4422">
                  <c:v>1.26708509441321E-2</c:v>
                </c:pt>
                <c:pt idx="4423">
                  <c:v>1.26993308082387E-2</c:v>
                </c:pt>
                <c:pt idx="4424">
                  <c:v>1.27709100853863E-2</c:v>
                </c:pt>
                <c:pt idx="4425">
                  <c:v>1.2847937367804299E-2</c:v>
                </c:pt>
                <c:pt idx="4426">
                  <c:v>1.2886028180605601E-2</c:v>
                </c:pt>
                <c:pt idx="4427">
                  <c:v>1.3448651326910799E-2</c:v>
                </c:pt>
                <c:pt idx="4428">
                  <c:v>1.3443107161092699E-2</c:v>
                </c:pt>
                <c:pt idx="4429">
                  <c:v>1.3469959006117299E-2</c:v>
                </c:pt>
                <c:pt idx="4430">
                  <c:v>1.34964647484396E-2</c:v>
                </c:pt>
                <c:pt idx="4431">
                  <c:v>1.35600838485303E-2</c:v>
                </c:pt>
                <c:pt idx="4432">
                  <c:v>1.36291606213592E-2</c:v>
                </c:pt>
                <c:pt idx="4433">
                  <c:v>1.3636812738371199E-2</c:v>
                </c:pt>
                <c:pt idx="4434">
                  <c:v>1.36552647036611E-2</c:v>
                </c:pt>
                <c:pt idx="4435">
                  <c:v>1.41054848956627E-2</c:v>
                </c:pt>
                <c:pt idx="4436">
                  <c:v>1.40553300151795E-2</c:v>
                </c:pt>
                <c:pt idx="4437">
                  <c:v>1.41975945329629E-2</c:v>
                </c:pt>
                <c:pt idx="4438">
                  <c:v>1.41965964805354E-2</c:v>
                </c:pt>
                <c:pt idx="4439">
                  <c:v>1.4198856112448701E-2</c:v>
                </c:pt>
                <c:pt idx="4440">
                  <c:v>1.41718258387388E-2</c:v>
                </c:pt>
                <c:pt idx="4441">
                  <c:v>1.4537217162192599E-2</c:v>
                </c:pt>
                <c:pt idx="4442">
                  <c:v>1.45279408449082E-2</c:v>
                </c:pt>
                <c:pt idx="4443">
                  <c:v>1.45261239084772E-2</c:v>
                </c:pt>
                <c:pt idx="4444">
                  <c:v>1.46168758389859E-2</c:v>
                </c:pt>
                <c:pt idx="4445">
                  <c:v>1.46022875982209E-2</c:v>
                </c:pt>
                <c:pt idx="4446">
                  <c:v>1.46071150473857E-2</c:v>
                </c:pt>
                <c:pt idx="4447">
                  <c:v>1.46460852140292E-2</c:v>
                </c:pt>
                <c:pt idx="4448">
                  <c:v>1.46375018957974E-2</c:v>
                </c:pt>
                <c:pt idx="4449">
                  <c:v>1.4625177575604E-2</c:v>
                </c:pt>
                <c:pt idx="4450">
                  <c:v>1.4612083422606901E-2</c:v>
                </c:pt>
                <c:pt idx="4451">
                  <c:v>1.46342149829983E-2</c:v>
                </c:pt>
                <c:pt idx="4452">
                  <c:v>1.46321779904965E-2</c:v>
                </c:pt>
                <c:pt idx="4453">
                  <c:v>1.46495599266295E-2</c:v>
                </c:pt>
                <c:pt idx="4454">
                  <c:v>1.4621348383483199E-2</c:v>
                </c:pt>
                <c:pt idx="4455">
                  <c:v>1.46226951047881E-2</c:v>
                </c:pt>
                <c:pt idx="4456">
                  <c:v>1.4654085367808699E-2</c:v>
                </c:pt>
                <c:pt idx="4457">
                  <c:v>1.47291457187863E-2</c:v>
                </c:pt>
                <c:pt idx="4458">
                  <c:v>1.4729340159264E-2</c:v>
                </c:pt>
                <c:pt idx="4459">
                  <c:v>1.4768117707358299E-2</c:v>
                </c:pt>
                <c:pt idx="4460">
                  <c:v>1.4793792129594901E-2</c:v>
                </c:pt>
                <c:pt idx="4461">
                  <c:v>1.47990534639849E-2</c:v>
                </c:pt>
                <c:pt idx="4462">
                  <c:v>1.48012033383797E-2</c:v>
                </c:pt>
                <c:pt idx="4463">
                  <c:v>1.4800422959108999E-2</c:v>
                </c:pt>
                <c:pt idx="4464">
                  <c:v>1.47855534465175E-2</c:v>
                </c:pt>
                <c:pt idx="4465">
                  <c:v>1.47835906487193E-2</c:v>
                </c:pt>
                <c:pt idx="4466">
                  <c:v>1.4866016245021299E-2</c:v>
                </c:pt>
                <c:pt idx="4467">
                  <c:v>1.48687327312138E-2</c:v>
                </c:pt>
                <c:pt idx="4468">
                  <c:v>1.48719069337619E-2</c:v>
                </c:pt>
                <c:pt idx="4469">
                  <c:v>1.48664532513475E-2</c:v>
                </c:pt>
                <c:pt idx="4470">
                  <c:v>1.4813882694512399E-2</c:v>
                </c:pt>
                <c:pt idx="4471">
                  <c:v>1.4833556923584E-2</c:v>
                </c:pt>
                <c:pt idx="4472">
                  <c:v>1.49170896257749E-2</c:v>
                </c:pt>
                <c:pt idx="4473">
                  <c:v>1.49203410370007E-2</c:v>
                </c:pt>
                <c:pt idx="4474">
                  <c:v>1.50100123701946E-2</c:v>
                </c:pt>
                <c:pt idx="4475">
                  <c:v>1.50018791064465E-2</c:v>
                </c:pt>
                <c:pt idx="4476">
                  <c:v>1.5001512886819401E-2</c:v>
                </c:pt>
                <c:pt idx="4477">
                  <c:v>1.49850202073896E-2</c:v>
                </c:pt>
                <c:pt idx="4478">
                  <c:v>1.4988271934039499E-2</c:v>
                </c:pt>
                <c:pt idx="4479">
                  <c:v>1.4977008646612101E-2</c:v>
                </c:pt>
                <c:pt idx="4480">
                  <c:v>1.49766793310278E-2</c:v>
                </c:pt>
                <c:pt idx="4481">
                  <c:v>1.50518582937045E-2</c:v>
                </c:pt>
                <c:pt idx="4482">
                  <c:v>1.5066464936517801E-2</c:v>
                </c:pt>
                <c:pt idx="4483">
                  <c:v>1.50908783298274E-2</c:v>
                </c:pt>
                <c:pt idx="4484">
                  <c:v>1.50763886798223E-2</c:v>
                </c:pt>
                <c:pt idx="4485">
                  <c:v>1.51446981009207E-2</c:v>
                </c:pt>
                <c:pt idx="4486">
                  <c:v>1.5143228379483901E-2</c:v>
                </c:pt>
                <c:pt idx="4487">
                  <c:v>1.5143491838835E-2</c:v>
                </c:pt>
                <c:pt idx="4488">
                  <c:v>1.5136127352032199E-2</c:v>
                </c:pt>
                <c:pt idx="4489">
                  <c:v>1.5132349433549099E-2</c:v>
                </c:pt>
                <c:pt idx="4490">
                  <c:v>1.51933289039439E-2</c:v>
                </c:pt>
                <c:pt idx="4491">
                  <c:v>1.5330790970758301E-2</c:v>
                </c:pt>
                <c:pt idx="4492">
                  <c:v>1.53315869359583E-2</c:v>
                </c:pt>
                <c:pt idx="4493">
                  <c:v>1.5338633447121599E-2</c:v>
                </c:pt>
                <c:pt idx="4494">
                  <c:v>1.52828349883506E-2</c:v>
                </c:pt>
                <c:pt idx="4495">
                  <c:v>1.52812543481125E-2</c:v>
                </c:pt>
                <c:pt idx="4496">
                  <c:v>1.52666794383237E-2</c:v>
                </c:pt>
                <c:pt idx="4497">
                  <c:v>1.5273458635492799E-2</c:v>
                </c:pt>
                <c:pt idx="4498">
                  <c:v>1.52727800055693E-2</c:v>
                </c:pt>
                <c:pt idx="4499">
                  <c:v>1.52735510118327E-2</c:v>
                </c:pt>
                <c:pt idx="4500">
                  <c:v>1.5273404458293401E-2</c:v>
                </c:pt>
                <c:pt idx="4501">
                  <c:v>1.5275360338845001E-2</c:v>
                </c:pt>
                <c:pt idx="4502">
                  <c:v>1.5275200718588801E-2</c:v>
                </c:pt>
                <c:pt idx="4503">
                  <c:v>1.52734277899479E-2</c:v>
                </c:pt>
                <c:pt idx="4504">
                  <c:v>1.52801845804236E-2</c:v>
                </c:pt>
                <c:pt idx="4505">
                  <c:v>1.52967260243811E-2</c:v>
                </c:pt>
                <c:pt idx="4506">
                  <c:v>1.52989413030964E-2</c:v>
                </c:pt>
                <c:pt idx="4507">
                  <c:v>1.5292822418691799E-2</c:v>
                </c:pt>
                <c:pt idx="4508">
                  <c:v>1.5299415072659601E-2</c:v>
                </c:pt>
                <c:pt idx="4509">
                  <c:v>1.5327857602736999E-2</c:v>
                </c:pt>
                <c:pt idx="4510">
                  <c:v>1.53207075552888E-2</c:v>
                </c:pt>
                <c:pt idx="4511">
                  <c:v>1.535134618738E-2</c:v>
                </c:pt>
                <c:pt idx="4512">
                  <c:v>1.53358644246144E-2</c:v>
                </c:pt>
                <c:pt idx="4513">
                  <c:v>1.5354683958377901E-2</c:v>
                </c:pt>
                <c:pt idx="4514">
                  <c:v>1.5341549152523899E-2</c:v>
                </c:pt>
                <c:pt idx="4515">
                  <c:v>1.53597751144118E-2</c:v>
                </c:pt>
                <c:pt idx="4516">
                  <c:v>1.5366253697828699E-2</c:v>
                </c:pt>
                <c:pt idx="4517">
                  <c:v>1.53632649404807E-2</c:v>
                </c:pt>
                <c:pt idx="4518">
                  <c:v>1.53635584368031E-2</c:v>
                </c:pt>
                <c:pt idx="4519">
                  <c:v>1.53634910158822E-2</c:v>
                </c:pt>
                <c:pt idx="4520">
                  <c:v>1.5310632842601399E-2</c:v>
                </c:pt>
                <c:pt idx="4521">
                  <c:v>1.5330400065294E-2</c:v>
                </c:pt>
                <c:pt idx="4522">
                  <c:v>1.5164874964590199E-2</c:v>
                </c:pt>
                <c:pt idx="4523">
                  <c:v>1.4002477117139299E-2</c:v>
                </c:pt>
                <c:pt idx="4524">
                  <c:v>1.3892943144141299E-2</c:v>
                </c:pt>
                <c:pt idx="4525">
                  <c:v>1.38970948721092E-2</c:v>
                </c:pt>
                <c:pt idx="4526">
                  <c:v>1.384889522662E-2</c:v>
                </c:pt>
                <c:pt idx="4527">
                  <c:v>1.3921411849433201E-2</c:v>
                </c:pt>
                <c:pt idx="4528">
                  <c:v>1.39202658487367E-2</c:v>
                </c:pt>
                <c:pt idx="4529">
                  <c:v>1.39106060878383E-2</c:v>
                </c:pt>
                <c:pt idx="4530">
                  <c:v>1.3902205472452699E-2</c:v>
                </c:pt>
                <c:pt idx="4531">
                  <c:v>1.3909950000000299E-2</c:v>
                </c:pt>
                <c:pt idx="4532">
                  <c:v>1.39061806552552E-2</c:v>
                </c:pt>
                <c:pt idx="4533">
                  <c:v>1.38632408534852E-2</c:v>
                </c:pt>
                <c:pt idx="4534">
                  <c:v>1.38573608730608E-2</c:v>
                </c:pt>
                <c:pt idx="4535">
                  <c:v>1.38794371177962E-2</c:v>
                </c:pt>
                <c:pt idx="4536">
                  <c:v>1.3805083533838801E-2</c:v>
                </c:pt>
                <c:pt idx="4537">
                  <c:v>1.38053312634593E-2</c:v>
                </c:pt>
                <c:pt idx="4538">
                  <c:v>1.38010801550227E-2</c:v>
                </c:pt>
                <c:pt idx="4539">
                  <c:v>1.38247020774829E-2</c:v>
                </c:pt>
                <c:pt idx="4540">
                  <c:v>1.3795689661744E-2</c:v>
                </c:pt>
                <c:pt idx="4541">
                  <c:v>1.38075639485803E-2</c:v>
                </c:pt>
                <c:pt idx="4542">
                  <c:v>1.36099986932414E-2</c:v>
                </c:pt>
                <c:pt idx="4543">
                  <c:v>1.3438478740367099E-2</c:v>
                </c:pt>
                <c:pt idx="4544">
                  <c:v>1.3436140053045701E-2</c:v>
                </c:pt>
                <c:pt idx="4545">
                  <c:v>1.3442006348937E-2</c:v>
                </c:pt>
                <c:pt idx="4546">
                  <c:v>1.33610763184737E-2</c:v>
                </c:pt>
                <c:pt idx="4547">
                  <c:v>1.3309742512451501E-2</c:v>
                </c:pt>
                <c:pt idx="4548">
                  <c:v>1.3096204339753E-2</c:v>
                </c:pt>
                <c:pt idx="4549">
                  <c:v>1.3079678656691501E-2</c:v>
                </c:pt>
                <c:pt idx="4550">
                  <c:v>1.3055614778583699E-2</c:v>
                </c:pt>
                <c:pt idx="4551">
                  <c:v>1.3030816625039E-2</c:v>
                </c:pt>
                <c:pt idx="4552">
                  <c:v>1.29937702559148E-2</c:v>
                </c:pt>
                <c:pt idx="4553">
                  <c:v>1.2632076920951E-2</c:v>
                </c:pt>
                <c:pt idx="4554">
                  <c:v>1.2628288742640501E-2</c:v>
                </c:pt>
                <c:pt idx="4555">
                  <c:v>1.2560226845771001E-2</c:v>
                </c:pt>
                <c:pt idx="4556">
                  <c:v>1.2649117425026101E-2</c:v>
                </c:pt>
                <c:pt idx="4557">
                  <c:v>1.26069858464374E-2</c:v>
                </c:pt>
                <c:pt idx="4558">
                  <c:v>1.24352121546694E-2</c:v>
                </c:pt>
                <c:pt idx="4559">
                  <c:v>1.2318440211011E-2</c:v>
                </c:pt>
                <c:pt idx="4560">
                  <c:v>1.22120005419506E-2</c:v>
                </c:pt>
                <c:pt idx="4561">
                  <c:v>1.2254528686150099E-2</c:v>
                </c:pt>
                <c:pt idx="4562">
                  <c:v>1.22597076036391E-2</c:v>
                </c:pt>
                <c:pt idx="4563">
                  <c:v>1.22717358542537E-2</c:v>
                </c:pt>
                <c:pt idx="4564">
                  <c:v>1.22717365715624E-2</c:v>
                </c:pt>
                <c:pt idx="4565">
                  <c:v>1.2279277993212399E-2</c:v>
                </c:pt>
                <c:pt idx="4566">
                  <c:v>1.23408975644655E-2</c:v>
                </c:pt>
                <c:pt idx="4567">
                  <c:v>1.23289643143209E-2</c:v>
                </c:pt>
                <c:pt idx="4568">
                  <c:v>1.2418927655275001E-2</c:v>
                </c:pt>
                <c:pt idx="4569">
                  <c:v>1.24190000071182E-2</c:v>
                </c:pt>
                <c:pt idx="4570">
                  <c:v>1.24405520414613E-2</c:v>
                </c:pt>
                <c:pt idx="4571">
                  <c:v>1.2463846541643E-2</c:v>
                </c:pt>
                <c:pt idx="4572">
                  <c:v>1.24608983463872E-2</c:v>
                </c:pt>
                <c:pt idx="4573">
                  <c:v>1.24036741236477E-2</c:v>
                </c:pt>
                <c:pt idx="4574">
                  <c:v>1.23863331140407E-2</c:v>
                </c:pt>
                <c:pt idx="4575">
                  <c:v>1.24195672378614E-2</c:v>
                </c:pt>
                <c:pt idx="4576">
                  <c:v>1.24856582063752E-2</c:v>
                </c:pt>
                <c:pt idx="4577">
                  <c:v>1.25585561596132E-2</c:v>
                </c:pt>
                <c:pt idx="4578">
                  <c:v>1.2535487175409201E-2</c:v>
                </c:pt>
                <c:pt idx="4579">
                  <c:v>1.2527957604061399E-2</c:v>
                </c:pt>
                <c:pt idx="4580">
                  <c:v>1.2752188557685E-2</c:v>
                </c:pt>
                <c:pt idx="4581">
                  <c:v>1.27354921689524E-2</c:v>
                </c:pt>
                <c:pt idx="4582">
                  <c:v>1.28806013950672E-2</c:v>
                </c:pt>
                <c:pt idx="4583">
                  <c:v>1.2878781832367301E-2</c:v>
                </c:pt>
                <c:pt idx="4584">
                  <c:v>1.3010970838397799E-2</c:v>
                </c:pt>
                <c:pt idx="4585">
                  <c:v>1.30271861742063E-2</c:v>
                </c:pt>
                <c:pt idx="4586">
                  <c:v>1.30634456252586E-2</c:v>
                </c:pt>
                <c:pt idx="4587">
                  <c:v>1.31177389413469E-2</c:v>
                </c:pt>
                <c:pt idx="4588">
                  <c:v>1.33180246130422E-2</c:v>
                </c:pt>
                <c:pt idx="4589">
                  <c:v>1.3321422330659201E-2</c:v>
                </c:pt>
                <c:pt idx="4590">
                  <c:v>1.35725095986281E-2</c:v>
                </c:pt>
                <c:pt idx="4591">
                  <c:v>1.36689474951478E-2</c:v>
                </c:pt>
                <c:pt idx="4592">
                  <c:v>1.36474364790221E-2</c:v>
                </c:pt>
                <c:pt idx="4593">
                  <c:v>1.3743542076180001E-2</c:v>
                </c:pt>
                <c:pt idx="4594">
                  <c:v>1.3744138591811899E-2</c:v>
                </c:pt>
                <c:pt idx="4595">
                  <c:v>1.38315981381703E-2</c:v>
                </c:pt>
                <c:pt idx="4596">
                  <c:v>1.3833765046702201E-2</c:v>
                </c:pt>
                <c:pt idx="4597">
                  <c:v>1.3827013808578301E-2</c:v>
                </c:pt>
                <c:pt idx="4598">
                  <c:v>1.37245854568371E-2</c:v>
                </c:pt>
                <c:pt idx="4599">
                  <c:v>1.38668940744151E-2</c:v>
                </c:pt>
                <c:pt idx="4600">
                  <c:v>1.3862406198026599E-2</c:v>
                </c:pt>
                <c:pt idx="4601">
                  <c:v>1.38710355618327E-2</c:v>
                </c:pt>
                <c:pt idx="4602">
                  <c:v>1.3925862032654999E-2</c:v>
                </c:pt>
                <c:pt idx="4603">
                  <c:v>1.39259884811248E-2</c:v>
                </c:pt>
                <c:pt idx="4604">
                  <c:v>1.3890521010360301E-2</c:v>
                </c:pt>
                <c:pt idx="4605">
                  <c:v>1.38899360050165E-2</c:v>
                </c:pt>
                <c:pt idx="4606">
                  <c:v>1.3901928298496499E-2</c:v>
                </c:pt>
                <c:pt idx="4607">
                  <c:v>1.3920833056871701E-2</c:v>
                </c:pt>
                <c:pt idx="4608">
                  <c:v>1.39406912895186E-2</c:v>
                </c:pt>
                <c:pt idx="4609">
                  <c:v>1.39514007143536E-2</c:v>
                </c:pt>
                <c:pt idx="4610">
                  <c:v>1.39520452392546E-2</c:v>
                </c:pt>
                <c:pt idx="4611">
                  <c:v>1.39629179272694E-2</c:v>
                </c:pt>
                <c:pt idx="4612">
                  <c:v>1.39365435412432E-2</c:v>
                </c:pt>
                <c:pt idx="4613">
                  <c:v>1.39845304445317E-2</c:v>
                </c:pt>
                <c:pt idx="4614">
                  <c:v>1.4015802024786099E-2</c:v>
                </c:pt>
                <c:pt idx="4615">
                  <c:v>1.39825817303721E-2</c:v>
                </c:pt>
                <c:pt idx="4616">
                  <c:v>1.3991898916061001E-2</c:v>
                </c:pt>
                <c:pt idx="4617">
                  <c:v>1.39961416013147E-2</c:v>
                </c:pt>
                <c:pt idx="4618">
                  <c:v>1.39698045684592E-2</c:v>
                </c:pt>
                <c:pt idx="4619">
                  <c:v>1.4064811159287101E-2</c:v>
                </c:pt>
                <c:pt idx="4620">
                  <c:v>1.40628803291917E-2</c:v>
                </c:pt>
                <c:pt idx="4621">
                  <c:v>1.4061838359038899E-2</c:v>
                </c:pt>
                <c:pt idx="4622">
                  <c:v>1.40514826388289E-2</c:v>
                </c:pt>
                <c:pt idx="4623">
                  <c:v>1.40368860391111E-2</c:v>
                </c:pt>
                <c:pt idx="4624">
                  <c:v>1.3999881562355701E-2</c:v>
                </c:pt>
                <c:pt idx="4625">
                  <c:v>1.39308191457981E-2</c:v>
                </c:pt>
                <c:pt idx="4626">
                  <c:v>1.38741269083246E-2</c:v>
                </c:pt>
                <c:pt idx="4627">
                  <c:v>1.33375840531187E-2</c:v>
                </c:pt>
                <c:pt idx="4628">
                  <c:v>1.33450641971603E-2</c:v>
                </c:pt>
                <c:pt idx="4629">
                  <c:v>1.33288399553487E-2</c:v>
                </c:pt>
                <c:pt idx="4630">
                  <c:v>1.33263150921896E-2</c:v>
                </c:pt>
                <c:pt idx="4631">
                  <c:v>1.32619880281876E-2</c:v>
                </c:pt>
                <c:pt idx="4632">
                  <c:v>1.3188184495811399E-2</c:v>
                </c:pt>
                <c:pt idx="4633">
                  <c:v>1.3173071049756501E-2</c:v>
                </c:pt>
                <c:pt idx="4634">
                  <c:v>1.31605732918445E-2</c:v>
                </c:pt>
                <c:pt idx="4635">
                  <c:v>1.2782568753003E-2</c:v>
                </c:pt>
                <c:pt idx="4636">
                  <c:v>1.28137872827711E-2</c:v>
                </c:pt>
                <c:pt idx="4637">
                  <c:v>1.26499475076879E-2</c:v>
                </c:pt>
                <c:pt idx="4638">
                  <c:v>1.2651689583036399E-2</c:v>
                </c:pt>
                <c:pt idx="4639">
                  <c:v>1.26486791708895E-2</c:v>
                </c:pt>
                <c:pt idx="4640">
                  <c:v>1.26707426756189E-2</c:v>
                </c:pt>
                <c:pt idx="4641">
                  <c:v>1.2257178560542099E-2</c:v>
                </c:pt>
                <c:pt idx="4642">
                  <c:v>1.24410016531865E-2</c:v>
                </c:pt>
                <c:pt idx="4643">
                  <c:v>1.2428198203963001E-2</c:v>
                </c:pt>
                <c:pt idx="4644">
                  <c:v>1.23198694472285E-2</c:v>
                </c:pt>
                <c:pt idx="4645">
                  <c:v>1.23166314221562E-2</c:v>
                </c:pt>
                <c:pt idx="4646">
                  <c:v>1.2304983679072901E-2</c:v>
                </c:pt>
                <c:pt idx="4647">
                  <c:v>1.22560958551718E-2</c:v>
                </c:pt>
                <c:pt idx="4648">
                  <c:v>1.2277647468028801E-2</c:v>
                </c:pt>
                <c:pt idx="4649">
                  <c:v>1.2287866874735201E-2</c:v>
                </c:pt>
                <c:pt idx="4650">
                  <c:v>1.22897281071661E-2</c:v>
                </c:pt>
                <c:pt idx="4651">
                  <c:v>1.2260058897843099E-2</c:v>
                </c:pt>
                <c:pt idx="4652">
                  <c:v>1.2275491388086099E-2</c:v>
                </c:pt>
                <c:pt idx="4653">
                  <c:v>1.2256249152046501E-2</c:v>
                </c:pt>
                <c:pt idx="4654">
                  <c:v>1.2250964707278499E-2</c:v>
                </c:pt>
                <c:pt idx="4655">
                  <c:v>1.22674843108482E-2</c:v>
                </c:pt>
                <c:pt idx="4656">
                  <c:v>1.22541847279265E-2</c:v>
                </c:pt>
                <c:pt idx="4657">
                  <c:v>1.22072971496323E-2</c:v>
                </c:pt>
                <c:pt idx="4658">
                  <c:v>1.22103356691092E-2</c:v>
                </c:pt>
                <c:pt idx="4659">
                  <c:v>1.2161319773863401E-2</c:v>
                </c:pt>
                <c:pt idx="4660">
                  <c:v>1.21254234131271E-2</c:v>
                </c:pt>
                <c:pt idx="4661">
                  <c:v>1.21190428159681E-2</c:v>
                </c:pt>
                <c:pt idx="4662">
                  <c:v>1.21118765196327E-2</c:v>
                </c:pt>
                <c:pt idx="4663">
                  <c:v>1.2112047973871699E-2</c:v>
                </c:pt>
                <c:pt idx="4664">
                  <c:v>1.2131945919307999E-2</c:v>
                </c:pt>
                <c:pt idx="4665">
                  <c:v>1.2127754620568899E-2</c:v>
                </c:pt>
                <c:pt idx="4666">
                  <c:v>1.20470615981659E-2</c:v>
                </c:pt>
                <c:pt idx="4667">
                  <c:v>1.20467412595026E-2</c:v>
                </c:pt>
                <c:pt idx="4668">
                  <c:v>1.2041689741978299E-2</c:v>
                </c:pt>
                <c:pt idx="4669">
                  <c:v>1.2217421158613E-2</c:v>
                </c:pt>
                <c:pt idx="4670">
                  <c:v>1.22105885575875E-2</c:v>
                </c:pt>
                <c:pt idx="4671">
                  <c:v>1.21898271497555E-2</c:v>
                </c:pt>
                <c:pt idx="4672">
                  <c:v>1.2116107135443499E-2</c:v>
                </c:pt>
                <c:pt idx="4673">
                  <c:v>1.2134648701463699E-2</c:v>
                </c:pt>
                <c:pt idx="4674">
                  <c:v>1.2017197803802599E-2</c:v>
                </c:pt>
                <c:pt idx="4675">
                  <c:v>1.2046357943693801E-2</c:v>
                </c:pt>
                <c:pt idx="4676">
                  <c:v>1.2028684026032299E-2</c:v>
                </c:pt>
                <c:pt idx="4677">
                  <c:v>1.20543926242391E-2</c:v>
                </c:pt>
                <c:pt idx="4678">
                  <c:v>1.2077178989543601E-2</c:v>
                </c:pt>
                <c:pt idx="4679">
                  <c:v>1.20942574584925E-2</c:v>
                </c:pt>
                <c:pt idx="4680">
                  <c:v>1.20894432191861E-2</c:v>
                </c:pt>
                <c:pt idx="4681">
                  <c:v>1.1990216233517001E-2</c:v>
                </c:pt>
                <c:pt idx="4682">
                  <c:v>1.1977443976334001E-2</c:v>
                </c:pt>
                <c:pt idx="4683">
                  <c:v>1.1945193462437701E-2</c:v>
                </c:pt>
                <c:pt idx="4684">
                  <c:v>1.1977071876590001E-2</c:v>
                </c:pt>
                <c:pt idx="4685">
                  <c:v>1.21246473268852E-2</c:v>
                </c:pt>
                <c:pt idx="4686">
                  <c:v>1.23937025928015E-2</c:v>
                </c:pt>
                <c:pt idx="4687">
                  <c:v>1.2393139949146301E-2</c:v>
                </c:pt>
                <c:pt idx="4688">
                  <c:v>1.24612405024678E-2</c:v>
                </c:pt>
                <c:pt idx="4689">
                  <c:v>1.2474993754278799E-2</c:v>
                </c:pt>
                <c:pt idx="4690">
                  <c:v>1.25194708648915E-2</c:v>
                </c:pt>
                <c:pt idx="4691">
                  <c:v>1.23411822483349E-2</c:v>
                </c:pt>
                <c:pt idx="4692">
                  <c:v>1.2354965227863401E-2</c:v>
                </c:pt>
                <c:pt idx="4693">
                  <c:v>1.2353441409343901E-2</c:v>
                </c:pt>
                <c:pt idx="4694">
                  <c:v>1.2359168640279901E-2</c:v>
                </c:pt>
                <c:pt idx="4695">
                  <c:v>1.23916715484378E-2</c:v>
                </c:pt>
                <c:pt idx="4696">
                  <c:v>1.2404854562017001E-2</c:v>
                </c:pt>
                <c:pt idx="4697">
                  <c:v>1.23996497020076E-2</c:v>
                </c:pt>
                <c:pt idx="4698">
                  <c:v>1.24146496920171E-2</c:v>
                </c:pt>
                <c:pt idx="4699">
                  <c:v>1.2419038337407999E-2</c:v>
                </c:pt>
                <c:pt idx="4700">
                  <c:v>1.23864953592726E-2</c:v>
                </c:pt>
                <c:pt idx="4701">
                  <c:v>1.24718034272487E-2</c:v>
                </c:pt>
                <c:pt idx="4702">
                  <c:v>1.24979601767278E-2</c:v>
                </c:pt>
                <c:pt idx="4703">
                  <c:v>1.24946120606773E-2</c:v>
                </c:pt>
                <c:pt idx="4704">
                  <c:v>1.2558616512137501E-2</c:v>
                </c:pt>
                <c:pt idx="4705">
                  <c:v>1.25424804084919E-2</c:v>
                </c:pt>
                <c:pt idx="4706">
                  <c:v>1.25596102887477E-2</c:v>
                </c:pt>
                <c:pt idx="4707">
                  <c:v>1.25324281046801E-2</c:v>
                </c:pt>
                <c:pt idx="4708">
                  <c:v>1.26009571871696E-2</c:v>
                </c:pt>
                <c:pt idx="4709">
                  <c:v>1.2563039920369201E-2</c:v>
                </c:pt>
                <c:pt idx="4710">
                  <c:v>1.2564588690010699E-2</c:v>
                </c:pt>
                <c:pt idx="4711">
                  <c:v>1.2488660463777401E-2</c:v>
                </c:pt>
                <c:pt idx="4712">
                  <c:v>1.2518523081916699E-2</c:v>
                </c:pt>
                <c:pt idx="4713">
                  <c:v>1.24989350482753E-2</c:v>
                </c:pt>
                <c:pt idx="4714">
                  <c:v>1.2504618548444001E-2</c:v>
                </c:pt>
                <c:pt idx="4715">
                  <c:v>1.25511451824606E-2</c:v>
                </c:pt>
                <c:pt idx="4716">
                  <c:v>1.25606325362288E-2</c:v>
                </c:pt>
                <c:pt idx="4717">
                  <c:v>1.2563426989324699E-2</c:v>
                </c:pt>
                <c:pt idx="4718">
                  <c:v>1.25633753910038E-2</c:v>
                </c:pt>
                <c:pt idx="4719">
                  <c:v>1.2567581592176099E-2</c:v>
                </c:pt>
                <c:pt idx="4720">
                  <c:v>1.2569678937026801E-2</c:v>
                </c:pt>
                <c:pt idx="4721">
                  <c:v>1.2583855848610701E-2</c:v>
                </c:pt>
                <c:pt idx="4722">
                  <c:v>1.25968351895393E-2</c:v>
                </c:pt>
                <c:pt idx="4723">
                  <c:v>1.25941374357367E-2</c:v>
                </c:pt>
                <c:pt idx="4724">
                  <c:v>1.2613634819188001E-2</c:v>
                </c:pt>
                <c:pt idx="4725">
                  <c:v>1.25922429627854E-2</c:v>
                </c:pt>
                <c:pt idx="4726">
                  <c:v>1.2597839223497701E-2</c:v>
                </c:pt>
                <c:pt idx="4727">
                  <c:v>1.2505581919529701E-2</c:v>
                </c:pt>
                <c:pt idx="4728">
                  <c:v>1.25126840728847E-2</c:v>
                </c:pt>
                <c:pt idx="4729">
                  <c:v>1.2512482696840899E-2</c:v>
                </c:pt>
                <c:pt idx="4730">
                  <c:v>1.25320449226748E-2</c:v>
                </c:pt>
                <c:pt idx="4731">
                  <c:v>1.25271901071702E-2</c:v>
                </c:pt>
                <c:pt idx="4732">
                  <c:v>1.2560439010031999E-2</c:v>
                </c:pt>
                <c:pt idx="4733">
                  <c:v>1.25245076662335E-2</c:v>
                </c:pt>
                <c:pt idx="4734">
                  <c:v>1.2547121513105599E-2</c:v>
                </c:pt>
                <c:pt idx="4735">
                  <c:v>1.25519604910523E-2</c:v>
                </c:pt>
                <c:pt idx="4736">
                  <c:v>1.2540877693304E-2</c:v>
                </c:pt>
                <c:pt idx="4737">
                  <c:v>1.2542854412146E-2</c:v>
                </c:pt>
                <c:pt idx="4738">
                  <c:v>1.2569328716118201E-2</c:v>
                </c:pt>
                <c:pt idx="4739">
                  <c:v>1.25558210551501E-2</c:v>
                </c:pt>
                <c:pt idx="4740">
                  <c:v>1.255471240905E-2</c:v>
                </c:pt>
                <c:pt idx="4741">
                  <c:v>1.2539673782168401E-2</c:v>
                </c:pt>
                <c:pt idx="4742">
                  <c:v>1.2494542728497E-2</c:v>
                </c:pt>
                <c:pt idx="4743">
                  <c:v>1.24831885925037E-2</c:v>
                </c:pt>
                <c:pt idx="4744">
                  <c:v>1.2484954482645199E-2</c:v>
                </c:pt>
                <c:pt idx="4745">
                  <c:v>1.2504986782695999E-2</c:v>
                </c:pt>
                <c:pt idx="4746">
                  <c:v>1.2510004095319299E-2</c:v>
                </c:pt>
                <c:pt idx="4747">
                  <c:v>1.25240302980449E-2</c:v>
                </c:pt>
                <c:pt idx="4748">
                  <c:v>1.24864782100951E-2</c:v>
                </c:pt>
                <c:pt idx="4749">
                  <c:v>1.24329396138083E-2</c:v>
                </c:pt>
                <c:pt idx="4750">
                  <c:v>1.2410112455903901E-2</c:v>
                </c:pt>
                <c:pt idx="4751">
                  <c:v>1.2355126934056399E-2</c:v>
                </c:pt>
                <c:pt idx="4752">
                  <c:v>1.2341114701504599E-2</c:v>
                </c:pt>
                <c:pt idx="4753">
                  <c:v>1.2274418839269099E-2</c:v>
                </c:pt>
                <c:pt idx="4754">
                  <c:v>1.22729761240601E-2</c:v>
                </c:pt>
                <c:pt idx="4755">
                  <c:v>1.22596945524457E-2</c:v>
                </c:pt>
                <c:pt idx="4756">
                  <c:v>1.2145976379614801E-2</c:v>
                </c:pt>
                <c:pt idx="4757">
                  <c:v>1.2144976594708401E-2</c:v>
                </c:pt>
                <c:pt idx="4758">
                  <c:v>1.2071337268624201E-2</c:v>
                </c:pt>
                <c:pt idx="4759">
                  <c:v>1.2070852164222301E-2</c:v>
                </c:pt>
                <c:pt idx="4760">
                  <c:v>1.2043077037182199E-2</c:v>
                </c:pt>
                <c:pt idx="4761">
                  <c:v>1.2019101513893101E-2</c:v>
                </c:pt>
                <c:pt idx="4762">
                  <c:v>1.20336434826559E-2</c:v>
                </c:pt>
                <c:pt idx="4763">
                  <c:v>1.19813086231331E-2</c:v>
                </c:pt>
                <c:pt idx="4764">
                  <c:v>1.19809840532707E-2</c:v>
                </c:pt>
                <c:pt idx="4765">
                  <c:v>1.1957411116168401E-2</c:v>
                </c:pt>
                <c:pt idx="4766">
                  <c:v>1.18785925651475E-2</c:v>
                </c:pt>
                <c:pt idx="4767">
                  <c:v>1.1886081452223699E-2</c:v>
                </c:pt>
                <c:pt idx="4768">
                  <c:v>1.1730237627776601E-2</c:v>
                </c:pt>
                <c:pt idx="4769">
                  <c:v>1.17291051493761E-2</c:v>
                </c:pt>
                <c:pt idx="4770">
                  <c:v>1.1696219757040899E-2</c:v>
                </c:pt>
                <c:pt idx="4771">
                  <c:v>1.16440650965953E-2</c:v>
                </c:pt>
                <c:pt idx="4772">
                  <c:v>1.16635832723769E-2</c:v>
                </c:pt>
                <c:pt idx="4773">
                  <c:v>1.16633909338101E-2</c:v>
                </c:pt>
                <c:pt idx="4774">
                  <c:v>1.16715355584104E-2</c:v>
                </c:pt>
                <c:pt idx="4775">
                  <c:v>1.16728393900794E-2</c:v>
                </c:pt>
                <c:pt idx="4776">
                  <c:v>1.16288897921619E-2</c:v>
                </c:pt>
                <c:pt idx="4777">
                  <c:v>1.1529595045328399E-2</c:v>
                </c:pt>
                <c:pt idx="4778">
                  <c:v>1.1530100466803E-2</c:v>
                </c:pt>
                <c:pt idx="4779">
                  <c:v>1.15368226836467E-2</c:v>
                </c:pt>
                <c:pt idx="4780">
                  <c:v>1.1336026542385099E-2</c:v>
                </c:pt>
                <c:pt idx="4781">
                  <c:v>1.1343236111454101E-2</c:v>
                </c:pt>
                <c:pt idx="4782">
                  <c:v>1.1254382506903001E-2</c:v>
                </c:pt>
                <c:pt idx="4783">
                  <c:v>1.12928090814336E-2</c:v>
                </c:pt>
                <c:pt idx="4784">
                  <c:v>1.1174773397516199E-2</c:v>
                </c:pt>
                <c:pt idx="4785">
                  <c:v>1.11192884774747E-2</c:v>
                </c:pt>
                <c:pt idx="4786">
                  <c:v>1.10968447087284E-2</c:v>
                </c:pt>
                <c:pt idx="4787">
                  <c:v>1.1016841511141601E-2</c:v>
                </c:pt>
                <c:pt idx="4788">
                  <c:v>1.0787771814709799E-2</c:v>
                </c:pt>
                <c:pt idx="4789">
                  <c:v>1.0799552123836501E-2</c:v>
                </c:pt>
                <c:pt idx="4790">
                  <c:v>1.05590629379311E-2</c:v>
                </c:pt>
                <c:pt idx="4791">
                  <c:v>1.04626857456664E-2</c:v>
                </c:pt>
                <c:pt idx="4792">
                  <c:v>1.04558555614289E-2</c:v>
                </c:pt>
                <c:pt idx="4793">
                  <c:v>1.03126017119978E-2</c:v>
                </c:pt>
                <c:pt idx="4794">
                  <c:v>1.03329994476736E-2</c:v>
                </c:pt>
                <c:pt idx="4795">
                  <c:v>1.02445434570966E-2</c:v>
                </c:pt>
                <c:pt idx="4796">
                  <c:v>1.02253747656569E-2</c:v>
                </c:pt>
                <c:pt idx="4797">
                  <c:v>1.0225968238794901E-2</c:v>
                </c:pt>
                <c:pt idx="4798">
                  <c:v>1.0230319800339401E-2</c:v>
                </c:pt>
                <c:pt idx="4799">
                  <c:v>1.00849776160354E-2</c:v>
                </c:pt>
                <c:pt idx="4800">
                  <c:v>1.0125653453471301E-2</c:v>
                </c:pt>
                <c:pt idx="4801">
                  <c:v>1.0120278778885701E-2</c:v>
                </c:pt>
                <c:pt idx="4802">
                  <c:v>1.0075844429116999E-2</c:v>
                </c:pt>
                <c:pt idx="4803">
                  <c:v>1.0099536166619599E-2</c:v>
                </c:pt>
                <c:pt idx="4804">
                  <c:v>9.9829323884192498E-3</c:v>
                </c:pt>
                <c:pt idx="4805">
                  <c:v>1.0003321651070899E-2</c:v>
                </c:pt>
                <c:pt idx="4806">
                  <c:v>9.9996844445926804E-3</c:v>
                </c:pt>
                <c:pt idx="4807">
                  <c:v>9.9808416103780492E-3</c:v>
                </c:pt>
                <c:pt idx="4808">
                  <c:v>1.00679928577957E-2</c:v>
                </c:pt>
                <c:pt idx="4809">
                  <c:v>1.00559704233892E-2</c:v>
                </c:pt>
                <c:pt idx="4810">
                  <c:v>1.01455023967313E-2</c:v>
                </c:pt>
                <c:pt idx="4811">
                  <c:v>1.0168437782835301E-2</c:v>
                </c:pt>
                <c:pt idx="4812">
                  <c:v>1.02288887737667E-2</c:v>
                </c:pt>
                <c:pt idx="4813">
                  <c:v>1.0181988442154601E-2</c:v>
                </c:pt>
                <c:pt idx="4814">
                  <c:v>1.01324312468735E-2</c:v>
                </c:pt>
                <c:pt idx="4815">
                  <c:v>1.01333219923679E-2</c:v>
                </c:pt>
                <c:pt idx="4816">
                  <c:v>1.01306508686083E-2</c:v>
                </c:pt>
                <c:pt idx="4817">
                  <c:v>1.0148904686028E-2</c:v>
                </c:pt>
                <c:pt idx="4818">
                  <c:v>1.01750068569142E-2</c:v>
                </c:pt>
                <c:pt idx="4819">
                  <c:v>1.00306657489005E-2</c:v>
                </c:pt>
                <c:pt idx="4820">
                  <c:v>1.0032745449102E-2</c:v>
                </c:pt>
                <c:pt idx="4821">
                  <c:v>1.0036536597582101E-2</c:v>
                </c:pt>
                <c:pt idx="4822">
                  <c:v>1.0038580864133201E-2</c:v>
                </c:pt>
                <c:pt idx="4823">
                  <c:v>1.00550579203076E-2</c:v>
                </c:pt>
                <c:pt idx="4824">
                  <c:v>1.00566071310905E-2</c:v>
                </c:pt>
                <c:pt idx="4825">
                  <c:v>1.01531853646534E-2</c:v>
                </c:pt>
                <c:pt idx="4826">
                  <c:v>1.01697267677636E-2</c:v>
                </c:pt>
                <c:pt idx="4827">
                  <c:v>1.01496471432176E-2</c:v>
                </c:pt>
                <c:pt idx="4828">
                  <c:v>1.0155555581006601E-2</c:v>
                </c:pt>
                <c:pt idx="4829">
                  <c:v>1.0139010987524399E-2</c:v>
                </c:pt>
                <c:pt idx="4830">
                  <c:v>1.01078013513922E-2</c:v>
                </c:pt>
                <c:pt idx="4831">
                  <c:v>1.0141800086534E-2</c:v>
                </c:pt>
                <c:pt idx="4832">
                  <c:v>1.03790823896526E-2</c:v>
                </c:pt>
                <c:pt idx="4833">
                  <c:v>1.04646490058279E-2</c:v>
                </c:pt>
                <c:pt idx="4834">
                  <c:v>1.04600209655464E-2</c:v>
                </c:pt>
                <c:pt idx="4835">
                  <c:v>1.0384911916505301E-2</c:v>
                </c:pt>
                <c:pt idx="4836">
                  <c:v>1.03317765921478E-2</c:v>
                </c:pt>
                <c:pt idx="4837">
                  <c:v>1.05487783307494E-2</c:v>
                </c:pt>
                <c:pt idx="4838">
                  <c:v>1.10326992782174E-2</c:v>
                </c:pt>
                <c:pt idx="4839">
                  <c:v>1.1452898726917101E-2</c:v>
                </c:pt>
                <c:pt idx="4840">
                  <c:v>1.1526550023143E-2</c:v>
                </c:pt>
                <c:pt idx="4841">
                  <c:v>1.1533376099414501E-2</c:v>
                </c:pt>
                <c:pt idx="4842">
                  <c:v>1.13062642716676E-2</c:v>
                </c:pt>
                <c:pt idx="4843">
                  <c:v>1.13057775618022E-2</c:v>
                </c:pt>
                <c:pt idx="4844">
                  <c:v>1.13096644833275E-2</c:v>
                </c:pt>
                <c:pt idx="4845">
                  <c:v>1.1313795571121599E-2</c:v>
                </c:pt>
                <c:pt idx="4846">
                  <c:v>1.13759416867866E-2</c:v>
                </c:pt>
                <c:pt idx="4847">
                  <c:v>1.1379350308801399E-2</c:v>
                </c:pt>
                <c:pt idx="4848">
                  <c:v>1.1364545761391001E-2</c:v>
                </c:pt>
                <c:pt idx="4849">
                  <c:v>1.1552130710456E-2</c:v>
                </c:pt>
                <c:pt idx="4850">
                  <c:v>1.1552494545611599E-2</c:v>
                </c:pt>
                <c:pt idx="4851">
                  <c:v>1.15931761375215E-2</c:v>
                </c:pt>
                <c:pt idx="4852">
                  <c:v>1.1581316090031201E-2</c:v>
                </c:pt>
                <c:pt idx="4853">
                  <c:v>1.16110423553247E-2</c:v>
                </c:pt>
                <c:pt idx="4854">
                  <c:v>1.16064078922951E-2</c:v>
                </c:pt>
              </c:numCache>
            </c:numRef>
          </c:val>
          <c:smooth val="0"/>
          <c:extLst>
            <c:ext xmlns:c16="http://schemas.microsoft.com/office/drawing/2014/chart" uri="{C3380CC4-5D6E-409C-BE32-E72D297353CC}">
              <c16:uniqueId val="{00000002-A453-4679-8CD4-0E382E926464}"/>
            </c:ext>
          </c:extLst>
        </c:ser>
        <c:ser>
          <c:idx val="2"/>
          <c:order val="1"/>
          <c:tx>
            <c:strRef>
              <c:f>'v60'!$C$1</c:f>
              <c:strCache>
                <c:ptCount val="1"/>
                <c:pt idx="0">
                  <c:v>Volatility 120</c:v>
                </c:pt>
              </c:strCache>
            </c:strRef>
          </c:tx>
          <c:spPr>
            <a:ln w="28575" cap="rnd">
              <a:solidFill>
                <a:schemeClr val="accent3"/>
              </a:solidFill>
              <a:round/>
            </a:ln>
            <a:effectLst/>
          </c:spPr>
          <c:marker>
            <c:symbol val="none"/>
          </c:marker>
          <c:cat>
            <c:numRef>
              <c:f>'v60'!$A$2:$A$4856</c:f>
              <c:numCache>
                <c:formatCode>yyyy\-mm\-dd;@</c:formatCode>
                <c:ptCount val="4855"/>
                <c:pt idx="0">
                  <c:v>37358</c:v>
                </c:pt>
                <c:pt idx="1">
                  <c:v>37361</c:v>
                </c:pt>
                <c:pt idx="2">
                  <c:v>37362</c:v>
                </c:pt>
                <c:pt idx="3">
                  <c:v>37363</c:v>
                </c:pt>
                <c:pt idx="4">
                  <c:v>37364</c:v>
                </c:pt>
                <c:pt idx="5">
                  <c:v>37365</c:v>
                </c:pt>
                <c:pt idx="6">
                  <c:v>37368</c:v>
                </c:pt>
                <c:pt idx="7">
                  <c:v>37369</c:v>
                </c:pt>
                <c:pt idx="8">
                  <c:v>37370</c:v>
                </c:pt>
                <c:pt idx="9">
                  <c:v>37371</c:v>
                </c:pt>
                <c:pt idx="10">
                  <c:v>37372</c:v>
                </c:pt>
                <c:pt idx="11">
                  <c:v>37375</c:v>
                </c:pt>
                <c:pt idx="12">
                  <c:v>37376</c:v>
                </c:pt>
                <c:pt idx="13">
                  <c:v>37384</c:v>
                </c:pt>
                <c:pt idx="14">
                  <c:v>37385</c:v>
                </c:pt>
                <c:pt idx="15">
                  <c:v>37386</c:v>
                </c:pt>
                <c:pt idx="16">
                  <c:v>37389</c:v>
                </c:pt>
                <c:pt idx="17">
                  <c:v>37390</c:v>
                </c:pt>
                <c:pt idx="18">
                  <c:v>37391</c:v>
                </c:pt>
                <c:pt idx="19">
                  <c:v>37392</c:v>
                </c:pt>
                <c:pt idx="20">
                  <c:v>37393</c:v>
                </c:pt>
                <c:pt idx="21">
                  <c:v>37396</c:v>
                </c:pt>
                <c:pt idx="22">
                  <c:v>37397</c:v>
                </c:pt>
                <c:pt idx="23">
                  <c:v>37398</c:v>
                </c:pt>
                <c:pt idx="24">
                  <c:v>37399</c:v>
                </c:pt>
                <c:pt idx="25">
                  <c:v>37400</c:v>
                </c:pt>
                <c:pt idx="26">
                  <c:v>37403</c:v>
                </c:pt>
                <c:pt idx="27">
                  <c:v>37404</c:v>
                </c:pt>
                <c:pt idx="28">
                  <c:v>37405</c:v>
                </c:pt>
                <c:pt idx="29">
                  <c:v>37406</c:v>
                </c:pt>
                <c:pt idx="30">
                  <c:v>37407</c:v>
                </c:pt>
                <c:pt idx="31">
                  <c:v>37410</c:v>
                </c:pt>
                <c:pt idx="32">
                  <c:v>37411</c:v>
                </c:pt>
                <c:pt idx="33">
                  <c:v>37412</c:v>
                </c:pt>
                <c:pt idx="34">
                  <c:v>37413</c:v>
                </c:pt>
                <c:pt idx="35">
                  <c:v>37414</c:v>
                </c:pt>
                <c:pt idx="36">
                  <c:v>37417</c:v>
                </c:pt>
                <c:pt idx="37">
                  <c:v>37418</c:v>
                </c:pt>
                <c:pt idx="38">
                  <c:v>37419</c:v>
                </c:pt>
                <c:pt idx="39">
                  <c:v>37420</c:v>
                </c:pt>
                <c:pt idx="40">
                  <c:v>37421</c:v>
                </c:pt>
                <c:pt idx="41">
                  <c:v>37424</c:v>
                </c:pt>
                <c:pt idx="42">
                  <c:v>37425</c:v>
                </c:pt>
                <c:pt idx="43">
                  <c:v>37426</c:v>
                </c:pt>
                <c:pt idx="44">
                  <c:v>37427</c:v>
                </c:pt>
                <c:pt idx="45">
                  <c:v>37428</c:v>
                </c:pt>
                <c:pt idx="46">
                  <c:v>37431</c:v>
                </c:pt>
                <c:pt idx="47">
                  <c:v>37432</c:v>
                </c:pt>
                <c:pt idx="48">
                  <c:v>37433</c:v>
                </c:pt>
                <c:pt idx="49">
                  <c:v>37434</c:v>
                </c:pt>
                <c:pt idx="50">
                  <c:v>37435</c:v>
                </c:pt>
                <c:pt idx="51">
                  <c:v>37438</c:v>
                </c:pt>
                <c:pt idx="52">
                  <c:v>37439</c:v>
                </c:pt>
                <c:pt idx="53">
                  <c:v>37440</c:v>
                </c:pt>
                <c:pt idx="54">
                  <c:v>37441</c:v>
                </c:pt>
                <c:pt idx="55">
                  <c:v>37442</c:v>
                </c:pt>
                <c:pt idx="56">
                  <c:v>37445</c:v>
                </c:pt>
                <c:pt idx="57">
                  <c:v>37446</c:v>
                </c:pt>
                <c:pt idx="58">
                  <c:v>37447</c:v>
                </c:pt>
                <c:pt idx="59">
                  <c:v>37448</c:v>
                </c:pt>
                <c:pt idx="60">
                  <c:v>37449</c:v>
                </c:pt>
                <c:pt idx="61">
                  <c:v>37452</c:v>
                </c:pt>
                <c:pt idx="62">
                  <c:v>37453</c:v>
                </c:pt>
                <c:pt idx="63">
                  <c:v>37454</c:v>
                </c:pt>
                <c:pt idx="64">
                  <c:v>37455</c:v>
                </c:pt>
                <c:pt idx="65">
                  <c:v>37456</c:v>
                </c:pt>
                <c:pt idx="66">
                  <c:v>37459</c:v>
                </c:pt>
                <c:pt idx="67">
                  <c:v>37460</c:v>
                </c:pt>
                <c:pt idx="68">
                  <c:v>37461</c:v>
                </c:pt>
                <c:pt idx="69">
                  <c:v>37462</c:v>
                </c:pt>
                <c:pt idx="70">
                  <c:v>37463</c:v>
                </c:pt>
                <c:pt idx="71">
                  <c:v>37466</c:v>
                </c:pt>
                <c:pt idx="72">
                  <c:v>37467</c:v>
                </c:pt>
                <c:pt idx="73">
                  <c:v>37468</c:v>
                </c:pt>
                <c:pt idx="74">
                  <c:v>37469</c:v>
                </c:pt>
                <c:pt idx="75">
                  <c:v>37470</c:v>
                </c:pt>
                <c:pt idx="76">
                  <c:v>37473</c:v>
                </c:pt>
                <c:pt idx="77">
                  <c:v>37474</c:v>
                </c:pt>
                <c:pt idx="78">
                  <c:v>37475</c:v>
                </c:pt>
                <c:pt idx="79">
                  <c:v>37476</c:v>
                </c:pt>
                <c:pt idx="80">
                  <c:v>37477</c:v>
                </c:pt>
                <c:pt idx="81">
                  <c:v>37480</c:v>
                </c:pt>
                <c:pt idx="82">
                  <c:v>37481</c:v>
                </c:pt>
                <c:pt idx="83">
                  <c:v>37482</c:v>
                </c:pt>
                <c:pt idx="84">
                  <c:v>37483</c:v>
                </c:pt>
                <c:pt idx="85">
                  <c:v>37484</c:v>
                </c:pt>
                <c:pt idx="86">
                  <c:v>37487</c:v>
                </c:pt>
                <c:pt idx="87">
                  <c:v>37488</c:v>
                </c:pt>
                <c:pt idx="88">
                  <c:v>37489</c:v>
                </c:pt>
                <c:pt idx="89">
                  <c:v>37490</c:v>
                </c:pt>
                <c:pt idx="90">
                  <c:v>37491</c:v>
                </c:pt>
                <c:pt idx="91">
                  <c:v>37494</c:v>
                </c:pt>
                <c:pt idx="92">
                  <c:v>37495</c:v>
                </c:pt>
                <c:pt idx="93">
                  <c:v>37496</c:v>
                </c:pt>
                <c:pt idx="94">
                  <c:v>37497</c:v>
                </c:pt>
                <c:pt idx="95">
                  <c:v>37498</c:v>
                </c:pt>
                <c:pt idx="96">
                  <c:v>37501</c:v>
                </c:pt>
                <c:pt idx="97">
                  <c:v>37502</c:v>
                </c:pt>
                <c:pt idx="98">
                  <c:v>37503</c:v>
                </c:pt>
                <c:pt idx="99">
                  <c:v>37504</c:v>
                </c:pt>
                <c:pt idx="100">
                  <c:v>37505</c:v>
                </c:pt>
                <c:pt idx="101">
                  <c:v>37508</c:v>
                </c:pt>
                <c:pt idx="102">
                  <c:v>37509</c:v>
                </c:pt>
                <c:pt idx="103">
                  <c:v>37510</c:v>
                </c:pt>
                <c:pt idx="104">
                  <c:v>37511</c:v>
                </c:pt>
                <c:pt idx="105">
                  <c:v>37512</c:v>
                </c:pt>
                <c:pt idx="106">
                  <c:v>37515</c:v>
                </c:pt>
                <c:pt idx="107">
                  <c:v>37516</c:v>
                </c:pt>
                <c:pt idx="108">
                  <c:v>37517</c:v>
                </c:pt>
                <c:pt idx="109">
                  <c:v>37518</c:v>
                </c:pt>
                <c:pt idx="110">
                  <c:v>37519</c:v>
                </c:pt>
                <c:pt idx="111">
                  <c:v>37522</c:v>
                </c:pt>
                <c:pt idx="112">
                  <c:v>37523</c:v>
                </c:pt>
                <c:pt idx="113">
                  <c:v>37524</c:v>
                </c:pt>
                <c:pt idx="114">
                  <c:v>37525</c:v>
                </c:pt>
                <c:pt idx="115">
                  <c:v>37526</c:v>
                </c:pt>
                <c:pt idx="116">
                  <c:v>37537</c:v>
                </c:pt>
                <c:pt idx="117">
                  <c:v>37538</c:v>
                </c:pt>
                <c:pt idx="118">
                  <c:v>37539</c:v>
                </c:pt>
                <c:pt idx="119">
                  <c:v>37540</c:v>
                </c:pt>
                <c:pt idx="120">
                  <c:v>37543</c:v>
                </c:pt>
                <c:pt idx="121">
                  <c:v>37544</c:v>
                </c:pt>
                <c:pt idx="122">
                  <c:v>37545</c:v>
                </c:pt>
                <c:pt idx="123">
                  <c:v>37546</c:v>
                </c:pt>
                <c:pt idx="124">
                  <c:v>37547</c:v>
                </c:pt>
                <c:pt idx="125">
                  <c:v>37550</c:v>
                </c:pt>
                <c:pt idx="126">
                  <c:v>37551</c:v>
                </c:pt>
                <c:pt idx="127">
                  <c:v>37552</c:v>
                </c:pt>
                <c:pt idx="128">
                  <c:v>37553</c:v>
                </c:pt>
                <c:pt idx="129">
                  <c:v>37554</c:v>
                </c:pt>
                <c:pt idx="130">
                  <c:v>37557</c:v>
                </c:pt>
                <c:pt idx="131">
                  <c:v>37558</c:v>
                </c:pt>
                <c:pt idx="132">
                  <c:v>37559</c:v>
                </c:pt>
                <c:pt idx="133">
                  <c:v>37560</c:v>
                </c:pt>
                <c:pt idx="134">
                  <c:v>37561</c:v>
                </c:pt>
                <c:pt idx="135">
                  <c:v>37564</c:v>
                </c:pt>
                <c:pt idx="136">
                  <c:v>37565</c:v>
                </c:pt>
                <c:pt idx="137">
                  <c:v>37566</c:v>
                </c:pt>
                <c:pt idx="138">
                  <c:v>37567</c:v>
                </c:pt>
                <c:pt idx="139">
                  <c:v>37568</c:v>
                </c:pt>
                <c:pt idx="140">
                  <c:v>37571</c:v>
                </c:pt>
                <c:pt idx="141">
                  <c:v>37572</c:v>
                </c:pt>
                <c:pt idx="142">
                  <c:v>37573</c:v>
                </c:pt>
                <c:pt idx="143">
                  <c:v>37574</c:v>
                </c:pt>
                <c:pt idx="144">
                  <c:v>37575</c:v>
                </c:pt>
                <c:pt idx="145">
                  <c:v>37578</c:v>
                </c:pt>
                <c:pt idx="146">
                  <c:v>37579</c:v>
                </c:pt>
                <c:pt idx="147">
                  <c:v>37580</c:v>
                </c:pt>
                <c:pt idx="148">
                  <c:v>37581</c:v>
                </c:pt>
                <c:pt idx="149">
                  <c:v>37582</c:v>
                </c:pt>
                <c:pt idx="150">
                  <c:v>37585</c:v>
                </c:pt>
                <c:pt idx="151">
                  <c:v>37586</c:v>
                </c:pt>
                <c:pt idx="152">
                  <c:v>37587</c:v>
                </c:pt>
                <c:pt idx="153">
                  <c:v>37588</c:v>
                </c:pt>
                <c:pt idx="154">
                  <c:v>37589</c:v>
                </c:pt>
                <c:pt idx="155">
                  <c:v>37592</c:v>
                </c:pt>
                <c:pt idx="156">
                  <c:v>37593</c:v>
                </c:pt>
                <c:pt idx="157">
                  <c:v>37594</c:v>
                </c:pt>
                <c:pt idx="158">
                  <c:v>37595</c:v>
                </c:pt>
                <c:pt idx="159">
                  <c:v>37596</c:v>
                </c:pt>
                <c:pt idx="160">
                  <c:v>37599</c:v>
                </c:pt>
                <c:pt idx="161">
                  <c:v>37600</c:v>
                </c:pt>
                <c:pt idx="162">
                  <c:v>37601</c:v>
                </c:pt>
                <c:pt idx="163">
                  <c:v>37602</c:v>
                </c:pt>
                <c:pt idx="164">
                  <c:v>37603</c:v>
                </c:pt>
                <c:pt idx="165">
                  <c:v>37606</c:v>
                </c:pt>
                <c:pt idx="166">
                  <c:v>37607</c:v>
                </c:pt>
                <c:pt idx="167">
                  <c:v>37608</c:v>
                </c:pt>
                <c:pt idx="168">
                  <c:v>37609</c:v>
                </c:pt>
                <c:pt idx="169">
                  <c:v>37610</c:v>
                </c:pt>
                <c:pt idx="170">
                  <c:v>37613</c:v>
                </c:pt>
                <c:pt idx="171">
                  <c:v>37614</c:v>
                </c:pt>
                <c:pt idx="172">
                  <c:v>37615</c:v>
                </c:pt>
                <c:pt idx="173">
                  <c:v>37616</c:v>
                </c:pt>
                <c:pt idx="174">
                  <c:v>37617</c:v>
                </c:pt>
                <c:pt idx="175">
                  <c:v>37620</c:v>
                </c:pt>
                <c:pt idx="176">
                  <c:v>37621</c:v>
                </c:pt>
                <c:pt idx="177">
                  <c:v>37623</c:v>
                </c:pt>
                <c:pt idx="178">
                  <c:v>37624</c:v>
                </c:pt>
                <c:pt idx="179">
                  <c:v>37627</c:v>
                </c:pt>
                <c:pt idx="180">
                  <c:v>37628</c:v>
                </c:pt>
                <c:pt idx="181">
                  <c:v>37629</c:v>
                </c:pt>
                <c:pt idx="182">
                  <c:v>37630</c:v>
                </c:pt>
                <c:pt idx="183">
                  <c:v>37631</c:v>
                </c:pt>
                <c:pt idx="184">
                  <c:v>37634</c:v>
                </c:pt>
                <c:pt idx="185">
                  <c:v>37635</c:v>
                </c:pt>
                <c:pt idx="186">
                  <c:v>37636</c:v>
                </c:pt>
                <c:pt idx="187">
                  <c:v>37637</c:v>
                </c:pt>
                <c:pt idx="188">
                  <c:v>37638</c:v>
                </c:pt>
                <c:pt idx="189">
                  <c:v>37641</c:v>
                </c:pt>
                <c:pt idx="190">
                  <c:v>37642</c:v>
                </c:pt>
                <c:pt idx="191">
                  <c:v>37643</c:v>
                </c:pt>
                <c:pt idx="192">
                  <c:v>37644</c:v>
                </c:pt>
                <c:pt idx="193">
                  <c:v>37645</c:v>
                </c:pt>
                <c:pt idx="194">
                  <c:v>37648</c:v>
                </c:pt>
                <c:pt idx="195">
                  <c:v>37649</c:v>
                </c:pt>
                <c:pt idx="196">
                  <c:v>37650</c:v>
                </c:pt>
                <c:pt idx="197">
                  <c:v>37662</c:v>
                </c:pt>
                <c:pt idx="198">
                  <c:v>37663</c:v>
                </c:pt>
                <c:pt idx="199">
                  <c:v>37664</c:v>
                </c:pt>
                <c:pt idx="200">
                  <c:v>37665</c:v>
                </c:pt>
                <c:pt idx="201">
                  <c:v>37666</c:v>
                </c:pt>
                <c:pt idx="202">
                  <c:v>37669</c:v>
                </c:pt>
                <c:pt idx="203">
                  <c:v>37670</c:v>
                </c:pt>
                <c:pt idx="204">
                  <c:v>37671</c:v>
                </c:pt>
                <c:pt idx="205">
                  <c:v>37672</c:v>
                </c:pt>
                <c:pt idx="206">
                  <c:v>37673</c:v>
                </c:pt>
                <c:pt idx="207">
                  <c:v>37676</c:v>
                </c:pt>
                <c:pt idx="208">
                  <c:v>37677</c:v>
                </c:pt>
                <c:pt idx="209">
                  <c:v>37678</c:v>
                </c:pt>
                <c:pt idx="210">
                  <c:v>37679</c:v>
                </c:pt>
                <c:pt idx="211">
                  <c:v>37680</c:v>
                </c:pt>
                <c:pt idx="212">
                  <c:v>37683</c:v>
                </c:pt>
                <c:pt idx="213">
                  <c:v>37684</c:v>
                </c:pt>
                <c:pt idx="214">
                  <c:v>37685</c:v>
                </c:pt>
                <c:pt idx="215">
                  <c:v>37686</c:v>
                </c:pt>
                <c:pt idx="216">
                  <c:v>37687</c:v>
                </c:pt>
                <c:pt idx="217">
                  <c:v>37690</c:v>
                </c:pt>
                <c:pt idx="218">
                  <c:v>37691</c:v>
                </c:pt>
                <c:pt idx="219">
                  <c:v>37692</c:v>
                </c:pt>
                <c:pt idx="220">
                  <c:v>37693</c:v>
                </c:pt>
                <c:pt idx="221">
                  <c:v>37694</c:v>
                </c:pt>
                <c:pt idx="222">
                  <c:v>37697</c:v>
                </c:pt>
                <c:pt idx="223">
                  <c:v>37698</c:v>
                </c:pt>
                <c:pt idx="224">
                  <c:v>37699</c:v>
                </c:pt>
                <c:pt idx="225">
                  <c:v>37700</c:v>
                </c:pt>
                <c:pt idx="226">
                  <c:v>37701</c:v>
                </c:pt>
                <c:pt idx="227">
                  <c:v>37704</c:v>
                </c:pt>
                <c:pt idx="228">
                  <c:v>37705</c:v>
                </c:pt>
                <c:pt idx="229">
                  <c:v>37706</c:v>
                </c:pt>
                <c:pt idx="230">
                  <c:v>37707</c:v>
                </c:pt>
                <c:pt idx="231">
                  <c:v>37708</c:v>
                </c:pt>
                <c:pt idx="232">
                  <c:v>37711</c:v>
                </c:pt>
                <c:pt idx="233">
                  <c:v>37712</c:v>
                </c:pt>
                <c:pt idx="234">
                  <c:v>37713</c:v>
                </c:pt>
                <c:pt idx="235">
                  <c:v>37714</c:v>
                </c:pt>
                <c:pt idx="236">
                  <c:v>37715</c:v>
                </c:pt>
                <c:pt idx="237">
                  <c:v>37718</c:v>
                </c:pt>
                <c:pt idx="238">
                  <c:v>37719</c:v>
                </c:pt>
                <c:pt idx="239">
                  <c:v>37720</c:v>
                </c:pt>
                <c:pt idx="240">
                  <c:v>37721</c:v>
                </c:pt>
                <c:pt idx="241">
                  <c:v>37722</c:v>
                </c:pt>
                <c:pt idx="242">
                  <c:v>37725</c:v>
                </c:pt>
                <c:pt idx="243">
                  <c:v>37726</c:v>
                </c:pt>
                <c:pt idx="244">
                  <c:v>37727</c:v>
                </c:pt>
                <c:pt idx="245">
                  <c:v>37728</c:v>
                </c:pt>
                <c:pt idx="246">
                  <c:v>37729</c:v>
                </c:pt>
                <c:pt idx="247">
                  <c:v>37732</c:v>
                </c:pt>
                <c:pt idx="248">
                  <c:v>37733</c:v>
                </c:pt>
                <c:pt idx="249">
                  <c:v>37734</c:v>
                </c:pt>
                <c:pt idx="250">
                  <c:v>37735</c:v>
                </c:pt>
                <c:pt idx="251">
                  <c:v>37736</c:v>
                </c:pt>
                <c:pt idx="252">
                  <c:v>37739</c:v>
                </c:pt>
                <c:pt idx="253">
                  <c:v>37740</c:v>
                </c:pt>
                <c:pt idx="254">
                  <c:v>37741</c:v>
                </c:pt>
                <c:pt idx="255">
                  <c:v>37753</c:v>
                </c:pt>
                <c:pt idx="256">
                  <c:v>37754</c:v>
                </c:pt>
                <c:pt idx="257">
                  <c:v>37755</c:v>
                </c:pt>
                <c:pt idx="258">
                  <c:v>37756</c:v>
                </c:pt>
                <c:pt idx="259">
                  <c:v>37757</c:v>
                </c:pt>
                <c:pt idx="260">
                  <c:v>37760</c:v>
                </c:pt>
                <c:pt idx="261">
                  <c:v>37761</c:v>
                </c:pt>
                <c:pt idx="262">
                  <c:v>37762</c:v>
                </c:pt>
                <c:pt idx="263">
                  <c:v>37763</c:v>
                </c:pt>
                <c:pt idx="264">
                  <c:v>37764</c:v>
                </c:pt>
                <c:pt idx="265">
                  <c:v>37767</c:v>
                </c:pt>
                <c:pt idx="266">
                  <c:v>37768</c:v>
                </c:pt>
                <c:pt idx="267">
                  <c:v>37769</c:v>
                </c:pt>
                <c:pt idx="268">
                  <c:v>37770</c:v>
                </c:pt>
                <c:pt idx="269">
                  <c:v>37771</c:v>
                </c:pt>
                <c:pt idx="270">
                  <c:v>37774</c:v>
                </c:pt>
                <c:pt idx="271">
                  <c:v>37775</c:v>
                </c:pt>
                <c:pt idx="272">
                  <c:v>37776</c:v>
                </c:pt>
                <c:pt idx="273">
                  <c:v>37777</c:v>
                </c:pt>
                <c:pt idx="274">
                  <c:v>37778</c:v>
                </c:pt>
                <c:pt idx="275">
                  <c:v>37781</c:v>
                </c:pt>
                <c:pt idx="276">
                  <c:v>37782</c:v>
                </c:pt>
                <c:pt idx="277">
                  <c:v>37783</c:v>
                </c:pt>
                <c:pt idx="278">
                  <c:v>37784</c:v>
                </c:pt>
                <c:pt idx="279">
                  <c:v>37785</c:v>
                </c:pt>
                <c:pt idx="280">
                  <c:v>37788</c:v>
                </c:pt>
                <c:pt idx="281">
                  <c:v>37789</c:v>
                </c:pt>
                <c:pt idx="282">
                  <c:v>37790</c:v>
                </c:pt>
                <c:pt idx="283">
                  <c:v>37791</c:v>
                </c:pt>
                <c:pt idx="284">
                  <c:v>37792</c:v>
                </c:pt>
                <c:pt idx="285">
                  <c:v>37795</c:v>
                </c:pt>
                <c:pt idx="286">
                  <c:v>37796</c:v>
                </c:pt>
                <c:pt idx="287">
                  <c:v>37797</c:v>
                </c:pt>
                <c:pt idx="288">
                  <c:v>37798</c:v>
                </c:pt>
                <c:pt idx="289">
                  <c:v>37799</c:v>
                </c:pt>
                <c:pt idx="290">
                  <c:v>37802</c:v>
                </c:pt>
                <c:pt idx="291">
                  <c:v>37803</c:v>
                </c:pt>
                <c:pt idx="292">
                  <c:v>37804</c:v>
                </c:pt>
                <c:pt idx="293">
                  <c:v>37805</c:v>
                </c:pt>
                <c:pt idx="294">
                  <c:v>37806</c:v>
                </c:pt>
                <c:pt idx="295">
                  <c:v>37809</c:v>
                </c:pt>
                <c:pt idx="296">
                  <c:v>37810</c:v>
                </c:pt>
                <c:pt idx="297">
                  <c:v>37811</c:v>
                </c:pt>
                <c:pt idx="298">
                  <c:v>37812</c:v>
                </c:pt>
                <c:pt idx="299">
                  <c:v>37813</c:v>
                </c:pt>
                <c:pt idx="300">
                  <c:v>37816</c:v>
                </c:pt>
                <c:pt idx="301">
                  <c:v>37817</c:v>
                </c:pt>
                <c:pt idx="302">
                  <c:v>37818</c:v>
                </c:pt>
                <c:pt idx="303">
                  <c:v>37819</c:v>
                </c:pt>
                <c:pt idx="304">
                  <c:v>37820</c:v>
                </c:pt>
                <c:pt idx="305">
                  <c:v>37823</c:v>
                </c:pt>
                <c:pt idx="306">
                  <c:v>37824</c:v>
                </c:pt>
                <c:pt idx="307">
                  <c:v>37825</c:v>
                </c:pt>
                <c:pt idx="308">
                  <c:v>37826</c:v>
                </c:pt>
                <c:pt idx="309">
                  <c:v>37827</c:v>
                </c:pt>
                <c:pt idx="310">
                  <c:v>37830</c:v>
                </c:pt>
                <c:pt idx="311">
                  <c:v>37831</c:v>
                </c:pt>
                <c:pt idx="312">
                  <c:v>37832</c:v>
                </c:pt>
                <c:pt idx="313">
                  <c:v>37833</c:v>
                </c:pt>
                <c:pt idx="314">
                  <c:v>37834</c:v>
                </c:pt>
                <c:pt idx="315">
                  <c:v>37837</c:v>
                </c:pt>
                <c:pt idx="316">
                  <c:v>37838</c:v>
                </c:pt>
                <c:pt idx="317">
                  <c:v>37839</c:v>
                </c:pt>
                <c:pt idx="318">
                  <c:v>37840</c:v>
                </c:pt>
                <c:pt idx="319">
                  <c:v>37841</c:v>
                </c:pt>
                <c:pt idx="320">
                  <c:v>37844</c:v>
                </c:pt>
                <c:pt idx="321">
                  <c:v>37845</c:v>
                </c:pt>
                <c:pt idx="322">
                  <c:v>37846</c:v>
                </c:pt>
                <c:pt idx="323">
                  <c:v>37847</c:v>
                </c:pt>
                <c:pt idx="324">
                  <c:v>37848</c:v>
                </c:pt>
                <c:pt idx="325">
                  <c:v>37851</c:v>
                </c:pt>
                <c:pt idx="326">
                  <c:v>37852</c:v>
                </c:pt>
                <c:pt idx="327">
                  <c:v>37853</c:v>
                </c:pt>
                <c:pt idx="328">
                  <c:v>37854</c:v>
                </c:pt>
                <c:pt idx="329">
                  <c:v>37855</c:v>
                </c:pt>
                <c:pt idx="330">
                  <c:v>37858</c:v>
                </c:pt>
                <c:pt idx="331">
                  <c:v>37859</c:v>
                </c:pt>
                <c:pt idx="332">
                  <c:v>37860</c:v>
                </c:pt>
                <c:pt idx="333">
                  <c:v>37861</c:v>
                </c:pt>
                <c:pt idx="334">
                  <c:v>37862</c:v>
                </c:pt>
                <c:pt idx="335">
                  <c:v>37865</c:v>
                </c:pt>
                <c:pt idx="336">
                  <c:v>37866</c:v>
                </c:pt>
                <c:pt idx="337">
                  <c:v>37867</c:v>
                </c:pt>
                <c:pt idx="338">
                  <c:v>37868</c:v>
                </c:pt>
                <c:pt idx="339">
                  <c:v>37869</c:v>
                </c:pt>
                <c:pt idx="340">
                  <c:v>37872</c:v>
                </c:pt>
                <c:pt idx="341">
                  <c:v>37873</c:v>
                </c:pt>
                <c:pt idx="342">
                  <c:v>37874</c:v>
                </c:pt>
                <c:pt idx="343">
                  <c:v>37875</c:v>
                </c:pt>
                <c:pt idx="344">
                  <c:v>37876</c:v>
                </c:pt>
                <c:pt idx="345">
                  <c:v>37879</c:v>
                </c:pt>
                <c:pt idx="346">
                  <c:v>37880</c:v>
                </c:pt>
                <c:pt idx="347">
                  <c:v>37881</c:v>
                </c:pt>
                <c:pt idx="348">
                  <c:v>37882</c:v>
                </c:pt>
                <c:pt idx="349">
                  <c:v>37883</c:v>
                </c:pt>
                <c:pt idx="350">
                  <c:v>37886</c:v>
                </c:pt>
                <c:pt idx="351">
                  <c:v>37887</c:v>
                </c:pt>
                <c:pt idx="352">
                  <c:v>37888</c:v>
                </c:pt>
                <c:pt idx="353">
                  <c:v>37889</c:v>
                </c:pt>
                <c:pt idx="354">
                  <c:v>37890</c:v>
                </c:pt>
                <c:pt idx="355">
                  <c:v>37893</c:v>
                </c:pt>
                <c:pt idx="356">
                  <c:v>37894</c:v>
                </c:pt>
                <c:pt idx="357">
                  <c:v>37902</c:v>
                </c:pt>
                <c:pt idx="358">
                  <c:v>37903</c:v>
                </c:pt>
                <c:pt idx="359">
                  <c:v>37904</c:v>
                </c:pt>
                <c:pt idx="360">
                  <c:v>37907</c:v>
                </c:pt>
                <c:pt idx="361">
                  <c:v>37908</c:v>
                </c:pt>
                <c:pt idx="362">
                  <c:v>37909</c:v>
                </c:pt>
                <c:pt idx="363">
                  <c:v>37910</c:v>
                </c:pt>
                <c:pt idx="364">
                  <c:v>37911</c:v>
                </c:pt>
                <c:pt idx="365">
                  <c:v>37914</c:v>
                </c:pt>
                <c:pt idx="366">
                  <c:v>37915</c:v>
                </c:pt>
                <c:pt idx="367">
                  <c:v>37916</c:v>
                </c:pt>
                <c:pt idx="368">
                  <c:v>37917</c:v>
                </c:pt>
                <c:pt idx="369">
                  <c:v>37918</c:v>
                </c:pt>
                <c:pt idx="370">
                  <c:v>37921</c:v>
                </c:pt>
                <c:pt idx="371">
                  <c:v>37922</c:v>
                </c:pt>
                <c:pt idx="372">
                  <c:v>37923</c:v>
                </c:pt>
                <c:pt idx="373">
                  <c:v>37924</c:v>
                </c:pt>
                <c:pt idx="374">
                  <c:v>37925</c:v>
                </c:pt>
                <c:pt idx="375">
                  <c:v>37928</c:v>
                </c:pt>
                <c:pt idx="376">
                  <c:v>37929</c:v>
                </c:pt>
                <c:pt idx="377">
                  <c:v>37930</c:v>
                </c:pt>
                <c:pt idx="378">
                  <c:v>37931</c:v>
                </c:pt>
                <c:pt idx="379">
                  <c:v>37932</c:v>
                </c:pt>
                <c:pt idx="380">
                  <c:v>37935</c:v>
                </c:pt>
                <c:pt idx="381">
                  <c:v>37936</c:v>
                </c:pt>
                <c:pt idx="382">
                  <c:v>37937</c:v>
                </c:pt>
                <c:pt idx="383">
                  <c:v>37938</c:v>
                </c:pt>
                <c:pt idx="384">
                  <c:v>37939</c:v>
                </c:pt>
                <c:pt idx="385">
                  <c:v>37942</c:v>
                </c:pt>
                <c:pt idx="386">
                  <c:v>37943</c:v>
                </c:pt>
                <c:pt idx="387">
                  <c:v>37944</c:v>
                </c:pt>
                <c:pt idx="388">
                  <c:v>37945</c:v>
                </c:pt>
                <c:pt idx="389">
                  <c:v>37946</c:v>
                </c:pt>
                <c:pt idx="390">
                  <c:v>37949</c:v>
                </c:pt>
                <c:pt idx="391">
                  <c:v>37950</c:v>
                </c:pt>
                <c:pt idx="392">
                  <c:v>37951</c:v>
                </c:pt>
                <c:pt idx="393">
                  <c:v>37952</c:v>
                </c:pt>
                <c:pt idx="394">
                  <c:v>37953</c:v>
                </c:pt>
                <c:pt idx="395">
                  <c:v>37956</c:v>
                </c:pt>
                <c:pt idx="396">
                  <c:v>37957</c:v>
                </c:pt>
                <c:pt idx="397">
                  <c:v>37958</c:v>
                </c:pt>
                <c:pt idx="398">
                  <c:v>37959</c:v>
                </c:pt>
                <c:pt idx="399">
                  <c:v>37960</c:v>
                </c:pt>
                <c:pt idx="400">
                  <c:v>37963</c:v>
                </c:pt>
                <c:pt idx="401">
                  <c:v>37964</c:v>
                </c:pt>
                <c:pt idx="402">
                  <c:v>37965</c:v>
                </c:pt>
                <c:pt idx="403">
                  <c:v>37966</c:v>
                </c:pt>
                <c:pt idx="404">
                  <c:v>37967</c:v>
                </c:pt>
                <c:pt idx="405">
                  <c:v>37970</c:v>
                </c:pt>
                <c:pt idx="406">
                  <c:v>37971</c:v>
                </c:pt>
                <c:pt idx="407">
                  <c:v>37972</c:v>
                </c:pt>
                <c:pt idx="408">
                  <c:v>37973</c:v>
                </c:pt>
                <c:pt idx="409">
                  <c:v>37974</c:v>
                </c:pt>
                <c:pt idx="410">
                  <c:v>37977</c:v>
                </c:pt>
                <c:pt idx="411">
                  <c:v>37978</c:v>
                </c:pt>
                <c:pt idx="412">
                  <c:v>37979</c:v>
                </c:pt>
                <c:pt idx="413">
                  <c:v>37980</c:v>
                </c:pt>
                <c:pt idx="414">
                  <c:v>37981</c:v>
                </c:pt>
                <c:pt idx="415">
                  <c:v>37984</c:v>
                </c:pt>
                <c:pt idx="416">
                  <c:v>37985</c:v>
                </c:pt>
                <c:pt idx="417">
                  <c:v>37986</c:v>
                </c:pt>
                <c:pt idx="418">
                  <c:v>37988</c:v>
                </c:pt>
                <c:pt idx="419">
                  <c:v>37991</c:v>
                </c:pt>
                <c:pt idx="420">
                  <c:v>37992</c:v>
                </c:pt>
                <c:pt idx="421">
                  <c:v>37993</c:v>
                </c:pt>
                <c:pt idx="422">
                  <c:v>37994</c:v>
                </c:pt>
                <c:pt idx="423">
                  <c:v>37995</c:v>
                </c:pt>
                <c:pt idx="424">
                  <c:v>37998</c:v>
                </c:pt>
                <c:pt idx="425">
                  <c:v>37999</c:v>
                </c:pt>
                <c:pt idx="426">
                  <c:v>38000</c:v>
                </c:pt>
                <c:pt idx="427">
                  <c:v>38001</c:v>
                </c:pt>
                <c:pt idx="428">
                  <c:v>38002</c:v>
                </c:pt>
                <c:pt idx="429">
                  <c:v>38015</c:v>
                </c:pt>
                <c:pt idx="430">
                  <c:v>38016</c:v>
                </c:pt>
                <c:pt idx="431">
                  <c:v>38019</c:v>
                </c:pt>
                <c:pt idx="432">
                  <c:v>38020</c:v>
                </c:pt>
                <c:pt idx="433">
                  <c:v>38021</c:v>
                </c:pt>
                <c:pt idx="434">
                  <c:v>38022</c:v>
                </c:pt>
                <c:pt idx="435">
                  <c:v>38023</c:v>
                </c:pt>
                <c:pt idx="436">
                  <c:v>38026</c:v>
                </c:pt>
                <c:pt idx="437">
                  <c:v>38027</c:v>
                </c:pt>
                <c:pt idx="438">
                  <c:v>38028</c:v>
                </c:pt>
                <c:pt idx="439">
                  <c:v>38029</c:v>
                </c:pt>
                <c:pt idx="440">
                  <c:v>38030</c:v>
                </c:pt>
                <c:pt idx="441">
                  <c:v>38033</c:v>
                </c:pt>
                <c:pt idx="442">
                  <c:v>38034</c:v>
                </c:pt>
                <c:pt idx="443">
                  <c:v>38035</c:v>
                </c:pt>
                <c:pt idx="444">
                  <c:v>38036</c:v>
                </c:pt>
                <c:pt idx="445">
                  <c:v>38037</c:v>
                </c:pt>
                <c:pt idx="446">
                  <c:v>38040</c:v>
                </c:pt>
                <c:pt idx="447">
                  <c:v>38041</c:v>
                </c:pt>
                <c:pt idx="448">
                  <c:v>38042</c:v>
                </c:pt>
                <c:pt idx="449">
                  <c:v>38043</c:v>
                </c:pt>
                <c:pt idx="450">
                  <c:v>38044</c:v>
                </c:pt>
                <c:pt idx="451">
                  <c:v>38047</c:v>
                </c:pt>
                <c:pt idx="452">
                  <c:v>38048</c:v>
                </c:pt>
                <c:pt idx="453">
                  <c:v>38049</c:v>
                </c:pt>
                <c:pt idx="454">
                  <c:v>38050</c:v>
                </c:pt>
                <c:pt idx="455">
                  <c:v>38051</c:v>
                </c:pt>
                <c:pt idx="456">
                  <c:v>38054</c:v>
                </c:pt>
                <c:pt idx="457">
                  <c:v>38055</c:v>
                </c:pt>
                <c:pt idx="458">
                  <c:v>38056</c:v>
                </c:pt>
                <c:pt idx="459">
                  <c:v>38057</c:v>
                </c:pt>
                <c:pt idx="460">
                  <c:v>38058</c:v>
                </c:pt>
                <c:pt idx="461">
                  <c:v>38061</c:v>
                </c:pt>
                <c:pt idx="462">
                  <c:v>38062</c:v>
                </c:pt>
                <c:pt idx="463">
                  <c:v>38063</c:v>
                </c:pt>
                <c:pt idx="464">
                  <c:v>38064</c:v>
                </c:pt>
                <c:pt idx="465">
                  <c:v>38065</c:v>
                </c:pt>
                <c:pt idx="466">
                  <c:v>38068</c:v>
                </c:pt>
                <c:pt idx="467">
                  <c:v>38069</c:v>
                </c:pt>
                <c:pt idx="468">
                  <c:v>38070</c:v>
                </c:pt>
                <c:pt idx="469">
                  <c:v>38071</c:v>
                </c:pt>
                <c:pt idx="470">
                  <c:v>38072</c:v>
                </c:pt>
                <c:pt idx="471">
                  <c:v>38075</c:v>
                </c:pt>
                <c:pt idx="472">
                  <c:v>38076</c:v>
                </c:pt>
                <c:pt idx="473">
                  <c:v>38077</c:v>
                </c:pt>
                <c:pt idx="474">
                  <c:v>38078</c:v>
                </c:pt>
                <c:pt idx="475">
                  <c:v>38079</c:v>
                </c:pt>
                <c:pt idx="476">
                  <c:v>38082</c:v>
                </c:pt>
                <c:pt idx="477">
                  <c:v>38083</c:v>
                </c:pt>
                <c:pt idx="478">
                  <c:v>38084</c:v>
                </c:pt>
                <c:pt idx="479">
                  <c:v>38085</c:v>
                </c:pt>
                <c:pt idx="480">
                  <c:v>38086</c:v>
                </c:pt>
                <c:pt idx="481">
                  <c:v>38089</c:v>
                </c:pt>
                <c:pt idx="482">
                  <c:v>38090</c:v>
                </c:pt>
                <c:pt idx="483">
                  <c:v>38091</c:v>
                </c:pt>
                <c:pt idx="484">
                  <c:v>38092</c:v>
                </c:pt>
                <c:pt idx="485">
                  <c:v>38093</c:v>
                </c:pt>
                <c:pt idx="486">
                  <c:v>38096</c:v>
                </c:pt>
                <c:pt idx="487">
                  <c:v>38097</c:v>
                </c:pt>
                <c:pt idx="488">
                  <c:v>38098</c:v>
                </c:pt>
                <c:pt idx="489">
                  <c:v>38099</c:v>
                </c:pt>
                <c:pt idx="490">
                  <c:v>38100</c:v>
                </c:pt>
                <c:pt idx="491">
                  <c:v>38103</c:v>
                </c:pt>
                <c:pt idx="492">
                  <c:v>38104</c:v>
                </c:pt>
                <c:pt idx="493">
                  <c:v>38105</c:v>
                </c:pt>
                <c:pt idx="494">
                  <c:v>38106</c:v>
                </c:pt>
                <c:pt idx="495">
                  <c:v>38107</c:v>
                </c:pt>
                <c:pt idx="496">
                  <c:v>38117</c:v>
                </c:pt>
                <c:pt idx="497">
                  <c:v>38118</c:v>
                </c:pt>
                <c:pt idx="498">
                  <c:v>38119</c:v>
                </c:pt>
                <c:pt idx="499">
                  <c:v>38120</c:v>
                </c:pt>
                <c:pt idx="500">
                  <c:v>38121</c:v>
                </c:pt>
                <c:pt idx="501">
                  <c:v>38124</c:v>
                </c:pt>
                <c:pt idx="502">
                  <c:v>38125</c:v>
                </c:pt>
                <c:pt idx="503">
                  <c:v>38126</c:v>
                </c:pt>
                <c:pt idx="504">
                  <c:v>38127</c:v>
                </c:pt>
                <c:pt idx="505">
                  <c:v>38128</c:v>
                </c:pt>
                <c:pt idx="506">
                  <c:v>38131</c:v>
                </c:pt>
                <c:pt idx="507">
                  <c:v>38132</c:v>
                </c:pt>
                <c:pt idx="508">
                  <c:v>38133</c:v>
                </c:pt>
                <c:pt idx="509">
                  <c:v>38134</c:v>
                </c:pt>
                <c:pt idx="510">
                  <c:v>38135</c:v>
                </c:pt>
                <c:pt idx="511">
                  <c:v>38138</c:v>
                </c:pt>
                <c:pt idx="512">
                  <c:v>38139</c:v>
                </c:pt>
                <c:pt idx="513">
                  <c:v>38140</c:v>
                </c:pt>
                <c:pt idx="514">
                  <c:v>38141</c:v>
                </c:pt>
                <c:pt idx="515">
                  <c:v>38142</c:v>
                </c:pt>
                <c:pt idx="516">
                  <c:v>38145</c:v>
                </c:pt>
                <c:pt idx="517">
                  <c:v>38146</c:v>
                </c:pt>
                <c:pt idx="518">
                  <c:v>38147</c:v>
                </c:pt>
                <c:pt idx="519">
                  <c:v>38148</c:v>
                </c:pt>
                <c:pt idx="520">
                  <c:v>38149</c:v>
                </c:pt>
                <c:pt idx="521">
                  <c:v>38152</c:v>
                </c:pt>
                <c:pt idx="522">
                  <c:v>38153</c:v>
                </c:pt>
                <c:pt idx="523">
                  <c:v>38154</c:v>
                </c:pt>
                <c:pt idx="524">
                  <c:v>38155</c:v>
                </c:pt>
                <c:pt idx="525">
                  <c:v>38156</c:v>
                </c:pt>
                <c:pt idx="526">
                  <c:v>38159</c:v>
                </c:pt>
                <c:pt idx="527">
                  <c:v>38160</c:v>
                </c:pt>
                <c:pt idx="528">
                  <c:v>38161</c:v>
                </c:pt>
                <c:pt idx="529">
                  <c:v>38162</c:v>
                </c:pt>
                <c:pt idx="530">
                  <c:v>38163</c:v>
                </c:pt>
                <c:pt idx="531">
                  <c:v>38166</c:v>
                </c:pt>
                <c:pt idx="532">
                  <c:v>38167</c:v>
                </c:pt>
                <c:pt idx="533">
                  <c:v>38168</c:v>
                </c:pt>
                <c:pt idx="534">
                  <c:v>38169</c:v>
                </c:pt>
                <c:pt idx="535">
                  <c:v>38170</c:v>
                </c:pt>
                <c:pt idx="536">
                  <c:v>38173</c:v>
                </c:pt>
                <c:pt idx="537">
                  <c:v>38174</c:v>
                </c:pt>
                <c:pt idx="538">
                  <c:v>38175</c:v>
                </c:pt>
                <c:pt idx="539">
                  <c:v>38176</c:v>
                </c:pt>
                <c:pt idx="540">
                  <c:v>38177</c:v>
                </c:pt>
                <c:pt idx="541">
                  <c:v>38180</c:v>
                </c:pt>
                <c:pt idx="542">
                  <c:v>38181</c:v>
                </c:pt>
                <c:pt idx="543">
                  <c:v>38182</c:v>
                </c:pt>
                <c:pt idx="544">
                  <c:v>38183</c:v>
                </c:pt>
                <c:pt idx="545">
                  <c:v>38184</c:v>
                </c:pt>
                <c:pt idx="546">
                  <c:v>38187</c:v>
                </c:pt>
                <c:pt idx="547">
                  <c:v>38188</c:v>
                </c:pt>
                <c:pt idx="548">
                  <c:v>38189</c:v>
                </c:pt>
                <c:pt idx="549">
                  <c:v>38190</c:v>
                </c:pt>
                <c:pt idx="550">
                  <c:v>38191</c:v>
                </c:pt>
                <c:pt idx="551">
                  <c:v>38194</c:v>
                </c:pt>
                <c:pt idx="552">
                  <c:v>38195</c:v>
                </c:pt>
                <c:pt idx="553">
                  <c:v>38196</c:v>
                </c:pt>
                <c:pt idx="554">
                  <c:v>38197</c:v>
                </c:pt>
                <c:pt idx="555">
                  <c:v>38198</c:v>
                </c:pt>
                <c:pt idx="556">
                  <c:v>38201</c:v>
                </c:pt>
                <c:pt idx="557">
                  <c:v>38202</c:v>
                </c:pt>
                <c:pt idx="558">
                  <c:v>38203</c:v>
                </c:pt>
                <c:pt idx="559">
                  <c:v>38204</c:v>
                </c:pt>
                <c:pt idx="560">
                  <c:v>38205</c:v>
                </c:pt>
                <c:pt idx="561">
                  <c:v>38208</c:v>
                </c:pt>
                <c:pt idx="562">
                  <c:v>38209</c:v>
                </c:pt>
                <c:pt idx="563">
                  <c:v>38210</c:v>
                </c:pt>
                <c:pt idx="564">
                  <c:v>38211</c:v>
                </c:pt>
                <c:pt idx="565">
                  <c:v>38212</c:v>
                </c:pt>
                <c:pt idx="566">
                  <c:v>38215</c:v>
                </c:pt>
                <c:pt idx="567">
                  <c:v>38216</c:v>
                </c:pt>
                <c:pt idx="568">
                  <c:v>38217</c:v>
                </c:pt>
                <c:pt idx="569">
                  <c:v>38218</c:v>
                </c:pt>
                <c:pt idx="570">
                  <c:v>38219</c:v>
                </c:pt>
                <c:pt idx="571">
                  <c:v>38222</c:v>
                </c:pt>
                <c:pt idx="572">
                  <c:v>38223</c:v>
                </c:pt>
                <c:pt idx="573">
                  <c:v>38224</c:v>
                </c:pt>
                <c:pt idx="574">
                  <c:v>38225</c:v>
                </c:pt>
                <c:pt idx="575">
                  <c:v>38226</c:v>
                </c:pt>
                <c:pt idx="576">
                  <c:v>38229</c:v>
                </c:pt>
                <c:pt idx="577">
                  <c:v>38230</c:v>
                </c:pt>
                <c:pt idx="578">
                  <c:v>38231</c:v>
                </c:pt>
                <c:pt idx="579">
                  <c:v>38232</c:v>
                </c:pt>
                <c:pt idx="580">
                  <c:v>38233</c:v>
                </c:pt>
                <c:pt idx="581">
                  <c:v>38236</c:v>
                </c:pt>
                <c:pt idx="582">
                  <c:v>38237</c:v>
                </c:pt>
                <c:pt idx="583">
                  <c:v>38238</c:v>
                </c:pt>
                <c:pt idx="584">
                  <c:v>38239</c:v>
                </c:pt>
                <c:pt idx="585">
                  <c:v>38240</c:v>
                </c:pt>
                <c:pt idx="586">
                  <c:v>38243</c:v>
                </c:pt>
                <c:pt idx="587">
                  <c:v>38244</c:v>
                </c:pt>
                <c:pt idx="588">
                  <c:v>38245</c:v>
                </c:pt>
                <c:pt idx="589">
                  <c:v>38246</c:v>
                </c:pt>
                <c:pt idx="590">
                  <c:v>38247</c:v>
                </c:pt>
                <c:pt idx="591">
                  <c:v>38250</c:v>
                </c:pt>
                <c:pt idx="592">
                  <c:v>38251</c:v>
                </c:pt>
                <c:pt idx="593">
                  <c:v>38252</c:v>
                </c:pt>
                <c:pt idx="594">
                  <c:v>38253</c:v>
                </c:pt>
                <c:pt idx="595">
                  <c:v>38254</c:v>
                </c:pt>
                <c:pt idx="596">
                  <c:v>38257</c:v>
                </c:pt>
                <c:pt idx="597">
                  <c:v>38258</c:v>
                </c:pt>
                <c:pt idx="598">
                  <c:v>38259</c:v>
                </c:pt>
                <c:pt idx="599">
                  <c:v>38260</c:v>
                </c:pt>
                <c:pt idx="600">
                  <c:v>38268</c:v>
                </c:pt>
                <c:pt idx="601">
                  <c:v>38271</c:v>
                </c:pt>
                <c:pt idx="602">
                  <c:v>38272</c:v>
                </c:pt>
                <c:pt idx="603">
                  <c:v>38273</c:v>
                </c:pt>
                <c:pt idx="604">
                  <c:v>38274</c:v>
                </c:pt>
                <c:pt idx="605">
                  <c:v>38275</c:v>
                </c:pt>
                <c:pt idx="606">
                  <c:v>38278</c:v>
                </c:pt>
                <c:pt idx="607">
                  <c:v>38279</c:v>
                </c:pt>
                <c:pt idx="608">
                  <c:v>38280</c:v>
                </c:pt>
                <c:pt idx="609">
                  <c:v>38281</c:v>
                </c:pt>
                <c:pt idx="610">
                  <c:v>38282</c:v>
                </c:pt>
                <c:pt idx="611">
                  <c:v>38285</c:v>
                </c:pt>
                <c:pt idx="612">
                  <c:v>38286</c:v>
                </c:pt>
                <c:pt idx="613">
                  <c:v>38287</c:v>
                </c:pt>
                <c:pt idx="614">
                  <c:v>38288</c:v>
                </c:pt>
                <c:pt idx="615">
                  <c:v>38289</c:v>
                </c:pt>
                <c:pt idx="616">
                  <c:v>38292</c:v>
                </c:pt>
                <c:pt idx="617">
                  <c:v>38293</c:v>
                </c:pt>
                <c:pt idx="618">
                  <c:v>38294</c:v>
                </c:pt>
                <c:pt idx="619">
                  <c:v>38295</c:v>
                </c:pt>
                <c:pt idx="620">
                  <c:v>38296</c:v>
                </c:pt>
                <c:pt idx="621">
                  <c:v>38299</c:v>
                </c:pt>
                <c:pt idx="622">
                  <c:v>38300</c:v>
                </c:pt>
                <c:pt idx="623">
                  <c:v>38301</c:v>
                </c:pt>
                <c:pt idx="624">
                  <c:v>38302</c:v>
                </c:pt>
                <c:pt idx="625">
                  <c:v>38303</c:v>
                </c:pt>
                <c:pt idx="626">
                  <c:v>38306</c:v>
                </c:pt>
                <c:pt idx="627">
                  <c:v>38307</c:v>
                </c:pt>
                <c:pt idx="628">
                  <c:v>38308</c:v>
                </c:pt>
                <c:pt idx="629">
                  <c:v>38309</c:v>
                </c:pt>
                <c:pt idx="630">
                  <c:v>38310</c:v>
                </c:pt>
                <c:pt idx="631">
                  <c:v>38313</c:v>
                </c:pt>
                <c:pt idx="632">
                  <c:v>38314</c:v>
                </c:pt>
                <c:pt idx="633">
                  <c:v>38315</c:v>
                </c:pt>
                <c:pt idx="634">
                  <c:v>38316</c:v>
                </c:pt>
                <c:pt idx="635">
                  <c:v>38317</c:v>
                </c:pt>
                <c:pt idx="636">
                  <c:v>38320</c:v>
                </c:pt>
                <c:pt idx="637">
                  <c:v>38321</c:v>
                </c:pt>
                <c:pt idx="638">
                  <c:v>38322</c:v>
                </c:pt>
                <c:pt idx="639">
                  <c:v>38323</c:v>
                </c:pt>
                <c:pt idx="640">
                  <c:v>38324</c:v>
                </c:pt>
                <c:pt idx="641">
                  <c:v>38327</c:v>
                </c:pt>
                <c:pt idx="642">
                  <c:v>38328</c:v>
                </c:pt>
                <c:pt idx="643">
                  <c:v>38329</c:v>
                </c:pt>
                <c:pt idx="644">
                  <c:v>38330</c:v>
                </c:pt>
                <c:pt idx="645">
                  <c:v>38331</c:v>
                </c:pt>
                <c:pt idx="646">
                  <c:v>38334</c:v>
                </c:pt>
                <c:pt idx="647">
                  <c:v>38335</c:v>
                </c:pt>
                <c:pt idx="648">
                  <c:v>38336</c:v>
                </c:pt>
                <c:pt idx="649">
                  <c:v>38337</c:v>
                </c:pt>
                <c:pt idx="650">
                  <c:v>38338</c:v>
                </c:pt>
                <c:pt idx="651">
                  <c:v>38341</c:v>
                </c:pt>
                <c:pt idx="652">
                  <c:v>38342</c:v>
                </c:pt>
                <c:pt idx="653">
                  <c:v>38343</c:v>
                </c:pt>
                <c:pt idx="654">
                  <c:v>38344</c:v>
                </c:pt>
                <c:pt idx="655">
                  <c:v>38345</c:v>
                </c:pt>
                <c:pt idx="656">
                  <c:v>38348</c:v>
                </c:pt>
                <c:pt idx="657">
                  <c:v>38349</c:v>
                </c:pt>
                <c:pt idx="658">
                  <c:v>38350</c:v>
                </c:pt>
                <c:pt idx="659">
                  <c:v>38351</c:v>
                </c:pt>
                <c:pt idx="660">
                  <c:v>38352</c:v>
                </c:pt>
                <c:pt idx="661">
                  <c:v>38356</c:v>
                </c:pt>
                <c:pt idx="662">
                  <c:v>38357</c:v>
                </c:pt>
                <c:pt idx="663">
                  <c:v>38358</c:v>
                </c:pt>
                <c:pt idx="664">
                  <c:v>38359</c:v>
                </c:pt>
                <c:pt idx="665">
                  <c:v>38362</c:v>
                </c:pt>
                <c:pt idx="666">
                  <c:v>38363</c:v>
                </c:pt>
                <c:pt idx="667">
                  <c:v>38364</c:v>
                </c:pt>
                <c:pt idx="668">
                  <c:v>38365</c:v>
                </c:pt>
                <c:pt idx="669">
                  <c:v>38366</c:v>
                </c:pt>
                <c:pt idx="670">
                  <c:v>38369</c:v>
                </c:pt>
                <c:pt idx="671">
                  <c:v>38370</c:v>
                </c:pt>
                <c:pt idx="672">
                  <c:v>38371</c:v>
                </c:pt>
                <c:pt idx="673">
                  <c:v>38372</c:v>
                </c:pt>
                <c:pt idx="674">
                  <c:v>38373</c:v>
                </c:pt>
                <c:pt idx="675">
                  <c:v>38376</c:v>
                </c:pt>
                <c:pt idx="676">
                  <c:v>38377</c:v>
                </c:pt>
                <c:pt idx="677">
                  <c:v>38378</c:v>
                </c:pt>
                <c:pt idx="678">
                  <c:v>38379</c:v>
                </c:pt>
                <c:pt idx="679">
                  <c:v>38380</c:v>
                </c:pt>
                <c:pt idx="680">
                  <c:v>38383</c:v>
                </c:pt>
                <c:pt idx="681">
                  <c:v>38384</c:v>
                </c:pt>
                <c:pt idx="682">
                  <c:v>38385</c:v>
                </c:pt>
                <c:pt idx="683">
                  <c:v>38386</c:v>
                </c:pt>
                <c:pt idx="684">
                  <c:v>38387</c:v>
                </c:pt>
                <c:pt idx="685">
                  <c:v>38399</c:v>
                </c:pt>
                <c:pt idx="686">
                  <c:v>38400</c:v>
                </c:pt>
                <c:pt idx="687">
                  <c:v>38401</c:v>
                </c:pt>
                <c:pt idx="688">
                  <c:v>38404</c:v>
                </c:pt>
                <c:pt idx="689">
                  <c:v>38405</c:v>
                </c:pt>
                <c:pt idx="690">
                  <c:v>38406</c:v>
                </c:pt>
                <c:pt idx="691">
                  <c:v>38407</c:v>
                </c:pt>
                <c:pt idx="692">
                  <c:v>38408</c:v>
                </c:pt>
                <c:pt idx="693">
                  <c:v>38411</c:v>
                </c:pt>
                <c:pt idx="694">
                  <c:v>38412</c:v>
                </c:pt>
                <c:pt idx="695">
                  <c:v>38413</c:v>
                </c:pt>
                <c:pt idx="696">
                  <c:v>38414</c:v>
                </c:pt>
                <c:pt idx="697">
                  <c:v>38415</c:v>
                </c:pt>
                <c:pt idx="698">
                  <c:v>38418</c:v>
                </c:pt>
                <c:pt idx="699">
                  <c:v>38419</c:v>
                </c:pt>
                <c:pt idx="700">
                  <c:v>38420</c:v>
                </c:pt>
                <c:pt idx="701">
                  <c:v>38421</c:v>
                </c:pt>
                <c:pt idx="702">
                  <c:v>38422</c:v>
                </c:pt>
                <c:pt idx="703">
                  <c:v>38425</c:v>
                </c:pt>
                <c:pt idx="704">
                  <c:v>38426</c:v>
                </c:pt>
                <c:pt idx="705">
                  <c:v>38427</c:v>
                </c:pt>
                <c:pt idx="706">
                  <c:v>38428</c:v>
                </c:pt>
                <c:pt idx="707">
                  <c:v>38429</c:v>
                </c:pt>
                <c:pt idx="708">
                  <c:v>38432</c:v>
                </c:pt>
                <c:pt idx="709">
                  <c:v>38433</c:v>
                </c:pt>
                <c:pt idx="710">
                  <c:v>38434</c:v>
                </c:pt>
                <c:pt idx="711">
                  <c:v>38435</c:v>
                </c:pt>
                <c:pt idx="712">
                  <c:v>38436</c:v>
                </c:pt>
                <c:pt idx="713">
                  <c:v>38439</c:v>
                </c:pt>
                <c:pt idx="714">
                  <c:v>38440</c:v>
                </c:pt>
                <c:pt idx="715">
                  <c:v>38441</c:v>
                </c:pt>
                <c:pt idx="716">
                  <c:v>38442</c:v>
                </c:pt>
                <c:pt idx="717">
                  <c:v>38443</c:v>
                </c:pt>
                <c:pt idx="718">
                  <c:v>38446</c:v>
                </c:pt>
                <c:pt idx="719">
                  <c:v>38447</c:v>
                </c:pt>
                <c:pt idx="720">
                  <c:v>38448</c:v>
                </c:pt>
                <c:pt idx="721">
                  <c:v>38449</c:v>
                </c:pt>
                <c:pt idx="722">
                  <c:v>38450</c:v>
                </c:pt>
                <c:pt idx="723">
                  <c:v>38453</c:v>
                </c:pt>
                <c:pt idx="724">
                  <c:v>38454</c:v>
                </c:pt>
                <c:pt idx="725">
                  <c:v>38455</c:v>
                </c:pt>
                <c:pt idx="726">
                  <c:v>38456</c:v>
                </c:pt>
                <c:pt idx="727">
                  <c:v>38457</c:v>
                </c:pt>
                <c:pt idx="728">
                  <c:v>38460</c:v>
                </c:pt>
                <c:pt idx="729">
                  <c:v>38461</c:v>
                </c:pt>
                <c:pt idx="730">
                  <c:v>38462</c:v>
                </c:pt>
                <c:pt idx="731">
                  <c:v>38463</c:v>
                </c:pt>
                <c:pt idx="732">
                  <c:v>38464</c:v>
                </c:pt>
                <c:pt idx="733">
                  <c:v>38467</c:v>
                </c:pt>
                <c:pt idx="734">
                  <c:v>38468</c:v>
                </c:pt>
                <c:pt idx="735">
                  <c:v>38469</c:v>
                </c:pt>
                <c:pt idx="736">
                  <c:v>38470</c:v>
                </c:pt>
                <c:pt idx="737">
                  <c:v>38471</c:v>
                </c:pt>
                <c:pt idx="738">
                  <c:v>38481</c:v>
                </c:pt>
                <c:pt idx="739">
                  <c:v>38482</c:v>
                </c:pt>
                <c:pt idx="740">
                  <c:v>38483</c:v>
                </c:pt>
                <c:pt idx="741">
                  <c:v>38484</c:v>
                </c:pt>
                <c:pt idx="742">
                  <c:v>38485</c:v>
                </c:pt>
                <c:pt idx="743">
                  <c:v>38488</c:v>
                </c:pt>
                <c:pt idx="744">
                  <c:v>38489</c:v>
                </c:pt>
                <c:pt idx="745">
                  <c:v>38490</c:v>
                </c:pt>
                <c:pt idx="746">
                  <c:v>38491</c:v>
                </c:pt>
                <c:pt idx="747">
                  <c:v>38492</c:v>
                </c:pt>
                <c:pt idx="748">
                  <c:v>38495</c:v>
                </c:pt>
                <c:pt idx="749">
                  <c:v>38496</c:v>
                </c:pt>
                <c:pt idx="750">
                  <c:v>38497</c:v>
                </c:pt>
                <c:pt idx="751">
                  <c:v>38498</c:v>
                </c:pt>
                <c:pt idx="752">
                  <c:v>38499</c:v>
                </c:pt>
                <c:pt idx="753">
                  <c:v>38502</c:v>
                </c:pt>
                <c:pt idx="754">
                  <c:v>38503</c:v>
                </c:pt>
                <c:pt idx="755">
                  <c:v>38504</c:v>
                </c:pt>
                <c:pt idx="756">
                  <c:v>38505</c:v>
                </c:pt>
                <c:pt idx="757">
                  <c:v>38506</c:v>
                </c:pt>
                <c:pt idx="758">
                  <c:v>38509</c:v>
                </c:pt>
                <c:pt idx="759">
                  <c:v>38510</c:v>
                </c:pt>
                <c:pt idx="760">
                  <c:v>38511</c:v>
                </c:pt>
                <c:pt idx="761">
                  <c:v>38512</c:v>
                </c:pt>
                <c:pt idx="762">
                  <c:v>38513</c:v>
                </c:pt>
                <c:pt idx="763">
                  <c:v>38516</c:v>
                </c:pt>
                <c:pt idx="764">
                  <c:v>38517</c:v>
                </c:pt>
                <c:pt idx="765">
                  <c:v>38518</c:v>
                </c:pt>
                <c:pt idx="766">
                  <c:v>38519</c:v>
                </c:pt>
                <c:pt idx="767">
                  <c:v>38520</c:v>
                </c:pt>
                <c:pt idx="768">
                  <c:v>38523</c:v>
                </c:pt>
                <c:pt idx="769">
                  <c:v>38524</c:v>
                </c:pt>
                <c:pt idx="770">
                  <c:v>38525</c:v>
                </c:pt>
                <c:pt idx="771">
                  <c:v>38526</c:v>
                </c:pt>
                <c:pt idx="772">
                  <c:v>38527</c:v>
                </c:pt>
                <c:pt idx="773">
                  <c:v>38530</c:v>
                </c:pt>
                <c:pt idx="774">
                  <c:v>38531</c:v>
                </c:pt>
                <c:pt idx="775">
                  <c:v>38532</c:v>
                </c:pt>
                <c:pt idx="776">
                  <c:v>38533</c:v>
                </c:pt>
                <c:pt idx="777">
                  <c:v>38534</c:v>
                </c:pt>
                <c:pt idx="778">
                  <c:v>38537</c:v>
                </c:pt>
                <c:pt idx="779">
                  <c:v>38538</c:v>
                </c:pt>
                <c:pt idx="780">
                  <c:v>38539</c:v>
                </c:pt>
                <c:pt idx="781">
                  <c:v>38540</c:v>
                </c:pt>
                <c:pt idx="782">
                  <c:v>38541</c:v>
                </c:pt>
                <c:pt idx="783">
                  <c:v>38544</c:v>
                </c:pt>
                <c:pt idx="784">
                  <c:v>38545</c:v>
                </c:pt>
                <c:pt idx="785">
                  <c:v>38546</c:v>
                </c:pt>
                <c:pt idx="786">
                  <c:v>38547</c:v>
                </c:pt>
                <c:pt idx="787">
                  <c:v>38548</c:v>
                </c:pt>
                <c:pt idx="788">
                  <c:v>38551</c:v>
                </c:pt>
                <c:pt idx="789">
                  <c:v>38552</c:v>
                </c:pt>
                <c:pt idx="790">
                  <c:v>38553</c:v>
                </c:pt>
                <c:pt idx="791">
                  <c:v>38554</c:v>
                </c:pt>
                <c:pt idx="792">
                  <c:v>38555</c:v>
                </c:pt>
                <c:pt idx="793">
                  <c:v>38558</c:v>
                </c:pt>
                <c:pt idx="794">
                  <c:v>38559</c:v>
                </c:pt>
                <c:pt idx="795">
                  <c:v>38560</c:v>
                </c:pt>
                <c:pt idx="796">
                  <c:v>38561</c:v>
                </c:pt>
                <c:pt idx="797">
                  <c:v>38562</c:v>
                </c:pt>
                <c:pt idx="798">
                  <c:v>38565</c:v>
                </c:pt>
                <c:pt idx="799">
                  <c:v>38566</c:v>
                </c:pt>
                <c:pt idx="800">
                  <c:v>38567</c:v>
                </c:pt>
                <c:pt idx="801">
                  <c:v>38568</c:v>
                </c:pt>
                <c:pt idx="802">
                  <c:v>38569</c:v>
                </c:pt>
                <c:pt idx="803">
                  <c:v>38572</c:v>
                </c:pt>
                <c:pt idx="804">
                  <c:v>38573</c:v>
                </c:pt>
                <c:pt idx="805">
                  <c:v>38574</c:v>
                </c:pt>
                <c:pt idx="806">
                  <c:v>38575</c:v>
                </c:pt>
                <c:pt idx="807">
                  <c:v>38576</c:v>
                </c:pt>
                <c:pt idx="808">
                  <c:v>38579</c:v>
                </c:pt>
                <c:pt idx="809">
                  <c:v>38580</c:v>
                </c:pt>
                <c:pt idx="810">
                  <c:v>38581</c:v>
                </c:pt>
                <c:pt idx="811">
                  <c:v>38582</c:v>
                </c:pt>
                <c:pt idx="812">
                  <c:v>38583</c:v>
                </c:pt>
                <c:pt idx="813">
                  <c:v>38586</c:v>
                </c:pt>
                <c:pt idx="814">
                  <c:v>38587</c:v>
                </c:pt>
                <c:pt idx="815">
                  <c:v>38588</c:v>
                </c:pt>
                <c:pt idx="816">
                  <c:v>38589</c:v>
                </c:pt>
                <c:pt idx="817">
                  <c:v>38590</c:v>
                </c:pt>
                <c:pt idx="818">
                  <c:v>38593</c:v>
                </c:pt>
                <c:pt idx="819">
                  <c:v>38594</c:v>
                </c:pt>
                <c:pt idx="820">
                  <c:v>38595</c:v>
                </c:pt>
                <c:pt idx="821">
                  <c:v>38596</c:v>
                </c:pt>
                <c:pt idx="822">
                  <c:v>38597</c:v>
                </c:pt>
                <c:pt idx="823">
                  <c:v>38600</c:v>
                </c:pt>
                <c:pt idx="824">
                  <c:v>38601</c:v>
                </c:pt>
                <c:pt idx="825">
                  <c:v>38602</c:v>
                </c:pt>
                <c:pt idx="826">
                  <c:v>38603</c:v>
                </c:pt>
                <c:pt idx="827">
                  <c:v>38604</c:v>
                </c:pt>
                <c:pt idx="828">
                  <c:v>38607</c:v>
                </c:pt>
                <c:pt idx="829">
                  <c:v>38608</c:v>
                </c:pt>
                <c:pt idx="830">
                  <c:v>38609</c:v>
                </c:pt>
                <c:pt idx="831">
                  <c:v>38610</c:v>
                </c:pt>
                <c:pt idx="832">
                  <c:v>38611</c:v>
                </c:pt>
                <c:pt idx="833">
                  <c:v>38614</c:v>
                </c:pt>
                <c:pt idx="834">
                  <c:v>38615</c:v>
                </c:pt>
                <c:pt idx="835">
                  <c:v>38616</c:v>
                </c:pt>
                <c:pt idx="836">
                  <c:v>38617</c:v>
                </c:pt>
                <c:pt idx="837">
                  <c:v>38618</c:v>
                </c:pt>
                <c:pt idx="838">
                  <c:v>38621</c:v>
                </c:pt>
                <c:pt idx="839">
                  <c:v>38622</c:v>
                </c:pt>
                <c:pt idx="840">
                  <c:v>38623</c:v>
                </c:pt>
                <c:pt idx="841">
                  <c:v>38624</c:v>
                </c:pt>
                <c:pt idx="842">
                  <c:v>38625</c:v>
                </c:pt>
                <c:pt idx="843">
                  <c:v>38635</c:v>
                </c:pt>
                <c:pt idx="844">
                  <c:v>38636</c:v>
                </c:pt>
                <c:pt idx="845">
                  <c:v>38637</c:v>
                </c:pt>
                <c:pt idx="846">
                  <c:v>38638</c:v>
                </c:pt>
                <c:pt idx="847">
                  <c:v>38639</c:v>
                </c:pt>
                <c:pt idx="848">
                  <c:v>38642</c:v>
                </c:pt>
                <c:pt idx="849">
                  <c:v>38643</c:v>
                </c:pt>
                <c:pt idx="850">
                  <c:v>38644</c:v>
                </c:pt>
                <c:pt idx="851">
                  <c:v>38645</c:v>
                </c:pt>
                <c:pt idx="852">
                  <c:v>38646</c:v>
                </c:pt>
                <c:pt idx="853">
                  <c:v>38649</c:v>
                </c:pt>
                <c:pt idx="854">
                  <c:v>38650</c:v>
                </c:pt>
                <c:pt idx="855">
                  <c:v>38651</c:v>
                </c:pt>
                <c:pt idx="856">
                  <c:v>38652</c:v>
                </c:pt>
                <c:pt idx="857">
                  <c:v>38653</c:v>
                </c:pt>
                <c:pt idx="858">
                  <c:v>38656</c:v>
                </c:pt>
                <c:pt idx="859">
                  <c:v>38657</c:v>
                </c:pt>
                <c:pt idx="860">
                  <c:v>38658</c:v>
                </c:pt>
                <c:pt idx="861">
                  <c:v>38659</c:v>
                </c:pt>
                <c:pt idx="862">
                  <c:v>38660</c:v>
                </c:pt>
                <c:pt idx="863">
                  <c:v>38663</c:v>
                </c:pt>
                <c:pt idx="864">
                  <c:v>38664</c:v>
                </c:pt>
                <c:pt idx="865">
                  <c:v>38665</c:v>
                </c:pt>
                <c:pt idx="866">
                  <c:v>38666</c:v>
                </c:pt>
                <c:pt idx="867">
                  <c:v>38667</c:v>
                </c:pt>
                <c:pt idx="868">
                  <c:v>38670</c:v>
                </c:pt>
                <c:pt idx="869">
                  <c:v>38671</c:v>
                </c:pt>
                <c:pt idx="870">
                  <c:v>38672</c:v>
                </c:pt>
                <c:pt idx="871">
                  <c:v>38673</c:v>
                </c:pt>
                <c:pt idx="872">
                  <c:v>38674</c:v>
                </c:pt>
                <c:pt idx="873">
                  <c:v>38677</c:v>
                </c:pt>
                <c:pt idx="874">
                  <c:v>38678</c:v>
                </c:pt>
                <c:pt idx="875">
                  <c:v>38679</c:v>
                </c:pt>
                <c:pt idx="876">
                  <c:v>38680</c:v>
                </c:pt>
                <c:pt idx="877">
                  <c:v>38681</c:v>
                </c:pt>
                <c:pt idx="878">
                  <c:v>38684</c:v>
                </c:pt>
                <c:pt idx="879">
                  <c:v>38685</c:v>
                </c:pt>
                <c:pt idx="880">
                  <c:v>38686</c:v>
                </c:pt>
                <c:pt idx="881">
                  <c:v>38687</c:v>
                </c:pt>
                <c:pt idx="882">
                  <c:v>38688</c:v>
                </c:pt>
                <c:pt idx="883">
                  <c:v>38691</c:v>
                </c:pt>
                <c:pt idx="884">
                  <c:v>38692</c:v>
                </c:pt>
                <c:pt idx="885">
                  <c:v>38693</c:v>
                </c:pt>
                <c:pt idx="886">
                  <c:v>38694</c:v>
                </c:pt>
                <c:pt idx="887">
                  <c:v>38695</c:v>
                </c:pt>
                <c:pt idx="888">
                  <c:v>38698</c:v>
                </c:pt>
                <c:pt idx="889">
                  <c:v>38699</c:v>
                </c:pt>
                <c:pt idx="890">
                  <c:v>38700</c:v>
                </c:pt>
                <c:pt idx="891">
                  <c:v>38701</c:v>
                </c:pt>
                <c:pt idx="892">
                  <c:v>38702</c:v>
                </c:pt>
                <c:pt idx="893">
                  <c:v>38705</c:v>
                </c:pt>
                <c:pt idx="894">
                  <c:v>38706</c:v>
                </c:pt>
                <c:pt idx="895">
                  <c:v>38707</c:v>
                </c:pt>
                <c:pt idx="896">
                  <c:v>38708</c:v>
                </c:pt>
                <c:pt idx="897">
                  <c:v>38709</c:v>
                </c:pt>
                <c:pt idx="898">
                  <c:v>38712</c:v>
                </c:pt>
                <c:pt idx="899">
                  <c:v>38713</c:v>
                </c:pt>
                <c:pt idx="900">
                  <c:v>38714</c:v>
                </c:pt>
                <c:pt idx="901">
                  <c:v>38715</c:v>
                </c:pt>
                <c:pt idx="902">
                  <c:v>38716</c:v>
                </c:pt>
                <c:pt idx="903">
                  <c:v>38721</c:v>
                </c:pt>
                <c:pt idx="904">
                  <c:v>38722</c:v>
                </c:pt>
                <c:pt idx="905">
                  <c:v>38723</c:v>
                </c:pt>
                <c:pt idx="906">
                  <c:v>38726</c:v>
                </c:pt>
                <c:pt idx="907">
                  <c:v>38727</c:v>
                </c:pt>
                <c:pt idx="908">
                  <c:v>38728</c:v>
                </c:pt>
                <c:pt idx="909">
                  <c:v>38729</c:v>
                </c:pt>
                <c:pt idx="910">
                  <c:v>38730</c:v>
                </c:pt>
                <c:pt idx="911">
                  <c:v>38733</c:v>
                </c:pt>
                <c:pt idx="912">
                  <c:v>38734</c:v>
                </c:pt>
                <c:pt idx="913">
                  <c:v>38735</c:v>
                </c:pt>
                <c:pt idx="914">
                  <c:v>38736</c:v>
                </c:pt>
                <c:pt idx="915">
                  <c:v>38737</c:v>
                </c:pt>
                <c:pt idx="916">
                  <c:v>38740</c:v>
                </c:pt>
                <c:pt idx="917">
                  <c:v>38741</c:v>
                </c:pt>
                <c:pt idx="918">
                  <c:v>38742</c:v>
                </c:pt>
                <c:pt idx="919">
                  <c:v>38754</c:v>
                </c:pt>
                <c:pt idx="920">
                  <c:v>38755</c:v>
                </c:pt>
                <c:pt idx="921">
                  <c:v>38756</c:v>
                </c:pt>
                <c:pt idx="922">
                  <c:v>38757</c:v>
                </c:pt>
                <c:pt idx="923">
                  <c:v>38758</c:v>
                </c:pt>
                <c:pt idx="924">
                  <c:v>38761</c:v>
                </c:pt>
                <c:pt idx="925">
                  <c:v>38762</c:v>
                </c:pt>
                <c:pt idx="926">
                  <c:v>38763</c:v>
                </c:pt>
                <c:pt idx="927">
                  <c:v>38764</c:v>
                </c:pt>
                <c:pt idx="928">
                  <c:v>38765</c:v>
                </c:pt>
                <c:pt idx="929">
                  <c:v>38768</c:v>
                </c:pt>
                <c:pt idx="930">
                  <c:v>38769</c:v>
                </c:pt>
                <c:pt idx="931">
                  <c:v>38770</c:v>
                </c:pt>
                <c:pt idx="932">
                  <c:v>38771</c:v>
                </c:pt>
                <c:pt idx="933">
                  <c:v>38772</c:v>
                </c:pt>
                <c:pt idx="934">
                  <c:v>38775</c:v>
                </c:pt>
                <c:pt idx="935">
                  <c:v>38776</c:v>
                </c:pt>
                <c:pt idx="936">
                  <c:v>38777</c:v>
                </c:pt>
                <c:pt idx="937">
                  <c:v>38778</c:v>
                </c:pt>
                <c:pt idx="938">
                  <c:v>38779</c:v>
                </c:pt>
                <c:pt idx="939">
                  <c:v>38782</c:v>
                </c:pt>
                <c:pt idx="940">
                  <c:v>38783</c:v>
                </c:pt>
                <c:pt idx="941">
                  <c:v>38784</c:v>
                </c:pt>
                <c:pt idx="942">
                  <c:v>38785</c:v>
                </c:pt>
                <c:pt idx="943">
                  <c:v>38786</c:v>
                </c:pt>
                <c:pt idx="944">
                  <c:v>38789</c:v>
                </c:pt>
                <c:pt idx="945">
                  <c:v>38790</c:v>
                </c:pt>
                <c:pt idx="946">
                  <c:v>38791</c:v>
                </c:pt>
                <c:pt idx="947">
                  <c:v>38792</c:v>
                </c:pt>
                <c:pt idx="948">
                  <c:v>38793</c:v>
                </c:pt>
                <c:pt idx="949">
                  <c:v>38796</c:v>
                </c:pt>
                <c:pt idx="950">
                  <c:v>38797</c:v>
                </c:pt>
                <c:pt idx="951">
                  <c:v>38798</c:v>
                </c:pt>
                <c:pt idx="952">
                  <c:v>38799</c:v>
                </c:pt>
                <c:pt idx="953">
                  <c:v>38800</c:v>
                </c:pt>
                <c:pt idx="954">
                  <c:v>38803</c:v>
                </c:pt>
                <c:pt idx="955">
                  <c:v>38804</c:v>
                </c:pt>
                <c:pt idx="956">
                  <c:v>38805</c:v>
                </c:pt>
                <c:pt idx="957">
                  <c:v>38806</c:v>
                </c:pt>
                <c:pt idx="958">
                  <c:v>38807</c:v>
                </c:pt>
                <c:pt idx="959">
                  <c:v>38810</c:v>
                </c:pt>
                <c:pt idx="960">
                  <c:v>38811</c:v>
                </c:pt>
                <c:pt idx="961">
                  <c:v>38812</c:v>
                </c:pt>
                <c:pt idx="962">
                  <c:v>38813</c:v>
                </c:pt>
                <c:pt idx="963">
                  <c:v>38814</c:v>
                </c:pt>
                <c:pt idx="964">
                  <c:v>38817</c:v>
                </c:pt>
                <c:pt idx="965">
                  <c:v>38818</c:v>
                </c:pt>
                <c:pt idx="966">
                  <c:v>38819</c:v>
                </c:pt>
                <c:pt idx="967">
                  <c:v>38820</c:v>
                </c:pt>
                <c:pt idx="968">
                  <c:v>38821</c:v>
                </c:pt>
                <c:pt idx="969">
                  <c:v>38824</c:v>
                </c:pt>
                <c:pt idx="970">
                  <c:v>38825</c:v>
                </c:pt>
                <c:pt idx="971">
                  <c:v>38826</c:v>
                </c:pt>
                <c:pt idx="972">
                  <c:v>38827</c:v>
                </c:pt>
                <c:pt idx="973">
                  <c:v>38828</c:v>
                </c:pt>
                <c:pt idx="974">
                  <c:v>38831</c:v>
                </c:pt>
                <c:pt idx="975">
                  <c:v>38832</c:v>
                </c:pt>
                <c:pt idx="976">
                  <c:v>38833</c:v>
                </c:pt>
                <c:pt idx="977">
                  <c:v>38834</c:v>
                </c:pt>
                <c:pt idx="978">
                  <c:v>38835</c:v>
                </c:pt>
                <c:pt idx="979">
                  <c:v>38845</c:v>
                </c:pt>
                <c:pt idx="980">
                  <c:v>38846</c:v>
                </c:pt>
                <c:pt idx="981">
                  <c:v>38847</c:v>
                </c:pt>
                <c:pt idx="982">
                  <c:v>38848</c:v>
                </c:pt>
                <c:pt idx="983">
                  <c:v>38849</c:v>
                </c:pt>
                <c:pt idx="984">
                  <c:v>38852</c:v>
                </c:pt>
                <c:pt idx="985">
                  <c:v>38853</c:v>
                </c:pt>
                <c:pt idx="986">
                  <c:v>38854</c:v>
                </c:pt>
                <c:pt idx="987">
                  <c:v>38855</c:v>
                </c:pt>
                <c:pt idx="988">
                  <c:v>38856</c:v>
                </c:pt>
                <c:pt idx="989">
                  <c:v>38859</c:v>
                </c:pt>
                <c:pt idx="990">
                  <c:v>38860</c:v>
                </c:pt>
                <c:pt idx="991">
                  <c:v>38861</c:v>
                </c:pt>
                <c:pt idx="992">
                  <c:v>38862</c:v>
                </c:pt>
                <c:pt idx="993">
                  <c:v>38863</c:v>
                </c:pt>
                <c:pt idx="994">
                  <c:v>38866</c:v>
                </c:pt>
                <c:pt idx="995">
                  <c:v>38867</c:v>
                </c:pt>
                <c:pt idx="996">
                  <c:v>38868</c:v>
                </c:pt>
                <c:pt idx="997">
                  <c:v>38869</c:v>
                </c:pt>
                <c:pt idx="998">
                  <c:v>38870</c:v>
                </c:pt>
                <c:pt idx="999">
                  <c:v>38873</c:v>
                </c:pt>
                <c:pt idx="1000">
                  <c:v>38874</c:v>
                </c:pt>
                <c:pt idx="1001">
                  <c:v>38875</c:v>
                </c:pt>
                <c:pt idx="1002">
                  <c:v>38876</c:v>
                </c:pt>
                <c:pt idx="1003">
                  <c:v>38877</c:v>
                </c:pt>
                <c:pt idx="1004">
                  <c:v>38880</c:v>
                </c:pt>
                <c:pt idx="1005">
                  <c:v>38881</c:v>
                </c:pt>
                <c:pt idx="1006">
                  <c:v>38882</c:v>
                </c:pt>
                <c:pt idx="1007">
                  <c:v>38883</c:v>
                </c:pt>
                <c:pt idx="1008">
                  <c:v>38884</c:v>
                </c:pt>
                <c:pt idx="1009">
                  <c:v>38887</c:v>
                </c:pt>
                <c:pt idx="1010">
                  <c:v>38888</c:v>
                </c:pt>
                <c:pt idx="1011">
                  <c:v>38889</c:v>
                </c:pt>
                <c:pt idx="1012">
                  <c:v>38890</c:v>
                </c:pt>
                <c:pt idx="1013">
                  <c:v>38891</c:v>
                </c:pt>
                <c:pt idx="1014">
                  <c:v>38894</c:v>
                </c:pt>
                <c:pt idx="1015">
                  <c:v>38895</c:v>
                </c:pt>
                <c:pt idx="1016">
                  <c:v>38896</c:v>
                </c:pt>
                <c:pt idx="1017">
                  <c:v>38897</c:v>
                </c:pt>
                <c:pt idx="1018">
                  <c:v>38898</c:v>
                </c:pt>
                <c:pt idx="1019">
                  <c:v>38901</c:v>
                </c:pt>
                <c:pt idx="1020">
                  <c:v>38902</c:v>
                </c:pt>
                <c:pt idx="1021">
                  <c:v>38903</c:v>
                </c:pt>
                <c:pt idx="1022">
                  <c:v>38904</c:v>
                </c:pt>
                <c:pt idx="1023">
                  <c:v>38905</c:v>
                </c:pt>
                <c:pt idx="1024">
                  <c:v>38908</c:v>
                </c:pt>
                <c:pt idx="1025">
                  <c:v>38909</c:v>
                </c:pt>
                <c:pt idx="1026">
                  <c:v>38910</c:v>
                </c:pt>
                <c:pt idx="1027">
                  <c:v>38911</c:v>
                </c:pt>
                <c:pt idx="1028">
                  <c:v>38912</c:v>
                </c:pt>
                <c:pt idx="1029">
                  <c:v>38915</c:v>
                </c:pt>
                <c:pt idx="1030">
                  <c:v>38916</c:v>
                </c:pt>
                <c:pt idx="1031">
                  <c:v>38917</c:v>
                </c:pt>
                <c:pt idx="1032">
                  <c:v>38918</c:v>
                </c:pt>
                <c:pt idx="1033">
                  <c:v>38919</c:v>
                </c:pt>
                <c:pt idx="1034">
                  <c:v>38922</c:v>
                </c:pt>
                <c:pt idx="1035">
                  <c:v>38923</c:v>
                </c:pt>
                <c:pt idx="1036">
                  <c:v>38924</c:v>
                </c:pt>
                <c:pt idx="1037">
                  <c:v>38925</c:v>
                </c:pt>
                <c:pt idx="1038">
                  <c:v>38926</c:v>
                </c:pt>
                <c:pt idx="1039">
                  <c:v>38929</c:v>
                </c:pt>
                <c:pt idx="1040">
                  <c:v>38930</c:v>
                </c:pt>
                <c:pt idx="1041">
                  <c:v>38931</c:v>
                </c:pt>
                <c:pt idx="1042">
                  <c:v>38932</c:v>
                </c:pt>
                <c:pt idx="1043">
                  <c:v>38933</c:v>
                </c:pt>
                <c:pt idx="1044">
                  <c:v>38936</c:v>
                </c:pt>
                <c:pt idx="1045">
                  <c:v>38937</c:v>
                </c:pt>
                <c:pt idx="1046">
                  <c:v>38938</c:v>
                </c:pt>
                <c:pt idx="1047">
                  <c:v>38939</c:v>
                </c:pt>
                <c:pt idx="1048">
                  <c:v>38940</c:v>
                </c:pt>
                <c:pt idx="1049">
                  <c:v>38943</c:v>
                </c:pt>
                <c:pt idx="1050">
                  <c:v>38944</c:v>
                </c:pt>
                <c:pt idx="1051">
                  <c:v>38945</c:v>
                </c:pt>
                <c:pt idx="1052">
                  <c:v>38946</c:v>
                </c:pt>
                <c:pt idx="1053">
                  <c:v>38947</c:v>
                </c:pt>
                <c:pt idx="1054">
                  <c:v>38950</c:v>
                </c:pt>
                <c:pt idx="1055">
                  <c:v>38951</c:v>
                </c:pt>
                <c:pt idx="1056">
                  <c:v>38952</c:v>
                </c:pt>
                <c:pt idx="1057">
                  <c:v>38953</c:v>
                </c:pt>
                <c:pt idx="1058">
                  <c:v>38954</c:v>
                </c:pt>
                <c:pt idx="1059">
                  <c:v>38957</c:v>
                </c:pt>
                <c:pt idx="1060">
                  <c:v>38958</c:v>
                </c:pt>
                <c:pt idx="1061">
                  <c:v>38959</c:v>
                </c:pt>
                <c:pt idx="1062">
                  <c:v>38960</c:v>
                </c:pt>
                <c:pt idx="1063">
                  <c:v>38961</c:v>
                </c:pt>
                <c:pt idx="1064">
                  <c:v>38964</c:v>
                </c:pt>
                <c:pt idx="1065">
                  <c:v>38965</c:v>
                </c:pt>
                <c:pt idx="1066">
                  <c:v>38966</c:v>
                </c:pt>
                <c:pt idx="1067">
                  <c:v>38967</c:v>
                </c:pt>
                <c:pt idx="1068">
                  <c:v>38968</c:v>
                </c:pt>
                <c:pt idx="1069">
                  <c:v>38971</c:v>
                </c:pt>
                <c:pt idx="1070">
                  <c:v>38972</c:v>
                </c:pt>
                <c:pt idx="1071">
                  <c:v>38973</c:v>
                </c:pt>
                <c:pt idx="1072">
                  <c:v>38974</c:v>
                </c:pt>
                <c:pt idx="1073">
                  <c:v>38975</c:v>
                </c:pt>
                <c:pt idx="1074">
                  <c:v>38978</c:v>
                </c:pt>
                <c:pt idx="1075">
                  <c:v>38979</c:v>
                </c:pt>
                <c:pt idx="1076">
                  <c:v>38980</c:v>
                </c:pt>
                <c:pt idx="1077">
                  <c:v>38981</c:v>
                </c:pt>
                <c:pt idx="1078">
                  <c:v>38982</c:v>
                </c:pt>
                <c:pt idx="1079">
                  <c:v>38985</c:v>
                </c:pt>
                <c:pt idx="1080">
                  <c:v>38986</c:v>
                </c:pt>
                <c:pt idx="1081">
                  <c:v>38987</c:v>
                </c:pt>
                <c:pt idx="1082">
                  <c:v>38988</c:v>
                </c:pt>
                <c:pt idx="1083">
                  <c:v>38989</c:v>
                </c:pt>
                <c:pt idx="1084">
                  <c:v>38999</c:v>
                </c:pt>
                <c:pt idx="1085">
                  <c:v>39000</c:v>
                </c:pt>
                <c:pt idx="1086">
                  <c:v>39001</c:v>
                </c:pt>
                <c:pt idx="1087">
                  <c:v>39002</c:v>
                </c:pt>
                <c:pt idx="1088">
                  <c:v>39003</c:v>
                </c:pt>
                <c:pt idx="1089">
                  <c:v>39006</c:v>
                </c:pt>
                <c:pt idx="1090">
                  <c:v>39007</c:v>
                </c:pt>
                <c:pt idx="1091">
                  <c:v>39008</c:v>
                </c:pt>
                <c:pt idx="1092">
                  <c:v>39009</c:v>
                </c:pt>
                <c:pt idx="1093">
                  <c:v>39010</c:v>
                </c:pt>
                <c:pt idx="1094">
                  <c:v>39013</c:v>
                </c:pt>
                <c:pt idx="1095">
                  <c:v>39014</c:v>
                </c:pt>
                <c:pt idx="1096">
                  <c:v>39015</c:v>
                </c:pt>
                <c:pt idx="1097">
                  <c:v>39016</c:v>
                </c:pt>
                <c:pt idx="1098">
                  <c:v>39017</c:v>
                </c:pt>
                <c:pt idx="1099">
                  <c:v>39020</c:v>
                </c:pt>
                <c:pt idx="1100">
                  <c:v>39021</c:v>
                </c:pt>
                <c:pt idx="1101">
                  <c:v>39022</c:v>
                </c:pt>
                <c:pt idx="1102">
                  <c:v>39023</c:v>
                </c:pt>
                <c:pt idx="1103">
                  <c:v>39024</c:v>
                </c:pt>
                <c:pt idx="1104">
                  <c:v>39027</c:v>
                </c:pt>
                <c:pt idx="1105">
                  <c:v>39028</c:v>
                </c:pt>
                <c:pt idx="1106">
                  <c:v>39029</c:v>
                </c:pt>
                <c:pt idx="1107">
                  <c:v>39030</c:v>
                </c:pt>
                <c:pt idx="1108">
                  <c:v>39031</c:v>
                </c:pt>
                <c:pt idx="1109">
                  <c:v>39034</c:v>
                </c:pt>
                <c:pt idx="1110">
                  <c:v>39035</c:v>
                </c:pt>
                <c:pt idx="1111">
                  <c:v>39036</c:v>
                </c:pt>
                <c:pt idx="1112">
                  <c:v>39037</c:v>
                </c:pt>
                <c:pt idx="1113">
                  <c:v>39038</c:v>
                </c:pt>
                <c:pt idx="1114">
                  <c:v>39041</c:v>
                </c:pt>
                <c:pt idx="1115">
                  <c:v>39042</c:v>
                </c:pt>
                <c:pt idx="1116">
                  <c:v>39043</c:v>
                </c:pt>
                <c:pt idx="1117">
                  <c:v>39044</c:v>
                </c:pt>
                <c:pt idx="1118">
                  <c:v>39045</c:v>
                </c:pt>
                <c:pt idx="1119">
                  <c:v>39048</c:v>
                </c:pt>
                <c:pt idx="1120">
                  <c:v>39049</c:v>
                </c:pt>
                <c:pt idx="1121">
                  <c:v>39050</c:v>
                </c:pt>
                <c:pt idx="1122">
                  <c:v>39051</c:v>
                </c:pt>
                <c:pt idx="1123">
                  <c:v>39052</c:v>
                </c:pt>
                <c:pt idx="1124">
                  <c:v>39055</c:v>
                </c:pt>
                <c:pt idx="1125">
                  <c:v>39056</c:v>
                </c:pt>
                <c:pt idx="1126">
                  <c:v>39057</c:v>
                </c:pt>
                <c:pt idx="1127">
                  <c:v>39058</c:v>
                </c:pt>
                <c:pt idx="1128">
                  <c:v>39059</c:v>
                </c:pt>
                <c:pt idx="1129">
                  <c:v>39062</c:v>
                </c:pt>
                <c:pt idx="1130">
                  <c:v>39063</c:v>
                </c:pt>
                <c:pt idx="1131">
                  <c:v>39064</c:v>
                </c:pt>
                <c:pt idx="1132">
                  <c:v>39065</c:v>
                </c:pt>
                <c:pt idx="1133">
                  <c:v>39066</c:v>
                </c:pt>
                <c:pt idx="1134">
                  <c:v>39069</c:v>
                </c:pt>
                <c:pt idx="1135">
                  <c:v>39070</c:v>
                </c:pt>
                <c:pt idx="1136">
                  <c:v>39071</c:v>
                </c:pt>
                <c:pt idx="1137">
                  <c:v>39072</c:v>
                </c:pt>
                <c:pt idx="1138">
                  <c:v>39073</c:v>
                </c:pt>
                <c:pt idx="1139">
                  <c:v>39076</c:v>
                </c:pt>
                <c:pt idx="1140">
                  <c:v>39077</c:v>
                </c:pt>
                <c:pt idx="1141">
                  <c:v>39078</c:v>
                </c:pt>
                <c:pt idx="1142">
                  <c:v>39079</c:v>
                </c:pt>
                <c:pt idx="1143">
                  <c:v>39080</c:v>
                </c:pt>
                <c:pt idx="1144">
                  <c:v>39086</c:v>
                </c:pt>
                <c:pt idx="1145">
                  <c:v>39087</c:v>
                </c:pt>
                <c:pt idx="1146">
                  <c:v>39090</c:v>
                </c:pt>
                <c:pt idx="1147">
                  <c:v>39091</c:v>
                </c:pt>
                <c:pt idx="1148">
                  <c:v>39092</c:v>
                </c:pt>
                <c:pt idx="1149">
                  <c:v>39093</c:v>
                </c:pt>
                <c:pt idx="1150">
                  <c:v>39094</c:v>
                </c:pt>
                <c:pt idx="1151">
                  <c:v>39097</c:v>
                </c:pt>
                <c:pt idx="1152">
                  <c:v>39098</c:v>
                </c:pt>
                <c:pt idx="1153">
                  <c:v>39099</c:v>
                </c:pt>
                <c:pt idx="1154">
                  <c:v>39100</c:v>
                </c:pt>
                <c:pt idx="1155">
                  <c:v>39101</c:v>
                </c:pt>
                <c:pt idx="1156">
                  <c:v>39104</c:v>
                </c:pt>
                <c:pt idx="1157">
                  <c:v>39105</c:v>
                </c:pt>
                <c:pt idx="1158">
                  <c:v>39106</c:v>
                </c:pt>
                <c:pt idx="1159">
                  <c:v>39107</c:v>
                </c:pt>
                <c:pt idx="1160">
                  <c:v>39108</c:v>
                </c:pt>
                <c:pt idx="1161">
                  <c:v>39111</c:v>
                </c:pt>
                <c:pt idx="1162">
                  <c:v>39112</c:v>
                </c:pt>
                <c:pt idx="1163">
                  <c:v>39113</c:v>
                </c:pt>
                <c:pt idx="1164">
                  <c:v>39114</c:v>
                </c:pt>
                <c:pt idx="1165">
                  <c:v>39115</c:v>
                </c:pt>
                <c:pt idx="1166">
                  <c:v>39118</c:v>
                </c:pt>
                <c:pt idx="1167">
                  <c:v>39119</c:v>
                </c:pt>
                <c:pt idx="1168">
                  <c:v>39120</c:v>
                </c:pt>
                <c:pt idx="1169">
                  <c:v>39121</c:v>
                </c:pt>
                <c:pt idx="1170">
                  <c:v>39122</c:v>
                </c:pt>
                <c:pt idx="1171">
                  <c:v>39125</c:v>
                </c:pt>
                <c:pt idx="1172">
                  <c:v>39126</c:v>
                </c:pt>
                <c:pt idx="1173">
                  <c:v>39127</c:v>
                </c:pt>
                <c:pt idx="1174">
                  <c:v>39128</c:v>
                </c:pt>
                <c:pt idx="1175">
                  <c:v>39129</c:v>
                </c:pt>
                <c:pt idx="1176">
                  <c:v>39139</c:v>
                </c:pt>
                <c:pt idx="1177">
                  <c:v>39140</c:v>
                </c:pt>
                <c:pt idx="1178">
                  <c:v>39141</c:v>
                </c:pt>
                <c:pt idx="1179">
                  <c:v>39142</c:v>
                </c:pt>
                <c:pt idx="1180">
                  <c:v>39143</c:v>
                </c:pt>
                <c:pt idx="1181">
                  <c:v>39146</c:v>
                </c:pt>
                <c:pt idx="1182">
                  <c:v>39147</c:v>
                </c:pt>
                <c:pt idx="1183">
                  <c:v>39148</c:v>
                </c:pt>
                <c:pt idx="1184">
                  <c:v>39149</c:v>
                </c:pt>
                <c:pt idx="1185">
                  <c:v>39150</c:v>
                </c:pt>
                <c:pt idx="1186">
                  <c:v>39153</c:v>
                </c:pt>
                <c:pt idx="1187">
                  <c:v>39154</c:v>
                </c:pt>
                <c:pt idx="1188">
                  <c:v>39155</c:v>
                </c:pt>
                <c:pt idx="1189">
                  <c:v>39156</c:v>
                </c:pt>
                <c:pt idx="1190">
                  <c:v>39157</c:v>
                </c:pt>
                <c:pt idx="1191">
                  <c:v>39160</c:v>
                </c:pt>
                <c:pt idx="1192">
                  <c:v>39161</c:v>
                </c:pt>
                <c:pt idx="1193">
                  <c:v>39162</c:v>
                </c:pt>
                <c:pt idx="1194">
                  <c:v>39163</c:v>
                </c:pt>
                <c:pt idx="1195">
                  <c:v>39164</c:v>
                </c:pt>
                <c:pt idx="1196">
                  <c:v>39167</c:v>
                </c:pt>
                <c:pt idx="1197">
                  <c:v>39168</c:v>
                </c:pt>
                <c:pt idx="1198">
                  <c:v>39169</c:v>
                </c:pt>
                <c:pt idx="1199">
                  <c:v>39170</c:v>
                </c:pt>
                <c:pt idx="1200">
                  <c:v>39171</c:v>
                </c:pt>
                <c:pt idx="1201">
                  <c:v>39174</c:v>
                </c:pt>
                <c:pt idx="1202">
                  <c:v>39175</c:v>
                </c:pt>
                <c:pt idx="1203">
                  <c:v>39176</c:v>
                </c:pt>
                <c:pt idx="1204">
                  <c:v>39177</c:v>
                </c:pt>
                <c:pt idx="1205">
                  <c:v>39178</c:v>
                </c:pt>
                <c:pt idx="1206">
                  <c:v>39181</c:v>
                </c:pt>
                <c:pt idx="1207">
                  <c:v>39182</c:v>
                </c:pt>
                <c:pt idx="1208">
                  <c:v>39183</c:v>
                </c:pt>
                <c:pt idx="1209">
                  <c:v>39184</c:v>
                </c:pt>
                <c:pt idx="1210">
                  <c:v>39185</c:v>
                </c:pt>
                <c:pt idx="1211">
                  <c:v>39188</c:v>
                </c:pt>
                <c:pt idx="1212">
                  <c:v>39189</c:v>
                </c:pt>
                <c:pt idx="1213">
                  <c:v>39190</c:v>
                </c:pt>
                <c:pt idx="1214">
                  <c:v>39191</c:v>
                </c:pt>
                <c:pt idx="1215">
                  <c:v>39192</c:v>
                </c:pt>
                <c:pt idx="1216">
                  <c:v>39195</c:v>
                </c:pt>
                <c:pt idx="1217">
                  <c:v>39196</c:v>
                </c:pt>
                <c:pt idx="1218">
                  <c:v>39197</c:v>
                </c:pt>
                <c:pt idx="1219">
                  <c:v>39198</c:v>
                </c:pt>
                <c:pt idx="1220">
                  <c:v>39199</c:v>
                </c:pt>
                <c:pt idx="1221">
                  <c:v>39202</c:v>
                </c:pt>
                <c:pt idx="1222">
                  <c:v>39210</c:v>
                </c:pt>
                <c:pt idx="1223">
                  <c:v>39211</c:v>
                </c:pt>
                <c:pt idx="1224">
                  <c:v>39212</c:v>
                </c:pt>
                <c:pt idx="1225">
                  <c:v>39213</c:v>
                </c:pt>
                <c:pt idx="1226">
                  <c:v>39216</c:v>
                </c:pt>
                <c:pt idx="1227">
                  <c:v>39217</c:v>
                </c:pt>
                <c:pt idx="1228">
                  <c:v>39218</c:v>
                </c:pt>
                <c:pt idx="1229">
                  <c:v>39219</c:v>
                </c:pt>
                <c:pt idx="1230">
                  <c:v>39220</c:v>
                </c:pt>
                <c:pt idx="1231">
                  <c:v>39223</c:v>
                </c:pt>
                <c:pt idx="1232">
                  <c:v>39224</c:v>
                </c:pt>
                <c:pt idx="1233">
                  <c:v>39225</c:v>
                </c:pt>
                <c:pt idx="1234">
                  <c:v>39226</c:v>
                </c:pt>
                <c:pt idx="1235">
                  <c:v>39227</c:v>
                </c:pt>
                <c:pt idx="1236">
                  <c:v>39230</c:v>
                </c:pt>
                <c:pt idx="1237">
                  <c:v>39231</c:v>
                </c:pt>
                <c:pt idx="1238">
                  <c:v>39232</c:v>
                </c:pt>
                <c:pt idx="1239">
                  <c:v>39233</c:v>
                </c:pt>
                <c:pt idx="1240">
                  <c:v>39234</c:v>
                </c:pt>
                <c:pt idx="1241">
                  <c:v>39237</c:v>
                </c:pt>
                <c:pt idx="1242">
                  <c:v>39238</c:v>
                </c:pt>
                <c:pt idx="1243">
                  <c:v>39239</c:v>
                </c:pt>
                <c:pt idx="1244">
                  <c:v>39240</c:v>
                </c:pt>
                <c:pt idx="1245">
                  <c:v>39241</c:v>
                </c:pt>
                <c:pt idx="1246">
                  <c:v>39244</c:v>
                </c:pt>
                <c:pt idx="1247">
                  <c:v>39245</c:v>
                </c:pt>
                <c:pt idx="1248">
                  <c:v>39246</c:v>
                </c:pt>
                <c:pt idx="1249">
                  <c:v>39247</c:v>
                </c:pt>
                <c:pt idx="1250">
                  <c:v>39248</c:v>
                </c:pt>
                <c:pt idx="1251">
                  <c:v>39251</c:v>
                </c:pt>
                <c:pt idx="1252">
                  <c:v>39252</c:v>
                </c:pt>
                <c:pt idx="1253">
                  <c:v>39253</c:v>
                </c:pt>
                <c:pt idx="1254">
                  <c:v>39254</c:v>
                </c:pt>
                <c:pt idx="1255">
                  <c:v>39255</c:v>
                </c:pt>
                <c:pt idx="1256">
                  <c:v>39258</c:v>
                </c:pt>
                <c:pt idx="1257">
                  <c:v>39259</c:v>
                </c:pt>
                <c:pt idx="1258">
                  <c:v>39260</c:v>
                </c:pt>
                <c:pt idx="1259">
                  <c:v>39261</c:v>
                </c:pt>
                <c:pt idx="1260">
                  <c:v>39262</c:v>
                </c:pt>
                <c:pt idx="1261">
                  <c:v>39265</c:v>
                </c:pt>
                <c:pt idx="1262">
                  <c:v>39266</c:v>
                </c:pt>
                <c:pt idx="1263">
                  <c:v>39267</c:v>
                </c:pt>
                <c:pt idx="1264">
                  <c:v>39268</c:v>
                </c:pt>
                <c:pt idx="1265">
                  <c:v>39269</c:v>
                </c:pt>
                <c:pt idx="1266">
                  <c:v>39272</c:v>
                </c:pt>
                <c:pt idx="1267">
                  <c:v>39273</c:v>
                </c:pt>
                <c:pt idx="1268">
                  <c:v>39274</c:v>
                </c:pt>
                <c:pt idx="1269">
                  <c:v>39275</c:v>
                </c:pt>
                <c:pt idx="1270">
                  <c:v>39276</c:v>
                </c:pt>
                <c:pt idx="1271">
                  <c:v>39279</c:v>
                </c:pt>
                <c:pt idx="1272">
                  <c:v>39280</c:v>
                </c:pt>
                <c:pt idx="1273">
                  <c:v>39281</c:v>
                </c:pt>
                <c:pt idx="1274">
                  <c:v>39282</c:v>
                </c:pt>
                <c:pt idx="1275">
                  <c:v>39283</c:v>
                </c:pt>
                <c:pt idx="1276">
                  <c:v>39286</c:v>
                </c:pt>
                <c:pt idx="1277">
                  <c:v>39287</c:v>
                </c:pt>
                <c:pt idx="1278">
                  <c:v>39288</c:v>
                </c:pt>
                <c:pt idx="1279">
                  <c:v>39289</c:v>
                </c:pt>
                <c:pt idx="1280">
                  <c:v>39290</c:v>
                </c:pt>
                <c:pt idx="1281">
                  <c:v>39293</c:v>
                </c:pt>
                <c:pt idx="1282">
                  <c:v>39294</c:v>
                </c:pt>
                <c:pt idx="1283">
                  <c:v>39295</c:v>
                </c:pt>
                <c:pt idx="1284">
                  <c:v>39296</c:v>
                </c:pt>
                <c:pt idx="1285">
                  <c:v>39297</c:v>
                </c:pt>
                <c:pt idx="1286">
                  <c:v>39300</c:v>
                </c:pt>
                <c:pt idx="1287">
                  <c:v>39301</c:v>
                </c:pt>
                <c:pt idx="1288">
                  <c:v>39302</c:v>
                </c:pt>
                <c:pt idx="1289">
                  <c:v>39303</c:v>
                </c:pt>
                <c:pt idx="1290">
                  <c:v>39304</c:v>
                </c:pt>
                <c:pt idx="1291">
                  <c:v>39307</c:v>
                </c:pt>
                <c:pt idx="1292">
                  <c:v>39308</c:v>
                </c:pt>
                <c:pt idx="1293">
                  <c:v>39309</c:v>
                </c:pt>
                <c:pt idx="1294">
                  <c:v>39310</c:v>
                </c:pt>
                <c:pt idx="1295">
                  <c:v>39311</c:v>
                </c:pt>
                <c:pt idx="1296">
                  <c:v>39314</c:v>
                </c:pt>
                <c:pt idx="1297">
                  <c:v>39315</c:v>
                </c:pt>
                <c:pt idx="1298">
                  <c:v>39316</c:v>
                </c:pt>
                <c:pt idx="1299">
                  <c:v>39317</c:v>
                </c:pt>
                <c:pt idx="1300">
                  <c:v>39318</c:v>
                </c:pt>
                <c:pt idx="1301">
                  <c:v>39321</c:v>
                </c:pt>
                <c:pt idx="1302">
                  <c:v>39322</c:v>
                </c:pt>
                <c:pt idx="1303">
                  <c:v>39323</c:v>
                </c:pt>
                <c:pt idx="1304">
                  <c:v>39324</c:v>
                </c:pt>
                <c:pt idx="1305">
                  <c:v>39325</c:v>
                </c:pt>
                <c:pt idx="1306">
                  <c:v>39328</c:v>
                </c:pt>
                <c:pt idx="1307">
                  <c:v>39329</c:v>
                </c:pt>
                <c:pt idx="1308">
                  <c:v>39330</c:v>
                </c:pt>
                <c:pt idx="1309">
                  <c:v>39331</c:v>
                </c:pt>
                <c:pt idx="1310">
                  <c:v>39332</c:v>
                </c:pt>
                <c:pt idx="1311">
                  <c:v>39335</c:v>
                </c:pt>
                <c:pt idx="1312">
                  <c:v>39336</c:v>
                </c:pt>
                <c:pt idx="1313">
                  <c:v>39337</c:v>
                </c:pt>
                <c:pt idx="1314">
                  <c:v>39338</c:v>
                </c:pt>
                <c:pt idx="1315">
                  <c:v>39339</c:v>
                </c:pt>
                <c:pt idx="1316">
                  <c:v>39342</c:v>
                </c:pt>
                <c:pt idx="1317">
                  <c:v>39343</c:v>
                </c:pt>
                <c:pt idx="1318">
                  <c:v>39344</c:v>
                </c:pt>
                <c:pt idx="1319">
                  <c:v>39345</c:v>
                </c:pt>
                <c:pt idx="1320">
                  <c:v>39346</c:v>
                </c:pt>
                <c:pt idx="1321">
                  <c:v>39349</c:v>
                </c:pt>
                <c:pt idx="1322">
                  <c:v>39350</c:v>
                </c:pt>
                <c:pt idx="1323">
                  <c:v>39351</c:v>
                </c:pt>
                <c:pt idx="1324">
                  <c:v>39352</c:v>
                </c:pt>
                <c:pt idx="1325">
                  <c:v>39353</c:v>
                </c:pt>
                <c:pt idx="1326">
                  <c:v>39363</c:v>
                </c:pt>
                <c:pt idx="1327">
                  <c:v>39364</c:v>
                </c:pt>
                <c:pt idx="1328">
                  <c:v>39365</c:v>
                </c:pt>
                <c:pt idx="1329">
                  <c:v>39366</c:v>
                </c:pt>
                <c:pt idx="1330">
                  <c:v>39367</c:v>
                </c:pt>
                <c:pt idx="1331">
                  <c:v>39370</c:v>
                </c:pt>
                <c:pt idx="1332">
                  <c:v>39371</c:v>
                </c:pt>
                <c:pt idx="1333">
                  <c:v>39372</c:v>
                </c:pt>
                <c:pt idx="1334">
                  <c:v>39373</c:v>
                </c:pt>
                <c:pt idx="1335">
                  <c:v>39374</c:v>
                </c:pt>
                <c:pt idx="1336">
                  <c:v>39377</c:v>
                </c:pt>
                <c:pt idx="1337">
                  <c:v>39378</c:v>
                </c:pt>
                <c:pt idx="1338">
                  <c:v>39379</c:v>
                </c:pt>
                <c:pt idx="1339">
                  <c:v>39380</c:v>
                </c:pt>
                <c:pt idx="1340">
                  <c:v>39381</c:v>
                </c:pt>
                <c:pt idx="1341">
                  <c:v>39384</c:v>
                </c:pt>
                <c:pt idx="1342">
                  <c:v>39385</c:v>
                </c:pt>
                <c:pt idx="1343">
                  <c:v>39386</c:v>
                </c:pt>
                <c:pt idx="1344">
                  <c:v>39387</c:v>
                </c:pt>
                <c:pt idx="1345">
                  <c:v>39388</c:v>
                </c:pt>
                <c:pt idx="1346">
                  <c:v>39391</c:v>
                </c:pt>
                <c:pt idx="1347">
                  <c:v>39392</c:v>
                </c:pt>
                <c:pt idx="1348">
                  <c:v>39393</c:v>
                </c:pt>
                <c:pt idx="1349">
                  <c:v>39394</c:v>
                </c:pt>
                <c:pt idx="1350">
                  <c:v>39395</c:v>
                </c:pt>
                <c:pt idx="1351">
                  <c:v>39398</c:v>
                </c:pt>
                <c:pt idx="1352">
                  <c:v>39399</c:v>
                </c:pt>
                <c:pt idx="1353">
                  <c:v>39400</c:v>
                </c:pt>
                <c:pt idx="1354">
                  <c:v>39401</c:v>
                </c:pt>
                <c:pt idx="1355">
                  <c:v>39402</c:v>
                </c:pt>
                <c:pt idx="1356">
                  <c:v>39405</c:v>
                </c:pt>
                <c:pt idx="1357">
                  <c:v>39406</c:v>
                </c:pt>
                <c:pt idx="1358">
                  <c:v>39407</c:v>
                </c:pt>
                <c:pt idx="1359">
                  <c:v>39408</c:v>
                </c:pt>
                <c:pt idx="1360">
                  <c:v>39409</c:v>
                </c:pt>
                <c:pt idx="1361">
                  <c:v>39412</c:v>
                </c:pt>
                <c:pt idx="1362">
                  <c:v>39413</c:v>
                </c:pt>
                <c:pt idx="1363">
                  <c:v>39414</c:v>
                </c:pt>
                <c:pt idx="1364">
                  <c:v>39415</c:v>
                </c:pt>
                <c:pt idx="1365">
                  <c:v>39416</c:v>
                </c:pt>
                <c:pt idx="1366">
                  <c:v>39419</c:v>
                </c:pt>
                <c:pt idx="1367">
                  <c:v>39420</c:v>
                </c:pt>
                <c:pt idx="1368">
                  <c:v>39421</c:v>
                </c:pt>
                <c:pt idx="1369">
                  <c:v>39422</c:v>
                </c:pt>
                <c:pt idx="1370">
                  <c:v>39423</c:v>
                </c:pt>
                <c:pt idx="1371">
                  <c:v>39426</c:v>
                </c:pt>
                <c:pt idx="1372">
                  <c:v>39427</c:v>
                </c:pt>
                <c:pt idx="1373">
                  <c:v>39428</c:v>
                </c:pt>
                <c:pt idx="1374">
                  <c:v>39429</c:v>
                </c:pt>
                <c:pt idx="1375">
                  <c:v>39430</c:v>
                </c:pt>
                <c:pt idx="1376">
                  <c:v>39433</c:v>
                </c:pt>
                <c:pt idx="1377">
                  <c:v>39434</c:v>
                </c:pt>
                <c:pt idx="1378">
                  <c:v>39435</c:v>
                </c:pt>
                <c:pt idx="1379">
                  <c:v>39436</c:v>
                </c:pt>
                <c:pt idx="1380">
                  <c:v>39437</c:v>
                </c:pt>
                <c:pt idx="1381">
                  <c:v>39440</c:v>
                </c:pt>
                <c:pt idx="1382">
                  <c:v>39441</c:v>
                </c:pt>
                <c:pt idx="1383">
                  <c:v>39442</c:v>
                </c:pt>
                <c:pt idx="1384">
                  <c:v>39443</c:v>
                </c:pt>
                <c:pt idx="1385">
                  <c:v>39444</c:v>
                </c:pt>
                <c:pt idx="1386">
                  <c:v>39449</c:v>
                </c:pt>
                <c:pt idx="1387">
                  <c:v>39450</c:v>
                </c:pt>
                <c:pt idx="1388">
                  <c:v>39451</c:v>
                </c:pt>
                <c:pt idx="1389">
                  <c:v>39454</c:v>
                </c:pt>
                <c:pt idx="1390">
                  <c:v>39455</c:v>
                </c:pt>
                <c:pt idx="1391">
                  <c:v>39456</c:v>
                </c:pt>
                <c:pt idx="1392">
                  <c:v>39457</c:v>
                </c:pt>
                <c:pt idx="1393">
                  <c:v>39458</c:v>
                </c:pt>
                <c:pt idx="1394">
                  <c:v>39461</c:v>
                </c:pt>
                <c:pt idx="1395">
                  <c:v>39462</c:v>
                </c:pt>
                <c:pt idx="1396">
                  <c:v>39463</c:v>
                </c:pt>
                <c:pt idx="1397">
                  <c:v>39464</c:v>
                </c:pt>
                <c:pt idx="1398">
                  <c:v>39465</c:v>
                </c:pt>
                <c:pt idx="1399">
                  <c:v>39468</c:v>
                </c:pt>
                <c:pt idx="1400">
                  <c:v>39469</c:v>
                </c:pt>
                <c:pt idx="1401">
                  <c:v>39470</c:v>
                </c:pt>
                <c:pt idx="1402">
                  <c:v>39471</c:v>
                </c:pt>
                <c:pt idx="1403">
                  <c:v>39472</c:v>
                </c:pt>
                <c:pt idx="1404">
                  <c:v>39475</c:v>
                </c:pt>
                <c:pt idx="1405">
                  <c:v>39476</c:v>
                </c:pt>
                <c:pt idx="1406">
                  <c:v>39477</c:v>
                </c:pt>
                <c:pt idx="1407">
                  <c:v>39478</c:v>
                </c:pt>
                <c:pt idx="1408">
                  <c:v>39479</c:v>
                </c:pt>
                <c:pt idx="1409">
                  <c:v>39482</c:v>
                </c:pt>
                <c:pt idx="1410">
                  <c:v>39483</c:v>
                </c:pt>
                <c:pt idx="1411">
                  <c:v>39491</c:v>
                </c:pt>
                <c:pt idx="1412">
                  <c:v>39492</c:v>
                </c:pt>
                <c:pt idx="1413">
                  <c:v>39493</c:v>
                </c:pt>
                <c:pt idx="1414">
                  <c:v>39496</c:v>
                </c:pt>
                <c:pt idx="1415">
                  <c:v>39497</c:v>
                </c:pt>
                <c:pt idx="1416">
                  <c:v>39498</c:v>
                </c:pt>
                <c:pt idx="1417">
                  <c:v>39499</c:v>
                </c:pt>
                <c:pt idx="1418">
                  <c:v>39500</c:v>
                </c:pt>
                <c:pt idx="1419">
                  <c:v>39503</c:v>
                </c:pt>
                <c:pt idx="1420">
                  <c:v>39504</c:v>
                </c:pt>
                <c:pt idx="1421">
                  <c:v>39505</c:v>
                </c:pt>
                <c:pt idx="1422">
                  <c:v>39506</c:v>
                </c:pt>
                <c:pt idx="1423">
                  <c:v>39507</c:v>
                </c:pt>
                <c:pt idx="1424">
                  <c:v>39510</c:v>
                </c:pt>
                <c:pt idx="1425">
                  <c:v>39511</c:v>
                </c:pt>
                <c:pt idx="1426">
                  <c:v>39512</c:v>
                </c:pt>
                <c:pt idx="1427">
                  <c:v>39513</c:v>
                </c:pt>
                <c:pt idx="1428">
                  <c:v>39514</c:v>
                </c:pt>
                <c:pt idx="1429">
                  <c:v>39517</c:v>
                </c:pt>
                <c:pt idx="1430">
                  <c:v>39518</c:v>
                </c:pt>
                <c:pt idx="1431">
                  <c:v>39519</c:v>
                </c:pt>
                <c:pt idx="1432">
                  <c:v>39520</c:v>
                </c:pt>
                <c:pt idx="1433">
                  <c:v>39521</c:v>
                </c:pt>
                <c:pt idx="1434">
                  <c:v>39524</c:v>
                </c:pt>
                <c:pt idx="1435">
                  <c:v>39525</c:v>
                </c:pt>
                <c:pt idx="1436">
                  <c:v>39526</c:v>
                </c:pt>
                <c:pt idx="1437">
                  <c:v>39527</c:v>
                </c:pt>
                <c:pt idx="1438">
                  <c:v>39528</c:v>
                </c:pt>
                <c:pt idx="1439">
                  <c:v>39531</c:v>
                </c:pt>
                <c:pt idx="1440">
                  <c:v>39532</c:v>
                </c:pt>
                <c:pt idx="1441">
                  <c:v>39533</c:v>
                </c:pt>
                <c:pt idx="1442">
                  <c:v>39534</c:v>
                </c:pt>
                <c:pt idx="1443">
                  <c:v>39535</c:v>
                </c:pt>
                <c:pt idx="1444">
                  <c:v>39538</c:v>
                </c:pt>
                <c:pt idx="1445">
                  <c:v>39539</c:v>
                </c:pt>
                <c:pt idx="1446">
                  <c:v>39540</c:v>
                </c:pt>
                <c:pt idx="1447">
                  <c:v>39541</c:v>
                </c:pt>
                <c:pt idx="1448">
                  <c:v>39545</c:v>
                </c:pt>
                <c:pt idx="1449">
                  <c:v>39546</c:v>
                </c:pt>
                <c:pt idx="1450">
                  <c:v>39547</c:v>
                </c:pt>
                <c:pt idx="1451">
                  <c:v>39548</c:v>
                </c:pt>
                <c:pt idx="1452">
                  <c:v>39549</c:v>
                </c:pt>
                <c:pt idx="1453">
                  <c:v>39552</c:v>
                </c:pt>
                <c:pt idx="1454">
                  <c:v>39553</c:v>
                </c:pt>
                <c:pt idx="1455">
                  <c:v>39554</c:v>
                </c:pt>
                <c:pt idx="1456">
                  <c:v>39555</c:v>
                </c:pt>
                <c:pt idx="1457">
                  <c:v>39556</c:v>
                </c:pt>
                <c:pt idx="1458">
                  <c:v>39559</c:v>
                </c:pt>
                <c:pt idx="1459">
                  <c:v>39560</c:v>
                </c:pt>
                <c:pt idx="1460">
                  <c:v>39561</c:v>
                </c:pt>
                <c:pt idx="1461">
                  <c:v>39562</c:v>
                </c:pt>
                <c:pt idx="1462">
                  <c:v>39563</c:v>
                </c:pt>
                <c:pt idx="1463">
                  <c:v>39566</c:v>
                </c:pt>
                <c:pt idx="1464">
                  <c:v>39567</c:v>
                </c:pt>
                <c:pt idx="1465">
                  <c:v>39568</c:v>
                </c:pt>
                <c:pt idx="1466">
                  <c:v>39573</c:v>
                </c:pt>
                <c:pt idx="1467">
                  <c:v>39574</c:v>
                </c:pt>
                <c:pt idx="1468">
                  <c:v>39575</c:v>
                </c:pt>
                <c:pt idx="1469">
                  <c:v>39576</c:v>
                </c:pt>
                <c:pt idx="1470">
                  <c:v>39577</c:v>
                </c:pt>
                <c:pt idx="1471">
                  <c:v>39580</c:v>
                </c:pt>
                <c:pt idx="1472">
                  <c:v>39581</c:v>
                </c:pt>
                <c:pt idx="1473">
                  <c:v>39582</c:v>
                </c:pt>
                <c:pt idx="1474">
                  <c:v>39583</c:v>
                </c:pt>
                <c:pt idx="1475">
                  <c:v>39584</c:v>
                </c:pt>
                <c:pt idx="1476">
                  <c:v>39587</c:v>
                </c:pt>
                <c:pt idx="1477">
                  <c:v>39588</c:v>
                </c:pt>
                <c:pt idx="1478">
                  <c:v>39589</c:v>
                </c:pt>
                <c:pt idx="1479">
                  <c:v>39590</c:v>
                </c:pt>
                <c:pt idx="1480">
                  <c:v>39591</c:v>
                </c:pt>
                <c:pt idx="1481">
                  <c:v>39594</c:v>
                </c:pt>
                <c:pt idx="1482">
                  <c:v>39595</c:v>
                </c:pt>
                <c:pt idx="1483">
                  <c:v>39596</c:v>
                </c:pt>
                <c:pt idx="1484">
                  <c:v>39597</c:v>
                </c:pt>
                <c:pt idx="1485">
                  <c:v>39598</c:v>
                </c:pt>
                <c:pt idx="1486">
                  <c:v>39601</c:v>
                </c:pt>
                <c:pt idx="1487">
                  <c:v>39602</c:v>
                </c:pt>
                <c:pt idx="1488">
                  <c:v>39603</c:v>
                </c:pt>
                <c:pt idx="1489">
                  <c:v>39604</c:v>
                </c:pt>
                <c:pt idx="1490">
                  <c:v>39605</c:v>
                </c:pt>
                <c:pt idx="1491">
                  <c:v>39609</c:v>
                </c:pt>
                <c:pt idx="1492">
                  <c:v>39610</c:v>
                </c:pt>
                <c:pt idx="1493">
                  <c:v>39611</c:v>
                </c:pt>
                <c:pt idx="1494">
                  <c:v>39612</c:v>
                </c:pt>
                <c:pt idx="1495">
                  <c:v>39615</c:v>
                </c:pt>
                <c:pt idx="1496">
                  <c:v>39616</c:v>
                </c:pt>
                <c:pt idx="1497">
                  <c:v>39617</c:v>
                </c:pt>
                <c:pt idx="1498">
                  <c:v>39618</c:v>
                </c:pt>
                <c:pt idx="1499">
                  <c:v>39619</c:v>
                </c:pt>
                <c:pt idx="1500">
                  <c:v>39622</c:v>
                </c:pt>
                <c:pt idx="1501">
                  <c:v>39623</c:v>
                </c:pt>
                <c:pt idx="1502">
                  <c:v>39624</c:v>
                </c:pt>
                <c:pt idx="1503">
                  <c:v>39625</c:v>
                </c:pt>
                <c:pt idx="1504">
                  <c:v>39626</c:v>
                </c:pt>
                <c:pt idx="1505">
                  <c:v>39629</c:v>
                </c:pt>
                <c:pt idx="1506">
                  <c:v>39630</c:v>
                </c:pt>
                <c:pt idx="1507">
                  <c:v>39631</c:v>
                </c:pt>
                <c:pt idx="1508">
                  <c:v>39632</c:v>
                </c:pt>
                <c:pt idx="1509">
                  <c:v>39633</c:v>
                </c:pt>
                <c:pt idx="1510">
                  <c:v>39636</c:v>
                </c:pt>
                <c:pt idx="1511">
                  <c:v>39637</c:v>
                </c:pt>
                <c:pt idx="1512">
                  <c:v>39638</c:v>
                </c:pt>
                <c:pt idx="1513">
                  <c:v>39639</c:v>
                </c:pt>
                <c:pt idx="1514">
                  <c:v>39640</c:v>
                </c:pt>
                <c:pt idx="1515">
                  <c:v>39643</c:v>
                </c:pt>
                <c:pt idx="1516">
                  <c:v>39644</c:v>
                </c:pt>
                <c:pt idx="1517">
                  <c:v>39645</c:v>
                </c:pt>
                <c:pt idx="1518">
                  <c:v>39646</c:v>
                </c:pt>
                <c:pt idx="1519">
                  <c:v>39647</c:v>
                </c:pt>
                <c:pt idx="1520">
                  <c:v>39650</c:v>
                </c:pt>
                <c:pt idx="1521">
                  <c:v>39651</c:v>
                </c:pt>
                <c:pt idx="1522">
                  <c:v>39652</c:v>
                </c:pt>
                <c:pt idx="1523">
                  <c:v>39653</c:v>
                </c:pt>
                <c:pt idx="1524">
                  <c:v>39654</c:v>
                </c:pt>
                <c:pt idx="1525">
                  <c:v>39657</c:v>
                </c:pt>
                <c:pt idx="1526">
                  <c:v>39658</c:v>
                </c:pt>
                <c:pt idx="1527">
                  <c:v>39659</c:v>
                </c:pt>
                <c:pt idx="1528">
                  <c:v>39660</c:v>
                </c:pt>
                <c:pt idx="1529">
                  <c:v>39661</c:v>
                </c:pt>
                <c:pt idx="1530">
                  <c:v>39664</c:v>
                </c:pt>
                <c:pt idx="1531">
                  <c:v>39665</c:v>
                </c:pt>
                <c:pt idx="1532">
                  <c:v>39666</c:v>
                </c:pt>
                <c:pt idx="1533">
                  <c:v>39667</c:v>
                </c:pt>
                <c:pt idx="1534">
                  <c:v>39668</c:v>
                </c:pt>
                <c:pt idx="1535">
                  <c:v>39671</c:v>
                </c:pt>
                <c:pt idx="1536">
                  <c:v>39672</c:v>
                </c:pt>
                <c:pt idx="1537">
                  <c:v>39673</c:v>
                </c:pt>
                <c:pt idx="1538">
                  <c:v>39674</c:v>
                </c:pt>
                <c:pt idx="1539">
                  <c:v>39675</c:v>
                </c:pt>
                <c:pt idx="1540">
                  <c:v>39678</c:v>
                </c:pt>
                <c:pt idx="1541">
                  <c:v>39679</c:v>
                </c:pt>
                <c:pt idx="1542">
                  <c:v>39680</c:v>
                </c:pt>
                <c:pt idx="1543">
                  <c:v>39681</c:v>
                </c:pt>
                <c:pt idx="1544">
                  <c:v>39682</c:v>
                </c:pt>
                <c:pt idx="1545">
                  <c:v>39685</c:v>
                </c:pt>
                <c:pt idx="1546">
                  <c:v>39686</c:v>
                </c:pt>
                <c:pt idx="1547">
                  <c:v>39687</c:v>
                </c:pt>
                <c:pt idx="1548">
                  <c:v>39688</c:v>
                </c:pt>
                <c:pt idx="1549">
                  <c:v>39689</c:v>
                </c:pt>
                <c:pt idx="1550">
                  <c:v>39692</c:v>
                </c:pt>
                <c:pt idx="1551">
                  <c:v>39693</c:v>
                </c:pt>
                <c:pt idx="1552">
                  <c:v>39694</c:v>
                </c:pt>
                <c:pt idx="1553">
                  <c:v>39695</c:v>
                </c:pt>
                <c:pt idx="1554">
                  <c:v>39696</c:v>
                </c:pt>
                <c:pt idx="1555">
                  <c:v>39699</c:v>
                </c:pt>
                <c:pt idx="1556">
                  <c:v>39700</c:v>
                </c:pt>
                <c:pt idx="1557">
                  <c:v>39701</c:v>
                </c:pt>
                <c:pt idx="1558">
                  <c:v>39702</c:v>
                </c:pt>
                <c:pt idx="1559">
                  <c:v>39703</c:v>
                </c:pt>
                <c:pt idx="1560">
                  <c:v>39707</c:v>
                </c:pt>
                <c:pt idx="1561">
                  <c:v>39708</c:v>
                </c:pt>
                <c:pt idx="1562">
                  <c:v>39709</c:v>
                </c:pt>
                <c:pt idx="1563">
                  <c:v>39710</c:v>
                </c:pt>
                <c:pt idx="1564">
                  <c:v>39713</c:v>
                </c:pt>
                <c:pt idx="1565">
                  <c:v>39714</c:v>
                </c:pt>
                <c:pt idx="1566">
                  <c:v>39715</c:v>
                </c:pt>
                <c:pt idx="1567">
                  <c:v>39716</c:v>
                </c:pt>
                <c:pt idx="1568">
                  <c:v>39717</c:v>
                </c:pt>
                <c:pt idx="1569">
                  <c:v>39727</c:v>
                </c:pt>
                <c:pt idx="1570">
                  <c:v>39728</c:v>
                </c:pt>
                <c:pt idx="1571">
                  <c:v>39729</c:v>
                </c:pt>
                <c:pt idx="1572">
                  <c:v>39730</c:v>
                </c:pt>
                <c:pt idx="1573">
                  <c:v>39731</c:v>
                </c:pt>
                <c:pt idx="1574">
                  <c:v>39734</c:v>
                </c:pt>
                <c:pt idx="1575">
                  <c:v>39735</c:v>
                </c:pt>
                <c:pt idx="1576">
                  <c:v>39736</c:v>
                </c:pt>
                <c:pt idx="1577">
                  <c:v>39737</c:v>
                </c:pt>
                <c:pt idx="1578">
                  <c:v>39738</c:v>
                </c:pt>
                <c:pt idx="1579">
                  <c:v>39741</c:v>
                </c:pt>
                <c:pt idx="1580">
                  <c:v>39742</c:v>
                </c:pt>
                <c:pt idx="1581">
                  <c:v>39743</c:v>
                </c:pt>
                <c:pt idx="1582">
                  <c:v>39744</c:v>
                </c:pt>
                <c:pt idx="1583">
                  <c:v>39745</c:v>
                </c:pt>
                <c:pt idx="1584">
                  <c:v>39748</c:v>
                </c:pt>
                <c:pt idx="1585">
                  <c:v>39749</c:v>
                </c:pt>
                <c:pt idx="1586">
                  <c:v>39750</c:v>
                </c:pt>
                <c:pt idx="1587">
                  <c:v>39751</c:v>
                </c:pt>
                <c:pt idx="1588">
                  <c:v>39752</c:v>
                </c:pt>
                <c:pt idx="1589">
                  <c:v>39755</c:v>
                </c:pt>
                <c:pt idx="1590">
                  <c:v>39756</c:v>
                </c:pt>
                <c:pt idx="1591">
                  <c:v>39757</c:v>
                </c:pt>
                <c:pt idx="1592">
                  <c:v>39758</c:v>
                </c:pt>
                <c:pt idx="1593">
                  <c:v>39759</c:v>
                </c:pt>
                <c:pt idx="1594">
                  <c:v>39762</c:v>
                </c:pt>
                <c:pt idx="1595">
                  <c:v>39763</c:v>
                </c:pt>
                <c:pt idx="1596">
                  <c:v>39764</c:v>
                </c:pt>
                <c:pt idx="1597">
                  <c:v>39765</c:v>
                </c:pt>
                <c:pt idx="1598">
                  <c:v>39766</c:v>
                </c:pt>
                <c:pt idx="1599">
                  <c:v>39769</c:v>
                </c:pt>
                <c:pt idx="1600">
                  <c:v>39770</c:v>
                </c:pt>
                <c:pt idx="1601">
                  <c:v>39771</c:v>
                </c:pt>
                <c:pt idx="1602">
                  <c:v>39772</c:v>
                </c:pt>
                <c:pt idx="1603">
                  <c:v>39773</c:v>
                </c:pt>
                <c:pt idx="1604">
                  <c:v>39776</c:v>
                </c:pt>
                <c:pt idx="1605">
                  <c:v>39777</c:v>
                </c:pt>
                <c:pt idx="1606">
                  <c:v>39778</c:v>
                </c:pt>
                <c:pt idx="1607">
                  <c:v>39779</c:v>
                </c:pt>
                <c:pt idx="1608">
                  <c:v>39780</c:v>
                </c:pt>
                <c:pt idx="1609">
                  <c:v>39783</c:v>
                </c:pt>
                <c:pt idx="1610">
                  <c:v>39784</c:v>
                </c:pt>
                <c:pt idx="1611">
                  <c:v>39785</c:v>
                </c:pt>
                <c:pt idx="1612">
                  <c:v>39786</c:v>
                </c:pt>
                <c:pt idx="1613">
                  <c:v>39787</c:v>
                </c:pt>
                <c:pt idx="1614">
                  <c:v>39790</c:v>
                </c:pt>
                <c:pt idx="1615">
                  <c:v>39791</c:v>
                </c:pt>
                <c:pt idx="1616">
                  <c:v>39792</c:v>
                </c:pt>
                <c:pt idx="1617">
                  <c:v>39793</c:v>
                </c:pt>
                <c:pt idx="1618">
                  <c:v>39794</c:v>
                </c:pt>
                <c:pt idx="1619">
                  <c:v>39797</c:v>
                </c:pt>
                <c:pt idx="1620">
                  <c:v>39798</c:v>
                </c:pt>
                <c:pt idx="1621">
                  <c:v>39799</c:v>
                </c:pt>
                <c:pt idx="1622">
                  <c:v>39800</c:v>
                </c:pt>
                <c:pt idx="1623">
                  <c:v>39801</c:v>
                </c:pt>
                <c:pt idx="1624">
                  <c:v>39804</c:v>
                </c:pt>
                <c:pt idx="1625">
                  <c:v>39805</c:v>
                </c:pt>
                <c:pt idx="1626">
                  <c:v>39806</c:v>
                </c:pt>
                <c:pt idx="1627">
                  <c:v>39807</c:v>
                </c:pt>
                <c:pt idx="1628">
                  <c:v>39808</c:v>
                </c:pt>
                <c:pt idx="1629">
                  <c:v>39811</c:v>
                </c:pt>
                <c:pt idx="1630">
                  <c:v>39812</c:v>
                </c:pt>
                <c:pt idx="1631">
                  <c:v>39813</c:v>
                </c:pt>
                <c:pt idx="1632">
                  <c:v>39818</c:v>
                </c:pt>
                <c:pt idx="1633">
                  <c:v>39819</c:v>
                </c:pt>
                <c:pt idx="1634">
                  <c:v>39820</c:v>
                </c:pt>
                <c:pt idx="1635">
                  <c:v>39821</c:v>
                </c:pt>
                <c:pt idx="1636">
                  <c:v>39822</c:v>
                </c:pt>
                <c:pt idx="1637">
                  <c:v>39825</c:v>
                </c:pt>
                <c:pt idx="1638">
                  <c:v>39826</c:v>
                </c:pt>
                <c:pt idx="1639">
                  <c:v>39827</c:v>
                </c:pt>
                <c:pt idx="1640">
                  <c:v>39828</c:v>
                </c:pt>
                <c:pt idx="1641">
                  <c:v>39829</c:v>
                </c:pt>
                <c:pt idx="1642">
                  <c:v>39832</c:v>
                </c:pt>
                <c:pt idx="1643">
                  <c:v>39833</c:v>
                </c:pt>
                <c:pt idx="1644">
                  <c:v>39834</c:v>
                </c:pt>
                <c:pt idx="1645">
                  <c:v>39835</c:v>
                </c:pt>
                <c:pt idx="1646">
                  <c:v>39836</c:v>
                </c:pt>
                <c:pt idx="1647">
                  <c:v>39846</c:v>
                </c:pt>
                <c:pt idx="1648">
                  <c:v>39847</c:v>
                </c:pt>
                <c:pt idx="1649">
                  <c:v>39848</c:v>
                </c:pt>
                <c:pt idx="1650">
                  <c:v>39849</c:v>
                </c:pt>
                <c:pt idx="1651">
                  <c:v>39850</c:v>
                </c:pt>
                <c:pt idx="1652">
                  <c:v>39853</c:v>
                </c:pt>
                <c:pt idx="1653">
                  <c:v>39854</c:v>
                </c:pt>
                <c:pt idx="1654">
                  <c:v>39855</c:v>
                </c:pt>
                <c:pt idx="1655">
                  <c:v>39856</c:v>
                </c:pt>
                <c:pt idx="1656">
                  <c:v>39857</c:v>
                </c:pt>
                <c:pt idx="1657">
                  <c:v>39860</c:v>
                </c:pt>
                <c:pt idx="1658">
                  <c:v>39861</c:v>
                </c:pt>
                <c:pt idx="1659">
                  <c:v>39862</c:v>
                </c:pt>
                <c:pt idx="1660">
                  <c:v>39863</c:v>
                </c:pt>
                <c:pt idx="1661">
                  <c:v>39864</c:v>
                </c:pt>
                <c:pt idx="1662">
                  <c:v>39867</c:v>
                </c:pt>
                <c:pt idx="1663">
                  <c:v>39868</c:v>
                </c:pt>
                <c:pt idx="1664">
                  <c:v>39869</c:v>
                </c:pt>
                <c:pt idx="1665">
                  <c:v>39870</c:v>
                </c:pt>
                <c:pt idx="1666">
                  <c:v>39871</c:v>
                </c:pt>
                <c:pt idx="1667">
                  <c:v>39874</c:v>
                </c:pt>
                <c:pt idx="1668">
                  <c:v>39875</c:v>
                </c:pt>
                <c:pt idx="1669">
                  <c:v>39876</c:v>
                </c:pt>
                <c:pt idx="1670">
                  <c:v>39877</c:v>
                </c:pt>
                <c:pt idx="1671">
                  <c:v>39878</c:v>
                </c:pt>
                <c:pt idx="1672">
                  <c:v>39881</c:v>
                </c:pt>
                <c:pt idx="1673">
                  <c:v>39882</c:v>
                </c:pt>
                <c:pt idx="1674">
                  <c:v>39883</c:v>
                </c:pt>
                <c:pt idx="1675">
                  <c:v>39884</c:v>
                </c:pt>
                <c:pt idx="1676">
                  <c:v>39885</c:v>
                </c:pt>
                <c:pt idx="1677">
                  <c:v>39888</c:v>
                </c:pt>
                <c:pt idx="1678">
                  <c:v>39889</c:v>
                </c:pt>
                <c:pt idx="1679">
                  <c:v>39890</c:v>
                </c:pt>
                <c:pt idx="1680">
                  <c:v>39891</c:v>
                </c:pt>
                <c:pt idx="1681">
                  <c:v>39892</c:v>
                </c:pt>
                <c:pt idx="1682">
                  <c:v>39895</c:v>
                </c:pt>
                <c:pt idx="1683">
                  <c:v>39896</c:v>
                </c:pt>
                <c:pt idx="1684">
                  <c:v>39897</c:v>
                </c:pt>
                <c:pt idx="1685">
                  <c:v>39898</c:v>
                </c:pt>
                <c:pt idx="1686">
                  <c:v>39899</c:v>
                </c:pt>
                <c:pt idx="1687">
                  <c:v>39902</c:v>
                </c:pt>
                <c:pt idx="1688">
                  <c:v>39903</c:v>
                </c:pt>
                <c:pt idx="1689">
                  <c:v>39904</c:v>
                </c:pt>
                <c:pt idx="1690">
                  <c:v>39905</c:v>
                </c:pt>
                <c:pt idx="1691">
                  <c:v>39906</c:v>
                </c:pt>
                <c:pt idx="1692">
                  <c:v>39910</c:v>
                </c:pt>
                <c:pt idx="1693">
                  <c:v>39911</c:v>
                </c:pt>
                <c:pt idx="1694">
                  <c:v>39912</c:v>
                </c:pt>
                <c:pt idx="1695">
                  <c:v>39913</c:v>
                </c:pt>
                <c:pt idx="1696">
                  <c:v>39916</c:v>
                </c:pt>
                <c:pt idx="1697">
                  <c:v>39917</c:v>
                </c:pt>
                <c:pt idx="1698">
                  <c:v>39918</c:v>
                </c:pt>
                <c:pt idx="1699">
                  <c:v>39919</c:v>
                </c:pt>
                <c:pt idx="1700">
                  <c:v>39920</c:v>
                </c:pt>
                <c:pt idx="1701">
                  <c:v>39923</c:v>
                </c:pt>
                <c:pt idx="1702">
                  <c:v>39924</c:v>
                </c:pt>
                <c:pt idx="1703">
                  <c:v>39925</c:v>
                </c:pt>
                <c:pt idx="1704">
                  <c:v>39926</c:v>
                </c:pt>
                <c:pt idx="1705">
                  <c:v>39927</c:v>
                </c:pt>
                <c:pt idx="1706">
                  <c:v>39930</c:v>
                </c:pt>
                <c:pt idx="1707">
                  <c:v>39931</c:v>
                </c:pt>
                <c:pt idx="1708">
                  <c:v>39932</c:v>
                </c:pt>
                <c:pt idx="1709">
                  <c:v>39933</c:v>
                </c:pt>
                <c:pt idx="1710">
                  <c:v>39937</c:v>
                </c:pt>
                <c:pt idx="1711">
                  <c:v>39938</c:v>
                </c:pt>
                <c:pt idx="1712">
                  <c:v>39939</c:v>
                </c:pt>
                <c:pt idx="1713">
                  <c:v>39940</c:v>
                </c:pt>
                <c:pt idx="1714">
                  <c:v>39941</c:v>
                </c:pt>
                <c:pt idx="1715">
                  <c:v>39944</c:v>
                </c:pt>
                <c:pt idx="1716">
                  <c:v>39945</c:v>
                </c:pt>
                <c:pt idx="1717">
                  <c:v>39946</c:v>
                </c:pt>
                <c:pt idx="1718">
                  <c:v>39947</c:v>
                </c:pt>
                <c:pt idx="1719">
                  <c:v>39948</c:v>
                </c:pt>
                <c:pt idx="1720">
                  <c:v>39951</c:v>
                </c:pt>
                <c:pt idx="1721">
                  <c:v>39952</c:v>
                </c:pt>
                <c:pt idx="1722">
                  <c:v>39953</c:v>
                </c:pt>
                <c:pt idx="1723">
                  <c:v>39954</c:v>
                </c:pt>
                <c:pt idx="1724">
                  <c:v>39955</c:v>
                </c:pt>
                <c:pt idx="1725">
                  <c:v>39958</c:v>
                </c:pt>
                <c:pt idx="1726">
                  <c:v>39959</c:v>
                </c:pt>
                <c:pt idx="1727">
                  <c:v>39960</c:v>
                </c:pt>
                <c:pt idx="1728">
                  <c:v>39965</c:v>
                </c:pt>
                <c:pt idx="1729">
                  <c:v>39966</c:v>
                </c:pt>
                <c:pt idx="1730">
                  <c:v>39967</c:v>
                </c:pt>
                <c:pt idx="1731">
                  <c:v>39968</c:v>
                </c:pt>
                <c:pt idx="1732">
                  <c:v>39969</c:v>
                </c:pt>
                <c:pt idx="1733">
                  <c:v>39972</c:v>
                </c:pt>
                <c:pt idx="1734">
                  <c:v>39973</c:v>
                </c:pt>
                <c:pt idx="1735">
                  <c:v>39974</c:v>
                </c:pt>
                <c:pt idx="1736">
                  <c:v>39975</c:v>
                </c:pt>
                <c:pt idx="1737">
                  <c:v>39976</c:v>
                </c:pt>
                <c:pt idx="1738">
                  <c:v>39979</c:v>
                </c:pt>
                <c:pt idx="1739">
                  <c:v>39980</c:v>
                </c:pt>
                <c:pt idx="1740">
                  <c:v>39981</c:v>
                </c:pt>
                <c:pt idx="1741">
                  <c:v>39982</c:v>
                </c:pt>
                <c:pt idx="1742">
                  <c:v>39983</c:v>
                </c:pt>
                <c:pt idx="1743">
                  <c:v>39986</c:v>
                </c:pt>
                <c:pt idx="1744">
                  <c:v>39987</c:v>
                </c:pt>
                <c:pt idx="1745">
                  <c:v>39988</c:v>
                </c:pt>
                <c:pt idx="1746">
                  <c:v>39989</c:v>
                </c:pt>
                <c:pt idx="1747">
                  <c:v>39990</c:v>
                </c:pt>
                <c:pt idx="1748">
                  <c:v>39993</c:v>
                </c:pt>
                <c:pt idx="1749">
                  <c:v>39994</c:v>
                </c:pt>
                <c:pt idx="1750">
                  <c:v>39995</c:v>
                </c:pt>
                <c:pt idx="1751">
                  <c:v>39996</c:v>
                </c:pt>
                <c:pt idx="1752">
                  <c:v>39997</c:v>
                </c:pt>
                <c:pt idx="1753">
                  <c:v>40000</c:v>
                </c:pt>
                <c:pt idx="1754">
                  <c:v>40001</c:v>
                </c:pt>
                <c:pt idx="1755">
                  <c:v>40002</c:v>
                </c:pt>
                <c:pt idx="1756">
                  <c:v>40003</c:v>
                </c:pt>
                <c:pt idx="1757">
                  <c:v>40004</c:v>
                </c:pt>
                <c:pt idx="1758">
                  <c:v>40007</c:v>
                </c:pt>
                <c:pt idx="1759">
                  <c:v>40008</c:v>
                </c:pt>
                <c:pt idx="1760">
                  <c:v>40009</c:v>
                </c:pt>
                <c:pt idx="1761">
                  <c:v>40010</c:v>
                </c:pt>
                <c:pt idx="1762">
                  <c:v>40011</c:v>
                </c:pt>
                <c:pt idx="1763">
                  <c:v>40014</c:v>
                </c:pt>
                <c:pt idx="1764">
                  <c:v>40015</c:v>
                </c:pt>
                <c:pt idx="1765">
                  <c:v>40016</c:v>
                </c:pt>
                <c:pt idx="1766">
                  <c:v>40017</c:v>
                </c:pt>
                <c:pt idx="1767">
                  <c:v>40018</c:v>
                </c:pt>
                <c:pt idx="1768">
                  <c:v>40021</c:v>
                </c:pt>
                <c:pt idx="1769">
                  <c:v>40022</c:v>
                </c:pt>
                <c:pt idx="1770">
                  <c:v>40023</c:v>
                </c:pt>
                <c:pt idx="1771">
                  <c:v>40024</c:v>
                </c:pt>
                <c:pt idx="1772">
                  <c:v>40025</c:v>
                </c:pt>
                <c:pt idx="1773">
                  <c:v>40028</c:v>
                </c:pt>
                <c:pt idx="1774">
                  <c:v>40029</c:v>
                </c:pt>
                <c:pt idx="1775">
                  <c:v>40030</c:v>
                </c:pt>
                <c:pt idx="1776">
                  <c:v>40031</c:v>
                </c:pt>
                <c:pt idx="1777">
                  <c:v>40032</c:v>
                </c:pt>
                <c:pt idx="1778">
                  <c:v>40035</c:v>
                </c:pt>
                <c:pt idx="1779">
                  <c:v>40036</c:v>
                </c:pt>
                <c:pt idx="1780">
                  <c:v>40037</c:v>
                </c:pt>
                <c:pt idx="1781">
                  <c:v>40038</c:v>
                </c:pt>
                <c:pt idx="1782">
                  <c:v>40039</c:v>
                </c:pt>
                <c:pt idx="1783">
                  <c:v>40042</c:v>
                </c:pt>
                <c:pt idx="1784">
                  <c:v>40043</c:v>
                </c:pt>
                <c:pt idx="1785">
                  <c:v>40044</c:v>
                </c:pt>
                <c:pt idx="1786">
                  <c:v>40045</c:v>
                </c:pt>
                <c:pt idx="1787">
                  <c:v>40046</c:v>
                </c:pt>
                <c:pt idx="1788">
                  <c:v>40049</c:v>
                </c:pt>
                <c:pt idx="1789">
                  <c:v>40050</c:v>
                </c:pt>
                <c:pt idx="1790">
                  <c:v>40051</c:v>
                </c:pt>
                <c:pt idx="1791">
                  <c:v>40052</c:v>
                </c:pt>
                <c:pt idx="1792">
                  <c:v>40053</c:v>
                </c:pt>
                <c:pt idx="1793">
                  <c:v>40056</c:v>
                </c:pt>
                <c:pt idx="1794">
                  <c:v>40057</c:v>
                </c:pt>
                <c:pt idx="1795">
                  <c:v>40058</c:v>
                </c:pt>
                <c:pt idx="1796">
                  <c:v>40059</c:v>
                </c:pt>
                <c:pt idx="1797">
                  <c:v>40060</c:v>
                </c:pt>
                <c:pt idx="1798">
                  <c:v>40063</c:v>
                </c:pt>
                <c:pt idx="1799">
                  <c:v>40064</c:v>
                </c:pt>
                <c:pt idx="1800">
                  <c:v>40065</c:v>
                </c:pt>
                <c:pt idx="1801">
                  <c:v>40066</c:v>
                </c:pt>
                <c:pt idx="1802">
                  <c:v>40067</c:v>
                </c:pt>
                <c:pt idx="1803">
                  <c:v>40070</c:v>
                </c:pt>
                <c:pt idx="1804">
                  <c:v>40071</c:v>
                </c:pt>
                <c:pt idx="1805">
                  <c:v>40072</c:v>
                </c:pt>
                <c:pt idx="1806">
                  <c:v>40073</c:v>
                </c:pt>
                <c:pt idx="1807">
                  <c:v>40074</c:v>
                </c:pt>
                <c:pt idx="1808">
                  <c:v>40077</c:v>
                </c:pt>
                <c:pt idx="1809">
                  <c:v>40078</c:v>
                </c:pt>
                <c:pt idx="1810">
                  <c:v>40079</c:v>
                </c:pt>
                <c:pt idx="1811">
                  <c:v>40080</c:v>
                </c:pt>
                <c:pt idx="1812">
                  <c:v>40081</c:v>
                </c:pt>
                <c:pt idx="1813">
                  <c:v>40084</c:v>
                </c:pt>
                <c:pt idx="1814">
                  <c:v>40085</c:v>
                </c:pt>
                <c:pt idx="1815">
                  <c:v>40086</c:v>
                </c:pt>
                <c:pt idx="1816">
                  <c:v>40095</c:v>
                </c:pt>
                <c:pt idx="1817">
                  <c:v>40098</c:v>
                </c:pt>
                <c:pt idx="1818">
                  <c:v>40099</c:v>
                </c:pt>
                <c:pt idx="1819">
                  <c:v>40100</c:v>
                </c:pt>
                <c:pt idx="1820">
                  <c:v>40101</c:v>
                </c:pt>
                <c:pt idx="1821">
                  <c:v>40102</c:v>
                </c:pt>
                <c:pt idx="1822">
                  <c:v>40105</c:v>
                </c:pt>
                <c:pt idx="1823">
                  <c:v>40106</c:v>
                </c:pt>
                <c:pt idx="1824">
                  <c:v>40107</c:v>
                </c:pt>
                <c:pt idx="1825">
                  <c:v>40108</c:v>
                </c:pt>
                <c:pt idx="1826">
                  <c:v>40109</c:v>
                </c:pt>
                <c:pt idx="1827">
                  <c:v>40112</c:v>
                </c:pt>
                <c:pt idx="1828">
                  <c:v>40113</c:v>
                </c:pt>
                <c:pt idx="1829">
                  <c:v>40114</c:v>
                </c:pt>
                <c:pt idx="1830">
                  <c:v>40115</c:v>
                </c:pt>
                <c:pt idx="1831">
                  <c:v>40116</c:v>
                </c:pt>
                <c:pt idx="1832">
                  <c:v>40119</c:v>
                </c:pt>
                <c:pt idx="1833">
                  <c:v>40120</c:v>
                </c:pt>
                <c:pt idx="1834">
                  <c:v>40121</c:v>
                </c:pt>
                <c:pt idx="1835">
                  <c:v>40122</c:v>
                </c:pt>
                <c:pt idx="1836">
                  <c:v>40123</c:v>
                </c:pt>
                <c:pt idx="1837">
                  <c:v>40126</c:v>
                </c:pt>
                <c:pt idx="1838">
                  <c:v>40127</c:v>
                </c:pt>
                <c:pt idx="1839">
                  <c:v>40128</c:v>
                </c:pt>
                <c:pt idx="1840">
                  <c:v>40129</c:v>
                </c:pt>
                <c:pt idx="1841">
                  <c:v>40130</c:v>
                </c:pt>
                <c:pt idx="1842">
                  <c:v>40133</c:v>
                </c:pt>
                <c:pt idx="1843">
                  <c:v>40134</c:v>
                </c:pt>
                <c:pt idx="1844">
                  <c:v>40135</c:v>
                </c:pt>
                <c:pt idx="1845">
                  <c:v>40136</c:v>
                </c:pt>
                <c:pt idx="1846">
                  <c:v>40137</c:v>
                </c:pt>
                <c:pt idx="1847">
                  <c:v>40140</c:v>
                </c:pt>
                <c:pt idx="1848">
                  <c:v>40141</c:v>
                </c:pt>
                <c:pt idx="1849">
                  <c:v>40142</c:v>
                </c:pt>
                <c:pt idx="1850">
                  <c:v>40143</c:v>
                </c:pt>
                <c:pt idx="1851">
                  <c:v>40144</c:v>
                </c:pt>
                <c:pt idx="1852">
                  <c:v>40147</c:v>
                </c:pt>
                <c:pt idx="1853">
                  <c:v>40148</c:v>
                </c:pt>
                <c:pt idx="1854">
                  <c:v>40149</c:v>
                </c:pt>
                <c:pt idx="1855">
                  <c:v>40150</c:v>
                </c:pt>
                <c:pt idx="1856">
                  <c:v>40151</c:v>
                </c:pt>
                <c:pt idx="1857">
                  <c:v>40154</c:v>
                </c:pt>
                <c:pt idx="1858">
                  <c:v>40155</c:v>
                </c:pt>
                <c:pt idx="1859">
                  <c:v>40156</c:v>
                </c:pt>
                <c:pt idx="1860">
                  <c:v>40157</c:v>
                </c:pt>
                <c:pt idx="1861">
                  <c:v>40158</c:v>
                </c:pt>
                <c:pt idx="1862">
                  <c:v>40161</c:v>
                </c:pt>
                <c:pt idx="1863">
                  <c:v>40162</c:v>
                </c:pt>
                <c:pt idx="1864">
                  <c:v>40163</c:v>
                </c:pt>
                <c:pt idx="1865">
                  <c:v>40164</c:v>
                </c:pt>
                <c:pt idx="1866">
                  <c:v>40165</c:v>
                </c:pt>
                <c:pt idx="1867">
                  <c:v>40168</c:v>
                </c:pt>
                <c:pt idx="1868">
                  <c:v>40169</c:v>
                </c:pt>
                <c:pt idx="1869">
                  <c:v>40170</c:v>
                </c:pt>
                <c:pt idx="1870">
                  <c:v>40171</c:v>
                </c:pt>
                <c:pt idx="1871">
                  <c:v>40172</c:v>
                </c:pt>
                <c:pt idx="1872">
                  <c:v>40175</c:v>
                </c:pt>
                <c:pt idx="1873">
                  <c:v>40176</c:v>
                </c:pt>
                <c:pt idx="1874">
                  <c:v>40177</c:v>
                </c:pt>
                <c:pt idx="1875">
                  <c:v>40178</c:v>
                </c:pt>
                <c:pt idx="1876">
                  <c:v>40182</c:v>
                </c:pt>
                <c:pt idx="1877">
                  <c:v>40183</c:v>
                </c:pt>
                <c:pt idx="1878">
                  <c:v>40184</c:v>
                </c:pt>
                <c:pt idx="1879">
                  <c:v>40185</c:v>
                </c:pt>
                <c:pt idx="1880">
                  <c:v>40186</c:v>
                </c:pt>
                <c:pt idx="1881">
                  <c:v>40189</c:v>
                </c:pt>
                <c:pt idx="1882">
                  <c:v>40190</c:v>
                </c:pt>
                <c:pt idx="1883">
                  <c:v>40191</c:v>
                </c:pt>
                <c:pt idx="1884">
                  <c:v>40192</c:v>
                </c:pt>
                <c:pt idx="1885">
                  <c:v>40193</c:v>
                </c:pt>
                <c:pt idx="1886">
                  <c:v>40196</c:v>
                </c:pt>
                <c:pt idx="1887">
                  <c:v>40197</c:v>
                </c:pt>
                <c:pt idx="1888">
                  <c:v>40198</c:v>
                </c:pt>
                <c:pt idx="1889">
                  <c:v>40199</c:v>
                </c:pt>
                <c:pt idx="1890">
                  <c:v>40200</c:v>
                </c:pt>
                <c:pt idx="1891">
                  <c:v>40203</c:v>
                </c:pt>
                <c:pt idx="1892">
                  <c:v>40204</c:v>
                </c:pt>
                <c:pt idx="1893">
                  <c:v>40205</c:v>
                </c:pt>
                <c:pt idx="1894">
                  <c:v>40206</c:v>
                </c:pt>
                <c:pt idx="1895">
                  <c:v>40207</c:v>
                </c:pt>
                <c:pt idx="1896">
                  <c:v>40210</c:v>
                </c:pt>
                <c:pt idx="1897">
                  <c:v>40211</c:v>
                </c:pt>
                <c:pt idx="1898">
                  <c:v>40212</c:v>
                </c:pt>
                <c:pt idx="1899">
                  <c:v>40213</c:v>
                </c:pt>
                <c:pt idx="1900">
                  <c:v>40214</c:v>
                </c:pt>
                <c:pt idx="1901">
                  <c:v>40217</c:v>
                </c:pt>
                <c:pt idx="1902">
                  <c:v>40218</c:v>
                </c:pt>
                <c:pt idx="1903">
                  <c:v>40219</c:v>
                </c:pt>
                <c:pt idx="1904">
                  <c:v>40220</c:v>
                </c:pt>
                <c:pt idx="1905">
                  <c:v>40221</c:v>
                </c:pt>
                <c:pt idx="1906">
                  <c:v>40231</c:v>
                </c:pt>
                <c:pt idx="1907">
                  <c:v>40232</c:v>
                </c:pt>
                <c:pt idx="1908">
                  <c:v>40233</c:v>
                </c:pt>
                <c:pt idx="1909">
                  <c:v>40234</c:v>
                </c:pt>
                <c:pt idx="1910">
                  <c:v>40235</c:v>
                </c:pt>
                <c:pt idx="1911">
                  <c:v>40238</c:v>
                </c:pt>
                <c:pt idx="1912">
                  <c:v>40239</c:v>
                </c:pt>
                <c:pt idx="1913">
                  <c:v>40240</c:v>
                </c:pt>
                <c:pt idx="1914">
                  <c:v>40241</c:v>
                </c:pt>
                <c:pt idx="1915">
                  <c:v>40242</c:v>
                </c:pt>
                <c:pt idx="1916">
                  <c:v>40245</c:v>
                </c:pt>
                <c:pt idx="1917">
                  <c:v>40246</c:v>
                </c:pt>
                <c:pt idx="1918">
                  <c:v>40247</c:v>
                </c:pt>
                <c:pt idx="1919">
                  <c:v>40248</c:v>
                </c:pt>
                <c:pt idx="1920">
                  <c:v>40249</c:v>
                </c:pt>
                <c:pt idx="1921">
                  <c:v>40252</c:v>
                </c:pt>
                <c:pt idx="1922">
                  <c:v>40253</c:v>
                </c:pt>
                <c:pt idx="1923">
                  <c:v>40254</c:v>
                </c:pt>
                <c:pt idx="1924">
                  <c:v>40255</c:v>
                </c:pt>
                <c:pt idx="1925">
                  <c:v>40256</c:v>
                </c:pt>
                <c:pt idx="1926">
                  <c:v>40259</c:v>
                </c:pt>
                <c:pt idx="1927">
                  <c:v>40260</c:v>
                </c:pt>
                <c:pt idx="1928">
                  <c:v>40261</c:v>
                </c:pt>
                <c:pt idx="1929">
                  <c:v>40262</c:v>
                </c:pt>
                <c:pt idx="1930">
                  <c:v>40263</c:v>
                </c:pt>
                <c:pt idx="1931">
                  <c:v>40266</c:v>
                </c:pt>
                <c:pt idx="1932">
                  <c:v>40267</c:v>
                </c:pt>
                <c:pt idx="1933">
                  <c:v>40268</c:v>
                </c:pt>
                <c:pt idx="1934">
                  <c:v>40269</c:v>
                </c:pt>
                <c:pt idx="1935">
                  <c:v>40270</c:v>
                </c:pt>
                <c:pt idx="1936">
                  <c:v>40274</c:v>
                </c:pt>
                <c:pt idx="1937">
                  <c:v>40275</c:v>
                </c:pt>
                <c:pt idx="1938">
                  <c:v>40276</c:v>
                </c:pt>
                <c:pt idx="1939">
                  <c:v>40277</c:v>
                </c:pt>
                <c:pt idx="1940">
                  <c:v>40280</c:v>
                </c:pt>
                <c:pt idx="1941">
                  <c:v>40281</c:v>
                </c:pt>
                <c:pt idx="1942">
                  <c:v>40282</c:v>
                </c:pt>
                <c:pt idx="1943">
                  <c:v>40283</c:v>
                </c:pt>
                <c:pt idx="1944">
                  <c:v>40284</c:v>
                </c:pt>
                <c:pt idx="1945">
                  <c:v>40287</c:v>
                </c:pt>
                <c:pt idx="1946">
                  <c:v>40288</c:v>
                </c:pt>
                <c:pt idx="1947">
                  <c:v>40289</c:v>
                </c:pt>
                <c:pt idx="1948">
                  <c:v>40290</c:v>
                </c:pt>
                <c:pt idx="1949">
                  <c:v>40291</c:v>
                </c:pt>
                <c:pt idx="1950">
                  <c:v>40294</c:v>
                </c:pt>
                <c:pt idx="1951">
                  <c:v>40295</c:v>
                </c:pt>
                <c:pt idx="1952">
                  <c:v>40296</c:v>
                </c:pt>
                <c:pt idx="1953">
                  <c:v>40297</c:v>
                </c:pt>
                <c:pt idx="1954">
                  <c:v>40298</c:v>
                </c:pt>
                <c:pt idx="1955">
                  <c:v>40302</c:v>
                </c:pt>
                <c:pt idx="1956">
                  <c:v>40303</c:v>
                </c:pt>
                <c:pt idx="1957">
                  <c:v>40304</c:v>
                </c:pt>
                <c:pt idx="1958">
                  <c:v>40305</c:v>
                </c:pt>
                <c:pt idx="1959">
                  <c:v>40308</c:v>
                </c:pt>
                <c:pt idx="1960">
                  <c:v>40309</c:v>
                </c:pt>
                <c:pt idx="1961">
                  <c:v>40310</c:v>
                </c:pt>
                <c:pt idx="1962">
                  <c:v>40311</c:v>
                </c:pt>
                <c:pt idx="1963">
                  <c:v>40312</c:v>
                </c:pt>
                <c:pt idx="1964">
                  <c:v>40315</c:v>
                </c:pt>
                <c:pt idx="1965">
                  <c:v>40316</c:v>
                </c:pt>
                <c:pt idx="1966">
                  <c:v>40317</c:v>
                </c:pt>
                <c:pt idx="1967">
                  <c:v>40318</c:v>
                </c:pt>
                <c:pt idx="1968">
                  <c:v>40319</c:v>
                </c:pt>
                <c:pt idx="1969">
                  <c:v>40322</c:v>
                </c:pt>
                <c:pt idx="1970">
                  <c:v>40323</c:v>
                </c:pt>
                <c:pt idx="1971">
                  <c:v>40324</c:v>
                </c:pt>
                <c:pt idx="1972">
                  <c:v>40325</c:v>
                </c:pt>
                <c:pt idx="1973">
                  <c:v>40326</c:v>
                </c:pt>
                <c:pt idx="1974">
                  <c:v>40329</c:v>
                </c:pt>
                <c:pt idx="1975">
                  <c:v>40330</c:v>
                </c:pt>
                <c:pt idx="1976">
                  <c:v>40331</c:v>
                </c:pt>
                <c:pt idx="1977">
                  <c:v>40332</c:v>
                </c:pt>
                <c:pt idx="1978">
                  <c:v>40333</c:v>
                </c:pt>
                <c:pt idx="1979">
                  <c:v>40336</c:v>
                </c:pt>
                <c:pt idx="1980">
                  <c:v>40337</c:v>
                </c:pt>
                <c:pt idx="1981">
                  <c:v>40338</c:v>
                </c:pt>
                <c:pt idx="1982">
                  <c:v>40339</c:v>
                </c:pt>
                <c:pt idx="1983">
                  <c:v>40340</c:v>
                </c:pt>
                <c:pt idx="1984">
                  <c:v>40346</c:v>
                </c:pt>
                <c:pt idx="1985">
                  <c:v>40347</c:v>
                </c:pt>
                <c:pt idx="1986">
                  <c:v>40350</c:v>
                </c:pt>
                <c:pt idx="1987">
                  <c:v>40351</c:v>
                </c:pt>
                <c:pt idx="1988">
                  <c:v>40352</c:v>
                </c:pt>
                <c:pt idx="1989">
                  <c:v>40353</c:v>
                </c:pt>
                <c:pt idx="1990">
                  <c:v>40354</c:v>
                </c:pt>
                <c:pt idx="1991">
                  <c:v>40357</c:v>
                </c:pt>
                <c:pt idx="1992">
                  <c:v>40358</c:v>
                </c:pt>
                <c:pt idx="1993">
                  <c:v>40359</c:v>
                </c:pt>
                <c:pt idx="1994">
                  <c:v>40360</c:v>
                </c:pt>
                <c:pt idx="1995">
                  <c:v>40361</c:v>
                </c:pt>
                <c:pt idx="1996">
                  <c:v>40364</c:v>
                </c:pt>
                <c:pt idx="1997">
                  <c:v>40365</c:v>
                </c:pt>
                <c:pt idx="1998">
                  <c:v>40366</c:v>
                </c:pt>
                <c:pt idx="1999">
                  <c:v>40367</c:v>
                </c:pt>
                <c:pt idx="2000">
                  <c:v>40368</c:v>
                </c:pt>
                <c:pt idx="2001">
                  <c:v>40371</c:v>
                </c:pt>
                <c:pt idx="2002">
                  <c:v>40372</c:v>
                </c:pt>
                <c:pt idx="2003">
                  <c:v>40373</c:v>
                </c:pt>
                <c:pt idx="2004">
                  <c:v>40374</c:v>
                </c:pt>
                <c:pt idx="2005">
                  <c:v>40375</c:v>
                </c:pt>
                <c:pt idx="2006">
                  <c:v>40378</c:v>
                </c:pt>
                <c:pt idx="2007">
                  <c:v>40379</c:v>
                </c:pt>
                <c:pt idx="2008">
                  <c:v>40380</c:v>
                </c:pt>
                <c:pt idx="2009">
                  <c:v>40381</c:v>
                </c:pt>
                <c:pt idx="2010">
                  <c:v>40382</c:v>
                </c:pt>
                <c:pt idx="2011">
                  <c:v>40385</c:v>
                </c:pt>
                <c:pt idx="2012">
                  <c:v>40386</c:v>
                </c:pt>
                <c:pt idx="2013">
                  <c:v>40387</c:v>
                </c:pt>
                <c:pt idx="2014">
                  <c:v>40388</c:v>
                </c:pt>
                <c:pt idx="2015">
                  <c:v>40389</c:v>
                </c:pt>
                <c:pt idx="2016">
                  <c:v>40392</c:v>
                </c:pt>
                <c:pt idx="2017">
                  <c:v>40393</c:v>
                </c:pt>
                <c:pt idx="2018">
                  <c:v>40394</c:v>
                </c:pt>
                <c:pt idx="2019">
                  <c:v>40395</c:v>
                </c:pt>
                <c:pt idx="2020">
                  <c:v>40396</c:v>
                </c:pt>
                <c:pt idx="2021">
                  <c:v>40399</c:v>
                </c:pt>
                <c:pt idx="2022">
                  <c:v>40400</c:v>
                </c:pt>
                <c:pt idx="2023">
                  <c:v>40401</c:v>
                </c:pt>
                <c:pt idx="2024">
                  <c:v>40402</c:v>
                </c:pt>
                <c:pt idx="2025">
                  <c:v>40403</c:v>
                </c:pt>
                <c:pt idx="2026">
                  <c:v>40406</c:v>
                </c:pt>
                <c:pt idx="2027">
                  <c:v>40407</c:v>
                </c:pt>
                <c:pt idx="2028">
                  <c:v>40408</c:v>
                </c:pt>
                <c:pt idx="2029">
                  <c:v>40409</c:v>
                </c:pt>
                <c:pt idx="2030">
                  <c:v>40410</c:v>
                </c:pt>
                <c:pt idx="2031">
                  <c:v>40413</c:v>
                </c:pt>
                <c:pt idx="2032">
                  <c:v>40414</c:v>
                </c:pt>
                <c:pt idx="2033">
                  <c:v>40415</c:v>
                </c:pt>
                <c:pt idx="2034">
                  <c:v>40416</c:v>
                </c:pt>
                <c:pt idx="2035">
                  <c:v>40417</c:v>
                </c:pt>
                <c:pt idx="2036">
                  <c:v>40420</c:v>
                </c:pt>
                <c:pt idx="2037">
                  <c:v>40421</c:v>
                </c:pt>
                <c:pt idx="2038">
                  <c:v>40422</c:v>
                </c:pt>
                <c:pt idx="2039">
                  <c:v>40423</c:v>
                </c:pt>
                <c:pt idx="2040">
                  <c:v>40424</c:v>
                </c:pt>
                <c:pt idx="2041">
                  <c:v>40427</c:v>
                </c:pt>
                <c:pt idx="2042">
                  <c:v>40428</c:v>
                </c:pt>
                <c:pt idx="2043">
                  <c:v>40429</c:v>
                </c:pt>
                <c:pt idx="2044">
                  <c:v>40430</c:v>
                </c:pt>
                <c:pt idx="2045">
                  <c:v>40431</c:v>
                </c:pt>
                <c:pt idx="2046">
                  <c:v>40434</c:v>
                </c:pt>
                <c:pt idx="2047">
                  <c:v>40435</c:v>
                </c:pt>
                <c:pt idx="2048">
                  <c:v>40436</c:v>
                </c:pt>
                <c:pt idx="2049">
                  <c:v>40437</c:v>
                </c:pt>
                <c:pt idx="2050">
                  <c:v>40438</c:v>
                </c:pt>
                <c:pt idx="2051">
                  <c:v>40441</c:v>
                </c:pt>
                <c:pt idx="2052">
                  <c:v>40442</c:v>
                </c:pt>
                <c:pt idx="2053">
                  <c:v>40448</c:v>
                </c:pt>
                <c:pt idx="2054">
                  <c:v>40449</c:v>
                </c:pt>
                <c:pt idx="2055">
                  <c:v>40450</c:v>
                </c:pt>
                <c:pt idx="2056">
                  <c:v>40451</c:v>
                </c:pt>
                <c:pt idx="2057">
                  <c:v>40459</c:v>
                </c:pt>
                <c:pt idx="2058">
                  <c:v>40462</c:v>
                </c:pt>
                <c:pt idx="2059">
                  <c:v>40463</c:v>
                </c:pt>
                <c:pt idx="2060">
                  <c:v>40464</c:v>
                </c:pt>
                <c:pt idx="2061">
                  <c:v>40465</c:v>
                </c:pt>
                <c:pt idx="2062">
                  <c:v>40466</c:v>
                </c:pt>
                <c:pt idx="2063">
                  <c:v>40469</c:v>
                </c:pt>
                <c:pt idx="2064">
                  <c:v>40470</c:v>
                </c:pt>
                <c:pt idx="2065">
                  <c:v>40471</c:v>
                </c:pt>
                <c:pt idx="2066">
                  <c:v>40472</c:v>
                </c:pt>
                <c:pt idx="2067">
                  <c:v>40473</c:v>
                </c:pt>
                <c:pt idx="2068">
                  <c:v>40476</c:v>
                </c:pt>
                <c:pt idx="2069">
                  <c:v>40477</c:v>
                </c:pt>
                <c:pt idx="2070">
                  <c:v>40478</c:v>
                </c:pt>
                <c:pt idx="2071">
                  <c:v>40479</c:v>
                </c:pt>
                <c:pt idx="2072">
                  <c:v>40480</c:v>
                </c:pt>
                <c:pt idx="2073">
                  <c:v>40483</c:v>
                </c:pt>
                <c:pt idx="2074">
                  <c:v>40484</c:v>
                </c:pt>
                <c:pt idx="2075">
                  <c:v>40485</c:v>
                </c:pt>
                <c:pt idx="2076">
                  <c:v>40486</c:v>
                </c:pt>
                <c:pt idx="2077">
                  <c:v>40487</c:v>
                </c:pt>
                <c:pt idx="2078">
                  <c:v>40490</c:v>
                </c:pt>
                <c:pt idx="2079">
                  <c:v>40491</c:v>
                </c:pt>
                <c:pt idx="2080">
                  <c:v>40492</c:v>
                </c:pt>
                <c:pt idx="2081">
                  <c:v>40493</c:v>
                </c:pt>
                <c:pt idx="2082">
                  <c:v>40494</c:v>
                </c:pt>
                <c:pt idx="2083">
                  <c:v>40497</c:v>
                </c:pt>
                <c:pt idx="2084">
                  <c:v>40498</c:v>
                </c:pt>
                <c:pt idx="2085">
                  <c:v>40499</c:v>
                </c:pt>
                <c:pt idx="2086">
                  <c:v>40500</c:v>
                </c:pt>
                <c:pt idx="2087">
                  <c:v>40501</c:v>
                </c:pt>
                <c:pt idx="2088">
                  <c:v>40504</c:v>
                </c:pt>
                <c:pt idx="2089">
                  <c:v>40505</c:v>
                </c:pt>
                <c:pt idx="2090">
                  <c:v>40506</c:v>
                </c:pt>
                <c:pt idx="2091">
                  <c:v>40507</c:v>
                </c:pt>
                <c:pt idx="2092">
                  <c:v>40508</c:v>
                </c:pt>
                <c:pt idx="2093">
                  <c:v>40511</c:v>
                </c:pt>
                <c:pt idx="2094">
                  <c:v>40512</c:v>
                </c:pt>
                <c:pt idx="2095">
                  <c:v>40513</c:v>
                </c:pt>
                <c:pt idx="2096">
                  <c:v>40514</c:v>
                </c:pt>
                <c:pt idx="2097">
                  <c:v>40515</c:v>
                </c:pt>
                <c:pt idx="2098">
                  <c:v>40518</c:v>
                </c:pt>
                <c:pt idx="2099">
                  <c:v>40519</c:v>
                </c:pt>
                <c:pt idx="2100">
                  <c:v>40520</c:v>
                </c:pt>
                <c:pt idx="2101">
                  <c:v>40521</c:v>
                </c:pt>
                <c:pt idx="2102">
                  <c:v>40522</c:v>
                </c:pt>
                <c:pt idx="2103">
                  <c:v>40525</c:v>
                </c:pt>
                <c:pt idx="2104">
                  <c:v>40526</c:v>
                </c:pt>
                <c:pt idx="2105">
                  <c:v>40527</c:v>
                </c:pt>
                <c:pt idx="2106">
                  <c:v>40528</c:v>
                </c:pt>
                <c:pt idx="2107">
                  <c:v>40529</c:v>
                </c:pt>
                <c:pt idx="2108">
                  <c:v>40532</c:v>
                </c:pt>
                <c:pt idx="2109">
                  <c:v>40533</c:v>
                </c:pt>
                <c:pt idx="2110">
                  <c:v>40534</c:v>
                </c:pt>
                <c:pt idx="2111">
                  <c:v>40535</c:v>
                </c:pt>
                <c:pt idx="2112">
                  <c:v>40536</c:v>
                </c:pt>
                <c:pt idx="2113">
                  <c:v>40539</c:v>
                </c:pt>
                <c:pt idx="2114">
                  <c:v>40540</c:v>
                </c:pt>
                <c:pt idx="2115">
                  <c:v>40541</c:v>
                </c:pt>
                <c:pt idx="2116">
                  <c:v>40542</c:v>
                </c:pt>
                <c:pt idx="2117">
                  <c:v>40543</c:v>
                </c:pt>
                <c:pt idx="2118">
                  <c:v>40547</c:v>
                </c:pt>
                <c:pt idx="2119">
                  <c:v>40548</c:v>
                </c:pt>
                <c:pt idx="2120">
                  <c:v>40549</c:v>
                </c:pt>
                <c:pt idx="2121">
                  <c:v>40550</c:v>
                </c:pt>
                <c:pt idx="2122">
                  <c:v>40553</c:v>
                </c:pt>
                <c:pt idx="2123">
                  <c:v>40554</c:v>
                </c:pt>
                <c:pt idx="2124">
                  <c:v>40555</c:v>
                </c:pt>
                <c:pt idx="2125">
                  <c:v>40556</c:v>
                </c:pt>
                <c:pt idx="2126">
                  <c:v>40557</c:v>
                </c:pt>
                <c:pt idx="2127">
                  <c:v>40560</c:v>
                </c:pt>
                <c:pt idx="2128">
                  <c:v>40561</c:v>
                </c:pt>
                <c:pt idx="2129">
                  <c:v>40562</c:v>
                </c:pt>
                <c:pt idx="2130">
                  <c:v>40563</c:v>
                </c:pt>
                <c:pt idx="2131">
                  <c:v>40564</c:v>
                </c:pt>
                <c:pt idx="2132">
                  <c:v>40567</c:v>
                </c:pt>
                <c:pt idx="2133">
                  <c:v>40568</c:v>
                </c:pt>
                <c:pt idx="2134">
                  <c:v>40569</c:v>
                </c:pt>
                <c:pt idx="2135">
                  <c:v>40570</c:v>
                </c:pt>
                <c:pt idx="2136">
                  <c:v>40571</c:v>
                </c:pt>
                <c:pt idx="2137">
                  <c:v>40574</c:v>
                </c:pt>
                <c:pt idx="2138">
                  <c:v>40575</c:v>
                </c:pt>
                <c:pt idx="2139">
                  <c:v>40583</c:v>
                </c:pt>
                <c:pt idx="2140">
                  <c:v>40584</c:v>
                </c:pt>
                <c:pt idx="2141">
                  <c:v>40585</c:v>
                </c:pt>
                <c:pt idx="2142">
                  <c:v>40588</c:v>
                </c:pt>
                <c:pt idx="2143">
                  <c:v>40589</c:v>
                </c:pt>
                <c:pt idx="2144">
                  <c:v>40590</c:v>
                </c:pt>
                <c:pt idx="2145">
                  <c:v>40591</c:v>
                </c:pt>
                <c:pt idx="2146">
                  <c:v>40592</c:v>
                </c:pt>
                <c:pt idx="2147">
                  <c:v>40595</c:v>
                </c:pt>
                <c:pt idx="2148">
                  <c:v>40596</c:v>
                </c:pt>
                <c:pt idx="2149">
                  <c:v>40597</c:v>
                </c:pt>
                <c:pt idx="2150">
                  <c:v>40598</c:v>
                </c:pt>
                <c:pt idx="2151">
                  <c:v>40599</c:v>
                </c:pt>
                <c:pt idx="2152">
                  <c:v>40602</c:v>
                </c:pt>
                <c:pt idx="2153">
                  <c:v>40603</c:v>
                </c:pt>
                <c:pt idx="2154">
                  <c:v>40604</c:v>
                </c:pt>
                <c:pt idx="2155">
                  <c:v>40605</c:v>
                </c:pt>
                <c:pt idx="2156">
                  <c:v>40606</c:v>
                </c:pt>
                <c:pt idx="2157">
                  <c:v>40609</c:v>
                </c:pt>
                <c:pt idx="2158">
                  <c:v>40610</c:v>
                </c:pt>
                <c:pt idx="2159">
                  <c:v>40611</c:v>
                </c:pt>
                <c:pt idx="2160">
                  <c:v>40612</c:v>
                </c:pt>
                <c:pt idx="2161">
                  <c:v>40613</c:v>
                </c:pt>
                <c:pt idx="2162">
                  <c:v>40616</c:v>
                </c:pt>
                <c:pt idx="2163">
                  <c:v>40617</c:v>
                </c:pt>
                <c:pt idx="2164">
                  <c:v>40618</c:v>
                </c:pt>
                <c:pt idx="2165">
                  <c:v>40619</c:v>
                </c:pt>
                <c:pt idx="2166">
                  <c:v>40620</c:v>
                </c:pt>
                <c:pt idx="2167">
                  <c:v>40623</c:v>
                </c:pt>
                <c:pt idx="2168">
                  <c:v>40624</c:v>
                </c:pt>
                <c:pt idx="2169">
                  <c:v>40625</c:v>
                </c:pt>
                <c:pt idx="2170">
                  <c:v>40626</c:v>
                </c:pt>
                <c:pt idx="2171">
                  <c:v>40627</c:v>
                </c:pt>
                <c:pt idx="2172">
                  <c:v>40630</c:v>
                </c:pt>
                <c:pt idx="2173">
                  <c:v>40631</c:v>
                </c:pt>
                <c:pt idx="2174">
                  <c:v>40632</c:v>
                </c:pt>
                <c:pt idx="2175">
                  <c:v>40633</c:v>
                </c:pt>
                <c:pt idx="2176">
                  <c:v>40634</c:v>
                </c:pt>
                <c:pt idx="2177">
                  <c:v>40639</c:v>
                </c:pt>
                <c:pt idx="2178">
                  <c:v>40640</c:v>
                </c:pt>
                <c:pt idx="2179">
                  <c:v>40641</c:v>
                </c:pt>
                <c:pt idx="2180">
                  <c:v>40644</c:v>
                </c:pt>
                <c:pt idx="2181">
                  <c:v>40645</c:v>
                </c:pt>
                <c:pt idx="2182">
                  <c:v>40646</c:v>
                </c:pt>
                <c:pt idx="2183">
                  <c:v>40647</c:v>
                </c:pt>
                <c:pt idx="2184">
                  <c:v>40648</c:v>
                </c:pt>
                <c:pt idx="2185">
                  <c:v>40651</c:v>
                </c:pt>
                <c:pt idx="2186">
                  <c:v>40652</c:v>
                </c:pt>
                <c:pt idx="2187">
                  <c:v>40653</c:v>
                </c:pt>
                <c:pt idx="2188">
                  <c:v>40654</c:v>
                </c:pt>
                <c:pt idx="2189">
                  <c:v>40655</c:v>
                </c:pt>
                <c:pt idx="2190">
                  <c:v>40658</c:v>
                </c:pt>
                <c:pt idx="2191">
                  <c:v>40659</c:v>
                </c:pt>
                <c:pt idx="2192">
                  <c:v>40660</c:v>
                </c:pt>
                <c:pt idx="2193">
                  <c:v>40661</c:v>
                </c:pt>
                <c:pt idx="2194">
                  <c:v>40662</c:v>
                </c:pt>
                <c:pt idx="2195">
                  <c:v>40666</c:v>
                </c:pt>
                <c:pt idx="2196">
                  <c:v>40667</c:v>
                </c:pt>
                <c:pt idx="2197">
                  <c:v>40668</c:v>
                </c:pt>
                <c:pt idx="2198">
                  <c:v>40669</c:v>
                </c:pt>
                <c:pt idx="2199">
                  <c:v>40672</c:v>
                </c:pt>
                <c:pt idx="2200">
                  <c:v>40673</c:v>
                </c:pt>
                <c:pt idx="2201">
                  <c:v>40674</c:v>
                </c:pt>
                <c:pt idx="2202">
                  <c:v>40675</c:v>
                </c:pt>
                <c:pt idx="2203">
                  <c:v>40676</c:v>
                </c:pt>
                <c:pt idx="2204">
                  <c:v>40679</c:v>
                </c:pt>
                <c:pt idx="2205">
                  <c:v>40680</c:v>
                </c:pt>
                <c:pt idx="2206">
                  <c:v>40681</c:v>
                </c:pt>
                <c:pt idx="2207">
                  <c:v>40682</c:v>
                </c:pt>
                <c:pt idx="2208">
                  <c:v>40683</c:v>
                </c:pt>
                <c:pt idx="2209">
                  <c:v>40686</c:v>
                </c:pt>
                <c:pt idx="2210">
                  <c:v>40687</c:v>
                </c:pt>
                <c:pt idx="2211">
                  <c:v>40688</c:v>
                </c:pt>
                <c:pt idx="2212">
                  <c:v>40689</c:v>
                </c:pt>
                <c:pt idx="2213">
                  <c:v>40690</c:v>
                </c:pt>
                <c:pt idx="2214">
                  <c:v>40693</c:v>
                </c:pt>
                <c:pt idx="2215">
                  <c:v>40694</c:v>
                </c:pt>
                <c:pt idx="2216">
                  <c:v>40695</c:v>
                </c:pt>
                <c:pt idx="2217">
                  <c:v>40696</c:v>
                </c:pt>
                <c:pt idx="2218">
                  <c:v>40697</c:v>
                </c:pt>
                <c:pt idx="2219">
                  <c:v>40701</c:v>
                </c:pt>
                <c:pt idx="2220">
                  <c:v>40702</c:v>
                </c:pt>
                <c:pt idx="2221">
                  <c:v>40703</c:v>
                </c:pt>
                <c:pt idx="2222">
                  <c:v>40704</c:v>
                </c:pt>
                <c:pt idx="2223">
                  <c:v>40707</c:v>
                </c:pt>
                <c:pt idx="2224">
                  <c:v>40708</c:v>
                </c:pt>
                <c:pt idx="2225">
                  <c:v>40709</c:v>
                </c:pt>
                <c:pt idx="2226">
                  <c:v>40710</c:v>
                </c:pt>
                <c:pt idx="2227">
                  <c:v>40711</c:v>
                </c:pt>
                <c:pt idx="2228">
                  <c:v>40714</c:v>
                </c:pt>
                <c:pt idx="2229">
                  <c:v>40715</c:v>
                </c:pt>
                <c:pt idx="2230">
                  <c:v>40716</c:v>
                </c:pt>
                <c:pt idx="2231">
                  <c:v>40717</c:v>
                </c:pt>
                <c:pt idx="2232">
                  <c:v>40718</c:v>
                </c:pt>
                <c:pt idx="2233">
                  <c:v>40721</c:v>
                </c:pt>
                <c:pt idx="2234">
                  <c:v>40722</c:v>
                </c:pt>
                <c:pt idx="2235">
                  <c:v>40723</c:v>
                </c:pt>
                <c:pt idx="2236">
                  <c:v>40724</c:v>
                </c:pt>
                <c:pt idx="2237">
                  <c:v>40725</c:v>
                </c:pt>
                <c:pt idx="2238">
                  <c:v>40728</c:v>
                </c:pt>
                <c:pt idx="2239">
                  <c:v>40729</c:v>
                </c:pt>
                <c:pt idx="2240">
                  <c:v>40730</c:v>
                </c:pt>
                <c:pt idx="2241">
                  <c:v>40731</c:v>
                </c:pt>
                <c:pt idx="2242">
                  <c:v>40732</c:v>
                </c:pt>
                <c:pt idx="2243">
                  <c:v>40735</c:v>
                </c:pt>
                <c:pt idx="2244">
                  <c:v>40736</c:v>
                </c:pt>
                <c:pt idx="2245">
                  <c:v>40737</c:v>
                </c:pt>
                <c:pt idx="2246">
                  <c:v>40738</c:v>
                </c:pt>
                <c:pt idx="2247">
                  <c:v>40739</c:v>
                </c:pt>
                <c:pt idx="2248">
                  <c:v>40742</c:v>
                </c:pt>
                <c:pt idx="2249">
                  <c:v>40743</c:v>
                </c:pt>
                <c:pt idx="2250">
                  <c:v>40744</c:v>
                </c:pt>
                <c:pt idx="2251">
                  <c:v>40745</c:v>
                </c:pt>
                <c:pt idx="2252">
                  <c:v>40746</c:v>
                </c:pt>
                <c:pt idx="2253">
                  <c:v>40749</c:v>
                </c:pt>
                <c:pt idx="2254">
                  <c:v>40750</c:v>
                </c:pt>
                <c:pt idx="2255">
                  <c:v>40751</c:v>
                </c:pt>
                <c:pt idx="2256">
                  <c:v>40752</c:v>
                </c:pt>
                <c:pt idx="2257">
                  <c:v>40753</c:v>
                </c:pt>
                <c:pt idx="2258">
                  <c:v>40756</c:v>
                </c:pt>
                <c:pt idx="2259">
                  <c:v>40757</c:v>
                </c:pt>
                <c:pt idx="2260">
                  <c:v>40758</c:v>
                </c:pt>
                <c:pt idx="2261">
                  <c:v>40759</c:v>
                </c:pt>
                <c:pt idx="2262">
                  <c:v>40760</c:v>
                </c:pt>
                <c:pt idx="2263">
                  <c:v>40763</c:v>
                </c:pt>
                <c:pt idx="2264">
                  <c:v>40764</c:v>
                </c:pt>
                <c:pt idx="2265">
                  <c:v>40765</c:v>
                </c:pt>
                <c:pt idx="2266">
                  <c:v>40766</c:v>
                </c:pt>
                <c:pt idx="2267">
                  <c:v>40767</c:v>
                </c:pt>
                <c:pt idx="2268">
                  <c:v>40770</c:v>
                </c:pt>
                <c:pt idx="2269">
                  <c:v>40771</c:v>
                </c:pt>
                <c:pt idx="2270">
                  <c:v>40772</c:v>
                </c:pt>
                <c:pt idx="2271">
                  <c:v>40773</c:v>
                </c:pt>
                <c:pt idx="2272">
                  <c:v>40774</c:v>
                </c:pt>
                <c:pt idx="2273">
                  <c:v>40777</c:v>
                </c:pt>
                <c:pt idx="2274">
                  <c:v>40778</c:v>
                </c:pt>
                <c:pt idx="2275">
                  <c:v>40779</c:v>
                </c:pt>
                <c:pt idx="2276">
                  <c:v>40780</c:v>
                </c:pt>
                <c:pt idx="2277">
                  <c:v>40781</c:v>
                </c:pt>
                <c:pt idx="2278">
                  <c:v>40784</c:v>
                </c:pt>
                <c:pt idx="2279">
                  <c:v>40785</c:v>
                </c:pt>
                <c:pt idx="2280">
                  <c:v>40786</c:v>
                </c:pt>
                <c:pt idx="2281">
                  <c:v>40787</c:v>
                </c:pt>
                <c:pt idx="2282">
                  <c:v>40788</c:v>
                </c:pt>
                <c:pt idx="2283">
                  <c:v>40791</c:v>
                </c:pt>
                <c:pt idx="2284">
                  <c:v>40792</c:v>
                </c:pt>
                <c:pt idx="2285">
                  <c:v>40793</c:v>
                </c:pt>
                <c:pt idx="2286">
                  <c:v>40794</c:v>
                </c:pt>
                <c:pt idx="2287">
                  <c:v>40795</c:v>
                </c:pt>
                <c:pt idx="2288">
                  <c:v>40799</c:v>
                </c:pt>
                <c:pt idx="2289">
                  <c:v>40800</c:v>
                </c:pt>
                <c:pt idx="2290">
                  <c:v>40801</c:v>
                </c:pt>
                <c:pt idx="2291">
                  <c:v>40802</c:v>
                </c:pt>
                <c:pt idx="2292">
                  <c:v>40805</c:v>
                </c:pt>
                <c:pt idx="2293">
                  <c:v>40806</c:v>
                </c:pt>
                <c:pt idx="2294">
                  <c:v>40807</c:v>
                </c:pt>
                <c:pt idx="2295">
                  <c:v>40808</c:v>
                </c:pt>
                <c:pt idx="2296">
                  <c:v>40809</c:v>
                </c:pt>
                <c:pt idx="2297">
                  <c:v>40812</c:v>
                </c:pt>
                <c:pt idx="2298">
                  <c:v>40813</c:v>
                </c:pt>
                <c:pt idx="2299">
                  <c:v>40814</c:v>
                </c:pt>
                <c:pt idx="2300">
                  <c:v>40815</c:v>
                </c:pt>
                <c:pt idx="2301">
                  <c:v>40816</c:v>
                </c:pt>
                <c:pt idx="2302">
                  <c:v>40826</c:v>
                </c:pt>
                <c:pt idx="2303">
                  <c:v>40827</c:v>
                </c:pt>
                <c:pt idx="2304">
                  <c:v>40828</c:v>
                </c:pt>
                <c:pt idx="2305">
                  <c:v>40829</c:v>
                </c:pt>
                <c:pt idx="2306">
                  <c:v>40830</c:v>
                </c:pt>
                <c:pt idx="2307">
                  <c:v>40833</c:v>
                </c:pt>
                <c:pt idx="2308">
                  <c:v>40834</c:v>
                </c:pt>
                <c:pt idx="2309">
                  <c:v>40835</c:v>
                </c:pt>
                <c:pt idx="2310">
                  <c:v>40836</c:v>
                </c:pt>
                <c:pt idx="2311">
                  <c:v>40837</c:v>
                </c:pt>
                <c:pt idx="2312">
                  <c:v>40840</c:v>
                </c:pt>
                <c:pt idx="2313">
                  <c:v>40841</c:v>
                </c:pt>
                <c:pt idx="2314">
                  <c:v>40842</c:v>
                </c:pt>
                <c:pt idx="2315">
                  <c:v>40843</c:v>
                </c:pt>
                <c:pt idx="2316">
                  <c:v>40844</c:v>
                </c:pt>
                <c:pt idx="2317">
                  <c:v>40847</c:v>
                </c:pt>
                <c:pt idx="2318">
                  <c:v>40848</c:v>
                </c:pt>
                <c:pt idx="2319">
                  <c:v>40849</c:v>
                </c:pt>
                <c:pt idx="2320">
                  <c:v>40850</c:v>
                </c:pt>
                <c:pt idx="2321">
                  <c:v>40851</c:v>
                </c:pt>
                <c:pt idx="2322">
                  <c:v>40854</c:v>
                </c:pt>
                <c:pt idx="2323">
                  <c:v>40855</c:v>
                </c:pt>
                <c:pt idx="2324">
                  <c:v>40856</c:v>
                </c:pt>
                <c:pt idx="2325">
                  <c:v>40857</c:v>
                </c:pt>
                <c:pt idx="2326">
                  <c:v>40858</c:v>
                </c:pt>
                <c:pt idx="2327">
                  <c:v>40861</c:v>
                </c:pt>
                <c:pt idx="2328">
                  <c:v>40862</c:v>
                </c:pt>
                <c:pt idx="2329">
                  <c:v>40863</c:v>
                </c:pt>
                <c:pt idx="2330">
                  <c:v>40864</c:v>
                </c:pt>
                <c:pt idx="2331">
                  <c:v>40865</c:v>
                </c:pt>
                <c:pt idx="2332">
                  <c:v>40868</c:v>
                </c:pt>
                <c:pt idx="2333">
                  <c:v>40869</c:v>
                </c:pt>
                <c:pt idx="2334">
                  <c:v>40870</c:v>
                </c:pt>
                <c:pt idx="2335">
                  <c:v>40871</c:v>
                </c:pt>
                <c:pt idx="2336">
                  <c:v>40872</c:v>
                </c:pt>
                <c:pt idx="2337">
                  <c:v>40875</c:v>
                </c:pt>
                <c:pt idx="2338">
                  <c:v>40876</c:v>
                </c:pt>
                <c:pt idx="2339">
                  <c:v>40877</c:v>
                </c:pt>
                <c:pt idx="2340">
                  <c:v>40878</c:v>
                </c:pt>
                <c:pt idx="2341">
                  <c:v>40879</c:v>
                </c:pt>
                <c:pt idx="2342">
                  <c:v>40882</c:v>
                </c:pt>
                <c:pt idx="2343">
                  <c:v>40883</c:v>
                </c:pt>
                <c:pt idx="2344">
                  <c:v>40884</c:v>
                </c:pt>
                <c:pt idx="2345">
                  <c:v>40885</c:v>
                </c:pt>
                <c:pt idx="2346">
                  <c:v>40886</c:v>
                </c:pt>
                <c:pt idx="2347">
                  <c:v>40889</c:v>
                </c:pt>
                <c:pt idx="2348">
                  <c:v>40890</c:v>
                </c:pt>
                <c:pt idx="2349">
                  <c:v>40891</c:v>
                </c:pt>
                <c:pt idx="2350">
                  <c:v>40892</c:v>
                </c:pt>
                <c:pt idx="2351">
                  <c:v>40893</c:v>
                </c:pt>
                <c:pt idx="2352">
                  <c:v>40896</c:v>
                </c:pt>
                <c:pt idx="2353">
                  <c:v>40897</c:v>
                </c:pt>
                <c:pt idx="2354">
                  <c:v>40898</c:v>
                </c:pt>
                <c:pt idx="2355">
                  <c:v>40899</c:v>
                </c:pt>
                <c:pt idx="2356">
                  <c:v>40900</c:v>
                </c:pt>
                <c:pt idx="2357">
                  <c:v>40903</c:v>
                </c:pt>
                <c:pt idx="2358">
                  <c:v>40904</c:v>
                </c:pt>
                <c:pt idx="2359">
                  <c:v>40905</c:v>
                </c:pt>
                <c:pt idx="2360">
                  <c:v>40906</c:v>
                </c:pt>
                <c:pt idx="2361">
                  <c:v>40907</c:v>
                </c:pt>
                <c:pt idx="2362">
                  <c:v>40912</c:v>
                </c:pt>
                <c:pt idx="2363">
                  <c:v>40913</c:v>
                </c:pt>
                <c:pt idx="2364">
                  <c:v>40914</c:v>
                </c:pt>
                <c:pt idx="2365">
                  <c:v>40917</c:v>
                </c:pt>
                <c:pt idx="2366">
                  <c:v>40918</c:v>
                </c:pt>
                <c:pt idx="2367">
                  <c:v>40919</c:v>
                </c:pt>
                <c:pt idx="2368">
                  <c:v>40920</c:v>
                </c:pt>
                <c:pt idx="2369">
                  <c:v>40921</c:v>
                </c:pt>
                <c:pt idx="2370">
                  <c:v>40924</c:v>
                </c:pt>
                <c:pt idx="2371">
                  <c:v>40925</c:v>
                </c:pt>
                <c:pt idx="2372">
                  <c:v>40926</c:v>
                </c:pt>
                <c:pt idx="2373">
                  <c:v>40927</c:v>
                </c:pt>
                <c:pt idx="2374">
                  <c:v>40928</c:v>
                </c:pt>
                <c:pt idx="2375">
                  <c:v>40938</c:v>
                </c:pt>
                <c:pt idx="2376">
                  <c:v>40939</c:v>
                </c:pt>
                <c:pt idx="2377">
                  <c:v>40940</c:v>
                </c:pt>
                <c:pt idx="2378">
                  <c:v>40941</c:v>
                </c:pt>
                <c:pt idx="2379">
                  <c:v>40942</c:v>
                </c:pt>
                <c:pt idx="2380">
                  <c:v>40945</c:v>
                </c:pt>
                <c:pt idx="2381">
                  <c:v>40946</c:v>
                </c:pt>
                <c:pt idx="2382">
                  <c:v>40947</c:v>
                </c:pt>
                <c:pt idx="2383">
                  <c:v>40948</c:v>
                </c:pt>
                <c:pt idx="2384">
                  <c:v>40949</c:v>
                </c:pt>
                <c:pt idx="2385">
                  <c:v>40952</c:v>
                </c:pt>
                <c:pt idx="2386">
                  <c:v>40953</c:v>
                </c:pt>
                <c:pt idx="2387">
                  <c:v>40954</c:v>
                </c:pt>
                <c:pt idx="2388">
                  <c:v>40955</c:v>
                </c:pt>
                <c:pt idx="2389">
                  <c:v>40956</c:v>
                </c:pt>
                <c:pt idx="2390">
                  <c:v>40959</c:v>
                </c:pt>
                <c:pt idx="2391">
                  <c:v>40960</c:v>
                </c:pt>
                <c:pt idx="2392">
                  <c:v>40961</c:v>
                </c:pt>
                <c:pt idx="2393">
                  <c:v>40962</c:v>
                </c:pt>
                <c:pt idx="2394">
                  <c:v>40963</c:v>
                </c:pt>
                <c:pt idx="2395">
                  <c:v>40966</c:v>
                </c:pt>
                <c:pt idx="2396">
                  <c:v>40967</c:v>
                </c:pt>
                <c:pt idx="2397">
                  <c:v>40968</c:v>
                </c:pt>
                <c:pt idx="2398">
                  <c:v>40969</c:v>
                </c:pt>
                <c:pt idx="2399">
                  <c:v>40970</c:v>
                </c:pt>
                <c:pt idx="2400">
                  <c:v>40973</c:v>
                </c:pt>
                <c:pt idx="2401">
                  <c:v>40974</c:v>
                </c:pt>
                <c:pt idx="2402">
                  <c:v>40975</c:v>
                </c:pt>
                <c:pt idx="2403">
                  <c:v>40976</c:v>
                </c:pt>
                <c:pt idx="2404">
                  <c:v>40977</c:v>
                </c:pt>
                <c:pt idx="2405">
                  <c:v>40980</c:v>
                </c:pt>
                <c:pt idx="2406">
                  <c:v>40981</c:v>
                </c:pt>
                <c:pt idx="2407">
                  <c:v>40982</c:v>
                </c:pt>
                <c:pt idx="2408">
                  <c:v>40983</c:v>
                </c:pt>
                <c:pt idx="2409">
                  <c:v>40984</c:v>
                </c:pt>
                <c:pt idx="2410">
                  <c:v>40987</c:v>
                </c:pt>
                <c:pt idx="2411">
                  <c:v>40988</c:v>
                </c:pt>
                <c:pt idx="2412">
                  <c:v>40989</c:v>
                </c:pt>
                <c:pt idx="2413">
                  <c:v>40990</c:v>
                </c:pt>
                <c:pt idx="2414">
                  <c:v>40991</c:v>
                </c:pt>
                <c:pt idx="2415">
                  <c:v>40994</c:v>
                </c:pt>
                <c:pt idx="2416">
                  <c:v>40995</c:v>
                </c:pt>
                <c:pt idx="2417">
                  <c:v>40996</c:v>
                </c:pt>
                <c:pt idx="2418">
                  <c:v>40997</c:v>
                </c:pt>
                <c:pt idx="2419">
                  <c:v>40998</c:v>
                </c:pt>
                <c:pt idx="2420">
                  <c:v>41004</c:v>
                </c:pt>
                <c:pt idx="2421">
                  <c:v>41005</c:v>
                </c:pt>
                <c:pt idx="2422">
                  <c:v>41008</c:v>
                </c:pt>
                <c:pt idx="2423">
                  <c:v>41009</c:v>
                </c:pt>
                <c:pt idx="2424">
                  <c:v>41010</c:v>
                </c:pt>
                <c:pt idx="2425">
                  <c:v>41011</c:v>
                </c:pt>
                <c:pt idx="2426">
                  <c:v>41012</c:v>
                </c:pt>
                <c:pt idx="2427">
                  <c:v>41015</c:v>
                </c:pt>
                <c:pt idx="2428">
                  <c:v>41016</c:v>
                </c:pt>
                <c:pt idx="2429">
                  <c:v>41017</c:v>
                </c:pt>
                <c:pt idx="2430">
                  <c:v>41018</c:v>
                </c:pt>
                <c:pt idx="2431">
                  <c:v>41019</c:v>
                </c:pt>
                <c:pt idx="2432">
                  <c:v>41022</c:v>
                </c:pt>
                <c:pt idx="2433">
                  <c:v>41023</c:v>
                </c:pt>
                <c:pt idx="2434">
                  <c:v>41024</c:v>
                </c:pt>
                <c:pt idx="2435">
                  <c:v>41025</c:v>
                </c:pt>
                <c:pt idx="2436">
                  <c:v>41026</c:v>
                </c:pt>
                <c:pt idx="2437">
                  <c:v>41031</c:v>
                </c:pt>
                <c:pt idx="2438">
                  <c:v>41032</c:v>
                </c:pt>
                <c:pt idx="2439">
                  <c:v>41033</c:v>
                </c:pt>
                <c:pt idx="2440">
                  <c:v>41036</c:v>
                </c:pt>
                <c:pt idx="2441">
                  <c:v>41037</c:v>
                </c:pt>
                <c:pt idx="2442">
                  <c:v>41038</c:v>
                </c:pt>
                <c:pt idx="2443">
                  <c:v>41039</c:v>
                </c:pt>
                <c:pt idx="2444">
                  <c:v>41040</c:v>
                </c:pt>
                <c:pt idx="2445">
                  <c:v>41043</c:v>
                </c:pt>
                <c:pt idx="2446">
                  <c:v>41044</c:v>
                </c:pt>
                <c:pt idx="2447">
                  <c:v>41045</c:v>
                </c:pt>
                <c:pt idx="2448">
                  <c:v>41046</c:v>
                </c:pt>
                <c:pt idx="2449">
                  <c:v>41047</c:v>
                </c:pt>
                <c:pt idx="2450">
                  <c:v>41050</c:v>
                </c:pt>
                <c:pt idx="2451">
                  <c:v>41051</c:v>
                </c:pt>
                <c:pt idx="2452">
                  <c:v>41052</c:v>
                </c:pt>
                <c:pt idx="2453">
                  <c:v>41053</c:v>
                </c:pt>
                <c:pt idx="2454">
                  <c:v>41054</c:v>
                </c:pt>
                <c:pt idx="2455">
                  <c:v>41057</c:v>
                </c:pt>
                <c:pt idx="2456">
                  <c:v>41058</c:v>
                </c:pt>
                <c:pt idx="2457">
                  <c:v>41059</c:v>
                </c:pt>
                <c:pt idx="2458">
                  <c:v>41060</c:v>
                </c:pt>
                <c:pt idx="2459">
                  <c:v>41061</c:v>
                </c:pt>
                <c:pt idx="2460">
                  <c:v>41064</c:v>
                </c:pt>
                <c:pt idx="2461">
                  <c:v>41065</c:v>
                </c:pt>
                <c:pt idx="2462">
                  <c:v>41066</c:v>
                </c:pt>
                <c:pt idx="2463">
                  <c:v>41067</c:v>
                </c:pt>
                <c:pt idx="2464">
                  <c:v>41068</c:v>
                </c:pt>
                <c:pt idx="2465">
                  <c:v>41071</c:v>
                </c:pt>
                <c:pt idx="2466">
                  <c:v>41072</c:v>
                </c:pt>
                <c:pt idx="2467">
                  <c:v>41073</c:v>
                </c:pt>
                <c:pt idx="2468">
                  <c:v>41074</c:v>
                </c:pt>
                <c:pt idx="2469">
                  <c:v>41075</c:v>
                </c:pt>
                <c:pt idx="2470">
                  <c:v>41078</c:v>
                </c:pt>
                <c:pt idx="2471">
                  <c:v>41079</c:v>
                </c:pt>
                <c:pt idx="2472">
                  <c:v>41080</c:v>
                </c:pt>
                <c:pt idx="2473">
                  <c:v>41081</c:v>
                </c:pt>
                <c:pt idx="2474">
                  <c:v>41085</c:v>
                </c:pt>
                <c:pt idx="2475">
                  <c:v>41086</c:v>
                </c:pt>
                <c:pt idx="2476">
                  <c:v>41087</c:v>
                </c:pt>
                <c:pt idx="2477">
                  <c:v>41088</c:v>
                </c:pt>
                <c:pt idx="2478">
                  <c:v>41089</c:v>
                </c:pt>
                <c:pt idx="2479">
                  <c:v>41092</c:v>
                </c:pt>
                <c:pt idx="2480">
                  <c:v>41093</c:v>
                </c:pt>
                <c:pt idx="2481">
                  <c:v>41094</c:v>
                </c:pt>
                <c:pt idx="2482">
                  <c:v>41095</c:v>
                </c:pt>
                <c:pt idx="2483">
                  <c:v>41096</c:v>
                </c:pt>
                <c:pt idx="2484">
                  <c:v>41099</c:v>
                </c:pt>
                <c:pt idx="2485">
                  <c:v>41100</c:v>
                </c:pt>
                <c:pt idx="2486">
                  <c:v>41101</c:v>
                </c:pt>
                <c:pt idx="2487">
                  <c:v>41102</c:v>
                </c:pt>
                <c:pt idx="2488">
                  <c:v>41103</c:v>
                </c:pt>
                <c:pt idx="2489">
                  <c:v>41106</c:v>
                </c:pt>
                <c:pt idx="2490">
                  <c:v>41107</c:v>
                </c:pt>
                <c:pt idx="2491">
                  <c:v>41108</c:v>
                </c:pt>
                <c:pt idx="2492">
                  <c:v>41109</c:v>
                </c:pt>
                <c:pt idx="2493">
                  <c:v>41110</c:v>
                </c:pt>
                <c:pt idx="2494">
                  <c:v>41113</c:v>
                </c:pt>
                <c:pt idx="2495">
                  <c:v>41114</c:v>
                </c:pt>
                <c:pt idx="2496">
                  <c:v>41115</c:v>
                </c:pt>
                <c:pt idx="2497">
                  <c:v>41116</c:v>
                </c:pt>
                <c:pt idx="2498">
                  <c:v>41117</c:v>
                </c:pt>
                <c:pt idx="2499">
                  <c:v>41120</c:v>
                </c:pt>
                <c:pt idx="2500">
                  <c:v>41121</c:v>
                </c:pt>
                <c:pt idx="2501">
                  <c:v>41122</c:v>
                </c:pt>
                <c:pt idx="2502">
                  <c:v>41123</c:v>
                </c:pt>
                <c:pt idx="2503">
                  <c:v>41124</c:v>
                </c:pt>
                <c:pt idx="2504">
                  <c:v>41127</c:v>
                </c:pt>
                <c:pt idx="2505">
                  <c:v>41128</c:v>
                </c:pt>
                <c:pt idx="2506">
                  <c:v>41129</c:v>
                </c:pt>
                <c:pt idx="2507">
                  <c:v>41130</c:v>
                </c:pt>
                <c:pt idx="2508">
                  <c:v>41131</c:v>
                </c:pt>
                <c:pt idx="2509">
                  <c:v>41134</c:v>
                </c:pt>
                <c:pt idx="2510">
                  <c:v>41135</c:v>
                </c:pt>
                <c:pt idx="2511">
                  <c:v>41136</c:v>
                </c:pt>
                <c:pt idx="2512">
                  <c:v>41137</c:v>
                </c:pt>
                <c:pt idx="2513">
                  <c:v>41138</c:v>
                </c:pt>
                <c:pt idx="2514">
                  <c:v>41141</c:v>
                </c:pt>
                <c:pt idx="2515">
                  <c:v>41142</c:v>
                </c:pt>
                <c:pt idx="2516">
                  <c:v>41143</c:v>
                </c:pt>
                <c:pt idx="2517">
                  <c:v>41144</c:v>
                </c:pt>
                <c:pt idx="2518">
                  <c:v>41145</c:v>
                </c:pt>
                <c:pt idx="2519">
                  <c:v>41148</c:v>
                </c:pt>
                <c:pt idx="2520">
                  <c:v>41149</c:v>
                </c:pt>
                <c:pt idx="2521">
                  <c:v>41150</c:v>
                </c:pt>
                <c:pt idx="2522">
                  <c:v>41151</c:v>
                </c:pt>
                <c:pt idx="2523">
                  <c:v>41152</c:v>
                </c:pt>
                <c:pt idx="2524">
                  <c:v>41155</c:v>
                </c:pt>
                <c:pt idx="2525">
                  <c:v>41156</c:v>
                </c:pt>
                <c:pt idx="2526">
                  <c:v>41157</c:v>
                </c:pt>
                <c:pt idx="2527">
                  <c:v>41158</c:v>
                </c:pt>
                <c:pt idx="2528">
                  <c:v>41159</c:v>
                </c:pt>
                <c:pt idx="2529">
                  <c:v>41162</c:v>
                </c:pt>
                <c:pt idx="2530">
                  <c:v>41163</c:v>
                </c:pt>
                <c:pt idx="2531">
                  <c:v>41164</c:v>
                </c:pt>
                <c:pt idx="2532">
                  <c:v>41165</c:v>
                </c:pt>
                <c:pt idx="2533">
                  <c:v>41166</c:v>
                </c:pt>
                <c:pt idx="2534">
                  <c:v>41169</c:v>
                </c:pt>
                <c:pt idx="2535">
                  <c:v>41170</c:v>
                </c:pt>
                <c:pt idx="2536">
                  <c:v>41171</c:v>
                </c:pt>
                <c:pt idx="2537">
                  <c:v>41172</c:v>
                </c:pt>
                <c:pt idx="2538">
                  <c:v>41173</c:v>
                </c:pt>
                <c:pt idx="2539">
                  <c:v>41176</c:v>
                </c:pt>
                <c:pt idx="2540">
                  <c:v>41177</c:v>
                </c:pt>
                <c:pt idx="2541">
                  <c:v>41178</c:v>
                </c:pt>
                <c:pt idx="2542">
                  <c:v>41179</c:v>
                </c:pt>
                <c:pt idx="2543">
                  <c:v>41180</c:v>
                </c:pt>
                <c:pt idx="2544">
                  <c:v>41190</c:v>
                </c:pt>
                <c:pt idx="2545">
                  <c:v>41191</c:v>
                </c:pt>
                <c:pt idx="2546">
                  <c:v>41192</c:v>
                </c:pt>
                <c:pt idx="2547">
                  <c:v>41193</c:v>
                </c:pt>
                <c:pt idx="2548">
                  <c:v>41194</c:v>
                </c:pt>
                <c:pt idx="2549">
                  <c:v>41197</c:v>
                </c:pt>
                <c:pt idx="2550">
                  <c:v>41198</c:v>
                </c:pt>
                <c:pt idx="2551">
                  <c:v>41199</c:v>
                </c:pt>
                <c:pt idx="2552">
                  <c:v>41200</c:v>
                </c:pt>
                <c:pt idx="2553">
                  <c:v>41201</c:v>
                </c:pt>
                <c:pt idx="2554">
                  <c:v>41204</c:v>
                </c:pt>
                <c:pt idx="2555">
                  <c:v>41205</c:v>
                </c:pt>
                <c:pt idx="2556">
                  <c:v>41206</c:v>
                </c:pt>
                <c:pt idx="2557">
                  <c:v>41207</c:v>
                </c:pt>
                <c:pt idx="2558">
                  <c:v>41208</c:v>
                </c:pt>
                <c:pt idx="2559">
                  <c:v>41211</c:v>
                </c:pt>
                <c:pt idx="2560">
                  <c:v>41212</c:v>
                </c:pt>
                <c:pt idx="2561">
                  <c:v>41213</c:v>
                </c:pt>
                <c:pt idx="2562">
                  <c:v>41214</c:v>
                </c:pt>
                <c:pt idx="2563">
                  <c:v>41215</c:v>
                </c:pt>
                <c:pt idx="2564">
                  <c:v>41218</c:v>
                </c:pt>
                <c:pt idx="2565">
                  <c:v>41219</c:v>
                </c:pt>
                <c:pt idx="2566">
                  <c:v>41220</c:v>
                </c:pt>
                <c:pt idx="2567">
                  <c:v>41221</c:v>
                </c:pt>
                <c:pt idx="2568">
                  <c:v>41222</c:v>
                </c:pt>
                <c:pt idx="2569">
                  <c:v>41225</c:v>
                </c:pt>
                <c:pt idx="2570">
                  <c:v>41226</c:v>
                </c:pt>
                <c:pt idx="2571">
                  <c:v>41227</c:v>
                </c:pt>
                <c:pt idx="2572">
                  <c:v>41228</c:v>
                </c:pt>
                <c:pt idx="2573">
                  <c:v>41229</c:v>
                </c:pt>
                <c:pt idx="2574">
                  <c:v>41232</c:v>
                </c:pt>
                <c:pt idx="2575">
                  <c:v>41233</c:v>
                </c:pt>
                <c:pt idx="2576">
                  <c:v>41234</c:v>
                </c:pt>
                <c:pt idx="2577">
                  <c:v>41235</c:v>
                </c:pt>
                <c:pt idx="2578">
                  <c:v>41236</c:v>
                </c:pt>
                <c:pt idx="2579">
                  <c:v>41239</c:v>
                </c:pt>
                <c:pt idx="2580">
                  <c:v>41240</c:v>
                </c:pt>
                <c:pt idx="2581">
                  <c:v>41241</c:v>
                </c:pt>
                <c:pt idx="2582">
                  <c:v>41242</c:v>
                </c:pt>
                <c:pt idx="2583">
                  <c:v>41243</c:v>
                </c:pt>
                <c:pt idx="2584">
                  <c:v>41246</c:v>
                </c:pt>
                <c:pt idx="2585">
                  <c:v>41247</c:v>
                </c:pt>
                <c:pt idx="2586">
                  <c:v>41248</c:v>
                </c:pt>
                <c:pt idx="2587">
                  <c:v>41249</c:v>
                </c:pt>
                <c:pt idx="2588">
                  <c:v>41250</c:v>
                </c:pt>
                <c:pt idx="2589">
                  <c:v>41253</c:v>
                </c:pt>
                <c:pt idx="2590">
                  <c:v>41254</c:v>
                </c:pt>
                <c:pt idx="2591">
                  <c:v>41255</c:v>
                </c:pt>
                <c:pt idx="2592">
                  <c:v>41256</c:v>
                </c:pt>
                <c:pt idx="2593">
                  <c:v>41257</c:v>
                </c:pt>
                <c:pt idx="2594">
                  <c:v>41260</c:v>
                </c:pt>
                <c:pt idx="2595">
                  <c:v>41261</c:v>
                </c:pt>
                <c:pt idx="2596">
                  <c:v>41262</c:v>
                </c:pt>
                <c:pt idx="2597">
                  <c:v>41263</c:v>
                </c:pt>
                <c:pt idx="2598">
                  <c:v>41264</c:v>
                </c:pt>
                <c:pt idx="2599">
                  <c:v>41267</c:v>
                </c:pt>
                <c:pt idx="2600">
                  <c:v>41268</c:v>
                </c:pt>
                <c:pt idx="2601">
                  <c:v>41269</c:v>
                </c:pt>
                <c:pt idx="2602">
                  <c:v>41270</c:v>
                </c:pt>
                <c:pt idx="2603">
                  <c:v>41271</c:v>
                </c:pt>
                <c:pt idx="2604">
                  <c:v>41274</c:v>
                </c:pt>
                <c:pt idx="2605">
                  <c:v>41278</c:v>
                </c:pt>
                <c:pt idx="2606">
                  <c:v>41281</c:v>
                </c:pt>
                <c:pt idx="2607">
                  <c:v>41282</c:v>
                </c:pt>
                <c:pt idx="2608">
                  <c:v>41283</c:v>
                </c:pt>
                <c:pt idx="2609">
                  <c:v>41284</c:v>
                </c:pt>
                <c:pt idx="2610">
                  <c:v>41285</c:v>
                </c:pt>
                <c:pt idx="2611">
                  <c:v>41288</c:v>
                </c:pt>
                <c:pt idx="2612">
                  <c:v>41289</c:v>
                </c:pt>
                <c:pt idx="2613">
                  <c:v>41290</c:v>
                </c:pt>
                <c:pt idx="2614">
                  <c:v>41291</c:v>
                </c:pt>
                <c:pt idx="2615">
                  <c:v>41292</c:v>
                </c:pt>
                <c:pt idx="2616">
                  <c:v>41295</c:v>
                </c:pt>
                <c:pt idx="2617">
                  <c:v>41296</c:v>
                </c:pt>
                <c:pt idx="2618">
                  <c:v>41297</c:v>
                </c:pt>
                <c:pt idx="2619">
                  <c:v>41298</c:v>
                </c:pt>
                <c:pt idx="2620">
                  <c:v>41299</c:v>
                </c:pt>
                <c:pt idx="2621">
                  <c:v>41302</c:v>
                </c:pt>
                <c:pt idx="2622">
                  <c:v>41303</c:v>
                </c:pt>
                <c:pt idx="2623">
                  <c:v>41304</c:v>
                </c:pt>
                <c:pt idx="2624">
                  <c:v>41305</c:v>
                </c:pt>
                <c:pt idx="2625">
                  <c:v>41306</c:v>
                </c:pt>
                <c:pt idx="2626">
                  <c:v>41309</c:v>
                </c:pt>
                <c:pt idx="2627">
                  <c:v>41310</c:v>
                </c:pt>
                <c:pt idx="2628">
                  <c:v>41311</c:v>
                </c:pt>
                <c:pt idx="2629">
                  <c:v>41312</c:v>
                </c:pt>
                <c:pt idx="2630">
                  <c:v>41313</c:v>
                </c:pt>
                <c:pt idx="2631">
                  <c:v>41323</c:v>
                </c:pt>
                <c:pt idx="2632">
                  <c:v>41324</c:v>
                </c:pt>
                <c:pt idx="2633">
                  <c:v>41325</c:v>
                </c:pt>
                <c:pt idx="2634">
                  <c:v>41326</c:v>
                </c:pt>
                <c:pt idx="2635">
                  <c:v>41327</c:v>
                </c:pt>
                <c:pt idx="2636">
                  <c:v>41330</c:v>
                </c:pt>
                <c:pt idx="2637">
                  <c:v>41331</c:v>
                </c:pt>
                <c:pt idx="2638">
                  <c:v>41332</c:v>
                </c:pt>
                <c:pt idx="2639">
                  <c:v>41333</c:v>
                </c:pt>
                <c:pt idx="2640">
                  <c:v>41334</c:v>
                </c:pt>
                <c:pt idx="2641">
                  <c:v>41337</c:v>
                </c:pt>
                <c:pt idx="2642">
                  <c:v>41338</c:v>
                </c:pt>
                <c:pt idx="2643">
                  <c:v>41339</c:v>
                </c:pt>
                <c:pt idx="2644">
                  <c:v>41340</c:v>
                </c:pt>
                <c:pt idx="2645">
                  <c:v>41341</c:v>
                </c:pt>
                <c:pt idx="2646">
                  <c:v>41344</c:v>
                </c:pt>
                <c:pt idx="2647">
                  <c:v>41345</c:v>
                </c:pt>
                <c:pt idx="2648">
                  <c:v>41346</c:v>
                </c:pt>
                <c:pt idx="2649">
                  <c:v>41347</c:v>
                </c:pt>
                <c:pt idx="2650">
                  <c:v>41348</c:v>
                </c:pt>
                <c:pt idx="2651">
                  <c:v>41351</c:v>
                </c:pt>
                <c:pt idx="2652">
                  <c:v>41352</c:v>
                </c:pt>
                <c:pt idx="2653">
                  <c:v>41353</c:v>
                </c:pt>
                <c:pt idx="2654">
                  <c:v>41354</c:v>
                </c:pt>
                <c:pt idx="2655">
                  <c:v>41355</c:v>
                </c:pt>
                <c:pt idx="2656">
                  <c:v>41358</c:v>
                </c:pt>
                <c:pt idx="2657">
                  <c:v>41359</c:v>
                </c:pt>
                <c:pt idx="2658">
                  <c:v>41360</c:v>
                </c:pt>
                <c:pt idx="2659">
                  <c:v>41361</c:v>
                </c:pt>
                <c:pt idx="2660">
                  <c:v>41362</c:v>
                </c:pt>
                <c:pt idx="2661">
                  <c:v>41365</c:v>
                </c:pt>
                <c:pt idx="2662">
                  <c:v>41366</c:v>
                </c:pt>
                <c:pt idx="2663">
                  <c:v>41367</c:v>
                </c:pt>
                <c:pt idx="2664">
                  <c:v>41372</c:v>
                </c:pt>
                <c:pt idx="2665">
                  <c:v>41373</c:v>
                </c:pt>
                <c:pt idx="2666">
                  <c:v>41374</c:v>
                </c:pt>
                <c:pt idx="2667">
                  <c:v>41375</c:v>
                </c:pt>
                <c:pt idx="2668">
                  <c:v>41376</c:v>
                </c:pt>
                <c:pt idx="2669">
                  <c:v>41379</c:v>
                </c:pt>
                <c:pt idx="2670">
                  <c:v>41380</c:v>
                </c:pt>
                <c:pt idx="2671">
                  <c:v>41381</c:v>
                </c:pt>
                <c:pt idx="2672">
                  <c:v>41382</c:v>
                </c:pt>
                <c:pt idx="2673">
                  <c:v>41383</c:v>
                </c:pt>
                <c:pt idx="2674">
                  <c:v>41386</c:v>
                </c:pt>
                <c:pt idx="2675">
                  <c:v>41387</c:v>
                </c:pt>
                <c:pt idx="2676">
                  <c:v>41388</c:v>
                </c:pt>
                <c:pt idx="2677">
                  <c:v>41389</c:v>
                </c:pt>
                <c:pt idx="2678">
                  <c:v>41390</c:v>
                </c:pt>
                <c:pt idx="2679">
                  <c:v>41396</c:v>
                </c:pt>
                <c:pt idx="2680">
                  <c:v>41397</c:v>
                </c:pt>
                <c:pt idx="2681">
                  <c:v>41400</c:v>
                </c:pt>
                <c:pt idx="2682">
                  <c:v>41401</c:v>
                </c:pt>
                <c:pt idx="2683">
                  <c:v>41402</c:v>
                </c:pt>
                <c:pt idx="2684">
                  <c:v>41403</c:v>
                </c:pt>
                <c:pt idx="2685">
                  <c:v>41404</c:v>
                </c:pt>
                <c:pt idx="2686">
                  <c:v>41407</c:v>
                </c:pt>
                <c:pt idx="2687">
                  <c:v>41408</c:v>
                </c:pt>
                <c:pt idx="2688">
                  <c:v>41409</c:v>
                </c:pt>
                <c:pt idx="2689">
                  <c:v>41410</c:v>
                </c:pt>
                <c:pt idx="2690">
                  <c:v>41411</c:v>
                </c:pt>
                <c:pt idx="2691">
                  <c:v>41414</c:v>
                </c:pt>
                <c:pt idx="2692">
                  <c:v>41415</c:v>
                </c:pt>
                <c:pt idx="2693">
                  <c:v>41416</c:v>
                </c:pt>
                <c:pt idx="2694">
                  <c:v>41417</c:v>
                </c:pt>
                <c:pt idx="2695">
                  <c:v>41418</c:v>
                </c:pt>
                <c:pt idx="2696">
                  <c:v>41421</c:v>
                </c:pt>
                <c:pt idx="2697">
                  <c:v>41422</c:v>
                </c:pt>
                <c:pt idx="2698">
                  <c:v>41423</c:v>
                </c:pt>
                <c:pt idx="2699">
                  <c:v>41424</c:v>
                </c:pt>
                <c:pt idx="2700">
                  <c:v>41425</c:v>
                </c:pt>
                <c:pt idx="2701">
                  <c:v>41428</c:v>
                </c:pt>
                <c:pt idx="2702">
                  <c:v>41429</c:v>
                </c:pt>
                <c:pt idx="2703">
                  <c:v>41430</c:v>
                </c:pt>
                <c:pt idx="2704">
                  <c:v>41431</c:v>
                </c:pt>
                <c:pt idx="2705">
                  <c:v>41432</c:v>
                </c:pt>
                <c:pt idx="2706">
                  <c:v>41438</c:v>
                </c:pt>
                <c:pt idx="2707">
                  <c:v>41439</c:v>
                </c:pt>
                <c:pt idx="2708">
                  <c:v>41442</c:v>
                </c:pt>
                <c:pt idx="2709">
                  <c:v>41443</c:v>
                </c:pt>
                <c:pt idx="2710">
                  <c:v>41444</c:v>
                </c:pt>
                <c:pt idx="2711">
                  <c:v>41445</c:v>
                </c:pt>
                <c:pt idx="2712">
                  <c:v>41446</c:v>
                </c:pt>
                <c:pt idx="2713">
                  <c:v>41449</c:v>
                </c:pt>
                <c:pt idx="2714">
                  <c:v>41450</c:v>
                </c:pt>
                <c:pt idx="2715">
                  <c:v>41451</c:v>
                </c:pt>
                <c:pt idx="2716">
                  <c:v>41452</c:v>
                </c:pt>
                <c:pt idx="2717">
                  <c:v>41453</c:v>
                </c:pt>
                <c:pt idx="2718">
                  <c:v>41456</c:v>
                </c:pt>
                <c:pt idx="2719">
                  <c:v>41457</c:v>
                </c:pt>
                <c:pt idx="2720">
                  <c:v>41458</c:v>
                </c:pt>
                <c:pt idx="2721">
                  <c:v>41459</c:v>
                </c:pt>
                <c:pt idx="2722">
                  <c:v>41460</c:v>
                </c:pt>
                <c:pt idx="2723">
                  <c:v>41463</c:v>
                </c:pt>
                <c:pt idx="2724">
                  <c:v>41464</c:v>
                </c:pt>
                <c:pt idx="2725">
                  <c:v>41465</c:v>
                </c:pt>
                <c:pt idx="2726">
                  <c:v>41466</c:v>
                </c:pt>
                <c:pt idx="2727">
                  <c:v>41467</c:v>
                </c:pt>
                <c:pt idx="2728">
                  <c:v>41470</c:v>
                </c:pt>
                <c:pt idx="2729">
                  <c:v>41471</c:v>
                </c:pt>
                <c:pt idx="2730">
                  <c:v>41472</c:v>
                </c:pt>
                <c:pt idx="2731">
                  <c:v>41473</c:v>
                </c:pt>
                <c:pt idx="2732">
                  <c:v>41474</c:v>
                </c:pt>
                <c:pt idx="2733">
                  <c:v>41477</c:v>
                </c:pt>
                <c:pt idx="2734">
                  <c:v>41478</c:v>
                </c:pt>
                <c:pt idx="2735">
                  <c:v>41479</c:v>
                </c:pt>
                <c:pt idx="2736">
                  <c:v>41480</c:v>
                </c:pt>
                <c:pt idx="2737">
                  <c:v>41481</c:v>
                </c:pt>
                <c:pt idx="2738">
                  <c:v>41484</c:v>
                </c:pt>
                <c:pt idx="2739">
                  <c:v>41485</c:v>
                </c:pt>
                <c:pt idx="2740">
                  <c:v>41486</c:v>
                </c:pt>
                <c:pt idx="2741">
                  <c:v>41487</c:v>
                </c:pt>
                <c:pt idx="2742">
                  <c:v>41488</c:v>
                </c:pt>
                <c:pt idx="2743">
                  <c:v>41491</c:v>
                </c:pt>
                <c:pt idx="2744">
                  <c:v>41492</c:v>
                </c:pt>
                <c:pt idx="2745">
                  <c:v>41493</c:v>
                </c:pt>
                <c:pt idx="2746">
                  <c:v>41494</c:v>
                </c:pt>
                <c:pt idx="2747">
                  <c:v>41495</c:v>
                </c:pt>
                <c:pt idx="2748">
                  <c:v>41498</c:v>
                </c:pt>
                <c:pt idx="2749">
                  <c:v>41499</c:v>
                </c:pt>
                <c:pt idx="2750">
                  <c:v>41500</c:v>
                </c:pt>
                <c:pt idx="2751">
                  <c:v>41501</c:v>
                </c:pt>
                <c:pt idx="2752">
                  <c:v>41502</c:v>
                </c:pt>
                <c:pt idx="2753">
                  <c:v>41505</c:v>
                </c:pt>
                <c:pt idx="2754">
                  <c:v>41506</c:v>
                </c:pt>
                <c:pt idx="2755">
                  <c:v>41507</c:v>
                </c:pt>
                <c:pt idx="2756">
                  <c:v>41508</c:v>
                </c:pt>
                <c:pt idx="2757">
                  <c:v>41509</c:v>
                </c:pt>
                <c:pt idx="2758">
                  <c:v>41512</c:v>
                </c:pt>
                <c:pt idx="2759">
                  <c:v>41513</c:v>
                </c:pt>
                <c:pt idx="2760">
                  <c:v>41514</c:v>
                </c:pt>
                <c:pt idx="2761">
                  <c:v>41515</c:v>
                </c:pt>
                <c:pt idx="2762">
                  <c:v>41516</c:v>
                </c:pt>
                <c:pt idx="2763">
                  <c:v>41519</c:v>
                </c:pt>
                <c:pt idx="2764">
                  <c:v>41520</c:v>
                </c:pt>
                <c:pt idx="2765">
                  <c:v>41521</c:v>
                </c:pt>
                <c:pt idx="2766">
                  <c:v>41522</c:v>
                </c:pt>
                <c:pt idx="2767">
                  <c:v>41523</c:v>
                </c:pt>
                <c:pt idx="2768">
                  <c:v>41526</c:v>
                </c:pt>
                <c:pt idx="2769">
                  <c:v>41527</c:v>
                </c:pt>
                <c:pt idx="2770">
                  <c:v>41528</c:v>
                </c:pt>
                <c:pt idx="2771">
                  <c:v>41529</c:v>
                </c:pt>
                <c:pt idx="2772">
                  <c:v>41530</c:v>
                </c:pt>
                <c:pt idx="2773">
                  <c:v>41533</c:v>
                </c:pt>
                <c:pt idx="2774">
                  <c:v>41534</c:v>
                </c:pt>
                <c:pt idx="2775">
                  <c:v>41535</c:v>
                </c:pt>
                <c:pt idx="2776">
                  <c:v>41540</c:v>
                </c:pt>
                <c:pt idx="2777">
                  <c:v>41541</c:v>
                </c:pt>
                <c:pt idx="2778">
                  <c:v>41542</c:v>
                </c:pt>
                <c:pt idx="2779">
                  <c:v>41543</c:v>
                </c:pt>
                <c:pt idx="2780">
                  <c:v>41544</c:v>
                </c:pt>
                <c:pt idx="2781">
                  <c:v>41547</c:v>
                </c:pt>
                <c:pt idx="2782">
                  <c:v>41555</c:v>
                </c:pt>
                <c:pt idx="2783">
                  <c:v>41556</c:v>
                </c:pt>
                <c:pt idx="2784">
                  <c:v>41557</c:v>
                </c:pt>
                <c:pt idx="2785">
                  <c:v>41558</c:v>
                </c:pt>
                <c:pt idx="2786">
                  <c:v>41561</c:v>
                </c:pt>
                <c:pt idx="2787">
                  <c:v>41562</c:v>
                </c:pt>
                <c:pt idx="2788">
                  <c:v>41563</c:v>
                </c:pt>
                <c:pt idx="2789">
                  <c:v>41564</c:v>
                </c:pt>
                <c:pt idx="2790">
                  <c:v>41565</c:v>
                </c:pt>
                <c:pt idx="2791">
                  <c:v>41568</c:v>
                </c:pt>
                <c:pt idx="2792">
                  <c:v>41569</c:v>
                </c:pt>
                <c:pt idx="2793">
                  <c:v>41570</c:v>
                </c:pt>
                <c:pt idx="2794">
                  <c:v>41571</c:v>
                </c:pt>
                <c:pt idx="2795">
                  <c:v>41572</c:v>
                </c:pt>
                <c:pt idx="2796">
                  <c:v>41575</c:v>
                </c:pt>
                <c:pt idx="2797">
                  <c:v>41576</c:v>
                </c:pt>
                <c:pt idx="2798">
                  <c:v>41577</c:v>
                </c:pt>
                <c:pt idx="2799">
                  <c:v>41578</c:v>
                </c:pt>
                <c:pt idx="2800">
                  <c:v>41579</c:v>
                </c:pt>
                <c:pt idx="2801">
                  <c:v>41582</c:v>
                </c:pt>
                <c:pt idx="2802">
                  <c:v>41583</c:v>
                </c:pt>
                <c:pt idx="2803">
                  <c:v>41584</c:v>
                </c:pt>
                <c:pt idx="2804">
                  <c:v>41585</c:v>
                </c:pt>
                <c:pt idx="2805">
                  <c:v>41586</c:v>
                </c:pt>
                <c:pt idx="2806">
                  <c:v>41589</c:v>
                </c:pt>
                <c:pt idx="2807">
                  <c:v>41590</c:v>
                </c:pt>
                <c:pt idx="2808">
                  <c:v>41591</c:v>
                </c:pt>
                <c:pt idx="2809">
                  <c:v>41592</c:v>
                </c:pt>
                <c:pt idx="2810">
                  <c:v>41593</c:v>
                </c:pt>
                <c:pt idx="2811">
                  <c:v>41596</c:v>
                </c:pt>
                <c:pt idx="2812">
                  <c:v>41597</c:v>
                </c:pt>
                <c:pt idx="2813">
                  <c:v>41598</c:v>
                </c:pt>
                <c:pt idx="2814">
                  <c:v>41599</c:v>
                </c:pt>
                <c:pt idx="2815">
                  <c:v>41600</c:v>
                </c:pt>
                <c:pt idx="2816">
                  <c:v>41603</c:v>
                </c:pt>
                <c:pt idx="2817">
                  <c:v>41604</c:v>
                </c:pt>
                <c:pt idx="2818">
                  <c:v>41605</c:v>
                </c:pt>
                <c:pt idx="2819">
                  <c:v>41606</c:v>
                </c:pt>
                <c:pt idx="2820">
                  <c:v>41607</c:v>
                </c:pt>
                <c:pt idx="2821">
                  <c:v>41610</c:v>
                </c:pt>
                <c:pt idx="2822">
                  <c:v>41611</c:v>
                </c:pt>
                <c:pt idx="2823">
                  <c:v>41612</c:v>
                </c:pt>
                <c:pt idx="2824">
                  <c:v>41613</c:v>
                </c:pt>
                <c:pt idx="2825">
                  <c:v>41614</c:v>
                </c:pt>
                <c:pt idx="2826">
                  <c:v>41617</c:v>
                </c:pt>
                <c:pt idx="2827">
                  <c:v>41618</c:v>
                </c:pt>
                <c:pt idx="2828">
                  <c:v>41619</c:v>
                </c:pt>
                <c:pt idx="2829">
                  <c:v>41620</c:v>
                </c:pt>
                <c:pt idx="2830">
                  <c:v>41621</c:v>
                </c:pt>
                <c:pt idx="2831">
                  <c:v>41624</c:v>
                </c:pt>
                <c:pt idx="2832">
                  <c:v>41625</c:v>
                </c:pt>
                <c:pt idx="2833">
                  <c:v>41626</c:v>
                </c:pt>
                <c:pt idx="2834">
                  <c:v>41627</c:v>
                </c:pt>
                <c:pt idx="2835">
                  <c:v>41628</c:v>
                </c:pt>
                <c:pt idx="2836">
                  <c:v>41631</c:v>
                </c:pt>
                <c:pt idx="2837">
                  <c:v>41632</c:v>
                </c:pt>
                <c:pt idx="2838">
                  <c:v>41633</c:v>
                </c:pt>
                <c:pt idx="2839">
                  <c:v>41634</c:v>
                </c:pt>
                <c:pt idx="2840">
                  <c:v>41635</c:v>
                </c:pt>
                <c:pt idx="2841">
                  <c:v>41638</c:v>
                </c:pt>
                <c:pt idx="2842">
                  <c:v>41639</c:v>
                </c:pt>
                <c:pt idx="2843">
                  <c:v>41641</c:v>
                </c:pt>
                <c:pt idx="2844">
                  <c:v>41642</c:v>
                </c:pt>
                <c:pt idx="2845">
                  <c:v>41645</c:v>
                </c:pt>
                <c:pt idx="2846">
                  <c:v>41646</c:v>
                </c:pt>
                <c:pt idx="2847">
                  <c:v>41647</c:v>
                </c:pt>
                <c:pt idx="2848">
                  <c:v>41648</c:v>
                </c:pt>
                <c:pt idx="2849">
                  <c:v>41649</c:v>
                </c:pt>
                <c:pt idx="2850">
                  <c:v>41652</c:v>
                </c:pt>
                <c:pt idx="2851">
                  <c:v>41653</c:v>
                </c:pt>
                <c:pt idx="2852">
                  <c:v>41654</c:v>
                </c:pt>
                <c:pt idx="2853">
                  <c:v>41655</c:v>
                </c:pt>
                <c:pt idx="2854">
                  <c:v>41656</c:v>
                </c:pt>
                <c:pt idx="2855">
                  <c:v>41659</c:v>
                </c:pt>
                <c:pt idx="2856">
                  <c:v>41660</c:v>
                </c:pt>
                <c:pt idx="2857">
                  <c:v>41661</c:v>
                </c:pt>
                <c:pt idx="2858">
                  <c:v>41662</c:v>
                </c:pt>
                <c:pt idx="2859">
                  <c:v>41663</c:v>
                </c:pt>
                <c:pt idx="2860">
                  <c:v>41666</c:v>
                </c:pt>
                <c:pt idx="2861">
                  <c:v>41667</c:v>
                </c:pt>
                <c:pt idx="2862">
                  <c:v>41668</c:v>
                </c:pt>
                <c:pt idx="2863">
                  <c:v>41669</c:v>
                </c:pt>
                <c:pt idx="2864">
                  <c:v>41677</c:v>
                </c:pt>
                <c:pt idx="2865">
                  <c:v>41680</c:v>
                </c:pt>
                <c:pt idx="2866">
                  <c:v>41681</c:v>
                </c:pt>
                <c:pt idx="2867">
                  <c:v>41682</c:v>
                </c:pt>
                <c:pt idx="2868">
                  <c:v>41683</c:v>
                </c:pt>
                <c:pt idx="2869">
                  <c:v>41684</c:v>
                </c:pt>
                <c:pt idx="2870">
                  <c:v>41687</c:v>
                </c:pt>
                <c:pt idx="2871">
                  <c:v>41688</c:v>
                </c:pt>
                <c:pt idx="2872">
                  <c:v>41689</c:v>
                </c:pt>
                <c:pt idx="2873">
                  <c:v>41690</c:v>
                </c:pt>
                <c:pt idx="2874">
                  <c:v>41691</c:v>
                </c:pt>
                <c:pt idx="2875">
                  <c:v>41694</c:v>
                </c:pt>
                <c:pt idx="2876">
                  <c:v>41695</c:v>
                </c:pt>
                <c:pt idx="2877">
                  <c:v>41696</c:v>
                </c:pt>
                <c:pt idx="2878">
                  <c:v>41697</c:v>
                </c:pt>
                <c:pt idx="2879">
                  <c:v>41698</c:v>
                </c:pt>
                <c:pt idx="2880">
                  <c:v>41701</c:v>
                </c:pt>
                <c:pt idx="2881">
                  <c:v>41702</c:v>
                </c:pt>
                <c:pt idx="2882">
                  <c:v>41703</c:v>
                </c:pt>
                <c:pt idx="2883">
                  <c:v>41704</c:v>
                </c:pt>
                <c:pt idx="2884">
                  <c:v>41705</c:v>
                </c:pt>
                <c:pt idx="2885">
                  <c:v>41708</c:v>
                </c:pt>
                <c:pt idx="2886">
                  <c:v>41709</c:v>
                </c:pt>
                <c:pt idx="2887">
                  <c:v>41710</c:v>
                </c:pt>
                <c:pt idx="2888">
                  <c:v>41711</c:v>
                </c:pt>
                <c:pt idx="2889">
                  <c:v>41712</c:v>
                </c:pt>
                <c:pt idx="2890">
                  <c:v>41715</c:v>
                </c:pt>
                <c:pt idx="2891">
                  <c:v>41716</c:v>
                </c:pt>
                <c:pt idx="2892">
                  <c:v>41717</c:v>
                </c:pt>
                <c:pt idx="2893">
                  <c:v>41718</c:v>
                </c:pt>
                <c:pt idx="2894">
                  <c:v>41719</c:v>
                </c:pt>
                <c:pt idx="2895">
                  <c:v>41722</c:v>
                </c:pt>
                <c:pt idx="2896">
                  <c:v>41723</c:v>
                </c:pt>
                <c:pt idx="2897">
                  <c:v>41724</c:v>
                </c:pt>
                <c:pt idx="2898">
                  <c:v>41725</c:v>
                </c:pt>
                <c:pt idx="2899">
                  <c:v>41726</c:v>
                </c:pt>
                <c:pt idx="2900">
                  <c:v>41729</c:v>
                </c:pt>
                <c:pt idx="2901">
                  <c:v>41730</c:v>
                </c:pt>
                <c:pt idx="2902">
                  <c:v>41731</c:v>
                </c:pt>
                <c:pt idx="2903">
                  <c:v>41732</c:v>
                </c:pt>
                <c:pt idx="2904">
                  <c:v>41733</c:v>
                </c:pt>
                <c:pt idx="2905">
                  <c:v>41737</c:v>
                </c:pt>
                <c:pt idx="2906">
                  <c:v>41738</c:v>
                </c:pt>
                <c:pt idx="2907">
                  <c:v>41739</c:v>
                </c:pt>
                <c:pt idx="2908">
                  <c:v>41740</c:v>
                </c:pt>
                <c:pt idx="2909">
                  <c:v>41743</c:v>
                </c:pt>
                <c:pt idx="2910">
                  <c:v>41744</c:v>
                </c:pt>
                <c:pt idx="2911">
                  <c:v>41745</c:v>
                </c:pt>
                <c:pt idx="2912">
                  <c:v>41746</c:v>
                </c:pt>
                <c:pt idx="2913">
                  <c:v>41747</c:v>
                </c:pt>
                <c:pt idx="2914">
                  <c:v>41750</c:v>
                </c:pt>
                <c:pt idx="2915">
                  <c:v>41751</c:v>
                </c:pt>
                <c:pt idx="2916">
                  <c:v>41752</c:v>
                </c:pt>
                <c:pt idx="2917">
                  <c:v>41753</c:v>
                </c:pt>
                <c:pt idx="2918">
                  <c:v>41754</c:v>
                </c:pt>
                <c:pt idx="2919">
                  <c:v>41757</c:v>
                </c:pt>
                <c:pt idx="2920">
                  <c:v>41758</c:v>
                </c:pt>
                <c:pt idx="2921">
                  <c:v>41759</c:v>
                </c:pt>
                <c:pt idx="2922">
                  <c:v>41764</c:v>
                </c:pt>
                <c:pt idx="2923">
                  <c:v>41765</c:v>
                </c:pt>
                <c:pt idx="2924">
                  <c:v>41766</c:v>
                </c:pt>
                <c:pt idx="2925">
                  <c:v>41767</c:v>
                </c:pt>
                <c:pt idx="2926">
                  <c:v>41768</c:v>
                </c:pt>
                <c:pt idx="2927">
                  <c:v>41771</c:v>
                </c:pt>
                <c:pt idx="2928">
                  <c:v>41772</c:v>
                </c:pt>
                <c:pt idx="2929">
                  <c:v>41773</c:v>
                </c:pt>
                <c:pt idx="2930">
                  <c:v>41774</c:v>
                </c:pt>
                <c:pt idx="2931">
                  <c:v>41775</c:v>
                </c:pt>
                <c:pt idx="2932">
                  <c:v>41778</c:v>
                </c:pt>
                <c:pt idx="2933">
                  <c:v>41779</c:v>
                </c:pt>
                <c:pt idx="2934">
                  <c:v>41780</c:v>
                </c:pt>
                <c:pt idx="2935">
                  <c:v>41781</c:v>
                </c:pt>
                <c:pt idx="2936">
                  <c:v>41782</c:v>
                </c:pt>
                <c:pt idx="2937">
                  <c:v>41785</c:v>
                </c:pt>
                <c:pt idx="2938">
                  <c:v>41786</c:v>
                </c:pt>
                <c:pt idx="2939">
                  <c:v>41787</c:v>
                </c:pt>
                <c:pt idx="2940">
                  <c:v>41788</c:v>
                </c:pt>
                <c:pt idx="2941">
                  <c:v>41789</c:v>
                </c:pt>
                <c:pt idx="2942">
                  <c:v>41793</c:v>
                </c:pt>
                <c:pt idx="2943">
                  <c:v>41794</c:v>
                </c:pt>
                <c:pt idx="2944">
                  <c:v>41795</c:v>
                </c:pt>
                <c:pt idx="2945">
                  <c:v>41796</c:v>
                </c:pt>
                <c:pt idx="2946">
                  <c:v>41799</c:v>
                </c:pt>
                <c:pt idx="2947">
                  <c:v>41800</c:v>
                </c:pt>
                <c:pt idx="2948">
                  <c:v>41801</c:v>
                </c:pt>
                <c:pt idx="2949">
                  <c:v>41802</c:v>
                </c:pt>
                <c:pt idx="2950">
                  <c:v>41803</c:v>
                </c:pt>
                <c:pt idx="2951">
                  <c:v>41806</c:v>
                </c:pt>
                <c:pt idx="2952">
                  <c:v>41807</c:v>
                </c:pt>
                <c:pt idx="2953">
                  <c:v>41808</c:v>
                </c:pt>
                <c:pt idx="2954">
                  <c:v>41809</c:v>
                </c:pt>
                <c:pt idx="2955">
                  <c:v>41810</c:v>
                </c:pt>
                <c:pt idx="2956">
                  <c:v>41813</c:v>
                </c:pt>
                <c:pt idx="2957">
                  <c:v>41814</c:v>
                </c:pt>
                <c:pt idx="2958">
                  <c:v>41815</c:v>
                </c:pt>
                <c:pt idx="2959">
                  <c:v>41816</c:v>
                </c:pt>
                <c:pt idx="2960">
                  <c:v>41817</c:v>
                </c:pt>
                <c:pt idx="2961">
                  <c:v>41820</c:v>
                </c:pt>
                <c:pt idx="2962">
                  <c:v>41821</c:v>
                </c:pt>
                <c:pt idx="2963">
                  <c:v>41822</c:v>
                </c:pt>
                <c:pt idx="2964">
                  <c:v>41823</c:v>
                </c:pt>
                <c:pt idx="2965">
                  <c:v>41824</c:v>
                </c:pt>
                <c:pt idx="2966">
                  <c:v>41827</c:v>
                </c:pt>
                <c:pt idx="2967">
                  <c:v>41828</c:v>
                </c:pt>
                <c:pt idx="2968">
                  <c:v>41829</c:v>
                </c:pt>
                <c:pt idx="2969">
                  <c:v>41830</c:v>
                </c:pt>
                <c:pt idx="2970">
                  <c:v>41831</c:v>
                </c:pt>
                <c:pt idx="2971">
                  <c:v>41834</c:v>
                </c:pt>
                <c:pt idx="2972">
                  <c:v>41835</c:v>
                </c:pt>
                <c:pt idx="2973">
                  <c:v>41836</c:v>
                </c:pt>
                <c:pt idx="2974">
                  <c:v>41837</c:v>
                </c:pt>
                <c:pt idx="2975">
                  <c:v>41838</c:v>
                </c:pt>
                <c:pt idx="2976">
                  <c:v>41841</c:v>
                </c:pt>
                <c:pt idx="2977">
                  <c:v>41842</c:v>
                </c:pt>
                <c:pt idx="2978">
                  <c:v>41843</c:v>
                </c:pt>
                <c:pt idx="2979">
                  <c:v>41844</c:v>
                </c:pt>
                <c:pt idx="2980">
                  <c:v>41845</c:v>
                </c:pt>
                <c:pt idx="2981">
                  <c:v>41848</c:v>
                </c:pt>
                <c:pt idx="2982">
                  <c:v>41849</c:v>
                </c:pt>
                <c:pt idx="2983">
                  <c:v>41850</c:v>
                </c:pt>
                <c:pt idx="2984">
                  <c:v>41851</c:v>
                </c:pt>
                <c:pt idx="2985">
                  <c:v>41852</c:v>
                </c:pt>
                <c:pt idx="2986">
                  <c:v>41855</c:v>
                </c:pt>
                <c:pt idx="2987">
                  <c:v>41856</c:v>
                </c:pt>
                <c:pt idx="2988">
                  <c:v>41857</c:v>
                </c:pt>
                <c:pt idx="2989">
                  <c:v>41858</c:v>
                </c:pt>
                <c:pt idx="2990">
                  <c:v>41859</c:v>
                </c:pt>
                <c:pt idx="2991">
                  <c:v>41862</c:v>
                </c:pt>
                <c:pt idx="2992">
                  <c:v>41863</c:v>
                </c:pt>
                <c:pt idx="2993">
                  <c:v>41864</c:v>
                </c:pt>
                <c:pt idx="2994">
                  <c:v>41865</c:v>
                </c:pt>
                <c:pt idx="2995">
                  <c:v>41866</c:v>
                </c:pt>
                <c:pt idx="2996">
                  <c:v>41869</c:v>
                </c:pt>
                <c:pt idx="2997">
                  <c:v>41870</c:v>
                </c:pt>
                <c:pt idx="2998">
                  <c:v>41871</c:v>
                </c:pt>
                <c:pt idx="2999">
                  <c:v>41872</c:v>
                </c:pt>
                <c:pt idx="3000">
                  <c:v>41873</c:v>
                </c:pt>
                <c:pt idx="3001">
                  <c:v>41876</c:v>
                </c:pt>
                <c:pt idx="3002">
                  <c:v>41877</c:v>
                </c:pt>
                <c:pt idx="3003">
                  <c:v>41878</c:v>
                </c:pt>
                <c:pt idx="3004">
                  <c:v>41879</c:v>
                </c:pt>
                <c:pt idx="3005">
                  <c:v>41880</c:v>
                </c:pt>
                <c:pt idx="3006">
                  <c:v>41883</c:v>
                </c:pt>
                <c:pt idx="3007">
                  <c:v>41884</c:v>
                </c:pt>
                <c:pt idx="3008">
                  <c:v>41885</c:v>
                </c:pt>
                <c:pt idx="3009">
                  <c:v>41886</c:v>
                </c:pt>
                <c:pt idx="3010">
                  <c:v>41887</c:v>
                </c:pt>
                <c:pt idx="3011">
                  <c:v>41891</c:v>
                </c:pt>
                <c:pt idx="3012">
                  <c:v>41892</c:v>
                </c:pt>
                <c:pt idx="3013">
                  <c:v>41893</c:v>
                </c:pt>
                <c:pt idx="3014">
                  <c:v>41894</c:v>
                </c:pt>
                <c:pt idx="3015">
                  <c:v>41897</c:v>
                </c:pt>
                <c:pt idx="3016">
                  <c:v>41898</c:v>
                </c:pt>
                <c:pt idx="3017">
                  <c:v>41899</c:v>
                </c:pt>
                <c:pt idx="3018">
                  <c:v>41900</c:v>
                </c:pt>
                <c:pt idx="3019">
                  <c:v>41901</c:v>
                </c:pt>
                <c:pt idx="3020">
                  <c:v>41904</c:v>
                </c:pt>
                <c:pt idx="3021">
                  <c:v>41905</c:v>
                </c:pt>
                <c:pt idx="3022">
                  <c:v>41906</c:v>
                </c:pt>
                <c:pt idx="3023">
                  <c:v>41907</c:v>
                </c:pt>
                <c:pt idx="3024">
                  <c:v>41908</c:v>
                </c:pt>
                <c:pt idx="3025">
                  <c:v>41911</c:v>
                </c:pt>
                <c:pt idx="3026">
                  <c:v>41912</c:v>
                </c:pt>
                <c:pt idx="3027">
                  <c:v>41920</c:v>
                </c:pt>
                <c:pt idx="3028">
                  <c:v>41921</c:v>
                </c:pt>
                <c:pt idx="3029">
                  <c:v>41922</c:v>
                </c:pt>
                <c:pt idx="3030">
                  <c:v>41925</c:v>
                </c:pt>
                <c:pt idx="3031">
                  <c:v>41926</c:v>
                </c:pt>
                <c:pt idx="3032">
                  <c:v>41927</c:v>
                </c:pt>
                <c:pt idx="3033">
                  <c:v>41928</c:v>
                </c:pt>
                <c:pt idx="3034">
                  <c:v>41929</c:v>
                </c:pt>
                <c:pt idx="3035">
                  <c:v>41932</c:v>
                </c:pt>
                <c:pt idx="3036">
                  <c:v>41933</c:v>
                </c:pt>
                <c:pt idx="3037">
                  <c:v>41934</c:v>
                </c:pt>
                <c:pt idx="3038">
                  <c:v>41935</c:v>
                </c:pt>
                <c:pt idx="3039">
                  <c:v>41936</c:v>
                </c:pt>
                <c:pt idx="3040">
                  <c:v>41939</c:v>
                </c:pt>
                <c:pt idx="3041">
                  <c:v>41940</c:v>
                </c:pt>
                <c:pt idx="3042">
                  <c:v>41941</c:v>
                </c:pt>
                <c:pt idx="3043">
                  <c:v>41942</c:v>
                </c:pt>
                <c:pt idx="3044">
                  <c:v>41943</c:v>
                </c:pt>
                <c:pt idx="3045">
                  <c:v>41946</c:v>
                </c:pt>
                <c:pt idx="3046">
                  <c:v>41947</c:v>
                </c:pt>
                <c:pt idx="3047">
                  <c:v>41948</c:v>
                </c:pt>
                <c:pt idx="3048">
                  <c:v>41949</c:v>
                </c:pt>
                <c:pt idx="3049">
                  <c:v>41950</c:v>
                </c:pt>
                <c:pt idx="3050">
                  <c:v>41953</c:v>
                </c:pt>
                <c:pt idx="3051">
                  <c:v>41954</c:v>
                </c:pt>
                <c:pt idx="3052">
                  <c:v>41955</c:v>
                </c:pt>
                <c:pt idx="3053">
                  <c:v>41956</c:v>
                </c:pt>
                <c:pt idx="3054">
                  <c:v>41957</c:v>
                </c:pt>
                <c:pt idx="3055">
                  <c:v>41960</c:v>
                </c:pt>
                <c:pt idx="3056">
                  <c:v>41961</c:v>
                </c:pt>
                <c:pt idx="3057">
                  <c:v>41962</c:v>
                </c:pt>
                <c:pt idx="3058">
                  <c:v>41963</c:v>
                </c:pt>
                <c:pt idx="3059">
                  <c:v>41964</c:v>
                </c:pt>
                <c:pt idx="3060">
                  <c:v>41967</c:v>
                </c:pt>
                <c:pt idx="3061">
                  <c:v>41968</c:v>
                </c:pt>
                <c:pt idx="3062">
                  <c:v>41969</c:v>
                </c:pt>
                <c:pt idx="3063">
                  <c:v>41970</c:v>
                </c:pt>
                <c:pt idx="3064">
                  <c:v>41971</c:v>
                </c:pt>
                <c:pt idx="3065">
                  <c:v>41974</c:v>
                </c:pt>
                <c:pt idx="3066">
                  <c:v>41975</c:v>
                </c:pt>
                <c:pt idx="3067">
                  <c:v>41976</c:v>
                </c:pt>
                <c:pt idx="3068">
                  <c:v>41977</c:v>
                </c:pt>
                <c:pt idx="3069">
                  <c:v>41978</c:v>
                </c:pt>
                <c:pt idx="3070">
                  <c:v>41981</c:v>
                </c:pt>
                <c:pt idx="3071">
                  <c:v>41982</c:v>
                </c:pt>
                <c:pt idx="3072">
                  <c:v>41983</c:v>
                </c:pt>
                <c:pt idx="3073">
                  <c:v>41984</c:v>
                </c:pt>
                <c:pt idx="3074">
                  <c:v>41985</c:v>
                </c:pt>
                <c:pt idx="3075">
                  <c:v>41988</c:v>
                </c:pt>
                <c:pt idx="3076">
                  <c:v>41989</c:v>
                </c:pt>
                <c:pt idx="3077">
                  <c:v>41990</c:v>
                </c:pt>
                <c:pt idx="3078">
                  <c:v>41991</c:v>
                </c:pt>
                <c:pt idx="3079">
                  <c:v>41992</c:v>
                </c:pt>
                <c:pt idx="3080">
                  <c:v>41995</c:v>
                </c:pt>
                <c:pt idx="3081">
                  <c:v>41996</c:v>
                </c:pt>
                <c:pt idx="3082">
                  <c:v>41997</c:v>
                </c:pt>
                <c:pt idx="3083">
                  <c:v>41998</c:v>
                </c:pt>
                <c:pt idx="3084">
                  <c:v>41999</c:v>
                </c:pt>
                <c:pt idx="3085">
                  <c:v>42002</c:v>
                </c:pt>
                <c:pt idx="3086">
                  <c:v>42003</c:v>
                </c:pt>
                <c:pt idx="3087">
                  <c:v>42004</c:v>
                </c:pt>
                <c:pt idx="3088">
                  <c:v>42009</c:v>
                </c:pt>
                <c:pt idx="3089">
                  <c:v>42010</c:v>
                </c:pt>
                <c:pt idx="3090">
                  <c:v>42011</c:v>
                </c:pt>
                <c:pt idx="3091">
                  <c:v>42012</c:v>
                </c:pt>
                <c:pt idx="3092">
                  <c:v>42013</c:v>
                </c:pt>
                <c:pt idx="3093">
                  <c:v>42016</c:v>
                </c:pt>
                <c:pt idx="3094">
                  <c:v>42017</c:v>
                </c:pt>
                <c:pt idx="3095">
                  <c:v>42018</c:v>
                </c:pt>
                <c:pt idx="3096">
                  <c:v>42019</c:v>
                </c:pt>
                <c:pt idx="3097">
                  <c:v>42020</c:v>
                </c:pt>
                <c:pt idx="3098">
                  <c:v>42023</c:v>
                </c:pt>
                <c:pt idx="3099">
                  <c:v>42024</c:v>
                </c:pt>
                <c:pt idx="3100">
                  <c:v>42025</c:v>
                </c:pt>
                <c:pt idx="3101">
                  <c:v>42026</c:v>
                </c:pt>
                <c:pt idx="3102">
                  <c:v>42027</c:v>
                </c:pt>
                <c:pt idx="3103">
                  <c:v>42030</c:v>
                </c:pt>
                <c:pt idx="3104">
                  <c:v>42031</c:v>
                </c:pt>
                <c:pt idx="3105">
                  <c:v>42032</c:v>
                </c:pt>
                <c:pt idx="3106">
                  <c:v>42033</c:v>
                </c:pt>
                <c:pt idx="3107">
                  <c:v>42034</c:v>
                </c:pt>
                <c:pt idx="3108">
                  <c:v>42037</c:v>
                </c:pt>
                <c:pt idx="3109">
                  <c:v>42038</c:v>
                </c:pt>
                <c:pt idx="3110">
                  <c:v>42039</c:v>
                </c:pt>
                <c:pt idx="3111">
                  <c:v>42040</c:v>
                </c:pt>
                <c:pt idx="3112">
                  <c:v>42041</c:v>
                </c:pt>
                <c:pt idx="3113">
                  <c:v>42044</c:v>
                </c:pt>
                <c:pt idx="3114">
                  <c:v>42045</c:v>
                </c:pt>
                <c:pt idx="3115">
                  <c:v>42046</c:v>
                </c:pt>
                <c:pt idx="3116">
                  <c:v>42047</c:v>
                </c:pt>
                <c:pt idx="3117">
                  <c:v>42048</c:v>
                </c:pt>
                <c:pt idx="3118">
                  <c:v>42051</c:v>
                </c:pt>
                <c:pt idx="3119">
                  <c:v>42052</c:v>
                </c:pt>
                <c:pt idx="3120">
                  <c:v>42060</c:v>
                </c:pt>
                <c:pt idx="3121">
                  <c:v>42061</c:v>
                </c:pt>
                <c:pt idx="3122">
                  <c:v>42062</c:v>
                </c:pt>
                <c:pt idx="3123">
                  <c:v>42065</c:v>
                </c:pt>
                <c:pt idx="3124">
                  <c:v>42066</c:v>
                </c:pt>
                <c:pt idx="3125">
                  <c:v>42067</c:v>
                </c:pt>
                <c:pt idx="3126">
                  <c:v>42068</c:v>
                </c:pt>
                <c:pt idx="3127">
                  <c:v>42069</c:v>
                </c:pt>
                <c:pt idx="3128">
                  <c:v>42072</c:v>
                </c:pt>
                <c:pt idx="3129">
                  <c:v>42073</c:v>
                </c:pt>
                <c:pt idx="3130">
                  <c:v>42074</c:v>
                </c:pt>
                <c:pt idx="3131">
                  <c:v>42075</c:v>
                </c:pt>
                <c:pt idx="3132">
                  <c:v>42076</c:v>
                </c:pt>
                <c:pt idx="3133">
                  <c:v>42079</c:v>
                </c:pt>
                <c:pt idx="3134">
                  <c:v>42080</c:v>
                </c:pt>
                <c:pt idx="3135">
                  <c:v>42081</c:v>
                </c:pt>
                <c:pt idx="3136">
                  <c:v>42082</c:v>
                </c:pt>
                <c:pt idx="3137">
                  <c:v>42083</c:v>
                </c:pt>
                <c:pt idx="3138">
                  <c:v>42086</c:v>
                </c:pt>
                <c:pt idx="3139">
                  <c:v>42087</c:v>
                </c:pt>
                <c:pt idx="3140">
                  <c:v>42088</c:v>
                </c:pt>
                <c:pt idx="3141">
                  <c:v>42089</c:v>
                </c:pt>
                <c:pt idx="3142">
                  <c:v>42090</c:v>
                </c:pt>
                <c:pt idx="3143">
                  <c:v>42093</c:v>
                </c:pt>
                <c:pt idx="3144">
                  <c:v>42094</c:v>
                </c:pt>
                <c:pt idx="3145">
                  <c:v>42095</c:v>
                </c:pt>
                <c:pt idx="3146">
                  <c:v>42096</c:v>
                </c:pt>
                <c:pt idx="3147">
                  <c:v>42097</c:v>
                </c:pt>
                <c:pt idx="3148">
                  <c:v>42101</c:v>
                </c:pt>
                <c:pt idx="3149">
                  <c:v>42102</c:v>
                </c:pt>
                <c:pt idx="3150">
                  <c:v>42103</c:v>
                </c:pt>
                <c:pt idx="3151">
                  <c:v>42104</c:v>
                </c:pt>
                <c:pt idx="3152">
                  <c:v>42107</c:v>
                </c:pt>
                <c:pt idx="3153">
                  <c:v>42108</c:v>
                </c:pt>
                <c:pt idx="3154">
                  <c:v>42109</c:v>
                </c:pt>
                <c:pt idx="3155">
                  <c:v>42110</c:v>
                </c:pt>
                <c:pt idx="3156">
                  <c:v>42111</c:v>
                </c:pt>
                <c:pt idx="3157">
                  <c:v>42114</c:v>
                </c:pt>
                <c:pt idx="3158">
                  <c:v>42115</c:v>
                </c:pt>
                <c:pt idx="3159">
                  <c:v>42116</c:v>
                </c:pt>
                <c:pt idx="3160">
                  <c:v>42117</c:v>
                </c:pt>
                <c:pt idx="3161">
                  <c:v>42118</c:v>
                </c:pt>
                <c:pt idx="3162">
                  <c:v>42121</c:v>
                </c:pt>
                <c:pt idx="3163">
                  <c:v>42122</c:v>
                </c:pt>
                <c:pt idx="3164">
                  <c:v>42123</c:v>
                </c:pt>
                <c:pt idx="3165">
                  <c:v>42124</c:v>
                </c:pt>
                <c:pt idx="3166">
                  <c:v>42128</c:v>
                </c:pt>
                <c:pt idx="3167">
                  <c:v>42129</c:v>
                </c:pt>
                <c:pt idx="3168">
                  <c:v>42130</c:v>
                </c:pt>
                <c:pt idx="3169">
                  <c:v>42131</c:v>
                </c:pt>
                <c:pt idx="3170">
                  <c:v>42132</c:v>
                </c:pt>
                <c:pt idx="3171">
                  <c:v>42135</c:v>
                </c:pt>
                <c:pt idx="3172">
                  <c:v>42136</c:v>
                </c:pt>
                <c:pt idx="3173">
                  <c:v>42137</c:v>
                </c:pt>
                <c:pt idx="3174">
                  <c:v>42138</c:v>
                </c:pt>
                <c:pt idx="3175">
                  <c:v>42139</c:v>
                </c:pt>
                <c:pt idx="3176">
                  <c:v>42142</c:v>
                </c:pt>
                <c:pt idx="3177">
                  <c:v>42143</c:v>
                </c:pt>
                <c:pt idx="3178">
                  <c:v>42144</c:v>
                </c:pt>
                <c:pt idx="3179">
                  <c:v>42145</c:v>
                </c:pt>
                <c:pt idx="3180">
                  <c:v>42146</c:v>
                </c:pt>
                <c:pt idx="3181">
                  <c:v>42149</c:v>
                </c:pt>
                <c:pt idx="3182">
                  <c:v>42150</c:v>
                </c:pt>
                <c:pt idx="3183">
                  <c:v>42151</c:v>
                </c:pt>
                <c:pt idx="3184">
                  <c:v>42152</c:v>
                </c:pt>
                <c:pt idx="3185">
                  <c:v>42153</c:v>
                </c:pt>
                <c:pt idx="3186">
                  <c:v>42156</c:v>
                </c:pt>
                <c:pt idx="3187">
                  <c:v>42157</c:v>
                </c:pt>
                <c:pt idx="3188">
                  <c:v>42158</c:v>
                </c:pt>
                <c:pt idx="3189">
                  <c:v>42159</c:v>
                </c:pt>
                <c:pt idx="3190">
                  <c:v>42160</c:v>
                </c:pt>
                <c:pt idx="3191">
                  <c:v>42163</c:v>
                </c:pt>
                <c:pt idx="3192">
                  <c:v>42164</c:v>
                </c:pt>
                <c:pt idx="3193">
                  <c:v>42165</c:v>
                </c:pt>
                <c:pt idx="3194">
                  <c:v>42166</c:v>
                </c:pt>
                <c:pt idx="3195">
                  <c:v>42167</c:v>
                </c:pt>
                <c:pt idx="3196">
                  <c:v>42170</c:v>
                </c:pt>
                <c:pt idx="3197">
                  <c:v>42171</c:v>
                </c:pt>
                <c:pt idx="3198">
                  <c:v>42172</c:v>
                </c:pt>
                <c:pt idx="3199">
                  <c:v>42173</c:v>
                </c:pt>
                <c:pt idx="3200">
                  <c:v>42174</c:v>
                </c:pt>
                <c:pt idx="3201">
                  <c:v>42178</c:v>
                </c:pt>
                <c:pt idx="3202">
                  <c:v>42179</c:v>
                </c:pt>
                <c:pt idx="3203">
                  <c:v>42180</c:v>
                </c:pt>
                <c:pt idx="3204">
                  <c:v>42181</c:v>
                </c:pt>
                <c:pt idx="3205">
                  <c:v>42184</c:v>
                </c:pt>
                <c:pt idx="3206">
                  <c:v>42185</c:v>
                </c:pt>
                <c:pt idx="3207">
                  <c:v>42186</c:v>
                </c:pt>
                <c:pt idx="3208">
                  <c:v>42187</c:v>
                </c:pt>
                <c:pt idx="3209">
                  <c:v>42188</c:v>
                </c:pt>
                <c:pt idx="3210">
                  <c:v>42191</c:v>
                </c:pt>
                <c:pt idx="3211">
                  <c:v>42192</c:v>
                </c:pt>
                <c:pt idx="3212">
                  <c:v>42193</c:v>
                </c:pt>
                <c:pt idx="3213">
                  <c:v>42194</c:v>
                </c:pt>
                <c:pt idx="3214">
                  <c:v>42195</c:v>
                </c:pt>
                <c:pt idx="3215">
                  <c:v>42198</c:v>
                </c:pt>
                <c:pt idx="3216">
                  <c:v>42199</c:v>
                </c:pt>
                <c:pt idx="3217">
                  <c:v>42200</c:v>
                </c:pt>
                <c:pt idx="3218">
                  <c:v>42201</c:v>
                </c:pt>
                <c:pt idx="3219">
                  <c:v>42202</c:v>
                </c:pt>
                <c:pt idx="3220">
                  <c:v>42205</c:v>
                </c:pt>
                <c:pt idx="3221">
                  <c:v>42206</c:v>
                </c:pt>
                <c:pt idx="3222">
                  <c:v>42207</c:v>
                </c:pt>
                <c:pt idx="3223">
                  <c:v>42208</c:v>
                </c:pt>
                <c:pt idx="3224">
                  <c:v>42209</c:v>
                </c:pt>
                <c:pt idx="3225">
                  <c:v>42212</c:v>
                </c:pt>
                <c:pt idx="3226">
                  <c:v>42213</c:v>
                </c:pt>
                <c:pt idx="3227">
                  <c:v>42214</c:v>
                </c:pt>
                <c:pt idx="3228">
                  <c:v>42215</c:v>
                </c:pt>
                <c:pt idx="3229">
                  <c:v>42216</c:v>
                </c:pt>
                <c:pt idx="3230">
                  <c:v>42219</c:v>
                </c:pt>
                <c:pt idx="3231">
                  <c:v>42220</c:v>
                </c:pt>
                <c:pt idx="3232">
                  <c:v>42221</c:v>
                </c:pt>
                <c:pt idx="3233">
                  <c:v>42222</c:v>
                </c:pt>
                <c:pt idx="3234">
                  <c:v>42223</c:v>
                </c:pt>
                <c:pt idx="3235">
                  <c:v>42226</c:v>
                </c:pt>
                <c:pt idx="3236">
                  <c:v>42227</c:v>
                </c:pt>
                <c:pt idx="3237">
                  <c:v>42228</c:v>
                </c:pt>
                <c:pt idx="3238">
                  <c:v>42229</c:v>
                </c:pt>
                <c:pt idx="3239">
                  <c:v>42230</c:v>
                </c:pt>
                <c:pt idx="3240">
                  <c:v>42233</c:v>
                </c:pt>
                <c:pt idx="3241">
                  <c:v>42234</c:v>
                </c:pt>
                <c:pt idx="3242">
                  <c:v>42235</c:v>
                </c:pt>
                <c:pt idx="3243">
                  <c:v>42236</c:v>
                </c:pt>
                <c:pt idx="3244">
                  <c:v>42237</c:v>
                </c:pt>
                <c:pt idx="3245">
                  <c:v>42240</c:v>
                </c:pt>
                <c:pt idx="3246">
                  <c:v>42241</c:v>
                </c:pt>
                <c:pt idx="3247">
                  <c:v>42242</c:v>
                </c:pt>
                <c:pt idx="3248">
                  <c:v>42243</c:v>
                </c:pt>
                <c:pt idx="3249">
                  <c:v>42244</c:v>
                </c:pt>
                <c:pt idx="3250">
                  <c:v>42247</c:v>
                </c:pt>
                <c:pt idx="3251">
                  <c:v>42248</c:v>
                </c:pt>
                <c:pt idx="3252">
                  <c:v>42249</c:v>
                </c:pt>
                <c:pt idx="3253">
                  <c:v>42254</c:v>
                </c:pt>
                <c:pt idx="3254">
                  <c:v>42255</c:v>
                </c:pt>
                <c:pt idx="3255">
                  <c:v>42256</c:v>
                </c:pt>
                <c:pt idx="3256">
                  <c:v>42257</c:v>
                </c:pt>
                <c:pt idx="3257">
                  <c:v>42258</c:v>
                </c:pt>
                <c:pt idx="3258">
                  <c:v>42261</c:v>
                </c:pt>
                <c:pt idx="3259">
                  <c:v>42262</c:v>
                </c:pt>
                <c:pt idx="3260">
                  <c:v>42263</c:v>
                </c:pt>
                <c:pt idx="3261">
                  <c:v>42264</c:v>
                </c:pt>
                <c:pt idx="3262">
                  <c:v>42265</c:v>
                </c:pt>
                <c:pt idx="3263">
                  <c:v>42268</c:v>
                </c:pt>
                <c:pt idx="3264">
                  <c:v>42269</c:v>
                </c:pt>
                <c:pt idx="3265">
                  <c:v>42270</c:v>
                </c:pt>
                <c:pt idx="3266">
                  <c:v>42271</c:v>
                </c:pt>
                <c:pt idx="3267">
                  <c:v>42272</c:v>
                </c:pt>
                <c:pt idx="3268">
                  <c:v>42275</c:v>
                </c:pt>
                <c:pt idx="3269">
                  <c:v>42276</c:v>
                </c:pt>
                <c:pt idx="3270">
                  <c:v>42277</c:v>
                </c:pt>
                <c:pt idx="3271">
                  <c:v>42285</c:v>
                </c:pt>
                <c:pt idx="3272">
                  <c:v>42286</c:v>
                </c:pt>
                <c:pt idx="3273">
                  <c:v>42289</c:v>
                </c:pt>
                <c:pt idx="3274">
                  <c:v>42290</c:v>
                </c:pt>
                <c:pt idx="3275">
                  <c:v>42291</c:v>
                </c:pt>
                <c:pt idx="3276">
                  <c:v>42292</c:v>
                </c:pt>
                <c:pt idx="3277">
                  <c:v>42293</c:v>
                </c:pt>
                <c:pt idx="3278">
                  <c:v>42296</c:v>
                </c:pt>
                <c:pt idx="3279">
                  <c:v>42297</c:v>
                </c:pt>
                <c:pt idx="3280">
                  <c:v>42298</c:v>
                </c:pt>
                <c:pt idx="3281">
                  <c:v>42299</c:v>
                </c:pt>
                <c:pt idx="3282">
                  <c:v>42300</c:v>
                </c:pt>
                <c:pt idx="3283">
                  <c:v>42303</c:v>
                </c:pt>
                <c:pt idx="3284">
                  <c:v>42304</c:v>
                </c:pt>
                <c:pt idx="3285">
                  <c:v>42305</c:v>
                </c:pt>
                <c:pt idx="3286">
                  <c:v>42306</c:v>
                </c:pt>
                <c:pt idx="3287">
                  <c:v>42307</c:v>
                </c:pt>
                <c:pt idx="3288">
                  <c:v>42310</c:v>
                </c:pt>
                <c:pt idx="3289">
                  <c:v>42311</c:v>
                </c:pt>
                <c:pt idx="3290">
                  <c:v>42312</c:v>
                </c:pt>
                <c:pt idx="3291">
                  <c:v>42313</c:v>
                </c:pt>
                <c:pt idx="3292">
                  <c:v>42314</c:v>
                </c:pt>
                <c:pt idx="3293">
                  <c:v>42317</c:v>
                </c:pt>
                <c:pt idx="3294">
                  <c:v>42318</c:v>
                </c:pt>
                <c:pt idx="3295">
                  <c:v>42319</c:v>
                </c:pt>
                <c:pt idx="3296">
                  <c:v>42320</c:v>
                </c:pt>
                <c:pt idx="3297">
                  <c:v>42321</c:v>
                </c:pt>
                <c:pt idx="3298">
                  <c:v>42324</c:v>
                </c:pt>
                <c:pt idx="3299">
                  <c:v>42325</c:v>
                </c:pt>
                <c:pt idx="3300">
                  <c:v>42326</c:v>
                </c:pt>
                <c:pt idx="3301">
                  <c:v>42327</c:v>
                </c:pt>
                <c:pt idx="3302">
                  <c:v>42328</c:v>
                </c:pt>
                <c:pt idx="3303">
                  <c:v>42331</c:v>
                </c:pt>
                <c:pt idx="3304">
                  <c:v>42332</c:v>
                </c:pt>
                <c:pt idx="3305">
                  <c:v>42333</c:v>
                </c:pt>
                <c:pt idx="3306">
                  <c:v>42334</c:v>
                </c:pt>
                <c:pt idx="3307">
                  <c:v>42335</c:v>
                </c:pt>
                <c:pt idx="3308">
                  <c:v>42338</c:v>
                </c:pt>
                <c:pt idx="3309">
                  <c:v>42339</c:v>
                </c:pt>
                <c:pt idx="3310">
                  <c:v>42340</c:v>
                </c:pt>
                <c:pt idx="3311">
                  <c:v>42341</c:v>
                </c:pt>
                <c:pt idx="3312">
                  <c:v>42342</c:v>
                </c:pt>
                <c:pt idx="3313">
                  <c:v>42345</c:v>
                </c:pt>
                <c:pt idx="3314">
                  <c:v>42346</c:v>
                </c:pt>
                <c:pt idx="3315">
                  <c:v>42347</c:v>
                </c:pt>
                <c:pt idx="3316">
                  <c:v>42348</c:v>
                </c:pt>
                <c:pt idx="3317">
                  <c:v>42349</c:v>
                </c:pt>
                <c:pt idx="3318">
                  <c:v>42352</c:v>
                </c:pt>
                <c:pt idx="3319">
                  <c:v>42353</c:v>
                </c:pt>
                <c:pt idx="3320">
                  <c:v>42354</c:v>
                </c:pt>
                <c:pt idx="3321">
                  <c:v>42355</c:v>
                </c:pt>
                <c:pt idx="3322">
                  <c:v>42356</c:v>
                </c:pt>
                <c:pt idx="3323">
                  <c:v>42359</c:v>
                </c:pt>
                <c:pt idx="3324">
                  <c:v>42360</c:v>
                </c:pt>
                <c:pt idx="3325">
                  <c:v>42361</c:v>
                </c:pt>
                <c:pt idx="3326">
                  <c:v>42362</c:v>
                </c:pt>
                <c:pt idx="3327">
                  <c:v>42363</c:v>
                </c:pt>
                <c:pt idx="3328">
                  <c:v>42366</c:v>
                </c:pt>
                <c:pt idx="3329">
                  <c:v>42367</c:v>
                </c:pt>
                <c:pt idx="3330">
                  <c:v>42368</c:v>
                </c:pt>
                <c:pt idx="3331">
                  <c:v>42369</c:v>
                </c:pt>
                <c:pt idx="3332">
                  <c:v>42373</c:v>
                </c:pt>
                <c:pt idx="3333">
                  <c:v>42374</c:v>
                </c:pt>
                <c:pt idx="3334">
                  <c:v>42375</c:v>
                </c:pt>
                <c:pt idx="3335">
                  <c:v>42376</c:v>
                </c:pt>
                <c:pt idx="3336">
                  <c:v>42377</c:v>
                </c:pt>
                <c:pt idx="3337">
                  <c:v>42380</c:v>
                </c:pt>
                <c:pt idx="3338">
                  <c:v>42381</c:v>
                </c:pt>
                <c:pt idx="3339">
                  <c:v>42382</c:v>
                </c:pt>
                <c:pt idx="3340">
                  <c:v>42383</c:v>
                </c:pt>
                <c:pt idx="3341">
                  <c:v>42384</c:v>
                </c:pt>
                <c:pt idx="3342">
                  <c:v>42387</c:v>
                </c:pt>
                <c:pt idx="3343">
                  <c:v>42388</c:v>
                </c:pt>
                <c:pt idx="3344">
                  <c:v>42389</c:v>
                </c:pt>
                <c:pt idx="3345">
                  <c:v>42390</c:v>
                </c:pt>
                <c:pt idx="3346">
                  <c:v>42391</c:v>
                </c:pt>
                <c:pt idx="3347">
                  <c:v>42394</c:v>
                </c:pt>
                <c:pt idx="3348">
                  <c:v>42395</c:v>
                </c:pt>
                <c:pt idx="3349">
                  <c:v>42396</c:v>
                </c:pt>
                <c:pt idx="3350">
                  <c:v>42397</c:v>
                </c:pt>
                <c:pt idx="3351">
                  <c:v>42398</c:v>
                </c:pt>
                <c:pt idx="3352">
                  <c:v>42401</c:v>
                </c:pt>
                <c:pt idx="3353">
                  <c:v>42402</c:v>
                </c:pt>
                <c:pt idx="3354">
                  <c:v>42403</c:v>
                </c:pt>
                <c:pt idx="3355">
                  <c:v>42404</c:v>
                </c:pt>
                <c:pt idx="3356">
                  <c:v>42405</c:v>
                </c:pt>
                <c:pt idx="3357">
                  <c:v>42415</c:v>
                </c:pt>
                <c:pt idx="3358">
                  <c:v>42416</c:v>
                </c:pt>
                <c:pt idx="3359">
                  <c:v>42417</c:v>
                </c:pt>
                <c:pt idx="3360">
                  <c:v>42418</c:v>
                </c:pt>
                <c:pt idx="3361">
                  <c:v>42419</c:v>
                </c:pt>
                <c:pt idx="3362">
                  <c:v>42422</c:v>
                </c:pt>
                <c:pt idx="3363">
                  <c:v>42423</c:v>
                </c:pt>
                <c:pt idx="3364">
                  <c:v>42424</c:v>
                </c:pt>
                <c:pt idx="3365">
                  <c:v>42425</c:v>
                </c:pt>
                <c:pt idx="3366">
                  <c:v>42426</c:v>
                </c:pt>
                <c:pt idx="3367">
                  <c:v>42429</c:v>
                </c:pt>
                <c:pt idx="3368">
                  <c:v>42430</c:v>
                </c:pt>
                <c:pt idx="3369">
                  <c:v>42431</c:v>
                </c:pt>
                <c:pt idx="3370">
                  <c:v>42432</c:v>
                </c:pt>
                <c:pt idx="3371">
                  <c:v>42433</c:v>
                </c:pt>
                <c:pt idx="3372">
                  <c:v>42436</c:v>
                </c:pt>
                <c:pt idx="3373">
                  <c:v>42437</c:v>
                </c:pt>
                <c:pt idx="3374">
                  <c:v>42438</c:v>
                </c:pt>
                <c:pt idx="3375">
                  <c:v>42439</c:v>
                </c:pt>
                <c:pt idx="3376">
                  <c:v>42440</c:v>
                </c:pt>
                <c:pt idx="3377">
                  <c:v>42443</c:v>
                </c:pt>
                <c:pt idx="3378">
                  <c:v>42444</c:v>
                </c:pt>
                <c:pt idx="3379">
                  <c:v>42445</c:v>
                </c:pt>
                <c:pt idx="3380">
                  <c:v>42446</c:v>
                </c:pt>
                <c:pt idx="3381">
                  <c:v>42447</c:v>
                </c:pt>
                <c:pt idx="3382">
                  <c:v>42450</c:v>
                </c:pt>
                <c:pt idx="3383">
                  <c:v>42451</c:v>
                </c:pt>
                <c:pt idx="3384">
                  <c:v>42452</c:v>
                </c:pt>
                <c:pt idx="3385">
                  <c:v>42453</c:v>
                </c:pt>
                <c:pt idx="3386">
                  <c:v>42454</c:v>
                </c:pt>
                <c:pt idx="3387">
                  <c:v>42457</c:v>
                </c:pt>
                <c:pt idx="3388">
                  <c:v>42458</c:v>
                </c:pt>
                <c:pt idx="3389">
                  <c:v>42459</c:v>
                </c:pt>
                <c:pt idx="3390">
                  <c:v>42460</c:v>
                </c:pt>
                <c:pt idx="3391">
                  <c:v>42461</c:v>
                </c:pt>
                <c:pt idx="3392">
                  <c:v>42465</c:v>
                </c:pt>
                <c:pt idx="3393">
                  <c:v>42466</c:v>
                </c:pt>
                <c:pt idx="3394">
                  <c:v>42467</c:v>
                </c:pt>
                <c:pt idx="3395">
                  <c:v>42468</c:v>
                </c:pt>
                <c:pt idx="3396">
                  <c:v>42471</c:v>
                </c:pt>
                <c:pt idx="3397">
                  <c:v>42472</c:v>
                </c:pt>
                <c:pt idx="3398">
                  <c:v>42473</c:v>
                </c:pt>
                <c:pt idx="3399">
                  <c:v>42474</c:v>
                </c:pt>
                <c:pt idx="3400">
                  <c:v>42475</c:v>
                </c:pt>
                <c:pt idx="3401">
                  <c:v>42478</c:v>
                </c:pt>
                <c:pt idx="3402">
                  <c:v>42479</c:v>
                </c:pt>
                <c:pt idx="3403">
                  <c:v>42480</c:v>
                </c:pt>
                <c:pt idx="3404">
                  <c:v>42481</c:v>
                </c:pt>
                <c:pt idx="3405">
                  <c:v>42482</c:v>
                </c:pt>
                <c:pt idx="3406">
                  <c:v>42485</c:v>
                </c:pt>
                <c:pt idx="3407">
                  <c:v>42486</c:v>
                </c:pt>
                <c:pt idx="3408">
                  <c:v>42487</c:v>
                </c:pt>
                <c:pt idx="3409">
                  <c:v>42488</c:v>
                </c:pt>
                <c:pt idx="3410">
                  <c:v>42489</c:v>
                </c:pt>
                <c:pt idx="3411">
                  <c:v>42493</c:v>
                </c:pt>
                <c:pt idx="3412">
                  <c:v>42494</c:v>
                </c:pt>
                <c:pt idx="3413">
                  <c:v>42495</c:v>
                </c:pt>
                <c:pt idx="3414">
                  <c:v>42496</c:v>
                </c:pt>
                <c:pt idx="3415">
                  <c:v>42499</c:v>
                </c:pt>
                <c:pt idx="3416">
                  <c:v>42500</c:v>
                </c:pt>
                <c:pt idx="3417">
                  <c:v>42501</c:v>
                </c:pt>
                <c:pt idx="3418">
                  <c:v>42502</c:v>
                </c:pt>
                <c:pt idx="3419">
                  <c:v>42503</c:v>
                </c:pt>
                <c:pt idx="3420">
                  <c:v>42506</c:v>
                </c:pt>
                <c:pt idx="3421">
                  <c:v>42507</c:v>
                </c:pt>
                <c:pt idx="3422">
                  <c:v>42508</c:v>
                </c:pt>
                <c:pt idx="3423">
                  <c:v>42509</c:v>
                </c:pt>
                <c:pt idx="3424">
                  <c:v>42510</c:v>
                </c:pt>
                <c:pt idx="3425">
                  <c:v>42513</c:v>
                </c:pt>
                <c:pt idx="3426">
                  <c:v>42514</c:v>
                </c:pt>
                <c:pt idx="3427">
                  <c:v>42515</c:v>
                </c:pt>
                <c:pt idx="3428">
                  <c:v>42516</c:v>
                </c:pt>
                <c:pt idx="3429">
                  <c:v>42517</c:v>
                </c:pt>
                <c:pt idx="3430">
                  <c:v>42520</c:v>
                </c:pt>
                <c:pt idx="3431">
                  <c:v>42521</c:v>
                </c:pt>
                <c:pt idx="3432">
                  <c:v>42522</c:v>
                </c:pt>
                <c:pt idx="3433">
                  <c:v>42523</c:v>
                </c:pt>
                <c:pt idx="3434">
                  <c:v>42524</c:v>
                </c:pt>
                <c:pt idx="3435">
                  <c:v>42527</c:v>
                </c:pt>
                <c:pt idx="3436">
                  <c:v>42528</c:v>
                </c:pt>
                <c:pt idx="3437">
                  <c:v>42529</c:v>
                </c:pt>
                <c:pt idx="3438">
                  <c:v>42534</c:v>
                </c:pt>
                <c:pt idx="3439">
                  <c:v>42535</c:v>
                </c:pt>
                <c:pt idx="3440">
                  <c:v>42536</c:v>
                </c:pt>
                <c:pt idx="3441">
                  <c:v>42537</c:v>
                </c:pt>
                <c:pt idx="3442">
                  <c:v>42538</c:v>
                </c:pt>
                <c:pt idx="3443">
                  <c:v>42541</c:v>
                </c:pt>
                <c:pt idx="3444">
                  <c:v>42542</c:v>
                </c:pt>
                <c:pt idx="3445">
                  <c:v>42543</c:v>
                </c:pt>
                <c:pt idx="3446">
                  <c:v>42544</c:v>
                </c:pt>
                <c:pt idx="3447">
                  <c:v>42545</c:v>
                </c:pt>
                <c:pt idx="3448">
                  <c:v>42548</c:v>
                </c:pt>
                <c:pt idx="3449">
                  <c:v>42549</c:v>
                </c:pt>
                <c:pt idx="3450">
                  <c:v>42550</c:v>
                </c:pt>
                <c:pt idx="3451">
                  <c:v>42551</c:v>
                </c:pt>
                <c:pt idx="3452">
                  <c:v>42552</c:v>
                </c:pt>
                <c:pt idx="3453">
                  <c:v>42555</c:v>
                </c:pt>
                <c:pt idx="3454">
                  <c:v>42556</c:v>
                </c:pt>
                <c:pt idx="3455">
                  <c:v>42557</c:v>
                </c:pt>
                <c:pt idx="3456">
                  <c:v>42558</c:v>
                </c:pt>
                <c:pt idx="3457">
                  <c:v>42559</c:v>
                </c:pt>
                <c:pt idx="3458">
                  <c:v>42562</c:v>
                </c:pt>
                <c:pt idx="3459">
                  <c:v>42563</c:v>
                </c:pt>
                <c:pt idx="3460">
                  <c:v>42564</c:v>
                </c:pt>
                <c:pt idx="3461">
                  <c:v>42565</c:v>
                </c:pt>
                <c:pt idx="3462">
                  <c:v>42566</c:v>
                </c:pt>
                <c:pt idx="3463">
                  <c:v>42569</c:v>
                </c:pt>
                <c:pt idx="3464">
                  <c:v>42570</c:v>
                </c:pt>
                <c:pt idx="3465">
                  <c:v>42571</c:v>
                </c:pt>
                <c:pt idx="3466">
                  <c:v>42572</c:v>
                </c:pt>
                <c:pt idx="3467">
                  <c:v>42573</c:v>
                </c:pt>
                <c:pt idx="3468">
                  <c:v>42576</c:v>
                </c:pt>
                <c:pt idx="3469">
                  <c:v>42577</c:v>
                </c:pt>
                <c:pt idx="3470">
                  <c:v>42578</c:v>
                </c:pt>
                <c:pt idx="3471">
                  <c:v>42579</c:v>
                </c:pt>
                <c:pt idx="3472">
                  <c:v>42580</c:v>
                </c:pt>
                <c:pt idx="3473">
                  <c:v>42583</c:v>
                </c:pt>
                <c:pt idx="3474">
                  <c:v>42584</c:v>
                </c:pt>
                <c:pt idx="3475">
                  <c:v>42585</c:v>
                </c:pt>
                <c:pt idx="3476">
                  <c:v>42586</c:v>
                </c:pt>
                <c:pt idx="3477">
                  <c:v>42587</c:v>
                </c:pt>
                <c:pt idx="3478">
                  <c:v>42590</c:v>
                </c:pt>
                <c:pt idx="3479">
                  <c:v>42591</c:v>
                </c:pt>
                <c:pt idx="3480">
                  <c:v>42592</c:v>
                </c:pt>
                <c:pt idx="3481">
                  <c:v>42593</c:v>
                </c:pt>
                <c:pt idx="3482">
                  <c:v>42594</c:v>
                </c:pt>
                <c:pt idx="3483">
                  <c:v>42597</c:v>
                </c:pt>
                <c:pt idx="3484">
                  <c:v>42598</c:v>
                </c:pt>
                <c:pt idx="3485">
                  <c:v>42599</c:v>
                </c:pt>
                <c:pt idx="3486">
                  <c:v>42600</c:v>
                </c:pt>
                <c:pt idx="3487">
                  <c:v>42601</c:v>
                </c:pt>
                <c:pt idx="3488">
                  <c:v>42604</c:v>
                </c:pt>
                <c:pt idx="3489">
                  <c:v>42605</c:v>
                </c:pt>
                <c:pt idx="3490">
                  <c:v>42606</c:v>
                </c:pt>
                <c:pt idx="3491">
                  <c:v>42607</c:v>
                </c:pt>
                <c:pt idx="3492">
                  <c:v>42608</c:v>
                </c:pt>
                <c:pt idx="3493">
                  <c:v>42611</c:v>
                </c:pt>
                <c:pt idx="3494">
                  <c:v>42612</c:v>
                </c:pt>
                <c:pt idx="3495">
                  <c:v>42613</c:v>
                </c:pt>
                <c:pt idx="3496">
                  <c:v>42614</c:v>
                </c:pt>
                <c:pt idx="3497">
                  <c:v>42615</c:v>
                </c:pt>
                <c:pt idx="3498">
                  <c:v>42618</c:v>
                </c:pt>
                <c:pt idx="3499">
                  <c:v>42619</c:v>
                </c:pt>
                <c:pt idx="3500">
                  <c:v>42620</c:v>
                </c:pt>
                <c:pt idx="3501">
                  <c:v>42621</c:v>
                </c:pt>
                <c:pt idx="3502">
                  <c:v>42622</c:v>
                </c:pt>
                <c:pt idx="3503">
                  <c:v>42625</c:v>
                </c:pt>
                <c:pt idx="3504">
                  <c:v>42626</c:v>
                </c:pt>
                <c:pt idx="3505">
                  <c:v>42627</c:v>
                </c:pt>
                <c:pt idx="3506">
                  <c:v>42632</c:v>
                </c:pt>
                <c:pt idx="3507">
                  <c:v>42633</c:v>
                </c:pt>
                <c:pt idx="3508">
                  <c:v>42634</c:v>
                </c:pt>
                <c:pt idx="3509">
                  <c:v>42635</c:v>
                </c:pt>
                <c:pt idx="3510">
                  <c:v>42636</c:v>
                </c:pt>
                <c:pt idx="3511">
                  <c:v>42639</c:v>
                </c:pt>
                <c:pt idx="3512">
                  <c:v>42640</c:v>
                </c:pt>
                <c:pt idx="3513">
                  <c:v>42641</c:v>
                </c:pt>
                <c:pt idx="3514">
                  <c:v>42642</c:v>
                </c:pt>
                <c:pt idx="3515">
                  <c:v>42643</c:v>
                </c:pt>
                <c:pt idx="3516">
                  <c:v>42653</c:v>
                </c:pt>
                <c:pt idx="3517">
                  <c:v>42654</c:v>
                </c:pt>
                <c:pt idx="3518">
                  <c:v>42655</c:v>
                </c:pt>
                <c:pt idx="3519">
                  <c:v>42656</c:v>
                </c:pt>
                <c:pt idx="3520">
                  <c:v>42657</c:v>
                </c:pt>
                <c:pt idx="3521">
                  <c:v>42660</c:v>
                </c:pt>
                <c:pt idx="3522">
                  <c:v>42661</c:v>
                </c:pt>
                <c:pt idx="3523">
                  <c:v>42662</c:v>
                </c:pt>
                <c:pt idx="3524">
                  <c:v>42663</c:v>
                </c:pt>
                <c:pt idx="3525">
                  <c:v>42664</c:v>
                </c:pt>
                <c:pt idx="3526">
                  <c:v>42667</c:v>
                </c:pt>
                <c:pt idx="3527">
                  <c:v>42668</c:v>
                </c:pt>
                <c:pt idx="3528">
                  <c:v>42669</c:v>
                </c:pt>
                <c:pt idx="3529">
                  <c:v>42670</c:v>
                </c:pt>
                <c:pt idx="3530">
                  <c:v>42671</c:v>
                </c:pt>
                <c:pt idx="3531">
                  <c:v>42674</c:v>
                </c:pt>
                <c:pt idx="3532">
                  <c:v>42675</c:v>
                </c:pt>
                <c:pt idx="3533">
                  <c:v>42676</c:v>
                </c:pt>
                <c:pt idx="3534">
                  <c:v>42677</c:v>
                </c:pt>
                <c:pt idx="3535">
                  <c:v>42678</c:v>
                </c:pt>
                <c:pt idx="3536">
                  <c:v>42681</c:v>
                </c:pt>
                <c:pt idx="3537">
                  <c:v>42682</c:v>
                </c:pt>
                <c:pt idx="3538">
                  <c:v>42683</c:v>
                </c:pt>
                <c:pt idx="3539">
                  <c:v>42684</c:v>
                </c:pt>
                <c:pt idx="3540">
                  <c:v>42685</c:v>
                </c:pt>
                <c:pt idx="3541">
                  <c:v>42688</c:v>
                </c:pt>
                <c:pt idx="3542">
                  <c:v>42689</c:v>
                </c:pt>
                <c:pt idx="3543">
                  <c:v>42690</c:v>
                </c:pt>
                <c:pt idx="3544">
                  <c:v>42691</c:v>
                </c:pt>
                <c:pt idx="3545">
                  <c:v>42692</c:v>
                </c:pt>
                <c:pt idx="3546">
                  <c:v>42695</c:v>
                </c:pt>
                <c:pt idx="3547">
                  <c:v>42696</c:v>
                </c:pt>
                <c:pt idx="3548">
                  <c:v>42697</c:v>
                </c:pt>
                <c:pt idx="3549">
                  <c:v>42698</c:v>
                </c:pt>
                <c:pt idx="3550">
                  <c:v>42699</c:v>
                </c:pt>
                <c:pt idx="3551">
                  <c:v>42702</c:v>
                </c:pt>
                <c:pt idx="3552">
                  <c:v>42703</c:v>
                </c:pt>
                <c:pt idx="3553">
                  <c:v>42704</c:v>
                </c:pt>
                <c:pt idx="3554">
                  <c:v>42705</c:v>
                </c:pt>
                <c:pt idx="3555">
                  <c:v>42706</c:v>
                </c:pt>
                <c:pt idx="3556">
                  <c:v>42709</c:v>
                </c:pt>
                <c:pt idx="3557">
                  <c:v>42710</c:v>
                </c:pt>
                <c:pt idx="3558">
                  <c:v>42711</c:v>
                </c:pt>
                <c:pt idx="3559">
                  <c:v>42712</c:v>
                </c:pt>
                <c:pt idx="3560">
                  <c:v>42713</c:v>
                </c:pt>
                <c:pt idx="3561">
                  <c:v>42716</c:v>
                </c:pt>
                <c:pt idx="3562">
                  <c:v>42717</c:v>
                </c:pt>
                <c:pt idx="3563">
                  <c:v>42718</c:v>
                </c:pt>
                <c:pt idx="3564">
                  <c:v>42719</c:v>
                </c:pt>
                <c:pt idx="3565">
                  <c:v>42720</c:v>
                </c:pt>
                <c:pt idx="3566">
                  <c:v>42723</c:v>
                </c:pt>
                <c:pt idx="3567">
                  <c:v>42724</c:v>
                </c:pt>
                <c:pt idx="3568">
                  <c:v>42725</c:v>
                </c:pt>
                <c:pt idx="3569">
                  <c:v>42726</c:v>
                </c:pt>
                <c:pt idx="3570">
                  <c:v>42727</c:v>
                </c:pt>
                <c:pt idx="3571">
                  <c:v>42730</c:v>
                </c:pt>
                <c:pt idx="3572">
                  <c:v>42731</c:v>
                </c:pt>
                <c:pt idx="3573">
                  <c:v>42732</c:v>
                </c:pt>
                <c:pt idx="3574">
                  <c:v>42733</c:v>
                </c:pt>
                <c:pt idx="3575">
                  <c:v>42734</c:v>
                </c:pt>
                <c:pt idx="3576">
                  <c:v>42738</c:v>
                </c:pt>
                <c:pt idx="3577">
                  <c:v>42739</c:v>
                </c:pt>
                <c:pt idx="3578">
                  <c:v>42740</c:v>
                </c:pt>
                <c:pt idx="3579">
                  <c:v>42741</c:v>
                </c:pt>
                <c:pt idx="3580">
                  <c:v>42744</c:v>
                </c:pt>
                <c:pt idx="3581">
                  <c:v>42745</c:v>
                </c:pt>
                <c:pt idx="3582">
                  <c:v>42746</c:v>
                </c:pt>
                <c:pt idx="3583">
                  <c:v>42747</c:v>
                </c:pt>
                <c:pt idx="3584">
                  <c:v>42748</c:v>
                </c:pt>
                <c:pt idx="3585">
                  <c:v>42751</c:v>
                </c:pt>
                <c:pt idx="3586">
                  <c:v>42752</c:v>
                </c:pt>
                <c:pt idx="3587">
                  <c:v>42753</c:v>
                </c:pt>
                <c:pt idx="3588">
                  <c:v>42754</c:v>
                </c:pt>
                <c:pt idx="3589">
                  <c:v>42755</c:v>
                </c:pt>
                <c:pt idx="3590">
                  <c:v>42758</c:v>
                </c:pt>
                <c:pt idx="3591">
                  <c:v>42759</c:v>
                </c:pt>
                <c:pt idx="3592">
                  <c:v>42760</c:v>
                </c:pt>
                <c:pt idx="3593">
                  <c:v>42761</c:v>
                </c:pt>
                <c:pt idx="3594">
                  <c:v>42769</c:v>
                </c:pt>
                <c:pt idx="3595">
                  <c:v>42772</c:v>
                </c:pt>
                <c:pt idx="3596">
                  <c:v>42773</c:v>
                </c:pt>
                <c:pt idx="3597">
                  <c:v>42774</c:v>
                </c:pt>
                <c:pt idx="3598">
                  <c:v>42775</c:v>
                </c:pt>
                <c:pt idx="3599">
                  <c:v>42776</c:v>
                </c:pt>
                <c:pt idx="3600">
                  <c:v>42779</c:v>
                </c:pt>
                <c:pt idx="3601">
                  <c:v>42780</c:v>
                </c:pt>
                <c:pt idx="3602">
                  <c:v>42781</c:v>
                </c:pt>
                <c:pt idx="3603">
                  <c:v>42782</c:v>
                </c:pt>
                <c:pt idx="3604">
                  <c:v>42783</c:v>
                </c:pt>
                <c:pt idx="3605">
                  <c:v>42786</c:v>
                </c:pt>
                <c:pt idx="3606">
                  <c:v>42787</c:v>
                </c:pt>
                <c:pt idx="3607">
                  <c:v>42788</c:v>
                </c:pt>
                <c:pt idx="3608">
                  <c:v>42789</c:v>
                </c:pt>
                <c:pt idx="3609">
                  <c:v>42790</c:v>
                </c:pt>
                <c:pt idx="3610">
                  <c:v>42793</c:v>
                </c:pt>
                <c:pt idx="3611">
                  <c:v>42794</c:v>
                </c:pt>
                <c:pt idx="3612">
                  <c:v>42795</c:v>
                </c:pt>
                <c:pt idx="3613">
                  <c:v>42796</c:v>
                </c:pt>
                <c:pt idx="3614">
                  <c:v>42797</c:v>
                </c:pt>
                <c:pt idx="3615">
                  <c:v>42800</c:v>
                </c:pt>
                <c:pt idx="3616">
                  <c:v>42801</c:v>
                </c:pt>
                <c:pt idx="3617">
                  <c:v>42802</c:v>
                </c:pt>
                <c:pt idx="3618">
                  <c:v>42803</c:v>
                </c:pt>
                <c:pt idx="3619">
                  <c:v>42804</c:v>
                </c:pt>
                <c:pt idx="3620">
                  <c:v>42807</c:v>
                </c:pt>
                <c:pt idx="3621">
                  <c:v>42808</c:v>
                </c:pt>
                <c:pt idx="3622">
                  <c:v>42809</c:v>
                </c:pt>
                <c:pt idx="3623">
                  <c:v>42810</c:v>
                </c:pt>
                <c:pt idx="3624">
                  <c:v>42811</c:v>
                </c:pt>
                <c:pt idx="3625">
                  <c:v>42814</c:v>
                </c:pt>
                <c:pt idx="3626">
                  <c:v>42815</c:v>
                </c:pt>
                <c:pt idx="3627">
                  <c:v>42816</c:v>
                </c:pt>
                <c:pt idx="3628">
                  <c:v>42817</c:v>
                </c:pt>
                <c:pt idx="3629">
                  <c:v>42818</c:v>
                </c:pt>
                <c:pt idx="3630">
                  <c:v>42821</c:v>
                </c:pt>
                <c:pt idx="3631">
                  <c:v>42822</c:v>
                </c:pt>
                <c:pt idx="3632">
                  <c:v>42823</c:v>
                </c:pt>
                <c:pt idx="3633">
                  <c:v>42824</c:v>
                </c:pt>
                <c:pt idx="3634">
                  <c:v>42825</c:v>
                </c:pt>
                <c:pt idx="3635">
                  <c:v>42830</c:v>
                </c:pt>
                <c:pt idx="3636">
                  <c:v>42831</c:v>
                </c:pt>
                <c:pt idx="3637">
                  <c:v>42832</c:v>
                </c:pt>
                <c:pt idx="3638">
                  <c:v>42835</c:v>
                </c:pt>
                <c:pt idx="3639">
                  <c:v>42836</c:v>
                </c:pt>
                <c:pt idx="3640">
                  <c:v>42837</c:v>
                </c:pt>
                <c:pt idx="3641">
                  <c:v>42838</c:v>
                </c:pt>
                <c:pt idx="3642">
                  <c:v>42839</c:v>
                </c:pt>
                <c:pt idx="3643">
                  <c:v>42842</c:v>
                </c:pt>
                <c:pt idx="3644">
                  <c:v>42843</c:v>
                </c:pt>
                <c:pt idx="3645">
                  <c:v>42844</c:v>
                </c:pt>
                <c:pt idx="3646">
                  <c:v>42845</c:v>
                </c:pt>
                <c:pt idx="3647">
                  <c:v>42846</c:v>
                </c:pt>
                <c:pt idx="3648">
                  <c:v>42849</c:v>
                </c:pt>
                <c:pt idx="3649">
                  <c:v>42850</c:v>
                </c:pt>
                <c:pt idx="3650">
                  <c:v>42851</c:v>
                </c:pt>
                <c:pt idx="3651">
                  <c:v>42852</c:v>
                </c:pt>
                <c:pt idx="3652">
                  <c:v>42853</c:v>
                </c:pt>
                <c:pt idx="3653">
                  <c:v>42857</c:v>
                </c:pt>
                <c:pt idx="3654">
                  <c:v>42858</c:v>
                </c:pt>
                <c:pt idx="3655">
                  <c:v>42859</c:v>
                </c:pt>
                <c:pt idx="3656">
                  <c:v>42860</c:v>
                </c:pt>
                <c:pt idx="3657">
                  <c:v>42863</c:v>
                </c:pt>
                <c:pt idx="3658">
                  <c:v>42864</c:v>
                </c:pt>
                <c:pt idx="3659">
                  <c:v>42865</c:v>
                </c:pt>
                <c:pt idx="3660">
                  <c:v>42866</c:v>
                </c:pt>
                <c:pt idx="3661">
                  <c:v>42867</c:v>
                </c:pt>
                <c:pt idx="3662">
                  <c:v>42870</c:v>
                </c:pt>
                <c:pt idx="3663">
                  <c:v>42871</c:v>
                </c:pt>
                <c:pt idx="3664">
                  <c:v>42872</c:v>
                </c:pt>
                <c:pt idx="3665">
                  <c:v>42873</c:v>
                </c:pt>
                <c:pt idx="3666">
                  <c:v>42874</c:v>
                </c:pt>
                <c:pt idx="3667">
                  <c:v>42877</c:v>
                </c:pt>
                <c:pt idx="3668">
                  <c:v>42878</c:v>
                </c:pt>
                <c:pt idx="3669">
                  <c:v>42879</c:v>
                </c:pt>
                <c:pt idx="3670">
                  <c:v>42880</c:v>
                </c:pt>
                <c:pt idx="3671">
                  <c:v>42881</c:v>
                </c:pt>
                <c:pt idx="3672">
                  <c:v>42886</c:v>
                </c:pt>
                <c:pt idx="3673">
                  <c:v>42887</c:v>
                </c:pt>
                <c:pt idx="3674">
                  <c:v>42888</c:v>
                </c:pt>
                <c:pt idx="3675">
                  <c:v>42891</c:v>
                </c:pt>
                <c:pt idx="3676">
                  <c:v>42892</c:v>
                </c:pt>
                <c:pt idx="3677">
                  <c:v>42893</c:v>
                </c:pt>
                <c:pt idx="3678">
                  <c:v>42894</c:v>
                </c:pt>
                <c:pt idx="3679">
                  <c:v>42895</c:v>
                </c:pt>
                <c:pt idx="3680">
                  <c:v>42898</c:v>
                </c:pt>
                <c:pt idx="3681">
                  <c:v>42899</c:v>
                </c:pt>
                <c:pt idx="3682">
                  <c:v>42900</c:v>
                </c:pt>
                <c:pt idx="3683">
                  <c:v>42901</c:v>
                </c:pt>
                <c:pt idx="3684">
                  <c:v>42902</c:v>
                </c:pt>
                <c:pt idx="3685">
                  <c:v>42905</c:v>
                </c:pt>
                <c:pt idx="3686">
                  <c:v>42906</c:v>
                </c:pt>
                <c:pt idx="3687">
                  <c:v>42907</c:v>
                </c:pt>
                <c:pt idx="3688">
                  <c:v>42908</c:v>
                </c:pt>
                <c:pt idx="3689">
                  <c:v>42909</c:v>
                </c:pt>
                <c:pt idx="3690">
                  <c:v>42912</c:v>
                </c:pt>
                <c:pt idx="3691">
                  <c:v>42913</c:v>
                </c:pt>
                <c:pt idx="3692">
                  <c:v>42914</c:v>
                </c:pt>
                <c:pt idx="3693">
                  <c:v>42915</c:v>
                </c:pt>
                <c:pt idx="3694">
                  <c:v>42916</c:v>
                </c:pt>
                <c:pt idx="3695">
                  <c:v>42919</c:v>
                </c:pt>
                <c:pt idx="3696">
                  <c:v>42920</c:v>
                </c:pt>
                <c:pt idx="3697">
                  <c:v>42921</c:v>
                </c:pt>
                <c:pt idx="3698">
                  <c:v>42922</c:v>
                </c:pt>
                <c:pt idx="3699">
                  <c:v>42923</c:v>
                </c:pt>
                <c:pt idx="3700">
                  <c:v>42926</c:v>
                </c:pt>
                <c:pt idx="3701">
                  <c:v>42927</c:v>
                </c:pt>
                <c:pt idx="3702">
                  <c:v>42928</c:v>
                </c:pt>
                <c:pt idx="3703">
                  <c:v>42929</c:v>
                </c:pt>
                <c:pt idx="3704">
                  <c:v>42930</c:v>
                </c:pt>
                <c:pt idx="3705">
                  <c:v>42933</c:v>
                </c:pt>
                <c:pt idx="3706">
                  <c:v>42934</c:v>
                </c:pt>
                <c:pt idx="3707">
                  <c:v>42935</c:v>
                </c:pt>
                <c:pt idx="3708">
                  <c:v>42936</c:v>
                </c:pt>
                <c:pt idx="3709">
                  <c:v>42937</c:v>
                </c:pt>
                <c:pt idx="3710">
                  <c:v>42940</c:v>
                </c:pt>
                <c:pt idx="3711">
                  <c:v>42941</c:v>
                </c:pt>
                <c:pt idx="3712">
                  <c:v>42942</c:v>
                </c:pt>
                <c:pt idx="3713">
                  <c:v>42943</c:v>
                </c:pt>
                <c:pt idx="3714">
                  <c:v>42944</c:v>
                </c:pt>
                <c:pt idx="3715">
                  <c:v>42947</c:v>
                </c:pt>
                <c:pt idx="3716">
                  <c:v>42948</c:v>
                </c:pt>
                <c:pt idx="3717">
                  <c:v>42949</c:v>
                </c:pt>
                <c:pt idx="3718">
                  <c:v>42950</c:v>
                </c:pt>
                <c:pt idx="3719">
                  <c:v>42951</c:v>
                </c:pt>
                <c:pt idx="3720">
                  <c:v>42954</c:v>
                </c:pt>
                <c:pt idx="3721">
                  <c:v>42955</c:v>
                </c:pt>
                <c:pt idx="3722">
                  <c:v>42956</c:v>
                </c:pt>
                <c:pt idx="3723">
                  <c:v>42957</c:v>
                </c:pt>
                <c:pt idx="3724">
                  <c:v>42958</c:v>
                </c:pt>
                <c:pt idx="3725">
                  <c:v>42961</c:v>
                </c:pt>
                <c:pt idx="3726">
                  <c:v>42962</c:v>
                </c:pt>
                <c:pt idx="3727">
                  <c:v>42963</c:v>
                </c:pt>
                <c:pt idx="3728">
                  <c:v>42964</c:v>
                </c:pt>
                <c:pt idx="3729">
                  <c:v>42965</c:v>
                </c:pt>
                <c:pt idx="3730">
                  <c:v>42968</c:v>
                </c:pt>
                <c:pt idx="3731">
                  <c:v>42969</c:v>
                </c:pt>
                <c:pt idx="3732">
                  <c:v>42970</c:v>
                </c:pt>
                <c:pt idx="3733">
                  <c:v>42971</c:v>
                </c:pt>
                <c:pt idx="3734">
                  <c:v>42972</c:v>
                </c:pt>
                <c:pt idx="3735">
                  <c:v>42975</c:v>
                </c:pt>
                <c:pt idx="3736">
                  <c:v>42976</c:v>
                </c:pt>
                <c:pt idx="3737">
                  <c:v>42977</c:v>
                </c:pt>
                <c:pt idx="3738">
                  <c:v>42978</c:v>
                </c:pt>
                <c:pt idx="3739">
                  <c:v>42979</c:v>
                </c:pt>
                <c:pt idx="3740">
                  <c:v>42982</c:v>
                </c:pt>
                <c:pt idx="3741">
                  <c:v>42983</c:v>
                </c:pt>
                <c:pt idx="3742">
                  <c:v>42984</c:v>
                </c:pt>
                <c:pt idx="3743">
                  <c:v>42985</c:v>
                </c:pt>
                <c:pt idx="3744">
                  <c:v>42986</c:v>
                </c:pt>
                <c:pt idx="3745">
                  <c:v>42989</c:v>
                </c:pt>
                <c:pt idx="3746">
                  <c:v>42990</c:v>
                </c:pt>
                <c:pt idx="3747">
                  <c:v>42991</c:v>
                </c:pt>
                <c:pt idx="3748">
                  <c:v>42992</c:v>
                </c:pt>
                <c:pt idx="3749">
                  <c:v>42993</c:v>
                </c:pt>
                <c:pt idx="3750">
                  <c:v>42996</c:v>
                </c:pt>
                <c:pt idx="3751">
                  <c:v>42997</c:v>
                </c:pt>
                <c:pt idx="3752">
                  <c:v>42998</c:v>
                </c:pt>
                <c:pt idx="3753">
                  <c:v>42999</c:v>
                </c:pt>
                <c:pt idx="3754">
                  <c:v>43000</c:v>
                </c:pt>
                <c:pt idx="3755">
                  <c:v>43003</c:v>
                </c:pt>
                <c:pt idx="3756">
                  <c:v>43004</c:v>
                </c:pt>
                <c:pt idx="3757">
                  <c:v>43005</c:v>
                </c:pt>
                <c:pt idx="3758">
                  <c:v>43006</c:v>
                </c:pt>
                <c:pt idx="3759">
                  <c:v>43007</c:v>
                </c:pt>
                <c:pt idx="3760">
                  <c:v>43017</c:v>
                </c:pt>
                <c:pt idx="3761">
                  <c:v>43018</c:v>
                </c:pt>
                <c:pt idx="3762">
                  <c:v>43019</c:v>
                </c:pt>
                <c:pt idx="3763">
                  <c:v>43020</c:v>
                </c:pt>
                <c:pt idx="3764">
                  <c:v>43021</c:v>
                </c:pt>
                <c:pt idx="3765">
                  <c:v>43024</c:v>
                </c:pt>
                <c:pt idx="3766">
                  <c:v>43025</c:v>
                </c:pt>
                <c:pt idx="3767">
                  <c:v>43026</c:v>
                </c:pt>
                <c:pt idx="3768">
                  <c:v>43027</c:v>
                </c:pt>
                <c:pt idx="3769">
                  <c:v>43028</c:v>
                </c:pt>
                <c:pt idx="3770">
                  <c:v>43031</c:v>
                </c:pt>
                <c:pt idx="3771">
                  <c:v>43032</c:v>
                </c:pt>
                <c:pt idx="3772">
                  <c:v>43033</c:v>
                </c:pt>
                <c:pt idx="3773">
                  <c:v>43034</c:v>
                </c:pt>
                <c:pt idx="3774">
                  <c:v>43035</c:v>
                </c:pt>
                <c:pt idx="3775">
                  <c:v>43038</c:v>
                </c:pt>
                <c:pt idx="3776">
                  <c:v>43039</c:v>
                </c:pt>
                <c:pt idx="3777">
                  <c:v>43040</c:v>
                </c:pt>
                <c:pt idx="3778">
                  <c:v>43041</c:v>
                </c:pt>
                <c:pt idx="3779">
                  <c:v>43042</c:v>
                </c:pt>
                <c:pt idx="3780">
                  <c:v>43045</c:v>
                </c:pt>
                <c:pt idx="3781">
                  <c:v>43046</c:v>
                </c:pt>
                <c:pt idx="3782">
                  <c:v>43047</c:v>
                </c:pt>
                <c:pt idx="3783">
                  <c:v>43048</c:v>
                </c:pt>
                <c:pt idx="3784">
                  <c:v>43049</c:v>
                </c:pt>
                <c:pt idx="3785">
                  <c:v>43052</c:v>
                </c:pt>
                <c:pt idx="3786">
                  <c:v>43053</c:v>
                </c:pt>
                <c:pt idx="3787">
                  <c:v>43054</c:v>
                </c:pt>
                <c:pt idx="3788">
                  <c:v>43055</c:v>
                </c:pt>
                <c:pt idx="3789">
                  <c:v>43056</c:v>
                </c:pt>
                <c:pt idx="3790">
                  <c:v>43059</c:v>
                </c:pt>
                <c:pt idx="3791">
                  <c:v>43060</c:v>
                </c:pt>
                <c:pt idx="3792">
                  <c:v>43061</c:v>
                </c:pt>
                <c:pt idx="3793">
                  <c:v>43062</c:v>
                </c:pt>
                <c:pt idx="3794">
                  <c:v>43063</c:v>
                </c:pt>
                <c:pt idx="3795">
                  <c:v>43066</c:v>
                </c:pt>
                <c:pt idx="3796">
                  <c:v>43067</c:v>
                </c:pt>
                <c:pt idx="3797">
                  <c:v>43068</c:v>
                </c:pt>
                <c:pt idx="3798">
                  <c:v>43069</c:v>
                </c:pt>
                <c:pt idx="3799">
                  <c:v>43070</c:v>
                </c:pt>
                <c:pt idx="3800">
                  <c:v>43073</c:v>
                </c:pt>
                <c:pt idx="3801">
                  <c:v>43074</c:v>
                </c:pt>
                <c:pt idx="3802">
                  <c:v>43075</c:v>
                </c:pt>
                <c:pt idx="3803">
                  <c:v>43076</c:v>
                </c:pt>
                <c:pt idx="3804">
                  <c:v>43077</c:v>
                </c:pt>
                <c:pt idx="3805">
                  <c:v>43080</c:v>
                </c:pt>
                <c:pt idx="3806">
                  <c:v>43081</c:v>
                </c:pt>
                <c:pt idx="3807">
                  <c:v>43082</c:v>
                </c:pt>
                <c:pt idx="3808">
                  <c:v>43083</c:v>
                </c:pt>
                <c:pt idx="3809">
                  <c:v>43084</c:v>
                </c:pt>
                <c:pt idx="3810">
                  <c:v>43087</c:v>
                </c:pt>
                <c:pt idx="3811">
                  <c:v>43088</c:v>
                </c:pt>
                <c:pt idx="3812">
                  <c:v>43089</c:v>
                </c:pt>
                <c:pt idx="3813">
                  <c:v>43090</c:v>
                </c:pt>
                <c:pt idx="3814">
                  <c:v>43091</c:v>
                </c:pt>
                <c:pt idx="3815">
                  <c:v>43094</c:v>
                </c:pt>
                <c:pt idx="3816">
                  <c:v>43095</c:v>
                </c:pt>
                <c:pt idx="3817">
                  <c:v>43096</c:v>
                </c:pt>
                <c:pt idx="3818">
                  <c:v>43097</c:v>
                </c:pt>
                <c:pt idx="3819">
                  <c:v>43098</c:v>
                </c:pt>
                <c:pt idx="3820">
                  <c:v>43102</c:v>
                </c:pt>
                <c:pt idx="3821">
                  <c:v>43103</c:v>
                </c:pt>
                <c:pt idx="3822">
                  <c:v>43104</c:v>
                </c:pt>
                <c:pt idx="3823">
                  <c:v>43105</c:v>
                </c:pt>
                <c:pt idx="3824">
                  <c:v>43108</c:v>
                </c:pt>
                <c:pt idx="3825">
                  <c:v>43109</c:v>
                </c:pt>
                <c:pt idx="3826">
                  <c:v>43110</c:v>
                </c:pt>
                <c:pt idx="3827">
                  <c:v>43111</c:v>
                </c:pt>
                <c:pt idx="3828">
                  <c:v>43112</c:v>
                </c:pt>
                <c:pt idx="3829">
                  <c:v>43115</c:v>
                </c:pt>
                <c:pt idx="3830">
                  <c:v>43116</c:v>
                </c:pt>
                <c:pt idx="3831">
                  <c:v>43117</c:v>
                </c:pt>
                <c:pt idx="3832">
                  <c:v>43118</c:v>
                </c:pt>
                <c:pt idx="3833">
                  <c:v>43119</c:v>
                </c:pt>
                <c:pt idx="3834">
                  <c:v>43122</c:v>
                </c:pt>
                <c:pt idx="3835">
                  <c:v>43123</c:v>
                </c:pt>
                <c:pt idx="3836">
                  <c:v>43124</c:v>
                </c:pt>
                <c:pt idx="3837">
                  <c:v>43125</c:v>
                </c:pt>
                <c:pt idx="3838">
                  <c:v>43126</c:v>
                </c:pt>
                <c:pt idx="3839">
                  <c:v>43129</c:v>
                </c:pt>
                <c:pt idx="3840">
                  <c:v>43130</c:v>
                </c:pt>
                <c:pt idx="3841">
                  <c:v>43131</c:v>
                </c:pt>
                <c:pt idx="3842">
                  <c:v>43132</c:v>
                </c:pt>
                <c:pt idx="3843">
                  <c:v>43133</c:v>
                </c:pt>
                <c:pt idx="3844">
                  <c:v>43136</c:v>
                </c:pt>
                <c:pt idx="3845">
                  <c:v>43137</c:v>
                </c:pt>
                <c:pt idx="3846">
                  <c:v>43138</c:v>
                </c:pt>
                <c:pt idx="3847">
                  <c:v>43139</c:v>
                </c:pt>
                <c:pt idx="3848">
                  <c:v>43140</c:v>
                </c:pt>
                <c:pt idx="3849">
                  <c:v>43143</c:v>
                </c:pt>
                <c:pt idx="3850">
                  <c:v>43144</c:v>
                </c:pt>
                <c:pt idx="3851">
                  <c:v>43145</c:v>
                </c:pt>
                <c:pt idx="3852">
                  <c:v>43153</c:v>
                </c:pt>
                <c:pt idx="3853">
                  <c:v>43154</c:v>
                </c:pt>
                <c:pt idx="3854">
                  <c:v>43157</c:v>
                </c:pt>
                <c:pt idx="3855">
                  <c:v>43158</c:v>
                </c:pt>
                <c:pt idx="3856">
                  <c:v>43159</c:v>
                </c:pt>
                <c:pt idx="3857">
                  <c:v>43160</c:v>
                </c:pt>
                <c:pt idx="3858">
                  <c:v>43161</c:v>
                </c:pt>
                <c:pt idx="3859">
                  <c:v>43164</c:v>
                </c:pt>
                <c:pt idx="3860">
                  <c:v>43165</c:v>
                </c:pt>
                <c:pt idx="3861">
                  <c:v>43166</c:v>
                </c:pt>
                <c:pt idx="3862">
                  <c:v>43167</c:v>
                </c:pt>
                <c:pt idx="3863">
                  <c:v>43168</c:v>
                </c:pt>
                <c:pt idx="3864">
                  <c:v>43171</c:v>
                </c:pt>
                <c:pt idx="3865">
                  <c:v>43172</c:v>
                </c:pt>
                <c:pt idx="3866">
                  <c:v>43173</c:v>
                </c:pt>
                <c:pt idx="3867">
                  <c:v>43174</c:v>
                </c:pt>
                <c:pt idx="3868">
                  <c:v>43175</c:v>
                </c:pt>
                <c:pt idx="3869">
                  <c:v>43178</c:v>
                </c:pt>
                <c:pt idx="3870">
                  <c:v>43179</c:v>
                </c:pt>
                <c:pt idx="3871">
                  <c:v>43180</c:v>
                </c:pt>
                <c:pt idx="3872">
                  <c:v>43181</c:v>
                </c:pt>
                <c:pt idx="3873">
                  <c:v>43182</c:v>
                </c:pt>
                <c:pt idx="3874">
                  <c:v>43185</c:v>
                </c:pt>
                <c:pt idx="3875">
                  <c:v>43186</c:v>
                </c:pt>
                <c:pt idx="3876">
                  <c:v>43187</c:v>
                </c:pt>
                <c:pt idx="3877">
                  <c:v>43188</c:v>
                </c:pt>
                <c:pt idx="3878">
                  <c:v>43189</c:v>
                </c:pt>
                <c:pt idx="3879">
                  <c:v>43192</c:v>
                </c:pt>
                <c:pt idx="3880">
                  <c:v>43193</c:v>
                </c:pt>
                <c:pt idx="3881">
                  <c:v>43194</c:v>
                </c:pt>
                <c:pt idx="3882">
                  <c:v>43199</c:v>
                </c:pt>
                <c:pt idx="3883">
                  <c:v>43200</c:v>
                </c:pt>
                <c:pt idx="3884">
                  <c:v>43201</c:v>
                </c:pt>
                <c:pt idx="3885">
                  <c:v>43202</c:v>
                </c:pt>
                <c:pt idx="3886">
                  <c:v>43203</c:v>
                </c:pt>
                <c:pt idx="3887">
                  <c:v>43206</c:v>
                </c:pt>
                <c:pt idx="3888">
                  <c:v>43207</c:v>
                </c:pt>
                <c:pt idx="3889">
                  <c:v>43208</c:v>
                </c:pt>
                <c:pt idx="3890">
                  <c:v>43209</c:v>
                </c:pt>
                <c:pt idx="3891">
                  <c:v>43210</c:v>
                </c:pt>
                <c:pt idx="3892">
                  <c:v>43213</c:v>
                </c:pt>
                <c:pt idx="3893">
                  <c:v>43214</c:v>
                </c:pt>
                <c:pt idx="3894">
                  <c:v>43215</c:v>
                </c:pt>
                <c:pt idx="3895">
                  <c:v>43216</c:v>
                </c:pt>
                <c:pt idx="3896">
                  <c:v>43217</c:v>
                </c:pt>
                <c:pt idx="3897">
                  <c:v>43222</c:v>
                </c:pt>
                <c:pt idx="3898">
                  <c:v>43223</c:v>
                </c:pt>
                <c:pt idx="3899">
                  <c:v>43224</c:v>
                </c:pt>
                <c:pt idx="3900">
                  <c:v>43227</c:v>
                </c:pt>
                <c:pt idx="3901">
                  <c:v>43228</c:v>
                </c:pt>
                <c:pt idx="3902">
                  <c:v>43229</c:v>
                </c:pt>
                <c:pt idx="3903">
                  <c:v>43230</c:v>
                </c:pt>
                <c:pt idx="3904">
                  <c:v>43231</c:v>
                </c:pt>
                <c:pt idx="3905">
                  <c:v>43234</c:v>
                </c:pt>
                <c:pt idx="3906">
                  <c:v>43235</c:v>
                </c:pt>
                <c:pt idx="3907">
                  <c:v>43236</c:v>
                </c:pt>
                <c:pt idx="3908">
                  <c:v>43237</c:v>
                </c:pt>
                <c:pt idx="3909">
                  <c:v>43238</c:v>
                </c:pt>
                <c:pt idx="3910">
                  <c:v>43241</c:v>
                </c:pt>
                <c:pt idx="3911">
                  <c:v>43242</c:v>
                </c:pt>
                <c:pt idx="3912">
                  <c:v>43243</c:v>
                </c:pt>
                <c:pt idx="3913">
                  <c:v>43244</c:v>
                </c:pt>
                <c:pt idx="3914">
                  <c:v>43245</c:v>
                </c:pt>
                <c:pt idx="3915">
                  <c:v>43248</c:v>
                </c:pt>
                <c:pt idx="3916">
                  <c:v>43249</c:v>
                </c:pt>
                <c:pt idx="3917">
                  <c:v>43250</c:v>
                </c:pt>
                <c:pt idx="3918">
                  <c:v>43251</c:v>
                </c:pt>
                <c:pt idx="3919">
                  <c:v>43252</c:v>
                </c:pt>
                <c:pt idx="3920">
                  <c:v>43255</c:v>
                </c:pt>
                <c:pt idx="3921">
                  <c:v>43256</c:v>
                </c:pt>
                <c:pt idx="3922">
                  <c:v>43257</c:v>
                </c:pt>
                <c:pt idx="3923">
                  <c:v>43258</c:v>
                </c:pt>
                <c:pt idx="3924">
                  <c:v>43259</c:v>
                </c:pt>
                <c:pt idx="3925">
                  <c:v>43262</c:v>
                </c:pt>
                <c:pt idx="3926">
                  <c:v>43263</c:v>
                </c:pt>
                <c:pt idx="3927">
                  <c:v>43264</c:v>
                </c:pt>
                <c:pt idx="3928">
                  <c:v>43265</c:v>
                </c:pt>
                <c:pt idx="3929">
                  <c:v>43266</c:v>
                </c:pt>
                <c:pt idx="3930">
                  <c:v>43270</c:v>
                </c:pt>
                <c:pt idx="3931">
                  <c:v>43271</c:v>
                </c:pt>
                <c:pt idx="3932">
                  <c:v>43272</c:v>
                </c:pt>
                <c:pt idx="3933">
                  <c:v>43273</c:v>
                </c:pt>
                <c:pt idx="3934">
                  <c:v>43276</c:v>
                </c:pt>
                <c:pt idx="3935">
                  <c:v>43277</c:v>
                </c:pt>
                <c:pt idx="3936">
                  <c:v>43278</c:v>
                </c:pt>
                <c:pt idx="3937">
                  <c:v>43279</c:v>
                </c:pt>
                <c:pt idx="3938">
                  <c:v>43280</c:v>
                </c:pt>
                <c:pt idx="3939">
                  <c:v>43283</c:v>
                </c:pt>
                <c:pt idx="3940">
                  <c:v>43284</c:v>
                </c:pt>
                <c:pt idx="3941">
                  <c:v>43285</c:v>
                </c:pt>
                <c:pt idx="3942">
                  <c:v>43286</c:v>
                </c:pt>
                <c:pt idx="3943">
                  <c:v>43287</c:v>
                </c:pt>
                <c:pt idx="3944">
                  <c:v>43290</c:v>
                </c:pt>
                <c:pt idx="3945">
                  <c:v>43291</c:v>
                </c:pt>
                <c:pt idx="3946">
                  <c:v>43292</c:v>
                </c:pt>
                <c:pt idx="3947">
                  <c:v>43293</c:v>
                </c:pt>
                <c:pt idx="3948">
                  <c:v>43294</c:v>
                </c:pt>
                <c:pt idx="3949">
                  <c:v>43297</c:v>
                </c:pt>
                <c:pt idx="3950">
                  <c:v>43298</c:v>
                </c:pt>
                <c:pt idx="3951">
                  <c:v>43299</c:v>
                </c:pt>
                <c:pt idx="3952">
                  <c:v>43300</c:v>
                </c:pt>
                <c:pt idx="3953">
                  <c:v>43301</c:v>
                </c:pt>
                <c:pt idx="3954">
                  <c:v>43304</c:v>
                </c:pt>
                <c:pt idx="3955">
                  <c:v>43305</c:v>
                </c:pt>
                <c:pt idx="3956">
                  <c:v>43306</c:v>
                </c:pt>
                <c:pt idx="3957">
                  <c:v>43307</c:v>
                </c:pt>
                <c:pt idx="3958">
                  <c:v>43308</c:v>
                </c:pt>
                <c:pt idx="3959">
                  <c:v>43311</c:v>
                </c:pt>
                <c:pt idx="3960">
                  <c:v>43312</c:v>
                </c:pt>
                <c:pt idx="3961">
                  <c:v>43313</c:v>
                </c:pt>
                <c:pt idx="3962">
                  <c:v>43314</c:v>
                </c:pt>
                <c:pt idx="3963">
                  <c:v>43315</c:v>
                </c:pt>
                <c:pt idx="3964">
                  <c:v>43318</c:v>
                </c:pt>
                <c:pt idx="3965">
                  <c:v>43319</c:v>
                </c:pt>
                <c:pt idx="3966">
                  <c:v>43320</c:v>
                </c:pt>
                <c:pt idx="3967">
                  <c:v>43321</c:v>
                </c:pt>
                <c:pt idx="3968">
                  <c:v>43322</c:v>
                </c:pt>
                <c:pt idx="3969">
                  <c:v>43325</c:v>
                </c:pt>
                <c:pt idx="3970">
                  <c:v>43326</c:v>
                </c:pt>
                <c:pt idx="3971">
                  <c:v>43327</c:v>
                </c:pt>
                <c:pt idx="3972">
                  <c:v>43328</c:v>
                </c:pt>
                <c:pt idx="3973">
                  <c:v>43329</c:v>
                </c:pt>
                <c:pt idx="3974">
                  <c:v>43332</c:v>
                </c:pt>
                <c:pt idx="3975">
                  <c:v>43333</c:v>
                </c:pt>
                <c:pt idx="3976">
                  <c:v>43334</c:v>
                </c:pt>
                <c:pt idx="3977">
                  <c:v>43335</c:v>
                </c:pt>
                <c:pt idx="3978">
                  <c:v>43336</c:v>
                </c:pt>
                <c:pt idx="3979">
                  <c:v>43339</c:v>
                </c:pt>
                <c:pt idx="3980">
                  <c:v>43340</c:v>
                </c:pt>
                <c:pt idx="3981">
                  <c:v>43341</c:v>
                </c:pt>
                <c:pt idx="3982">
                  <c:v>43342</c:v>
                </c:pt>
                <c:pt idx="3983">
                  <c:v>43343</c:v>
                </c:pt>
                <c:pt idx="3984">
                  <c:v>43346</c:v>
                </c:pt>
                <c:pt idx="3985">
                  <c:v>43347</c:v>
                </c:pt>
                <c:pt idx="3986">
                  <c:v>43348</c:v>
                </c:pt>
                <c:pt idx="3987">
                  <c:v>43349</c:v>
                </c:pt>
                <c:pt idx="3988">
                  <c:v>43350</c:v>
                </c:pt>
                <c:pt idx="3989">
                  <c:v>43353</c:v>
                </c:pt>
                <c:pt idx="3990">
                  <c:v>43354</c:v>
                </c:pt>
                <c:pt idx="3991">
                  <c:v>43355</c:v>
                </c:pt>
                <c:pt idx="3992">
                  <c:v>43356</c:v>
                </c:pt>
                <c:pt idx="3993">
                  <c:v>43357</c:v>
                </c:pt>
                <c:pt idx="3994">
                  <c:v>43360</c:v>
                </c:pt>
                <c:pt idx="3995">
                  <c:v>43361</c:v>
                </c:pt>
                <c:pt idx="3996">
                  <c:v>43362</c:v>
                </c:pt>
                <c:pt idx="3997">
                  <c:v>43363</c:v>
                </c:pt>
                <c:pt idx="3998">
                  <c:v>43364</c:v>
                </c:pt>
                <c:pt idx="3999">
                  <c:v>43368</c:v>
                </c:pt>
                <c:pt idx="4000">
                  <c:v>43369</c:v>
                </c:pt>
                <c:pt idx="4001">
                  <c:v>43370</c:v>
                </c:pt>
                <c:pt idx="4002">
                  <c:v>43371</c:v>
                </c:pt>
                <c:pt idx="4003">
                  <c:v>43381</c:v>
                </c:pt>
                <c:pt idx="4004">
                  <c:v>43382</c:v>
                </c:pt>
                <c:pt idx="4005">
                  <c:v>43383</c:v>
                </c:pt>
                <c:pt idx="4006">
                  <c:v>43384</c:v>
                </c:pt>
                <c:pt idx="4007">
                  <c:v>43385</c:v>
                </c:pt>
                <c:pt idx="4008">
                  <c:v>43388</c:v>
                </c:pt>
                <c:pt idx="4009">
                  <c:v>43389</c:v>
                </c:pt>
                <c:pt idx="4010">
                  <c:v>43390</c:v>
                </c:pt>
                <c:pt idx="4011">
                  <c:v>43391</c:v>
                </c:pt>
                <c:pt idx="4012">
                  <c:v>43392</c:v>
                </c:pt>
                <c:pt idx="4013">
                  <c:v>43395</c:v>
                </c:pt>
                <c:pt idx="4014">
                  <c:v>43396</c:v>
                </c:pt>
                <c:pt idx="4015">
                  <c:v>43397</c:v>
                </c:pt>
                <c:pt idx="4016">
                  <c:v>43398</c:v>
                </c:pt>
                <c:pt idx="4017">
                  <c:v>43399</c:v>
                </c:pt>
                <c:pt idx="4018">
                  <c:v>43402</c:v>
                </c:pt>
                <c:pt idx="4019">
                  <c:v>43403</c:v>
                </c:pt>
                <c:pt idx="4020">
                  <c:v>43404</c:v>
                </c:pt>
                <c:pt idx="4021">
                  <c:v>43405</c:v>
                </c:pt>
                <c:pt idx="4022">
                  <c:v>43406</c:v>
                </c:pt>
                <c:pt idx="4023">
                  <c:v>43409</c:v>
                </c:pt>
                <c:pt idx="4024">
                  <c:v>43410</c:v>
                </c:pt>
                <c:pt idx="4025">
                  <c:v>43411</c:v>
                </c:pt>
                <c:pt idx="4026">
                  <c:v>43412</c:v>
                </c:pt>
                <c:pt idx="4027">
                  <c:v>43413</c:v>
                </c:pt>
                <c:pt idx="4028">
                  <c:v>43416</c:v>
                </c:pt>
                <c:pt idx="4029">
                  <c:v>43417</c:v>
                </c:pt>
                <c:pt idx="4030">
                  <c:v>43418</c:v>
                </c:pt>
                <c:pt idx="4031">
                  <c:v>43419</c:v>
                </c:pt>
                <c:pt idx="4032">
                  <c:v>43420</c:v>
                </c:pt>
                <c:pt idx="4033">
                  <c:v>43423</c:v>
                </c:pt>
                <c:pt idx="4034">
                  <c:v>43424</c:v>
                </c:pt>
                <c:pt idx="4035">
                  <c:v>43425</c:v>
                </c:pt>
                <c:pt idx="4036">
                  <c:v>43426</c:v>
                </c:pt>
                <c:pt idx="4037">
                  <c:v>43427</c:v>
                </c:pt>
                <c:pt idx="4038">
                  <c:v>43430</c:v>
                </c:pt>
                <c:pt idx="4039">
                  <c:v>43431</c:v>
                </c:pt>
                <c:pt idx="4040">
                  <c:v>43432</c:v>
                </c:pt>
                <c:pt idx="4041">
                  <c:v>43433</c:v>
                </c:pt>
                <c:pt idx="4042">
                  <c:v>43434</c:v>
                </c:pt>
                <c:pt idx="4043">
                  <c:v>43437</c:v>
                </c:pt>
                <c:pt idx="4044">
                  <c:v>43438</c:v>
                </c:pt>
                <c:pt idx="4045">
                  <c:v>43439</c:v>
                </c:pt>
                <c:pt idx="4046">
                  <c:v>43440</c:v>
                </c:pt>
                <c:pt idx="4047">
                  <c:v>43441</c:v>
                </c:pt>
                <c:pt idx="4048">
                  <c:v>43444</c:v>
                </c:pt>
                <c:pt idx="4049">
                  <c:v>43445</c:v>
                </c:pt>
                <c:pt idx="4050">
                  <c:v>43446</c:v>
                </c:pt>
                <c:pt idx="4051">
                  <c:v>43447</c:v>
                </c:pt>
                <c:pt idx="4052">
                  <c:v>43448</c:v>
                </c:pt>
                <c:pt idx="4053">
                  <c:v>43451</c:v>
                </c:pt>
                <c:pt idx="4054">
                  <c:v>43452</c:v>
                </c:pt>
                <c:pt idx="4055">
                  <c:v>43453</c:v>
                </c:pt>
                <c:pt idx="4056">
                  <c:v>43454</c:v>
                </c:pt>
                <c:pt idx="4057">
                  <c:v>43455</c:v>
                </c:pt>
                <c:pt idx="4058">
                  <c:v>43458</c:v>
                </c:pt>
                <c:pt idx="4059">
                  <c:v>43459</c:v>
                </c:pt>
                <c:pt idx="4060">
                  <c:v>43460</c:v>
                </c:pt>
                <c:pt idx="4061">
                  <c:v>43461</c:v>
                </c:pt>
                <c:pt idx="4062">
                  <c:v>43462</c:v>
                </c:pt>
                <c:pt idx="4063">
                  <c:v>43467</c:v>
                </c:pt>
                <c:pt idx="4064">
                  <c:v>43468</c:v>
                </c:pt>
                <c:pt idx="4065">
                  <c:v>43469</c:v>
                </c:pt>
                <c:pt idx="4066">
                  <c:v>43472</c:v>
                </c:pt>
                <c:pt idx="4067">
                  <c:v>43473</c:v>
                </c:pt>
                <c:pt idx="4068">
                  <c:v>43474</c:v>
                </c:pt>
                <c:pt idx="4069">
                  <c:v>43475</c:v>
                </c:pt>
                <c:pt idx="4070">
                  <c:v>43476</c:v>
                </c:pt>
                <c:pt idx="4071">
                  <c:v>43479</c:v>
                </c:pt>
                <c:pt idx="4072">
                  <c:v>43480</c:v>
                </c:pt>
                <c:pt idx="4073">
                  <c:v>43481</c:v>
                </c:pt>
                <c:pt idx="4074">
                  <c:v>43482</c:v>
                </c:pt>
                <c:pt idx="4075">
                  <c:v>43483</c:v>
                </c:pt>
                <c:pt idx="4076">
                  <c:v>43486</c:v>
                </c:pt>
                <c:pt idx="4077">
                  <c:v>43487</c:v>
                </c:pt>
                <c:pt idx="4078">
                  <c:v>43488</c:v>
                </c:pt>
                <c:pt idx="4079">
                  <c:v>43489</c:v>
                </c:pt>
                <c:pt idx="4080">
                  <c:v>43490</c:v>
                </c:pt>
                <c:pt idx="4081">
                  <c:v>43493</c:v>
                </c:pt>
                <c:pt idx="4082">
                  <c:v>43494</c:v>
                </c:pt>
                <c:pt idx="4083">
                  <c:v>43495</c:v>
                </c:pt>
                <c:pt idx="4084">
                  <c:v>43496</c:v>
                </c:pt>
                <c:pt idx="4085">
                  <c:v>43497</c:v>
                </c:pt>
                <c:pt idx="4086">
                  <c:v>43507</c:v>
                </c:pt>
                <c:pt idx="4087">
                  <c:v>43508</c:v>
                </c:pt>
                <c:pt idx="4088">
                  <c:v>43509</c:v>
                </c:pt>
                <c:pt idx="4089">
                  <c:v>43510</c:v>
                </c:pt>
                <c:pt idx="4090">
                  <c:v>43511</c:v>
                </c:pt>
                <c:pt idx="4091">
                  <c:v>43514</c:v>
                </c:pt>
                <c:pt idx="4092">
                  <c:v>43515</c:v>
                </c:pt>
                <c:pt idx="4093">
                  <c:v>43516</c:v>
                </c:pt>
                <c:pt idx="4094">
                  <c:v>43517</c:v>
                </c:pt>
                <c:pt idx="4095">
                  <c:v>43518</c:v>
                </c:pt>
                <c:pt idx="4096">
                  <c:v>43521</c:v>
                </c:pt>
                <c:pt idx="4097">
                  <c:v>43522</c:v>
                </c:pt>
                <c:pt idx="4098">
                  <c:v>43523</c:v>
                </c:pt>
                <c:pt idx="4099">
                  <c:v>43524</c:v>
                </c:pt>
                <c:pt idx="4100">
                  <c:v>43525</c:v>
                </c:pt>
                <c:pt idx="4101">
                  <c:v>43528</c:v>
                </c:pt>
                <c:pt idx="4102">
                  <c:v>43529</c:v>
                </c:pt>
                <c:pt idx="4103">
                  <c:v>43530</c:v>
                </c:pt>
                <c:pt idx="4104">
                  <c:v>43531</c:v>
                </c:pt>
                <c:pt idx="4105">
                  <c:v>43532</c:v>
                </c:pt>
                <c:pt idx="4106">
                  <c:v>43535</c:v>
                </c:pt>
                <c:pt idx="4107">
                  <c:v>43536</c:v>
                </c:pt>
                <c:pt idx="4108">
                  <c:v>43537</c:v>
                </c:pt>
                <c:pt idx="4109">
                  <c:v>43538</c:v>
                </c:pt>
                <c:pt idx="4110">
                  <c:v>43539</c:v>
                </c:pt>
                <c:pt idx="4111">
                  <c:v>43542</c:v>
                </c:pt>
                <c:pt idx="4112">
                  <c:v>43543</c:v>
                </c:pt>
                <c:pt idx="4113">
                  <c:v>43544</c:v>
                </c:pt>
                <c:pt idx="4114">
                  <c:v>43545</c:v>
                </c:pt>
                <c:pt idx="4115">
                  <c:v>43546</c:v>
                </c:pt>
                <c:pt idx="4116">
                  <c:v>43549</c:v>
                </c:pt>
                <c:pt idx="4117">
                  <c:v>43550</c:v>
                </c:pt>
                <c:pt idx="4118">
                  <c:v>43551</c:v>
                </c:pt>
                <c:pt idx="4119">
                  <c:v>43552</c:v>
                </c:pt>
                <c:pt idx="4120">
                  <c:v>43553</c:v>
                </c:pt>
                <c:pt idx="4121">
                  <c:v>43556</c:v>
                </c:pt>
                <c:pt idx="4122">
                  <c:v>43557</c:v>
                </c:pt>
                <c:pt idx="4123">
                  <c:v>43558</c:v>
                </c:pt>
                <c:pt idx="4124">
                  <c:v>43559</c:v>
                </c:pt>
                <c:pt idx="4125">
                  <c:v>43563</c:v>
                </c:pt>
                <c:pt idx="4126">
                  <c:v>43564</c:v>
                </c:pt>
                <c:pt idx="4127">
                  <c:v>43565</c:v>
                </c:pt>
                <c:pt idx="4128">
                  <c:v>43566</c:v>
                </c:pt>
                <c:pt idx="4129">
                  <c:v>43567</c:v>
                </c:pt>
                <c:pt idx="4130">
                  <c:v>43570</c:v>
                </c:pt>
                <c:pt idx="4131">
                  <c:v>43571</c:v>
                </c:pt>
                <c:pt idx="4132">
                  <c:v>43572</c:v>
                </c:pt>
                <c:pt idx="4133">
                  <c:v>43573</c:v>
                </c:pt>
                <c:pt idx="4134">
                  <c:v>43574</c:v>
                </c:pt>
                <c:pt idx="4135">
                  <c:v>43577</c:v>
                </c:pt>
                <c:pt idx="4136">
                  <c:v>43578</c:v>
                </c:pt>
                <c:pt idx="4137">
                  <c:v>43579</c:v>
                </c:pt>
                <c:pt idx="4138">
                  <c:v>43580</c:v>
                </c:pt>
                <c:pt idx="4139">
                  <c:v>43581</c:v>
                </c:pt>
                <c:pt idx="4140">
                  <c:v>43584</c:v>
                </c:pt>
                <c:pt idx="4141">
                  <c:v>43585</c:v>
                </c:pt>
                <c:pt idx="4142">
                  <c:v>43591</c:v>
                </c:pt>
                <c:pt idx="4143">
                  <c:v>43592</c:v>
                </c:pt>
                <c:pt idx="4144">
                  <c:v>43593</c:v>
                </c:pt>
                <c:pt idx="4145">
                  <c:v>43594</c:v>
                </c:pt>
                <c:pt idx="4146">
                  <c:v>43595</c:v>
                </c:pt>
                <c:pt idx="4147">
                  <c:v>43598</c:v>
                </c:pt>
                <c:pt idx="4148">
                  <c:v>43599</c:v>
                </c:pt>
                <c:pt idx="4149">
                  <c:v>43600</c:v>
                </c:pt>
                <c:pt idx="4150">
                  <c:v>43601</c:v>
                </c:pt>
                <c:pt idx="4151">
                  <c:v>43602</c:v>
                </c:pt>
                <c:pt idx="4152">
                  <c:v>43605</c:v>
                </c:pt>
                <c:pt idx="4153">
                  <c:v>43606</c:v>
                </c:pt>
                <c:pt idx="4154">
                  <c:v>43607</c:v>
                </c:pt>
                <c:pt idx="4155">
                  <c:v>43608</c:v>
                </c:pt>
                <c:pt idx="4156">
                  <c:v>43609</c:v>
                </c:pt>
                <c:pt idx="4157">
                  <c:v>43612</c:v>
                </c:pt>
                <c:pt idx="4158">
                  <c:v>43613</c:v>
                </c:pt>
                <c:pt idx="4159">
                  <c:v>43614</c:v>
                </c:pt>
                <c:pt idx="4160">
                  <c:v>43615</c:v>
                </c:pt>
                <c:pt idx="4161">
                  <c:v>43616</c:v>
                </c:pt>
                <c:pt idx="4162">
                  <c:v>43619</c:v>
                </c:pt>
                <c:pt idx="4163">
                  <c:v>43620</c:v>
                </c:pt>
                <c:pt idx="4164">
                  <c:v>43621</c:v>
                </c:pt>
                <c:pt idx="4165">
                  <c:v>43622</c:v>
                </c:pt>
                <c:pt idx="4166">
                  <c:v>43626</c:v>
                </c:pt>
                <c:pt idx="4167">
                  <c:v>43627</c:v>
                </c:pt>
                <c:pt idx="4168">
                  <c:v>43628</c:v>
                </c:pt>
                <c:pt idx="4169">
                  <c:v>43629</c:v>
                </c:pt>
                <c:pt idx="4170">
                  <c:v>43630</c:v>
                </c:pt>
                <c:pt idx="4171">
                  <c:v>43633</c:v>
                </c:pt>
                <c:pt idx="4172">
                  <c:v>43634</c:v>
                </c:pt>
                <c:pt idx="4173">
                  <c:v>43635</c:v>
                </c:pt>
                <c:pt idx="4174">
                  <c:v>43636</c:v>
                </c:pt>
                <c:pt idx="4175">
                  <c:v>43637</c:v>
                </c:pt>
                <c:pt idx="4176">
                  <c:v>43640</c:v>
                </c:pt>
                <c:pt idx="4177">
                  <c:v>43641</c:v>
                </c:pt>
                <c:pt idx="4178">
                  <c:v>43642</c:v>
                </c:pt>
                <c:pt idx="4179">
                  <c:v>43643</c:v>
                </c:pt>
                <c:pt idx="4180">
                  <c:v>43644</c:v>
                </c:pt>
                <c:pt idx="4181">
                  <c:v>43647</c:v>
                </c:pt>
                <c:pt idx="4182">
                  <c:v>43648</c:v>
                </c:pt>
                <c:pt idx="4183">
                  <c:v>43649</c:v>
                </c:pt>
                <c:pt idx="4184">
                  <c:v>43650</c:v>
                </c:pt>
                <c:pt idx="4185">
                  <c:v>43651</c:v>
                </c:pt>
                <c:pt idx="4186">
                  <c:v>43654</c:v>
                </c:pt>
                <c:pt idx="4187">
                  <c:v>43655</c:v>
                </c:pt>
                <c:pt idx="4188">
                  <c:v>43656</c:v>
                </c:pt>
                <c:pt idx="4189">
                  <c:v>43657</c:v>
                </c:pt>
                <c:pt idx="4190">
                  <c:v>43658</c:v>
                </c:pt>
                <c:pt idx="4191">
                  <c:v>43661</c:v>
                </c:pt>
                <c:pt idx="4192">
                  <c:v>43662</c:v>
                </c:pt>
                <c:pt idx="4193">
                  <c:v>43663</c:v>
                </c:pt>
                <c:pt idx="4194">
                  <c:v>43664</c:v>
                </c:pt>
                <c:pt idx="4195">
                  <c:v>43665</c:v>
                </c:pt>
                <c:pt idx="4196">
                  <c:v>43668</c:v>
                </c:pt>
                <c:pt idx="4197">
                  <c:v>43669</c:v>
                </c:pt>
                <c:pt idx="4198">
                  <c:v>43670</c:v>
                </c:pt>
                <c:pt idx="4199">
                  <c:v>43671</c:v>
                </c:pt>
                <c:pt idx="4200">
                  <c:v>43672</c:v>
                </c:pt>
                <c:pt idx="4201">
                  <c:v>43675</c:v>
                </c:pt>
                <c:pt idx="4202">
                  <c:v>43676</c:v>
                </c:pt>
                <c:pt idx="4203">
                  <c:v>43677</c:v>
                </c:pt>
                <c:pt idx="4204">
                  <c:v>43678</c:v>
                </c:pt>
                <c:pt idx="4205">
                  <c:v>43679</c:v>
                </c:pt>
                <c:pt idx="4206">
                  <c:v>43682</c:v>
                </c:pt>
                <c:pt idx="4207">
                  <c:v>43683</c:v>
                </c:pt>
                <c:pt idx="4208">
                  <c:v>43684</c:v>
                </c:pt>
                <c:pt idx="4209">
                  <c:v>43685</c:v>
                </c:pt>
                <c:pt idx="4210">
                  <c:v>43686</c:v>
                </c:pt>
                <c:pt idx="4211">
                  <c:v>43689</c:v>
                </c:pt>
                <c:pt idx="4212">
                  <c:v>43690</c:v>
                </c:pt>
                <c:pt idx="4213">
                  <c:v>43691</c:v>
                </c:pt>
                <c:pt idx="4214">
                  <c:v>43692</c:v>
                </c:pt>
                <c:pt idx="4215">
                  <c:v>43693</c:v>
                </c:pt>
                <c:pt idx="4216">
                  <c:v>43696</c:v>
                </c:pt>
                <c:pt idx="4217">
                  <c:v>43697</c:v>
                </c:pt>
                <c:pt idx="4218">
                  <c:v>43698</c:v>
                </c:pt>
                <c:pt idx="4219">
                  <c:v>43699</c:v>
                </c:pt>
                <c:pt idx="4220">
                  <c:v>43700</c:v>
                </c:pt>
                <c:pt idx="4221">
                  <c:v>43703</c:v>
                </c:pt>
                <c:pt idx="4222">
                  <c:v>43704</c:v>
                </c:pt>
                <c:pt idx="4223">
                  <c:v>43705</c:v>
                </c:pt>
                <c:pt idx="4224">
                  <c:v>43706</c:v>
                </c:pt>
                <c:pt idx="4225">
                  <c:v>43707</c:v>
                </c:pt>
                <c:pt idx="4226">
                  <c:v>43710</c:v>
                </c:pt>
                <c:pt idx="4227">
                  <c:v>43711</c:v>
                </c:pt>
                <c:pt idx="4228">
                  <c:v>43712</c:v>
                </c:pt>
                <c:pt idx="4229">
                  <c:v>43713</c:v>
                </c:pt>
                <c:pt idx="4230">
                  <c:v>43714</c:v>
                </c:pt>
                <c:pt idx="4231">
                  <c:v>43717</c:v>
                </c:pt>
                <c:pt idx="4232">
                  <c:v>43718</c:v>
                </c:pt>
                <c:pt idx="4233">
                  <c:v>43719</c:v>
                </c:pt>
                <c:pt idx="4234">
                  <c:v>43720</c:v>
                </c:pt>
                <c:pt idx="4235">
                  <c:v>43724</c:v>
                </c:pt>
                <c:pt idx="4236">
                  <c:v>43725</c:v>
                </c:pt>
                <c:pt idx="4237">
                  <c:v>43726</c:v>
                </c:pt>
                <c:pt idx="4238">
                  <c:v>43727</c:v>
                </c:pt>
                <c:pt idx="4239">
                  <c:v>43728</c:v>
                </c:pt>
                <c:pt idx="4240">
                  <c:v>43731</c:v>
                </c:pt>
                <c:pt idx="4241">
                  <c:v>43732</c:v>
                </c:pt>
                <c:pt idx="4242">
                  <c:v>43733</c:v>
                </c:pt>
                <c:pt idx="4243">
                  <c:v>43734</c:v>
                </c:pt>
                <c:pt idx="4244">
                  <c:v>43735</c:v>
                </c:pt>
                <c:pt idx="4245">
                  <c:v>43738</c:v>
                </c:pt>
                <c:pt idx="4246">
                  <c:v>43746</c:v>
                </c:pt>
                <c:pt idx="4247">
                  <c:v>43747</c:v>
                </c:pt>
                <c:pt idx="4248">
                  <c:v>43748</c:v>
                </c:pt>
                <c:pt idx="4249">
                  <c:v>43749</c:v>
                </c:pt>
                <c:pt idx="4250">
                  <c:v>43752</c:v>
                </c:pt>
                <c:pt idx="4251">
                  <c:v>43753</c:v>
                </c:pt>
                <c:pt idx="4252">
                  <c:v>43754</c:v>
                </c:pt>
                <c:pt idx="4253">
                  <c:v>43755</c:v>
                </c:pt>
                <c:pt idx="4254">
                  <c:v>43756</c:v>
                </c:pt>
                <c:pt idx="4255">
                  <c:v>43759</c:v>
                </c:pt>
                <c:pt idx="4256">
                  <c:v>43760</c:v>
                </c:pt>
                <c:pt idx="4257">
                  <c:v>43761</c:v>
                </c:pt>
                <c:pt idx="4258">
                  <c:v>43762</c:v>
                </c:pt>
                <c:pt idx="4259">
                  <c:v>43763</c:v>
                </c:pt>
                <c:pt idx="4260">
                  <c:v>43766</c:v>
                </c:pt>
                <c:pt idx="4261">
                  <c:v>43767</c:v>
                </c:pt>
                <c:pt idx="4262">
                  <c:v>43768</c:v>
                </c:pt>
                <c:pt idx="4263">
                  <c:v>43769</c:v>
                </c:pt>
                <c:pt idx="4264">
                  <c:v>43770</c:v>
                </c:pt>
                <c:pt idx="4265">
                  <c:v>43773</c:v>
                </c:pt>
                <c:pt idx="4266">
                  <c:v>43774</c:v>
                </c:pt>
                <c:pt idx="4267">
                  <c:v>43775</c:v>
                </c:pt>
                <c:pt idx="4268">
                  <c:v>43776</c:v>
                </c:pt>
                <c:pt idx="4269">
                  <c:v>43777</c:v>
                </c:pt>
                <c:pt idx="4270">
                  <c:v>43780</c:v>
                </c:pt>
                <c:pt idx="4271">
                  <c:v>43781</c:v>
                </c:pt>
                <c:pt idx="4272">
                  <c:v>43782</c:v>
                </c:pt>
                <c:pt idx="4273">
                  <c:v>43783</c:v>
                </c:pt>
                <c:pt idx="4274">
                  <c:v>43784</c:v>
                </c:pt>
                <c:pt idx="4275">
                  <c:v>43787</c:v>
                </c:pt>
                <c:pt idx="4276">
                  <c:v>43788</c:v>
                </c:pt>
                <c:pt idx="4277">
                  <c:v>43789</c:v>
                </c:pt>
                <c:pt idx="4278">
                  <c:v>43790</c:v>
                </c:pt>
                <c:pt idx="4279">
                  <c:v>43791</c:v>
                </c:pt>
                <c:pt idx="4280">
                  <c:v>43794</c:v>
                </c:pt>
                <c:pt idx="4281">
                  <c:v>43795</c:v>
                </c:pt>
                <c:pt idx="4282">
                  <c:v>43796</c:v>
                </c:pt>
                <c:pt idx="4283">
                  <c:v>43797</c:v>
                </c:pt>
                <c:pt idx="4284">
                  <c:v>43798</c:v>
                </c:pt>
                <c:pt idx="4285">
                  <c:v>43801</c:v>
                </c:pt>
                <c:pt idx="4286">
                  <c:v>43802</c:v>
                </c:pt>
                <c:pt idx="4287">
                  <c:v>43803</c:v>
                </c:pt>
                <c:pt idx="4288">
                  <c:v>43804</c:v>
                </c:pt>
                <c:pt idx="4289">
                  <c:v>43805</c:v>
                </c:pt>
                <c:pt idx="4290">
                  <c:v>43808</c:v>
                </c:pt>
                <c:pt idx="4291">
                  <c:v>43809</c:v>
                </c:pt>
                <c:pt idx="4292">
                  <c:v>43810</c:v>
                </c:pt>
                <c:pt idx="4293">
                  <c:v>43811</c:v>
                </c:pt>
                <c:pt idx="4294">
                  <c:v>43812</c:v>
                </c:pt>
                <c:pt idx="4295">
                  <c:v>43815</c:v>
                </c:pt>
                <c:pt idx="4296">
                  <c:v>43816</c:v>
                </c:pt>
                <c:pt idx="4297">
                  <c:v>43817</c:v>
                </c:pt>
                <c:pt idx="4298">
                  <c:v>43818</c:v>
                </c:pt>
                <c:pt idx="4299">
                  <c:v>43819</c:v>
                </c:pt>
                <c:pt idx="4300">
                  <c:v>43822</c:v>
                </c:pt>
                <c:pt idx="4301">
                  <c:v>43823</c:v>
                </c:pt>
                <c:pt idx="4302">
                  <c:v>43824</c:v>
                </c:pt>
                <c:pt idx="4303">
                  <c:v>43825</c:v>
                </c:pt>
                <c:pt idx="4304">
                  <c:v>43826</c:v>
                </c:pt>
                <c:pt idx="4305">
                  <c:v>43829</c:v>
                </c:pt>
                <c:pt idx="4306">
                  <c:v>43830</c:v>
                </c:pt>
                <c:pt idx="4307">
                  <c:v>43832</c:v>
                </c:pt>
                <c:pt idx="4308">
                  <c:v>43833</c:v>
                </c:pt>
                <c:pt idx="4309">
                  <c:v>43836</c:v>
                </c:pt>
                <c:pt idx="4310">
                  <c:v>43837</c:v>
                </c:pt>
                <c:pt idx="4311">
                  <c:v>43838</c:v>
                </c:pt>
                <c:pt idx="4312">
                  <c:v>43839</c:v>
                </c:pt>
                <c:pt idx="4313">
                  <c:v>43840</c:v>
                </c:pt>
                <c:pt idx="4314">
                  <c:v>43843</c:v>
                </c:pt>
                <c:pt idx="4315">
                  <c:v>43844</c:v>
                </c:pt>
                <c:pt idx="4316">
                  <c:v>43845</c:v>
                </c:pt>
                <c:pt idx="4317">
                  <c:v>43846</c:v>
                </c:pt>
                <c:pt idx="4318">
                  <c:v>43847</c:v>
                </c:pt>
                <c:pt idx="4319">
                  <c:v>43850</c:v>
                </c:pt>
                <c:pt idx="4320">
                  <c:v>43851</c:v>
                </c:pt>
                <c:pt idx="4321">
                  <c:v>43852</c:v>
                </c:pt>
                <c:pt idx="4322">
                  <c:v>43853</c:v>
                </c:pt>
                <c:pt idx="4323">
                  <c:v>43864</c:v>
                </c:pt>
                <c:pt idx="4324">
                  <c:v>43865</c:v>
                </c:pt>
                <c:pt idx="4325">
                  <c:v>43866</c:v>
                </c:pt>
                <c:pt idx="4326">
                  <c:v>43867</c:v>
                </c:pt>
                <c:pt idx="4327">
                  <c:v>43868</c:v>
                </c:pt>
                <c:pt idx="4328">
                  <c:v>43871</c:v>
                </c:pt>
                <c:pt idx="4329">
                  <c:v>43872</c:v>
                </c:pt>
                <c:pt idx="4330">
                  <c:v>43873</c:v>
                </c:pt>
                <c:pt idx="4331">
                  <c:v>43874</c:v>
                </c:pt>
                <c:pt idx="4332">
                  <c:v>43875</c:v>
                </c:pt>
                <c:pt idx="4333">
                  <c:v>43878</c:v>
                </c:pt>
                <c:pt idx="4334">
                  <c:v>43879</c:v>
                </c:pt>
                <c:pt idx="4335">
                  <c:v>43880</c:v>
                </c:pt>
                <c:pt idx="4336">
                  <c:v>43881</c:v>
                </c:pt>
                <c:pt idx="4337">
                  <c:v>43882</c:v>
                </c:pt>
                <c:pt idx="4338">
                  <c:v>43885</c:v>
                </c:pt>
                <c:pt idx="4339">
                  <c:v>43886</c:v>
                </c:pt>
                <c:pt idx="4340">
                  <c:v>43887</c:v>
                </c:pt>
                <c:pt idx="4341">
                  <c:v>43888</c:v>
                </c:pt>
                <c:pt idx="4342">
                  <c:v>43889</c:v>
                </c:pt>
                <c:pt idx="4343">
                  <c:v>43892</c:v>
                </c:pt>
                <c:pt idx="4344">
                  <c:v>43893</c:v>
                </c:pt>
                <c:pt idx="4345">
                  <c:v>43894</c:v>
                </c:pt>
                <c:pt idx="4346">
                  <c:v>43895</c:v>
                </c:pt>
                <c:pt idx="4347">
                  <c:v>43896</c:v>
                </c:pt>
                <c:pt idx="4348">
                  <c:v>43899</c:v>
                </c:pt>
                <c:pt idx="4349">
                  <c:v>43900</c:v>
                </c:pt>
                <c:pt idx="4350">
                  <c:v>43901</c:v>
                </c:pt>
                <c:pt idx="4351">
                  <c:v>43902</c:v>
                </c:pt>
                <c:pt idx="4352">
                  <c:v>43903</c:v>
                </c:pt>
                <c:pt idx="4353">
                  <c:v>43906</c:v>
                </c:pt>
                <c:pt idx="4354">
                  <c:v>43907</c:v>
                </c:pt>
                <c:pt idx="4355">
                  <c:v>43908</c:v>
                </c:pt>
                <c:pt idx="4356">
                  <c:v>43909</c:v>
                </c:pt>
                <c:pt idx="4357">
                  <c:v>43910</c:v>
                </c:pt>
                <c:pt idx="4358">
                  <c:v>43913</c:v>
                </c:pt>
                <c:pt idx="4359">
                  <c:v>43914</c:v>
                </c:pt>
                <c:pt idx="4360">
                  <c:v>43915</c:v>
                </c:pt>
                <c:pt idx="4361">
                  <c:v>43916</c:v>
                </c:pt>
                <c:pt idx="4362">
                  <c:v>43917</c:v>
                </c:pt>
                <c:pt idx="4363">
                  <c:v>43920</c:v>
                </c:pt>
                <c:pt idx="4364">
                  <c:v>43921</c:v>
                </c:pt>
                <c:pt idx="4365">
                  <c:v>43922</c:v>
                </c:pt>
                <c:pt idx="4366">
                  <c:v>43923</c:v>
                </c:pt>
                <c:pt idx="4367">
                  <c:v>43924</c:v>
                </c:pt>
                <c:pt idx="4368">
                  <c:v>43928</c:v>
                </c:pt>
                <c:pt idx="4369">
                  <c:v>43929</c:v>
                </c:pt>
                <c:pt idx="4370">
                  <c:v>43930</c:v>
                </c:pt>
                <c:pt idx="4371">
                  <c:v>43931</c:v>
                </c:pt>
                <c:pt idx="4372">
                  <c:v>43934</c:v>
                </c:pt>
                <c:pt idx="4373">
                  <c:v>43935</c:v>
                </c:pt>
                <c:pt idx="4374">
                  <c:v>43936</c:v>
                </c:pt>
                <c:pt idx="4375">
                  <c:v>43937</c:v>
                </c:pt>
                <c:pt idx="4376">
                  <c:v>43938</c:v>
                </c:pt>
                <c:pt idx="4377">
                  <c:v>43941</c:v>
                </c:pt>
                <c:pt idx="4378">
                  <c:v>43942</c:v>
                </c:pt>
                <c:pt idx="4379">
                  <c:v>43943</c:v>
                </c:pt>
                <c:pt idx="4380">
                  <c:v>43944</c:v>
                </c:pt>
                <c:pt idx="4381">
                  <c:v>43945</c:v>
                </c:pt>
                <c:pt idx="4382">
                  <c:v>43948</c:v>
                </c:pt>
                <c:pt idx="4383">
                  <c:v>43949</c:v>
                </c:pt>
                <c:pt idx="4384">
                  <c:v>43950</c:v>
                </c:pt>
                <c:pt idx="4385">
                  <c:v>43951</c:v>
                </c:pt>
                <c:pt idx="4386">
                  <c:v>43957</c:v>
                </c:pt>
                <c:pt idx="4387">
                  <c:v>43958</c:v>
                </c:pt>
                <c:pt idx="4388">
                  <c:v>43959</c:v>
                </c:pt>
                <c:pt idx="4389">
                  <c:v>43962</c:v>
                </c:pt>
                <c:pt idx="4390">
                  <c:v>43963</c:v>
                </c:pt>
                <c:pt idx="4391">
                  <c:v>43964</c:v>
                </c:pt>
                <c:pt idx="4392">
                  <c:v>43965</c:v>
                </c:pt>
                <c:pt idx="4393">
                  <c:v>43966</c:v>
                </c:pt>
                <c:pt idx="4394">
                  <c:v>43969</c:v>
                </c:pt>
                <c:pt idx="4395">
                  <c:v>43970</c:v>
                </c:pt>
                <c:pt idx="4396">
                  <c:v>43971</c:v>
                </c:pt>
                <c:pt idx="4397">
                  <c:v>43972</c:v>
                </c:pt>
                <c:pt idx="4398">
                  <c:v>43973</c:v>
                </c:pt>
                <c:pt idx="4399">
                  <c:v>43976</c:v>
                </c:pt>
                <c:pt idx="4400">
                  <c:v>43977</c:v>
                </c:pt>
                <c:pt idx="4401">
                  <c:v>43978</c:v>
                </c:pt>
                <c:pt idx="4402">
                  <c:v>43979</c:v>
                </c:pt>
                <c:pt idx="4403">
                  <c:v>43980</c:v>
                </c:pt>
                <c:pt idx="4404">
                  <c:v>43983</c:v>
                </c:pt>
                <c:pt idx="4405">
                  <c:v>43984</c:v>
                </c:pt>
                <c:pt idx="4406">
                  <c:v>43985</c:v>
                </c:pt>
                <c:pt idx="4407">
                  <c:v>43986</c:v>
                </c:pt>
                <c:pt idx="4408">
                  <c:v>43987</c:v>
                </c:pt>
                <c:pt idx="4409">
                  <c:v>43990</c:v>
                </c:pt>
                <c:pt idx="4410">
                  <c:v>43991</c:v>
                </c:pt>
                <c:pt idx="4411">
                  <c:v>43992</c:v>
                </c:pt>
                <c:pt idx="4412">
                  <c:v>43993</c:v>
                </c:pt>
                <c:pt idx="4413">
                  <c:v>43994</c:v>
                </c:pt>
                <c:pt idx="4414">
                  <c:v>43997</c:v>
                </c:pt>
                <c:pt idx="4415">
                  <c:v>43998</c:v>
                </c:pt>
                <c:pt idx="4416">
                  <c:v>43999</c:v>
                </c:pt>
                <c:pt idx="4417">
                  <c:v>44000</c:v>
                </c:pt>
                <c:pt idx="4418">
                  <c:v>44001</c:v>
                </c:pt>
                <c:pt idx="4419">
                  <c:v>44004</c:v>
                </c:pt>
                <c:pt idx="4420">
                  <c:v>44005</c:v>
                </c:pt>
                <c:pt idx="4421">
                  <c:v>44006</c:v>
                </c:pt>
                <c:pt idx="4422">
                  <c:v>44011</c:v>
                </c:pt>
                <c:pt idx="4423">
                  <c:v>44012</c:v>
                </c:pt>
                <c:pt idx="4424">
                  <c:v>44013</c:v>
                </c:pt>
                <c:pt idx="4425">
                  <c:v>44014</c:v>
                </c:pt>
                <c:pt idx="4426">
                  <c:v>44015</c:v>
                </c:pt>
                <c:pt idx="4427">
                  <c:v>44018</c:v>
                </c:pt>
                <c:pt idx="4428">
                  <c:v>44019</c:v>
                </c:pt>
                <c:pt idx="4429">
                  <c:v>44020</c:v>
                </c:pt>
                <c:pt idx="4430">
                  <c:v>44021</c:v>
                </c:pt>
                <c:pt idx="4431">
                  <c:v>44022</c:v>
                </c:pt>
                <c:pt idx="4432">
                  <c:v>44025</c:v>
                </c:pt>
                <c:pt idx="4433">
                  <c:v>44026</c:v>
                </c:pt>
                <c:pt idx="4434">
                  <c:v>44027</c:v>
                </c:pt>
                <c:pt idx="4435">
                  <c:v>44028</c:v>
                </c:pt>
                <c:pt idx="4436">
                  <c:v>44029</c:v>
                </c:pt>
                <c:pt idx="4437">
                  <c:v>44032</c:v>
                </c:pt>
                <c:pt idx="4438">
                  <c:v>44033</c:v>
                </c:pt>
                <c:pt idx="4439">
                  <c:v>44034</c:v>
                </c:pt>
                <c:pt idx="4440">
                  <c:v>44035</c:v>
                </c:pt>
                <c:pt idx="4441">
                  <c:v>44036</c:v>
                </c:pt>
                <c:pt idx="4442">
                  <c:v>44039</c:v>
                </c:pt>
                <c:pt idx="4443">
                  <c:v>44040</c:v>
                </c:pt>
                <c:pt idx="4444">
                  <c:v>44041</c:v>
                </c:pt>
                <c:pt idx="4445">
                  <c:v>44042</c:v>
                </c:pt>
                <c:pt idx="4446">
                  <c:v>44043</c:v>
                </c:pt>
                <c:pt idx="4447">
                  <c:v>44046</c:v>
                </c:pt>
                <c:pt idx="4448">
                  <c:v>44047</c:v>
                </c:pt>
                <c:pt idx="4449">
                  <c:v>44048</c:v>
                </c:pt>
                <c:pt idx="4450">
                  <c:v>44049</c:v>
                </c:pt>
                <c:pt idx="4451">
                  <c:v>44050</c:v>
                </c:pt>
                <c:pt idx="4452">
                  <c:v>44053</c:v>
                </c:pt>
                <c:pt idx="4453">
                  <c:v>44054</c:v>
                </c:pt>
                <c:pt idx="4454">
                  <c:v>44055</c:v>
                </c:pt>
                <c:pt idx="4455">
                  <c:v>44056</c:v>
                </c:pt>
                <c:pt idx="4456">
                  <c:v>44057</c:v>
                </c:pt>
                <c:pt idx="4457">
                  <c:v>44060</c:v>
                </c:pt>
                <c:pt idx="4458">
                  <c:v>44061</c:v>
                </c:pt>
                <c:pt idx="4459">
                  <c:v>44062</c:v>
                </c:pt>
                <c:pt idx="4460">
                  <c:v>44063</c:v>
                </c:pt>
                <c:pt idx="4461">
                  <c:v>44064</c:v>
                </c:pt>
                <c:pt idx="4462">
                  <c:v>44067</c:v>
                </c:pt>
                <c:pt idx="4463">
                  <c:v>44068</c:v>
                </c:pt>
                <c:pt idx="4464">
                  <c:v>44069</c:v>
                </c:pt>
                <c:pt idx="4465">
                  <c:v>44070</c:v>
                </c:pt>
                <c:pt idx="4466">
                  <c:v>44071</c:v>
                </c:pt>
                <c:pt idx="4467">
                  <c:v>44074</c:v>
                </c:pt>
                <c:pt idx="4468">
                  <c:v>44075</c:v>
                </c:pt>
                <c:pt idx="4469">
                  <c:v>44076</c:v>
                </c:pt>
                <c:pt idx="4470">
                  <c:v>44077</c:v>
                </c:pt>
                <c:pt idx="4471">
                  <c:v>44078</c:v>
                </c:pt>
                <c:pt idx="4472">
                  <c:v>44081</c:v>
                </c:pt>
                <c:pt idx="4473">
                  <c:v>44082</c:v>
                </c:pt>
                <c:pt idx="4474">
                  <c:v>44083</c:v>
                </c:pt>
                <c:pt idx="4475">
                  <c:v>44084</c:v>
                </c:pt>
                <c:pt idx="4476">
                  <c:v>44085</c:v>
                </c:pt>
                <c:pt idx="4477">
                  <c:v>44088</c:v>
                </c:pt>
                <c:pt idx="4478">
                  <c:v>44089</c:v>
                </c:pt>
                <c:pt idx="4479">
                  <c:v>44090</c:v>
                </c:pt>
                <c:pt idx="4480">
                  <c:v>44091</c:v>
                </c:pt>
                <c:pt idx="4481">
                  <c:v>44092</c:v>
                </c:pt>
                <c:pt idx="4482">
                  <c:v>44095</c:v>
                </c:pt>
                <c:pt idx="4483">
                  <c:v>44096</c:v>
                </c:pt>
                <c:pt idx="4484">
                  <c:v>44097</c:v>
                </c:pt>
                <c:pt idx="4485">
                  <c:v>44098</c:v>
                </c:pt>
                <c:pt idx="4486">
                  <c:v>44099</c:v>
                </c:pt>
                <c:pt idx="4487">
                  <c:v>44102</c:v>
                </c:pt>
                <c:pt idx="4488">
                  <c:v>44103</c:v>
                </c:pt>
                <c:pt idx="4489">
                  <c:v>44104</c:v>
                </c:pt>
                <c:pt idx="4490">
                  <c:v>44113</c:v>
                </c:pt>
                <c:pt idx="4491">
                  <c:v>44116</c:v>
                </c:pt>
                <c:pt idx="4492">
                  <c:v>44117</c:v>
                </c:pt>
                <c:pt idx="4493">
                  <c:v>44118</c:v>
                </c:pt>
                <c:pt idx="4494">
                  <c:v>44119</c:v>
                </c:pt>
                <c:pt idx="4495">
                  <c:v>44120</c:v>
                </c:pt>
                <c:pt idx="4496">
                  <c:v>44123</c:v>
                </c:pt>
                <c:pt idx="4497">
                  <c:v>44124</c:v>
                </c:pt>
                <c:pt idx="4498">
                  <c:v>44125</c:v>
                </c:pt>
                <c:pt idx="4499">
                  <c:v>44126</c:v>
                </c:pt>
                <c:pt idx="4500">
                  <c:v>44127</c:v>
                </c:pt>
                <c:pt idx="4501">
                  <c:v>44130</c:v>
                </c:pt>
                <c:pt idx="4502">
                  <c:v>44131</c:v>
                </c:pt>
                <c:pt idx="4503">
                  <c:v>44132</c:v>
                </c:pt>
                <c:pt idx="4504">
                  <c:v>44133</c:v>
                </c:pt>
                <c:pt idx="4505">
                  <c:v>44134</c:v>
                </c:pt>
                <c:pt idx="4506">
                  <c:v>44137</c:v>
                </c:pt>
                <c:pt idx="4507">
                  <c:v>44138</c:v>
                </c:pt>
                <c:pt idx="4508">
                  <c:v>44139</c:v>
                </c:pt>
                <c:pt idx="4509">
                  <c:v>44140</c:v>
                </c:pt>
                <c:pt idx="4510">
                  <c:v>44141</c:v>
                </c:pt>
                <c:pt idx="4511">
                  <c:v>44144</c:v>
                </c:pt>
                <c:pt idx="4512">
                  <c:v>44145</c:v>
                </c:pt>
                <c:pt idx="4513">
                  <c:v>44146</c:v>
                </c:pt>
                <c:pt idx="4514">
                  <c:v>44147</c:v>
                </c:pt>
                <c:pt idx="4515">
                  <c:v>44148</c:v>
                </c:pt>
                <c:pt idx="4516">
                  <c:v>44151</c:v>
                </c:pt>
                <c:pt idx="4517">
                  <c:v>44152</c:v>
                </c:pt>
                <c:pt idx="4518">
                  <c:v>44153</c:v>
                </c:pt>
                <c:pt idx="4519">
                  <c:v>44154</c:v>
                </c:pt>
                <c:pt idx="4520">
                  <c:v>44155</c:v>
                </c:pt>
                <c:pt idx="4521">
                  <c:v>44158</c:v>
                </c:pt>
                <c:pt idx="4522">
                  <c:v>44159</c:v>
                </c:pt>
                <c:pt idx="4523">
                  <c:v>44160</c:v>
                </c:pt>
                <c:pt idx="4524">
                  <c:v>44161</c:v>
                </c:pt>
                <c:pt idx="4525">
                  <c:v>44162</c:v>
                </c:pt>
                <c:pt idx="4526">
                  <c:v>44165</c:v>
                </c:pt>
                <c:pt idx="4527">
                  <c:v>44166</c:v>
                </c:pt>
                <c:pt idx="4528">
                  <c:v>44167</c:v>
                </c:pt>
                <c:pt idx="4529">
                  <c:v>44168</c:v>
                </c:pt>
                <c:pt idx="4530">
                  <c:v>44169</c:v>
                </c:pt>
                <c:pt idx="4531">
                  <c:v>44172</c:v>
                </c:pt>
                <c:pt idx="4532">
                  <c:v>44173</c:v>
                </c:pt>
                <c:pt idx="4533">
                  <c:v>44174</c:v>
                </c:pt>
                <c:pt idx="4534">
                  <c:v>44175</c:v>
                </c:pt>
                <c:pt idx="4535">
                  <c:v>44176</c:v>
                </c:pt>
                <c:pt idx="4536">
                  <c:v>44179</c:v>
                </c:pt>
                <c:pt idx="4537">
                  <c:v>44180</c:v>
                </c:pt>
                <c:pt idx="4538">
                  <c:v>44181</c:v>
                </c:pt>
                <c:pt idx="4539">
                  <c:v>44182</c:v>
                </c:pt>
                <c:pt idx="4540">
                  <c:v>44183</c:v>
                </c:pt>
                <c:pt idx="4541">
                  <c:v>44186</c:v>
                </c:pt>
                <c:pt idx="4542">
                  <c:v>44187</c:v>
                </c:pt>
                <c:pt idx="4543">
                  <c:v>44188</c:v>
                </c:pt>
                <c:pt idx="4544">
                  <c:v>44189</c:v>
                </c:pt>
                <c:pt idx="4545">
                  <c:v>44190</c:v>
                </c:pt>
                <c:pt idx="4546">
                  <c:v>44193</c:v>
                </c:pt>
                <c:pt idx="4547">
                  <c:v>44194</c:v>
                </c:pt>
                <c:pt idx="4548">
                  <c:v>44195</c:v>
                </c:pt>
                <c:pt idx="4549">
                  <c:v>44196</c:v>
                </c:pt>
                <c:pt idx="4550">
                  <c:v>44200</c:v>
                </c:pt>
                <c:pt idx="4551">
                  <c:v>44201</c:v>
                </c:pt>
                <c:pt idx="4552">
                  <c:v>44202</c:v>
                </c:pt>
                <c:pt idx="4553">
                  <c:v>44203</c:v>
                </c:pt>
                <c:pt idx="4554">
                  <c:v>44204</c:v>
                </c:pt>
                <c:pt idx="4555">
                  <c:v>44207</c:v>
                </c:pt>
                <c:pt idx="4556">
                  <c:v>44208</c:v>
                </c:pt>
                <c:pt idx="4557">
                  <c:v>44209</c:v>
                </c:pt>
                <c:pt idx="4558">
                  <c:v>44210</c:v>
                </c:pt>
                <c:pt idx="4559">
                  <c:v>44211</c:v>
                </c:pt>
                <c:pt idx="4560">
                  <c:v>44214</c:v>
                </c:pt>
                <c:pt idx="4561">
                  <c:v>44215</c:v>
                </c:pt>
                <c:pt idx="4562">
                  <c:v>44216</c:v>
                </c:pt>
                <c:pt idx="4563">
                  <c:v>44217</c:v>
                </c:pt>
                <c:pt idx="4564">
                  <c:v>44218</c:v>
                </c:pt>
                <c:pt idx="4565">
                  <c:v>44221</c:v>
                </c:pt>
                <c:pt idx="4566">
                  <c:v>44222</c:v>
                </c:pt>
                <c:pt idx="4567">
                  <c:v>44223</c:v>
                </c:pt>
                <c:pt idx="4568">
                  <c:v>44224</c:v>
                </c:pt>
                <c:pt idx="4569">
                  <c:v>44225</c:v>
                </c:pt>
                <c:pt idx="4570">
                  <c:v>44228</c:v>
                </c:pt>
                <c:pt idx="4571">
                  <c:v>44229</c:v>
                </c:pt>
                <c:pt idx="4572">
                  <c:v>44230</c:v>
                </c:pt>
                <c:pt idx="4573">
                  <c:v>44231</c:v>
                </c:pt>
                <c:pt idx="4574">
                  <c:v>44232</c:v>
                </c:pt>
                <c:pt idx="4575">
                  <c:v>44235</c:v>
                </c:pt>
                <c:pt idx="4576">
                  <c:v>44236</c:v>
                </c:pt>
                <c:pt idx="4577">
                  <c:v>44237</c:v>
                </c:pt>
                <c:pt idx="4578">
                  <c:v>44245</c:v>
                </c:pt>
                <c:pt idx="4579">
                  <c:v>44246</c:v>
                </c:pt>
                <c:pt idx="4580">
                  <c:v>44249</c:v>
                </c:pt>
                <c:pt idx="4581">
                  <c:v>44250</c:v>
                </c:pt>
                <c:pt idx="4582">
                  <c:v>44251</c:v>
                </c:pt>
                <c:pt idx="4583">
                  <c:v>44252</c:v>
                </c:pt>
                <c:pt idx="4584">
                  <c:v>44253</c:v>
                </c:pt>
                <c:pt idx="4585">
                  <c:v>44256</c:v>
                </c:pt>
                <c:pt idx="4586">
                  <c:v>44257</c:v>
                </c:pt>
                <c:pt idx="4587">
                  <c:v>44258</c:v>
                </c:pt>
                <c:pt idx="4588">
                  <c:v>44259</c:v>
                </c:pt>
                <c:pt idx="4589">
                  <c:v>44260</c:v>
                </c:pt>
                <c:pt idx="4590">
                  <c:v>44263</c:v>
                </c:pt>
                <c:pt idx="4591">
                  <c:v>44264</c:v>
                </c:pt>
                <c:pt idx="4592">
                  <c:v>44265</c:v>
                </c:pt>
                <c:pt idx="4593">
                  <c:v>44266</c:v>
                </c:pt>
                <c:pt idx="4594">
                  <c:v>44267</c:v>
                </c:pt>
                <c:pt idx="4595">
                  <c:v>44270</c:v>
                </c:pt>
                <c:pt idx="4596">
                  <c:v>44271</c:v>
                </c:pt>
                <c:pt idx="4597">
                  <c:v>44272</c:v>
                </c:pt>
                <c:pt idx="4598">
                  <c:v>44273</c:v>
                </c:pt>
                <c:pt idx="4599">
                  <c:v>44274</c:v>
                </c:pt>
                <c:pt idx="4600">
                  <c:v>44277</c:v>
                </c:pt>
                <c:pt idx="4601">
                  <c:v>44278</c:v>
                </c:pt>
                <c:pt idx="4602">
                  <c:v>44279</c:v>
                </c:pt>
                <c:pt idx="4603">
                  <c:v>44280</c:v>
                </c:pt>
                <c:pt idx="4604">
                  <c:v>44281</c:v>
                </c:pt>
                <c:pt idx="4605">
                  <c:v>44284</c:v>
                </c:pt>
                <c:pt idx="4606">
                  <c:v>44285</c:v>
                </c:pt>
                <c:pt idx="4607">
                  <c:v>44286</c:v>
                </c:pt>
                <c:pt idx="4608">
                  <c:v>44287</c:v>
                </c:pt>
                <c:pt idx="4609">
                  <c:v>44288</c:v>
                </c:pt>
                <c:pt idx="4610">
                  <c:v>44292</c:v>
                </c:pt>
                <c:pt idx="4611">
                  <c:v>44293</c:v>
                </c:pt>
                <c:pt idx="4612">
                  <c:v>44294</c:v>
                </c:pt>
                <c:pt idx="4613">
                  <c:v>44295</c:v>
                </c:pt>
                <c:pt idx="4614">
                  <c:v>44298</c:v>
                </c:pt>
                <c:pt idx="4615">
                  <c:v>44299</c:v>
                </c:pt>
                <c:pt idx="4616">
                  <c:v>44300</c:v>
                </c:pt>
                <c:pt idx="4617">
                  <c:v>44301</c:v>
                </c:pt>
                <c:pt idx="4618">
                  <c:v>44302</c:v>
                </c:pt>
                <c:pt idx="4619">
                  <c:v>44305</c:v>
                </c:pt>
                <c:pt idx="4620">
                  <c:v>44306</c:v>
                </c:pt>
                <c:pt idx="4621">
                  <c:v>44307</c:v>
                </c:pt>
                <c:pt idx="4622">
                  <c:v>44308</c:v>
                </c:pt>
                <c:pt idx="4623">
                  <c:v>44309</c:v>
                </c:pt>
                <c:pt idx="4624">
                  <c:v>44312</c:v>
                </c:pt>
                <c:pt idx="4625">
                  <c:v>44313</c:v>
                </c:pt>
                <c:pt idx="4626">
                  <c:v>44314</c:v>
                </c:pt>
                <c:pt idx="4627">
                  <c:v>44315</c:v>
                </c:pt>
                <c:pt idx="4628">
                  <c:v>44316</c:v>
                </c:pt>
                <c:pt idx="4629">
                  <c:v>44322</c:v>
                </c:pt>
                <c:pt idx="4630">
                  <c:v>44323</c:v>
                </c:pt>
                <c:pt idx="4631">
                  <c:v>44326</c:v>
                </c:pt>
                <c:pt idx="4632">
                  <c:v>44327</c:v>
                </c:pt>
                <c:pt idx="4633">
                  <c:v>44328</c:v>
                </c:pt>
                <c:pt idx="4634">
                  <c:v>44329</c:v>
                </c:pt>
                <c:pt idx="4635">
                  <c:v>44330</c:v>
                </c:pt>
                <c:pt idx="4636">
                  <c:v>44333</c:v>
                </c:pt>
                <c:pt idx="4637">
                  <c:v>44334</c:v>
                </c:pt>
                <c:pt idx="4638">
                  <c:v>44335</c:v>
                </c:pt>
                <c:pt idx="4639">
                  <c:v>44336</c:v>
                </c:pt>
                <c:pt idx="4640">
                  <c:v>44337</c:v>
                </c:pt>
                <c:pt idx="4641">
                  <c:v>44340</c:v>
                </c:pt>
                <c:pt idx="4642">
                  <c:v>44341</c:v>
                </c:pt>
                <c:pt idx="4643">
                  <c:v>44342</c:v>
                </c:pt>
                <c:pt idx="4644">
                  <c:v>44343</c:v>
                </c:pt>
                <c:pt idx="4645">
                  <c:v>44344</c:v>
                </c:pt>
                <c:pt idx="4646">
                  <c:v>44347</c:v>
                </c:pt>
                <c:pt idx="4647">
                  <c:v>44348</c:v>
                </c:pt>
                <c:pt idx="4648">
                  <c:v>44349</c:v>
                </c:pt>
                <c:pt idx="4649">
                  <c:v>44350</c:v>
                </c:pt>
                <c:pt idx="4650">
                  <c:v>44351</c:v>
                </c:pt>
                <c:pt idx="4651">
                  <c:v>44354</c:v>
                </c:pt>
                <c:pt idx="4652">
                  <c:v>44355</c:v>
                </c:pt>
                <c:pt idx="4653">
                  <c:v>44356</c:v>
                </c:pt>
                <c:pt idx="4654">
                  <c:v>44357</c:v>
                </c:pt>
                <c:pt idx="4655">
                  <c:v>44358</c:v>
                </c:pt>
                <c:pt idx="4656">
                  <c:v>44362</c:v>
                </c:pt>
                <c:pt idx="4657">
                  <c:v>44363</c:v>
                </c:pt>
                <c:pt idx="4658">
                  <c:v>44364</c:v>
                </c:pt>
                <c:pt idx="4659">
                  <c:v>44365</c:v>
                </c:pt>
                <c:pt idx="4660">
                  <c:v>44368</c:v>
                </c:pt>
                <c:pt idx="4661">
                  <c:v>44369</c:v>
                </c:pt>
                <c:pt idx="4662">
                  <c:v>44370</c:v>
                </c:pt>
                <c:pt idx="4663">
                  <c:v>44371</c:v>
                </c:pt>
                <c:pt idx="4664">
                  <c:v>44372</c:v>
                </c:pt>
                <c:pt idx="4665">
                  <c:v>44375</c:v>
                </c:pt>
                <c:pt idx="4666">
                  <c:v>44376</c:v>
                </c:pt>
                <c:pt idx="4667">
                  <c:v>44377</c:v>
                </c:pt>
                <c:pt idx="4668">
                  <c:v>44378</c:v>
                </c:pt>
                <c:pt idx="4669">
                  <c:v>44379</c:v>
                </c:pt>
                <c:pt idx="4670">
                  <c:v>44382</c:v>
                </c:pt>
                <c:pt idx="4671">
                  <c:v>44383</c:v>
                </c:pt>
                <c:pt idx="4672">
                  <c:v>44384</c:v>
                </c:pt>
                <c:pt idx="4673">
                  <c:v>44385</c:v>
                </c:pt>
                <c:pt idx="4674">
                  <c:v>44386</c:v>
                </c:pt>
                <c:pt idx="4675">
                  <c:v>44389</c:v>
                </c:pt>
                <c:pt idx="4676">
                  <c:v>44390</c:v>
                </c:pt>
                <c:pt idx="4677">
                  <c:v>44391</c:v>
                </c:pt>
                <c:pt idx="4678">
                  <c:v>44392</c:v>
                </c:pt>
                <c:pt idx="4679">
                  <c:v>44393</c:v>
                </c:pt>
                <c:pt idx="4680">
                  <c:v>44396</c:v>
                </c:pt>
                <c:pt idx="4681">
                  <c:v>44397</c:v>
                </c:pt>
                <c:pt idx="4682">
                  <c:v>44398</c:v>
                </c:pt>
                <c:pt idx="4683">
                  <c:v>44399</c:v>
                </c:pt>
                <c:pt idx="4684">
                  <c:v>44400</c:v>
                </c:pt>
                <c:pt idx="4685">
                  <c:v>44403</c:v>
                </c:pt>
                <c:pt idx="4686">
                  <c:v>44404</c:v>
                </c:pt>
                <c:pt idx="4687">
                  <c:v>44405</c:v>
                </c:pt>
                <c:pt idx="4688">
                  <c:v>44406</c:v>
                </c:pt>
                <c:pt idx="4689">
                  <c:v>44407</c:v>
                </c:pt>
                <c:pt idx="4690">
                  <c:v>44410</c:v>
                </c:pt>
                <c:pt idx="4691">
                  <c:v>44411</c:v>
                </c:pt>
                <c:pt idx="4692">
                  <c:v>44412</c:v>
                </c:pt>
                <c:pt idx="4693">
                  <c:v>44413</c:v>
                </c:pt>
                <c:pt idx="4694">
                  <c:v>44414</c:v>
                </c:pt>
                <c:pt idx="4695">
                  <c:v>44417</c:v>
                </c:pt>
                <c:pt idx="4696">
                  <c:v>44418</c:v>
                </c:pt>
                <c:pt idx="4697">
                  <c:v>44419</c:v>
                </c:pt>
                <c:pt idx="4698">
                  <c:v>44420</c:v>
                </c:pt>
                <c:pt idx="4699">
                  <c:v>44421</c:v>
                </c:pt>
                <c:pt idx="4700">
                  <c:v>44424</c:v>
                </c:pt>
                <c:pt idx="4701">
                  <c:v>44425</c:v>
                </c:pt>
                <c:pt idx="4702">
                  <c:v>44426</c:v>
                </c:pt>
                <c:pt idx="4703">
                  <c:v>44427</c:v>
                </c:pt>
                <c:pt idx="4704">
                  <c:v>44428</c:v>
                </c:pt>
                <c:pt idx="4705">
                  <c:v>44431</c:v>
                </c:pt>
                <c:pt idx="4706">
                  <c:v>44432</c:v>
                </c:pt>
                <c:pt idx="4707">
                  <c:v>44433</c:v>
                </c:pt>
                <c:pt idx="4708">
                  <c:v>44434</c:v>
                </c:pt>
                <c:pt idx="4709">
                  <c:v>44435</c:v>
                </c:pt>
                <c:pt idx="4710">
                  <c:v>44438</c:v>
                </c:pt>
                <c:pt idx="4711">
                  <c:v>44439</c:v>
                </c:pt>
                <c:pt idx="4712">
                  <c:v>44440</c:v>
                </c:pt>
                <c:pt idx="4713">
                  <c:v>44441</c:v>
                </c:pt>
                <c:pt idx="4714">
                  <c:v>44442</c:v>
                </c:pt>
                <c:pt idx="4715">
                  <c:v>44445</c:v>
                </c:pt>
                <c:pt idx="4716">
                  <c:v>44446</c:v>
                </c:pt>
                <c:pt idx="4717">
                  <c:v>44447</c:v>
                </c:pt>
                <c:pt idx="4718">
                  <c:v>44448</c:v>
                </c:pt>
                <c:pt idx="4719">
                  <c:v>44449</c:v>
                </c:pt>
                <c:pt idx="4720">
                  <c:v>44452</c:v>
                </c:pt>
                <c:pt idx="4721">
                  <c:v>44453</c:v>
                </c:pt>
                <c:pt idx="4722">
                  <c:v>44454</c:v>
                </c:pt>
                <c:pt idx="4723">
                  <c:v>44455</c:v>
                </c:pt>
                <c:pt idx="4724">
                  <c:v>44456</c:v>
                </c:pt>
                <c:pt idx="4725">
                  <c:v>44461</c:v>
                </c:pt>
                <c:pt idx="4726">
                  <c:v>44462</c:v>
                </c:pt>
                <c:pt idx="4727">
                  <c:v>44463</c:v>
                </c:pt>
                <c:pt idx="4728">
                  <c:v>44466</c:v>
                </c:pt>
                <c:pt idx="4729">
                  <c:v>44467</c:v>
                </c:pt>
                <c:pt idx="4730">
                  <c:v>44468</c:v>
                </c:pt>
                <c:pt idx="4731">
                  <c:v>44469</c:v>
                </c:pt>
                <c:pt idx="4732">
                  <c:v>44477</c:v>
                </c:pt>
                <c:pt idx="4733">
                  <c:v>44480</c:v>
                </c:pt>
                <c:pt idx="4734">
                  <c:v>44481</c:v>
                </c:pt>
                <c:pt idx="4735">
                  <c:v>44482</c:v>
                </c:pt>
                <c:pt idx="4736">
                  <c:v>44483</c:v>
                </c:pt>
                <c:pt idx="4737">
                  <c:v>44484</c:v>
                </c:pt>
                <c:pt idx="4738">
                  <c:v>44487</c:v>
                </c:pt>
                <c:pt idx="4739">
                  <c:v>44488</c:v>
                </c:pt>
                <c:pt idx="4740">
                  <c:v>44489</c:v>
                </c:pt>
                <c:pt idx="4741">
                  <c:v>44490</c:v>
                </c:pt>
                <c:pt idx="4742">
                  <c:v>44491</c:v>
                </c:pt>
                <c:pt idx="4743">
                  <c:v>44494</c:v>
                </c:pt>
                <c:pt idx="4744">
                  <c:v>44495</c:v>
                </c:pt>
                <c:pt idx="4745">
                  <c:v>44496</c:v>
                </c:pt>
                <c:pt idx="4746">
                  <c:v>44497</c:v>
                </c:pt>
                <c:pt idx="4747">
                  <c:v>44498</c:v>
                </c:pt>
                <c:pt idx="4748">
                  <c:v>44501</c:v>
                </c:pt>
                <c:pt idx="4749">
                  <c:v>44502</c:v>
                </c:pt>
                <c:pt idx="4750">
                  <c:v>44503</c:v>
                </c:pt>
                <c:pt idx="4751">
                  <c:v>44504</c:v>
                </c:pt>
                <c:pt idx="4752">
                  <c:v>44505</c:v>
                </c:pt>
                <c:pt idx="4753">
                  <c:v>44508</c:v>
                </c:pt>
                <c:pt idx="4754">
                  <c:v>44509</c:v>
                </c:pt>
                <c:pt idx="4755">
                  <c:v>44510</c:v>
                </c:pt>
                <c:pt idx="4756">
                  <c:v>44511</c:v>
                </c:pt>
                <c:pt idx="4757">
                  <c:v>44512</c:v>
                </c:pt>
                <c:pt idx="4758">
                  <c:v>44515</c:v>
                </c:pt>
                <c:pt idx="4759">
                  <c:v>44516</c:v>
                </c:pt>
                <c:pt idx="4760">
                  <c:v>44517</c:v>
                </c:pt>
                <c:pt idx="4761">
                  <c:v>44518</c:v>
                </c:pt>
                <c:pt idx="4762">
                  <c:v>44519</c:v>
                </c:pt>
                <c:pt idx="4763">
                  <c:v>44522</c:v>
                </c:pt>
                <c:pt idx="4764">
                  <c:v>44523</c:v>
                </c:pt>
                <c:pt idx="4765">
                  <c:v>44524</c:v>
                </c:pt>
                <c:pt idx="4766">
                  <c:v>44525</c:v>
                </c:pt>
                <c:pt idx="4767">
                  <c:v>44526</c:v>
                </c:pt>
                <c:pt idx="4768">
                  <c:v>44529</c:v>
                </c:pt>
                <c:pt idx="4769">
                  <c:v>44530</c:v>
                </c:pt>
                <c:pt idx="4770">
                  <c:v>44531</c:v>
                </c:pt>
                <c:pt idx="4771">
                  <c:v>44532</c:v>
                </c:pt>
                <c:pt idx="4772">
                  <c:v>44533</c:v>
                </c:pt>
                <c:pt idx="4773">
                  <c:v>44536</c:v>
                </c:pt>
                <c:pt idx="4774">
                  <c:v>44537</c:v>
                </c:pt>
                <c:pt idx="4775">
                  <c:v>44538</c:v>
                </c:pt>
                <c:pt idx="4776">
                  <c:v>44539</c:v>
                </c:pt>
                <c:pt idx="4777">
                  <c:v>44540</c:v>
                </c:pt>
                <c:pt idx="4778">
                  <c:v>44543</c:v>
                </c:pt>
                <c:pt idx="4779">
                  <c:v>44544</c:v>
                </c:pt>
                <c:pt idx="4780">
                  <c:v>44545</c:v>
                </c:pt>
                <c:pt idx="4781">
                  <c:v>44546</c:v>
                </c:pt>
                <c:pt idx="4782">
                  <c:v>44547</c:v>
                </c:pt>
                <c:pt idx="4783">
                  <c:v>44550</c:v>
                </c:pt>
                <c:pt idx="4784">
                  <c:v>44551</c:v>
                </c:pt>
                <c:pt idx="4785">
                  <c:v>44552</c:v>
                </c:pt>
                <c:pt idx="4786">
                  <c:v>44553</c:v>
                </c:pt>
                <c:pt idx="4787">
                  <c:v>44554</c:v>
                </c:pt>
                <c:pt idx="4788">
                  <c:v>44557</c:v>
                </c:pt>
                <c:pt idx="4789">
                  <c:v>44558</c:v>
                </c:pt>
                <c:pt idx="4790">
                  <c:v>44559</c:v>
                </c:pt>
                <c:pt idx="4791">
                  <c:v>44560</c:v>
                </c:pt>
                <c:pt idx="4792">
                  <c:v>44561</c:v>
                </c:pt>
                <c:pt idx="4793">
                  <c:v>44565</c:v>
                </c:pt>
                <c:pt idx="4794">
                  <c:v>44566</c:v>
                </c:pt>
                <c:pt idx="4795">
                  <c:v>44567</c:v>
                </c:pt>
                <c:pt idx="4796">
                  <c:v>44568</c:v>
                </c:pt>
                <c:pt idx="4797">
                  <c:v>44571</c:v>
                </c:pt>
                <c:pt idx="4798">
                  <c:v>44572</c:v>
                </c:pt>
                <c:pt idx="4799">
                  <c:v>44573</c:v>
                </c:pt>
                <c:pt idx="4800">
                  <c:v>44574</c:v>
                </c:pt>
                <c:pt idx="4801">
                  <c:v>44575</c:v>
                </c:pt>
                <c:pt idx="4802">
                  <c:v>44578</c:v>
                </c:pt>
                <c:pt idx="4803">
                  <c:v>44579</c:v>
                </c:pt>
                <c:pt idx="4804">
                  <c:v>44580</c:v>
                </c:pt>
                <c:pt idx="4805">
                  <c:v>44581</c:v>
                </c:pt>
                <c:pt idx="4806">
                  <c:v>44582</c:v>
                </c:pt>
                <c:pt idx="4807">
                  <c:v>44585</c:v>
                </c:pt>
                <c:pt idx="4808">
                  <c:v>44586</c:v>
                </c:pt>
                <c:pt idx="4809">
                  <c:v>44587</c:v>
                </c:pt>
                <c:pt idx="4810">
                  <c:v>44588</c:v>
                </c:pt>
                <c:pt idx="4811">
                  <c:v>44589</c:v>
                </c:pt>
                <c:pt idx="4812">
                  <c:v>44599</c:v>
                </c:pt>
                <c:pt idx="4813">
                  <c:v>44600</c:v>
                </c:pt>
                <c:pt idx="4814">
                  <c:v>44601</c:v>
                </c:pt>
                <c:pt idx="4815">
                  <c:v>44602</c:v>
                </c:pt>
                <c:pt idx="4816">
                  <c:v>44603</c:v>
                </c:pt>
                <c:pt idx="4817">
                  <c:v>44606</c:v>
                </c:pt>
                <c:pt idx="4818">
                  <c:v>44607</c:v>
                </c:pt>
                <c:pt idx="4819">
                  <c:v>44608</c:v>
                </c:pt>
                <c:pt idx="4820">
                  <c:v>44609</c:v>
                </c:pt>
                <c:pt idx="4821">
                  <c:v>44610</c:v>
                </c:pt>
                <c:pt idx="4822">
                  <c:v>44613</c:v>
                </c:pt>
                <c:pt idx="4823">
                  <c:v>44614</c:v>
                </c:pt>
                <c:pt idx="4824">
                  <c:v>44615</c:v>
                </c:pt>
                <c:pt idx="4825">
                  <c:v>44616</c:v>
                </c:pt>
                <c:pt idx="4826">
                  <c:v>44617</c:v>
                </c:pt>
                <c:pt idx="4827">
                  <c:v>44620</c:v>
                </c:pt>
                <c:pt idx="4828">
                  <c:v>44621</c:v>
                </c:pt>
                <c:pt idx="4829">
                  <c:v>44622</c:v>
                </c:pt>
                <c:pt idx="4830">
                  <c:v>44623</c:v>
                </c:pt>
                <c:pt idx="4831">
                  <c:v>44624</c:v>
                </c:pt>
                <c:pt idx="4832">
                  <c:v>44627</c:v>
                </c:pt>
                <c:pt idx="4833">
                  <c:v>44628</c:v>
                </c:pt>
                <c:pt idx="4834">
                  <c:v>44629</c:v>
                </c:pt>
                <c:pt idx="4835">
                  <c:v>44630</c:v>
                </c:pt>
                <c:pt idx="4836">
                  <c:v>44631</c:v>
                </c:pt>
                <c:pt idx="4837">
                  <c:v>44634</c:v>
                </c:pt>
                <c:pt idx="4838">
                  <c:v>44635</c:v>
                </c:pt>
                <c:pt idx="4839">
                  <c:v>44636</c:v>
                </c:pt>
                <c:pt idx="4840">
                  <c:v>44637</c:v>
                </c:pt>
                <c:pt idx="4841">
                  <c:v>44638</c:v>
                </c:pt>
                <c:pt idx="4842">
                  <c:v>44641</c:v>
                </c:pt>
                <c:pt idx="4843">
                  <c:v>44642</c:v>
                </c:pt>
                <c:pt idx="4844">
                  <c:v>44643</c:v>
                </c:pt>
                <c:pt idx="4845">
                  <c:v>44644</c:v>
                </c:pt>
                <c:pt idx="4846">
                  <c:v>44645</c:v>
                </c:pt>
                <c:pt idx="4847">
                  <c:v>44648</c:v>
                </c:pt>
                <c:pt idx="4848">
                  <c:v>44649</c:v>
                </c:pt>
                <c:pt idx="4849">
                  <c:v>44650</c:v>
                </c:pt>
                <c:pt idx="4850">
                  <c:v>44651</c:v>
                </c:pt>
                <c:pt idx="4851">
                  <c:v>44652</c:v>
                </c:pt>
                <c:pt idx="4852">
                  <c:v>44657</c:v>
                </c:pt>
                <c:pt idx="4853">
                  <c:v>44658</c:v>
                </c:pt>
                <c:pt idx="4854">
                  <c:v>44659</c:v>
                </c:pt>
              </c:numCache>
            </c:numRef>
          </c:cat>
          <c:val>
            <c:numRef>
              <c:f>'v60'!$C$2:$C$4916</c:f>
              <c:numCache>
                <c:formatCode>General</c:formatCode>
                <c:ptCount val="4915"/>
                <c:pt idx="60">
                  <c:v>1.97001137643802E-2</c:v>
                </c:pt>
                <c:pt idx="61">
                  <c:v>1.9684927500874101E-2</c:v>
                </c:pt>
                <c:pt idx="62">
                  <c:v>1.9672728383916999E-2</c:v>
                </c:pt>
                <c:pt idx="63">
                  <c:v>1.9626393457988799E-2</c:v>
                </c:pt>
                <c:pt idx="64">
                  <c:v>1.9619915527549599E-2</c:v>
                </c:pt>
                <c:pt idx="65">
                  <c:v>1.9480381016606901E-2</c:v>
                </c:pt>
                <c:pt idx="66">
                  <c:v>1.92431211148552E-2</c:v>
                </c:pt>
                <c:pt idx="67">
                  <c:v>1.91856990777989E-2</c:v>
                </c:pt>
                <c:pt idx="68">
                  <c:v>1.91575257803662E-2</c:v>
                </c:pt>
                <c:pt idx="69">
                  <c:v>1.87486286386131E-2</c:v>
                </c:pt>
                <c:pt idx="70">
                  <c:v>1.87491748138158E-2</c:v>
                </c:pt>
                <c:pt idx="71">
                  <c:v>1.8429773285941801E-2</c:v>
                </c:pt>
                <c:pt idx="72">
                  <c:v>1.8429771223293399E-2</c:v>
                </c:pt>
                <c:pt idx="73">
                  <c:v>1.75522811728725E-2</c:v>
                </c:pt>
                <c:pt idx="74">
                  <c:v>1.75503430054063E-2</c:v>
                </c:pt>
                <c:pt idx="75">
                  <c:v>1.7551307242176999E-2</c:v>
                </c:pt>
                <c:pt idx="76">
                  <c:v>1.6419135545364501E-2</c:v>
                </c:pt>
                <c:pt idx="77">
                  <c:v>1.6309596151221899E-2</c:v>
                </c:pt>
                <c:pt idx="78">
                  <c:v>1.6309265005668899E-2</c:v>
                </c:pt>
                <c:pt idx="79">
                  <c:v>1.52653061061291E-2</c:v>
                </c:pt>
                <c:pt idx="80">
                  <c:v>1.5272711250138101E-2</c:v>
                </c:pt>
                <c:pt idx="81">
                  <c:v>1.5216164345893599E-2</c:v>
                </c:pt>
                <c:pt idx="82">
                  <c:v>1.52016697719237E-2</c:v>
                </c:pt>
                <c:pt idx="83">
                  <c:v>1.50361750556931E-2</c:v>
                </c:pt>
                <c:pt idx="84">
                  <c:v>1.49561568967174E-2</c:v>
                </c:pt>
                <c:pt idx="85">
                  <c:v>1.4956962416322399E-2</c:v>
                </c:pt>
                <c:pt idx="86">
                  <c:v>1.48952454932247E-2</c:v>
                </c:pt>
                <c:pt idx="87">
                  <c:v>1.49679453567202E-2</c:v>
                </c:pt>
                <c:pt idx="88">
                  <c:v>1.49672645557296E-2</c:v>
                </c:pt>
                <c:pt idx="89">
                  <c:v>1.49529909107329E-2</c:v>
                </c:pt>
                <c:pt idx="90">
                  <c:v>1.4891545287524E-2</c:v>
                </c:pt>
                <c:pt idx="91">
                  <c:v>1.4865804512075999E-2</c:v>
                </c:pt>
                <c:pt idx="92">
                  <c:v>1.4717783282021101E-2</c:v>
                </c:pt>
                <c:pt idx="93">
                  <c:v>1.4692891225780901E-2</c:v>
                </c:pt>
                <c:pt idx="94">
                  <c:v>1.4436134983559499E-2</c:v>
                </c:pt>
                <c:pt idx="95">
                  <c:v>1.43484201528092E-2</c:v>
                </c:pt>
                <c:pt idx="96">
                  <c:v>1.42482010515366E-2</c:v>
                </c:pt>
                <c:pt idx="97">
                  <c:v>1.42180396972064E-2</c:v>
                </c:pt>
                <c:pt idx="98">
                  <c:v>1.41677472910656E-2</c:v>
                </c:pt>
                <c:pt idx="99">
                  <c:v>1.40378933806299E-2</c:v>
                </c:pt>
                <c:pt idx="100">
                  <c:v>1.38162443754109E-2</c:v>
                </c:pt>
                <c:pt idx="101">
                  <c:v>1.3835655703582399E-2</c:v>
                </c:pt>
                <c:pt idx="102">
                  <c:v>1.37172550613959E-2</c:v>
                </c:pt>
                <c:pt idx="103">
                  <c:v>1.36871332880713E-2</c:v>
                </c:pt>
                <c:pt idx="104">
                  <c:v>1.36871130292338E-2</c:v>
                </c:pt>
                <c:pt idx="105">
                  <c:v>1.3648633254931399E-2</c:v>
                </c:pt>
                <c:pt idx="106">
                  <c:v>1.3708927757820901E-2</c:v>
                </c:pt>
                <c:pt idx="107">
                  <c:v>1.36258200079229E-2</c:v>
                </c:pt>
                <c:pt idx="108">
                  <c:v>1.36352091748616E-2</c:v>
                </c:pt>
                <c:pt idx="109">
                  <c:v>1.3743899182120401E-2</c:v>
                </c:pt>
                <c:pt idx="110">
                  <c:v>1.3516035761665501E-2</c:v>
                </c:pt>
                <c:pt idx="111">
                  <c:v>1.35129753249276E-2</c:v>
                </c:pt>
                <c:pt idx="112">
                  <c:v>1.3438681993251199E-2</c:v>
                </c:pt>
                <c:pt idx="113">
                  <c:v>1.3432725889738401E-2</c:v>
                </c:pt>
                <c:pt idx="114">
                  <c:v>1.3214051348364999E-2</c:v>
                </c:pt>
                <c:pt idx="115">
                  <c:v>1.3214825950279801E-2</c:v>
                </c:pt>
                <c:pt idx="116">
                  <c:v>1.3243361182052001E-2</c:v>
                </c:pt>
                <c:pt idx="117">
                  <c:v>1.3257978813724499E-2</c:v>
                </c:pt>
                <c:pt idx="118">
                  <c:v>1.32460790683133E-2</c:v>
                </c:pt>
                <c:pt idx="119">
                  <c:v>1.3172439922868101E-2</c:v>
                </c:pt>
                <c:pt idx="120">
                  <c:v>1.31756276449873E-2</c:v>
                </c:pt>
                <c:pt idx="121">
                  <c:v>1.31740827652022E-2</c:v>
                </c:pt>
                <c:pt idx="122">
                  <c:v>1.3192014747496801E-2</c:v>
                </c:pt>
                <c:pt idx="123">
                  <c:v>1.3263710798139299E-2</c:v>
                </c:pt>
                <c:pt idx="124">
                  <c:v>1.3235287784483501E-2</c:v>
                </c:pt>
                <c:pt idx="125">
                  <c:v>1.3235075677794399E-2</c:v>
                </c:pt>
                <c:pt idx="126">
                  <c:v>1.3296850410190001E-2</c:v>
                </c:pt>
                <c:pt idx="127">
                  <c:v>1.3291510544294199E-2</c:v>
                </c:pt>
                <c:pt idx="128">
                  <c:v>1.3301199927885801E-2</c:v>
                </c:pt>
                <c:pt idx="129">
                  <c:v>1.3321339702270899E-2</c:v>
                </c:pt>
                <c:pt idx="130">
                  <c:v>1.32862560689296E-2</c:v>
                </c:pt>
                <c:pt idx="131">
                  <c:v>1.3236456044921401E-2</c:v>
                </c:pt>
                <c:pt idx="132">
                  <c:v>1.32322614868443E-2</c:v>
                </c:pt>
                <c:pt idx="133">
                  <c:v>1.32139112479902E-2</c:v>
                </c:pt>
                <c:pt idx="134">
                  <c:v>1.32142436929416E-2</c:v>
                </c:pt>
                <c:pt idx="135">
                  <c:v>1.32826632113187E-2</c:v>
                </c:pt>
                <c:pt idx="136">
                  <c:v>1.3318365529728799E-2</c:v>
                </c:pt>
                <c:pt idx="137">
                  <c:v>1.33130635134447E-2</c:v>
                </c:pt>
                <c:pt idx="138">
                  <c:v>1.3289958819112701E-2</c:v>
                </c:pt>
                <c:pt idx="139">
                  <c:v>1.3150756248282E-2</c:v>
                </c:pt>
                <c:pt idx="140">
                  <c:v>1.3142557975790401E-2</c:v>
                </c:pt>
                <c:pt idx="141">
                  <c:v>1.3141719488043E-2</c:v>
                </c:pt>
                <c:pt idx="142">
                  <c:v>1.2822272456030801E-2</c:v>
                </c:pt>
                <c:pt idx="143">
                  <c:v>1.28703111795059E-2</c:v>
                </c:pt>
                <c:pt idx="144">
                  <c:v>1.2868085518595E-2</c:v>
                </c:pt>
                <c:pt idx="145">
                  <c:v>1.2832694759155799E-2</c:v>
                </c:pt>
                <c:pt idx="146">
                  <c:v>1.28444443009677E-2</c:v>
                </c:pt>
                <c:pt idx="147">
                  <c:v>1.3016769428828E-2</c:v>
                </c:pt>
                <c:pt idx="148">
                  <c:v>1.31083924928474E-2</c:v>
                </c:pt>
                <c:pt idx="149">
                  <c:v>1.31115546348133E-2</c:v>
                </c:pt>
                <c:pt idx="150">
                  <c:v>1.3112205234065699E-2</c:v>
                </c:pt>
                <c:pt idx="151">
                  <c:v>1.3101836240561099E-2</c:v>
                </c:pt>
                <c:pt idx="152">
                  <c:v>1.31107856162434E-2</c:v>
                </c:pt>
                <c:pt idx="153">
                  <c:v>1.32594675575224E-2</c:v>
                </c:pt>
                <c:pt idx="154">
                  <c:v>1.27792777605943E-2</c:v>
                </c:pt>
                <c:pt idx="155">
                  <c:v>1.3002328984375399E-2</c:v>
                </c:pt>
                <c:pt idx="156">
                  <c:v>1.30290022368538E-2</c:v>
                </c:pt>
                <c:pt idx="157">
                  <c:v>1.30117090631841E-2</c:v>
                </c:pt>
                <c:pt idx="158">
                  <c:v>1.3018265975717499E-2</c:v>
                </c:pt>
                <c:pt idx="159">
                  <c:v>1.29958213141398E-2</c:v>
                </c:pt>
                <c:pt idx="160">
                  <c:v>1.29634315469618E-2</c:v>
                </c:pt>
                <c:pt idx="161">
                  <c:v>1.30012138908569E-2</c:v>
                </c:pt>
                <c:pt idx="162">
                  <c:v>1.28716006556844E-2</c:v>
                </c:pt>
                <c:pt idx="163">
                  <c:v>1.28512002959185E-2</c:v>
                </c:pt>
                <c:pt idx="164">
                  <c:v>1.28596057362455E-2</c:v>
                </c:pt>
                <c:pt idx="165">
                  <c:v>1.24768587430124E-2</c:v>
                </c:pt>
                <c:pt idx="166">
                  <c:v>9.2951697732181499E-3</c:v>
                </c:pt>
                <c:pt idx="167">
                  <c:v>9.2966032098954696E-3</c:v>
                </c:pt>
                <c:pt idx="168">
                  <c:v>9.27472969380028E-3</c:v>
                </c:pt>
                <c:pt idx="169">
                  <c:v>9.3310306507093897E-3</c:v>
                </c:pt>
                <c:pt idx="170">
                  <c:v>9.30916235001647E-3</c:v>
                </c:pt>
                <c:pt idx="171">
                  <c:v>9.2698424362411998E-3</c:v>
                </c:pt>
                <c:pt idx="172">
                  <c:v>9.2441225806232496E-3</c:v>
                </c:pt>
                <c:pt idx="173">
                  <c:v>9.5449359902821992E-3</c:v>
                </c:pt>
                <c:pt idx="174">
                  <c:v>9.5171210555657394E-3</c:v>
                </c:pt>
                <c:pt idx="175">
                  <c:v>9.5398318056851093E-3</c:v>
                </c:pt>
                <c:pt idx="176">
                  <c:v>9.5153829702150708E-3</c:v>
                </c:pt>
                <c:pt idx="177">
                  <c:v>9.7680814183594492E-3</c:v>
                </c:pt>
                <c:pt idx="178">
                  <c:v>9.6484074451118895E-3</c:v>
                </c:pt>
                <c:pt idx="179">
                  <c:v>9.7175964910394593E-3</c:v>
                </c:pt>
                <c:pt idx="180">
                  <c:v>9.7175259715448405E-3</c:v>
                </c:pt>
                <c:pt idx="181">
                  <c:v>1.00746794856411E-2</c:v>
                </c:pt>
                <c:pt idx="182">
                  <c:v>1.0231517684815001E-2</c:v>
                </c:pt>
                <c:pt idx="183">
                  <c:v>1.02194848681097E-2</c:v>
                </c:pt>
                <c:pt idx="184">
                  <c:v>1.0216842080273901E-2</c:v>
                </c:pt>
                <c:pt idx="185">
                  <c:v>1.1376645983212801E-2</c:v>
                </c:pt>
                <c:pt idx="186">
                  <c:v>1.1302175369485801E-2</c:v>
                </c:pt>
                <c:pt idx="187">
                  <c:v>1.1404401425021599E-2</c:v>
                </c:pt>
                <c:pt idx="188">
                  <c:v>1.14084842821003E-2</c:v>
                </c:pt>
                <c:pt idx="189">
                  <c:v>1.1407607105109E-2</c:v>
                </c:pt>
                <c:pt idx="190">
                  <c:v>1.1524380546382201E-2</c:v>
                </c:pt>
                <c:pt idx="191">
                  <c:v>1.1512199468967E-2</c:v>
                </c:pt>
                <c:pt idx="192">
                  <c:v>1.15152745350994E-2</c:v>
                </c:pt>
                <c:pt idx="193">
                  <c:v>1.1607981704158599E-2</c:v>
                </c:pt>
                <c:pt idx="194">
                  <c:v>1.16796130439033E-2</c:v>
                </c:pt>
                <c:pt idx="195">
                  <c:v>1.16780546890515E-2</c:v>
                </c:pt>
                <c:pt idx="196">
                  <c:v>1.16736937323132E-2</c:v>
                </c:pt>
                <c:pt idx="197">
                  <c:v>1.16809602571941E-2</c:v>
                </c:pt>
                <c:pt idx="198">
                  <c:v>1.1718067448723E-2</c:v>
                </c:pt>
                <c:pt idx="199">
                  <c:v>1.1764889612702599E-2</c:v>
                </c:pt>
                <c:pt idx="200">
                  <c:v>1.1757775418142401E-2</c:v>
                </c:pt>
                <c:pt idx="201">
                  <c:v>1.1750616803715299E-2</c:v>
                </c:pt>
                <c:pt idx="202">
                  <c:v>1.17639230401858E-2</c:v>
                </c:pt>
                <c:pt idx="203">
                  <c:v>1.17430596954104E-2</c:v>
                </c:pt>
                <c:pt idx="204">
                  <c:v>1.17652103722026E-2</c:v>
                </c:pt>
                <c:pt idx="205">
                  <c:v>1.1746345244047701E-2</c:v>
                </c:pt>
                <c:pt idx="206">
                  <c:v>1.18691385452906E-2</c:v>
                </c:pt>
                <c:pt idx="207">
                  <c:v>1.17564757108944E-2</c:v>
                </c:pt>
                <c:pt idx="208">
                  <c:v>1.18869380316599E-2</c:v>
                </c:pt>
                <c:pt idx="209">
                  <c:v>1.18600914627475E-2</c:v>
                </c:pt>
                <c:pt idx="210">
                  <c:v>1.18613396035599E-2</c:v>
                </c:pt>
                <c:pt idx="211">
                  <c:v>1.1834991329149299E-2</c:v>
                </c:pt>
                <c:pt idx="212">
                  <c:v>1.18579112009085E-2</c:v>
                </c:pt>
                <c:pt idx="213">
                  <c:v>1.18579136817165E-2</c:v>
                </c:pt>
                <c:pt idx="214">
                  <c:v>1.1856816157918599E-2</c:v>
                </c:pt>
                <c:pt idx="215">
                  <c:v>1.19059059760988E-2</c:v>
                </c:pt>
                <c:pt idx="216">
                  <c:v>1.19063749834218E-2</c:v>
                </c:pt>
                <c:pt idx="217">
                  <c:v>1.1991270461513499E-2</c:v>
                </c:pt>
                <c:pt idx="218">
                  <c:v>1.19841325673296E-2</c:v>
                </c:pt>
                <c:pt idx="219">
                  <c:v>1.1944969079246999E-2</c:v>
                </c:pt>
                <c:pt idx="220">
                  <c:v>1.19477054727274E-2</c:v>
                </c:pt>
                <c:pt idx="221">
                  <c:v>1.19316971124248E-2</c:v>
                </c:pt>
                <c:pt idx="222">
                  <c:v>1.19325093720942E-2</c:v>
                </c:pt>
                <c:pt idx="223">
                  <c:v>1.19341475215709E-2</c:v>
                </c:pt>
                <c:pt idx="224">
                  <c:v>1.19446753457472E-2</c:v>
                </c:pt>
                <c:pt idx="225">
                  <c:v>1.19471871557055E-2</c:v>
                </c:pt>
                <c:pt idx="226">
                  <c:v>1.19090385273024E-2</c:v>
                </c:pt>
                <c:pt idx="227">
                  <c:v>1.1909918294430199E-2</c:v>
                </c:pt>
                <c:pt idx="228">
                  <c:v>1.19256343520402E-2</c:v>
                </c:pt>
                <c:pt idx="229">
                  <c:v>1.17953713546755E-2</c:v>
                </c:pt>
                <c:pt idx="230">
                  <c:v>1.2004780804073901E-2</c:v>
                </c:pt>
                <c:pt idx="231">
                  <c:v>1.2005171852447399E-2</c:v>
                </c:pt>
                <c:pt idx="232">
                  <c:v>1.20667839163216E-2</c:v>
                </c:pt>
                <c:pt idx="233">
                  <c:v>1.2085675467217999E-2</c:v>
                </c:pt>
                <c:pt idx="234">
                  <c:v>1.2073951157448E-2</c:v>
                </c:pt>
                <c:pt idx="235">
                  <c:v>1.2080116734278E-2</c:v>
                </c:pt>
                <c:pt idx="236">
                  <c:v>1.2066210857852699E-2</c:v>
                </c:pt>
                <c:pt idx="237">
                  <c:v>1.1934214484590399E-2</c:v>
                </c:pt>
                <c:pt idx="238">
                  <c:v>1.19301585429316E-2</c:v>
                </c:pt>
                <c:pt idx="239">
                  <c:v>1.2033070494194401E-2</c:v>
                </c:pt>
                <c:pt idx="240">
                  <c:v>1.20561814630684E-2</c:v>
                </c:pt>
                <c:pt idx="241">
                  <c:v>1.21336700631115E-2</c:v>
                </c:pt>
                <c:pt idx="242">
                  <c:v>1.23177648621897E-2</c:v>
                </c:pt>
                <c:pt idx="243">
                  <c:v>1.22484206437101E-2</c:v>
                </c:pt>
                <c:pt idx="244">
                  <c:v>1.2281677109991999E-2</c:v>
                </c:pt>
                <c:pt idx="245">
                  <c:v>1.2281310062591699E-2</c:v>
                </c:pt>
                <c:pt idx="246">
                  <c:v>1.22304382173957E-2</c:v>
                </c:pt>
                <c:pt idx="247">
                  <c:v>1.23704342626034E-2</c:v>
                </c:pt>
                <c:pt idx="248">
                  <c:v>1.2342738442366901E-2</c:v>
                </c:pt>
                <c:pt idx="249">
                  <c:v>1.24067018237376E-2</c:v>
                </c:pt>
                <c:pt idx="250">
                  <c:v>1.26385131931687E-2</c:v>
                </c:pt>
                <c:pt idx="251">
                  <c:v>1.2665713923683E-2</c:v>
                </c:pt>
                <c:pt idx="252">
                  <c:v>1.31090644417257E-2</c:v>
                </c:pt>
                <c:pt idx="253">
                  <c:v>1.31857512489273E-2</c:v>
                </c:pt>
                <c:pt idx="254">
                  <c:v>1.31988768167817E-2</c:v>
                </c:pt>
                <c:pt idx="255">
                  <c:v>1.3150815616576699E-2</c:v>
                </c:pt>
                <c:pt idx="256">
                  <c:v>1.3328256642601399E-2</c:v>
                </c:pt>
                <c:pt idx="257">
                  <c:v>1.3473038880084E-2</c:v>
                </c:pt>
                <c:pt idx="258">
                  <c:v>1.36525281276504E-2</c:v>
                </c:pt>
                <c:pt idx="259">
                  <c:v>1.35058232990955E-2</c:v>
                </c:pt>
                <c:pt idx="260">
                  <c:v>1.34594515686041E-2</c:v>
                </c:pt>
                <c:pt idx="261">
                  <c:v>1.34347563064221E-2</c:v>
                </c:pt>
                <c:pt idx="262">
                  <c:v>1.34308077776834E-2</c:v>
                </c:pt>
                <c:pt idx="263">
                  <c:v>1.33339323105194E-2</c:v>
                </c:pt>
                <c:pt idx="264">
                  <c:v>1.3362384019308201E-2</c:v>
                </c:pt>
                <c:pt idx="265">
                  <c:v>1.3336957678262901E-2</c:v>
                </c:pt>
                <c:pt idx="266">
                  <c:v>1.33261589204938E-2</c:v>
                </c:pt>
                <c:pt idx="267">
                  <c:v>1.31909510342792E-2</c:v>
                </c:pt>
                <c:pt idx="268">
                  <c:v>1.30071992329183E-2</c:v>
                </c:pt>
                <c:pt idx="269">
                  <c:v>1.3010733567120099E-2</c:v>
                </c:pt>
                <c:pt idx="270">
                  <c:v>1.30078121791256E-2</c:v>
                </c:pt>
                <c:pt idx="271">
                  <c:v>1.2918229755617501E-2</c:v>
                </c:pt>
                <c:pt idx="272">
                  <c:v>1.2923574409167001E-2</c:v>
                </c:pt>
                <c:pt idx="273">
                  <c:v>1.27539639561421E-2</c:v>
                </c:pt>
                <c:pt idx="274">
                  <c:v>1.2781129005707799E-2</c:v>
                </c:pt>
                <c:pt idx="275">
                  <c:v>1.2555131587959199E-2</c:v>
                </c:pt>
                <c:pt idx="276">
                  <c:v>1.25321224296772E-2</c:v>
                </c:pt>
                <c:pt idx="277">
                  <c:v>1.2625375361574801E-2</c:v>
                </c:pt>
                <c:pt idx="278">
                  <c:v>1.2612690080687499E-2</c:v>
                </c:pt>
                <c:pt idx="279">
                  <c:v>1.26138246483899E-2</c:v>
                </c:pt>
                <c:pt idx="280">
                  <c:v>1.2613369653612899E-2</c:v>
                </c:pt>
                <c:pt idx="281">
                  <c:v>1.2565905082963499E-2</c:v>
                </c:pt>
                <c:pt idx="282">
                  <c:v>1.25567632747007E-2</c:v>
                </c:pt>
                <c:pt idx="283">
                  <c:v>1.2596038953055499E-2</c:v>
                </c:pt>
                <c:pt idx="284">
                  <c:v>1.2597077286745299E-2</c:v>
                </c:pt>
                <c:pt idx="285">
                  <c:v>1.2618085768549199E-2</c:v>
                </c:pt>
                <c:pt idx="286">
                  <c:v>1.2609054263992E-2</c:v>
                </c:pt>
                <c:pt idx="287">
                  <c:v>1.2620474958545101E-2</c:v>
                </c:pt>
                <c:pt idx="288">
                  <c:v>1.2647299147423401E-2</c:v>
                </c:pt>
                <c:pt idx="289">
                  <c:v>1.26877965291058E-2</c:v>
                </c:pt>
                <c:pt idx="290">
                  <c:v>1.26971697686083E-2</c:v>
                </c:pt>
                <c:pt idx="291">
                  <c:v>1.2697009962212799E-2</c:v>
                </c:pt>
                <c:pt idx="292">
                  <c:v>1.27122424705808E-2</c:v>
                </c:pt>
                <c:pt idx="293">
                  <c:v>1.2438714526957001E-2</c:v>
                </c:pt>
                <c:pt idx="294">
                  <c:v>1.2439761666732401E-2</c:v>
                </c:pt>
                <c:pt idx="295">
                  <c:v>1.2399076156519201E-2</c:v>
                </c:pt>
                <c:pt idx="296">
                  <c:v>1.2397756668441499E-2</c:v>
                </c:pt>
                <c:pt idx="297">
                  <c:v>1.21611297659855E-2</c:v>
                </c:pt>
                <c:pt idx="298">
                  <c:v>1.2291874247307599E-2</c:v>
                </c:pt>
                <c:pt idx="299">
                  <c:v>1.22651886083205E-2</c:v>
                </c:pt>
                <c:pt idx="300">
                  <c:v>1.2267902794361201E-2</c:v>
                </c:pt>
                <c:pt idx="301">
                  <c:v>1.20269094434806E-2</c:v>
                </c:pt>
                <c:pt idx="302">
                  <c:v>1.19275549428665E-2</c:v>
                </c:pt>
                <c:pt idx="303">
                  <c:v>1.1904848512350101E-2</c:v>
                </c:pt>
                <c:pt idx="304">
                  <c:v>1.20908593510951E-2</c:v>
                </c:pt>
                <c:pt idx="305">
                  <c:v>1.11085165415919E-2</c:v>
                </c:pt>
                <c:pt idx="306">
                  <c:v>1.1091572581808399E-2</c:v>
                </c:pt>
                <c:pt idx="307">
                  <c:v>1.10074974343435E-2</c:v>
                </c:pt>
                <c:pt idx="308">
                  <c:v>1.1017681217826199E-2</c:v>
                </c:pt>
                <c:pt idx="309">
                  <c:v>1.1054716098101399E-2</c:v>
                </c:pt>
                <c:pt idx="310">
                  <c:v>1.09207368640972E-2</c:v>
                </c:pt>
                <c:pt idx="311">
                  <c:v>1.0929653652922099E-2</c:v>
                </c:pt>
                <c:pt idx="312">
                  <c:v>1.0915203913646599E-2</c:v>
                </c:pt>
                <c:pt idx="313">
                  <c:v>1.08072058500996E-2</c:v>
                </c:pt>
                <c:pt idx="314">
                  <c:v>1.0745335823942199E-2</c:v>
                </c:pt>
                <c:pt idx="315">
                  <c:v>1.07898121269319E-2</c:v>
                </c:pt>
                <c:pt idx="316">
                  <c:v>1.0790175763077E-2</c:v>
                </c:pt>
                <c:pt idx="317">
                  <c:v>1.07180322487965E-2</c:v>
                </c:pt>
                <c:pt idx="318">
                  <c:v>1.06876405835964E-2</c:v>
                </c:pt>
                <c:pt idx="319">
                  <c:v>1.06984621101948E-2</c:v>
                </c:pt>
                <c:pt idx="320">
                  <c:v>1.0693002500232199E-2</c:v>
                </c:pt>
                <c:pt idx="321">
                  <c:v>1.0690259704194899E-2</c:v>
                </c:pt>
                <c:pt idx="322">
                  <c:v>1.0730657306418E-2</c:v>
                </c:pt>
                <c:pt idx="323">
                  <c:v>1.07451062320769E-2</c:v>
                </c:pt>
                <c:pt idx="324">
                  <c:v>1.07093896930705E-2</c:v>
                </c:pt>
                <c:pt idx="325">
                  <c:v>1.07117293102926E-2</c:v>
                </c:pt>
                <c:pt idx="326">
                  <c:v>1.05649768533545E-2</c:v>
                </c:pt>
                <c:pt idx="327">
                  <c:v>1.0574569361269799E-2</c:v>
                </c:pt>
                <c:pt idx="328">
                  <c:v>1.04421252308674E-2</c:v>
                </c:pt>
                <c:pt idx="329">
                  <c:v>1.0444686445456699E-2</c:v>
                </c:pt>
                <c:pt idx="330">
                  <c:v>1.0499308668190601E-2</c:v>
                </c:pt>
                <c:pt idx="331">
                  <c:v>1.0500417979205701E-2</c:v>
                </c:pt>
                <c:pt idx="332">
                  <c:v>1.0474151719692799E-2</c:v>
                </c:pt>
                <c:pt idx="333">
                  <c:v>1.04956586213764E-2</c:v>
                </c:pt>
                <c:pt idx="334">
                  <c:v>1.05177078831321E-2</c:v>
                </c:pt>
                <c:pt idx="335">
                  <c:v>1.0583404701594201E-2</c:v>
                </c:pt>
                <c:pt idx="336">
                  <c:v>1.05813860978471E-2</c:v>
                </c:pt>
                <c:pt idx="337">
                  <c:v>1.04609051790913E-2</c:v>
                </c:pt>
                <c:pt idx="338">
                  <c:v>1.04620692334532E-2</c:v>
                </c:pt>
                <c:pt idx="339">
                  <c:v>1.05016032340729E-2</c:v>
                </c:pt>
                <c:pt idx="340">
                  <c:v>1.04970203933749E-2</c:v>
                </c:pt>
                <c:pt idx="341">
                  <c:v>1.05049105956419E-2</c:v>
                </c:pt>
                <c:pt idx="342">
                  <c:v>1.0508823806126701E-2</c:v>
                </c:pt>
                <c:pt idx="343">
                  <c:v>1.0500501743769401E-2</c:v>
                </c:pt>
                <c:pt idx="344">
                  <c:v>1.05353377058087E-2</c:v>
                </c:pt>
                <c:pt idx="345">
                  <c:v>1.05705927228709E-2</c:v>
                </c:pt>
                <c:pt idx="346">
                  <c:v>1.05603958406038E-2</c:v>
                </c:pt>
                <c:pt idx="347">
                  <c:v>1.0602678507855999E-2</c:v>
                </c:pt>
                <c:pt idx="348">
                  <c:v>1.0567043019192699E-2</c:v>
                </c:pt>
                <c:pt idx="349">
                  <c:v>1.0561296722776999E-2</c:v>
                </c:pt>
                <c:pt idx="350">
                  <c:v>1.0313601932098499E-2</c:v>
                </c:pt>
                <c:pt idx="351">
                  <c:v>1.03264226393842E-2</c:v>
                </c:pt>
                <c:pt idx="352">
                  <c:v>1.0255170864956E-2</c:v>
                </c:pt>
                <c:pt idx="353">
                  <c:v>1.0287084551200599E-2</c:v>
                </c:pt>
                <c:pt idx="354">
                  <c:v>1.02940116470563E-2</c:v>
                </c:pt>
                <c:pt idx="355">
                  <c:v>1.0344402661860701E-2</c:v>
                </c:pt>
                <c:pt idx="356">
                  <c:v>1.0363648392301099E-2</c:v>
                </c:pt>
                <c:pt idx="357">
                  <c:v>1.03647770281389E-2</c:v>
                </c:pt>
                <c:pt idx="358">
                  <c:v>1.0360443377839101E-2</c:v>
                </c:pt>
                <c:pt idx="359">
                  <c:v>1.04604919440353E-2</c:v>
                </c:pt>
                <c:pt idx="360">
                  <c:v>1.04193462833761E-2</c:v>
                </c:pt>
                <c:pt idx="361">
                  <c:v>1.03324230588537E-2</c:v>
                </c:pt>
                <c:pt idx="362">
                  <c:v>1.0067163775521399E-2</c:v>
                </c:pt>
                <c:pt idx="363">
                  <c:v>1.0087152639001E-2</c:v>
                </c:pt>
                <c:pt idx="364">
                  <c:v>1.00635930989785E-2</c:v>
                </c:pt>
                <c:pt idx="365">
                  <c:v>1.0070132080635501E-2</c:v>
                </c:pt>
                <c:pt idx="366">
                  <c:v>1.00725647663447E-2</c:v>
                </c:pt>
                <c:pt idx="367">
                  <c:v>1.0200089478481E-2</c:v>
                </c:pt>
                <c:pt idx="368">
                  <c:v>1.0220313965065401E-2</c:v>
                </c:pt>
                <c:pt idx="369">
                  <c:v>1.01245342499153E-2</c:v>
                </c:pt>
                <c:pt idx="370">
                  <c:v>9.82037966208287E-3</c:v>
                </c:pt>
                <c:pt idx="371">
                  <c:v>9.7742507554505996E-3</c:v>
                </c:pt>
                <c:pt idx="372">
                  <c:v>9.1622595468237207E-3</c:v>
                </c:pt>
                <c:pt idx="373">
                  <c:v>9.1135472483915604E-3</c:v>
                </c:pt>
                <c:pt idx="374">
                  <c:v>9.0876273114484808E-3</c:v>
                </c:pt>
                <c:pt idx="375">
                  <c:v>9.1024812769474901E-3</c:v>
                </c:pt>
                <c:pt idx="376">
                  <c:v>8.9313857822480407E-3</c:v>
                </c:pt>
                <c:pt idx="377">
                  <c:v>8.7056350474117306E-3</c:v>
                </c:pt>
                <c:pt idx="378">
                  <c:v>8.5396032903770295E-3</c:v>
                </c:pt>
                <c:pt idx="379">
                  <c:v>8.6143254993924102E-3</c:v>
                </c:pt>
                <c:pt idx="380">
                  <c:v>8.6237504567043908E-3</c:v>
                </c:pt>
                <c:pt idx="381">
                  <c:v>8.5733777908704699E-3</c:v>
                </c:pt>
                <c:pt idx="382">
                  <c:v>8.7083516898765201E-3</c:v>
                </c:pt>
                <c:pt idx="383">
                  <c:v>8.6631715748451306E-3</c:v>
                </c:pt>
                <c:pt idx="384">
                  <c:v>8.6354393570802299E-3</c:v>
                </c:pt>
                <c:pt idx="385">
                  <c:v>8.6043395464707705E-3</c:v>
                </c:pt>
                <c:pt idx="386">
                  <c:v>8.6755405550958294E-3</c:v>
                </c:pt>
                <c:pt idx="387">
                  <c:v>8.75639311163455E-3</c:v>
                </c:pt>
                <c:pt idx="388">
                  <c:v>9.05730439357765E-3</c:v>
                </c:pt>
                <c:pt idx="389">
                  <c:v>9.0967389509107096E-3</c:v>
                </c:pt>
                <c:pt idx="390">
                  <c:v>9.4911627510626193E-3</c:v>
                </c:pt>
                <c:pt idx="391">
                  <c:v>9.4509368731551698E-3</c:v>
                </c:pt>
                <c:pt idx="392">
                  <c:v>9.4202030340284799E-3</c:v>
                </c:pt>
                <c:pt idx="393">
                  <c:v>9.4660269233860193E-3</c:v>
                </c:pt>
                <c:pt idx="394">
                  <c:v>9.4144304514789893E-3</c:v>
                </c:pt>
                <c:pt idx="395">
                  <c:v>9.6034275833145003E-3</c:v>
                </c:pt>
                <c:pt idx="396">
                  <c:v>9.5878923112660396E-3</c:v>
                </c:pt>
                <c:pt idx="397">
                  <c:v>9.4477390970899508E-3</c:v>
                </c:pt>
                <c:pt idx="398">
                  <c:v>9.4592892258656899E-3</c:v>
                </c:pt>
                <c:pt idx="399">
                  <c:v>9.4538310107122204E-3</c:v>
                </c:pt>
                <c:pt idx="400">
                  <c:v>9.4936336642674791E-3</c:v>
                </c:pt>
                <c:pt idx="401">
                  <c:v>9.5003150099131004E-3</c:v>
                </c:pt>
                <c:pt idx="402">
                  <c:v>9.5824701883315804E-3</c:v>
                </c:pt>
                <c:pt idx="403">
                  <c:v>9.5400825349612993E-3</c:v>
                </c:pt>
                <c:pt idx="404">
                  <c:v>9.5201634338412094E-3</c:v>
                </c:pt>
                <c:pt idx="405">
                  <c:v>9.4780961583507493E-3</c:v>
                </c:pt>
                <c:pt idx="406">
                  <c:v>9.4853077774327398E-3</c:v>
                </c:pt>
                <c:pt idx="407">
                  <c:v>9.48971982540525E-3</c:v>
                </c:pt>
                <c:pt idx="408">
                  <c:v>9.4515956232690598E-3</c:v>
                </c:pt>
                <c:pt idx="409">
                  <c:v>9.3921804103068093E-3</c:v>
                </c:pt>
                <c:pt idx="410">
                  <c:v>9.7081137616100294E-3</c:v>
                </c:pt>
                <c:pt idx="411">
                  <c:v>9.71798771851912E-3</c:v>
                </c:pt>
                <c:pt idx="412">
                  <c:v>9.7083630392519795E-3</c:v>
                </c:pt>
                <c:pt idx="413">
                  <c:v>9.7079587578626399E-3</c:v>
                </c:pt>
                <c:pt idx="414">
                  <c:v>9.7077016263130492E-3</c:v>
                </c:pt>
                <c:pt idx="415">
                  <c:v>9.7305513306401008E-3</c:v>
                </c:pt>
                <c:pt idx="416">
                  <c:v>9.73191284317825E-3</c:v>
                </c:pt>
                <c:pt idx="417">
                  <c:v>9.7585123825757996E-3</c:v>
                </c:pt>
                <c:pt idx="418">
                  <c:v>9.5947884170849394E-3</c:v>
                </c:pt>
                <c:pt idx="419">
                  <c:v>9.9695659285067902E-3</c:v>
                </c:pt>
                <c:pt idx="420">
                  <c:v>9.9947056176949694E-3</c:v>
                </c:pt>
                <c:pt idx="421">
                  <c:v>1.0052106122369901E-2</c:v>
                </c:pt>
                <c:pt idx="422">
                  <c:v>1.01266580211779E-2</c:v>
                </c:pt>
                <c:pt idx="423">
                  <c:v>1.0186333641668099E-2</c:v>
                </c:pt>
                <c:pt idx="424">
                  <c:v>1.0178672734013801E-2</c:v>
                </c:pt>
                <c:pt idx="425">
                  <c:v>1.0153247596573E-2</c:v>
                </c:pt>
                <c:pt idx="426">
                  <c:v>1.02124667868198E-2</c:v>
                </c:pt>
                <c:pt idx="427">
                  <c:v>1.0214016213185999E-2</c:v>
                </c:pt>
                <c:pt idx="428">
                  <c:v>1.02199213622264E-2</c:v>
                </c:pt>
                <c:pt idx="429">
                  <c:v>1.0351329815626E-2</c:v>
                </c:pt>
                <c:pt idx="430">
                  <c:v>1.05752106982456E-2</c:v>
                </c:pt>
                <c:pt idx="431">
                  <c:v>1.0716144392275201E-2</c:v>
                </c:pt>
                <c:pt idx="432">
                  <c:v>1.0753585118278799E-2</c:v>
                </c:pt>
                <c:pt idx="433">
                  <c:v>1.09108608333059E-2</c:v>
                </c:pt>
                <c:pt idx="434">
                  <c:v>1.09124374571617E-2</c:v>
                </c:pt>
                <c:pt idx="435">
                  <c:v>1.0882655378302601E-2</c:v>
                </c:pt>
                <c:pt idx="436">
                  <c:v>1.09700705088366E-2</c:v>
                </c:pt>
                <c:pt idx="437">
                  <c:v>1.09671140816705E-2</c:v>
                </c:pt>
                <c:pt idx="438">
                  <c:v>1.0985238841843501E-2</c:v>
                </c:pt>
                <c:pt idx="439">
                  <c:v>1.09429272488599E-2</c:v>
                </c:pt>
                <c:pt idx="440">
                  <c:v>1.09445577732122E-2</c:v>
                </c:pt>
                <c:pt idx="441">
                  <c:v>1.1126087190575E-2</c:v>
                </c:pt>
                <c:pt idx="442">
                  <c:v>1.1062659582596401E-2</c:v>
                </c:pt>
                <c:pt idx="443">
                  <c:v>1.1060323317208401E-2</c:v>
                </c:pt>
                <c:pt idx="444">
                  <c:v>1.1067132376756701E-2</c:v>
                </c:pt>
                <c:pt idx="445">
                  <c:v>1.1063388696822199E-2</c:v>
                </c:pt>
                <c:pt idx="446">
                  <c:v>1.1284136448655601E-2</c:v>
                </c:pt>
                <c:pt idx="447">
                  <c:v>1.12744090831054E-2</c:v>
                </c:pt>
                <c:pt idx="448">
                  <c:v>1.1436023626126401E-2</c:v>
                </c:pt>
                <c:pt idx="449">
                  <c:v>1.1436824640521899E-2</c:v>
                </c:pt>
                <c:pt idx="450">
                  <c:v>1.1416704358849301E-2</c:v>
                </c:pt>
                <c:pt idx="451">
                  <c:v>1.14538293387482E-2</c:v>
                </c:pt>
                <c:pt idx="452">
                  <c:v>1.1458060544357799E-2</c:v>
                </c:pt>
                <c:pt idx="453">
                  <c:v>1.15403215851646E-2</c:v>
                </c:pt>
                <c:pt idx="454">
                  <c:v>1.1534156861115301E-2</c:v>
                </c:pt>
                <c:pt idx="455">
                  <c:v>1.1448724801312E-2</c:v>
                </c:pt>
                <c:pt idx="456">
                  <c:v>1.15809147582779E-2</c:v>
                </c:pt>
                <c:pt idx="457">
                  <c:v>1.1584528892540099E-2</c:v>
                </c:pt>
                <c:pt idx="458">
                  <c:v>1.17614497903117E-2</c:v>
                </c:pt>
                <c:pt idx="459">
                  <c:v>1.17385607680327E-2</c:v>
                </c:pt>
                <c:pt idx="460">
                  <c:v>1.1724441926640501E-2</c:v>
                </c:pt>
                <c:pt idx="461">
                  <c:v>1.1873436614521201E-2</c:v>
                </c:pt>
                <c:pt idx="462">
                  <c:v>1.18745656320902E-2</c:v>
                </c:pt>
                <c:pt idx="463">
                  <c:v>1.18744825586172E-2</c:v>
                </c:pt>
                <c:pt idx="464">
                  <c:v>1.1963236873997999E-2</c:v>
                </c:pt>
                <c:pt idx="465">
                  <c:v>1.19841867607878E-2</c:v>
                </c:pt>
                <c:pt idx="466">
                  <c:v>1.19787051923983E-2</c:v>
                </c:pt>
                <c:pt idx="467">
                  <c:v>1.19521901230644E-2</c:v>
                </c:pt>
                <c:pt idx="468">
                  <c:v>1.1959250917881499E-2</c:v>
                </c:pt>
                <c:pt idx="469">
                  <c:v>1.19596733748329E-2</c:v>
                </c:pt>
                <c:pt idx="470">
                  <c:v>1.19334645910695E-2</c:v>
                </c:pt>
                <c:pt idx="471">
                  <c:v>1.198126872112E-2</c:v>
                </c:pt>
                <c:pt idx="472">
                  <c:v>1.19811941531889E-2</c:v>
                </c:pt>
                <c:pt idx="473">
                  <c:v>1.19373603256143E-2</c:v>
                </c:pt>
                <c:pt idx="474">
                  <c:v>1.19384853480165E-2</c:v>
                </c:pt>
                <c:pt idx="475">
                  <c:v>1.1867569112176599E-2</c:v>
                </c:pt>
                <c:pt idx="476">
                  <c:v>1.18550349383016E-2</c:v>
                </c:pt>
                <c:pt idx="477">
                  <c:v>1.18600644812218E-2</c:v>
                </c:pt>
                <c:pt idx="478">
                  <c:v>1.1857470903854901E-2</c:v>
                </c:pt>
                <c:pt idx="479">
                  <c:v>1.17038475945789E-2</c:v>
                </c:pt>
                <c:pt idx="480">
                  <c:v>1.1917766358328301E-2</c:v>
                </c:pt>
                <c:pt idx="481">
                  <c:v>1.18952685011287E-2</c:v>
                </c:pt>
                <c:pt idx="482">
                  <c:v>1.1920099483724401E-2</c:v>
                </c:pt>
                <c:pt idx="483">
                  <c:v>1.19567017427909E-2</c:v>
                </c:pt>
                <c:pt idx="484">
                  <c:v>1.2000458641315499E-2</c:v>
                </c:pt>
                <c:pt idx="485">
                  <c:v>1.1998244985985101E-2</c:v>
                </c:pt>
                <c:pt idx="486">
                  <c:v>1.2083391227800101E-2</c:v>
                </c:pt>
                <c:pt idx="487">
                  <c:v>1.19183247887387E-2</c:v>
                </c:pt>
                <c:pt idx="488">
                  <c:v>1.1924210612400401E-2</c:v>
                </c:pt>
                <c:pt idx="489">
                  <c:v>1.1924079892097801E-2</c:v>
                </c:pt>
                <c:pt idx="490">
                  <c:v>1.19904436811247E-2</c:v>
                </c:pt>
                <c:pt idx="491">
                  <c:v>1.19903158066339E-2</c:v>
                </c:pt>
                <c:pt idx="492">
                  <c:v>1.20116280725776E-2</c:v>
                </c:pt>
                <c:pt idx="493">
                  <c:v>1.19724771165814E-2</c:v>
                </c:pt>
                <c:pt idx="494">
                  <c:v>1.2120852983712301E-2</c:v>
                </c:pt>
                <c:pt idx="495">
                  <c:v>1.20935842444241E-2</c:v>
                </c:pt>
                <c:pt idx="496">
                  <c:v>1.2240729732851299E-2</c:v>
                </c:pt>
                <c:pt idx="497">
                  <c:v>1.22354030582035E-2</c:v>
                </c:pt>
                <c:pt idx="498">
                  <c:v>1.2280617985364801E-2</c:v>
                </c:pt>
                <c:pt idx="499">
                  <c:v>1.2217923427808801E-2</c:v>
                </c:pt>
                <c:pt idx="500">
                  <c:v>1.23985753917282E-2</c:v>
                </c:pt>
                <c:pt idx="501">
                  <c:v>1.2437438757451701E-2</c:v>
                </c:pt>
                <c:pt idx="502">
                  <c:v>1.2363510603099899E-2</c:v>
                </c:pt>
                <c:pt idx="503">
                  <c:v>1.2363171249729099E-2</c:v>
                </c:pt>
                <c:pt idx="504">
                  <c:v>1.2365740327759001E-2</c:v>
                </c:pt>
                <c:pt idx="505">
                  <c:v>1.23689736517179E-2</c:v>
                </c:pt>
                <c:pt idx="506">
                  <c:v>1.2317482881767599E-2</c:v>
                </c:pt>
                <c:pt idx="507">
                  <c:v>1.23797236158028E-2</c:v>
                </c:pt>
                <c:pt idx="508">
                  <c:v>1.21273093157729E-2</c:v>
                </c:pt>
                <c:pt idx="509">
                  <c:v>1.22229421151108E-2</c:v>
                </c:pt>
                <c:pt idx="510">
                  <c:v>1.19670640832506E-2</c:v>
                </c:pt>
                <c:pt idx="511">
                  <c:v>1.19690429956837E-2</c:v>
                </c:pt>
                <c:pt idx="512">
                  <c:v>1.20327095833871E-2</c:v>
                </c:pt>
                <c:pt idx="513">
                  <c:v>1.1966426995809E-2</c:v>
                </c:pt>
                <c:pt idx="514">
                  <c:v>1.20418846876079E-2</c:v>
                </c:pt>
                <c:pt idx="515">
                  <c:v>1.18746863166472E-2</c:v>
                </c:pt>
                <c:pt idx="516">
                  <c:v>1.1944417629982201E-2</c:v>
                </c:pt>
                <c:pt idx="517">
                  <c:v>1.2005226542397201E-2</c:v>
                </c:pt>
                <c:pt idx="518">
                  <c:v>1.21291484337589E-2</c:v>
                </c:pt>
                <c:pt idx="519">
                  <c:v>1.2129851348021499E-2</c:v>
                </c:pt>
                <c:pt idx="520">
                  <c:v>1.2093991142624799E-2</c:v>
                </c:pt>
                <c:pt idx="521">
                  <c:v>1.2254053434911399E-2</c:v>
                </c:pt>
                <c:pt idx="522">
                  <c:v>1.22992460833828E-2</c:v>
                </c:pt>
                <c:pt idx="523">
                  <c:v>1.23106020840587E-2</c:v>
                </c:pt>
                <c:pt idx="524">
                  <c:v>1.2465484066172599E-2</c:v>
                </c:pt>
                <c:pt idx="525">
                  <c:v>1.2507027597222799E-2</c:v>
                </c:pt>
                <c:pt idx="526">
                  <c:v>1.2511220030623601E-2</c:v>
                </c:pt>
                <c:pt idx="527">
                  <c:v>1.2526413336765499E-2</c:v>
                </c:pt>
                <c:pt idx="528">
                  <c:v>1.2543864253718199E-2</c:v>
                </c:pt>
                <c:pt idx="529">
                  <c:v>1.2549939183432999E-2</c:v>
                </c:pt>
                <c:pt idx="530">
                  <c:v>1.2377021700686301E-2</c:v>
                </c:pt>
                <c:pt idx="531">
                  <c:v>1.24050041225592E-2</c:v>
                </c:pt>
                <c:pt idx="532">
                  <c:v>1.24451820987025E-2</c:v>
                </c:pt>
                <c:pt idx="533">
                  <c:v>1.2451709413745699E-2</c:v>
                </c:pt>
                <c:pt idx="534">
                  <c:v>1.27879199970362E-2</c:v>
                </c:pt>
                <c:pt idx="535">
                  <c:v>1.27744324207192E-2</c:v>
                </c:pt>
                <c:pt idx="536">
                  <c:v>1.2758837921133101E-2</c:v>
                </c:pt>
                <c:pt idx="537">
                  <c:v>1.27358320552763E-2</c:v>
                </c:pt>
                <c:pt idx="538">
                  <c:v>1.27365324290754E-2</c:v>
                </c:pt>
                <c:pt idx="539">
                  <c:v>1.24365095551654E-2</c:v>
                </c:pt>
                <c:pt idx="540">
                  <c:v>1.24127955164616E-2</c:v>
                </c:pt>
                <c:pt idx="541">
                  <c:v>1.2496220488814399E-2</c:v>
                </c:pt>
                <c:pt idx="542">
                  <c:v>1.24224880515919E-2</c:v>
                </c:pt>
                <c:pt idx="543">
                  <c:v>1.23708482845807E-2</c:v>
                </c:pt>
                <c:pt idx="544">
                  <c:v>1.2263179500152099E-2</c:v>
                </c:pt>
                <c:pt idx="545">
                  <c:v>1.25097157618801E-2</c:v>
                </c:pt>
                <c:pt idx="546">
                  <c:v>1.24727268623516E-2</c:v>
                </c:pt>
                <c:pt idx="547">
                  <c:v>1.24855435087898E-2</c:v>
                </c:pt>
                <c:pt idx="548">
                  <c:v>1.2455939942113E-2</c:v>
                </c:pt>
                <c:pt idx="549">
                  <c:v>1.24734639522771E-2</c:v>
                </c:pt>
                <c:pt idx="550">
                  <c:v>1.23134400630376E-2</c:v>
                </c:pt>
                <c:pt idx="551">
                  <c:v>1.2202770876026E-2</c:v>
                </c:pt>
                <c:pt idx="552">
                  <c:v>1.21540822306903E-2</c:v>
                </c:pt>
                <c:pt idx="553">
                  <c:v>1.19953540922991E-2</c:v>
                </c:pt>
                <c:pt idx="554">
                  <c:v>1.20646414297863E-2</c:v>
                </c:pt>
                <c:pt idx="555">
                  <c:v>1.21145035253625E-2</c:v>
                </c:pt>
                <c:pt idx="556">
                  <c:v>1.20152497612535E-2</c:v>
                </c:pt>
                <c:pt idx="557">
                  <c:v>1.20205297627912E-2</c:v>
                </c:pt>
                <c:pt idx="558">
                  <c:v>1.23123985982644E-2</c:v>
                </c:pt>
                <c:pt idx="559">
                  <c:v>1.2350617337843799E-2</c:v>
                </c:pt>
                <c:pt idx="560">
                  <c:v>1.2350961615391599E-2</c:v>
                </c:pt>
                <c:pt idx="561">
                  <c:v>1.21580920884837E-2</c:v>
                </c:pt>
                <c:pt idx="562">
                  <c:v>1.21558703746317E-2</c:v>
                </c:pt>
                <c:pt idx="563">
                  <c:v>1.21528928505028E-2</c:v>
                </c:pt>
                <c:pt idx="564">
                  <c:v>1.2175763735782E-2</c:v>
                </c:pt>
                <c:pt idx="565">
                  <c:v>1.2170706976628601E-2</c:v>
                </c:pt>
                <c:pt idx="566">
                  <c:v>1.20327833552473E-2</c:v>
                </c:pt>
                <c:pt idx="567">
                  <c:v>1.2047850005696401E-2</c:v>
                </c:pt>
                <c:pt idx="568">
                  <c:v>1.19331539770554E-2</c:v>
                </c:pt>
                <c:pt idx="569">
                  <c:v>1.19525518352122E-2</c:v>
                </c:pt>
                <c:pt idx="570">
                  <c:v>1.18894687690549E-2</c:v>
                </c:pt>
                <c:pt idx="571">
                  <c:v>1.1863208743352199E-2</c:v>
                </c:pt>
                <c:pt idx="572">
                  <c:v>1.19298957944416E-2</c:v>
                </c:pt>
                <c:pt idx="573">
                  <c:v>1.18596136466894E-2</c:v>
                </c:pt>
                <c:pt idx="574">
                  <c:v>1.1836090612753401E-2</c:v>
                </c:pt>
                <c:pt idx="575">
                  <c:v>1.1860282519240799E-2</c:v>
                </c:pt>
                <c:pt idx="576">
                  <c:v>1.1765797928164901E-2</c:v>
                </c:pt>
                <c:pt idx="577">
                  <c:v>1.18904615393468E-2</c:v>
                </c:pt>
                <c:pt idx="578">
                  <c:v>1.1727136779550999E-2</c:v>
                </c:pt>
                <c:pt idx="579">
                  <c:v>1.16971575674952E-2</c:v>
                </c:pt>
                <c:pt idx="580">
                  <c:v>1.1694641899147099E-2</c:v>
                </c:pt>
                <c:pt idx="581">
                  <c:v>1.1468744509384799E-2</c:v>
                </c:pt>
                <c:pt idx="582">
                  <c:v>1.1459557836250699E-2</c:v>
                </c:pt>
                <c:pt idx="583">
                  <c:v>1.1470665961719599E-2</c:v>
                </c:pt>
                <c:pt idx="584">
                  <c:v>1.1470289205218301E-2</c:v>
                </c:pt>
                <c:pt idx="585">
                  <c:v>1.1359842127903801E-2</c:v>
                </c:pt>
                <c:pt idx="586">
                  <c:v>1.1475203236799099E-2</c:v>
                </c:pt>
                <c:pt idx="587">
                  <c:v>1.18509493226726E-2</c:v>
                </c:pt>
                <c:pt idx="588">
                  <c:v>1.2500821147333E-2</c:v>
                </c:pt>
                <c:pt idx="589">
                  <c:v>1.2555376181281599E-2</c:v>
                </c:pt>
                <c:pt idx="590">
                  <c:v>1.29297730425121E-2</c:v>
                </c:pt>
                <c:pt idx="591">
                  <c:v>1.33275329248902E-2</c:v>
                </c:pt>
                <c:pt idx="592">
                  <c:v>1.3338178857425E-2</c:v>
                </c:pt>
                <c:pt idx="593">
                  <c:v>1.3413415784530799E-2</c:v>
                </c:pt>
                <c:pt idx="594">
                  <c:v>1.3758191513170299E-2</c:v>
                </c:pt>
                <c:pt idx="595">
                  <c:v>1.38302582394267E-2</c:v>
                </c:pt>
                <c:pt idx="596">
                  <c:v>1.38381623994019E-2</c:v>
                </c:pt>
                <c:pt idx="597">
                  <c:v>1.3844881645407E-2</c:v>
                </c:pt>
                <c:pt idx="598">
                  <c:v>1.3869684531133899E-2</c:v>
                </c:pt>
                <c:pt idx="599">
                  <c:v>1.39062140789306E-2</c:v>
                </c:pt>
                <c:pt idx="600">
                  <c:v>1.3909937637239E-2</c:v>
                </c:pt>
                <c:pt idx="601">
                  <c:v>1.3911450458467201E-2</c:v>
                </c:pt>
                <c:pt idx="602">
                  <c:v>1.40055585516012E-2</c:v>
                </c:pt>
                <c:pt idx="603">
                  <c:v>1.39432577707521E-2</c:v>
                </c:pt>
                <c:pt idx="604">
                  <c:v>1.43746793815165E-2</c:v>
                </c:pt>
                <c:pt idx="605">
                  <c:v>1.4341875975867001E-2</c:v>
                </c:pt>
                <c:pt idx="606">
                  <c:v>1.42988194607497E-2</c:v>
                </c:pt>
                <c:pt idx="607">
                  <c:v>1.4292267575671799E-2</c:v>
                </c:pt>
                <c:pt idx="608">
                  <c:v>1.42780670628891E-2</c:v>
                </c:pt>
                <c:pt idx="609">
                  <c:v>1.4296685508658201E-2</c:v>
                </c:pt>
                <c:pt idx="610">
                  <c:v>1.4297481275346999E-2</c:v>
                </c:pt>
                <c:pt idx="611">
                  <c:v>1.43358940200545E-2</c:v>
                </c:pt>
                <c:pt idx="612">
                  <c:v>1.4351464667775799E-2</c:v>
                </c:pt>
                <c:pt idx="613">
                  <c:v>1.4384650492288599E-2</c:v>
                </c:pt>
                <c:pt idx="614">
                  <c:v>1.42854496460663E-2</c:v>
                </c:pt>
                <c:pt idx="615">
                  <c:v>1.43497183434585E-2</c:v>
                </c:pt>
                <c:pt idx="616">
                  <c:v>1.41838649183077E-2</c:v>
                </c:pt>
                <c:pt idx="617">
                  <c:v>1.41728642293651E-2</c:v>
                </c:pt>
                <c:pt idx="618">
                  <c:v>1.4118523971321699E-2</c:v>
                </c:pt>
                <c:pt idx="619">
                  <c:v>1.42301473493683E-2</c:v>
                </c:pt>
                <c:pt idx="620">
                  <c:v>1.4101259964966599E-2</c:v>
                </c:pt>
                <c:pt idx="621">
                  <c:v>1.4079633810411701E-2</c:v>
                </c:pt>
                <c:pt idx="622">
                  <c:v>1.4031062741601701E-2</c:v>
                </c:pt>
                <c:pt idx="623">
                  <c:v>1.44589455811236E-2</c:v>
                </c:pt>
                <c:pt idx="624">
                  <c:v>1.44561977742665E-2</c:v>
                </c:pt>
                <c:pt idx="625">
                  <c:v>1.44440401836189E-2</c:v>
                </c:pt>
                <c:pt idx="626">
                  <c:v>1.4476117385053401E-2</c:v>
                </c:pt>
                <c:pt idx="627">
                  <c:v>1.43750513957E-2</c:v>
                </c:pt>
                <c:pt idx="628">
                  <c:v>1.4389465428828E-2</c:v>
                </c:pt>
                <c:pt idx="629">
                  <c:v>1.4277052902821099E-2</c:v>
                </c:pt>
                <c:pt idx="630">
                  <c:v>1.4283037273808301E-2</c:v>
                </c:pt>
                <c:pt idx="631">
                  <c:v>1.42791810329669E-2</c:v>
                </c:pt>
                <c:pt idx="632">
                  <c:v>1.4229642048087699E-2</c:v>
                </c:pt>
                <c:pt idx="633">
                  <c:v>1.4215189011817101E-2</c:v>
                </c:pt>
                <c:pt idx="634">
                  <c:v>1.41541180311894E-2</c:v>
                </c:pt>
                <c:pt idx="635">
                  <c:v>1.41541492587646E-2</c:v>
                </c:pt>
                <c:pt idx="636">
                  <c:v>1.41454130815752E-2</c:v>
                </c:pt>
                <c:pt idx="637">
                  <c:v>1.4097748724782999E-2</c:v>
                </c:pt>
                <c:pt idx="638">
                  <c:v>1.39920766359293E-2</c:v>
                </c:pt>
                <c:pt idx="639">
                  <c:v>1.3990986867288601E-2</c:v>
                </c:pt>
                <c:pt idx="640">
                  <c:v>1.3992603785109199E-2</c:v>
                </c:pt>
                <c:pt idx="641">
                  <c:v>1.38515055367233E-2</c:v>
                </c:pt>
                <c:pt idx="642">
                  <c:v>1.37906439853572E-2</c:v>
                </c:pt>
                <c:pt idx="643">
                  <c:v>1.3780040709881499E-2</c:v>
                </c:pt>
                <c:pt idx="644">
                  <c:v>1.36752647254433E-2</c:v>
                </c:pt>
                <c:pt idx="645">
                  <c:v>1.3702457583958201E-2</c:v>
                </c:pt>
                <c:pt idx="646">
                  <c:v>1.3700469723317701E-2</c:v>
                </c:pt>
                <c:pt idx="647">
                  <c:v>1.36714624786008E-2</c:v>
                </c:pt>
                <c:pt idx="648">
                  <c:v>1.36570869140919E-2</c:v>
                </c:pt>
                <c:pt idx="649">
                  <c:v>1.3637475649443301E-2</c:v>
                </c:pt>
                <c:pt idx="650">
                  <c:v>1.3586766341752699E-2</c:v>
                </c:pt>
                <c:pt idx="651">
                  <c:v>1.36004334844278E-2</c:v>
                </c:pt>
                <c:pt idx="652">
                  <c:v>1.3534795852314501E-2</c:v>
                </c:pt>
                <c:pt idx="653">
                  <c:v>1.37325151114988E-2</c:v>
                </c:pt>
                <c:pt idx="654">
                  <c:v>1.3520927827112899E-2</c:v>
                </c:pt>
                <c:pt idx="655">
                  <c:v>1.35188474541724E-2</c:v>
                </c:pt>
                <c:pt idx="656">
                  <c:v>1.3520451614885499E-2</c:v>
                </c:pt>
                <c:pt idx="657">
                  <c:v>1.35123449634815E-2</c:v>
                </c:pt>
                <c:pt idx="658">
                  <c:v>1.34944669044035E-2</c:v>
                </c:pt>
                <c:pt idx="659">
                  <c:v>1.34917908288829E-2</c:v>
                </c:pt>
                <c:pt idx="660">
                  <c:v>1.34881008123208E-2</c:v>
                </c:pt>
                <c:pt idx="661">
                  <c:v>1.3437694614831601E-2</c:v>
                </c:pt>
                <c:pt idx="662">
                  <c:v>1.3467939565001801E-2</c:v>
                </c:pt>
                <c:pt idx="663">
                  <c:v>1.34894312678757E-2</c:v>
                </c:pt>
                <c:pt idx="664">
                  <c:v>1.34219817643572E-2</c:v>
                </c:pt>
                <c:pt idx="665">
                  <c:v>1.32346309071729E-2</c:v>
                </c:pt>
                <c:pt idx="666">
                  <c:v>1.32385414447327E-2</c:v>
                </c:pt>
                <c:pt idx="667">
                  <c:v>1.32249213908344E-2</c:v>
                </c:pt>
                <c:pt idx="668">
                  <c:v>1.32251245622009E-2</c:v>
                </c:pt>
                <c:pt idx="669">
                  <c:v>1.3058915137982E-2</c:v>
                </c:pt>
                <c:pt idx="670">
                  <c:v>1.3185420358151199E-2</c:v>
                </c:pt>
                <c:pt idx="671">
                  <c:v>1.31615303763967E-2</c:v>
                </c:pt>
                <c:pt idx="672">
                  <c:v>1.31739599438333E-2</c:v>
                </c:pt>
                <c:pt idx="673">
                  <c:v>1.3194206437442501E-2</c:v>
                </c:pt>
                <c:pt idx="674">
                  <c:v>1.3380449588264801E-2</c:v>
                </c:pt>
                <c:pt idx="675">
                  <c:v>1.3410829173059399E-2</c:v>
                </c:pt>
                <c:pt idx="676">
                  <c:v>1.33963629163051E-2</c:v>
                </c:pt>
                <c:pt idx="677">
                  <c:v>1.3402194459499601E-2</c:v>
                </c:pt>
                <c:pt idx="678">
                  <c:v>1.32161734391394E-2</c:v>
                </c:pt>
                <c:pt idx="679">
                  <c:v>1.3173522031449199E-2</c:v>
                </c:pt>
                <c:pt idx="680">
                  <c:v>1.3234622470071599E-2</c:v>
                </c:pt>
                <c:pt idx="681">
                  <c:v>1.3225107744134899E-2</c:v>
                </c:pt>
                <c:pt idx="682">
                  <c:v>1.4075545360300701E-2</c:v>
                </c:pt>
                <c:pt idx="683">
                  <c:v>1.4091340814209199E-2</c:v>
                </c:pt>
                <c:pt idx="684">
                  <c:v>1.42354160802508E-2</c:v>
                </c:pt>
                <c:pt idx="685">
                  <c:v>1.42478601497286E-2</c:v>
                </c:pt>
                <c:pt idx="686">
                  <c:v>1.4227944171405099E-2</c:v>
                </c:pt>
                <c:pt idx="687">
                  <c:v>1.42774448833283E-2</c:v>
                </c:pt>
                <c:pt idx="688">
                  <c:v>1.4391369601076299E-2</c:v>
                </c:pt>
                <c:pt idx="689">
                  <c:v>1.44756691534614E-2</c:v>
                </c:pt>
                <c:pt idx="690">
                  <c:v>1.4477236155364901E-2</c:v>
                </c:pt>
                <c:pt idx="691">
                  <c:v>1.4434047345482801E-2</c:v>
                </c:pt>
                <c:pt idx="692">
                  <c:v>1.43949837690126E-2</c:v>
                </c:pt>
                <c:pt idx="693">
                  <c:v>1.44031369987261E-2</c:v>
                </c:pt>
                <c:pt idx="694">
                  <c:v>1.44022085605485E-2</c:v>
                </c:pt>
                <c:pt idx="695">
                  <c:v>1.4423943040450899E-2</c:v>
                </c:pt>
                <c:pt idx="696">
                  <c:v>1.4435529112600799E-2</c:v>
                </c:pt>
                <c:pt idx="697">
                  <c:v>1.43552299443638E-2</c:v>
                </c:pt>
                <c:pt idx="698">
                  <c:v>1.4300456850639701E-2</c:v>
                </c:pt>
                <c:pt idx="699">
                  <c:v>1.43921733141117E-2</c:v>
                </c:pt>
                <c:pt idx="700">
                  <c:v>1.43928823424543E-2</c:v>
                </c:pt>
                <c:pt idx="701">
                  <c:v>1.45462246328508E-2</c:v>
                </c:pt>
                <c:pt idx="702">
                  <c:v>1.45525093744358E-2</c:v>
                </c:pt>
                <c:pt idx="703">
                  <c:v>1.45302890819265E-2</c:v>
                </c:pt>
                <c:pt idx="704">
                  <c:v>1.45146612480462E-2</c:v>
                </c:pt>
                <c:pt idx="705">
                  <c:v>1.45434942674109E-2</c:v>
                </c:pt>
                <c:pt idx="706">
                  <c:v>1.4436395716465E-2</c:v>
                </c:pt>
                <c:pt idx="707">
                  <c:v>1.42301354518012E-2</c:v>
                </c:pt>
                <c:pt idx="708">
                  <c:v>1.37149762434779E-2</c:v>
                </c:pt>
                <c:pt idx="709">
                  <c:v>1.37676289566422E-2</c:v>
                </c:pt>
                <c:pt idx="710">
                  <c:v>1.34384710414783E-2</c:v>
                </c:pt>
                <c:pt idx="711">
                  <c:v>1.30417452144453E-2</c:v>
                </c:pt>
                <c:pt idx="712">
                  <c:v>1.3029824199453E-2</c:v>
                </c:pt>
                <c:pt idx="713">
                  <c:v>1.2909768515615301E-2</c:v>
                </c:pt>
                <c:pt idx="714">
                  <c:v>1.25191748030132E-2</c:v>
                </c:pt>
                <c:pt idx="715">
                  <c:v>1.2519740288328101E-2</c:v>
                </c:pt>
                <c:pt idx="716">
                  <c:v>1.25264937339883E-2</c:v>
                </c:pt>
                <c:pt idx="717">
                  <c:v>1.2997745358279401E-2</c:v>
                </c:pt>
                <c:pt idx="718">
                  <c:v>1.30423252032912E-2</c:v>
                </c:pt>
                <c:pt idx="719">
                  <c:v>1.3006801924563801E-2</c:v>
                </c:pt>
                <c:pt idx="720">
                  <c:v>1.29875959100933E-2</c:v>
                </c:pt>
                <c:pt idx="721">
                  <c:v>1.30333397639362E-2</c:v>
                </c:pt>
                <c:pt idx="722">
                  <c:v>1.30372827588772E-2</c:v>
                </c:pt>
                <c:pt idx="723">
                  <c:v>1.30533785362404E-2</c:v>
                </c:pt>
                <c:pt idx="724">
                  <c:v>1.2616647379587899E-2</c:v>
                </c:pt>
                <c:pt idx="725">
                  <c:v>1.2790413014438E-2</c:v>
                </c:pt>
                <c:pt idx="726">
                  <c:v>1.2847992174849301E-2</c:v>
                </c:pt>
                <c:pt idx="727">
                  <c:v>1.2894344160062901E-2</c:v>
                </c:pt>
                <c:pt idx="728">
                  <c:v>1.2923533808185599E-2</c:v>
                </c:pt>
                <c:pt idx="729">
                  <c:v>1.2883431402393701E-2</c:v>
                </c:pt>
                <c:pt idx="730">
                  <c:v>1.2897938803979001E-2</c:v>
                </c:pt>
                <c:pt idx="731">
                  <c:v>1.28617852208053E-2</c:v>
                </c:pt>
                <c:pt idx="732">
                  <c:v>1.28317151203266E-2</c:v>
                </c:pt>
                <c:pt idx="733">
                  <c:v>1.28169510690612E-2</c:v>
                </c:pt>
                <c:pt idx="734">
                  <c:v>1.2841383282052501E-2</c:v>
                </c:pt>
                <c:pt idx="735">
                  <c:v>1.2788455999965601E-2</c:v>
                </c:pt>
                <c:pt idx="736">
                  <c:v>1.2852949672438101E-2</c:v>
                </c:pt>
                <c:pt idx="737">
                  <c:v>1.28812478845303E-2</c:v>
                </c:pt>
                <c:pt idx="738">
                  <c:v>1.29514555232373E-2</c:v>
                </c:pt>
                <c:pt idx="739">
                  <c:v>1.28317233417897E-2</c:v>
                </c:pt>
                <c:pt idx="740">
                  <c:v>1.28719405110097E-2</c:v>
                </c:pt>
                <c:pt idx="741">
                  <c:v>1.2961289543599199E-2</c:v>
                </c:pt>
                <c:pt idx="742">
                  <c:v>1.2960452828168101E-2</c:v>
                </c:pt>
                <c:pt idx="743">
                  <c:v>1.25227867400059E-2</c:v>
                </c:pt>
                <c:pt idx="744">
                  <c:v>1.25430859948319E-2</c:v>
                </c:pt>
                <c:pt idx="745">
                  <c:v>1.2542537394195001E-2</c:v>
                </c:pt>
                <c:pt idx="746">
                  <c:v>1.24894897662293E-2</c:v>
                </c:pt>
                <c:pt idx="747">
                  <c:v>1.2488573097352001E-2</c:v>
                </c:pt>
                <c:pt idx="748">
                  <c:v>1.26089145975673E-2</c:v>
                </c:pt>
                <c:pt idx="749">
                  <c:v>1.2583347669075399E-2</c:v>
                </c:pt>
                <c:pt idx="750">
                  <c:v>1.25646718039184E-2</c:v>
                </c:pt>
                <c:pt idx="751">
                  <c:v>1.25971182901897E-2</c:v>
                </c:pt>
                <c:pt idx="752">
                  <c:v>1.25992878649608E-2</c:v>
                </c:pt>
                <c:pt idx="753">
                  <c:v>1.26197744289289E-2</c:v>
                </c:pt>
                <c:pt idx="754">
                  <c:v>1.26214016283507E-2</c:v>
                </c:pt>
                <c:pt idx="755">
                  <c:v>1.2750545476864401E-2</c:v>
                </c:pt>
                <c:pt idx="756">
                  <c:v>1.28581605637E-2</c:v>
                </c:pt>
                <c:pt idx="757">
                  <c:v>1.2855041672811001E-2</c:v>
                </c:pt>
                <c:pt idx="758">
                  <c:v>1.30958399005092E-2</c:v>
                </c:pt>
                <c:pt idx="759">
                  <c:v>1.30958437746405E-2</c:v>
                </c:pt>
                <c:pt idx="760">
                  <c:v>1.5016340389184001E-2</c:v>
                </c:pt>
                <c:pt idx="761">
                  <c:v>1.5035261676763501E-2</c:v>
                </c:pt>
                <c:pt idx="762">
                  <c:v>1.51037538846664E-2</c:v>
                </c:pt>
                <c:pt idx="763">
                  <c:v>1.51023588702528E-2</c:v>
                </c:pt>
                <c:pt idx="764">
                  <c:v>1.5090601866805199E-2</c:v>
                </c:pt>
                <c:pt idx="765">
                  <c:v>1.5124447559107201E-2</c:v>
                </c:pt>
                <c:pt idx="766">
                  <c:v>1.51872196619251E-2</c:v>
                </c:pt>
                <c:pt idx="767">
                  <c:v>1.5188332544876299E-2</c:v>
                </c:pt>
                <c:pt idx="768">
                  <c:v>1.54332704166672E-2</c:v>
                </c:pt>
                <c:pt idx="769">
                  <c:v>1.5457729756643E-2</c:v>
                </c:pt>
                <c:pt idx="770">
                  <c:v>1.54465123678721E-2</c:v>
                </c:pt>
                <c:pt idx="771">
                  <c:v>1.5417608191871501E-2</c:v>
                </c:pt>
                <c:pt idx="772">
                  <c:v>1.54282933150501E-2</c:v>
                </c:pt>
                <c:pt idx="773">
                  <c:v>1.53537635899446E-2</c:v>
                </c:pt>
                <c:pt idx="774">
                  <c:v>1.53169665357249E-2</c:v>
                </c:pt>
                <c:pt idx="775">
                  <c:v>1.5321193396632E-2</c:v>
                </c:pt>
                <c:pt idx="776">
                  <c:v>1.5446932565985101E-2</c:v>
                </c:pt>
                <c:pt idx="777">
                  <c:v>1.55644178293686E-2</c:v>
                </c:pt>
                <c:pt idx="778">
                  <c:v>1.55626792417336E-2</c:v>
                </c:pt>
                <c:pt idx="779">
                  <c:v>1.5572266490092E-2</c:v>
                </c:pt>
                <c:pt idx="780">
                  <c:v>1.5583719137572E-2</c:v>
                </c:pt>
                <c:pt idx="781">
                  <c:v>1.5518564509730701E-2</c:v>
                </c:pt>
                <c:pt idx="782">
                  <c:v>1.55607814731903E-2</c:v>
                </c:pt>
                <c:pt idx="783">
                  <c:v>1.5550248578495299E-2</c:v>
                </c:pt>
                <c:pt idx="784">
                  <c:v>1.58659165070393E-2</c:v>
                </c:pt>
                <c:pt idx="785">
                  <c:v>1.5839541579822002E-2</c:v>
                </c:pt>
                <c:pt idx="786">
                  <c:v>1.58413504137365E-2</c:v>
                </c:pt>
                <c:pt idx="787">
                  <c:v>1.5861560007926601E-2</c:v>
                </c:pt>
                <c:pt idx="788">
                  <c:v>1.5878271698673601E-2</c:v>
                </c:pt>
                <c:pt idx="789">
                  <c:v>1.5870144752018801E-2</c:v>
                </c:pt>
                <c:pt idx="790">
                  <c:v>1.5788085713959302E-2</c:v>
                </c:pt>
                <c:pt idx="791">
                  <c:v>1.5770301080547201E-2</c:v>
                </c:pt>
                <c:pt idx="792">
                  <c:v>1.5859935408924698E-2</c:v>
                </c:pt>
                <c:pt idx="793">
                  <c:v>1.5832454303637701E-2</c:v>
                </c:pt>
                <c:pt idx="794">
                  <c:v>1.5770007425340501E-2</c:v>
                </c:pt>
                <c:pt idx="795">
                  <c:v>1.5810975753562301E-2</c:v>
                </c:pt>
                <c:pt idx="796">
                  <c:v>1.58126343054476E-2</c:v>
                </c:pt>
                <c:pt idx="797">
                  <c:v>1.5800927253534901E-2</c:v>
                </c:pt>
                <c:pt idx="798">
                  <c:v>1.57488359472625E-2</c:v>
                </c:pt>
                <c:pt idx="799">
                  <c:v>1.5794775966098101E-2</c:v>
                </c:pt>
                <c:pt idx="800">
                  <c:v>1.57528850635754E-2</c:v>
                </c:pt>
                <c:pt idx="801">
                  <c:v>1.5760430745231299E-2</c:v>
                </c:pt>
                <c:pt idx="802">
                  <c:v>1.5142876089168301E-2</c:v>
                </c:pt>
                <c:pt idx="803">
                  <c:v>1.5101496755940901E-2</c:v>
                </c:pt>
                <c:pt idx="804">
                  <c:v>1.4950690304412999E-2</c:v>
                </c:pt>
                <c:pt idx="805">
                  <c:v>1.4955944722639201E-2</c:v>
                </c:pt>
                <c:pt idx="806">
                  <c:v>1.50176995873496E-2</c:v>
                </c:pt>
                <c:pt idx="807">
                  <c:v>1.5036045132936099E-2</c:v>
                </c:pt>
                <c:pt idx="808">
                  <c:v>1.50132762475638E-2</c:v>
                </c:pt>
                <c:pt idx="809">
                  <c:v>1.4912111180063499E-2</c:v>
                </c:pt>
                <c:pt idx="810">
                  <c:v>1.49348629549846E-2</c:v>
                </c:pt>
                <c:pt idx="811">
                  <c:v>1.5247896321499199E-2</c:v>
                </c:pt>
                <c:pt idx="812">
                  <c:v>1.5250063256446201E-2</c:v>
                </c:pt>
                <c:pt idx="813">
                  <c:v>1.5270860259829599E-2</c:v>
                </c:pt>
                <c:pt idx="814">
                  <c:v>1.5285887503957899E-2</c:v>
                </c:pt>
                <c:pt idx="815">
                  <c:v>1.5257659026961599E-2</c:v>
                </c:pt>
                <c:pt idx="816">
                  <c:v>1.5244018754581701E-2</c:v>
                </c:pt>
                <c:pt idx="817">
                  <c:v>1.52417260759835E-2</c:v>
                </c:pt>
                <c:pt idx="818">
                  <c:v>1.52613025768278E-2</c:v>
                </c:pt>
                <c:pt idx="819">
                  <c:v>1.5157592025318399E-2</c:v>
                </c:pt>
                <c:pt idx="820">
                  <c:v>1.52212583623041E-2</c:v>
                </c:pt>
                <c:pt idx="821">
                  <c:v>1.5177052227716601E-2</c:v>
                </c:pt>
                <c:pt idx="822">
                  <c:v>1.5173281993636E-2</c:v>
                </c:pt>
                <c:pt idx="823">
                  <c:v>1.51776978527642E-2</c:v>
                </c:pt>
                <c:pt idx="824">
                  <c:v>1.5177017217097501E-2</c:v>
                </c:pt>
                <c:pt idx="825">
                  <c:v>1.52363384288589E-2</c:v>
                </c:pt>
                <c:pt idx="826">
                  <c:v>1.52120418031522E-2</c:v>
                </c:pt>
                <c:pt idx="827">
                  <c:v>1.51677458713369E-2</c:v>
                </c:pt>
                <c:pt idx="828">
                  <c:v>1.51643976804655E-2</c:v>
                </c:pt>
                <c:pt idx="829">
                  <c:v>1.51350607105204E-2</c:v>
                </c:pt>
                <c:pt idx="830">
                  <c:v>1.51394494107773E-2</c:v>
                </c:pt>
                <c:pt idx="831">
                  <c:v>1.51297471234648E-2</c:v>
                </c:pt>
                <c:pt idx="832">
                  <c:v>1.5130046445876901E-2</c:v>
                </c:pt>
                <c:pt idx="833">
                  <c:v>1.51322100075171E-2</c:v>
                </c:pt>
                <c:pt idx="834">
                  <c:v>1.51484384381592E-2</c:v>
                </c:pt>
                <c:pt idx="835">
                  <c:v>1.51398211188508E-2</c:v>
                </c:pt>
                <c:pt idx="836">
                  <c:v>1.52722637655145E-2</c:v>
                </c:pt>
                <c:pt idx="837">
                  <c:v>1.4889303483616299E-2</c:v>
                </c:pt>
                <c:pt idx="838">
                  <c:v>1.48194176072822E-2</c:v>
                </c:pt>
                <c:pt idx="839">
                  <c:v>1.4873502748959801E-2</c:v>
                </c:pt>
                <c:pt idx="840">
                  <c:v>1.47681870751651E-2</c:v>
                </c:pt>
                <c:pt idx="841">
                  <c:v>1.4784300013313101E-2</c:v>
                </c:pt>
                <c:pt idx="842">
                  <c:v>1.4677159655878701E-2</c:v>
                </c:pt>
                <c:pt idx="843">
                  <c:v>1.4692241003295499E-2</c:v>
                </c:pt>
                <c:pt idx="844">
                  <c:v>1.4674120080000101E-2</c:v>
                </c:pt>
                <c:pt idx="845">
                  <c:v>1.45278889469415E-2</c:v>
                </c:pt>
                <c:pt idx="846">
                  <c:v>1.44901955695059E-2</c:v>
                </c:pt>
                <c:pt idx="847">
                  <c:v>1.44877466270805E-2</c:v>
                </c:pt>
                <c:pt idx="848">
                  <c:v>1.44743898166307E-2</c:v>
                </c:pt>
                <c:pt idx="849">
                  <c:v>1.44821090171113E-2</c:v>
                </c:pt>
                <c:pt idx="850">
                  <c:v>1.44189223057516E-2</c:v>
                </c:pt>
                <c:pt idx="851">
                  <c:v>1.44061787051281E-2</c:v>
                </c:pt>
                <c:pt idx="852">
                  <c:v>1.44076777334379E-2</c:v>
                </c:pt>
                <c:pt idx="853">
                  <c:v>1.43840798097502E-2</c:v>
                </c:pt>
                <c:pt idx="854">
                  <c:v>1.44190446463101E-2</c:v>
                </c:pt>
                <c:pt idx="855">
                  <c:v>1.45061617298661E-2</c:v>
                </c:pt>
                <c:pt idx="856">
                  <c:v>1.4421351151318901E-2</c:v>
                </c:pt>
                <c:pt idx="857">
                  <c:v>1.4415963387668099E-2</c:v>
                </c:pt>
                <c:pt idx="858">
                  <c:v>1.42669388822248E-2</c:v>
                </c:pt>
                <c:pt idx="859">
                  <c:v>1.4264346278788699E-2</c:v>
                </c:pt>
                <c:pt idx="860">
                  <c:v>1.42583707303296E-2</c:v>
                </c:pt>
                <c:pt idx="861">
                  <c:v>1.41880003172127E-2</c:v>
                </c:pt>
                <c:pt idx="862">
                  <c:v>1.41925291413851E-2</c:v>
                </c:pt>
                <c:pt idx="863">
                  <c:v>1.4135743337933E-2</c:v>
                </c:pt>
                <c:pt idx="864">
                  <c:v>1.4127902177278899E-2</c:v>
                </c:pt>
                <c:pt idx="865">
                  <c:v>1.41286729834058E-2</c:v>
                </c:pt>
                <c:pt idx="866">
                  <c:v>1.42304131499241E-2</c:v>
                </c:pt>
                <c:pt idx="867">
                  <c:v>1.423138003611E-2</c:v>
                </c:pt>
                <c:pt idx="868">
                  <c:v>1.4088363419576099E-2</c:v>
                </c:pt>
                <c:pt idx="869">
                  <c:v>1.4089733903496099E-2</c:v>
                </c:pt>
                <c:pt idx="870">
                  <c:v>1.4107031267919901E-2</c:v>
                </c:pt>
                <c:pt idx="871">
                  <c:v>1.4057562892039599E-2</c:v>
                </c:pt>
                <c:pt idx="872">
                  <c:v>1.4179032398486001E-2</c:v>
                </c:pt>
                <c:pt idx="873">
                  <c:v>1.4165787379461401E-2</c:v>
                </c:pt>
                <c:pt idx="874">
                  <c:v>1.4245861967633699E-2</c:v>
                </c:pt>
                <c:pt idx="875">
                  <c:v>1.41182158331222E-2</c:v>
                </c:pt>
                <c:pt idx="876">
                  <c:v>1.3960142500043E-2</c:v>
                </c:pt>
                <c:pt idx="877">
                  <c:v>1.39614441100841E-2</c:v>
                </c:pt>
                <c:pt idx="878">
                  <c:v>1.37828721272607E-2</c:v>
                </c:pt>
                <c:pt idx="879">
                  <c:v>1.3814553446819901E-2</c:v>
                </c:pt>
                <c:pt idx="880">
                  <c:v>1.1789051829578101E-2</c:v>
                </c:pt>
                <c:pt idx="881">
                  <c:v>1.1767191812690101E-2</c:v>
                </c:pt>
                <c:pt idx="882">
                  <c:v>1.16322031864364E-2</c:v>
                </c:pt>
                <c:pt idx="883">
                  <c:v>1.16804713648658E-2</c:v>
                </c:pt>
                <c:pt idx="884">
                  <c:v>1.16633758384654E-2</c:v>
                </c:pt>
                <c:pt idx="885">
                  <c:v>1.15612591490199E-2</c:v>
                </c:pt>
                <c:pt idx="886">
                  <c:v>1.14877022753316E-2</c:v>
                </c:pt>
                <c:pt idx="887">
                  <c:v>1.1570153804726299E-2</c:v>
                </c:pt>
                <c:pt idx="888">
                  <c:v>1.12600778095257E-2</c:v>
                </c:pt>
                <c:pt idx="889">
                  <c:v>1.12143889514776E-2</c:v>
                </c:pt>
                <c:pt idx="890">
                  <c:v>1.1243633427164199E-2</c:v>
                </c:pt>
                <c:pt idx="891">
                  <c:v>1.12217020793765E-2</c:v>
                </c:pt>
                <c:pt idx="892">
                  <c:v>1.12286155955739E-2</c:v>
                </c:pt>
                <c:pt idx="893">
                  <c:v>1.1084056292108501E-2</c:v>
                </c:pt>
                <c:pt idx="894">
                  <c:v>1.10240001637514E-2</c:v>
                </c:pt>
                <c:pt idx="895">
                  <c:v>1.10212063576242E-2</c:v>
                </c:pt>
                <c:pt idx="896">
                  <c:v>1.08335700855731E-2</c:v>
                </c:pt>
                <c:pt idx="897">
                  <c:v>1.0657186787750799E-2</c:v>
                </c:pt>
                <c:pt idx="898">
                  <c:v>1.06649534959526E-2</c:v>
                </c:pt>
                <c:pt idx="899">
                  <c:v>1.0645971403469401E-2</c:v>
                </c:pt>
                <c:pt idx="900">
                  <c:v>1.06135312224624E-2</c:v>
                </c:pt>
                <c:pt idx="901">
                  <c:v>1.0661911190014301E-2</c:v>
                </c:pt>
                <c:pt idx="902">
                  <c:v>1.0558443943427399E-2</c:v>
                </c:pt>
                <c:pt idx="903">
                  <c:v>1.0668362667176599E-2</c:v>
                </c:pt>
                <c:pt idx="904">
                  <c:v>1.03820443347197E-2</c:v>
                </c:pt>
                <c:pt idx="905">
                  <c:v>1.040077203806E-2</c:v>
                </c:pt>
                <c:pt idx="906">
                  <c:v>1.0404765977466699E-2</c:v>
                </c:pt>
                <c:pt idx="907">
                  <c:v>1.03537265428833E-2</c:v>
                </c:pt>
                <c:pt idx="908">
                  <c:v>1.03209425668706E-2</c:v>
                </c:pt>
                <c:pt idx="909">
                  <c:v>1.03535435942362E-2</c:v>
                </c:pt>
                <c:pt idx="910">
                  <c:v>1.03493833826901E-2</c:v>
                </c:pt>
                <c:pt idx="911">
                  <c:v>1.0495948756357299E-2</c:v>
                </c:pt>
                <c:pt idx="912">
                  <c:v>1.03754238685971E-2</c:v>
                </c:pt>
                <c:pt idx="913">
                  <c:v>1.05099308176158E-2</c:v>
                </c:pt>
                <c:pt idx="914">
                  <c:v>1.03403343193789E-2</c:v>
                </c:pt>
                <c:pt idx="915">
                  <c:v>1.01954859993727E-2</c:v>
                </c:pt>
                <c:pt idx="916">
                  <c:v>1.0189040164242699E-2</c:v>
                </c:pt>
                <c:pt idx="917">
                  <c:v>1.0183977529608E-2</c:v>
                </c:pt>
                <c:pt idx="918">
                  <c:v>1.0217421522703701E-2</c:v>
                </c:pt>
                <c:pt idx="919">
                  <c:v>1.03545792216959E-2</c:v>
                </c:pt>
                <c:pt idx="920">
                  <c:v>1.03496477523028E-2</c:v>
                </c:pt>
                <c:pt idx="921">
                  <c:v>1.0331014925590101E-2</c:v>
                </c:pt>
                <c:pt idx="922">
                  <c:v>1.0239885755917401E-2</c:v>
                </c:pt>
                <c:pt idx="923">
                  <c:v>1.02906331415483E-2</c:v>
                </c:pt>
                <c:pt idx="924">
                  <c:v>1.0280695777236301E-2</c:v>
                </c:pt>
                <c:pt idx="925">
                  <c:v>1.0275014898093E-2</c:v>
                </c:pt>
                <c:pt idx="926">
                  <c:v>1.02011502330827E-2</c:v>
                </c:pt>
                <c:pt idx="927">
                  <c:v>1.02703192158677E-2</c:v>
                </c:pt>
                <c:pt idx="928">
                  <c:v>1.0158794124625E-2</c:v>
                </c:pt>
                <c:pt idx="929">
                  <c:v>1.0112896120259699E-2</c:v>
                </c:pt>
                <c:pt idx="930">
                  <c:v>1.0194240577920601E-2</c:v>
                </c:pt>
                <c:pt idx="931">
                  <c:v>9.6658246993648299E-3</c:v>
                </c:pt>
                <c:pt idx="932">
                  <c:v>9.6671457773025594E-3</c:v>
                </c:pt>
                <c:pt idx="933">
                  <c:v>9.6567768611797392E-3</c:v>
                </c:pt>
                <c:pt idx="934">
                  <c:v>9.6166117030210708E-3</c:v>
                </c:pt>
                <c:pt idx="935">
                  <c:v>9.6031325016760205E-3</c:v>
                </c:pt>
                <c:pt idx="936">
                  <c:v>9.6044611516713403E-3</c:v>
                </c:pt>
                <c:pt idx="937">
                  <c:v>9.7433697994124702E-3</c:v>
                </c:pt>
                <c:pt idx="938">
                  <c:v>9.6740335432798294E-3</c:v>
                </c:pt>
                <c:pt idx="939">
                  <c:v>9.6739786737879297E-3</c:v>
                </c:pt>
                <c:pt idx="940">
                  <c:v>9.8500233957798892E-3</c:v>
                </c:pt>
                <c:pt idx="941">
                  <c:v>9.7411709210444303E-3</c:v>
                </c:pt>
                <c:pt idx="942">
                  <c:v>9.74997663493961E-3</c:v>
                </c:pt>
                <c:pt idx="943">
                  <c:v>9.7478320180111495E-3</c:v>
                </c:pt>
                <c:pt idx="944">
                  <c:v>9.6581213202676201E-3</c:v>
                </c:pt>
                <c:pt idx="945">
                  <c:v>9.5415824662419095E-3</c:v>
                </c:pt>
                <c:pt idx="946">
                  <c:v>9.5824193167993697E-3</c:v>
                </c:pt>
                <c:pt idx="947">
                  <c:v>9.5615570684791495E-3</c:v>
                </c:pt>
                <c:pt idx="948">
                  <c:v>9.5691276188600797E-3</c:v>
                </c:pt>
                <c:pt idx="949">
                  <c:v>9.5493336546061906E-3</c:v>
                </c:pt>
                <c:pt idx="950">
                  <c:v>9.5357760337109101E-3</c:v>
                </c:pt>
                <c:pt idx="951">
                  <c:v>9.5509783708169291E-3</c:v>
                </c:pt>
                <c:pt idx="952">
                  <c:v>9.5474773982801991E-3</c:v>
                </c:pt>
                <c:pt idx="953">
                  <c:v>9.5607069339399397E-3</c:v>
                </c:pt>
                <c:pt idx="954">
                  <c:v>9.5369863332112701E-3</c:v>
                </c:pt>
                <c:pt idx="955">
                  <c:v>9.3808909114725808E-3</c:v>
                </c:pt>
                <c:pt idx="956">
                  <c:v>9.15321485077575E-3</c:v>
                </c:pt>
                <c:pt idx="957">
                  <c:v>9.1652764576889995E-3</c:v>
                </c:pt>
                <c:pt idx="958">
                  <c:v>9.1716423405792894E-3</c:v>
                </c:pt>
                <c:pt idx="959">
                  <c:v>9.1519535737958797E-3</c:v>
                </c:pt>
                <c:pt idx="960">
                  <c:v>9.1775638456647098E-3</c:v>
                </c:pt>
                <c:pt idx="961">
                  <c:v>9.1426481094472895E-3</c:v>
                </c:pt>
                <c:pt idx="962">
                  <c:v>9.1435971344285393E-3</c:v>
                </c:pt>
                <c:pt idx="963">
                  <c:v>9.0713949717076605E-3</c:v>
                </c:pt>
                <c:pt idx="964">
                  <c:v>9.0683003663379804E-3</c:v>
                </c:pt>
                <c:pt idx="965">
                  <c:v>9.0702066085446304E-3</c:v>
                </c:pt>
                <c:pt idx="966">
                  <c:v>9.0547441104645195E-3</c:v>
                </c:pt>
                <c:pt idx="967">
                  <c:v>9.1929769912874899E-3</c:v>
                </c:pt>
                <c:pt idx="968">
                  <c:v>9.3426803927323995E-3</c:v>
                </c:pt>
                <c:pt idx="969">
                  <c:v>9.3423564402756992E-3</c:v>
                </c:pt>
                <c:pt idx="970">
                  <c:v>9.3346578859746406E-3</c:v>
                </c:pt>
                <c:pt idx="971">
                  <c:v>9.3424026592416592E-3</c:v>
                </c:pt>
                <c:pt idx="972">
                  <c:v>9.3509319851195396E-3</c:v>
                </c:pt>
                <c:pt idx="973">
                  <c:v>9.4051443687620407E-3</c:v>
                </c:pt>
                <c:pt idx="974">
                  <c:v>9.3199486103288202E-3</c:v>
                </c:pt>
                <c:pt idx="975">
                  <c:v>9.0825115731122397E-3</c:v>
                </c:pt>
                <c:pt idx="976">
                  <c:v>9.1241133891423794E-3</c:v>
                </c:pt>
                <c:pt idx="977">
                  <c:v>9.0647616860721897E-3</c:v>
                </c:pt>
                <c:pt idx="978">
                  <c:v>9.1090666493818598E-3</c:v>
                </c:pt>
                <c:pt idx="979">
                  <c:v>9.6690467980085695E-3</c:v>
                </c:pt>
                <c:pt idx="980">
                  <c:v>9.8884332230044295E-3</c:v>
                </c:pt>
                <c:pt idx="981">
                  <c:v>9.8571402340373003E-3</c:v>
                </c:pt>
                <c:pt idx="982">
                  <c:v>9.9142968438204505E-3</c:v>
                </c:pt>
                <c:pt idx="983">
                  <c:v>1.0261616681593399E-2</c:v>
                </c:pt>
                <c:pt idx="984">
                  <c:v>1.08601037680738E-2</c:v>
                </c:pt>
                <c:pt idx="985">
                  <c:v>1.09874235968145E-2</c:v>
                </c:pt>
                <c:pt idx="986">
                  <c:v>1.07967002912464E-2</c:v>
                </c:pt>
                <c:pt idx="987">
                  <c:v>1.08140956117253E-2</c:v>
                </c:pt>
                <c:pt idx="988">
                  <c:v>1.0985778135737499E-2</c:v>
                </c:pt>
                <c:pt idx="989">
                  <c:v>1.0946184324808801E-2</c:v>
                </c:pt>
                <c:pt idx="990">
                  <c:v>1.1704372321404701E-2</c:v>
                </c:pt>
                <c:pt idx="991">
                  <c:v>1.17393183286749E-2</c:v>
                </c:pt>
                <c:pt idx="992">
                  <c:v>1.1613638835115399E-2</c:v>
                </c:pt>
                <c:pt idx="993">
                  <c:v>1.16868875958154E-2</c:v>
                </c:pt>
                <c:pt idx="994">
                  <c:v>1.17283333010425E-2</c:v>
                </c:pt>
                <c:pt idx="995">
                  <c:v>1.1733273749661001E-2</c:v>
                </c:pt>
                <c:pt idx="996">
                  <c:v>1.1795680626534201E-2</c:v>
                </c:pt>
                <c:pt idx="997">
                  <c:v>1.19872232982851E-2</c:v>
                </c:pt>
                <c:pt idx="998">
                  <c:v>1.20219786235046E-2</c:v>
                </c:pt>
                <c:pt idx="999">
                  <c:v>1.1963637694638599E-2</c:v>
                </c:pt>
                <c:pt idx="1000">
                  <c:v>1.19795486584352E-2</c:v>
                </c:pt>
                <c:pt idx="1001">
                  <c:v>1.3242490592351001E-2</c:v>
                </c:pt>
                <c:pt idx="1002">
                  <c:v>1.3226856538615101E-2</c:v>
                </c:pt>
                <c:pt idx="1003">
                  <c:v>1.3394621600462399E-2</c:v>
                </c:pt>
                <c:pt idx="1004">
                  <c:v>1.3389480362927E-2</c:v>
                </c:pt>
                <c:pt idx="1005">
                  <c:v>1.3382262577135699E-2</c:v>
                </c:pt>
                <c:pt idx="1006">
                  <c:v>1.3444445170960001E-2</c:v>
                </c:pt>
                <c:pt idx="1007">
                  <c:v>1.3400917231203501E-2</c:v>
                </c:pt>
                <c:pt idx="1008">
                  <c:v>1.35490060968694E-2</c:v>
                </c:pt>
                <c:pt idx="1009">
                  <c:v>1.35740897324442E-2</c:v>
                </c:pt>
                <c:pt idx="1010">
                  <c:v>1.3560115489672101E-2</c:v>
                </c:pt>
                <c:pt idx="1011">
                  <c:v>1.35660706593642E-2</c:v>
                </c:pt>
                <c:pt idx="1012">
                  <c:v>1.35692098201327E-2</c:v>
                </c:pt>
                <c:pt idx="1013">
                  <c:v>1.35688263871226E-2</c:v>
                </c:pt>
                <c:pt idx="1014">
                  <c:v>1.3632070392083801E-2</c:v>
                </c:pt>
                <c:pt idx="1015">
                  <c:v>1.3615051971541101E-2</c:v>
                </c:pt>
                <c:pt idx="1016">
                  <c:v>1.36179637175357E-2</c:v>
                </c:pt>
                <c:pt idx="1017">
                  <c:v>1.3734101371067E-2</c:v>
                </c:pt>
                <c:pt idx="1018">
                  <c:v>1.37358374406175E-2</c:v>
                </c:pt>
                <c:pt idx="1019">
                  <c:v>1.3792269502649701E-2</c:v>
                </c:pt>
                <c:pt idx="1020">
                  <c:v>1.38226737913059E-2</c:v>
                </c:pt>
                <c:pt idx="1021">
                  <c:v>1.3881057969900299E-2</c:v>
                </c:pt>
                <c:pt idx="1022">
                  <c:v>1.38984061942311E-2</c:v>
                </c:pt>
                <c:pt idx="1023">
                  <c:v>1.38489323319913E-2</c:v>
                </c:pt>
                <c:pt idx="1024">
                  <c:v>1.3778786002308901E-2</c:v>
                </c:pt>
                <c:pt idx="1025">
                  <c:v>1.37593121881851E-2</c:v>
                </c:pt>
                <c:pt idx="1026">
                  <c:v>1.3760049609556501E-2</c:v>
                </c:pt>
                <c:pt idx="1027">
                  <c:v>1.46795033043519E-2</c:v>
                </c:pt>
                <c:pt idx="1028">
                  <c:v>1.4671910751289E-2</c:v>
                </c:pt>
                <c:pt idx="1029">
                  <c:v>1.4674731009087E-2</c:v>
                </c:pt>
                <c:pt idx="1030">
                  <c:v>1.46583773481267E-2</c:v>
                </c:pt>
                <c:pt idx="1031">
                  <c:v>1.4791830428734E-2</c:v>
                </c:pt>
                <c:pt idx="1032">
                  <c:v>1.47955334504627E-2</c:v>
                </c:pt>
                <c:pt idx="1033">
                  <c:v>1.4720061728650501E-2</c:v>
                </c:pt>
                <c:pt idx="1034">
                  <c:v>1.47131413281532E-2</c:v>
                </c:pt>
                <c:pt idx="1035">
                  <c:v>1.4736608985407299E-2</c:v>
                </c:pt>
                <c:pt idx="1036">
                  <c:v>1.4743100927971599E-2</c:v>
                </c:pt>
                <c:pt idx="1037">
                  <c:v>1.48000609466192E-2</c:v>
                </c:pt>
                <c:pt idx="1038">
                  <c:v>1.48294754601413E-2</c:v>
                </c:pt>
                <c:pt idx="1039">
                  <c:v>1.5107376134885501E-2</c:v>
                </c:pt>
                <c:pt idx="1040">
                  <c:v>1.5136276238582999E-2</c:v>
                </c:pt>
                <c:pt idx="1041">
                  <c:v>1.51503930554462E-2</c:v>
                </c:pt>
                <c:pt idx="1042">
                  <c:v>1.5093972048715E-2</c:v>
                </c:pt>
                <c:pt idx="1043">
                  <c:v>1.52411883892455E-2</c:v>
                </c:pt>
                <c:pt idx="1044">
                  <c:v>1.5309648584295E-2</c:v>
                </c:pt>
                <c:pt idx="1045">
                  <c:v>1.54269545973154E-2</c:v>
                </c:pt>
                <c:pt idx="1046">
                  <c:v>1.54279583172779E-2</c:v>
                </c:pt>
                <c:pt idx="1047">
                  <c:v>1.5344675050163899E-2</c:v>
                </c:pt>
                <c:pt idx="1048">
                  <c:v>1.5344534489563201E-2</c:v>
                </c:pt>
                <c:pt idx="1049">
                  <c:v>1.5521478998082001E-2</c:v>
                </c:pt>
                <c:pt idx="1050">
                  <c:v>1.5516396324759299E-2</c:v>
                </c:pt>
                <c:pt idx="1051">
                  <c:v>1.5554715357949399E-2</c:v>
                </c:pt>
                <c:pt idx="1052">
                  <c:v>1.5587026346255301E-2</c:v>
                </c:pt>
                <c:pt idx="1053">
                  <c:v>1.55826553478421E-2</c:v>
                </c:pt>
                <c:pt idx="1054">
                  <c:v>1.5580127422807E-2</c:v>
                </c:pt>
                <c:pt idx="1055">
                  <c:v>1.5603522635537E-2</c:v>
                </c:pt>
                <c:pt idx="1056">
                  <c:v>1.5603150514296E-2</c:v>
                </c:pt>
                <c:pt idx="1057">
                  <c:v>1.55103372762538E-2</c:v>
                </c:pt>
                <c:pt idx="1058">
                  <c:v>1.55101006119494E-2</c:v>
                </c:pt>
                <c:pt idx="1059">
                  <c:v>1.56268681906E-2</c:v>
                </c:pt>
                <c:pt idx="1060">
                  <c:v>1.54524931037481E-2</c:v>
                </c:pt>
                <c:pt idx="1061">
                  <c:v>1.5435740402014401E-2</c:v>
                </c:pt>
                <c:pt idx="1062">
                  <c:v>1.54215062900029E-2</c:v>
                </c:pt>
                <c:pt idx="1063">
                  <c:v>1.55063673423858E-2</c:v>
                </c:pt>
                <c:pt idx="1064">
                  <c:v>1.55266471252295E-2</c:v>
                </c:pt>
                <c:pt idx="1065">
                  <c:v>1.55226894404664E-2</c:v>
                </c:pt>
                <c:pt idx="1066">
                  <c:v>1.5505630297662901E-2</c:v>
                </c:pt>
                <c:pt idx="1067">
                  <c:v>1.55684958862101E-2</c:v>
                </c:pt>
                <c:pt idx="1068">
                  <c:v>1.55599219544084E-2</c:v>
                </c:pt>
                <c:pt idx="1069">
                  <c:v>1.55288780865711E-2</c:v>
                </c:pt>
                <c:pt idx="1070">
                  <c:v>1.5534097291568899E-2</c:v>
                </c:pt>
                <c:pt idx="1071">
                  <c:v>1.5550395971547001E-2</c:v>
                </c:pt>
                <c:pt idx="1072">
                  <c:v>1.55512158193729E-2</c:v>
                </c:pt>
                <c:pt idx="1073">
                  <c:v>1.5601014002300901E-2</c:v>
                </c:pt>
                <c:pt idx="1074">
                  <c:v>1.5607718482327899E-2</c:v>
                </c:pt>
                <c:pt idx="1075">
                  <c:v>1.5605666633817E-2</c:v>
                </c:pt>
                <c:pt idx="1076">
                  <c:v>1.55951153564495E-2</c:v>
                </c:pt>
                <c:pt idx="1077">
                  <c:v>1.55653734424434E-2</c:v>
                </c:pt>
                <c:pt idx="1078">
                  <c:v>1.55973719708404E-2</c:v>
                </c:pt>
                <c:pt idx="1079">
                  <c:v>1.5541050298176901E-2</c:v>
                </c:pt>
                <c:pt idx="1080">
                  <c:v>1.55701888456929E-2</c:v>
                </c:pt>
                <c:pt idx="1081">
                  <c:v>1.55710002975073E-2</c:v>
                </c:pt>
                <c:pt idx="1082">
                  <c:v>1.5595749960790099E-2</c:v>
                </c:pt>
                <c:pt idx="1083">
                  <c:v>1.5619991076218601E-2</c:v>
                </c:pt>
                <c:pt idx="1084">
                  <c:v>1.5705037042102299E-2</c:v>
                </c:pt>
                <c:pt idx="1085">
                  <c:v>1.5703433483101398E-2</c:v>
                </c:pt>
                <c:pt idx="1086">
                  <c:v>1.5690213114782602E-2</c:v>
                </c:pt>
                <c:pt idx="1087">
                  <c:v>1.5567422090665301E-2</c:v>
                </c:pt>
                <c:pt idx="1088">
                  <c:v>1.5457374654649501E-2</c:v>
                </c:pt>
                <c:pt idx="1089">
                  <c:v>1.54855485738914E-2</c:v>
                </c:pt>
                <c:pt idx="1090">
                  <c:v>1.54869590786908E-2</c:v>
                </c:pt>
                <c:pt idx="1091">
                  <c:v>1.55376849803228E-2</c:v>
                </c:pt>
                <c:pt idx="1092">
                  <c:v>1.55300487055353E-2</c:v>
                </c:pt>
                <c:pt idx="1093">
                  <c:v>1.5497718547873299E-2</c:v>
                </c:pt>
                <c:pt idx="1094">
                  <c:v>1.5636900180364701E-2</c:v>
                </c:pt>
                <c:pt idx="1095">
                  <c:v>1.5744021047027101E-2</c:v>
                </c:pt>
                <c:pt idx="1096">
                  <c:v>1.5718808041342801E-2</c:v>
                </c:pt>
                <c:pt idx="1097">
                  <c:v>1.5722775652115301E-2</c:v>
                </c:pt>
                <c:pt idx="1098">
                  <c:v>1.57279987149825E-2</c:v>
                </c:pt>
                <c:pt idx="1099">
                  <c:v>1.53610903439594E-2</c:v>
                </c:pt>
                <c:pt idx="1100">
                  <c:v>1.52168472702186E-2</c:v>
                </c:pt>
                <c:pt idx="1101">
                  <c:v>1.52104396433755E-2</c:v>
                </c:pt>
                <c:pt idx="1102">
                  <c:v>1.5183305939195599E-2</c:v>
                </c:pt>
                <c:pt idx="1103">
                  <c:v>1.4919892391599399E-2</c:v>
                </c:pt>
                <c:pt idx="1104">
                  <c:v>1.4476416426537599E-2</c:v>
                </c:pt>
                <c:pt idx="1105">
                  <c:v>1.4401257200031299E-2</c:v>
                </c:pt>
                <c:pt idx="1106">
                  <c:v>1.4448360778155299E-2</c:v>
                </c:pt>
                <c:pt idx="1107">
                  <c:v>1.4522155470818299E-2</c:v>
                </c:pt>
                <c:pt idx="1108">
                  <c:v>1.44037963250501E-2</c:v>
                </c:pt>
                <c:pt idx="1109">
                  <c:v>1.4509603600628199E-2</c:v>
                </c:pt>
                <c:pt idx="1110">
                  <c:v>1.4016190720603601E-2</c:v>
                </c:pt>
                <c:pt idx="1111">
                  <c:v>1.41948443753103E-2</c:v>
                </c:pt>
                <c:pt idx="1112">
                  <c:v>1.41954946622906E-2</c:v>
                </c:pt>
                <c:pt idx="1113">
                  <c:v>1.4204713957844801E-2</c:v>
                </c:pt>
                <c:pt idx="1114">
                  <c:v>1.41219460998654E-2</c:v>
                </c:pt>
                <c:pt idx="1115">
                  <c:v>1.41374180614935E-2</c:v>
                </c:pt>
                <c:pt idx="1116">
                  <c:v>1.41113055612106E-2</c:v>
                </c:pt>
                <c:pt idx="1117">
                  <c:v>1.3922052593892601E-2</c:v>
                </c:pt>
                <c:pt idx="1118">
                  <c:v>1.38890510428159E-2</c:v>
                </c:pt>
                <c:pt idx="1119">
                  <c:v>1.3888667546940899E-2</c:v>
                </c:pt>
                <c:pt idx="1120">
                  <c:v>1.3894456246397501E-2</c:v>
                </c:pt>
                <c:pt idx="1121">
                  <c:v>1.2821335583033101E-2</c:v>
                </c:pt>
                <c:pt idx="1122">
                  <c:v>1.3037400214537601E-2</c:v>
                </c:pt>
                <c:pt idx="1123">
                  <c:v>1.28215368697516E-2</c:v>
                </c:pt>
                <c:pt idx="1124">
                  <c:v>1.30553397275466E-2</c:v>
                </c:pt>
                <c:pt idx="1125">
                  <c:v>1.3061450615181901E-2</c:v>
                </c:pt>
                <c:pt idx="1126">
                  <c:v>1.30385597154967E-2</c:v>
                </c:pt>
                <c:pt idx="1127">
                  <c:v>1.30451899752202E-2</c:v>
                </c:pt>
                <c:pt idx="1128">
                  <c:v>1.3371622069392601E-2</c:v>
                </c:pt>
                <c:pt idx="1129">
                  <c:v>1.38934053047925E-2</c:v>
                </c:pt>
                <c:pt idx="1130">
                  <c:v>1.39000860234803E-2</c:v>
                </c:pt>
                <c:pt idx="1131">
                  <c:v>1.3890259215234801E-2</c:v>
                </c:pt>
                <c:pt idx="1132">
                  <c:v>1.39543962116494E-2</c:v>
                </c:pt>
                <c:pt idx="1133">
                  <c:v>1.40126605716001E-2</c:v>
                </c:pt>
                <c:pt idx="1134">
                  <c:v>1.4101694524775599E-2</c:v>
                </c:pt>
                <c:pt idx="1135">
                  <c:v>1.40998534009839E-2</c:v>
                </c:pt>
                <c:pt idx="1136">
                  <c:v>1.41031969091982E-2</c:v>
                </c:pt>
                <c:pt idx="1137">
                  <c:v>1.40638411320492E-2</c:v>
                </c:pt>
                <c:pt idx="1138">
                  <c:v>1.4087891488428801E-2</c:v>
                </c:pt>
                <c:pt idx="1139">
                  <c:v>1.4130284555172699E-2</c:v>
                </c:pt>
                <c:pt idx="1140">
                  <c:v>1.4107870505862199E-2</c:v>
                </c:pt>
                <c:pt idx="1141">
                  <c:v>1.41538553029848E-2</c:v>
                </c:pt>
                <c:pt idx="1142">
                  <c:v>1.40889188662157E-2</c:v>
                </c:pt>
                <c:pt idx="1143">
                  <c:v>1.4289706789350201E-2</c:v>
                </c:pt>
                <c:pt idx="1144">
                  <c:v>1.4315404313687E-2</c:v>
                </c:pt>
                <c:pt idx="1145">
                  <c:v>1.4314872531365701E-2</c:v>
                </c:pt>
                <c:pt idx="1146">
                  <c:v>1.44896447107706E-2</c:v>
                </c:pt>
                <c:pt idx="1147">
                  <c:v>1.3767419149536501E-2</c:v>
                </c:pt>
                <c:pt idx="1148">
                  <c:v>1.3895461462304101E-2</c:v>
                </c:pt>
                <c:pt idx="1149">
                  <c:v>1.39487707414693E-2</c:v>
                </c:pt>
                <c:pt idx="1150">
                  <c:v>1.42183453533897E-2</c:v>
                </c:pt>
                <c:pt idx="1151">
                  <c:v>1.4571321685685999E-2</c:v>
                </c:pt>
                <c:pt idx="1152">
                  <c:v>1.4736937084662E-2</c:v>
                </c:pt>
                <c:pt idx="1153">
                  <c:v>1.48944932766175E-2</c:v>
                </c:pt>
                <c:pt idx="1154">
                  <c:v>1.4892351620909501E-2</c:v>
                </c:pt>
                <c:pt idx="1155">
                  <c:v>1.51130751752058E-2</c:v>
                </c:pt>
                <c:pt idx="1156">
                  <c:v>1.5421250588055701E-2</c:v>
                </c:pt>
                <c:pt idx="1157">
                  <c:v>1.53467260740471E-2</c:v>
                </c:pt>
                <c:pt idx="1158">
                  <c:v>1.5288829654434099E-2</c:v>
                </c:pt>
                <c:pt idx="1159">
                  <c:v>1.5240509140261999E-2</c:v>
                </c:pt>
                <c:pt idx="1160">
                  <c:v>1.52752712230527E-2</c:v>
                </c:pt>
                <c:pt idx="1161">
                  <c:v>1.53443613895459E-2</c:v>
                </c:pt>
                <c:pt idx="1162">
                  <c:v>1.5391293140405399E-2</c:v>
                </c:pt>
                <c:pt idx="1163">
                  <c:v>1.6570042284187601E-2</c:v>
                </c:pt>
                <c:pt idx="1164">
                  <c:v>1.6469201494554501E-2</c:v>
                </c:pt>
                <c:pt idx="1165">
                  <c:v>1.69414767839224E-2</c:v>
                </c:pt>
                <c:pt idx="1166">
                  <c:v>1.7000150248602401E-2</c:v>
                </c:pt>
                <c:pt idx="1167">
                  <c:v>1.7020753608308299E-2</c:v>
                </c:pt>
                <c:pt idx="1168">
                  <c:v>1.7098549050757601E-2</c:v>
                </c:pt>
                <c:pt idx="1169">
                  <c:v>1.69238329665416E-2</c:v>
                </c:pt>
                <c:pt idx="1170">
                  <c:v>1.6925645507930898E-2</c:v>
                </c:pt>
                <c:pt idx="1171">
                  <c:v>1.7140300799508401E-2</c:v>
                </c:pt>
                <c:pt idx="1172">
                  <c:v>1.7106498393884902E-2</c:v>
                </c:pt>
                <c:pt idx="1173">
                  <c:v>1.71845240718153E-2</c:v>
                </c:pt>
                <c:pt idx="1174">
                  <c:v>1.7326638484673099E-2</c:v>
                </c:pt>
                <c:pt idx="1175">
                  <c:v>1.73220176538329E-2</c:v>
                </c:pt>
                <c:pt idx="1176">
                  <c:v>1.7320638592642601E-2</c:v>
                </c:pt>
                <c:pt idx="1177">
                  <c:v>1.9715246347154599E-2</c:v>
                </c:pt>
                <c:pt idx="1178">
                  <c:v>1.9895659663778101E-2</c:v>
                </c:pt>
                <c:pt idx="1179">
                  <c:v>2.0067995012741601E-2</c:v>
                </c:pt>
                <c:pt idx="1180">
                  <c:v>2.0083655606107299E-2</c:v>
                </c:pt>
                <c:pt idx="1181">
                  <c:v>2.0154488792780801E-2</c:v>
                </c:pt>
                <c:pt idx="1182">
                  <c:v>2.0186952896829698E-2</c:v>
                </c:pt>
                <c:pt idx="1183">
                  <c:v>2.0192870551809999E-2</c:v>
                </c:pt>
                <c:pt idx="1184">
                  <c:v>2.01937009011195E-2</c:v>
                </c:pt>
                <c:pt idx="1185">
                  <c:v>2.02207136504928E-2</c:v>
                </c:pt>
                <c:pt idx="1186">
                  <c:v>2.0223227500742801E-2</c:v>
                </c:pt>
                <c:pt idx="1187">
                  <c:v>2.01499920417074E-2</c:v>
                </c:pt>
                <c:pt idx="1188">
                  <c:v>2.0248951625809301E-2</c:v>
                </c:pt>
                <c:pt idx="1189">
                  <c:v>2.0282632566720301E-2</c:v>
                </c:pt>
                <c:pt idx="1190">
                  <c:v>2.0376401807239399E-2</c:v>
                </c:pt>
                <c:pt idx="1191">
                  <c:v>2.0392867675159E-2</c:v>
                </c:pt>
                <c:pt idx="1192">
                  <c:v>2.0385985056475701E-2</c:v>
                </c:pt>
                <c:pt idx="1193">
                  <c:v>2.0361883626055299E-2</c:v>
                </c:pt>
                <c:pt idx="1194">
                  <c:v>2.0359847290985E-2</c:v>
                </c:pt>
                <c:pt idx="1195">
                  <c:v>2.0360114860204899E-2</c:v>
                </c:pt>
                <c:pt idx="1196">
                  <c:v>2.0381864979214001E-2</c:v>
                </c:pt>
                <c:pt idx="1197">
                  <c:v>2.0382187105866999E-2</c:v>
                </c:pt>
                <c:pt idx="1198">
                  <c:v>2.0336398269370601E-2</c:v>
                </c:pt>
                <c:pt idx="1199">
                  <c:v>2.0349382013572202E-2</c:v>
                </c:pt>
                <c:pt idx="1200">
                  <c:v>2.0300139331248902E-2</c:v>
                </c:pt>
                <c:pt idx="1201">
                  <c:v>2.0365765929481701E-2</c:v>
                </c:pt>
                <c:pt idx="1202">
                  <c:v>2.0370253668247101E-2</c:v>
                </c:pt>
                <c:pt idx="1203">
                  <c:v>2.0364754347065299E-2</c:v>
                </c:pt>
                <c:pt idx="1204">
                  <c:v>2.0310381573083899E-2</c:v>
                </c:pt>
                <c:pt idx="1205">
                  <c:v>2.0306770100675501E-2</c:v>
                </c:pt>
                <c:pt idx="1206">
                  <c:v>2.0348440236022902E-2</c:v>
                </c:pt>
                <c:pt idx="1207">
                  <c:v>2.03267609646497E-2</c:v>
                </c:pt>
                <c:pt idx="1208">
                  <c:v>2.0332735045463901E-2</c:v>
                </c:pt>
                <c:pt idx="1209">
                  <c:v>2.03089810210468E-2</c:v>
                </c:pt>
                <c:pt idx="1210">
                  <c:v>2.0306670253622299E-2</c:v>
                </c:pt>
                <c:pt idx="1211">
                  <c:v>2.03728351805126E-2</c:v>
                </c:pt>
                <c:pt idx="1212">
                  <c:v>2.03668971618443E-2</c:v>
                </c:pt>
                <c:pt idx="1213">
                  <c:v>2.0358662863972799E-2</c:v>
                </c:pt>
                <c:pt idx="1214">
                  <c:v>2.0796859543780601E-2</c:v>
                </c:pt>
                <c:pt idx="1215">
                  <c:v>2.1016349498195499E-2</c:v>
                </c:pt>
                <c:pt idx="1216">
                  <c:v>2.1262044292827999E-2</c:v>
                </c:pt>
                <c:pt idx="1217">
                  <c:v>2.12638782024583E-2</c:v>
                </c:pt>
                <c:pt idx="1218">
                  <c:v>2.1200322510513899E-2</c:v>
                </c:pt>
                <c:pt idx="1219">
                  <c:v>2.1205763269925699E-2</c:v>
                </c:pt>
                <c:pt idx="1220">
                  <c:v>2.1238504120995001E-2</c:v>
                </c:pt>
                <c:pt idx="1221">
                  <c:v>2.1299727689555199E-2</c:v>
                </c:pt>
                <c:pt idx="1222">
                  <c:v>2.1440044144627E-2</c:v>
                </c:pt>
                <c:pt idx="1223">
                  <c:v>2.14417808661055E-2</c:v>
                </c:pt>
                <c:pt idx="1224">
                  <c:v>2.1436144275328601E-2</c:v>
                </c:pt>
                <c:pt idx="1225">
                  <c:v>2.1470405028451701E-2</c:v>
                </c:pt>
                <c:pt idx="1226">
                  <c:v>2.1396659083268502E-2</c:v>
                </c:pt>
                <c:pt idx="1227">
                  <c:v>2.1732781748473502E-2</c:v>
                </c:pt>
                <c:pt idx="1228">
                  <c:v>2.1716460238843299E-2</c:v>
                </c:pt>
                <c:pt idx="1229">
                  <c:v>2.1612906167914201E-2</c:v>
                </c:pt>
                <c:pt idx="1230">
                  <c:v>2.1622652961116099E-2</c:v>
                </c:pt>
                <c:pt idx="1231">
                  <c:v>2.15583237256807E-2</c:v>
                </c:pt>
                <c:pt idx="1232">
                  <c:v>2.1544998892136801E-2</c:v>
                </c:pt>
                <c:pt idx="1233">
                  <c:v>2.1540678811468199E-2</c:v>
                </c:pt>
                <c:pt idx="1234">
                  <c:v>2.1542573870151099E-2</c:v>
                </c:pt>
                <c:pt idx="1235">
                  <c:v>2.15547877833271E-2</c:v>
                </c:pt>
                <c:pt idx="1236">
                  <c:v>2.1593351374644899E-2</c:v>
                </c:pt>
                <c:pt idx="1237">
                  <c:v>2.1639826747144601E-2</c:v>
                </c:pt>
                <c:pt idx="1238">
                  <c:v>2.27687369374408E-2</c:v>
                </c:pt>
                <c:pt idx="1239">
                  <c:v>2.2770106653509401E-2</c:v>
                </c:pt>
                <c:pt idx="1240">
                  <c:v>2.3026130922906899E-2</c:v>
                </c:pt>
                <c:pt idx="1241">
                  <c:v>2.4347292013633101E-2</c:v>
                </c:pt>
                <c:pt idx="1242">
                  <c:v>2.4403713287312501E-2</c:v>
                </c:pt>
                <c:pt idx="1243">
                  <c:v>2.4407913833253799E-2</c:v>
                </c:pt>
                <c:pt idx="1244">
                  <c:v>2.4442323968939798E-2</c:v>
                </c:pt>
                <c:pt idx="1245">
                  <c:v>2.44435980344853E-2</c:v>
                </c:pt>
                <c:pt idx="1246">
                  <c:v>2.4460111079254099E-2</c:v>
                </c:pt>
                <c:pt idx="1247">
                  <c:v>2.4511680134330801E-2</c:v>
                </c:pt>
                <c:pt idx="1248">
                  <c:v>2.4209310378776799E-2</c:v>
                </c:pt>
                <c:pt idx="1249">
                  <c:v>2.4015129776611601E-2</c:v>
                </c:pt>
                <c:pt idx="1250">
                  <c:v>2.4015319712740599E-2</c:v>
                </c:pt>
                <c:pt idx="1251">
                  <c:v>2.4107295440353199E-2</c:v>
                </c:pt>
                <c:pt idx="1252">
                  <c:v>2.40875696044533E-2</c:v>
                </c:pt>
                <c:pt idx="1253">
                  <c:v>2.4221152980149801E-2</c:v>
                </c:pt>
                <c:pt idx="1254">
                  <c:v>2.4159777238009699E-2</c:v>
                </c:pt>
                <c:pt idx="1255">
                  <c:v>2.4458705672038498E-2</c:v>
                </c:pt>
                <c:pt idx="1256">
                  <c:v>2.4881494498211899E-2</c:v>
                </c:pt>
                <c:pt idx="1257">
                  <c:v>2.4820729343061999E-2</c:v>
                </c:pt>
                <c:pt idx="1258">
                  <c:v>2.4873354798106199E-2</c:v>
                </c:pt>
                <c:pt idx="1259">
                  <c:v>2.5281717021213301E-2</c:v>
                </c:pt>
                <c:pt idx="1260">
                  <c:v>2.54288711995364E-2</c:v>
                </c:pt>
                <c:pt idx="1261">
                  <c:v>2.53875650443398E-2</c:v>
                </c:pt>
                <c:pt idx="1262">
                  <c:v>2.5413201462810699E-2</c:v>
                </c:pt>
                <c:pt idx="1263">
                  <c:v>2.5444849140553401E-2</c:v>
                </c:pt>
                <c:pt idx="1264">
                  <c:v>2.6049950880410299E-2</c:v>
                </c:pt>
                <c:pt idx="1265">
                  <c:v>2.6346483660718598E-2</c:v>
                </c:pt>
                <c:pt idx="1266">
                  <c:v>2.6358405848158E-2</c:v>
                </c:pt>
                <c:pt idx="1267">
                  <c:v>2.6286934426891801E-2</c:v>
                </c:pt>
                <c:pt idx="1268">
                  <c:v>2.6218620823753199E-2</c:v>
                </c:pt>
                <c:pt idx="1269">
                  <c:v>2.6182529041988801E-2</c:v>
                </c:pt>
                <c:pt idx="1270">
                  <c:v>2.6031478798920499E-2</c:v>
                </c:pt>
                <c:pt idx="1271">
                  <c:v>2.5900032392993499E-2</c:v>
                </c:pt>
                <c:pt idx="1272">
                  <c:v>2.58693596313921E-2</c:v>
                </c:pt>
                <c:pt idx="1273">
                  <c:v>2.5780759779264001E-2</c:v>
                </c:pt>
                <c:pt idx="1274">
                  <c:v>2.5783713258656402E-2</c:v>
                </c:pt>
                <c:pt idx="1275">
                  <c:v>2.5881225376262799E-2</c:v>
                </c:pt>
                <c:pt idx="1276">
                  <c:v>2.59614791288999E-2</c:v>
                </c:pt>
                <c:pt idx="1277">
                  <c:v>2.5962063636137799E-2</c:v>
                </c:pt>
                <c:pt idx="1278">
                  <c:v>2.6007203737643401E-2</c:v>
                </c:pt>
                <c:pt idx="1279">
                  <c:v>2.57799136544094E-2</c:v>
                </c:pt>
                <c:pt idx="1280">
                  <c:v>2.5719325564344499E-2</c:v>
                </c:pt>
                <c:pt idx="1281">
                  <c:v>2.5709683134373499E-2</c:v>
                </c:pt>
                <c:pt idx="1282">
                  <c:v>2.5683589629618E-2</c:v>
                </c:pt>
                <c:pt idx="1283">
                  <c:v>2.5135169247426401E-2</c:v>
                </c:pt>
                <c:pt idx="1284">
                  <c:v>2.52693423797925E-2</c:v>
                </c:pt>
                <c:pt idx="1285">
                  <c:v>2.5057295020992999E-2</c:v>
                </c:pt>
                <c:pt idx="1286">
                  <c:v>2.50538128671824E-2</c:v>
                </c:pt>
                <c:pt idx="1287">
                  <c:v>2.5024656011132799E-2</c:v>
                </c:pt>
                <c:pt idx="1288">
                  <c:v>2.5028590969632201E-2</c:v>
                </c:pt>
                <c:pt idx="1289">
                  <c:v>2.50578690993353E-2</c:v>
                </c:pt>
                <c:pt idx="1290">
                  <c:v>2.5081413384315999E-2</c:v>
                </c:pt>
                <c:pt idx="1291">
                  <c:v>2.49314924770071E-2</c:v>
                </c:pt>
                <c:pt idx="1292">
                  <c:v>2.4934026437819001E-2</c:v>
                </c:pt>
                <c:pt idx="1293">
                  <c:v>2.48668717453507E-2</c:v>
                </c:pt>
                <c:pt idx="1294">
                  <c:v>2.48312819782633E-2</c:v>
                </c:pt>
                <c:pt idx="1295">
                  <c:v>2.49368721266051E-2</c:v>
                </c:pt>
                <c:pt idx="1296">
                  <c:v>2.53420916710177E-2</c:v>
                </c:pt>
                <c:pt idx="1297">
                  <c:v>2.3568414617472999E-2</c:v>
                </c:pt>
                <c:pt idx="1298">
                  <c:v>2.3435528599946E-2</c:v>
                </c:pt>
                <c:pt idx="1299">
                  <c:v>2.3245180125384401E-2</c:v>
                </c:pt>
                <c:pt idx="1300">
                  <c:v>2.3250449588255399E-2</c:v>
                </c:pt>
                <c:pt idx="1301">
                  <c:v>2.3182160558173699E-2</c:v>
                </c:pt>
                <c:pt idx="1302">
                  <c:v>2.3161076198665101E-2</c:v>
                </c:pt>
                <c:pt idx="1303">
                  <c:v>2.31622760307773E-2</c:v>
                </c:pt>
                <c:pt idx="1304">
                  <c:v>2.3158368408184801E-2</c:v>
                </c:pt>
                <c:pt idx="1305">
                  <c:v>2.3136179845563799E-2</c:v>
                </c:pt>
                <c:pt idx="1306">
                  <c:v>2.3184602166871099E-2</c:v>
                </c:pt>
                <c:pt idx="1307">
                  <c:v>2.32345274708671E-2</c:v>
                </c:pt>
                <c:pt idx="1308">
                  <c:v>2.3149611474437701E-2</c:v>
                </c:pt>
                <c:pt idx="1309">
                  <c:v>2.31234702167127E-2</c:v>
                </c:pt>
                <c:pt idx="1310">
                  <c:v>2.3178823558795102E-2</c:v>
                </c:pt>
                <c:pt idx="1311">
                  <c:v>2.3154157774622101E-2</c:v>
                </c:pt>
                <c:pt idx="1312">
                  <c:v>2.3674724277693099E-2</c:v>
                </c:pt>
                <c:pt idx="1313">
                  <c:v>2.36861355987966E-2</c:v>
                </c:pt>
                <c:pt idx="1314">
                  <c:v>2.37733877295827E-2</c:v>
                </c:pt>
                <c:pt idx="1315">
                  <c:v>2.37724531201878E-2</c:v>
                </c:pt>
                <c:pt idx="1316">
                  <c:v>2.3777783783295099E-2</c:v>
                </c:pt>
                <c:pt idx="1317">
                  <c:v>2.3794019790340099E-2</c:v>
                </c:pt>
                <c:pt idx="1318">
                  <c:v>2.3839899823955801E-2</c:v>
                </c:pt>
                <c:pt idx="1319">
                  <c:v>2.38316798494035E-2</c:v>
                </c:pt>
                <c:pt idx="1320">
                  <c:v>2.38444963073931E-2</c:v>
                </c:pt>
                <c:pt idx="1321">
                  <c:v>2.3784151557296199E-2</c:v>
                </c:pt>
                <c:pt idx="1322">
                  <c:v>2.3819651004512402E-2</c:v>
                </c:pt>
                <c:pt idx="1323">
                  <c:v>2.3907234498106399E-2</c:v>
                </c:pt>
                <c:pt idx="1324">
                  <c:v>2.3909625639003E-2</c:v>
                </c:pt>
                <c:pt idx="1325">
                  <c:v>2.3996916724159201E-2</c:v>
                </c:pt>
                <c:pt idx="1326">
                  <c:v>2.39577279011325E-2</c:v>
                </c:pt>
                <c:pt idx="1327">
                  <c:v>2.39435705212841E-2</c:v>
                </c:pt>
                <c:pt idx="1328">
                  <c:v>2.3934892875283598E-2</c:v>
                </c:pt>
                <c:pt idx="1329">
                  <c:v>2.39185994386347E-2</c:v>
                </c:pt>
                <c:pt idx="1330">
                  <c:v>2.39234350883799E-2</c:v>
                </c:pt>
                <c:pt idx="1331">
                  <c:v>2.3853882557497399E-2</c:v>
                </c:pt>
                <c:pt idx="1332">
                  <c:v>2.3855472212126999E-2</c:v>
                </c:pt>
                <c:pt idx="1333">
                  <c:v>2.38888534501582E-2</c:v>
                </c:pt>
                <c:pt idx="1334">
                  <c:v>2.37008632081082E-2</c:v>
                </c:pt>
                <c:pt idx="1335">
                  <c:v>2.34405060457115E-2</c:v>
                </c:pt>
                <c:pt idx="1336">
                  <c:v>2.3337914632949E-2</c:v>
                </c:pt>
                <c:pt idx="1337">
                  <c:v>2.3350365372802901E-2</c:v>
                </c:pt>
                <c:pt idx="1338">
                  <c:v>2.3352482874561601E-2</c:v>
                </c:pt>
                <c:pt idx="1339">
                  <c:v>2.3788793401899801E-2</c:v>
                </c:pt>
                <c:pt idx="1340">
                  <c:v>2.37810055996148E-2</c:v>
                </c:pt>
                <c:pt idx="1341">
                  <c:v>2.3751901814765199E-2</c:v>
                </c:pt>
                <c:pt idx="1342">
                  <c:v>2.3601363370209599E-2</c:v>
                </c:pt>
                <c:pt idx="1343">
                  <c:v>2.36307174051609E-2</c:v>
                </c:pt>
                <c:pt idx="1344">
                  <c:v>2.3688493613835401E-2</c:v>
                </c:pt>
                <c:pt idx="1345">
                  <c:v>2.3804497736756001E-2</c:v>
                </c:pt>
                <c:pt idx="1346">
                  <c:v>2.3900166425284902E-2</c:v>
                </c:pt>
                <c:pt idx="1347">
                  <c:v>2.3660224965629001E-2</c:v>
                </c:pt>
                <c:pt idx="1348">
                  <c:v>2.35674808514146E-2</c:v>
                </c:pt>
                <c:pt idx="1349">
                  <c:v>2.3986943672761701E-2</c:v>
                </c:pt>
                <c:pt idx="1350">
                  <c:v>2.40146956193199E-2</c:v>
                </c:pt>
                <c:pt idx="1351">
                  <c:v>2.4026947962603198E-2</c:v>
                </c:pt>
                <c:pt idx="1352">
                  <c:v>2.4033057681842399E-2</c:v>
                </c:pt>
                <c:pt idx="1353">
                  <c:v>2.4254528018518101E-2</c:v>
                </c:pt>
                <c:pt idx="1354">
                  <c:v>2.4284094800457401E-2</c:v>
                </c:pt>
                <c:pt idx="1355">
                  <c:v>2.4295158868685801E-2</c:v>
                </c:pt>
                <c:pt idx="1356">
                  <c:v>2.42301806004326E-2</c:v>
                </c:pt>
                <c:pt idx="1357">
                  <c:v>2.4179855818644801E-2</c:v>
                </c:pt>
                <c:pt idx="1358">
                  <c:v>2.3311858206979601E-2</c:v>
                </c:pt>
                <c:pt idx="1359">
                  <c:v>2.3708635581812999E-2</c:v>
                </c:pt>
                <c:pt idx="1360">
                  <c:v>2.3547045359451398E-2</c:v>
                </c:pt>
                <c:pt idx="1361">
                  <c:v>2.2341129509470498E-2</c:v>
                </c:pt>
                <c:pt idx="1362">
                  <c:v>2.2230665675699798E-2</c:v>
                </c:pt>
                <c:pt idx="1363">
                  <c:v>2.2257673666590198E-2</c:v>
                </c:pt>
                <c:pt idx="1364">
                  <c:v>2.2355326953406002E-2</c:v>
                </c:pt>
                <c:pt idx="1365">
                  <c:v>2.24506507937869E-2</c:v>
                </c:pt>
                <c:pt idx="1366">
                  <c:v>2.2361789026819501E-2</c:v>
                </c:pt>
                <c:pt idx="1367">
                  <c:v>2.2267388597195199E-2</c:v>
                </c:pt>
                <c:pt idx="1368">
                  <c:v>2.23332940127717E-2</c:v>
                </c:pt>
                <c:pt idx="1369">
                  <c:v>2.2306391665629002E-2</c:v>
                </c:pt>
                <c:pt idx="1370">
                  <c:v>2.23319867981344E-2</c:v>
                </c:pt>
                <c:pt idx="1371">
                  <c:v>2.2223111343178E-2</c:v>
                </c:pt>
                <c:pt idx="1372">
                  <c:v>2.2219474938643E-2</c:v>
                </c:pt>
                <c:pt idx="1373">
                  <c:v>2.2144025133565001E-2</c:v>
                </c:pt>
                <c:pt idx="1374">
                  <c:v>2.2437017012722299E-2</c:v>
                </c:pt>
                <c:pt idx="1375">
                  <c:v>2.2238735407745899E-2</c:v>
                </c:pt>
                <c:pt idx="1376">
                  <c:v>2.1973810303212899E-2</c:v>
                </c:pt>
                <c:pt idx="1377">
                  <c:v>2.1960566995941101E-2</c:v>
                </c:pt>
                <c:pt idx="1378">
                  <c:v>2.1919912721917401E-2</c:v>
                </c:pt>
                <c:pt idx="1379">
                  <c:v>2.15247726380095E-2</c:v>
                </c:pt>
                <c:pt idx="1380">
                  <c:v>2.1401458795798901E-2</c:v>
                </c:pt>
                <c:pt idx="1381">
                  <c:v>2.1459891133403099E-2</c:v>
                </c:pt>
                <c:pt idx="1382">
                  <c:v>2.14033140313796E-2</c:v>
                </c:pt>
                <c:pt idx="1383">
                  <c:v>2.1277386022812102E-2</c:v>
                </c:pt>
                <c:pt idx="1384">
                  <c:v>2.0612213182551499E-2</c:v>
                </c:pt>
                <c:pt idx="1385">
                  <c:v>2.0221224233673101E-2</c:v>
                </c:pt>
                <c:pt idx="1386">
                  <c:v>2.0081361602834202E-2</c:v>
                </c:pt>
                <c:pt idx="1387">
                  <c:v>2.0037644003606501E-2</c:v>
                </c:pt>
                <c:pt idx="1388">
                  <c:v>2.0051814028253401E-2</c:v>
                </c:pt>
                <c:pt idx="1389">
                  <c:v>2.0069855711356201E-2</c:v>
                </c:pt>
                <c:pt idx="1390">
                  <c:v>2.0083038923962501E-2</c:v>
                </c:pt>
                <c:pt idx="1391">
                  <c:v>1.9844492707540001E-2</c:v>
                </c:pt>
                <c:pt idx="1392">
                  <c:v>1.97604807390757E-2</c:v>
                </c:pt>
                <c:pt idx="1393">
                  <c:v>1.9760498994372801E-2</c:v>
                </c:pt>
                <c:pt idx="1394">
                  <c:v>1.97589862330072E-2</c:v>
                </c:pt>
                <c:pt idx="1395">
                  <c:v>1.94486819049054E-2</c:v>
                </c:pt>
                <c:pt idx="1396">
                  <c:v>1.9343851245423201E-2</c:v>
                </c:pt>
                <c:pt idx="1397">
                  <c:v>1.9513201778572398E-2</c:v>
                </c:pt>
                <c:pt idx="1398">
                  <c:v>1.94348577128939E-2</c:v>
                </c:pt>
                <c:pt idx="1399">
                  <c:v>2.00067581664942E-2</c:v>
                </c:pt>
                <c:pt idx="1400">
                  <c:v>2.13200033492668E-2</c:v>
                </c:pt>
                <c:pt idx="1401">
                  <c:v>2.16075974546375E-2</c:v>
                </c:pt>
                <c:pt idx="1402">
                  <c:v>2.1604087535380699E-2</c:v>
                </c:pt>
                <c:pt idx="1403">
                  <c:v>2.1304511496785201E-2</c:v>
                </c:pt>
                <c:pt idx="1404">
                  <c:v>2.2089590224010101E-2</c:v>
                </c:pt>
                <c:pt idx="1405">
                  <c:v>2.18554510434852E-2</c:v>
                </c:pt>
                <c:pt idx="1406">
                  <c:v>2.1780842402047199E-2</c:v>
                </c:pt>
                <c:pt idx="1407">
                  <c:v>2.1848457792294499E-2</c:v>
                </c:pt>
                <c:pt idx="1408">
                  <c:v>2.1842133380409402E-2</c:v>
                </c:pt>
                <c:pt idx="1409">
                  <c:v>2.2925998345086698E-2</c:v>
                </c:pt>
                <c:pt idx="1410">
                  <c:v>2.2910653958420599E-2</c:v>
                </c:pt>
                <c:pt idx="1411">
                  <c:v>2.29986520658409E-2</c:v>
                </c:pt>
                <c:pt idx="1412">
                  <c:v>2.2986151059924201E-2</c:v>
                </c:pt>
                <c:pt idx="1413">
                  <c:v>2.3021365159889201E-2</c:v>
                </c:pt>
                <c:pt idx="1414">
                  <c:v>2.3045171253953702E-2</c:v>
                </c:pt>
                <c:pt idx="1415">
                  <c:v>2.3050545091114899E-2</c:v>
                </c:pt>
                <c:pt idx="1416">
                  <c:v>2.2609043173729099E-2</c:v>
                </c:pt>
                <c:pt idx="1417">
                  <c:v>2.25584494493778E-2</c:v>
                </c:pt>
                <c:pt idx="1418">
                  <c:v>2.2749341085753799E-2</c:v>
                </c:pt>
                <c:pt idx="1419">
                  <c:v>2.2969803795781899E-2</c:v>
                </c:pt>
                <c:pt idx="1420">
                  <c:v>2.2917461090511598E-2</c:v>
                </c:pt>
                <c:pt idx="1421">
                  <c:v>2.30567922044159E-2</c:v>
                </c:pt>
                <c:pt idx="1422">
                  <c:v>2.30568902531622E-2</c:v>
                </c:pt>
                <c:pt idx="1423">
                  <c:v>2.3046495479060201E-2</c:v>
                </c:pt>
                <c:pt idx="1424">
                  <c:v>2.3127105706056798E-2</c:v>
                </c:pt>
                <c:pt idx="1425">
                  <c:v>2.3211146747070199E-2</c:v>
                </c:pt>
                <c:pt idx="1426">
                  <c:v>2.3117954960133399E-2</c:v>
                </c:pt>
                <c:pt idx="1427">
                  <c:v>2.3133049934526102E-2</c:v>
                </c:pt>
                <c:pt idx="1428">
                  <c:v>2.3160559112926998E-2</c:v>
                </c:pt>
                <c:pt idx="1429">
                  <c:v>2.34371624951887E-2</c:v>
                </c:pt>
                <c:pt idx="1430">
                  <c:v>2.3365406408207601E-2</c:v>
                </c:pt>
                <c:pt idx="1431">
                  <c:v>2.34577641939714E-2</c:v>
                </c:pt>
                <c:pt idx="1432">
                  <c:v>2.3174804091131301E-2</c:v>
                </c:pt>
                <c:pt idx="1433">
                  <c:v>2.3134059740551299E-2</c:v>
                </c:pt>
                <c:pt idx="1434">
                  <c:v>2.3340761084327699E-2</c:v>
                </c:pt>
                <c:pt idx="1435">
                  <c:v>2.37516636373073E-2</c:v>
                </c:pt>
                <c:pt idx="1436">
                  <c:v>2.3892809896917701E-2</c:v>
                </c:pt>
                <c:pt idx="1437">
                  <c:v>2.4065142670773299E-2</c:v>
                </c:pt>
                <c:pt idx="1438">
                  <c:v>2.4076917935499698E-2</c:v>
                </c:pt>
                <c:pt idx="1439">
                  <c:v>2.43515525471775E-2</c:v>
                </c:pt>
                <c:pt idx="1440">
                  <c:v>2.43918366583043E-2</c:v>
                </c:pt>
                <c:pt idx="1441">
                  <c:v>2.4374692757353999E-2</c:v>
                </c:pt>
                <c:pt idx="1442">
                  <c:v>2.4641219619758899E-2</c:v>
                </c:pt>
                <c:pt idx="1443">
                  <c:v>2.4980370315750899E-2</c:v>
                </c:pt>
                <c:pt idx="1444">
                  <c:v>2.5096031699011399E-2</c:v>
                </c:pt>
                <c:pt idx="1445">
                  <c:v>2.5401854264817999E-2</c:v>
                </c:pt>
                <c:pt idx="1446">
                  <c:v>2.5361832191491102E-2</c:v>
                </c:pt>
                <c:pt idx="1447">
                  <c:v>2.5524283114420499E-2</c:v>
                </c:pt>
                <c:pt idx="1448">
                  <c:v>2.6022678845081901E-2</c:v>
                </c:pt>
                <c:pt idx="1449">
                  <c:v>2.6016168728273399E-2</c:v>
                </c:pt>
                <c:pt idx="1450">
                  <c:v>2.64181777092037E-2</c:v>
                </c:pt>
                <c:pt idx="1451">
                  <c:v>2.6439184984171599E-2</c:v>
                </c:pt>
                <c:pt idx="1452">
                  <c:v>2.6432026225712901E-2</c:v>
                </c:pt>
                <c:pt idx="1453">
                  <c:v>2.7065369608057901E-2</c:v>
                </c:pt>
                <c:pt idx="1454">
                  <c:v>2.6946955495761E-2</c:v>
                </c:pt>
                <c:pt idx="1455">
                  <c:v>2.7016200178179101E-2</c:v>
                </c:pt>
                <c:pt idx="1456">
                  <c:v>2.7059491556612601E-2</c:v>
                </c:pt>
                <c:pt idx="1457">
                  <c:v>2.7157935515264801E-2</c:v>
                </c:pt>
                <c:pt idx="1458">
                  <c:v>2.7132924211660001E-2</c:v>
                </c:pt>
                <c:pt idx="1459">
                  <c:v>2.6880556435976002E-2</c:v>
                </c:pt>
                <c:pt idx="1460">
                  <c:v>2.7240846666848399E-2</c:v>
                </c:pt>
                <c:pt idx="1461">
                  <c:v>2.84363202531955E-2</c:v>
                </c:pt>
                <c:pt idx="1462">
                  <c:v>2.84000537878107E-2</c:v>
                </c:pt>
                <c:pt idx="1463">
                  <c:v>2.83814054779606E-2</c:v>
                </c:pt>
                <c:pt idx="1464">
                  <c:v>2.8400887293341202E-2</c:v>
                </c:pt>
                <c:pt idx="1465">
                  <c:v>2.8706036362968101E-2</c:v>
                </c:pt>
                <c:pt idx="1466">
                  <c:v>2.8760884397654701E-2</c:v>
                </c:pt>
                <c:pt idx="1467">
                  <c:v>2.8767478342061399E-2</c:v>
                </c:pt>
                <c:pt idx="1468">
                  <c:v>2.9061622526679601E-2</c:v>
                </c:pt>
                <c:pt idx="1469">
                  <c:v>2.88691658711306E-2</c:v>
                </c:pt>
                <c:pt idx="1470">
                  <c:v>2.88726422425329E-2</c:v>
                </c:pt>
                <c:pt idx="1471">
                  <c:v>2.8868348675325301E-2</c:v>
                </c:pt>
                <c:pt idx="1472">
                  <c:v>2.8883262990179199E-2</c:v>
                </c:pt>
                <c:pt idx="1473">
                  <c:v>2.87792616957766E-2</c:v>
                </c:pt>
                <c:pt idx="1474">
                  <c:v>2.87664847900998E-2</c:v>
                </c:pt>
                <c:pt idx="1475">
                  <c:v>2.87437706523694E-2</c:v>
                </c:pt>
                <c:pt idx="1476">
                  <c:v>2.8745606118291901E-2</c:v>
                </c:pt>
                <c:pt idx="1477">
                  <c:v>2.9080670060233599E-2</c:v>
                </c:pt>
                <c:pt idx="1478">
                  <c:v>2.9128795799036499E-2</c:v>
                </c:pt>
                <c:pt idx="1479">
                  <c:v>2.88915766342266E-2</c:v>
                </c:pt>
                <c:pt idx="1480">
                  <c:v>2.88443272978431E-2</c:v>
                </c:pt>
                <c:pt idx="1481">
                  <c:v>2.8959763762757901E-2</c:v>
                </c:pt>
                <c:pt idx="1482">
                  <c:v>2.8928596697079E-2</c:v>
                </c:pt>
                <c:pt idx="1483">
                  <c:v>2.90383787580989E-2</c:v>
                </c:pt>
                <c:pt idx="1484">
                  <c:v>2.88541837515718E-2</c:v>
                </c:pt>
                <c:pt idx="1485">
                  <c:v>2.8816163259923502E-2</c:v>
                </c:pt>
                <c:pt idx="1486">
                  <c:v>2.8808223649806099E-2</c:v>
                </c:pt>
                <c:pt idx="1487">
                  <c:v>2.8779204306734401E-2</c:v>
                </c:pt>
                <c:pt idx="1488">
                  <c:v>2.86810502360785E-2</c:v>
                </c:pt>
                <c:pt idx="1489">
                  <c:v>2.8686033725021601E-2</c:v>
                </c:pt>
                <c:pt idx="1490">
                  <c:v>2.86453489594568E-2</c:v>
                </c:pt>
                <c:pt idx="1491">
                  <c:v>2.9527149949002799E-2</c:v>
                </c:pt>
                <c:pt idx="1492">
                  <c:v>2.9563659831878499E-2</c:v>
                </c:pt>
                <c:pt idx="1493">
                  <c:v>2.95811673246144E-2</c:v>
                </c:pt>
                <c:pt idx="1494">
                  <c:v>2.9544343040131298E-2</c:v>
                </c:pt>
                <c:pt idx="1495">
                  <c:v>2.9471227398277001E-2</c:v>
                </c:pt>
                <c:pt idx="1496">
                  <c:v>2.9572755502491999E-2</c:v>
                </c:pt>
                <c:pt idx="1497">
                  <c:v>3.0001951075660099E-2</c:v>
                </c:pt>
                <c:pt idx="1498">
                  <c:v>3.05971304443961E-2</c:v>
                </c:pt>
                <c:pt idx="1499">
                  <c:v>3.0665303920699698E-2</c:v>
                </c:pt>
                <c:pt idx="1500">
                  <c:v>3.0659041567267301E-2</c:v>
                </c:pt>
                <c:pt idx="1501">
                  <c:v>3.0670156470038699E-2</c:v>
                </c:pt>
                <c:pt idx="1502">
                  <c:v>3.09435302201208E-2</c:v>
                </c:pt>
                <c:pt idx="1503">
                  <c:v>3.09271219130536E-2</c:v>
                </c:pt>
                <c:pt idx="1504">
                  <c:v>3.1210531885204999E-2</c:v>
                </c:pt>
                <c:pt idx="1505">
                  <c:v>3.12119462905792E-2</c:v>
                </c:pt>
                <c:pt idx="1506">
                  <c:v>3.1293402081546802E-2</c:v>
                </c:pt>
                <c:pt idx="1507">
                  <c:v>3.1277257900740603E-2</c:v>
                </c:pt>
                <c:pt idx="1508">
                  <c:v>3.1344235641487403E-2</c:v>
                </c:pt>
                <c:pt idx="1509">
                  <c:v>3.1295860870516397E-2</c:v>
                </c:pt>
                <c:pt idx="1510">
                  <c:v>3.1710674451549903E-2</c:v>
                </c:pt>
                <c:pt idx="1511">
                  <c:v>3.16723304735642E-2</c:v>
                </c:pt>
                <c:pt idx="1512">
                  <c:v>3.1891859359114899E-2</c:v>
                </c:pt>
                <c:pt idx="1513">
                  <c:v>3.1887919669824002E-2</c:v>
                </c:pt>
                <c:pt idx="1514">
                  <c:v>3.1871691269429799E-2</c:v>
                </c:pt>
                <c:pt idx="1515">
                  <c:v>3.1893942892635502E-2</c:v>
                </c:pt>
                <c:pt idx="1516">
                  <c:v>3.1963732654256803E-2</c:v>
                </c:pt>
                <c:pt idx="1517">
                  <c:v>3.2051446894747197E-2</c:v>
                </c:pt>
                <c:pt idx="1518">
                  <c:v>3.2025562088698702E-2</c:v>
                </c:pt>
                <c:pt idx="1519">
                  <c:v>3.1969749818510897E-2</c:v>
                </c:pt>
                <c:pt idx="1520">
                  <c:v>3.14218483920626E-2</c:v>
                </c:pt>
                <c:pt idx="1521">
                  <c:v>3.1089406371898599E-2</c:v>
                </c:pt>
                <c:pt idx="1522">
                  <c:v>3.10601733829644E-2</c:v>
                </c:pt>
                <c:pt idx="1523">
                  <c:v>3.1212988561718901E-2</c:v>
                </c:pt>
                <c:pt idx="1524">
                  <c:v>3.0626382208158599E-2</c:v>
                </c:pt>
                <c:pt idx="1525">
                  <c:v>3.0629281142875799E-2</c:v>
                </c:pt>
                <c:pt idx="1526">
                  <c:v>3.0652987558758501E-2</c:v>
                </c:pt>
                <c:pt idx="1527">
                  <c:v>3.06221491688634E-2</c:v>
                </c:pt>
                <c:pt idx="1528">
                  <c:v>3.0694128325939901E-2</c:v>
                </c:pt>
                <c:pt idx="1529">
                  <c:v>2.9757398633151601E-2</c:v>
                </c:pt>
                <c:pt idx="1530">
                  <c:v>2.9810311249260101E-2</c:v>
                </c:pt>
                <c:pt idx="1531">
                  <c:v>2.9830888248653101E-2</c:v>
                </c:pt>
                <c:pt idx="1532">
                  <c:v>2.98041394174757E-2</c:v>
                </c:pt>
                <c:pt idx="1533">
                  <c:v>2.97953858628663E-2</c:v>
                </c:pt>
                <c:pt idx="1534">
                  <c:v>2.9973013801675202E-2</c:v>
                </c:pt>
                <c:pt idx="1535">
                  <c:v>3.0183532585991001E-2</c:v>
                </c:pt>
                <c:pt idx="1536">
                  <c:v>3.0144838036800899E-2</c:v>
                </c:pt>
                <c:pt idx="1537">
                  <c:v>3.01497273470131E-2</c:v>
                </c:pt>
                <c:pt idx="1538">
                  <c:v>3.0021879232192E-2</c:v>
                </c:pt>
                <c:pt idx="1539">
                  <c:v>2.9863658545617601E-2</c:v>
                </c:pt>
                <c:pt idx="1540">
                  <c:v>3.02254286353832E-2</c:v>
                </c:pt>
                <c:pt idx="1541">
                  <c:v>3.01354402111156E-2</c:v>
                </c:pt>
                <c:pt idx="1542">
                  <c:v>3.10355459430799E-2</c:v>
                </c:pt>
                <c:pt idx="1543">
                  <c:v>3.1124865580388399E-2</c:v>
                </c:pt>
                <c:pt idx="1544">
                  <c:v>3.1017142823260398E-2</c:v>
                </c:pt>
                <c:pt idx="1545">
                  <c:v>3.0966859450001102E-2</c:v>
                </c:pt>
                <c:pt idx="1546">
                  <c:v>3.1040315651895401E-2</c:v>
                </c:pt>
                <c:pt idx="1547">
                  <c:v>3.0998367945328099E-2</c:v>
                </c:pt>
                <c:pt idx="1548">
                  <c:v>3.10043881995795E-2</c:v>
                </c:pt>
                <c:pt idx="1549">
                  <c:v>3.09369584114122E-2</c:v>
                </c:pt>
                <c:pt idx="1550">
                  <c:v>3.10497782093298E-2</c:v>
                </c:pt>
                <c:pt idx="1551">
                  <c:v>3.0970499202177201E-2</c:v>
                </c:pt>
                <c:pt idx="1552">
                  <c:v>3.09320190072889E-2</c:v>
                </c:pt>
                <c:pt idx="1553">
                  <c:v>3.0936639125527798E-2</c:v>
                </c:pt>
                <c:pt idx="1554">
                  <c:v>3.0780592795946901E-2</c:v>
                </c:pt>
                <c:pt idx="1555">
                  <c:v>3.0538348109632199E-2</c:v>
                </c:pt>
                <c:pt idx="1556">
                  <c:v>3.0360196945223902E-2</c:v>
                </c:pt>
                <c:pt idx="1557">
                  <c:v>3.02091180419315E-2</c:v>
                </c:pt>
                <c:pt idx="1558">
                  <c:v>3.02920589893599E-2</c:v>
                </c:pt>
                <c:pt idx="1559">
                  <c:v>3.00735947571266E-2</c:v>
                </c:pt>
                <c:pt idx="1560">
                  <c:v>3.01761629272434E-2</c:v>
                </c:pt>
                <c:pt idx="1561">
                  <c:v>3.0298056751574501E-2</c:v>
                </c:pt>
                <c:pt idx="1562">
                  <c:v>3.0122072802071499E-2</c:v>
                </c:pt>
                <c:pt idx="1563">
                  <c:v>3.1018546887922601E-2</c:v>
                </c:pt>
                <c:pt idx="1564">
                  <c:v>3.1528585277511803E-2</c:v>
                </c:pt>
                <c:pt idx="1565">
                  <c:v>3.13267058834494E-2</c:v>
                </c:pt>
                <c:pt idx="1566">
                  <c:v>3.1340393025942603E-2</c:v>
                </c:pt>
                <c:pt idx="1567">
                  <c:v>3.1444646869352902E-2</c:v>
                </c:pt>
                <c:pt idx="1568">
                  <c:v>3.1041046590139301E-2</c:v>
                </c:pt>
                <c:pt idx="1569">
                  <c:v>3.1312983494013902E-2</c:v>
                </c:pt>
                <c:pt idx="1570">
                  <c:v>3.10007477275464E-2</c:v>
                </c:pt>
                <c:pt idx="1571">
                  <c:v>3.1083681796050401E-2</c:v>
                </c:pt>
                <c:pt idx="1572">
                  <c:v>3.1070776009807798E-2</c:v>
                </c:pt>
                <c:pt idx="1573">
                  <c:v>3.0759834273401902E-2</c:v>
                </c:pt>
                <c:pt idx="1574">
                  <c:v>3.09949569147966E-2</c:v>
                </c:pt>
                <c:pt idx="1575">
                  <c:v>3.0999011617508499E-2</c:v>
                </c:pt>
                <c:pt idx="1576">
                  <c:v>3.0908957784125099E-2</c:v>
                </c:pt>
                <c:pt idx="1577">
                  <c:v>3.1068684216370601E-2</c:v>
                </c:pt>
                <c:pt idx="1578">
                  <c:v>3.10854205187601E-2</c:v>
                </c:pt>
                <c:pt idx="1579">
                  <c:v>3.1263327299410303E-2</c:v>
                </c:pt>
                <c:pt idx="1580">
                  <c:v>3.0906362130865402E-2</c:v>
                </c:pt>
                <c:pt idx="1581">
                  <c:v>2.9730009420042999E-2</c:v>
                </c:pt>
                <c:pt idx="1582">
                  <c:v>2.9710530294007598E-2</c:v>
                </c:pt>
                <c:pt idx="1583">
                  <c:v>2.9761423475714099E-2</c:v>
                </c:pt>
                <c:pt idx="1584">
                  <c:v>3.03446121854914E-2</c:v>
                </c:pt>
                <c:pt idx="1585">
                  <c:v>3.01328811075172E-2</c:v>
                </c:pt>
                <c:pt idx="1586">
                  <c:v>3.0057571381281799E-2</c:v>
                </c:pt>
                <c:pt idx="1587">
                  <c:v>3.01879859949283E-2</c:v>
                </c:pt>
                <c:pt idx="1588">
                  <c:v>2.99732030257054E-2</c:v>
                </c:pt>
                <c:pt idx="1589">
                  <c:v>2.98123032691117E-2</c:v>
                </c:pt>
                <c:pt idx="1590">
                  <c:v>2.9819487848287099E-2</c:v>
                </c:pt>
                <c:pt idx="1591">
                  <c:v>3.0082844161439901E-2</c:v>
                </c:pt>
                <c:pt idx="1592">
                  <c:v>3.01213273689366E-2</c:v>
                </c:pt>
                <c:pt idx="1593">
                  <c:v>2.9990913182022599E-2</c:v>
                </c:pt>
                <c:pt idx="1594">
                  <c:v>3.0833111205281899E-2</c:v>
                </c:pt>
                <c:pt idx="1595">
                  <c:v>3.0834501176411101E-2</c:v>
                </c:pt>
                <c:pt idx="1596">
                  <c:v>3.08782895661384E-2</c:v>
                </c:pt>
                <c:pt idx="1597">
                  <c:v>3.08550011340918E-2</c:v>
                </c:pt>
                <c:pt idx="1598">
                  <c:v>3.1011208903599201E-2</c:v>
                </c:pt>
                <c:pt idx="1599">
                  <c:v>3.1088409885098901E-2</c:v>
                </c:pt>
                <c:pt idx="1600">
                  <c:v>3.1771008386659597E-2</c:v>
                </c:pt>
                <c:pt idx="1601">
                  <c:v>3.22351362512572E-2</c:v>
                </c:pt>
                <c:pt idx="1602">
                  <c:v>3.2226649590327401E-2</c:v>
                </c:pt>
                <c:pt idx="1603">
                  <c:v>3.2085673035279497E-2</c:v>
                </c:pt>
                <c:pt idx="1604">
                  <c:v>3.2225297982781599E-2</c:v>
                </c:pt>
                <c:pt idx="1605">
                  <c:v>3.2201328601995503E-2</c:v>
                </c:pt>
                <c:pt idx="1606">
                  <c:v>3.2203980523691098E-2</c:v>
                </c:pt>
                <c:pt idx="1607">
                  <c:v>3.2255874592250898E-2</c:v>
                </c:pt>
                <c:pt idx="1608">
                  <c:v>3.2268056213741098E-2</c:v>
                </c:pt>
                <c:pt idx="1609">
                  <c:v>3.2340151749733599E-2</c:v>
                </c:pt>
                <c:pt idx="1610">
                  <c:v>3.2347478967102897E-2</c:v>
                </c:pt>
                <c:pt idx="1611">
                  <c:v>3.1821737594120901E-2</c:v>
                </c:pt>
                <c:pt idx="1612">
                  <c:v>3.1833522351590302E-2</c:v>
                </c:pt>
                <c:pt idx="1613">
                  <c:v>3.1853744815714999E-2</c:v>
                </c:pt>
                <c:pt idx="1614">
                  <c:v>3.1967220950138299E-2</c:v>
                </c:pt>
                <c:pt idx="1615">
                  <c:v>3.2033079667678897E-2</c:v>
                </c:pt>
                <c:pt idx="1616">
                  <c:v>3.1987649741858797E-2</c:v>
                </c:pt>
                <c:pt idx="1617">
                  <c:v>3.1665479839952597E-2</c:v>
                </c:pt>
                <c:pt idx="1618">
                  <c:v>3.11711893090247E-2</c:v>
                </c:pt>
                <c:pt idx="1619">
                  <c:v>3.1062551842514999E-2</c:v>
                </c:pt>
                <c:pt idx="1620">
                  <c:v>3.1039311209492999E-2</c:v>
                </c:pt>
                <c:pt idx="1621">
                  <c:v>3.0961124834538199E-2</c:v>
                </c:pt>
                <c:pt idx="1622">
                  <c:v>3.0786752837091199E-2</c:v>
                </c:pt>
                <c:pt idx="1623">
                  <c:v>3.07860184006917E-2</c:v>
                </c:pt>
                <c:pt idx="1624">
                  <c:v>3.0413290626877101E-2</c:v>
                </c:pt>
                <c:pt idx="1625">
                  <c:v>3.0714461718484801E-2</c:v>
                </c:pt>
                <c:pt idx="1626">
                  <c:v>3.0608484492302399E-2</c:v>
                </c:pt>
                <c:pt idx="1627">
                  <c:v>3.0611221959353199E-2</c:v>
                </c:pt>
                <c:pt idx="1628">
                  <c:v>3.0522020540722901E-2</c:v>
                </c:pt>
                <c:pt idx="1629">
                  <c:v>3.0520349801349E-2</c:v>
                </c:pt>
                <c:pt idx="1630">
                  <c:v>3.0130826771144099E-2</c:v>
                </c:pt>
                <c:pt idx="1631">
                  <c:v>3.0118831507039898E-2</c:v>
                </c:pt>
                <c:pt idx="1632">
                  <c:v>3.00843453890439E-2</c:v>
                </c:pt>
                <c:pt idx="1633">
                  <c:v>3.0241005970170001E-2</c:v>
                </c:pt>
                <c:pt idx="1634">
                  <c:v>3.0240346625135899E-2</c:v>
                </c:pt>
                <c:pt idx="1635">
                  <c:v>3.0272770448932701E-2</c:v>
                </c:pt>
                <c:pt idx="1636">
                  <c:v>3.0118179789677998E-2</c:v>
                </c:pt>
                <c:pt idx="1637">
                  <c:v>2.9947266630341501E-2</c:v>
                </c:pt>
                <c:pt idx="1638">
                  <c:v>2.9998694958665001E-2</c:v>
                </c:pt>
                <c:pt idx="1639">
                  <c:v>3.00687948295403E-2</c:v>
                </c:pt>
                <c:pt idx="1640">
                  <c:v>2.9882625009016301E-2</c:v>
                </c:pt>
                <c:pt idx="1641">
                  <c:v>2.9945302297444701E-2</c:v>
                </c:pt>
                <c:pt idx="1642">
                  <c:v>2.9970941215069099E-2</c:v>
                </c:pt>
                <c:pt idx="1643">
                  <c:v>2.9809215430387299E-2</c:v>
                </c:pt>
                <c:pt idx="1644">
                  <c:v>2.97961496144661E-2</c:v>
                </c:pt>
                <c:pt idx="1645">
                  <c:v>2.9809755592234002E-2</c:v>
                </c:pt>
                <c:pt idx="1646">
                  <c:v>2.97756717348968E-2</c:v>
                </c:pt>
                <c:pt idx="1647">
                  <c:v>2.980386472731E-2</c:v>
                </c:pt>
                <c:pt idx="1648">
                  <c:v>2.9820631745263299E-2</c:v>
                </c:pt>
                <c:pt idx="1649">
                  <c:v>2.9909412574052E-2</c:v>
                </c:pt>
                <c:pt idx="1650">
                  <c:v>2.98453662017742E-2</c:v>
                </c:pt>
                <c:pt idx="1651">
                  <c:v>3.0004400046088502E-2</c:v>
                </c:pt>
                <c:pt idx="1652">
                  <c:v>3.0101870942622101E-2</c:v>
                </c:pt>
                <c:pt idx="1653">
                  <c:v>3.0130588792411699E-2</c:v>
                </c:pt>
                <c:pt idx="1654">
                  <c:v>2.9815813068659699E-2</c:v>
                </c:pt>
                <c:pt idx="1655">
                  <c:v>2.9425531449087401E-2</c:v>
                </c:pt>
                <c:pt idx="1656">
                  <c:v>2.95921504883086E-2</c:v>
                </c:pt>
                <c:pt idx="1657">
                  <c:v>2.9688279106572801E-2</c:v>
                </c:pt>
                <c:pt idx="1658">
                  <c:v>2.9829994981856602E-2</c:v>
                </c:pt>
                <c:pt idx="1659">
                  <c:v>3.0133294905013E-2</c:v>
                </c:pt>
                <c:pt idx="1660">
                  <c:v>2.9706511095825599E-2</c:v>
                </c:pt>
                <c:pt idx="1661">
                  <c:v>2.9729855458280802E-2</c:v>
                </c:pt>
                <c:pt idx="1662">
                  <c:v>2.9019853709893701E-2</c:v>
                </c:pt>
                <c:pt idx="1663">
                  <c:v>2.9141028806971E-2</c:v>
                </c:pt>
                <c:pt idx="1664">
                  <c:v>2.91058731239771E-2</c:v>
                </c:pt>
                <c:pt idx="1665">
                  <c:v>2.9467284520926201E-2</c:v>
                </c:pt>
                <c:pt idx="1666">
                  <c:v>2.9422331383425399E-2</c:v>
                </c:pt>
                <c:pt idx="1667">
                  <c:v>2.9441919576833401E-2</c:v>
                </c:pt>
                <c:pt idx="1668">
                  <c:v>2.9451770560482E-2</c:v>
                </c:pt>
                <c:pt idx="1669">
                  <c:v>2.99699585320495E-2</c:v>
                </c:pt>
                <c:pt idx="1670">
                  <c:v>2.9809716876605202E-2</c:v>
                </c:pt>
                <c:pt idx="1671">
                  <c:v>2.9803637642923202E-2</c:v>
                </c:pt>
                <c:pt idx="1672">
                  <c:v>2.9957776795899001E-2</c:v>
                </c:pt>
                <c:pt idx="1673">
                  <c:v>2.9998998119165801E-2</c:v>
                </c:pt>
                <c:pt idx="1674">
                  <c:v>2.9879502398950399E-2</c:v>
                </c:pt>
                <c:pt idx="1675">
                  <c:v>2.9780233033852101E-2</c:v>
                </c:pt>
                <c:pt idx="1676">
                  <c:v>2.9779226610809201E-2</c:v>
                </c:pt>
                <c:pt idx="1677">
                  <c:v>2.9814808036854899E-2</c:v>
                </c:pt>
                <c:pt idx="1678">
                  <c:v>2.98183996148179E-2</c:v>
                </c:pt>
                <c:pt idx="1679">
                  <c:v>2.9819617282324198E-2</c:v>
                </c:pt>
                <c:pt idx="1680">
                  <c:v>2.9660231195700201E-2</c:v>
                </c:pt>
                <c:pt idx="1681">
                  <c:v>2.9456031842581502E-2</c:v>
                </c:pt>
                <c:pt idx="1682">
                  <c:v>2.9477234097608E-2</c:v>
                </c:pt>
                <c:pt idx="1683">
                  <c:v>2.8365005023848699E-2</c:v>
                </c:pt>
                <c:pt idx="1684">
                  <c:v>2.7865322254433601E-2</c:v>
                </c:pt>
                <c:pt idx="1685">
                  <c:v>2.7772054568312599E-2</c:v>
                </c:pt>
                <c:pt idx="1686">
                  <c:v>2.77729424941109E-2</c:v>
                </c:pt>
                <c:pt idx="1687">
                  <c:v>2.7564156054197101E-2</c:v>
                </c:pt>
                <c:pt idx="1688">
                  <c:v>2.75649657641307E-2</c:v>
                </c:pt>
                <c:pt idx="1689">
                  <c:v>2.7153834843462E-2</c:v>
                </c:pt>
                <c:pt idx="1690">
                  <c:v>2.7137157801100299E-2</c:v>
                </c:pt>
                <c:pt idx="1691">
                  <c:v>2.68856034790169E-2</c:v>
                </c:pt>
                <c:pt idx="1692">
                  <c:v>2.68466317799918E-2</c:v>
                </c:pt>
                <c:pt idx="1693">
                  <c:v>2.6754332474051401E-2</c:v>
                </c:pt>
                <c:pt idx="1694">
                  <c:v>2.65511136049916E-2</c:v>
                </c:pt>
                <c:pt idx="1695">
                  <c:v>2.6551775577055299E-2</c:v>
                </c:pt>
                <c:pt idx="1696">
                  <c:v>2.6591909232101502E-2</c:v>
                </c:pt>
                <c:pt idx="1697">
                  <c:v>2.6147400176375499E-2</c:v>
                </c:pt>
                <c:pt idx="1698">
                  <c:v>2.6145409327117002E-2</c:v>
                </c:pt>
                <c:pt idx="1699">
                  <c:v>2.5992057216727898E-2</c:v>
                </c:pt>
                <c:pt idx="1700">
                  <c:v>2.6016671386303401E-2</c:v>
                </c:pt>
                <c:pt idx="1701">
                  <c:v>2.5934810999651E-2</c:v>
                </c:pt>
                <c:pt idx="1702">
                  <c:v>2.5971140442600502E-2</c:v>
                </c:pt>
                <c:pt idx="1703">
                  <c:v>2.6070157299812501E-2</c:v>
                </c:pt>
                <c:pt idx="1704">
                  <c:v>2.50899416211754E-2</c:v>
                </c:pt>
                <c:pt idx="1705">
                  <c:v>2.4991418091737799E-2</c:v>
                </c:pt>
                <c:pt idx="1706">
                  <c:v>2.4943427257696899E-2</c:v>
                </c:pt>
                <c:pt idx="1707">
                  <c:v>2.4875358304843598E-2</c:v>
                </c:pt>
                <c:pt idx="1708">
                  <c:v>2.4936027668126502E-2</c:v>
                </c:pt>
                <c:pt idx="1709">
                  <c:v>2.4920974757152398E-2</c:v>
                </c:pt>
                <c:pt idx="1710">
                  <c:v>2.5008605554744701E-2</c:v>
                </c:pt>
                <c:pt idx="1711">
                  <c:v>2.48108712409695E-2</c:v>
                </c:pt>
                <c:pt idx="1712">
                  <c:v>2.4683337806907499E-2</c:v>
                </c:pt>
                <c:pt idx="1713">
                  <c:v>2.46582588144575E-2</c:v>
                </c:pt>
                <c:pt idx="1714">
                  <c:v>2.3876749508535199E-2</c:v>
                </c:pt>
                <c:pt idx="1715">
                  <c:v>2.3963466492201799E-2</c:v>
                </c:pt>
                <c:pt idx="1716">
                  <c:v>2.4018294552016099E-2</c:v>
                </c:pt>
                <c:pt idx="1717">
                  <c:v>2.3798423104714101E-2</c:v>
                </c:pt>
                <c:pt idx="1718">
                  <c:v>2.3623386216349299E-2</c:v>
                </c:pt>
                <c:pt idx="1719">
                  <c:v>2.35579454140767E-2</c:v>
                </c:pt>
                <c:pt idx="1720">
                  <c:v>2.2380224610367701E-2</c:v>
                </c:pt>
                <c:pt idx="1721">
                  <c:v>2.1783413330864702E-2</c:v>
                </c:pt>
                <c:pt idx="1722">
                  <c:v>2.1778070276193499E-2</c:v>
                </c:pt>
                <c:pt idx="1723">
                  <c:v>2.1888753354764701E-2</c:v>
                </c:pt>
                <c:pt idx="1724">
                  <c:v>2.14617630365945E-2</c:v>
                </c:pt>
                <c:pt idx="1725">
                  <c:v>2.1456712480711002E-2</c:v>
                </c:pt>
                <c:pt idx="1726">
                  <c:v>2.1502285799836499E-2</c:v>
                </c:pt>
                <c:pt idx="1727">
                  <c:v>2.1502542929730101E-2</c:v>
                </c:pt>
                <c:pt idx="1728">
                  <c:v>2.15719767948588E-2</c:v>
                </c:pt>
                <c:pt idx="1729">
                  <c:v>2.1528920062598399E-2</c:v>
                </c:pt>
                <c:pt idx="1730">
                  <c:v>2.16221626336177E-2</c:v>
                </c:pt>
                <c:pt idx="1731">
                  <c:v>2.1303265843425099E-2</c:v>
                </c:pt>
                <c:pt idx="1732">
                  <c:v>2.12882692816771E-2</c:v>
                </c:pt>
                <c:pt idx="1733">
                  <c:v>2.1260256222511102E-2</c:v>
                </c:pt>
                <c:pt idx="1734">
                  <c:v>2.0990746479867199E-2</c:v>
                </c:pt>
                <c:pt idx="1735">
                  <c:v>2.08280671157763E-2</c:v>
                </c:pt>
                <c:pt idx="1736">
                  <c:v>2.0744608179729999E-2</c:v>
                </c:pt>
                <c:pt idx="1737">
                  <c:v>2.0692109179421301E-2</c:v>
                </c:pt>
                <c:pt idx="1738">
                  <c:v>2.03173084357233E-2</c:v>
                </c:pt>
                <c:pt idx="1739">
                  <c:v>2.0319304281447299E-2</c:v>
                </c:pt>
                <c:pt idx="1740">
                  <c:v>2.0346521823173602E-2</c:v>
                </c:pt>
                <c:pt idx="1741">
                  <c:v>2.0376026693584501E-2</c:v>
                </c:pt>
                <c:pt idx="1742">
                  <c:v>2.0311342924240201E-2</c:v>
                </c:pt>
                <c:pt idx="1743">
                  <c:v>2.03127098924306E-2</c:v>
                </c:pt>
                <c:pt idx="1744">
                  <c:v>2.0227942526370401E-2</c:v>
                </c:pt>
                <c:pt idx="1745">
                  <c:v>1.9629296349295701E-2</c:v>
                </c:pt>
                <c:pt idx="1746">
                  <c:v>1.9541249791728599E-2</c:v>
                </c:pt>
                <c:pt idx="1747">
                  <c:v>1.95055157468428E-2</c:v>
                </c:pt>
                <c:pt idx="1748">
                  <c:v>1.95188664468352E-2</c:v>
                </c:pt>
                <c:pt idx="1749">
                  <c:v>1.9519989690789E-2</c:v>
                </c:pt>
                <c:pt idx="1750">
                  <c:v>1.95312837088986E-2</c:v>
                </c:pt>
                <c:pt idx="1751">
                  <c:v>1.9509074431357298E-2</c:v>
                </c:pt>
                <c:pt idx="1752">
                  <c:v>1.9325169775909399E-2</c:v>
                </c:pt>
                <c:pt idx="1753">
                  <c:v>1.9190487085916801E-2</c:v>
                </c:pt>
                <c:pt idx="1754">
                  <c:v>1.9213829560507399E-2</c:v>
                </c:pt>
                <c:pt idx="1755">
                  <c:v>1.9050520076927299E-2</c:v>
                </c:pt>
                <c:pt idx="1756">
                  <c:v>1.9038003324285201E-2</c:v>
                </c:pt>
                <c:pt idx="1757">
                  <c:v>1.9039053800090099E-2</c:v>
                </c:pt>
                <c:pt idx="1758">
                  <c:v>1.8917966425451401E-2</c:v>
                </c:pt>
                <c:pt idx="1759">
                  <c:v>1.8736228155958101E-2</c:v>
                </c:pt>
                <c:pt idx="1760">
                  <c:v>1.87395923269515E-2</c:v>
                </c:pt>
                <c:pt idx="1761">
                  <c:v>1.8702226046624099E-2</c:v>
                </c:pt>
                <c:pt idx="1762">
                  <c:v>1.8692989938465399E-2</c:v>
                </c:pt>
                <c:pt idx="1763">
                  <c:v>1.8745252626549198E-2</c:v>
                </c:pt>
                <c:pt idx="1764">
                  <c:v>1.8817637723258101E-2</c:v>
                </c:pt>
                <c:pt idx="1765">
                  <c:v>1.88523127454799E-2</c:v>
                </c:pt>
                <c:pt idx="1766">
                  <c:v>1.8840021644375701E-2</c:v>
                </c:pt>
                <c:pt idx="1767">
                  <c:v>1.8828942380623801E-2</c:v>
                </c:pt>
                <c:pt idx="1768">
                  <c:v>1.8794023606680199E-2</c:v>
                </c:pt>
                <c:pt idx="1769">
                  <c:v>1.86838154120668E-2</c:v>
                </c:pt>
                <c:pt idx="1770">
                  <c:v>1.9405703115830099E-2</c:v>
                </c:pt>
                <c:pt idx="1771">
                  <c:v>1.91992887464318E-2</c:v>
                </c:pt>
                <c:pt idx="1772">
                  <c:v>1.92080596408617E-2</c:v>
                </c:pt>
                <c:pt idx="1773">
                  <c:v>1.9211849044704001E-2</c:v>
                </c:pt>
                <c:pt idx="1774">
                  <c:v>1.9214602076607499E-2</c:v>
                </c:pt>
                <c:pt idx="1775">
                  <c:v>1.9251791343952801E-2</c:v>
                </c:pt>
                <c:pt idx="1776">
                  <c:v>1.9183010103822399E-2</c:v>
                </c:pt>
                <c:pt idx="1777">
                  <c:v>1.9311513291978999E-2</c:v>
                </c:pt>
                <c:pt idx="1778">
                  <c:v>1.9052471003826101E-2</c:v>
                </c:pt>
                <c:pt idx="1779">
                  <c:v>1.8481927722382E-2</c:v>
                </c:pt>
                <c:pt idx="1780">
                  <c:v>1.90157431056566E-2</c:v>
                </c:pt>
                <c:pt idx="1781">
                  <c:v>1.8974998679214799E-2</c:v>
                </c:pt>
                <c:pt idx="1782">
                  <c:v>1.9055774840865101E-2</c:v>
                </c:pt>
                <c:pt idx="1783">
                  <c:v>1.9477098840010101E-2</c:v>
                </c:pt>
                <c:pt idx="1784">
                  <c:v>1.9488445973693602E-2</c:v>
                </c:pt>
                <c:pt idx="1785">
                  <c:v>1.9491560014486198E-2</c:v>
                </c:pt>
                <c:pt idx="1786">
                  <c:v>1.96779478281532E-2</c:v>
                </c:pt>
                <c:pt idx="1787">
                  <c:v>1.9715064516260501E-2</c:v>
                </c:pt>
                <c:pt idx="1788">
                  <c:v>1.9679207788493899E-2</c:v>
                </c:pt>
                <c:pt idx="1789">
                  <c:v>1.9218068582222698E-2</c:v>
                </c:pt>
                <c:pt idx="1790">
                  <c:v>1.92755649992442E-2</c:v>
                </c:pt>
                <c:pt idx="1791">
                  <c:v>1.9263900597727899E-2</c:v>
                </c:pt>
                <c:pt idx="1792">
                  <c:v>1.92274647411785E-2</c:v>
                </c:pt>
                <c:pt idx="1793">
                  <c:v>2.0406333825234799E-2</c:v>
                </c:pt>
                <c:pt idx="1794">
                  <c:v>2.0382257125455501E-2</c:v>
                </c:pt>
                <c:pt idx="1795">
                  <c:v>2.04208469708719E-2</c:v>
                </c:pt>
                <c:pt idx="1796">
                  <c:v>2.09543601585509E-2</c:v>
                </c:pt>
                <c:pt idx="1797">
                  <c:v>2.0923395552809299E-2</c:v>
                </c:pt>
                <c:pt idx="1798">
                  <c:v>2.0713063870613901E-2</c:v>
                </c:pt>
                <c:pt idx="1799">
                  <c:v>2.07838182586258E-2</c:v>
                </c:pt>
                <c:pt idx="1800">
                  <c:v>2.0718350599069998E-2</c:v>
                </c:pt>
                <c:pt idx="1801">
                  <c:v>2.0747330950650199E-2</c:v>
                </c:pt>
                <c:pt idx="1802">
                  <c:v>2.0736623805187E-2</c:v>
                </c:pt>
                <c:pt idx="1803">
                  <c:v>2.0777826965253401E-2</c:v>
                </c:pt>
                <c:pt idx="1804">
                  <c:v>2.0667299715186001E-2</c:v>
                </c:pt>
                <c:pt idx="1805">
                  <c:v>2.0539797798213501E-2</c:v>
                </c:pt>
                <c:pt idx="1806">
                  <c:v>2.05894444657862E-2</c:v>
                </c:pt>
                <c:pt idx="1807">
                  <c:v>2.08873650740573E-2</c:v>
                </c:pt>
                <c:pt idx="1808">
                  <c:v>2.0876877147322202E-2</c:v>
                </c:pt>
                <c:pt idx="1809">
                  <c:v>2.09764017479869E-2</c:v>
                </c:pt>
                <c:pt idx="1810">
                  <c:v>2.1078593420555E-2</c:v>
                </c:pt>
                <c:pt idx="1811">
                  <c:v>2.10814149897703E-2</c:v>
                </c:pt>
                <c:pt idx="1812">
                  <c:v>2.1096509215133501E-2</c:v>
                </c:pt>
                <c:pt idx="1813">
                  <c:v>2.0954790941736801E-2</c:v>
                </c:pt>
                <c:pt idx="1814">
                  <c:v>2.0916563874644301E-2</c:v>
                </c:pt>
                <c:pt idx="1815">
                  <c:v>2.0763690160512101E-2</c:v>
                </c:pt>
                <c:pt idx="1816">
                  <c:v>2.11725221424796E-2</c:v>
                </c:pt>
                <c:pt idx="1817">
                  <c:v>2.1170273591777498E-2</c:v>
                </c:pt>
                <c:pt idx="1818">
                  <c:v>2.1204569497926099E-2</c:v>
                </c:pt>
                <c:pt idx="1819">
                  <c:v>2.1215296593771998E-2</c:v>
                </c:pt>
                <c:pt idx="1820">
                  <c:v>2.11701621986163E-2</c:v>
                </c:pt>
                <c:pt idx="1821">
                  <c:v>2.1093313132593099E-2</c:v>
                </c:pt>
                <c:pt idx="1822">
                  <c:v>2.1180178602272899E-2</c:v>
                </c:pt>
                <c:pt idx="1823">
                  <c:v>2.0894397040159399E-2</c:v>
                </c:pt>
                <c:pt idx="1824">
                  <c:v>2.0894777222545E-2</c:v>
                </c:pt>
                <c:pt idx="1825">
                  <c:v>2.08892239896173E-2</c:v>
                </c:pt>
                <c:pt idx="1826">
                  <c:v>2.0814154511155401E-2</c:v>
                </c:pt>
                <c:pt idx="1827">
                  <c:v>2.08151364942358E-2</c:v>
                </c:pt>
                <c:pt idx="1828">
                  <c:v>2.0818016647117101E-2</c:v>
                </c:pt>
                <c:pt idx="1829">
                  <c:v>2.0814682777669801E-2</c:v>
                </c:pt>
                <c:pt idx="1830">
                  <c:v>2.0745932752602701E-2</c:v>
                </c:pt>
                <c:pt idx="1831">
                  <c:v>2.0759216511195399E-2</c:v>
                </c:pt>
                <c:pt idx="1832">
                  <c:v>2.0936563839032099E-2</c:v>
                </c:pt>
                <c:pt idx="1833">
                  <c:v>2.09594691014569E-2</c:v>
                </c:pt>
                <c:pt idx="1834">
                  <c:v>2.0954369394706501E-2</c:v>
                </c:pt>
                <c:pt idx="1835">
                  <c:v>2.0828254456516301E-2</c:v>
                </c:pt>
                <c:pt idx="1836">
                  <c:v>2.07414095539286E-2</c:v>
                </c:pt>
                <c:pt idx="1837">
                  <c:v>2.07314233847085E-2</c:v>
                </c:pt>
                <c:pt idx="1838">
                  <c:v>2.07132135687969E-2</c:v>
                </c:pt>
                <c:pt idx="1839">
                  <c:v>2.0716702663872599E-2</c:v>
                </c:pt>
                <c:pt idx="1840">
                  <c:v>2.0714555621004702E-2</c:v>
                </c:pt>
                <c:pt idx="1841">
                  <c:v>2.0701944814858798E-2</c:v>
                </c:pt>
                <c:pt idx="1842">
                  <c:v>2.0833750221271201E-2</c:v>
                </c:pt>
                <c:pt idx="1843">
                  <c:v>2.0709666589571601E-2</c:v>
                </c:pt>
                <c:pt idx="1844">
                  <c:v>2.0703680285077301E-2</c:v>
                </c:pt>
                <c:pt idx="1845">
                  <c:v>2.0703042297779299E-2</c:v>
                </c:pt>
                <c:pt idx="1846">
                  <c:v>2.0666999074432799E-2</c:v>
                </c:pt>
                <c:pt idx="1847">
                  <c:v>2.06469150157042E-2</c:v>
                </c:pt>
                <c:pt idx="1848">
                  <c:v>2.0669106160896501E-2</c:v>
                </c:pt>
                <c:pt idx="1849">
                  <c:v>2.0757141674205701E-2</c:v>
                </c:pt>
                <c:pt idx="1850">
                  <c:v>2.0999488480636101E-2</c:v>
                </c:pt>
                <c:pt idx="1851">
                  <c:v>2.1192608170760501E-2</c:v>
                </c:pt>
                <c:pt idx="1852">
                  <c:v>2.14428379933089E-2</c:v>
                </c:pt>
                <c:pt idx="1853">
                  <c:v>2.1472328533895801E-2</c:v>
                </c:pt>
                <c:pt idx="1854">
                  <c:v>2.1485583816348099E-2</c:v>
                </c:pt>
                <c:pt idx="1855">
                  <c:v>2.1474697835392201E-2</c:v>
                </c:pt>
                <c:pt idx="1856">
                  <c:v>2.14835555493866E-2</c:v>
                </c:pt>
                <c:pt idx="1857">
                  <c:v>2.1404716080288998E-2</c:v>
                </c:pt>
                <c:pt idx="1858">
                  <c:v>2.13758127212238E-2</c:v>
                </c:pt>
                <c:pt idx="1859">
                  <c:v>2.14599835114361E-2</c:v>
                </c:pt>
                <c:pt idx="1860">
                  <c:v>2.1420275670128601E-2</c:v>
                </c:pt>
                <c:pt idx="1861">
                  <c:v>2.1382196510271099E-2</c:v>
                </c:pt>
                <c:pt idx="1862">
                  <c:v>2.1391596588839001E-2</c:v>
                </c:pt>
                <c:pt idx="1863">
                  <c:v>2.1409147276695701E-2</c:v>
                </c:pt>
                <c:pt idx="1864">
                  <c:v>2.1420234651450602E-2</c:v>
                </c:pt>
                <c:pt idx="1865">
                  <c:v>2.1509516495785998E-2</c:v>
                </c:pt>
                <c:pt idx="1866">
                  <c:v>2.1646078650352198E-2</c:v>
                </c:pt>
                <c:pt idx="1867">
                  <c:v>2.1644803906096001E-2</c:v>
                </c:pt>
                <c:pt idx="1868">
                  <c:v>2.1744655782620401E-2</c:v>
                </c:pt>
                <c:pt idx="1869">
                  <c:v>2.1755938055499299E-2</c:v>
                </c:pt>
                <c:pt idx="1870">
                  <c:v>2.1834539864140599E-2</c:v>
                </c:pt>
                <c:pt idx="1871">
                  <c:v>2.1804869714126401E-2</c:v>
                </c:pt>
                <c:pt idx="1872">
                  <c:v>2.1815764317013198E-2</c:v>
                </c:pt>
                <c:pt idx="1873">
                  <c:v>2.17857533085879E-2</c:v>
                </c:pt>
                <c:pt idx="1874">
                  <c:v>2.1813660152829199E-2</c:v>
                </c:pt>
                <c:pt idx="1875">
                  <c:v>2.18153102838082E-2</c:v>
                </c:pt>
                <c:pt idx="1876">
                  <c:v>2.1811545791401502E-2</c:v>
                </c:pt>
                <c:pt idx="1877">
                  <c:v>2.1823105799180599E-2</c:v>
                </c:pt>
                <c:pt idx="1878">
                  <c:v>2.1806475697398599E-2</c:v>
                </c:pt>
                <c:pt idx="1879">
                  <c:v>2.1742324088921901E-2</c:v>
                </c:pt>
                <c:pt idx="1880">
                  <c:v>2.1719720669809501E-2</c:v>
                </c:pt>
                <c:pt idx="1881">
                  <c:v>2.1718759220895001E-2</c:v>
                </c:pt>
                <c:pt idx="1882">
                  <c:v>2.1757263099237902E-2</c:v>
                </c:pt>
                <c:pt idx="1883">
                  <c:v>2.18821717404847E-2</c:v>
                </c:pt>
                <c:pt idx="1884">
                  <c:v>2.1882681990871199E-2</c:v>
                </c:pt>
                <c:pt idx="1885">
                  <c:v>2.1816562175078599E-2</c:v>
                </c:pt>
                <c:pt idx="1886">
                  <c:v>2.1791055570692799E-2</c:v>
                </c:pt>
                <c:pt idx="1887">
                  <c:v>2.17879585957431E-2</c:v>
                </c:pt>
                <c:pt idx="1888">
                  <c:v>2.1901171934594801E-2</c:v>
                </c:pt>
                <c:pt idx="1889">
                  <c:v>2.1902741976012999E-2</c:v>
                </c:pt>
                <c:pt idx="1890">
                  <c:v>2.1377923696664101E-2</c:v>
                </c:pt>
                <c:pt idx="1891">
                  <c:v>2.1307231162201099E-2</c:v>
                </c:pt>
                <c:pt idx="1892">
                  <c:v>2.1275204024086902E-2</c:v>
                </c:pt>
                <c:pt idx="1893">
                  <c:v>2.12599705345097E-2</c:v>
                </c:pt>
                <c:pt idx="1894">
                  <c:v>2.1262639869343899E-2</c:v>
                </c:pt>
                <c:pt idx="1895">
                  <c:v>2.1239651757403701E-2</c:v>
                </c:pt>
                <c:pt idx="1896">
                  <c:v>2.12064729261583E-2</c:v>
                </c:pt>
                <c:pt idx="1897">
                  <c:v>2.1041693900333801E-2</c:v>
                </c:pt>
                <c:pt idx="1898">
                  <c:v>2.1190310038572802E-2</c:v>
                </c:pt>
                <c:pt idx="1899">
                  <c:v>2.1188578374992099E-2</c:v>
                </c:pt>
                <c:pt idx="1900">
                  <c:v>2.0862930675576499E-2</c:v>
                </c:pt>
                <c:pt idx="1901">
                  <c:v>2.0826861321592699E-2</c:v>
                </c:pt>
                <c:pt idx="1902">
                  <c:v>2.0678399268406499E-2</c:v>
                </c:pt>
                <c:pt idx="1903">
                  <c:v>1.9901712547299399E-2</c:v>
                </c:pt>
                <c:pt idx="1904">
                  <c:v>1.98817262461259E-2</c:v>
                </c:pt>
                <c:pt idx="1905">
                  <c:v>1.9336263620567999E-2</c:v>
                </c:pt>
                <c:pt idx="1906">
                  <c:v>1.8961938360148398E-2</c:v>
                </c:pt>
                <c:pt idx="1907">
                  <c:v>1.8911965173990599E-2</c:v>
                </c:pt>
                <c:pt idx="1908">
                  <c:v>1.8942416300731599E-2</c:v>
                </c:pt>
                <c:pt idx="1909">
                  <c:v>1.86648007263546E-2</c:v>
                </c:pt>
                <c:pt idx="1910">
                  <c:v>1.8581530024106799E-2</c:v>
                </c:pt>
                <c:pt idx="1911">
                  <c:v>1.86106263691143E-2</c:v>
                </c:pt>
                <c:pt idx="1912">
                  <c:v>1.83224203163556E-2</c:v>
                </c:pt>
                <c:pt idx="1913">
                  <c:v>1.7002400884843099E-2</c:v>
                </c:pt>
                <c:pt idx="1914">
                  <c:v>1.7177403417156199E-2</c:v>
                </c:pt>
                <c:pt idx="1915">
                  <c:v>1.71199483674014E-2</c:v>
                </c:pt>
                <c:pt idx="1916">
                  <c:v>1.6418760785521399E-2</c:v>
                </c:pt>
                <c:pt idx="1917">
                  <c:v>1.6411303063981999E-2</c:v>
                </c:pt>
                <c:pt idx="1918">
                  <c:v>1.6412350094257899E-2</c:v>
                </c:pt>
                <c:pt idx="1919">
                  <c:v>1.6300424394494001E-2</c:v>
                </c:pt>
                <c:pt idx="1920">
                  <c:v>1.6334024657015299E-2</c:v>
                </c:pt>
                <c:pt idx="1921">
                  <c:v>1.6370493455487901E-2</c:v>
                </c:pt>
                <c:pt idx="1922">
                  <c:v>1.62389046909471E-2</c:v>
                </c:pt>
                <c:pt idx="1923">
                  <c:v>1.6285606725866798E-2</c:v>
                </c:pt>
                <c:pt idx="1924">
                  <c:v>1.6284383089079299E-2</c:v>
                </c:pt>
                <c:pt idx="1925">
                  <c:v>1.6253671416403701E-2</c:v>
                </c:pt>
                <c:pt idx="1926">
                  <c:v>1.61640007350045E-2</c:v>
                </c:pt>
                <c:pt idx="1927">
                  <c:v>1.5822126107107499E-2</c:v>
                </c:pt>
                <c:pt idx="1928">
                  <c:v>1.5820342872569899E-2</c:v>
                </c:pt>
                <c:pt idx="1929">
                  <c:v>1.5716536078724402E-2</c:v>
                </c:pt>
                <c:pt idx="1930">
                  <c:v>1.56207949710814E-2</c:v>
                </c:pt>
                <c:pt idx="1931">
                  <c:v>1.57719499008609E-2</c:v>
                </c:pt>
                <c:pt idx="1932">
                  <c:v>1.57553925857375E-2</c:v>
                </c:pt>
                <c:pt idx="1933">
                  <c:v>1.55374914695492E-2</c:v>
                </c:pt>
                <c:pt idx="1934">
                  <c:v>1.5580753544342E-2</c:v>
                </c:pt>
                <c:pt idx="1935">
                  <c:v>1.55580239986118E-2</c:v>
                </c:pt>
                <c:pt idx="1936">
                  <c:v>1.4848198439496901E-2</c:v>
                </c:pt>
                <c:pt idx="1937">
                  <c:v>1.48527099887747E-2</c:v>
                </c:pt>
                <c:pt idx="1938">
                  <c:v>1.4838740846518201E-2</c:v>
                </c:pt>
                <c:pt idx="1939">
                  <c:v>1.4842053671766E-2</c:v>
                </c:pt>
                <c:pt idx="1940">
                  <c:v>1.4859417104372699E-2</c:v>
                </c:pt>
                <c:pt idx="1941">
                  <c:v>1.48974243017786E-2</c:v>
                </c:pt>
                <c:pt idx="1942">
                  <c:v>1.4703484200258099E-2</c:v>
                </c:pt>
                <c:pt idx="1943">
                  <c:v>1.46469935862185E-2</c:v>
                </c:pt>
                <c:pt idx="1944">
                  <c:v>1.46820658189145E-2</c:v>
                </c:pt>
                <c:pt idx="1945">
                  <c:v>1.55086637812168E-2</c:v>
                </c:pt>
                <c:pt idx="1946">
                  <c:v>1.5399671599415601E-2</c:v>
                </c:pt>
                <c:pt idx="1947">
                  <c:v>1.5511301093434999E-2</c:v>
                </c:pt>
                <c:pt idx="1948">
                  <c:v>1.53089329599751E-2</c:v>
                </c:pt>
                <c:pt idx="1949">
                  <c:v>1.53057834562196E-2</c:v>
                </c:pt>
                <c:pt idx="1950">
                  <c:v>1.51447515529566E-2</c:v>
                </c:pt>
                <c:pt idx="1951">
                  <c:v>1.52239649444686E-2</c:v>
                </c:pt>
                <c:pt idx="1952">
                  <c:v>1.4898133792308E-2</c:v>
                </c:pt>
                <c:pt idx="1953">
                  <c:v>1.4883574107063501E-2</c:v>
                </c:pt>
                <c:pt idx="1954">
                  <c:v>1.4875432145171501E-2</c:v>
                </c:pt>
                <c:pt idx="1955">
                  <c:v>1.49314781857429E-2</c:v>
                </c:pt>
                <c:pt idx="1956">
                  <c:v>1.49322668041546E-2</c:v>
                </c:pt>
                <c:pt idx="1957">
                  <c:v>1.5501667581966701E-2</c:v>
                </c:pt>
                <c:pt idx="1958">
                  <c:v>1.55980195632983E-2</c:v>
                </c:pt>
                <c:pt idx="1959">
                  <c:v>1.5620945106676399E-2</c:v>
                </c:pt>
                <c:pt idx="1960">
                  <c:v>1.5710549385846598E-2</c:v>
                </c:pt>
                <c:pt idx="1961">
                  <c:v>1.5713946165515399E-2</c:v>
                </c:pt>
                <c:pt idx="1962">
                  <c:v>1.5622836453730001E-2</c:v>
                </c:pt>
                <c:pt idx="1963">
                  <c:v>1.56267513005235E-2</c:v>
                </c:pt>
                <c:pt idx="1964">
                  <c:v>1.63557280585656E-2</c:v>
                </c:pt>
                <c:pt idx="1965">
                  <c:v>1.6482709583686798E-2</c:v>
                </c:pt>
                <c:pt idx="1966">
                  <c:v>1.64827945377598E-2</c:v>
                </c:pt>
                <c:pt idx="1967">
                  <c:v>1.6476854308133601E-2</c:v>
                </c:pt>
                <c:pt idx="1968">
                  <c:v>1.6323230933129099E-2</c:v>
                </c:pt>
                <c:pt idx="1969">
                  <c:v>1.6557969568352399E-2</c:v>
                </c:pt>
                <c:pt idx="1970">
                  <c:v>1.62701210117045E-2</c:v>
                </c:pt>
                <c:pt idx="1971">
                  <c:v>1.60610212859735E-2</c:v>
                </c:pt>
                <c:pt idx="1972">
                  <c:v>1.5741342435587901E-2</c:v>
                </c:pt>
                <c:pt idx="1973">
                  <c:v>1.56762331372612E-2</c:v>
                </c:pt>
                <c:pt idx="1974">
                  <c:v>1.5808494708384201E-2</c:v>
                </c:pt>
                <c:pt idx="1975">
                  <c:v>1.5826943768940099E-2</c:v>
                </c:pt>
                <c:pt idx="1976">
                  <c:v>1.5765202748808799E-2</c:v>
                </c:pt>
                <c:pt idx="1977">
                  <c:v>1.57499217854681E-2</c:v>
                </c:pt>
                <c:pt idx="1978">
                  <c:v>1.57315387297167E-2</c:v>
                </c:pt>
                <c:pt idx="1979">
                  <c:v>1.57186141614792E-2</c:v>
                </c:pt>
                <c:pt idx="1980">
                  <c:v>1.5701929678534302E-2</c:v>
                </c:pt>
                <c:pt idx="1981">
                  <c:v>1.5980165931972198E-2</c:v>
                </c:pt>
                <c:pt idx="1982">
                  <c:v>1.59612444090984E-2</c:v>
                </c:pt>
                <c:pt idx="1983">
                  <c:v>1.5959721162668802E-2</c:v>
                </c:pt>
                <c:pt idx="1984">
                  <c:v>1.59587603208949E-2</c:v>
                </c:pt>
                <c:pt idx="1985">
                  <c:v>1.5904463116825401E-2</c:v>
                </c:pt>
                <c:pt idx="1986">
                  <c:v>1.60370552941905E-2</c:v>
                </c:pt>
                <c:pt idx="1987">
                  <c:v>1.6036537267941801E-2</c:v>
                </c:pt>
                <c:pt idx="1988">
                  <c:v>1.58788894373969E-2</c:v>
                </c:pt>
                <c:pt idx="1989">
                  <c:v>1.5847997861741198E-2</c:v>
                </c:pt>
                <c:pt idx="1990">
                  <c:v>1.5584492289125401E-2</c:v>
                </c:pt>
                <c:pt idx="1991">
                  <c:v>1.55906153143153E-2</c:v>
                </c:pt>
                <c:pt idx="1992">
                  <c:v>1.6040722733831999E-2</c:v>
                </c:pt>
                <c:pt idx="1993">
                  <c:v>1.6039749210371299E-2</c:v>
                </c:pt>
                <c:pt idx="1994">
                  <c:v>1.59796983598628E-2</c:v>
                </c:pt>
                <c:pt idx="1995">
                  <c:v>1.59741924074496E-2</c:v>
                </c:pt>
                <c:pt idx="1996">
                  <c:v>1.59634850226693E-2</c:v>
                </c:pt>
                <c:pt idx="1997">
                  <c:v>1.6066220627080501E-2</c:v>
                </c:pt>
                <c:pt idx="1998">
                  <c:v>1.6086592770303301E-2</c:v>
                </c:pt>
                <c:pt idx="1999">
                  <c:v>1.6006774857964E-2</c:v>
                </c:pt>
                <c:pt idx="2000">
                  <c:v>1.6229605701909799E-2</c:v>
                </c:pt>
                <c:pt idx="2001">
                  <c:v>1.6272490928856201E-2</c:v>
                </c:pt>
                <c:pt idx="2002">
                  <c:v>1.6240425996040499E-2</c:v>
                </c:pt>
                <c:pt idx="2003">
                  <c:v>1.60225776964808E-2</c:v>
                </c:pt>
                <c:pt idx="2004">
                  <c:v>1.6012301128088401E-2</c:v>
                </c:pt>
                <c:pt idx="2005">
                  <c:v>1.6009176310386699E-2</c:v>
                </c:pt>
                <c:pt idx="2006">
                  <c:v>1.6189857448246501E-2</c:v>
                </c:pt>
                <c:pt idx="2007">
                  <c:v>1.6333192089540802E-2</c:v>
                </c:pt>
                <c:pt idx="2008">
                  <c:v>1.6090688442178602E-2</c:v>
                </c:pt>
                <c:pt idx="2009">
                  <c:v>1.6132843757054E-2</c:v>
                </c:pt>
                <c:pt idx="2010">
                  <c:v>1.6110909315623201E-2</c:v>
                </c:pt>
                <c:pt idx="2011">
                  <c:v>1.6101463314165499E-2</c:v>
                </c:pt>
                <c:pt idx="2012">
                  <c:v>1.59470980815761E-2</c:v>
                </c:pt>
                <c:pt idx="2013">
                  <c:v>1.6070562275892899E-2</c:v>
                </c:pt>
                <c:pt idx="2014">
                  <c:v>1.6076557009778499E-2</c:v>
                </c:pt>
                <c:pt idx="2015">
                  <c:v>1.6077892746175701E-2</c:v>
                </c:pt>
                <c:pt idx="2016">
                  <c:v>1.6096131968876499E-2</c:v>
                </c:pt>
                <c:pt idx="2017">
                  <c:v>1.6171205912815002E-2</c:v>
                </c:pt>
                <c:pt idx="2018">
                  <c:v>1.5980520411113901E-2</c:v>
                </c:pt>
                <c:pt idx="2019">
                  <c:v>1.5995204903199101E-2</c:v>
                </c:pt>
                <c:pt idx="2020">
                  <c:v>1.5969807795661099E-2</c:v>
                </c:pt>
                <c:pt idx="2021">
                  <c:v>1.59855980753747E-2</c:v>
                </c:pt>
                <c:pt idx="2022">
                  <c:v>1.6193783329315498E-2</c:v>
                </c:pt>
                <c:pt idx="2023">
                  <c:v>1.6148228827451101E-2</c:v>
                </c:pt>
                <c:pt idx="2024">
                  <c:v>1.6176635834128799E-2</c:v>
                </c:pt>
                <c:pt idx="2025">
                  <c:v>1.62049176686886E-2</c:v>
                </c:pt>
                <c:pt idx="2026">
                  <c:v>1.6348145560362199E-2</c:v>
                </c:pt>
                <c:pt idx="2027">
                  <c:v>1.6337394721180402E-2</c:v>
                </c:pt>
                <c:pt idx="2028">
                  <c:v>1.6279681275578099E-2</c:v>
                </c:pt>
                <c:pt idx="2029">
                  <c:v>1.6230649412172501E-2</c:v>
                </c:pt>
                <c:pt idx="2030">
                  <c:v>1.6318051235541999E-2</c:v>
                </c:pt>
                <c:pt idx="2031">
                  <c:v>1.6267284861341599E-2</c:v>
                </c:pt>
                <c:pt idx="2032">
                  <c:v>1.6276065147774601E-2</c:v>
                </c:pt>
                <c:pt idx="2033">
                  <c:v>1.6390744543750502E-2</c:v>
                </c:pt>
                <c:pt idx="2034">
                  <c:v>1.62402714332621E-2</c:v>
                </c:pt>
                <c:pt idx="2035">
                  <c:v>1.6240576571782201E-2</c:v>
                </c:pt>
                <c:pt idx="2036">
                  <c:v>1.6328595871046299E-2</c:v>
                </c:pt>
                <c:pt idx="2037">
                  <c:v>1.6318293506572601E-2</c:v>
                </c:pt>
                <c:pt idx="2038">
                  <c:v>1.6314043356435E-2</c:v>
                </c:pt>
                <c:pt idx="2039">
                  <c:v>1.6363593029300301E-2</c:v>
                </c:pt>
                <c:pt idx="2040">
                  <c:v>1.63235724715136E-2</c:v>
                </c:pt>
                <c:pt idx="2041">
                  <c:v>1.6362777936237902E-2</c:v>
                </c:pt>
                <c:pt idx="2042">
                  <c:v>1.63526175570032E-2</c:v>
                </c:pt>
                <c:pt idx="2043">
                  <c:v>1.6224506498567999E-2</c:v>
                </c:pt>
                <c:pt idx="2044">
                  <c:v>1.6304267379464801E-2</c:v>
                </c:pt>
                <c:pt idx="2045">
                  <c:v>1.6285907654223698E-2</c:v>
                </c:pt>
                <c:pt idx="2046">
                  <c:v>1.63139838090407E-2</c:v>
                </c:pt>
                <c:pt idx="2047">
                  <c:v>1.6300842834382899E-2</c:v>
                </c:pt>
                <c:pt idx="2048">
                  <c:v>1.6372405651950601E-2</c:v>
                </c:pt>
                <c:pt idx="2049">
                  <c:v>1.6409802372873601E-2</c:v>
                </c:pt>
                <c:pt idx="2050">
                  <c:v>1.63521073497341E-2</c:v>
                </c:pt>
                <c:pt idx="2051">
                  <c:v>1.6173573918243402E-2</c:v>
                </c:pt>
                <c:pt idx="2052">
                  <c:v>1.6174085757741801E-2</c:v>
                </c:pt>
                <c:pt idx="2053">
                  <c:v>1.6249455593434999E-2</c:v>
                </c:pt>
                <c:pt idx="2054">
                  <c:v>1.62039642383097E-2</c:v>
                </c:pt>
                <c:pt idx="2055">
                  <c:v>1.6195008702362498E-2</c:v>
                </c:pt>
                <c:pt idx="2056">
                  <c:v>1.6322726783395899E-2</c:v>
                </c:pt>
                <c:pt idx="2057">
                  <c:v>1.6674421269414201E-2</c:v>
                </c:pt>
                <c:pt idx="2058">
                  <c:v>1.6859908211256901E-2</c:v>
                </c:pt>
                <c:pt idx="2059">
                  <c:v>1.6877299650852801E-2</c:v>
                </c:pt>
                <c:pt idx="2060">
                  <c:v>1.69142539459784E-2</c:v>
                </c:pt>
                <c:pt idx="2061">
                  <c:v>1.6877986382444199E-2</c:v>
                </c:pt>
                <c:pt idx="2062">
                  <c:v>1.7126060381332901E-2</c:v>
                </c:pt>
                <c:pt idx="2063">
                  <c:v>1.7134231345550401E-2</c:v>
                </c:pt>
                <c:pt idx="2064">
                  <c:v>1.7210104069959702E-2</c:v>
                </c:pt>
                <c:pt idx="2065">
                  <c:v>1.6452897441716501E-2</c:v>
                </c:pt>
                <c:pt idx="2066">
                  <c:v>1.64651574008879E-2</c:v>
                </c:pt>
                <c:pt idx="2067">
                  <c:v>1.6369781237677399E-2</c:v>
                </c:pt>
                <c:pt idx="2068">
                  <c:v>1.6555996814195801E-2</c:v>
                </c:pt>
                <c:pt idx="2069">
                  <c:v>1.65576694285022E-2</c:v>
                </c:pt>
                <c:pt idx="2070">
                  <c:v>1.6636637154106099E-2</c:v>
                </c:pt>
                <c:pt idx="2071">
                  <c:v>1.65273493094466E-2</c:v>
                </c:pt>
                <c:pt idx="2072">
                  <c:v>1.65316825467576E-2</c:v>
                </c:pt>
                <c:pt idx="2073">
                  <c:v>1.6663414978595199E-2</c:v>
                </c:pt>
                <c:pt idx="2074">
                  <c:v>1.66667471947585E-2</c:v>
                </c:pt>
                <c:pt idx="2075">
                  <c:v>1.6641480923638201E-2</c:v>
                </c:pt>
                <c:pt idx="2076">
                  <c:v>1.6703736731640099E-2</c:v>
                </c:pt>
                <c:pt idx="2077">
                  <c:v>1.6129857902033098E-2</c:v>
                </c:pt>
                <c:pt idx="2078">
                  <c:v>1.6004875157506902E-2</c:v>
                </c:pt>
                <c:pt idx="2079">
                  <c:v>1.6016448532088501E-2</c:v>
                </c:pt>
                <c:pt idx="2080">
                  <c:v>1.59087297244867E-2</c:v>
                </c:pt>
                <c:pt idx="2081">
                  <c:v>1.59041967557642E-2</c:v>
                </c:pt>
                <c:pt idx="2082">
                  <c:v>1.6876898415944499E-2</c:v>
                </c:pt>
                <c:pt idx="2083">
                  <c:v>1.68705419829802E-2</c:v>
                </c:pt>
                <c:pt idx="2084">
                  <c:v>1.6611425502411899E-2</c:v>
                </c:pt>
                <c:pt idx="2085">
                  <c:v>1.6637831082998801E-2</c:v>
                </c:pt>
                <c:pt idx="2086">
                  <c:v>1.6676214515333701E-2</c:v>
                </c:pt>
                <c:pt idx="2087">
                  <c:v>1.6642779734365499E-2</c:v>
                </c:pt>
                <c:pt idx="2088">
                  <c:v>1.6593528247775598E-2</c:v>
                </c:pt>
                <c:pt idx="2089">
                  <c:v>1.6377239293247099E-2</c:v>
                </c:pt>
                <c:pt idx="2090">
                  <c:v>1.63732147572496E-2</c:v>
                </c:pt>
                <c:pt idx="2091">
                  <c:v>1.6419207608206299E-2</c:v>
                </c:pt>
                <c:pt idx="2092">
                  <c:v>1.6385367048259498E-2</c:v>
                </c:pt>
                <c:pt idx="2093">
                  <c:v>1.63820983583256E-2</c:v>
                </c:pt>
                <c:pt idx="2094">
                  <c:v>1.6255844343988201E-2</c:v>
                </c:pt>
                <c:pt idx="2095">
                  <c:v>1.6221410297225299E-2</c:v>
                </c:pt>
                <c:pt idx="2096">
                  <c:v>1.62240912402563E-2</c:v>
                </c:pt>
                <c:pt idx="2097">
                  <c:v>1.6203257612136601E-2</c:v>
                </c:pt>
                <c:pt idx="2098">
                  <c:v>1.62027232195542E-2</c:v>
                </c:pt>
                <c:pt idx="2099">
                  <c:v>1.6130904054814401E-2</c:v>
                </c:pt>
                <c:pt idx="2100">
                  <c:v>1.6158619218589E-2</c:v>
                </c:pt>
                <c:pt idx="2101">
                  <c:v>1.6009777110371898E-2</c:v>
                </c:pt>
                <c:pt idx="2102">
                  <c:v>1.6000680635703101E-2</c:v>
                </c:pt>
                <c:pt idx="2103">
                  <c:v>1.62277791680468E-2</c:v>
                </c:pt>
                <c:pt idx="2104">
                  <c:v>1.6214330797241799E-2</c:v>
                </c:pt>
                <c:pt idx="2105">
                  <c:v>1.6141691922979699E-2</c:v>
                </c:pt>
                <c:pt idx="2106">
                  <c:v>1.5925878328285001E-2</c:v>
                </c:pt>
                <c:pt idx="2107">
                  <c:v>1.5927928113139499E-2</c:v>
                </c:pt>
                <c:pt idx="2108">
                  <c:v>1.5966407487667301E-2</c:v>
                </c:pt>
                <c:pt idx="2109">
                  <c:v>1.6078827088567799E-2</c:v>
                </c:pt>
                <c:pt idx="2110">
                  <c:v>1.6094248609683899E-2</c:v>
                </c:pt>
                <c:pt idx="2111">
                  <c:v>1.6100081102465202E-2</c:v>
                </c:pt>
                <c:pt idx="2112">
                  <c:v>1.5498730170947699E-2</c:v>
                </c:pt>
                <c:pt idx="2113">
                  <c:v>1.55828033917682E-2</c:v>
                </c:pt>
                <c:pt idx="2114">
                  <c:v>1.5614271323384899E-2</c:v>
                </c:pt>
                <c:pt idx="2115">
                  <c:v>1.56178098387721E-2</c:v>
                </c:pt>
                <c:pt idx="2116">
                  <c:v>1.5590441540583999E-2</c:v>
                </c:pt>
                <c:pt idx="2117">
                  <c:v>1.55996807365591E-2</c:v>
                </c:pt>
                <c:pt idx="2118">
                  <c:v>1.5677090471045398E-2</c:v>
                </c:pt>
                <c:pt idx="2119">
                  <c:v>1.56839318833456E-2</c:v>
                </c:pt>
                <c:pt idx="2120">
                  <c:v>1.55187365744131E-2</c:v>
                </c:pt>
                <c:pt idx="2121">
                  <c:v>1.54944314127434E-2</c:v>
                </c:pt>
                <c:pt idx="2122">
                  <c:v>1.55240312512626E-2</c:v>
                </c:pt>
                <c:pt idx="2123">
                  <c:v>1.55191784129137E-2</c:v>
                </c:pt>
                <c:pt idx="2124">
                  <c:v>1.542986259516E-2</c:v>
                </c:pt>
                <c:pt idx="2125">
                  <c:v>1.54303053888575E-2</c:v>
                </c:pt>
                <c:pt idx="2126">
                  <c:v>1.5358009930258199E-2</c:v>
                </c:pt>
                <c:pt idx="2127">
                  <c:v>1.56668648538991E-2</c:v>
                </c:pt>
                <c:pt idx="2128">
                  <c:v>1.5666349211547002E-2</c:v>
                </c:pt>
                <c:pt idx="2129">
                  <c:v>1.57553834870429E-2</c:v>
                </c:pt>
                <c:pt idx="2130">
                  <c:v>1.6057948058988299E-2</c:v>
                </c:pt>
                <c:pt idx="2131">
                  <c:v>1.6090231408487699E-2</c:v>
                </c:pt>
                <c:pt idx="2132">
                  <c:v>1.61088065517433E-2</c:v>
                </c:pt>
                <c:pt idx="2133">
                  <c:v>1.5970024981220701E-2</c:v>
                </c:pt>
                <c:pt idx="2134">
                  <c:v>1.60099327528406E-2</c:v>
                </c:pt>
                <c:pt idx="2135">
                  <c:v>1.6070675929171E-2</c:v>
                </c:pt>
                <c:pt idx="2136">
                  <c:v>1.60029881634903E-2</c:v>
                </c:pt>
                <c:pt idx="2137">
                  <c:v>1.5957227399507799E-2</c:v>
                </c:pt>
                <c:pt idx="2138">
                  <c:v>1.5954779290206899E-2</c:v>
                </c:pt>
                <c:pt idx="2139">
                  <c:v>1.5971717968651399E-2</c:v>
                </c:pt>
                <c:pt idx="2140">
                  <c:v>1.6011923728680599E-2</c:v>
                </c:pt>
                <c:pt idx="2141">
                  <c:v>1.60069240878222E-2</c:v>
                </c:pt>
                <c:pt idx="2142">
                  <c:v>1.6000169894231302E-2</c:v>
                </c:pt>
                <c:pt idx="2143">
                  <c:v>1.5993803276403099E-2</c:v>
                </c:pt>
                <c:pt idx="2144">
                  <c:v>1.5967869006713702E-2</c:v>
                </c:pt>
                <c:pt idx="2145">
                  <c:v>1.5926494664481101E-2</c:v>
                </c:pt>
                <c:pt idx="2146">
                  <c:v>1.5832015616332198E-2</c:v>
                </c:pt>
                <c:pt idx="2147">
                  <c:v>1.58699103523238E-2</c:v>
                </c:pt>
                <c:pt idx="2148">
                  <c:v>1.6106721901523499E-2</c:v>
                </c:pt>
                <c:pt idx="2149">
                  <c:v>1.6101000725013699E-2</c:v>
                </c:pt>
                <c:pt idx="2150">
                  <c:v>1.5999246335057098E-2</c:v>
                </c:pt>
                <c:pt idx="2151">
                  <c:v>1.5999042714702E-2</c:v>
                </c:pt>
                <c:pt idx="2152">
                  <c:v>1.6032542170772001E-2</c:v>
                </c:pt>
                <c:pt idx="2153">
                  <c:v>1.58725692549802E-2</c:v>
                </c:pt>
                <c:pt idx="2154">
                  <c:v>1.5877834721449699E-2</c:v>
                </c:pt>
                <c:pt idx="2155">
                  <c:v>1.5892579664436201E-2</c:v>
                </c:pt>
                <c:pt idx="2156">
                  <c:v>1.5853898027087799E-2</c:v>
                </c:pt>
                <c:pt idx="2157">
                  <c:v>1.5935244867013899E-2</c:v>
                </c:pt>
                <c:pt idx="2158">
                  <c:v>1.5919204097461202E-2</c:v>
                </c:pt>
                <c:pt idx="2159">
                  <c:v>1.5883164165816501E-2</c:v>
                </c:pt>
                <c:pt idx="2160">
                  <c:v>1.5975323149555801E-2</c:v>
                </c:pt>
                <c:pt idx="2161">
                  <c:v>1.5923576353958298E-2</c:v>
                </c:pt>
                <c:pt idx="2162">
                  <c:v>1.5926866092084602E-2</c:v>
                </c:pt>
                <c:pt idx="2163">
                  <c:v>1.6020407051945899E-2</c:v>
                </c:pt>
                <c:pt idx="2164">
                  <c:v>1.5967909453364099E-2</c:v>
                </c:pt>
                <c:pt idx="2165">
                  <c:v>1.60402695624682E-2</c:v>
                </c:pt>
                <c:pt idx="2166">
                  <c:v>1.60239252572816E-2</c:v>
                </c:pt>
                <c:pt idx="2167">
                  <c:v>1.60268364776689E-2</c:v>
                </c:pt>
                <c:pt idx="2168">
                  <c:v>1.5942636233449999E-2</c:v>
                </c:pt>
                <c:pt idx="2169">
                  <c:v>1.5872911104774699E-2</c:v>
                </c:pt>
                <c:pt idx="2170">
                  <c:v>1.58802046471768E-2</c:v>
                </c:pt>
                <c:pt idx="2171">
                  <c:v>1.5911425816350699E-2</c:v>
                </c:pt>
                <c:pt idx="2172">
                  <c:v>1.5912335952872302E-2</c:v>
                </c:pt>
                <c:pt idx="2173">
                  <c:v>1.5881437268404401E-2</c:v>
                </c:pt>
                <c:pt idx="2174">
                  <c:v>1.58590674942873E-2</c:v>
                </c:pt>
                <c:pt idx="2175">
                  <c:v>1.5889173897497E-2</c:v>
                </c:pt>
                <c:pt idx="2176">
                  <c:v>1.5837485962529201E-2</c:v>
                </c:pt>
                <c:pt idx="2177">
                  <c:v>1.55305486594843E-2</c:v>
                </c:pt>
                <c:pt idx="2178">
                  <c:v>1.5318443887742899E-2</c:v>
                </c:pt>
                <c:pt idx="2179">
                  <c:v>1.52962975070252E-2</c:v>
                </c:pt>
                <c:pt idx="2180">
                  <c:v>1.5256034802103699E-2</c:v>
                </c:pt>
                <c:pt idx="2181">
                  <c:v>1.52566119141652E-2</c:v>
                </c:pt>
                <c:pt idx="2182">
                  <c:v>1.5031935056370901E-2</c:v>
                </c:pt>
                <c:pt idx="2183">
                  <c:v>1.50285372949277E-2</c:v>
                </c:pt>
                <c:pt idx="2184">
                  <c:v>1.4908155820883E-2</c:v>
                </c:pt>
                <c:pt idx="2185">
                  <c:v>1.4896870235158699E-2</c:v>
                </c:pt>
                <c:pt idx="2186">
                  <c:v>1.49865946580923E-2</c:v>
                </c:pt>
                <c:pt idx="2187">
                  <c:v>1.4986072242158199E-2</c:v>
                </c:pt>
                <c:pt idx="2188">
                  <c:v>1.47420387327415E-2</c:v>
                </c:pt>
                <c:pt idx="2189">
                  <c:v>1.47444138815168E-2</c:v>
                </c:pt>
                <c:pt idx="2190">
                  <c:v>1.4718958239522399E-2</c:v>
                </c:pt>
                <c:pt idx="2191">
                  <c:v>1.4726526696287399E-2</c:v>
                </c:pt>
                <c:pt idx="2192">
                  <c:v>1.47310557861332E-2</c:v>
                </c:pt>
                <c:pt idx="2193">
                  <c:v>1.45693588542368E-2</c:v>
                </c:pt>
                <c:pt idx="2194">
                  <c:v>1.45996376787783E-2</c:v>
                </c:pt>
                <c:pt idx="2195">
                  <c:v>1.4570935280679599E-2</c:v>
                </c:pt>
                <c:pt idx="2196">
                  <c:v>1.46587490709447E-2</c:v>
                </c:pt>
                <c:pt idx="2197">
                  <c:v>1.4614264429680101E-2</c:v>
                </c:pt>
                <c:pt idx="2198">
                  <c:v>1.4591610202625701E-2</c:v>
                </c:pt>
                <c:pt idx="2199">
                  <c:v>1.4585420534031701E-2</c:v>
                </c:pt>
                <c:pt idx="2200">
                  <c:v>1.4594842438338701E-2</c:v>
                </c:pt>
                <c:pt idx="2201">
                  <c:v>1.45910752639869E-2</c:v>
                </c:pt>
                <c:pt idx="2202">
                  <c:v>1.3435948975506E-2</c:v>
                </c:pt>
                <c:pt idx="2203">
                  <c:v>1.34437918866594E-2</c:v>
                </c:pt>
                <c:pt idx="2204">
                  <c:v>1.2833709642759501E-2</c:v>
                </c:pt>
                <c:pt idx="2205">
                  <c:v>1.26991672810164E-2</c:v>
                </c:pt>
                <c:pt idx="2206">
                  <c:v>1.26518366245025E-2</c:v>
                </c:pt>
                <c:pt idx="2207">
                  <c:v>1.2631133078995599E-2</c:v>
                </c:pt>
                <c:pt idx="2208">
                  <c:v>1.26298266448707E-2</c:v>
                </c:pt>
                <c:pt idx="2209">
                  <c:v>1.28281801209893E-2</c:v>
                </c:pt>
                <c:pt idx="2210">
                  <c:v>1.2661149377307701E-2</c:v>
                </c:pt>
                <c:pt idx="2211">
                  <c:v>1.26293896024462E-2</c:v>
                </c:pt>
                <c:pt idx="2212">
                  <c:v>1.26102176066801E-2</c:v>
                </c:pt>
                <c:pt idx="2213">
                  <c:v>1.26166104899453E-2</c:v>
                </c:pt>
                <c:pt idx="2214">
                  <c:v>1.25306919357627E-2</c:v>
                </c:pt>
                <c:pt idx="2215">
                  <c:v>1.2618720812097899E-2</c:v>
                </c:pt>
                <c:pt idx="2216">
                  <c:v>1.26054302811755E-2</c:v>
                </c:pt>
                <c:pt idx="2217">
                  <c:v>1.26874738552852E-2</c:v>
                </c:pt>
                <c:pt idx="2218">
                  <c:v>1.27235649739861E-2</c:v>
                </c:pt>
                <c:pt idx="2219">
                  <c:v>1.26942777539757E-2</c:v>
                </c:pt>
                <c:pt idx="2220">
                  <c:v>1.2671880605091701E-2</c:v>
                </c:pt>
                <c:pt idx="2221">
                  <c:v>1.27122374514715E-2</c:v>
                </c:pt>
                <c:pt idx="2222">
                  <c:v>1.2663079947473401E-2</c:v>
                </c:pt>
                <c:pt idx="2223">
                  <c:v>1.2332068444413801E-2</c:v>
                </c:pt>
                <c:pt idx="2224">
                  <c:v>1.2407996132430699E-2</c:v>
                </c:pt>
                <c:pt idx="2225">
                  <c:v>1.24263704146454E-2</c:v>
                </c:pt>
                <c:pt idx="2226">
                  <c:v>1.2492434249675201E-2</c:v>
                </c:pt>
                <c:pt idx="2227">
                  <c:v>1.2513104304955201E-2</c:v>
                </c:pt>
                <c:pt idx="2228">
                  <c:v>1.24577692701454E-2</c:v>
                </c:pt>
                <c:pt idx="2229">
                  <c:v>1.23342721193587E-2</c:v>
                </c:pt>
                <c:pt idx="2230">
                  <c:v>1.23026296888079E-2</c:v>
                </c:pt>
                <c:pt idx="2231">
                  <c:v>1.2386402131713201E-2</c:v>
                </c:pt>
                <c:pt idx="2232">
                  <c:v>1.2558419893628801E-2</c:v>
                </c:pt>
                <c:pt idx="2233">
                  <c:v>1.2428352936974999E-2</c:v>
                </c:pt>
                <c:pt idx="2234">
                  <c:v>1.2322617389282101E-2</c:v>
                </c:pt>
                <c:pt idx="2235">
                  <c:v>1.23754211571107E-2</c:v>
                </c:pt>
                <c:pt idx="2236">
                  <c:v>1.2447782147901701E-2</c:v>
                </c:pt>
                <c:pt idx="2237">
                  <c:v>1.23014333773843E-2</c:v>
                </c:pt>
                <c:pt idx="2238">
                  <c:v>1.23598440657061E-2</c:v>
                </c:pt>
                <c:pt idx="2239">
                  <c:v>1.2353751803356201E-2</c:v>
                </c:pt>
                <c:pt idx="2240">
                  <c:v>1.2347954137802699E-2</c:v>
                </c:pt>
                <c:pt idx="2241">
                  <c:v>1.2350786397271E-2</c:v>
                </c:pt>
                <c:pt idx="2242">
                  <c:v>1.22354484940786E-2</c:v>
                </c:pt>
                <c:pt idx="2243">
                  <c:v>1.22260853242275E-2</c:v>
                </c:pt>
                <c:pt idx="2244">
                  <c:v>1.232736887735E-2</c:v>
                </c:pt>
                <c:pt idx="2245">
                  <c:v>1.2416192891649001E-2</c:v>
                </c:pt>
                <c:pt idx="2246">
                  <c:v>1.2334170046313001E-2</c:v>
                </c:pt>
                <c:pt idx="2247">
                  <c:v>1.18105304200622E-2</c:v>
                </c:pt>
                <c:pt idx="2248">
                  <c:v>1.18124419653671E-2</c:v>
                </c:pt>
                <c:pt idx="2249">
                  <c:v>1.16680736707336E-2</c:v>
                </c:pt>
                <c:pt idx="2250">
                  <c:v>1.12521258339552E-2</c:v>
                </c:pt>
                <c:pt idx="2251">
                  <c:v>1.1235234328300901E-2</c:v>
                </c:pt>
                <c:pt idx="2252">
                  <c:v>1.1199552974814E-2</c:v>
                </c:pt>
                <c:pt idx="2253">
                  <c:v>1.15956680960769E-2</c:v>
                </c:pt>
                <c:pt idx="2254">
                  <c:v>1.1533981090463E-2</c:v>
                </c:pt>
                <c:pt idx="2255">
                  <c:v>1.1460491108530599E-2</c:v>
                </c:pt>
                <c:pt idx="2256">
                  <c:v>1.1470342856255899E-2</c:v>
                </c:pt>
                <c:pt idx="2257">
                  <c:v>1.1408861546159299E-2</c:v>
                </c:pt>
                <c:pt idx="2258">
                  <c:v>1.1410502587430199E-2</c:v>
                </c:pt>
                <c:pt idx="2259">
                  <c:v>1.1378448230586299E-2</c:v>
                </c:pt>
                <c:pt idx="2260">
                  <c:v>1.12160639238218E-2</c:v>
                </c:pt>
                <c:pt idx="2261">
                  <c:v>1.12052780232142E-2</c:v>
                </c:pt>
                <c:pt idx="2262">
                  <c:v>1.09904677095457E-2</c:v>
                </c:pt>
                <c:pt idx="2263">
                  <c:v>1.1458258801696399E-2</c:v>
                </c:pt>
                <c:pt idx="2264">
                  <c:v>1.14185341265891E-2</c:v>
                </c:pt>
                <c:pt idx="2265">
                  <c:v>1.1458404636799599E-2</c:v>
                </c:pt>
                <c:pt idx="2266">
                  <c:v>1.1520231404433199E-2</c:v>
                </c:pt>
                <c:pt idx="2267">
                  <c:v>1.1441088687396701E-2</c:v>
                </c:pt>
                <c:pt idx="2268">
                  <c:v>1.1228927915018699E-2</c:v>
                </c:pt>
                <c:pt idx="2269">
                  <c:v>1.12368833609288E-2</c:v>
                </c:pt>
                <c:pt idx="2270">
                  <c:v>1.12277456899813E-2</c:v>
                </c:pt>
                <c:pt idx="2271">
                  <c:v>1.13342518580382E-2</c:v>
                </c:pt>
                <c:pt idx="2272">
                  <c:v>1.12858443549611E-2</c:v>
                </c:pt>
                <c:pt idx="2273">
                  <c:v>1.13056947381249E-2</c:v>
                </c:pt>
                <c:pt idx="2274">
                  <c:v>1.1406602547913499E-2</c:v>
                </c:pt>
                <c:pt idx="2275">
                  <c:v>1.1398138513305799E-2</c:v>
                </c:pt>
                <c:pt idx="2276">
                  <c:v>1.17212977984479E-2</c:v>
                </c:pt>
                <c:pt idx="2277">
                  <c:v>1.15710712883623E-2</c:v>
                </c:pt>
                <c:pt idx="2278">
                  <c:v>1.1657410926194199E-2</c:v>
                </c:pt>
                <c:pt idx="2279">
                  <c:v>1.16586800994E-2</c:v>
                </c:pt>
                <c:pt idx="2280">
                  <c:v>1.15641579562777E-2</c:v>
                </c:pt>
                <c:pt idx="2281">
                  <c:v>1.1538849100989E-2</c:v>
                </c:pt>
                <c:pt idx="2282">
                  <c:v>1.15600172827425E-2</c:v>
                </c:pt>
                <c:pt idx="2283">
                  <c:v>1.16061474707177E-2</c:v>
                </c:pt>
                <c:pt idx="2284">
                  <c:v>1.15370519310358E-2</c:v>
                </c:pt>
                <c:pt idx="2285">
                  <c:v>1.16295771788832E-2</c:v>
                </c:pt>
                <c:pt idx="2286">
                  <c:v>1.16298452212106E-2</c:v>
                </c:pt>
                <c:pt idx="2287">
                  <c:v>1.1629251559546999E-2</c:v>
                </c:pt>
                <c:pt idx="2288">
                  <c:v>1.16505608537483E-2</c:v>
                </c:pt>
                <c:pt idx="2289">
                  <c:v>1.1589420763523499E-2</c:v>
                </c:pt>
                <c:pt idx="2290">
                  <c:v>1.15867884418573E-2</c:v>
                </c:pt>
                <c:pt idx="2291">
                  <c:v>1.1512370295334799E-2</c:v>
                </c:pt>
                <c:pt idx="2292">
                  <c:v>1.16376690800303E-2</c:v>
                </c:pt>
                <c:pt idx="2293">
                  <c:v>1.1624102191932099E-2</c:v>
                </c:pt>
                <c:pt idx="2294">
                  <c:v>1.19704525401652E-2</c:v>
                </c:pt>
                <c:pt idx="2295">
                  <c:v>1.22531935649389E-2</c:v>
                </c:pt>
                <c:pt idx="2296">
                  <c:v>1.21624920653084E-2</c:v>
                </c:pt>
                <c:pt idx="2297">
                  <c:v>1.2242357573818301E-2</c:v>
                </c:pt>
                <c:pt idx="2298">
                  <c:v>1.2281338683760801E-2</c:v>
                </c:pt>
                <c:pt idx="2299">
                  <c:v>1.2266440479207301E-2</c:v>
                </c:pt>
                <c:pt idx="2300">
                  <c:v>1.22758847704475E-2</c:v>
                </c:pt>
                <c:pt idx="2301">
                  <c:v>1.22759784443072E-2</c:v>
                </c:pt>
                <c:pt idx="2302">
                  <c:v>1.22091101718789E-2</c:v>
                </c:pt>
                <c:pt idx="2303">
                  <c:v>1.2205612645003101E-2</c:v>
                </c:pt>
                <c:pt idx="2304">
                  <c:v>1.26843506044259E-2</c:v>
                </c:pt>
                <c:pt idx="2305">
                  <c:v>1.27078489661035E-2</c:v>
                </c:pt>
                <c:pt idx="2306">
                  <c:v>1.26097668408777E-2</c:v>
                </c:pt>
                <c:pt idx="2307">
                  <c:v>1.26238313202387E-2</c:v>
                </c:pt>
                <c:pt idx="2308">
                  <c:v>1.28323667438454E-2</c:v>
                </c:pt>
                <c:pt idx="2309">
                  <c:v>1.28296893257122E-2</c:v>
                </c:pt>
                <c:pt idx="2310">
                  <c:v>1.2936122069835E-2</c:v>
                </c:pt>
                <c:pt idx="2311">
                  <c:v>1.29346081464334E-2</c:v>
                </c:pt>
                <c:pt idx="2312">
                  <c:v>1.31985300908902E-2</c:v>
                </c:pt>
                <c:pt idx="2313">
                  <c:v>1.32750337864163E-2</c:v>
                </c:pt>
                <c:pt idx="2314">
                  <c:v>1.3276470445936E-2</c:v>
                </c:pt>
                <c:pt idx="2315">
                  <c:v>1.32640150351679E-2</c:v>
                </c:pt>
                <c:pt idx="2316">
                  <c:v>1.3207982755403001E-2</c:v>
                </c:pt>
                <c:pt idx="2317">
                  <c:v>1.3212683871240799E-2</c:v>
                </c:pt>
                <c:pt idx="2318">
                  <c:v>1.32139933961274E-2</c:v>
                </c:pt>
                <c:pt idx="2319">
                  <c:v>1.3308062851485799E-2</c:v>
                </c:pt>
                <c:pt idx="2320">
                  <c:v>1.32857610774891E-2</c:v>
                </c:pt>
                <c:pt idx="2321">
                  <c:v>1.33062270638064E-2</c:v>
                </c:pt>
                <c:pt idx="2322">
                  <c:v>1.32791819427996E-2</c:v>
                </c:pt>
                <c:pt idx="2323">
                  <c:v>1.3251316122208E-2</c:v>
                </c:pt>
                <c:pt idx="2324">
                  <c:v>1.32624908931257E-2</c:v>
                </c:pt>
                <c:pt idx="2325">
                  <c:v>1.33530884949435E-2</c:v>
                </c:pt>
                <c:pt idx="2326">
                  <c:v>1.3329323671626699E-2</c:v>
                </c:pt>
                <c:pt idx="2327">
                  <c:v>1.34661538516438E-2</c:v>
                </c:pt>
                <c:pt idx="2328">
                  <c:v>1.3465847486617701E-2</c:v>
                </c:pt>
                <c:pt idx="2329">
                  <c:v>1.3383704184799099E-2</c:v>
                </c:pt>
                <c:pt idx="2330">
                  <c:v>1.33835288063094E-2</c:v>
                </c:pt>
                <c:pt idx="2331">
                  <c:v>1.34716845462106E-2</c:v>
                </c:pt>
                <c:pt idx="2332">
                  <c:v>1.34708061863853E-2</c:v>
                </c:pt>
                <c:pt idx="2333">
                  <c:v>1.34661461275825E-2</c:v>
                </c:pt>
                <c:pt idx="2334">
                  <c:v>1.3488744907225601E-2</c:v>
                </c:pt>
                <c:pt idx="2335">
                  <c:v>1.34016597152831E-2</c:v>
                </c:pt>
                <c:pt idx="2336">
                  <c:v>1.3411815022203099E-2</c:v>
                </c:pt>
                <c:pt idx="2337">
                  <c:v>1.3342828267546E-2</c:v>
                </c:pt>
                <c:pt idx="2338">
                  <c:v>1.3369963211804101E-2</c:v>
                </c:pt>
                <c:pt idx="2339">
                  <c:v>1.36845858156682E-2</c:v>
                </c:pt>
                <c:pt idx="2340">
                  <c:v>1.38833337082272E-2</c:v>
                </c:pt>
                <c:pt idx="2341">
                  <c:v>1.38116253571415E-2</c:v>
                </c:pt>
                <c:pt idx="2342">
                  <c:v>1.3855379596011999E-2</c:v>
                </c:pt>
                <c:pt idx="2343">
                  <c:v>1.3853492199692299E-2</c:v>
                </c:pt>
                <c:pt idx="2344">
                  <c:v>1.3787813762302601E-2</c:v>
                </c:pt>
                <c:pt idx="2345">
                  <c:v>1.37639280853255E-2</c:v>
                </c:pt>
                <c:pt idx="2346">
                  <c:v>1.3718542127118601E-2</c:v>
                </c:pt>
                <c:pt idx="2347">
                  <c:v>1.37266226797369E-2</c:v>
                </c:pt>
                <c:pt idx="2348">
                  <c:v>1.3859645555819399E-2</c:v>
                </c:pt>
                <c:pt idx="2349">
                  <c:v>1.38282536420019E-2</c:v>
                </c:pt>
                <c:pt idx="2350">
                  <c:v>1.3976737057066301E-2</c:v>
                </c:pt>
                <c:pt idx="2351">
                  <c:v>1.40278300021282E-2</c:v>
                </c:pt>
                <c:pt idx="2352">
                  <c:v>1.3836062118121601E-2</c:v>
                </c:pt>
                <c:pt idx="2353">
                  <c:v>1.38288450954069E-2</c:v>
                </c:pt>
                <c:pt idx="2354">
                  <c:v>1.38836711321905E-2</c:v>
                </c:pt>
                <c:pt idx="2355">
                  <c:v>1.38455572477258E-2</c:v>
                </c:pt>
                <c:pt idx="2356">
                  <c:v>1.3789957684415899E-2</c:v>
                </c:pt>
                <c:pt idx="2357">
                  <c:v>1.3803634521037E-2</c:v>
                </c:pt>
                <c:pt idx="2358">
                  <c:v>1.36360205471027E-2</c:v>
                </c:pt>
                <c:pt idx="2359">
                  <c:v>1.3638185188953199E-2</c:v>
                </c:pt>
                <c:pt idx="2360">
                  <c:v>1.3643048461665501E-2</c:v>
                </c:pt>
                <c:pt idx="2361">
                  <c:v>1.37328876536856E-2</c:v>
                </c:pt>
                <c:pt idx="2362">
                  <c:v>1.38225189795974E-2</c:v>
                </c:pt>
                <c:pt idx="2363">
                  <c:v>1.38337999852392E-2</c:v>
                </c:pt>
                <c:pt idx="2364">
                  <c:v>1.37815737170742E-2</c:v>
                </c:pt>
                <c:pt idx="2365">
                  <c:v>1.40668777232771E-2</c:v>
                </c:pt>
                <c:pt idx="2366">
                  <c:v>1.4417346038633001E-2</c:v>
                </c:pt>
                <c:pt idx="2367">
                  <c:v>1.44081472647453E-2</c:v>
                </c:pt>
                <c:pt idx="2368">
                  <c:v>1.4409220352386801E-2</c:v>
                </c:pt>
                <c:pt idx="2369">
                  <c:v>1.44600351384049E-2</c:v>
                </c:pt>
                <c:pt idx="2370">
                  <c:v>1.4556908448531801E-2</c:v>
                </c:pt>
                <c:pt idx="2371">
                  <c:v>1.5238864044128201E-2</c:v>
                </c:pt>
                <c:pt idx="2372">
                  <c:v>1.5285313271981E-2</c:v>
                </c:pt>
                <c:pt idx="2373">
                  <c:v>1.5132538196482E-2</c:v>
                </c:pt>
                <c:pt idx="2374">
                  <c:v>1.51962189457636E-2</c:v>
                </c:pt>
                <c:pt idx="2375">
                  <c:v>1.52438491361645E-2</c:v>
                </c:pt>
                <c:pt idx="2376">
                  <c:v>1.52402015818267E-2</c:v>
                </c:pt>
                <c:pt idx="2377">
                  <c:v>1.52846683269442E-2</c:v>
                </c:pt>
                <c:pt idx="2378">
                  <c:v>1.54507003841161E-2</c:v>
                </c:pt>
                <c:pt idx="2379">
                  <c:v>1.5465684712265299E-2</c:v>
                </c:pt>
                <c:pt idx="2380">
                  <c:v>1.54656029535136E-2</c:v>
                </c:pt>
                <c:pt idx="2381">
                  <c:v>1.55430551084618E-2</c:v>
                </c:pt>
                <c:pt idx="2382">
                  <c:v>1.5668864758554599E-2</c:v>
                </c:pt>
                <c:pt idx="2383">
                  <c:v>1.53296657915695E-2</c:v>
                </c:pt>
                <c:pt idx="2384">
                  <c:v>1.5329935650501701E-2</c:v>
                </c:pt>
                <c:pt idx="2385">
                  <c:v>1.5302003896266099E-2</c:v>
                </c:pt>
                <c:pt idx="2386">
                  <c:v>1.52336266801219E-2</c:v>
                </c:pt>
                <c:pt idx="2387">
                  <c:v>1.52681466696655E-2</c:v>
                </c:pt>
                <c:pt idx="2388">
                  <c:v>1.5204597354995001E-2</c:v>
                </c:pt>
                <c:pt idx="2389">
                  <c:v>1.51958140726826E-2</c:v>
                </c:pt>
                <c:pt idx="2390">
                  <c:v>1.5195204718234E-2</c:v>
                </c:pt>
                <c:pt idx="2391">
                  <c:v>1.5138607842127999E-2</c:v>
                </c:pt>
                <c:pt idx="2392">
                  <c:v>1.5174577690934899E-2</c:v>
                </c:pt>
                <c:pt idx="2393">
                  <c:v>1.5150631428180799E-2</c:v>
                </c:pt>
                <c:pt idx="2394">
                  <c:v>1.51547643635607E-2</c:v>
                </c:pt>
                <c:pt idx="2395">
                  <c:v>1.5155394543221901E-2</c:v>
                </c:pt>
                <c:pt idx="2396">
                  <c:v>1.4844411923594199E-2</c:v>
                </c:pt>
                <c:pt idx="2397">
                  <c:v>1.4872288886708E-2</c:v>
                </c:pt>
                <c:pt idx="2398">
                  <c:v>1.47990131389234E-2</c:v>
                </c:pt>
                <c:pt idx="2399">
                  <c:v>1.4888764039107501E-2</c:v>
                </c:pt>
                <c:pt idx="2400">
                  <c:v>1.4897189944808001E-2</c:v>
                </c:pt>
                <c:pt idx="2401">
                  <c:v>1.4958024458637999E-2</c:v>
                </c:pt>
                <c:pt idx="2402">
                  <c:v>1.4939544771439901E-2</c:v>
                </c:pt>
                <c:pt idx="2403">
                  <c:v>1.48608163000376E-2</c:v>
                </c:pt>
                <c:pt idx="2404">
                  <c:v>1.48802671557383E-2</c:v>
                </c:pt>
                <c:pt idx="2405">
                  <c:v>1.4763773388895301E-2</c:v>
                </c:pt>
                <c:pt idx="2406">
                  <c:v>1.4775782008164999E-2</c:v>
                </c:pt>
                <c:pt idx="2407">
                  <c:v>1.5002755296621401E-2</c:v>
                </c:pt>
                <c:pt idx="2408">
                  <c:v>1.49840218850917E-2</c:v>
                </c:pt>
                <c:pt idx="2409">
                  <c:v>1.5039425108080999E-2</c:v>
                </c:pt>
                <c:pt idx="2410">
                  <c:v>1.5041230647286999E-2</c:v>
                </c:pt>
                <c:pt idx="2411">
                  <c:v>1.5121224121746799E-2</c:v>
                </c:pt>
                <c:pt idx="2412">
                  <c:v>1.5012247179626801E-2</c:v>
                </c:pt>
                <c:pt idx="2413">
                  <c:v>1.5007620051150101E-2</c:v>
                </c:pt>
                <c:pt idx="2414">
                  <c:v>1.4786993693252801E-2</c:v>
                </c:pt>
                <c:pt idx="2415">
                  <c:v>1.4516939251500801E-2</c:v>
                </c:pt>
                <c:pt idx="2416">
                  <c:v>1.45100456916841E-2</c:v>
                </c:pt>
                <c:pt idx="2417">
                  <c:v>1.4605368094523299E-2</c:v>
                </c:pt>
                <c:pt idx="2418">
                  <c:v>1.4615815760561699E-2</c:v>
                </c:pt>
                <c:pt idx="2419">
                  <c:v>1.4596400140962199E-2</c:v>
                </c:pt>
                <c:pt idx="2420">
                  <c:v>1.4737904599614399E-2</c:v>
                </c:pt>
                <c:pt idx="2421">
                  <c:v>1.47388064821835E-2</c:v>
                </c:pt>
                <c:pt idx="2422">
                  <c:v>1.47409384240842E-2</c:v>
                </c:pt>
                <c:pt idx="2423">
                  <c:v>1.47683502794871E-2</c:v>
                </c:pt>
                <c:pt idx="2424">
                  <c:v>1.43957636812972E-2</c:v>
                </c:pt>
                <c:pt idx="2425">
                  <c:v>1.44993086482043E-2</c:v>
                </c:pt>
                <c:pt idx="2426">
                  <c:v>1.4501596150097501E-2</c:v>
                </c:pt>
                <c:pt idx="2427">
                  <c:v>1.4495146393069199E-2</c:v>
                </c:pt>
                <c:pt idx="2428">
                  <c:v>1.43076596413402E-2</c:v>
                </c:pt>
                <c:pt idx="2429">
                  <c:v>1.4453728878965301E-2</c:v>
                </c:pt>
                <c:pt idx="2430">
                  <c:v>1.4276590891113199E-2</c:v>
                </c:pt>
                <c:pt idx="2431">
                  <c:v>1.43068657068429E-2</c:v>
                </c:pt>
                <c:pt idx="2432">
                  <c:v>1.4114019517541499E-2</c:v>
                </c:pt>
                <c:pt idx="2433">
                  <c:v>1.4009232764345E-2</c:v>
                </c:pt>
                <c:pt idx="2434">
                  <c:v>1.39990869445789E-2</c:v>
                </c:pt>
                <c:pt idx="2435">
                  <c:v>1.3998948049089801E-2</c:v>
                </c:pt>
                <c:pt idx="2436">
                  <c:v>1.38868166046297E-2</c:v>
                </c:pt>
                <c:pt idx="2437">
                  <c:v>1.40218617454904E-2</c:v>
                </c:pt>
                <c:pt idx="2438">
                  <c:v>1.4024369380185401E-2</c:v>
                </c:pt>
                <c:pt idx="2439">
                  <c:v>1.39668502498883E-2</c:v>
                </c:pt>
                <c:pt idx="2440">
                  <c:v>1.3966851708949001E-2</c:v>
                </c:pt>
                <c:pt idx="2441">
                  <c:v>1.39541424503018E-2</c:v>
                </c:pt>
                <c:pt idx="2442">
                  <c:v>1.40340597004272E-2</c:v>
                </c:pt>
                <c:pt idx="2443">
                  <c:v>1.4031554129800001E-2</c:v>
                </c:pt>
                <c:pt idx="2444">
                  <c:v>1.40234653116124E-2</c:v>
                </c:pt>
                <c:pt idx="2445">
                  <c:v>1.3935784618375999E-2</c:v>
                </c:pt>
                <c:pt idx="2446">
                  <c:v>1.39354283840557E-2</c:v>
                </c:pt>
                <c:pt idx="2447">
                  <c:v>1.38842533182369E-2</c:v>
                </c:pt>
                <c:pt idx="2448">
                  <c:v>1.3957218085057401E-2</c:v>
                </c:pt>
                <c:pt idx="2449">
                  <c:v>1.38020598182137E-2</c:v>
                </c:pt>
                <c:pt idx="2450">
                  <c:v>1.3808624823759399E-2</c:v>
                </c:pt>
                <c:pt idx="2451">
                  <c:v>1.37479077062676E-2</c:v>
                </c:pt>
                <c:pt idx="2452">
                  <c:v>1.3752645833468699E-2</c:v>
                </c:pt>
                <c:pt idx="2453">
                  <c:v>1.37735789356782E-2</c:v>
                </c:pt>
                <c:pt idx="2454">
                  <c:v>1.37666917297849E-2</c:v>
                </c:pt>
                <c:pt idx="2455">
                  <c:v>1.38436394748171E-2</c:v>
                </c:pt>
                <c:pt idx="2456">
                  <c:v>1.3882279693083E-2</c:v>
                </c:pt>
                <c:pt idx="2457">
                  <c:v>1.38856129619821E-2</c:v>
                </c:pt>
                <c:pt idx="2458">
                  <c:v>1.38356166962497E-2</c:v>
                </c:pt>
                <c:pt idx="2459">
                  <c:v>1.3476637873547E-2</c:v>
                </c:pt>
                <c:pt idx="2460">
                  <c:v>1.35497355323817E-2</c:v>
                </c:pt>
                <c:pt idx="2461">
                  <c:v>1.35174709723671E-2</c:v>
                </c:pt>
                <c:pt idx="2462">
                  <c:v>1.3454706764864601E-2</c:v>
                </c:pt>
                <c:pt idx="2463">
                  <c:v>1.34648262668885E-2</c:v>
                </c:pt>
                <c:pt idx="2464">
                  <c:v>1.34736476766748E-2</c:v>
                </c:pt>
                <c:pt idx="2465">
                  <c:v>1.35282124914825E-2</c:v>
                </c:pt>
                <c:pt idx="2466">
                  <c:v>1.35209490774675E-2</c:v>
                </c:pt>
                <c:pt idx="2467">
                  <c:v>1.3561476329155501E-2</c:v>
                </c:pt>
                <c:pt idx="2468">
                  <c:v>1.34156366529387E-2</c:v>
                </c:pt>
                <c:pt idx="2469">
                  <c:v>1.3381864878259301E-2</c:v>
                </c:pt>
                <c:pt idx="2470">
                  <c:v>1.31963339132549E-2</c:v>
                </c:pt>
                <c:pt idx="2471">
                  <c:v>1.30950599682359E-2</c:v>
                </c:pt>
                <c:pt idx="2472">
                  <c:v>1.3094976230781499E-2</c:v>
                </c:pt>
                <c:pt idx="2473">
                  <c:v>1.3177661964208E-2</c:v>
                </c:pt>
                <c:pt idx="2474">
                  <c:v>1.32566605545275E-2</c:v>
                </c:pt>
                <c:pt idx="2475">
                  <c:v>1.3256915589199199E-2</c:v>
                </c:pt>
                <c:pt idx="2476">
                  <c:v>1.32442139413976E-2</c:v>
                </c:pt>
                <c:pt idx="2477">
                  <c:v>1.3236927362618601E-2</c:v>
                </c:pt>
                <c:pt idx="2478">
                  <c:v>1.32422983793338E-2</c:v>
                </c:pt>
                <c:pt idx="2479">
                  <c:v>1.32424124135432E-2</c:v>
                </c:pt>
                <c:pt idx="2480">
                  <c:v>1.32423699586254E-2</c:v>
                </c:pt>
                <c:pt idx="2481">
                  <c:v>1.31787769785687E-2</c:v>
                </c:pt>
                <c:pt idx="2482">
                  <c:v>1.31098646139951E-2</c:v>
                </c:pt>
                <c:pt idx="2483">
                  <c:v>1.31643060535195E-2</c:v>
                </c:pt>
                <c:pt idx="2484">
                  <c:v>1.3332464455147901E-2</c:v>
                </c:pt>
                <c:pt idx="2485">
                  <c:v>1.29863908709034E-2</c:v>
                </c:pt>
                <c:pt idx="2486">
                  <c:v>1.2656000659288E-2</c:v>
                </c:pt>
                <c:pt idx="2487">
                  <c:v>1.26795895620896E-2</c:v>
                </c:pt>
                <c:pt idx="2488">
                  <c:v>1.26796725066793E-2</c:v>
                </c:pt>
                <c:pt idx="2489">
                  <c:v>1.2730626024666999E-2</c:v>
                </c:pt>
                <c:pt idx="2490">
                  <c:v>1.2600364217048601E-2</c:v>
                </c:pt>
                <c:pt idx="2491">
                  <c:v>1.1813867012695701E-2</c:v>
                </c:pt>
                <c:pt idx="2492">
                  <c:v>1.1732669118139E-2</c:v>
                </c:pt>
                <c:pt idx="2493">
                  <c:v>1.16434333375087E-2</c:v>
                </c:pt>
                <c:pt idx="2494">
                  <c:v>1.1630967194884699E-2</c:v>
                </c:pt>
                <c:pt idx="2495">
                  <c:v>1.15335282161352E-2</c:v>
                </c:pt>
                <c:pt idx="2496">
                  <c:v>1.1547274738197701E-2</c:v>
                </c:pt>
                <c:pt idx="2497">
                  <c:v>1.1484018082747001E-2</c:v>
                </c:pt>
                <c:pt idx="2498">
                  <c:v>1.1277512773691699E-2</c:v>
                </c:pt>
                <c:pt idx="2499">
                  <c:v>1.12606040244415E-2</c:v>
                </c:pt>
                <c:pt idx="2500">
                  <c:v>1.1260752070605701E-2</c:v>
                </c:pt>
                <c:pt idx="2501">
                  <c:v>1.1185399788013001E-2</c:v>
                </c:pt>
                <c:pt idx="2502">
                  <c:v>1.0907356968613099E-2</c:v>
                </c:pt>
                <c:pt idx="2503">
                  <c:v>1.0935914297862E-2</c:v>
                </c:pt>
                <c:pt idx="2504">
                  <c:v>1.1008967095253799E-2</c:v>
                </c:pt>
                <c:pt idx="2505">
                  <c:v>1.10102766561277E-2</c:v>
                </c:pt>
                <c:pt idx="2506">
                  <c:v>1.10060428434492E-2</c:v>
                </c:pt>
                <c:pt idx="2507">
                  <c:v>1.09923057012607E-2</c:v>
                </c:pt>
                <c:pt idx="2508">
                  <c:v>1.0991025666822101E-2</c:v>
                </c:pt>
                <c:pt idx="2509">
                  <c:v>1.11363148508541E-2</c:v>
                </c:pt>
                <c:pt idx="2510">
                  <c:v>1.11376600986191E-2</c:v>
                </c:pt>
                <c:pt idx="2511">
                  <c:v>1.11442803747789E-2</c:v>
                </c:pt>
                <c:pt idx="2512">
                  <c:v>1.1072276982962301E-2</c:v>
                </c:pt>
                <c:pt idx="2513">
                  <c:v>1.1066222088401301E-2</c:v>
                </c:pt>
                <c:pt idx="2514">
                  <c:v>1.09623418298254E-2</c:v>
                </c:pt>
                <c:pt idx="2515">
                  <c:v>1.09702867530427E-2</c:v>
                </c:pt>
                <c:pt idx="2516">
                  <c:v>1.0982842227937E-2</c:v>
                </c:pt>
                <c:pt idx="2517">
                  <c:v>1.0954459537928E-2</c:v>
                </c:pt>
                <c:pt idx="2518">
                  <c:v>1.0995711931919601E-2</c:v>
                </c:pt>
                <c:pt idx="2519">
                  <c:v>1.10074546037394E-2</c:v>
                </c:pt>
                <c:pt idx="2520">
                  <c:v>1.1012108561953801E-2</c:v>
                </c:pt>
                <c:pt idx="2521">
                  <c:v>1.0965656191456299E-2</c:v>
                </c:pt>
                <c:pt idx="2522">
                  <c:v>1.09539632190775E-2</c:v>
                </c:pt>
                <c:pt idx="2523">
                  <c:v>1.0880087636742201E-2</c:v>
                </c:pt>
                <c:pt idx="2524">
                  <c:v>1.0878615885451399E-2</c:v>
                </c:pt>
                <c:pt idx="2525">
                  <c:v>1.0910041867549901E-2</c:v>
                </c:pt>
                <c:pt idx="2526">
                  <c:v>1.08582178634445E-2</c:v>
                </c:pt>
                <c:pt idx="2527">
                  <c:v>1.0603761882800201E-2</c:v>
                </c:pt>
                <c:pt idx="2528">
                  <c:v>1.13611689917374E-2</c:v>
                </c:pt>
                <c:pt idx="2529">
                  <c:v>1.1281035762839601E-2</c:v>
                </c:pt>
                <c:pt idx="2530">
                  <c:v>1.1287051747392401E-2</c:v>
                </c:pt>
                <c:pt idx="2531">
                  <c:v>1.11930609250438E-2</c:v>
                </c:pt>
                <c:pt idx="2532">
                  <c:v>1.12177359215134E-2</c:v>
                </c:pt>
                <c:pt idx="2533">
                  <c:v>1.12437074650971E-2</c:v>
                </c:pt>
                <c:pt idx="2534">
                  <c:v>1.14101558375342E-2</c:v>
                </c:pt>
                <c:pt idx="2535">
                  <c:v>1.14409517451116E-2</c:v>
                </c:pt>
                <c:pt idx="2536">
                  <c:v>1.1452394198950701E-2</c:v>
                </c:pt>
                <c:pt idx="2537">
                  <c:v>1.13408507985234E-2</c:v>
                </c:pt>
                <c:pt idx="2538">
                  <c:v>1.12895466768036E-2</c:v>
                </c:pt>
                <c:pt idx="2539">
                  <c:v>1.1303329750084501E-2</c:v>
                </c:pt>
                <c:pt idx="2540">
                  <c:v>1.10827323472543E-2</c:v>
                </c:pt>
                <c:pt idx="2541">
                  <c:v>1.11176154145651E-2</c:v>
                </c:pt>
                <c:pt idx="2542">
                  <c:v>1.1449978258689E-2</c:v>
                </c:pt>
                <c:pt idx="2543">
                  <c:v>1.1540979366459401E-2</c:v>
                </c:pt>
                <c:pt idx="2544">
                  <c:v>1.1571970991061701E-2</c:v>
                </c:pt>
                <c:pt idx="2545">
                  <c:v>1.1603918219631099E-2</c:v>
                </c:pt>
                <c:pt idx="2546">
                  <c:v>1.15981369136207E-2</c:v>
                </c:pt>
                <c:pt idx="2547">
                  <c:v>1.16229587736601E-2</c:v>
                </c:pt>
                <c:pt idx="2548">
                  <c:v>1.1574469813430801E-2</c:v>
                </c:pt>
                <c:pt idx="2549">
                  <c:v>1.1376171585189601E-2</c:v>
                </c:pt>
                <c:pt idx="2550">
                  <c:v>1.1378339148573899E-2</c:v>
                </c:pt>
                <c:pt idx="2551">
                  <c:v>1.13190412949277E-2</c:v>
                </c:pt>
                <c:pt idx="2552">
                  <c:v>1.13985962587815E-2</c:v>
                </c:pt>
                <c:pt idx="2553">
                  <c:v>1.1398662524610101E-2</c:v>
                </c:pt>
                <c:pt idx="2554">
                  <c:v>1.13773342222897E-2</c:v>
                </c:pt>
                <c:pt idx="2555">
                  <c:v>1.1423928141427399E-2</c:v>
                </c:pt>
                <c:pt idx="2556">
                  <c:v>1.14238222938395E-2</c:v>
                </c:pt>
                <c:pt idx="2557">
                  <c:v>1.1244569078968101E-2</c:v>
                </c:pt>
                <c:pt idx="2558">
                  <c:v>1.1353661580670599E-2</c:v>
                </c:pt>
                <c:pt idx="2559">
                  <c:v>1.1317648387406299E-2</c:v>
                </c:pt>
                <c:pt idx="2560">
                  <c:v>1.1319992331991499E-2</c:v>
                </c:pt>
                <c:pt idx="2561">
                  <c:v>1.1344061787879301E-2</c:v>
                </c:pt>
                <c:pt idx="2562">
                  <c:v>1.1378260740534499E-2</c:v>
                </c:pt>
                <c:pt idx="2563">
                  <c:v>1.13872661138341E-2</c:v>
                </c:pt>
                <c:pt idx="2564">
                  <c:v>1.13719648081042E-2</c:v>
                </c:pt>
                <c:pt idx="2565">
                  <c:v>1.1357237882879199E-2</c:v>
                </c:pt>
                <c:pt idx="2566">
                  <c:v>1.1356347962636701E-2</c:v>
                </c:pt>
                <c:pt idx="2567">
                  <c:v>1.13820145136361E-2</c:v>
                </c:pt>
                <c:pt idx="2568">
                  <c:v>1.1283051239015501E-2</c:v>
                </c:pt>
                <c:pt idx="2569">
                  <c:v>1.12214183673401E-2</c:v>
                </c:pt>
                <c:pt idx="2570">
                  <c:v>1.1307307580020701E-2</c:v>
                </c:pt>
                <c:pt idx="2571">
                  <c:v>1.12160994727806E-2</c:v>
                </c:pt>
                <c:pt idx="2572">
                  <c:v>1.1266636167144101E-2</c:v>
                </c:pt>
                <c:pt idx="2573">
                  <c:v>1.12628145448562E-2</c:v>
                </c:pt>
                <c:pt idx="2574">
                  <c:v>1.1243822528408999E-2</c:v>
                </c:pt>
                <c:pt idx="2575">
                  <c:v>1.11323118997134E-2</c:v>
                </c:pt>
                <c:pt idx="2576">
                  <c:v>1.1132737117394299E-2</c:v>
                </c:pt>
                <c:pt idx="2577">
                  <c:v>1.11468846086122E-2</c:v>
                </c:pt>
                <c:pt idx="2578">
                  <c:v>1.11720243450814E-2</c:v>
                </c:pt>
                <c:pt idx="2579">
                  <c:v>1.1185385737314899E-2</c:v>
                </c:pt>
                <c:pt idx="2580">
                  <c:v>1.09472035796798E-2</c:v>
                </c:pt>
                <c:pt idx="2581">
                  <c:v>1.09744417113961E-2</c:v>
                </c:pt>
                <c:pt idx="2582">
                  <c:v>1.0982864570086801E-2</c:v>
                </c:pt>
                <c:pt idx="2583">
                  <c:v>1.10375893043072E-2</c:v>
                </c:pt>
                <c:pt idx="2584">
                  <c:v>1.10903122289558E-2</c:v>
                </c:pt>
                <c:pt idx="2585">
                  <c:v>1.10627524922913E-2</c:v>
                </c:pt>
                <c:pt idx="2586">
                  <c:v>1.1547386569746401E-2</c:v>
                </c:pt>
                <c:pt idx="2587">
                  <c:v>1.1441365898888899E-2</c:v>
                </c:pt>
                <c:pt idx="2588">
                  <c:v>1.15800504750586E-2</c:v>
                </c:pt>
                <c:pt idx="2589">
                  <c:v>1.1624670125483801E-2</c:v>
                </c:pt>
                <c:pt idx="2590">
                  <c:v>1.1618094821526001E-2</c:v>
                </c:pt>
                <c:pt idx="2591">
                  <c:v>1.1606085612204499E-2</c:v>
                </c:pt>
                <c:pt idx="2592">
                  <c:v>1.16423456048701E-2</c:v>
                </c:pt>
                <c:pt idx="2593">
                  <c:v>1.2436741881716999E-2</c:v>
                </c:pt>
                <c:pt idx="2594">
                  <c:v>1.22809459399815E-2</c:v>
                </c:pt>
                <c:pt idx="2595">
                  <c:v>1.22811851150539E-2</c:v>
                </c:pt>
                <c:pt idx="2596">
                  <c:v>1.22791857007371E-2</c:v>
                </c:pt>
                <c:pt idx="2597">
                  <c:v>1.2266002087573001E-2</c:v>
                </c:pt>
                <c:pt idx="2598">
                  <c:v>1.21988201790394E-2</c:v>
                </c:pt>
                <c:pt idx="2599">
                  <c:v>1.22037506763526E-2</c:v>
                </c:pt>
                <c:pt idx="2600">
                  <c:v>1.24699185082798E-2</c:v>
                </c:pt>
                <c:pt idx="2601">
                  <c:v>1.24740455553594E-2</c:v>
                </c:pt>
                <c:pt idx="2602">
                  <c:v>1.2416243090783499E-2</c:v>
                </c:pt>
                <c:pt idx="2603">
                  <c:v>1.23859891945746E-2</c:v>
                </c:pt>
                <c:pt idx="2604">
                  <c:v>1.22984690405833E-2</c:v>
                </c:pt>
                <c:pt idx="2605">
                  <c:v>1.22923144192551E-2</c:v>
                </c:pt>
                <c:pt idx="2606">
                  <c:v>1.2279488839744199E-2</c:v>
                </c:pt>
                <c:pt idx="2607">
                  <c:v>1.22564095941727E-2</c:v>
                </c:pt>
                <c:pt idx="2608">
                  <c:v>1.2256371812932499E-2</c:v>
                </c:pt>
                <c:pt idx="2609">
                  <c:v>1.20999879689144E-2</c:v>
                </c:pt>
                <c:pt idx="2610">
                  <c:v>1.22165680347892E-2</c:v>
                </c:pt>
                <c:pt idx="2611">
                  <c:v>1.26776241024364E-2</c:v>
                </c:pt>
                <c:pt idx="2612">
                  <c:v>1.26871949994313E-2</c:v>
                </c:pt>
                <c:pt idx="2613">
                  <c:v>1.26651874667453E-2</c:v>
                </c:pt>
                <c:pt idx="2614">
                  <c:v>1.2629400357477699E-2</c:v>
                </c:pt>
                <c:pt idx="2615">
                  <c:v>1.27084849874417E-2</c:v>
                </c:pt>
                <c:pt idx="2616">
                  <c:v>1.2698614972261499E-2</c:v>
                </c:pt>
                <c:pt idx="2617">
                  <c:v>1.2698728777269099E-2</c:v>
                </c:pt>
                <c:pt idx="2618">
                  <c:v>1.27021130713543E-2</c:v>
                </c:pt>
                <c:pt idx="2619">
                  <c:v>1.2723529228898601E-2</c:v>
                </c:pt>
                <c:pt idx="2620">
                  <c:v>1.27308170021242E-2</c:v>
                </c:pt>
                <c:pt idx="2621">
                  <c:v>1.2988037642541099E-2</c:v>
                </c:pt>
                <c:pt idx="2622">
                  <c:v>1.2968032436745901E-2</c:v>
                </c:pt>
                <c:pt idx="2623">
                  <c:v>1.29568513679723E-2</c:v>
                </c:pt>
                <c:pt idx="2624">
                  <c:v>1.2907873518528699E-2</c:v>
                </c:pt>
                <c:pt idx="2625">
                  <c:v>1.3033767971958401E-2</c:v>
                </c:pt>
                <c:pt idx="2626">
                  <c:v>1.30336772495795E-2</c:v>
                </c:pt>
                <c:pt idx="2627">
                  <c:v>1.3030937891858101E-2</c:v>
                </c:pt>
                <c:pt idx="2628">
                  <c:v>1.3018754069041001E-2</c:v>
                </c:pt>
                <c:pt idx="2629">
                  <c:v>1.28862674886199E-2</c:v>
                </c:pt>
                <c:pt idx="2630">
                  <c:v>1.28888784312513E-2</c:v>
                </c:pt>
                <c:pt idx="2631">
                  <c:v>1.2902400972691E-2</c:v>
                </c:pt>
                <c:pt idx="2632">
                  <c:v>1.3024027043264901E-2</c:v>
                </c:pt>
                <c:pt idx="2633">
                  <c:v>1.30273132483632E-2</c:v>
                </c:pt>
                <c:pt idx="2634">
                  <c:v>1.3423051512142899E-2</c:v>
                </c:pt>
                <c:pt idx="2635">
                  <c:v>1.34303176216068E-2</c:v>
                </c:pt>
                <c:pt idx="2636">
                  <c:v>1.3407232433969501E-2</c:v>
                </c:pt>
                <c:pt idx="2637">
                  <c:v>1.3480530647766199E-2</c:v>
                </c:pt>
                <c:pt idx="2638">
                  <c:v>1.34592247630285E-2</c:v>
                </c:pt>
                <c:pt idx="2639">
                  <c:v>1.35569351997694E-2</c:v>
                </c:pt>
                <c:pt idx="2640">
                  <c:v>1.35571147728582E-2</c:v>
                </c:pt>
                <c:pt idx="2641">
                  <c:v>1.4226916045131001E-2</c:v>
                </c:pt>
                <c:pt idx="2642">
                  <c:v>1.4463148162540299E-2</c:v>
                </c:pt>
                <c:pt idx="2643">
                  <c:v>1.4480529116677901E-2</c:v>
                </c:pt>
                <c:pt idx="2644">
                  <c:v>1.45059439097365E-2</c:v>
                </c:pt>
                <c:pt idx="2645">
                  <c:v>1.44739615218091E-2</c:v>
                </c:pt>
                <c:pt idx="2646">
                  <c:v>1.4484680297775301E-2</c:v>
                </c:pt>
                <c:pt idx="2647">
                  <c:v>1.4541168544184401E-2</c:v>
                </c:pt>
                <c:pt idx="2648">
                  <c:v>1.40432379516116E-2</c:v>
                </c:pt>
                <c:pt idx="2649">
                  <c:v>1.40409921266667E-2</c:v>
                </c:pt>
                <c:pt idx="2650">
                  <c:v>1.402644900805E-2</c:v>
                </c:pt>
                <c:pt idx="2651">
                  <c:v>1.4096168528263399E-2</c:v>
                </c:pt>
                <c:pt idx="2652">
                  <c:v>1.4086438795392999E-2</c:v>
                </c:pt>
                <c:pt idx="2653">
                  <c:v>1.43808200910842E-2</c:v>
                </c:pt>
                <c:pt idx="2654">
                  <c:v>1.41827369161988E-2</c:v>
                </c:pt>
                <c:pt idx="2655">
                  <c:v>1.41420230311838E-2</c:v>
                </c:pt>
                <c:pt idx="2656">
                  <c:v>1.4141329081542199E-2</c:v>
                </c:pt>
                <c:pt idx="2657">
                  <c:v>1.4046472870286399E-2</c:v>
                </c:pt>
                <c:pt idx="2658">
                  <c:v>1.40476116045327E-2</c:v>
                </c:pt>
                <c:pt idx="2659">
                  <c:v>1.4384065118623401E-2</c:v>
                </c:pt>
                <c:pt idx="2660">
                  <c:v>1.4382745313032399E-2</c:v>
                </c:pt>
                <c:pt idx="2661">
                  <c:v>1.43376219834132E-2</c:v>
                </c:pt>
                <c:pt idx="2662">
                  <c:v>1.4090202558497E-2</c:v>
                </c:pt>
                <c:pt idx="2663">
                  <c:v>1.39999757022908E-2</c:v>
                </c:pt>
                <c:pt idx="2664">
                  <c:v>1.3973178736202799E-2</c:v>
                </c:pt>
                <c:pt idx="2665">
                  <c:v>1.3849441687837701E-2</c:v>
                </c:pt>
                <c:pt idx="2666">
                  <c:v>1.38505601006458E-2</c:v>
                </c:pt>
                <c:pt idx="2667">
                  <c:v>1.38245807311995E-2</c:v>
                </c:pt>
                <c:pt idx="2668">
                  <c:v>1.38392962862887E-2</c:v>
                </c:pt>
                <c:pt idx="2669">
                  <c:v>1.38682161373239E-2</c:v>
                </c:pt>
                <c:pt idx="2670">
                  <c:v>1.3891240234708601E-2</c:v>
                </c:pt>
                <c:pt idx="2671">
                  <c:v>1.38914465855806E-2</c:v>
                </c:pt>
                <c:pt idx="2672">
                  <c:v>1.3827104294565001E-2</c:v>
                </c:pt>
                <c:pt idx="2673">
                  <c:v>1.4046067223024801E-2</c:v>
                </c:pt>
                <c:pt idx="2674">
                  <c:v>1.4044037531596399E-2</c:v>
                </c:pt>
                <c:pt idx="2675">
                  <c:v>1.4318163833428601E-2</c:v>
                </c:pt>
                <c:pt idx="2676">
                  <c:v>1.4412082778245501E-2</c:v>
                </c:pt>
                <c:pt idx="2677">
                  <c:v>1.4434772757130201E-2</c:v>
                </c:pt>
                <c:pt idx="2678">
                  <c:v>1.43446386152841E-2</c:v>
                </c:pt>
                <c:pt idx="2679">
                  <c:v>1.43336988299449E-2</c:v>
                </c:pt>
                <c:pt idx="2680">
                  <c:v>1.4414778466678199E-2</c:v>
                </c:pt>
                <c:pt idx="2681">
                  <c:v>1.44489790468938E-2</c:v>
                </c:pt>
                <c:pt idx="2682">
                  <c:v>1.4354141510187299E-2</c:v>
                </c:pt>
                <c:pt idx="2683">
                  <c:v>1.4356730922621999E-2</c:v>
                </c:pt>
                <c:pt idx="2684">
                  <c:v>1.4367436947422801E-2</c:v>
                </c:pt>
                <c:pt idx="2685">
                  <c:v>1.4365524346401299E-2</c:v>
                </c:pt>
                <c:pt idx="2686">
                  <c:v>1.43698580781812E-2</c:v>
                </c:pt>
                <c:pt idx="2687">
                  <c:v>1.4331990035212801E-2</c:v>
                </c:pt>
                <c:pt idx="2688">
                  <c:v>1.4335536054703E-2</c:v>
                </c:pt>
                <c:pt idx="2689">
                  <c:v>1.44166754722203E-2</c:v>
                </c:pt>
                <c:pt idx="2690">
                  <c:v>1.43712079870379E-2</c:v>
                </c:pt>
                <c:pt idx="2691">
                  <c:v>1.4376260865189699E-2</c:v>
                </c:pt>
                <c:pt idx="2692">
                  <c:v>1.4312609066796701E-2</c:v>
                </c:pt>
                <c:pt idx="2693">
                  <c:v>1.4288859742035E-2</c:v>
                </c:pt>
                <c:pt idx="2694">
                  <c:v>1.43531270051209E-2</c:v>
                </c:pt>
                <c:pt idx="2695">
                  <c:v>1.43469779373271E-2</c:v>
                </c:pt>
                <c:pt idx="2696">
                  <c:v>1.4302636422352201E-2</c:v>
                </c:pt>
                <c:pt idx="2697">
                  <c:v>1.4347463802443601E-2</c:v>
                </c:pt>
                <c:pt idx="2698">
                  <c:v>1.4340626009813E-2</c:v>
                </c:pt>
                <c:pt idx="2699">
                  <c:v>1.4321218884523E-2</c:v>
                </c:pt>
                <c:pt idx="2700">
                  <c:v>1.43145503200222E-2</c:v>
                </c:pt>
                <c:pt idx="2701">
                  <c:v>1.4277311003671101E-2</c:v>
                </c:pt>
                <c:pt idx="2702">
                  <c:v>1.4333173758695601E-2</c:v>
                </c:pt>
                <c:pt idx="2703">
                  <c:v>1.4309164978054199E-2</c:v>
                </c:pt>
                <c:pt idx="2704">
                  <c:v>1.42944357386627E-2</c:v>
                </c:pt>
                <c:pt idx="2705">
                  <c:v>1.43730794815296E-2</c:v>
                </c:pt>
                <c:pt idx="2706">
                  <c:v>1.43983484962984E-2</c:v>
                </c:pt>
                <c:pt idx="2707">
                  <c:v>1.4407681603235301E-2</c:v>
                </c:pt>
                <c:pt idx="2708">
                  <c:v>1.43156826475456E-2</c:v>
                </c:pt>
                <c:pt idx="2709">
                  <c:v>1.4294410941058201E-2</c:v>
                </c:pt>
                <c:pt idx="2710">
                  <c:v>1.4302330462488E-2</c:v>
                </c:pt>
                <c:pt idx="2711">
                  <c:v>1.46328206472684E-2</c:v>
                </c:pt>
                <c:pt idx="2712">
                  <c:v>1.45967481965893E-2</c:v>
                </c:pt>
                <c:pt idx="2713">
                  <c:v>1.5098511507868E-2</c:v>
                </c:pt>
                <c:pt idx="2714">
                  <c:v>1.5091758427685001E-2</c:v>
                </c:pt>
                <c:pt idx="2715">
                  <c:v>1.5092449617241099E-2</c:v>
                </c:pt>
                <c:pt idx="2716">
                  <c:v>1.5093405317724899E-2</c:v>
                </c:pt>
                <c:pt idx="2717">
                  <c:v>1.5182129255016399E-2</c:v>
                </c:pt>
                <c:pt idx="2718">
                  <c:v>1.51870656373042E-2</c:v>
                </c:pt>
                <c:pt idx="2719">
                  <c:v>1.5187128842482E-2</c:v>
                </c:pt>
                <c:pt idx="2720">
                  <c:v>1.49756291249552E-2</c:v>
                </c:pt>
                <c:pt idx="2721">
                  <c:v>1.49926704122995E-2</c:v>
                </c:pt>
                <c:pt idx="2722">
                  <c:v>1.49894955305026E-2</c:v>
                </c:pt>
                <c:pt idx="2723">
                  <c:v>1.51399976254046E-2</c:v>
                </c:pt>
                <c:pt idx="2724">
                  <c:v>1.5046314228859201E-2</c:v>
                </c:pt>
                <c:pt idx="2725">
                  <c:v>1.5281158499768299E-2</c:v>
                </c:pt>
                <c:pt idx="2726">
                  <c:v>1.5844249208886801E-2</c:v>
                </c:pt>
                <c:pt idx="2727">
                  <c:v>1.5963406434628499E-2</c:v>
                </c:pt>
                <c:pt idx="2728">
                  <c:v>1.6020212088094999E-2</c:v>
                </c:pt>
                <c:pt idx="2729">
                  <c:v>1.6025954866038299E-2</c:v>
                </c:pt>
                <c:pt idx="2730">
                  <c:v>1.5994533197769702E-2</c:v>
                </c:pt>
                <c:pt idx="2731">
                  <c:v>1.5670689995060501E-2</c:v>
                </c:pt>
                <c:pt idx="2732">
                  <c:v>1.57991607441209E-2</c:v>
                </c:pt>
                <c:pt idx="2733">
                  <c:v>1.58018376578112E-2</c:v>
                </c:pt>
                <c:pt idx="2734">
                  <c:v>1.6015603258812801E-2</c:v>
                </c:pt>
                <c:pt idx="2735">
                  <c:v>1.59439005983876E-2</c:v>
                </c:pt>
                <c:pt idx="2736">
                  <c:v>1.5934272068562901E-2</c:v>
                </c:pt>
                <c:pt idx="2737">
                  <c:v>1.5936040227982201E-2</c:v>
                </c:pt>
                <c:pt idx="2738">
                  <c:v>1.6037990848403402E-2</c:v>
                </c:pt>
                <c:pt idx="2739">
                  <c:v>1.60359998447447E-2</c:v>
                </c:pt>
                <c:pt idx="2740">
                  <c:v>1.6036090077490898E-2</c:v>
                </c:pt>
                <c:pt idx="2741">
                  <c:v>1.5929395475563001E-2</c:v>
                </c:pt>
                <c:pt idx="2742">
                  <c:v>1.5902011146877101E-2</c:v>
                </c:pt>
                <c:pt idx="2743">
                  <c:v>1.5952392947897999E-2</c:v>
                </c:pt>
                <c:pt idx="2744">
                  <c:v>1.59693207981021E-2</c:v>
                </c:pt>
                <c:pt idx="2745">
                  <c:v>1.5843738201941199E-2</c:v>
                </c:pt>
                <c:pt idx="2746">
                  <c:v>1.5840908678761301E-2</c:v>
                </c:pt>
                <c:pt idx="2747">
                  <c:v>1.5821954013654101E-2</c:v>
                </c:pt>
                <c:pt idx="2748">
                  <c:v>1.6061342639743601E-2</c:v>
                </c:pt>
                <c:pt idx="2749">
                  <c:v>1.6060418771247701E-2</c:v>
                </c:pt>
                <c:pt idx="2750">
                  <c:v>1.60543223918404E-2</c:v>
                </c:pt>
                <c:pt idx="2751">
                  <c:v>1.60506049706979E-2</c:v>
                </c:pt>
                <c:pt idx="2752">
                  <c:v>1.59775985640262E-2</c:v>
                </c:pt>
                <c:pt idx="2753">
                  <c:v>1.6007117091181099E-2</c:v>
                </c:pt>
                <c:pt idx="2754">
                  <c:v>1.5722197718670498E-2</c:v>
                </c:pt>
                <c:pt idx="2755">
                  <c:v>1.5717234866454498E-2</c:v>
                </c:pt>
                <c:pt idx="2756">
                  <c:v>1.5712760264884301E-2</c:v>
                </c:pt>
                <c:pt idx="2757">
                  <c:v>1.5675295135463899E-2</c:v>
                </c:pt>
                <c:pt idx="2758">
                  <c:v>1.5769665938945E-2</c:v>
                </c:pt>
                <c:pt idx="2759">
                  <c:v>1.5516805957996101E-2</c:v>
                </c:pt>
                <c:pt idx="2760">
                  <c:v>1.5521889651601201E-2</c:v>
                </c:pt>
                <c:pt idx="2761">
                  <c:v>1.4934030622047499E-2</c:v>
                </c:pt>
                <c:pt idx="2762">
                  <c:v>1.46659563594841E-2</c:v>
                </c:pt>
                <c:pt idx="2763">
                  <c:v>1.46325098428375E-2</c:v>
                </c:pt>
                <c:pt idx="2764">
                  <c:v>1.46698209507975E-2</c:v>
                </c:pt>
                <c:pt idx="2765">
                  <c:v>1.4665559949317701E-2</c:v>
                </c:pt>
                <c:pt idx="2766">
                  <c:v>1.46616233566469E-2</c:v>
                </c:pt>
                <c:pt idx="2767">
                  <c:v>1.46256688347896E-2</c:v>
                </c:pt>
                <c:pt idx="2768">
                  <c:v>1.4942170034918901E-2</c:v>
                </c:pt>
                <c:pt idx="2769">
                  <c:v>1.4996309034178699E-2</c:v>
                </c:pt>
                <c:pt idx="2770">
                  <c:v>1.49979725184486E-2</c:v>
                </c:pt>
                <c:pt idx="2771">
                  <c:v>1.4964707756919699E-2</c:v>
                </c:pt>
                <c:pt idx="2772">
                  <c:v>1.49570103851909E-2</c:v>
                </c:pt>
                <c:pt idx="2773">
                  <c:v>1.4644561492662699E-2</c:v>
                </c:pt>
                <c:pt idx="2774">
                  <c:v>1.47606656402433E-2</c:v>
                </c:pt>
                <c:pt idx="2775">
                  <c:v>1.4761810498770201E-2</c:v>
                </c:pt>
                <c:pt idx="2776">
                  <c:v>1.48409363272957E-2</c:v>
                </c:pt>
                <c:pt idx="2777">
                  <c:v>1.4818589135632901E-2</c:v>
                </c:pt>
                <c:pt idx="2778">
                  <c:v>1.48235434981319E-2</c:v>
                </c:pt>
                <c:pt idx="2779">
                  <c:v>1.46116731191535E-2</c:v>
                </c:pt>
                <c:pt idx="2780">
                  <c:v>1.46177195033461E-2</c:v>
                </c:pt>
                <c:pt idx="2781">
                  <c:v>1.46286058375253E-2</c:v>
                </c:pt>
                <c:pt idx="2782">
                  <c:v>1.4680841998342501E-2</c:v>
                </c:pt>
                <c:pt idx="2783">
                  <c:v>1.46875135750618E-2</c:v>
                </c:pt>
                <c:pt idx="2784">
                  <c:v>1.47094654107627E-2</c:v>
                </c:pt>
                <c:pt idx="2785">
                  <c:v>1.4769442588284099E-2</c:v>
                </c:pt>
                <c:pt idx="2786">
                  <c:v>1.47695250025708E-2</c:v>
                </c:pt>
                <c:pt idx="2787">
                  <c:v>1.47681711037418E-2</c:v>
                </c:pt>
                <c:pt idx="2788">
                  <c:v>1.48571028941403E-2</c:v>
                </c:pt>
                <c:pt idx="2789">
                  <c:v>1.4830494916294901E-2</c:v>
                </c:pt>
                <c:pt idx="2790">
                  <c:v>1.48135832381975E-2</c:v>
                </c:pt>
                <c:pt idx="2791">
                  <c:v>1.4910537356274499E-2</c:v>
                </c:pt>
                <c:pt idx="2792">
                  <c:v>1.49386893281957E-2</c:v>
                </c:pt>
                <c:pt idx="2793">
                  <c:v>1.47540269396277E-2</c:v>
                </c:pt>
                <c:pt idx="2794">
                  <c:v>1.4767968855307999E-2</c:v>
                </c:pt>
                <c:pt idx="2795">
                  <c:v>1.45182738014399E-2</c:v>
                </c:pt>
                <c:pt idx="2796">
                  <c:v>1.4413449538280901E-2</c:v>
                </c:pt>
                <c:pt idx="2797">
                  <c:v>1.4382132524127801E-2</c:v>
                </c:pt>
                <c:pt idx="2798">
                  <c:v>1.4428932979105301E-2</c:v>
                </c:pt>
                <c:pt idx="2799">
                  <c:v>1.4484850955251901E-2</c:v>
                </c:pt>
                <c:pt idx="2800">
                  <c:v>1.4399800448715199E-2</c:v>
                </c:pt>
                <c:pt idx="2801">
                  <c:v>1.4346274670233699E-2</c:v>
                </c:pt>
                <c:pt idx="2802">
                  <c:v>1.4346074779529899E-2</c:v>
                </c:pt>
                <c:pt idx="2803">
                  <c:v>1.4380164177124601E-2</c:v>
                </c:pt>
                <c:pt idx="2804">
                  <c:v>1.4379054282971499E-2</c:v>
                </c:pt>
                <c:pt idx="2805">
                  <c:v>1.44206514732173E-2</c:v>
                </c:pt>
                <c:pt idx="2806">
                  <c:v>1.4422817189210801E-2</c:v>
                </c:pt>
                <c:pt idx="2807">
                  <c:v>1.4398698010386299E-2</c:v>
                </c:pt>
                <c:pt idx="2808">
                  <c:v>1.4525715010209E-2</c:v>
                </c:pt>
                <c:pt idx="2809">
                  <c:v>1.4440336807700901E-2</c:v>
                </c:pt>
                <c:pt idx="2810">
                  <c:v>1.44892035452262E-2</c:v>
                </c:pt>
                <c:pt idx="2811">
                  <c:v>1.4793735295216701E-2</c:v>
                </c:pt>
                <c:pt idx="2812">
                  <c:v>1.48029548249103E-2</c:v>
                </c:pt>
                <c:pt idx="2813">
                  <c:v>1.48118478558249E-2</c:v>
                </c:pt>
                <c:pt idx="2814">
                  <c:v>1.47731436282116E-2</c:v>
                </c:pt>
                <c:pt idx="2815">
                  <c:v>1.4767767510796099E-2</c:v>
                </c:pt>
                <c:pt idx="2816">
                  <c:v>1.4769982320040899E-2</c:v>
                </c:pt>
                <c:pt idx="2817">
                  <c:v>1.46790441701781E-2</c:v>
                </c:pt>
                <c:pt idx="2818">
                  <c:v>1.47206995986989E-2</c:v>
                </c:pt>
                <c:pt idx="2819">
                  <c:v>1.4753629153518501E-2</c:v>
                </c:pt>
                <c:pt idx="2820">
                  <c:v>1.4724890940405201E-2</c:v>
                </c:pt>
                <c:pt idx="2821">
                  <c:v>1.47416403614474E-2</c:v>
                </c:pt>
                <c:pt idx="2822">
                  <c:v>1.4718130486600501E-2</c:v>
                </c:pt>
                <c:pt idx="2823">
                  <c:v>1.47693338349271E-2</c:v>
                </c:pt>
                <c:pt idx="2824">
                  <c:v>1.47258921601161E-2</c:v>
                </c:pt>
                <c:pt idx="2825">
                  <c:v>1.4651908232669901E-2</c:v>
                </c:pt>
                <c:pt idx="2826">
                  <c:v>1.4306125984525801E-2</c:v>
                </c:pt>
                <c:pt idx="2827">
                  <c:v>1.42925978896926E-2</c:v>
                </c:pt>
                <c:pt idx="2828">
                  <c:v>1.4366168334880801E-2</c:v>
                </c:pt>
                <c:pt idx="2829">
                  <c:v>1.43553609403887E-2</c:v>
                </c:pt>
                <c:pt idx="2830">
                  <c:v>1.43396515637517E-2</c:v>
                </c:pt>
                <c:pt idx="2831">
                  <c:v>1.4082914184917901E-2</c:v>
                </c:pt>
                <c:pt idx="2832">
                  <c:v>1.40893939950958E-2</c:v>
                </c:pt>
                <c:pt idx="2833">
                  <c:v>1.27429416328802E-2</c:v>
                </c:pt>
                <c:pt idx="2834">
                  <c:v>1.2780881574224299E-2</c:v>
                </c:pt>
                <c:pt idx="2835">
                  <c:v>1.2969549022391801E-2</c:v>
                </c:pt>
                <c:pt idx="2836">
                  <c:v>1.29663987989324E-2</c:v>
                </c:pt>
                <c:pt idx="2837">
                  <c:v>1.2862594515887201E-2</c:v>
                </c:pt>
                <c:pt idx="2838">
                  <c:v>1.2869067889960201E-2</c:v>
                </c:pt>
                <c:pt idx="2839">
                  <c:v>1.2966139610835399E-2</c:v>
                </c:pt>
                <c:pt idx="2840">
                  <c:v>1.30302888518868E-2</c:v>
                </c:pt>
                <c:pt idx="2841">
                  <c:v>1.30116658097728E-2</c:v>
                </c:pt>
                <c:pt idx="2842">
                  <c:v>1.3063977017589601E-2</c:v>
                </c:pt>
                <c:pt idx="2843">
                  <c:v>1.27902208435296E-2</c:v>
                </c:pt>
                <c:pt idx="2844">
                  <c:v>1.2854706153223599E-2</c:v>
                </c:pt>
                <c:pt idx="2845">
                  <c:v>1.27804924910242E-2</c:v>
                </c:pt>
                <c:pt idx="2846">
                  <c:v>1.20888564997579E-2</c:v>
                </c:pt>
                <c:pt idx="2847">
                  <c:v>1.19195662484374E-2</c:v>
                </c:pt>
                <c:pt idx="2848">
                  <c:v>1.18749583698628E-2</c:v>
                </c:pt>
                <c:pt idx="2849">
                  <c:v>1.18861739882976E-2</c:v>
                </c:pt>
                <c:pt idx="2850">
                  <c:v>1.1815884609892901E-2</c:v>
                </c:pt>
                <c:pt idx="2851">
                  <c:v>1.17490818653786E-2</c:v>
                </c:pt>
                <c:pt idx="2852">
                  <c:v>1.15298363090759E-2</c:v>
                </c:pt>
                <c:pt idx="2853">
                  <c:v>1.1520256401502201E-2</c:v>
                </c:pt>
                <c:pt idx="2854">
                  <c:v>1.1301623429469601E-2</c:v>
                </c:pt>
                <c:pt idx="2855">
                  <c:v>1.1294001602738701E-2</c:v>
                </c:pt>
                <c:pt idx="2856">
                  <c:v>1.1323065886266999E-2</c:v>
                </c:pt>
                <c:pt idx="2857">
                  <c:v>1.15486343340495E-2</c:v>
                </c:pt>
                <c:pt idx="2858">
                  <c:v>1.1382534142872699E-2</c:v>
                </c:pt>
                <c:pt idx="2859">
                  <c:v>1.13825832195164E-2</c:v>
                </c:pt>
                <c:pt idx="2860">
                  <c:v>1.14487244701883E-2</c:v>
                </c:pt>
                <c:pt idx="2861">
                  <c:v>1.12438133575805E-2</c:v>
                </c:pt>
                <c:pt idx="2862">
                  <c:v>1.12484550799462E-2</c:v>
                </c:pt>
                <c:pt idx="2863">
                  <c:v>1.1223510186494199E-2</c:v>
                </c:pt>
                <c:pt idx="2864">
                  <c:v>1.1213973310610199E-2</c:v>
                </c:pt>
                <c:pt idx="2865">
                  <c:v>1.14300191987832E-2</c:v>
                </c:pt>
                <c:pt idx="2866">
                  <c:v>1.14520680306038E-2</c:v>
                </c:pt>
                <c:pt idx="2867">
                  <c:v>1.14483595733125E-2</c:v>
                </c:pt>
                <c:pt idx="2868">
                  <c:v>1.11466754673615E-2</c:v>
                </c:pt>
                <c:pt idx="2869">
                  <c:v>1.11632741558448E-2</c:v>
                </c:pt>
                <c:pt idx="2870">
                  <c:v>1.1176353800149599E-2</c:v>
                </c:pt>
                <c:pt idx="2871">
                  <c:v>1.1184915100216601E-2</c:v>
                </c:pt>
                <c:pt idx="2872">
                  <c:v>1.1213423164585699E-2</c:v>
                </c:pt>
                <c:pt idx="2873">
                  <c:v>1.11922852291945E-2</c:v>
                </c:pt>
                <c:pt idx="2874">
                  <c:v>1.12058379038518E-2</c:v>
                </c:pt>
                <c:pt idx="2875">
                  <c:v>1.1384624446112501E-2</c:v>
                </c:pt>
                <c:pt idx="2876">
                  <c:v>1.16202198062163E-2</c:v>
                </c:pt>
                <c:pt idx="2877">
                  <c:v>1.1606350082311499E-2</c:v>
                </c:pt>
                <c:pt idx="2878">
                  <c:v>1.14407738644282E-2</c:v>
                </c:pt>
                <c:pt idx="2879">
                  <c:v>1.1491466228753799E-2</c:v>
                </c:pt>
                <c:pt idx="2880">
                  <c:v>1.1494723372817201E-2</c:v>
                </c:pt>
                <c:pt idx="2881">
                  <c:v>1.14916445222287E-2</c:v>
                </c:pt>
                <c:pt idx="2882">
                  <c:v>1.15192709166126E-2</c:v>
                </c:pt>
                <c:pt idx="2883">
                  <c:v>1.15243556456615E-2</c:v>
                </c:pt>
                <c:pt idx="2884">
                  <c:v>1.1440681522971299E-2</c:v>
                </c:pt>
                <c:pt idx="2885">
                  <c:v>1.1816696409447399E-2</c:v>
                </c:pt>
                <c:pt idx="2886">
                  <c:v>1.18268271967223E-2</c:v>
                </c:pt>
                <c:pt idx="2887">
                  <c:v>1.1809962539565899E-2</c:v>
                </c:pt>
                <c:pt idx="2888">
                  <c:v>1.1417446494073001E-2</c:v>
                </c:pt>
                <c:pt idx="2889">
                  <c:v>1.13510924435383E-2</c:v>
                </c:pt>
                <c:pt idx="2890">
                  <c:v>1.1386172750014601E-2</c:v>
                </c:pt>
                <c:pt idx="2891">
                  <c:v>1.1340797737072099E-2</c:v>
                </c:pt>
                <c:pt idx="2892">
                  <c:v>1.13440204613255E-2</c:v>
                </c:pt>
                <c:pt idx="2893">
                  <c:v>1.14211185171906E-2</c:v>
                </c:pt>
                <c:pt idx="2894">
                  <c:v>1.1727242528110599E-2</c:v>
                </c:pt>
                <c:pt idx="2895">
                  <c:v>1.17537296976188E-2</c:v>
                </c:pt>
                <c:pt idx="2896">
                  <c:v>1.1647253789442201E-2</c:v>
                </c:pt>
                <c:pt idx="2897">
                  <c:v>1.16073206763569E-2</c:v>
                </c:pt>
                <c:pt idx="2898">
                  <c:v>1.1611343855919E-2</c:v>
                </c:pt>
                <c:pt idx="2899">
                  <c:v>1.14989111608039E-2</c:v>
                </c:pt>
                <c:pt idx="2900">
                  <c:v>1.1489804154596999E-2</c:v>
                </c:pt>
                <c:pt idx="2901">
                  <c:v>1.15007962400693E-2</c:v>
                </c:pt>
                <c:pt idx="2902">
                  <c:v>1.14544255135488E-2</c:v>
                </c:pt>
                <c:pt idx="2903">
                  <c:v>1.1456373826403601E-2</c:v>
                </c:pt>
                <c:pt idx="2904">
                  <c:v>1.14662538726633E-2</c:v>
                </c:pt>
                <c:pt idx="2905">
                  <c:v>1.1577970238861901E-2</c:v>
                </c:pt>
                <c:pt idx="2906">
                  <c:v>1.15764988856935E-2</c:v>
                </c:pt>
                <c:pt idx="2907">
                  <c:v>1.16722985808786E-2</c:v>
                </c:pt>
                <c:pt idx="2908">
                  <c:v>1.15517020917202E-2</c:v>
                </c:pt>
                <c:pt idx="2909">
                  <c:v>1.1548902145464701E-2</c:v>
                </c:pt>
                <c:pt idx="2910">
                  <c:v>1.1638692133410299E-2</c:v>
                </c:pt>
                <c:pt idx="2911">
                  <c:v>1.15056383356077E-2</c:v>
                </c:pt>
                <c:pt idx="2912">
                  <c:v>1.1475029743986599E-2</c:v>
                </c:pt>
                <c:pt idx="2913">
                  <c:v>1.1434547600955599E-2</c:v>
                </c:pt>
                <c:pt idx="2914">
                  <c:v>1.15133982934385E-2</c:v>
                </c:pt>
                <c:pt idx="2915">
                  <c:v>1.14637880887405E-2</c:v>
                </c:pt>
                <c:pt idx="2916">
                  <c:v>1.14637483192278E-2</c:v>
                </c:pt>
                <c:pt idx="2917">
                  <c:v>1.1460539694020701E-2</c:v>
                </c:pt>
                <c:pt idx="2918">
                  <c:v>1.1405227494480299E-2</c:v>
                </c:pt>
                <c:pt idx="2919">
                  <c:v>1.14169904802176E-2</c:v>
                </c:pt>
                <c:pt idx="2920">
                  <c:v>1.14567386190178E-2</c:v>
                </c:pt>
                <c:pt idx="2921">
                  <c:v>1.1456623658703501E-2</c:v>
                </c:pt>
                <c:pt idx="2922">
                  <c:v>1.14548312747304E-2</c:v>
                </c:pt>
                <c:pt idx="2923">
                  <c:v>1.1402669513298099E-2</c:v>
                </c:pt>
                <c:pt idx="2924">
                  <c:v>1.1421252718730599E-2</c:v>
                </c:pt>
                <c:pt idx="2925">
                  <c:v>1.1355761327516501E-2</c:v>
                </c:pt>
                <c:pt idx="2926">
                  <c:v>1.13495454259848E-2</c:v>
                </c:pt>
                <c:pt idx="2927">
                  <c:v>1.14836500801518E-2</c:v>
                </c:pt>
                <c:pt idx="2928">
                  <c:v>1.1307896938650201E-2</c:v>
                </c:pt>
                <c:pt idx="2929">
                  <c:v>1.1286640627685701E-2</c:v>
                </c:pt>
                <c:pt idx="2930">
                  <c:v>1.11878596702095E-2</c:v>
                </c:pt>
                <c:pt idx="2931">
                  <c:v>1.07564267680082E-2</c:v>
                </c:pt>
                <c:pt idx="2932">
                  <c:v>1.08130158510864E-2</c:v>
                </c:pt>
                <c:pt idx="2933">
                  <c:v>1.07980507488936E-2</c:v>
                </c:pt>
                <c:pt idx="2934">
                  <c:v>1.0831243855717199E-2</c:v>
                </c:pt>
                <c:pt idx="2935">
                  <c:v>1.08257325676798E-2</c:v>
                </c:pt>
                <c:pt idx="2936">
                  <c:v>1.08546445853147E-2</c:v>
                </c:pt>
                <c:pt idx="2937">
                  <c:v>1.08620310068736E-2</c:v>
                </c:pt>
                <c:pt idx="2938">
                  <c:v>1.08082617080421E-2</c:v>
                </c:pt>
                <c:pt idx="2939">
                  <c:v>1.08074236670398E-2</c:v>
                </c:pt>
                <c:pt idx="2940">
                  <c:v>1.0819201579289501E-2</c:v>
                </c:pt>
                <c:pt idx="2941">
                  <c:v>1.0799464963794501E-2</c:v>
                </c:pt>
                <c:pt idx="2942">
                  <c:v>1.07549183584984E-2</c:v>
                </c:pt>
                <c:pt idx="2943">
                  <c:v>1.07060420762429E-2</c:v>
                </c:pt>
                <c:pt idx="2944">
                  <c:v>1.0758083275278401E-2</c:v>
                </c:pt>
                <c:pt idx="2945">
                  <c:v>1.07623522495975E-2</c:v>
                </c:pt>
                <c:pt idx="2946">
                  <c:v>1.0762574073990399E-2</c:v>
                </c:pt>
                <c:pt idx="2947">
                  <c:v>1.08335769672121E-2</c:v>
                </c:pt>
                <c:pt idx="2948">
                  <c:v>1.07379835856276E-2</c:v>
                </c:pt>
                <c:pt idx="2949">
                  <c:v>1.0740379472658599E-2</c:v>
                </c:pt>
                <c:pt idx="2950">
                  <c:v>1.0791302987550501E-2</c:v>
                </c:pt>
                <c:pt idx="2951">
                  <c:v>1.0722055228352199E-2</c:v>
                </c:pt>
                <c:pt idx="2952">
                  <c:v>1.0750478071336399E-2</c:v>
                </c:pt>
                <c:pt idx="2953">
                  <c:v>1.07552327388884E-2</c:v>
                </c:pt>
                <c:pt idx="2954">
                  <c:v>1.08029069636143E-2</c:v>
                </c:pt>
                <c:pt idx="2955">
                  <c:v>1.06080905872137E-2</c:v>
                </c:pt>
                <c:pt idx="2956">
                  <c:v>1.06037388083243E-2</c:v>
                </c:pt>
                <c:pt idx="2957">
                  <c:v>1.0614149507205E-2</c:v>
                </c:pt>
                <c:pt idx="2958">
                  <c:v>1.05981936009568E-2</c:v>
                </c:pt>
                <c:pt idx="2959">
                  <c:v>1.0509661865204099E-2</c:v>
                </c:pt>
                <c:pt idx="2960">
                  <c:v>1.0391068722403E-2</c:v>
                </c:pt>
                <c:pt idx="2961">
                  <c:v>1.0412745239863E-2</c:v>
                </c:pt>
                <c:pt idx="2962">
                  <c:v>1.03360476468039E-2</c:v>
                </c:pt>
                <c:pt idx="2963">
                  <c:v>1.03376655087755E-2</c:v>
                </c:pt>
                <c:pt idx="2964">
                  <c:v>1.02776144503376E-2</c:v>
                </c:pt>
                <c:pt idx="2965">
                  <c:v>1.00647185288383E-2</c:v>
                </c:pt>
                <c:pt idx="2966">
                  <c:v>1.00650384218597E-2</c:v>
                </c:pt>
                <c:pt idx="2967">
                  <c:v>1.0065337105173299E-2</c:v>
                </c:pt>
                <c:pt idx="2968">
                  <c:v>1.01213175475425E-2</c:v>
                </c:pt>
                <c:pt idx="2969">
                  <c:v>1.00999279240791E-2</c:v>
                </c:pt>
                <c:pt idx="2970">
                  <c:v>1.00928863758699E-2</c:v>
                </c:pt>
                <c:pt idx="2971">
                  <c:v>1.0112005989999199E-2</c:v>
                </c:pt>
                <c:pt idx="2972">
                  <c:v>1.0112003776528799E-2</c:v>
                </c:pt>
                <c:pt idx="2973">
                  <c:v>1.0112395847611E-2</c:v>
                </c:pt>
                <c:pt idx="2974">
                  <c:v>1.0033956243652701E-2</c:v>
                </c:pt>
                <c:pt idx="2975">
                  <c:v>1.00249078526247E-2</c:v>
                </c:pt>
                <c:pt idx="2976">
                  <c:v>9.9843295009042696E-3</c:v>
                </c:pt>
                <c:pt idx="2977">
                  <c:v>9.7696071942420092E-3</c:v>
                </c:pt>
                <c:pt idx="2978">
                  <c:v>9.7608245180122594E-3</c:v>
                </c:pt>
                <c:pt idx="2979">
                  <c:v>9.8790371211831107E-3</c:v>
                </c:pt>
                <c:pt idx="2980">
                  <c:v>9.8481164289270194E-3</c:v>
                </c:pt>
                <c:pt idx="2981">
                  <c:v>1.0162654433645E-2</c:v>
                </c:pt>
                <c:pt idx="2982">
                  <c:v>1.0161779276370899E-2</c:v>
                </c:pt>
                <c:pt idx="2983">
                  <c:v>1.0111768819056399E-2</c:v>
                </c:pt>
                <c:pt idx="2984">
                  <c:v>1.01608334433748E-2</c:v>
                </c:pt>
                <c:pt idx="2985">
                  <c:v>9.9518187843482594E-3</c:v>
                </c:pt>
                <c:pt idx="2986">
                  <c:v>1.00847271853857E-2</c:v>
                </c:pt>
                <c:pt idx="2987">
                  <c:v>1.0086346355341801E-2</c:v>
                </c:pt>
                <c:pt idx="2988">
                  <c:v>1.0077609594112901E-2</c:v>
                </c:pt>
                <c:pt idx="2989">
                  <c:v>1.01576289872767E-2</c:v>
                </c:pt>
                <c:pt idx="2990">
                  <c:v>1.0138896697443001E-2</c:v>
                </c:pt>
                <c:pt idx="2991">
                  <c:v>1.01557229691757E-2</c:v>
                </c:pt>
                <c:pt idx="2992">
                  <c:v>1.01096589136079E-2</c:v>
                </c:pt>
                <c:pt idx="2993">
                  <c:v>1.0072622114959399E-2</c:v>
                </c:pt>
                <c:pt idx="2994">
                  <c:v>1.0069247041562999E-2</c:v>
                </c:pt>
                <c:pt idx="2995">
                  <c:v>9.8968672690271306E-3</c:v>
                </c:pt>
                <c:pt idx="2996">
                  <c:v>9.6047019119014695E-3</c:v>
                </c:pt>
                <c:pt idx="2997">
                  <c:v>9.6035625845601203E-3</c:v>
                </c:pt>
                <c:pt idx="2998">
                  <c:v>9.6007860168289393E-3</c:v>
                </c:pt>
                <c:pt idx="2999">
                  <c:v>9.5645355030490806E-3</c:v>
                </c:pt>
                <c:pt idx="3000">
                  <c:v>9.5626139108136096E-3</c:v>
                </c:pt>
                <c:pt idx="3001">
                  <c:v>9.6028927924688996E-3</c:v>
                </c:pt>
                <c:pt idx="3002">
                  <c:v>9.5924243104672305E-3</c:v>
                </c:pt>
                <c:pt idx="3003">
                  <c:v>9.5862451992006995E-3</c:v>
                </c:pt>
                <c:pt idx="3004">
                  <c:v>9.6075363770620498E-3</c:v>
                </c:pt>
                <c:pt idx="3005">
                  <c:v>9.1487746239048793E-3</c:v>
                </c:pt>
                <c:pt idx="3006">
                  <c:v>9.1589345739769498E-3</c:v>
                </c:pt>
                <c:pt idx="3007">
                  <c:v>9.2254128015325093E-3</c:v>
                </c:pt>
                <c:pt idx="3008">
                  <c:v>9.1986742102587397E-3</c:v>
                </c:pt>
                <c:pt idx="3009">
                  <c:v>9.17675092820615E-3</c:v>
                </c:pt>
                <c:pt idx="3010">
                  <c:v>9.1766047705740799E-3</c:v>
                </c:pt>
                <c:pt idx="3011">
                  <c:v>9.1747865315334205E-3</c:v>
                </c:pt>
                <c:pt idx="3012">
                  <c:v>9.1543117023243099E-3</c:v>
                </c:pt>
                <c:pt idx="3013">
                  <c:v>9.0269307622205096E-3</c:v>
                </c:pt>
                <c:pt idx="3014">
                  <c:v>8.5267368995038898E-3</c:v>
                </c:pt>
                <c:pt idx="3015">
                  <c:v>8.5021346306121005E-3</c:v>
                </c:pt>
                <c:pt idx="3016">
                  <c:v>8.7143170155844305E-3</c:v>
                </c:pt>
                <c:pt idx="3017">
                  <c:v>8.7210742475054004E-3</c:v>
                </c:pt>
                <c:pt idx="3018">
                  <c:v>8.6926597663816892E-3</c:v>
                </c:pt>
                <c:pt idx="3019">
                  <c:v>8.7058871475243806E-3</c:v>
                </c:pt>
                <c:pt idx="3020">
                  <c:v>8.8946054627820608E-3</c:v>
                </c:pt>
                <c:pt idx="3021">
                  <c:v>8.9001193836162201E-3</c:v>
                </c:pt>
                <c:pt idx="3022">
                  <c:v>9.0052552920154502E-3</c:v>
                </c:pt>
                <c:pt idx="3023">
                  <c:v>8.9779612387764305E-3</c:v>
                </c:pt>
                <c:pt idx="3024">
                  <c:v>8.9447555946811797E-3</c:v>
                </c:pt>
                <c:pt idx="3025">
                  <c:v>8.7070627465186297E-3</c:v>
                </c:pt>
                <c:pt idx="3026">
                  <c:v>8.7071945988889902E-3</c:v>
                </c:pt>
                <c:pt idx="3027">
                  <c:v>8.6527308090304598E-3</c:v>
                </c:pt>
                <c:pt idx="3028">
                  <c:v>8.6508574961574099E-3</c:v>
                </c:pt>
                <c:pt idx="3029">
                  <c:v>8.6723382839915993E-3</c:v>
                </c:pt>
                <c:pt idx="3030">
                  <c:v>8.5263472954915601E-3</c:v>
                </c:pt>
                <c:pt idx="3031">
                  <c:v>8.5348886352252899E-3</c:v>
                </c:pt>
                <c:pt idx="3032">
                  <c:v>8.5450757657257407E-3</c:v>
                </c:pt>
                <c:pt idx="3033">
                  <c:v>8.5822010129368298E-3</c:v>
                </c:pt>
                <c:pt idx="3034">
                  <c:v>8.4287873766897906E-3</c:v>
                </c:pt>
                <c:pt idx="3035">
                  <c:v>8.4324690768624103E-3</c:v>
                </c:pt>
                <c:pt idx="3036">
                  <c:v>8.4766984867511493E-3</c:v>
                </c:pt>
                <c:pt idx="3037">
                  <c:v>8.4966597488155791E-3</c:v>
                </c:pt>
                <c:pt idx="3038">
                  <c:v>8.4864601871083804E-3</c:v>
                </c:pt>
                <c:pt idx="3039">
                  <c:v>8.36087615102943E-3</c:v>
                </c:pt>
                <c:pt idx="3040">
                  <c:v>8.3605216200272302E-3</c:v>
                </c:pt>
                <c:pt idx="3041">
                  <c:v>8.5421334537432708E-3</c:v>
                </c:pt>
                <c:pt idx="3042">
                  <c:v>8.6262558498552497E-3</c:v>
                </c:pt>
                <c:pt idx="3043">
                  <c:v>8.6437559621221002E-3</c:v>
                </c:pt>
                <c:pt idx="3044">
                  <c:v>8.6931407766545604E-3</c:v>
                </c:pt>
                <c:pt idx="3045">
                  <c:v>8.6908650581478692E-3</c:v>
                </c:pt>
                <c:pt idx="3046">
                  <c:v>8.6893230771618608E-3</c:v>
                </c:pt>
                <c:pt idx="3047">
                  <c:v>8.5040730112709399E-3</c:v>
                </c:pt>
                <c:pt idx="3048">
                  <c:v>8.4978333980897103E-3</c:v>
                </c:pt>
                <c:pt idx="3049">
                  <c:v>8.4988964396685001E-3</c:v>
                </c:pt>
                <c:pt idx="3050">
                  <c:v>8.6729520556099605E-3</c:v>
                </c:pt>
                <c:pt idx="3051">
                  <c:v>8.6815589260468996E-3</c:v>
                </c:pt>
                <c:pt idx="3052">
                  <c:v>8.62975045380481E-3</c:v>
                </c:pt>
                <c:pt idx="3053">
                  <c:v>8.6547975317160693E-3</c:v>
                </c:pt>
                <c:pt idx="3054">
                  <c:v>8.6253454369225793E-3</c:v>
                </c:pt>
                <c:pt idx="3055">
                  <c:v>8.6416846392271002E-3</c:v>
                </c:pt>
                <c:pt idx="3056">
                  <c:v>8.6842483276962906E-3</c:v>
                </c:pt>
                <c:pt idx="3057">
                  <c:v>8.6864835186941398E-3</c:v>
                </c:pt>
                <c:pt idx="3058">
                  <c:v>8.6732563455704202E-3</c:v>
                </c:pt>
                <c:pt idx="3059">
                  <c:v>8.77003986856284E-3</c:v>
                </c:pt>
                <c:pt idx="3060">
                  <c:v>9.0011626608424607E-3</c:v>
                </c:pt>
                <c:pt idx="3061">
                  <c:v>9.0656690719913002E-3</c:v>
                </c:pt>
                <c:pt idx="3062">
                  <c:v>9.1204330946423294E-3</c:v>
                </c:pt>
                <c:pt idx="3063">
                  <c:v>9.0930212760350904E-3</c:v>
                </c:pt>
                <c:pt idx="3064">
                  <c:v>9.1999550762559695E-3</c:v>
                </c:pt>
                <c:pt idx="3065">
                  <c:v>9.1582510017684405E-3</c:v>
                </c:pt>
                <c:pt idx="3066">
                  <c:v>9.6648126615494195E-3</c:v>
                </c:pt>
                <c:pt idx="3067">
                  <c:v>9.6862969013878503E-3</c:v>
                </c:pt>
                <c:pt idx="3068">
                  <c:v>1.04276929912365E-2</c:v>
                </c:pt>
                <c:pt idx="3069">
                  <c:v>1.0415833340854601E-2</c:v>
                </c:pt>
                <c:pt idx="3070">
                  <c:v>1.0931195600221001E-2</c:v>
                </c:pt>
                <c:pt idx="3071">
                  <c:v>1.1813756775483301E-2</c:v>
                </c:pt>
                <c:pt idx="3072">
                  <c:v>1.21370932037046E-2</c:v>
                </c:pt>
                <c:pt idx="3073">
                  <c:v>1.2197862306566901E-2</c:v>
                </c:pt>
                <c:pt idx="3074">
                  <c:v>1.20747551440776E-2</c:v>
                </c:pt>
                <c:pt idx="3075">
                  <c:v>1.2080065468894501E-2</c:v>
                </c:pt>
                <c:pt idx="3076">
                  <c:v>1.22534587754083E-2</c:v>
                </c:pt>
                <c:pt idx="3077">
                  <c:v>1.23149807874315E-2</c:v>
                </c:pt>
                <c:pt idx="3078">
                  <c:v>1.2309234067785901E-2</c:v>
                </c:pt>
                <c:pt idx="3079">
                  <c:v>1.2323076292288E-2</c:v>
                </c:pt>
                <c:pt idx="3080">
                  <c:v>1.2319558148110799E-2</c:v>
                </c:pt>
                <c:pt idx="3081">
                  <c:v>1.2517445942193801E-2</c:v>
                </c:pt>
                <c:pt idx="3082">
                  <c:v>1.28583352936168E-2</c:v>
                </c:pt>
                <c:pt idx="3083">
                  <c:v>1.3121665978980001E-2</c:v>
                </c:pt>
                <c:pt idx="3084">
                  <c:v>1.3385826618794901E-2</c:v>
                </c:pt>
                <c:pt idx="3085">
                  <c:v>1.3379773182173101E-2</c:v>
                </c:pt>
                <c:pt idx="3086">
                  <c:v>1.33753635215168E-2</c:v>
                </c:pt>
                <c:pt idx="3087">
                  <c:v>1.3473779613371199E-2</c:v>
                </c:pt>
                <c:pt idx="3088">
                  <c:v>1.3570600787075299E-2</c:v>
                </c:pt>
                <c:pt idx="3089">
                  <c:v>1.35612008975033E-2</c:v>
                </c:pt>
                <c:pt idx="3090">
                  <c:v>1.3564107646471601E-2</c:v>
                </c:pt>
                <c:pt idx="3091">
                  <c:v>1.37864618004413E-2</c:v>
                </c:pt>
                <c:pt idx="3092">
                  <c:v>1.3802090914801699E-2</c:v>
                </c:pt>
                <c:pt idx="3093">
                  <c:v>1.38462165097801E-2</c:v>
                </c:pt>
                <c:pt idx="3094">
                  <c:v>1.3817895774333899E-2</c:v>
                </c:pt>
                <c:pt idx="3095">
                  <c:v>1.3834141232656199E-2</c:v>
                </c:pt>
                <c:pt idx="3096">
                  <c:v>1.4012273882184499E-2</c:v>
                </c:pt>
                <c:pt idx="3097">
                  <c:v>1.39992837282622E-2</c:v>
                </c:pt>
                <c:pt idx="3098">
                  <c:v>1.59775584313522E-2</c:v>
                </c:pt>
                <c:pt idx="3099">
                  <c:v>1.59444360490247E-2</c:v>
                </c:pt>
                <c:pt idx="3100">
                  <c:v>1.6356038297013799E-2</c:v>
                </c:pt>
                <c:pt idx="3101">
                  <c:v>1.6207838351685301E-2</c:v>
                </c:pt>
                <c:pt idx="3102">
                  <c:v>1.6209310612101301E-2</c:v>
                </c:pt>
                <c:pt idx="3103">
                  <c:v>1.6205100863043699E-2</c:v>
                </c:pt>
                <c:pt idx="3104">
                  <c:v>1.6228739020750799E-2</c:v>
                </c:pt>
                <c:pt idx="3105">
                  <c:v>1.6267801829408901E-2</c:v>
                </c:pt>
                <c:pt idx="3106">
                  <c:v>1.6262937667521099E-2</c:v>
                </c:pt>
                <c:pt idx="3107">
                  <c:v>1.6327522320784899E-2</c:v>
                </c:pt>
                <c:pt idx="3108">
                  <c:v>1.6502027599955001E-2</c:v>
                </c:pt>
                <c:pt idx="3109">
                  <c:v>1.65341833472431E-2</c:v>
                </c:pt>
                <c:pt idx="3110">
                  <c:v>1.65806824654414E-2</c:v>
                </c:pt>
                <c:pt idx="3111">
                  <c:v>1.6592066537953101E-2</c:v>
                </c:pt>
                <c:pt idx="3112">
                  <c:v>1.6674993154594701E-2</c:v>
                </c:pt>
                <c:pt idx="3113">
                  <c:v>1.6686909028133801E-2</c:v>
                </c:pt>
                <c:pt idx="3114">
                  <c:v>1.6702597024153699E-2</c:v>
                </c:pt>
                <c:pt idx="3115">
                  <c:v>1.66947194816006E-2</c:v>
                </c:pt>
                <c:pt idx="3116">
                  <c:v>1.6692869007880501E-2</c:v>
                </c:pt>
                <c:pt idx="3117">
                  <c:v>1.6696038091326401E-2</c:v>
                </c:pt>
                <c:pt idx="3118">
                  <c:v>1.6691288514740901E-2</c:v>
                </c:pt>
                <c:pt idx="3119">
                  <c:v>1.6676296197577899E-2</c:v>
                </c:pt>
                <c:pt idx="3120">
                  <c:v>1.6738079211974798E-2</c:v>
                </c:pt>
                <c:pt idx="3121">
                  <c:v>1.6812114421943899E-2</c:v>
                </c:pt>
                <c:pt idx="3122">
                  <c:v>1.6779263590545698E-2</c:v>
                </c:pt>
                <c:pt idx="3123">
                  <c:v>1.6782816398423099E-2</c:v>
                </c:pt>
                <c:pt idx="3124">
                  <c:v>1.6976343222128799E-2</c:v>
                </c:pt>
                <c:pt idx="3125">
                  <c:v>1.6962158608805001E-2</c:v>
                </c:pt>
                <c:pt idx="3126">
                  <c:v>1.70013657019383E-2</c:v>
                </c:pt>
                <c:pt idx="3127">
                  <c:v>1.6994182753285899E-2</c:v>
                </c:pt>
                <c:pt idx="3128">
                  <c:v>1.70312423600005E-2</c:v>
                </c:pt>
                <c:pt idx="3129">
                  <c:v>1.70430446477308E-2</c:v>
                </c:pt>
                <c:pt idx="3130">
                  <c:v>1.70339058170383E-2</c:v>
                </c:pt>
                <c:pt idx="3131">
                  <c:v>1.7091670481277899E-2</c:v>
                </c:pt>
                <c:pt idx="3132">
                  <c:v>1.7077130445627899E-2</c:v>
                </c:pt>
                <c:pt idx="3133">
                  <c:v>1.7168948744712201E-2</c:v>
                </c:pt>
                <c:pt idx="3134">
                  <c:v>1.7192875026060098E-2</c:v>
                </c:pt>
                <c:pt idx="3135">
                  <c:v>1.7283152401451798E-2</c:v>
                </c:pt>
                <c:pt idx="3136">
                  <c:v>1.71506639499601E-2</c:v>
                </c:pt>
                <c:pt idx="3137">
                  <c:v>1.71731944369009E-2</c:v>
                </c:pt>
                <c:pt idx="3138">
                  <c:v>1.72363730058725E-2</c:v>
                </c:pt>
                <c:pt idx="3139">
                  <c:v>1.7238279197798599E-2</c:v>
                </c:pt>
                <c:pt idx="3140">
                  <c:v>1.71417231128414E-2</c:v>
                </c:pt>
                <c:pt idx="3141">
                  <c:v>1.7137689093668699E-2</c:v>
                </c:pt>
                <c:pt idx="3142">
                  <c:v>1.7093991197186999E-2</c:v>
                </c:pt>
                <c:pt idx="3143">
                  <c:v>1.7234248757440201E-2</c:v>
                </c:pt>
                <c:pt idx="3144">
                  <c:v>1.7273460812292599E-2</c:v>
                </c:pt>
                <c:pt idx="3145">
                  <c:v>1.7317705149359899E-2</c:v>
                </c:pt>
                <c:pt idx="3146">
                  <c:v>1.7319599126117899E-2</c:v>
                </c:pt>
                <c:pt idx="3147">
                  <c:v>1.73193368355728E-2</c:v>
                </c:pt>
                <c:pt idx="3148">
                  <c:v>1.73856434910937E-2</c:v>
                </c:pt>
                <c:pt idx="3149">
                  <c:v>1.7361476902148801E-2</c:v>
                </c:pt>
                <c:pt idx="3150">
                  <c:v>1.73776598159943E-2</c:v>
                </c:pt>
                <c:pt idx="3151">
                  <c:v>1.7412049134139899E-2</c:v>
                </c:pt>
                <c:pt idx="3152">
                  <c:v>1.74494991935105E-2</c:v>
                </c:pt>
                <c:pt idx="3153">
                  <c:v>1.7409934391529401E-2</c:v>
                </c:pt>
                <c:pt idx="3154">
                  <c:v>1.7479260136054699E-2</c:v>
                </c:pt>
                <c:pt idx="3155">
                  <c:v>1.76281867091596E-2</c:v>
                </c:pt>
                <c:pt idx="3156">
                  <c:v>1.7622005300846202E-2</c:v>
                </c:pt>
                <c:pt idx="3157">
                  <c:v>1.7701776461760702E-2</c:v>
                </c:pt>
                <c:pt idx="3158">
                  <c:v>1.7710241229858599E-2</c:v>
                </c:pt>
                <c:pt idx="3159">
                  <c:v>1.7792499456369699E-2</c:v>
                </c:pt>
                <c:pt idx="3160">
                  <c:v>1.7746935885210501E-2</c:v>
                </c:pt>
                <c:pt idx="3161">
                  <c:v>1.77432413174109E-2</c:v>
                </c:pt>
                <c:pt idx="3162">
                  <c:v>1.77897078214218E-2</c:v>
                </c:pt>
                <c:pt idx="3163">
                  <c:v>1.7876790278661799E-2</c:v>
                </c:pt>
                <c:pt idx="3164">
                  <c:v>1.7851694198129701E-2</c:v>
                </c:pt>
                <c:pt idx="3165">
                  <c:v>1.7874332156178199E-2</c:v>
                </c:pt>
                <c:pt idx="3166">
                  <c:v>1.78698229874962E-2</c:v>
                </c:pt>
                <c:pt idx="3167">
                  <c:v>1.83397230140055E-2</c:v>
                </c:pt>
                <c:pt idx="3168">
                  <c:v>1.8384421490397901E-2</c:v>
                </c:pt>
                <c:pt idx="3169">
                  <c:v>1.8499166224367598E-2</c:v>
                </c:pt>
                <c:pt idx="3170">
                  <c:v>1.84551179975515E-2</c:v>
                </c:pt>
                <c:pt idx="3171">
                  <c:v>1.8568656498348001E-2</c:v>
                </c:pt>
                <c:pt idx="3172">
                  <c:v>1.8562191562560702E-2</c:v>
                </c:pt>
                <c:pt idx="3173">
                  <c:v>1.8564617399896802E-2</c:v>
                </c:pt>
                <c:pt idx="3174">
                  <c:v>1.8577422996540201E-2</c:v>
                </c:pt>
                <c:pt idx="3175">
                  <c:v>1.86706621733745E-2</c:v>
                </c:pt>
                <c:pt idx="3176">
                  <c:v>1.8665141203921602E-2</c:v>
                </c:pt>
                <c:pt idx="3177">
                  <c:v>1.8837086633335599E-2</c:v>
                </c:pt>
                <c:pt idx="3178">
                  <c:v>1.8830922569957099E-2</c:v>
                </c:pt>
                <c:pt idx="3179">
                  <c:v>1.8829949041334101E-2</c:v>
                </c:pt>
                <c:pt idx="3180">
                  <c:v>1.8808246629294499E-2</c:v>
                </c:pt>
                <c:pt idx="3181">
                  <c:v>1.8923289832978099E-2</c:v>
                </c:pt>
                <c:pt idx="3182">
                  <c:v>1.8950440719405999E-2</c:v>
                </c:pt>
                <c:pt idx="3183">
                  <c:v>1.8958787228437201E-2</c:v>
                </c:pt>
                <c:pt idx="3184">
                  <c:v>2.01003808899325E-2</c:v>
                </c:pt>
                <c:pt idx="3185">
                  <c:v>2.0102317360046001E-2</c:v>
                </c:pt>
                <c:pt idx="3186">
                  <c:v>2.0276441792302501E-2</c:v>
                </c:pt>
                <c:pt idx="3187">
                  <c:v>2.02853964299183E-2</c:v>
                </c:pt>
                <c:pt idx="3188">
                  <c:v>1.9953412719997399E-2</c:v>
                </c:pt>
                <c:pt idx="3189">
                  <c:v>1.9954261906773001E-2</c:v>
                </c:pt>
                <c:pt idx="3190">
                  <c:v>1.96847345594564E-2</c:v>
                </c:pt>
                <c:pt idx="3191">
                  <c:v>1.92195615044016E-2</c:v>
                </c:pt>
                <c:pt idx="3192">
                  <c:v>1.9023609963188599E-2</c:v>
                </c:pt>
                <c:pt idx="3193">
                  <c:v>1.89725903804733E-2</c:v>
                </c:pt>
                <c:pt idx="3194">
                  <c:v>1.89772887169753E-2</c:v>
                </c:pt>
                <c:pt idx="3195">
                  <c:v>1.89752165966365E-2</c:v>
                </c:pt>
                <c:pt idx="3196">
                  <c:v>1.90090858447232E-2</c:v>
                </c:pt>
                <c:pt idx="3197">
                  <c:v>1.9223103243053801E-2</c:v>
                </c:pt>
                <c:pt idx="3198">
                  <c:v>1.9236049502363E-2</c:v>
                </c:pt>
                <c:pt idx="3199">
                  <c:v>1.9655550231913399E-2</c:v>
                </c:pt>
                <c:pt idx="3200">
                  <c:v>2.05187447335081E-2</c:v>
                </c:pt>
                <c:pt idx="3201">
                  <c:v>2.0575422694104999E-2</c:v>
                </c:pt>
                <c:pt idx="3202">
                  <c:v>2.04184059090248E-2</c:v>
                </c:pt>
                <c:pt idx="3203">
                  <c:v>2.0565764565198701E-2</c:v>
                </c:pt>
                <c:pt idx="3204">
                  <c:v>2.1796344435468799E-2</c:v>
                </c:pt>
                <c:pt idx="3205">
                  <c:v>2.2040291379423298E-2</c:v>
                </c:pt>
                <c:pt idx="3206">
                  <c:v>2.2786653652914601E-2</c:v>
                </c:pt>
                <c:pt idx="3207">
                  <c:v>2.3213205633070201E-2</c:v>
                </c:pt>
                <c:pt idx="3208">
                  <c:v>2.3297241156017799E-2</c:v>
                </c:pt>
                <c:pt idx="3209">
                  <c:v>2.3862897311309E-2</c:v>
                </c:pt>
                <c:pt idx="3210">
                  <c:v>2.3999673538955001E-2</c:v>
                </c:pt>
                <c:pt idx="3211">
                  <c:v>2.3957063130124402E-2</c:v>
                </c:pt>
                <c:pt idx="3212">
                  <c:v>2.4807835162812399E-2</c:v>
                </c:pt>
                <c:pt idx="3213">
                  <c:v>2.5424171202460901E-2</c:v>
                </c:pt>
                <c:pt idx="3214">
                  <c:v>2.5852550578773399E-2</c:v>
                </c:pt>
                <c:pt idx="3215">
                  <c:v>2.59415121687461E-2</c:v>
                </c:pt>
                <c:pt idx="3216">
                  <c:v>2.5924127061050899E-2</c:v>
                </c:pt>
                <c:pt idx="3217">
                  <c:v>2.61345630058669E-2</c:v>
                </c:pt>
                <c:pt idx="3218">
                  <c:v>2.50581879473359E-2</c:v>
                </c:pt>
                <c:pt idx="3219">
                  <c:v>2.5259123061069901E-2</c:v>
                </c:pt>
                <c:pt idx="3220">
                  <c:v>2.4957331142882299E-2</c:v>
                </c:pt>
                <c:pt idx="3221">
                  <c:v>2.49547011907537E-2</c:v>
                </c:pt>
                <c:pt idx="3222">
                  <c:v>2.49566507554752E-2</c:v>
                </c:pt>
                <c:pt idx="3223">
                  <c:v>2.50175592397687E-2</c:v>
                </c:pt>
                <c:pt idx="3224">
                  <c:v>2.5059634549644799E-2</c:v>
                </c:pt>
                <c:pt idx="3225">
                  <c:v>2.63610877397671E-2</c:v>
                </c:pt>
                <c:pt idx="3226">
                  <c:v>2.6334762849206501E-2</c:v>
                </c:pt>
                <c:pt idx="3227">
                  <c:v>2.6442774047469999E-2</c:v>
                </c:pt>
                <c:pt idx="3228">
                  <c:v>2.64956291506744E-2</c:v>
                </c:pt>
                <c:pt idx="3229">
                  <c:v>2.6407110129057401E-2</c:v>
                </c:pt>
                <c:pt idx="3230">
                  <c:v>2.6387436891439801E-2</c:v>
                </c:pt>
                <c:pt idx="3231">
                  <c:v>2.6504201425988898E-2</c:v>
                </c:pt>
                <c:pt idx="3232">
                  <c:v>2.6532337250811201E-2</c:v>
                </c:pt>
                <c:pt idx="3233">
                  <c:v>2.65367766186002E-2</c:v>
                </c:pt>
                <c:pt idx="3234">
                  <c:v>2.6544211705829102E-2</c:v>
                </c:pt>
                <c:pt idx="3235">
                  <c:v>2.68299468842591E-2</c:v>
                </c:pt>
                <c:pt idx="3236">
                  <c:v>2.6834937204520199E-2</c:v>
                </c:pt>
                <c:pt idx="3237">
                  <c:v>2.6858173806739199E-2</c:v>
                </c:pt>
                <c:pt idx="3238">
                  <c:v>2.6878087678319399E-2</c:v>
                </c:pt>
                <c:pt idx="3239">
                  <c:v>2.68742125170672E-2</c:v>
                </c:pt>
                <c:pt idx="3240">
                  <c:v>2.6844770511043201E-2</c:v>
                </c:pt>
                <c:pt idx="3241">
                  <c:v>2.7407919279287998E-2</c:v>
                </c:pt>
                <c:pt idx="3242">
                  <c:v>2.7442672828261499E-2</c:v>
                </c:pt>
                <c:pt idx="3243">
                  <c:v>2.7602025594754599E-2</c:v>
                </c:pt>
                <c:pt idx="3244">
                  <c:v>2.78308921933694E-2</c:v>
                </c:pt>
                <c:pt idx="3245">
                  <c:v>2.90562913501007E-2</c:v>
                </c:pt>
                <c:pt idx="3246">
                  <c:v>2.9800934706450299E-2</c:v>
                </c:pt>
                <c:pt idx="3247">
                  <c:v>2.9801617819190499E-2</c:v>
                </c:pt>
                <c:pt idx="3248">
                  <c:v>3.0240207637980399E-2</c:v>
                </c:pt>
                <c:pt idx="3249">
                  <c:v>3.04861764908585E-2</c:v>
                </c:pt>
                <c:pt idx="3250">
                  <c:v>3.0493880970478501E-2</c:v>
                </c:pt>
                <c:pt idx="3251">
                  <c:v>3.0440843393000599E-2</c:v>
                </c:pt>
                <c:pt idx="3252">
                  <c:v>3.0433552777424398E-2</c:v>
                </c:pt>
                <c:pt idx="3253">
                  <c:v>3.05077834136184E-2</c:v>
                </c:pt>
                <c:pt idx="3254">
                  <c:v>3.0573524399614999E-2</c:v>
                </c:pt>
                <c:pt idx="3255">
                  <c:v>3.0548861498048599E-2</c:v>
                </c:pt>
                <c:pt idx="3256">
                  <c:v>3.0566325457812502E-2</c:v>
                </c:pt>
                <c:pt idx="3257">
                  <c:v>3.05364842408474E-2</c:v>
                </c:pt>
                <c:pt idx="3258">
                  <c:v>3.05191756492156E-2</c:v>
                </c:pt>
                <c:pt idx="3259">
                  <c:v>3.0720091851804601E-2</c:v>
                </c:pt>
                <c:pt idx="3260">
                  <c:v>3.10584370793975E-2</c:v>
                </c:pt>
                <c:pt idx="3261">
                  <c:v>3.1113189191124501E-2</c:v>
                </c:pt>
                <c:pt idx="3262">
                  <c:v>3.1111263463467799E-2</c:v>
                </c:pt>
                <c:pt idx="3263">
                  <c:v>3.1033744789115001E-2</c:v>
                </c:pt>
                <c:pt idx="3264">
                  <c:v>3.1042560549023199E-2</c:v>
                </c:pt>
                <c:pt idx="3265">
                  <c:v>3.10518150777618E-2</c:v>
                </c:pt>
                <c:pt idx="3266">
                  <c:v>3.10612836821152E-2</c:v>
                </c:pt>
                <c:pt idx="3267">
                  <c:v>3.1065814704245499E-2</c:v>
                </c:pt>
                <c:pt idx="3268">
                  <c:v>3.09956170650789E-2</c:v>
                </c:pt>
                <c:pt idx="3269">
                  <c:v>3.10215036235807E-2</c:v>
                </c:pt>
                <c:pt idx="3270">
                  <c:v>3.1031059866207199E-2</c:v>
                </c:pt>
                <c:pt idx="3271">
                  <c:v>3.1099779165385401E-2</c:v>
                </c:pt>
                <c:pt idx="3272">
                  <c:v>3.1079096858894002E-2</c:v>
                </c:pt>
                <c:pt idx="3273">
                  <c:v>3.12292633995584E-2</c:v>
                </c:pt>
                <c:pt idx="3274">
                  <c:v>3.1213124322345701E-2</c:v>
                </c:pt>
                <c:pt idx="3275">
                  <c:v>3.1085590793121599E-2</c:v>
                </c:pt>
                <c:pt idx="3276">
                  <c:v>3.1118584982667799E-2</c:v>
                </c:pt>
                <c:pt idx="3277">
                  <c:v>3.1124751637509902E-2</c:v>
                </c:pt>
                <c:pt idx="3278">
                  <c:v>3.1051266375172099E-2</c:v>
                </c:pt>
                <c:pt idx="3279">
                  <c:v>3.0973090806891899E-2</c:v>
                </c:pt>
                <c:pt idx="3280">
                  <c:v>3.10720226763006E-2</c:v>
                </c:pt>
                <c:pt idx="3281">
                  <c:v>3.1107549754724101E-2</c:v>
                </c:pt>
                <c:pt idx="3282">
                  <c:v>3.1059252524059399E-2</c:v>
                </c:pt>
                <c:pt idx="3283">
                  <c:v>3.10492428313499E-2</c:v>
                </c:pt>
                <c:pt idx="3284">
                  <c:v>3.1039385661232599E-2</c:v>
                </c:pt>
                <c:pt idx="3285">
                  <c:v>3.10759860411811E-2</c:v>
                </c:pt>
                <c:pt idx="3286">
                  <c:v>3.1064458961057299E-2</c:v>
                </c:pt>
                <c:pt idx="3287">
                  <c:v>3.0866028364608399E-2</c:v>
                </c:pt>
                <c:pt idx="3288">
                  <c:v>3.0886865232445E-2</c:v>
                </c:pt>
                <c:pt idx="3289">
                  <c:v>3.08509516827369E-2</c:v>
                </c:pt>
                <c:pt idx="3290">
                  <c:v>3.11001793281377E-2</c:v>
                </c:pt>
                <c:pt idx="3291">
                  <c:v>3.1046164147068501E-2</c:v>
                </c:pt>
                <c:pt idx="3292">
                  <c:v>3.11058092757577E-2</c:v>
                </c:pt>
                <c:pt idx="3293">
                  <c:v>3.1130127066961999E-2</c:v>
                </c:pt>
                <c:pt idx="3294">
                  <c:v>3.1129567250872299E-2</c:v>
                </c:pt>
                <c:pt idx="3295">
                  <c:v>3.1094282944756298E-2</c:v>
                </c:pt>
                <c:pt idx="3296">
                  <c:v>3.10961139014343E-2</c:v>
                </c:pt>
                <c:pt idx="3297">
                  <c:v>3.0944548178270099E-2</c:v>
                </c:pt>
                <c:pt idx="3298">
                  <c:v>3.0944116808948E-2</c:v>
                </c:pt>
                <c:pt idx="3299">
                  <c:v>3.0889977236186399E-2</c:v>
                </c:pt>
                <c:pt idx="3300">
                  <c:v>3.0817812841380299E-2</c:v>
                </c:pt>
                <c:pt idx="3301">
                  <c:v>3.0724331505731301E-2</c:v>
                </c:pt>
                <c:pt idx="3302">
                  <c:v>3.0659508005530401E-2</c:v>
                </c:pt>
                <c:pt idx="3303">
                  <c:v>3.0660604679485299E-2</c:v>
                </c:pt>
                <c:pt idx="3304">
                  <c:v>3.0039904138421E-2</c:v>
                </c:pt>
                <c:pt idx="3305">
                  <c:v>3.0050659982970799E-2</c:v>
                </c:pt>
                <c:pt idx="3306">
                  <c:v>2.9704375429674901E-2</c:v>
                </c:pt>
                <c:pt idx="3307">
                  <c:v>3.0039079504484999E-2</c:v>
                </c:pt>
                <c:pt idx="3308">
                  <c:v>3.0043628208959099E-2</c:v>
                </c:pt>
                <c:pt idx="3309">
                  <c:v>3.0042877846658999E-2</c:v>
                </c:pt>
                <c:pt idx="3310">
                  <c:v>3.02288817296626E-2</c:v>
                </c:pt>
                <c:pt idx="3311">
                  <c:v>3.0148013871104599E-2</c:v>
                </c:pt>
                <c:pt idx="3312">
                  <c:v>3.0182988459318799E-2</c:v>
                </c:pt>
                <c:pt idx="3313">
                  <c:v>3.01873258110637E-2</c:v>
                </c:pt>
                <c:pt idx="3314">
                  <c:v>3.0215861233443601E-2</c:v>
                </c:pt>
                <c:pt idx="3315">
                  <c:v>3.0212027397014601E-2</c:v>
                </c:pt>
                <c:pt idx="3316">
                  <c:v>3.0164573064299802E-2</c:v>
                </c:pt>
                <c:pt idx="3317">
                  <c:v>3.00595077479405E-2</c:v>
                </c:pt>
                <c:pt idx="3318">
                  <c:v>3.01518580916658E-2</c:v>
                </c:pt>
                <c:pt idx="3319">
                  <c:v>2.9941731129567401E-2</c:v>
                </c:pt>
                <c:pt idx="3320">
                  <c:v>2.9445622564536401E-2</c:v>
                </c:pt>
                <c:pt idx="3321">
                  <c:v>2.93466824729182E-2</c:v>
                </c:pt>
                <c:pt idx="3322">
                  <c:v>2.9284147632513701E-2</c:v>
                </c:pt>
                <c:pt idx="3323">
                  <c:v>2.9224246306118098E-2</c:v>
                </c:pt>
                <c:pt idx="3324">
                  <c:v>2.82756857196911E-2</c:v>
                </c:pt>
                <c:pt idx="3325">
                  <c:v>2.8112711660978E-2</c:v>
                </c:pt>
                <c:pt idx="3326">
                  <c:v>2.7465895366335001E-2</c:v>
                </c:pt>
                <c:pt idx="3327">
                  <c:v>2.70924508570029E-2</c:v>
                </c:pt>
                <c:pt idx="3328">
                  <c:v>2.7039659268572099E-2</c:v>
                </c:pt>
                <c:pt idx="3329">
                  <c:v>2.6579639786725399E-2</c:v>
                </c:pt>
                <c:pt idx="3330">
                  <c:v>2.64470274594443E-2</c:v>
                </c:pt>
                <c:pt idx="3331">
                  <c:v>2.6411166978032301E-2</c:v>
                </c:pt>
                <c:pt idx="3332">
                  <c:v>2.6477667298369999E-2</c:v>
                </c:pt>
                <c:pt idx="3333">
                  <c:v>2.5846735016241601E-2</c:v>
                </c:pt>
                <c:pt idx="3334">
                  <c:v>2.54370439357397E-2</c:v>
                </c:pt>
                <c:pt idx="3335">
                  <c:v>2.6122158420300599E-2</c:v>
                </c:pt>
                <c:pt idx="3336">
                  <c:v>2.6121927582689001E-2</c:v>
                </c:pt>
                <c:pt idx="3337">
                  <c:v>2.63324384909744E-2</c:v>
                </c:pt>
                <c:pt idx="3338">
                  <c:v>2.6331179428601598E-2</c:v>
                </c:pt>
                <c:pt idx="3339">
                  <c:v>2.6121170576745002E-2</c:v>
                </c:pt>
                <c:pt idx="3340">
                  <c:v>2.6201621752419201E-2</c:v>
                </c:pt>
                <c:pt idx="3341">
                  <c:v>2.63451569753556E-2</c:v>
                </c:pt>
                <c:pt idx="3342">
                  <c:v>2.6351331990076599E-2</c:v>
                </c:pt>
                <c:pt idx="3343">
                  <c:v>2.6412099577318899E-2</c:v>
                </c:pt>
                <c:pt idx="3344">
                  <c:v>2.6401061671693701E-2</c:v>
                </c:pt>
                <c:pt idx="3345">
                  <c:v>2.52819907119976E-2</c:v>
                </c:pt>
                <c:pt idx="3346">
                  <c:v>2.5306312416607999E-2</c:v>
                </c:pt>
                <c:pt idx="3347">
                  <c:v>2.5136678418732902E-2</c:v>
                </c:pt>
                <c:pt idx="3348">
                  <c:v>2.5607406911895E-2</c:v>
                </c:pt>
                <c:pt idx="3349">
                  <c:v>2.5606627912627099E-2</c:v>
                </c:pt>
                <c:pt idx="3350">
                  <c:v>2.56970743392399E-2</c:v>
                </c:pt>
                <c:pt idx="3351">
                  <c:v>2.5710918413689901E-2</c:v>
                </c:pt>
                <c:pt idx="3352">
                  <c:v>2.56832716267258E-2</c:v>
                </c:pt>
                <c:pt idx="3353">
                  <c:v>2.57608331597673E-2</c:v>
                </c:pt>
                <c:pt idx="3354">
                  <c:v>2.5684933551843401E-2</c:v>
                </c:pt>
                <c:pt idx="3355">
                  <c:v>2.5358318011514398E-2</c:v>
                </c:pt>
                <c:pt idx="3356">
                  <c:v>2.53610752730445E-2</c:v>
                </c:pt>
                <c:pt idx="3357">
                  <c:v>2.53465078765008E-2</c:v>
                </c:pt>
                <c:pt idx="3358">
                  <c:v>2.54746144097278E-2</c:v>
                </c:pt>
                <c:pt idx="3359">
                  <c:v>2.5494047422025198E-2</c:v>
                </c:pt>
                <c:pt idx="3360">
                  <c:v>2.5492173340175801E-2</c:v>
                </c:pt>
                <c:pt idx="3361">
                  <c:v>2.4855850767743898E-2</c:v>
                </c:pt>
                <c:pt idx="3362">
                  <c:v>2.4898077628542001E-2</c:v>
                </c:pt>
                <c:pt idx="3363">
                  <c:v>2.4746936523089302E-2</c:v>
                </c:pt>
                <c:pt idx="3364">
                  <c:v>2.4405896742304201E-2</c:v>
                </c:pt>
                <c:pt idx="3365">
                  <c:v>2.36523038956825E-2</c:v>
                </c:pt>
                <c:pt idx="3366">
                  <c:v>2.2705425230413401E-2</c:v>
                </c:pt>
                <c:pt idx="3367">
                  <c:v>2.2805492724761799E-2</c:v>
                </c:pt>
                <c:pt idx="3368">
                  <c:v>2.2236877444519201E-2</c:v>
                </c:pt>
                <c:pt idx="3369">
                  <c:v>2.2214678718513198E-2</c:v>
                </c:pt>
                <c:pt idx="3370">
                  <c:v>2.22043628902172E-2</c:v>
                </c:pt>
                <c:pt idx="3371">
                  <c:v>2.2232802827574501E-2</c:v>
                </c:pt>
                <c:pt idx="3372">
                  <c:v>2.2235550706287101E-2</c:v>
                </c:pt>
                <c:pt idx="3373">
                  <c:v>2.2011914935954401E-2</c:v>
                </c:pt>
                <c:pt idx="3374">
                  <c:v>2.1906892381667001E-2</c:v>
                </c:pt>
                <c:pt idx="3375">
                  <c:v>2.1893767210954498E-2</c:v>
                </c:pt>
                <c:pt idx="3376">
                  <c:v>2.1870107607407801E-2</c:v>
                </c:pt>
                <c:pt idx="3377">
                  <c:v>2.1920691153113299E-2</c:v>
                </c:pt>
                <c:pt idx="3378">
                  <c:v>2.1851690388694601E-2</c:v>
                </c:pt>
                <c:pt idx="3379">
                  <c:v>2.1551612837816401E-2</c:v>
                </c:pt>
                <c:pt idx="3380">
                  <c:v>2.11051306125245E-2</c:v>
                </c:pt>
                <c:pt idx="3381">
                  <c:v>2.1058702087086E-2</c:v>
                </c:pt>
                <c:pt idx="3382">
                  <c:v>2.11714262960273E-2</c:v>
                </c:pt>
                <c:pt idx="3383">
                  <c:v>2.1120998917471899E-2</c:v>
                </c:pt>
                <c:pt idx="3384">
                  <c:v>2.1105383723057199E-2</c:v>
                </c:pt>
                <c:pt idx="3385">
                  <c:v>2.1057247553879499E-2</c:v>
                </c:pt>
                <c:pt idx="3386">
                  <c:v>2.1053115909014299E-2</c:v>
                </c:pt>
                <c:pt idx="3387">
                  <c:v>2.1016292677156299E-2</c:v>
                </c:pt>
                <c:pt idx="3388">
                  <c:v>2.1036493812489301E-2</c:v>
                </c:pt>
                <c:pt idx="3389">
                  <c:v>2.1088498216124699E-2</c:v>
                </c:pt>
                <c:pt idx="3390">
                  <c:v>2.1077383423929098E-2</c:v>
                </c:pt>
                <c:pt idx="3391">
                  <c:v>2.0911021643380399E-2</c:v>
                </c:pt>
                <c:pt idx="3392">
                  <c:v>2.09109353842689E-2</c:v>
                </c:pt>
                <c:pt idx="3393">
                  <c:v>2.07044340097929E-2</c:v>
                </c:pt>
                <c:pt idx="3394">
                  <c:v>2.07463894233713E-2</c:v>
                </c:pt>
                <c:pt idx="3395">
                  <c:v>2.0732151972154E-2</c:v>
                </c:pt>
                <c:pt idx="3396">
                  <c:v>2.0657314076222701E-2</c:v>
                </c:pt>
                <c:pt idx="3397">
                  <c:v>2.06181616439262E-2</c:v>
                </c:pt>
                <c:pt idx="3398">
                  <c:v>2.0657806855620901E-2</c:v>
                </c:pt>
                <c:pt idx="3399">
                  <c:v>2.0629063222283601E-2</c:v>
                </c:pt>
                <c:pt idx="3400">
                  <c:v>2.0456939714341101E-2</c:v>
                </c:pt>
                <c:pt idx="3401">
                  <c:v>2.0442952454742001E-2</c:v>
                </c:pt>
                <c:pt idx="3402">
                  <c:v>2.04059829428162E-2</c:v>
                </c:pt>
                <c:pt idx="3403">
                  <c:v>2.0457677994765101E-2</c:v>
                </c:pt>
                <c:pt idx="3404">
                  <c:v>2.04628203731002E-2</c:v>
                </c:pt>
                <c:pt idx="3405">
                  <c:v>2.0401437943252599E-2</c:v>
                </c:pt>
                <c:pt idx="3406">
                  <c:v>2.04012892183854E-2</c:v>
                </c:pt>
                <c:pt idx="3407">
                  <c:v>2.0409219374594001E-2</c:v>
                </c:pt>
                <c:pt idx="3408">
                  <c:v>2.03603794297476E-2</c:v>
                </c:pt>
                <c:pt idx="3409">
                  <c:v>2.0359513401155799E-2</c:v>
                </c:pt>
                <c:pt idx="3410">
                  <c:v>1.98996055589633E-2</c:v>
                </c:pt>
                <c:pt idx="3411">
                  <c:v>1.9870947246201101E-2</c:v>
                </c:pt>
                <c:pt idx="3412">
                  <c:v>1.9742569484140798E-2</c:v>
                </c:pt>
                <c:pt idx="3413">
                  <c:v>1.9704012671340601E-2</c:v>
                </c:pt>
                <c:pt idx="3414">
                  <c:v>1.9834300992078599E-2</c:v>
                </c:pt>
                <c:pt idx="3415">
                  <c:v>1.9910840940982302E-2</c:v>
                </c:pt>
                <c:pt idx="3416">
                  <c:v>1.98983779024565E-2</c:v>
                </c:pt>
                <c:pt idx="3417">
                  <c:v>1.9879304306182701E-2</c:v>
                </c:pt>
                <c:pt idx="3418">
                  <c:v>1.9874048060090001E-2</c:v>
                </c:pt>
                <c:pt idx="3419">
                  <c:v>1.9876308544541001E-2</c:v>
                </c:pt>
                <c:pt idx="3420">
                  <c:v>1.9869975916395201E-2</c:v>
                </c:pt>
                <c:pt idx="3421">
                  <c:v>1.9805838943080301E-2</c:v>
                </c:pt>
                <c:pt idx="3422">
                  <c:v>1.98089679248942E-2</c:v>
                </c:pt>
                <c:pt idx="3423">
                  <c:v>1.9805777870774501E-2</c:v>
                </c:pt>
                <c:pt idx="3424">
                  <c:v>1.9814865562625902E-2</c:v>
                </c:pt>
                <c:pt idx="3425">
                  <c:v>1.98020439836505E-2</c:v>
                </c:pt>
                <c:pt idx="3426">
                  <c:v>1.9805954947041401E-2</c:v>
                </c:pt>
                <c:pt idx="3427">
                  <c:v>1.9180407236616001E-2</c:v>
                </c:pt>
                <c:pt idx="3428">
                  <c:v>1.91788920536675E-2</c:v>
                </c:pt>
                <c:pt idx="3429">
                  <c:v>1.91636844111246E-2</c:v>
                </c:pt>
                <c:pt idx="3430">
                  <c:v>1.8861406292804E-2</c:v>
                </c:pt>
                <c:pt idx="3431">
                  <c:v>1.9107497298147098E-2</c:v>
                </c:pt>
                <c:pt idx="3432">
                  <c:v>1.9036780665034999E-2</c:v>
                </c:pt>
                <c:pt idx="3433">
                  <c:v>1.9035729210100098E-2</c:v>
                </c:pt>
                <c:pt idx="3434">
                  <c:v>1.8990239396145501E-2</c:v>
                </c:pt>
                <c:pt idx="3435">
                  <c:v>1.89865428099062E-2</c:v>
                </c:pt>
                <c:pt idx="3436">
                  <c:v>1.8985298961811801E-2</c:v>
                </c:pt>
                <c:pt idx="3437">
                  <c:v>1.89852517568007E-2</c:v>
                </c:pt>
                <c:pt idx="3438">
                  <c:v>1.8991137217420101E-2</c:v>
                </c:pt>
                <c:pt idx="3439">
                  <c:v>1.8994010255109901E-2</c:v>
                </c:pt>
                <c:pt idx="3440">
                  <c:v>1.9040305907717402E-2</c:v>
                </c:pt>
                <c:pt idx="3441">
                  <c:v>1.8954539090411601E-2</c:v>
                </c:pt>
                <c:pt idx="3442">
                  <c:v>1.89592704110845E-2</c:v>
                </c:pt>
                <c:pt idx="3443">
                  <c:v>1.8793559343683298E-2</c:v>
                </c:pt>
                <c:pt idx="3444">
                  <c:v>1.8788826939753402E-2</c:v>
                </c:pt>
                <c:pt idx="3445">
                  <c:v>1.88140357475707E-2</c:v>
                </c:pt>
                <c:pt idx="3446">
                  <c:v>1.8803051969586902E-2</c:v>
                </c:pt>
                <c:pt idx="3447">
                  <c:v>1.8827301618437799E-2</c:v>
                </c:pt>
                <c:pt idx="3448">
                  <c:v>1.8712057103901201E-2</c:v>
                </c:pt>
                <c:pt idx="3449">
                  <c:v>1.8696307241146602E-2</c:v>
                </c:pt>
                <c:pt idx="3450">
                  <c:v>1.8703860987900101E-2</c:v>
                </c:pt>
                <c:pt idx="3451">
                  <c:v>1.86917460534523E-2</c:v>
                </c:pt>
                <c:pt idx="3452">
                  <c:v>1.7498590447309999E-2</c:v>
                </c:pt>
                <c:pt idx="3453">
                  <c:v>1.7561819735552101E-2</c:v>
                </c:pt>
                <c:pt idx="3454">
                  <c:v>1.7483484360558799E-2</c:v>
                </c:pt>
                <c:pt idx="3455">
                  <c:v>1.6217212328701502E-2</c:v>
                </c:pt>
                <c:pt idx="3456">
                  <c:v>1.61090730503755E-2</c:v>
                </c:pt>
                <c:pt idx="3457">
                  <c:v>1.54116404482367E-2</c:v>
                </c:pt>
                <c:pt idx="3458">
                  <c:v>1.5400490138364999E-2</c:v>
                </c:pt>
                <c:pt idx="3459">
                  <c:v>1.5428189747094E-2</c:v>
                </c:pt>
                <c:pt idx="3460">
                  <c:v>1.5316798215798601E-2</c:v>
                </c:pt>
                <c:pt idx="3461">
                  <c:v>1.50213960377047E-2</c:v>
                </c:pt>
                <c:pt idx="3462">
                  <c:v>1.5018158081900599E-2</c:v>
                </c:pt>
                <c:pt idx="3463">
                  <c:v>1.4789521127754101E-2</c:v>
                </c:pt>
                <c:pt idx="3464">
                  <c:v>1.4727589366912E-2</c:v>
                </c:pt>
                <c:pt idx="3465">
                  <c:v>1.4471452042259501E-2</c:v>
                </c:pt>
                <c:pt idx="3466">
                  <c:v>1.4447659526481299E-2</c:v>
                </c:pt>
                <c:pt idx="3467">
                  <c:v>1.4463697727471501E-2</c:v>
                </c:pt>
                <c:pt idx="3468">
                  <c:v>1.32765356219978E-2</c:v>
                </c:pt>
                <c:pt idx="3469">
                  <c:v>1.33093155129983E-2</c:v>
                </c:pt>
                <c:pt idx="3470">
                  <c:v>1.31597079351934E-2</c:v>
                </c:pt>
                <c:pt idx="3471">
                  <c:v>1.284984738263E-2</c:v>
                </c:pt>
                <c:pt idx="3472">
                  <c:v>1.27762485261482E-2</c:v>
                </c:pt>
                <c:pt idx="3473">
                  <c:v>1.2674015074577501E-2</c:v>
                </c:pt>
                <c:pt idx="3474">
                  <c:v>1.26694606866453E-2</c:v>
                </c:pt>
                <c:pt idx="3475">
                  <c:v>1.26252179858269E-2</c:v>
                </c:pt>
                <c:pt idx="3476">
                  <c:v>1.26068261861696E-2</c:v>
                </c:pt>
                <c:pt idx="3477">
                  <c:v>1.25930393820921E-2</c:v>
                </c:pt>
                <c:pt idx="3478">
                  <c:v>1.2321782316818099E-2</c:v>
                </c:pt>
                <c:pt idx="3479">
                  <c:v>1.23138558137601E-2</c:v>
                </c:pt>
                <c:pt idx="3480">
                  <c:v>1.23168528228956E-2</c:v>
                </c:pt>
                <c:pt idx="3481">
                  <c:v>1.23207318395415E-2</c:v>
                </c:pt>
                <c:pt idx="3482">
                  <c:v>1.2278104425785599E-2</c:v>
                </c:pt>
                <c:pt idx="3483">
                  <c:v>1.25291759926087E-2</c:v>
                </c:pt>
                <c:pt idx="3484">
                  <c:v>1.25271085717718E-2</c:v>
                </c:pt>
                <c:pt idx="3485">
                  <c:v>1.10575117326559E-2</c:v>
                </c:pt>
                <c:pt idx="3486">
                  <c:v>1.10330547097349E-2</c:v>
                </c:pt>
                <c:pt idx="3487">
                  <c:v>1.07844241073402E-2</c:v>
                </c:pt>
                <c:pt idx="3488">
                  <c:v>1.07058024397894E-2</c:v>
                </c:pt>
                <c:pt idx="3489">
                  <c:v>1.0077639344030401E-2</c:v>
                </c:pt>
                <c:pt idx="3490">
                  <c:v>1.0084372560318499E-2</c:v>
                </c:pt>
                <c:pt idx="3491">
                  <c:v>1.0054855347942201E-2</c:v>
                </c:pt>
                <c:pt idx="3492">
                  <c:v>1.00516350193719E-2</c:v>
                </c:pt>
                <c:pt idx="3493">
                  <c:v>1.0051613359797E-2</c:v>
                </c:pt>
                <c:pt idx="3494">
                  <c:v>9.9899478627683905E-3</c:v>
                </c:pt>
                <c:pt idx="3495">
                  <c:v>9.8265236575799993E-3</c:v>
                </c:pt>
                <c:pt idx="3496">
                  <c:v>9.85844130559556E-3</c:v>
                </c:pt>
                <c:pt idx="3497">
                  <c:v>9.7676343615905308E-3</c:v>
                </c:pt>
                <c:pt idx="3498">
                  <c:v>9.7657864948216908E-3</c:v>
                </c:pt>
                <c:pt idx="3499">
                  <c:v>9.7745924104661701E-3</c:v>
                </c:pt>
                <c:pt idx="3500">
                  <c:v>9.7286408235294601E-3</c:v>
                </c:pt>
                <c:pt idx="3501">
                  <c:v>9.6354803454944196E-3</c:v>
                </c:pt>
                <c:pt idx="3502">
                  <c:v>9.4050336022883808E-3</c:v>
                </c:pt>
                <c:pt idx="3503">
                  <c:v>9.5086095607397492E-3</c:v>
                </c:pt>
                <c:pt idx="3504">
                  <c:v>9.5046009856469098E-3</c:v>
                </c:pt>
                <c:pt idx="3505">
                  <c:v>9.3962604444901808E-3</c:v>
                </c:pt>
                <c:pt idx="3506">
                  <c:v>9.4098593185118103E-3</c:v>
                </c:pt>
                <c:pt idx="3507">
                  <c:v>9.3751617722031208E-3</c:v>
                </c:pt>
                <c:pt idx="3508">
                  <c:v>9.3219931360331802E-3</c:v>
                </c:pt>
                <c:pt idx="3509">
                  <c:v>9.0553381714852492E-3</c:v>
                </c:pt>
                <c:pt idx="3510">
                  <c:v>9.0662882865574102E-3</c:v>
                </c:pt>
                <c:pt idx="3511">
                  <c:v>9.2006491425786797E-3</c:v>
                </c:pt>
                <c:pt idx="3512">
                  <c:v>9.1397881622088308E-3</c:v>
                </c:pt>
                <c:pt idx="3513">
                  <c:v>9.1419080315059201E-3</c:v>
                </c:pt>
                <c:pt idx="3514">
                  <c:v>9.0469057774510593E-3</c:v>
                </c:pt>
                <c:pt idx="3515">
                  <c:v>9.0238933882512001E-3</c:v>
                </c:pt>
                <c:pt idx="3516">
                  <c:v>9.0066098519466092E-3</c:v>
                </c:pt>
                <c:pt idx="3517">
                  <c:v>9.0060670483002904E-3</c:v>
                </c:pt>
                <c:pt idx="3518">
                  <c:v>8.9279460824841905E-3</c:v>
                </c:pt>
                <c:pt idx="3519">
                  <c:v>8.9193281084968407E-3</c:v>
                </c:pt>
                <c:pt idx="3520">
                  <c:v>8.9190443555676006E-3</c:v>
                </c:pt>
                <c:pt idx="3521">
                  <c:v>8.8670151630027404E-3</c:v>
                </c:pt>
                <c:pt idx="3522">
                  <c:v>8.9428442686767893E-3</c:v>
                </c:pt>
                <c:pt idx="3523">
                  <c:v>8.7887561099473793E-3</c:v>
                </c:pt>
                <c:pt idx="3524">
                  <c:v>8.7665461232953705E-3</c:v>
                </c:pt>
                <c:pt idx="3525">
                  <c:v>8.7610778199340104E-3</c:v>
                </c:pt>
                <c:pt idx="3526">
                  <c:v>8.8139136655127296E-3</c:v>
                </c:pt>
                <c:pt idx="3527">
                  <c:v>8.8025970896418795E-3</c:v>
                </c:pt>
                <c:pt idx="3528">
                  <c:v>8.8008566001644695E-3</c:v>
                </c:pt>
                <c:pt idx="3529">
                  <c:v>8.8034877996932704E-3</c:v>
                </c:pt>
                <c:pt idx="3530">
                  <c:v>8.8043156809274395E-3</c:v>
                </c:pt>
                <c:pt idx="3531">
                  <c:v>8.6591286278679003E-3</c:v>
                </c:pt>
                <c:pt idx="3532">
                  <c:v>8.6780631704443407E-3</c:v>
                </c:pt>
                <c:pt idx="3533">
                  <c:v>8.7086382415089494E-3</c:v>
                </c:pt>
                <c:pt idx="3534">
                  <c:v>8.39577577835624E-3</c:v>
                </c:pt>
                <c:pt idx="3535">
                  <c:v>8.1675224415023104E-3</c:v>
                </c:pt>
                <c:pt idx="3536">
                  <c:v>8.1674446011324002E-3</c:v>
                </c:pt>
                <c:pt idx="3537">
                  <c:v>8.1669409165989401E-3</c:v>
                </c:pt>
                <c:pt idx="3538">
                  <c:v>8.1845651015313402E-3</c:v>
                </c:pt>
                <c:pt idx="3539">
                  <c:v>8.2233608648418794E-3</c:v>
                </c:pt>
                <c:pt idx="3540">
                  <c:v>8.2312905746537903E-3</c:v>
                </c:pt>
                <c:pt idx="3541">
                  <c:v>8.2281405359624204E-3</c:v>
                </c:pt>
                <c:pt idx="3542">
                  <c:v>8.2053803559890594E-3</c:v>
                </c:pt>
                <c:pt idx="3543">
                  <c:v>8.2020558177885103E-3</c:v>
                </c:pt>
                <c:pt idx="3544">
                  <c:v>8.1936735448959099E-3</c:v>
                </c:pt>
                <c:pt idx="3545">
                  <c:v>8.2128551635896104E-3</c:v>
                </c:pt>
                <c:pt idx="3546">
                  <c:v>8.1933339430487508E-3</c:v>
                </c:pt>
                <c:pt idx="3547">
                  <c:v>8.2145767972687696E-3</c:v>
                </c:pt>
                <c:pt idx="3548">
                  <c:v>8.2147225769541796E-3</c:v>
                </c:pt>
                <c:pt idx="3549">
                  <c:v>8.2178437589492895E-3</c:v>
                </c:pt>
                <c:pt idx="3550">
                  <c:v>8.2518738868361894E-3</c:v>
                </c:pt>
                <c:pt idx="3551">
                  <c:v>7.71887837910321E-3</c:v>
                </c:pt>
                <c:pt idx="3552">
                  <c:v>7.7392279463876596E-3</c:v>
                </c:pt>
                <c:pt idx="3553">
                  <c:v>7.7758321791244504E-3</c:v>
                </c:pt>
                <c:pt idx="3554">
                  <c:v>7.7800991183766396E-3</c:v>
                </c:pt>
                <c:pt idx="3555">
                  <c:v>7.8365565361308495E-3</c:v>
                </c:pt>
                <c:pt idx="3556">
                  <c:v>8.0040133284824105E-3</c:v>
                </c:pt>
                <c:pt idx="3557">
                  <c:v>7.9988115469369903E-3</c:v>
                </c:pt>
                <c:pt idx="3558">
                  <c:v>7.4412455879243498E-3</c:v>
                </c:pt>
                <c:pt idx="3559">
                  <c:v>7.4426564182652798E-3</c:v>
                </c:pt>
                <c:pt idx="3560">
                  <c:v>7.3790961583784596E-3</c:v>
                </c:pt>
                <c:pt idx="3561">
                  <c:v>7.70319938839712E-3</c:v>
                </c:pt>
                <c:pt idx="3562">
                  <c:v>7.6953910271794499E-3</c:v>
                </c:pt>
                <c:pt idx="3563">
                  <c:v>7.7339196329472204E-3</c:v>
                </c:pt>
                <c:pt idx="3564">
                  <c:v>7.8093062819418798E-3</c:v>
                </c:pt>
                <c:pt idx="3565">
                  <c:v>7.7729579732110903E-3</c:v>
                </c:pt>
                <c:pt idx="3566">
                  <c:v>7.7716177394217996E-3</c:v>
                </c:pt>
                <c:pt idx="3567">
                  <c:v>7.6954788342887097E-3</c:v>
                </c:pt>
                <c:pt idx="3568">
                  <c:v>7.6344612510724401E-3</c:v>
                </c:pt>
                <c:pt idx="3569">
                  <c:v>7.6242284903675003E-3</c:v>
                </c:pt>
                <c:pt idx="3570">
                  <c:v>7.65765931256046E-3</c:v>
                </c:pt>
                <c:pt idx="3571">
                  <c:v>7.6665559593050896E-3</c:v>
                </c:pt>
                <c:pt idx="3572">
                  <c:v>7.6692341739898499E-3</c:v>
                </c:pt>
                <c:pt idx="3573">
                  <c:v>7.5479790744348999E-3</c:v>
                </c:pt>
                <c:pt idx="3574">
                  <c:v>7.54902042649377E-3</c:v>
                </c:pt>
                <c:pt idx="3575">
                  <c:v>7.5517639702309403E-3</c:v>
                </c:pt>
                <c:pt idx="3576">
                  <c:v>7.5973083923279901E-3</c:v>
                </c:pt>
                <c:pt idx="3577">
                  <c:v>7.6081009403232399E-3</c:v>
                </c:pt>
                <c:pt idx="3578">
                  <c:v>7.6032417645269298E-3</c:v>
                </c:pt>
                <c:pt idx="3579">
                  <c:v>7.3716281596471296E-3</c:v>
                </c:pt>
                <c:pt idx="3580">
                  <c:v>7.3795569723313203E-3</c:v>
                </c:pt>
                <c:pt idx="3581">
                  <c:v>7.3791349093457704E-3</c:v>
                </c:pt>
                <c:pt idx="3582">
                  <c:v>7.4091835010592902E-3</c:v>
                </c:pt>
                <c:pt idx="3583">
                  <c:v>7.4131149892274198E-3</c:v>
                </c:pt>
                <c:pt idx="3584">
                  <c:v>7.4023035603662203E-3</c:v>
                </c:pt>
                <c:pt idx="3585">
                  <c:v>7.3955297906507797E-3</c:v>
                </c:pt>
                <c:pt idx="3586">
                  <c:v>7.3865517606441396E-3</c:v>
                </c:pt>
                <c:pt idx="3587">
                  <c:v>7.3511911422771302E-3</c:v>
                </c:pt>
                <c:pt idx="3588">
                  <c:v>7.3560931169993696E-3</c:v>
                </c:pt>
                <c:pt idx="3589">
                  <c:v>7.30960727731279E-3</c:v>
                </c:pt>
                <c:pt idx="3590">
                  <c:v>7.1621475645984901E-3</c:v>
                </c:pt>
                <c:pt idx="3591">
                  <c:v>7.1620183205479198E-3</c:v>
                </c:pt>
                <c:pt idx="3592">
                  <c:v>7.1478384968395097E-3</c:v>
                </c:pt>
                <c:pt idx="3593">
                  <c:v>7.1058192128185997E-3</c:v>
                </c:pt>
                <c:pt idx="3594">
                  <c:v>7.1318743985869099E-3</c:v>
                </c:pt>
                <c:pt idx="3595">
                  <c:v>7.1340374134778997E-3</c:v>
                </c:pt>
                <c:pt idx="3596">
                  <c:v>7.1358931205360099E-3</c:v>
                </c:pt>
                <c:pt idx="3597">
                  <c:v>7.1490210538972298E-3</c:v>
                </c:pt>
                <c:pt idx="3598">
                  <c:v>7.1122778106760204E-3</c:v>
                </c:pt>
                <c:pt idx="3599">
                  <c:v>7.0991177714941397E-3</c:v>
                </c:pt>
                <c:pt idx="3600">
                  <c:v>7.1092889164529501E-3</c:v>
                </c:pt>
                <c:pt idx="3601">
                  <c:v>7.1019661748058099E-3</c:v>
                </c:pt>
                <c:pt idx="3602">
                  <c:v>6.9147716131632104E-3</c:v>
                </c:pt>
                <c:pt idx="3603">
                  <c:v>6.3851133595843696E-3</c:v>
                </c:pt>
                <c:pt idx="3604">
                  <c:v>6.3933054522491203E-3</c:v>
                </c:pt>
                <c:pt idx="3605">
                  <c:v>6.5248082992748401E-3</c:v>
                </c:pt>
                <c:pt idx="3606">
                  <c:v>6.5256290584120597E-3</c:v>
                </c:pt>
                <c:pt idx="3607">
                  <c:v>6.5274663026556401E-3</c:v>
                </c:pt>
                <c:pt idx="3608">
                  <c:v>6.4945309868864997E-3</c:v>
                </c:pt>
                <c:pt idx="3609">
                  <c:v>6.4936489614681597E-3</c:v>
                </c:pt>
                <c:pt idx="3610">
                  <c:v>6.5282196687793401E-3</c:v>
                </c:pt>
                <c:pt idx="3611">
                  <c:v>6.5016400755504699E-3</c:v>
                </c:pt>
                <c:pt idx="3612">
                  <c:v>6.5021135548241297E-3</c:v>
                </c:pt>
                <c:pt idx="3613">
                  <c:v>6.5347364890690597E-3</c:v>
                </c:pt>
                <c:pt idx="3614">
                  <c:v>6.5378652444643198E-3</c:v>
                </c:pt>
                <c:pt idx="3615">
                  <c:v>6.5419230471731897E-3</c:v>
                </c:pt>
                <c:pt idx="3616">
                  <c:v>6.5003286732362303E-3</c:v>
                </c:pt>
                <c:pt idx="3617">
                  <c:v>6.4949623614881198E-3</c:v>
                </c:pt>
                <c:pt idx="3618">
                  <c:v>6.5221657817360898E-3</c:v>
                </c:pt>
                <c:pt idx="3619">
                  <c:v>6.4935975292132403E-3</c:v>
                </c:pt>
                <c:pt idx="3620">
                  <c:v>6.5400594413313898E-3</c:v>
                </c:pt>
                <c:pt idx="3621">
                  <c:v>6.54008617224158E-3</c:v>
                </c:pt>
                <c:pt idx="3622">
                  <c:v>6.5122563520155002E-3</c:v>
                </c:pt>
                <c:pt idx="3623">
                  <c:v>6.3308754212909801E-3</c:v>
                </c:pt>
                <c:pt idx="3624">
                  <c:v>6.4069965675818E-3</c:v>
                </c:pt>
                <c:pt idx="3625">
                  <c:v>6.3737161578442097E-3</c:v>
                </c:pt>
                <c:pt idx="3626">
                  <c:v>6.3538337469204401E-3</c:v>
                </c:pt>
                <c:pt idx="3627">
                  <c:v>6.3683950824826498E-3</c:v>
                </c:pt>
                <c:pt idx="3628">
                  <c:v>6.3705693411768103E-3</c:v>
                </c:pt>
                <c:pt idx="3629">
                  <c:v>6.3751434566994298E-3</c:v>
                </c:pt>
                <c:pt idx="3630">
                  <c:v>6.3668988332235303E-3</c:v>
                </c:pt>
                <c:pt idx="3631">
                  <c:v>6.1645853061267197E-3</c:v>
                </c:pt>
                <c:pt idx="3632">
                  <c:v>6.1445641273570701E-3</c:v>
                </c:pt>
                <c:pt idx="3633">
                  <c:v>6.1882770679259303E-3</c:v>
                </c:pt>
                <c:pt idx="3634">
                  <c:v>6.1967279591374803E-3</c:v>
                </c:pt>
                <c:pt idx="3635">
                  <c:v>6.3102088221839801E-3</c:v>
                </c:pt>
                <c:pt idx="3636">
                  <c:v>6.2201008884640004E-3</c:v>
                </c:pt>
                <c:pt idx="3637">
                  <c:v>6.2127924291606003E-3</c:v>
                </c:pt>
                <c:pt idx="3638">
                  <c:v>6.21950574153954E-3</c:v>
                </c:pt>
                <c:pt idx="3639">
                  <c:v>6.2253589285349298E-3</c:v>
                </c:pt>
                <c:pt idx="3640">
                  <c:v>6.2303465525729504E-3</c:v>
                </c:pt>
                <c:pt idx="3641">
                  <c:v>6.1756117129705603E-3</c:v>
                </c:pt>
                <c:pt idx="3642">
                  <c:v>6.11529016836095E-3</c:v>
                </c:pt>
                <c:pt idx="3643">
                  <c:v>6.1163045162315804E-3</c:v>
                </c:pt>
                <c:pt idx="3644">
                  <c:v>6.1357335760982802E-3</c:v>
                </c:pt>
                <c:pt idx="3645">
                  <c:v>6.1502207102812198E-3</c:v>
                </c:pt>
                <c:pt idx="3646">
                  <c:v>6.0696118752930498E-3</c:v>
                </c:pt>
                <c:pt idx="3647">
                  <c:v>6.0706881909414001E-3</c:v>
                </c:pt>
                <c:pt idx="3648">
                  <c:v>6.13592963273118E-3</c:v>
                </c:pt>
                <c:pt idx="3649">
                  <c:v>6.1347450007984798E-3</c:v>
                </c:pt>
                <c:pt idx="3650">
                  <c:v>6.1328937034573197E-3</c:v>
                </c:pt>
                <c:pt idx="3651">
                  <c:v>6.1315386643576702E-3</c:v>
                </c:pt>
                <c:pt idx="3652">
                  <c:v>6.1054260248004496E-3</c:v>
                </c:pt>
                <c:pt idx="3653">
                  <c:v>6.0737443813264598E-3</c:v>
                </c:pt>
                <c:pt idx="3654">
                  <c:v>6.0253504264554496E-3</c:v>
                </c:pt>
                <c:pt idx="3655">
                  <c:v>6.0224509704097104E-3</c:v>
                </c:pt>
                <c:pt idx="3656">
                  <c:v>6.0518534181850598E-3</c:v>
                </c:pt>
                <c:pt idx="3657">
                  <c:v>6.0735669001781298E-3</c:v>
                </c:pt>
                <c:pt idx="3658">
                  <c:v>6.0560577034807798E-3</c:v>
                </c:pt>
                <c:pt idx="3659">
                  <c:v>5.9817157864309103E-3</c:v>
                </c:pt>
                <c:pt idx="3660">
                  <c:v>5.9608422766256998E-3</c:v>
                </c:pt>
                <c:pt idx="3661">
                  <c:v>6.0025472721212201E-3</c:v>
                </c:pt>
                <c:pt idx="3662">
                  <c:v>6.0146676975635803E-3</c:v>
                </c:pt>
                <c:pt idx="3663">
                  <c:v>6.0669261949996799E-3</c:v>
                </c:pt>
                <c:pt idx="3664">
                  <c:v>6.08438517095501E-3</c:v>
                </c:pt>
                <c:pt idx="3665">
                  <c:v>6.0715093743006201E-3</c:v>
                </c:pt>
                <c:pt idx="3666">
                  <c:v>6.0399868784084898E-3</c:v>
                </c:pt>
                <c:pt idx="3667">
                  <c:v>5.9989268941721104E-3</c:v>
                </c:pt>
                <c:pt idx="3668">
                  <c:v>6.00697564609069E-3</c:v>
                </c:pt>
                <c:pt idx="3669">
                  <c:v>5.9948550941053896E-3</c:v>
                </c:pt>
                <c:pt idx="3670">
                  <c:v>6.15567312236588E-3</c:v>
                </c:pt>
                <c:pt idx="3671">
                  <c:v>6.1460002076322504E-3</c:v>
                </c:pt>
                <c:pt idx="3672">
                  <c:v>6.1081584744056101E-3</c:v>
                </c:pt>
                <c:pt idx="3673">
                  <c:v>6.0739829047316797E-3</c:v>
                </c:pt>
                <c:pt idx="3674">
                  <c:v>6.0388304477001897E-3</c:v>
                </c:pt>
                <c:pt idx="3675">
                  <c:v>5.9858719781664699E-3</c:v>
                </c:pt>
                <c:pt idx="3676">
                  <c:v>5.8154068419896702E-3</c:v>
                </c:pt>
                <c:pt idx="3677">
                  <c:v>5.9042611725359101E-3</c:v>
                </c:pt>
                <c:pt idx="3678">
                  <c:v>5.9286904559651904E-3</c:v>
                </c:pt>
                <c:pt idx="3679">
                  <c:v>5.9377911470333503E-3</c:v>
                </c:pt>
                <c:pt idx="3680">
                  <c:v>5.9077602182016501E-3</c:v>
                </c:pt>
                <c:pt idx="3681">
                  <c:v>5.4559431934586696E-3</c:v>
                </c:pt>
                <c:pt idx="3682">
                  <c:v>5.59391143209344E-3</c:v>
                </c:pt>
                <c:pt idx="3683">
                  <c:v>5.5488816017644901E-3</c:v>
                </c:pt>
                <c:pt idx="3684">
                  <c:v>5.4493952689559002E-3</c:v>
                </c:pt>
                <c:pt idx="3685">
                  <c:v>5.5160595807662903E-3</c:v>
                </c:pt>
                <c:pt idx="3686">
                  <c:v>5.4968433019527401E-3</c:v>
                </c:pt>
                <c:pt idx="3687">
                  <c:v>5.5561034969185399E-3</c:v>
                </c:pt>
                <c:pt idx="3688">
                  <c:v>5.5046530368813998E-3</c:v>
                </c:pt>
                <c:pt idx="3689">
                  <c:v>5.5562191198493703E-3</c:v>
                </c:pt>
                <c:pt idx="3690">
                  <c:v>5.5939478945057101E-3</c:v>
                </c:pt>
                <c:pt idx="3691">
                  <c:v>5.5848173275534398E-3</c:v>
                </c:pt>
                <c:pt idx="3692">
                  <c:v>5.6352356527691102E-3</c:v>
                </c:pt>
                <c:pt idx="3693">
                  <c:v>5.6363833936375497E-3</c:v>
                </c:pt>
                <c:pt idx="3694">
                  <c:v>5.6345266766101897E-3</c:v>
                </c:pt>
                <c:pt idx="3695">
                  <c:v>5.6485681260862704E-3</c:v>
                </c:pt>
                <c:pt idx="3696">
                  <c:v>5.6527190191301901E-3</c:v>
                </c:pt>
                <c:pt idx="3697">
                  <c:v>5.6929353528834296E-3</c:v>
                </c:pt>
                <c:pt idx="3698">
                  <c:v>5.6926523503083399E-3</c:v>
                </c:pt>
                <c:pt idx="3699">
                  <c:v>5.6619137504709998E-3</c:v>
                </c:pt>
                <c:pt idx="3700">
                  <c:v>5.6505759672063399E-3</c:v>
                </c:pt>
                <c:pt idx="3701">
                  <c:v>5.6579815929268598E-3</c:v>
                </c:pt>
                <c:pt idx="3702">
                  <c:v>5.6240487557472898E-3</c:v>
                </c:pt>
                <c:pt idx="3703">
                  <c:v>5.63281370460764E-3</c:v>
                </c:pt>
                <c:pt idx="3704">
                  <c:v>5.6418154273415802E-3</c:v>
                </c:pt>
                <c:pt idx="3705">
                  <c:v>5.7403864297786798E-3</c:v>
                </c:pt>
                <c:pt idx="3706">
                  <c:v>5.7392416211419703E-3</c:v>
                </c:pt>
                <c:pt idx="3707">
                  <c:v>5.9183146281126999E-3</c:v>
                </c:pt>
                <c:pt idx="3708">
                  <c:v>5.9178551414453898E-3</c:v>
                </c:pt>
                <c:pt idx="3709">
                  <c:v>5.91207035185508E-3</c:v>
                </c:pt>
                <c:pt idx="3710">
                  <c:v>5.9164429019477804E-3</c:v>
                </c:pt>
                <c:pt idx="3711">
                  <c:v>5.9534682308929601E-3</c:v>
                </c:pt>
                <c:pt idx="3712">
                  <c:v>5.9638034213088404E-3</c:v>
                </c:pt>
                <c:pt idx="3713">
                  <c:v>5.9590877286265203E-3</c:v>
                </c:pt>
                <c:pt idx="3714">
                  <c:v>5.9188747567887898E-3</c:v>
                </c:pt>
                <c:pt idx="3715">
                  <c:v>5.9251028292660298E-3</c:v>
                </c:pt>
                <c:pt idx="3716">
                  <c:v>5.9607152639186197E-3</c:v>
                </c:pt>
                <c:pt idx="3717">
                  <c:v>5.9560159958743399E-3</c:v>
                </c:pt>
                <c:pt idx="3718">
                  <c:v>6.0150096828650301E-3</c:v>
                </c:pt>
                <c:pt idx="3719">
                  <c:v>6.0286364129003896E-3</c:v>
                </c:pt>
                <c:pt idx="3720">
                  <c:v>6.0177938371954696E-3</c:v>
                </c:pt>
                <c:pt idx="3721">
                  <c:v>6.0177356428330704E-3</c:v>
                </c:pt>
                <c:pt idx="3722">
                  <c:v>6.0022545603325402E-3</c:v>
                </c:pt>
                <c:pt idx="3723">
                  <c:v>6.0010457200687303E-3</c:v>
                </c:pt>
                <c:pt idx="3724">
                  <c:v>6.2277001325680599E-3</c:v>
                </c:pt>
                <c:pt idx="3725">
                  <c:v>6.1991985231767098E-3</c:v>
                </c:pt>
                <c:pt idx="3726">
                  <c:v>6.1984338206417201E-3</c:v>
                </c:pt>
                <c:pt idx="3727">
                  <c:v>6.19902863336101E-3</c:v>
                </c:pt>
                <c:pt idx="3728">
                  <c:v>6.1960495289265904E-3</c:v>
                </c:pt>
                <c:pt idx="3729">
                  <c:v>6.1960020069578804E-3</c:v>
                </c:pt>
                <c:pt idx="3730">
                  <c:v>6.1549854984935901E-3</c:v>
                </c:pt>
                <c:pt idx="3731">
                  <c:v>6.1576722553581603E-3</c:v>
                </c:pt>
                <c:pt idx="3732">
                  <c:v>6.1571404680241396E-3</c:v>
                </c:pt>
                <c:pt idx="3733">
                  <c:v>6.1472133645561399E-3</c:v>
                </c:pt>
                <c:pt idx="3734">
                  <c:v>6.3028190417983004E-3</c:v>
                </c:pt>
                <c:pt idx="3735">
                  <c:v>6.3755684030899198E-3</c:v>
                </c:pt>
                <c:pt idx="3736">
                  <c:v>6.3804884252087798E-3</c:v>
                </c:pt>
                <c:pt idx="3737">
                  <c:v>6.3772998210037696E-3</c:v>
                </c:pt>
                <c:pt idx="3738">
                  <c:v>6.3537711633568604E-3</c:v>
                </c:pt>
                <c:pt idx="3739">
                  <c:v>6.3546020459399897E-3</c:v>
                </c:pt>
                <c:pt idx="3740">
                  <c:v>6.3196078190588898E-3</c:v>
                </c:pt>
                <c:pt idx="3741">
                  <c:v>6.3213168573856404E-3</c:v>
                </c:pt>
                <c:pt idx="3742">
                  <c:v>6.3259646347776496E-3</c:v>
                </c:pt>
                <c:pt idx="3743">
                  <c:v>6.3370346041775301E-3</c:v>
                </c:pt>
                <c:pt idx="3744">
                  <c:v>6.2564943534001403E-3</c:v>
                </c:pt>
                <c:pt idx="3745">
                  <c:v>6.2570710910643899E-3</c:v>
                </c:pt>
                <c:pt idx="3746">
                  <c:v>6.2501068076585399E-3</c:v>
                </c:pt>
                <c:pt idx="3747">
                  <c:v>6.22916955529698E-3</c:v>
                </c:pt>
                <c:pt idx="3748">
                  <c:v>6.2363826788677003E-3</c:v>
                </c:pt>
                <c:pt idx="3749">
                  <c:v>6.2021199889964601E-3</c:v>
                </c:pt>
                <c:pt idx="3750">
                  <c:v>6.1941195960477299E-3</c:v>
                </c:pt>
                <c:pt idx="3751">
                  <c:v>6.1964710870641296E-3</c:v>
                </c:pt>
                <c:pt idx="3752">
                  <c:v>6.1955662161278201E-3</c:v>
                </c:pt>
                <c:pt idx="3753">
                  <c:v>6.1417898027473199E-3</c:v>
                </c:pt>
                <c:pt idx="3754">
                  <c:v>6.1272343139949304E-3</c:v>
                </c:pt>
                <c:pt idx="3755">
                  <c:v>6.0362098040854803E-3</c:v>
                </c:pt>
                <c:pt idx="3756">
                  <c:v>6.0328767732393896E-3</c:v>
                </c:pt>
                <c:pt idx="3757">
                  <c:v>6.0330611005229703E-3</c:v>
                </c:pt>
                <c:pt idx="3758">
                  <c:v>6.0207637079401797E-3</c:v>
                </c:pt>
                <c:pt idx="3759">
                  <c:v>6.0214509041242497E-3</c:v>
                </c:pt>
                <c:pt idx="3760">
                  <c:v>6.0999205149819798E-3</c:v>
                </c:pt>
                <c:pt idx="3761">
                  <c:v>6.1005301041163196E-3</c:v>
                </c:pt>
                <c:pt idx="3762">
                  <c:v>6.0495903829248902E-3</c:v>
                </c:pt>
                <c:pt idx="3763">
                  <c:v>6.0459101735545204E-3</c:v>
                </c:pt>
                <c:pt idx="3764">
                  <c:v>6.0219292070828202E-3</c:v>
                </c:pt>
                <c:pt idx="3765">
                  <c:v>6.0035517545734803E-3</c:v>
                </c:pt>
                <c:pt idx="3766">
                  <c:v>5.9958990483236097E-3</c:v>
                </c:pt>
                <c:pt idx="3767">
                  <c:v>6.0286876093195701E-3</c:v>
                </c:pt>
                <c:pt idx="3768">
                  <c:v>5.9509052745082497E-3</c:v>
                </c:pt>
                <c:pt idx="3769">
                  <c:v>5.9523768343074396E-3</c:v>
                </c:pt>
                <c:pt idx="3770">
                  <c:v>5.9523724551096696E-3</c:v>
                </c:pt>
                <c:pt idx="3771">
                  <c:v>5.9784469102632399E-3</c:v>
                </c:pt>
                <c:pt idx="3772">
                  <c:v>5.9785989368179096E-3</c:v>
                </c:pt>
                <c:pt idx="3773">
                  <c:v>5.9664931201212704E-3</c:v>
                </c:pt>
                <c:pt idx="3774">
                  <c:v>5.9704247461924301E-3</c:v>
                </c:pt>
                <c:pt idx="3775">
                  <c:v>5.9732811525998299E-3</c:v>
                </c:pt>
                <c:pt idx="3776">
                  <c:v>5.9333037072803897E-3</c:v>
                </c:pt>
                <c:pt idx="3777">
                  <c:v>5.8933995402382601E-3</c:v>
                </c:pt>
                <c:pt idx="3778">
                  <c:v>5.8867567883283704E-3</c:v>
                </c:pt>
                <c:pt idx="3779">
                  <c:v>5.8665508751686597E-3</c:v>
                </c:pt>
                <c:pt idx="3780">
                  <c:v>5.8760883357154101E-3</c:v>
                </c:pt>
                <c:pt idx="3781">
                  <c:v>5.8735236703247396E-3</c:v>
                </c:pt>
                <c:pt idx="3782">
                  <c:v>5.8752395920255197E-3</c:v>
                </c:pt>
                <c:pt idx="3783">
                  <c:v>5.8593310557199596E-3</c:v>
                </c:pt>
                <c:pt idx="3784">
                  <c:v>5.8627252882063399E-3</c:v>
                </c:pt>
                <c:pt idx="3785">
                  <c:v>5.8481461228827797E-3</c:v>
                </c:pt>
                <c:pt idx="3786">
                  <c:v>5.9006339534154297E-3</c:v>
                </c:pt>
                <c:pt idx="3787">
                  <c:v>5.9434762112962501E-3</c:v>
                </c:pt>
                <c:pt idx="3788">
                  <c:v>5.96661293985751E-3</c:v>
                </c:pt>
                <c:pt idx="3789">
                  <c:v>5.9687607845837799E-3</c:v>
                </c:pt>
                <c:pt idx="3790">
                  <c:v>5.7905867673640398E-3</c:v>
                </c:pt>
                <c:pt idx="3791">
                  <c:v>5.9703783882035996E-3</c:v>
                </c:pt>
                <c:pt idx="3792">
                  <c:v>5.9680203058594897E-3</c:v>
                </c:pt>
                <c:pt idx="3793">
                  <c:v>6.6304908095577899E-3</c:v>
                </c:pt>
                <c:pt idx="3794">
                  <c:v>6.6178223891090798E-3</c:v>
                </c:pt>
                <c:pt idx="3795">
                  <c:v>6.7265807922651903E-3</c:v>
                </c:pt>
                <c:pt idx="3796">
                  <c:v>6.7065305291074797E-3</c:v>
                </c:pt>
                <c:pt idx="3797">
                  <c:v>6.63930392472643E-3</c:v>
                </c:pt>
                <c:pt idx="3798">
                  <c:v>6.7165552037850096E-3</c:v>
                </c:pt>
                <c:pt idx="3799">
                  <c:v>6.7151615482623998E-3</c:v>
                </c:pt>
                <c:pt idx="3800">
                  <c:v>6.7249584481844102E-3</c:v>
                </c:pt>
                <c:pt idx="3801">
                  <c:v>6.73557800681307E-3</c:v>
                </c:pt>
                <c:pt idx="3802">
                  <c:v>6.6398146123776997E-3</c:v>
                </c:pt>
                <c:pt idx="3803">
                  <c:v>6.7286946295385596E-3</c:v>
                </c:pt>
                <c:pt idx="3804">
                  <c:v>6.7505464676709103E-3</c:v>
                </c:pt>
                <c:pt idx="3805">
                  <c:v>6.8472811891088902E-3</c:v>
                </c:pt>
                <c:pt idx="3806">
                  <c:v>6.96601859959809E-3</c:v>
                </c:pt>
                <c:pt idx="3807">
                  <c:v>6.93137984127717E-3</c:v>
                </c:pt>
                <c:pt idx="3808">
                  <c:v>6.9602079521938103E-3</c:v>
                </c:pt>
                <c:pt idx="3809">
                  <c:v>7.0095076910993096E-3</c:v>
                </c:pt>
                <c:pt idx="3810">
                  <c:v>6.9275669171282297E-3</c:v>
                </c:pt>
                <c:pt idx="3811">
                  <c:v>7.0100101354910998E-3</c:v>
                </c:pt>
                <c:pt idx="3812">
                  <c:v>6.96789477546842E-3</c:v>
                </c:pt>
                <c:pt idx="3813">
                  <c:v>6.9929393866207303E-3</c:v>
                </c:pt>
                <c:pt idx="3814">
                  <c:v>7.00190930994583E-3</c:v>
                </c:pt>
                <c:pt idx="3815">
                  <c:v>6.9956030013086498E-3</c:v>
                </c:pt>
                <c:pt idx="3816">
                  <c:v>6.9451243426894103E-3</c:v>
                </c:pt>
                <c:pt idx="3817">
                  <c:v>7.0447060427062998E-3</c:v>
                </c:pt>
                <c:pt idx="3818">
                  <c:v>7.06708162594024E-3</c:v>
                </c:pt>
                <c:pt idx="3819">
                  <c:v>7.0676586449573498E-3</c:v>
                </c:pt>
                <c:pt idx="3820">
                  <c:v>7.1670081495582199E-3</c:v>
                </c:pt>
                <c:pt idx="3821">
                  <c:v>7.1729744820751397E-3</c:v>
                </c:pt>
                <c:pt idx="3822">
                  <c:v>7.1686009828995298E-3</c:v>
                </c:pt>
                <c:pt idx="3823">
                  <c:v>7.1436976056797399E-3</c:v>
                </c:pt>
                <c:pt idx="3824">
                  <c:v>7.1472004523707696E-3</c:v>
                </c:pt>
                <c:pt idx="3825">
                  <c:v>7.0861345225931302E-3</c:v>
                </c:pt>
                <c:pt idx="3826">
                  <c:v>7.0924865393112496E-3</c:v>
                </c:pt>
                <c:pt idx="3827">
                  <c:v>6.9437124536975096E-3</c:v>
                </c:pt>
                <c:pt idx="3828">
                  <c:v>6.9426095958410698E-3</c:v>
                </c:pt>
                <c:pt idx="3829">
                  <c:v>6.9200369211136698E-3</c:v>
                </c:pt>
                <c:pt idx="3830">
                  <c:v>6.9426917286616596E-3</c:v>
                </c:pt>
                <c:pt idx="3831">
                  <c:v>6.9161301989488604E-3</c:v>
                </c:pt>
                <c:pt idx="3832">
                  <c:v>6.9125242432815197E-3</c:v>
                </c:pt>
                <c:pt idx="3833">
                  <c:v>6.9148946682329104E-3</c:v>
                </c:pt>
                <c:pt idx="3834">
                  <c:v>6.9822280181434399E-3</c:v>
                </c:pt>
                <c:pt idx="3835">
                  <c:v>7.0282484289905904E-3</c:v>
                </c:pt>
                <c:pt idx="3836">
                  <c:v>6.99584230434914E-3</c:v>
                </c:pt>
                <c:pt idx="3837">
                  <c:v>7.0159866148240598E-3</c:v>
                </c:pt>
                <c:pt idx="3838">
                  <c:v>6.9579980032613096E-3</c:v>
                </c:pt>
                <c:pt idx="3839">
                  <c:v>7.1585578548975697E-3</c:v>
                </c:pt>
                <c:pt idx="3840">
                  <c:v>7.2319925470288697E-3</c:v>
                </c:pt>
                <c:pt idx="3841">
                  <c:v>7.2391286900202996E-3</c:v>
                </c:pt>
                <c:pt idx="3842">
                  <c:v>7.27637957284145E-3</c:v>
                </c:pt>
                <c:pt idx="3843">
                  <c:v>7.27435332608466E-3</c:v>
                </c:pt>
                <c:pt idx="3844">
                  <c:v>7.0428836300336101E-3</c:v>
                </c:pt>
                <c:pt idx="3845">
                  <c:v>7.5139683984900597E-3</c:v>
                </c:pt>
                <c:pt idx="3846">
                  <c:v>7.8491482944924394E-3</c:v>
                </c:pt>
                <c:pt idx="3847">
                  <c:v>7.9030842526705402E-3</c:v>
                </c:pt>
                <c:pt idx="3848">
                  <c:v>8.8669068369165993E-3</c:v>
                </c:pt>
                <c:pt idx="3849">
                  <c:v>8.9402454156240294E-3</c:v>
                </c:pt>
                <c:pt idx="3850">
                  <c:v>8.99206654284713E-3</c:v>
                </c:pt>
                <c:pt idx="3851">
                  <c:v>9.0151226757768307E-3</c:v>
                </c:pt>
                <c:pt idx="3852">
                  <c:v>9.2152608704773702E-3</c:v>
                </c:pt>
                <c:pt idx="3853">
                  <c:v>9.20331134610043E-3</c:v>
                </c:pt>
                <c:pt idx="3854">
                  <c:v>9.1468888894801394E-3</c:v>
                </c:pt>
                <c:pt idx="3855">
                  <c:v>9.1884354554275308E-3</c:v>
                </c:pt>
                <c:pt idx="3856">
                  <c:v>9.2238583010322093E-3</c:v>
                </c:pt>
                <c:pt idx="3857">
                  <c:v>9.2394717551921406E-3</c:v>
                </c:pt>
                <c:pt idx="3858">
                  <c:v>9.2665118504215195E-3</c:v>
                </c:pt>
                <c:pt idx="3859">
                  <c:v>9.2650385018442499E-3</c:v>
                </c:pt>
                <c:pt idx="3860">
                  <c:v>9.3198941573655394E-3</c:v>
                </c:pt>
                <c:pt idx="3861">
                  <c:v>9.3444024045608899E-3</c:v>
                </c:pt>
                <c:pt idx="3862">
                  <c:v>9.3837185165090899E-3</c:v>
                </c:pt>
                <c:pt idx="3863">
                  <c:v>9.3921239059077295E-3</c:v>
                </c:pt>
                <c:pt idx="3864">
                  <c:v>9.39794446763988E-3</c:v>
                </c:pt>
                <c:pt idx="3865">
                  <c:v>9.4376481537792305E-3</c:v>
                </c:pt>
                <c:pt idx="3866">
                  <c:v>9.4452092543642497E-3</c:v>
                </c:pt>
                <c:pt idx="3867">
                  <c:v>9.4564273119675107E-3</c:v>
                </c:pt>
                <c:pt idx="3868">
                  <c:v>9.4966400407633499E-3</c:v>
                </c:pt>
                <c:pt idx="3869">
                  <c:v>9.5033244619352093E-3</c:v>
                </c:pt>
                <c:pt idx="3870">
                  <c:v>9.5004273707568095E-3</c:v>
                </c:pt>
                <c:pt idx="3871">
                  <c:v>9.5047106104146298E-3</c:v>
                </c:pt>
                <c:pt idx="3872">
                  <c:v>9.5511062224562706E-3</c:v>
                </c:pt>
                <c:pt idx="3873">
                  <c:v>9.9228480858173998E-3</c:v>
                </c:pt>
                <c:pt idx="3874">
                  <c:v>9.9410082003287201E-3</c:v>
                </c:pt>
                <c:pt idx="3875">
                  <c:v>9.9588110483089E-3</c:v>
                </c:pt>
                <c:pt idx="3876">
                  <c:v>1.0099235419637601E-2</c:v>
                </c:pt>
                <c:pt idx="3877">
                  <c:v>1.0171105666768E-2</c:v>
                </c:pt>
                <c:pt idx="3878">
                  <c:v>1.0171488665399299E-2</c:v>
                </c:pt>
                <c:pt idx="3879">
                  <c:v>1.0170400754350301E-2</c:v>
                </c:pt>
                <c:pt idx="3880">
                  <c:v>1.0129297271176899E-2</c:v>
                </c:pt>
                <c:pt idx="3881">
                  <c:v>1.0129114732776501E-2</c:v>
                </c:pt>
                <c:pt idx="3882">
                  <c:v>1.01244330083053E-2</c:v>
                </c:pt>
                <c:pt idx="3883">
                  <c:v>1.02721807408769E-2</c:v>
                </c:pt>
                <c:pt idx="3884">
                  <c:v>1.0273731170446301E-2</c:v>
                </c:pt>
                <c:pt idx="3885">
                  <c:v>1.03141301711588E-2</c:v>
                </c:pt>
                <c:pt idx="3886">
                  <c:v>1.03341744267333E-2</c:v>
                </c:pt>
                <c:pt idx="3887">
                  <c:v>1.0411640760612699E-2</c:v>
                </c:pt>
                <c:pt idx="3888">
                  <c:v>1.0505862028278299E-2</c:v>
                </c:pt>
                <c:pt idx="3889">
                  <c:v>1.0515901041228799E-2</c:v>
                </c:pt>
                <c:pt idx="3890">
                  <c:v>1.0575754604081399E-2</c:v>
                </c:pt>
                <c:pt idx="3891">
                  <c:v>1.06211938843429E-2</c:v>
                </c:pt>
                <c:pt idx="3892">
                  <c:v>1.0613256393766601E-2</c:v>
                </c:pt>
                <c:pt idx="3893">
                  <c:v>1.0772906082912899E-2</c:v>
                </c:pt>
                <c:pt idx="3894">
                  <c:v>1.0756006270773E-2</c:v>
                </c:pt>
                <c:pt idx="3895">
                  <c:v>1.08910578793249E-2</c:v>
                </c:pt>
                <c:pt idx="3896">
                  <c:v>1.08913616549129E-2</c:v>
                </c:pt>
                <c:pt idx="3897">
                  <c:v>1.0891884623785601E-2</c:v>
                </c:pt>
                <c:pt idx="3898">
                  <c:v>1.09178877720009E-2</c:v>
                </c:pt>
                <c:pt idx="3899">
                  <c:v>1.09252052430587E-2</c:v>
                </c:pt>
                <c:pt idx="3900">
                  <c:v>1.1003118474692699E-2</c:v>
                </c:pt>
                <c:pt idx="3901">
                  <c:v>1.10288002683381E-2</c:v>
                </c:pt>
                <c:pt idx="3902">
                  <c:v>1.1029081510972E-2</c:v>
                </c:pt>
                <c:pt idx="3903">
                  <c:v>1.1022351752363199E-2</c:v>
                </c:pt>
                <c:pt idx="3904">
                  <c:v>1.0998463126401299E-2</c:v>
                </c:pt>
                <c:pt idx="3905">
                  <c:v>1.10280523065779E-2</c:v>
                </c:pt>
                <c:pt idx="3906">
                  <c:v>1.10182785351635E-2</c:v>
                </c:pt>
                <c:pt idx="3907">
                  <c:v>1.1027124413544399E-2</c:v>
                </c:pt>
                <c:pt idx="3908">
                  <c:v>1.10206654832325E-2</c:v>
                </c:pt>
                <c:pt idx="3909">
                  <c:v>1.10556832530391E-2</c:v>
                </c:pt>
                <c:pt idx="3910">
                  <c:v>1.10518198351112E-2</c:v>
                </c:pt>
                <c:pt idx="3911">
                  <c:v>1.09290579420888E-2</c:v>
                </c:pt>
                <c:pt idx="3912">
                  <c:v>1.0986395212269601E-2</c:v>
                </c:pt>
                <c:pt idx="3913">
                  <c:v>1.0667531802279801E-2</c:v>
                </c:pt>
                <c:pt idx="3914">
                  <c:v>1.0669041775417E-2</c:v>
                </c:pt>
                <c:pt idx="3915">
                  <c:v>1.06141441951574E-2</c:v>
                </c:pt>
                <c:pt idx="3916">
                  <c:v>1.0632945245818501E-2</c:v>
                </c:pt>
                <c:pt idx="3917">
                  <c:v>1.08026342914418E-2</c:v>
                </c:pt>
                <c:pt idx="3918">
                  <c:v>1.09335522694709E-2</c:v>
                </c:pt>
                <c:pt idx="3919">
                  <c:v>1.0956822110304E-2</c:v>
                </c:pt>
                <c:pt idx="3920">
                  <c:v>1.0984739794462199E-2</c:v>
                </c:pt>
                <c:pt idx="3921">
                  <c:v>1.10127238520957E-2</c:v>
                </c:pt>
                <c:pt idx="3922">
                  <c:v>1.10016156686702E-2</c:v>
                </c:pt>
                <c:pt idx="3923">
                  <c:v>1.09570638302986E-2</c:v>
                </c:pt>
                <c:pt idx="3924">
                  <c:v>1.09952881725196E-2</c:v>
                </c:pt>
                <c:pt idx="3925">
                  <c:v>1.08853894448117E-2</c:v>
                </c:pt>
                <c:pt idx="3926">
                  <c:v>1.0884200643756101E-2</c:v>
                </c:pt>
                <c:pt idx="3927">
                  <c:v>1.08875276241209E-2</c:v>
                </c:pt>
                <c:pt idx="3928">
                  <c:v>1.08808453674482E-2</c:v>
                </c:pt>
                <c:pt idx="3929">
                  <c:v>1.0844600079459201E-2</c:v>
                </c:pt>
                <c:pt idx="3930">
                  <c:v>1.1314441041924E-2</c:v>
                </c:pt>
                <c:pt idx="3931">
                  <c:v>1.12569744197701E-2</c:v>
                </c:pt>
                <c:pt idx="3932">
                  <c:v>1.1300696785747501E-2</c:v>
                </c:pt>
                <c:pt idx="3933">
                  <c:v>1.12727951013238E-2</c:v>
                </c:pt>
                <c:pt idx="3934">
                  <c:v>1.1328750470267801E-2</c:v>
                </c:pt>
                <c:pt idx="3935">
                  <c:v>1.1346181763119001E-2</c:v>
                </c:pt>
                <c:pt idx="3936">
                  <c:v>1.1477298798672601E-2</c:v>
                </c:pt>
                <c:pt idx="3937">
                  <c:v>1.1433431133091801E-2</c:v>
                </c:pt>
                <c:pt idx="3938">
                  <c:v>1.16635258249356E-2</c:v>
                </c:pt>
                <c:pt idx="3939">
                  <c:v>1.1946634294827301E-2</c:v>
                </c:pt>
                <c:pt idx="3940">
                  <c:v>1.18642739969715E-2</c:v>
                </c:pt>
                <c:pt idx="3941">
                  <c:v>1.18943618348864E-2</c:v>
                </c:pt>
                <c:pt idx="3942">
                  <c:v>1.1889478280688599E-2</c:v>
                </c:pt>
                <c:pt idx="3943">
                  <c:v>1.1908947887804999E-2</c:v>
                </c:pt>
                <c:pt idx="3944">
                  <c:v>1.2190162838595101E-2</c:v>
                </c:pt>
                <c:pt idx="3945">
                  <c:v>1.21704457293773E-2</c:v>
                </c:pt>
                <c:pt idx="3946">
                  <c:v>1.2243505178269699E-2</c:v>
                </c:pt>
                <c:pt idx="3947">
                  <c:v>1.24235286758304E-2</c:v>
                </c:pt>
                <c:pt idx="3948">
                  <c:v>1.2418761914281399E-2</c:v>
                </c:pt>
                <c:pt idx="3949">
                  <c:v>1.24240880988693E-2</c:v>
                </c:pt>
                <c:pt idx="3950">
                  <c:v>1.24013620660797E-2</c:v>
                </c:pt>
                <c:pt idx="3951">
                  <c:v>1.24053185885231E-2</c:v>
                </c:pt>
                <c:pt idx="3952">
                  <c:v>1.2387674379637699E-2</c:v>
                </c:pt>
                <c:pt idx="3953">
                  <c:v>1.2519819391840801E-2</c:v>
                </c:pt>
                <c:pt idx="3954">
                  <c:v>1.24989963927331E-2</c:v>
                </c:pt>
                <c:pt idx="3955">
                  <c:v>1.2550753003404001E-2</c:v>
                </c:pt>
                <c:pt idx="3956">
                  <c:v>1.2547104172350601E-2</c:v>
                </c:pt>
                <c:pt idx="3957">
                  <c:v>1.25749504696835E-2</c:v>
                </c:pt>
                <c:pt idx="3958">
                  <c:v>1.25668879001723E-2</c:v>
                </c:pt>
                <c:pt idx="3959">
                  <c:v>1.24754360242247E-2</c:v>
                </c:pt>
                <c:pt idx="3960">
                  <c:v>1.2449436172359499E-2</c:v>
                </c:pt>
                <c:pt idx="3961">
                  <c:v>1.2550837432983601E-2</c:v>
                </c:pt>
                <c:pt idx="3962">
                  <c:v>1.2682681893776899E-2</c:v>
                </c:pt>
                <c:pt idx="3963">
                  <c:v>1.27325549634544E-2</c:v>
                </c:pt>
                <c:pt idx="3964">
                  <c:v>1.2766802529135E-2</c:v>
                </c:pt>
                <c:pt idx="3965">
                  <c:v>1.28245070080075E-2</c:v>
                </c:pt>
                <c:pt idx="3966">
                  <c:v>1.27307748795238E-2</c:v>
                </c:pt>
                <c:pt idx="3967">
                  <c:v>1.2935668561226301E-2</c:v>
                </c:pt>
                <c:pt idx="3968">
                  <c:v>1.23399315866346E-2</c:v>
                </c:pt>
                <c:pt idx="3969">
                  <c:v>1.2277880707181599E-2</c:v>
                </c:pt>
                <c:pt idx="3970">
                  <c:v>1.22265572989222E-2</c:v>
                </c:pt>
                <c:pt idx="3971">
                  <c:v>1.23753051302842E-2</c:v>
                </c:pt>
                <c:pt idx="3972">
                  <c:v>1.2196588978258699E-2</c:v>
                </c:pt>
                <c:pt idx="3973">
                  <c:v>1.22375025460674E-2</c:v>
                </c:pt>
                <c:pt idx="3974">
                  <c:v>1.22377375757946E-2</c:v>
                </c:pt>
                <c:pt idx="3975">
                  <c:v>1.23164708686949E-2</c:v>
                </c:pt>
                <c:pt idx="3976">
                  <c:v>1.2304706502346399E-2</c:v>
                </c:pt>
                <c:pt idx="3977">
                  <c:v>1.22926773077841E-2</c:v>
                </c:pt>
                <c:pt idx="3978">
                  <c:v>1.22818520000114E-2</c:v>
                </c:pt>
                <c:pt idx="3979">
                  <c:v>1.2503054427482001E-2</c:v>
                </c:pt>
                <c:pt idx="3980">
                  <c:v>1.24424353867853E-2</c:v>
                </c:pt>
                <c:pt idx="3981">
                  <c:v>1.24328193654986E-2</c:v>
                </c:pt>
                <c:pt idx="3982">
                  <c:v>1.24142643517019E-2</c:v>
                </c:pt>
                <c:pt idx="3983">
                  <c:v>1.23884237445138E-2</c:v>
                </c:pt>
                <c:pt idx="3984">
                  <c:v>1.23761885794427E-2</c:v>
                </c:pt>
                <c:pt idx="3985">
                  <c:v>1.24282716636939E-2</c:v>
                </c:pt>
                <c:pt idx="3986">
                  <c:v>1.2535469638013601E-2</c:v>
                </c:pt>
                <c:pt idx="3987">
                  <c:v>1.25437194800768E-2</c:v>
                </c:pt>
                <c:pt idx="3988">
                  <c:v>1.25362457400909E-2</c:v>
                </c:pt>
                <c:pt idx="3989">
                  <c:v>1.25777263504616E-2</c:v>
                </c:pt>
                <c:pt idx="3990">
                  <c:v>1.25751269751665E-2</c:v>
                </c:pt>
                <c:pt idx="3991">
                  <c:v>1.25817646619533E-2</c:v>
                </c:pt>
                <c:pt idx="3992">
                  <c:v>1.2612625629131E-2</c:v>
                </c:pt>
                <c:pt idx="3993">
                  <c:v>1.2362989373633801E-2</c:v>
                </c:pt>
                <c:pt idx="3994">
                  <c:v>1.23886336606455E-2</c:v>
                </c:pt>
                <c:pt idx="3995">
                  <c:v>1.2509756721626899E-2</c:v>
                </c:pt>
                <c:pt idx="3996">
                  <c:v>1.2484773214281601E-2</c:v>
                </c:pt>
                <c:pt idx="3997">
                  <c:v>1.24132907755229E-2</c:v>
                </c:pt>
                <c:pt idx="3998">
                  <c:v>1.27346593311203E-2</c:v>
                </c:pt>
                <c:pt idx="3999">
                  <c:v>1.27541234528182E-2</c:v>
                </c:pt>
                <c:pt idx="4000">
                  <c:v>1.27934128049192E-2</c:v>
                </c:pt>
                <c:pt idx="4001">
                  <c:v>1.27960223966311E-2</c:v>
                </c:pt>
                <c:pt idx="4002">
                  <c:v>1.2837815860343001E-2</c:v>
                </c:pt>
                <c:pt idx="4003">
                  <c:v>1.3293580107160899E-2</c:v>
                </c:pt>
                <c:pt idx="4004">
                  <c:v>1.3287869158055399E-2</c:v>
                </c:pt>
                <c:pt idx="4005">
                  <c:v>1.3264270697805501E-2</c:v>
                </c:pt>
                <c:pt idx="4006">
                  <c:v>1.3953710005827199E-2</c:v>
                </c:pt>
                <c:pt idx="4007">
                  <c:v>1.39715273819138E-2</c:v>
                </c:pt>
                <c:pt idx="4008">
                  <c:v>1.39563321134877E-2</c:v>
                </c:pt>
                <c:pt idx="4009">
                  <c:v>1.3957713456946E-2</c:v>
                </c:pt>
                <c:pt idx="4010">
                  <c:v>1.3917014650756499E-2</c:v>
                </c:pt>
                <c:pt idx="4011">
                  <c:v>1.40244379593467E-2</c:v>
                </c:pt>
                <c:pt idx="4012">
                  <c:v>1.43058625702033E-2</c:v>
                </c:pt>
                <c:pt idx="4013">
                  <c:v>1.47220863636955E-2</c:v>
                </c:pt>
                <c:pt idx="4014">
                  <c:v>1.4904458649019899E-2</c:v>
                </c:pt>
                <c:pt idx="4015">
                  <c:v>1.4816777484889101E-2</c:v>
                </c:pt>
                <c:pt idx="4016">
                  <c:v>1.48189678206574E-2</c:v>
                </c:pt>
                <c:pt idx="4017">
                  <c:v>1.4823478457621201E-2</c:v>
                </c:pt>
                <c:pt idx="4018">
                  <c:v>1.50417176244512E-2</c:v>
                </c:pt>
                <c:pt idx="4019">
                  <c:v>1.50822354363974E-2</c:v>
                </c:pt>
                <c:pt idx="4020">
                  <c:v>1.50661777794945E-2</c:v>
                </c:pt>
                <c:pt idx="4021">
                  <c:v>1.50401728306719E-2</c:v>
                </c:pt>
                <c:pt idx="4022">
                  <c:v>1.54083551635019E-2</c:v>
                </c:pt>
                <c:pt idx="4023">
                  <c:v>1.54084140648134E-2</c:v>
                </c:pt>
                <c:pt idx="4024">
                  <c:v>1.54103298873704E-2</c:v>
                </c:pt>
                <c:pt idx="4025">
                  <c:v>1.53847249995662E-2</c:v>
                </c:pt>
                <c:pt idx="4026">
                  <c:v>1.5377093563601601E-2</c:v>
                </c:pt>
                <c:pt idx="4027">
                  <c:v>1.5409008500033201E-2</c:v>
                </c:pt>
                <c:pt idx="4028">
                  <c:v>1.54493077383094E-2</c:v>
                </c:pt>
                <c:pt idx="4029">
                  <c:v>1.5449078269846201E-2</c:v>
                </c:pt>
                <c:pt idx="4030">
                  <c:v>1.5457820709492901E-2</c:v>
                </c:pt>
                <c:pt idx="4031">
                  <c:v>1.55039681833045E-2</c:v>
                </c:pt>
                <c:pt idx="4032">
                  <c:v>1.54763932953082E-2</c:v>
                </c:pt>
                <c:pt idx="4033">
                  <c:v>1.55103176109077E-2</c:v>
                </c:pt>
                <c:pt idx="4034">
                  <c:v>1.5641043445287599E-2</c:v>
                </c:pt>
                <c:pt idx="4035">
                  <c:v>1.5636135427067599E-2</c:v>
                </c:pt>
                <c:pt idx="4036">
                  <c:v>1.5627121896207401E-2</c:v>
                </c:pt>
                <c:pt idx="4037">
                  <c:v>1.5636946434215902E-2</c:v>
                </c:pt>
                <c:pt idx="4038">
                  <c:v>1.5500496159438999E-2</c:v>
                </c:pt>
                <c:pt idx="4039">
                  <c:v>1.54878550421352E-2</c:v>
                </c:pt>
                <c:pt idx="4040">
                  <c:v>1.55120921116404E-2</c:v>
                </c:pt>
                <c:pt idx="4041">
                  <c:v>1.55121476674909E-2</c:v>
                </c:pt>
                <c:pt idx="4042">
                  <c:v>1.55560365153484E-2</c:v>
                </c:pt>
                <c:pt idx="4043">
                  <c:v>1.5780043804935501E-2</c:v>
                </c:pt>
                <c:pt idx="4044">
                  <c:v>1.5743177696020301E-2</c:v>
                </c:pt>
                <c:pt idx="4045">
                  <c:v>1.5746138374744E-2</c:v>
                </c:pt>
                <c:pt idx="4046">
                  <c:v>1.58092982652022E-2</c:v>
                </c:pt>
                <c:pt idx="4047">
                  <c:v>1.5791177159937001E-2</c:v>
                </c:pt>
                <c:pt idx="4048">
                  <c:v>1.5816927391564799E-2</c:v>
                </c:pt>
                <c:pt idx="4049">
                  <c:v>1.5823436344647099E-2</c:v>
                </c:pt>
                <c:pt idx="4050">
                  <c:v>1.55079271781764E-2</c:v>
                </c:pt>
                <c:pt idx="4051">
                  <c:v>1.55740507862187E-2</c:v>
                </c:pt>
                <c:pt idx="4052">
                  <c:v>1.56104637667766E-2</c:v>
                </c:pt>
                <c:pt idx="4053">
                  <c:v>1.5602355979346999E-2</c:v>
                </c:pt>
                <c:pt idx="4054">
                  <c:v>1.5584265988017799E-2</c:v>
                </c:pt>
                <c:pt idx="4055">
                  <c:v>1.56023578938416E-2</c:v>
                </c:pt>
                <c:pt idx="4056">
                  <c:v>1.55115596168981E-2</c:v>
                </c:pt>
                <c:pt idx="4057">
                  <c:v>1.5523348114837601E-2</c:v>
                </c:pt>
                <c:pt idx="4058">
                  <c:v>1.5338889874512599E-2</c:v>
                </c:pt>
                <c:pt idx="4059">
                  <c:v>1.5121382839530699E-2</c:v>
                </c:pt>
                <c:pt idx="4060">
                  <c:v>1.51253303716554E-2</c:v>
                </c:pt>
                <c:pt idx="4061">
                  <c:v>1.5084609224314399E-2</c:v>
                </c:pt>
                <c:pt idx="4062">
                  <c:v>1.50926438869324E-2</c:v>
                </c:pt>
                <c:pt idx="4063">
                  <c:v>1.5121584519886501E-2</c:v>
                </c:pt>
                <c:pt idx="4064">
                  <c:v>1.48904940605051E-2</c:v>
                </c:pt>
                <c:pt idx="4065">
                  <c:v>1.5060406701393201E-2</c:v>
                </c:pt>
                <c:pt idx="4066">
                  <c:v>1.49987735158924E-2</c:v>
                </c:pt>
                <c:pt idx="4067">
                  <c:v>1.4858441918212201E-2</c:v>
                </c:pt>
                <c:pt idx="4068">
                  <c:v>1.48879217042911E-2</c:v>
                </c:pt>
                <c:pt idx="4069">
                  <c:v>1.48814011102411E-2</c:v>
                </c:pt>
                <c:pt idx="4070">
                  <c:v>1.48911775553796E-2</c:v>
                </c:pt>
                <c:pt idx="4071">
                  <c:v>1.4903241304828899E-2</c:v>
                </c:pt>
                <c:pt idx="4072">
                  <c:v>1.50188035141422E-2</c:v>
                </c:pt>
                <c:pt idx="4073">
                  <c:v>1.49124204703159E-2</c:v>
                </c:pt>
                <c:pt idx="4074">
                  <c:v>1.48880703704599E-2</c:v>
                </c:pt>
                <c:pt idx="4075">
                  <c:v>1.49116266920003E-2</c:v>
                </c:pt>
                <c:pt idx="4076">
                  <c:v>1.4923501152261201E-2</c:v>
                </c:pt>
                <c:pt idx="4077">
                  <c:v>1.4934591054545599E-2</c:v>
                </c:pt>
                <c:pt idx="4078">
                  <c:v>1.49315629654949E-2</c:v>
                </c:pt>
                <c:pt idx="4079">
                  <c:v>1.4943438925677999E-2</c:v>
                </c:pt>
                <c:pt idx="4080">
                  <c:v>1.49652815008279E-2</c:v>
                </c:pt>
                <c:pt idx="4081">
                  <c:v>1.4858960663106499E-2</c:v>
                </c:pt>
                <c:pt idx="4082">
                  <c:v>1.4727186063496701E-2</c:v>
                </c:pt>
                <c:pt idx="4083">
                  <c:v>1.4668280338125899E-2</c:v>
                </c:pt>
                <c:pt idx="4084">
                  <c:v>1.46564486504794E-2</c:v>
                </c:pt>
                <c:pt idx="4085">
                  <c:v>1.44734339355103E-2</c:v>
                </c:pt>
                <c:pt idx="4086">
                  <c:v>1.44941782580433E-2</c:v>
                </c:pt>
                <c:pt idx="4087">
                  <c:v>1.43298821970983E-2</c:v>
                </c:pt>
                <c:pt idx="4088">
                  <c:v>1.44442310494571E-2</c:v>
                </c:pt>
                <c:pt idx="4089">
                  <c:v>1.4439441387285E-2</c:v>
                </c:pt>
                <c:pt idx="4090">
                  <c:v>1.45342760438785E-2</c:v>
                </c:pt>
                <c:pt idx="4091">
                  <c:v>1.4646446800605201E-2</c:v>
                </c:pt>
                <c:pt idx="4092">
                  <c:v>1.4640525859883499E-2</c:v>
                </c:pt>
                <c:pt idx="4093">
                  <c:v>1.4578909567067E-2</c:v>
                </c:pt>
                <c:pt idx="4094">
                  <c:v>1.4546330978617499E-2</c:v>
                </c:pt>
                <c:pt idx="4095">
                  <c:v>1.45942014286438E-2</c:v>
                </c:pt>
                <c:pt idx="4096">
                  <c:v>1.54915730827651E-2</c:v>
                </c:pt>
                <c:pt idx="4097">
                  <c:v>1.5535469670048299E-2</c:v>
                </c:pt>
                <c:pt idx="4098">
                  <c:v>1.5537101958802001E-2</c:v>
                </c:pt>
                <c:pt idx="4099">
                  <c:v>1.5390995123898301E-2</c:v>
                </c:pt>
                <c:pt idx="4100">
                  <c:v>1.5508422251647501E-2</c:v>
                </c:pt>
                <c:pt idx="4101">
                  <c:v>1.55340408259839E-2</c:v>
                </c:pt>
                <c:pt idx="4102">
                  <c:v>1.55040349589649E-2</c:v>
                </c:pt>
                <c:pt idx="4103">
                  <c:v>1.55081257792354E-2</c:v>
                </c:pt>
                <c:pt idx="4104">
                  <c:v>1.5536701638222201E-2</c:v>
                </c:pt>
                <c:pt idx="4105">
                  <c:v>1.5958656145390701E-2</c:v>
                </c:pt>
                <c:pt idx="4106">
                  <c:v>1.5939256599153101E-2</c:v>
                </c:pt>
                <c:pt idx="4107">
                  <c:v>1.5910764378068602E-2</c:v>
                </c:pt>
                <c:pt idx="4108">
                  <c:v>1.5931289354293901E-2</c:v>
                </c:pt>
                <c:pt idx="4109">
                  <c:v>1.5883041423546001E-2</c:v>
                </c:pt>
                <c:pt idx="4110">
                  <c:v>1.5914470890026899E-2</c:v>
                </c:pt>
                <c:pt idx="4111">
                  <c:v>1.6083734058402799E-2</c:v>
                </c:pt>
                <c:pt idx="4112">
                  <c:v>1.60710807467985E-2</c:v>
                </c:pt>
                <c:pt idx="4113">
                  <c:v>1.6071329580623701E-2</c:v>
                </c:pt>
                <c:pt idx="4114">
                  <c:v>1.6027514651708201E-2</c:v>
                </c:pt>
                <c:pt idx="4115">
                  <c:v>1.5938690336876098E-2</c:v>
                </c:pt>
                <c:pt idx="4116">
                  <c:v>1.6068010625646102E-2</c:v>
                </c:pt>
                <c:pt idx="4117">
                  <c:v>1.6107193973689999E-2</c:v>
                </c:pt>
                <c:pt idx="4118">
                  <c:v>1.5916233788999999E-2</c:v>
                </c:pt>
                <c:pt idx="4119">
                  <c:v>1.5896785673334999E-2</c:v>
                </c:pt>
                <c:pt idx="4120">
                  <c:v>1.6227317997345499E-2</c:v>
                </c:pt>
                <c:pt idx="4121">
                  <c:v>1.6378053555237401E-2</c:v>
                </c:pt>
                <c:pt idx="4122">
                  <c:v>1.6357900559776501E-2</c:v>
                </c:pt>
                <c:pt idx="4123">
                  <c:v>1.5853090747000399E-2</c:v>
                </c:pt>
                <c:pt idx="4124">
                  <c:v>1.5869378060575302E-2</c:v>
                </c:pt>
                <c:pt idx="4125">
                  <c:v>1.5867680713420099E-2</c:v>
                </c:pt>
                <c:pt idx="4126">
                  <c:v>1.51601185867583E-2</c:v>
                </c:pt>
                <c:pt idx="4127">
                  <c:v>1.51157571135771E-2</c:v>
                </c:pt>
                <c:pt idx="4128">
                  <c:v>1.5202121459489799E-2</c:v>
                </c:pt>
                <c:pt idx="4129">
                  <c:v>1.51781799935394E-2</c:v>
                </c:pt>
                <c:pt idx="4130">
                  <c:v>1.51827210818047E-2</c:v>
                </c:pt>
                <c:pt idx="4131">
                  <c:v>1.51672624630308E-2</c:v>
                </c:pt>
                <c:pt idx="4132">
                  <c:v>1.49653264204305E-2</c:v>
                </c:pt>
                <c:pt idx="4133">
                  <c:v>1.4513093605980999E-2</c:v>
                </c:pt>
                <c:pt idx="4134">
                  <c:v>1.4297796165785401E-2</c:v>
                </c:pt>
                <c:pt idx="4135">
                  <c:v>1.4485643495131199E-2</c:v>
                </c:pt>
                <c:pt idx="4136">
                  <c:v>1.4489338764473701E-2</c:v>
                </c:pt>
                <c:pt idx="4137">
                  <c:v>1.4468832497199401E-2</c:v>
                </c:pt>
                <c:pt idx="4138">
                  <c:v>1.43217836699913E-2</c:v>
                </c:pt>
                <c:pt idx="4139">
                  <c:v>1.43683053989264E-2</c:v>
                </c:pt>
                <c:pt idx="4140">
                  <c:v>1.4325793942688099E-2</c:v>
                </c:pt>
                <c:pt idx="4141">
                  <c:v>1.4317361756921901E-2</c:v>
                </c:pt>
                <c:pt idx="4142">
                  <c:v>1.50755350608486E-2</c:v>
                </c:pt>
                <c:pt idx="4143">
                  <c:v>1.5072170630977801E-2</c:v>
                </c:pt>
                <c:pt idx="4144">
                  <c:v>1.5124640315325301E-2</c:v>
                </c:pt>
                <c:pt idx="4145">
                  <c:v>1.52155254833297E-2</c:v>
                </c:pt>
                <c:pt idx="4146">
                  <c:v>1.55383189080008E-2</c:v>
                </c:pt>
                <c:pt idx="4147">
                  <c:v>1.55606176075776E-2</c:v>
                </c:pt>
                <c:pt idx="4148">
                  <c:v>1.55453693428077E-2</c:v>
                </c:pt>
                <c:pt idx="4149">
                  <c:v>1.5644132340676201E-2</c:v>
                </c:pt>
                <c:pt idx="4150">
                  <c:v>1.5612663738570599E-2</c:v>
                </c:pt>
                <c:pt idx="4151">
                  <c:v>1.5776972898763401E-2</c:v>
                </c:pt>
                <c:pt idx="4152">
                  <c:v>1.5796955017712E-2</c:v>
                </c:pt>
                <c:pt idx="4153">
                  <c:v>1.58102487982139E-2</c:v>
                </c:pt>
                <c:pt idx="4154">
                  <c:v>1.56604612858986E-2</c:v>
                </c:pt>
                <c:pt idx="4155">
                  <c:v>1.5756893339969401E-2</c:v>
                </c:pt>
                <c:pt idx="4156">
                  <c:v>1.5752064937423899E-2</c:v>
                </c:pt>
                <c:pt idx="4157">
                  <c:v>1.5637381815611699E-2</c:v>
                </c:pt>
                <c:pt idx="4158">
                  <c:v>1.56549920531825E-2</c:v>
                </c:pt>
                <c:pt idx="4159">
                  <c:v>1.5656644970854599E-2</c:v>
                </c:pt>
                <c:pt idx="4160">
                  <c:v>1.5632890199978901E-2</c:v>
                </c:pt>
                <c:pt idx="4161">
                  <c:v>1.5583268099701701E-2</c:v>
                </c:pt>
                <c:pt idx="4162">
                  <c:v>1.5556715005712299E-2</c:v>
                </c:pt>
                <c:pt idx="4163">
                  <c:v>1.5395089296274801E-2</c:v>
                </c:pt>
                <c:pt idx="4164">
                  <c:v>1.53950413321825E-2</c:v>
                </c:pt>
                <c:pt idx="4165">
                  <c:v>1.54128876503458E-2</c:v>
                </c:pt>
                <c:pt idx="4166">
                  <c:v>1.5309950455070701E-2</c:v>
                </c:pt>
                <c:pt idx="4167">
                  <c:v>1.55299374850493E-2</c:v>
                </c:pt>
                <c:pt idx="4168">
                  <c:v>1.5506076203421801E-2</c:v>
                </c:pt>
                <c:pt idx="4169">
                  <c:v>1.5505026720901101E-2</c:v>
                </c:pt>
                <c:pt idx="4170">
                  <c:v>1.55284227504569E-2</c:v>
                </c:pt>
                <c:pt idx="4171">
                  <c:v>1.5473803723152799E-2</c:v>
                </c:pt>
                <c:pt idx="4172">
                  <c:v>1.53872303546627E-2</c:v>
                </c:pt>
                <c:pt idx="4173">
                  <c:v>1.5423120102107101E-2</c:v>
                </c:pt>
                <c:pt idx="4174">
                  <c:v>1.56019448783238E-2</c:v>
                </c:pt>
                <c:pt idx="4175">
                  <c:v>1.5551098261219099E-2</c:v>
                </c:pt>
                <c:pt idx="4176">
                  <c:v>1.55265182946133E-2</c:v>
                </c:pt>
                <c:pt idx="4177">
                  <c:v>1.55119550812804E-2</c:v>
                </c:pt>
                <c:pt idx="4178">
                  <c:v>1.55153955224376E-2</c:v>
                </c:pt>
                <c:pt idx="4179">
                  <c:v>1.5514707866286099E-2</c:v>
                </c:pt>
                <c:pt idx="4180">
                  <c:v>1.5506433423149399E-2</c:v>
                </c:pt>
                <c:pt idx="4181">
                  <c:v>1.56823854121553E-2</c:v>
                </c:pt>
                <c:pt idx="4182">
                  <c:v>1.5678064612653201E-2</c:v>
                </c:pt>
                <c:pt idx="4183">
                  <c:v>1.5657550292994E-2</c:v>
                </c:pt>
                <c:pt idx="4184">
                  <c:v>1.5668725275946399E-2</c:v>
                </c:pt>
                <c:pt idx="4185">
                  <c:v>1.5546458860899399E-2</c:v>
                </c:pt>
                <c:pt idx="4186">
                  <c:v>1.5715983604877699E-2</c:v>
                </c:pt>
                <c:pt idx="4187">
                  <c:v>1.5716833106804499E-2</c:v>
                </c:pt>
                <c:pt idx="4188">
                  <c:v>1.5701724383145401E-2</c:v>
                </c:pt>
                <c:pt idx="4189">
                  <c:v>1.56994462928461E-2</c:v>
                </c:pt>
                <c:pt idx="4190">
                  <c:v>1.56968749463317E-2</c:v>
                </c:pt>
                <c:pt idx="4191">
                  <c:v>1.5668456019849099E-2</c:v>
                </c:pt>
                <c:pt idx="4192">
                  <c:v>1.55948618949468E-2</c:v>
                </c:pt>
                <c:pt idx="4193">
                  <c:v>1.55956344343153E-2</c:v>
                </c:pt>
                <c:pt idx="4194">
                  <c:v>1.56156034056212E-2</c:v>
                </c:pt>
                <c:pt idx="4195">
                  <c:v>1.55633805508493E-2</c:v>
                </c:pt>
                <c:pt idx="4196">
                  <c:v>1.55780929521024E-2</c:v>
                </c:pt>
                <c:pt idx="4197">
                  <c:v>1.5518482811029501E-2</c:v>
                </c:pt>
                <c:pt idx="4198">
                  <c:v>1.55276672400131E-2</c:v>
                </c:pt>
                <c:pt idx="4199">
                  <c:v>1.5534809790932301E-2</c:v>
                </c:pt>
                <c:pt idx="4200">
                  <c:v>1.5523496367377701E-2</c:v>
                </c:pt>
                <c:pt idx="4201">
                  <c:v>1.5524596420662E-2</c:v>
                </c:pt>
                <c:pt idx="4202">
                  <c:v>1.5525676767080099E-2</c:v>
                </c:pt>
                <c:pt idx="4203">
                  <c:v>1.55314996361221E-2</c:v>
                </c:pt>
                <c:pt idx="4204">
                  <c:v>1.5536414073191999E-2</c:v>
                </c:pt>
                <c:pt idx="4205">
                  <c:v>1.55621107870544E-2</c:v>
                </c:pt>
                <c:pt idx="4206">
                  <c:v>1.55961787020816E-2</c:v>
                </c:pt>
                <c:pt idx="4207">
                  <c:v>1.56212564754117E-2</c:v>
                </c:pt>
                <c:pt idx="4208">
                  <c:v>1.55279222374559E-2</c:v>
                </c:pt>
                <c:pt idx="4209">
                  <c:v>1.5570237549620501E-2</c:v>
                </c:pt>
                <c:pt idx="4210">
                  <c:v>1.5497083197766499E-2</c:v>
                </c:pt>
                <c:pt idx="4211">
                  <c:v>1.53175714217E-2</c:v>
                </c:pt>
                <c:pt idx="4212">
                  <c:v>1.53414212494498E-2</c:v>
                </c:pt>
                <c:pt idx="4213">
                  <c:v>1.5343264557904E-2</c:v>
                </c:pt>
                <c:pt idx="4214">
                  <c:v>1.53422205540733E-2</c:v>
                </c:pt>
                <c:pt idx="4215">
                  <c:v>1.5216756047381E-2</c:v>
                </c:pt>
                <c:pt idx="4216">
                  <c:v>1.44066751974871E-2</c:v>
                </c:pt>
                <c:pt idx="4217">
                  <c:v>1.43630659907649E-2</c:v>
                </c:pt>
                <c:pt idx="4218">
                  <c:v>1.43629191732054E-2</c:v>
                </c:pt>
                <c:pt idx="4219">
                  <c:v>1.4363144845585599E-2</c:v>
                </c:pt>
                <c:pt idx="4220">
                  <c:v>1.42423466434523E-2</c:v>
                </c:pt>
                <c:pt idx="4221">
                  <c:v>1.4264108521333099E-2</c:v>
                </c:pt>
                <c:pt idx="4222">
                  <c:v>1.43077948574344E-2</c:v>
                </c:pt>
                <c:pt idx="4223">
                  <c:v>1.42910360325406E-2</c:v>
                </c:pt>
                <c:pt idx="4224">
                  <c:v>1.4263541940622199E-2</c:v>
                </c:pt>
                <c:pt idx="4225">
                  <c:v>1.3769503963805401E-2</c:v>
                </c:pt>
                <c:pt idx="4226">
                  <c:v>1.37029637821314E-2</c:v>
                </c:pt>
                <c:pt idx="4227">
                  <c:v>1.3690203005463799E-2</c:v>
                </c:pt>
                <c:pt idx="4228">
                  <c:v>1.36874767076339E-2</c:v>
                </c:pt>
                <c:pt idx="4229">
                  <c:v>1.3699428623729601E-2</c:v>
                </c:pt>
                <c:pt idx="4230">
                  <c:v>1.36640038810873E-2</c:v>
                </c:pt>
                <c:pt idx="4231">
                  <c:v>1.34356573249253E-2</c:v>
                </c:pt>
                <c:pt idx="4232">
                  <c:v>1.3432481226695299E-2</c:v>
                </c:pt>
                <c:pt idx="4233">
                  <c:v>1.3450673928055599E-2</c:v>
                </c:pt>
                <c:pt idx="4234">
                  <c:v>1.34847660946932E-2</c:v>
                </c:pt>
                <c:pt idx="4235">
                  <c:v>1.34893219186466E-2</c:v>
                </c:pt>
                <c:pt idx="4236">
                  <c:v>1.33975230632469E-2</c:v>
                </c:pt>
                <c:pt idx="4237">
                  <c:v>1.33601291151123E-2</c:v>
                </c:pt>
                <c:pt idx="4238">
                  <c:v>1.3324507526464101E-2</c:v>
                </c:pt>
                <c:pt idx="4239">
                  <c:v>1.3320191541743799E-2</c:v>
                </c:pt>
                <c:pt idx="4240">
                  <c:v>1.29106114540103E-2</c:v>
                </c:pt>
                <c:pt idx="4241">
                  <c:v>1.26919671968941E-2</c:v>
                </c:pt>
                <c:pt idx="4242">
                  <c:v>1.27108076186852E-2</c:v>
                </c:pt>
                <c:pt idx="4243">
                  <c:v>1.26729559757939E-2</c:v>
                </c:pt>
                <c:pt idx="4244">
                  <c:v>1.26414109296009E-2</c:v>
                </c:pt>
                <c:pt idx="4245">
                  <c:v>1.2670970171717E-2</c:v>
                </c:pt>
                <c:pt idx="4246">
                  <c:v>1.26769955019189E-2</c:v>
                </c:pt>
                <c:pt idx="4247">
                  <c:v>1.26751583620573E-2</c:v>
                </c:pt>
                <c:pt idx="4248">
                  <c:v>1.25459796438774E-2</c:v>
                </c:pt>
                <c:pt idx="4249">
                  <c:v>1.2576319188385801E-2</c:v>
                </c:pt>
                <c:pt idx="4250">
                  <c:v>1.26108492677054E-2</c:v>
                </c:pt>
                <c:pt idx="4251">
                  <c:v>1.2361390121753199E-2</c:v>
                </c:pt>
                <c:pt idx="4252">
                  <c:v>1.2364549720700699E-2</c:v>
                </c:pt>
                <c:pt idx="4253">
                  <c:v>1.23609590849176E-2</c:v>
                </c:pt>
                <c:pt idx="4254">
                  <c:v>1.23756356331488E-2</c:v>
                </c:pt>
                <c:pt idx="4255">
                  <c:v>1.2200050695968599E-2</c:v>
                </c:pt>
                <c:pt idx="4256">
                  <c:v>1.22053458766756E-2</c:v>
                </c:pt>
                <c:pt idx="4257">
                  <c:v>1.2214900699966899E-2</c:v>
                </c:pt>
                <c:pt idx="4258">
                  <c:v>1.2048762940895999E-2</c:v>
                </c:pt>
                <c:pt idx="4259">
                  <c:v>1.20025877010424E-2</c:v>
                </c:pt>
                <c:pt idx="4260">
                  <c:v>1.20199486559249E-2</c:v>
                </c:pt>
                <c:pt idx="4261">
                  <c:v>1.20223719882919E-2</c:v>
                </c:pt>
                <c:pt idx="4262">
                  <c:v>1.0681001044480999E-2</c:v>
                </c:pt>
                <c:pt idx="4263">
                  <c:v>1.0647686188656099E-2</c:v>
                </c:pt>
                <c:pt idx="4264">
                  <c:v>1.06643330986238E-2</c:v>
                </c:pt>
                <c:pt idx="4265">
                  <c:v>1.0528611006474099E-2</c:v>
                </c:pt>
                <c:pt idx="4266">
                  <c:v>1.0041329316868E-2</c:v>
                </c:pt>
                <c:pt idx="4267">
                  <c:v>9.9261256435616094E-3</c:v>
                </c:pt>
                <c:pt idx="4268">
                  <c:v>9.9047838791427104E-3</c:v>
                </c:pt>
                <c:pt idx="4269">
                  <c:v>9.71764620838831E-3</c:v>
                </c:pt>
                <c:pt idx="4270">
                  <c:v>9.8531022276576799E-3</c:v>
                </c:pt>
                <c:pt idx="4271">
                  <c:v>9.5556742618841794E-3</c:v>
                </c:pt>
                <c:pt idx="4272">
                  <c:v>9.5200985784048304E-3</c:v>
                </c:pt>
                <c:pt idx="4273">
                  <c:v>9.4470466049259693E-3</c:v>
                </c:pt>
                <c:pt idx="4274">
                  <c:v>9.4624896773276203E-3</c:v>
                </c:pt>
                <c:pt idx="4275">
                  <c:v>9.3299870232019192E-3</c:v>
                </c:pt>
                <c:pt idx="4276">
                  <c:v>9.3662515727585098E-3</c:v>
                </c:pt>
                <c:pt idx="4277">
                  <c:v>9.3601623814849304E-3</c:v>
                </c:pt>
                <c:pt idx="4278">
                  <c:v>9.3355704858996396E-3</c:v>
                </c:pt>
                <c:pt idx="4279">
                  <c:v>9.3834652800452497E-3</c:v>
                </c:pt>
                <c:pt idx="4280">
                  <c:v>9.3843234648502208E-3</c:v>
                </c:pt>
                <c:pt idx="4281">
                  <c:v>9.3820222705339601E-3</c:v>
                </c:pt>
                <c:pt idx="4282">
                  <c:v>9.3918597383051208E-3</c:v>
                </c:pt>
                <c:pt idx="4283">
                  <c:v>9.3556352010540599E-3</c:v>
                </c:pt>
                <c:pt idx="4284">
                  <c:v>9.3940100992536604E-3</c:v>
                </c:pt>
                <c:pt idx="4285">
                  <c:v>9.3533418136580605E-3</c:v>
                </c:pt>
                <c:pt idx="4286">
                  <c:v>9.2905637899247905E-3</c:v>
                </c:pt>
                <c:pt idx="4287">
                  <c:v>8.8967213549985096E-3</c:v>
                </c:pt>
                <c:pt idx="4288">
                  <c:v>8.8919394442627201E-3</c:v>
                </c:pt>
                <c:pt idx="4289">
                  <c:v>8.9042082009140894E-3</c:v>
                </c:pt>
                <c:pt idx="4290">
                  <c:v>8.8699196197411199E-3</c:v>
                </c:pt>
                <c:pt idx="4291">
                  <c:v>8.8700259807394707E-3</c:v>
                </c:pt>
                <c:pt idx="4292">
                  <c:v>8.8658599914607106E-3</c:v>
                </c:pt>
                <c:pt idx="4293">
                  <c:v>8.7955642799038298E-3</c:v>
                </c:pt>
                <c:pt idx="4294">
                  <c:v>8.5544168761720104E-3</c:v>
                </c:pt>
                <c:pt idx="4295">
                  <c:v>8.5639676267968094E-3</c:v>
                </c:pt>
                <c:pt idx="4296">
                  <c:v>8.6470867445345902E-3</c:v>
                </c:pt>
                <c:pt idx="4297">
                  <c:v>8.5925411178547507E-3</c:v>
                </c:pt>
                <c:pt idx="4298">
                  <c:v>8.5916305165536395E-3</c:v>
                </c:pt>
                <c:pt idx="4299">
                  <c:v>8.5450159353086703E-3</c:v>
                </c:pt>
                <c:pt idx="4300">
                  <c:v>8.6228473822754295E-3</c:v>
                </c:pt>
                <c:pt idx="4301">
                  <c:v>8.2465976719952802E-3</c:v>
                </c:pt>
                <c:pt idx="4302">
                  <c:v>8.2467796972633105E-3</c:v>
                </c:pt>
                <c:pt idx="4303">
                  <c:v>8.2185742889316505E-3</c:v>
                </c:pt>
                <c:pt idx="4304">
                  <c:v>8.2036085657580492E-3</c:v>
                </c:pt>
                <c:pt idx="4305">
                  <c:v>8.2967202757833793E-3</c:v>
                </c:pt>
                <c:pt idx="4306">
                  <c:v>8.0048219255042397E-3</c:v>
                </c:pt>
                <c:pt idx="4307">
                  <c:v>8.0850549143146305E-3</c:v>
                </c:pt>
                <c:pt idx="4308">
                  <c:v>8.0852317285849008E-3</c:v>
                </c:pt>
                <c:pt idx="4309">
                  <c:v>8.0951871764929403E-3</c:v>
                </c:pt>
                <c:pt idx="4310">
                  <c:v>8.1032251201744593E-3</c:v>
                </c:pt>
                <c:pt idx="4311">
                  <c:v>8.1748382482513503E-3</c:v>
                </c:pt>
                <c:pt idx="4312">
                  <c:v>8.2333984987959501E-3</c:v>
                </c:pt>
                <c:pt idx="4313">
                  <c:v>8.2330461281739705E-3</c:v>
                </c:pt>
                <c:pt idx="4314">
                  <c:v>8.21845595090092E-3</c:v>
                </c:pt>
                <c:pt idx="4315">
                  <c:v>8.1804353221516593E-3</c:v>
                </c:pt>
                <c:pt idx="4316">
                  <c:v>8.1704375676142204E-3</c:v>
                </c:pt>
                <c:pt idx="4317">
                  <c:v>8.1824724744221002E-3</c:v>
                </c:pt>
                <c:pt idx="4318">
                  <c:v>8.1565135581852608E-3</c:v>
                </c:pt>
                <c:pt idx="4319">
                  <c:v>8.1512792004246794E-3</c:v>
                </c:pt>
                <c:pt idx="4320">
                  <c:v>8.3129741540903402E-3</c:v>
                </c:pt>
                <c:pt idx="4321">
                  <c:v>8.3185391182701903E-3</c:v>
                </c:pt>
                <c:pt idx="4322">
                  <c:v>8.8111636388130098E-3</c:v>
                </c:pt>
                <c:pt idx="4323">
                  <c:v>1.1556059225154101E-2</c:v>
                </c:pt>
                <c:pt idx="4324">
                  <c:v>1.1779524849105201E-2</c:v>
                </c:pt>
                <c:pt idx="4325">
                  <c:v>1.17448872146792E-2</c:v>
                </c:pt>
                <c:pt idx="4326">
                  <c:v>1.1723729094716801E-2</c:v>
                </c:pt>
                <c:pt idx="4327">
                  <c:v>1.1677938935294001E-2</c:v>
                </c:pt>
                <c:pt idx="4328">
                  <c:v>1.16743508241963E-2</c:v>
                </c:pt>
                <c:pt idx="4329">
                  <c:v>1.1644936162586101E-2</c:v>
                </c:pt>
                <c:pt idx="4330">
                  <c:v>1.16247910272901E-2</c:v>
                </c:pt>
                <c:pt idx="4331">
                  <c:v>1.15342015992122E-2</c:v>
                </c:pt>
                <c:pt idx="4332">
                  <c:v>1.15147235344953E-2</c:v>
                </c:pt>
                <c:pt idx="4333">
                  <c:v>1.16765916174142E-2</c:v>
                </c:pt>
                <c:pt idx="4334">
                  <c:v>1.16863695470044E-2</c:v>
                </c:pt>
                <c:pt idx="4335">
                  <c:v>1.16832989671662E-2</c:v>
                </c:pt>
                <c:pt idx="4336">
                  <c:v>1.17033493344239E-2</c:v>
                </c:pt>
                <c:pt idx="4337">
                  <c:v>1.17024469636848E-2</c:v>
                </c:pt>
                <c:pt idx="4338">
                  <c:v>1.1708671795205501E-2</c:v>
                </c:pt>
                <c:pt idx="4339">
                  <c:v>1.1709639967414E-2</c:v>
                </c:pt>
                <c:pt idx="4340">
                  <c:v>1.17548621783595E-2</c:v>
                </c:pt>
                <c:pt idx="4341">
                  <c:v>1.1675082822353199E-2</c:v>
                </c:pt>
                <c:pt idx="4342">
                  <c:v>1.2088327592722299E-2</c:v>
                </c:pt>
                <c:pt idx="4343">
                  <c:v>1.24322300812431E-2</c:v>
                </c:pt>
                <c:pt idx="4344">
                  <c:v>1.24346915507852E-2</c:v>
                </c:pt>
                <c:pt idx="4345">
                  <c:v>1.24424293389472E-2</c:v>
                </c:pt>
                <c:pt idx="4346">
                  <c:v>1.25466958398373E-2</c:v>
                </c:pt>
                <c:pt idx="4347">
                  <c:v>1.26431451868208E-2</c:v>
                </c:pt>
                <c:pt idx="4348">
                  <c:v>1.3027430962315499E-2</c:v>
                </c:pt>
                <c:pt idx="4349">
                  <c:v>1.3137071189286699E-2</c:v>
                </c:pt>
                <c:pt idx="4350">
                  <c:v>1.3186268354082599E-2</c:v>
                </c:pt>
                <c:pt idx="4351">
                  <c:v>1.32949761988135E-2</c:v>
                </c:pt>
                <c:pt idx="4352">
                  <c:v>1.33539486738818E-2</c:v>
                </c:pt>
                <c:pt idx="4353">
                  <c:v>1.3925488912627E-2</c:v>
                </c:pt>
                <c:pt idx="4354">
                  <c:v>1.3893347777349799E-2</c:v>
                </c:pt>
                <c:pt idx="4355">
                  <c:v>1.4003338401231901E-2</c:v>
                </c:pt>
                <c:pt idx="4356">
                  <c:v>1.3969904118784701E-2</c:v>
                </c:pt>
                <c:pt idx="4357">
                  <c:v>1.40617086933686E-2</c:v>
                </c:pt>
                <c:pt idx="4358">
                  <c:v>1.43875320430685E-2</c:v>
                </c:pt>
                <c:pt idx="4359">
                  <c:v>1.4599448603594399E-2</c:v>
                </c:pt>
                <c:pt idx="4360">
                  <c:v>1.4774233421539299E-2</c:v>
                </c:pt>
                <c:pt idx="4361">
                  <c:v>1.47824221193188E-2</c:v>
                </c:pt>
                <c:pt idx="4362">
                  <c:v>1.4770848879486801E-2</c:v>
                </c:pt>
                <c:pt idx="4363">
                  <c:v>1.47803692904145E-2</c:v>
                </c:pt>
                <c:pt idx="4364">
                  <c:v>1.4780931461509E-2</c:v>
                </c:pt>
                <c:pt idx="4365">
                  <c:v>1.4756717407498499E-2</c:v>
                </c:pt>
                <c:pt idx="4366">
                  <c:v>1.4821003662911E-2</c:v>
                </c:pt>
                <c:pt idx="4367">
                  <c:v>1.48286467394938E-2</c:v>
                </c:pt>
                <c:pt idx="4368">
                  <c:v>1.49556699402284E-2</c:v>
                </c:pt>
                <c:pt idx="4369">
                  <c:v>1.49344730990318E-2</c:v>
                </c:pt>
                <c:pt idx="4370">
                  <c:v>1.4904859617447599E-2</c:v>
                </c:pt>
                <c:pt idx="4371">
                  <c:v>1.4910252976038501E-2</c:v>
                </c:pt>
                <c:pt idx="4372">
                  <c:v>1.4911785015631399E-2</c:v>
                </c:pt>
                <c:pt idx="4373">
                  <c:v>1.5017295147747901E-2</c:v>
                </c:pt>
                <c:pt idx="4374">
                  <c:v>1.4975981734533499E-2</c:v>
                </c:pt>
                <c:pt idx="4375">
                  <c:v>1.4973867493533501E-2</c:v>
                </c:pt>
                <c:pt idx="4376">
                  <c:v>1.49965995742357E-2</c:v>
                </c:pt>
                <c:pt idx="4377">
                  <c:v>1.49893152444317E-2</c:v>
                </c:pt>
                <c:pt idx="4378">
                  <c:v>1.5028079141223101E-2</c:v>
                </c:pt>
                <c:pt idx="4379">
                  <c:v>1.50343083168053E-2</c:v>
                </c:pt>
                <c:pt idx="4380">
                  <c:v>1.5018903915741001E-2</c:v>
                </c:pt>
                <c:pt idx="4381">
                  <c:v>1.5034131569046E-2</c:v>
                </c:pt>
                <c:pt idx="4382">
                  <c:v>1.5041593722269601E-2</c:v>
                </c:pt>
                <c:pt idx="4383">
                  <c:v>1.50549414940911E-2</c:v>
                </c:pt>
                <c:pt idx="4384">
                  <c:v>1.49815928800135E-2</c:v>
                </c:pt>
                <c:pt idx="4385">
                  <c:v>1.5008687575971701E-2</c:v>
                </c:pt>
                <c:pt idx="4386">
                  <c:v>1.5008142574165899E-2</c:v>
                </c:pt>
                <c:pt idx="4387">
                  <c:v>1.50049573670563E-2</c:v>
                </c:pt>
                <c:pt idx="4388">
                  <c:v>1.50314928092578E-2</c:v>
                </c:pt>
                <c:pt idx="4389">
                  <c:v>1.5025526346160599E-2</c:v>
                </c:pt>
                <c:pt idx="4390">
                  <c:v>1.4936354855572201E-2</c:v>
                </c:pt>
                <c:pt idx="4391">
                  <c:v>1.49373605170384E-2</c:v>
                </c:pt>
                <c:pt idx="4392">
                  <c:v>1.4971038166656001E-2</c:v>
                </c:pt>
                <c:pt idx="4393">
                  <c:v>1.4973300602646501E-2</c:v>
                </c:pt>
                <c:pt idx="4394">
                  <c:v>1.49595023389165E-2</c:v>
                </c:pt>
                <c:pt idx="4395">
                  <c:v>1.49619566847169E-2</c:v>
                </c:pt>
                <c:pt idx="4396">
                  <c:v>1.4942405990097E-2</c:v>
                </c:pt>
                <c:pt idx="4397">
                  <c:v>1.49228088884486E-2</c:v>
                </c:pt>
                <c:pt idx="4398">
                  <c:v>1.5066729225069599E-2</c:v>
                </c:pt>
                <c:pt idx="4399">
                  <c:v>1.50386160046169E-2</c:v>
                </c:pt>
                <c:pt idx="4400">
                  <c:v>1.5059329868405901E-2</c:v>
                </c:pt>
                <c:pt idx="4401">
                  <c:v>1.5069481826472801E-2</c:v>
                </c:pt>
                <c:pt idx="4402">
                  <c:v>1.50672874920649E-2</c:v>
                </c:pt>
                <c:pt idx="4403">
                  <c:v>1.5066053284273601E-2</c:v>
                </c:pt>
                <c:pt idx="4404">
                  <c:v>1.5238247261161599E-2</c:v>
                </c:pt>
                <c:pt idx="4405">
                  <c:v>1.52396330680999E-2</c:v>
                </c:pt>
                <c:pt idx="4406">
                  <c:v>1.52360565539842E-2</c:v>
                </c:pt>
                <c:pt idx="4407">
                  <c:v>1.52360693193759E-2</c:v>
                </c:pt>
                <c:pt idx="4408">
                  <c:v>1.5226668051888201E-2</c:v>
                </c:pt>
                <c:pt idx="4409">
                  <c:v>1.52244543142012E-2</c:v>
                </c:pt>
                <c:pt idx="4410">
                  <c:v>1.5232985519897199E-2</c:v>
                </c:pt>
                <c:pt idx="4411">
                  <c:v>1.52339661917783E-2</c:v>
                </c:pt>
                <c:pt idx="4412">
                  <c:v>1.5268202818343599E-2</c:v>
                </c:pt>
                <c:pt idx="4413">
                  <c:v>1.52660277333042E-2</c:v>
                </c:pt>
                <c:pt idx="4414">
                  <c:v>1.52016860755317E-2</c:v>
                </c:pt>
                <c:pt idx="4415">
                  <c:v>1.5256773297373599E-2</c:v>
                </c:pt>
                <c:pt idx="4416">
                  <c:v>1.5206579371749801E-2</c:v>
                </c:pt>
                <c:pt idx="4417">
                  <c:v>1.52174648347681E-2</c:v>
                </c:pt>
                <c:pt idx="4418">
                  <c:v>1.5265320704679499E-2</c:v>
                </c:pt>
                <c:pt idx="4419">
                  <c:v>1.52635464418174E-2</c:v>
                </c:pt>
                <c:pt idx="4420">
                  <c:v>1.5224042692055999E-2</c:v>
                </c:pt>
                <c:pt idx="4421">
                  <c:v>1.52175738294433E-2</c:v>
                </c:pt>
                <c:pt idx="4422">
                  <c:v>1.52323844330469E-2</c:v>
                </c:pt>
                <c:pt idx="4423">
                  <c:v>1.5257978544430201E-2</c:v>
                </c:pt>
                <c:pt idx="4424">
                  <c:v>1.53624959212129E-2</c:v>
                </c:pt>
                <c:pt idx="4425">
                  <c:v>1.54168489521384E-2</c:v>
                </c:pt>
                <c:pt idx="4426">
                  <c:v>1.5507922369244399E-2</c:v>
                </c:pt>
                <c:pt idx="4427">
                  <c:v>1.6246258648962598E-2</c:v>
                </c:pt>
                <c:pt idx="4428">
                  <c:v>1.6250678616219101E-2</c:v>
                </c:pt>
                <c:pt idx="4429">
                  <c:v>1.6301712644679299E-2</c:v>
                </c:pt>
                <c:pt idx="4430">
                  <c:v>1.6332957364393899E-2</c:v>
                </c:pt>
                <c:pt idx="4431">
                  <c:v>1.6388469675501002E-2</c:v>
                </c:pt>
                <c:pt idx="4432">
                  <c:v>1.6453325262543499E-2</c:v>
                </c:pt>
                <c:pt idx="4433">
                  <c:v>1.6482585446488101E-2</c:v>
                </c:pt>
                <c:pt idx="4434">
                  <c:v>1.65143808760106E-2</c:v>
                </c:pt>
                <c:pt idx="4435">
                  <c:v>1.7137173111871799E-2</c:v>
                </c:pt>
                <c:pt idx="4436">
                  <c:v>1.71353994500528E-2</c:v>
                </c:pt>
                <c:pt idx="4437">
                  <c:v>1.7327578414894702E-2</c:v>
                </c:pt>
                <c:pt idx="4438">
                  <c:v>1.7327941211140299E-2</c:v>
                </c:pt>
                <c:pt idx="4439">
                  <c:v>1.7321757437830099E-2</c:v>
                </c:pt>
                <c:pt idx="4440">
                  <c:v>1.7240917110799E-2</c:v>
                </c:pt>
                <c:pt idx="4441">
                  <c:v>1.7742393008249299E-2</c:v>
                </c:pt>
                <c:pt idx="4442">
                  <c:v>1.7497024163290999E-2</c:v>
                </c:pt>
                <c:pt idx="4443">
                  <c:v>1.5748693604674201E-2</c:v>
                </c:pt>
                <c:pt idx="4444">
                  <c:v>1.5722915876577401E-2</c:v>
                </c:pt>
                <c:pt idx="4445">
                  <c:v>1.5710073959063701E-2</c:v>
                </c:pt>
                <c:pt idx="4446">
                  <c:v>1.56461215420363E-2</c:v>
                </c:pt>
                <c:pt idx="4447">
                  <c:v>1.57017931683151E-2</c:v>
                </c:pt>
                <c:pt idx="4448">
                  <c:v>1.57003115146842E-2</c:v>
                </c:pt>
                <c:pt idx="4449">
                  <c:v>1.56851317651493E-2</c:v>
                </c:pt>
                <c:pt idx="4450">
                  <c:v>1.5679257410994699E-2</c:v>
                </c:pt>
                <c:pt idx="4451">
                  <c:v>1.5709199324393599E-2</c:v>
                </c:pt>
                <c:pt idx="4452">
                  <c:v>1.57021502754244E-2</c:v>
                </c:pt>
                <c:pt idx="4453">
                  <c:v>1.56135368707957E-2</c:v>
                </c:pt>
                <c:pt idx="4454">
                  <c:v>1.5622990114874599E-2</c:v>
                </c:pt>
                <c:pt idx="4455">
                  <c:v>1.56247688948712E-2</c:v>
                </c:pt>
                <c:pt idx="4456">
                  <c:v>1.55482976695961E-2</c:v>
                </c:pt>
                <c:pt idx="4457">
                  <c:v>1.5679592898096499E-2</c:v>
                </c:pt>
                <c:pt idx="4458">
                  <c:v>1.56729717617086E-2</c:v>
                </c:pt>
                <c:pt idx="4459">
                  <c:v>1.5741013581947499E-2</c:v>
                </c:pt>
                <c:pt idx="4460">
                  <c:v>1.57459199247467E-2</c:v>
                </c:pt>
                <c:pt idx="4461">
                  <c:v>1.57592102871262E-2</c:v>
                </c:pt>
                <c:pt idx="4462">
                  <c:v>1.53913157114236E-2</c:v>
                </c:pt>
                <c:pt idx="4463">
                  <c:v>1.51279108060411E-2</c:v>
                </c:pt>
                <c:pt idx="4464">
                  <c:v>1.51703826859071E-2</c:v>
                </c:pt>
                <c:pt idx="4465">
                  <c:v>1.51693386605006E-2</c:v>
                </c:pt>
                <c:pt idx="4466">
                  <c:v>1.51879254595338E-2</c:v>
                </c:pt>
                <c:pt idx="4467">
                  <c:v>1.5116017100252101E-2</c:v>
                </c:pt>
                <c:pt idx="4468">
                  <c:v>1.4751874153977201E-2</c:v>
                </c:pt>
                <c:pt idx="4469">
                  <c:v>1.4641546167491099E-2</c:v>
                </c:pt>
                <c:pt idx="4470">
                  <c:v>1.4592285159292199E-2</c:v>
                </c:pt>
                <c:pt idx="4471">
                  <c:v>1.45023295522251E-2</c:v>
                </c:pt>
                <c:pt idx="4472">
                  <c:v>1.45826236377887E-2</c:v>
                </c:pt>
                <c:pt idx="4473">
                  <c:v>1.3972968404959599E-2</c:v>
                </c:pt>
                <c:pt idx="4474">
                  <c:v>1.41538827773241E-2</c:v>
                </c:pt>
                <c:pt idx="4475">
                  <c:v>1.401337874037E-2</c:v>
                </c:pt>
                <c:pt idx="4476">
                  <c:v>1.39634335281327E-2</c:v>
                </c:pt>
                <c:pt idx="4477">
                  <c:v>1.38924125777454E-2</c:v>
                </c:pt>
                <c:pt idx="4478">
                  <c:v>1.34960445332613E-2</c:v>
                </c:pt>
                <c:pt idx="4479">
                  <c:v>1.33362572452138E-2</c:v>
                </c:pt>
                <c:pt idx="4480">
                  <c:v>1.31616779812557E-2</c:v>
                </c:pt>
                <c:pt idx="4481">
                  <c:v>1.3270003728461001E-2</c:v>
                </c:pt>
                <c:pt idx="4482">
                  <c:v>1.33127615202641E-2</c:v>
                </c:pt>
                <c:pt idx="4483">
                  <c:v>1.33305038072029E-2</c:v>
                </c:pt>
                <c:pt idx="4484">
                  <c:v>1.33307782650993E-2</c:v>
                </c:pt>
                <c:pt idx="4485">
                  <c:v>1.34648406989496E-2</c:v>
                </c:pt>
                <c:pt idx="4486">
                  <c:v>1.34008566754727E-2</c:v>
                </c:pt>
                <c:pt idx="4487">
                  <c:v>1.3383735228787301E-2</c:v>
                </c:pt>
                <c:pt idx="4488">
                  <c:v>1.3245787179619099E-2</c:v>
                </c:pt>
                <c:pt idx="4489">
                  <c:v>1.32354125923001E-2</c:v>
                </c:pt>
                <c:pt idx="4490">
                  <c:v>1.3343330929826199E-2</c:v>
                </c:pt>
                <c:pt idx="4491">
                  <c:v>1.35671008372683E-2</c:v>
                </c:pt>
                <c:pt idx="4492">
                  <c:v>1.35552013602668E-2</c:v>
                </c:pt>
                <c:pt idx="4493">
                  <c:v>1.34876049235508E-2</c:v>
                </c:pt>
                <c:pt idx="4494">
                  <c:v>1.3464470554683401E-2</c:v>
                </c:pt>
                <c:pt idx="4495">
                  <c:v>1.3467981927266099E-2</c:v>
                </c:pt>
                <c:pt idx="4496">
                  <c:v>1.3476498806947601E-2</c:v>
                </c:pt>
                <c:pt idx="4497">
                  <c:v>1.3487256281480601E-2</c:v>
                </c:pt>
                <c:pt idx="4498">
                  <c:v>1.3429721942484599E-2</c:v>
                </c:pt>
                <c:pt idx="4499">
                  <c:v>1.34249454303557E-2</c:v>
                </c:pt>
                <c:pt idx="4500">
                  <c:v>1.3483141947491501E-2</c:v>
                </c:pt>
                <c:pt idx="4501">
                  <c:v>1.34674996360079E-2</c:v>
                </c:pt>
                <c:pt idx="4502">
                  <c:v>1.3459602326298999E-2</c:v>
                </c:pt>
                <c:pt idx="4503">
                  <c:v>1.34638107291725E-2</c:v>
                </c:pt>
                <c:pt idx="4504">
                  <c:v>1.3471534436493401E-2</c:v>
                </c:pt>
                <c:pt idx="4505">
                  <c:v>1.3541059950213701E-2</c:v>
                </c:pt>
                <c:pt idx="4506">
                  <c:v>1.3539453673829501E-2</c:v>
                </c:pt>
                <c:pt idx="4507">
                  <c:v>1.3566599740867999E-2</c:v>
                </c:pt>
                <c:pt idx="4508">
                  <c:v>1.35565958833918E-2</c:v>
                </c:pt>
                <c:pt idx="4509">
                  <c:v>1.3607264218957801E-2</c:v>
                </c:pt>
                <c:pt idx="4510">
                  <c:v>1.3607150417289399E-2</c:v>
                </c:pt>
                <c:pt idx="4511">
                  <c:v>1.3702042110428201E-2</c:v>
                </c:pt>
                <c:pt idx="4512">
                  <c:v>1.36686094592197E-2</c:v>
                </c:pt>
                <c:pt idx="4513">
                  <c:v>1.37037947220521E-2</c:v>
                </c:pt>
                <c:pt idx="4514">
                  <c:v>1.37040499098248E-2</c:v>
                </c:pt>
                <c:pt idx="4515">
                  <c:v>1.3737179876551001E-2</c:v>
                </c:pt>
                <c:pt idx="4516">
                  <c:v>1.37409594978781E-2</c:v>
                </c:pt>
                <c:pt idx="4517">
                  <c:v>1.3728947346920701E-2</c:v>
                </c:pt>
                <c:pt idx="4518">
                  <c:v>1.3536051959399499E-2</c:v>
                </c:pt>
                <c:pt idx="4519">
                  <c:v>1.35446829797188E-2</c:v>
                </c:pt>
                <c:pt idx="4520">
                  <c:v>1.35186475001503E-2</c:v>
                </c:pt>
                <c:pt idx="4521">
                  <c:v>1.35255660486919E-2</c:v>
                </c:pt>
                <c:pt idx="4522">
                  <c:v>1.3546894698155801E-2</c:v>
                </c:pt>
                <c:pt idx="4523">
                  <c:v>1.3615657676713799E-2</c:v>
                </c:pt>
                <c:pt idx="4524">
                  <c:v>1.3425581121586301E-2</c:v>
                </c:pt>
                <c:pt idx="4525">
                  <c:v>1.34597898524742E-2</c:v>
                </c:pt>
                <c:pt idx="4526">
                  <c:v>1.3469883349196399E-2</c:v>
                </c:pt>
                <c:pt idx="4527">
                  <c:v>1.35851018129261E-2</c:v>
                </c:pt>
                <c:pt idx="4528">
                  <c:v>1.35839120955712E-2</c:v>
                </c:pt>
                <c:pt idx="4529">
                  <c:v>1.3585477633090599E-2</c:v>
                </c:pt>
                <c:pt idx="4530">
                  <c:v>1.35796930642119E-2</c:v>
                </c:pt>
                <c:pt idx="4531">
                  <c:v>1.3609659111293601E-2</c:v>
                </c:pt>
                <c:pt idx="4532">
                  <c:v>1.35650761055124E-2</c:v>
                </c:pt>
                <c:pt idx="4533">
                  <c:v>1.3637589322641801E-2</c:v>
                </c:pt>
                <c:pt idx="4534">
                  <c:v>1.3579566085946701E-2</c:v>
                </c:pt>
                <c:pt idx="4535">
                  <c:v>1.35709433325424E-2</c:v>
                </c:pt>
                <c:pt idx="4536">
                  <c:v>1.35881992350055E-2</c:v>
                </c:pt>
                <c:pt idx="4537">
                  <c:v>1.35806614125833E-2</c:v>
                </c:pt>
                <c:pt idx="4538">
                  <c:v>1.35381285112547E-2</c:v>
                </c:pt>
                <c:pt idx="4539">
                  <c:v>1.3576313905946699E-2</c:v>
                </c:pt>
                <c:pt idx="4540">
                  <c:v>1.35814057584E-2</c:v>
                </c:pt>
                <c:pt idx="4541">
                  <c:v>1.35977500273088E-2</c:v>
                </c:pt>
                <c:pt idx="4542">
                  <c:v>1.3674306191397499E-2</c:v>
                </c:pt>
                <c:pt idx="4543">
                  <c:v>1.36480404427489E-2</c:v>
                </c:pt>
                <c:pt idx="4544">
                  <c:v>1.35450182624591E-2</c:v>
                </c:pt>
                <c:pt idx="4545">
                  <c:v>1.34456110904876E-2</c:v>
                </c:pt>
                <c:pt idx="4546">
                  <c:v>1.3347982064681499E-2</c:v>
                </c:pt>
                <c:pt idx="4547">
                  <c:v>1.2396220296678501E-2</c:v>
                </c:pt>
                <c:pt idx="4548">
                  <c:v>1.2446172679159101E-2</c:v>
                </c:pt>
                <c:pt idx="4549">
                  <c:v>1.2478712436089501E-2</c:v>
                </c:pt>
                <c:pt idx="4550">
                  <c:v>1.2454297592156299E-2</c:v>
                </c:pt>
                <c:pt idx="4551">
                  <c:v>1.2441250629854E-2</c:v>
                </c:pt>
                <c:pt idx="4552">
                  <c:v>1.23305357919307E-2</c:v>
                </c:pt>
                <c:pt idx="4553">
                  <c:v>1.23851865410303E-2</c:v>
                </c:pt>
                <c:pt idx="4554">
                  <c:v>1.2323357861126099E-2</c:v>
                </c:pt>
                <c:pt idx="4555">
                  <c:v>1.14608732428869E-2</c:v>
                </c:pt>
                <c:pt idx="4556">
                  <c:v>1.17073817723145E-2</c:v>
                </c:pt>
                <c:pt idx="4557">
                  <c:v>1.1435389844627599E-2</c:v>
                </c:pt>
                <c:pt idx="4558">
                  <c:v>1.1593466162551001E-2</c:v>
                </c:pt>
                <c:pt idx="4559">
                  <c:v>1.159291254067E-2</c:v>
                </c:pt>
                <c:pt idx="4560">
                  <c:v>1.16262384149739E-2</c:v>
                </c:pt>
                <c:pt idx="4561">
                  <c:v>1.09245690715867E-2</c:v>
                </c:pt>
                <c:pt idx="4562">
                  <c:v>1.09317624683403E-2</c:v>
                </c:pt>
                <c:pt idx="4563">
                  <c:v>1.0991975582902399E-2</c:v>
                </c:pt>
                <c:pt idx="4564">
                  <c:v>1.0798557494988301E-2</c:v>
                </c:pt>
                <c:pt idx="4565">
                  <c:v>1.0810761300676401E-2</c:v>
                </c:pt>
                <c:pt idx="4566">
                  <c:v>1.09748768540169E-2</c:v>
                </c:pt>
                <c:pt idx="4567">
                  <c:v>1.08911568452194E-2</c:v>
                </c:pt>
                <c:pt idx="4568">
                  <c:v>1.1206069629975699E-2</c:v>
                </c:pt>
                <c:pt idx="4569">
                  <c:v>1.1217900641923901E-2</c:v>
                </c:pt>
                <c:pt idx="4570">
                  <c:v>1.1258669394443E-2</c:v>
                </c:pt>
                <c:pt idx="4571">
                  <c:v>1.1272035010158899E-2</c:v>
                </c:pt>
                <c:pt idx="4572">
                  <c:v>1.1276486164068501E-2</c:v>
                </c:pt>
                <c:pt idx="4573">
                  <c:v>1.12399786451451E-2</c:v>
                </c:pt>
                <c:pt idx="4574">
                  <c:v>1.12119702522887E-2</c:v>
                </c:pt>
                <c:pt idx="4575">
                  <c:v>1.12714560647011E-2</c:v>
                </c:pt>
                <c:pt idx="4576">
                  <c:v>1.13564544361339E-2</c:v>
                </c:pt>
                <c:pt idx="4577">
                  <c:v>1.13243789730492E-2</c:v>
                </c:pt>
                <c:pt idx="4578">
                  <c:v>1.1348555643678799E-2</c:v>
                </c:pt>
                <c:pt idx="4579">
                  <c:v>1.12452209453709E-2</c:v>
                </c:pt>
                <c:pt idx="4580">
                  <c:v>1.15791679828968E-2</c:v>
                </c:pt>
                <c:pt idx="4581">
                  <c:v>1.15690683948779E-2</c:v>
                </c:pt>
                <c:pt idx="4582">
                  <c:v>1.18166237421736E-2</c:v>
                </c:pt>
                <c:pt idx="4583">
                  <c:v>1.1824570336530499E-2</c:v>
                </c:pt>
                <c:pt idx="4584">
                  <c:v>1.1998569239787499E-2</c:v>
                </c:pt>
                <c:pt idx="4585">
                  <c:v>1.20622993187996E-2</c:v>
                </c:pt>
                <c:pt idx="4586">
                  <c:v>1.1950298940988599E-2</c:v>
                </c:pt>
                <c:pt idx="4587">
                  <c:v>1.2048654887445E-2</c:v>
                </c:pt>
                <c:pt idx="4588">
                  <c:v>1.2412210693659401E-2</c:v>
                </c:pt>
                <c:pt idx="4589">
                  <c:v>1.24178721087407E-2</c:v>
                </c:pt>
                <c:pt idx="4590">
                  <c:v>1.28346768763117E-2</c:v>
                </c:pt>
                <c:pt idx="4591">
                  <c:v>1.29598954639114E-2</c:v>
                </c:pt>
                <c:pt idx="4592">
                  <c:v>1.2816609750288499E-2</c:v>
                </c:pt>
                <c:pt idx="4593">
                  <c:v>1.29960780105512E-2</c:v>
                </c:pt>
                <c:pt idx="4594">
                  <c:v>1.28026297484869E-2</c:v>
                </c:pt>
                <c:pt idx="4595">
                  <c:v>1.2969195789759601E-2</c:v>
                </c:pt>
                <c:pt idx="4596">
                  <c:v>1.2962754197633399E-2</c:v>
                </c:pt>
                <c:pt idx="4597">
                  <c:v>1.2960478382676201E-2</c:v>
                </c:pt>
                <c:pt idx="4598">
                  <c:v>1.29603507783854E-2</c:v>
                </c:pt>
                <c:pt idx="4599">
                  <c:v>1.3181331399570499E-2</c:v>
                </c:pt>
                <c:pt idx="4600">
                  <c:v>1.31974049860549E-2</c:v>
                </c:pt>
                <c:pt idx="4601">
                  <c:v>1.3079770504689401E-2</c:v>
                </c:pt>
                <c:pt idx="4602">
                  <c:v>1.3135793476986299E-2</c:v>
                </c:pt>
                <c:pt idx="4603">
                  <c:v>1.30868290041572E-2</c:v>
                </c:pt>
                <c:pt idx="4604">
                  <c:v>1.32360349986731E-2</c:v>
                </c:pt>
                <c:pt idx="4605">
                  <c:v>1.31071727712091E-2</c:v>
                </c:pt>
                <c:pt idx="4606">
                  <c:v>1.31305258917741E-2</c:v>
                </c:pt>
                <c:pt idx="4607">
                  <c:v>1.31615184593238E-2</c:v>
                </c:pt>
                <c:pt idx="4608">
                  <c:v>1.32026785294081E-2</c:v>
                </c:pt>
                <c:pt idx="4609">
                  <c:v>1.32270000533714E-2</c:v>
                </c:pt>
                <c:pt idx="4610">
                  <c:v>1.31155731923287E-2</c:v>
                </c:pt>
                <c:pt idx="4611">
                  <c:v>1.28580781669591E-2</c:v>
                </c:pt>
                <c:pt idx="4612">
                  <c:v>1.2855878692236099E-2</c:v>
                </c:pt>
                <c:pt idx="4613">
                  <c:v>1.29186140509681E-2</c:v>
                </c:pt>
                <c:pt idx="4614">
                  <c:v>1.3020677080738599E-2</c:v>
                </c:pt>
                <c:pt idx="4615">
                  <c:v>1.3020873583965E-2</c:v>
                </c:pt>
                <c:pt idx="4616">
                  <c:v>1.30210969946278E-2</c:v>
                </c:pt>
                <c:pt idx="4617">
                  <c:v>1.30168120222744E-2</c:v>
                </c:pt>
                <c:pt idx="4618">
                  <c:v>1.30200416891027E-2</c:v>
                </c:pt>
                <c:pt idx="4619">
                  <c:v>1.3195108351261101E-2</c:v>
                </c:pt>
                <c:pt idx="4620">
                  <c:v>1.3140876499094499E-2</c:v>
                </c:pt>
                <c:pt idx="4621">
                  <c:v>1.31293554645178E-2</c:v>
                </c:pt>
                <c:pt idx="4622">
                  <c:v>1.3131085217181E-2</c:v>
                </c:pt>
                <c:pt idx="4623">
                  <c:v>1.3136060906851999E-2</c:v>
                </c:pt>
                <c:pt idx="4624">
                  <c:v>1.31667909214936E-2</c:v>
                </c:pt>
                <c:pt idx="4625">
                  <c:v>1.30757241279794E-2</c:v>
                </c:pt>
                <c:pt idx="4626">
                  <c:v>1.30763775243609E-2</c:v>
                </c:pt>
                <c:pt idx="4627">
                  <c:v>1.3056412807339801E-2</c:v>
                </c:pt>
                <c:pt idx="4628">
                  <c:v>1.3064105590949299E-2</c:v>
                </c:pt>
                <c:pt idx="4629">
                  <c:v>1.30495942967352E-2</c:v>
                </c:pt>
                <c:pt idx="4630">
                  <c:v>1.31054083857627E-2</c:v>
                </c:pt>
                <c:pt idx="4631">
                  <c:v>1.29858838955504E-2</c:v>
                </c:pt>
                <c:pt idx="4632">
                  <c:v>1.2987597322342099E-2</c:v>
                </c:pt>
                <c:pt idx="4633">
                  <c:v>1.2959916497304101E-2</c:v>
                </c:pt>
                <c:pt idx="4634">
                  <c:v>1.29952846764945E-2</c:v>
                </c:pt>
                <c:pt idx="4635">
                  <c:v>1.31275718206983E-2</c:v>
                </c:pt>
                <c:pt idx="4636">
                  <c:v>1.31629414105162E-2</c:v>
                </c:pt>
                <c:pt idx="4637">
                  <c:v>1.31611203886393E-2</c:v>
                </c:pt>
                <c:pt idx="4638">
                  <c:v>1.3164489795589001E-2</c:v>
                </c:pt>
                <c:pt idx="4639">
                  <c:v>1.31507228365835E-2</c:v>
                </c:pt>
                <c:pt idx="4640">
                  <c:v>1.318351565943E-2</c:v>
                </c:pt>
                <c:pt idx="4641">
                  <c:v>1.3141359816006601E-2</c:v>
                </c:pt>
                <c:pt idx="4642">
                  <c:v>1.34259220345774E-2</c:v>
                </c:pt>
                <c:pt idx="4643">
                  <c:v>1.33689578677411E-2</c:v>
                </c:pt>
                <c:pt idx="4644">
                  <c:v>1.33707365078998E-2</c:v>
                </c:pt>
                <c:pt idx="4645">
                  <c:v>1.33319555212004E-2</c:v>
                </c:pt>
                <c:pt idx="4646">
                  <c:v>1.3325588853792199E-2</c:v>
                </c:pt>
                <c:pt idx="4647">
                  <c:v>1.3189177264790099E-2</c:v>
                </c:pt>
                <c:pt idx="4648">
                  <c:v>1.3221758510366E-2</c:v>
                </c:pt>
                <c:pt idx="4649">
                  <c:v>1.3235229260011E-2</c:v>
                </c:pt>
                <c:pt idx="4650">
                  <c:v>1.3241869365444E-2</c:v>
                </c:pt>
                <c:pt idx="4651">
                  <c:v>1.32164157905259E-2</c:v>
                </c:pt>
                <c:pt idx="4652">
                  <c:v>1.32398369076687E-2</c:v>
                </c:pt>
                <c:pt idx="4653">
                  <c:v>1.3178239494939001E-2</c:v>
                </c:pt>
                <c:pt idx="4654">
                  <c:v>1.3190023157519401E-2</c:v>
                </c:pt>
                <c:pt idx="4655">
                  <c:v>1.3180667720633799E-2</c:v>
                </c:pt>
                <c:pt idx="4656">
                  <c:v>1.3199646367278E-2</c:v>
                </c:pt>
                <c:pt idx="4657">
                  <c:v>1.32914395162557E-2</c:v>
                </c:pt>
                <c:pt idx="4658">
                  <c:v>1.3295669984909501E-2</c:v>
                </c:pt>
                <c:pt idx="4659">
                  <c:v>1.3245676722433E-2</c:v>
                </c:pt>
                <c:pt idx="4660">
                  <c:v>1.32434786616077E-2</c:v>
                </c:pt>
                <c:pt idx="4661">
                  <c:v>1.32284007696727E-2</c:v>
                </c:pt>
                <c:pt idx="4662">
                  <c:v>1.3147569345194799E-2</c:v>
                </c:pt>
                <c:pt idx="4663">
                  <c:v>1.31265720871756E-2</c:v>
                </c:pt>
                <c:pt idx="4664">
                  <c:v>1.32057126037687E-2</c:v>
                </c:pt>
                <c:pt idx="4665">
                  <c:v>1.3186474353076899E-2</c:v>
                </c:pt>
                <c:pt idx="4666">
                  <c:v>1.32267643545168E-2</c:v>
                </c:pt>
                <c:pt idx="4667">
                  <c:v>1.32324837079375E-2</c:v>
                </c:pt>
                <c:pt idx="4668">
                  <c:v>1.31730137624574E-2</c:v>
                </c:pt>
                <c:pt idx="4669">
                  <c:v>1.33226624907604E-2</c:v>
                </c:pt>
                <c:pt idx="4670">
                  <c:v>1.3284726635495099E-2</c:v>
                </c:pt>
                <c:pt idx="4671">
                  <c:v>1.31660886837739E-2</c:v>
                </c:pt>
                <c:pt idx="4672">
                  <c:v>1.31803799406506E-2</c:v>
                </c:pt>
                <c:pt idx="4673">
                  <c:v>1.31052845017981E-2</c:v>
                </c:pt>
                <c:pt idx="4674">
                  <c:v>1.3106001016849099E-2</c:v>
                </c:pt>
                <c:pt idx="4675">
                  <c:v>1.3132013581133299E-2</c:v>
                </c:pt>
                <c:pt idx="4676">
                  <c:v>1.2867345993038201E-2</c:v>
                </c:pt>
                <c:pt idx="4677">
                  <c:v>1.2903290781163999E-2</c:v>
                </c:pt>
                <c:pt idx="4678">
                  <c:v>1.2851619483945099E-2</c:v>
                </c:pt>
                <c:pt idx="4679">
                  <c:v>1.2886834098249599E-2</c:v>
                </c:pt>
                <c:pt idx="4680">
                  <c:v>1.28487255945303E-2</c:v>
                </c:pt>
                <c:pt idx="4681">
                  <c:v>1.27825598525491E-2</c:v>
                </c:pt>
                <c:pt idx="4682">
                  <c:v>1.2781112695569899E-2</c:v>
                </c:pt>
                <c:pt idx="4683">
                  <c:v>1.2691407981753699E-2</c:v>
                </c:pt>
                <c:pt idx="4684">
                  <c:v>1.2734406494818599E-2</c:v>
                </c:pt>
                <c:pt idx="4685">
                  <c:v>1.30253476073495E-2</c:v>
                </c:pt>
                <c:pt idx="4686">
                  <c:v>1.32952369943461E-2</c:v>
                </c:pt>
                <c:pt idx="4687">
                  <c:v>1.32934453850292E-2</c:v>
                </c:pt>
                <c:pt idx="4688">
                  <c:v>1.31922781662415E-2</c:v>
                </c:pt>
                <c:pt idx="4689">
                  <c:v>1.32042297080703E-2</c:v>
                </c:pt>
                <c:pt idx="4690">
                  <c:v>1.33641653366999E-2</c:v>
                </c:pt>
                <c:pt idx="4691">
                  <c:v>1.32824550039316E-2</c:v>
                </c:pt>
                <c:pt idx="4692">
                  <c:v>1.3311567774938001E-2</c:v>
                </c:pt>
                <c:pt idx="4693">
                  <c:v>1.3319808705578501E-2</c:v>
                </c:pt>
                <c:pt idx="4694">
                  <c:v>1.3324420063026801E-2</c:v>
                </c:pt>
                <c:pt idx="4695">
                  <c:v>1.3307979898613201E-2</c:v>
                </c:pt>
                <c:pt idx="4696">
                  <c:v>1.31952548689832E-2</c:v>
                </c:pt>
                <c:pt idx="4697">
                  <c:v>1.30429760789524E-2</c:v>
                </c:pt>
                <c:pt idx="4698">
                  <c:v>1.3049588318520501E-2</c:v>
                </c:pt>
                <c:pt idx="4699">
                  <c:v>1.3052359166502299E-2</c:v>
                </c:pt>
                <c:pt idx="4700">
                  <c:v>1.2744446249361999E-2</c:v>
                </c:pt>
                <c:pt idx="4701">
                  <c:v>1.2875459007722301E-2</c:v>
                </c:pt>
                <c:pt idx="4702">
                  <c:v>1.2727240878995899E-2</c:v>
                </c:pt>
                <c:pt idx="4703">
                  <c:v>1.2722540054564699E-2</c:v>
                </c:pt>
                <c:pt idx="4704">
                  <c:v>1.2648988199574E-2</c:v>
                </c:pt>
                <c:pt idx="4705">
                  <c:v>1.2634744778314101E-2</c:v>
                </c:pt>
                <c:pt idx="4706">
                  <c:v>1.2632042573326599E-2</c:v>
                </c:pt>
                <c:pt idx="4707">
                  <c:v>1.25034214891214E-2</c:v>
                </c:pt>
                <c:pt idx="4708">
                  <c:v>1.22984988097024E-2</c:v>
                </c:pt>
                <c:pt idx="4709">
                  <c:v>1.2308569650427001E-2</c:v>
                </c:pt>
                <c:pt idx="4710">
                  <c:v>1.1890710745076199E-2</c:v>
                </c:pt>
                <c:pt idx="4711">
                  <c:v>1.17294051024339E-2</c:v>
                </c:pt>
                <c:pt idx="4712">
                  <c:v>1.1777611027418901E-2</c:v>
                </c:pt>
                <c:pt idx="4713">
                  <c:v>1.15538345104149E-2</c:v>
                </c:pt>
                <c:pt idx="4714">
                  <c:v>1.1556940731156399E-2</c:v>
                </c:pt>
                <c:pt idx="4715">
                  <c:v>1.1519530956911E-2</c:v>
                </c:pt>
                <c:pt idx="4716">
                  <c:v>1.1544209914423001E-2</c:v>
                </c:pt>
                <c:pt idx="4717">
                  <c:v>1.15429122567886E-2</c:v>
                </c:pt>
                <c:pt idx="4718">
                  <c:v>1.15182045456658E-2</c:v>
                </c:pt>
                <c:pt idx="4719">
                  <c:v>1.1290173508061401E-2</c:v>
                </c:pt>
                <c:pt idx="4720">
                  <c:v>1.1259886590677301E-2</c:v>
                </c:pt>
                <c:pt idx="4721">
                  <c:v>1.13098155333075E-2</c:v>
                </c:pt>
                <c:pt idx="4722">
                  <c:v>1.1251146707563E-2</c:v>
                </c:pt>
                <c:pt idx="4723">
                  <c:v>1.13062916286399E-2</c:v>
                </c:pt>
                <c:pt idx="4724">
                  <c:v>1.1153332499265299E-2</c:v>
                </c:pt>
                <c:pt idx="4725">
                  <c:v>1.1168652989066699E-2</c:v>
                </c:pt>
                <c:pt idx="4726">
                  <c:v>1.11501510273024E-2</c:v>
                </c:pt>
                <c:pt idx="4727">
                  <c:v>1.1121170794014401E-2</c:v>
                </c:pt>
                <c:pt idx="4728">
                  <c:v>1.1074699036477001E-2</c:v>
                </c:pt>
                <c:pt idx="4729">
                  <c:v>1.1035445588879899E-2</c:v>
                </c:pt>
                <c:pt idx="4730">
                  <c:v>1.10668183692659E-2</c:v>
                </c:pt>
                <c:pt idx="4731">
                  <c:v>1.10692026750496E-2</c:v>
                </c:pt>
                <c:pt idx="4732">
                  <c:v>1.1134886525195099E-2</c:v>
                </c:pt>
                <c:pt idx="4733">
                  <c:v>1.1051463294515101E-2</c:v>
                </c:pt>
                <c:pt idx="4734">
                  <c:v>1.09780815247671E-2</c:v>
                </c:pt>
                <c:pt idx="4735">
                  <c:v>1.1027706650102E-2</c:v>
                </c:pt>
                <c:pt idx="4736">
                  <c:v>1.10121154415075E-2</c:v>
                </c:pt>
                <c:pt idx="4737">
                  <c:v>1.1002530452342899E-2</c:v>
                </c:pt>
                <c:pt idx="4738">
                  <c:v>1.10489730270818E-2</c:v>
                </c:pt>
                <c:pt idx="4739">
                  <c:v>1.0861689021046299E-2</c:v>
                </c:pt>
                <c:pt idx="4740">
                  <c:v>1.08636073904752E-2</c:v>
                </c:pt>
                <c:pt idx="4741">
                  <c:v>1.0865303740952501E-2</c:v>
                </c:pt>
                <c:pt idx="4742">
                  <c:v>1.0881452044549499E-2</c:v>
                </c:pt>
                <c:pt idx="4743">
                  <c:v>1.08550740305563E-2</c:v>
                </c:pt>
                <c:pt idx="4744">
                  <c:v>1.08103027962736E-2</c:v>
                </c:pt>
                <c:pt idx="4745">
                  <c:v>1.0871768875583301E-2</c:v>
                </c:pt>
                <c:pt idx="4746">
                  <c:v>1.08746732989119E-2</c:v>
                </c:pt>
                <c:pt idx="4747">
                  <c:v>1.0877530520237599E-2</c:v>
                </c:pt>
                <c:pt idx="4748">
                  <c:v>1.08599366407708E-2</c:v>
                </c:pt>
                <c:pt idx="4749">
                  <c:v>1.0844661966903899E-2</c:v>
                </c:pt>
                <c:pt idx="4750">
                  <c:v>1.0787818033366699E-2</c:v>
                </c:pt>
                <c:pt idx="4751">
                  <c:v>1.0827264119407201E-2</c:v>
                </c:pt>
                <c:pt idx="4752">
                  <c:v>1.0821892026195899E-2</c:v>
                </c:pt>
                <c:pt idx="4753">
                  <c:v>1.0814618164132799E-2</c:v>
                </c:pt>
                <c:pt idx="4754">
                  <c:v>1.0775787946068901E-2</c:v>
                </c:pt>
                <c:pt idx="4755">
                  <c:v>1.05650585201546E-2</c:v>
                </c:pt>
                <c:pt idx="4756">
                  <c:v>1.05835677696265E-2</c:v>
                </c:pt>
                <c:pt idx="4757">
                  <c:v>1.0584217989265701E-2</c:v>
                </c:pt>
                <c:pt idx="4758">
                  <c:v>1.05820090163515E-2</c:v>
                </c:pt>
                <c:pt idx="4759">
                  <c:v>1.0578073695474E-2</c:v>
                </c:pt>
                <c:pt idx="4760">
                  <c:v>1.05412301425715E-2</c:v>
                </c:pt>
                <c:pt idx="4761">
                  <c:v>1.05680480883865E-2</c:v>
                </c:pt>
                <c:pt idx="4762">
                  <c:v>1.02136875606766E-2</c:v>
                </c:pt>
                <c:pt idx="4763">
                  <c:v>1.0224500622484801E-2</c:v>
                </c:pt>
                <c:pt idx="4764">
                  <c:v>1.02182748420174E-2</c:v>
                </c:pt>
                <c:pt idx="4765">
                  <c:v>1.0216367292644199E-2</c:v>
                </c:pt>
                <c:pt idx="4766">
                  <c:v>1.02183333573217E-2</c:v>
                </c:pt>
                <c:pt idx="4767">
                  <c:v>1.02338794389197E-2</c:v>
                </c:pt>
                <c:pt idx="4768">
                  <c:v>1.02012113947423E-2</c:v>
                </c:pt>
                <c:pt idx="4769">
                  <c:v>1.01914994381872E-2</c:v>
                </c:pt>
                <c:pt idx="4770">
                  <c:v>1.01815662990761E-2</c:v>
                </c:pt>
                <c:pt idx="4771">
                  <c:v>1.01859011081684E-2</c:v>
                </c:pt>
                <c:pt idx="4772">
                  <c:v>1.0198952729292599E-2</c:v>
                </c:pt>
                <c:pt idx="4773">
                  <c:v>1.01987195743878E-2</c:v>
                </c:pt>
                <c:pt idx="4774">
                  <c:v>1.01949743010655E-2</c:v>
                </c:pt>
                <c:pt idx="4775">
                  <c:v>1.02626366718938E-2</c:v>
                </c:pt>
                <c:pt idx="4776">
                  <c:v>1.0327515752234199E-2</c:v>
                </c:pt>
                <c:pt idx="4777">
                  <c:v>1.02218727895291E-2</c:v>
                </c:pt>
                <c:pt idx="4778">
                  <c:v>1.0227807428603001E-2</c:v>
                </c:pt>
                <c:pt idx="4779">
                  <c:v>1.0246066767996101E-2</c:v>
                </c:pt>
                <c:pt idx="4780">
                  <c:v>1.02742577988573E-2</c:v>
                </c:pt>
                <c:pt idx="4781">
                  <c:v>1.0271857929832699E-2</c:v>
                </c:pt>
                <c:pt idx="4782">
                  <c:v>1.0362496364681201E-2</c:v>
                </c:pt>
                <c:pt idx="4783">
                  <c:v>1.0448403024077299E-2</c:v>
                </c:pt>
                <c:pt idx="4784">
                  <c:v>1.03575656619063E-2</c:v>
                </c:pt>
                <c:pt idx="4785">
                  <c:v>1.03546248447651E-2</c:v>
                </c:pt>
                <c:pt idx="4786">
                  <c:v>1.0325618545337501E-2</c:v>
                </c:pt>
                <c:pt idx="4787">
                  <c:v>1.03169525892759E-2</c:v>
                </c:pt>
                <c:pt idx="4788">
                  <c:v>1.03159408933595E-2</c:v>
                </c:pt>
                <c:pt idx="4789">
                  <c:v>1.00061358910931E-2</c:v>
                </c:pt>
                <c:pt idx="4790">
                  <c:v>1.0092959644282799E-2</c:v>
                </c:pt>
                <c:pt idx="4791">
                  <c:v>1.0119953725878299E-2</c:v>
                </c:pt>
                <c:pt idx="4792">
                  <c:v>1.00717349861888E-2</c:v>
                </c:pt>
                <c:pt idx="4793">
                  <c:v>1.00383842830544E-2</c:v>
                </c:pt>
                <c:pt idx="4794">
                  <c:v>1.0073996223283499E-2</c:v>
                </c:pt>
                <c:pt idx="4795">
                  <c:v>1.00458620735372E-2</c:v>
                </c:pt>
                <c:pt idx="4796">
                  <c:v>1.00443429022474E-2</c:v>
                </c:pt>
                <c:pt idx="4797">
                  <c:v>1.0003206434759E-2</c:v>
                </c:pt>
                <c:pt idx="4798">
                  <c:v>9.9572189751859497E-3</c:v>
                </c:pt>
                <c:pt idx="4799">
                  <c:v>9.9559857189459294E-3</c:v>
                </c:pt>
                <c:pt idx="4800">
                  <c:v>1.00571751002775E-2</c:v>
                </c:pt>
                <c:pt idx="4801">
                  <c:v>1.00815000206693E-2</c:v>
                </c:pt>
                <c:pt idx="4802">
                  <c:v>1.0093334205763501E-2</c:v>
                </c:pt>
                <c:pt idx="4803">
                  <c:v>1.0134875011778399E-2</c:v>
                </c:pt>
                <c:pt idx="4804">
                  <c:v>1.0094982834789301E-2</c:v>
                </c:pt>
                <c:pt idx="4805">
                  <c:v>9.6861846588514496E-3</c:v>
                </c:pt>
                <c:pt idx="4806">
                  <c:v>9.1483855041886008E-3</c:v>
                </c:pt>
                <c:pt idx="4807">
                  <c:v>9.1478026166603998E-3</c:v>
                </c:pt>
                <c:pt idx="4808">
                  <c:v>9.2227624734038203E-3</c:v>
                </c:pt>
                <c:pt idx="4809">
                  <c:v>9.2199093089067406E-3</c:v>
                </c:pt>
                <c:pt idx="4810">
                  <c:v>9.0947077164091894E-3</c:v>
                </c:pt>
                <c:pt idx="4811">
                  <c:v>9.1566252184089592E-3</c:v>
                </c:pt>
                <c:pt idx="4812">
                  <c:v>9.2304419717935005E-3</c:v>
                </c:pt>
                <c:pt idx="4813">
                  <c:v>9.2276039541842308E-3</c:v>
                </c:pt>
                <c:pt idx="4814">
                  <c:v>9.2607824042306303E-3</c:v>
                </c:pt>
                <c:pt idx="4815">
                  <c:v>9.1802893669692305E-3</c:v>
                </c:pt>
                <c:pt idx="4816">
                  <c:v>9.1391790068511593E-3</c:v>
                </c:pt>
                <c:pt idx="4817">
                  <c:v>9.1754370244916707E-3</c:v>
                </c:pt>
                <c:pt idx="4818">
                  <c:v>9.2069478235677401E-3</c:v>
                </c:pt>
                <c:pt idx="4819">
                  <c:v>9.2051669469456598E-3</c:v>
                </c:pt>
                <c:pt idx="4820">
                  <c:v>9.2091151833239605E-3</c:v>
                </c:pt>
                <c:pt idx="4821">
                  <c:v>9.0227248049132101E-3</c:v>
                </c:pt>
                <c:pt idx="4822">
                  <c:v>8.9595691028346493E-3</c:v>
                </c:pt>
                <c:pt idx="4823">
                  <c:v>9.0162190560752597E-3</c:v>
                </c:pt>
                <c:pt idx="4824">
                  <c:v>8.9056253191119109E-3</c:v>
                </c:pt>
                <c:pt idx="4825">
                  <c:v>8.9992625790118394E-3</c:v>
                </c:pt>
                <c:pt idx="4826">
                  <c:v>8.9880622833469793E-3</c:v>
                </c:pt>
                <c:pt idx="4827">
                  <c:v>8.9876065320689796E-3</c:v>
                </c:pt>
                <c:pt idx="4828">
                  <c:v>8.8447154809463292E-3</c:v>
                </c:pt>
                <c:pt idx="4829">
                  <c:v>8.8642114970496899E-3</c:v>
                </c:pt>
                <c:pt idx="4830">
                  <c:v>8.8755695353715698E-3</c:v>
                </c:pt>
                <c:pt idx="4831">
                  <c:v>8.9394959169396201E-3</c:v>
                </c:pt>
                <c:pt idx="4832">
                  <c:v>9.3133422508735707E-3</c:v>
                </c:pt>
                <c:pt idx="4833">
                  <c:v>9.4787980838917704E-3</c:v>
                </c:pt>
                <c:pt idx="4834">
                  <c:v>9.4994615558713896E-3</c:v>
                </c:pt>
                <c:pt idx="4835">
                  <c:v>9.4519599844685494E-3</c:v>
                </c:pt>
                <c:pt idx="4836">
                  <c:v>9.3839068794646704E-3</c:v>
                </c:pt>
                <c:pt idx="4837">
                  <c:v>9.76822788574392E-3</c:v>
                </c:pt>
                <c:pt idx="4838">
                  <c:v>1.06089608770752E-2</c:v>
                </c:pt>
                <c:pt idx="4839">
                  <c:v>1.1310784916756699E-2</c:v>
                </c:pt>
                <c:pt idx="4840">
                  <c:v>1.14689945684728E-2</c:v>
                </c:pt>
                <c:pt idx="4841">
                  <c:v>1.1422407711947699E-2</c:v>
                </c:pt>
                <c:pt idx="4842">
                  <c:v>1.1392416152594601E-2</c:v>
                </c:pt>
                <c:pt idx="4843">
                  <c:v>1.13455862100769E-2</c:v>
                </c:pt>
                <c:pt idx="4844">
                  <c:v>1.1313939810905499E-2</c:v>
                </c:pt>
                <c:pt idx="4845">
                  <c:v>1.1309301530933199E-2</c:v>
                </c:pt>
                <c:pt idx="4846">
                  <c:v>1.1395409184117401E-2</c:v>
                </c:pt>
                <c:pt idx="4847">
                  <c:v>1.14045075204901E-2</c:v>
                </c:pt>
                <c:pt idx="4848">
                  <c:v>1.13876619830269E-2</c:v>
                </c:pt>
                <c:pt idx="4849">
                  <c:v>1.17097894948354E-2</c:v>
                </c:pt>
                <c:pt idx="4850">
                  <c:v>1.16940725406619E-2</c:v>
                </c:pt>
                <c:pt idx="4851">
                  <c:v>1.17396657367181E-2</c:v>
                </c:pt>
                <c:pt idx="4852">
                  <c:v>1.1669182521556101E-2</c:v>
                </c:pt>
                <c:pt idx="4853">
                  <c:v>1.17156653403752E-2</c:v>
                </c:pt>
                <c:pt idx="4854">
                  <c:v>1.16986412269763E-2</c:v>
                </c:pt>
              </c:numCache>
            </c:numRef>
          </c:val>
          <c:smooth val="0"/>
          <c:extLst>
            <c:ext xmlns:c16="http://schemas.microsoft.com/office/drawing/2014/chart" uri="{C3380CC4-5D6E-409C-BE32-E72D297353CC}">
              <c16:uniqueId val="{00000003-A453-4679-8CD4-0E382E926464}"/>
            </c:ext>
          </c:extLst>
        </c:ser>
        <c:ser>
          <c:idx val="4"/>
          <c:order val="3"/>
          <c:tx>
            <c:strRef>
              <c:f>'v60'!$E$1</c:f>
              <c:strCache>
                <c:ptCount val="1"/>
                <c:pt idx="0">
                  <c:v>Volatility 250</c:v>
                </c:pt>
              </c:strCache>
            </c:strRef>
          </c:tx>
          <c:spPr>
            <a:ln w="28575" cap="rnd">
              <a:solidFill>
                <a:schemeClr val="accent5"/>
              </a:solidFill>
              <a:round/>
            </a:ln>
            <a:effectLst/>
          </c:spPr>
          <c:marker>
            <c:symbol val="none"/>
          </c:marker>
          <c:cat>
            <c:numRef>
              <c:f>'v60'!$A$2:$A$4856</c:f>
              <c:numCache>
                <c:formatCode>yyyy\-mm\-dd;@</c:formatCode>
                <c:ptCount val="4855"/>
                <c:pt idx="0">
                  <c:v>37358</c:v>
                </c:pt>
                <c:pt idx="1">
                  <c:v>37361</c:v>
                </c:pt>
                <c:pt idx="2">
                  <c:v>37362</c:v>
                </c:pt>
                <c:pt idx="3">
                  <c:v>37363</c:v>
                </c:pt>
                <c:pt idx="4">
                  <c:v>37364</c:v>
                </c:pt>
                <c:pt idx="5">
                  <c:v>37365</c:v>
                </c:pt>
                <c:pt idx="6">
                  <c:v>37368</c:v>
                </c:pt>
                <c:pt idx="7">
                  <c:v>37369</c:v>
                </c:pt>
                <c:pt idx="8">
                  <c:v>37370</c:v>
                </c:pt>
                <c:pt idx="9">
                  <c:v>37371</c:v>
                </c:pt>
                <c:pt idx="10">
                  <c:v>37372</c:v>
                </c:pt>
                <c:pt idx="11">
                  <c:v>37375</c:v>
                </c:pt>
                <c:pt idx="12">
                  <c:v>37376</c:v>
                </c:pt>
                <c:pt idx="13">
                  <c:v>37384</c:v>
                </c:pt>
                <c:pt idx="14">
                  <c:v>37385</c:v>
                </c:pt>
                <c:pt idx="15">
                  <c:v>37386</c:v>
                </c:pt>
                <c:pt idx="16">
                  <c:v>37389</c:v>
                </c:pt>
                <c:pt idx="17">
                  <c:v>37390</c:v>
                </c:pt>
                <c:pt idx="18">
                  <c:v>37391</c:v>
                </c:pt>
                <c:pt idx="19">
                  <c:v>37392</c:v>
                </c:pt>
                <c:pt idx="20">
                  <c:v>37393</c:v>
                </c:pt>
                <c:pt idx="21">
                  <c:v>37396</c:v>
                </c:pt>
                <c:pt idx="22">
                  <c:v>37397</c:v>
                </c:pt>
                <c:pt idx="23">
                  <c:v>37398</c:v>
                </c:pt>
                <c:pt idx="24">
                  <c:v>37399</c:v>
                </c:pt>
                <c:pt idx="25">
                  <c:v>37400</c:v>
                </c:pt>
                <c:pt idx="26">
                  <c:v>37403</c:v>
                </c:pt>
                <c:pt idx="27">
                  <c:v>37404</c:v>
                </c:pt>
                <c:pt idx="28">
                  <c:v>37405</c:v>
                </c:pt>
                <c:pt idx="29">
                  <c:v>37406</c:v>
                </c:pt>
                <c:pt idx="30">
                  <c:v>37407</c:v>
                </c:pt>
                <c:pt idx="31">
                  <c:v>37410</c:v>
                </c:pt>
                <c:pt idx="32">
                  <c:v>37411</c:v>
                </c:pt>
                <c:pt idx="33">
                  <c:v>37412</c:v>
                </c:pt>
                <c:pt idx="34">
                  <c:v>37413</c:v>
                </c:pt>
                <c:pt idx="35">
                  <c:v>37414</c:v>
                </c:pt>
                <c:pt idx="36">
                  <c:v>37417</c:v>
                </c:pt>
                <c:pt idx="37">
                  <c:v>37418</c:v>
                </c:pt>
                <c:pt idx="38">
                  <c:v>37419</c:v>
                </c:pt>
                <c:pt idx="39">
                  <c:v>37420</c:v>
                </c:pt>
                <c:pt idx="40">
                  <c:v>37421</c:v>
                </c:pt>
                <c:pt idx="41">
                  <c:v>37424</c:v>
                </c:pt>
                <c:pt idx="42">
                  <c:v>37425</c:v>
                </c:pt>
                <c:pt idx="43">
                  <c:v>37426</c:v>
                </c:pt>
                <c:pt idx="44">
                  <c:v>37427</c:v>
                </c:pt>
                <c:pt idx="45">
                  <c:v>37428</c:v>
                </c:pt>
                <c:pt idx="46">
                  <c:v>37431</c:v>
                </c:pt>
                <c:pt idx="47">
                  <c:v>37432</c:v>
                </c:pt>
                <c:pt idx="48">
                  <c:v>37433</c:v>
                </c:pt>
                <c:pt idx="49">
                  <c:v>37434</c:v>
                </c:pt>
                <c:pt idx="50">
                  <c:v>37435</c:v>
                </c:pt>
                <c:pt idx="51">
                  <c:v>37438</c:v>
                </c:pt>
                <c:pt idx="52">
                  <c:v>37439</c:v>
                </c:pt>
                <c:pt idx="53">
                  <c:v>37440</c:v>
                </c:pt>
                <c:pt idx="54">
                  <c:v>37441</c:v>
                </c:pt>
                <c:pt idx="55">
                  <c:v>37442</c:v>
                </c:pt>
                <c:pt idx="56">
                  <c:v>37445</c:v>
                </c:pt>
                <c:pt idx="57">
                  <c:v>37446</c:v>
                </c:pt>
                <c:pt idx="58">
                  <c:v>37447</c:v>
                </c:pt>
                <c:pt idx="59">
                  <c:v>37448</c:v>
                </c:pt>
                <c:pt idx="60">
                  <c:v>37449</c:v>
                </c:pt>
                <c:pt idx="61">
                  <c:v>37452</c:v>
                </c:pt>
                <c:pt idx="62">
                  <c:v>37453</c:v>
                </c:pt>
                <c:pt idx="63">
                  <c:v>37454</c:v>
                </c:pt>
                <c:pt idx="64">
                  <c:v>37455</c:v>
                </c:pt>
                <c:pt idx="65">
                  <c:v>37456</c:v>
                </c:pt>
                <c:pt idx="66">
                  <c:v>37459</c:v>
                </c:pt>
                <c:pt idx="67">
                  <c:v>37460</c:v>
                </c:pt>
                <c:pt idx="68">
                  <c:v>37461</c:v>
                </c:pt>
                <c:pt idx="69">
                  <c:v>37462</c:v>
                </c:pt>
                <c:pt idx="70">
                  <c:v>37463</c:v>
                </c:pt>
                <c:pt idx="71">
                  <c:v>37466</c:v>
                </c:pt>
                <c:pt idx="72">
                  <c:v>37467</c:v>
                </c:pt>
                <c:pt idx="73">
                  <c:v>37468</c:v>
                </c:pt>
                <c:pt idx="74">
                  <c:v>37469</c:v>
                </c:pt>
                <c:pt idx="75">
                  <c:v>37470</c:v>
                </c:pt>
                <c:pt idx="76">
                  <c:v>37473</c:v>
                </c:pt>
                <c:pt idx="77">
                  <c:v>37474</c:v>
                </c:pt>
                <c:pt idx="78">
                  <c:v>37475</c:v>
                </c:pt>
                <c:pt idx="79">
                  <c:v>37476</c:v>
                </c:pt>
                <c:pt idx="80">
                  <c:v>37477</c:v>
                </c:pt>
                <c:pt idx="81">
                  <c:v>37480</c:v>
                </c:pt>
                <c:pt idx="82">
                  <c:v>37481</c:v>
                </c:pt>
                <c:pt idx="83">
                  <c:v>37482</c:v>
                </c:pt>
                <c:pt idx="84">
                  <c:v>37483</c:v>
                </c:pt>
                <c:pt idx="85">
                  <c:v>37484</c:v>
                </c:pt>
                <c:pt idx="86">
                  <c:v>37487</c:v>
                </c:pt>
                <c:pt idx="87">
                  <c:v>37488</c:v>
                </c:pt>
                <c:pt idx="88">
                  <c:v>37489</c:v>
                </c:pt>
                <c:pt idx="89">
                  <c:v>37490</c:v>
                </c:pt>
                <c:pt idx="90">
                  <c:v>37491</c:v>
                </c:pt>
                <c:pt idx="91">
                  <c:v>37494</c:v>
                </c:pt>
                <c:pt idx="92">
                  <c:v>37495</c:v>
                </c:pt>
                <c:pt idx="93">
                  <c:v>37496</c:v>
                </c:pt>
                <c:pt idx="94">
                  <c:v>37497</c:v>
                </c:pt>
                <c:pt idx="95">
                  <c:v>37498</c:v>
                </c:pt>
                <c:pt idx="96">
                  <c:v>37501</c:v>
                </c:pt>
                <c:pt idx="97">
                  <c:v>37502</c:v>
                </c:pt>
                <c:pt idx="98">
                  <c:v>37503</c:v>
                </c:pt>
                <c:pt idx="99">
                  <c:v>37504</c:v>
                </c:pt>
                <c:pt idx="100">
                  <c:v>37505</c:v>
                </c:pt>
                <c:pt idx="101">
                  <c:v>37508</c:v>
                </c:pt>
                <c:pt idx="102">
                  <c:v>37509</c:v>
                </c:pt>
                <c:pt idx="103">
                  <c:v>37510</c:v>
                </c:pt>
                <c:pt idx="104">
                  <c:v>37511</c:v>
                </c:pt>
                <c:pt idx="105">
                  <c:v>37512</c:v>
                </c:pt>
                <c:pt idx="106">
                  <c:v>37515</c:v>
                </c:pt>
                <c:pt idx="107">
                  <c:v>37516</c:v>
                </c:pt>
                <c:pt idx="108">
                  <c:v>37517</c:v>
                </c:pt>
                <c:pt idx="109">
                  <c:v>37518</c:v>
                </c:pt>
                <c:pt idx="110">
                  <c:v>37519</c:v>
                </c:pt>
                <c:pt idx="111">
                  <c:v>37522</c:v>
                </c:pt>
                <c:pt idx="112">
                  <c:v>37523</c:v>
                </c:pt>
                <c:pt idx="113">
                  <c:v>37524</c:v>
                </c:pt>
                <c:pt idx="114">
                  <c:v>37525</c:v>
                </c:pt>
                <c:pt idx="115">
                  <c:v>37526</c:v>
                </c:pt>
                <c:pt idx="116">
                  <c:v>37537</c:v>
                </c:pt>
                <c:pt idx="117">
                  <c:v>37538</c:v>
                </c:pt>
                <c:pt idx="118">
                  <c:v>37539</c:v>
                </c:pt>
                <c:pt idx="119">
                  <c:v>37540</c:v>
                </c:pt>
                <c:pt idx="120">
                  <c:v>37543</c:v>
                </c:pt>
                <c:pt idx="121">
                  <c:v>37544</c:v>
                </c:pt>
                <c:pt idx="122">
                  <c:v>37545</c:v>
                </c:pt>
                <c:pt idx="123">
                  <c:v>37546</c:v>
                </c:pt>
                <c:pt idx="124">
                  <c:v>37547</c:v>
                </c:pt>
                <c:pt idx="125">
                  <c:v>37550</c:v>
                </c:pt>
                <c:pt idx="126">
                  <c:v>37551</c:v>
                </c:pt>
                <c:pt idx="127">
                  <c:v>37552</c:v>
                </c:pt>
                <c:pt idx="128">
                  <c:v>37553</c:v>
                </c:pt>
                <c:pt idx="129">
                  <c:v>37554</c:v>
                </c:pt>
                <c:pt idx="130">
                  <c:v>37557</c:v>
                </c:pt>
                <c:pt idx="131">
                  <c:v>37558</c:v>
                </c:pt>
                <c:pt idx="132">
                  <c:v>37559</c:v>
                </c:pt>
                <c:pt idx="133">
                  <c:v>37560</c:v>
                </c:pt>
                <c:pt idx="134">
                  <c:v>37561</c:v>
                </c:pt>
                <c:pt idx="135">
                  <c:v>37564</c:v>
                </c:pt>
                <c:pt idx="136">
                  <c:v>37565</c:v>
                </c:pt>
                <c:pt idx="137">
                  <c:v>37566</c:v>
                </c:pt>
                <c:pt idx="138">
                  <c:v>37567</c:v>
                </c:pt>
                <c:pt idx="139">
                  <c:v>37568</c:v>
                </c:pt>
                <c:pt idx="140">
                  <c:v>37571</c:v>
                </c:pt>
                <c:pt idx="141">
                  <c:v>37572</c:v>
                </c:pt>
                <c:pt idx="142">
                  <c:v>37573</c:v>
                </c:pt>
                <c:pt idx="143">
                  <c:v>37574</c:v>
                </c:pt>
                <c:pt idx="144">
                  <c:v>37575</c:v>
                </c:pt>
                <c:pt idx="145">
                  <c:v>37578</c:v>
                </c:pt>
                <c:pt idx="146">
                  <c:v>37579</c:v>
                </c:pt>
                <c:pt idx="147">
                  <c:v>37580</c:v>
                </c:pt>
                <c:pt idx="148">
                  <c:v>37581</c:v>
                </c:pt>
                <c:pt idx="149">
                  <c:v>37582</c:v>
                </c:pt>
                <c:pt idx="150">
                  <c:v>37585</c:v>
                </c:pt>
                <c:pt idx="151">
                  <c:v>37586</c:v>
                </c:pt>
                <c:pt idx="152">
                  <c:v>37587</c:v>
                </c:pt>
                <c:pt idx="153">
                  <c:v>37588</c:v>
                </c:pt>
                <c:pt idx="154">
                  <c:v>37589</c:v>
                </c:pt>
                <c:pt idx="155">
                  <c:v>37592</c:v>
                </c:pt>
                <c:pt idx="156">
                  <c:v>37593</c:v>
                </c:pt>
                <c:pt idx="157">
                  <c:v>37594</c:v>
                </c:pt>
                <c:pt idx="158">
                  <c:v>37595</c:v>
                </c:pt>
                <c:pt idx="159">
                  <c:v>37596</c:v>
                </c:pt>
                <c:pt idx="160">
                  <c:v>37599</c:v>
                </c:pt>
                <c:pt idx="161">
                  <c:v>37600</c:v>
                </c:pt>
                <c:pt idx="162">
                  <c:v>37601</c:v>
                </c:pt>
                <c:pt idx="163">
                  <c:v>37602</c:v>
                </c:pt>
                <c:pt idx="164">
                  <c:v>37603</c:v>
                </c:pt>
                <c:pt idx="165">
                  <c:v>37606</c:v>
                </c:pt>
                <c:pt idx="166">
                  <c:v>37607</c:v>
                </c:pt>
                <c:pt idx="167">
                  <c:v>37608</c:v>
                </c:pt>
                <c:pt idx="168">
                  <c:v>37609</c:v>
                </c:pt>
                <c:pt idx="169">
                  <c:v>37610</c:v>
                </c:pt>
                <c:pt idx="170">
                  <c:v>37613</c:v>
                </c:pt>
                <c:pt idx="171">
                  <c:v>37614</c:v>
                </c:pt>
                <c:pt idx="172">
                  <c:v>37615</c:v>
                </c:pt>
                <c:pt idx="173">
                  <c:v>37616</c:v>
                </c:pt>
                <c:pt idx="174">
                  <c:v>37617</c:v>
                </c:pt>
                <c:pt idx="175">
                  <c:v>37620</c:v>
                </c:pt>
                <c:pt idx="176">
                  <c:v>37621</c:v>
                </c:pt>
                <c:pt idx="177">
                  <c:v>37623</c:v>
                </c:pt>
                <c:pt idx="178">
                  <c:v>37624</c:v>
                </c:pt>
                <c:pt idx="179">
                  <c:v>37627</c:v>
                </c:pt>
                <c:pt idx="180">
                  <c:v>37628</c:v>
                </c:pt>
                <c:pt idx="181">
                  <c:v>37629</c:v>
                </c:pt>
                <c:pt idx="182">
                  <c:v>37630</c:v>
                </c:pt>
                <c:pt idx="183">
                  <c:v>37631</c:v>
                </c:pt>
                <c:pt idx="184">
                  <c:v>37634</c:v>
                </c:pt>
                <c:pt idx="185">
                  <c:v>37635</c:v>
                </c:pt>
                <c:pt idx="186">
                  <c:v>37636</c:v>
                </c:pt>
                <c:pt idx="187">
                  <c:v>37637</c:v>
                </c:pt>
                <c:pt idx="188">
                  <c:v>37638</c:v>
                </c:pt>
                <c:pt idx="189">
                  <c:v>37641</c:v>
                </c:pt>
                <c:pt idx="190">
                  <c:v>37642</c:v>
                </c:pt>
                <c:pt idx="191">
                  <c:v>37643</c:v>
                </c:pt>
                <c:pt idx="192">
                  <c:v>37644</c:v>
                </c:pt>
                <c:pt idx="193">
                  <c:v>37645</c:v>
                </c:pt>
                <c:pt idx="194">
                  <c:v>37648</c:v>
                </c:pt>
                <c:pt idx="195">
                  <c:v>37649</c:v>
                </c:pt>
                <c:pt idx="196">
                  <c:v>37650</c:v>
                </c:pt>
                <c:pt idx="197">
                  <c:v>37662</c:v>
                </c:pt>
                <c:pt idx="198">
                  <c:v>37663</c:v>
                </c:pt>
                <c:pt idx="199">
                  <c:v>37664</c:v>
                </c:pt>
                <c:pt idx="200">
                  <c:v>37665</c:v>
                </c:pt>
                <c:pt idx="201">
                  <c:v>37666</c:v>
                </c:pt>
                <c:pt idx="202">
                  <c:v>37669</c:v>
                </c:pt>
                <c:pt idx="203">
                  <c:v>37670</c:v>
                </c:pt>
                <c:pt idx="204">
                  <c:v>37671</c:v>
                </c:pt>
                <c:pt idx="205">
                  <c:v>37672</c:v>
                </c:pt>
                <c:pt idx="206">
                  <c:v>37673</c:v>
                </c:pt>
                <c:pt idx="207">
                  <c:v>37676</c:v>
                </c:pt>
                <c:pt idx="208">
                  <c:v>37677</c:v>
                </c:pt>
                <c:pt idx="209">
                  <c:v>37678</c:v>
                </c:pt>
                <c:pt idx="210">
                  <c:v>37679</c:v>
                </c:pt>
                <c:pt idx="211">
                  <c:v>37680</c:v>
                </c:pt>
                <c:pt idx="212">
                  <c:v>37683</c:v>
                </c:pt>
                <c:pt idx="213">
                  <c:v>37684</c:v>
                </c:pt>
                <c:pt idx="214">
                  <c:v>37685</c:v>
                </c:pt>
                <c:pt idx="215">
                  <c:v>37686</c:v>
                </c:pt>
                <c:pt idx="216">
                  <c:v>37687</c:v>
                </c:pt>
                <c:pt idx="217">
                  <c:v>37690</c:v>
                </c:pt>
                <c:pt idx="218">
                  <c:v>37691</c:v>
                </c:pt>
                <c:pt idx="219">
                  <c:v>37692</c:v>
                </c:pt>
                <c:pt idx="220">
                  <c:v>37693</c:v>
                </c:pt>
                <c:pt idx="221">
                  <c:v>37694</c:v>
                </c:pt>
                <c:pt idx="222">
                  <c:v>37697</c:v>
                </c:pt>
                <c:pt idx="223">
                  <c:v>37698</c:v>
                </c:pt>
                <c:pt idx="224">
                  <c:v>37699</c:v>
                </c:pt>
                <c:pt idx="225">
                  <c:v>37700</c:v>
                </c:pt>
                <c:pt idx="226">
                  <c:v>37701</c:v>
                </c:pt>
                <c:pt idx="227">
                  <c:v>37704</c:v>
                </c:pt>
                <c:pt idx="228">
                  <c:v>37705</c:v>
                </c:pt>
                <c:pt idx="229">
                  <c:v>37706</c:v>
                </c:pt>
                <c:pt idx="230">
                  <c:v>37707</c:v>
                </c:pt>
                <c:pt idx="231">
                  <c:v>37708</c:v>
                </c:pt>
                <c:pt idx="232">
                  <c:v>37711</c:v>
                </c:pt>
                <c:pt idx="233">
                  <c:v>37712</c:v>
                </c:pt>
                <c:pt idx="234">
                  <c:v>37713</c:v>
                </c:pt>
                <c:pt idx="235">
                  <c:v>37714</c:v>
                </c:pt>
                <c:pt idx="236">
                  <c:v>37715</c:v>
                </c:pt>
                <c:pt idx="237">
                  <c:v>37718</c:v>
                </c:pt>
                <c:pt idx="238">
                  <c:v>37719</c:v>
                </c:pt>
                <c:pt idx="239">
                  <c:v>37720</c:v>
                </c:pt>
                <c:pt idx="240">
                  <c:v>37721</c:v>
                </c:pt>
                <c:pt idx="241">
                  <c:v>37722</c:v>
                </c:pt>
                <c:pt idx="242">
                  <c:v>37725</c:v>
                </c:pt>
                <c:pt idx="243">
                  <c:v>37726</c:v>
                </c:pt>
                <c:pt idx="244">
                  <c:v>37727</c:v>
                </c:pt>
                <c:pt idx="245">
                  <c:v>37728</c:v>
                </c:pt>
                <c:pt idx="246">
                  <c:v>37729</c:v>
                </c:pt>
                <c:pt idx="247">
                  <c:v>37732</c:v>
                </c:pt>
                <c:pt idx="248">
                  <c:v>37733</c:v>
                </c:pt>
                <c:pt idx="249">
                  <c:v>37734</c:v>
                </c:pt>
                <c:pt idx="250">
                  <c:v>37735</c:v>
                </c:pt>
                <c:pt idx="251">
                  <c:v>37736</c:v>
                </c:pt>
                <c:pt idx="252">
                  <c:v>37739</c:v>
                </c:pt>
                <c:pt idx="253">
                  <c:v>37740</c:v>
                </c:pt>
                <c:pt idx="254">
                  <c:v>37741</c:v>
                </c:pt>
                <c:pt idx="255">
                  <c:v>37753</c:v>
                </c:pt>
                <c:pt idx="256">
                  <c:v>37754</c:v>
                </c:pt>
                <c:pt idx="257">
                  <c:v>37755</c:v>
                </c:pt>
                <c:pt idx="258">
                  <c:v>37756</c:v>
                </c:pt>
                <c:pt idx="259">
                  <c:v>37757</c:v>
                </c:pt>
                <c:pt idx="260">
                  <c:v>37760</c:v>
                </c:pt>
                <c:pt idx="261">
                  <c:v>37761</c:v>
                </c:pt>
                <c:pt idx="262">
                  <c:v>37762</c:v>
                </c:pt>
                <c:pt idx="263">
                  <c:v>37763</c:v>
                </c:pt>
                <c:pt idx="264">
                  <c:v>37764</c:v>
                </c:pt>
                <c:pt idx="265">
                  <c:v>37767</c:v>
                </c:pt>
                <c:pt idx="266">
                  <c:v>37768</c:v>
                </c:pt>
                <c:pt idx="267">
                  <c:v>37769</c:v>
                </c:pt>
                <c:pt idx="268">
                  <c:v>37770</c:v>
                </c:pt>
                <c:pt idx="269">
                  <c:v>37771</c:v>
                </c:pt>
                <c:pt idx="270">
                  <c:v>37774</c:v>
                </c:pt>
                <c:pt idx="271">
                  <c:v>37775</c:v>
                </c:pt>
                <c:pt idx="272">
                  <c:v>37776</c:v>
                </c:pt>
                <c:pt idx="273">
                  <c:v>37777</c:v>
                </c:pt>
                <c:pt idx="274">
                  <c:v>37778</c:v>
                </c:pt>
                <c:pt idx="275">
                  <c:v>37781</c:v>
                </c:pt>
                <c:pt idx="276">
                  <c:v>37782</c:v>
                </c:pt>
                <c:pt idx="277">
                  <c:v>37783</c:v>
                </c:pt>
                <c:pt idx="278">
                  <c:v>37784</c:v>
                </c:pt>
                <c:pt idx="279">
                  <c:v>37785</c:v>
                </c:pt>
                <c:pt idx="280">
                  <c:v>37788</c:v>
                </c:pt>
                <c:pt idx="281">
                  <c:v>37789</c:v>
                </c:pt>
                <c:pt idx="282">
                  <c:v>37790</c:v>
                </c:pt>
                <c:pt idx="283">
                  <c:v>37791</c:v>
                </c:pt>
                <c:pt idx="284">
                  <c:v>37792</c:v>
                </c:pt>
                <c:pt idx="285">
                  <c:v>37795</c:v>
                </c:pt>
                <c:pt idx="286">
                  <c:v>37796</c:v>
                </c:pt>
                <c:pt idx="287">
                  <c:v>37797</c:v>
                </c:pt>
                <c:pt idx="288">
                  <c:v>37798</c:v>
                </c:pt>
                <c:pt idx="289">
                  <c:v>37799</c:v>
                </c:pt>
                <c:pt idx="290">
                  <c:v>37802</c:v>
                </c:pt>
                <c:pt idx="291">
                  <c:v>37803</c:v>
                </c:pt>
                <c:pt idx="292">
                  <c:v>37804</c:v>
                </c:pt>
                <c:pt idx="293">
                  <c:v>37805</c:v>
                </c:pt>
                <c:pt idx="294">
                  <c:v>37806</c:v>
                </c:pt>
                <c:pt idx="295">
                  <c:v>37809</c:v>
                </c:pt>
                <c:pt idx="296">
                  <c:v>37810</c:v>
                </c:pt>
                <c:pt idx="297">
                  <c:v>37811</c:v>
                </c:pt>
                <c:pt idx="298">
                  <c:v>37812</c:v>
                </c:pt>
                <c:pt idx="299">
                  <c:v>37813</c:v>
                </c:pt>
                <c:pt idx="300">
                  <c:v>37816</c:v>
                </c:pt>
                <c:pt idx="301">
                  <c:v>37817</c:v>
                </c:pt>
                <c:pt idx="302">
                  <c:v>37818</c:v>
                </c:pt>
                <c:pt idx="303">
                  <c:v>37819</c:v>
                </c:pt>
                <c:pt idx="304">
                  <c:v>37820</c:v>
                </c:pt>
                <c:pt idx="305">
                  <c:v>37823</c:v>
                </c:pt>
                <c:pt idx="306">
                  <c:v>37824</c:v>
                </c:pt>
                <c:pt idx="307">
                  <c:v>37825</c:v>
                </c:pt>
                <c:pt idx="308">
                  <c:v>37826</c:v>
                </c:pt>
                <c:pt idx="309">
                  <c:v>37827</c:v>
                </c:pt>
                <c:pt idx="310">
                  <c:v>37830</c:v>
                </c:pt>
                <c:pt idx="311">
                  <c:v>37831</c:v>
                </c:pt>
                <c:pt idx="312">
                  <c:v>37832</c:v>
                </c:pt>
                <c:pt idx="313">
                  <c:v>37833</c:v>
                </c:pt>
                <c:pt idx="314">
                  <c:v>37834</c:v>
                </c:pt>
                <c:pt idx="315">
                  <c:v>37837</c:v>
                </c:pt>
                <c:pt idx="316">
                  <c:v>37838</c:v>
                </c:pt>
                <c:pt idx="317">
                  <c:v>37839</c:v>
                </c:pt>
                <c:pt idx="318">
                  <c:v>37840</c:v>
                </c:pt>
                <c:pt idx="319">
                  <c:v>37841</c:v>
                </c:pt>
                <c:pt idx="320">
                  <c:v>37844</c:v>
                </c:pt>
                <c:pt idx="321">
                  <c:v>37845</c:v>
                </c:pt>
                <c:pt idx="322">
                  <c:v>37846</c:v>
                </c:pt>
                <c:pt idx="323">
                  <c:v>37847</c:v>
                </c:pt>
                <c:pt idx="324">
                  <c:v>37848</c:v>
                </c:pt>
                <c:pt idx="325">
                  <c:v>37851</c:v>
                </c:pt>
                <c:pt idx="326">
                  <c:v>37852</c:v>
                </c:pt>
                <c:pt idx="327">
                  <c:v>37853</c:v>
                </c:pt>
                <c:pt idx="328">
                  <c:v>37854</c:v>
                </c:pt>
                <c:pt idx="329">
                  <c:v>37855</c:v>
                </c:pt>
                <c:pt idx="330">
                  <c:v>37858</c:v>
                </c:pt>
                <c:pt idx="331">
                  <c:v>37859</c:v>
                </c:pt>
                <c:pt idx="332">
                  <c:v>37860</c:v>
                </c:pt>
                <c:pt idx="333">
                  <c:v>37861</c:v>
                </c:pt>
                <c:pt idx="334">
                  <c:v>37862</c:v>
                </c:pt>
                <c:pt idx="335">
                  <c:v>37865</c:v>
                </c:pt>
                <c:pt idx="336">
                  <c:v>37866</c:v>
                </c:pt>
                <c:pt idx="337">
                  <c:v>37867</c:v>
                </c:pt>
                <c:pt idx="338">
                  <c:v>37868</c:v>
                </c:pt>
                <c:pt idx="339">
                  <c:v>37869</c:v>
                </c:pt>
                <c:pt idx="340">
                  <c:v>37872</c:v>
                </c:pt>
                <c:pt idx="341">
                  <c:v>37873</c:v>
                </c:pt>
                <c:pt idx="342">
                  <c:v>37874</c:v>
                </c:pt>
                <c:pt idx="343">
                  <c:v>37875</c:v>
                </c:pt>
                <c:pt idx="344">
                  <c:v>37876</c:v>
                </c:pt>
                <c:pt idx="345">
                  <c:v>37879</c:v>
                </c:pt>
                <c:pt idx="346">
                  <c:v>37880</c:v>
                </c:pt>
                <c:pt idx="347">
                  <c:v>37881</c:v>
                </c:pt>
                <c:pt idx="348">
                  <c:v>37882</c:v>
                </c:pt>
                <c:pt idx="349">
                  <c:v>37883</c:v>
                </c:pt>
                <c:pt idx="350">
                  <c:v>37886</c:v>
                </c:pt>
                <c:pt idx="351">
                  <c:v>37887</c:v>
                </c:pt>
                <c:pt idx="352">
                  <c:v>37888</c:v>
                </c:pt>
                <c:pt idx="353">
                  <c:v>37889</c:v>
                </c:pt>
                <c:pt idx="354">
                  <c:v>37890</c:v>
                </c:pt>
                <c:pt idx="355">
                  <c:v>37893</c:v>
                </c:pt>
                <c:pt idx="356">
                  <c:v>37894</c:v>
                </c:pt>
                <c:pt idx="357">
                  <c:v>37902</c:v>
                </c:pt>
                <c:pt idx="358">
                  <c:v>37903</c:v>
                </c:pt>
                <c:pt idx="359">
                  <c:v>37904</c:v>
                </c:pt>
                <c:pt idx="360">
                  <c:v>37907</c:v>
                </c:pt>
                <c:pt idx="361">
                  <c:v>37908</c:v>
                </c:pt>
                <c:pt idx="362">
                  <c:v>37909</c:v>
                </c:pt>
                <c:pt idx="363">
                  <c:v>37910</c:v>
                </c:pt>
                <c:pt idx="364">
                  <c:v>37911</c:v>
                </c:pt>
                <c:pt idx="365">
                  <c:v>37914</c:v>
                </c:pt>
                <c:pt idx="366">
                  <c:v>37915</c:v>
                </c:pt>
                <c:pt idx="367">
                  <c:v>37916</c:v>
                </c:pt>
                <c:pt idx="368">
                  <c:v>37917</c:v>
                </c:pt>
                <c:pt idx="369">
                  <c:v>37918</c:v>
                </c:pt>
                <c:pt idx="370">
                  <c:v>37921</c:v>
                </c:pt>
                <c:pt idx="371">
                  <c:v>37922</c:v>
                </c:pt>
                <c:pt idx="372">
                  <c:v>37923</c:v>
                </c:pt>
                <c:pt idx="373">
                  <c:v>37924</c:v>
                </c:pt>
                <c:pt idx="374">
                  <c:v>37925</c:v>
                </c:pt>
                <c:pt idx="375">
                  <c:v>37928</c:v>
                </c:pt>
                <c:pt idx="376">
                  <c:v>37929</c:v>
                </c:pt>
                <c:pt idx="377">
                  <c:v>37930</c:v>
                </c:pt>
                <c:pt idx="378">
                  <c:v>37931</c:v>
                </c:pt>
                <c:pt idx="379">
                  <c:v>37932</c:v>
                </c:pt>
                <c:pt idx="380">
                  <c:v>37935</c:v>
                </c:pt>
                <c:pt idx="381">
                  <c:v>37936</c:v>
                </c:pt>
                <c:pt idx="382">
                  <c:v>37937</c:v>
                </c:pt>
                <c:pt idx="383">
                  <c:v>37938</c:v>
                </c:pt>
                <c:pt idx="384">
                  <c:v>37939</c:v>
                </c:pt>
                <c:pt idx="385">
                  <c:v>37942</c:v>
                </c:pt>
                <c:pt idx="386">
                  <c:v>37943</c:v>
                </c:pt>
                <c:pt idx="387">
                  <c:v>37944</c:v>
                </c:pt>
                <c:pt idx="388">
                  <c:v>37945</c:v>
                </c:pt>
                <c:pt idx="389">
                  <c:v>37946</c:v>
                </c:pt>
                <c:pt idx="390">
                  <c:v>37949</c:v>
                </c:pt>
                <c:pt idx="391">
                  <c:v>37950</c:v>
                </c:pt>
                <c:pt idx="392">
                  <c:v>37951</c:v>
                </c:pt>
                <c:pt idx="393">
                  <c:v>37952</c:v>
                </c:pt>
                <c:pt idx="394">
                  <c:v>37953</c:v>
                </c:pt>
                <c:pt idx="395">
                  <c:v>37956</c:v>
                </c:pt>
                <c:pt idx="396">
                  <c:v>37957</c:v>
                </c:pt>
                <c:pt idx="397">
                  <c:v>37958</c:v>
                </c:pt>
                <c:pt idx="398">
                  <c:v>37959</c:v>
                </c:pt>
                <c:pt idx="399">
                  <c:v>37960</c:v>
                </c:pt>
                <c:pt idx="400">
                  <c:v>37963</c:v>
                </c:pt>
                <c:pt idx="401">
                  <c:v>37964</c:v>
                </c:pt>
                <c:pt idx="402">
                  <c:v>37965</c:v>
                </c:pt>
                <c:pt idx="403">
                  <c:v>37966</c:v>
                </c:pt>
                <c:pt idx="404">
                  <c:v>37967</c:v>
                </c:pt>
                <c:pt idx="405">
                  <c:v>37970</c:v>
                </c:pt>
                <c:pt idx="406">
                  <c:v>37971</c:v>
                </c:pt>
                <c:pt idx="407">
                  <c:v>37972</c:v>
                </c:pt>
                <c:pt idx="408">
                  <c:v>37973</c:v>
                </c:pt>
                <c:pt idx="409">
                  <c:v>37974</c:v>
                </c:pt>
                <c:pt idx="410">
                  <c:v>37977</c:v>
                </c:pt>
                <c:pt idx="411">
                  <c:v>37978</c:v>
                </c:pt>
                <c:pt idx="412">
                  <c:v>37979</c:v>
                </c:pt>
                <c:pt idx="413">
                  <c:v>37980</c:v>
                </c:pt>
                <c:pt idx="414">
                  <c:v>37981</c:v>
                </c:pt>
                <c:pt idx="415">
                  <c:v>37984</c:v>
                </c:pt>
                <c:pt idx="416">
                  <c:v>37985</c:v>
                </c:pt>
                <c:pt idx="417">
                  <c:v>37986</c:v>
                </c:pt>
                <c:pt idx="418">
                  <c:v>37988</c:v>
                </c:pt>
                <c:pt idx="419">
                  <c:v>37991</c:v>
                </c:pt>
                <c:pt idx="420">
                  <c:v>37992</c:v>
                </c:pt>
                <c:pt idx="421">
                  <c:v>37993</c:v>
                </c:pt>
                <c:pt idx="422">
                  <c:v>37994</c:v>
                </c:pt>
                <c:pt idx="423">
                  <c:v>37995</c:v>
                </c:pt>
                <c:pt idx="424">
                  <c:v>37998</c:v>
                </c:pt>
                <c:pt idx="425">
                  <c:v>37999</c:v>
                </c:pt>
                <c:pt idx="426">
                  <c:v>38000</c:v>
                </c:pt>
                <c:pt idx="427">
                  <c:v>38001</c:v>
                </c:pt>
                <c:pt idx="428">
                  <c:v>38002</c:v>
                </c:pt>
                <c:pt idx="429">
                  <c:v>38015</c:v>
                </c:pt>
                <c:pt idx="430">
                  <c:v>38016</c:v>
                </c:pt>
                <c:pt idx="431">
                  <c:v>38019</c:v>
                </c:pt>
                <c:pt idx="432">
                  <c:v>38020</c:v>
                </c:pt>
                <c:pt idx="433">
                  <c:v>38021</c:v>
                </c:pt>
                <c:pt idx="434">
                  <c:v>38022</c:v>
                </c:pt>
                <c:pt idx="435">
                  <c:v>38023</c:v>
                </c:pt>
                <c:pt idx="436">
                  <c:v>38026</c:v>
                </c:pt>
                <c:pt idx="437">
                  <c:v>38027</c:v>
                </c:pt>
                <c:pt idx="438">
                  <c:v>38028</c:v>
                </c:pt>
                <c:pt idx="439">
                  <c:v>38029</c:v>
                </c:pt>
                <c:pt idx="440">
                  <c:v>38030</c:v>
                </c:pt>
                <c:pt idx="441">
                  <c:v>38033</c:v>
                </c:pt>
                <c:pt idx="442">
                  <c:v>38034</c:v>
                </c:pt>
                <c:pt idx="443">
                  <c:v>38035</c:v>
                </c:pt>
                <c:pt idx="444">
                  <c:v>38036</c:v>
                </c:pt>
                <c:pt idx="445">
                  <c:v>38037</c:v>
                </c:pt>
                <c:pt idx="446">
                  <c:v>38040</c:v>
                </c:pt>
                <c:pt idx="447">
                  <c:v>38041</c:v>
                </c:pt>
                <c:pt idx="448">
                  <c:v>38042</c:v>
                </c:pt>
                <c:pt idx="449">
                  <c:v>38043</c:v>
                </c:pt>
                <c:pt idx="450">
                  <c:v>38044</c:v>
                </c:pt>
                <c:pt idx="451">
                  <c:v>38047</c:v>
                </c:pt>
                <c:pt idx="452">
                  <c:v>38048</c:v>
                </c:pt>
                <c:pt idx="453">
                  <c:v>38049</c:v>
                </c:pt>
                <c:pt idx="454">
                  <c:v>38050</c:v>
                </c:pt>
                <c:pt idx="455">
                  <c:v>38051</c:v>
                </c:pt>
                <c:pt idx="456">
                  <c:v>38054</c:v>
                </c:pt>
                <c:pt idx="457">
                  <c:v>38055</c:v>
                </c:pt>
                <c:pt idx="458">
                  <c:v>38056</c:v>
                </c:pt>
                <c:pt idx="459">
                  <c:v>38057</c:v>
                </c:pt>
                <c:pt idx="460">
                  <c:v>38058</c:v>
                </c:pt>
                <c:pt idx="461">
                  <c:v>38061</c:v>
                </c:pt>
                <c:pt idx="462">
                  <c:v>38062</c:v>
                </c:pt>
                <c:pt idx="463">
                  <c:v>38063</c:v>
                </c:pt>
                <c:pt idx="464">
                  <c:v>38064</c:v>
                </c:pt>
                <c:pt idx="465">
                  <c:v>38065</c:v>
                </c:pt>
                <c:pt idx="466">
                  <c:v>38068</c:v>
                </c:pt>
                <c:pt idx="467">
                  <c:v>38069</c:v>
                </c:pt>
                <c:pt idx="468">
                  <c:v>38070</c:v>
                </c:pt>
                <c:pt idx="469">
                  <c:v>38071</c:v>
                </c:pt>
                <c:pt idx="470">
                  <c:v>38072</c:v>
                </c:pt>
                <c:pt idx="471">
                  <c:v>38075</c:v>
                </c:pt>
                <c:pt idx="472">
                  <c:v>38076</c:v>
                </c:pt>
                <c:pt idx="473">
                  <c:v>38077</c:v>
                </c:pt>
                <c:pt idx="474">
                  <c:v>38078</c:v>
                </c:pt>
                <c:pt idx="475">
                  <c:v>38079</c:v>
                </c:pt>
                <c:pt idx="476">
                  <c:v>38082</c:v>
                </c:pt>
                <c:pt idx="477">
                  <c:v>38083</c:v>
                </c:pt>
                <c:pt idx="478">
                  <c:v>38084</c:v>
                </c:pt>
                <c:pt idx="479">
                  <c:v>38085</c:v>
                </c:pt>
                <c:pt idx="480">
                  <c:v>38086</c:v>
                </c:pt>
                <c:pt idx="481">
                  <c:v>38089</c:v>
                </c:pt>
                <c:pt idx="482">
                  <c:v>38090</c:v>
                </c:pt>
                <c:pt idx="483">
                  <c:v>38091</c:v>
                </c:pt>
                <c:pt idx="484">
                  <c:v>38092</c:v>
                </c:pt>
                <c:pt idx="485">
                  <c:v>38093</c:v>
                </c:pt>
                <c:pt idx="486">
                  <c:v>38096</c:v>
                </c:pt>
                <c:pt idx="487">
                  <c:v>38097</c:v>
                </c:pt>
                <c:pt idx="488">
                  <c:v>38098</c:v>
                </c:pt>
                <c:pt idx="489">
                  <c:v>38099</c:v>
                </c:pt>
                <c:pt idx="490">
                  <c:v>38100</c:v>
                </c:pt>
                <c:pt idx="491">
                  <c:v>38103</c:v>
                </c:pt>
                <c:pt idx="492">
                  <c:v>38104</c:v>
                </c:pt>
                <c:pt idx="493">
                  <c:v>38105</c:v>
                </c:pt>
                <c:pt idx="494">
                  <c:v>38106</c:v>
                </c:pt>
                <c:pt idx="495">
                  <c:v>38107</c:v>
                </c:pt>
                <c:pt idx="496">
                  <c:v>38117</c:v>
                </c:pt>
                <c:pt idx="497">
                  <c:v>38118</c:v>
                </c:pt>
                <c:pt idx="498">
                  <c:v>38119</c:v>
                </c:pt>
                <c:pt idx="499">
                  <c:v>38120</c:v>
                </c:pt>
                <c:pt idx="500">
                  <c:v>38121</c:v>
                </c:pt>
                <c:pt idx="501">
                  <c:v>38124</c:v>
                </c:pt>
                <c:pt idx="502">
                  <c:v>38125</c:v>
                </c:pt>
                <c:pt idx="503">
                  <c:v>38126</c:v>
                </c:pt>
                <c:pt idx="504">
                  <c:v>38127</c:v>
                </c:pt>
                <c:pt idx="505">
                  <c:v>38128</c:v>
                </c:pt>
                <c:pt idx="506">
                  <c:v>38131</c:v>
                </c:pt>
                <c:pt idx="507">
                  <c:v>38132</c:v>
                </c:pt>
                <c:pt idx="508">
                  <c:v>38133</c:v>
                </c:pt>
                <c:pt idx="509">
                  <c:v>38134</c:v>
                </c:pt>
                <c:pt idx="510">
                  <c:v>38135</c:v>
                </c:pt>
                <c:pt idx="511">
                  <c:v>38138</c:v>
                </c:pt>
                <c:pt idx="512">
                  <c:v>38139</c:v>
                </c:pt>
                <c:pt idx="513">
                  <c:v>38140</c:v>
                </c:pt>
                <c:pt idx="514">
                  <c:v>38141</c:v>
                </c:pt>
                <c:pt idx="515">
                  <c:v>38142</c:v>
                </c:pt>
                <c:pt idx="516">
                  <c:v>38145</c:v>
                </c:pt>
                <c:pt idx="517">
                  <c:v>38146</c:v>
                </c:pt>
                <c:pt idx="518">
                  <c:v>38147</c:v>
                </c:pt>
                <c:pt idx="519">
                  <c:v>38148</c:v>
                </c:pt>
                <c:pt idx="520">
                  <c:v>38149</c:v>
                </c:pt>
                <c:pt idx="521">
                  <c:v>38152</c:v>
                </c:pt>
                <c:pt idx="522">
                  <c:v>38153</c:v>
                </c:pt>
                <c:pt idx="523">
                  <c:v>38154</c:v>
                </c:pt>
                <c:pt idx="524">
                  <c:v>38155</c:v>
                </c:pt>
                <c:pt idx="525">
                  <c:v>38156</c:v>
                </c:pt>
                <c:pt idx="526">
                  <c:v>38159</c:v>
                </c:pt>
                <c:pt idx="527">
                  <c:v>38160</c:v>
                </c:pt>
                <c:pt idx="528">
                  <c:v>38161</c:v>
                </c:pt>
                <c:pt idx="529">
                  <c:v>38162</c:v>
                </c:pt>
                <c:pt idx="530">
                  <c:v>38163</c:v>
                </c:pt>
                <c:pt idx="531">
                  <c:v>38166</c:v>
                </c:pt>
                <c:pt idx="532">
                  <c:v>38167</c:v>
                </c:pt>
                <c:pt idx="533">
                  <c:v>38168</c:v>
                </c:pt>
                <c:pt idx="534">
                  <c:v>38169</c:v>
                </c:pt>
                <c:pt idx="535">
                  <c:v>38170</c:v>
                </c:pt>
                <c:pt idx="536">
                  <c:v>38173</c:v>
                </c:pt>
                <c:pt idx="537">
                  <c:v>38174</c:v>
                </c:pt>
                <c:pt idx="538">
                  <c:v>38175</c:v>
                </c:pt>
                <c:pt idx="539">
                  <c:v>38176</c:v>
                </c:pt>
                <c:pt idx="540">
                  <c:v>38177</c:v>
                </c:pt>
                <c:pt idx="541">
                  <c:v>38180</c:v>
                </c:pt>
                <c:pt idx="542">
                  <c:v>38181</c:v>
                </c:pt>
                <c:pt idx="543">
                  <c:v>38182</c:v>
                </c:pt>
                <c:pt idx="544">
                  <c:v>38183</c:v>
                </c:pt>
                <c:pt idx="545">
                  <c:v>38184</c:v>
                </c:pt>
                <c:pt idx="546">
                  <c:v>38187</c:v>
                </c:pt>
                <c:pt idx="547">
                  <c:v>38188</c:v>
                </c:pt>
                <c:pt idx="548">
                  <c:v>38189</c:v>
                </c:pt>
                <c:pt idx="549">
                  <c:v>38190</c:v>
                </c:pt>
                <c:pt idx="550">
                  <c:v>38191</c:v>
                </c:pt>
                <c:pt idx="551">
                  <c:v>38194</c:v>
                </c:pt>
                <c:pt idx="552">
                  <c:v>38195</c:v>
                </c:pt>
                <c:pt idx="553">
                  <c:v>38196</c:v>
                </c:pt>
                <c:pt idx="554">
                  <c:v>38197</c:v>
                </c:pt>
                <c:pt idx="555">
                  <c:v>38198</c:v>
                </c:pt>
                <c:pt idx="556">
                  <c:v>38201</c:v>
                </c:pt>
                <c:pt idx="557">
                  <c:v>38202</c:v>
                </c:pt>
                <c:pt idx="558">
                  <c:v>38203</c:v>
                </c:pt>
                <c:pt idx="559">
                  <c:v>38204</c:v>
                </c:pt>
                <c:pt idx="560">
                  <c:v>38205</c:v>
                </c:pt>
                <c:pt idx="561">
                  <c:v>38208</c:v>
                </c:pt>
                <c:pt idx="562">
                  <c:v>38209</c:v>
                </c:pt>
                <c:pt idx="563">
                  <c:v>38210</c:v>
                </c:pt>
                <c:pt idx="564">
                  <c:v>38211</c:v>
                </c:pt>
                <c:pt idx="565">
                  <c:v>38212</c:v>
                </c:pt>
                <c:pt idx="566">
                  <c:v>38215</c:v>
                </c:pt>
                <c:pt idx="567">
                  <c:v>38216</c:v>
                </c:pt>
                <c:pt idx="568">
                  <c:v>38217</c:v>
                </c:pt>
                <c:pt idx="569">
                  <c:v>38218</c:v>
                </c:pt>
                <c:pt idx="570">
                  <c:v>38219</c:v>
                </c:pt>
                <c:pt idx="571">
                  <c:v>38222</c:v>
                </c:pt>
                <c:pt idx="572">
                  <c:v>38223</c:v>
                </c:pt>
                <c:pt idx="573">
                  <c:v>38224</c:v>
                </c:pt>
                <c:pt idx="574">
                  <c:v>38225</c:v>
                </c:pt>
                <c:pt idx="575">
                  <c:v>38226</c:v>
                </c:pt>
                <c:pt idx="576">
                  <c:v>38229</c:v>
                </c:pt>
                <c:pt idx="577">
                  <c:v>38230</c:v>
                </c:pt>
                <c:pt idx="578">
                  <c:v>38231</c:v>
                </c:pt>
                <c:pt idx="579">
                  <c:v>38232</c:v>
                </c:pt>
                <c:pt idx="580">
                  <c:v>38233</c:v>
                </c:pt>
                <c:pt idx="581">
                  <c:v>38236</c:v>
                </c:pt>
                <c:pt idx="582">
                  <c:v>38237</c:v>
                </c:pt>
                <c:pt idx="583">
                  <c:v>38238</c:v>
                </c:pt>
                <c:pt idx="584">
                  <c:v>38239</c:v>
                </c:pt>
                <c:pt idx="585">
                  <c:v>38240</c:v>
                </c:pt>
                <c:pt idx="586">
                  <c:v>38243</c:v>
                </c:pt>
                <c:pt idx="587">
                  <c:v>38244</c:v>
                </c:pt>
                <c:pt idx="588">
                  <c:v>38245</c:v>
                </c:pt>
                <c:pt idx="589">
                  <c:v>38246</c:v>
                </c:pt>
                <c:pt idx="590">
                  <c:v>38247</c:v>
                </c:pt>
                <c:pt idx="591">
                  <c:v>38250</c:v>
                </c:pt>
                <c:pt idx="592">
                  <c:v>38251</c:v>
                </c:pt>
                <c:pt idx="593">
                  <c:v>38252</c:v>
                </c:pt>
                <c:pt idx="594">
                  <c:v>38253</c:v>
                </c:pt>
                <c:pt idx="595">
                  <c:v>38254</c:v>
                </c:pt>
                <c:pt idx="596">
                  <c:v>38257</c:v>
                </c:pt>
                <c:pt idx="597">
                  <c:v>38258</c:v>
                </c:pt>
                <c:pt idx="598">
                  <c:v>38259</c:v>
                </c:pt>
                <c:pt idx="599">
                  <c:v>38260</c:v>
                </c:pt>
                <c:pt idx="600">
                  <c:v>38268</c:v>
                </c:pt>
                <c:pt idx="601">
                  <c:v>38271</c:v>
                </c:pt>
                <c:pt idx="602">
                  <c:v>38272</c:v>
                </c:pt>
                <c:pt idx="603">
                  <c:v>38273</c:v>
                </c:pt>
                <c:pt idx="604">
                  <c:v>38274</c:v>
                </c:pt>
                <c:pt idx="605">
                  <c:v>38275</c:v>
                </c:pt>
                <c:pt idx="606">
                  <c:v>38278</c:v>
                </c:pt>
                <c:pt idx="607">
                  <c:v>38279</c:v>
                </c:pt>
                <c:pt idx="608">
                  <c:v>38280</c:v>
                </c:pt>
                <c:pt idx="609">
                  <c:v>38281</c:v>
                </c:pt>
                <c:pt idx="610">
                  <c:v>38282</c:v>
                </c:pt>
                <c:pt idx="611">
                  <c:v>38285</c:v>
                </c:pt>
                <c:pt idx="612">
                  <c:v>38286</c:v>
                </c:pt>
                <c:pt idx="613">
                  <c:v>38287</c:v>
                </c:pt>
                <c:pt idx="614">
                  <c:v>38288</c:v>
                </c:pt>
                <c:pt idx="615">
                  <c:v>38289</c:v>
                </c:pt>
                <c:pt idx="616">
                  <c:v>38292</c:v>
                </c:pt>
                <c:pt idx="617">
                  <c:v>38293</c:v>
                </c:pt>
                <c:pt idx="618">
                  <c:v>38294</c:v>
                </c:pt>
                <c:pt idx="619">
                  <c:v>38295</c:v>
                </c:pt>
                <c:pt idx="620">
                  <c:v>38296</c:v>
                </c:pt>
                <c:pt idx="621">
                  <c:v>38299</c:v>
                </c:pt>
                <c:pt idx="622">
                  <c:v>38300</c:v>
                </c:pt>
                <c:pt idx="623">
                  <c:v>38301</c:v>
                </c:pt>
                <c:pt idx="624">
                  <c:v>38302</c:v>
                </c:pt>
                <c:pt idx="625">
                  <c:v>38303</c:v>
                </c:pt>
                <c:pt idx="626">
                  <c:v>38306</c:v>
                </c:pt>
                <c:pt idx="627">
                  <c:v>38307</c:v>
                </c:pt>
                <c:pt idx="628">
                  <c:v>38308</c:v>
                </c:pt>
                <c:pt idx="629">
                  <c:v>38309</c:v>
                </c:pt>
                <c:pt idx="630">
                  <c:v>38310</c:v>
                </c:pt>
                <c:pt idx="631">
                  <c:v>38313</c:v>
                </c:pt>
                <c:pt idx="632">
                  <c:v>38314</c:v>
                </c:pt>
                <c:pt idx="633">
                  <c:v>38315</c:v>
                </c:pt>
                <c:pt idx="634">
                  <c:v>38316</c:v>
                </c:pt>
                <c:pt idx="635">
                  <c:v>38317</c:v>
                </c:pt>
                <c:pt idx="636">
                  <c:v>38320</c:v>
                </c:pt>
                <c:pt idx="637">
                  <c:v>38321</c:v>
                </c:pt>
                <c:pt idx="638">
                  <c:v>38322</c:v>
                </c:pt>
                <c:pt idx="639">
                  <c:v>38323</c:v>
                </c:pt>
                <c:pt idx="640">
                  <c:v>38324</c:v>
                </c:pt>
                <c:pt idx="641">
                  <c:v>38327</c:v>
                </c:pt>
                <c:pt idx="642">
                  <c:v>38328</c:v>
                </c:pt>
                <c:pt idx="643">
                  <c:v>38329</c:v>
                </c:pt>
                <c:pt idx="644">
                  <c:v>38330</c:v>
                </c:pt>
                <c:pt idx="645">
                  <c:v>38331</c:v>
                </c:pt>
                <c:pt idx="646">
                  <c:v>38334</c:v>
                </c:pt>
                <c:pt idx="647">
                  <c:v>38335</c:v>
                </c:pt>
                <c:pt idx="648">
                  <c:v>38336</c:v>
                </c:pt>
                <c:pt idx="649">
                  <c:v>38337</c:v>
                </c:pt>
                <c:pt idx="650">
                  <c:v>38338</c:v>
                </c:pt>
                <c:pt idx="651">
                  <c:v>38341</c:v>
                </c:pt>
                <c:pt idx="652">
                  <c:v>38342</c:v>
                </c:pt>
                <c:pt idx="653">
                  <c:v>38343</c:v>
                </c:pt>
                <c:pt idx="654">
                  <c:v>38344</c:v>
                </c:pt>
                <c:pt idx="655">
                  <c:v>38345</c:v>
                </c:pt>
                <c:pt idx="656">
                  <c:v>38348</c:v>
                </c:pt>
                <c:pt idx="657">
                  <c:v>38349</c:v>
                </c:pt>
                <c:pt idx="658">
                  <c:v>38350</c:v>
                </c:pt>
                <c:pt idx="659">
                  <c:v>38351</c:v>
                </c:pt>
                <c:pt idx="660">
                  <c:v>38352</c:v>
                </c:pt>
                <c:pt idx="661">
                  <c:v>38356</c:v>
                </c:pt>
                <c:pt idx="662">
                  <c:v>38357</c:v>
                </c:pt>
                <c:pt idx="663">
                  <c:v>38358</c:v>
                </c:pt>
                <c:pt idx="664">
                  <c:v>38359</c:v>
                </c:pt>
                <c:pt idx="665">
                  <c:v>38362</c:v>
                </c:pt>
                <c:pt idx="666">
                  <c:v>38363</c:v>
                </c:pt>
                <c:pt idx="667">
                  <c:v>38364</c:v>
                </c:pt>
                <c:pt idx="668">
                  <c:v>38365</c:v>
                </c:pt>
                <c:pt idx="669">
                  <c:v>38366</c:v>
                </c:pt>
                <c:pt idx="670">
                  <c:v>38369</c:v>
                </c:pt>
                <c:pt idx="671">
                  <c:v>38370</c:v>
                </c:pt>
                <c:pt idx="672">
                  <c:v>38371</c:v>
                </c:pt>
                <c:pt idx="673">
                  <c:v>38372</c:v>
                </c:pt>
                <c:pt idx="674">
                  <c:v>38373</c:v>
                </c:pt>
                <c:pt idx="675">
                  <c:v>38376</c:v>
                </c:pt>
                <c:pt idx="676">
                  <c:v>38377</c:v>
                </c:pt>
                <c:pt idx="677">
                  <c:v>38378</c:v>
                </c:pt>
                <c:pt idx="678">
                  <c:v>38379</c:v>
                </c:pt>
                <c:pt idx="679">
                  <c:v>38380</c:v>
                </c:pt>
                <c:pt idx="680">
                  <c:v>38383</c:v>
                </c:pt>
                <c:pt idx="681">
                  <c:v>38384</c:v>
                </c:pt>
                <c:pt idx="682">
                  <c:v>38385</c:v>
                </c:pt>
                <c:pt idx="683">
                  <c:v>38386</c:v>
                </c:pt>
                <c:pt idx="684">
                  <c:v>38387</c:v>
                </c:pt>
                <c:pt idx="685">
                  <c:v>38399</c:v>
                </c:pt>
                <c:pt idx="686">
                  <c:v>38400</c:v>
                </c:pt>
                <c:pt idx="687">
                  <c:v>38401</c:v>
                </c:pt>
                <c:pt idx="688">
                  <c:v>38404</c:v>
                </c:pt>
                <c:pt idx="689">
                  <c:v>38405</c:v>
                </c:pt>
                <c:pt idx="690">
                  <c:v>38406</c:v>
                </c:pt>
                <c:pt idx="691">
                  <c:v>38407</c:v>
                </c:pt>
                <c:pt idx="692">
                  <c:v>38408</c:v>
                </c:pt>
                <c:pt idx="693">
                  <c:v>38411</c:v>
                </c:pt>
                <c:pt idx="694">
                  <c:v>38412</c:v>
                </c:pt>
                <c:pt idx="695">
                  <c:v>38413</c:v>
                </c:pt>
                <c:pt idx="696">
                  <c:v>38414</c:v>
                </c:pt>
                <c:pt idx="697">
                  <c:v>38415</c:v>
                </c:pt>
                <c:pt idx="698">
                  <c:v>38418</c:v>
                </c:pt>
                <c:pt idx="699">
                  <c:v>38419</c:v>
                </c:pt>
                <c:pt idx="700">
                  <c:v>38420</c:v>
                </c:pt>
                <c:pt idx="701">
                  <c:v>38421</c:v>
                </c:pt>
                <c:pt idx="702">
                  <c:v>38422</c:v>
                </c:pt>
                <c:pt idx="703">
                  <c:v>38425</c:v>
                </c:pt>
                <c:pt idx="704">
                  <c:v>38426</c:v>
                </c:pt>
                <c:pt idx="705">
                  <c:v>38427</c:v>
                </c:pt>
                <c:pt idx="706">
                  <c:v>38428</c:v>
                </c:pt>
                <c:pt idx="707">
                  <c:v>38429</c:v>
                </c:pt>
                <c:pt idx="708">
                  <c:v>38432</c:v>
                </c:pt>
                <c:pt idx="709">
                  <c:v>38433</c:v>
                </c:pt>
                <c:pt idx="710">
                  <c:v>38434</c:v>
                </c:pt>
                <c:pt idx="711">
                  <c:v>38435</c:v>
                </c:pt>
                <c:pt idx="712">
                  <c:v>38436</c:v>
                </c:pt>
                <c:pt idx="713">
                  <c:v>38439</c:v>
                </c:pt>
                <c:pt idx="714">
                  <c:v>38440</c:v>
                </c:pt>
                <c:pt idx="715">
                  <c:v>38441</c:v>
                </c:pt>
                <c:pt idx="716">
                  <c:v>38442</c:v>
                </c:pt>
                <c:pt idx="717">
                  <c:v>38443</c:v>
                </c:pt>
                <c:pt idx="718">
                  <c:v>38446</c:v>
                </c:pt>
                <c:pt idx="719">
                  <c:v>38447</c:v>
                </c:pt>
                <c:pt idx="720">
                  <c:v>38448</c:v>
                </c:pt>
                <c:pt idx="721">
                  <c:v>38449</c:v>
                </c:pt>
                <c:pt idx="722">
                  <c:v>38450</c:v>
                </c:pt>
                <c:pt idx="723">
                  <c:v>38453</c:v>
                </c:pt>
                <c:pt idx="724">
                  <c:v>38454</c:v>
                </c:pt>
                <c:pt idx="725">
                  <c:v>38455</c:v>
                </c:pt>
                <c:pt idx="726">
                  <c:v>38456</c:v>
                </c:pt>
                <c:pt idx="727">
                  <c:v>38457</c:v>
                </c:pt>
                <c:pt idx="728">
                  <c:v>38460</c:v>
                </c:pt>
                <c:pt idx="729">
                  <c:v>38461</c:v>
                </c:pt>
                <c:pt idx="730">
                  <c:v>38462</c:v>
                </c:pt>
                <c:pt idx="731">
                  <c:v>38463</c:v>
                </c:pt>
                <c:pt idx="732">
                  <c:v>38464</c:v>
                </c:pt>
                <c:pt idx="733">
                  <c:v>38467</c:v>
                </c:pt>
                <c:pt idx="734">
                  <c:v>38468</c:v>
                </c:pt>
                <c:pt idx="735">
                  <c:v>38469</c:v>
                </c:pt>
                <c:pt idx="736">
                  <c:v>38470</c:v>
                </c:pt>
                <c:pt idx="737">
                  <c:v>38471</c:v>
                </c:pt>
                <c:pt idx="738">
                  <c:v>38481</c:v>
                </c:pt>
                <c:pt idx="739">
                  <c:v>38482</c:v>
                </c:pt>
                <c:pt idx="740">
                  <c:v>38483</c:v>
                </c:pt>
                <c:pt idx="741">
                  <c:v>38484</c:v>
                </c:pt>
                <c:pt idx="742">
                  <c:v>38485</c:v>
                </c:pt>
                <c:pt idx="743">
                  <c:v>38488</c:v>
                </c:pt>
                <c:pt idx="744">
                  <c:v>38489</c:v>
                </c:pt>
                <c:pt idx="745">
                  <c:v>38490</c:v>
                </c:pt>
                <c:pt idx="746">
                  <c:v>38491</c:v>
                </c:pt>
                <c:pt idx="747">
                  <c:v>38492</c:v>
                </c:pt>
                <c:pt idx="748">
                  <c:v>38495</c:v>
                </c:pt>
                <c:pt idx="749">
                  <c:v>38496</c:v>
                </c:pt>
                <c:pt idx="750">
                  <c:v>38497</c:v>
                </c:pt>
                <c:pt idx="751">
                  <c:v>38498</c:v>
                </c:pt>
                <c:pt idx="752">
                  <c:v>38499</c:v>
                </c:pt>
                <c:pt idx="753">
                  <c:v>38502</c:v>
                </c:pt>
                <c:pt idx="754">
                  <c:v>38503</c:v>
                </c:pt>
                <c:pt idx="755">
                  <c:v>38504</c:v>
                </c:pt>
                <c:pt idx="756">
                  <c:v>38505</c:v>
                </c:pt>
                <c:pt idx="757">
                  <c:v>38506</c:v>
                </c:pt>
                <c:pt idx="758">
                  <c:v>38509</c:v>
                </c:pt>
                <c:pt idx="759">
                  <c:v>38510</c:v>
                </c:pt>
                <c:pt idx="760">
                  <c:v>38511</c:v>
                </c:pt>
                <c:pt idx="761">
                  <c:v>38512</c:v>
                </c:pt>
                <c:pt idx="762">
                  <c:v>38513</c:v>
                </c:pt>
                <c:pt idx="763">
                  <c:v>38516</c:v>
                </c:pt>
                <c:pt idx="764">
                  <c:v>38517</c:v>
                </c:pt>
                <c:pt idx="765">
                  <c:v>38518</c:v>
                </c:pt>
                <c:pt idx="766">
                  <c:v>38519</c:v>
                </c:pt>
                <c:pt idx="767">
                  <c:v>38520</c:v>
                </c:pt>
                <c:pt idx="768">
                  <c:v>38523</c:v>
                </c:pt>
                <c:pt idx="769">
                  <c:v>38524</c:v>
                </c:pt>
                <c:pt idx="770">
                  <c:v>38525</c:v>
                </c:pt>
                <c:pt idx="771">
                  <c:v>38526</c:v>
                </c:pt>
                <c:pt idx="772">
                  <c:v>38527</c:v>
                </c:pt>
                <c:pt idx="773">
                  <c:v>38530</c:v>
                </c:pt>
                <c:pt idx="774">
                  <c:v>38531</c:v>
                </c:pt>
                <c:pt idx="775">
                  <c:v>38532</c:v>
                </c:pt>
                <c:pt idx="776">
                  <c:v>38533</c:v>
                </c:pt>
                <c:pt idx="777">
                  <c:v>38534</c:v>
                </c:pt>
                <c:pt idx="778">
                  <c:v>38537</c:v>
                </c:pt>
                <c:pt idx="779">
                  <c:v>38538</c:v>
                </c:pt>
                <c:pt idx="780">
                  <c:v>38539</c:v>
                </c:pt>
                <c:pt idx="781">
                  <c:v>38540</c:v>
                </c:pt>
                <c:pt idx="782">
                  <c:v>38541</c:v>
                </c:pt>
                <c:pt idx="783">
                  <c:v>38544</c:v>
                </c:pt>
                <c:pt idx="784">
                  <c:v>38545</c:v>
                </c:pt>
                <c:pt idx="785">
                  <c:v>38546</c:v>
                </c:pt>
                <c:pt idx="786">
                  <c:v>38547</c:v>
                </c:pt>
                <c:pt idx="787">
                  <c:v>38548</c:v>
                </c:pt>
                <c:pt idx="788">
                  <c:v>38551</c:v>
                </c:pt>
                <c:pt idx="789">
                  <c:v>38552</c:v>
                </c:pt>
                <c:pt idx="790">
                  <c:v>38553</c:v>
                </c:pt>
                <c:pt idx="791">
                  <c:v>38554</c:v>
                </c:pt>
                <c:pt idx="792">
                  <c:v>38555</c:v>
                </c:pt>
                <c:pt idx="793">
                  <c:v>38558</c:v>
                </c:pt>
                <c:pt idx="794">
                  <c:v>38559</c:v>
                </c:pt>
                <c:pt idx="795">
                  <c:v>38560</c:v>
                </c:pt>
                <c:pt idx="796">
                  <c:v>38561</c:v>
                </c:pt>
                <c:pt idx="797">
                  <c:v>38562</c:v>
                </c:pt>
                <c:pt idx="798">
                  <c:v>38565</c:v>
                </c:pt>
                <c:pt idx="799">
                  <c:v>38566</c:v>
                </c:pt>
                <c:pt idx="800">
                  <c:v>38567</c:v>
                </c:pt>
                <c:pt idx="801">
                  <c:v>38568</c:v>
                </c:pt>
                <c:pt idx="802">
                  <c:v>38569</c:v>
                </c:pt>
                <c:pt idx="803">
                  <c:v>38572</c:v>
                </c:pt>
                <c:pt idx="804">
                  <c:v>38573</c:v>
                </c:pt>
                <c:pt idx="805">
                  <c:v>38574</c:v>
                </c:pt>
                <c:pt idx="806">
                  <c:v>38575</c:v>
                </c:pt>
                <c:pt idx="807">
                  <c:v>38576</c:v>
                </c:pt>
                <c:pt idx="808">
                  <c:v>38579</c:v>
                </c:pt>
                <c:pt idx="809">
                  <c:v>38580</c:v>
                </c:pt>
                <c:pt idx="810">
                  <c:v>38581</c:v>
                </c:pt>
                <c:pt idx="811">
                  <c:v>38582</c:v>
                </c:pt>
                <c:pt idx="812">
                  <c:v>38583</c:v>
                </c:pt>
                <c:pt idx="813">
                  <c:v>38586</c:v>
                </c:pt>
                <c:pt idx="814">
                  <c:v>38587</c:v>
                </c:pt>
                <c:pt idx="815">
                  <c:v>38588</c:v>
                </c:pt>
                <c:pt idx="816">
                  <c:v>38589</c:v>
                </c:pt>
                <c:pt idx="817">
                  <c:v>38590</c:v>
                </c:pt>
                <c:pt idx="818">
                  <c:v>38593</c:v>
                </c:pt>
                <c:pt idx="819">
                  <c:v>38594</c:v>
                </c:pt>
                <c:pt idx="820">
                  <c:v>38595</c:v>
                </c:pt>
                <c:pt idx="821">
                  <c:v>38596</c:v>
                </c:pt>
                <c:pt idx="822">
                  <c:v>38597</c:v>
                </c:pt>
                <c:pt idx="823">
                  <c:v>38600</c:v>
                </c:pt>
                <c:pt idx="824">
                  <c:v>38601</c:v>
                </c:pt>
                <c:pt idx="825">
                  <c:v>38602</c:v>
                </c:pt>
                <c:pt idx="826">
                  <c:v>38603</c:v>
                </c:pt>
                <c:pt idx="827">
                  <c:v>38604</c:v>
                </c:pt>
                <c:pt idx="828">
                  <c:v>38607</c:v>
                </c:pt>
                <c:pt idx="829">
                  <c:v>38608</c:v>
                </c:pt>
                <c:pt idx="830">
                  <c:v>38609</c:v>
                </c:pt>
                <c:pt idx="831">
                  <c:v>38610</c:v>
                </c:pt>
                <c:pt idx="832">
                  <c:v>38611</c:v>
                </c:pt>
                <c:pt idx="833">
                  <c:v>38614</c:v>
                </c:pt>
                <c:pt idx="834">
                  <c:v>38615</c:v>
                </c:pt>
                <c:pt idx="835">
                  <c:v>38616</c:v>
                </c:pt>
                <c:pt idx="836">
                  <c:v>38617</c:v>
                </c:pt>
                <c:pt idx="837">
                  <c:v>38618</c:v>
                </c:pt>
                <c:pt idx="838">
                  <c:v>38621</c:v>
                </c:pt>
                <c:pt idx="839">
                  <c:v>38622</c:v>
                </c:pt>
                <c:pt idx="840">
                  <c:v>38623</c:v>
                </c:pt>
                <c:pt idx="841">
                  <c:v>38624</c:v>
                </c:pt>
                <c:pt idx="842">
                  <c:v>38625</c:v>
                </c:pt>
                <c:pt idx="843">
                  <c:v>38635</c:v>
                </c:pt>
                <c:pt idx="844">
                  <c:v>38636</c:v>
                </c:pt>
                <c:pt idx="845">
                  <c:v>38637</c:v>
                </c:pt>
                <c:pt idx="846">
                  <c:v>38638</c:v>
                </c:pt>
                <c:pt idx="847">
                  <c:v>38639</c:v>
                </c:pt>
                <c:pt idx="848">
                  <c:v>38642</c:v>
                </c:pt>
                <c:pt idx="849">
                  <c:v>38643</c:v>
                </c:pt>
                <c:pt idx="850">
                  <c:v>38644</c:v>
                </c:pt>
                <c:pt idx="851">
                  <c:v>38645</c:v>
                </c:pt>
                <c:pt idx="852">
                  <c:v>38646</c:v>
                </c:pt>
                <c:pt idx="853">
                  <c:v>38649</c:v>
                </c:pt>
                <c:pt idx="854">
                  <c:v>38650</c:v>
                </c:pt>
                <c:pt idx="855">
                  <c:v>38651</c:v>
                </c:pt>
                <c:pt idx="856">
                  <c:v>38652</c:v>
                </c:pt>
                <c:pt idx="857">
                  <c:v>38653</c:v>
                </c:pt>
                <c:pt idx="858">
                  <c:v>38656</c:v>
                </c:pt>
                <c:pt idx="859">
                  <c:v>38657</c:v>
                </c:pt>
                <c:pt idx="860">
                  <c:v>38658</c:v>
                </c:pt>
                <c:pt idx="861">
                  <c:v>38659</c:v>
                </c:pt>
                <c:pt idx="862">
                  <c:v>38660</c:v>
                </c:pt>
                <c:pt idx="863">
                  <c:v>38663</c:v>
                </c:pt>
                <c:pt idx="864">
                  <c:v>38664</c:v>
                </c:pt>
                <c:pt idx="865">
                  <c:v>38665</c:v>
                </c:pt>
                <c:pt idx="866">
                  <c:v>38666</c:v>
                </c:pt>
                <c:pt idx="867">
                  <c:v>38667</c:v>
                </c:pt>
                <c:pt idx="868">
                  <c:v>38670</c:v>
                </c:pt>
                <c:pt idx="869">
                  <c:v>38671</c:v>
                </c:pt>
                <c:pt idx="870">
                  <c:v>38672</c:v>
                </c:pt>
                <c:pt idx="871">
                  <c:v>38673</c:v>
                </c:pt>
                <c:pt idx="872">
                  <c:v>38674</c:v>
                </c:pt>
                <c:pt idx="873">
                  <c:v>38677</c:v>
                </c:pt>
                <c:pt idx="874">
                  <c:v>38678</c:v>
                </c:pt>
                <c:pt idx="875">
                  <c:v>38679</c:v>
                </c:pt>
                <c:pt idx="876">
                  <c:v>38680</c:v>
                </c:pt>
                <c:pt idx="877">
                  <c:v>38681</c:v>
                </c:pt>
                <c:pt idx="878">
                  <c:v>38684</c:v>
                </c:pt>
                <c:pt idx="879">
                  <c:v>38685</c:v>
                </c:pt>
                <c:pt idx="880">
                  <c:v>38686</c:v>
                </c:pt>
                <c:pt idx="881">
                  <c:v>38687</c:v>
                </c:pt>
                <c:pt idx="882">
                  <c:v>38688</c:v>
                </c:pt>
                <c:pt idx="883">
                  <c:v>38691</c:v>
                </c:pt>
                <c:pt idx="884">
                  <c:v>38692</c:v>
                </c:pt>
                <c:pt idx="885">
                  <c:v>38693</c:v>
                </c:pt>
                <c:pt idx="886">
                  <c:v>38694</c:v>
                </c:pt>
                <c:pt idx="887">
                  <c:v>38695</c:v>
                </c:pt>
                <c:pt idx="888">
                  <c:v>38698</c:v>
                </c:pt>
                <c:pt idx="889">
                  <c:v>38699</c:v>
                </c:pt>
                <c:pt idx="890">
                  <c:v>38700</c:v>
                </c:pt>
                <c:pt idx="891">
                  <c:v>38701</c:v>
                </c:pt>
                <c:pt idx="892">
                  <c:v>38702</c:v>
                </c:pt>
                <c:pt idx="893">
                  <c:v>38705</c:v>
                </c:pt>
                <c:pt idx="894">
                  <c:v>38706</c:v>
                </c:pt>
                <c:pt idx="895">
                  <c:v>38707</c:v>
                </c:pt>
                <c:pt idx="896">
                  <c:v>38708</c:v>
                </c:pt>
                <c:pt idx="897">
                  <c:v>38709</c:v>
                </c:pt>
                <c:pt idx="898">
                  <c:v>38712</c:v>
                </c:pt>
                <c:pt idx="899">
                  <c:v>38713</c:v>
                </c:pt>
                <c:pt idx="900">
                  <c:v>38714</c:v>
                </c:pt>
                <c:pt idx="901">
                  <c:v>38715</c:v>
                </c:pt>
                <c:pt idx="902">
                  <c:v>38716</c:v>
                </c:pt>
                <c:pt idx="903">
                  <c:v>38721</c:v>
                </c:pt>
                <c:pt idx="904">
                  <c:v>38722</c:v>
                </c:pt>
                <c:pt idx="905">
                  <c:v>38723</c:v>
                </c:pt>
                <c:pt idx="906">
                  <c:v>38726</c:v>
                </c:pt>
                <c:pt idx="907">
                  <c:v>38727</c:v>
                </c:pt>
                <c:pt idx="908">
                  <c:v>38728</c:v>
                </c:pt>
                <c:pt idx="909">
                  <c:v>38729</c:v>
                </c:pt>
                <c:pt idx="910">
                  <c:v>38730</c:v>
                </c:pt>
                <c:pt idx="911">
                  <c:v>38733</c:v>
                </c:pt>
                <c:pt idx="912">
                  <c:v>38734</c:v>
                </c:pt>
                <c:pt idx="913">
                  <c:v>38735</c:v>
                </c:pt>
                <c:pt idx="914">
                  <c:v>38736</c:v>
                </c:pt>
                <c:pt idx="915">
                  <c:v>38737</c:v>
                </c:pt>
                <c:pt idx="916">
                  <c:v>38740</c:v>
                </c:pt>
                <c:pt idx="917">
                  <c:v>38741</c:v>
                </c:pt>
                <c:pt idx="918">
                  <c:v>38742</c:v>
                </c:pt>
                <c:pt idx="919">
                  <c:v>38754</c:v>
                </c:pt>
                <c:pt idx="920">
                  <c:v>38755</c:v>
                </c:pt>
                <c:pt idx="921">
                  <c:v>38756</c:v>
                </c:pt>
                <c:pt idx="922">
                  <c:v>38757</c:v>
                </c:pt>
                <c:pt idx="923">
                  <c:v>38758</c:v>
                </c:pt>
                <c:pt idx="924">
                  <c:v>38761</c:v>
                </c:pt>
                <c:pt idx="925">
                  <c:v>38762</c:v>
                </c:pt>
                <c:pt idx="926">
                  <c:v>38763</c:v>
                </c:pt>
                <c:pt idx="927">
                  <c:v>38764</c:v>
                </c:pt>
                <c:pt idx="928">
                  <c:v>38765</c:v>
                </c:pt>
                <c:pt idx="929">
                  <c:v>38768</c:v>
                </c:pt>
                <c:pt idx="930">
                  <c:v>38769</c:v>
                </c:pt>
                <c:pt idx="931">
                  <c:v>38770</c:v>
                </c:pt>
                <c:pt idx="932">
                  <c:v>38771</c:v>
                </c:pt>
                <c:pt idx="933">
                  <c:v>38772</c:v>
                </c:pt>
                <c:pt idx="934">
                  <c:v>38775</c:v>
                </c:pt>
                <c:pt idx="935">
                  <c:v>38776</c:v>
                </c:pt>
                <c:pt idx="936">
                  <c:v>38777</c:v>
                </c:pt>
                <c:pt idx="937">
                  <c:v>38778</c:v>
                </c:pt>
                <c:pt idx="938">
                  <c:v>38779</c:v>
                </c:pt>
                <c:pt idx="939">
                  <c:v>38782</c:v>
                </c:pt>
                <c:pt idx="940">
                  <c:v>38783</c:v>
                </c:pt>
                <c:pt idx="941">
                  <c:v>38784</c:v>
                </c:pt>
                <c:pt idx="942">
                  <c:v>38785</c:v>
                </c:pt>
                <c:pt idx="943">
                  <c:v>38786</c:v>
                </c:pt>
                <c:pt idx="944">
                  <c:v>38789</c:v>
                </c:pt>
                <c:pt idx="945">
                  <c:v>38790</c:v>
                </c:pt>
                <c:pt idx="946">
                  <c:v>38791</c:v>
                </c:pt>
                <c:pt idx="947">
                  <c:v>38792</c:v>
                </c:pt>
                <c:pt idx="948">
                  <c:v>38793</c:v>
                </c:pt>
                <c:pt idx="949">
                  <c:v>38796</c:v>
                </c:pt>
                <c:pt idx="950">
                  <c:v>38797</c:v>
                </c:pt>
                <c:pt idx="951">
                  <c:v>38798</c:v>
                </c:pt>
                <c:pt idx="952">
                  <c:v>38799</c:v>
                </c:pt>
                <c:pt idx="953">
                  <c:v>38800</c:v>
                </c:pt>
                <c:pt idx="954">
                  <c:v>38803</c:v>
                </c:pt>
                <c:pt idx="955">
                  <c:v>38804</c:v>
                </c:pt>
                <c:pt idx="956">
                  <c:v>38805</c:v>
                </c:pt>
                <c:pt idx="957">
                  <c:v>38806</c:v>
                </c:pt>
                <c:pt idx="958">
                  <c:v>38807</c:v>
                </c:pt>
                <c:pt idx="959">
                  <c:v>38810</c:v>
                </c:pt>
                <c:pt idx="960">
                  <c:v>38811</c:v>
                </c:pt>
                <c:pt idx="961">
                  <c:v>38812</c:v>
                </c:pt>
                <c:pt idx="962">
                  <c:v>38813</c:v>
                </c:pt>
                <c:pt idx="963">
                  <c:v>38814</c:v>
                </c:pt>
                <c:pt idx="964">
                  <c:v>38817</c:v>
                </c:pt>
                <c:pt idx="965">
                  <c:v>38818</c:v>
                </c:pt>
                <c:pt idx="966">
                  <c:v>38819</c:v>
                </c:pt>
                <c:pt idx="967">
                  <c:v>38820</c:v>
                </c:pt>
                <c:pt idx="968">
                  <c:v>38821</c:v>
                </c:pt>
                <c:pt idx="969">
                  <c:v>38824</c:v>
                </c:pt>
                <c:pt idx="970">
                  <c:v>38825</c:v>
                </c:pt>
                <c:pt idx="971">
                  <c:v>38826</c:v>
                </c:pt>
                <c:pt idx="972">
                  <c:v>38827</c:v>
                </c:pt>
                <c:pt idx="973">
                  <c:v>38828</c:v>
                </c:pt>
                <c:pt idx="974">
                  <c:v>38831</c:v>
                </c:pt>
                <c:pt idx="975">
                  <c:v>38832</c:v>
                </c:pt>
                <c:pt idx="976">
                  <c:v>38833</c:v>
                </c:pt>
                <c:pt idx="977">
                  <c:v>38834</c:v>
                </c:pt>
                <c:pt idx="978">
                  <c:v>38835</c:v>
                </c:pt>
                <c:pt idx="979">
                  <c:v>38845</c:v>
                </c:pt>
                <c:pt idx="980">
                  <c:v>38846</c:v>
                </c:pt>
                <c:pt idx="981">
                  <c:v>38847</c:v>
                </c:pt>
                <c:pt idx="982">
                  <c:v>38848</c:v>
                </c:pt>
                <c:pt idx="983">
                  <c:v>38849</c:v>
                </c:pt>
                <c:pt idx="984">
                  <c:v>38852</c:v>
                </c:pt>
                <c:pt idx="985">
                  <c:v>38853</c:v>
                </c:pt>
                <c:pt idx="986">
                  <c:v>38854</c:v>
                </c:pt>
                <c:pt idx="987">
                  <c:v>38855</c:v>
                </c:pt>
                <c:pt idx="988">
                  <c:v>38856</c:v>
                </c:pt>
                <c:pt idx="989">
                  <c:v>38859</c:v>
                </c:pt>
                <c:pt idx="990">
                  <c:v>38860</c:v>
                </c:pt>
                <c:pt idx="991">
                  <c:v>38861</c:v>
                </c:pt>
                <c:pt idx="992">
                  <c:v>38862</c:v>
                </c:pt>
                <c:pt idx="993">
                  <c:v>38863</c:v>
                </c:pt>
                <c:pt idx="994">
                  <c:v>38866</c:v>
                </c:pt>
                <c:pt idx="995">
                  <c:v>38867</c:v>
                </c:pt>
                <c:pt idx="996">
                  <c:v>38868</c:v>
                </c:pt>
                <c:pt idx="997">
                  <c:v>38869</c:v>
                </c:pt>
                <c:pt idx="998">
                  <c:v>38870</c:v>
                </c:pt>
                <c:pt idx="999">
                  <c:v>38873</c:v>
                </c:pt>
                <c:pt idx="1000">
                  <c:v>38874</c:v>
                </c:pt>
                <c:pt idx="1001">
                  <c:v>38875</c:v>
                </c:pt>
                <c:pt idx="1002">
                  <c:v>38876</c:v>
                </c:pt>
                <c:pt idx="1003">
                  <c:v>38877</c:v>
                </c:pt>
                <c:pt idx="1004">
                  <c:v>38880</c:v>
                </c:pt>
                <c:pt idx="1005">
                  <c:v>38881</c:v>
                </c:pt>
                <c:pt idx="1006">
                  <c:v>38882</c:v>
                </c:pt>
                <c:pt idx="1007">
                  <c:v>38883</c:v>
                </c:pt>
                <c:pt idx="1008">
                  <c:v>38884</c:v>
                </c:pt>
                <c:pt idx="1009">
                  <c:v>38887</c:v>
                </c:pt>
                <c:pt idx="1010">
                  <c:v>38888</c:v>
                </c:pt>
                <c:pt idx="1011">
                  <c:v>38889</c:v>
                </c:pt>
                <c:pt idx="1012">
                  <c:v>38890</c:v>
                </c:pt>
                <c:pt idx="1013">
                  <c:v>38891</c:v>
                </c:pt>
                <c:pt idx="1014">
                  <c:v>38894</c:v>
                </c:pt>
                <c:pt idx="1015">
                  <c:v>38895</c:v>
                </c:pt>
                <c:pt idx="1016">
                  <c:v>38896</c:v>
                </c:pt>
                <c:pt idx="1017">
                  <c:v>38897</c:v>
                </c:pt>
                <c:pt idx="1018">
                  <c:v>38898</c:v>
                </c:pt>
                <c:pt idx="1019">
                  <c:v>38901</c:v>
                </c:pt>
                <c:pt idx="1020">
                  <c:v>38902</c:v>
                </c:pt>
                <c:pt idx="1021">
                  <c:v>38903</c:v>
                </c:pt>
                <c:pt idx="1022">
                  <c:v>38904</c:v>
                </c:pt>
                <c:pt idx="1023">
                  <c:v>38905</c:v>
                </c:pt>
                <c:pt idx="1024">
                  <c:v>38908</c:v>
                </c:pt>
                <c:pt idx="1025">
                  <c:v>38909</c:v>
                </c:pt>
                <c:pt idx="1026">
                  <c:v>38910</c:v>
                </c:pt>
                <c:pt idx="1027">
                  <c:v>38911</c:v>
                </c:pt>
                <c:pt idx="1028">
                  <c:v>38912</c:v>
                </c:pt>
                <c:pt idx="1029">
                  <c:v>38915</c:v>
                </c:pt>
                <c:pt idx="1030">
                  <c:v>38916</c:v>
                </c:pt>
                <c:pt idx="1031">
                  <c:v>38917</c:v>
                </c:pt>
                <c:pt idx="1032">
                  <c:v>38918</c:v>
                </c:pt>
                <c:pt idx="1033">
                  <c:v>38919</c:v>
                </c:pt>
                <c:pt idx="1034">
                  <c:v>38922</c:v>
                </c:pt>
                <c:pt idx="1035">
                  <c:v>38923</c:v>
                </c:pt>
                <c:pt idx="1036">
                  <c:v>38924</c:v>
                </c:pt>
                <c:pt idx="1037">
                  <c:v>38925</c:v>
                </c:pt>
                <c:pt idx="1038">
                  <c:v>38926</c:v>
                </c:pt>
                <c:pt idx="1039">
                  <c:v>38929</c:v>
                </c:pt>
                <c:pt idx="1040">
                  <c:v>38930</c:v>
                </c:pt>
                <c:pt idx="1041">
                  <c:v>38931</c:v>
                </c:pt>
                <c:pt idx="1042">
                  <c:v>38932</c:v>
                </c:pt>
                <c:pt idx="1043">
                  <c:v>38933</c:v>
                </c:pt>
                <c:pt idx="1044">
                  <c:v>38936</c:v>
                </c:pt>
                <c:pt idx="1045">
                  <c:v>38937</c:v>
                </c:pt>
                <c:pt idx="1046">
                  <c:v>38938</c:v>
                </c:pt>
                <c:pt idx="1047">
                  <c:v>38939</c:v>
                </c:pt>
                <c:pt idx="1048">
                  <c:v>38940</c:v>
                </c:pt>
                <c:pt idx="1049">
                  <c:v>38943</c:v>
                </c:pt>
                <c:pt idx="1050">
                  <c:v>38944</c:v>
                </c:pt>
                <c:pt idx="1051">
                  <c:v>38945</c:v>
                </c:pt>
                <c:pt idx="1052">
                  <c:v>38946</c:v>
                </c:pt>
                <c:pt idx="1053">
                  <c:v>38947</c:v>
                </c:pt>
                <c:pt idx="1054">
                  <c:v>38950</c:v>
                </c:pt>
                <c:pt idx="1055">
                  <c:v>38951</c:v>
                </c:pt>
                <c:pt idx="1056">
                  <c:v>38952</c:v>
                </c:pt>
                <c:pt idx="1057">
                  <c:v>38953</c:v>
                </c:pt>
                <c:pt idx="1058">
                  <c:v>38954</c:v>
                </c:pt>
                <c:pt idx="1059">
                  <c:v>38957</c:v>
                </c:pt>
                <c:pt idx="1060">
                  <c:v>38958</c:v>
                </c:pt>
                <c:pt idx="1061">
                  <c:v>38959</c:v>
                </c:pt>
                <c:pt idx="1062">
                  <c:v>38960</c:v>
                </c:pt>
                <c:pt idx="1063">
                  <c:v>38961</c:v>
                </c:pt>
                <c:pt idx="1064">
                  <c:v>38964</c:v>
                </c:pt>
                <c:pt idx="1065">
                  <c:v>38965</c:v>
                </c:pt>
                <c:pt idx="1066">
                  <c:v>38966</c:v>
                </c:pt>
                <c:pt idx="1067">
                  <c:v>38967</c:v>
                </c:pt>
                <c:pt idx="1068">
                  <c:v>38968</c:v>
                </c:pt>
                <c:pt idx="1069">
                  <c:v>38971</c:v>
                </c:pt>
                <c:pt idx="1070">
                  <c:v>38972</c:v>
                </c:pt>
                <c:pt idx="1071">
                  <c:v>38973</c:v>
                </c:pt>
                <c:pt idx="1072">
                  <c:v>38974</c:v>
                </c:pt>
                <c:pt idx="1073">
                  <c:v>38975</c:v>
                </c:pt>
                <c:pt idx="1074">
                  <c:v>38978</c:v>
                </c:pt>
                <c:pt idx="1075">
                  <c:v>38979</c:v>
                </c:pt>
                <c:pt idx="1076">
                  <c:v>38980</c:v>
                </c:pt>
                <c:pt idx="1077">
                  <c:v>38981</c:v>
                </c:pt>
                <c:pt idx="1078">
                  <c:v>38982</c:v>
                </c:pt>
                <c:pt idx="1079">
                  <c:v>38985</c:v>
                </c:pt>
                <c:pt idx="1080">
                  <c:v>38986</c:v>
                </c:pt>
                <c:pt idx="1081">
                  <c:v>38987</c:v>
                </c:pt>
                <c:pt idx="1082">
                  <c:v>38988</c:v>
                </c:pt>
                <c:pt idx="1083">
                  <c:v>38989</c:v>
                </c:pt>
                <c:pt idx="1084">
                  <c:v>38999</c:v>
                </c:pt>
                <c:pt idx="1085">
                  <c:v>39000</c:v>
                </c:pt>
                <c:pt idx="1086">
                  <c:v>39001</c:v>
                </c:pt>
                <c:pt idx="1087">
                  <c:v>39002</c:v>
                </c:pt>
                <c:pt idx="1088">
                  <c:v>39003</c:v>
                </c:pt>
                <c:pt idx="1089">
                  <c:v>39006</c:v>
                </c:pt>
                <c:pt idx="1090">
                  <c:v>39007</c:v>
                </c:pt>
                <c:pt idx="1091">
                  <c:v>39008</c:v>
                </c:pt>
                <c:pt idx="1092">
                  <c:v>39009</c:v>
                </c:pt>
                <c:pt idx="1093">
                  <c:v>39010</c:v>
                </c:pt>
                <c:pt idx="1094">
                  <c:v>39013</c:v>
                </c:pt>
                <c:pt idx="1095">
                  <c:v>39014</c:v>
                </c:pt>
                <c:pt idx="1096">
                  <c:v>39015</c:v>
                </c:pt>
                <c:pt idx="1097">
                  <c:v>39016</c:v>
                </c:pt>
                <c:pt idx="1098">
                  <c:v>39017</c:v>
                </c:pt>
                <c:pt idx="1099">
                  <c:v>39020</c:v>
                </c:pt>
                <c:pt idx="1100">
                  <c:v>39021</c:v>
                </c:pt>
                <c:pt idx="1101">
                  <c:v>39022</c:v>
                </c:pt>
                <c:pt idx="1102">
                  <c:v>39023</c:v>
                </c:pt>
                <c:pt idx="1103">
                  <c:v>39024</c:v>
                </c:pt>
                <c:pt idx="1104">
                  <c:v>39027</c:v>
                </c:pt>
                <c:pt idx="1105">
                  <c:v>39028</c:v>
                </c:pt>
                <c:pt idx="1106">
                  <c:v>39029</c:v>
                </c:pt>
                <c:pt idx="1107">
                  <c:v>39030</c:v>
                </c:pt>
                <c:pt idx="1108">
                  <c:v>39031</c:v>
                </c:pt>
                <c:pt idx="1109">
                  <c:v>39034</c:v>
                </c:pt>
                <c:pt idx="1110">
                  <c:v>39035</c:v>
                </c:pt>
                <c:pt idx="1111">
                  <c:v>39036</c:v>
                </c:pt>
                <c:pt idx="1112">
                  <c:v>39037</c:v>
                </c:pt>
                <c:pt idx="1113">
                  <c:v>39038</c:v>
                </c:pt>
                <c:pt idx="1114">
                  <c:v>39041</c:v>
                </c:pt>
                <c:pt idx="1115">
                  <c:v>39042</c:v>
                </c:pt>
                <c:pt idx="1116">
                  <c:v>39043</c:v>
                </c:pt>
                <c:pt idx="1117">
                  <c:v>39044</c:v>
                </c:pt>
                <c:pt idx="1118">
                  <c:v>39045</c:v>
                </c:pt>
                <c:pt idx="1119">
                  <c:v>39048</c:v>
                </c:pt>
                <c:pt idx="1120">
                  <c:v>39049</c:v>
                </c:pt>
                <c:pt idx="1121">
                  <c:v>39050</c:v>
                </c:pt>
                <c:pt idx="1122">
                  <c:v>39051</c:v>
                </c:pt>
                <c:pt idx="1123">
                  <c:v>39052</c:v>
                </c:pt>
                <c:pt idx="1124">
                  <c:v>39055</c:v>
                </c:pt>
                <c:pt idx="1125">
                  <c:v>39056</c:v>
                </c:pt>
                <c:pt idx="1126">
                  <c:v>39057</c:v>
                </c:pt>
                <c:pt idx="1127">
                  <c:v>39058</c:v>
                </c:pt>
                <c:pt idx="1128">
                  <c:v>39059</c:v>
                </c:pt>
                <c:pt idx="1129">
                  <c:v>39062</c:v>
                </c:pt>
                <c:pt idx="1130">
                  <c:v>39063</c:v>
                </c:pt>
                <c:pt idx="1131">
                  <c:v>39064</c:v>
                </c:pt>
                <c:pt idx="1132">
                  <c:v>39065</c:v>
                </c:pt>
                <c:pt idx="1133">
                  <c:v>39066</c:v>
                </c:pt>
                <c:pt idx="1134">
                  <c:v>39069</c:v>
                </c:pt>
                <c:pt idx="1135">
                  <c:v>39070</c:v>
                </c:pt>
                <c:pt idx="1136">
                  <c:v>39071</c:v>
                </c:pt>
                <c:pt idx="1137">
                  <c:v>39072</c:v>
                </c:pt>
                <c:pt idx="1138">
                  <c:v>39073</c:v>
                </c:pt>
                <c:pt idx="1139">
                  <c:v>39076</c:v>
                </c:pt>
                <c:pt idx="1140">
                  <c:v>39077</c:v>
                </c:pt>
                <c:pt idx="1141">
                  <c:v>39078</c:v>
                </c:pt>
                <c:pt idx="1142">
                  <c:v>39079</c:v>
                </c:pt>
                <c:pt idx="1143">
                  <c:v>39080</c:v>
                </c:pt>
                <c:pt idx="1144">
                  <c:v>39086</c:v>
                </c:pt>
                <c:pt idx="1145">
                  <c:v>39087</c:v>
                </c:pt>
                <c:pt idx="1146">
                  <c:v>39090</c:v>
                </c:pt>
                <c:pt idx="1147">
                  <c:v>39091</c:v>
                </c:pt>
                <c:pt idx="1148">
                  <c:v>39092</c:v>
                </c:pt>
                <c:pt idx="1149">
                  <c:v>39093</c:v>
                </c:pt>
                <c:pt idx="1150">
                  <c:v>39094</c:v>
                </c:pt>
                <c:pt idx="1151">
                  <c:v>39097</c:v>
                </c:pt>
                <c:pt idx="1152">
                  <c:v>39098</c:v>
                </c:pt>
                <c:pt idx="1153">
                  <c:v>39099</c:v>
                </c:pt>
                <c:pt idx="1154">
                  <c:v>39100</c:v>
                </c:pt>
                <c:pt idx="1155">
                  <c:v>39101</c:v>
                </c:pt>
                <c:pt idx="1156">
                  <c:v>39104</c:v>
                </c:pt>
                <c:pt idx="1157">
                  <c:v>39105</c:v>
                </c:pt>
                <c:pt idx="1158">
                  <c:v>39106</c:v>
                </c:pt>
                <c:pt idx="1159">
                  <c:v>39107</c:v>
                </c:pt>
                <c:pt idx="1160">
                  <c:v>39108</c:v>
                </c:pt>
                <c:pt idx="1161">
                  <c:v>39111</c:v>
                </c:pt>
                <c:pt idx="1162">
                  <c:v>39112</c:v>
                </c:pt>
                <c:pt idx="1163">
                  <c:v>39113</c:v>
                </c:pt>
                <c:pt idx="1164">
                  <c:v>39114</c:v>
                </c:pt>
                <c:pt idx="1165">
                  <c:v>39115</c:v>
                </c:pt>
                <c:pt idx="1166">
                  <c:v>39118</c:v>
                </c:pt>
                <c:pt idx="1167">
                  <c:v>39119</c:v>
                </c:pt>
                <c:pt idx="1168">
                  <c:v>39120</c:v>
                </c:pt>
                <c:pt idx="1169">
                  <c:v>39121</c:v>
                </c:pt>
                <c:pt idx="1170">
                  <c:v>39122</c:v>
                </c:pt>
                <c:pt idx="1171">
                  <c:v>39125</c:v>
                </c:pt>
                <c:pt idx="1172">
                  <c:v>39126</c:v>
                </c:pt>
                <c:pt idx="1173">
                  <c:v>39127</c:v>
                </c:pt>
                <c:pt idx="1174">
                  <c:v>39128</c:v>
                </c:pt>
                <c:pt idx="1175">
                  <c:v>39129</c:v>
                </c:pt>
                <c:pt idx="1176">
                  <c:v>39139</c:v>
                </c:pt>
                <c:pt idx="1177">
                  <c:v>39140</c:v>
                </c:pt>
                <c:pt idx="1178">
                  <c:v>39141</c:v>
                </c:pt>
                <c:pt idx="1179">
                  <c:v>39142</c:v>
                </c:pt>
                <c:pt idx="1180">
                  <c:v>39143</c:v>
                </c:pt>
                <c:pt idx="1181">
                  <c:v>39146</c:v>
                </c:pt>
                <c:pt idx="1182">
                  <c:v>39147</c:v>
                </c:pt>
                <c:pt idx="1183">
                  <c:v>39148</c:v>
                </c:pt>
                <c:pt idx="1184">
                  <c:v>39149</c:v>
                </c:pt>
                <c:pt idx="1185">
                  <c:v>39150</c:v>
                </c:pt>
                <c:pt idx="1186">
                  <c:v>39153</c:v>
                </c:pt>
                <c:pt idx="1187">
                  <c:v>39154</c:v>
                </c:pt>
                <c:pt idx="1188">
                  <c:v>39155</c:v>
                </c:pt>
                <c:pt idx="1189">
                  <c:v>39156</c:v>
                </c:pt>
                <c:pt idx="1190">
                  <c:v>39157</c:v>
                </c:pt>
                <c:pt idx="1191">
                  <c:v>39160</c:v>
                </c:pt>
                <c:pt idx="1192">
                  <c:v>39161</c:v>
                </c:pt>
                <c:pt idx="1193">
                  <c:v>39162</c:v>
                </c:pt>
                <c:pt idx="1194">
                  <c:v>39163</c:v>
                </c:pt>
                <c:pt idx="1195">
                  <c:v>39164</c:v>
                </c:pt>
                <c:pt idx="1196">
                  <c:v>39167</c:v>
                </c:pt>
                <c:pt idx="1197">
                  <c:v>39168</c:v>
                </c:pt>
                <c:pt idx="1198">
                  <c:v>39169</c:v>
                </c:pt>
                <c:pt idx="1199">
                  <c:v>39170</c:v>
                </c:pt>
                <c:pt idx="1200">
                  <c:v>39171</c:v>
                </c:pt>
                <c:pt idx="1201">
                  <c:v>39174</c:v>
                </c:pt>
                <c:pt idx="1202">
                  <c:v>39175</c:v>
                </c:pt>
                <c:pt idx="1203">
                  <c:v>39176</c:v>
                </c:pt>
                <c:pt idx="1204">
                  <c:v>39177</c:v>
                </c:pt>
                <c:pt idx="1205">
                  <c:v>39178</c:v>
                </c:pt>
                <c:pt idx="1206">
                  <c:v>39181</c:v>
                </c:pt>
                <c:pt idx="1207">
                  <c:v>39182</c:v>
                </c:pt>
                <c:pt idx="1208">
                  <c:v>39183</c:v>
                </c:pt>
                <c:pt idx="1209">
                  <c:v>39184</c:v>
                </c:pt>
                <c:pt idx="1210">
                  <c:v>39185</c:v>
                </c:pt>
                <c:pt idx="1211">
                  <c:v>39188</c:v>
                </c:pt>
                <c:pt idx="1212">
                  <c:v>39189</c:v>
                </c:pt>
                <c:pt idx="1213">
                  <c:v>39190</c:v>
                </c:pt>
                <c:pt idx="1214">
                  <c:v>39191</c:v>
                </c:pt>
                <c:pt idx="1215">
                  <c:v>39192</c:v>
                </c:pt>
                <c:pt idx="1216">
                  <c:v>39195</c:v>
                </c:pt>
                <c:pt idx="1217">
                  <c:v>39196</c:v>
                </c:pt>
                <c:pt idx="1218">
                  <c:v>39197</c:v>
                </c:pt>
                <c:pt idx="1219">
                  <c:v>39198</c:v>
                </c:pt>
                <c:pt idx="1220">
                  <c:v>39199</c:v>
                </c:pt>
                <c:pt idx="1221">
                  <c:v>39202</c:v>
                </c:pt>
                <c:pt idx="1222">
                  <c:v>39210</c:v>
                </c:pt>
                <c:pt idx="1223">
                  <c:v>39211</c:v>
                </c:pt>
                <c:pt idx="1224">
                  <c:v>39212</c:v>
                </c:pt>
                <c:pt idx="1225">
                  <c:v>39213</c:v>
                </c:pt>
                <c:pt idx="1226">
                  <c:v>39216</c:v>
                </c:pt>
                <c:pt idx="1227">
                  <c:v>39217</c:v>
                </c:pt>
                <c:pt idx="1228">
                  <c:v>39218</c:v>
                </c:pt>
                <c:pt idx="1229">
                  <c:v>39219</c:v>
                </c:pt>
                <c:pt idx="1230">
                  <c:v>39220</c:v>
                </c:pt>
                <c:pt idx="1231">
                  <c:v>39223</c:v>
                </c:pt>
                <c:pt idx="1232">
                  <c:v>39224</c:v>
                </c:pt>
                <c:pt idx="1233">
                  <c:v>39225</c:v>
                </c:pt>
                <c:pt idx="1234">
                  <c:v>39226</c:v>
                </c:pt>
                <c:pt idx="1235">
                  <c:v>39227</c:v>
                </c:pt>
                <c:pt idx="1236">
                  <c:v>39230</c:v>
                </c:pt>
                <c:pt idx="1237">
                  <c:v>39231</c:v>
                </c:pt>
                <c:pt idx="1238">
                  <c:v>39232</c:v>
                </c:pt>
                <c:pt idx="1239">
                  <c:v>39233</c:v>
                </c:pt>
                <c:pt idx="1240">
                  <c:v>39234</c:v>
                </c:pt>
                <c:pt idx="1241">
                  <c:v>39237</c:v>
                </c:pt>
                <c:pt idx="1242">
                  <c:v>39238</c:v>
                </c:pt>
                <c:pt idx="1243">
                  <c:v>39239</c:v>
                </c:pt>
                <c:pt idx="1244">
                  <c:v>39240</c:v>
                </c:pt>
                <c:pt idx="1245">
                  <c:v>39241</c:v>
                </c:pt>
                <c:pt idx="1246">
                  <c:v>39244</c:v>
                </c:pt>
                <c:pt idx="1247">
                  <c:v>39245</c:v>
                </c:pt>
                <c:pt idx="1248">
                  <c:v>39246</c:v>
                </c:pt>
                <c:pt idx="1249">
                  <c:v>39247</c:v>
                </c:pt>
                <c:pt idx="1250">
                  <c:v>39248</c:v>
                </c:pt>
                <c:pt idx="1251">
                  <c:v>39251</c:v>
                </c:pt>
                <c:pt idx="1252">
                  <c:v>39252</c:v>
                </c:pt>
                <c:pt idx="1253">
                  <c:v>39253</c:v>
                </c:pt>
                <c:pt idx="1254">
                  <c:v>39254</c:v>
                </c:pt>
                <c:pt idx="1255">
                  <c:v>39255</c:v>
                </c:pt>
                <c:pt idx="1256">
                  <c:v>39258</c:v>
                </c:pt>
                <c:pt idx="1257">
                  <c:v>39259</c:v>
                </c:pt>
                <c:pt idx="1258">
                  <c:v>39260</c:v>
                </c:pt>
                <c:pt idx="1259">
                  <c:v>39261</c:v>
                </c:pt>
                <c:pt idx="1260">
                  <c:v>39262</c:v>
                </c:pt>
                <c:pt idx="1261">
                  <c:v>39265</c:v>
                </c:pt>
                <c:pt idx="1262">
                  <c:v>39266</c:v>
                </c:pt>
                <c:pt idx="1263">
                  <c:v>39267</c:v>
                </c:pt>
                <c:pt idx="1264">
                  <c:v>39268</c:v>
                </c:pt>
                <c:pt idx="1265">
                  <c:v>39269</c:v>
                </c:pt>
                <c:pt idx="1266">
                  <c:v>39272</c:v>
                </c:pt>
                <c:pt idx="1267">
                  <c:v>39273</c:v>
                </c:pt>
                <c:pt idx="1268">
                  <c:v>39274</c:v>
                </c:pt>
                <c:pt idx="1269">
                  <c:v>39275</c:v>
                </c:pt>
                <c:pt idx="1270">
                  <c:v>39276</c:v>
                </c:pt>
                <c:pt idx="1271">
                  <c:v>39279</c:v>
                </c:pt>
                <c:pt idx="1272">
                  <c:v>39280</c:v>
                </c:pt>
                <c:pt idx="1273">
                  <c:v>39281</c:v>
                </c:pt>
                <c:pt idx="1274">
                  <c:v>39282</c:v>
                </c:pt>
                <c:pt idx="1275">
                  <c:v>39283</c:v>
                </c:pt>
                <c:pt idx="1276">
                  <c:v>39286</c:v>
                </c:pt>
                <c:pt idx="1277">
                  <c:v>39287</c:v>
                </c:pt>
                <c:pt idx="1278">
                  <c:v>39288</c:v>
                </c:pt>
                <c:pt idx="1279">
                  <c:v>39289</c:v>
                </c:pt>
                <c:pt idx="1280">
                  <c:v>39290</c:v>
                </c:pt>
                <c:pt idx="1281">
                  <c:v>39293</c:v>
                </c:pt>
                <c:pt idx="1282">
                  <c:v>39294</c:v>
                </c:pt>
                <c:pt idx="1283">
                  <c:v>39295</c:v>
                </c:pt>
                <c:pt idx="1284">
                  <c:v>39296</c:v>
                </c:pt>
                <c:pt idx="1285">
                  <c:v>39297</c:v>
                </c:pt>
                <c:pt idx="1286">
                  <c:v>39300</c:v>
                </c:pt>
                <c:pt idx="1287">
                  <c:v>39301</c:v>
                </c:pt>
                <c:pt idx="1288">
                  <c:v>39302</c:v>
                </c:pt>
                <c:pt idx="1289">
                  <c:v>39303</c:v>
                </c:pt>
                <c:pt idx="1290">
                  <c:v>39304</c:v>
                </c:pt>
                <c:pt idx="1291">
                  <c:v>39307</c:v>
                </c:pt>
                <c:pt idx="1292">
                  <c:v>39308</c:v>
                </c:pt>
                <c:pt idx="1293">
                  <c:v>39309</c:v>
                </c:pt>
                <c:pt idx="1294">
                  <c:v>39310</c:v>
                </c:pt>
                <c:pt idx="1295">
                  <c:v>39311</c:v>
                </c:pt>
                <c:pt idx="1296">
                  <c:v>39314</c:v>
                </c:pt>
                <c:pt idx="1297">
                  <c:v>39315</c:v>
                </c:pt>
                <c:pt idx="1298">
                  <c:v>39316</c:v>
                </c:pt>
                <c:pt idx="1299">
                  <c:v>39317</c:v>
                </c:pt>
                <c:pt idx="1300">
                  <c:v>39318</c:v>
                </c:pt>
                <c:pt idx="1301">
                  <c:v>39321</c:v>
                </c:pt>
                <c:pt idx="1302">
                  <c:v>39322</c:v>
                </c:pt>
                <c:pt idx="1303">
                  <c:v>39323</c:v>
                </c:pt>
                <c:pt idx="1304">
                  <c:v>39324</c:v>
                </c:pt>
                <c:pt idx="1305">
                  <c:v>39325</c:v>
                </c:pt>
                <c:pt idx="1306">
                  <c:v>39328</c:v>
                </c:pt>
                <c:pt idx="1307">
                  <c:v>39329</c:v>
                </c:pt>
                <c:pt idx="1308">
                  <c:v>39330</c:v>
                </c:pt>
                <c:pt idx="1309">
                  <c:v>39331</c:v>
                </c:pt>
                <c:pt idx="1310">
                  <c:v>39332</c:v>
                </c:pt>
                <c:pt idx="1311">
                  <c:v>39335</c:v>
                </c:pt>
                <c:pt idx="1312">
                  <c:v>39336</c:v>
                </c:pt>
                <c:pt idx="1313">
                  <c:v>39337</c:v>
                </c:pt>
                <c:pt idx="1314">
                  <c:v>39338</c:v>
                </c:pt>
                <c:pt idx="1315">
                  <c:v>39339</c:v>
                </c:pt>
                <c:pt idx="1316">
                  <c:v>39342</c:v>
                </c:pt>
                <c:pt idx="1317">
                  <c:v>39343</c:v>
                </c:pt>
                <c:pt idx="1318">
                  <c:v>39344</c:v>
                </c:pt>
                <c:pt idx="1319">
                  <c:v>39345</c:v>
                </c:pt>
                <c:pt idx="1320">
                  <c:v>39346</c:v>
                </c:pt>
                <c:pt idx="1321">
                  <c:v>39349</c:v>
                </c:pt>
                <c:pt idx="1322">
                  <c:v>39350</c:v>
                </c:pt>
                <c:pt idx="1323">
                  <c:v>39351</c:v>
                </c:pt>
                <c:pt idx="1324">
                  <c:v>39352</c:v>
                </c:pt>
                <c:pt idx="1325">
                  <c:v>39353</c:v>
                </c:pt>
                <c:pt idx="1326">
                  <c:v>39363</c:v>
                </c:pt>
                <c:pt idx="1327">
                  <c:v>39364</c:v>
                </c:pt>
                <c:pt idx="1328">
                  <c:v>39365</c:v>
                </c:pt>
                <c:pt idx="1329">
                  <c:v>39366</c:v>
                </c:pt>
                <c:pt idx="1330">
                  <c:v>39367</c:v>
                </c:pt>
                <c:pt idx="1331">
                  <c:v>39370</c:v>
                </c:pt>
                <c:pt idx="1332">
                  <c:v>39371</c:v>
                </c:pt>
                <c:pt idx="1333">
                  <c:v>39372</c:v>
                </c:pt>
                <c:pt idx="1334">
                  <c:v>39373</c:v>
                </c:pt>
                <c:pt idx="1335">
                  <c:v>39374</c:v>
                </c:pt>
                <c:pt idx="1336">
                  <c:v>39377</c:v>
                </c:pt>
                <c:pt idx="1337">
                  <c:v>39378</c:v>
                </c:pt>
                <c:pt idx="1338">
                  <c:v>39379</c:v>
                </c:pt>
                <c:pt idx="1339">
                  <c:v>39380</c:v>
                </c:pt>
                <c:pt idx="1340">
                  <c:v>39381</c:v>
                </c:pt>
                <c:pt idx="1341">
                  <c:v>39384</c:v>
                </c:pt>
                <c:pt idx="1342">
                  <c:v>39385</c:v>
                </c:pt>
                <c:pt idx="1343">
                  <c:v>39386</c:v>
                </c:pt>
                <c:pt idx="1344">
                  <c:v>39387</c:v>
                </c:pt>
                <c:pt idx="1345">
                  <c:v>39388</c:v>
                </c:pt>
                <c:pt idx="1346">
                  <c:v>39391</c:v>
                </c:pt>
                <c:pt idx="1347">
                  <c:v>39392</c:v>
                </c:pt>
                <c:pt idx="1348">
                  <c:v>39393</c:v>
                </c:pt>
                <c:pt idx="1349">
                  <c:v>39394</c:v>
                </c:pt>
                <c:pt idx="1350">
                  <c:v>39395</c:v>
                </c:pt>
                <c:pt idx="1351">
                  <c:v>39398</c:v>
                </c:pt>
                <c:pt idx="1352">
                  <c:v>39399</c:v>
                </c:pt>
                <c:pt idx="1353">
                  <c:v>39400</c:v>
                </c:pt>
                <c:pt idx="1354">
                  <c:v>39401</c:v>
                </c:pt>
                <c:pt idx="1355">
                  <c:v>39402</c:v>
                </c:pt>
                <c:pt idx="1356">
                  <c:v>39405</c:v>
                </c:pt>
                <c:pt idx="1357">
                  <c:v>39406</c:v>
                </c:pt>
                <c:pt idx="1358">
                  <c:v>39407</c:v>
                </c:pt>
                <c:pt idx="1359">
                  <c:v>39408</c:v>
                </c:pt>
                <c:pt idx="1360">
                  <c:v>39409</c:v>
                </c:pt>
                <c:pt idx="1361">
                  <c:v>39412</c:v>
                </c:pt>
                <c:pt idx="1362">
                  <c:v>39413</c:v>
                </c:pt>
                <c:pt idx="1363">
                  <c:v>39414</c:v>
                </c:pt>
                <c:pt idx="1364">
                  <c:v>39415</c:v>
                </c:pt>
                <c:pt idx="1365">
                  <c:v>39416</c:v>
                </c:pt>
                <c:pt idx="1366">
                  <c:v>39419</c:v>
                </c:pt>
                <c:pt idx="1367">
                  <c:v>39420</c:v>
                </c:pt>
                <c:pt idx="1368">
                  <c:v>39421</c:v>
                </c:pt>
                <c:pt idx="1369">
                  <c:v>39422</c:v>
                </c:pt>
                <c:pt idx="1370">
                  <c:v>39423</c:v>
                </c:pt>
                <c:pt idx="1371">
                  <c:v>39426</c:v>
                </c:pt>
                <c:pt idx="1372">
                  <c:v>39427</c:v>
                </c:pt>
                <c:pt idx="1373">
                  <c:v>39428</c:v>
                </c:pt>
                <c:pt idx="1374">
                  <c:v>39429</c:v>
                </c:pt>
                <c:pt idx="1375">
                  <c:v>39430</c:v>
                </c:pt>
                <c:pt idx="1376">
                  <c:v>39433</c:v>
                </c:pt>
                <c:pt idx="1377">
                  <c:v>39434</c:v>
                </c:pt>
                <c:pt idx="1378">
                  <c:v>39435</c:v>
                </c:pt>
                <c:pt idx="1379">
                  <c:v>39436</c:v>
                </c:pt>
                <c:pt idx="1380">
                  <c:v>39437</c:v>
                </c:pt>
                <c:pt idx="1381">
                  <c:v>39440</c:v>
                </c:pt>
                <c:pt idx="1382">
                  <c:v>39441</c:v>
                </c:pt>
                <c:pt idx="1383">
                  <c:v>39442</c:v>
                </c:pt>
                <c:pt idx="1384">
                  <c:v>39443</c:v>
                </c:pt>
                <c:pt idx="1385">
                  <c:v>39444</c:v>
                </c:pt>
                <c:pt idx="1386">
                  <c:v>39449</c:v>
                </c:pt>
                <c:pt idx="1387">
                  <c:v>39450</c:v>
                </c:pt>
                <c:pt idx="1388">
                  <c:v>39451</c:v>
                </c:pt>
                <c:pt idx="1389">
                  <c:v>39454</c:v>
                </c:pt>
                <c:pt idx="1390">
                  <c:v>39455</c:v>
                </c:pt>
                <c:pt idx="1391">
                  <c:v>39456</c:v>
                </c:pt>
                <c:pt idx="1392">
                  <c:v>39457</c:v>
                </c:pt>
                <c:pt idx="1393">
                  <c:v>39458</c:v>
                </c:pt>
                <c:pt idx="1394">
                  <c:v>39461</c:v>
                </c:pt>
                <c:pt idx="1395">
                  <c:v>39462</c:v>
                </c:pt>
                <c:pt idx="1396">
                  <c:v>39463</c:v>
                </c:pt>
                <c:pt idx="1397">
                  <c:v>39464</c:v>
                </c:pt>
                <c:pt idx="1398">
                  <c:v>39465</c:v>
                </c:pt>
                <c:pt idx="1399">
                  <c:v>39468</c:v>
                </c:pt>
                <c:pt idx="1400">
                  <c:v>39469</c:v>
                </c:pt>
                <c:pt idx="1401">
                  <c:v>39470</c:v>
                </c:pt>
                <c:pt idx="1402">
                  <c:v>39471</c:v>
                </c:pt>
                <c:pt idx="1403">
                  <c:v>39472</c:v>
                </c:pt>
                <c:pt idx="1404">
                  <c:v>39475</c:v>
                </c:pt>
                <c:pt idx="1405">
                  <c:v>39476</c:v>
                </c:pt>
                <c:pt idx="1406">
                  <c:v>39477</c:v>
                </c:pt>
                <c:pt idx="1407">
                  <c:v>39478</c:v>
                </c:pt>
                <c:pt idx="1408">
                  <c:v>39479</c:v>
                </c:pt>
                <c:pt idx="1409">
                  <c:v>39482</c:v>
                </c:pt>
                <c:pt idx="1410">
                  <c:v>39483</c:v>
                </c:pt>
                <c:pt idx="1411">
                  <c:v>39491</c:v>
                </c:pt>
                <c:pt idx="1412">
                  <c:v>39492</c:v>
                </c:pt>
                <c:pt idx="1413">
                  <c:v>39493</c:v>
                </c:pt>
                <c:pt idx="1414">
                  <c:v>39496</c:v>
                </c:pt>
                <c:pt idx="1415">
                  <c:v>39497</c:v>
                </c:pt>
                <c:pt idx="1416">
                  <c:v>39498</c:v>
                </c:pt>
                <c:pt idx="1417">
                  <c:v>39499</c:v>
                </c:pt>
                <c:pt idx="1418">
                  <c:v>39500</c:v>
                </c:pt>
                <c:pt idx="1419">
                  <c:v>39503</c:v>
                </c:pt>
                <c:pt idx="1420">
                  <c:v>39504</c:v>
                </c:pt>
                <c:pt idx="1421">
                  <c:v>39505</c:v>
                </c:pt>
                <c:pt idx="1422">
                  <c:v>39506</c:v>
                </c:pt>
                <c:pt idx="1423">
                  <c:v>39507</c:v>
                </c:pt>
                <c:pt idx="1424">
                  <c:v>39510</c:v>
                </c:pt>
                <c:pt idx="1425">
                  <c:v>39511</c:v>
                </c:pt>
                <c:pt idx="1426">
                  <c:v>39512</c:v>
                </c:pt>
                <c:pt idx="1427">
                  <c:v>39513</c:v>
                </c:pt>
                <c:pt idx="1428">
                  <c:v>39514</c:v>
                </c:pt>
                <c:pt idx="1429">
                  <c:v>39517</c:v>
                </c:pt>
                <c:pt idx="1430">
                  <c:v>39518</c:v>
                </c:pt>
                <c:pt idx="1431">
                  <c:v>39519</c:v>
                </c:pt>
                <c:pt idx="1432">
                  <c:v>39520</c:v>
                </c:pt>
                <c:pt idx="1433">
                  <c:v>39521</c:v>
                </c:pt>
                <c:pt idx="1434">
                  <c:v>39524</c:v>
                </c:pt>
                <c:pt idx="1435">
                  <c:v>39525</c:v>
                </c:pt>
                <c:pt idx="1436">
                  <c:v>39526</c:v>
                </c:pt>
                <c:pt idx="1437">
                  <c:v>39527</c:v>
                </c:pt>
                <c:pt idx="1438">
                  <c:v>39528</c:v>
                </c:pt>
                <c:pt idx="1439">
                  <c:v>39531</c:v>
                </c:pt>
                <c:pt idx="1440">
                  <c:v>39532</c:v>
                </c:pt>
                <c:pt idx="1441">
                  <c:v>39533</c:v>
                </c:pt>
                <c:pt idx="1442">
                  <c:v>39534</c:v>
                </c:pt>
                <c:pt idx="1443">
                  <c:v>39535</c:v>
                </c:pt>
                <c:pt idx="1444">
                  <c:v>39538</c:v>
                </c:pt>
                <c:pt idx="1445">
                  <c:v>39539</c:v>
                </c:pt>
                <c:pt idx="1446">
                  <c:v>39540</c:v>
                </c:pt>
                <c:pt idx="1447">
                  <c:v>39541</c:v>
                </c:pt>
                <c:pt idx="1448">
                  <c:v>39545</c:v>
                </c:pt>
                <c:pt idx="1449">
                  <c:v>39546</c:v>
                </c:pt>
                <c:pt idx="1450">
                  <c:v>39547</c:v>
                </c:pt>
                <c:pt idx="1451">
                  <c:v>39548</c:v>
                </c:pt>
                <c:pt idx="1452">
                  <c:v>39549</c:v>
                </c:pt>
                <c:pt idx="1453">
                  <c:v>39552</c:v>
                </c:pt>
                <c:pt idx="1454">
                  <c:v>39553</c:v>
                </c:pt>
                <c:pt idx="1455">
                  <c:v>39554</c:v>
                </c:pt>
                <c:pt idx="1456">
                  <c:v>39555</c:v>
                </c:pt>
                <c:pt idx="1457">
                  <c:v>39556</c:v>
                </c:pt>
                <c:pt idx="1458">
                  <c:v>39559</c:v>
                </c:pt>
                <c:pt idx="1459">
                  <c:v>39560</c:v>
                </c:pt>
                <c:pt idx="1460">
                  <c:v>39561</c:v>
                </c:pt>
                <c:pt idx="1461">
                  <c:v>39562</c:v>
                </c:pt>
                <c:pt idx="1462">
                  <c:v>39563</c:v>
                </c:pt>
                <c:pt idx="1463">
                  <c:v>39566</c:v>
                </c:pt>
                <c:pt idx="1464">
                  <c:v>39567</c:v>
                </c:pt>
                <c:pt idx="1465">
                  <c:v>39568</c:v>
                </c:pt>
                <c:pt idx="1466">
                  <c:v>39573</c:v>
                </c:pt>
                <c:pt idx="1467">
                  <c:v>39574</c:v>
                </c:pt>
                <c:pt idx="1468">
                  <c:v>39575</c:v>
                </c:pt>
                <c:pt idx="1469">
                  <c:v>39576</c:v>
                </c:pt>
                <c:pt idx="1470">
                  <c:v>39577</c:v>
                </c:pt>
                <c:pt idx="1471">
                  <c:v>39580</c:v>
                </c:pt>
                <c:pt idx="1472">
                  <c:v>39581</c:v>
                </c:pt>
                <c:pt idx="1473">
                  <c:v>39582</c:v>
                </c:pt>
                <c:pt idx="1474">
                  <c:v>39583</c:v>
                </c:pt>
                <c:pt idx="1475">
                  <c:v>39584</c:v>
                </c:pt>
                <c:pt idx="1476">
                  <c:v>39587</c:v>
                </c:pt>
                <c:pt idx="1477">
                  <c:v>39588</c:v>
                </c:pt>
                <c:pt idx="1478">
                  <c:v>39589</c:v>
                </c:pt>
                <c:pt idx="1479">
                  <c:v>39590</c:v>
                </c:pt>
                <c:pt idx="1480">
                  <c:v>39591</c:v>
                </c:pt>
                <c:pt idx="1481">
                  <c:v>39594</c:v>
                </c:pt>
                <c:pt idx="1482">
                  <c:v>39595</c:v>
                </c:pt>
                <c:pt idx="1483">
                  <c:v>39596</c:v>
                </c:pt>
                <c:pt idx="1484">
                  <c:v>39597</c:v>
                </c:pt>
                <c:pt idx="1485">
                  <c:v>39598</c:v>
                </c:pt>
                <c:pt idx="1486">
                  <c:v>39601</c:v>
                </c:pt>
                <c:pt idx="1487">
                  <c:v>39602</c:v>
                </c:pt>
                <c:pt idx="1488">
                  <c:v>39603</c:v>
                </c:pt>
                <c:pt idx="1489">
                  <c:v>39604</c:v>
                </c:pt>
                <c:pt idx="1490">
                  <c:v>39605</c:v>
                </c:pt>
                <c:pt idx="1491">
                  <c:v>39609</c:v>
                </c:pt>
                <c:pt idx="1492">
                  <c:v>39610</c:v>
                </c:pt>
                <c:pt idx="1493">
                  <c:v>39611</c:v>
                </c:pt>
                <c:pt idx="1494">
                  <c:v>39612</c:v>
                </c:pt>
                <c:pt idx="1495">
                  <c:v>39615</c:v>
                </c:pt>
                <c:pt idx="1496">
                  <c:v>39616</c:v>
                </c:pt>
                <c:pt idx="1497">
                  <c:v>39617</c:v>
                </c:pt>
                <c:pt idx="1498">
                  <c:v>39618</c:v>
                </c:pt>
                <c:pt idx="1499">
                  <c:v>39619</c:v>
                </c:pt>
                <c:pt idx="1500">
                  <c:v>39622</c:v>
                </c:pt>
                <c:pt idx="1501">
                  <c:v>39623</c:v>
                </c:pt>
                <c:pt idx="1502">
                  <c:v>39624</c:v>
                </c:pt>
                <c:pt idx="1503">
                  <c:v>39625</c:v>
                </c:pt>
                <c:pt idx="1504">
                  <c:v>39626</c:v>
                </c:pt>
                <c:pt idx="1505">
                  <c:v>39629</c:v>
                </c:pt>
                <c:pt idx="1506">
                  <c:v>39630</c:v>
                </c:pt>
                <c:pt idx="1507">
                  <c:v>39631</c:v>
                </c:pt>
                <c:pt idx="1508">
                  <c:v>39632</c:v>
                </c:pt>
                <c:pt idx="1509">
                  <c:v>39633</c:v>
                </c:pt>
                <c:pt idx="1510">
                  <c:v>39636</c:v>
                </c:pt>
                <c:pt idx="1511">
                  <c:v>39637</c:v>
                </c:pt>
                <c:pt idx="1512">
                  <c:v>39638</c:v>
                </c:pt>
                <c:pt idx="1513">
                  <c:v>39639</c:v>
                </c:pt>
                <c:pt idx="1514">
                  <c:v>39640</c:v>
                </c:pt>
                <c:pt idx="1515">
                  <c:v>39643</c:v>
                </c:pt>
                <c:pt idx="1516">
                  <c:v>39644</c:v>
                </c:pt>
                <c:pt idx="1517">
                  <c:v>39645</c:v>
                </c:pt>
                <c:pt idx="1518">
                  <c:v>39646</c:v>
                </c:pt>
                <c:pt idx="1519">
                  <c:v>39647</c:v>
                </c:pt>
                <c:pt idx="1520">
                  <c:v>39650</c:v>
                </c:pt>
                <c:pt idx="1521">
                  <c:v>39651</c:v>
                </c:pt>
                <c:pt idx="1522">
                  <c:v>39652</c:v>
                </c:pt>
                <c:pt idx="1523">
                  <c:v>39653</c:v>
                </c:pt>
                <c:pt idx="1524">
                  <c:v>39654</c:v>
                </c:pt>
                <c:pt idx="1525">
                  <c:v>39657</c:v>
                </c:pt>
                <c:pt idx="1526">
                  <c:v>39658</c:v>
                </c:pt>
                <c:pt idx="1527">
                  <c:v>39659</c:v>
                </c:pt>
                <c:pt idx="1528">
                  <c:v>39660</c:v>
                </c:pt>
                <c:pt idx="1529">
                  <c:v>39661</c:v>
                </c:pt>
                <c:pt idx="1530">
                  <c:v>39664</c:v>
                </c:pt>
                <c:pt idx="1531">
                  <c:v>39665</c:v>
                </c:pt>
                <c:pt idx="1532">
                  <c:v>39666</c:v>
                </c:pt>
                <c:pt idx="1533">
                  <c:v>39667</c:v>
                </c:pt>
                <c:pt idx="1534">
                  <c:v>39668</c:v>
                </c:pt>
                <c:pt idx="1535">
                  <c:v>39671</c:v>
                </c:pt>
                <c:pt idx="1536">
                  <c:v>39672</c:v>
                </c:pt>
                <c:pt idx="1537">
                  <c:v>39673</c:v>
                </c:pt>
                <c:pt idx="1538">
                  <c:v>39674</c:v>
                </c:pt>
                <c:pt idx="1539">
                  <c:v>39675</c:v>
                </c:pt>
                <c:pt idx="1540">
                  <c:v>39678</c:v>
                </c:pt>
                <c:pt idx="1541">
                  <c:v>39679</c:v>
                </c:pt>
                <c:pt idx="1542">
                  <c:v>39680</c:v>
                </c:pt>
                <c:pt idx="1543">
                  <c:v>39681</c:v>
                </c:pt>
                <c:pt idx="1544">
                  <c:v>39682</c:v>
                </c:pt>
                <c:pt idx="1545">
                  <c:v>39685</c:v>
                </c:pt>
                <c:pt idx="1546">
                  <c:v>39686</c:v>
                </c:pt>
                <c:pt idx="1547">
                  <c:v>39687</c:v>
                </c:pt>
                <c:pt idx="1548">
                  <c:v>39688</c:v>
                </c:pt>
                <c:pt idx="1549">
                  <c:v>39689</c:v>
                </c:pt>
                <c:pt idx="1550">
                  <c:v>39692</c:v>
                </c:pt>
                <c:pt idx="1551">
                  <c:v>39693</c:v>
                </c:pt>
                <c:pt idx="1552">
                  <c:v>39694</c:v>
                </c:pt>
                <c:pt idx="1553">
                  <c:v>39695</c:v>
                </c:pt>
                <c:pt idx="1554">
                  <c:v>39696</c:v>
                </c:pt>
                <c:pt idx="1555">
                  <c:v>39699</c:v>
                </c:pt>
                <c:pt idx="1556">
                  <c:v>39700</c:v>
                </c:pt>
                <c:pt idx="1557">
                  <c:v>39701</c:v>
                </c:pt>
                <c:pt idx="1558">
                  <c:v>39702</c:v>
                </c:pt>
                <c:pt idx="1559">
                  <c:v>39703</c:v>
                </c:pt>
                <c:pt idx="1560">
                  <c:v>39707</c:v>
                </c:pt>
                <c:pt idx="1561">
                  <c:v>39708</c:v>
                </c:pt>
                <c:pt idx="1562">
                  <c:v>39709</c:v>
                </c:pt>
                <c:pt idx="1563">
                  <c:v>39710</c:v>
                </c:pt>
                <c:pt idx="1564">
                  <c:v>39713</c:v>
                </c:pt>
                <c:pt idx="1565">
                  <c:v>39714</c:v>
                </c:pt>
                <c:pt idx="1566">
                  <c:v>39715</c:v>
                </c:pt>
                <c:pt idx="1567">
                  <c:v>39716</c:v>
                </c:pt>
                <c:pt idx="1568">
                  <c:v>39717</c:v>
                </c:pt>
                <c:pt idx="1569">
                  <c:v>39727</c:v>
                </c:pt>
                <c:pt idx="1570">
                  <c:v>39728</c:v>
                </c:pt>
                <c:pt idx="1571">
                  <c:v>39729</c:v>
                </c:pt>
                <c:pt idx="1572">
                  <c:v>39730</c:v>
                </c:pt>
                <c:pt idx="1573">
                  <c:v>39731</c:v>
                </c:pt>
                <c:pt idx="1574">
                  <c:v>39734</c:v>
                </c:pt>
                <c:pt idx="1575">
                  <c:v>39735</c:v>
                </c:pt>
                <c:pt idx="1576">
                  <c:v>39736</c:v>
                </c:pt>
                <c:pt idx="1577">
                  <c:v>39737</c:v>
                </c:pt>
                <c:pt idx="1578">
                  <c:v>39738</c:v>
                </c:pt>
                <c:pt idx="1579">
                  <c:v>39741</c:v>
                </c:pt>
                <c:pt idx="1580">
                  <c:v>39742</c:v>
                </c:pt>
                <c:pt idx="1581">
                  <c:v>39743</c:v>
                </c:pt>
                <c:pt idx="1582">
                  <c:v>39744</c:v>
                </c:pt>
                <c:pt idx="1583">
                  <c:v>39745</c:v>
                </c:pt>
                <c:pt idx="1584">
                  <c:v>39748</c:v>
                </c:pt>
                <c:pt idx="1585">
                  <c:v>39749</c:v>
                </c:pt>
                <c:pt idx="1586">
                  <c:v>39750</c:v>
                </c:pt>
                <c:pt idx="1587">
                  <c:v>39751</c:v>
                </c:pt>
                <c:pt idx="1588">
                  <c:v>39752</c:v>
                </c:pt>
                <c:pt idx="1589">
                  <c:v>39755</c:v>
                </c:pt>
                <c:pt idx="1590">
                  <c:v>39756</c:v>
                </c:pt>
                <c:pt idx="1591">
                  <c:v>39757</c:v>
                </c:pt>
                <c:pt idx="1592">
                  <c:v>39758</c:v>
                </c:pt>
                <c:pt idx="1593">
                  <c:v>39759</c:v>
                </c:pt>
                <c:pt idx="1594">
                  <c:v>39762</c:v>
                </c:pt>
                <c:pt idx="1595">
                  <c:v>39763</c:v>
                </c:pt>
                <c:pt idx="1596">
                  <c:v>39764</c:v>
                </c:pt>
                <c:pt idx="1597">
                  <c:v>39765</c:v>
                </c:pt>
                <c:pt idx="1598">
                  <c:v>39766</c:v>
                </c:pt>
                <c:pt idx="1599">
                  <c:v>39769</c:v>
                </c:pt>
                <c:pt idx="1600">
                  <c:v>39770</c:v>
                </c:pt>
                <c:pt idx="1601">
                  <c:v>39771</c:v>
                </c:pt>
                <c:pt idx="1602">
                  <c:v>39772</c:v>
                </c:pt>
                <c:pt idx="1603">
                  <c:v>39773</c:v>
                </c:pt>
                <c:pt idx="1604">
                  <c:v>39776</c:v>
                </c:pt>
                <c:pt idx="1605">
                  <c:v>39777</c:v>
                </c:pt>
                <c:pt idx="1606">
                  <c:v>39778</c:v>
                </c:pt>
                <c:pt idx="1607">
                  <c:v>39779</c:v>
                </c:pt>
                <c:pt idx="1608">
                  <c:v>39780</c:v>
                </c:pt>
                <c:pt idx="1609">
                  <c:v>39783</c:v>
                </c:pt>
                <c:pt idx="1610">
                  <c:v>39784</c:v>
                </c:pt>
                <c:pt idx="1611">
                  <c:v>39785</c:v>
                </c:pt>
                <c:pt idx="1612">
                  <c:v>39786</c:v>
                </c:pt>
                <c:pt idx="1613">
                  <c:v>39787</c:v>
                </c:pt>
                <c:pt idx="1614">
                  <c:v>39790</c:v>
                </c:pt>
                <c:pt idx="1615">
                  <c:v>39791</c:v>
                </c:pt>
                <c:pt idx="1616">
                  <c:v>39792</c:v>
                </c:pt>
                <c:pt idx="1617">
                  <c:v>39793</c:v>
                </c:pt>
                <c:pt idx="1618">
                  <c:v>39794</c:v>
                </c:pt>
                <c:pt idx="1619">
                  <c:v>39797</c:v>
                </c:pt>
                <c:pt idx="1620">
                  <c:v>39798</c:v>
                </c:pt>
                <c:pt idx="1621">
                  <c:v>39799</c:v>
                </c:pt>
                <c:pt idx="1622">
                  <c:v>39800</c:v>
                </c:pt>
                <c:pt idx="1623">
                  <c:v>39801</c:v>
                </c:pt>
                <c:pt idx="1624">
                  <c:v>39804</c:v>
                </c:pt>
                <c:pt idx="1625">
                  <c:v>39805</c:v>
                </c:pt>
                <c:pt idx="1626">
                  <c:v>39806</c:v>
                </c:pt>
                <c:pt idx="1627">
                  <c:v>39807</c:v>
                </c:pt>
                <c:pt idx="1628">
                  <c:v>39808</c:v>
                </c:pt>
                <c:pt idx="1629">
                  <c:v>39811</c:v>
                </c:pt>
                <c:pt idx="1630">
                  <c:v>39812</c:v>
                </c:pt>
                <c:pt idx="1631">
                  <c:v>39813</c:v>
                </c:pt>
                <c:pt idx="1632">
                  <c:v>39818</c:v>
                </c:pt>
                <c:pt idx="1633">
                  <c:v>39819</c:v>
                </c:pt>
                <c:pt idx="1634">
                  <c:v>39820</c:v>
                </c:pt>
                <c:pt idx="1635">
                  <c:v>39821</c:v>
                </c:pt>
                <c:pt idx="1636">
                  <c:v>39822</c:v>
                </c:pt>
                <c:pt idx="1637">
                  <c:v>39825</c:v>
                </c:pt>
                <c:pt idx="1638">
                  <c:v>39826</c:v>
                </c:pt>
                <c:pt idx="1639">
                  <c:v>39827</c:v>
                </c:pt>
                <c:pt idx="1640">
                  <c:v>39828</c:v>
                </c:pt>
                <c:pt idx="1641">
                  <c:v>39829</c:v>
                </c:pt>
                <c:pt idx="1642">
                  <c:v>39832</c:v>
                </c:pt>
                <c:pt idx="1643">
                  <c:v>39833</c:v>
                </c:pt>
                <c:pt idx="1644">
                  <c:v>39834</c:v>
                </c:pt>
                <c:pt idx="1645">
                  <c:v>39835</c:v>
                </c:pt>
                <c:pt idx="1646">
                  <c:v>39836</c:v>
                </c:pt>
                <c:pt idx="1647">
                  <c:v>39846</c:v>
                </c:pt>
                <c:pt idx="1648">
                  <c:v>39847</c:v>
                </c:pt>
                <c:pt idx="1649">
                  <c:v>39848</c:v>
                </c:pt>
                <c:pt idx="1650">
                  <c:v>39849</c:v>
                </c:pt>
                <c:pt idx="1651">
                  <c:v>39850</c:v>
                </c:pt>
                <c:pt idx="1652">
                  <c:v>39853</c:v>
                </c:pt>
                <c:pt idx="1653">
                  <c:v>39854</c:v>
                </c:pt>
                <c:pt idx="1654">
                  <c:v>39855</c:v>
                </c:pt>
                <c:pt idx="1655">
                  <c:v>39856</c:v>
                </c:pt>
                <c:pt idx="1656">
                  <c:v>39857</c:v>
                </c:pt>
                <c:pt idx="1657">
                  <c:v>39860</c:v>
                </c:pt>
                <c:pt idx="1658">
                  <c:v>39861</c:v>
                </c:pt>
                <c:pt idx="1659">
                  <c:v>39862</c:v>
                </c:pt>
                <c:pt idx="1660">
                  <c:v>39863</c:v>
                </c:pt>
                <c:pt idx="1661">
                  <c:v>39864</c:v>
                </c:pt>
                <c:pt idx="1662">
                  <c:v>39867</c:v>
                </c:pt>
                <c:pt idx="1663">
                  <c:v>39868</c:v>
                </c:pt>
                <c:pt idx="1664">
                  <c:v>39869</c:v>
                </c:pt>
                <c:pt idx="1665">
                  <c:v>39870</c:v>
                </c:pt>
                <c:pt idx="1666">
                  <c:v>39871</c:v>
                </c:pt>
                <c:pt idx="1667">
                  <c:v>39874</c:v>
                </c:pt>
                <c:pt idx="1668">
                  <c:v>39875</c:v>
                </c:pt>
                <c:pt idx="1669">
                  <c:v>39876</c:v>
                </c:pt>
                <c:pt idx="1670">
                  <c:v>39877</c:v>
                </c:pt>
                <c:pt idx="1671">
                  <c:v>39878</c:v>
                </c:pt>
                <c:pt idx="1672">
                  <c:v>39881</c:v>
                </c:pt>
                <c:pt idx="1673">
                  <c:v>39882</c:v>
                </c:pt>
                <c:pt idx="1674">
                  <c:v>39883</c:v>
                </c:pt>
                <c:pt idx="1675">
                  <c:v>39884</c:v>
                </c:pt>
                <c:pt idx="1676">
                  <c:v>39885</c:v>
                </c:pt>
                <c:pt idx="1677">
                  <c:v>39888</c:v>
                </c:pt>
                <c:pt idx="1678">
                  <c:v>39889</c:v>
                </c:pt>
                <c:pt idx="1679">
                  <c:v>39890</c:v>
                </c:pt>
                <c:pt idx="1680">
                  <c:v>39891</c:v>
                </c:pt>
                <c:pt idx="1681">
                  <c:v>39892</c:v>
                </c:pt>
                <c:pt idx="1682">
                  <c:v>39895</c:v>
                </c:pt>
                <c:pt idx="1683">
                  <c:v>39896</c:v>
                </c:pt>
                <c:pt idx="1684">
                  <c:v>39897</c:v>
                </c:pt>
                <c:pt idx="1685">
                  <c:v>39898</c:v>
                </c:pt>
                <c:pt idx="1686">
                  <c:v>39899</c:v>
                </c:pt>
                <c:pt idx="1687">
                  <c:v>39902</c:v>
                </c:pt>
                <c:pt idx="1688">
                  <c:v>39903</c:v>
                </c:pt>
                <c:pt idx="1689">
                  <c:v>39904</c:v>
                </c:pt>
                <c:pt idx="1690">
                  <c:v>39905</c:v>
                </c:pt>
                <c:pt idx="1691">
                  <c:v>39906</c:v>
                </c:pt>
                <c:pt idx="1692">
                  <c:v>39910</c:v>
                </c:pt>
                <c:pt idx="1693">
                  <c:v>39911</c:v>
                </c:pt>
                <c:pt idx="1694">
                  <c:v>39912</c:v>
                </c:pt>
                <c:pt idx="1695">
                  <c:v>39913</c:v>
                </c:pt>
                <c:pt idx="1696">
                  <c:v>39916</c:v>
                </c:pt>
                <c:pt idx="1697">
                  <c:v>39917</c:v>
                </c:pt>
                <c:pt idx="1698">
                  <c:v>39918</c:v>
                </c:pt>
                <c:pt idx="1699">
                  <c:v>39919</c:v>
                </c:pt>
                <c:pt idx="1700">
                  <c:v>39920</c:v>
                </c:pt>
                <c:pt idx="1701">
                  <c:v>39923</c:v>
                </c:pt>
                <c:pt idx="1702">
                  <c:v>39924</c:v>
                </c:pt>
                <c:pt idx="1703">
                  <c:v>39925</c:v>
                </c:pt>
                <c:pt idx="1704">
                  <c:v>39926</c:v>
                </c:pt>
                <c:pt idx="1705">
                  <c:v>39927</c:v>
                </c:pt>
                <c:pt idx="1706">
                  <c:v>39930</c:v>
                </c:pt>
                <c:pt idx="1707">
                  <c:v>39931</c:v>
                </c:pt>
                <c:pt idx="1708">
                  <c:v>39932</c:v>
                </c:pt>
                <c:pt idx="1709">
                  <c:v>39933</c:v>
                </c:pt>
                <c:pt idx="1710">
                  <c:v>39937</c:v>
                </c:pt>
                <c:pt idx="1711">
                  <c:v>39938</c:v>
                </c:pt>
                <c:pt idx="1712">
                  <c:v>39939</c:v>
                </c:pt>
                <c:pt idx="1713">
                  <c:v>39940</c:v>
                </c:pt>
                <c:pt idx="1714">
                  <c:v>39941</c:v>
                </c:pt>
                <c:pt idx="1715">
                  <c:v>39944</c:v>
                </c:pt>
                <c:pt idx="1716">
                  <c:v>39945</c:v>
                </c:pt>
                <c:pt idx="1717">
                  <c:v>39946</c:v>
                </c:pt>
                <c:pt idx="1718">
                  <c:v>39947</c:v>
                </c:pt>
                <c:pt idx="1719">
                  <c:v>39948</c:v>
                </c:pt>
                <c:pt idx="1720">
                  <c:v>39951</c:v>
                </c:pt>
                <c:pt idx="1721">
                  <c:v>39952</c:v>
                </c:pt>
                <c:pt idx="1722">
                  <c:v>39953</c:v>
                </c:pt>
                <c:pt idx="1723">
                  <c:v>39954</c:v>
                </c:pt>
                <c:pt idx="1724">
                  <c:v>39955</c:v>
                </c:pt>
                <c:pt idx="1725">
                  <c:v>39958</c:v>
                </c:pt>
                <c:pt idx="1726">
                  <c:v>39959</c:v>
                </c:pt>
                <c:pt idx="1727">
                  <c:v>39960</c:v>
                </c:pt>
                <c:pt idx="1728">
                  <c:v>39965</c:v>
                </c:pt>
                <c:pt idx="1729">
                  <c:v>39966</c:v>
                </c:pt>
                <c:pt idx="1730">
                  <c:v>39967</c:v>
                </c:pt>
                <c:pt idx="1731">
                  <c:v>39968</c:v>
                </c:pt>
                <c:pt idx="1732">
                  <c:v>39969</c:v>
                </c:pt>
                <c:pt idx="1733">
                  <c:v>39972</c:v>
                </c:pt>
                <c:pt idx="1734">
                  <c:v>39973</c:v>
                </c:pt>
                <c:pt idx="1735">
                  <c:v>39974</c:v>
                </c:pt>
                <c:pt idx="1736">
                  <c:v>39975</c:v>
                </c:pt>
                <c:pt idx="1737">
                  <c:v>39976</c:v>
                </c:pt>
                <c:pt idx="1738">
                  <c:v>39979</c:v>
                </c:pt>
                <c:pt idx="1739">
                  <c:v>39980</c:v>
                </c:pt>
                <c:pt idx="1740">
                  <c:v>39981</c:v>
                </c:pt>
                <c:pt idx="1741">
                  <c:v>39982</c:v>
                </c:pt>
                <c:pt idx="1742">
                  <c:v>39983</c:v>
                </c:pt>
                <c:pt idx="1743">
                  <c:v>39986</c:v>
                </c:pt>
                <c:pt idx="1744">
                  <c:v>39987</c:v>
                </c:pt>
                <c:pt idx="1745">
                  <c:v>39988</c:v>
                </c:pt>
                <c:pt idx="1746">
                  <c:v>39989</c:v>
                </c:pt>
                <c:pt idx="1747">
                  <c:v>39990</c:v>
                </c:pt>
                <c:pt idx="1748">
                  <c:v>39993</c:v>
                </c:pt>
                <c:pt idx="1749">
                  <c:v>39994</c:v>
                </c:pt>
                <c:pt idx="1750">
                  <c:v>39995</c:v>
                </c:pt>
                <c:pt idx="1751">
                  <c:v>39996</c:v>
                </c:pt>
                <c:pt idx="1752">
                  <c:v>39997</c:v>
                </c:pt>
                <c:pt idx="1753">
                  <c:v>40000</c:v>
                </c:pt>
                <c:pt idx="1754">
                  <c:v>40001</c:v>
                </c:pt>
                <c:pt idx="1755">
                  <c:v>40002</c:v>
                </c:pt>
                <c:pt idx="1756">
                  <c:v>40003</c:v>
                </c:pt>
                <c:pt idx="1757">
                  <c:v>40004</c:v>
                </c:pt>
                <c:pt idx="1758">
                  <c:v>40007</c:v>
                </c:pt>
                <c:pt idx="1759">
                  <c:v>40008</c:v>
                </c:pt>
                <c:pt idx="1760">
                  <c:v>40009</c:v>
                </c:pt>
                <c:pt idx="1761">
                  <c:v>40010</c:v>
                </c:pt>
                <c:pt idx="1762">
                  <c:v>40011</c:v>
                </c:pt>
                <c:pt idx="1763">
                  <c:v>40014</c:v>
                </c:pt>
                <c:pt idx="1764">
                  <c:v>40015</c:v>
                </c:pt>
                <c:pt idx="1765">
                  <c:v>40016</c:v>
                </c:pt>
                <c:pt idx="1766">
                  <c:v>40017</c:v>
                </c:pt>
                <c:pt idx="1767">
                  <c:v>40018</c:v>
                </c:pt>
                <c:pt idx="1768">
                  <c:v>40021</c:v>
                </c:pt>
                <c:pt idx="1769">
                  <c:v>40022</c:v>
                </c:pt>
                <c:pt idx="1770">
                  <c:v>40023</c:v>
                </c:pt>
                <c:pt idx="1771">
                  <c:v>40024</c:v>
                </c:pt>
                <c:pt idx="1772">
                  <c:v>40025</c:v>
                </c:pt>
                <c:pt idx="1773">
                  <c:v>40028</c:v>
                </c:pt>
                <c:pt idx="1774">
                  <c:v>40029</c:v>
                </c:pt>
                <c:pt idx="1775">
                  <c:v>40030</c:v>
                </c:pt>
                <c:pt idx="1776">
                  <c:v>40031</c:v>
                </c:pt>
                <c:pt idx="1777">
                  <c:v>40032</c:v>
                </c:pt>
                <c:pt idx="1778">
                  <c:v>40035</c:v>
                </c:pt>
                <c:pt idx="1779">
                  <c:v>40036</c:v>
                </c:pt>
                <c:pt idx="1780">
                  <c:v>40037</c:v>
                </c:pt>
                <c:pt idx="1781">
                  <c:v>40038</c:v>
                </c:pt>
                <c:pt idx="1782">
                  <c:v>40039</c:v>
                </c:pt>
                <c:pt idx="1783">
                  <c:v>40042</c:v>
                </c:pt>
                <c:pt idx="1784">
                  <c:v>40043</c:v>
                </c:pt>
                <c:pt idx="1785">
                  <c:v>40044</c:v>
                </c:pt>
                <c:pt idx="1786">
                  <c:v>40045</c:v>
                </c:pt>
                <c:pt idx="1787">
                  <c:v>40046</c:v>
                </c:pt>
                <c:pt idx="1788">
                  <c:v>40049</c:v>
                </c:pt>
                <c:pt idx="1789">
                  <c:v>40050</c:v>
                </c:pt>
                <c:pt idx="1790">
                  <c:v>40051</c:v>
                </c:pt>
                <c:pt idx="1791">
                  <c:v>40052</c:v>
                </c:pt>
                <c:pt idx="1792">
                  <c:v>40053</c:v>
                </c:pt>
                <c:pt idx="1793">
                  <c:v>40056</c:v>
                </c:pt>
                <c:pt idx="1794">
                  <c:v>40057</c:v>
                </c:pt>
                <c:pt idx="1795">
                  <c:v>40058</c:v>
                </c:pt>
                <c:pt idx="1796">
                  <c:v>40059</c:v>
                </c:pt>
                <c:pt idx="1797">
                  <c:v>40060</c:v>
                </c:pt>
                <c:pt idx="1798">
                  <c:v>40063</c:v>
                </c:pt>
                <c:pt idx="1799">
                  <c:v>40064</c:v>
                </c:pt>
                <c:pt idx="1800">
                  <c:v>40065</c:v>
                </c:pt>
                <c:pt idx="1801">
                  <c:v>40066</c:v>
                </c:pt>
                <c:pt idx="1802">
                  <c:v>40067</c:v>
                </c:pt>
                <c:pt idx="1803">
                  <c:v>40070</c:v>
                </c:pt>
                <c:pt idx="1804">
                  <c:v>40071</c:v>
                </c:pt>
                <c:pt idx="1805">
                  <c:v>40072</c:v>
                </c:pt>
                <c:pt idx="1806">
                  <c:v>40073</c:v>
                </c:pt>
                <c:pt idx="1807">
                  <c:v>40074</c:v>
                </c:pt>
                <c:pt idx="1808">
                  <c:v>40077</c:v>
                </c:pt>
                <c:pt idx="1809">
                  <c:v>40078</c:v>
                </c:pt>
                <c:pt idx="1810">
                  <c:v>40079</c:v>
                </c:pt>
                <c:pt idx="1811">
                  <c:v>40080</c:v>
                </c:pt>
                <c:pt idx="1812">
                  <c:v>40081</c:v>
                </c:pt>
                <c:pt idx="1813">
                  <c:v>40084</c:v>
                </c:pt>
                <c:pt idx="1814">
                  <c:v>40085</c:v>
                </c:pt>
                <c:pt idx="1815">
                  <c:v>40086</c:v>
                </c:pt>
                <c:pt idx="1816">
                  <c:v>40095</c:v>
                </c:pt>
                <c:pt idx="1817">
                  <c:v>40098</c:v>
                </c:pt>
                <c:pt idx="1818">
                  <c:v>40099</c:v>
                </c:pt>
                <c:pt idx="1819">
                  <c:v>40100</c:v>
                </c:pt>
                <c:pt idx="1820">
                  <c:v>40101</c:v>
                </c:pt>
                <c:pt idx="1821">
                  <c:v>40102</c:v>
                </c:pt>
                <c:pt idx="1822">
                  <c:v>40105</c:v>
                </c:pt>
                <c:pt idx="1823">
                  <c:v>40106</c:v>
                </c:pt>
                <c:pt idx="1824">
                  <c:v>40107</c:v>
                </c:pt>
                <c:pt idx="1825">
                  <c:v>40108</c:v>
                </c:pt>
                <c:pt idx="1826">
                  <c:v>40109</c:v>
                </c:pt>
                <c:pt idx="1827">
                  <c:v>40112</c:v>
                </c:pt>
                <c:pt idx="1828">
                  <c:v>40113</c:v>
                </c:pt>
                <c:pt idx="1829">
                  <c:v>40114</c:v>
                </c:pt>
                <c:pt idx="1830">
                  <c:v>40115</c:v>
                </c:pt>
                <c:pt idx="1831">
                  <c:v>40116</c:v>
                </c:pt>
                <c:pt idx="1832">
                  <c:v>40119</c:v>
                </c:pt>
                <c:pt idx="1833">
                  <c:v>40120</c:v>
                </c:pt>
                <c:pt idx="1834">
                  <c:v>40121</c:v>
                </c:pt>
                <c:pt idx="1835">
                  <c:v>40122</c:v>
                </c:pt>
                <c:pt idx="1836">
                  <c:v>40123</c:v>
                </c:pt>
                <c:pt idx="1837">
                  <c:v>40126</c:v>
                </c:pt>
                <c:pt idx="1838">
                  <c:v>40127</c:v>
                </c:pt>
                <c:pt idx="1839">
                  <c:v>40128</c:v>
                </c:pt>
                <c:pt idx="1840">
                  <c:v>40129</c:v>
                </c:pt>
                <c:pt idx="1841">
                  <c:v>40130</c:v>
                </c:pt>
                <c:pt idx="1842">
                  <c:v>40133</c:v>
                </c:pt>
                <c:pt idx="1843">
                  <c:v>40134</c:v>
                </c:pt>
                <c:pt idx="1844">
                  <c:v>40135</c:v>
                </c:pt>
                <c:pt idx="1845">
                  <c:v>40136</c:v>
                </c:pt>
                <c:pt idx="1846">
                  <c:v>40137</c:v>
                </c:pt>
                <c:pt idx="1847">
                  <c:v>40140</c:v>
                </c:pt>
                <c:pt idx="1848">
                  <c:v>40141</c:v>
                </c:pt>
                <c:pt idx="1849">
                  <c:v>40142</c:v>
                </c:pt>
                <c:pt idx="1850">
                  <c:v>40143</c:v>
                </c:pt>
                <c:pt idx="1851">
                  <c:v>40144</c:v>
                </c:pt>
                <c:pt idx="1852">
                  <c:v>40147</c:v>
                </c:pt>
                <c:pt idx="1853">
                  <c:v>40148</c:v>
                </c:pt>
                <c:pt idx="1854">
                  <c:v>40149</c:v>
                </c:pt>
                <c:pt idx="1855">
                  <c:v>40150</c:v>
                </c:pt>
                <c:pt idx="1856">
                  <c:v>40151</c:v>
                </c:pt>
                <c:pt idx="1857">
                  <c:v>40154</c:v>
                </c:pt>
                <c:pt idx="1858">
                  <c:v>40155</c:v>
                </c:pt>
                <c:pt idx="1859">
                  <c:v>40156</c:v>
                </c:pt>
                <c:pt idx="1860">
                  <c:v>40157</c:v>
                </c:pt>
                <c:pt idx="1861">
                  <c:v>40158</c:v>
                </c:pt>
                <c:pt idx="1862">
                  <c:v>40161</c:v>
                </c:pt>
                <c:pt idx="1863">
                  <c:v>40162</c:v>
                </c:pt>
                <c:pt idx="1864">
                  <c:v>40163</c:v>
                </c:pt>
                <c:pt idx="1865">
                  <c:v>40164</c:v>
                </c:pt>
                <c:pt idx="1866">
                  <c:v>40165</c:v>
                </c:pt>
                <c:pt idx="1867">
                  <c:v>40168</c:v>
                </c:pt>
                <c:pt idx="1868">
                  <c:v>40169</c:v>
                </c:pt>
                <c:pt idx="1869">
                  <c:v>40170</c:v>
                </c:pt>
                <c:pt idx="1870">
                  <c:v>40171</c:v>
                </c:pt>
                <c:pt idx="1871">
                  <c:v>40172</c:v>
                </c:pt>
                <c:pt idx="1872">
                  <c:v>40175</c:v>
                </c:pt>
                <c:pt idx="1873">
                  <c:v>40176</c:v>
                </c:pt>
                <c:pt idx="1874">
                  <c:v>40177</c:v>
                </c:pt>
                <c:pt idx="1875">
                  <c:v>40178</c:v>
                </c:pt>
                <c:pt idx="1876">
                  <c:v>40182</c:v>
                </c:pt>
                <c:pt idx="1877">
                  <c:v>40183</c:v>
                </c:pt>
                <c:pt idx="1878">
                  <c:v>40184</c:v>
                </c:pt>
                <c:pt idx="1879">
                  <c:v>40185</c:v>
                </c:pt>
                <c:pt idx="1880">
                  <c:v>40186</c:v>
                </c:pt>
                <c:pt idx="1881">
                  <c:v>40189</c:v>
                </c:pt>
                <c:pt idx="1882">
                  <c:v>40190</c:v>
                </c:pt>
                <c:pt idx="1883">
                  <c:v>40191</c:v>
                </c:pt>
                <c:pt idx="1884">
                  <c:v>40192</c:v>
                </c:pt>
                <c:pt idx="1885">
                  <c:v>40193</c:v>
                </c:pt>
                <c:pt idx="1886">
                  <c:v>40196</c:v>
                </c:pt>
                <c:pt idx="1887">
                  <c:v>40197</c:v>
                </c:pt>
                <c:pt idx="1888">
                  <c:v>40198</c:v>
                </c:pt>
                <c:pt idx="1889">
                  <c:v>40199</c:v>
                </c:pt>
                <c:pt idx="1890">
                  <c:v>40200</c:v>
                </c:pt>
                <c:pt idx="1891">
                  <c:v>40203</c:v>
                </c:pt>
                <c:pt idx="1892">
                  <c:v>40204</c:v>
                </c:pt>
                <c:pt idx="1893">
                  <c:v>40205</c:v>
                </c:pt>
                <c:pt idx="1894">
                  <c:v>40206</c:v>
                </c:pt>
                <c:pt idx="1895">
                  <c:v>40207</c:v>
                </c:pt>
                <c:pt idx="1896">
                  <c:v>40210</c:v>
                </c:pt>
                <c:pt idx="1897">
                  <c:v>40211</c:v>
                </c:pt>
                <c:pt idx="1898">
                  <c:v>40212</c:v>
                </c:pt>
                <c:pt idx="1899">
                  <c:v>40213</c:v>
                </c:pt>
                <c:pt idx="1900">
                  <c:v>40214</c:v>
                </c:pt>
                <c:pt idx="1901">
                  <c:v>40217</c:v>
                </c:pt>
                <c:pt idx="1902">
                  <c:v>40218</c:v>
                </c:pt>
                <c:pt idx="1903">
                  <c:v>40219</c:v>
                </c:pt>
                <c:pt idx="1904">
                  <c:v>40220</c:v>
                </c:pt>
                <c:pt idx="1905">
                  <c:v>40221</c:v>
                </c:pt>
                <c:pt idx="1906">
                  <c:v>40231</c:v>
                </c:pt>
                <c:pt idx="1907">
                  <c:v>40232</c:v>
                </c:pt>
                <c:pt idx="1908">
                  <c:v>40233</c:v>
                </c:pt>
                <c:pt idx="1909">
                  <c:v>40234</c:v>
                </c:pt>
                <c:pt idx="1910">
                  <c:v>40235</c:v>
                </c:pt>
                <c:pt idx="1911">
                  <c:v>40238</c:v>
                </c:pt>
                <c:pt idx="1912">
                  <c:v>40239</c:v>
                </c:pt>
                <c:pt idx="1913">
                  <c:v>40240</c:v>
                </c:pt>
                <c:pt idx="1914">
                  <c:v>40241</c:v>
                </c:pt>
                <c:pt idx="1915">
                  <c:v>40242</c:v>
                </c:pt>
                <c:pt idx="1916">
                  <c:v>40245</c:v>
                </c:pt>
                <c:pt idx="1917">
                  <c:v>40246</c:v>
                </c:pt>
                <c:pt idx="1918">
                  <c:v>40247</c:v>
                </c:pt>
                <c:pt idx="1919">
                  <c:v>40248</c:v>
                </c:pt>
                <c:pt idx="1920">
                  <c:v>40249</c:v>
                </c:pt>
                <c:pt idx="1921">
                  <c:v>40252</c:v>
                </c:pt>
                <c:pt idx="1922">
                  <c:v>40253</c:v>
                </c:pt>
                <c:pt idx="1923">
                  <c:v>40254</c:v>
                </c:pt>
                <c:pt idx="1924">
                  <c:v>40255</c:v>
                </c:pt>
                <c:pt idx="1925">
                  <c:v>40256</c:v>
                </c:pt>
                <c:pt idx="1926">
                  <c:v>40259</c:v>
                </c:pt>
                <c:pt idx="1927">
                  <c:v>40260</c:v>
                </c:pt>
                <c:pt idx="1928">
                  <c:v>40261</c:v>
                </c:pt>
                <c:pt idx="1929">
                  <c:v>40262</c:v>
                </c:pt>
                <c:pt idx="1930">
                  <c:v>40263</c:v>
                </c:pt>
                <c:pt idx="1931">
                  <c:v>40266</c:v>
                </c:pt>
                <c:pt idx="1932">
                  <c:v>40267</c:v>
                </c:pt>
                <c:pt idx="1933">
                  <c:v>40268</c:v>
                </c:pt>
                <c:pt idx="1934">
                  <c:v>40269</c:v>
                </c:pt>
                <c:pt idx="1935">
                  <c:v>40270</c:v>
                </c:pt>
                <c:pt idx="1936">
                  <c:v>40274</c:v>
                </c:pt>
                <c:pt idx="1937">
                  <c:v>40275</c:v>
                </c:pt>
                <c:pt idx="1938">
                  <c:v>40276</c:v>
                </c:pt>
                <c:pt idx="1939">
                  <c:v>40277</c:v>
                </c:pt>
                <c:pt idx="1940">
                  <c:v>40280</c:v>
                </c:pt>
                <c:pt idx="1941">
                  <c:v>40281</c:v>
                </c:pt>
                <c:pt idx="1942">
                  <c:v>40282</c:v>
                </c:pt>
                <c:pt idx="1943">
                  <c:v>40283</c:v>
                </c:pt>
                <c:pt idx="1944">
                  <c:v>40284</c:v>
                </c:pt>
                <c:pt idx="1945">
                  <c:v>40287</c:v>
                </c:pt>
                <c:pt idx="1946">
                  <c:v>40288</c:v>
                </c:pt>
                <c:pt idx="1947">
                  <c:v>40289</c:v>
                </c:pt>
                <c:pt idx="1948">
                  <c:v>40290</c:v>
                </c:pt>
                <c:pt idx="1949">
                  <c:v>40291</c:v>
                </c:pt>
                <c:pt idx="1950">
                  <c:v>40294</c:v>
                </c:pt>
                <c:pt idx="1951">
                  <c:v>40295</c:v>
                </c:pt>
                <c:pt idx="1952">
                  <c:v>40296</c:v>
                </c:pt>
                <c:pt idx="1953">
                  <c:v>40297</c:v>
                </c:pt>
                <c:pt idx="1954">
                  <c:v>40298</c:v>
                </c:pt>
                <c:pt idx="1955">
                  <c:v>40302</c:v>
                </c:pt>
                <c:pt idx="1956">
                  <c:v>40303</c:v>
                </c:pt>
                <c:pt idx="1957">
                  <c:v>40304</c:v>
                </c:pt>
                <c:pt idx="1958">
                  <c:v>40305</c:v>
                </c:pt>
                <c:pt idx="1959">
                  <c:v>40308</c:v>
                </c:pt>
                <c:pt idx="1960">
                  <c:v>40309</c:v>
                </c:pt>
                <c:pt idx="1961">
                  <c:v>40310</c:v>
                </c:pt>
                <c:pt idx="1962">
                  <c:v>40311</c:v>
                </c:pt>
                <c:pt idx="1963">
                  <c:v>40312</c:v>
                </c:pt>
                <c:pt idx="1964">
                  <c:v>40315</c:v>
                </c:pt>
                <c:pt idx="1965">
                  <c:v>40316</c:v>
                </c:pt>
                <c:pt idx="1966">
                  <c:v>40317</c:v>
                </c:pt>
                <c:pt idx="1967">
                  <c:v>40318</c:v>
                </c:pt>
                <c:pt idx="1968">
                  <c:v>40319</c:v>
                </c:pt>
                <c:pt idx="1969">
                  <c:v>40322</c:v>
                </c:pt>
                <c:pt idx="1970">
                  <c:v>40323</c:v>
                </c:pt>
                <c:pt idx="1971">
                  <c:v>40324</c:v>
                </c:pt>
                <c:pt idx="1972">
                  <c:v>40325</c:v>
                </c:pt>
                <c:pt idx="1973">
                  <c:v>40326</c:v>
                </c:pt>
                <c:pt idx="1974">
                  <c:v>40329</c:v>
                </c:pt>
                <c:pt idx="1975">
                  <c:v>40330</c:v>
                </c:pt>
                <c:pt idx="1976">
                  <c:v>40331</c:v>
                </c:pt>
                <c:pt idx="1977">
                  <c:v>40332</c:v>
                </c:pt>
                <c:pt idx="1978">
                  <c:v>40333</c:v>
                </c:pt>
                <c:pt idx="1979">
                  <c:v>40336</c:v>
                </c:pt>
                <c:pt idx="1980">
                  <c:v>40337</c:v>
                </c:pt>
                <c:pt idx="1981">
                  <c:v>40338</c:v>
                </c:pt>
                <c:pt idx="1982">
                  <c:v>40339</c:v>
                </c:pt>
                <c:pt idx="1983">
                  <c:v>40340</c:v>
                </c:pt>
                <c:pt idx="1984">
                  <c:v>40346</c:v>
                </c:pt>
                <c:pt idx="1985">
                  <c:v>40347</c:v>
                </c:pt>
                <c:pt idx="1986">
                  <c:v>40350</c:v>
                </c:pt>
                <c:pt idx="1987">
                  <c:v>40351</c:v>
                </c:pt>
                <c:pt idx="1988">
                  <c:v>40352</c:v>
                </c:pt>
                <c:pt idx="1989">
                  <c:v>40353</c:v>
                </c:pt>
                <c:pt idx="1990">
                  <c:v>40354</c:v>
                </c:pt>
                <c:pt idx="1991">
                  <c:v>40357</c:v>
                </c:pt>
                <c:pt idx="1992">
                  <c:v>40358</c:v>
                </c:pt>
                <c:pt idx="1993">
                  <c:v>40359</c:v>
                </c:pt>
                <c:pt idx="1994">
                  <c:v>40360</c:v>
                </c:pt>
                <c:pt idx="1995">
                  <c:v>40361</c:v>
                </c:pt>
                <c:pt idx="1996">
                  <c:v>40364</c:v>
                </c:pt>
                <c:pt idx="1997">
                  <c:v>40365</c:v>
                </c:pt>
                <c:pt idx="1998">
                  <c:v>40366</c:v>
                </c:pt>
                <c:pt idx="1999">
                  <c:v>40367</c:v>
                </c:pt>
                <c:pt idx="2000">
                  <c:v>40368</c:v>
                </c:pt>
                <c:pt idx="2001">
                  <c:v>40371</c:v>
                </c:pt>
                <c:pt idx="2002">
                  <c:v>40372</c:v>
                </c:pt>
                <c:pt idx="2003">
                  <c:v>40373</c:v>
                </c:pt>
                <c:pt idx="2004">
                  <c:v>40374</c:v>
                </c:pt>
                <c:pt idx="2005">
                  <c:v>40375</c:v>
                </c:pt>
                <c:pt idx="2006">
                  <c:v>40378</c:v>
                </c:pt>
                <c:pt idx="2007">
                  <c:v>40379</c:v>
                </c:pt>
                <c:pt idx="2008">
                  <c:v>40380</c:v>
                </c:pt>
                <c:pt idx="2009">
                  <c:v>40381</c:v>
                </c:pt>
                <c:pt idx="2010">
                  <c:v>40382</c:v>
                </c:pt>
                <c:pt idx="2011">
                  <c:v>40385</c:v>
                </c:pt>
                <c:pt idx="2012">
                  <c:v>40386</c:v>
                </c:pt>
                <c:pt idx="2013">
                  <c:v>40387</c:v>
                </c:pt>
                <c:pt idx="2014">
                  <c:v>40388</c:v>
                </c:pt>
                <c:pt idx="2015">
                  <c:v>40389</c:v>
                </c:pt>
                <c:pt idx="2016">
                  <c:v>40392</c:v>
                </c:pt>
                <c:pt idx="2017">
                  <c:v>40393</c:v>
                </c:pt>
                <c:pt idx="2018">
                  <c:v>40394</c:v>
                </c:pt>
                <c:pt idx="2019">
                  <c:v>40395</c:v>
                </c:pt>
                <c:pt idx="2020">
                  <c:v>40396</c:v>
                </c:pt>
                <c:pt idx="2021">
                  <c:v>40399</c:v>
                </c:pt>
                <c:pt idx="2022">
                  <c:v>40400</c:v>
                </c:pt>
                <c:pt idx="2023">
                  <c:v>40401</c:v>
                </c:pt>
                <c:pt idx="2024">
                  <c:v>40402</c:v>
                </c:pt>
                <c:pt idx="2025">
                  <c:v>40403</c:v>
                </c:pt>
                <c:pt idx="2026">
                  <c:v>40406</c:v>
                </c:pt>
                <c:pt idx="2027">
                  <c:v>40407</c:v>
                </c:pt>
                <c:pt idx="2028">
                  <c:v>40408</c:v>
                </c:pt>
                <c:pt idx="2029">
                  <c:v>40409</c:v>
                </c:pt>
                <c:pt idx="2030">
                  <c:v>40410</c:v>
                </c:pt>
                <c:pt idx="2031">
                  <c:v>40413</c:v>
                </c:pt>
                <c:pt idx="2032">
                  <c:v>40414</c:v>
                </c:pt>
                <c:pt idx="2033">
                  <c:v>40415</c:v>
                </c:pt>
                <c:pt idx="2034">
                  <c:v>40416</c:v>
                </c:pt>
                <c:pt idx="2035">
                  <c:v>40417</c:v>
                </c:pt>
                <c:pt idx="2036">
                  <c:v>40420</c:v>
                </c:pt>
                <c:pt idx="2037">
                  <c:v>40421</c:v>
                </c:pt>
                <c:pt idx="2038">
                  <c:v>40422</c:v>
                </c:pt>
                <c:pt idx="2039">
                  <c:v>40423</c:v>
                </c:pt>
                <c:pt idx="2040">
                  <c:v>40424</c:v>
                </c:pt>
                <c:pt idx="2041">
                  <c:v>40427</c:v>
                </c:pt>
                <c:pt idx="2042">
                  <c:v>40428</c:v>
                </c:pt>
                <c:pt idx="2043">
                  <c:v>40429</c:v>
                </c:pt>
                <c:pt idx="2044">
                  <c:v>40430</c:v>
                </c:pt>
                <c:pt idx="2045">
                  <c:v>40431</c:v>
                </c:pt>
                <c:pt idx="2046">
                  <c:v>40434</c:v>
                </c:pt>
                <c:pt idx="2047">
                  <c:v>40435</c:v>
                </c:pt>
                <c:pt idx="2048">
                  <c:v>40436</c:v>
                </c:pt>
                <c:pt idx="2049">
                  <c:v>40437</c:v>
                </c:pt>
                <c:pt idx="2050">
                  <c:v>40438</c:v>
                </c:pt>
                <c:pt idx="2051">
                  <c:v>40441</c:v>
                </c:pt>
                <c:pt idx="2052">
                  <c:v>40442</c:v>
                </c:pt>
                <c:pt idx="2053">
                  <c:v>40448</c:v>
                </c:pt>
                <c:pt idx="2054">
                  <c:v>40449</c:v>
                </c:pt>
                <c:pt idx="2055">
                  <c:v>40450</c:v>
                </c:pt>
                <c:pt idx="2056">
                  <c:v>40451</c:v>
                </c:pt>
                <c:pt idx="2057">
                  <c:v>40459</c:v>
                </c:pt>
                <c:pt idx="2058">
                  <c:v>40462</c:v>
                </c:pt>
                <c:pt idx="2059">
                  <c:v>40463</c:v>
                </c:pt>
                <c:pt idx="2060">
                  <c:v>40464</c:v>
                </c:pt>
                <c:pt idx="2061">
                  <c:v>40465</c:v>
                </c:pt>
                <c:pt idx="2062">
                  <c:v>40466</c:v>
                </c:pt>
                <c:pt idx="2063">
                  <c:v>40469</c:v>
                </c:pt>
                <c:pt idx="2064">
                  <c:v>40470</c:v>
                </c:pt>
                <c:pt idx="2065">
                  <c:v>40471</c:v>
                </c:pt>
                <c:pt idx="2066">
                  <c:v>40472</c:v>
                </c:pt>
                <c:pt idx="2067">
                  <c:v>40473</c:v>
                </c:pt>
                <c:pt idx="2068">
                  <c:v>40476</c:v>
                </c:pt>
                <c:pt idx="2069">
                  <c:v>40477</c:v>
                </c:pt>
                <c:pt idx="2070">
                  <c:v>40478</c:v>
                </c:pt>
                <c:pt idx="2071">
                  <c:v>40479</c:v>
                </c:pt>
                <c:pt idx="2072">
                  <c:v>40480</c:v>
                </c:pt>
                <c:pt idx="2073">
                  <c:v>40483</c:v>
                </c:pt>
                <c:pt idx="2074">
                  <c:v>40484</c:v>
                </c:pt>
                <c:pt idx="2075">
                  <c:v>40485</c:v>
                </c:pt>
                <c:pt idx="2076">
                  <c:v>40486</c:v>
                </c:pt>
                <c:pt idx="2077">
                  <c:v>40487</c:v>
                </c:pt>
                <c:pt idx="2078">
                  <c:v>40490</c:v>
                </c:pt>
                <c:pt idx="2079">
                  <c:v>40491</c:v>
                </c:pt>
                <c:pt idx="2080">
                  <c:v>40492</c:v>
                </c:pt>
                <c:pt idx="2081">
                  <c:v>40493</c:v>
                </c:pt>
                <c:pt idx="2082">
                  <c:v>40494</c:v>
                </c:pt>
                <c:pt idx="2083">
                  <c:v>40497</c:v>
                </c:pt>
                <c:pt idx="2084">
                  <c:v>40498</c:v>
                </c:pt>
                <c:pt idx="2085">
                  <c:v>40499</c:v>
                </c:pt>
                <c:pt idx="2086">
                  <c:v>40500</c:v>
                </c:pt>
                <c:pt idx="2087">
                  <c:v>40501</c:v>
                </c:pt>
                <c:pt idx="2088">
                  <c:v>40504</c:v>
                </c:pt>
                <c:pt idx="2089">
                  <c:v>40505</c:v>
                </c:pt>
                <c:pt idx="2090">
                  <c:v>40506</c:v>
                </c:pt>
                <c:pt idx="2091">
                  <c:v>40507</c:v>
                </c:pt>
                <c:pt idx="2092">
                  <c:v>40508</c:v>
                </c:pt>
                <c:pt idx="2093">
                  <c:v>40511</c:v>
                </c:pt>
                <c:pt idx="2094">
                  <c:v>40512</c:v>
                </c:pt>
                <c:pt idx="2095">
                  <c:v>40513</c:v>
                </c:pt>
                <c:pt idx="2096">
                  <c:v>40514</c:v>
                </c:pt>
                <c:pt idx="2097">
                  <c:v>40515</c:v>
                </c:pt>
                <c:pt idx="2098">
                  <c:v>40518</c:v>
                </c:pt>
                <c:pt idx="2099">
                  <c:v>40519</c:v>
                </c:pt>
                <c:pt idx="2100">
                  <c:v>40520</c:v>
                </c:pt>
                <c:pt idx="2101">
                  <c:v>40521</c:v>
                </c:pt>
                <c:pt idx="2102">
                  <c:v>40522</c:v>
                </c:pt>
                <c:pt idx="2103">
                  <c:v>40525</c:v>
                </c:pt>
                <c:pt idx="2104">
                  <c:v>40526</c:v>
                </c:pt>
                <c:pt idx="2105">
                  <c:v>40527</c:v>
                </c:pt>
                <c:pt idx="2106">
                  <c:v>40528</c:v>
                </c:pt>
                <c:pt idx="2107">
                  <c:v>40529</c:v>
                </c:pt>
                <c:pt idx="2108">
                  <c:v>40532</c:v>
                </c:pt>
                <c:pt idx="2109">
                  <c:v>40533</c:v>
                </c:pt>
                <c:pt idx="2110">
                  <c:v>40534</c:v>
                </c:pt>
                <c:pt idx="2111">
                  <c:v>40535</c:v>
                </c:pt>
                <c:pt idx="2112">
                  <c:v>40536</c:v>
                </c:pt>
                <c:pt idx="2113">
                  <c:v>40539</c:v>
                </c:pt>
                <c:pt idx="2114">
                  <c:v>40540</c:v>
                </c:pt>
                <c:pt idx="2115">
                  <c:v>40541</c:v>
                </c:pt>
                <c:pt idx="2116">
                  <c:v>40542</c:v>
                </c:pt>
                <c:pt idx="2117">
                  <c:v>40543</c:v>
                </c:pt>
                <c:pt idx="2118">
                  <c:v>40547</c:v>
                </c:pt>
                <c:pt idx="2119">
                  <c:v>40548</c:v>
                </c:pt>
                <c:pt idx="2120">
                  <c:v>40549</c:v>
                </c:pt>
                <c:pt idx="2121">
                  <c:v>40550</c:v>
                </c:pt>
                <c:pt idx="2122">
                  <c:v>40553</c:v>
                </c:pt>
                <c:pt idx="2123">
                  <c:v>40554</c:v>
                </c:pt>
                <c:pt idx="2124">
                  <c:v>40555</c:v>
                </c:pt>
                <c:pt idx="2125">
                  <c:v>40556</c:v>
                </c:pt>
                <c:pt idx="2126">
                  <c:v>40557</c:v>
                </c:pt>
                <c:pt idx="2127">
                  <c:v>40560</c:v>
                </c:pt>
                <c:pt idx="2128">
                  <c:v>40561</c:v>
                </c:pt>
                <c:pt idx="2129">
                  <c:v>40562</c:v>
                </c:pt>
                <c:pt idx="2130">
                  <c:v>40563</c:v>
                </c:pt>
                <c:pt idx="2131">
                  <c:v>40564</c:v>
                </c:pt>
                <c:pt idx="2132">
                  <c:v>40567</c:v>
                </c:pt>
                <c:pt idx="2133">
                  <c:v>40568</c:v>
                </c:pt>
                <c:pt idx="2134">
                  <c:v>40569</c:v>
                </c:pt>
                <c:pt idx="2135">
                  <c:v>40570</c:v>
                </c:pt>
                <c:pt idx="2136">
                  <c:v>40571</c:v>
                </c:pt>
                <c:pt idx="2137">
                  <c:v>40574</c:v>
                </c:pt>
                <c:pt idx="2138">
                  <c:v>40575</c:v>
                </c:pt>
                <c:pt idx="2139">
                  <c:v>40583</c:v>
                </c:pt>
                <c:pt idx="2140">
                  <c:v>40584</c:v>
                </c:pt>
                <c:pt idx="2141">
                  <c:v>40585</c:v>
                </c:pt>
                <c:pt idx="2142">
                  <c:v>40588</c:v>
                </c:pt>
                <c:pt idx="2143">
                  <c:v>40589</c:v>
                </c:pt>
                <c:pt idx="2144">
                  <c:v>40590</c:v>
                </c:pt>
                <c:pt idx="2145">
                  <c:v>40591</c:v>
                </c:pt>
                <c:pt idx="2146">
                  <c:v>40592</c:v>
                </c:pt>
                <c:pt idx="2147">
                  <c:v>40595</c:v>
                </c:pt>
                <c:pt idx="2148">
                  <c:v>40596</c:v>
                </c:pt>
                <c:pt idx="2149">
                  <c:v>40597</c:v>
                </c:pt>
                <c:pt idx="2150">
                  <c:v>40598</c:v>
                </c:pt>
                <c:pt idx="2151">
                  <c:v>40599</c:v>
                </c:pt>
                <c:pt idx="2152">
                  <c:v>40602</c:v>
                </c:pt>
                <c:pt idx="2153">
                  <c:v>40603</c:v>
                </c:pt>
                <c:pt idx="2154">
                  <c:v>40604</c:v>
                </c:pt>
                <c:pt idx="2155">
                  <c:v>40605</c:v>
                </c:pt>
                <c:pt idx="2156">
                  <c:v>40606</c:v>
                </c:pt>
                <c:pt idx="2157">
                  <c:v>40609</c:v>
                </c:pt>
                <c:pt idx="2158">
                  <c:v>40610</c:v>
                </c:pt>
                <c:pt idx="2159">
                  <c:v>40611</c:v>
                </c:pt>
                <c:pt idx="2160">
                  <c:v>40612</c:v>
                </c:pt>
                <c:pt idx="2161">
                  <c:v>40613</c:v>
                </c:pt>
                <c:pt idx="2162">
                  <c:v>40616</c:v>
                </c:pt>
                <c:pt idx="2163">
                  <c:v>40617</c:v>
                </c:pt>
                <c:pt idx="2164">
                  <c:v>40618</c:v>
                </c:pt>
                <c:pt idx="2165">
                  <c:v>40619</c:v>
                </c:pt>
                <c:pt idx="2166">
                  <c:v>40620</c:v>
                </c:pt>
                <c:pt idx="2167">
                  <c:v>40623</c:v>
                </c:pt>
                <c:pt idx="2168">
                  <c:v>40624</c:v>
                </c:pt>
                <c:pt idx="2169">
                  <c:v>40625</c:v>
                </c:pt>
                <c:pt idx="2170">
                  <c:v>40626</c:v>
                </c:pt>
                <c:pt idx="2171">
                  <c:v>40627</c:v>
                </c:pt>
                <c:pt idx="2172">
                  <c:v>40630</c:v>
                </c:pt>
                <c:pt idx="2173">
                  <c:v>40631</c:v>
                </c:pt>
                <c:pt idx="2174">
                  <c:v>40632</c:v>
                </c:pt>
                <c:pt idx="2175">
                  <c:v>40633</c:v>
                </c:pt>
                <c:pt idx="2176">
                  <c:v>40634</c:v>
                </c:pt>
                <c:pt idx="2177">
                  <c:v>40639</c:v>
                </c:pt>
                <c:pt idx="2178">
                  <c:v>40640</c:v>
                </c:pt>
                <c:pt idx="2179">
                  <c:v>40641</c:v>
                </c:pt>
                <c:pt idx="2180">
                  <c:v>40644</c:v>
                </c:pt>
                <c:pt idx="2181">
                  <c:v>40645</c:v>
                </c:pt>
                <c:pt idx="2182">
                  <c:v>40646</c:v>
                </c:pt>
                <c:pt idx="2183">
                  <c:v>40647</c:v>
                </c:pt>
                <c:pt idx="2184">
                  <c:v>40648</c:v>
                </c:pt>
                <c:pt idx="2185">
                  <c:v>40651</c:v>
                </c:pt>
                <c:pt idx="2186">
                  <c:v>40652</c:v>
                </c:pt>
                <c:pt idx="2187">
                  <c:v>40653</c:v>
                </c:pt>
                <c:pt idx="2188">
                  <c:v>40654</c:v>
                </c:pt>
                <c:pt idx="2189">
                  <c:v>40655</c:v>
                </c:pt>
                <c:pt idx="2190">
                  <c:v>40658</c:v>
                </c:pt>
                <c:pt idx="2191">
                  <c:v>40659</c:v>
                </c:pt>
                <c:pt idx="2192">
                  <c:v>40660</c:v>
                </c:pt>
                <c:pt idx="2193">
                  <c:v>40661</c:v>
                </c:pt>
                <c:pt idx="2194">
                  <c:v>40662</c:v>
                </c:pt>
                <c:pt idx="2195">
                  <c:v>40666</c:v>
                </c:pt>
                <c:pt idx="2196">
                  <c:v>40667</c:v>
                </c:pt>
                <c:pt idx="2197">
                  <c:v>40668</c:v>
                </c:pt>
                <c:pt idx="2198">
                  <c:v>40669</c:v>
                </c:pt>
                <c:pt idx="2199">
                  <c:v>40672</c:v>
                </c:pt>
                <c:pt idx="2200">
                  <c:v>40673</c:v>
                </c:pt>
                <c:pt idx="2201">
                  <c:v>40674</c:v>
                </c:pt>
                <c:pt idx="2202">
                  <c:v>40675</c:v>
                </c:pt>
                <c:pt idx="2203">
                  <c:v>40676</c:v>
                </c:pt>
                <c:pt idx="2204">
                  <c:v>40679</c:v>
                </c:pt>
                <c:pt idx="2205">
                  <c:v>40680</c:v>
                </c:pt>
                <c:pt idx="2206">
                  <c:v>40681</c:v>
                </c:pt>
                <c:pt idx="2207">
                  <c:v>40682</c:v>
                </c:pt>
                <c:pt idx="2208">
                  <c:v>40683</c:v>
                </c:pt>
                <c:pt idx="2209">
                  <c:v>40686</c:v>
                </c:pt>
                <c:pt idx="2210">
                  <c:v>40687</c:v>
                </c:pt>
                <c:pt idx="2211">
                  <c:v>40688</c:v>
                </c:pt>
                <c:pt idx="2212">
                  <c:v>40689</c:v>
                </c:pt>
                <c:pt idx="2213">
                  <c:v>40690</c:v>
                </c:pt>
                <c:pt idx="2214">
                  <c:v>40693</c:v>
                </c:pt>
                <c:pt idx="2215">
                  <c:v>40694</c:v>
                </c:pt>
                <c:pt idx="2216">
                  <c:v>40695</c:v>
                </c:pt>
                <c:pt idx="2217">
                  <c:v>40696</c:v>
                </c:pt>
                <c:pt idx="2218">
                  <c:v>40697</c:v>
                </c:pt>
                <c:pt idx="2219">
                  <c:v>40701</c:v>
                </c:pt>
                <c:pt idx="2220">
                  <c:v>40702</c:v>
                </c:pt>
                <c:pt idx="2221">
                  <c:v>40703</c:v>
                </c:pt>
                <c:pt idx="2222">
                  <c:v>40704</c:v>
                </c:pt>
                <c:pt idx="2223">
                  <c:v>40707</c:v>
                </c:pt>
                <c:pt idx="2224">
                  <c:v>40708</c:v>
                </c:pt>
                <c:pt idx="2225">
                  <c:v>40709</c:v>
                </c:pt>
                <c:pt idx="2226">
                  <c:v>40710</c:v>
                </c:pt>
                <c:pt idx="2227">
                  <c:v>40711</c:v>
                </c:pt>
                <c:pt idx="2228">
                  <c:v>40714</c:v>
                </c:pt>
                <c:pt idx="2229">
                  <c:v>40715</c:v>
                </c:pt>
                <c:pt idx="2230">
                  <c:v>40716</c:v>
                </c:pt>
                <c:pt idx="2231">
                  <c:v>40717</c:v>
                </c:pt>
                <c:pt idx="2232">
                  <c:v>40718</c:v>
                </c:pt>
                <c:pt idx="2233">
                  <c:v>40721</c:v>
                </c:pt>
                <c:pt idx="2234">
                  <c:v>40722</c:v>
                </c:pt>
                <c:pt idx="2235">
                  <c:v>40723</c:v>
                </c:pt>
                <c:pt idx="2236">
                  <c:v>40724</c:v>
                </c:pt>
                <c:pt idx="2237">
                  <c:v>40725</c:v>
                </c:pt>
                <c:pt idx="2238">
                  <c:v>40728</c:v>
                </c:pt>
                <c:pt idx="2239">
                  <c:v>40729</c:v>
                </c:pt>
                <c:pt idx="2240">
                  <c:v>40730</c:v>
                </c:pt>
                <c:pt idx="2241">
                  <c:v>40731</c:v>
                </c:pt>
                <c:pt idx="2242">
                  <c:v>40732</c:v>
                </c:pt>
                <c:pt idx="2243">
                  <c:v>40735</c:v>
                </c:pt>
                <c:pt idx="2244">
                  <c:v>40736</c:v>
                </c:pt>
                <c:pt idx="2245">
                  <c:v>40737</c:v>
                </c:pt>
                <c:pt idx="2246">
                  <c:v>40738</c:v>
                </c:pt>
                <c:pt idx="2247">
                  <c:v>40739</c:v>
                </c:pt>
                <c:pt idx="2248">
                  <c:v>40742</c:v>
                </c:pt>
                <c:pt idx="2249">
                  <c:v>40743</c:v>
                </c:pt>
                <c:pt idx="2250">
                  <c:v>40744</c:v>
                </c:pt>
                <c:pt idx="2251">
                  <c:v>40745</c:v>
                </c:pt>
                <c:pt idx="2252">
                  <c:v>40746</c:v>
                </c:pt>
                <c:pt idx="2253">
                  <c:v>40749</c:v>
                </c:pt>
                <c:pt idx="2254">
                  <c:v>40750</c:v>
                </c:pt>
                <c:pt idx="2255">
                  <c:v>40751</c:v>
                </c:pt>
                <c:pt idx="2256">
                  <c:v>40752</c:v>
                </c:pt>
                <c:pt idx="2257">
                  <c:v>40753</c:v>
                </c:pt>
                <c:pt idx="2258">
                  <c:v>40756</c:v>
                </c:pt>
                <c:pt idx="2259">
                  <c:v>40757</c:v>
                </c:pt>
                <c:pt idx="2260">
                  <c:v>40758</c:v>
                </c:pt>
                <c:pt idx="2261">
                  <c:v>40759</c:v>
                </c:pt>
                <c:pt idx="2262">
                  <c:v>40760</c:v>
                </c:pt>
                <c:pt idx="2263">
                  <c:v>40763</c:v>
                </c:pt>
                <c:pt idx="2264">
                  <c:v>40764</c:v>
                </c:pt>
                <c:pt idx="2265">
                  <c:v>40765</c:v>
                </c:pt>
                <c:pt idx="2266">
                  <c:v>40766</c:v>
                </c:pt>
                <c:pt idx="2267">
                  <c:v>40767</c:v>
                </c:pt>
                <c:pt idx="2268">
                  <c:v>40770</c:v>
                </c:pt>
                <c:pt idx="2269">
                  <c:v>40771</c:v>
                </c:pt>
                <c:pt idx="2270">
                  <c:v>40772</c:v>
                </c:pt>
                <c:pt idx="2271">
                  <c:v>40773</c:v>
                </c:pt>
                <c:pt idx="2272">
                  <c:v>40774</c:v>
                </c:pt>
                <c:pt idx="2273">
                  <c:v>40777</c:v>
                </c:pt>
                <c:pt idx="2274">
                  <c:v>40778</c:v>
                </c:pt>
                <c:pt idx="2275">
                  <c:v>40779</c:v>
                </c:pt>
                <c:pt idx="2276">
                  <c:v>40780</c:v>
                </c:pt>
                <c:pt idx="2277">
                  <c:v>40781</c:v>
                </c:pt>
                <c:pt idx="2278">
                  <c:v>40784</c:v>
                </c:pt>
                <c:pt idx="2279">
                  <c:v>40785</c:v>
                </c:pt>
                <c:pt idx="2280">
                  <c:v>40786</c:v>
                </c:pt>
                <c:pt idx="2281">
                  <c:v>40787</c:v>
                </c:pt>
                <c:pt idx="2282">
                  <c:v>40788</c:v>
                </c:pt>
                <c:pt idx="2283">
                  <c:v>40791</c:v>
                </c:pt>
                <c:pt idx="2284">
                  <c:v>40792</c:v>
                </c:pt>
                <c:pt idx="2285">
                  <c:v>40793</c:v>
                </c:pt>
                <c:pt idx="2286">
                  <c:v>40794</c:v>
                </c:pt>
                <c:pt idx="2287">
                  <c:v>40795</c:v>
                </c:pt>
                <c:pt idx="2288">
                  <c:v>40799</c:v>
                </c:pt>
                <c:pt idx="2289">
                  <c:v>40800</c:v>
                </c:pt>
                <c:pt idx="2290">
                  <c:v>40801</c:v>
                </c:pt>
                <c:pt idx="2291">
                  <c:v>40802</c:v>
                </c:pt>
                <c:pt idx="2292">
                  <c:v>40805</c:v>
                </c:pt>
                <c:pt idx="2293">
                  <c:v>40806</c:v>
                </c:pt>
                <c:pt idx="2294">
                  <c:v>40807</c:v>
                </c:pt>
                <c:pt idx="2295">
                  <c:v>40808</c:v>
                </c:pt>
                <c:pt idx="2296">
                  <c:v>40809</c:v>
                </c:pt>
                <c:pt idx="2297">
                  <c:v>40812</c:v>
                </c:pt>
                <c:pt idx="2298">
                  <c:v>40813</c:v>
                </c:pt>
                <c:pt idx="2299">
                  <c:v>40814</c:v>
                </c:pt>
                <c:pt idx="2300">
                  <c:v>40815</c:v>
                </c:pt>
                <c:pt idx="2301">
                  <c:v>40816</c:v>
                </c:pt>
                <c:pt idx="2302">
                  <c:v>40826</c:v>
                </c:pt>
                <c:pt idx="2303">
                  <c:v>40827</c:v>
                </c:pt>
                <c:pt idx="2304">
                  <c:v>40828</c:v>
                </c:pt>
                <c:pt idx="2305">
                  <c:v>40829</c:v>
                </c:pt>
                <c:pt idx="2306">
                  <c:v>40830</c:v>
                </c:pt>
                <c:pt idx="2307">
                  <c:v>40833</c:v>
                </c:pt>
                <c:pt idx="2308">
                  <c:v>40834</c:v>
                </c:pt>
                <c:pt idx="2309">
                  <c:v>40835</c:v>
                </c:pt>
                <c:pt idx="2310">
                  <c:v>40836</c:v>
                </c:pt>
                <c:pt idx="2311">
                  <c:v>40837</c:v>
                </c:pt>
                <c:pt idx="2312">
                  <c:v>40840</c:v>
                </c:pt>
                <c:pt idx="2313">
                  <c:v>40841</c:v>
                </c:pt>
                <c:pt idx="2314">
                  <c:v>40842</c:v>
                </c:pt>
                <c:pt idx="2315">
                  <c:v>40843</c:v>
                </c:pt>
                <c:pt idx="2316">
                  <c:v>40844</c:v>
                </c:pt>
                <c:pt idx="2317">
                  <c:v>40847</c:v>
                </c:pt>
                <c:pt idx="2318">
                  <c:v>40848</c:v>
                </c:pt>
                <c:pt idx="2319">
                  <c:v>40849</c:v>
                </c:pt>
                <c:pt idx="2320">
                  <c:v>40850</c:v>
                </c:pt>
                <c:pt idx="2321">
                  <c:v>40851</c:v>
                </c:pt>
                <c:pt idx="2322">
                  <c:v>40854</c:v>
                </c:pt>
                <c:pt idx="2323">
                  <c:v>40855</c:v>
                </c:pt>
                <c:pt idx="2324">
                  <c:v>40856</c:v>
                </c:pt>
                <c:pt idx="2325">
                  <c:v>40857</c:v>
                </c:pt>
                <c:pt idx="2326">
                  <c:v>40858</c:v>
                </c:pt>
                <c:pt idx="2327">
                  <c:v>40861</c:v>
                </c:pt>
                <c:pt idx="2328">
                  <c:v>40862</c:v>
                </c:pt>
                <c:pt idx="2329">
                  <c:v>40863</c:v>
                </c:pt>
                <c:pt idx="2330">
                  <c:v>40864</c:v>
                </c:pt>
                <c:pt idx="2331">
                  <c:v>40865</c:v>
                </c:pt>
                <c:pt idx="2332">
                  <c:v>40868</c:v>
                </c:pt>
                <c:pt idx="2333">
                  <c:v>40869</c:v>
                </c:pt>
                <c:pt idx="2334">
                  <c:v>40870</c:v>
                </c:pt>
                <c:pt idx="2335">
                  <c:v>40871</c:v>
                </c:pt>
                <c:pt idx="2336">
                  <c:v>40872</c:v>
                </c:pt>
                <c:pt idx="2337">
                  <c:v>40875</c:v>
                </c:pt>
                <c:pt idx="2338">
                  <c:v>40876</c:v>
                </c:pt>
                <c:pt idx="2339">
                  <c:v>40877</c:v>
                </c:pt>
                <c:pt idx="2340">
                  <c:v>40878</c:v>
                </c:pt>
                <c:pt idx="2341">
                  <c:v>40879</c:v>
                </c:pt>
                <c:pt idx="2342">
                  <c:v>40882</c:v>
                </c:pt>
                <c:pt idx="2343">
                  <c:v>40883</c:v>
                </c:pt>
                <c:pt idx="2344">
                  <c:v>40884</c:v>
                </c:pt>
                <c:pt idx="2345">
                  <c:v>40885</c:v>
                </c:pt>
                <c:pt idx="2346">
                  <c:v>40886</c:v>
                </c:pt>
                <c:pt idx="2347">
                  <c:v>40889</c:v>
                </c:pt>
                <c:pt idx="2348">
                  <c:v>40890</c:v>
                </c:pt>
                <c:pt idx="2349">
                  <c:v>40891</c:v>
                </c:pt>
                <c:pt idx="2350">
                  <c:v>40892</c:v>
                </c:pt>
                <c:pt idx="2351">
                  <c:v>40893</c:v>
                </c:pt>
                <c:pt idx="2352">
                  <c:v>40896</c:v>
                </c:pt>
                <c:pt idx="2353">
                  <c:v>40897</c:v>
                </c:pt>
                <c:pt idx="2354">
                  <c:v>40898</c:v>
                </c:pt>
                <c:pt idx="2355">
                  <c:v>40899</c:v>
                </c:pt>
                <c:pt idx="2356">
                  <c:v>40900</c:v>
                </c:pt>
                <c:pt idx="2357">
                  <c:v>40903</c:v>
                </c:pt>
                <c:pt idx="2358">
                  <c:v>40904</c:v>
                </c:pt>
                <c:pt idx="2359">
                  <c:v>40905</c:v>
                </c:pt>
                <c:pt idx="2360">
                  <c:v>40906</c:v>
                </c:pt>
                <c:pt idx="2361">
                  <c:v>40907</c:v>
                </c:pt>
                <c:pt idx="2362">
                  <c:v>40912</c:v>
                </c:pt>
                <c:pt idx="2363">
                  <c:v>40913</c:v>
                </c:pt>
                <c:pt idx="2364">
                  <c:v>40914</c:v>
                </c:pt>
                <c:pt idx="2365">
                  <c:v>40917</c:v>
                </c:pt>
                <c:pt idx="2366">
                  <c:v>40918</c:v>
                </c:pt>
                <c:pt idx="2367">
                  <c:v>40919</c:v>
                </c:pt>
                <c:pt idx="2368">
                  <c:v>40920</c:v>
                </c:pt>
                <c:pt idx="2369">
                  <c:v>40921</c:v>
                </c:pt>
                <c:pt idx="2370">
                  <c:v>40924</c:v>
                </c:pt>
                <c:pt idx="2371">
                  <c:v>40925</c:v>
                </c:pt>
                <c:pt idx="2372">
                  <c:v>40926</c:v>
                </c:pt>
                <c:pt idx="2373">
                  <c:v>40927</c:v>
                </c:pt>
                <c:pt idx="2374">
                  <c:v>40928</c:v>
                </c:pt>
                <c:pt idx="2375">
                  <c:v>40938</c:v>
                </c:pt>
                <c:pt idx="2376">
                  <c:v>40939</c:v>
                </c:pt>
                <c:pt idx="2377">
                  <c:v>40940</c:v>
                </c:pt>
                <c:pt idx="2378">
                  <c:v>40941</c:v>
                </c:pt>
                <c:pt idx="2379">
                  <c:v>40942</c:v>
                </c:pt>
                <c:pt idx="2380">
                  <c:v>40945</c:v>
                </c:pt>
                <c:pt idx="2381">
                  <c:v>40946</c:v>
                </c:pt>
                <c:pt idx="2382">
                  <c:v>40947</c:v>
                </c:pt>
                <c:pt idx="2383">
                  <c:v>40948</c:v>
                </c:pt>
                <c:pt idx="2384">
                  <c:v>40949</c:v>
                </c:pt>
                <c:pt idx="2385">
                  <c:v>40952</c:v>
                </c:pt>
                <c:pt idx="2386">
                  <c:v>40953</c:v>
                </c:pt>
                <c:pt idx="2387">
                  <c:v>40954</c:v>
                </c:pt>
                <c:pt idx="2388">
                  <c:v>40955</c:v>
                </c:pt>
                <c:pt idx="2389">
                  <c:v>40956</c:v>
                </c:pt>
                <c:pt idx="2390">
                  <c:v>40959</c:v>
                </c:pt>
                <c:pt idx="2391">
                  <c:v>40960</c:v>
                </c:pt>
                <c:pt idx="2392">
                  <c:v>40961</c:v>
                </c:pt>
                <c:pt idx="2393">
                  <c:v>40962</c:v>
                </c:pt>
                <c:pt idx="2394">
                  <c:v>40963</c:v>
                </c:pt>
                <c:pt idx="2395">
                  <c:v>40966</c:v>
                </c:pt>
                <c:pt idx="2396">
                  <c:v>40967</c:v>
                </c:pt>
                <c:pt idx="2397">
                  <c:v>40968</c:v>
                </c:pt>
                <c:pt idx="2398">
                  <c:v>40969</c:v>
                </c:pt>
                <c:pt idx="2399">
                  <c:v>40970</c:v>
                </c:pt>
                <c:pt idx="2400">
                  <c:v>40973</c:v>
                </c:pt>
                <c:pt idx="2401">
                  <c:v>40974</c:v>
                </c:pt>
                <c:pt idx="2402">
                  <c:v>40975</c:v>
                </c:pt>
                <c:pt idx="2403">
                  <c:v>40976</c:v>
                </c:pt>
                <c:pt idx="2404">
                  <c:v>40977</c:v>
                </c:pt>
                <c:pt idx="2405">
                  <c:v>40980</c:v>
                </c:pt>
                <c:pt idx="2406">
                  <c:v>40981</c:v>
                </c:pt>
                <c:pt idx="2407">
                  <c:v>40982</c:v>
                </c:pt>
                <c:pt idx="2408">
                  <c:v>40983</c:v>
                </c:pt>
                <c:pt idx="2409">
                  <c:v>40984</c:v>
                </c:pt>
                <c:pt idx="2410">
                  <c:v>40987</c:v>
                </c:pt>
                <c:pt idx="2411">
                  <c:v>40988</c:v>
                </c:pt>
                <c:pt idx="2412">
                  <c:v>40989</c:v>
                </c:pt>
                <c:pt idx="2413">
                  <c:v>40990</c:v>
                </c:pt>
                <c:pt idx="2414">
                  <c:v>40991</c:v>
                </c:pt>
                <c:pt idx="2415">
                  <c:v>40994</c:v>
                </c:pt>
                <c:pt idx="2416">
                  <c:v>40995</c:v>
                </c:pt>
                <c:pt idx="2417">
                  <c:v>40996</c:v>
                </c:pt>
                <c:pt idx="2418">
                  <c:v>40997</c:v>
                </c:pt>
                <c:pt idx="2419">
                  <c:v>40998</c:v>
                </c:pt>
                <c:pt idx="2420">
                  <c:v>41004</c:v>
                </c:pt>
                <c:pt idx="2421">
                  <c:v>41005</c:v>
                </c:pt>
                <c:pt idx="2422">
                  <c:v>41008</c:v>
                </c:pt>
                <c:pt idx="2423">
                  <c:v>41009</c:v>
                </c:pt>
                <c:pt idx="2424">
                  <c:v>41010</c:v>
                </c:pt>
                <c:pt idx="2425">
                  <c:v>41011</c:v>
                </c:pt>
                <c:pt idx="2426">
                  <c:v>41012</c:v>
                </c:pt>
                <c:pt idx="2427">
                  <c:v>41015</c:v>
                </c:pt>
                <c:pt idx="2428">
                  <c:v>41016</c:v>
                </c:pt>
                <c:pt idx="2429">
                  <c:v>41017</c:v>
                </c:pt>
                <c:pt idx="2430">
                  <c:v>41018</c:v>
                </c:pt>
                <c:pt idx="2431">
                  <c:v>41019</c:v>
                </c:pt>
                <c:pt idx="2432">
                  <c:v>41022</c:v>
                </c:pt>
                <c:pt idx="2433">
                  <c:v>41023</c:v>
                </c:pt>
                <c:pt idx="2434">
                  <c:v>41024</c:v>
                </c:pt>
                <c:pt idx="2435">
                  <c:v>41025</c:v>
                </c:pt>
                <c:pt idx="2436">
                  <c:v>41026</c:v>
                </c:pt>
                <c:pt idx="2437">
                  <c:v>41031</c:v>
                </c:pt>
                <c:pt idx="2438">
                  <c:v>41032</c:v>
                </c:pt>
                <c:pt idx="2439">
                  <c:v>41033</c:v>
                </c:pt>
                <c:pt idx="2440">
                  <c:v>41036</c:v>
                </c:pt>
                <c:pt idx="2441">
                  <c:v>41037</c:v>
                </c:pt>
                <c:pt idx="2442">
                  <c:v>41038</c:v>
                </c:pt>
                <c:pt idx="2443">
                  <c:v>41039</c:v>
                </c:pt>
                <c:pt idx="2444">
                  <c:v>41040</c:v>
                </c:pt>
                <c:pt idx="2445">
                  <c:v>41043</c:v>
                </c:pt>
                <c:pt idx="2446">
                  <c:v>41044</c:v>
                </c:pt>
                <c:pt idx="2447">
                  <c:v>41045</c:v>
                </c:pt>
                <c:pt idx="2448">
                  <c:v>41046</c:v>
                </c:pt>
                <c:pt idx="2449">
                  <c:v>41047</c:v>
                </c:pt>
                <c:pt idx="2450">
                  <c:v>41050</c:v>
                </c:pt>
                <c:pt idx="2451">
                  <c:v>41051</c:v>
                </c:pt>
                <c:pt idx="2452">
                  <c:v>41052</c:v>
                </c:pt>
                <c:pt idx="2453">
                  <c:v>41053</c:v>
                </c:pt>
                <c:pt idx="2454">
                  <c:v>41054</c:v>
                </c:pt>
                <c:pt idx="2455">
                  <c:v>41057</c:v>
                </c:pt>
                <c:pt idx="2456">
                  <c:v>41058</c:v>
                </c:pt>
                <c:pt idx="2457">
                  <c:v>41059</c:v>
                </c:pt>
                <c:pt idx="2458">
                  <c:v>41060</c:v>
                </c:pt>
                <c:pt idx="2459">
                  <c:v>41061</c:v>
                </c:pt>
                <c:pt idx="2460">
                  <c:v>41064</c:v>
                </c:pt>
                <c:pt idx="2461">
                  <c:v>41065</c:v>
                </c:pt>
                <c:pt idx="2462">
                  <c:v>41066</c:v>
                </c:pt>
                <c:pt idx="2463">
                  <c:v>41067</c:v>
                </c:pt>
                <c:pt idx="2464">
                  <c:v>41068</c:v>
                </c:pt>
                <c:pt idx="2465">
                  <c:v>41071</c:v>
                </c:pt>
                <c:pt idx="2466">
                  <c:v>41072</c:v>
                </c:pt>
                <c:pt idx="2467">
                  <c:v>41073</c:v>
                </c:pt>
                <c:pt idx="2468">
                  <c:v>41074</c:v>
                </c:pt>
                <c:pt idx="2469">
                  <c:v>41075</c:v>
                </c:pt>
                <c:pt idx="2470">
                  <c:v>41078</c:v>
                </c:pt>
                <c:pt idx="2471">
                  <c:v>41079</c:v>
                </c:pt>
                <c:pt idx="2472">
                  <c:v>41080</c:v>
                </c:pt>
                <c:pt idx="2473">
                  <c:v>41081</c:v>
                </c:pt>
                <c:pt idx="2474">
                  <c:v>41085</c:v>
                </c:pt>
                <c:pt idx="2475">
                  <c:v>41086</c:v>
                </c:pt>
                <c:pt idx="2476">
                  <c:v>41087</c:v>
                </c:pt>
                <c:pt idx="2477">
                  <c:v>41088</c:v>
                </c:pt>
                <c:pt idx="2478">
                  <c:v>41089</c:v>
                </c:pt>
                <c:pt idx="2479">
                  <c:v>41092</c:v>
                </c:pt>
                <c:pt idx="2480">
                  <c:v>41093</c:v>
                </c:pt>
                <c:pt idx="2481">
                  <c:v>41094</c:v>
                </c:pt>
                <c:pt idx="2482">
                  <c:v>41095</c:v>
                </c:pt>
                <c:pt idx="2483">
                  <c:v>41096</c:v>
                </c:pt>
                <c:pt idx="2484">
                  <c:v>41099</c:v>
                </c:pt>
                <c:pt idx="2485">
                  <c:v>41100</c:v>
                </c:pt>
                <c:pt idx="2486">
                  <c:v>41101</c:v>
                </c:pt>
                <c:pt idx="2487">
                  <c:v>41102</c:v>
                </c:pt>
                <c:pt idx="2488">
                  <c:v>41103</c:v>
                </c:pt>
                <c:pt idx="2489">
                  <c:v>41106</c:v>
                </c:pt>
                <c:pt idx="2490">
                  <c:v>41107</c:v>
                </c:pt>
                <c:pt idx="2491">
                  <c:v>41108</c:v>
                </c:pt>
                <c:pt idx="2492">
                  <c:v>41109</c:v>
                </c:pt>
                <c:pt idx="2493">
                  <c:v>41110</c:v>
                </c:pt>
                <c:pt idx="2494">
                  <c:v>41113</c:v>
                </c:pt>
                <c:pt idx="2495">
                  <c:v>41114</c:v>
                </c:pt>
                <c:pt idx="2496">
                  <c:v>41115</c:v>
                </c:pt>
                <c:pt idx="2497">
                  <c:v>41116</c:v>
                </c:pt>
                <c:pt idx="2498">
                  <c:v>41117</c:v>
                </c:pt>
                <c:pt idx="2499">
                  <c:v>41120</c:v>
                </c:pt>
                <c:pt idx="2500">
                  <c:v>41121</c:v>
                </c:pt>
                <c:pt idx="2501">
                  <c:v>41122</c:v>
                </c:pt>
                <c:pt idx="2502">
                  <c:v>41123</c:v>
                </c:pt>
                <c:pt idx="2503">
                  <c:v>41124</c:v>
                </c:pt>
                <c:pt idx="2504">
                  <c:v>41127</c:v>
                </c:pt>
                <c:pt idx="2505">
                  <c:v>41128</c:v>
                </c:pt>
                <c:pt idx="2506">
                  <c:v>41129</c:v>
                </c:pt>
                <c:pt idx="2507">
                  <c:v>41130</c:v>
                </c:pt>
                <c:pt idx="2508">
                  <c:v>41131</c:v>
                </c:pt>
                <c:pt idx="2509">
                  <c:v>41134</c:v>
                </c:pt>
                <c:pt idx="2510">
                  <c:v>41135</c:v>
                </c:pt>
                <c:pt idx="2511">
                  <c:v>41136</c:v>
                </c:pt>
                <c:pt idx="2512">
                  <c:v>41137</c:v>
                </c:pt>
                <c:pt idx="2513">
                  <c:v>41138</c:v>
                </c:pt>
                <c:pt idx="2514">
                  <c:v>41141</c:v>
                </c:pt>
                <c:pt idx="2515">
                  <c:v>41142</c:v>
                </c:pt>
                <c:pt idx="2516">
                  <c:v>41143</c:v>
                </c:pt>
                <c:pt idx="2517">
                  <c:v>41144</c:v>
                </c:pt>
                <c:pt idx="2518">
                  <c:v>41145</c:v>
                </c:pt>
                <c:pt idx="2519">
                  <c:v>41148</c:v>
                </c:pt>
                <c:pt idx="2520">
                  <c:v>41149</c:v>
                </c:pt>
                <c:pt idx="2521">
                  <c:v>41150</c:v>
                </c:pt>
                <c:pt idx="2522">
                  <c:v>41151</c:v>
                </c:pt>
                <c:pt idx="2523">
                  <c:v>41152</c:v>
                </c:pt>
                <c:pt idx="2524">
                  <c:v>41155</c:v>
                </c:pt>
                <c:pt idx="2525">
                  <c:v>41156</c:v>
                </c:pt>
                <c:pt idx="2526">
                  <c:v>41157</c:v>
                </c:pt>
                <c:pt idx="2527">
                  <c:v>41158</c:v>
                </c:pt>
                <c:pt idx="2528">
                  <c:v>41159</c:v>
                </c:pt>
                <c:pt idx="2529">
                  <c:v>41162</c:v>
                </c:pt>
                <c:pt idx="2530">
                  <c:v>41163</c:v>
                </c:pt>
                <c:pt idx="2531">
                  <c:v>41164</c:v>
                </c:pt>
                <c:pt idx="2532">
                  <c:v>41165</c:v>
                </c:pt>
                <c:pt idx="2533">
                  <c:v>41166</c:v>
                </c:pt>
                <c:pt idx="2534">
                  <c:v>41169</c:v>
                </c:pt>
                <c:pt idx="2535">
                  <c:v>41170</c:v>
                </c:pt>
                <c:pt idx="2536">
                  <c:v>41171</c:v>
                </c:pt>
                <c:pt idx="2537">
                  <c:v>41172</c:v>
                </c:pt>
                <c:pt idx="2538">
                  <c:v>41173</c:v>
                </c:pt>
                <c:pt idx="2539">
                  <c:v>41176</c:v>
                </c:pt>
                <c:pt idx="2540">
                  <c:v>41177</c:v>
                </c:pt>
                <c:pt idx="2541">
                  <c:v>41178</c:v>
                </c:pt>
                <c:pt idx="2542">
                  <c:v>41179</c:v>
                </c:pt>
                <c:pt idx="2543">
                  <c:v>41180</c:v>
                </c:pt>
                <c:pt idx="2544">
                  <c:v>41190</c:v>
                </c:pt>
                <c:pt idx="2545">
                  <c:v>41191</c:v>
                </c:pt>
                <c:pt idx="2546">
                  <c:v>41192</c:v>
                </c:pt>
                <c:pt idx="2547">
                  <c:v>41193</c:v>
                </c:pt>
                <c:pt idx="2548">
                  <c:v>41194</c:v>
                </c:pt>
                <c:pt idx="2549">
                  <c:v>41197</c:v>
                </c:pt>
                <c:pt idx="2550">
                  <c:v>41198</c:v>
                </c:pt>
                <c:pt idx="2551">
                  <c:v>41199</c:v>
                </c:pt>
                <c:pt idx="2552">
                  <c:v>41200</c:v>
                </c:pt>
                <c:pt idx="2553">
                  <c:v>41201</c:v>
                </c:pt>
                <c:pt idx="2554">
                  <c:v>41204</c:v>
                </c:pt>
                <c:pt idx="2555">
                  <c:v>41205</c:v>
                </c:pt>
                <c:pt idx="2556">
                  <c:v>41206</c:v>
                </c:pt>
                <c:pt idx="2557">
                  <c:v>41207</c:v>
                </c:pt>
                <c:pt idx="2558">
                  <c:v>41208</c:v>
                </c:pt>
                <c:pt idx="2559">
                  <c:v>41211</c:v>
                </c:pt>
                <c:pt idx="2560">
                  <c:v>41212</c:v>
                </c:pt>
                <c:pt idx="2561">
                  <c:v>41213</c:v>
                </c:pt>
                <c:pt idx="2562">
                  <c:v>41214</c:v>
                </c:pt>
                <c:pt idx="2563">
                  <c:v>41215</c:v>
                </c:pt>
                <c:pt idx="2564">
                  <c:v>41218</c:v>
                </c:pt>
                <c:pt idx="2565">
                  <c:v>41219</c:v>
                </c:pt>
                <c:pt idx="2566">
                  <c:v>41220</c:v>
                </c:pt>
                <c:pt idx="2567">
                  <c:v>41221</c:v>
                </c:pt>
                <c:pt idx="2568">
                  <c:v>41222</c:v>
                </c:pt>
                <c:pt idx="2569">
                  <c:v>41225</c:v>
                </c:pt>
                <c:pt idx="2570">
                  <c:v>41226</c:v>
                </c:pt>
                <c:pt idx="2571">
                  <c:v>41227</c:v>
                </c:pt>
                <c:pt idx="2572">
                  <c:v>41228</c:v>
                </c:pt>
                <c:pt idx="2573">
                  <c:v>41229</c:v>
                </c:pt>
                <c:pt idx="2574">
                  <c:v>41232</c:v>
                </c:pt>
                <c:pt idx="2575">
                  <c:v>41233</c:v>
                </c:pt>
                <c:pt idx="2576">
                  <c:v>41234</c:v>
                </c:pt>
                <c:pt idx="2577">
                  <c:v>41235</c:v>
                </c:pt>
                <c:pt idx="2578">
                  <c:v>41236</c:v>
                </c:pt>
                <c:pt idx="2579">
                  <c:v>41239</c:v>
                </c:pt>
                <c:pt idx="2580">
                  <c:v>41240</c:v>
                </c:pt>
                <c:pt idx="2581">
                  <c:v>41241</c:v>
                </c:pt>
                <c:pt idx="2582">
                  <c:v>41242</c:v>
                </c:pt>
                <c:pt idx="2583">
                  <c:v>41243</c:v>
                </c:pt>
                <c:pt idx="2584">
                  <c:v>41246</c:v>
                </c:pt>
                <c:pt idx="2585">
                  <c:v>41247</c:v>
                </c:pt>
                <c:pt idx="2586">
                  <c:v>41248</c:v>
                </c:pt>
                <c:pt idx="2587">
                  <c:v>41249</c:v>
                </c:pt>
                <c:pt idx="2588">
                  <c:v>41250</c:v>
                </c:pt>
                <c:pt idx="2589">
                  <c:v>41253</c:v>
                </c:pt>
                <c:pt idx="2590">
                  <c:v>41254</c:v>
                </c:pt>
                <c:pt idx="2591">
                  <c:v>41255</c:v>
                </c:pt>
                <c:pt idx="2592">
                  <c:v>41256</c:v>
                </c:pt>
                <c:pt idx="2593">
                  <c:v>41257</c:v>
                </c:pt>
                <c:pt idx="2594">
                  <c:v>41260</c:v>
                </c:pt>
                <c:pt idx="2595">
                  <c:v>41261</c:v>
                </c:pt>
                <c:pt idx="2596">
                  <c:v>41262</c:v>
                </c:pt>
                <c:pt idx="2597">
                  <c:v>41263</c:v>
                </c:pt>
                <c:pt idx="2598">
                  <c:v>41264</c:v>
                </c:pt>
                <c:pt idx="2599">
                  <c:v>41267</c:v>
                </c:pt>
                <c:pt idx="2600">
                  <c:v>41268</c:v>
                </c:pt>
                <c:pt idx="2601">
                  <c:v>41269</c:v>
                </c:pt>
                <c:pt idx="2602">
                  <c:v>41270</c:v>
                </c:pt>
                <c:pt idx="2603">
                  <c:v>41271</c:v>
                </c:pt>
                <c:pt idx="2604">
                  <c:v>41274</c:v>
                </c:pt>
                <c:pt idx="2605">
                  <c:v>41278</c:v>
                </c:pt>
                <c:pt idx="2606">
                  <c:v>41281</c:v>
                </c:pt>
                <c:pt idx="2607">
                  <c:v>41282</c:v>
                </c:pt>
                <c:pt idx="2608">
                  <c:v>41283</c:v>
                </c:pt>
                <c:pt idx="2609">
                  <c:v>41284</c:v>
                </c:pt>
                <c:pt idx="2610">
                  <c:v>41285</c:v>
                </c:pt>
                <c:pt idx="2611">
                  <c:v>41288</c:v>
                </c:pt>
                <c:pt idx="2612">
                  <c:v>41289</c:v>
                </c:pt>
                <c:pt idx="2613">
                  <c:v>41290</c:v>
                </c:pt>
                <c:pt idx="2614">
                  <c:v>41291</c:v>
                </c:pt>
                <c:pt idx="2615">
                  <c:v>41292</c:v>
                </c:pt>
                <c:pt idx="2616">
                  <c:v>41295</c:v>
                </c:pt>
                <c:pt idx="2617">
                  <c:v>41296</c:v>
                </c:pt>
                <c:pt idx="2618">
                  <c:v>41297</c:v>
                </c:pt>
                <c:pt idx="2619">
                  <c:v>41298</c:v>
                </c:pt>
                <c:pt idx="2620">
                  <c:v>41299</c:v>
                </c:pt>
                <c:pt idx="2621">
                  <c:v>41302</c:v>
                </c:pt>
                <c:pt idx="2622">
                  <c:v>41303</c:v>
                </c:pt>
                <c:pt idx="2623">
                  <c:v>41304</c:v>
                </c:pt>
                <c:pt idx="2624">
                  <c:v>41305</c:v>
                </c:pt>
                <c:pt idx="2625">
                  <c:v>41306</c:v>
                </c:pt>
                <c:pt idx="2626">
                  <c:v>41309</c:v>
                </c:pt>
                <c:pt idx="2627">
                  <c:v>41310</c:v>
                </c:pt>
                <c:pt idx="2628">
                  <c:v>41311</c:v>
                </c:pt>
                <c:pt idx="2629">
                  <c:v>41312</c:v>
                </c:pt>
                <c:pt idx="2630">
                  <c:v>41313</c:v>
                </c:pt>
                <c:pt idx="2631">
                  <c:v>41323</c:v>
                </c:pt>
                <c:pt idx="2632">
                  <c:v>41324</c:v>
                </c:pt>
                <c:pt idx="2633">
                  <c:v>41325</c:v>
                </c:pt>
                <c:pt idx="2634">
                  <c:v>41326</c:v>
                </c:pt>
                <c:pt idx="2635">
                  <c:v>41327</c:v>
                </c:pt>
                <c:pt idx="2636">
                  <c:v>41330</c:v>
                </c:pt>
                <c:pt idx="2637">
                  <c:v>41331</c:v>
                </c:pt>
                <c:pt idx="2638">
                  <c:v>41332</c:v>
                </c:pt>
                <c:pt idx="2639">
                  <c:v>41333</c:v>
                </c:pt>
                <c:pt idx="2640">
                  <c:v>41334</c:v>
                </c:pt>
                <c:pt idx="2641">
                  <c:v>41337</c:v>
                </c:pt>
                <c:pt idx="2642">
                  <c:v>41338</c:v>
                </c:pt>
                <c:pt idx="2643">
                  <c:v>41339</c:v>
                </c:pt>
                <c:pt idx="2644">
                  <c:v>41340</c:v>
                </c:pt>
                <c:pt idx="2645">
                  <c:v>41341</c:v>
                </c:pt>
                <c:pt idx="2646">
                  <c:v>41344</c:v>
                </c:pt>
                <c:pt idx="2647">
                  <c:v>41345</c:v>
                </c:pt>
                <c:pt idx="2648">
                  <c:v>41346</c:v>
                </c:pt>
                <c:pt idx="2649">
                  <c:v>41347</c:v>
                </c:pt>
                <c:pt idx="2650">
                  <c:v>41348</c:v>
                </c:pt>
                <c:pt idx="2651">
                  <c:v>41351</c:v>
                </c:pt>
                <c:pt idx="2652">
                  <c:v>41352</c:v>
                </c:pt>
                <c:pt idx="2653">
                  <c:v>41353</c:v>
                </c:pt>
                <c:pt idx="2654">
                  <c:v>41354</c:v>
                </c:pt>
                <c:pt idx="2655">
                  <c:v>41355</c:v>
                </c:pt>
                <c:pt idx="2656">
                  <c:v>41358</c:v>
                </c:pt>
                <c:pt idx="2657">
                  <c:v>41359</c:v>
                </c:pt>
                <c:pt idx="2658">
                  <c:v>41360</c:v>
                </c:pt>
                <c:pt idx="2659">
                  <c:v>41361</c:v>
                </c:pt>
                <c:pt idx="2660">
                  <c:v>41362</c:v>
                </c:pt>
                <c:pt idx="2661">
                  <c:v>41365</c:v>
                </c:pt>
                <c:pt idx="2662">
                  <c:v>41366</c:v>
                </c:pt>
                <c:pt idx="2663">
                  <c:v>41367</c:v>
                </c:pt>
                <c:pt idx="2664">
                  <c:v>41372</c:v>
                </c:pt>
                <c:pt idx="2665">
                  <c:v>41373</c:v>
                </c:pt>
                <c:pt idx="2666">
                  <c:v>41374</c:v>
                </c:pt>
                <c:pt idx="2667">
                  <c:v>41375</c:v>
                </c:pt>
                <c:pt idx="2668">
                  <c:v>41376</c:v>
                </c:pt>
                <c:pt idx="2669">
                  <c:v>41379</c:v>
                </c:pt>
                <c:pt idx="2670">
                  <c:v>41380</c:v>
                </c:pt>
                <c:pt idx="2671">
                  <c:v>41381</c:v>
                </c:pt>
                <c:pt idx="2672">
                  <c:v>41382</c:v>
                </c:pt>
                <c:pt idx="2673">
                  <c:v>41383</c:v>
                </c:pt>
                <c:pt idx="2674">
                  <c:v>41386</c:v>
                </c:pt>
                <c:pt idx="2675">
                  <c:v>41387</c:v>
                </c:pt>
                <c:pt idx="2676">
                  <c:v>41388</c:v>
                </c:pt>
                <c:pt idx="2677">
                  <c:v>41389</c:v>
                </c:pt>
                <c:pt idx="2678">
                  <c:v>41390</c:v>
                </c:pt>
                <c:pt idx="2679">
                  <c:v>41396</c:v>
                </c:pt>
                <c:pt idx="2680">
                  <c:v>41397</c:v>
                </c:pt>
                <c:pt idx="2681">
                  <c:v>41400</c:v>
                </c:pt>
                <c:pt idx="2682">
                  <c:v>41401</c:v>
                </c:pt>
                <c:pt idx="2683">
                  <c:v>41402</c:v>
                </c:pt>
                <c:pt idx="2684">
                  <c:v>41403</c:v>
                </c:pt>
                <c:pt idx="2685">
                  <c:v>41404</c:v>
                </c:pt>
                <c:pt idx="2686">
                  <c:v>41407</c:v>
                </c:pt>
                <c:pt idx="2687">
                  <c:v>41408</c:v>
                </c:pt>
                <c:pt idx="2688">
                  <c:v>41409</c:v>
                </c:pt>
                <c:pt idx="2689">
                  <c:v>41410</c:v>
                </c:pt>
                <c:pt idx="2690">
                  <c:v>41411</c:v>
                </c:pt>
                <c:pt idx="2691">
                  <c:v>41414</c:v>
                </c:pt>
                <c:pt idx="2692">
                  <c:v>41415</c:v>
                </c:pt>
                <c:pt idx="2693">
                  <c:v>41416</c:v>
                </c:pt>
                <c:pt idx="2694">
                  <c:v>41417</c:v>
                </c:pt>
                <c:pt idx="2695">
                  <c:v>41418</c:v>
                </c:pt>
                <c:pt idx="2696">
                  <c:v>41421</c:v>
                </c:pt>
                <c:pt idx="2697">
                  <c:v>41422</c:v>
                </c:pt>
                <c:pt idx="2698">
                  <c:v>41423</c:v>
                </c:pt>
                <c:pt idx="2699">
                  <c:v>41424</c:v>
                </c:pt>
                <c:pt idx="2700">
                  <c:v>41425</c:v>
                </c:pt>
                <c:pt idx="2701">
                  <c:v>41428</c:v>
                </c:pt>
                <c:pt idx="2702">
                  <c:v>41429</c:v>
                </c:pt>
                <c:pt idx="2703">
                  <c:v>41430</c:v>
                </c:pt>
                <c:pt idx="2704">
                  <c:v>41431</c:v>
                </c:pt>
                <c:pt idx="2705">
                  <c:v>41432</c:v>
                </c:pt>
                <c:pt idx="2706">
                  <c:v>41438</c:v>
                </c:pt>
                <c:pt idx="2707">
                  <c:v>41439</c:v>
                </c:pt>
                <c:pt idx="2708">
                  <c:v>41442</c:v>
                </c:pt>
                <c:pt idx="2709">
                  <c:v>41443</c:v>
                </c:pt>
                <c:pt idx="2710">
                  <c:v>41444</c:v>
                </c:pt>
                <c:pt idx="2711">
                  <c:v>41445</c:v>
                </c:pt>
                <c:pt idx="2712">
                  <c:v>41446</c:v>
                </c:pt>
                <c:pt idx="2713">
                  <c:v>41449</c:v>
                </c:pt>
                <c:pt idx="2714">
                  <c:v>41450</c:v>
                </c:pt>
                <c:pt idx="2715">
                  <c:v>41451</c:v>
                </c:pt>
                <c:pt idx="2716">
                  <c:v>41452</c:v>
                </c:pt>
                <c:pt idx="2717">
                  <c:v>41453</c:v>
                </c:pt>
                <c:pt idx="2718">
                  <c:v>41456</c:v>
                </c:pt>
                <c:pt idx="2719">
                  <c:v>41457</c:v>
                </c:pt>
                <c:pt idx="2720">
                  <c:v>41458</c:v>
                </c:pt>
                <c:pt idx="2721">
                  <c:v>41459</c:v>
                </c:pt>
                <c:pt idx="2722">
                  <c:v>41460</c:v>
                </c:pt>
                <c:pt idx="2723">
                  <c:v>41463</c:v>
                </c:pt>
                <c:pt idx="2724">
                  <c:v>41464</c:v>
                </c:pt>
                <c:pt idx="2725">
                  <c:v>41465</c:v>
                </c:pt>
                <c:pt idx="2726">
                  <c:v>41466</c:v>
                </c:pt>
                <c:pt idx="2727">
                  <c:v>41467</c:v>
                </c:pt>
                <c:pt idx="2728">
                  <c:v>41470</c:v>
                </c:pt>
                <c:pt idx="2729">
                  <c:v>41471</c:v>
                </c:pt>
                <c:pt idx="2730">
                  <c:v>41472</c:v>
                </c:pt>
                <c:pt idx="2731">
                  <c:v>41473</c:v>
                </c:pt>
                <c:pt idx="2732">
                  <c:v>41474</c:v>
                </c:pt>
                <c:pt idx="2733">
                  <c:v>41477</c:v>
                </c:pt>
                <c:pt idx="2734">
                  <c:v>41478</c:v>
                </c:pt>
                <c:pt idx="2735">
                  <c:v>41479</c:v>
                </c:pt>
                <c:pt idx="2736">
                  <c:v>41480</c:v>
                </c:pt>
                <c:pt idx="2737">
                  <c:v>41481</c:v>
                </c:pt>
                <c:pt idx="2738">
                  <c:v>41484</c:v>
                </c:pt>
                <c:pt idx="2739">
                  <c:v>41485</c:v>
                </c:pt>
                <c:pt idx="2740">
                  <c:v>41486</c:v>
                </c:pt>
                <c:pt idx="2741">
                  <c:v>41487</c:v>
                </c:pt>
                <c:pt idx="2742">
                  <c:v>41488</c:v>
                </c:pt>
                <c:pt idx="2743">
                  <c:v>41491</c:v>
                </c:pt>
                <c:pt idx="2744">
                  <c:v>41492</c:v>
                </c:pt>
                <c:pt idx="2745">
                  <c:v>41493</c:v>
                </c:pt>
                <c:pt idx="2746">
                  <c:v>41494</c:v>
                </c:pt>
                <c:pt idx="2747">
                  <c:v>41495</c:v>
                </c:pt>
                <c:pt idx="2748">
                  <c:v>41498</c:v>
                </c:pt>
                <c:pt idx="2749">
                  <c:v>41499</c:v>
                </c:pt>
                <c:pt idx="2750">
                  <c:v>41500</c:v>
                </c:pt>
                <c:pt idx="2751">
                  <c:v>41501</c:v>
                </c:pt>
                <c:pt idx="2752">
                  <c:v>41502</c:v>
                </c:pt>
                <c:pt idx="2753">
                  <c:v>41505</c:v>
                </c:pt>
                <c:pt idx="2754">
                  <c:v>41506</c:v>
                </c:pt>
                <c:pt idx="2755">
                  <c:v>41507</c:v>
                </c:pt>
                <c:pt idx="2756">
                  <c:v>41508</c:v>
                </c:pt>
                <c:pt idx="2757">
                  <c:v>41509</c:v>
                </c:pt>
                <c:pt idx="2758">
                  <c:v>41512</c:v>
                </c:pt>
                <c:pt idx="2759">
                  <c:v>41513</c:v>
                </c:pt>
                <c:pt idx="2760">
                  <c:v>41514</c:v>
                </c:pt>
                <c:pt idx="2761">
                  <c:v>41515</c:v>
                </c:pt>
                <c:pt idx="2762">
                  <c:v>41516</c:v>
                </c:pt>
                <c:pt idx="2763">
                  <c:v>41519</c:v>
                </c:pt>
                <c:pt idx="2764">
                  <c:v>41520</c:v>
                </c:pt>
                <c:pt idx="2765">
                  <c:v>41521</c:v>
                </c:pt>
                <c:pt idx="2766">
                  <c:v>41522</c:v>
                </c:pt>
                <c:pt idx="2767">
                  <c:v>41523</c:v>
                </c:pt>
                <c:pt idx="2768">
                  <c:v>41526</c:v>
                </c:pt>
                <c:pt idx="2769">
                  <c:v>41527</c:v>
                </c:pt>
                <c:pt idx="2770">
                  <c:v>41528</c:v>
                </c:pt>
                <c:pt idx="2771">
                  <c:v>41529</c:v>
                </c:pt>
                <c:pt idx="2772">
                  <c:v>41530</c:v>
                </c:pt>
                <c:pt idx="2773">
                  <c:v>41533</c:v>
                </c:pt>
                <c:pt idx="2774">
                  <c:v>41534</c:v>
                </c:pt>
                <c:pt idx="2775">
                  <c:v>41535</c:v>
                </c:pt>
                <c:pt idx="2776">
                  <c:v>41540</c:v>
                </c:pt>
                <c:pt idx="2777">
                  <c:v>41541</c:v>
                </c:pt>
                <c:pt idx="2778">
                  <c:v>41542</c:v>
                </c:pt>
                <c:pt idx="2779">
                  <c:v>41543</c:v>
                </c:pt>
                <c:pt idx="2780">
                  <c:v>41544</c:v>
                </c:pt>
                <c:pt idx="2781">
                  <c:v>41547</c:v>
                </c:pt>
                <c:pt idx="2782">
                  <c:v>41555</c:v>
                </c:pt>
                <c:pt idx="2783">
                  <c:v>41556</c:v>
                </c:pt>
                <c:pt idx="2784">
                  <c:v>41557</c:v>
                </c:pt>
                <c:pt idx="2785">
                  <c:v>41558</c:v>
                </c:pt>
                <c:pt idx="2786">
                  <c:v>41561</c:v>
                </c:pt>
                <c:pt idx="2787">
                  <c:v>41562</c:v>
                </c:pt>
                <c:pt idx="2788">
                  <c:v>41563</c:v>
                </c:pt>
                <c:pt idx="2789">
                  <c:v>41564</c:v>
                </c:pt>
                <c:pt idx="2790">
                  <c:v>41565</c:v>
                </c:pt>
                <c:pt idx="2791">
                  <c:v>41568</c:v>
                </c:pt>
                <c:pt idx="2792">
                  <c:v>41569</c:v>
                </c:pt>
                <c:pt idx="2793">
                  <c:v>41570</c:v>
                </c:pt>
                <c:pt idx="2794">
                  <c:v>41571</c:v>
                </c:pt>
                <c:pt idx="2795">
                  <c:v>41572</c:v>
                </c:pt>
                <c:pt idx="2796">
                  <c:v>41575</c:v>
                </c:pt>
                <c:pt idx="2797">
                  <c:v>41576</c:v>
                </c:pt>
                <c:pt idx="2798">
                  <c:v>41577</c:v>
                </c:pt>
                <c:pt idx="2799">
                  <c:v>41578</c:v>
                </c:pt>
                <c:pt idx="2800">
                  <c:v>41579</c:v>
                </c:pt>
                <c:pt idx="2801">
                  <c:v>41582</c:v>
                </c:pt>
                <c:pt idx="2802">
                  <c:v>41583</c:v>
                </c:pt>
                <c:pt idx="2803">
                  <c:v>41584</c:v>
                </c:pt>
                <c:pt idx="2804">
                  <c:v>41585</c:v>
                </c:pt>
                <c:pt idx="2805">
                  <c:v>41586</c:v>
                </c:pt>
                <c:pt idx="2806">
                  <c:v>41589</c:v>
                </c:pt>
                <c:pt idx="2807">
                  <c:v>41590</c:v>
                </c:pt>
                <c:pt idx="2808">
                  <c:v>41591</c:v>
                </c:pt>
                <c:pt idx="2809">
                  <c:v>41592</c:v>
                </c:pt>
                <c:pt idx="2810">
                  <c:v>41593</c:v>
                </c:pt>
                <c:pt idx="2811">
                  <c:v>41596</c:v>
                </c:pt>
                <c:pt idx="2812">
                  <c:v>41597</c:v>
                </c:pt>
                <c:pt idx="2813">
                  <c:v>41598</c:v>
                </c:pt>
                <c:pt idx="2814">
                  <c:v>41599</c:v>
                </c:pt>
                <c:pt idx="2815">
                  <c:v>41600</c:v>
                </c:pt>
                <c:pt idx="2816">
                  <c:v>41603</c:v>
                </c:pt>
                <c:pt idx="2817">
                  <c:v>41604</c:v>
                </c:pt>
                <c:pt idx="2818">
                  <c:v>41605</c:v>
                </c:pt>
                <c:pt idx="2819">
                  <c:v>41606</c:v>
                </c:pt>
                <c:pt idx="2820">
                  <c:v>41607</c:v>
                </c:pt>
                <c:pt idx="2821">
                  <c:v>41610</c:v>
                </c:pt>
                <c:pt idx="2822">
                  <c:v>41611</c:v>
                </c:pt>
                <c:pt idx="2823">
                  <c:v>41612</c:v>
                </c:pt>
                <c:pt idx="2824">
                  <c:v>41613</c:v>
                </c:pt>
                <c:pt idx="2825">
                  <c:v>41614</c:v>
                </c:pt>
                <c:pt idx="2826">
                  <c:v>41617</c:v>
                </c:pt>
                <c:pt idx="2827">
                  <c:v>41618</c:v>
                </c:pt>
                <c:pt idx="2828">
                  <c:v>41619</c:v>
                </c:pt>
                <c:pt idx="2829">
                  <c:v>41620</c:v>
                </c:pt>
                <c:pt idx="2830">
                  <c:v>41621</c:v>
                </c:pt>
                <c:pt idx="2831">
                  <c:v>41624</c:v>
                </c:pt>
                <c:pt idx="2832">
                  <c:v>41625</c:v>
                </c:pt>
                <c:pt idx="2833">
                  <c:v>41626</c:v>
                </c:pt>
                <c:pt idx="2834">
                  <c:v>41627</c:v>
                </c:pt>
                <c:pt idx="2835">
                  <c:v>41628</c:v>
                </c:pt>
                <c:pt idx="2836">
                  <c:v>41631</c:v>
                </c:pt>
                <c:pt idx="2837">
                  <c:v>41632</c:v>
                </c:pt>
                <c:pt idx="2838">
                  <c:v>41633</c:v>
                </c:pt>
                <c:pt idx="2839">
                  <c:v>41634</c:v>
                </c:pt>
                <c:pt idx="2840">
                  <c:v>41635</c:v>
                </c:pt>
                <c:pt idx="2841">
                  <c:v>41638</c:v>
                </c:pt>
                <c:pt idx="2842">
                  <c:v>41639</c:v>
                </c:pt>
                <c:pt idx="2843">
                  <c:v>41641</c:v>
                </c:pt>
                <c:pt idx="2844">
                  <c:v>41642</c:v>
                </c:pt>
                <c:pt idx="2845">
                  <c:v>41645</c:v>
                </c:pt>
                <c:pt idx="2846">
                  <c:v>41646</c:v>
                </c:pt>
                <c:pt idx="2847">
                  <c:v>41647</c:v>
                </c:pt>
                <c:pt idx="2848">
                  <c:v>41648</c:v>
                </c:pt>
                <c:pt idx="2849">
                  <c:v>41649</c:v>
                </c:pt>
                <c:pt idx="2850">
                  <c:v>41652</c:v>
                </c:pt>
                <c:pt idx="2851">
                  <c:v>41653</c:v>
                </c:pt>
                <c:pt idx="2852">
                  <c:v>41654</c:v>
                </c:pt>
                <c:pt idx="2853">
                  <c:v>41655</c:v>
                </c:pt>
                <c:pt idx="2854">
                  <c:v>41656</c:v>
                </c:pt>
                <c:pt idx="2855">
                  <c:v>41659</c:v>
                </c:pt>
                <c:pt idx="2856">
                  <c:v>41660</c:v>
                </c:pt>
                <c:pt idx="2857">
                  <c:v>41661</c:v>
                </c:pt>
                <c:pt idx="2858">
                  <c:v>41662</c:v>
                </c:pt>
                <c:pt idx="2859">
                  <c:v>41663</c:v>
                </c:pt>
                <c:pt idx="2860">
                  <c:v>41666</c:v>
                </c:pt>
                <c:pt idx="2861">
                  <c:v>41667</c:v>
                </c:pt>
                <c:pt idx="2862">
                  <c:v>41668</c:v>
                </c:pt>
                <c:pt idx="2863">
                  <c:v>41669</c:v>
                </c:pt>
                <c:pt idx="2864">
                  <c:v>41677</c:v>
                </c:pt>
                <c:pt idx="2865">
                  <c:v>41680</c:v>
                </c:pt>
                <c:pt idx="2866">
                  <c:v>41681</c:v>
                </c:pt>
                <c:pt idx="2867">
                  <c:v>41682</c:v>
                </c:pt>
                <c:pt idx="2868">
                  <c:v>41683</c:v>
                </c:pt>
                <c:pt idx="2869">
                  <c:v>41684</c:v>
                </c:pt>
                <c:pt idx="2870">
                  <c:v>41687</c:v>
                </c:pt>
                <c:pt idx="2871">
                  <c:v>41688</c:v>
                </c:pt>
                <c:pt idx="2872">
                  <c:v>41689</c:v>
                </c:pt>
                <c:pt idx="2873">
                  <c:v>41690</c:v>
                </c:pt>
                <c:pt idx="2874">
                  <c:v>41691</c:v>
                </c:pt>
                <c:pt idx="2875">
                  <c:v>41694</c:v>
                </c:pt>
                <c:pt idx="2876">
                  <c:v>41695</c:v>
                </c:pt>
                <c:pt idx="2877">
                  <c:v>41696</c:v>
                </c:pt>
                <c:pt idx="2878">
                  <c:v>41697</c:v>
                </c:pt>
                <c:pt idx="2879">
                  <c:v>41698</c:v>
                </c:pt>
                <c:pt idx="2880">
                  <c:v>41701</c:v>
                </c:pt>
                <c:pt idx="2881">
                  <c:v>41702</c:v>
                </c:pt>
                <c:pt idx="2882">
                  <c:v>41703</c:v>
                </c:pt>
                <c:pt idx="2883">
                  <c:v>41704</c:v>
                </c:pt>
                <c:pt idx="2884">
                  <c:v>41705</c:v>
                </c:pt>
                <c:pt idx="2885">
                  <c:v>41708</c:v>
                </c:pt>
                <c:pt idx="2886">
                  <c:v>41709</c:v>
                </c:pt>
                <c:pt idx="2887">
                  <c:v>41710</c:v>
                </c:pt>
                <c:pt idx="2888">
                  <c:v>41711</c:v>
                </c:pt>
                <c:pt idx="2889">
                  <c:v>41712</c:v>
                </c:pt>
                <c:pt idx="2890">
                  <c:v>41715</c:v>
                </c:pt>
                <c:pt idx="2891">
                  <c:v>41716</c:v>
                </c:pt>
                <c:pt idx="2892">
                  <c:v>41717</c:v>
                </c:pt>
                <c:pt idx="2893">
                  <c:v>41718</c:v>
                </c:pt>
                <c:pt idx="2894">
                  <c:v>41719</c:v>
                </c:pt>
                <c:pt idx="2895">
                  <c:v>41722</c:v>
                </c:pt>
                <c:pt idx="2896">
                  <c:v>41723</c:v>
                </c:pt>
                <c:pt idx="2897">
                  <c:v>41724</c:v>
                </c:pt>
                <c:pt idx="2898">
                  <c:v>41725</c:v>
                </c:pt>
                <c:pt idx="2899">
                  <c:v>41726</c:v>
                </c:pt>
                <c:pt idx="2900">
                  <c:v>41729</c:v>
                </c:pt>
                <c:pt idx="2901">
                  <c:v>41730</c:v>
                </c:pt>
                <c:pt idx="2902">
                  <c:v>41731</c:v>
                </c:pt>
                <c:pt idx="2903">
                  <c:v>41732</c:v>
                </c:pt>
                <c:pt idx="2904">
                  <c:v>41733</c:v>
                </c:pt>
                <c:pt idx="2905">
                  <c:v>41737</c:v>
                </c:pt>
                <c:pt idx="2906">
                  <c:v>41738</c:v>
                </c:pt>
                <c:pt idx="2907">
                  <c:v>41739</c:v>
                </c:pt>
                <c:pt idx="2908">
                  <c:v>41740</c:v>
                </c:pt>
                <c:pt idx="2909">
                  <c:v>41743</c:v>
                </c:pt>
                <c:pt idx="2910">
                  <c:v>41744</c:v>
                </c:pt>
                <c:pt idx="2911">
                  <c:v>41745</c:v>
                </c:pt>
                <c:pt idx="2912">
                  <c:v>41746</c:v>
                </c:pt>
                <c:pt idx="2913">
                  <c:v>41747</c:v>
                </c:pt>
                <c:pt idx="2914">
                  <c:v>41750</c:v>
                </c:pt>
                <c:pt idx="2915">
                  <c:v>41751</c:v>
                </c:pt>
                <c:pt idx="2916">
                  <c:v>41752</c:v>
                </c:pt>
                <c:pt idx="2917">
                  <c:v>41753</c:v>
                </c:pt>
                <c:pt idx="2918">
                  <c:v>41754</c:v>
                </c:pt>
                <c:pt idx="2919">
                  <c:v>41757</c:v>
                </c:pt>
                <c:pt idx="2920">
                  <c:v>41758</c:v>
                </c:pt>
                <c:pt idx="2921">
                  <c:v>41759</c:v>
                </c:pt>
                <c:pt idx="2922">
                  <c:v>41764</c:v>
                </c:pt>
                <c:pt idx="2923">
                  <c:v>41765</c:v>
                </c:pt>
                <c:pt idx="2924">
                  <c:v>41766</c:v>
                </c:pt>
                <c:pt idx="2925">
                  <c:v>41767</c:v>
                </c:pt>
                <c:pt idx="2926">
                  <c:v>41768</c:v>
                </c:pt>
                <c:pt idx="2927">
                  <c:v>41771</c:v>
                </c:pt>
                <c:pt idx="2928">
                  <c:v>41772</c:v>
                </c:pt>
                <c:pt idx="2929">
                  <c:v>41773</c:v>
                </c:pt>
                <c:pt idx="2930">
                  <c:v>41774</c:v>
                </c:pt>
                <c:pt idx="2931">
                  <c:v>41775</c:v>
                </c:pt>
                <c:pt idx="2932">
                  <c:v>41778</c:v>
                </c:pt>
                <c:pt idx="2933">
                  <c:v>41779</c:v>
                </c:pt>
                <c:pt idx="2934">
                  <c:v>41780</c:v>
                </c:pt>
                <c:pt idx="2935">
                  <c:v>41781</c:v>
                </c:pt>
                <c:pt idx="2936">
                  <c:v>41782</c:v>
                </c:pt>
                <c:pt idx="2937">
                  <c:v>41785</c:v>
                </c:pt>
                <c:pt idx="2938">
                  <c:v>41786</c:v>
                </c:pt>
                <c:pt idx="2939">
                  <c:v>41787</c:v>
                </c:pt>
                <c:pt idx="2940">
                  <c:v>41788</c:v>
                </c:pt>
                <c:pt idx="2941">
                  <c:v>41789</c:v>
                </c:pt>
                <c:pt idx="2942">
                  <c:v>41793</c:v>
                </c:pt>
                <c:pt idx="2943">
                  <c:v>41794</c:v>
                </c:pt>
                <c:pt idx="2944">
                  <c:v>41795</c:v>
                </c:pt>
                <c:pt idx="2945">
                  <c:v>41796</c:v>
                </c:pt>
                <c:pt idx="2946">
                  <c:v>41799</c:v>
                </c:pt>
                <c:pt idx="2947">
                  <c:v>41800</c:v>
                </c:pt>
                <c:pt idx="2948">
                  <c:v>41801</c:v>
                </c:pt>
                <c:pt idx="2949">
                  <c:v>41802</c:v>
                </c:pt>
                <c:pt idx="2950">
                  <c:v>41803</c:v>
                </c:pt>
                <c:pt idx="2951">
                  <c:v>41806</c:v>
                </c:pt>
                <c:pt idx="2952">
                  <c:v>41807</c:v>
                </c:pt>
                <c:pt idx="2953">
                  <c:v>41808</c:v>
                </c:pt>
                <c:pt idx="2954">
                  <c:v>41809</c:v>
                </c:pt>
                <c:pt idx="2955">
                  <c:v>41810</c:v>
                </c:pt>
                <c:pt idx="2956">
                  <c:v>41813</c:v>
                </c:pt>
                <c:pt idx="2957">
                  <c:v>41814</c:v>
                </c:pt>
                <c:pt idx="2958">
                  <c:v>41815</c:v>
                </c:pt>
                <c:pt idx="2959">
                  <c:v>41816</c:v>
                </c:pt>
                <c:pt idx="2960">
                  <c:v>41817</c:v>
                </c:pt>
                <c:pt idx="2961">
                  <c:v>41820</c:v>
                </c:pt>
                <c:pt idx="2962">
                  <c:v>41821</c:v>
                </c:pt>
                <c:pt idx="2963">
                  <c:v>41822</c:v>
                </c:pt>
                <c:pt idx="2964">
                  <c:v>41823</c:v>
                </c:pt>
                <c:pt idx="2965">
                  <c:v>41824</c:v>
                </c:pt>
                <c:pt idx="2966">
                  <c:v>41827</c:v>
                </c:pt>
                <c:pt idx="2967">
                  <c:v>41828</c:v>
                </c:pt>
                <c:pt idx="2968">
                  <c:v>41829</c:v>
                </c:pt>
                <c:pt idx="2969">
                  <c:v>41830</c:v>
                </c:pt>
                <c:pt idx="2970">
                  <c:v>41831</c:v>
                </c:pt>
                <c:pt idx="2971">
                  <c:v>41834</c:v>
                </c:pt>
                <c:pt idx="2972">
                  <c:v>41835</c:v>
                </c:pt>
                <c:pt idx="2973">
                  <c:v>41836</c:v>
                </c:pt>
                <c:pt idx="2974">
                  <c:v>41837</c:v>
                </c:pt>
                <c:pt idx="2975">
                  <c:v>41838</c:v>
                </c:pt>
                <c:pt idx="2976">
                  <c:v>41841</c:v>
                </c:pt>
                <c:pt idx="2977">
                  <c:v>41842</c:v>
                </c:pt>
                <c:pt idx="2978">
                  <c:v>41843</c:v>
                </c:pt>
                <c:pt idx="2979">
                  <c:v>41844</c:v>
                </c:pt>
                <c:pt idx="2980">
                  <c:v>41845</c:v>
                </c:pt>
                <c:pt idx="2981">
                  <c:v>41848</c:v>
                </c:pt>
                <c:pt idx="2982">
                  <c:v>41849</c:v>
                </c:pt>
                <c:pt idx="2983">
                  <c:v>41850</c:v>
                </c:pt>
                <c:pt idx="2984">
                  <c:v>41851</c:v>
                </c:pt>
                <c:pt idx="2985">
                  <c:v>41852</c:v>
                </c:pt>
                <c:pt idx="2986">
                  <c:v>41855</c:v>
                </c:pt>
                <c:pt idx="2987">
                  <c:v>41856</c:v>
                </c:pt>
                <c:pt idx="2988">
                  <c:v>41857</c:v>
                </c:pt>
                <c:pt idx="2989">
                  <c:v>41858</c:v>
                </c:pt>
                <c:pt idx="2990">
                  <c:v>41859</c:v>
                </c:pt>
                <c:pt idx="2991">
                  <c:v>41862</c:v>
                </c:pt>
                <c:pt idx="2992">
                  <c:v>41863</c:v>
                </c:pt>
                <c:pt idx="2993">
                  <c:v>41864</c:v>
                </c:pt>
                <c:pt idx="2994">
                  <c:v>41865</c:v>
                </c:pt>
                <c:pt idx="2995">
                  <c:v>41866</c:v>
                </c:pt>
                <c:pt idx="2996">
                  <c:v>41869</c:v>
                </c:pt>
                <c:pt idx="2997">
                  <c:v>41870</c:v>
                </c:pt>
                <c:pt idx="2998">
                  <c:v>41871</c:v>
                </c:pt>
                <c:pt idx="2999">
                  <c:v>41872</c:v>
                </c:pt>
                <c:pt idx="3000">
                  <c:v>41873</c:v>
                </c:pt>
                <c:pt idx="3001">
                  <c:v>41876</c:v>
                </c:pt>
                <c:pt idx="3002">
                  <c:v>41877</c:v>
                </c:pt>
                <c:pt idx="3003">
                  <c:v>41878</c:v>
                </c:pt>
                <c:pt idx="3004">
                  <c:v>41879</c:v>
                </c:pt>
                <c:pt idx="3005">
                  <c:v>41880</c:v>
                </c:pt>
                <c:pt idx="3006">
                  <c:v>41883</c:v>
                </c:pt>
                <c:pt idx="3007">
                  <c:v>41884</c:v>
                </c:pt>
                <c:pt idx="3008">
                  <c:v>41885</c:v>
                </c:pt>
                <c:pt idx="3009">
                  <c:v>41886</c:v>
                </c:pt>
                <c:pt idx="3010">
                  <c:v>41887</c:v>
                </c:pt>
                <c:pt idx="3011">
                  <c:v>41891</c:v>
                </c:pt>
                <c:pt idx="3012">
                  <c:v>41892</c:v>
                </c:pt>
                <c:pt idx="3013">
                  <c:v>41893</c:v>
                </c:pt>
                <c:pt idx="3014">
                  <c:v>41894</c:v>
                </c:pt>
                <c:pt idx="3015">
                  <c:v>41897</c:v>
                </c:pt>
                <c:pt idx="3016">
                  <c:v>41898</c:v>
                </c:pt>
                <c:pt idx="3017">
                  <c:v>41899</c:v>
                </c:pt>
                <c:pt idx="3018">
                  <c:v>41900</c:v>
                </c:pt>
                <c:pt idx="3019">
                  <c:v>41901</c:v>
                </c:pt>
                <c:pt idx="3020">
                  <c:v>41904</c:v>
                </c:pt>
                <c:pt idx="3021">
                  <c:v>41905</c:v>
                </c:pt>
                <c:pt idx="3022">
                  <c:v>41906</c:v>
                </c:pt>
                <c:pt idx="3023">
                  <c:v>41907</c:v>
                </c:pt>
                <c:pt idx="3024">
                  <c:v>41908</c:v>
                </c:pt>
                <c:pt idx="3025">
                  <c:v>41911</c:v>
                </c:pt>
                <c:pt idx="3026">
                  <c:v>41912</c:v>
                </c:pt>
                <c:pt idx="3027">
                  <c:v>41920</c:v>
                </c:pt>
                <c:pt idx="3028">
                  <c:v>41921</c:v>
                </c:pt>
                <c:pt idx="3029">
                  <c:v>41922</c:v>
                </c:pt>
                <c:pt idx="3030">
                  <c:v>41925</c:v>
                </c:pt>
                <c:pt idx="3031">
                  <c:v>41926</c:v>
                </c:pt>
                <c:pt idx="3032">
                  <c:v>41927</c:v>
                </c:pt>
                <c:pt idx="3033">
                  <c:v>41928</c:v>
                </c:pt>
                <c:pt idx="3034">
                  <c:v>41929</c:v>
                </c:pt>
                <c:pt idx="3035">
                  <c:v>41932</c:v>
                </c:pt>
                <c:pt idx="3036">
                  <c:v>41933</c:v>
                </c:pt>
                <c:pt idx="3037">
                  <c:v>41934</c:v>
                </c:pt>
                <c:pt idx="3038">
                  <c:v>41935</c:v>
                </c:pt>
                <c:pt idx="3039">
                  <c:v>41936</c:v>
                </c:pt>
                <c:pt idx="3040">
                  <c:v>41939</c:v>
                </c:pt>
                <c:pt idx="3041">
                  <c:v>41940</c:v>
                </c:pt>
                <c:pt idx="3042">
                  <c:v>41941</c:v>
                </c:pt>
                <c:pt idx="3043">
                  <c:v>41942</c:v>
                </c:pt>
                <c:pt idx="3044">
                  <c:v>41943</c:v>
                </c:pt>
                <c:pt idx="3045">
                  <c:v>41946</c:v>
                </c:pt>
                <c:pt idx="3046">
                  <c:v>41947</c:v>
                </c:pt>
                <c:pt idx="3047">
                  <c:v>41948</c:v>
                </c:pt>
                <c:pt idx="3048">
                  <c:v>41949</c:v>
                </c:pt>
                <c:pt idx="3049">
                  <c:v>41950</c:v>
                </c:pt>
                <c:pt idx="3050">
                  <c:v>41953</c:v>
                </c:pt>
                <c:pt idx="3051">
                  <c:v>41954</c:v>
                </c:pt>
                <c:pt idx="3052">
                  <c:v>41955</c:v>
                </c:pt>
                <c:pt idx="3053">
                  <c:v>41956</c:v>
                </c:pt>
                <c:pt idx="3054">
                  <c:v>41957</c:v>
                </c:pt>
                <c:pt idx="3055">
                  <c:v>41960</c:v>
                </c:pt>
                <c:pt idx="3056">
                  <c:v>41961</c:v>
                </c:pt>
                <c:pt idx="3057">
                  <c:v>41962</c:v>
                </c:pt>
                <c:pt idx="3058">
                  <c:v>41963</c:v>
                </c:pt>
                <c:pt idx="3059">
                  <c:v>41964</c:v>
                </c:pt>
                <c:pt idx="3060">
                  <c:v>41967</c:v>
                </c:pt>
                <c:pt idx="3061">
                  <c:v>41968</c:v>
                </c:pt>
                <c:pt idx="3062">
                  <c:v>41969</c:v>
                </c:pt>
                <c:pt idx="3063">
                  <c:v>41970</c:v>
                </c:pt>
                <c:pt idx="3064">
                  <c:v>41971</c:v>
                </c:pt>
                <c:pt idx="3065">
                  <c:v>41974</c:v>
                </c:pt>
                <c:pt idx="3066">
                  <c:v>41975</c:v>
                </c:pt>
                <c:pt idx="3067">
                  <c:v>41976</c:v>
                </c:pt>
                <c:pt idx="3068">
                  <c:v>41977</c:v>
                </c:pt>
                <c:pt idx="3069">
                  <c:v>41978</c:v>
                </c:pt>
                <c:pt idx="3070">
                  <c:v>41981</c:v>
                </c:pt>
                <c:pt idx="3071">
                  <c:v>41982</c:v>
                </c:pt>
                <c:pt idx="3072">
                  <c:v>41983</c:v>
                </c:pt>
                <c:pt idx="3073">
                  <c:v>41984</c:v>
                </c:pt>
                <c:pt idx="3074">
                  <c:v>41985</c:v>
                </c:pt>
                <c:pt idx="3075">
                  <c:v>41988</c:v>
                </c:pt>
                <c:pt idx="3076">
                  <c:v>41989</c:v>
                </c:pt>
                <c:pt idx="3077">
                  <c:v>41990</c:v>
                </c:pt>
                <c:pt idx="3078">
                  <c:v>41991</c:v>
                </c:pt>
                <c:pt idx="3079">
                  <c:v>41992</c:v>
                </c:pt>
                <c:pt idx="3080">
                  <c:v>41995</c:v>
                </c:pt>
                <c:pt idx="3081">
                  <c:v>41996</c:v>
                </c:pt>
                <c:pt idx="3082">
                  <c:v>41997</c:v>
                </c:pt>
                <c:pt idx="3083">
                  <c:v>41998</c:v>
                </c:pt>
                <c:pt idx="3084">
                  <c:v>41999</c:v>
                </c:pt>
                <c:pt idx="3085">
                  <c:v>42002</c:v>
                </c:pt>
                <c:pt idx="3086">
                  <c:v>42003</c:v>
                </c:pt>
                <c:pt idx="3087">
                  <c:v>42004</c:v>
                </c:pt>
                <c:pt idx="3088">
                  <c:v>42009</c:v>
                </c:pt>
                <c:pt idx="3089">
                  <c:v>42010</c:v>
                </c:pt>
                <c:pt idx="3090">
                  <c:v>42011</c:v>
                </c:pt>
                <c:pt idx="3091">
                  <c:v>42012</c:v>
                </c:pt>
                <c:pt idx="3092">
                  <c:v>42013</c:v>
                </c:pt>
                <c:pt idx="3093">
                  <c:v>42016</c:v>
                </c:pt>
                <c:pt idx="3094">
                  <c:v>42017</c:v>
                </c:pt>
                <c:pt idx="3095">
                  <c:v>42018</c:v>
                </c:pt>
                <c:pt idx="3096">
                  <c:v>42019</c:v>
                </c:pt>
                <c:pt idx="3097">
                  <c:v>42020</c:v>
                </c:pt>
                <c:pt idx="3098">
                  <c:v>42023</c:v>
                </c:pt>
                <c:pt idx="3099">
                  <c:v>42024</c:v>
                </c:pt>
                <c:pt idx="3100">
                  <c:v>42025</c:v>
                </c:pt>
                <c:pt idx="3101">
                  <c:v>42026</c:v>
                </c:pt>
                <c:pt idx="3102">
                  <c:v>42027</c:v>
                </c:pt>
                <c:pt idx="3103">
                  <c:v>42030</c:v>
                </c:pt>
                <c:pt idx="3104">
                  <c:v>42031</c:v>
                </c:pt>
                <c:pt idx="3105">
                  <c:v>42032</c:v>
                </c:pt>
                <c:pt idx="3106">
                  <c:v>42033</c:v>
                </c:pt>
                <c:pt idx="3107">
                  <c:v>42034</c:v>
                </c:pt>
                <c:pt idx="3108">
                  <c:v>42037</c:v>
                </c:pt>
                <c:pt idx="3109">
                  <c:v>42038</c:v>
                </c:pt>
                <c:pt idx="3110">
                  <c:v>42039</c:v>
                </c:pt>
                <c:pt idx="3111">
                  <c:v>42040</c:v>
                </c:pt>
                <c:pt idx="3112">
                  <c:v>42041</c:v>
                </c:pt>
                <c:pt idx="3113">
                  <c:v>42044</c:v>
                </c:pt>
                <c:pt idx="3114">
                  <c:v>42045</c:v>
                </c:pt>
                <c:pt idx="3115">
                  <c:v>42046</c:v>
                </c:pt>
                <c:pt idx="3116">
                  <c:v>42047</c:v>
                </c:pt>
                <c:pt idx="3117">
                  <c:v>42048</c:v>
                </c:pt>
                <c:pt idx="3118">
                  <c:v>42051</c:v>
                </c:pt>
                <c:pt idx="3119">
                  <c:v>42052</c:v>
                </c:pt>
                <c:pt idx="3120">
                  <c:v>42060</c:v>
                </c:pt>
                <c:pt idx="3121">
                  <c:v>42061</c:v>
                </c:pt>
                <c:pt idx="3122">
                  <c:v>42062</c:v>
                </c:pt>
                <c:pt idx="3123">
                  <c:v>42065</c:v>
                </c:pt>
                <c:pt idx="3124">
                  <c:v>42066</c:v>
                </c:pt>
                <c:pt idx="3125">
                  <c:v>42067</c:v>
                </c:pt>
                <c:pt idx="3126">
                  <c:v>42068</c:v>
                </c:pt>
                <c:pt idx="3127">
                  <c:v>42069</c:v>
                </c:pt>
                <c:pt idx="3128">
                  <c:v>42072</c:v>
                </c:pt>
                <c:pt idx="3129">
                  <c:v>42073</c:v>
                </c:pt>
                <c:pt idx="3130">
                  <c:v>42074</c:v>
                </c:pt>
                <c:pt idx="3131">
                  <c:v>42075</c:v>
                </c:pt>
                <c:pt idx="3132">
                  <c:v>42076</c:v>
                </c:pt>
                <c:pt idx="3133">
                  <c:v>42079</c:v>
                </c:pt>
                <c:pt idx="3134">
                  <c:v>42080</c:v>
                </c:pt>
                <c:pt idx="3135">
                  <c:v>42081</c:v>
                </c:pt>
                <c:pt idx="3136">
                  <c:v>42082</c:v>
                </c:pt>
                <c:pt idx="3137">
                  <c:v>42083</c:v>
                </c:pt>
                <c:pt idx="3138">
                  <c:v>42086</c:v>
                </c:pt>
                <c:pt idx="3139">
                  <c:v>42087</c:v>
                </c:pt>
                <c:pt idx="3140">
                  <c:v>42088</c:v>
                </c:pt>
                <c:pt idx="3141">
                  <c:v>42089</c:v>
                </c:pt>
                <c:pt idx="3142">
                  <c:v>42090</c:v>
                </c:pt>
                <c:pt idx="3143">
                  <c:v>42093</c:v>
                </c:pt>
                <c:pt idx="3144">
                  <c:v>42094</c:v>
                </c:pt>
                <c:pt idx="3145">
                  <c:v>42095</c:v>
                </c:pt>
                <c:pt idx="3146">
                  <c:v>42096</c:v>
                </c:pt>
                <c:pt idx="3147">
                  <c:v>42097</c:v>
                </c:pt>
                <c:pt idx="3148">
                  <c:v>42101</c:v>
                </c:pt>
                <c:pt idx="3149">
                  <c:v>42102</c:v>
                </c:pt>
                <c:pt idx="3150">
                  <c:v>42103</c:v>
                </c:pt>
                <c:pt idx="3151">
                  <c:v>42104</c:v>
                </c:pt>
                <c:pt idx="3152">
                  <c:v>42107</c:v>
                </c:pt>
                <c:pt idx="3153">
                  <c:v>42108</c:v>
                </c:pt>
                <c:pt idx="3154">
                  <c:v>42109</c:v>
                </c:pt>
                <c:pt idx="3155">
                  <c:v>42110</c:v>
                </c:pt>
                <c:pt idx="3156">
                  <c:v>42111</c:v>
                </c:pt>
                <c:pt idx="3157">
                  <c:v>42114</c:v>
                </c:pt>
                <c:pt idx="3158">
                  <c:v>42115</c:v>
                </c:pt>
                <c:pt idx="3159">
                  <c:v>42116</c:v>
                </c:pt>
                <c:pt idx="3160">
                  <c:v>42117</c:v>
                </c:pt>
                <c:pt idx="3161">
                  <c:v>42118</c:v>
                </c:pt>
                <c:pt idx="3162">
                  <c:v>42121</c:v>
                </c:pt>
                <c:pt idx="3163">
                  <c:v>42122</c:v>
                </c:pt>
                <c:pt idx="3164">
                  <c:v>42123</c:v>
                </c:pt>
                <c:pt idx="3165">
                  <c:v>42124</c:v>
                </c:pt>
                <c:pt idx="3166">
                  <c:v>42128</c:v>
                </c:pt>
                <c:pt idx="3167">
                  <c:v>42129</c:v>
                </c:pt>
                <c:pt idx="3168">
                  <c:v>42130</c:v>
                </c:pt>
                <c:pt idx="3169">
                  <c:v>42131</c:v>
                </c:pt>
                <c:pt idx="3170">
                  <c:v>42132</c:v>
                </c:pt>
                <c:pt idx="3171">
                  <c:v>42135</c:v>
                </c:pt>
                <c:pt idx="3172">
                  <c:v>42136</c:v>
                </c:pt>
                <c:pt idx="3173">
                  <c:v>42137</c:v>
                </c:pt>
                <c:pt idx="3174">
                  <c:v>42138</c:v>
                </c:pt>
                <c:pt idx="3175">
                  <c:v>42139</c:v>
                </c:pt>
                <c:pt idx="3176">
                  <c:v>42142</c:v>
                </c:pt>
                <c:pt idx="3177">
                  <c:v>42143</c:v>
                </c:pt>
                <c:pt idx="3178">
                  <c:v>42144</c:v>
                </c:pt>
                <c:pt idx="3179">
                  <c:v>42145</c:v>
                </c:pt>
                <c:pt idx="3180">
                  <c:v>42146</c:v>
                </c:pt>
                <c:pt idx="3181">
                  <c:v>42149</c:v>
                </c:pt>
                <c:pt idx="3182">
                  <c:v>42150</c:v>
                </c:pt>
                <c:pt idx="3183">
                  <c:v>42151</c:v>
                </c:pt>
                <c:pt idx="3184">
                  <c:v>42152</c:v>
                </c:pt>
                <c:pt idx="3185">
                  <c:v>42153</c:v>
                </c:pt>
                <c:pt idx="3186">
                  <c:v>42156</c:v>
                </c:pt>
                <c:pt idx="3187">
                  <c:v>42157</c:v>
                </c:pt>
                <c:pt idx="3188">
                  <c:v>42158</c:v>
                </c:pt>
                <c:pt idx="3189">
                  <c:v>42159</c:v>
                </c:pt>
                <c:pt idx="3190">
                  <c:v>42160</c:v>
                </c:pt>
                <c:pt idx="3191">
                  <c:v>42163</c:v>
                </c:pt>
                <c:pt idx="3192">
                  <c:v>42164</c:v>
                </c:pt>
                <c:pt idx="3193">
                  <c:v>42165</c:v>
                </c:pt>
                <c:pt idx="3194">
                  <c:v>42166</c:v>
                </c:pt>
                <c:pt idx="3195">
                  <c:v>42167</c:v>
                </c:pt>
                <c:pt idx="3196">
                  <c:v>42170</c:v>
                </c:pt>
                <c:pt idx="3197">
                  <c:v>42171</c:v>
                </c:pt>
                <c:pt idx="3198">
                  <c:v>42172</c:v>
                </c:pt>
                <c:pt idx="3199">
                  <c:v>42173</c:v>
                </c:pt>
                <c:pt idx="3200">
                  <c:v>42174</c:v>
                </c:pt>
                <c:pt idx="3201">
                  <c:v>42178</c:v>
                </c:pt>
                <c:pt idx="3202">
                  <c:v>42179</c:v>
                </c:pt>
                <c:pt idx="3203">
                  <c:v>42180</c:v>
                </c:pt>
                <c:pt idx="3204">
                  <c:v>42181</c:v>
                </c:pt>
                <c:pt idx="3205">
                  <c:v>42184</c:v>
                </c:pt>
                <c:pt idx="3206">
                  <c:v>42185</c:v>
                </c:pt>
                <c:pt idx="3207">
                  <c:v>42186</c:v>
                </c:pt>
                <c:pt idx="3208">
                  <c:v>42187</c:v>
                </c:pt>
                <c:pt idx="3209">
                  <c:v>42188</c:v>
                </c:pt>
                <c:pt idx="3210">
                  <c:v>42191</c:v>
                </c:pt>
                <c:pt idx="3211">
                  <c:v>42192</c:v>
                </c:pt>
                <c:pt idx="3212">
                  <c:v>42193</c:v>
                </c:pt>
                <c:pt idx="3213">
                  <c:v>42194</c:v>
                </c:pt>
                <c:pt idx="3214">
                  <c:v>42195</c:v>
                </c:pt>
                <c:pt idx="3215">
                  <c:v>42198</c:v>
                </c:pt>
                <c:pt idx="3216">
                  <c:v>42199</c:v>
                </c:pt>
                <c:pt idx="3217">
                  <c:v>42200</c:v>
                </c:pt>
                <c:pt idx="3218">
                  <c:v>42201</c:v>
                </c:pt>
                <c:pt idx="3219">
                  <c:v>42202</c:v>
                </c:pt>
                <c:pt idx="3220">
                  <c:v>42205</c:v>
                </c:pt>
                <c:pt idx="3221">
                  <c:v>42206</c:v>
                </c:pt>
                <c:pt idx="3222">
                  <c:v>42207</c:v>
                </c:pt>
                <c:pt idx="3223">
                  <c:v>42208</c:v>
                </c:pt>
                <c:pt idx="3224">
                  <c:v>42209</c:v>
                </c:pt>
                <c:pt idx="3225">
                  <c:v>42212</c:v>
                </c:pt>
                <c:pt idx="3226">
                  <c:v>42213</c:v>
                </c:pt>
                <c:pt idx="3227">
                  <c:v>42214</c:v>
                </c:pt>
                <c:pt idx="3228">
                  <c:v>42215</c:v>
                </c:pt>
                <c:pt idx="3229">
                  <c:v>42216</c:v>
                </c:pt>
                <c:pt idx="3230">
                  <c:v>42219</c:v>
                </c:pt>
                <c:pt idx="3231">
                  <c:v>42220</c:v>
                </c:pt>
                <c:pt idx="3232">
                  <c:v>42221</c:v>
                </c:pt>
                <c:pt idx="3233">
                  <c:v>42222</c:v>
                </c:pt>
                <c:pt idx="3234">
                  <c:v>42223</c:v>
                </c:pt>
                <c:pt idx="3235">
                  <c:v>42226</c:v>
                </c:pt>
                <c:pt idx="3236">
                  <c:v>42227</c:v>
                </c:pt>
                <c:pt idx="3237">
                  <c:v>42228</c:v>
                </c:pt>
                <c:pt idx="3238">
                  <c:v>42229</c:v>
                </c:pt>
                <c:pt idx="3239">
                  <c:v>42230</c:v>
                </c:pt>
                <c:pt idx="3240">
                  <c:v>42233</c:v>
                </c:pt>
                <c:pt idx="3241">
                  <c:v>42234</c:v>
                </c:pt>
                <c:pt idx="3242">
                  <c:v>42235</c:v>
                </c:pt>
                <c:pt idx="3243">
                  <c:v>42236</c:v>
                </c:pt>
                <c:pt idx="3244">
                  <c:v>42237</c:v>
                </c:pt>
                <c:pt idx="3245">
                  <c:v>42240</c:v>
                </c:pt>
                <c:pt idx="3246">
                  <c:v>42241</c:v>
                </c:pt>
                <c:pt idx="3247">
                  <c:v>42242</c:v>
                </c:pt>
                <c:pt idx="3248">
                  <c:v>42243</c:v>
                </c:pt>
                <c:pt idx="3249">
                  <c:v>42244</c:v>
                </c:pt>
                <c:pt idx="3250">
                  <c:v>42247</c:v>
                </c:pt>
                <c:pt idx="3251">
                  <c:v>42248</c:v>
                </c:pt>
                <c:pt idx="3252">
                  <c:v>42249</c:v>
                </c:pt>
                <c:pt idx="3253">
                  <c:v>42254</c:v>
                </c:pt>
                <c:pt idx="3254">
                  <c:v>42255</c:v>
                </c:pt>
                <c:pt idx="3255">
                  <c:v>42256</c:v>
                </c:pt>
                <c:pt idx="3256">
                  <c:v>42257</c:v>
                </c:pt>
                <c:pt idx="3257">
                  <c:v>42258</c:v>
                </c:pt>
                <c:pt idx="3258">
                  <c:v>42261</c:v>
                </c:pt>
                <c:pt idx="3259">
                  <c:v>42262</c:v>
                </c:pt>
                <c:pt idx="3260">
                  <c:v>42263</c:v>
                </c:pt>
                <c:pt idx="3261">
                  <c:v>42264</c:v>
                </c:pt>
                <c:pt idx="3262">
                  <c:v>42265</c:v>
                </c:pt>
                <c:pt idx="3263">
                  <c:v>42268</c:v>
                </c:pt>
                <c:pt idx="3264">
                  <c:v>42269</c:v>
                </c:pt>
                <c:pt idx="3265">
                  <c:v>42270</c:v>
                </c:pt>
                <c:pt idx="3266">
                  <c:v>42271</c:v>
                </c:pt>
                <c:pt idx="3267">
                  <c:v>42272</c:v>
                </c:pt>
                <c:pt idx="3268">
                  <c:v>42275</c:v>
                </c:pt>
                <c:pt idx="3269">
                  <c:v>42276</c:v>
                </c:pt>
                <c:pt idx="3270">
                  <c:v>42277</c:v>
                </c:pt>
                <c:pt idx="3271">
                  <c:v>42285</c:v>
                </c:pt>
                <c:pt idx="3272">
                  <c:v>42286</c:v>
                </c:pt>
                <c:pt idx="3273">
                  <c:v>42289</c:v>
                </c:pt>
                <c:pt idx="3274">
                  <c:v>42290</c:v>
                </c:pt>
                <c:pt idx="3275">
                  <c:v>42291</c:v>
                </c:pt>
                <c:pt idx="3276">
                  <c:v>42292</c:v>
                </c:pt>
                <c:pt idx="3277">
                  <c:v>42293</c:v>
                </c:pt>
                <c:pt idx="3278">
                  <c:v>42296</c:v>
                </c:pt>
                <c:pt idx="3279">
                  <c:v>42297</c:v>
                </c:pt>
                <c:pt idx="3280">
                  <c:v>42298</c:v>
                </c:pt>
                <c:pt idx="3281">
                  <c:v>42299</c:v>
                </c:pt>
                <c:pt idx="3282">
                  <c:v>42300</c:v>
                </c:pt>
                <c:pt idx="3283">
                  <c:v>42303</c:v>
                </c:pt>
                <c:pt idx="3284">
                  <c:v>42304</c:v>
                </c:pt>
                <c:pt idx="3285">
                  <c:v>42305</c:v>
                </c:pt>
                <c:pt idx="3286">
                  <c:v>42306</c:v>
                </c:pt>
                <c:pt idx="3287">
                  <c:v>42307</c:v>
                </c:pt>
                <c:pt idx="3288">
                  <c:v>42310</c:v>
                </c:pt>
                <c:pt idx="3289">
                  <c:v>42311</c:v>
                </c:pt>
                <c:pt idx="3290">
                  <c:v>42312</c:v>
                </c:pt>
                <c:pt idx="3291">
                  <c:v>42313</c:v>
                </c:pt>
                <c:pt idx="3292">
                  <c:v>42314</c:v>
                </c:pt>
                <c:pt idx="3293">
                  <c:v>42317</c:v>
                </c:pt>
                <c:pt idx="3294">
                  <c:v>42318</c:v>
                </c:pt>
                <c:pt idx="3295">
                  <c:v>42319</c:v>
                </c:pt>
                <c:pt idx="3296">
                  <c:v>42320</c:v>
                </c:pt>
                <c:pt idx="3297">
                  <c:v>42321</c:v>
                </c:pt>
                <c:pt idx="3298">
                  <c:v>42324</c:v>
                </c:pt>
                <c:pt idx="3299">
                  <c:v>42325</c:v>
                </c:pt>
                <c:pt idx="3300">
                  <c:v>42326</c:v>
                </c:pt>
                <c:pt idx="3301">
                  <c:v>42327</c:v>
                </c:pt>
                <c:pt idx="3302">
                  <c:v>42328</c:v>
                </c:pt>
                <c:pt idx="3303">
                  <c:v>42331</c:v>
                </c:pt>
                <c:pt idx="3304">
                  <c:v>42332</c:v>
                </c:pt>
                <c:pt idx="3305">
                  <c:v>42333</c:v>
                </c:pt>
                <c:pt idx="3306">
                  <c:v>42334</c:v>
                </c:pt>
                <c:pt idx="3307">
                  <c:v>42335</c:v>
                </c:pt>
                <c:pt idx="3308">
                  <c:v>42338</c:v>
                </c:pt>
                <c:pt idx="3309">
                  <c:v>42339</c:v>
                </c:pt>
                <c:pt idx="3310">
                  <c:v>42340</c:v>
                </c:pt>
                <c:pt idx="3311">
                  <c:v>42341</c:v>
                </c:pt>
                <c:pt idx="3312">
                  <c:v>42342</c:v>
                </c:pt>
                <c:pt idx="3313">
                  <c:v>42345</c:v>
                </c:pt>
                <c:pt idx="3314">
                  <c:v>42346</c:v>
                </c:pt>
                <c:pt idx="3315">
                  <c:v>42347</c:v>
                </c:pt>
                <c:pt idx="3316">
                  <c:v>42348</c:v>
                </c:pt>
                <c:pt idx="3317">
                  <c:v>42349</c:v>
                </c:pt>
                <c:pt idx="3318">
                  <c:v>42352</c:v>
                </c:pt>
                <c:pt idx="3319">
                  <c:v>42353</c:v>
                </c:pt>
                <c:pt idx="3320">
                  <c:v>42354</c:v>
                </c:pt>
                <c:pt idx="3321">
                  <c:v>42355</c:v>
                </c:pt>
                <c:pt idx="3322">
                  <c:v>42356</c:v>
                </c:pt>
                <c:pt idx="3323">
                  <c:v>42359</c:v>
                </c:pt>
                <c:pt idx="3324">
                  <c:v>42360</c:v>
                </c:pt>
                <c:pt idx="3325">
                  <c:v>42361</c:v>
                </c:pt>
                <c:pt idx="3326">
                  <c:v>42362</c:v>
                </c:pt>
                <c:pt idx="3327">
                  <c:v>42363</c:v>
                </c:pt>
                <c:pt idx="3328">
                  <c:v>42366</c:v>
                </c:pt>
                <c:pt idx="3329">
                  <c:v>42367</c:v>
                </c:pt>
                <c:pt idx="3330">
                  <c:v>42368</c:v>
                </c:pt>
                <c:pt idx="3331">
                  <c:v>42369</c:v>
                </c:pt>
                <c:pt idx="3332">
                  <c:v>42373</c:v>
                </c:pt>
                <c:pt idx="3333">
                  <c:v>42374</c:v>
                </c:pt>
                <c:pt idx="3334">
                  <c:v>42375</c:v>
                </c:pt>
                <c:pt idx="3335">
                  <c:v>42376</c:v>
                </c:pt>
                <c:pt idx="3336">
                  <c:v>42377</c:v>
                </c:pt>
                <c:pt idx="3337">
                  <c:v>42380</c:v>
                </c:pt>
                <c:pt idx="3338">
                  <c:v>42381</c:v>
                </c:pt>
                <c:pt idx="3339">
                  <c:v>42382</c:v>
                </c:pt>
                <c:pt idx="3340">
                  <c:v>42383</c:v>
                </c:pt>
                <c:pt idx="3341">
                  <c:v>42384</c:v>
                </c:pt>
                <c:pt idx="3342">
                  <c:v>42387</c:v>
                </c:pt>
                <c:pt idx="3343">
                  <c:v>42388</c:v>
                </c:pt>
                <c:pt idx="3344">
                  <c:v>42389</c:v>
                </c:pt>
                <c:pt idx="3345">
                  <c:v>42390</c:v>
                </c:pt>
                <c:pt idx="3346">
                  <c:v>42391</c:v>
                </c:pt>
                <c:pt idx="3347">
                  <c:v>42394</c:v>
                </c:pt>
                <c:pt idx="3348">
                  <c:v>42395</c:v>
                </c:pt>
                <c:pt idx="3349">
                  <c:v>42396</c:v>
                </c:pt>
                <c:pt idx="3350">
                  <c:v>42397</c:v>
                </c:pt>
                <c:pt idx="3351">
                  <c:v>42398</c:v>
                </c:pt>
                <c:pt idx="3352">
                  <c:v>42401</c:v>
                </c:pt>
                <c:pt idx="3353">
                  <c:v>42402</c:v>
                </c:pt>
                <c:pt idx="3354">
                  <c:v>42403</c:v>
                </c:pt>
                <c:pt idx="3355">
                  <c:v>42404</c:v>
                </c:pt>
                <c:pt idx="3356">
                  <c:v>42405</c:v>
                </c:pt>
                <c:pt idx="3357">
                  <c:v>42415</c:v>
                </c:pt>
                <c:pt idx="3358">
                  <c:v>42416</c:v>
                </c:pt>
                <c:pt idx="3359">
                  <c:v>42417</c:v>
                </c:pt>
                <c:pt idx="3360">
                  <c:v>42418</c:v>
                </c:pt>
                <c:pt idx="3361">
                  <c:v>42419</c:v>
                </c:pt>
                <c:pt idx="3362">
                  <c:v>42422</c:v>
                </c:pt>
                <c:pt idx="3363">
                  <c:v>42423</c:v>
                </c:pt>
                <c:pt idx="3364">
                  <c:v>42424</c:v>
                </c:pt>
                <c:pt idx="3365">
                  <c:v>42425</c:v>
                </c:pt>
                <c:pt idx="3366">
                  <c:v>42426</c:v>
                </c:pt>
                <c:pt idx="3367">
                  <c:v>42429</c:v>
                </c:pt>
                <c:pt idx="3368">
                  <c:v>42430</c:v>
                </c:pt>
                <c:pt idx="3369">
                  <c:v>42431</c:v>
                </c:pt>
                <c:pt idx="3370">
                  <c:v>42432</c:v>
                </c:pt>
                <c:pt idx="3371">
                  <c:v>42433</c:v>
                </c:pt>
                <c:pt idx="3372">
                  <c:v>42436</c:v>
                </c:pt>
                <c:pt idx="3373">
                  <c:v>42437</c:v>
                </c:pt>
                <c:pt idx="3374">
                  <c:v>42438</c:v>
                </c:pt>
                <c:pt idx="3375">
                  <c:v>42439</c:v>
                </c:pt>
                <c:pt idx="3376">
                  <c:v>42440</c:v>
                </c:pt>
                <c:pt idx="3377">
                  <c:v>42443</c:v>
                </c:pt>
                <c:pt idx="3378">
                  <c:v>42444</c:v>
                </c:pt>
                <c:pt idx="3379">
                  <c:v>42445</c:v>
                </c:pt>
                <c:pt idx="3380">
                  <c:v>42446</c:v>
                </c:pt>
                <c:pt idx="3381">
                  <c:v>42447</c:v>
                </c:pt>
                <c:pt idx="3382">
                  <c:v>42450</c:v>
                </c:pt>
                <c:pt idx="3383">
                  <c:v>42451</c:v>
                </c:pt>
                <c:pt idx="3384">
                  <c:v>42452</c:v>
                </c:pt>
                <c:pt idx="3385">
                  <c:v>42453</c:v>
                </c:pt>
                <c:pt idx="3386">
                  <c:v>42454</c:v>
                </c:pt>
                <c:pt idx="3387">
                  <c:v>42457</c:v>
                </c:pt>
                <c:pt idx="3388">
                  <c:v>42458</c:v>
                </c:pt>
                <c:pt idx="3389">
                  <c:v>42459</c:v>
                </c:pt>
                <c:pt idx="3390">
                  <c:v>42460</c:v>
                </c:pt>
                <c:pt idx="3391">
                  <c:v>42461</c:v>
                </c:pt>
                <c:pt idx="3392">
                  <c:v>42465</c:v>
                </c:pt>
                <c:pt idx="3393">
                  <c:v>42466</c:v>
                </c:pt>
                <c:pt idx="3394">
                  <c:v>42467</c:v>
                </c:pt>
                <c:pt idx="3395">
                  <c:v>42468</c:v>
                </c:pt>
                <c:pt idx="3396">
                  <c:v>42471</c:v>
                </c:pt>
                <c:pt idx="3397">
                  <c:v>42472</c:v>
                </c:pt>
                <c:pt idx="3398">
                  <c:v>42473</c:v>
                </c:pt>
                <c:pt idx="3399">
                  <c:v>42474</c:v>
                </c:pt>
                <c:pt idx="3400">
                  <c:v>42475</c:v>
                </c:pt>
                <c:pt idx="3401">
                  <c:v>42478</c:v>
                </c:pt>
                <c:pt idx="3402">
                  <c:v>42479</c:v>
                </c:pt>
                <c:pt idx="3403">
                  <c:v>42480</c:v>
                </c:pt>
                <c:pt idx="3404">
                  <c:v>42481</c:v>
                </c:pt>
                <c:pt idx="3405">
                  <c:v>42482</c:v>
                </c:pt>
                <c:pt idx="3406">
                  <c:v>42485</c:v>
                </c:pt>
                <c:pt idx="3407">
                  <c:v>42486</c:v>
                </c:pt>
                <c:pt idx="3408">
                  <c:v>42487</c:v>
                </c:pt>
                <c:pt idx="3409">
                  <c:v>42488</c:v>
                </c:pt>
                <c:pt idx="3410">
                  <c:v>42489</c:v>
                </c:pt>
                <c:pt idx="3411">
                  <c:v>42493</c:v>
                </c:pt>
                <c:pt idx="3412">
                  <c:v>42494</c:v>
                </c:pt>
                <c:pt idx="3413">
                  <c:v>42495</c:v>
                </c:pt>
                <c:pt idx="3414">
                  <c:v>42496</c:v>
                </c:pt>
                <c:pt idx="3415">
                  <c:v>42499</c:v>
                </c:pt>
                <c:pt idx="3416">
                  <c:v>42500</c:v>
                </c:pt>
                <c:pt idx="3417">
                  <c:v>42501</c:v>
                </c:pt>
                <c:pt idx="3418">
                  <c:v>42502</c:v>
                </c:pt>
                <c:pt idx="3419">
                  <c:v>42503</c:v>
                </c:pt>
                <c:pt idx="3420">
                  <c:v>42506</c:v>
                </c:pt>
                <c:pt idx="3421">
                  <c:v>42507</c:v>
                </c:pt>
                <c:pt idx="3422">
                  <c:v>42508</c:v>
                </c:pt>
                <c:pt idx="3423">
                  <c:v>42509</c:v>
                </c:pt>
                <c:pt idx="3424">
                  <c:v>42510</c:v>
                </c:pt>
                <c:pt idx="3425">
                  <c:v>42513</c:v>
                </c:pt>
                <c:pt idx="3426">
                  <c:v>42514</c:v>
                </c:pt>
                <c:pt idx="3427">
                  <c:v>42515</c:v>
                </c:pt>
                <c:pt idx="3428">
                  <c:v>42516</c:v>
                </c:pt>
                <c:pt idx="3429">
                  <c:v>42517</c:v>
                </c:pt>
                <c:pt idx="3430">
                  <c:v>42520</c:v>
                </c:pt>
                <c:pt idx="3431">
                  <c:v>42521</c:v>
                </c:pt>
                <c:pt idx="3432">
                  <c:v>42522</c:v>
                </c:pt>
                <c:pt idx="3433">
                  <c:v>42523</c:v>
                </c:pt>
                <c:pt idx="3434">
                  <c:v>42524</c:v>
                </c:pt>
                <c:pt idx="3435">
                  <c:v>42527</c:v>
                </c:pt>
                <c:pt idx="3436">
                  <c:v>42528</c:v>
                </c:pt>
                <c:pt idx="3437">
                  <c:v>42529</c:v>
                </c:pt>
                <c:pt idx="3438">
                  <c:v>42534</c:v>
                </c:pt>
                <c:pt idx="3439">
                  <c:v>42535</c:v>
                </c:pt>
                <c:pt idx="3440">
                  <c:v>42536</c:v>
                </c:pt>
                <c:pt idx="3441">
                  <c:v>42537</c:v>
                </c:pt>
                <c:pt idx="3442">
                  <c:v>42538</c:v>
                </c:pt>
                <c:pt idx="3443">
                  <c:v>42541</c:v>
                </c:pt>
                <c:pt idx="3444">
                  <c:v>42542</c:v>
                </c:pt>
                <c:pt idx="3445">
                  <c:v>42543</c:v>
                </c:pt>
                <c:pt idx="3446">
                  <c:v>42544</c:v>
                </c:pt>
                <c:pt idx="3447">
                  <c:v>42545</c:v>
                </c:pt>
                <c:pt idx="3448">
                  <c:v>42548</c:v>
                </c:pt>
                <c:pt idx="3449">
                  <c:v>42549</c:v>
                </c:pt>
                <c:pt idx="3450">
                  <c:v>42550</c:v>
                </c:pt>
                <c:pt idx="3451">
                  <c:v>42551</c:v>
                </c:pt>
                <c:pt idx="3452">
                  <c:v>42552</c:v>
                </c:pt>
                <c:pt idx="3453">
                  <c:v>42555</c:v>
                </c:pt>
                <c:pt idx="3454">
                  <c:v>42556</c:v>
                </c:pt>
                <c:pt idx="3455">
                  <c:v>42557</c:v>
                </c:pt>
                <c:pt idx="3456">
                  <c:v>42558</c:v>
                </c:pt>
                <c:pt idx="3457">
                  <c:v>42559</c:v>
                </c:pt>
                <c:pt idx="3458">
                  <c:v>42562</c:v>
                </c:pt>
                <c:pt idx="3459">
                  <c:v>42563</c:v>
                </c:pt>
                <c:pt idx="3460">
                  <c:v>42564</c:v>
                </c:pt>
                <c:pt idx="3461">
                  <c:v>42565</c:v>
                </c:pt>
                <c:pt idx="3462">
                  <c:v>42566</c:v>
                </c:pt>
                <c:pt idx="3463">
                  <c:v>42569</c:v>
                </c:pt>
                <c:pt idx="3464">
                  <c:v>42570</c:v>
                </c:pt>
                <c:pt idx="3465">
                  <c:v>42571</c:v>
                </c:pt>
                <c:pt idx="3466">
                  <c:v>42572</c:v>
                </c:pt>
                <c:pt idx="3467">
                  <c:v>42573</c:v>
                </c:pt>
                <c:pt idx="3468">
                  <c:v>42576</c:v>
                </c:pt>
                <c:pt idx="3469">
                  <c:v>42577</c:v>
                </c:pt>
                <c:pt idx="3470">
                  <c:v>42578</c:v>
                </c:pt>
                <c:pt idx="3471">
                  <c:v>42579</c:v>
                </c:pt>
                <c:pt idx="3472">
                  <c:v>42580</c:v>
                </c:pt>
                <c:pt idx="3473">
                  <c:v>42583</c:v>
                </c:pt>
                <c:pt idx="3474">
                  <c:v>42584</c:v>
                </c:pt>
                <c:pt idx="3475">
                  <c:v>42585</c:v>
                </c:pt>
                <c:pt idx="3476">
                  <c:v>42586</c:v>
                </c:pt>
                <c:pt idx="3477">
                  <c:v>42587</c:v>
                </c:pt>
                <c:pt idx="3478">
                  <c:v>42590</c:v>
                </c:pt>
                <c:pt idx="3479">
                  <c:v>42591</c:v>
                </c:pt>
                <c:pt idx="3480">
                  <c:v>42592</c:v>
                </c:pt>
                <c:pt idx="3481">
                  <c:v>42593</c:v>
                </c:pt>
                <c:pt idx="3482">
                  <c:v>42594</c:v>
                </c:pt>
                <c:pt idx="3483">
                  <c:v>42597</c:v>
                </c:pt>
                <c:pt idx="3484">
                  <c:v>42598</c:v>
                </c:pt>
                <c:pt idx="3485">
                  <c:v>42599</c:v>
                </c:pt>
                <c:pt idx="3486">
                  <c:v>42600</c:v>
                </c:pt>
                <c:pt idx="3487">
                  <c:v>42601</c:v>
                </c:pt>
                <c:pt idx="3488">
                  <c:v>42604</c:v>
                </c:pt>
                <c:pt idx="3489">
                  <c:v>42605</c:v>
                </c:pt>
                <c:pt idx="3490">
                  <c:v>42606</c:v>
                </c:pt>
                <c:pt idx="3491">
                  <c:v>42607</c:v>
                </c:pt>
                <c:pt idx="3492">
                  <c:v>42608</c:v>
                </c:pt>
                <c:pt idx="3493">
                  <c:v>42611</c:v>
                </c:pt>
                <c:pt idx="3494">
                  <c:v>42612</c:v>
                </c:pt>
                <c:pt idx="3495">
                  <c:v>42613</c:v>
                </c:pt>
                <c:pt idx="3496">
                  <c:v>42614</c:v>
                </c:pt>
                <c:pt idx="3497">
                  <c:v>42615</c:v>
                </c:pt>
                <c:pt idx="3498">
                  <c:v>42618</c:v>
                </c:pt>
                <c:pt idx="3499">
                  <c:v>42619</c:v>
                </c:pt>
                <c:pt idx="3500">
                  <c:v>42620</c:v>
                </c:pt>
                <c:pt idx="3501">
                  <c:v>42621</c:v>
                </c:pt>
                <c:pt idx="3502">
                  <c:v>42622</c:v>
                </c:pt>
                <c:pt idx="3503">
                  <c:v>42625</c:v>
                </c:pt>
                <c:pt idx="3504">
                  <c:v>42626</c:v>
                </c:pt>
                <c:pt idx="3505">
                  <c:v>42627</c:v>
                </c:pt>
                <c:pt idx="3506">
                  <c:v>42632</c:v>
                </c:pt>
                <c:pt idx="3507">
                  <c:v>42633</c:v>
                </c:pt>
                <c:pt idx="3508">
                  <c:v>42634</c:v>
                </c:pt>
                <c:pt idx="3509">
                  <c:v>42635</c:v>
                </c:pt>
                <c:pt idx="3510">
                  <c:v>42636</c:v>
                </c:pt>
                <c:pt idx="3511">
                  <c:v>42639</c:v>
                </c:pt>
                <c:pt idx="3512">
                  <c:v>42640</c:v>
                </c:pt>
                <c:pt idx="3513">
                  <c:v>42641</c:v>
                </c:pt>
                <c:pt idx="3514">
                  <c:v>42642</c:v>
                </c:pt>
                <c:pt idx="3515">
                  <c:v>42643</c:v>
                </c:pt>
                <c:pt idx="3516">
                  <c:v>42653</c:v>
                </c:pt>
                <c:pt idx="3517">
                  <c:v>42654</c:v>
                </c:pt>
                <c:pt idx="3518">
                  <c:v>42655</c:v>
                </c:pt>
                <c:pt idx="3519">
                  <c:v>42656</c:v>
                </c:pt>
                <c:pt idx="3520">
                  <c:v>42657</c:v>
                </c:pt>
                <c:pt idx="3521">
                  <c:v>42660</c:v>
                </c:pt>
                <c:pt idx="3522">
                  <c:v>42661</c:v>
                </c:pt>
                <c:pt idx="3523">
                  <c:v>42662</c:v>
                </c:pt>
                <c:pt idx="3524">
                  <c:v>42663</c:v>
                </c:pt>
                <c:pt idx="3525">
                  <c:v>42664</c:v>
                </c:pt>
                <c:pt idx="3526">
                  <c:v>42667</c:v>
                </c:pt>
                <c:pt idx="3527">
                  <c:v>42668</c:v>
                </c:pt>
                <c:pt idx="3528">
                  <c:v>42669</c:v>
                </c:pt>
                <c:pt idx="3529">
                  <c:v>42670</c:v>
                </c:pt>
                <c:pt idx="3530">
                  <c:v>42671</c:v>
                </c:pt>
                <c:pt idx="3531">
                  <c:v>42674</c:v>
                </c:pt>
                <c:pt idx="3532">
                  <c:v>42675</c:v>
                </c:pt>
                <c:pt idx="3533">
                  <c:v>42676</c:v>
                </c:pt>
                <c:pt idx="3534">
                  <c:v>42677</c:v>
                </c:pt>
                <c:pt idx="3535">
                  <c:v>42678</c:v>
                </c:pt>
                <c:pt idx="3536">
                  <c:v>42681</c:v>
                </c:pt>
                <c:pt idx="3537">
                  <c:v>42682</c:v>
                </c:pt>
                <c:pt idx="3538">
                  <c:v>42683</c:v>
                </c:pt>
                <c:pt idx="3539">
                  <c:v>42684</c:v>
                </c:pt>
                <c:pt idx="3540">
                  <c:v>42685</c:v>
                </c:pt>
                <c:pt idx="3541">
                  <c:v>42688</c:v>
                </c:pt>
                <c:pt idx="3542">
                  <c:v>42689</c:v>
                </c:pt>
                <c:pt idx="3543">
                  <c:v>42690</c:v>
                </c:pt>
                <c:pt idx="3544">
                  <c:v>42691</c:v>
                </c:pt>
                <c:pt idx="3545">
                  <c:v>42692</c:v>
                </c:pt>
                <c:pt idx="3546">
                  <c:v>42695</c:v>
                </c:pt>
                <c:pt idx="3547">
                  <c:v>42696</c:v>
                </c:pt>
                <c:pt idx="3548">
                  <c:v>42697</c:v>
                </c:pt>
                <c:pt idx="3549">
                  <c:v>42698</c:v>
                </c:pt>
                <c:pt idx="3550">
                  <c:v>42699</c:v>
                </c:pt>
                <c:pt idx="3551">
                  <c:v>42702</c:v>
                </c:pt>
                <c:pt idx="3552">
                  <c:v>42703</c:v>
                </c:pt>
                <c:pt idx="3553">
                  <c:v>42704</c:v>
                </c:pt>
                <c:pt idx="3554">
                  <c:v>42705</c:v>
                </c:pt>
                <c:pt idx="3555">
                  <c:v>42706</c:v>
                </c:pt>
                <c:pt idx="3556">
                  <c:v>42709</c:v>
                </c:pt>
                <c:pt idx="3557">
                  <c:v>42710</c:v>
                </c:pt>
                <c:pt idx="3558">
                  <c:v>42711</c:v>
                </c:pt>
                <c:pt idx="3559">
                  <c:v>42712</c:v>
                </c:pt>
                <c:pt idx="3560">
                  <c:v>42713</c:v>
                </c:pt>
                <c:pt idx="3561">
                  <c:v>42716</c:v>
                </c:pt>
                <c:pt idx="3562">
                  <c:v>42717</c:v>
                </c:pt>
                <c:pt idx="3563">
                  <c:v>42718</c:v>
                </c:pt>
                <c:pt idx="3564">
                  <c:v>42719</c:v>
                </c:pt>
                <c:pt idx="3565">
                  <c:v>42720</c:v>
                </c:pt>
                <c:pt idx="3566">
                  <c:v>42723</c:v>
                </c:pt>
                <c:pt idx="3567">
                  <c:v>42724</c:v>
                </c:pt>
                <c:pt idx="3568">
                  <c:v>42725</c:v>
                </c:pt>
                <c:pt idx="3569">
                  <c:v>42726</c:v>
                </c:pt>
                <c:pt idx="3570">
                  <c:v>42727</c:v>
                </c:pt>
                <c:pt idx="3571">
                  <c:v>42730</c:v>
                </c:pt>
                <c:pt idx="3572">
                  <c:v>42731</c:v>
                </c:pt>
                <c:pt idx="3573">
                  <c:v>42732</c:v>
                </c:pt>
                <c:pt idx="3574">
                  <c:v>42733</c:v>
                </c:pt>
                <c:pt idx="3575">
                  <c:v>42734</c:v>
                </c:pt>
                <c:pt idx="3576">
                  <c:v>42738</c:v>
                </c:pt>
                <c:pt idx="3577">
                  <c:v>42739</c:v>
                </c:pt>
                <c:pt idx="3578">
                  <c:v>42740</c:v>
                </c:pt>
                <c:pt idx="3579">
                  <c:v>42741</c:v>
                </c:pt>
                <c:pt idx="3580">
                  <c:v>42744</c:v>
                </c:pt>
                <c:pt idx="3581">
                  <c:v>42745</c:v>
                </c:pt>
                <c:pt idx="3582">
                  <c:v>42746</c:v>
                </c:pt>
                <c:pt idx="3583">
                  <c:v>42747</c:v>
                </c:pt>
                <c:pt idx="3584">
                  <c:v>42748</c:v>
                </c:pt>
                <c:pt idx="3585">
                  <c:v>42751</c:v>
                </c:pt>
                <c:pt idx="3586">
                  <c:v>42752</c:v>
                </c:pt>
                <c:pt idx="3587">
                  <c:v>42753</c:v>
                </c:pt>
                <c:pt idx="3588">
                  <c:v>42754</c:v>
                </c:pt>
                <c:pt idx="3589">
                  <c:v>42755</c:v>
                </c:pt>
                <c:pt idx="3590">
                  <c:v>42758</c:v>
                </c:pt>
                <c:pt idx="3591">
                  <c:v>42759</c:v>
                </c:pt>
                <c:pt idx="3592">
                  <c:v>42760</c:v>
                </c:pt>
                <c:pt idx="3593">
                  <c:v>42761</c:v>
                </c:pt>
                <c:pt idx="3594">
                  <c:v>42769</c:v>
                </c:pt>
                <c:pt idx="3595">
                  <c:v>42772</c:v>
                </c:pt>
                <c:pt idx="3596">
                  <c:v>42773</c:v>
                </c:pt>
                <c:pt idx="3597">
                  <c:v>42774</c:v>
                </c:pt>
                <c:pt idx="3598">
                  <c:v>42775</c:v>
                </c:pt>
                <c:pt idx="3599">
                  <c:v>42776</c:v>
                </c:pt>
                <c:pt idx="3600">
                  <c:v>42779</c:v>
                </c:pt>
                <c:pt idx="3601">
                  <c:v>42780</c:v>
                </c:pt>
                <c:pt idx="3602">
                  <c:v>42781</c:v>
                </c:pt>
                <c:pt idx="3603">
                  <c:v>42782</c:v>
                </c:pt>
                <c:pt idx="3604">
                  <c:v>42783</c:v>
                </c:pt>
                <c:pt idx="3605">
                  <c:v>42786</c:v>
                </c:pt>
                <c:pt idx="3606">
                  <c:v>42787</c:v>
                </c:pt>
                <c:pt idx="3607">
                  <c:v>42788</c:v>
                </c:pt>
                <c:pt idx="3608">
                  <c:v>42789</c:v>
                </c:pt>
                <c:pt idx="3609">
                  <c:v>42790</c:v>
                </c:pt>
                <c:pt idx="3610">
                  <c:v>42793</c:v>
                </c:pt>
                <c:pt idx="3611">
                  <c:v>42794</c:v>
                </c:pt>
                <c:pt idx="3612">
                  <c:v>42795</c:v>
                </c:pt>
                <c:pt idx="3613">
                  <c:v>42796</c:v>
                </c:pt>
                <c:pt idx="3614">
                  <c:v>42797</c:v>
                </c:pt>
                <c:pt idx="3615">
                  <c:v>42800</c:v>
                </c:pt>
                <c:pt idx="3616">
                  <c:v>42801</c:v>
                </c:pt>
                <c:pt idx="3617">
                  <c:v>42802</c:v>
                </c:pt>
                <c:pt idx="3618">
                  <c:v>42803</c:v>
                </c:pt>
                <c:pt idx="3619">
                  <c:v>42804</c:v>
                </c:pt>
                <c:pt idx="3620">
                  <c:v>42807</c:v>
                </c:pt>
                <c:pt idx="3621">
                  <c:v>42808</c:v>
                </c:pt>
                <c:pt idx="3622">
                  <c:v>42809</c:v>
                </c:pt>
                <c:pt idx="3623">
                  <c:v>42810</c:v>
                </c:pt>
                <c:pt idx="3624">
                  <c:v>42811</c:v>
                </c:pt>
                <c:pt idx="3625">
                  <c:v>42814</c:v>
                </c:pt>
                <c:pt idx="3626">
                  <c:v>42815</c:v>
                </c:pt>
                <c:pt idx="3627">
                  <c:v>42816</c:v>
                </c:pt>
                <c:pt idx="3628">
                  <c:v>42817</c:v>
                </c:pt>
                <c:pt idx="3629">
                  <c:v>42818</c:v>
                </c:pt>
                <c:pt idx="3630">
                  <c:v>42821</c:v>
                </c:pt>
                <c:pt idx="3631">
                  <c:v>42822</c:v>
                </c:pt>
                <c:pt idx="3632">
                  <c:v>42823</c:v>
                </c:pt>
                <c:pt idx="3633">
                  <c:v>42824</c:v>
                </c:pt>
                <c:pt idx="3634">
                  <c:v>42825</c:v>
                </c:pt>
                <c:pt idx="3635">
                  <c:v>42830</c:v>
                </c:pt>
                <c:pt idx="3636">
                  <c:v>42831</c:v>
                </c:pt>
                <c:pt idx="3637">
                  <c:v>42832</c:v>
                </c:pt>
                <c:pt idx="3638">
                  <c:v>42835</c:v>
                </c:pt>
                <c:pt idx="3639">
                  <c:v>42836</c:v>
                </c:pt>
                <c:pt idx="3640">
                  <c:v>42837</c:v>
                </c:pt>
                <c:pt idx="3641">
                  <c:v>42838</c:v>
                </c:pt>
                <c:pt idx="3642">
                  <c:v>42839</c:v>
                </c:pt>
                <c:pt idx="3643">
                  <c:v>42842</c:v>
                </c:pt>
                <c:pt idx="3644">
                  <c:v>42843</c:v>
                </c:pt>
                <c:pt idx="3645">
                  <c:v>42844</c:v>
                </c:pt>
                <c:pt idx="3646">
                  <c:v>42845</c:v>
                </c:pt>
                <c:pt idx="3647">
                  <c:v>42846</c:v>
                </c:pt>
                <c:pt idx="3648">
                  <c:v>42849</c:v>
                </c:pt>
                <c:pt idx="3649">
                  <c:v>42850</c:v>
                </c:pt>
                <c:pt idx="3650">
                  <c:v>42851</c:v>
                </c:pt>
                <c:pt idx="3651">
                  <c:v>42852</c:v>
                </c:pt>
                <c:pt idx="3652">
                  <c:v>42853</c:v>
                </c:pt>
                <c:pt idx="3653">
                  <c:v>42857</c:v>
                </c:pt>
                <c:pt idx="3654">
                  <c:v>42858</c:v>
                </c:pt>
                <c:pt idx="3655">
                  <c:v>42859</c:v>
                </c:pt>
                <c:pt idx="3656">
                  <c:v>42860</c:v>
                </c:pt>
                <c:pt idx="3657">
                  <c:v>42863</c:v>
                </c:pt>
                <c:pt idx="3658">
                  <c:v>42864</c:v>
                </c:pt>
                <c:pt idx="3659">
                  <c:v>42865</c:v>
                </c:pt>
                <c:pt idx="3660">
                  <c:v>42866</c:v>
                </c:pt>
                <c:pt idx="3661">
                  <c:v>42867</c:v>
                </c:pt>
                <c:pt idx="3662">
                  <c:v>42870</c:v>
                </c:pt>
                <c:pt idx="3663">
                  <c:v>42871</c:v>
                </c:pt>
                <c:pt idx="3664">
                  <c:v>42872</c:v>
                </c:pt>
                <c:pt idx="3665">
                  <c:v>42873</c:v>
                </c:pt>
                <c:pt idx="3666">
                  <c:v>42874</c:v>
                </c:pt>
                <c:pt idx="3667">
                  <c:v>42877</c:v>
                </c:pt>
                <c:pt idx="3668">
                  <c:v>42878</c:v>
                </c:pt>
                <c:pt idx="3669">
                  <c:v>42879</c:v>
                </c:pt>
                <c:pt idx="3670">
                  <c:v>42880</c:v>
                </c:pt>
                <c:pt idx="3671">
                  <c:v>42881</c:v>
                </c:pt>
                <c:pt idx="3672">
                  <c:v>42886</c:v>
                </c:pt>
                <c:pt idx="3673">
                  <c:v>42887</c:v>
                </c:pt>
                <c:pt idx="3674">
                  <c:v>42888</c:v>
                </c:pt>
                <c:pt idx="3675">
                  <c:v>42891</c:v>
                </c:pt>
                <c:pt idx="3676">
                  <c:v>42892</c:v>
                </c:pt>
                <c:pt idx="3677">
                  <c:v>42893</c:v>
                </c:pt>
                <c:pt idx="3678">
                  <c:v>42894</c:v>
                </c:pt>
                <c:pt idx="3679">
                  <c:v>42895</c:v>
                </c:pt>
                <c:pt idx="3680">
                  <c:v>42898</c:v>
                </c:pt>
                <c:pt idx="3681">
                  <c:v>42899</c:v>
                </c:pt>
                <c:pt idx="3682">
                  <c:v>42900</c:v>
                </c:pt>
                <c:pt idx="3683">
                  <c:v>42901</c:v>
                </c:pt>
                <c:pt idx="3684">
                  <c:v>42902</c:v>
                </c:pt>
                <c:pt idx="3685">
                  <c:v>42905</c:v>
                </c:pt>
                <c:pt idx="3686">
                  <c:v>42906</c:v>
                </c:pt>
                <c:pt idx="3687">
                  <c:v>42907</c:v>
                </c:pt>
                <c:pt idx="3688">
                  <c:v>42908</c:v>
                </c:pt>
                <c:pt idx="3689">
                  <c:v>42909</c:v>
                </c:pt>
                <c:pt idx="3690">
                  <c:v>42912</c:v>
                </c:pt>
                <c:pt idx="3691">
                  <c:v>42913</c:v>
                </c:pt>
                <c:pt idx="3692">
                  <c:v>42914</c:v>
                </c:pt>
                <c:pt idx="3693">
                  <c:v>42915</c:v>
                </c:pt>
                <c:pt idx="3694">
                  <c:v>42916</c:v>
                </c:pt>
                <c:pt idx="3695">
                  <c:v>42919</c:v>
                </c:pt>
                <c:pt idx="3696">
                  <c:v>42920</c:v>
                </c:pt>
                <c:pt idx="3697">
                  <c:v>42921</c:v>
                </c:pt>
                <c:pt idx="3698">
                  <c:v>42922</c:v>
                </c:pt>
                <c:pt idx="3699">
                  <c:v>42923</c:v>
                </c:pt>
                <c:pt idx="3700">
                  <c:v>42926</c:v>
                </c:pt>
                <c:pt idx="3701">
                  <c:v>42927</c:v>
                </c:pt>
                <c:pt idx="3702">
                  <c:v>42928</c:v>
                </c:pt>
                <c:pt idx="3703">
                  <c:v>42929</c:v>
                </c:pt>
                <c:pt idx="3704">
                  <c:v>42930</c:v>
                </c:pt>
                <c:pt idx="3705">
                  <c:v>42933</c:v>
                </c:pt>
                <c:pt idx="3706">
                  <c:v>42934</c:v>
                </c:pt>
                <c:pt idx="3707">
                  <c:v>42935</c:v>
                </c:pt>
                <c:pt idx="3708">
                  <c:v>42936</c:v>
                </c:pt>
                <c:pt idx="3709">
                  <c:v>42937</c:v>
                </c:pt>
                <c:pt idx="3710">
                  <c:v>42940</c:v>
                </c:pt>
                <c:pt idx="3711">
                  <c:v>42941</c:v>
                </c:pt>
                <c:pt idx="3712">
                  <c:v>42942</c:v>
                </c:pt>
                <c:pt idx="3713">
                  <c:v>42943</c:v>
                </c:pt>
                <c:pt idx="3714">
                  <c:v>42944</c:v>
                </c:pt>
                <c:pt idx="3715">
                  <c:v>42947</c:v>
                </c:pt>
                <c:pt idx="3716">
                  <c:v>42948</c:v>
                </c:pt>
                <c:pt idx="3717">
                  <c:v>42949</c:v>
                </c:pt>
                <c:pt idx="3718">
                  <c:v>42950</c:v>
                </c:pt>
                <c:pt idx="3719">
                  <c:v>42951</c:v>
                </c:pt>
                <c:pt idx="3720">
                  <c:v>42954</c:v>
                </c:pt>
                <c:pt idx="3721">
                  <c:v>42955</c:v>
                </c:pt>
                <c:pt idx="3722">
                  <c:v>42956</c:v>
                </c:pt>
                <c:pt idx="3723">
                  <c:v>42957</c:v>
                </c:pt>
                <c:pt idx="3724">
                  <c:v>42958</c:v>
                </c:pt>
                <c:pt idx="3725">
                  <c:v>42961</c:v>
                </c:pt>
                <c:pt idx="3726">
                  <c:v>42962</c:v>
                </c:pt>
                <c:pt idx="3727">
                  <c:v>42963</c:v>
                </c:pt>
                <c:pt idx="3728">
                  <c:v>42964</c:v>
                </c:pt>
                <c:pt idx="3729">
                  <c:v>42965</c:v>
                </c:pt>
                <c:pt idx="3730">
                  <c:v>42968</c:v>
                </c:pt>
                <c:pt idx="3731">
                  <c:v>42969</c:v>
                </c:pt>
                <c:pt idx="3732">
                  <c:v>42970</c:v>
                </c:pt>
                <c:pt idx="3733">
                  <c:v>42971</c:v>
                </c:pt>
                <c:pt idx="3734">
                  <c:v>42972</c:v>
                </c:pt>
                <c:pt idx="3735">
                  <c:v>42975</c:v>
                </c:pt>
                <c:pt idx="3736">
                  <c:v>42976</c:v>
                </c:pt>
                <c:pt idx="3737">
                  <c:v>42977</c:v>
                </c:pt>
                <c:pt idx="3738">
                  <c:v>42978</c:v>
                </c:pt>
                <c:pt idx="3739">
                  <c:v>42979</c:v>
                </c:pt>
                <c:pt idx="3740">
                  <c:v>42982</c:v>
                </c:pt>
                <c:pt idx="3741">
                  <c:v>42983</c:v>
                </c:pt>
                <c:pt idx="3742">
                  <c:v>42984</c:v>
                </c:pt>
                <c:pt idx="3743">
                  <c:v>42985</c:v>
                </c:pt>
                <c:pt idx="3744">
                  <c:v>42986</c:v>
                </c:pt>
                <c:pt idx="3745">
                  <c:v>42989</c:v>
                </c:pt>
                <c:pt idx="3746">
                  <c:v>42990</c:v>
                </c:pt>
                <c:pt idx="3747">
                  <c:v>42991</c:v>
                </c:pt>
                <c:pt idx="3748">
                  <c:v>42992</c:v>
                </c:pt>
                <c:pt idx="3749">
                  <c:v>42993</c:v>
                </c:pt>
                <c:pt idx="3750">
                  <c:v>42996</c:v>
                </c:pt>
                <c:pt idx="3751">
                  <c:v>42997</c:v>
                </c:pt>
                <c:pt idx="3752">
                  <c:v>42998</c:v>
                </c:pt>
                <c:pt idx="3753">
                  <c:v>42999</c:v>
                </c:pt>
                <c:pt idx="3754">
                  <c:v>43000</c:v>
                </c:pt>
                <c:pt idx="3755">
                  <c:v>43003</c:v>
                </c:pt>
                <c:pt idx="3756">
                  <c:v>43004</c:v>
                </c:pt>
                <c:pt idx="3757">
                  <c:v>43005</c:v>
                </c:pt>
                <c:pt idx="3758">
                  <c:v>43006</c:v>
                </c:pt>
                <c:pt idx="3759">
                  <c:v>43007</c:v>
                </c:pt>
                <c:pt idx="3760">
                  <c:v>43017</c:v>
                </c:pt>
                <c:pt idx="3761">
                  <c:v>43018</c:v>
                </c:pt>
                <c:pt idx="3762">
                  <c:v>43019</c:v>
                </c:pt>
                <c:pt idx="3763">
                  <c:v>43020</c:v>
                </c:pt>
                <c:pt idx="3764">
                  <c:v>43021</c:v>
                </c:pt>
                <c:pt idx="3765">
                  <c:v>43024</c:v>
                </c:pt>
                <c:pt idx="3766">
                  <c:v>43025</c:v>
                </c:pt>
                <c:pt idx="3767">
                  <c:v>43026</c:v>
                </c:pt>
                <c:pt idx="3768">
                  <c:v>43027</c:v>
                </c:pt>
                <c:pt idx="3769">
                  <c:v>43028</c:v>
                </c:pt>
                <c:pt idx="3770">
                  <c:v>43031</c:v>
                </c:pt>
                <c:pt idx="3771">
                  <c:v>43032</c:v>
                </c:pt>
                <c:pt idx="3772">
                  <c:v>43033</c:v>
                </c:pt>
                <c:pt idx="3773">
                  <c:v>43034</c:v>
                </c:pt>
                <c:pt idx="3774">
                  <c:v>43035</c:v>
                </c:pt>
                <c:pt idx="3775">
                  <c:v>43038</c:v>
                </c:pt>
                <c:pt idx="3776">
                  <c:v>43039</c:v>
                </c:pt>
                <c:pt idx="3777">
                  <c:v>43040</c:v>
                </c:pt>
                <c:pt idx="3778">
                  <c:v>43041</c:v>
                </c:pt>
                <c:pt idx="3779">
                  <c:v>43042</c:v>
                </c:pt>
                <c:pt idx="3780">
                  <c:v>43045</c:v>
                </c:pt>
                <c:pt idx="3781">
                  <c:v>43046</c:v>
                </c:pt>
                <c:pt idx="3782">
                  <c:v>43047</c:v>
                </c:pt>
                <c:pt idx="3783">
                  <c:v>43048</c:v>
                </c:pt>
                <c:pt idx="3784">
                  <c:v>43049</c:v>
                </c:pt>
                <c:pt idx="3785">
                  <c:v>43052</c:v>
                </c:pt>
                <c:pt idx="3786">
                  <c:v>43053</c:v>
                </c:pt>
                <c:pt idx="3787">
                  <c:v>43054</c:v>
                </c:pt>
                <c:pt idx="3788">
                  <c:v>43055</c:v>
                </c:pt>
                <c:pt idx="3789">
                  <c:v>43056</c:v>
                </c:pt>
                <c:pt idx="3790">
                  <c:v>43059</c:v>
                </c:pt>
                <c:pt idx="3791">
                  <c:v>43060</c:v>
                </c:pt>
                <c:pt idx="3792">
                  <c:v>43061</c:v>
                </c:pt>
                <c:pt idx="3793">
                  <c:v>43062</c:v>
                </c:pt>
                <c:pt idx="3794">
                  <c:v>43063</c:v>
                </c:pt>
                <c:pt idx="3795">
                  <c:v>43066</c:v>
                </c:pt>
                <c:pt idx="3796">
                  <c:v>43067</c:v>
                </c:pt>
                <c:pt idx="3797">
                  <c:v>43068</c:v>
                </c:pt>
                <c:pt idx="3798">
                  <c:v>43069</c:v>
                </c:pt>
                <c:pt idx="3799">
                  <c:v>43070</c:v>
                </c:pt>
                <c:pt idx="3800">
                  <c:v>43073</c:v>
                </c:pt>
                <c:pt idx="3801">
                  <c:v>43074</c:v>
                </c:pt>
                <c:pt idx="3802">
                  <c:v>43075</c:v>
                </c:pt>
                <c:pt idx="3803">
                  <c:v>43076</c:v>
                </c:pt>
                <c:pt idx="3804">
                  <c:v>43077</c:v>
                </c:pt>
                <c:pt idx="3805">
                  <c:v>43080</c:v>
                </c:pt>
                <c:pt idx="3806">
                  <c:v>43081</c:v>
                </c:pt>
                <c:pt idx="3807">
                  <c:v>43082</c:v>
                </c:pt>
                <c:pt idx="3808">
                  <c:v>43083</c:v>
                </c:pt>
                <c:pt idx="3809">
                  <c:v>43084</c:v>
                </c:pt>
                <c:pt idx="3810">
                  <c:v>43087</c:v>
                </c:pt>
                <c:pt idx="3811">
                  <c:v>43088</c:v>
                </c:pt>
                <c:pt idx="3812">
                  <c:v>43089</c:v>
                </c:pt>
                <c:pt idx="3813">
                  <c:v>43090</c:v>
                </c:pt>
                <c:pt idx="3814">
                  <c:v>43091</c:v>
                </c:pt>
                <c:pt idx="3815">
                  <c:v>43094</c:v>
                </c:pt>
                <c:pt idx="3816">
                  <c:v>43095</c:v>
                </c:pt>
                <c:pt idx="3817">
                  <c:v>43096</c:v>
                </c:pt>
                <c:pt idx="3818">
                  <c:v>43097</c:v>
                </c:pt>
                <c:pt idx="3819">
                  <c:v>43098</c:v>
                </c:pt>
                <c:pt idx="3820">
                  <c:v>43102</c:v>
                </c:pt>
                <c:pt idx="3821">
                  <c:v>43103</c:v>
                </c:pt>
                <c:pt idx="3822">
                  <c:v>43104</c:v>
                </c:pt>
                <c:pt idx="3823">
                  <c:v>43105</c:v>
                </c:pt>
                <c:pt idx="3824">
                  <c:v>43108</c:v>
                </c:pt>
                <c:pt idx="3825">
                  <c:v>43109</c:v>
                </c:pt>
                <c:pt idx="3826">
                  <c:v>43110</c:v>
                </c:pt>
                <c:pt idx="3827">
                  <c:v>43111</c:v>
                </c:pt>
                <c:pt idx="3828">
                  <c:v>43112</c:v>
                </c:pt>
                <c:pt idx="3829">
                  <c:v>43115</c:v>
                </c:pt>
                <c:pt idx="3830">
                  <c:v>43116</c:v>
                </c:pt>
                <c:pt idx="3831">
                  <c:v>43117</c:v>
                </c:pt>
                <c:pt idx="3832">
                  <c:v>43118</c:v>
                </c:pt>
                <c:pt idx="3833">
                  <c:v>43119</c:v>
                </c:pt>
                <c:pt idx="3834">
                  <c:v>43122</c:v>
                </c:pt>
                <c:pt idx="3835">
                  <c:v>43123</c:v>
                </c:pt>
                <c:pt idx="3836">
                  <c:v>43124</c:v>
                </c:pt>
                <c:pt idx="3837">
                  <c:v>43125</c:v>
                </c:pt>
                <c:pt idx="3838">
                  <c:v>43126</c:v>
                </c:pt>
                <c:pt idx="3839">
                  <c:v>43129</c:v>
                </c:pt>
                <c:pt idx="3840">
                  <c:v>43130</c:v>
                </c:pt>
                <c:pt idx="3841">
                  <c:v>43131</c:v>
                </c:pt>
                <c:pt idx="3842">
                  <c:v>43132</c:v>
                </c:pt>
                <c:pt idx="3843">
                  <c:v>43133</c:v>
                </c:pt>
                <c:pt idx="3844">
                  <c:v>43136</c:v>
                </c:pt>
                <c:pt idx="3845">
                  <c:v>43137</c:v>
                </c:pt>
                <c:pt idx="3846">
                  <c:v>43138</c:v>
                </c:pt>
                <c:pt idx="3847">
                  <c:v>43139</c:v>
                </c:pt>
                <c:pt idx="3848">
                  <c:v>43140</c:v>
                </c:pt>
                <c:pt idx="3849">
                  <c:v>43143</c:v>
                </c:pt>
                <c:pt idx="3850">
                  <c:v>43144</c:v>
                </c:pt>
                <c:pt idx="3851">
                  <c:v>43145</c:v>
                </c:pt>
                <c:pt idx="3852">
                  <c:v>43153</c:v>
                </c:pt>
                <c:pt idx="3853">
                  <c:v>43154</c:v>
                </c:pt>
                <c:pt idx="3854">
                  <c:v>43157</c:v>
                </c:pt>
                <c:pt idx="3855">
                  <c:v>43158</c:v>
                </c:pt>
                <c:pt idx="3856">
                  <c:v>43159</c:v>
                </c:pt>
                <c:pt idx="3857">
                  <c:v>43160</c:v>
                </c:pt>
                <c:pt idx="3858">
                  <c:v>43161</c:v>
                </c:pt>
                <c:pt idx="3859">
                  <c:v>43164</c:v>
                </c:pt>
                <c:pt idx="3860">
                  <c:v>43165</c:v>
                </c:pt>
                <c:pt idx="3861">
                  <c:v>43166</c:v>
                </c:pt>
                <c:pt idx="3862">
                  <c:v>43167</c:v>
                </c:pt>
                <c:pt idx="3863">
                  <c:v>43168</c:v>
                </c:pt>
                <c:pt idx="3864">
                  <c:v>43171</c:v>
                </c:pt>
                <c:pt idx="3865">
                  <c:v>43172</c:v>
                </c:pt>
                <c:pt idx="3866">
                  <c:v>43173</c:v>
                </c:pt>
                <c:pt idx="3867">
                  <c:v>43174</c:v>
                </c:pt>
                <c:pt idx="3868">
                  <c:v>43175</c:v>
                </c:pt>
                <c:pt idx="3869">
                  <c:v>43178</c:v>
                </c:pt>
                <c:pt idx="3870">
                  <c:v>43179</c:v>
                </c:pt>
                <c:pt idx="3871">
                  <c:v>43180</c:v>
                </c:pt>
                <c:pt idx="3872">
                  <c:v>43181</c:v>
                </c:pt>
                <c:pt idx="3873">
                  <c:v>43182</c:v>
                </c:pt>
                <c:pt idx="3874">
                  <c:v>43185</c:v>
                </c:pt>
                <c:pt idx="3875">
                  <c:v>43186</c:v>
                </c:pt>
                <c:pt idx="3876">
                  <c:v>43187</c:v>
                </c:pt>
                <c:pt idx="3877">
                  <c:v>43188</c:v>
                </c:pt>
                <c:pt idx="3878">
                  <c:v>43189</c:v>
                </c:pt>
                <c:pt idx="3879">
                  <c:v>43192</c:v>
                </c:pt>
                <c:pt idx="3880">
                  <c:v>43193</c:v>
                </c:pt>
                <c:pt idx="3881">
                  <c:v>43194</c:v>
                </c:pt>
                <c:pt idx="3882">
                  <c:v>43199</c:v>
                </c:pt>
                <c:pt idx="3883">
                  <c:v>43200</c:v>
                </c:pt>
                <c:pt idx="3884">
                  <c:v>43201</c:v>
                </c:pt>
                <c:pt idx="3885">
                  <c:v>43202</c:v>
                </c:pt>
                <c:pt idx="3886">
                  <c:v>43203</c:v>
                </c:pt>
                <c:pt idx="3887">
                  <c:v>43206</c:v>
                </c:pt>
                <c:pt idx="3888">
                  <c:v>43207</c:v>
                </c:pt>
                <c:pt idx="3889">
                  <c:v>43208</c:v>
                </c:pt>
                <c:pt idx="3890">
                  <c:v>43209</c:v>
                </c:pt>
                <c:pt idx="3891">
                  <c:v>43210</c:v>
                </c:pt>
                <c:pt idx="3892">
                  <c:v>43213</c:v>
                </c:pt>
                <c:pt idx="3893">
                  <c:v>43214</c:v>
                </c:pt>
                <c:pt idx="3894">
                  <c:v>43215</c:v>
                </c:pt>
                <c:pt idx="3895">
                  <c:v>43216</c:v>
                </c:pt>
                <c:pt idx="3896">
                  <c:v>43217</c:v>
                </c:pt>
                <c:pt idx="3897">
                  <c:v>43222</c:v>
                </c:pt>
                <c:pt idx="3898">
                  <c:v>43223</c:v>
                </c:pt>
                <c:pt idx="3899">
                  <c:v>43224</c:v>
                </c:pt>
                <c:pt idx="3900">
                  <c:v>43227</c:v>
                </c:pt>
                <c:pt idx="3901">
                  <c:v>43228</c:v>
                </c:pt>
                <c:pt idx="3902">
                  <c:v>43229</c:v>
                </c:pt>
                <c:pt idx="3903">
                  <c:v>43230</c:v>
                </c:pt>
                <c:pt idx="3904">
                  <c:v>43231</c:v>
                </c:pt>
                <c:pt idx="3905">
                  <c:v>43234</c:v>
                </c:pt>
                <c:pt idx="3906">
                  <c:v>43235</c:v>
                </c:pt>
                <c:pt idx="3907">
                  <c:v>43236</c:v>
                </c:pt>
                <c:pt idx="3908">
                  <c:v>43237</c:v>
                </c:pt>
                <c:pt idx="3909">
                  <c:v>43238</c:v>
                </c:pt>
                <c:pt idx="3910">
                  <c:v>43241</c:v>
                </c:pt>
                <c:pt idx="3911">
                  <c:v>43242</c:v>
                </c:pt>
                <c:pt idx="3912">
                  <c:v>43243</c:v>
                </c:pt>
                <c:pt idx="3913">
                  <c:v>43244</c:v>
                </c:pt>
                <c:pt idx="3914">
                  <c:v>43245</c:v>
                </c:pt>
                <c:pt idx="3915">
                  <c:v>43248</c:v>
                </c:pt>
                <c:pt idx="3916">
                  <c:v>43249</c:v>
                </c:pt>
                <c:pt idx="3917">
                  <c:v>43250</c:v>
                </c:pt>
                <c:pt idx="3918">
                  <c:v>43251</c:v>
                </c:pt>
                <c:pt idx="3919">
                  <c:v>43252</c:v>
                </c:pt>
                <c:pt idx="3920">
                  <c:v>43255</c:v>
                </c:pt>
                <c:pt idx="3921">
                  <c:v>43256</c:v>
                </c:pt>
                <c:pt idx="3922">
                  <c:v>43257</c:v>
                </c:pt>
                <c:pt idx="3923">
                  <c:v>43258</c:v>
                </c:pt>
                <c:pt idx="3924">
                  <c:v>43259</c:v>
                </c:pt>
                <c:pt idx="3925">
                  <c:v>43262</c:v>
                </c:pt>
                <c:pt idx="3926">
                  <c:v>43263</c:v>
                </c:pt>
                <c:pt idx="3927">
                  <c:v>43264</c:v>
                </c:pt>
                <c:pt idx="3928">
                  <c:v>43265</c:v>
                </c:pt>
                <c:pt idx="3929">
                  <c:v>43266</c:v>
                </c:pt>
                <c:pt idx="3930">
                  <c:v>43270</c:v>
                </c:pt>
                <c:pt idx="3931">
                  <c:v>43271</c:v>
                </c:pt>
                <c:pt idx="3932">
                  <c:v>43272</c:v>
                </c:pt>
                <c:pt idx="3933">
                  <c:v>43273</c:v>
                </c:pt>
                <c:pt idx="3934">
                  <c:v>43276</c:v>
                </c:pt>
                <c:pt idx="3935">
                  <c:v>43277</c:v>
                </c:pt>
                <c:pt idx="3936">
                  <c:v>43278</c:v>
                </c:pt>
                <c:pt idx="3937">
                  <c:v>43279</c:v>
                </c:pt>
                <c:pt idx="3938">
                  <c:v>43280</c:v>
                </c:pt>
                <c:pt idx="3939">
                  <c:v>43283</c:v>
                </c:pt>
                <c:pt idx="3940">
                  <c:v>43284</c:v>
                </c:pt>
                <c:pt idx="3941">
                  <c:v>43285</c:v>
                </c:pt>
                <c:pt idx="3942">
                  <c:v>43286</c:v>
                </c:pt>
                <c:pt idx="3943">
                  <c:v>43287</c:v>
                </c:pt>
                <c:pt idx="3944">
                  <c:v>43290</c:v>
                </c:pt>
                <c:pt idx="3945">
                  <c:v>43291</c:v>
                </c:pt>
                <c:pt idx="3946">
                  <c:v>43292</c:v>
                </c:pt>
                <c:pt idx="3947">
                  <c:v>43293</c:v>
                </c:pt>
                <c:pt idx="3948">
                  <c:v>43294</c:v>
                </c:pt>
                <c:pt idx="3949">
                  <c:v>43297</c:v>
                </c:pt>
                <c:pt idx="3950">
                  <c:v>43298</c:v>
                </c:pt>
                <c:pt idx="3951">
                  <c:v>43299</c:v>
                </c:pt>
                <c:pt idx="3952">
                  <c:v>43300</c:v>
                </c:pt>
                <c:pt idx="3953">
                  <c:v>43301</c:v>
                </c:pt>
                <c:pt idx="3954">
                  <c:v>43304</c:v>
                </c:pt>
                <c:pt idx="3955">
                  <c:v>43305</c:v>
                </c:pt>
                <c:pt idx="3956">
                  <c:v>43306</c:v>
                </c:pt>
                <c:pt idx="3957">
                  <c:v>43307</c:v>
                </c:pt>
                <c:pt idx="3958">
                  <c:v>43308</c:v>
                </c:pt>
                <c:pt idx="3959">
                  <c:v>43311</c:v>
                </c:pt>
                <c:pt idx="3960">
                  <c:v>43312</c:v>
                </c:pt>
                <c:pt idx="3961">
                  <c:v>43313</c:v>
                </c:pt>
                <c:pt idx="3962">
                  <c:v>43314</c:v>
                </c:pt>
                <c:pt idx="3963">
                  <c:v>43315</c:v>
                </c:pt>
                <c:pt idx="3964">
                  <c:v>43318</c:v>
                </c:pt>
                <c:pt idx="3965">
                  <c:v>43319</c:v>
                </c:pt>
                <c:pt idx="3966">
                  <c:v>43320</c:v>
                </c:pt>
                <c:pt idx="3967">
                  <c:v>43321</c:v>
                </c:pt>
                <c:pt idx="3968">
                  <c:v>43322</c:v>
                </c:pt>
                <c:pt idx="3969">
                  <c:v>43325</c:v>
                </c:pt>
                <c:pt idx="3970">
                  <c:v>43326</c:v>
                </c:pt>
                <c:pt idx="3971">
                  <c:v>43327</c:v>
                </c:pt>
                <c:pt idx="3972">
                  <c:v>43328</c:v>
                </c:pt>
                <c:pt idx="3973">
                  <c:v>43329</c:v>
                </c:pt>
                <c:pt idx="3974">
                  <c:v>43332</c:v>
                </c:pt>
                <c:pt idx="3975">
                  <c:v>43333</c:v>
                </c:pt>
                <c:pt idx="3976">
                  <c:v>43334</c:v>
                </c:pt>
                <c:pt idx="3977">
                  <c:v>43335</c:v>
                </c:pt>
                <c:pt idx="3978">
                  <c:v>43336</c:v>
                </c:pt>
                <c:pt idx="3979">
                  <c:v>43339</c:v>
                </c:pt>
                <c:pt idx="3980">
                  <c:v>43340</c:v>
                </c:pt>
                <c:pt idx="3981">
                  <c:v>43341</c:v>
                </c:pt>
                <c:pt idx="3982">
                  <c:v>43342</c:v>
                </c:pt>
                <c:pt idx="3983">
                  <c:v>43343</c:v>
                </c:pt>
                <c:pt idx="3984">
                  <c:v>43346</c:v>
                </c:pt>
                <c:pt idx="3985">
                  <c:v>43347</c:v>
                </c:pt>
                <c:pt idx="3986">
                  <c:v>43348</c:v>
                </c:pt>
                <c:pt idx="3987">
                  <c:v>43349</c:v>
                </c:pt>
                <c:pt idx="3988">
                  <c:v>43350</c:v>
                </c:pt>
                <c:pt idx="3989">
                  <c:v>43353</c:v>
                </c:pt>
                <c:pt idx="3990">
                  <c:v>43354</c:v>
                </c:pt>
                <c:pt idx="3991">
                  <c:v>43355</c:v>
                </c:pt>
                <c:pt idx="3992">
                  <c:v>43356</c:v>
                </c:pt>
                <c:pt idx="3993">
                  <c:v>43357</c:v>
                </c:pt>
                <c:pt idx="3994">
                  <c:v>43360</c:v>
                </c:pt>
                <c:pt idx="3995">
                  <c:v>43361</c:v>
                </c:pt>
                <c:pt idx="3996">
                  <c:v>43362</c:v>
                </c:pt>
                <c:pt idx="3997">
                  <c:v>43363</c:v>
                </c:pt>
                <c:pt idx="3998">
                  <c:v>43364</c:v>
                </c:pt>
                <c:pt idx="3999">
                  <c:v>43368</c:v>
                </c:pt>
                <c:pt idx="4000">
                  <c:v>43369</c:v>
                </c:pt>
                <c:pt idx="4001">
                  <c:v>43370</c:v>
                </c:pt>
                <c:pt idx="4002">
                  <c:v>43371</c:v>
                </c:pt>
                <c:pt idx="4003">
                  <c:v>43381</c:v>
                </c:pt>
                <c:pt idx="4004">
                  <c:v>43382</c:v>
                </c:pt>
                <c:pt idx="4005">
                  <c:v>43383</c:v>
                </c:pt>
                <c:pt idx="4006">
                  <c:v>43384</c:v>
                </c:pt>
                <c:pt idx="4007">
                  <c:v>43385</c:v>
                </c:pt>
                <c:pt idx="4008">
                  <c:v>43388</c:v>
                </c:pt>
                <c:pt idx="4009">
                  <c:v>43389</c:v>
                </c:pt>
                <c:pt idx="4010">
                  <c:v>43390</c:v>
                </c:pt>
                <c:pt idx="4011">
                  <c:v>43391</c:v>
                </c:pt>
                <c:pt idx="4012">
                  <c:v>43392</c:v>
                </c:pt>
                <c:pt idx="4013">
                  <c:v>43395</c:v>
                </c:pt>
                <c:pt idx="4014">
                  <c:v>43396</c:v>
                </c:pt>
                <c:pt idx="4015">
                  <c:v>43397</c:v>
                </c:pt>
                <c:pt idx="4016">
                  <c:v>43398</c:v>
                </c:pt>
                <c:pt idx="4017">
                  <c:v>43399</c:v>
                </c:pt>
                <c:pt idx="4018">
                  <c:v>43402</c:v>
                </c:pt>
                <c:pt idx="4019">
                  <c:v>43403</c:v>
                </c:pt>
                <c:pt idx="4020">
                  <c:v>43404</c:v>
                </c:pt>
                <c:pt idx="4021">
                  <c:v>43405</c:v>
                </c:pt>
                <c:pt idx="4022">
                  <c:v>43406</c:v>
                </c:pt>
                <c:pt idx="4023">
                  <c:v>43409</c:v>
                </c:pt>
                <c:pt idx="4024">
                  <c:v>43410</c:v>
                </c:pt>
                <c:pt idx="4025">
                  <c:v>43411</c:v>
                </c:pt>
                <c:pt idx="4026">
                  <c:v>43412</c:v>
                </c:pt>
                <c:pt idx="4027">
                  <c:v>43413</c:v>
                </c:pt>
                <c:pt idx="4028">
                  <c:v>43416</c:v>
                </c:pt>
                <c:pt idx="4029">
                  <c:v>43417</c:v>
                </c:pt>
                <c:pt idx="4030">
                  <c:v>43418</c:v>
                </c:pt>
                <c:pt idx="4031">
                  <c:v>43419</c:v>
                </c:pt>
                <c:pt idx="4032">
                  <c:v>43420</c:v>
                </c:pt>
                <c:pt idx="4033">
                  <c:v>43423</c:v>
                </c:pt>
                <c:pt idx="4034">
                  <c:v>43424</c:v>
                </c:pt>
                <c:pt idx="4035">
                  <c:v>43425</c:v>
                </c:pt>
                <c:pt idx="4036">
                  <c:v>43426</c:v>
                </c:pt>
                <c:pt idx="4037">
                  <c:v>43427</c:v>
                </c:pt>
                <c:pt idx="4038">
                  <c:v>43430</c:v>
                </c:pt>
                <c:pt idx="4039">
                  <c:v>43431</c:v>
                </c:pt>
                <c:pt idx="4040">
                  <c:v>43432</c:v>
                </c:pt>
                <c:pt idx="4041">
                  <c:v>43433</c:v>
                </c:pt>
                <c:pt idx="4042">
                  <c:v>43434</c:v>
                </c:pt>
                <c:pt idx="4043">
                  <c:v>43437</c:v>
                </c:pt>
                <c:pt idx="4044">
                  <c:v>43438</c:v>
                </c:pt>
                <c:pt idx="4045">
                  <c:v>43439</c:v>
                </c:pt>
                <c:pt idx="4046">
                  <c:v>43440</c:v>
                </c:pt>
                <c:pt idx="4047">
                  <c:v>43441</c:v>
                </c:pt>
                <c:pt idx="4048">
                  <c:v>43444</c:v>
                </c:pt>
                <c:pt idx="4049">
                  <c:v>43445</c:v>
                </c:pt>
                <c:pt idx="4050">
                  <c:v>43446</c:v>
                </c:pt>
                <c:pt idx="4051">
                  <c:v>43447</c:v>
                </c:pt>
                <c:pt idx="4052">
                  <c:v>43448</c:v>
                </c:pt>
                <c:pt idx="4053">
                  <c:v>43451</c:v>
                </c:pt>
                <c:pt idx="4054">
                  <c:v>43452</c:v>
                </c:pt>
                <c:pt idx="4055">
                  <c:v>43453</c:v>
                </c:pt>
                <c:pt idx="4056">
                  <c:v>43454</c:v>
                </c:pt>
                <c:pt idx="4057">
                  <c:v>43455</c:v>
                </c:pt>
                <c:pt idx="4058">
                  <c:v>43458</c:v>
                </c:pt>
                <c:pt idx="4059">
                  <c:v>43459</c:v>
                </c:pt>
                <c:pt idx="4060">
                  <c:v>43460</c:v>
                </c:pt>
                <c:pt idx="4061">
                  <c:v>43461</c:v>
                </c:pt>
                <c:pt idx="4062">
                  <c:v>43462</c:v>
                </c:pt>
                <c:pt idx="4063">
                  <c:v>43467</c:v>
                </c:pt>
                <c:pt idx="4064">
                  <c:v>43468</c:v>
                </c:pt>
                <c:pt idx="4065">
                  <c:v>43469</c:v>
                </c:pt>
                <c:pt idx="4066">
                  <c:v>43472</c:v>
                </c:pt>
                <c:pt idx="4067">
                  <c:v>43473</c:v>
                </c:pt>
                <c:pt idx="4068">
                  <c:v>43474</c:v>
                </c:pt>
                <c:pt idx="4069">
                  <c:v>43475</c:v>
                </c:pt>
                <c:pt idx="4070">
                  <c:v>43476</c:v>
                </c:pt>
                <c:pt idx="4071">
                  <c:v>43479</c:v>
                </c:pt>
                <c:pt idx="4072">
                  <c:v>43480</c:v>
                </c:pt>
                <c:pt idx="4073">
                  <c:v>43481</c:v>
                </c:pt>
                <c:pt idx="4074">
                  <c:v>43482</c:v>
                </c:pt>
                <c:pt idx="4075">
                  <c:v>43483</c:v>
                </c:pt>
                <c:pt idx="4076">
                  <c:v>43486</c:v>
                </c:pt>
                <c:pt idx="4077">
                  <c:v>43487</c:v>
                </c:pt>
                <c:pt idx="4078">
                  <c:v>43488</c:v>
                </c:pt>
                <c:pt idx="4079">
                  <c:v>43489</c:v>
                </c:pt>
                <c:pt idx="4080">
                  <c:v>43490</c:v>
                </c:pt>
                <c:pt idx="4081">
                  <c:v>43493</c:v>
                </c:pt>
                <c:pt idx="4082">
                  <c:v>43494</c:v>
                </c:pt>
                <c:pt idx="4083">
                  <c:v>43495</c:v>
                </c:pt>
                <c:pt idx="4084">
                  <c:v>43496</c:v>
                </c:pt>
                <c:pt idx="4085">
                  <c:v>43497</c:v>
                </c:pt>
                <c:pt idx="4086">
                  <c:v>43507</c:v>
                </c:pt>
                <c:pt idx="4087">
                  <c:v>43508</c:v>
                </c:pt>
                <c:pt idx="4088">
                  <c:v>43509</c:v>
                </c:pt>
                <c:pt idx="4089">
                  <c:v>43510</c:v>
                </c:pt>
                <c:pt idx="4090">
                  <c:v>43511</c:v>
                </c:pt>
                <c:pt idx="4091">
                  <c:v>43514</c:v>
                </c:pt>
                <c:pt idx="4092">
                  <c:v>43515</c:v>
                </c:pt>
                <c:pt idx="4093">
                  <c:v>43516</c:v>
                </c:pt>
                <c:pt idx="4094">
                  <c:v>43517</c:v>
                </c:pt>
                <c:pt idx="4095">
                  <c:v>43518</c:v>
                </c:pt>
                <c:pt idx="4096">
                  <c:v>43521</c:v>
                </c:pt>
                <c:pt idx="4097">
                  <c:v>43522</c:v>
                </c:pt>
                <c:pt idx="4098">
                  <c:v>43523</c:v>
                </c:pt>
                <c:pt idx="4099">
                  <c:v>43524</c:v>
                </c:pt>
                <c:pt idx="4100">
                  <c:v>43525</c:v>
                </c:pt>
                <c:pt idx="4101">
                  <c:v>43528</c:v>
                </c:pt>
                <c:pt idx="4102">
                  <c:v>43529</c:v>
                </c:pt>
                <c:pt idx="4103">
                  <c:v>43530</c:v>
                </c:pt>
                <c:pt idx="4104">
                  <c:v>43531</c:v>
                </c:pt>
                <c:pt idx="4105">
                  <c:v>43532</c:v>
                </c:pt>
                <c:pt idx="4106">
                  <c:v>43535</c:v>
                </c:pt>
                <c:pt idx="4107">
                  <c:v>43536</c:v>
                </c:pt>
                <c:pt idx="4108">
                  <c:v>43537</c:v>
                </c:pt>
                <c:pt idx="4109">
                  <c:v>43538</c:v>
                </c:pt>
                <c:pt idx="4110">
                  <c:v>43539</c:v>
                </c:pt>
                <c:pt idx="4111">
                  <c:v>43542</c:v>
                </c:pt>
                <c:pt idx="4112">
                  <c:v>43543</c:v>
                </c:pt>
                <c:pt idx="4113">
                  <c:v>43544</c:v>
                </c:pt>
                <c:pt idx="4114">
                  <c:v>43545</c:v>
                </c:pt>
                <c:pt idx="4115">
                  <c:v>43546</c:v>
                </c:pt>
                <c:pt idx="4116">
                  <c:v>43549</c:v>
                </c:pt>
                <c:pt idx="4117">
                  <c:v>43550</c:v>
                </c:pt>
                <c:pt idx="4118">
                  <c:v>43551</c:v>
                </c:pt>
                <c:pt idx="4119">
                  <c:v>43552</c:v>
                </c:pt>
                <c:pt idx="4120">
                  <c:v>43553</c:v>
                </c:pt>
                <c:pt idx="4121">
                  <c:v>43556</c:v>
                </c:pt>
                <c:pt idx="4122">
                  <c:v>43557</c:v>
                </c:pt>
                <c:pt idx="4123">
                  <c:v>43558</c:v>
                </c:pt>
                <c:pt idx="4124">
                  <c:v>43559</c:v>
                </c:pt>
                <c:pt idx="4125">
                  <c:v>43563</c:v>
                </c:pt>
                <c:pt idx="4126">
                  <c:v>43564</c:v>
                </c:pt>
                <c:pt idx="4127">
                  <c:v>43565</c:v>
                </c:pt>
                <c:pt idx="4128">
                  <c:v>43566</c:v>
                </c:pt>
                <c:pt idx="4129">
                  <c:v>43567</c:v>
                </c:pt>
                <c:pt idx="4130">
                  <c:v>43570</c:v>
                </c:pt>
                <c:pt idx="4131">
                  <c:v>43571</c:v>
                </c:pt>
                <c:pt idx="4132">
                  <c:v>43572</c:v>
                </c:pt>
                <c:pt idx="4133">
                  <c:v>43573</c:v>
                </c:pt>
                <c:pt idx="4134">
                  <c:v>43574</c:v>
                </c:pt>
                <c:pt idx="4135">
                  <c:v>43577</c:v>
                </c:pt>
                <c:pt idx="4136">
                  <c:v>43578</c:v>
                </c:pt>
                <c:pt idx="4137">
                  <c:v>43579</c:v>
                </c:pt>
                <c:pt idx="4138">
                  <c:v>43580</c:v>
                </c:pt>
                <c:pt idx="4139">
                  <c:v>43581</c:v>
                </c:pt>
                <c:pt idx="4140">
                  <c:v>43584</c:v>
                </c:pt>
                <c:pt idx="4141">
                  <c:v>43585</c:v>
                </c:pt>
                <c:pt idx="4142">
                  <c:v>43591</c:v>
                </c:pt>
                <c:pt idx="4143">
                  <c:v>43592</c:v>
                </c:pt>
                <c:pt idx="4144">
                  <c:v>43593</c:v>
                </c:pt>
                <c:pt idx="4145">
                  <c:v>43594</c:v>
                </c:pt>
                <c:pt idx="4146">
                  <c:v>43595</c:v>
                </c:pt>
                <c:pt idx="4147">
                  <c:v>43598</c:v>
                </c:pt>
                <c:pt idx="4148">
                  <c:v>43599</c:v>
                </c:pt>
                <c:pt idx="4149">
                  <c:v>43600</c:v>
                </c:pt>
                <c:pt idx="4150">
                  <c:v>43601</c:v>
                </c:pt>
                <c:pt idx="4151">
                  <c:v>43602</c:v>
                </c:pt>
                <c:pt idx="4152">
                  <c:v>43605</c:v>
                </c:pt>
                <c:pt idx="4153">
                  <c:v>43606</c:v>
                </c:pt>
                <c:pt idx="4154">
                  <c:v>43607</c:v>
                </c:pt>
                <c:pt idx="4155">
                  <c:v>43608</c:v>
                </c:pt>
                <c:pt idx="4156">
                  <c:v>43609</c:v>
                </c:pt>
                <c:pt idx="4157">
                  <c:v>43612</c:v>
                </c:pt>
                <c:pt idx="4158">
                  <c:v>43613</c:v>
                </c:pt>
                <c:pt idx="4159">
                  <c:v>43614</c:v>
                </c:pt>
                <c:pt idx="4160">
                  <c:v>43615</c:v>
                </c:pt>
                <c:pt idx="4161">
                  <c:v>43616</c:v>
                </c:pt>
                <c:pt idx="4162">
                  <c:v>43619</c:v>
                </c:pt>
                <c:pt idx="4163">
                  <c:v>43620</c:v>
                </c:pt>
                <c:pt idx="4164">
                  <c:v>43621</c:v>
                </c:pt>
                <c:pt idx="4165">
                  <c:v>43622</c:v>
                </c:pt>
                <c:pt idx="4166">
                  <c:v>43626</c:v>
                </c:pt>
                <c:pt idx="4167">
                  <c:v>43627</c:v>
                </c:pt>
                <c:pt idx="4168">
                  <c:v>43628</c:v>
                </c:pt>
                <c:pt idx="4169">
                  <c:v>43629</c:v>
                </c:pt>
                <c:pt idx="4170">
                  <c:v>43630</c:v>
                </c:pt>
                <c:pt idx="4171">
                  <c:v>43633</c:v>
                </c:pt>
                <c:pt idx="4172">
                  <c:v>43634</c:v>
                </c:pt>
                <c:pt idx="4173">
                  <c:v>43635</c:v>
                </c:pt>
                <c:pt idx="4174">
                  <c:v>43636</c:v>
                </c:pt>
                <c:pt idx="4175">
                  <c:v>43637</c:v>
                </c:pt>
                <c:pt idx="4176">
                  <c:v>43640</c:v>
                </c:pt>
                <c:pt idx="4177">
                  <c:v>43641</c:v>
                </c:pt>
                <c:pt idx="4178">
                  <c:v>43642</c:v>
                </c:pt>
                <c:pt idx="4179">
                  <c:v>43643</c:v>
                </c:pt>
                <c:pt idx="4180">
                  <c:v>43644</c:v>
                </c:pt>
                <c:pt idx="4181">
                  <c:v>43647</c:v>
                </c:pt>
                <c:pt idx="4182">
                  <c:v>43648</c:v>
                </c:pt>
                <c:pt idx="4183">
                  <c:v>43649</c:v>
                </c:pt>
                <c:pt idx="4184">
                  <c:v>43650</c:v>
                </c:pt>
                <c:pt idx="4185">
                  <c:v>43651</c:v>
                </c:pt>
                <c:pt idx="4186">
                  <c:v>43654</c:v>
                </c:pt>
                <c:pt idx="4187">
                  <c:v>43655</c:v>
                </c:pt>
                <c:pt idx="4188">
                  <c:v>43656</c:v>
                </c:pt>
                <c:pt idx="4189">
                  <c:v>43657</c:v>
                </c:pt>
                <c:pt idx="4190">
                  <c:v>43658</c:v>
                </c:pt>
                <c:pt idx="4191">
                  <c:v>43661</c:v>
                </c:pt>
                <c:pt idx="4192">
                  <c:v>43662</c:v>
                </c:pt>
                <c:pt idx="4193">
                  <c:v>43663</c:v>
                </c:pt>
                <c:pt idx="4194">
                  <c:v>43664</c:v>
                </c:pt>
                <c:pt idx="4195">
                  <c:v>43665</c:v>
                </c:pt>
                <c:pt idx="4196">
                  <c:v>43668</c:v>
                </c:pt>
                <c:pt idx="4197">
                  <c:v>43669</c:v>
                </c:pt>
                <c:pt idx="4198">
                  <c:v>43670</c:v>
                </c:pt>
                <c:pt idx="4199">
                  <c:v>43671</c:v>
                </c:pt>
                <c:pt idx="4200">
                  <c:v>43672</c:v>
                </c:pt>
                <c:pt idx="4201">
                  <c:v>43675</c:v>
                </c:pt>
                <c:pt idx="4202">
                  <c:v>43676</c:v>
                </c:pt>
                <c:pt idx="4203">
                  <c:v>43677</c:v>
                </c:pt>
                <c:pt idx="4204">
                  <c:v>43678</c:v>
                </c:pt>
                <c:pt idx="4205">
                  <c:v>43679</c:v>
                </c:pt>
                <c:pt idx="4206">
                  <c:v>43682</c:v>
                </c:pt>
                <c:pt idx="4207">
                  <c:v>43683</c:v>
                </c:pt>
                <c:pt idx="4208">
                  <c:v>43684</c:v>
                </c:pt>
                <c:pt idx="4209">
                  <c:v>43685</c:v>
                </c:pt>
                <c:pt idx="4210">
                  <c:v>43686</c:v>
                </c:pt>
                <c:pt idx="4211">
                  <c:v>43689</c:v>
                </c:pt>
                <c:pt idx="4212">
                  <c:v>43690</c:v>
                </c:pt>
                <c:pt idx="4213">
                  <c:v>43691</c:v>
                </c:pt>
                <c:pt idx="4214">
                  <c:v>43692</c:v>
                </c:pt>
                <c:pt idx="4215">
                  <c:v>43693</c:v>
                </c:pt>
                <c:pt idx="4216">
                  <c:v>43696</c:v>
                </c:pt>
                <c:pt idx="4217">
                  <c:v>43697</c:v>
                </c:pt>
                <c:pt idx="4218">
                  <c:v>43698</c:v>
                </c:pt>
                <c:pt idx="4219">
                  <c:v>43699</c:v>
                </c:pt>
                <c:pt idx="4220">
                  <c:v>43700</c:v>
                </c:pt>
                <c:pt idx="4221">
                  <c:v>43703</c:v>
                </c:pt>
                <c:pt idx="4222">
                  <c:v>43704</c:v>
                </c:pt>
                <c:pt idx="4223">
                  <c:v>43705</c:v>
                </c:pt>
                <c:pt idx="4224">
                  <c:v>43706</c:v>
                </c:pt>
                <c:pt idx="4225">
                  <c:v>43707</c:v>
                </c:pt>
                <c:pt idx="4226">
                  <c:v>43710</c:v>
                </c:pt>
                <c:pt idx="4227">
                  <c:v>43711</c:v>
                </c:pt>
                <c:pt idx="4228">
                  <c:v>43712</c:v>
                </c:pt>
                <c:pt idx="4229">
                  <c:v>43713</c:v>
                </c:pt>
                <c:pt idx="4230">
                  <c:v>43714</c:v>
                </c:pt>
                <c:pt idx="4231">
                  <c:v>43717</c:v>
                </c:pt>
                <c:pt idx="4232">
                  <c:v>43718</c:v>
                </c:pt>
                <c:pt idx="4233">
                  <c:v>43719</c:v>
                </c:pt>
                <c:pt idx="4234">
                  <c:v>43720</c:v>
                </c:pt>
                <c:pt idx="4235">
                  <c:v>43724</c:v>
                </c:pt>
                <c:pt idx="4236">
                  <c:v>43725</c:v>
                </c:pt>
                <c:pt idx="4237">
                  <c:v>43726</c:v>
                </c:pt>
                <c:pt idx="4238">
                  <c:v>43727</c:v>
                </c:pt>
                <c:pt idx="4239">
                  <c:v>43728</c:v>
                </c:pt>
                <c:pt idx="4240">
                  <c:v>43731</c:v>
                </c:pt>
                <c:pt idx="4241">
                  <c:v>43732</c:v>
                </c:pt>
                <c:pt idx="4242">
                  <c:v>43733</c:v>
                </c:pt>
                <c:pt idx="4243">
                  <c:v>43734</c:v>
                </c:pt>
                <c:pt idx="4244">
                  <c:v>43735</c:v>
                </c:pt>
                <c:pt idx="4245">
                  <c:v>43738</c:v>
                </c:pt>
                <c:pt idx="4246">
                  <c:v>43746</c:v>
                </c:pt>
                <c:pt idx="4247">
                  <c:v>43747</c:v>
                </c:pt>
                <c:pt idx="4248">
                  <c:v>43748</c:v>
                </c:pt>
                <c:pt idx="4249">
                  <c:v>43749</c:v>
                </c:pt>
                <c:pt idx="4250">
                  <c:v>43752</c:v>
                </c:pt>
                <c:pt idx="4251">
                  <c:v>43753</c:v>
                </c:pt>
                <c:pt idx="4252">
                  <c:v>43754</c:v>
                </c:pt>
                <c:pt idx="4253">
                  <c:v>43755</c:v>
                </c:pt>
                <c:pt idx="4254">
                  <c:v>43756</c:v>
                </c:pt>
                <c:pt idx="4255">
                  <c:v>43759</c:v>
                </c:pt>
                <c:pt idx="4256">
                  <c:v>43760</c:v>
                </c:pt>
                <c:pt idx="4257">
                  <c:v>43761</c:v>
                </c:pt>
                <c:pt idx="4258">
                  <c:v>43762</c:v>
                </c:pt>
                <c:pt idx="4259">
                  <c:v>43763</c:v>
                </c:pt>
                <c:pt idx="4260">
                  <c:v>43766</c:v>
                </c:pt>
                <c:pt idx="4261">
                  <c:v>43767</c:v>
                </c:pt>
                <c:pt idx="4262">
                  <c:v>43768</c:v>
                </c:pt>
                <c:pt idx="4263">
                  <c:v>43769</c:v>
                </c:pt>
                <c:pt idx="4264">
                  <c:v>43770</c:v>
                </c:pt>
                <c:pt idx="4265">
                  <c:v>43773</c:v>
                </c:pt>
                <c:pt idx="4266">
                  <c:v>43774</c:v>
                </c:pt>
                <c:pt idx="4267">
                  <c:v>43775</c:v>
                </c:pt>
                <c:pt idx="4268">
                  <c:v>43776</c:v>
                </c:pt>
                <c:pt idx="4269">
                  <c:v>43777</c:v>
                </c:pt>
                <c:pt idx="4270">
                  <c:v>43780</c:v>
                </c:pt>
                <c:pt idx="4271">
                  <c:v>43781</c:v>
                </c:pt>
                <c:pt idx="4272">
                  <c:v>43782</c:v>
                </c:pt>
                <c:pt idx="4273">
                  <c:v>43783</c:v>
                </c:pt>
                <c:pt idx="4274">
                  <c:v>43784</c:v>
                </c:pt>
                <c:pt idx="4275">
                  <c:v>43787</c:v>
                </c:pt>
                <c:pt idx="4276">
                  <c:v>43788</c:v>
                </c:pt>
                <c:pt idx="4277">
                  <c:v>43789</c:v>
                </c:pt>
                <c:pt idx="4278">
                  <c:v>43790</c:v>
                </c:pt>
                <c:pt idx="4279">
                  <c:v>43791</c:v>
                </c:pt>
                <c:pt idx="4280">
                  <c:v>43794</c:v>
                </c:pt>
                <c:pt idx="4281">
                  <c:v>43795</c:v>
                </c:pt>
                <c:pt idx="4282">
                  <c:v>43796</c:v>
                </c:pt>
                <c:pt idx="4283">
                  <c:v>43797</c:v>
                </c:pt>
                <c:pt idx="4284">
                  <c:v>43798</c:v>
                </c:pt>
                <c:pt idx="4285">
                  <c:v>43801</c:v>
                </c:pt>
                <c:pt idx="4286">
                  <c:v>43802</c:v>
                </c:pt>
                <c:pt idx="4287">
                  <c:v>43803</c:v>
                </c:pt>
                <c:pt idx="4288">
                  <c:v>43804</c:v>
                </c:pt>
                <c:pt idx="4289">
                  <c:v>43805</c:v>
                </c:pt>
                <c:pt idx="4290">
                  <c:v>43808</c:v>
                </c:pt>
                <c:pt idx="4291">
                  <c:v>43809</c:v>
                </c:pt>
                <c:pt idx="4292">
                  <c:v>43810</c:v>
                </c:pt>
                <c:pt idx="4293">
                  <c:v>43811</c:v>
                </c:pt>
                <c:pt idx="4294">
                  <c:v>43812</c:v>
                </c:pt>
                <c:pt idx="4295">
                  <c:v>43815</c:v>
                </c:pt>
                <c:pt idx="4296">
                  <c:v>43816</c:v>
                </c:pt>
                <c:pt idx="4297">
                  <c:v>43817</c:v>
                </c:pt>
                <c:pt idx="4298">
                  <c:v>43818</c:v>
                </c:pt>
                <c:pt idx="4299">
                  <c:v>43819</c:v>
                </c:pt>
                <c:pt idx="4300">
                  <c:v>43822</c:v>
                </c:pt>
                <c:pt idx="4301">
                  <c:v>43823</c:v>
                </c:pt>
                <c:pt idx="4302">
                  <c:v>43824</c:v>
                </c:pt>
                <c:pt idx="4303">
                  <c:v>43825</c:v>
                </c:pt>
                <c:pt idx="4304">
                  <c:v>43826</c:v>
                </c:pt>
                <c:pt idx="4305">
                  <c:v>43829</c:v>
                </c:pt>
                <c:pt idx="4306">
                  <c:v>43830</c:v>
                </c:pt>
                <c:pt idx="4307">
                  <c:v>43832</c:v>
                </c:pt>
                <c:pt idx="4308">
                  <c:v>43833</c:v>
                </c:pt>
                <c:pt idx="4309">
                  <c:v>43836</c:v>
                </c:pt>
                <c:pt idx="4310">
                  <c:v>43837</c:v>
                </c:pt>
                <c:pt idx="4311">
                  <c:v>43838</c:v>
                </c:pt>
                <c:pt idx="4312">
                  <c:v>43839</c:v>
                </c:pt>
                <c:pt idx="4313">
                  <c:v>43840</c:v>
                </c:pt>
                <c:pt idx="4314">
                  <c:v>43843</c:v>
                </c:pt>
                <c:pt idx="4315">
                  <c:v>43844</c:v>
                </c:pt>
                <c:pt idx="4316">
                  <c:v>43845</c:v>
                </c:pt>
                <c:pt idx="4317">
                  <c:v>43846</c:v>
                </c:pt>
                <c:pt idx="4318">
                  <c:v>43847</c:v>
                </c:pt>
                <c:pt idx="4319">
                  <c:v>43850</c:v>
                </c:pt>
                <c:pt idx="4320">
                  <c:v>43851</c:v>
                </c:pt>
                <c:pt idx="4321">
                  <c:v>43852</c:v>
                </c:pt>
                <c:pt idx="4322">
                  <c:v>43853</c:v>
                </c:pt>
                <c:pt idx="4323">
                  <c:v>43864</c:v>
                </c:pt>
                <c:pt idx="4324">
                  <c:v>43865</c:v>
                </c:pt>
                <c:pt idx="4325">
                  <c:v>43866</c:v>
                </c:pt>
                <c:pt idx="4326">
                  <c:v>43867</c:v>
                </c:pt>
                <c:pt idx="4327">
                  <c:v>43868</c:v>
                </c:pt>
                <c:pt idx="4328">
                  <c:v>43871</c:v>
                </c:pt>
                <c:pt idx="4329">
                  <c:v>43872</c:v>
                </c:pt>
                <c:pt idx="4330">
                  <c:v>43873</c:v>
                </c:pt>
                <c:pt idx="4331">
                  <c:v>43874</c:v>
                </c:pt>
                <c:pt idx="4332">
                  <c:v>43875</c:v>
                </c:pt>
                <c:pt idx="4333">
                  <c:v>43878</c:v>
                </c:pt>
                <c:pt idx="4334">
                  <c:v>43879</c:v>
                </c:pt>
                <c:pt idx="4335">
                  <c:v>43880</c:v>
                </c:pt>
                <c:pt idx="4336">
                  <c:v>43881</c:v>
                </c:pt>
                <c:pt idx="4337">
                  <c:v>43882</c:v>
                </c:pt>
                <c:pt idx="4338">
                  <c:v>43885</c:v>
                </c:pt>
                <c:pt idx="4339">
                  <c:v>43886</c:v>
                </c:pt>
                <c:pt idx="4340">
                  <c:v>43887</c:v>
                </c:pt>
                <c:pt idx="4341">
                  <c:v>43888</c:v>
                </c:pt>
                <c:pt idx="4342">
                  <c:v>43889</c:v>
                </c:pt>
                <c:pt idx="4343">
                  <c:v>43892</c:v>
                </c:pt>
                <c:pt idx="4344">
                  <c:v>43893</c:v>
                </c:pt>
                <c:pt idx="4345">
                  <c:v>43894</c:v>
                </c:pt>
                <c:pt idx="4346">
                  <c:v>43895</c:v>
                </c:pt>
                <c:pt idx="4347">
                  <c:v>43896</c:v>
                </c:pt>
                <c:pt idx="4348">
                  <c:v>43899</c:v>
                </c:pt>
                <c:pt idx="4349">
                  <c:v>43900</c:v>
                </c:pt>
                <c:pt idx="4350">
                  <c:v>43901</c:v>
                </c:pt>
                <c:pt idx="4351">
                  <c:v>43902</c:v>
                </c:pt>
                <c:pt idx="4352">
                  <c:v>43903</c:v>
                </c:pt>
                <c:pt idx="4353">
                  <c:v>43906</c:v>
                </c:pt>
                <c:pt idx="4354">
                  <c:v>43907</c:v>
                </c:pt>
                <c:pt idx="4355">
                  <c:v>43908</c:v>
                </c:pt>
                <c:pt idx="4356">
                  <c:v>43909</c:v>
                </c:pt>
                <c:pt idx="4357">
                  <c:v>43910</c:v>
                </c:pt>
                <c:pt idx="4358">
                  <c:v>43913</c:v>
                </c:pt>
                <c:pt idx="4359">
                  <c:v>43914</c:v>
                </c:pt>
                <c:pt idx="4360">
                  <c:v>43915</c:v>
                </c:pt>
                <c:pt idx="4361">
                  <c:v>43916</c:v>
                </c:pt>
                <c:pt idx="4362">
                  <c:v>43917</c:v>
                </c:pt>
                <c:pt idx="4363">
                  <c:v>43920</c:v>
                </c:pt>
                <c:pt idx="4364">
                  <c:v>43921</c:v>
                </c:pt>
                <c:pt idx="4365">
                  <c:v>43922</c:v>
                </c:pt>
                <c:pt idx="4366">
                  <c:v>43923</c:v>
                </c:pt>
                <c:pt idx="4367">
                  <c:v>43924</c:v>
                </c:pt>
                <c:pt idx="4368">
                  <c:v>43928</c:v>
                </c:pt>
                <c:pt idx="4369">
                  <c:v>43929</c:v>
                </c:pt>
                <c:pt idx="4370">
                  <c:v>43930</c:v>
                </c:pt>
                <c:pt idx="4371">
                  <c:v>43931</c:v>
                </c:pt>
                <c:pt idx="4372">
                  <c:v>43934</c:v>
                </c:pt>
                <c:pt idx="4373">
                  <c:v>43935</c:v>
                </c:pt>
                <c:pt idx="4374">
                  <c:v>43936</c:v>
                </c:pt>
                <c:pt idx="4375">
                  <c:v>43937</c:v>
                </c:pt>
                <c:pt idx="4376">
                  <c:v>43938</c:v>
                </c:pt>
                <c:pt idx="4377">
                  <c:v>43941</c:v>
                </c:pt>
                <c:pt idx="4378">
                  <c:v>43942</c:v>
                </c:pt>
                <c:pt idx="4379">
                  <c:v>43943</c:v>
                </c:pt>
                <c:pt idx="4380">
                  <c:v>43944</c:v>
                </c:pt>
                <c:pt idx="4381">
                  <c:v>43945</c:v>
                </c:pt>
                <c:pt idx="4382">
                  <c:v>43948</c:v>
                </c:pt>
                <c:pt idx="4383">
                  <c:v>43949</c:v>
                </c:pt>
                <c:pt idx="4384">
                  <c:v>43950</c:v>
                </c:pt>
                <c:pt idx="4385">
                  <c:v>43951</c:v>
                </c:pt>
                <c:pt idx="4386">
                  <c:v>43957</c:v>
                </c:pt>
                <c:pt idx="4387">
                  <c:v>43958</c:v>
                </c:pt>
                <c:pt idx="4388">
                  <c:v>43959</c:v>
                </c:pt>
                <c:pt idx="4389">
                  <c:v>43962</c:v>
                </c:pt>
                <c:pt idx="4390">
                  <c:v>43963</c:v>
                </c:pt>
                <c:pt idx="4391">
                  <c:v>43964</c:v>
                </c:pt>
                <c:pt idx="4392">
                  <c:v>43965</c:v>
                </c:pt>
                <c:pt idx="4393">
                  <c:v>43966</c:v>
                </c:pt>
                <c:pt idx="4394">
                  <c:v>43969</c:v>
                </c:pt>
                <c:pt idx="4395">
                  <c:v>43970</c:v>
                </c:pt>
                <c:pt idx="4396">
                  <c:v>43971</c:v>
                </c:pt>
                <c:pt idx="4397">
                  <c:v>43972</c:v>
                </c:pt>
                <c:pt idx="4398">
                  <c:v>43973</c:v>
                </c:pt>
                <c:pt idx="4399">
                  <c:v>43976</c:v>
                </c:pt>
                <c:pt idx="4400">
                  <c:v>43977</c:v>
                </c:pt>
                <c:pt idx="4401">
                  <c:v>43978</c:v>
                </c:pt>
                <c:pt idx="4402">
                  <c:v>43979</c:v>
                </c:pt>
                <c:pt idx="4403">
                  <c:v>43980</c:v>
                </c:pt>
                <c:pt idx="4404">
                  <c:v>43983</c:v>
                </c:pt>
                <c:pt idx="4405">
                  <c:v>43984</c:v>
                </c:pt>
                <c:pt idx="4406">
                  <c:v>43985</c:v>
                </c:pt>
                <c:pt idx="4407">
                  <c:v>43986</c:v>
                </c:pt>
                <c:pt idx="4408">
                  <c:v>43987</c:v>
                </c:pt>
                <c:pt idx="4409">
                  <c:v>43990</c:v>
                </c:pt>
                <c:pt idx="4410">
                  <c:v>43991</c:v>
                </c:pt>
                <c:pt idx="4411">
                  <c:v>43992</c:v>
                </c:pt>
                <c:pt idx="4412">
                  <c:v>43993</c:v>
                </c:pt>
                <c:pt idx="4413">
                  <c:v>43994</c:v>
                </c:pt>
                <c:pt idx="4414">
                  <c:v>43997</c:v>
                </c:pt>
                <c:pt idx="4415">
                  <c:v>43998</c:v>
                </c:pt>
                <c:pt idx="4416">
                  <c:v>43999</c:v>
                </c:pt>
                <c:pt idx="4417">
                  <c:v>44000</c:v>
                </c:pt>
                <c:pt idx="4418">
                  <c:v>44001</c:v>
                </c:pt>
                <c:pt idx="4419">
                  <c:v>44004</c:v>
                </c:pt>
                <c:pt idx="4420">
                  <c:v>44005</c:v>
                </c:pt>
                <c:pt idx="4421">
                  <c:v>44006</c:v>
                </c:pt>
                <c:pt idx="4422">
                  <c:v>44011</c:v>
                </c:pt>
                <c:pt idx="4423">
                  <c:v>44012</c:v>
                </c:pt>
                <c:pt idx="4424">
                  <c:v>44013</c:v>
                </c:pt>
                <c:pt idx="4425">
                  <c:v>44014</c:v>
                </c:pt>
                <c:pt idx="4426">
                  <c:v>44015</c:v>
                </c:pt>
                <c:pt idx="4427">
                  <c:v>44018</c:v>
                </c:pt>
                <c:pt idx="4428">
                  <c:v>44019</c:v>
                </c:pt>
                <c:pt idx="4429">
                  <c:v>44020</c:v>
                </c:pt>
                <c:pt idx="4430">
                  <c:v>44021</c:v>
                </c:pt>
                <c:pt idx="4431">
                  <c:v>44022</c:v>
                </c:pt>
                <c:pt idx="4432">
                  <c:v>44025</c:v>
                </c:pt>
                <c:pt idx="4433">
                  <c:v>44026</c:v>
                </c:pt>
                <c:pt idx="4434">
                  <c:v>44027</c:v>
                </c:pt>
                <c:pt idx="4435">
                  <c:v>44028</c:v>
                </c:pt>
                <c:pt idx="4436">
                  <c:v>44029</c:v>
                </c:pt>
                <c:pt idx="4437">
                  <c:v>44032</c:v>
                </c:pt>
                <c:pt idx="4438">
                  <c:v>44033</c:v>
                </c:pt>
                <c:pt idx="4439">
                  <c:v>44034</c:v>
                </c:pt>
                <c:pt idx="4440">
                  <c:v>44035</c:v>
                </c:pt>
                <c:pt idx="4441">
                  <c:v>44036</c:v>
                </c:pt>
                <c:pt idx="4442">
                  <c:v>44039</c:v>
                </c:pt>
                <c:pt idx="4443">
                  <c:v>44040</c:v>
                </c:pt>
                <c:pt idx="4444">
                  <c:v>44041</c:v>
                </c:pt>
                <c:pt idx="4445">
                  <c:v>44042</c:v>
                </c:pt>
                <c:pt idx="4446">
                  <c:v>44043</c:v>
                </c:pt>
                <c:pt idx="4447">
                  <c:v>44046</c:v>
                </c:pt>
                <c:pt idx="4448">
                  <c:v>44047</c:v>
                </c:pt>
                <c:pt idx="4449">
                  <c:v>44048</c:v>
                </c:pt>
                <c:pt idx="4450">
                  <c:v>44049</c:v>
                </c:pt>
                <c:pt idx="4451">
                  <c:v>44050</c:v>
                </c:pt>
                <c:pt idx="4452">
                  <c:v>44053</c:v>
                </c:pt>
                <c:pt idx="4453">
                  <c:v>44054</c:v>
                </c:pt>
                <c:pt idx="4454">
                  <c:v>44055</c:v>
                </c:pt>
                <c:pt idx="4455">
                  <c:v>44056</c:v>
                </c:pt>
                <c:pt idx="4456">
                  <c:v>44057</c:v>
                </c:pt>
                <c:pt idx="4457">
                  <c:v>44060</c:v>
                </c:pt>
                <c:pt idx="4458">
                  <c:v>44061</c:v>
                </c:pt>
                <c:pt idx="4459">
                  <c:v>44062</c:v>
                </c:pt>
                <c:pt idx="4460">
                  <c:v>44063</c:v>
                </c:pt>
                <c:pt idx="4461">
                  <c:v>44064</c:v>
                </c:pt>
                <c:pt idx="4462">
                  <c:v>44067</c:v>
                </c:pt>
                <c:pt idx="4463">
                  <c:v>44068</c:v>
                </c:pt>
                <c:pt idx="4464">
                  <c:v>44069</c:v>
                </c:pt>
                <c:pt idx="4465">
                  <c:v>44070</c:v>
                </c:pt>
                <c:pt idx="4466">
                  <c:v>44071</c:v>
                </c:pt>
                <c:pt idx="4467">
                  <c:v>44074</c:v>
                </c:pt>
                <c:pt idx="4468">
                  <c:v>44075</c:v>
                </c:pt>
                <c:pt idx="4469">
                  <c:v>44076</c:v>
                </c:pt>
                <c:pt idx="4470">
                  <c:v>44077</c:v>
                </c:pt>
                <c:pt idx="4471">
                  <c:v>44078</c:v>
                </c:pt>
                <c:pt idx="4472">
                  <c:v>44081</c:v>
                </c:pt>
                <c:pt idx="4473">
                  <c:v>44082</c:v>
                </c:pt>
                <c:pt idx="4474">
                  <c:v>44083</c:v>
                </c:pt>
                <c:pt idx="4475">
                  <c:v>44084</c:v>
                </c:pt>
                <c:pt idx="4476">
                  <c:v>44085</c:v>
                </c:pt>
                <c:pt idx="4477">
                  <c:v>44088</c:v>
                </c:pt>
                <c:pt idx="4478">
                  <c:v>44089</c:v>
                </c:pt>
                <c:pt idx="4479">
                  <c:v>44090</c:v>
                </c:pt>
                <c:pt idx="4480">
                  <c:v>44091</c:v>
                </c:pt>
                <c:pt idx="4481">
                  <c:v>44092</c:v>
                </c:pt>
                <c:pt idx="4482">
                  <c:v>44095</c:v>
                </c:pt>
                <c:pt idx="4483">
                  <c:v>44096</c:v>
                </c:pt>
                <c:pt idx="4484">
                  <c:v>44097</c:v>
                </c:pt>
                <c:pt idx="4485">
                  <c:v>44098</c:v>
                </c:pt>
                <c:pt idx="4486">
                  <c:v>44099</c:v>
                </c:pt>
                <c:pt idx="4487">
                  <c:v>44102</c:v>
                </c:pt>
                <c:pt idx="4488">
                  <c:v>44103</c:v>
                </c:pt>
                <c:pt idx="4489">
                  <c:v>44104</c:v>
                </c:pt>
                <c:pt idx="4490">
                  <c:v>44113</c:v>
                </c:pt>
                <c:pt idx="4491">
                  <c:v>44116</c:v>
                </c:pt>
                <c:pt idx="4492">
                  <c:v>44117</c:v>
                </c:pt>
                <c:pt idx="4493">
                  <c:v>44118</c:v>
                </c:pt>
                <c:pt idx="4494">
                  <c:v>44119</c:v>
                </c:pt>
                <c:pt idx="4495">
                  <c:v>44120</c:v>
                </c:pt>
                <c:pt idx="4496">
                  <c:v>44123</c:v>
                </c:pt>
                <c:pt idx="4497">
                  <c:v>44124</c:v>
                </c:pt>
                <c:pt idx="4498">
                  <c:v>44125</c:v>
                </c:pt>
                <c:pt idx="4499">
                  <c:v>44126</c:v>
                </c:pt>
                <c:pt idx="4500">
                  <c:v>44127</c:v>
                </c:pt>
                <c:pt idx="4501">
                  <c:v>44130</c:v>
                </c:pt>
                <c:pt idx="4502">
                  <c:v>44131</c:v>
                </c:pt>
                <c:pt idx="4503">
                  <c:v>44132</c:v>
                </c:pt>
                <c:pt idx="4504">
                  <c:v>44133</c:v>
                </c:pt>
                <c:pt idx="4505">
                  <c:v>44134</c:v>
                </c:pt>
                <c:pt idx="4506">
                  <c:v>44137</c:v>
                </c:pt>
                <c:pt idx="4507">
                  <c:v>44138</c:v>
                </c:pt>
                <c:pt idx="4508">
                  <c:v>44139</c:v>
                </c:pt>
                <c:pt idx="4509">
                  <c:v>44140</c:v>
                </c:pt>
                <c:pt idx="4510">
                  <c:v>44141</c:v>
                </c:pt>
                <c:pt idx="4511">
                  <c:v>44144</c:v>
                </c:pt>
                <c:pt idx="4512">
                  <c:v>44145</c:v>
                </c:pt>
                <c:pt idx="4513">
                  <c:v>44146</c:v>
                </c:pt>
                <c:pt idx="4514">
                  <c:v>44147</c:v>
                </c:pt>
                <c:pt idx="4515">
                  <c:v>44148</c:v>
                </c:pt>
                <c:pt idx="4516">
                  <c:v>44151</c:v>
                </c:pt>
                <c:pt idx="4517">
                  <c:v>44152</c:v>
                </c:pt>
                <c:pt idx="4518">
                  <c:v>44153</c:v>
                </c:pt>
                <c:pt idx="4519">
                  <c:v>44154</c:v>
                </c:pt>
                <c:pt idx="4520">
                  <c:v>44155</c:v>
                </c:pt>
                <c:pt idx="4521">
                  <c:v>44158</c:v>
                </c:pt>
                <c:pt idx="4522">
                  <c:v>44159</c:v>
                </c:pt>
                <c:pt idx="4523">
                  <c:v>44160</c:v>
                </c:pt>
                <c:pt idx="4524">
                  <c:v>44161</c:v>
                </c:pt>
                <c:pt idx="4525">
                  <c:v>44162</c:v>
                </c:pt>
                <c:pt idx="4526">
                  <c:v>44165</c:v>
                </c:pt>
                <c:pt idx="4527">
                  <c:v>44166</c:v>
                </c:pt>
                <c:pt idx="4528">
                  <c:v>44167</c:v>
                </c:pt>
                <c:pt idx="4529">
                  <c:v>44168</c:v>
                </c:pt>
                <c:pt idx="4530">
                  <c:v>44169</c:v>
                </c:pt>
                <c:pt idx="4531">
                  <c:v>44172</c:v>
                </c:pt>
                <c:pt idx="4532">
                  <c:v>44173</c:v>
                </c:pt>
                <c:pt idx="4533">
                  <c:v>44174</c:v>
                </c:pt>
                <c:pt idx="4534">
                  <c:v>44175</c:v>
                </c:pt>
                <c:pt idx="4535">
                  <c:v>44176</c:v>
                </c:pt>
                <c:pt idx="4536">
                  <c:v>44179</c:v>
                </c:pt>
                <c:pt idx="4537">
                  <c:v>44180</c:v>
                </c:pt>
                <c:pt idx="4538">
                  <c:v>44181</c:v>
                </c:pt>
                <c:pt idx="4539">
                  <c:v>44182</c:v>
                </c:pt>
                <c:pt idx="4540">
                  <c:v>44183</c:v>
                </c:pt>
                <c:pt idx="4541">
                  <c:v>44186</c:v>
                </c:pt>
                <c:pt idx="4542">
                  <c:v>44187</c:v>
                </c:pt>
                <c:pt idx="4543">
                  <c:v>44188</c:v>
                </c:pt>
                <c:pt idx="4544">
                  <c:v>44189</c:v>
                </c:pt>
                <c:pt idx="4545">
                  <c:v>44190</c:v>
                </c:pt>
                <c:pt idx="4546">
                  <c:v>44193</c:v>
                </c:pt>
                <c:pt idx="4547">
                  <c:v>44194</c:v>
                </c:pt>
                <c:pt idx="4548">
                  <c:v>44195</c:v>
                </c:pt>
                <c:pt idx="4549">
                  <c:v>44196</c:v>
                </c:pt>
                <c:pt idx="4550">
                  <c:v>44200</c:v>
                </c:pt>
                <c:pt idx="4551">
                  <c:v>44201</c:v>
                </c:pt>
                <c:pt idx="4552">
                  <c:v>44202</c:v>
                </c:pt>
                <c:pt idx="4553">
                  <c:v>44203</c:v>
                </c:pt>
                <c:pt idx="4554">
                  <c:v>44204</c:v>
                </c:pt>
                <c:pt idx="4555">
                  <c:v>44207</c:v>
                </c:pt>
                <c:pt idx="4556">
                  <c:v>44208</c:v>
                </c:pt>
                <c:pt idx="4557">
                  <c:v>44209</c:v>
                </c:pt>
                <c:pt idx="4558">
                  <c:v>44210</c:v>
                </c:pt>
                <c:pt idx="4559">
                  <c:v>44211</c:v>
                </c:pt>
                <c:pt idx="4560">
                  <c:v>44214</c:v>
                </c:pt>
                <c:pt idx="4561">
                  <c:v>44215</c:v>
                </c:pt>
                <c:pt idx="4562">
                  <c:v>44216</c:v>
                </c:pt>
                <c:pt idx="4563">
                  <c:v>44217</c:v>
                </c:pt>
                <c:pt idx="4564">
                  <c:v>44218</c:v>
                </c:pt>
                <c:pt idx="4565">
                  <c:v>44221</c:v>
                </c:pt>
                <c:pt idx="4566">
                  <c:v>44222</c:v>
                </c:pt>
                <c:pt idx="4567">
                  <c:v>44223</c:v>
                </c:pt>
                <c:pt idx="4568">
                  <c:v>44224</c:v>
                </c:pt>
                <c:pt idx="4569">
                  <c:v>44225</c:v>
                </c:pt>
                <c:pt idx="4570">
                  <c:v>44228</c:v>
                </c:pt>
                <c:pt idx="4571">
                  <c:v>44229</c:v>
                </c:pt>
                <c:pt idx="4572">
                  <c:v>44230</c:v>
                </c:pt>
                <c:pt idx="4573">
                  <c:v>44231</c:v>
                </c:pt>
                <c:pt idx="4574">
                  <c:v>44232</c:v>
                </c:pt>
                <c:pt idx="4575">
                  <c:v>44235</c:v>
                </c:pt>
                <c:pt idx="4576">
                  <c:v>44236</c:v>
                </c:pt>
                <c:pt idx="4577">
                  <c:v>44237</c:v>
                </c:pt>
                <c:pt idx="4578">
                  <c:v>44245</c:v>
                </c:pt>
                <c:pt idx="4579">
                  <c:v>44246</c:v>
                </c:pt>
                <c:pt idx="4580">
                  <c:v>44249</c:v>
                </c:pt>
                <c:pt idx="4581">
                  <c:v>44250</c:v>
                </c:pt>
                <c:pt idx="4582">
                  <c:v>44251</c:v>
                </c:pt>
                <c:pt idx="4583">
                  <c:v>44252</c:v>
                </c:pt>
                <c:pt idx="4584">
                  <c:v>44253</c:v>
                </c:pt>
                <c:pt idx="4585">
                  <c:v>44256</c:v>
                </c:pt>
                <c:pt idx="4586">
                  <c:v>44257</c:v>
                </c:pt>
                <c:pt idx="4587">
                  <c:v>44258</c:v>
                </c:pt>
                <c:pt idx="4588">
                  <c:v>44259</c:v>
                </c:pt>
                <c:pt idx="4589">
                  <c:v>44260</c:v>
                </c:pt>
                <c:pt idx="4590">
                  <c:v>44263</c:v>
                </c:pt>
                <c:pt idx="4591">
                  <c:v>44264</c:v>
                </c:pt>
                <c:pt idx="4592">
                  <c:v>44265</c:v>
                </c:pt>
                <c:pt idx="4593">
                  <c:v>44266</c:v>
                </c:pt>
                <c:pt idx="4594">
                  <c:v>44267</c:v>
                </c:pt>
                <c:pt idx="4595">
                  <c:v>44270</c:v>
                </c:pt>
                <c:pt idx="4596">
                  <c:v>44271</c:v>
                </c:pt>
                <c:pt idx="4597">
                  <c:v>44272</c:v>
                </c:pt>
                <c:pt idx="4598">
                  <c:v>44273</c:v>
                </c:pt>
                <c:pt idx="4599">
                  <c:v>44274</c:v>
                </c:pt>
                <c:pt idx="4600">
                  <c:v>44277</c:v>
                </c:pt>
                <c:pt idx="4601">
                  <c:v>44278</c:v>
                </c:pt>
                <c:pt idx="4602">
                  <c:v>44279</c:v>
                </c:pt>
                <c:pt idx="4603">
                  <c:v>44280</c:v>
                </c:pt>
                <c:pt idx="4604">
                  <c:v>44281</c:v>
                </c:pt>
                <c:pt idx="4605">
                  <c:v>44284</c:v>
                </c:pt>
                <c:pt idx="4606">
                  <c:v>44285</c:v>
                </c:pt>
                <c:pt idx="4607">
                  <c:v>44286</c:v>
                </c:pt>
                <c:pt idx="4608">
                  <c:v>44287</c:v>
                </c:pt>
                <c:pt idx="4609">
                  <c:v>44288</c:v>
                </c:pt>
                <c:pt idx="4610">
                  <c:v>44292</c:v>
                </c:pt>
                <c:pt idx="4611">
                  <c:v>44293</c:v>
                </c:pt>
                <c:pt idx="4612">
                  <c:v>44294</c:v>
                </c:pt>
                <c:pt idx="4613">
                  <c:v>44295</c:v>
                </c:pt>
                <c:pt idx="4614">
                  <c:v>44298</c:v>
                </c:pt>
                <c:pt idx="4615">
                  <c:v>44299</c:v>
                </c:pt>
                <c:pt idx="4616">
                  <c:v>44300</c:v>
                </c:pt>
                <c:pt idx="4617">
                  <c:v>44301</c:v>
                </c:pt>
                <c:pt idx="4618">
                  <c:v>44302</c:v>
                </c:pt>
                <c:pt idx="4619">
                  <c:v>44305</c:v>
                </c:pt>
                <c:pt idx="4620">
                  <c:v>44306</c:v>
                </c:pt>
                <c:pt idx="4621">
                  <c:v>44307</c:v>
                </c:pt>
                <c:pt idx="4622">
                  <c:v>44308</c:v>
                </c:pt>
                <c:pt idx="4623">
                  <c:v>44309</c:v>
                </c:pt>
                <c:pt idx="4624">
                  <c:v>44312</c:v>
                </c:pt>
                <c:pt idx="4625">
                  <c:v>44313</c:v>
                </c:pt>
                <c:pt idx="4626">
                  <c:v>44314</c:v>
                </c:pt>
                <c:pt idx="4627">
                  <c:v>44315</c:v>
                </c:pt>
                <c:pt idx="4628">
                  <c:v>44316</c:v>
                </c:pt>
                <c:pt idx="4629">
                  <c:v>44322</c:v>
                </c:pt>
                <c:pt idx="4630">
                  <c:v>44323</c:v>
                </c:pt>
                <c:pt idx="4631">
                  <c:v>44326</c:v>
                </c:pt>
                <c:pt idx="4632">
                  <c:v>44327</c:v>
                </c:pt>
                <c:pt idx="4633">
                  <c:v>44328</c:v>
                </c:pt>
                <c:pt idx="4634">
                  <c:v>44329</c:v>
                </c:pt>
                <c:pt idx="4635">
                  <c:v>44330</c:v>
                </c:pt>
                <c:pt idx="4636">
                  <c:v>44333</c:v>
                </c:pt>
                <c:pt idx="4637">
                  <c:v>44334</c:v>
                </c:pt>
                <c:pt idx="4638">
                  <c:v>44335</c:v>
                </c:pt>
                <c:pt idx="4639">
                  <c:v>44336</c:v>
                </c:pt>
                <c:pt idx="4640">
                  <c:v>44337</c:v>
                </c:pt>
                <c:pt idx="4641">
                  <c:v>44340</c:v>
                </c:pt>
                <c:pt idx="4642">
                  <c:v>44341</c:v>
                </c:pt>
                <c:pt idx="4643">
                  <c:v>44342</c:v>
                </c:pt>
                <c:pt idx="4644">
                  <c:v>44343</c:v>
                </c:pt>
                <c:pt idx="4645">
                  <c:v>44344</c:v>
                </c:pt>
                <c:pt idx="4646">
                  <c:v>44347</c:v>
                </c:pt>
                <c:pt idx="4647">
                  <c:v>44348</c:v>
                </c:pt>
                <c:pt idx="4648">
                  <c:v>44349</c:v>
                </c:pt>
                <c:pt idx="4649">
                  <c:v>44350</c:v>
                </c:pt>
                <c:pt idx="4650">
                  <c:v>44351</c:v>
                </c:pt>
                <c:pt idx="4651">
                  <c:v>44354</c:v>
                </c:pt>
                <c:pt idx="4652">
                  <c:v>44355</c:v>
                </c:pt>
                <c:pt idx="4653">
                  <c:v>44356</c:v>
                </c:pt>
                <c:pt idx="4654">
                  <c:v>44357</c:v>
                </c:pt>
                <c:pt idx="4655">
                  <c:v>44358</c:v>
                </c:pt>
                <c:pt idx="4656">
                  <c:v>44362</c:v>
                </c:pt>
                <c:pt idx="4657">
                  <c:v>44363</c:v>
                </c:pt>
                <c:pt idx="4658">
                  <c:v>44364</c:v>
                </c:pt>
                <c:pt idx="4659">
                  <c:v>44365</c:v>
                </c:pt>
                <c:pt idx="4660">
                  <c:v>44368</c:v>
                </c:pt>
                <c:pt idx="4661">
                  <c:v>44369</c:v>
                </c:pt>
                <c:pt idx="4662">
                  <c:v>44370</c:v>
                </c:pt>
                <c:pt idx="4663">
                  <c:v>44371</c:v>
                </c:pt>
                <c:pt idx="4664">
                  <c:v>44372</c:v>
                </c:pt>
                <c:pt idx="4665">
                  <c:v>44375</c:v>
                </c:pt>
                <c:pt idx="4666">
                  <c:v>44376</c:v>
                </c:pt>
                <c:pt idx="4667">
                  <c:v>44377</c:v>
                </c:pt>
                <c:pt idx="4668">
                  <c:v>44378</c:v>
                </c:pt>
                <c:pt idx="4669">
                  <c:v>44379</c:v>
                </c:pt>
                <c:pt idx="4670">
                  <c:v>44382</c:v>
                </c:pt>
                <c:pt idx="4671">
                  <c:v>44383</c:v>
                </c:pt>
                <c:pt idx="4672">
                  <c:v>44384</c:v>
                </c:pt>
                <c:pt idx="4673">
                  <c:v>44385</c:v>
                </c:pt>
                <c:pt idx="4674">
                  <c:v>44386</c:v>
                </c:pt>
                <c:pt idx="4675">
                  <c:v>44389</c:v>
                </c:pt>
                <c:pt idx="4676">
                  <c:v>44390</c:v>
                </c:pt>
                <c:pt idx="4677">
                  <c:v>44391</c:v>
                </c:pt>
                <c:pt idx="4678">
                  <c:v>44392</c:v>
                </c:pt>
                <c:pt idx="4679">
                  <c:v>44393</c:v>
                </c:pt>
                <c:pt idx="4680">
                  <c:v>44396</c:v>
                </c:pt>
                <c:pt idx="4681">
                  <c:v>44397</c:v>
                </c:pt>
                <c:pt idx="4682">
                  <c:v>44398</c:v>
                </c:pt>
                <c:pt idx="4683">
                  <c:v>44399</c:v>
                </c:pt>
                <c:pt idx="4684">
                  <c:v>44400</c:v>
                </c:pt>
                <c:pt idx="4685">
                  <c:v>44403</c:v>
                </c:pt>
                <c:pt idx="4686">
                  <c:v>44404</c:v>
                </c:pt>
                <c:pt idx="4687">
                  <c:v>44405</c:v>
                </c:pt>
                <c:pt idx="4688">
                  <c:v>44406</c:v>
                </c:pt>
                <c:pt idx="4689">
                  <c:v>44407</c:v>
                </c:pt>
                <c:pt idx="4690">
                  <c:v>44410</c:v>
                </c:pt>
                <c:pt idx="4691">
                  <c:v>44411</c:v>
                </c:pt>
                <c:pt idx="4692">
                  <c:v>44412</c:v>
                </c:pt>
                <c:pt idx="4693">
                  <c:v>44413</c:v>
                </c:pt>
                <c:pt idx="4694">
                  <c:v>44414</c:v>
                </c:pt>
                <c:pt idx="4695">
                  <c:v>44417</c:v>
                </c:pt>
                <c:pt idx="4696">
                  <c:v>44418</c:v>
                </c:pt>
                <c:pt idx="4697">
                  <c:v>44419</c:v>
                </c:pt>
                <c:pt idx="4698">
                  <c:v>44420</c:v>
                </c:pt>
                <c:pt idx="4699">
                  <c:v>44421</c:v>
                </c:pt>
                <c:pt idx="4700">
                  <c:v>44424</c:v>
                </c:pt>
                <c:pt idx="4701">
                  <c:v>44425</c:v>
                </c:pt>
                <c:pt idx="4702">
                  <c:v>44426</c:v>
                </c:pt>
                <c:pt idx="4703">
                  <c:v>44427</c:v>
                </c:pt>
                <c:pt idx="4704">
                  <c:v>44428</c:v>
                </c:pt>
                <c:pt idx="4705">
                  <c:v>44431</c:v>
                </c:pt>
                <c:pt idx="4706">
                  <c:v>44432</c:v>
                </c:pt>
                <c:pt idx="4707">
                  <c:v>44433</c:v>
                </c:pt>
                <c:pt idx="4708">
                  <c:v>44434</c:v>
                </c:pt>
                <c:pt idx="4709">
                  <c:v>44435</c:v>
                </c:pt>
                <c:pt idx="4710">
                  <c:v>44438</c:v>
                </c:pt>
                <c:pt idx="4711">
                  <c:v>44439</c:v>
                </c:pt>
                <c:pt idx="4712">
                  <c:v>44440</c:v>
                </c:pt>
                <c:pt idx="4713">
                  <c:v>44441</c:v>
                </c:pt>
                <c:pt idx="4714">
                  <c:v>44442</c:v>
                </c:pt>
                <c:pt idx="4715">
                  <c:v>44445</c:v>
                </c:pt>
                <c:pt idx="4716">
                  <c:v>44446</c:v>
                </c:pt>
                <c:pt idx="4717">
                  <c:v>44447</c:v>
                </c:pt>
                <c:pt idx="4718">
                  <c:v>44448</c:v>
                </c:pt>
                <c:pt idx="4719">
                  <c:v>44449</c:v>
                </c:pt>
                <c:pt idx="4720">
                  <c:v>44452</c:v>
                </c:pt>
                <c:pt idx="4721">
                  <c:v>44453</c:v>
                </c:pt>
                <c:pt idx="4722">
                  <c:v>44454</c:v>
                </c:pt>
                <c:pt idx="4723">
                  <c:v>44455</c:v>
                </c:pt>
                <c:pt idx="4724">
                  <c:v>44456</c:v>
                </c:pt>
                <c:pt idx="4725">
                  <c:v>44461</c:v>
                </c:pt>
                <c:pt idx="4726">
                  <c:v>44462</c:v>
                </c:pt>
                <c:pt idx="4727">
                  <c:v>44463</c:v>
                </c:pt>
                <c:pt idx="4728">
                  <c:v>44466</c:v>
                </c:pt>
                <c:pt idx="4729">
                  <c:v>44467</c:v>
                </c:pt>
                <c:pt idx="4730">
                  <c:v>44468</c:v>
                </c:pt>
                <c:pt idx="4731">
                  <c:v>44469</c:v>
                </c:pt>
                <c:pt idx="4732">
                  <c:v>44477</c:v>
                </c:pt>
                <c:pt idx="4733">
                  <c:v>44480</c:v>
                </c:pt>
                <c:pt idx="4734">
                  <c:v>44481</c:v>
                </c:pt>
                <c:pt idx="4735">
                  <c:v>44482</c:v>
                </c:pt>
                <c:pt idx="4736">
                  <c:v>44483</c:v>
                </c:pt>
                <c:pt idx="4737">
                  <c:v>44484</c:v>
                </c:pt>
                <c:pt idx="4738">
                  <c:v>44487</c:v>
                </c:pt>
                <c:pt idx="4739">
                  <c:v>44488</c:v>
                </c:pt>
                <c:pt idx="4740">
                  <c:v>44489</c:v>
                </c:pt>
                <c:pt idx="4741">
                  <c:v>44490</c:v>
                </c:pt>
                <c:pt idx="4742">
                  <c:v>44491</c:v>
                </c:pt>
                <c:pt idx="4743">
                  <c:v>44494</c:v>
                </c:pt>
                <c:pt idx="4744">
                  <c:v>44495</c:v>
                </c:pt>
                <c:pt idx="4745">
                  <c:v>44496</c:v>
                </c:pt>
                <c:pt idx="4746">
                  <c:v>44497</c:v>
                </c:pt>
                <c:pt idx="4747">
                  <c:v>44498</c:v>
                </c:pt>
                <c:pt idx="4748">
                  <c:v>44501</c:v>
                </c:pt>
                <c:pt idx="4749">
                  <c:v>44502</c:v>
                </c:pt>
                <c:pt idx="4750">
                  <c:v>44503</c:v>
                </c:pt>
                <c:pt idx="4751">
                  <c:v>44504</c:v>
                </c:pt>
                <c:pt idx="4752">
                  <c:v>44505</c:v>
                </c:pt>
                <c:pt idx="4753">
                  <c:v>44508</c:v>
                </c:pt>
                <c:pt idx="4754">
                  <c:v>44509</c:v>
                </c:pt>
                <c:pt idx="4755">
                  <c:v>44510</c:v>
                </c:pt>
                <c:pt idx="4756">
                  <c:v>44511</c:v>
                </c:pt>
                <c:pt idx="4757">
                  <c:v>44512</c:v>
                </c:pt>
                <c:pt idx="4758">
                  <c:v>44515</c:v>
                </c:pt>
                <c:pt idx="4759">
                  <c:v>44516</c:v>
                </c:pt>
                <c:pt idx="4760">
                  <c:v>44517</c:v>
                </c:pt>
                <c:pt idx="4761">
                  <c:v>44518</c:v>
                </c:pt>
                <c:pt idx="4762">
                  <c:v>44519</c:v>
                </c:pt>
                <c:pt idx="4763">
                  <c:v>44522</c:v>
                </c:pt>
                <c:pt idx="4764">
                  <c:v>44523</c:v>
                </c:pt>
                <c:pt idx="4765">
                  <c:v>44524</c:v>
                </c:pt>
                <c:pt idx="4766">
                  <c:v>44525</c:v>
                </c:pt>
                <c:pt idx="4767">
                  <c:v>44526</c:v>
                </c:pt>
                <c:pt idx="4768">
                  <c:v>44529</c:v>
                </c:pt>
                <c:pt idx="4769">
                  <c:v>44530</c:v>
                </c:pt>
                <c:pt idx="4770">
                  <c:v>44531</c:v>
                </c:pt>
                <c:pt idx="4771">
                  <c:v>44532</c:v>
                </c:pt>
                <c:pt idx="4772">
                  <c:v>44533</c:v>
                </c:pt>
                <c:pt idx="4773">
                  <c:v>44536</c:v>
                </c:pt>
                <c:pt idx="4774">
                  <c:v>44537</c:v>
                </c:pt>
                <c:pt idx="4775">
                  <c:v>44538</c:v>
                </c:pt>
                <c:pt idx="4776">
                  <c:v>44539</c:v>
                </c:pt>
                <c:pt idx="4777">
                  <c:v>44540</c:v>
                </c:pt>
                <c:pt idx="4778">
                  <c:v>44543</c:v>
                </c:pt>
                <c:pt idx="4779">
                  <c:v>44544</c:v>
                </c:pt>
                <c:pt idx="4780">
                  <c:v>44545</c:v>
                </c:pt>
                <c:pt idx="4781">
                  <c:v>44546</c:v>
                </c:pt>
                <c:pt idx="4782">
                  <c:v>44547</c:v>
                </c:pt>
                <c:pt idx="4783">
                  <c:v>44550</c:v>
                </c:pt>
                <c:pt idx="4784">
                  <c:v>44551</c:v>
                </c:pt>
                <c:pt idx="4785">
                  <c:v>44552</c:v>
                </c:pt>
                <c:pt idx="4786">
                  <c:v>44553</c:v>
                </c:pt>
                <c:pt idx="4787">
                  <c:v>44554</c:v>
                </c:pt>
                <c:pt idx="4788">
                  <c:v>44557</c:v>
                </c:pt>
                <c:pt idx="4789">
                  <c:v>44558</c:v>
                </c:pt>
                <c:pt idx="4790">
                  <c:v>44559</c:v>
                </c:pt>
                <c:pt idx="4791">
                  <c:v>44560</c:v>
                </c:pt>
                <c:pt idx="4792">
                  <c:v>44561</c:v>
                </c:pt>
                <c:pt idx="4793">
                  <c:v>44565</c:v>
                </c:pt>
                <c:pt idx="4794">
                  <c:v>44566</c:v>
                </c:pt>
                <c:pt idx="4795">
                  <c:v>44567</c:v>
                </c:pt>
                <c:pt idx="4796">
                  <c:v>44568</c:v>
                </c:pt>
                <c:pt idx="4797">
                  <c:v>44571</c:v>
                </c:pt>
                <c:pt idx="4798">
                  <c:v>44572</c:v>
                </c:pt>
                <c:pt idx="4799">
                  <c:v>44573</c:v>
                </c:pt>
                <c:pt idx="4800">
                  <c:v>44574</c:v>
                </c:pt>
                <c:pt idx="4801">
                  <c:v>44575</c:v>
                </c:pt>
                <c:pt idx="4802">
                  <c:v>44578</c:v>
                </c:pt>
                <c:pt idx="4803">
                  <c:v>44579</c:v>
                </c:pt>
                <c:pt idx="4804">
                  <c:v>44580</c:v>
                </c:pt>
                <c:pt idx="4805">
                  <c:v>44581</c:v>
                </c:pt>
                <c:pt idx="4806">
                  <c:v>44582</c:v>
                </c:pt>
                <c:pt idx="4807">
                  <c:v>44585</c:v>
                </c:pt>
                <c:pt idx="4808">
                  <c:v>44586</c:v>
                </c:pt>
                <c:pt idx="4809">
                  <c:v>44587</c:v>
                </c:pt>
                <c:pt idx="4810">
                  <c:v>44588</c:v>
                </c:pt>
                <c:pt idx="4811">
                  <c:v>44589</c:v>
                </c:pt>
                <c:pt idx="4812">
                  <c:v>44599</c:v>
                </c:pt>
                <c:pt idx="4813">
                  <c:v>44600</c:v>
                </c:pt>
                <c:pt idx="4814">
                  <c:v>44601</c:v>
                </c:pt>
                <c:pt idx="4815">
                  <c:v>44602</c:v>
                </c:pt>
                <c:pt idx="4816">
                  <c:v>44603</c:v>
                </c:pt>
                <c:pt idx="4817">
                  <c:v>44606</c:v>
                </c:pt>
                <c:pt idx="4818">
                  <c:v>44607</c:v>
                </c:pt>
                <c:pt idx="4819">
                  <c:v>44608</c:v>
                </c:pt>
                <c:pt idx="4820">
                  <c:v>44609</c:v>
                </c:pt>
                <c:pt idx="4821">
                  <c:v>44610</c:v>
                </c:pt>
                <c:pt idx="4822">
                  <c:v>44613</c:v>
                </c:pt>
                <c:pt idx="4823">
                  <c:v>44614</c:v>
                </c:pt>
                <c:pt idx="4824">
                  <c:v>44615</c:v>
                </c:pt>
                <c:pt idx="4825">
                  <c:v>44616</c:v>
                </c:pt>
                <c:pt idx="4826">
                  <c:v>44617</c:v>
                </c:pt>
                <c:pt idx="4827">
                  <c:v>44620</c:v>
                </c:pt>
                <c:pt idx="4828">
                  <c:v>44621</c:v>
                </c:pt>
                <c:pt idx="4829">
                  <c:v>44622</c:v>
                </c:pt>
                <c:pt idx="4830">
                  <c:v>44623</c:v>
                </c:pt>
                <c:pt idx="4831">
                  <c:v>44624</c:v>
                </c:pt>
                <c:pt idx="4832">
                  <c:v>44627</c:v>
                </c:pt>
                <c:pt idx="4833">
                  <c:v>44628</c:v>
                </c:pt>
                <c:pt idx="4834">
                  <c:v>44629</c:v>
                </c:pt>
                <c:pt idx="4835">
                  <c:v>44630</c:v>
                </c:pt>
                <c:pt idx="4836">
                  <c:v>44631</c:v>
                </c:pt>
                <c:pt idx="4837">
                  <c:v>44634</c:v>
                </c:pt>
                <c:pt idx="4838">
                  <c:v>44635</c:v>
                </c:pt>
                <c:pt idx="4839">
                  <c:v>44636</c:v>
                </c:pt>
                <c:pt idx="4840">
                  <c:v>44637</c:v>
                </c:pt>
                <c:pt idx="4841">
                  <c:v>44638</c:v>
                </c:pt>
                <c:pt idx="4842">
                  <c:v>44641</c:v>
                </c:pt>
                <c:pt idx="4843">
                  <c:v>44642</c:v>
                </c:pt>
                <c:pt idx="4844">
                  <c:v>44643</c:v>
                </c:pt>
                <c:pt idx="4845">
                  <c:v>44644</c:v>
                </c:pt>
                <c:pt idx="4846">
                  <c:v>44645</c:v>
                </c:pt>
                <c:pt idx="4847">
                  <c:v>44648</c:v>
                </c:pt>
                <c:pt idx="4848">
                  <c:v>44649</c:v>
                </c:pt>
                <c:pt idx="4849">
                  <c:v>44650</c:v>
                </c:pt>
                <c:pt idx="4850">
                  <c:v>44651</c:v>
                </c:pt>
                <c:pt idx="4851">
                  <c:v>44652</c:v>
                </c:pt>
                <c:pt idx="4852">
                  <c:v>44657</c:v>
                </c:pt>
                <c:pt idx="4853">
                  <c:v>44658</c:v>
                </c:pt>
                <c:pt idx="4854">
                  <c:v>44659</c:v>
                </c:pt>
              </c:numCache>
            </c:numRef>
          </c:cat>
          <c:val>
            <c:numRef>
              <c:f>'v60'!$E$2:$E$4916</c:f>
              <c:numCache>
                <c:formatCode>General</c:formatCode>
                <c:ptCount val="4915"/>
                <c:pt idx="190">
                  <c:v>1.5857839803838002E-2</c:v>
                </c:pt>
                <c:pt idx="191">
                  <c:v>1.5844556573012598E-2</c:v>
                </c:pt>
                <c:pt idx="192">
                  <c:v>1.5842519287407798E-2</c:v>
                </c:pt>
                <c:pt idx="193">
                  <c:v>1.58510855620787E-2</c:v>
                </c:pt>
                <c:pt idx="194">
                  <c:v>1.5867394941005399E-2</c:v>
                </c:pt>
                <c:pt idx="195">
                  <c:v>1.5791517068500401E-2</c:v>
                </c:pt>
                <c:pt idx="196">
                  <c:v>1.56229199673037E-2</c:v>
                </c:pt>
                <c:pt idx="197">
                  <c:v>1.56176794743125E-2</c:v>
                </c:pt>
                <c:pt idx="198">
                  <c:v>1.5606703427279E-2</c:v>
                </c:pt>
                <c:pt idx="199">
                  <c:v>1.53900963337767E-2</c:v>
                </c:pt>
                <c:pt idx="200">
                  <c:v>1.5392689934329601E-2</c:v>
                </c:pt>
                <c:pt idx="201">
                  <c:v>1.52198859274193E-2</c:v>
                </c:pt>
                <c:pt idx="202">
                  <c:v>1.5227779171525501E-2</c:v>
                </c:pt>
                <c:pt idx="203">
                  <c:v>1.4684194416647599E-2</c:v>
                </c:pt>
                <c:pt idx="204">
                  <c:v>1.46927206598169E-2</c:v>
                </c:pt>
                <c:pt idx="205">
                  <c:v>1.4692932694975E-2</c:v>
                </c:pt>
                <c:pt idx="206">
                  <c:v>1.41264704686089E-2</c:v>
                </c:pt>
                <c:pt idx="207">
                  <c:v>1.4042963195361699E-2</c:v>
                </c:pt>
                <c:pt idx="208">
                  <c:v>1.40859651048991E-2</c:v>
                </c:pt>
                <c:pt idx="209">
                  <c:v>1.34888468838465E-2</c:v>
                </c:pt>
                <c:pt idx="210">
                  <c:v>1.34853493290828E-2</c:v>
                </c:pt>
                <c:pt idx="211">
                  <c:v>1.34406949433525E-2</c:v>
                </c:pt>
                <c:pt idx="212">
                  <c:v>1.3440431075365401E-2</c:v>
                </c:pt>
                <c:pt idx="213">
                  <c:v>1.3351525719143701E-2</c:v>
                </c:pt>
                <c:pt idx="214">
                  <c:v>1.32947707741619E-2</c:v>
                </c:pt>
                <c:pt idx="215">
                  <c:v>1.33156883268855E-2</c:v>
                </c:pt>
                <c:pt idx="216">
                  <c:v>1.32791708139208E-2</c:v>
                </c:pt>
                <c:pt idx="217">
                  <c:v>1.33232290310093E-2</c:v>
                </c:pt>
                <c:pt idx="218">
                  <c:v>1.33222511299737E-2</c:v>
                </c:pt>
                <c:pt idx="219">
                  <c:v>1.33129349674999E-2</c:v>
                </c:pt>
                <c:pt idx="220">
                  <c:v>1.32892916951909E-2</c:v>
                </c:pt>
                <c:pt idx="221">
                  <c:v>1.3254783068848501E-2</c:v>
                </c:pt>
                <c:pt idx="222">
                  <c:v>1.31686653473346E-2</c:v>
                </c:pt>
                <c:pt idx="223">
                  <c:v>1.31551136710164E-2</c:v>
                </c:pt>
                <c:pt idx="224">
                  <c:v>1.3013357088730099E-2</c:v>
                </c:pt>
                <c:pt idx="225">
                  <c:v>1.2964724273240301E-2</c:v>
                </c:pt>
                <c:pt idx="226">
                  <c:v>1.292015215452E-2</c:v>
                </c:pt>
                <c:pt idx="227">
                  <c:v>1.29051739500931E-2</c:v>
                </c:pt>
                <c:pt idx="228">
                  <c:v>1.28892092308434E-2</c:v>
                </c:pt>
                <c:pt idx="229">
                  <c:v>1.27934976549151E-2</c:v>
                </c:pt>
                <c:pt idx="230">
                  <c:v>1.2783404175901399E-2</c:v>
                </c:pt>
                <c:pt idx="231">
                  <c:v>1.27824128439344E-2</c:v>
                </c:pt>
                <c:pt idx="232">
                  <c:v>1.27487911478649E-2</c:v>
                </c:pt>
                <c:pt idx="233">
                  <c:v>1.2739326858252201E-2</c:v>
                </c:pt>
                <c:pt idx="234">
                  <c:v>1.2737974627174201E-2</c:v>
                </c:pt>
                <c:pt idx="235">
                  <c:v>1.27239887441431E-2</c:v>
                </c:pt>
                <c:pt idx="236">
                  <c:v>1.27310094922188E-2</c:v>
                </c:pt>
                <c:pt idx="237">
                  <c:v>1.2690989611105799E-2</c:v>
                </c:pt>
                <c:pt idx="238">
                  <c:v>1.2690954326670299E-2</c:v>
                </c:pt>
                <c:pt idx="239">
                  <c:v>1.2740969052935701E-2</c:v>
                </c:pt>
                <c:pt idx="240">
                  <c:v>1.2623261660552601E-2</c:v>
                </c:pt>
                <c:pt idx="241">
                  <c:v>1.26610825471018E-2</c:v>
                </c:pt>
                <c:pt idx="242">
                  <c:v>1.27151610731361E-2</c:v>
                </c:pt>
                <c:pt idx="243">
                  <c:v>1.27227580558355E-2</c:v>
                </c:pt>
                <c:pt idx="244">
                  <c:v>1.26239898406648E-2</c:v>
                </c:pt>
                <c:pt idx="245">
                  <c:v>1.26226692107192E-2</c:v>
                </c:pt>
                <c:pt idx="246">
                  <c:v>1.26272615500541E-2</c:v>
                </c:pt>
                <c:pt idx="247">
                  <c:v>1.2638275835118701E-2</c:v>
                </c:pt>
                <c:pt idx="248">
                  <c:v>1.26308182121174E-2</c:v>
                </c:pt>
                <c:pt idx="249">
                  <c:v>1.2631023487719001E-2</c:v>
                </c:pt>
                <c:pt idx="250">
                  <c:v>1.2754314578240099E-2</c:v>
                </c:pt>
                <c:pt idx="251">
                  <c:v>1.2769194860936001E-2</c:v>
                </c:pt>
                <c:pt idx="252">
                  <c:v>1.29850005582214E-2</c:v>
                </c:pt>
                <c:pt idx="253">
                  <c:v>1.3020107206541299E-2</c:v>
                </c:pt>
                <c:pt idx="254">
                  <c:v>1.3008842221602999E-2</c:v>
                </c:pt>
                <c:pt idx="255">
                  <c:v>1.30206936850249E-2</c:v>
                </c:pt>
                <c:pt idx="256">
                  <c:v>1.3138338417246201E-2</c:v>
                </c:pt>
                <c:pt idx="257">
                  <c:v>1.32089937021471E-2</c:v>
                </c:pt>
                <c:pt idx="258">
                  <c:v>1.32913452761221E-2</c:v>
                </c:pt>
                <c:pt idx="259">
                  <c:v>1.32907055830482E-2</c:v>
                </c:pt>
                <c:pt idx="260">
                  <c:v>1.32583578947878E-2</c:v>
                </c:pt>
                <c:pt idx="261">
                  <c:v>1.32490102145216E-2</c:v>
                </c:pt>
                <c:pt idx="262">
                  <c:v>1.3247912897910099E-2</c:v>
                </c:pt>
                <c:pt idx="263">
                  <c:v>1.32509058236564E-2</c:v>
                </c:pt>
                <c:pt idx="264">
                  <c:v>1.32671882598506E-2</c:v>
                </c:pt>
                <c:pt idx="265">
                  <c:v>1.32679411642566E-2</c:v>
                </c:pt>
                <c:pt idx="266">
                  <c:v>1.3247409287925799E-2</c:v>
                </c:pt>
                <c:pt idx="267">
                  <c:v>1.3264881448826401E-2</c:v>
                </c:pt>
                <c:pt idx="268">
                  <c:v>1.32801118101658E-2</c:v>
                </c:pt>
                <c:pt idx="269">
                  <c:v>1.31448516629947E-2</c:v>
                </c:pt>
                <c:pt idx="270">
                  <c:v>1.31218229419832E-2</c:v>
                </c:pt>
                <c:pt idx="271">
                  <c:v>1.3109677722180701E-2</c:v>
                </c:pt>
                <c:pt idx="272">
                  <c:v>1.2969649871172899E-2</c:v>
                </c:pt>
                <c:pt idx="273">
                  <c:v>1.2963677342821301E-2</c:v>
                </c:pt>
                <c:pt idx="274">
                  <c:v>1.2990696322721301E-2</c:v>
                </c:pt>
                <c:pt idx="275">
                  <c:v>1.29732249869424E-2</c:v>
                </c:pt>
                <c:pt idx="276">
                  <c:v>1.2975925098261299E-2</c:v>
                </c:pt>
                <c:pt idx="277">
                  <c:v>1.30239987400227E-2</c:v>
                </c:pt>
                <c:pt idx="278">
                  <c:v>1.2967956595771201E-2</c:v>
                </c:pt>
                <c:pt idx="279">
                  <c:v>1.2969247155707801E-2</c:v>
                </c:pt>
                <c:pt idx="280">
                  <c:v>1.2965134638446001E-2</c:v>
                </c:pt>
                <c:pt idx="281">
                  <c:v>1.2900889010646E-2</c:v>
                </c:pt>
                <c:pt idx="282">
                  <c:v>1.2897753630816701E-2</c:v>
                </c:pt>
                <c:pt idx="283">
                  <c:v>1.2857963086233E-2</c:v>
                </c:pt>
                <c:pt idx="284">
                  <c:v>1.26137112736327E-2</c:v>
                </c:pt>
                <c:pt idx="285">
                  <c:v>1.2625471516068101E-2</c:v>
                </c:pt>
                <c:pt idx="286">
                  <c:v>1.26188179181334E-2</c:v>
                </c:pt>
                <c:pt idx="287">
                  <c:v>1.2617641705613501E-2</c:v>
                </c:pt>
                <c:pt idx="288">
                  <c:v>1.26288979862282E-2</c:v>
                </c:pt>
                <c:pt idx="289">
                  <c:v>1.26488065825224E-2</c:v>
                </c:pt>
                <c:pt idx="290">
                  <c:v>1.2633949898313301E-2</c:v>
                </c:pt>
                <c:pt idx="291">
                  <c:v>1.2633302028681801E-2</c:v>
                </c:pt>
                <c:pt idx="292">
                  <c:v>1.25895868887652E-2</c:v>
                </c:pt>
                <c:pt idx="293">
                  <c:v>1.2573940015037E-2</c:v>
                </c:pt>
                <c:pt idx="294">
                  <c:v>1.25655424874868E-2</c:v>
                </c:pt>
                <c:pt idx="295">
                  <c:v>1.23754386861558E-2</c:v>
                </c:pt>
                <c:pt idx="296">
                  <c:v>1.0987724833451999E-2</c:v>
                </c:pt>
                <c:pt idx="297">
                  <c:v>1.0994256701280101E-2</c:v>
                </c:pt>
                <c:pt idx="298">
                  <c:v>1.10706464364735E-2</c:v>
                </c:pt>
                <c:pt idx="299">
                  <c:v>1.1067709264371501E-2</c:v>
                </c:pt>
                <c:pt idx="300">
                  <c:v>1.10618456394586E-2</c:v>
                </c:pt>
                <c:pt idx="301">
                  <c:v>1.10431005840159E-2</c:v>
                </c:pt>
                <c:pt idx="302">
                  <c:v>1.10362051556023E-2</c:v>
                </c:pt>
                <c:pt idx="303">
                  <c:v>1.1047367142357401E-2</c:v>
                </c:pt>
                <c:pt idx="304">
                  <c:v>1.11147093462461E-2</c:v>
                </c:pt>
                <c:pt idx="305">
                  <c:v>1.1122633759924E-2</c:v>
                </c:pt>
                <c:pt idx="306">
                  <c:v>1.1116969915724599E-2</c:v>
                </c:pt>
                <c:pt idx="307">
                  <c:v>1.11186716205098E-2</c:v>
                </c:pt>
                <c:pt idx="308">
                  <c:v>1.1064729762766999E-2</c:v>
                </c:pt>
                <c:pt idx="309">
                  <c:v>1.10811952753045E-2</c:v>
                </c:pt>
                <c:pt idx="310">
                  <c:v>1.1084049434479701E-2</c:v>
                </c:pt>
                <c:pt idx="311">
                  <c:v>1.10821952050631E-2</c:v>
                </c:pt>
                <c:pt idx="312">
                  <c:v>1.10817098292112E-2</c:v>
                </c:pt>
                <c:pt idx="313">
                  <c:v>1.10699680495648E-2</c:v>
                </c:pt>
                <c:pt idx="314">
                  <c:v>1.1069599618070001E-2</c:v>
                </c:pt>
                <c:pt idx="315">
                  <c:v>1.10905415467339E-2</c:v>
                </c:pt>
                <c:pt idx="316">
                  <c:v>1.1043875356515701E-2</c:v>
                </c:pt>
                <c:pt idx="317">
                  <c:v>1.1045984170712999E-2</c:v>
                </c:pt>
                <c:pt idx="318">
                  <c:v>1.10455882530642E-2</c:v>
                </c:pt>
                <c:pt idx="319">
                  <c:v>1.10652363011229E-2</c:v>
                </c:pt>
                <c:pt idx="320">
                  <c:v>1.1066979989166399E-2</c:v>
                </c:pt>
                <c:pt idx="321">
                  <c:v>1.1062900375295901E-2</c:v>
                </c:pt>
                <c:pt idx="322">
                  <c:v>1.1088034362746101E-2</c:v>
                </c:pt>
                <c:pt idx="323">
                  <c:v>1.1077030117067999E-2</c:v>
                </c:pt>
                <c:pt idx="324">
                  <c:v>1.1076776450655501E-2</c:v>
                </c:pt>
                <c:pt idx="325">
                  <c:v>1.1074891857109999E-2</c:v>
                </c:pt>
                <c:pt idx="326">
                  <c:v>1.10738144071296E-2</c:v>
                </c:pt>
                <c:pt idx="327">
                  <c:v>1.1051741455741001E-2</c:v>
                </c:pt>
                <c:pt idx="328">
                  <c:v>1.10515577390878E-2</c:v>
                </c:pt>
                <c:pt idx="329">
                  <c:v>1.10484006329681E-2</c:v>
                </c:pt>
                <c:pt idx="330">
                  <c:v>1.1064585932130401E-2</c:v>
                </c:pt>
                <c:pt idx="331">
                  <c:v>1.10566864911064E-2</c:v>
                </c:pt>
                <c:pt idx="332">
                  <c:v>1.10558900209659E-2</c:v>
                </c:pt>
                <c:pt idx="333">
                  <c:v>1.1055339364404001E-2</c:v>
                </c:pt>
                <c:pt idx="334">
                  <c:v>1.10584508999778E-2</c:v>
                </c:pt>
                <c:pt idx="335">
                  <c:v>1.1110798954202099E-2</c:v>
                </c:pt>
                <c:pt idx="336">
                  <c:v>1.1110944070412999E-2</c:v>
                </c:pt>
                <c:pt idx="337">
                  <c:v>1.1056779264845201E-2</c:v>
                </c:pt>
                <c:pt idx="338">
                  <c:v>1.1056727971252201E-2</c:v>
                </c:pt>
                <c:pt idx="339">
                  <c:v>1.106243876706E-2</c:v>
                </c:pt>
                <c:pt idx="340">
                  <c:v>1.10660002327458E-2</c:v>
                </c:pt>
                <c:pt idx="341">
                  <c:v>1.10545742221236E-2</c:v>
                </c:pt>
                <c:pt idx="342">
                  <c:v>1.10556017239609E-2</c:v>
                </c:pt>
                <c:pt idx="343">
                  <c:v>1.1055911914280601E-2</c:v>
                </c:pt>
                <c:pt idx="344">
                  <c:v>1.10727506418506E-2</c:v>
                </c:pt>
                <c:pt idx="345">
                  <c:v>1.10892783064673E-2</c:v>
                </c:pt>
                <c:pt idx="346">
                  <c:v>1.1097906351510501E-2</c:v>
                </c:pt>
                <c:pt idx="347">
                  <c:v>1.1113421419471199E-2</c:v>
                </c:pt>
                <c:pt idx="348">
                  <c:v>1.1108998887911699E-2</c:v>
                </c:pt>
                <c:pt idx="349">
                  <c:v>1.1082696251127899E-2</c:v>
                </c:pt>
                <c:pt idx="350">
                  <c:v>1.10863232727502E-2</c:v>
                </c:pt>
                <c:pt idx="351">
                  <c:v>1.10816548746546E-2</c:v>
                </c:pt>
                <c:pt idx="352">
                  <c:v>1.10833441578518E-2</c:v>
                </c:pt>
                <c:pt idx="353">
                  <c:v>1.11052136963794E-2</c:v>
                </c:pt>
                <c:pt idx="354">
                  <c:v>1.11066553786749E-2</c:v>
                </c:pt>
                <c:pt idx="355">
                  <c:v>1.11347337641872E-2</c:v>
                </c:pt>
                <c:pt idx="356">
                  <c:v>1.1117662467228499E-2</c:v>
                </c:pt>
                <c:pt idx="357">
                  <c:v>1.11202275169963E-2</c:v>
                </c:pt>
                <c:pt idx="358">
                  <c:v>1.11137223666258E-2</c:v>
                </c:pt>
                <c:pt idx="359">
                  <c:v>1.1150796217003701E-2</c:v>
                </c:pt>
                <c:pt idx="360">
                  <c:v>1.1133297656353101E-2</c:v>
                </c:pt>
                <c:pt idx="361">
                  <c:v>1.1144116365883401E-2</c:v>
                </c:pt>
                <c:pt idx="362">
                  <c:v>1.1142407488826301E-2</c:v>
                </c:pt>
                <c:pt idx="363">
                  <c:v>1.1169933396772301E-2</c:v>
                </c:pt>
                <c:pt idx="364">
                  <c:v>1.11667385454155E-2</c:v>
                </c:pt>
                <c:pt idx="365">
                  <c:v>1.1171226727283601E-2</c:v>
                </c:pt>
                <c:pt idx="366">
                  <c:v>1.11585382274776E-2</c:v>
                </c:pt>
                <c:pt idx="367">
                  <c:v>1.1202947180187399E-2</c:v>
                </c:pt>
                <c:pt idx="368">
                  <c:v>1.1209751491401399E-2</c:v>
                </c:pt>
                <c:pt idx="369">
                  <c:v>1.1209383277854401E-2</c:v>
                </c:pt>
                <c:pt idx="370">
                  <c:v>1.1215294208903E-2</c:v>
                </c:pt>
                <c:pt idx="371">
                  <c:v>1.1213203143650201E-2</c:v>
                </c:pt>
                <c:pt idx="372">
                  <c:v>1.12103173422011E-2</c:v>
                </c:pt>
                <c:pt idx="373">
                  <c:v>1.11888592828215E-2</c:v>
                </c:pt>
                <c:pt idx="374">
                  <c:v>1.1184952474415401E-2</c:v>
                </c:pt>
                <c:pt idx="375">
                  <c:v>1.12046529381252E-2</c:v>
                </c:pt>
                <c:pt idx="376">
                  <c:v>1.1235969529489799E-2</c:v>
                </c:pt>
                <c:pt idx="377">
                  <c:v>1.1240409213442E-2</c:v>
                </c:pt>
                <c:pt idx="378">
                  <c:v>1.12810287940323E-2</c:v>
                </c:pt>
                <c:pt idx="379">
                  <c:v>1.1299334191119901E-2</c:v>
                </c:pt>
                <c:pt idx="380">
                  <c:v>1.128055220812E-2</c:v>
                </c:pt>
                <c:pt idx="381">
                  <c:v>1.12734954621701E-2</c:v>
                </c:pt>
                <c:pt idx="382">
                  <c:v>1.1327139915573501E-2</c:v>
                </c:pt>
                <c:pt idx="383">
                  <c:v>1.13284017237413E-2</c:v>
                </c:pt>
                <c:pt idx="384">
                  <c:v>1.13387324750712E-2</c:v>
                </c:pt>
                <c:pt idx="385">
                  <c:v>1.12963266754093E-2</c:v>
                </c:pt>
                <c:pt idx="386">
                  <c:v>1.12836183783586E-2</c:v>
                </c:pt>
                <c:pt idx="387">
                  <c:v>1.1327751042552301E-2</c:v>
                </c:pt>
                <c:pt idx="388">
                  <c:v>1.14698731456374E-2</c:v>
                </c:pt>
                <c:pt idx="389">
                  <c:v>1.1415392135841E-2</c:v>
                </c:pt>
                <c:pt idx="390">
                  <c:v>1.15361235208386E-2</c:v>
                </c:pt>
                <c:pt idx="391">
                  <c:v>1.15032143791202E-2</c:v>
                </c:pt>
                <c:pt idx="392">
                  <c:v>1.1501315559453299E-2</c:v>
                </c:pt>
                <c:pt idx="393">
                  <c:v>1.1487290138224301E-2</c:v>
                </c:pt>
                <c:pt idx="394">
                  <c:v>1.14926366422231E-2</c:v>
                </c:pt>
                <c:pt idx="395">
                  <c:v>1.1560427711817299E-2</c:v>
                </c:pt>
                <c:pt idx="396">
                  <c:v>1.1552719414238801E-2</c:v>
                </c:pt>
                <c:pt idx="397">
                  <c:v>1.1456441117221701E-2</c:v>
                </c:pt>
                <c:pt idx="398">
                  <c:v>1.1341859423948299E-2</c:v>
                </c:pt>
                <c:pt idx="399">
                  <c:v>1.13416111228443E-2</c:v>
                </c:pt>
                <c:pt idx="400">
                  <c:v>1.1358059463254E-2</c:v>
                </c:pt>
                <c:pt idx="401">
                  <c:v>1.1290887632826299E-2</c:v>
                </c:pt>
                <c:pt idx="402">
                  <c:v>1.1311904673383701E-2</c:v>
                </c:pt>
                <c:pt idx="403">
                  <c:v>1.1174850445460099E-2</c:v>
                </c:pt>
                <c:pt idx="404">
                  <c:v>1.1149154011334801E-2</c:v>
                </c:pt>
                <c:pt idx="405">
                  <c:v>1.10102686898647E-2</c:v>
                </c:pt>
                <c:pt idx="406">
                  <c:v>1.0997067173166199E-2</c:v>
                </c:pt>
                <c:pt idx="407">
                  <c:v>1.1006831738833499E-2</c:v>
                </c:pt>
                <c:pt idx="408">
                  <c:v>1.10001240305933E-2</c:v>
                </c:pt>
                <c:pt idx="409">
                  <c:v>1.1013156449296299E-2</c:v>
                </c:pt>
                <c:pt idx="410">
                  <c:v>1.11416029634875E-2</c:v>
                </c:pt>
                <c:pt idx="411">
                  <c:v>1.1119030110452399E-2</c:v>
                </c:pt>
                <c:pt idx="412">
                  <c:v>1.1128889233054599E-2</c:v>
                </c:pt>
                <c:pt idx="413">
                  <c:v>1.11276900001114E-2</c:v>
                </c:pt>
                <c:pt idx="414">
                  <c:v>1.11148651096541E-2</c:v>
                </c:pt>
                <c:pt idx="415">
                  <c:v>1.11144451399525E-2</c:v>
                </c:pt>
                <c:pt idx="416">
                  <c:v>1.11152043238881E-2</c:v>
                </c:pt>
                <c:pt idx="417">
                  <c:v>1.11317621047909E-2</c:v>
                </c:pt>
                <c:pt idx="418">
                  <c:v>1.11432985811923E-2</c:v>
                </c:pt>
                <c:pt idx="419">
                  <c:v>1.1275491780439699E-2</c:v>
                </c:pt>
                <c:pt idx="420">
                  <c:v>1.12872690153622E-2</c:v>
                </c:pt>
                <c:pt idx="421">
                  <c:v>1.1311484898989799E-2</c:v>
                </c:pt>
                <c:pt idx="422">
                  <c:v>1.1335843606879999E-2</c:v>
                </c:pt>
                <c:pt idx="423">
                  <c:v>1.1229042435268699E-2</c:v>
                </c:pt>
                <c:pt idx="424">
                  <c:v>1.13117025931835E-2</c:v>
                </c:pt>
                <c:pt idx="425">
                  <c:v>1.1291638226153901E-2</c:v>
                </c:pt>
                <c:pt idx="426">
                  <c:v>1.13139669841467E-2</c:v>
                </c:pt>
                <c:pt idx="427">
                  <c:v>1.1187296093583699E-2</c:v>
                </c:pt>
                <c:pt idx="428">
                  <c:v>1.11970449023641E-2</c:v>
                </c:pt>
                <c:pt idx="429">
                  <c:v>1.1255535033874499E-2</c:v>
                </c:pt>
                <c:pt idx="430">
                  <c:v>1.13582354435317E-2</c:v>
                </c:pt>
                <c:pt idx="431">
                  <c:v>1.12966845221901E-2</c:v>
                </c:pt>
                <c:pt idx="432">
                  <c:v>1.1259333669037501E-2</c:v>
                </c:pt>
                <c:pt idx="433">
                  <c:v>1.1313820432196101E-2</c:v>
                </c:pt>
                <c:pt idx="434">
                  <c:v>1.1314849098097299E-2</c:v>
                </c:pt>
                <c:pt idx="435">
                  <c:v>1.08171570022442E-2</c:v>
                </c:pt>
                <c:pt idx="436">
                  <c:v>1.0851199148249601E-2</c:v>
                </c:pt>
                <c:pt idx="437">
                  <c:v>1.08139994643205E-2</c:v>
                </c:pt>
                <c:pt idx="438">
                  <c:v>1.08173068840061E-2</c:v>
                </c:pt>
                <c:pt idx="439">
                  <c:v>1.0825642017188299E-2</c:v>
                </c:pt>
                <c:pt idx="440">
                  <c:v>1.07558179350423E-2</c:v>
                </c:pt>
                <c:pt idx="441">
                  <c:v>1.0847174740509899E-2</c:v>
                </c:pt>
                <c:pt idx="442">
                  <c:v>1.08429237642854E-2</c:v>
                </c:pt>
                <c:pt idx="443">
                  <c:v>1.0803008279961199E-2</c:v>
                </c:pt>
                <c:pt idx="444">
                  <c:v>1.0777771348279799E-2</c:v>
                </c:pt>
                <c:pt idx="445">
                  <c:v>1.07785384257559E-2</c:v>
                </c:pt>
                <c:pt idx="446">
                  <c:v>1.0882587003064499E-2</c:v>
                </c:pt>
                <c:pt idx="447">
                  <c:v>1.08434414148147E-2</c:v>
                </c:pt>
                <c:pt idx="448">
                  <c:v>1.0907204187712301E-2</c:v>
                </c:pt>
                <c:pt idx="449">
                  <c:v>1.08893571584429E-2</c:v>
                </c:pt>
                <c:pt idx="450">
                  <c:v>1.09076796298635E-2</c:v>
                </c:pt>
                <c:pt idx="451">
                  <c:v>1.0926794784445699E-2</c:v>
                </c:pt>
                <c:pt idx="452">
                  <c:v>1.0917133869197401E-2</c:v>
                </c:pt>
                <c:pt idx="453">
                  <c:v>1.0968356091458501E-2</c:v>
                </c:pt>
                <c:pt idx="454">
                  <c:v>1.09594573775127E-2</c:v>
                </c:pt>
                <c:pt idx="455">
                  <c:v>1.09665421363749E-2</c:v>
                </c:pt>
                <c:pt idx="456">
                  <c:v>1.0958399766076101E-2</c:v>
                </c:pt>
                <c:pt idx="457">
                  <c:v>1.0959706485148501E-2</c:v>
                </c:pt>
                <c:pt idx="458">
                  <c:v>1.09969605634513E-2</c:v>
                </c:pt>
                <c:pt idx="459">
                  <c:v>1.10118949361369E-2</c:v>
                </c:pt>
                <c:pt idx="460">
                  <c:v>1.10118621528793E-2</c:v>
                </c:pt>
                <c:pt idx="461">
                  <c:v>1.1100710976452899E-2</c:v>
                </c:pt>
                <c:pt idx="462">
                  <c:v>1.1093343535522901E-2</c:v>
                </c:pt>
                <c:pt idx="463">
                  <c:v>1.1093339555472899E-2</c:v>
                </c:pt>
                <c:pt idx="464">
                  <c:v>1.11565607108531E-2</c:v>
                </c:pt>
                <c:pt idx="465">
                  <c:v>1.11649394870314E-2</c:v>
                </c:pt>
                <c:pt idx="466">
                  <c:v>1.11649269755796E-2</c:v>
                </c:pt>
                <c:pt idx="467">
                  <c:v>1.1117812179855399E-2</c:v>
                </c:pt>
                <c:pt idx="468">
                  <c:v>1.11200490009725E-2</c:v>
                </c:pt>
                <c:pt idx="469">
                  <c:v>1.1118129730328699E-2</c:v>
                </c:pt>
                <c:pt idx="470">
                  <c:v>1.1109765028189601E-2</c:v>
                </c:pt>
                <c:pt idx="471">
                  <c:v>1.1132660102329099E-2</c:v>
                </c:pt>
                <c:pt idx="472">
                  <c:v>1.1132576534102901E-2</c:v>
                </c:pt>
                <c:pt idx="473">
                  <c:v>1.11413161318494E-2</c:v>
                </c:pt>
                <c:pt idx="474">
                  <c:v>1.11479258736951E-2</c:v>
                </c:pt>
                <c:pt idx="475">
                  <c:v>1.11507786194039E-2</c:v>
                </c:pt>
                <c:pt idx="476">
                  <c:v>1.11431171916931E-2</c:v>
                </c:pt>
                <c:pt idx="477">
                  <c:v>1.11479927521106E-2</c:v>
                </c:pt>
                <c:pt idx="478">
                  <c:v>1.11288724602812E-2</c:v>
                </c:pt>
                <c:pt idx="479">
                  <c:v>1.1129038568850501E-2</c:v>
                </c:pt>
                <c:pt idx="480">
                  <c:v>1.11224054679989E-2</c:v>
                </c:pt>
                <c:pt idx="481">
                  <c:v>1.11253150024804E-2</c:v>
                </c:pt>
                <c:pt idx="482">
                  <c:v>1.1109078436329E-2</c:v>
                </c:pt>
                <c:pt idx="483">
                  <c:v>1.1151076215148501E-2</c:v>
                </c:pt>
                <c:pt idx="484">
                  <c:v>1.11700569447023E-2</c:v>
                </c:pt>
                <c:pt idx="485">
                  <c:v>1.1176476751161801E-2</c:v>
                </c:pt>
                <c:pt idx="486">
                  <c:v>1.12081670830101E-2</c:v>
                </c:pt>
                <c:pt idx="487">
                  <c:v>1.12171945904671E-2</c:v>
                </c:pt>
                <c:pt idx="488">
                  <c:v>1.12305643632014E-2</c:v>
                </c:pt>
                <c:pt idx="489">
                  <c:v>1.1181850734885699E-2</c:v>
                </c:pt>
                <c:pt idx="490">
                  <c:v>1.1209790057722401E-2</c:v>
                </c:pt>
                <c:pt idx="491">
                  <c:v>1.11662453824462E-2</c:v>
                </c:pt>
                <c:pt idx="492">
                  <c:v>1.1075635994470799E-2</c:v>
                </c:pt>
                <c:pt idx="493">
                  <c:v>1.10670631095537E-2</c:v>
                </c:pt>
                <c:pt idx="494">
                  <c:v>1.1118091253827799E-2</c:v>
                </c:pt>
                <c:pt idx="495">
                  <c:v>1.1121305866721099E-2</c:v>
                </c:pt>
                <c:pt idx="496">
                  <c:v>1.1245443394744E-2</c:v>
                </c:pt>
                <c:pt idx="497">
                  <c:v>1.1180153121560499E-2</c:v>
                </c:pt>
                <c:pt idx="498">
                  <c:v>1.12709615691272E-2</c:v>
                </c:pt>
                <c:pt idx="499">
                  <c:v>1.1227579540077999E-2</c:v>
                </c:pt>
                <c:pt idx="500">
                  <c:v>1.11701419226456E-2</c:v>
                </c:pt>
                <c:pt idx="501">
                  <c:v>1.1166624384895201E-2</c:v>
                </c:pt>
                <c:pt idx="502">
                  <c:v>1.0944782779772001E-2</c:v>
                </c:pt>
                <c:pt idx="503">
                  <c:v>1.0901780192304001E-2</c:v>
                </c:pt>
                <c:pt idx="504">
                  <c:v>1.09006745569609E-2</c:v>
                </c:pt>
                <c:pt idx="505">
                  <c:v>1.0892340646714E-2</c:v>
                </c:pt>
                <c:pt idx="506">
                  <c:v>1.07538615852653E-2</c:v>
                </c:pt>
                <c:pt idx="507">
                  <c:v>1.07342910505642E-2</c:v>
                </c:pt>
                <c:pt idx="508">
                  <c:v>1.0627383186275E-2</c:v>
                </c:pt>
                <c:pt idx="509">
                  <c:v>1.0715978567073599E-2</c:v>
                </c:pt>
                <c:pt idx="510">
                  <c:v>1.0721337751793901E-2</c:v>
                </c:pt>
                <c:pt idx="511">
                  <c:v>1.0701357868557099E-2</c:v>
                </c:pt>
                <c:pt idx="512">
                  <c:v>1.07394125216284E-2</c:v>
                </c:pt>
                <c:pt idx="513">
                  <c:v>1.0741820416209099E-2</c:v>
                </c:pt>
                <c:pt idx="514">
                  <c:v>1.0763062764667101E-2</c:v>
                </c:pt>
                <c:pt idx="515">
                  <c:v>1.07531139576403E-2</c:v>
                </c:pt>
                <c:pt idx="516">
                  <c:v>1.0787343730174301E-2</c:v>
                </c:pt>
                <c:pt idx="517">
                  <c:v>1.0792987401361301E-2</c:v>
                </c:pt>
                <c:pt idx="518">
                  <c:v>1.0827702671770899E-2</c:v>
                </c:pt>
                <c:pt idx="519">
                  <c:v>1.0823575811812701E-2</c:v>
                </c:pt>
                <c:pt idx="520">
                  <c:v>1.0823940732611901E-2</c:v>
                </c:pt>
                <c:pt idx="521">
                  <c:v>1.08891363596854E-2</c:v>
                </c:pt>
                <c:pt idx="522">
                  <c:v>1.09333199731827E-2</c:v>
                </c:pt>
                <c:pt idx="523">
                  <c:v>1.0910484970855E-2</c:v>
                </c:pt>
                <c:pt idx="524">
                  <c:v>1.0961488143661101E-2</c:v>
                </c:pt>
                <c:pt idx="525">
                  <c:v>1.0967420469727001E-2</c:v>
                </c:pt>
                <c:pt idx="526">
                  <c:v>1.09674571863993E-2</c:v>
                </c:pt>
                <c:pt idx="527">
                  <c:v>1.09251330997921E-2</c:v>
                </c:pt>
                <c:pt idx="528">
                  <c:v>1.0935120612228399E-2</c:v>
                </c:pt>
                <c:pt idx="529">
                  <c:v>1.09471867231057E-2</c:v>
                </c:pt>
                <c:pt idx="530">
                  <c:v>1.09920117962984E-2</c:v>
                </c:pt>
                <c:pt idx="531">
                  <c:v>1.10120956514838E-2</c:v>
                </c:pt>
                <c:pt idx="532">
                  <c:v>1.10511167241641E-2</c:v>
                </c:pt>
                <c:pt idx="533">
                  <c:v>1.1038547787895399E-2</c:v>
                </c:pt>
                <c:pt idx="534">
                  <c:v>1.12093892888212E-2</c:v>
                </c:pt>
                <c:pt idx="535">
                  <c:v>1.1193332719211699E-2</c:v>
                </c:pt>
                <c:pt idx="536">
                  <c:v>1.1192270222776199E-2</c:v>
                </c:pt>
                <c:pt idx="537">
                  <c:v>1.11886777375388E-2</c:v>
                </c:pt>
                <c:pt idx="538">
                  <c:v>1.11857591204101E-2</c:v>
                </c:pt>
                <c:pt idx="539">
                  <c:v>1.11515822202403E-2</c:v>
                </c:pt>
                <c:pt idx="540">
                  <c:v>1.11523288079641E-2</c:v>
                </c:pt>
                <c:pt idx="541">
                  <c:v>1.12332902398601E-2</c:v>
                </c:pt>
                <c:pt idx="542">
                  <c:v>1.12146120501338E-2</c:v>
                </c:pt>
                <c:pt idx="543">
                  <c:v>1.1213821955997599E-2</c:v>
                </c:pt>
                <c:pt idx="544">
                  <c:v>1.1250604428911E-2</c:v>
                </c:pt>
                <c:pt idx="545">
                  <c:v>1.13710149478423E-2</c:v>
                </c:pt>
                <c:pt idx="546">
                  <c:v>1.1363846285855199E-2</c:v>
                </c:pt>
                <c:pt idx="547">
                  <c:v>1.13664869428908E-2</c:v>
                </c:pt>
                <c:pt idx="548">
                  <c:v>1.12860190262529E-2</c:v>
                </c:pt>
                <c:pt idx="549">
                  <c:v>1.1392270648187101E-2</c:v>
                </c:pt>
                <c:pt idx="550">
                  <c:v>1.1393021656281199E-2</c:v>
                </c:pt>
                <c:pt idx="551">
                  <c:v>1.1419016869425499E-2</c:v>
                </c:pt>
                <c:pt idx="552">
                  <c:v>1.1416189173475101E-2</c:v>
                </c:pt>
                <c:pt idx="553">
                  <c:v>1.1411442161007E-2</c:v>
                </c:pt>
                <c:pt idx="554">
                  <c:v>1.13630147532E-2</c:v>
                </c:pt>
                <c:pt idx="555">
                  <c:v>1.13869020546521E-2</c:v>
                </c:pt>
                <c:pt idx="556">
                  <c:v>1.13938323870759E-2</c:v>
                </c:pt>
                <c:pt idx="557">
                  <c:v>1.1397307798711899E-2</c:v>
                </c:pt>
                <c:pt idx="558">
                  <c:v>1.15280411559562E-2</c:v>
                </c:pt>
                <c:pt idx="559">
                  <c:v>1.15413005316496E-2</c:v>
                </c:pt>
                <c:pt idx="560">
                  <c:v>1.15383806511636E-2</c:v>
                </c:pt>
                <c:pt idx="561">
                  <c:v>1.1537162048488901E-2</c:v>
                </c:pt>
                <c:pt idx="562">
                  <c:v>1.1540931323129101E-2</c:v>
                </c:pt>
                <c:pt idx="563">
                  <c:v>1.1561705044631001E-2</c:v>
                </c:pt>
                <c:pt idx="564">
                  <c:v>1.15768303453608E-2</c:v>
                </c:pt>
                <c:pt idx="565">
                  <c:v>1.1554172705702101E-2</c:v>
                </c:pt>
                <c:pt idx="566">
                  <c:v>1.1566446986526599E-2</c:v>
                </c:pt>
                <c:pt idx="567">
                  <c:v>1.1567768270850201E-2</c:v>
                </c:pt>
                <c:pt idx="568">
                  <c:v>1.156771020414E-2</c:v>
                </c:pt>
                <c:pt idx="569">
                  <c:v>1.1566631387025499E-2</c:v>
                </c:pt>
                <c:pt idx="570">
                  <c:v>1.15643785092576E-2</c:v>
                </c:pt>
                <c:pt idx="571">
                  <c:v>1.1586122580376E-2</c:v>
                </c:pt>
                <c:pt idx="572">
                  <c:v>1.15869430804204E-2</c:v>
                </c:pt>
                <c:pt idx="573">
                  <c:v>1.15833498816807E-2</c:v>
                </c:pt>
                <c:pt idx="574">
                  <c:v>1.1585630474634101E-2</c:v>
                </c:pt>
                <c:pt idx="575">
                  <c:v>1.16045685666222E-2</c:v>
                </c:pt>
                <c:pt idx="576">
                  <c:v>1.1602296178128999E-2</c:v>
                </c:pt>
                <c:pt idx="577">
                  <c:v>1.1651031151234999E-2</c:v>
                </c:pt>
                <c:pt idx="578">
                  <c:v>1.1687969909283599E-2</c:v>
                </c:pt>
                <c:pt idx="579">
                  <c:v>1.1692627461819E-2</c:v>
                </c:pt>
                <c:pt idx="580">
                  <c:v>1.1670446787493001E-2</c:v>
                </c:pt>
                <c:pt idx="581">
                  <c:v>1.16713881020817E-2</c:v>
                </c:pt>
                <c:pt idx="582">
                  <c:v>1.1672235763737E-2</c:v>
                </c:pt>
                <c:pt idx="583">
                  <c:v>1.1677360955667E-2</c:v>
                </c:pt>
                <c:pt idx="584">
                  <c:v>1.1721434437351101E-2</c:v>
                </c:pt>
                <c:pt idx="585">
                  <c:v>1.1664414618573499E-2</c:v>
                </c:pt>
                <c:pt idx="586">
                  <c:v>1.17404159043257E-2</c:v>
                </c:pt>
                <c:pt idx="587">
                  <c:v>1.1898956712611901E-2</c:v>
                </c:pt>
                <c:pt idx="588">
                  <c:v>1.2187065228261001E-2</c:v>
                </c:pt>
                <c:pt idx="589">
                  <c:v>1.21910034983776E-2</c:v>
                </c:pt>
                <c:pt idx="590">
                  <c:v>1.23559556332512E-2</c:v>
                </c:pt>
                <c:pt idx="591">
                  <c:v>1.2548786179748301E-2</c:v>
                </c:pt>
                <c:pt idx="592">
                  <c:v>1.2555749196326601E-2</c:v>
                </c:pt>
                <c:pt idx="593">
                  <c:v>1.26224964930675E-2</c:v>
                </c:pt>
                <c:pt idx="594">
                  <c:v>1.2779606677427899E-2</c:v>
                </c:pt>
                <c:pt idx="595">
                  <c:v>1.2820670811675801E-2</c:v>
                </c:pt>
                <c:pt idx="596">
                  <c:v>1.28216373057836E-2</c:v>
                </c:pt>
                <c:pt idx="597">
                  <c:v>1.28122962662316E-2</c:v>
                </c:pt>
                <c:pt idx="598">
                  <c:v>1.28306417031644E-2</c:v>
                </c:pt>
                <c:pt idx="599">
                  <c:v>1.2857022838317999E-2</c:v>
                </c:pt>
                <c:pt idx="600">
                  <c:v>1.29132587357139E-2</c:v>
                </c:pt>
                <c:pt idx="601">
                  <c:v>1.2912407178432801E-2</c:v>
                </c:pt>
                <c:pt idx="602">
                  <c:v>1.2975103551648199E-2</c:v>
                </c:pt>
                <c:pt idx="603">
                  <c:v>1.2953151734185001E-2</c:v>
                </c:pt>
                <c:pt idx="604">
                  <c:v>1.32020991912214E-2</c:v>
                </c:pt>
                <c:pt idx="605">
                  <c:v>1.31772083735329E-2</c:v>
                </c:pt>
                <c:pt idx="606">
                  <c:v>1.3163563174903499E-2</c:v>
                </c:pt>
                <c:pt idx="607">
                  <c:v>1.3162825331191201E-2</c:v>
                </c:pt>
                <c:pt idx="608">
                  <c:v>1.3163866392547199E-2</c:v>
                </c:pt>
                <c:pt idx="609">
                  <c:v>1.3100116020527601E-2</c:v>
                </c:pt>
                <c:pt idx="610">
                  <c:v>1.31240689588383E-2</c:v>
                </c:pt>
                <c:pt idx="611">
                  <c:v>1.31398019193879E-2</c:v>
                </c:pt>
                <c:pt idx="612">
                  <c:v>1.3153643836878901E-2</c:v>
                </c:pt>
                <c:pt idx="613">
                  <c:v>1.31444437097714E-2</c:v>
                </c:pt>
                <c:pt idx="614">
                  <c:v>1.3142633819066199E-2</c:v>
                </c:pt>
                <c:pt idx="615">
                  <c:v>1.3180562098248499E-2</c:v>
                </c:pt>
                <c:pt idx="616">
                  <c:v>1.3196793755153599E-2</c:v>
                </c:pt>
                <c:pt idx="617">
                  <c:v>1.31004225036104E-2</c:v>
                </c:pt>
                <c:pt idx="618">
                  <c:v>1.31441295696005E-2</c:v>
                </c:pt>
                <c:pt idx="619">
                  <c:v>1.32081252251245E-2</c:v>
                </c:pt>
                <c:pt idx="620">
                  <c:v>1.31985686532632E-2</c:v>
                </c:pt>
                <c:pt idx="621">
                  <c:v>1.3198788116745601E-2</c:v>
                </c:pt>
                <c:pt idx="622">
                  <c:v>1.3193801343527999E-2</c:v>
                </c:pt>
                <c:pt idx="623">
                  <c:v>1.33849447176356E-2</c:v>
                </c:pt>
                <c:pt idx="624">
                  <c:v>1.33893022561027E-2</c:v>
                </c:pt>
                <c:pt idx="625">
                  <c:v>1.3372696937812499E-2</c:v>
                </c:pt>
                <c:pt idx="626">
                  <c:v>1.33361268868563E-2</c:v>
                </c:pt>
                <c:pt idx="627">
                  <c:v>1.33319394110188E-2</c:v>
                </c:pt>
                <c:pt idx="628">
                  <c:v>1.32987171837478E-2</c:v>
                </c:pt>
                <c:pt idx="629">
                  <c:v>1.3286169925834699E-2</c:v>
                </c:pt>
                <c:pt idx="630">
                  <c:v>1.32891064039081E-2</c:v>
                </c:pt>
                <c:pt idx="631">
                  <c:v>1.3290172348353901E-2</c:v>
                </c:pt>
                <c:pt idx="632">
                  <c:v>1.32536776793437E-2</c:v>
                </c:pt>
                <c:pt idx="633">
                  <c:v>1.3259587574701999E-2</c:v>
                </c:pt>
                <c:pt idx="634">
                  <c:v>1.32509220162111E-2</c:v>
                </c:pt>
                <c:pt idx="635">
                  <c:v>1.3249139432004E-2</c:v>
                </c:pt>
                <c:pt idx="636">
                  <c:v>1.3245283052357301E-2</c:v>
                </c:pt>
                <c:pt idx="637">
                  <c:v>1.32079477545568E-2</c:v>
                </c:pt>
                <c:pt idx="638">
                  <c:v>1.30899991025586E-2</c:v>
                </c:pt>
                <c:pt idx="639">
                  <c:v>1.30686036355653E-2</c:v>
                </c:pt>
                <c:pt idx="640">
                  <c:v>1.2942688866672001E-2</c:v>
                </c:pt>
                <c:pt idx="641">
                  <c:v>1.29412018987668E-2</c:v>
                </c:pt>
                <c:pt idx="642">
                  <c:v>1.29582691367395E-2</c:v>
                </c:pt>
                <c:pt idx="643">
                  <c:v>1.29165360316229E-2</c:v>
                </c:pt>
                <c:pt idx="644">
                  <c:v>1.2926089222270299E-2</c:v>
                </c:pt>
                <c:pt idx="645">
                  <c:v>1.28816440190202E-2</c:v>
                </c:pt>
                <c:pt idx="646">
                  <c:v>1.28861651764742E-2</c:v>
                </c:pt>
                <c:pt idx="647">
                  <c:v>1.28847370676722E-2</c:v>
                </c:pt>
                <c:pt idx="648">
                  <c:v>1.2882018590346499E-2</c:v>
                </c:pt>
                <c:pt idx="649">
                  <c:v>1.2884219557772299E-2</c:v>
                </c:pt>
                <c:pt idx="650">
                  <c:v>1.2882831187211801E-2</c:v>
                </c:pt>
                <c:pt idx="651">
                  <c:v>1.29051322317555E-2</c:v>
                </c:pt>
                <c:pt idx="652">
                  <c:v>1.28759489793609E-2</c:v>
                </c:pt>
                <c:pt idx="653">
                  <c:v>1.2980666466201701E-2</c:v>
                </c:pt>
                <c:pt idx="654">
                  <c:v>1.3027853619709999E-2</c:v>
                </c:pt>
                <c:pt idx="655">
                  <c:v>1.30276209668637E-2</c:v>
                </c:pt>
                <c:pt idx="656">
                  <c:v>1.30258211692134E-2</c:v>
                </c:pt>
                <c:pt idx="657">
                  <c:v>1.30184192991839E-2</c:v>
                </c:pt>
                <c:pt idx="658">
                  <c:v>1.3019105447083601E-2</c:v>
                </c:pt>
                <c:pt idx="659">
                  <c:v>1.3009974831898301E-2</c:v>
                </c:pt>
                <c:pt idx="660">
                  <c:v>1.2893475593758899E-2</c:v>
                </c:pt>
                <c:pt idx="661">
                  <c:v>1.2931691699170101E-2</c:v>
                </c:pt>
                <c:pt idx="662">
                  <c:v>1.2933530943554299E-2</c:v>
                </c:pt>
                <c:pt idx="663">
                  <c:v>1.2944702344127699E-2</c:v>
                </c:pt>
                <c:pt idx="664">
                  <c:v>1.29450912899652E-2</c:v>
                </c:pt>
                <c:pt idx="665">
                  <c:v>1.29558266760114E-2</c:v>
                </c:pt>
                <c:pt idx="666">
                  <c:v>1.2950126417303601E-2</c:v>
                </c:pt>
                <c:pt idx="667">
                  <c:v>1.29360032389355E-2</c:v>
                </c:pt>
                <c:pt idx="668">
                  <c:v>1.29236303804857E-2</c:v>
                </c:pt>
                <c:pt idx="669">
                  <c:v>1.2790999836770799E-2</c:v>
                </c:pt>
                <c:pt idx="670">
                  <c:v>1.28417316337963E-2</c:v>
                </c:pt>
                <c:pt idx="671">
                  <c:v>1.28263394650608E-2</c:v>
                </c:pt>
                <c:pt idx="672">
                  <c:v>1.27966955361413E-2</c:v>
                </c:pt>
                <c:pt idx="673">
                  <c:v>1.2786999939509601E-2</c:v>
                </c:pt>
                <c:pt idx="674">
                  <c:v>1.28282118376462E-2</c:v>
                </c:pt>
                <c:pt idx="675">
                  <c:v>1.28720580111017E-2</c:v>
                </c:pt>
                <c:pt idx="676">
                  <c:v>1.2853828966156999E-2</c:v>
                </c:pt>
                <c:pt idx="677">
                  <c:v>1.2860362190434399E-2</c:v>
                </c:pt>
                <c:pt idx="678">
                  <c:v>1.2879454380474E-2</c:v>
                </c:pt>
                <c:pt idx="679">
                  <c:v>1.28036400628928E-2</c:v>
                </c:pt>
                <c:pt idx="680">
                  <c:v>1.2754139575148E-2</c:v>
                </c:pt>
                <c:pt idx="681">
                  <c:v>1.26836642829529E-2</c:v>
                </c:pt>
                <c:pt idx="682">
                  <c:v>1.3101876665204E-2</c:v>
                </c:pt>
                <c:pt idx="683">
                  <c:v>1.30515043539249E-2</c:v>
                </c:pt>
                <c:pt idx="684">
                  <c:v>1.3141453915816699E-2</c:v>
                </c:pt>
                <c:pt idx="685">
                  <c:v>1.31483407187067E-2</c:v>
                </c:pt>
                <c:pt idx="686">
                  <c:v>1.31043118002273E-2</c:v>
                </c:pt>
                <c:pt idx="687">
                  <c:v>1.31294296222798E-2</c:v>
                </c:pt>
                <c:pt idx="688">
                  <c:v>1.31893747687272E-2</c:v>
                </c:pt>
                <c:pt idx="689">
                  <c:v>1.3254249834835001E-2</c:v>
                </c:pt>
                <c:pt idx="690">
                  <c:v>1.3254348880697001E-2</c:v>
                </c:pt>
                <c:pt idx="691">
                  <c:v>1.3168841671988901E-2</c:v>
                </c:pt>
                <c:pt idx="692">
                  <c:v>1.31637511626135E-2</c:v>
                </c:pt>
                <c:pt idx="693">
                  <c:v>1.31555833067883E-2</c:v>
                </c:pt>
                <c:pt idx="694">
                  <c:v>1.3155614382538299E-2</c:v>
                </c:pt>
                <c:pt idx="695">
                  <c:v>1.3177758878530701E-2</c:v>
                </c:pt>
                <c:pt idx="696">
                  <c:v>1.3112275008964801E-2</c:v>
                </c:pt>
                <c:pt idx="697">
                  <c:v>1.31133257496929E-2</c:v>
                </c:pt>
                <c:pt idx="698">
                  <c:v>1.30660742837729E-2</c:v>
                </c:pt>
                <c:pt idx="699">
                  <c:v>1.31185549267496E-2</c:v>
                </c:pt>
                <c:pt idx="700">
                  <c:v>1.3094056433793799E-2</c:v>
                </c:pt>
                <c:pt idx="701">
                  <c:v>1.3146381382585099E-2</c:v>
                </c:pt>
                <c:pt idx="702">
                  <c:v>1.31515798189491E-2</c:v>
                </c:pt>
                <c:pt idx="703">
                  <c:v>1.31196833913266E-2</c:v>
                </c:pt>
                <c:pt idx="704">
                  <c:v>1.31503360904717E-2</c:v>
                </c:pt>
                <c:pt idx="705">
                  <c:v>1.3159681672769499E-2</c:v>
                </c:pt>
                <c:pt idx="706">
                  <c:v>1.3126822556114401E-2</c:v>
                </c:pt>
                <c:pt idx="707">
                  <c:v>1.3153382645940801E-2</c:v>
                </c:pt>
                <c:pt idx="708">
                  <c:v>1.30652936761349E-2</c:v>
                </c:pt>
                <c:pt idx="709">
                  <c:v>1.3091956873723901E-2</c:v>
                </c:pt>
                <c:pt idx="710">
                  <c:v>1.3093666314323399E-2</c:v>
                </c:pt>
                <c:pt idx="711">
                  <c:v>1.30127622082094E-2</c:v>
                </c:pt>
                <c:pt idx="712">
                  <c:v>1.30080243976673E-2</c:v>
                </c:pt>
                <c:pt idx="713">
                  <c:v>1.3006364384091701E-2</c:v>
                </c:pt>
                <c:pt idx="714">
                  <c:v>1.296346473825E-2</c:v>
                </c:pt>
                <c:pt idx="715">
                  <c:v>1.2967094080974099E-2</c:v>
                </c:pt>
                <c:pt idx="716">
                  <c:v>1.29695419150095E-2</c:v>
                </c:pt>
                <c:pt idx="717">
                  <c:v>1.319726896398E-2</c:v>
                </c:pt>
                <c:pt idx="718">
                  <c:v>1.32312759098559E-2</c:v>
                </c:pt>
                <c:pt idx="719">
                  <c:v>1.3235160633079401E-2</c:v>
                </c:pt>
                <c:pt idx="720">
                  <c:v>1.3296279066082601E-2</c:v>
                </c:pt>
                <c:pt idx="721">
                  <c:v>1.33073023731514E-2</c:v>
                </c:pt>
                <c:pt idx="722">
                  <c:v>1.3367892850350799E-2</c:v>
                </c:pt>
                <c:pt idx="723">
                  <c:v>1.3357710403407601E-2</c:v>
                </c:pt>
                <c:pt idx="724">
                  <c:v>1.3379776758766299E-2</c:v>
                </c:pt>
                <c:pt idx="725">
                  <c:v>1.3455068105556699E-2</c:v>
                </c:pt>
                <c:pt idx="726">
                  <c:v>1.3478523599531601E-2</c:v>
                </c:pt>
                <c:pt idx="727">
                  <c:v>1.3490673377980799E-2</c:v>
                </c:pt>
                <c:pt idx="728">
                  <c:v>1.35030900543177E-2</c:v>
                </c:pt>
                <c:pt idx="729">
                  <c:v>1.35039940360144E-2</c:v>
                </c:pt>
                <c:pt idx="730">
                  <c:v>1.34622070064569E-2</c:v>
                </c:pt>
                <c:pt idx="731">
                  <c:v>1.34662023437782E-2</c:v>
                </c:pt>
                <c:pt idx="732">
                  <c:v>1.3461932206680899E-2</c:v>
                </c:pt>
                <c:pt idx="733">
                  <c:v>1.3439538287565099E-2</c:v>
                </c:pt>
                <c:pt idx="734">
                  <c:v>1.34404039165702E-2</c:v>
                </c:pt>
                <c:pt idx="735">
                  <c:v>1.34379571461457E-2</c:v>
                </c:pt>
                <c:pt idx="736">
                  <c:v>1.3460602947224299E-2</c:v>
                </c:pt>
                <c:pt idx="737">
                  <c:v>1.3465300949682299E-2</c:v>
                </c:pt>
                <c:pt idx="738">
                  <c:v>1.35416996217792E-2</c:v>
                </c:pt>
                <c:pt idx="739">
                  <c:v>1.3539942816847301E-2</c:v>
                </c:pt>
                <c:pt idx="740">
                  <c:v>1.35276867734245E-2</c:v>
                </c:pt>
                <c:pt idx="741">
                  <c:v>1.35675305391951E-2</c:v>
                </c:pt>
                <c:pt idx="742">
                  <c:v>1.3558561782325999E-2</c:v>
                </c:pt>
                <c:pt idx="743">
                  <c:v>1.35798199839433E-2</c:v>
                </c:pt>
                <c:pt idx="744">
                  <c:v>1.35409203664551E-2</c:v>
                </c:pt>
                <c:pt idx="745">
                  <c:v>1.3536672340549999E-2</c:v>
                </c:pt>
                <c:pt idx="746">
                  <c:v>1.3438524877617101E-2</c:v>
                </c:pt>
                <c:pt idx="747">
                  <c:v>1.3432780627743E-2</c:v>
                </c:pt>
                <c:pt idx="748">
                  <c:v>1.3413752987669E-2</c:v>
                </c:pt>
                <c:pt idx="749">
                  <c:v>1.3420498204815799E-2</c:v>
                </c:pt>
                <c:pt idx="750">
                  <c:v>1.33545293850252E-2</c:v>
                </c:pt>
                <c:pt idx="751">
                  <c:v>1.3363187290932801E-2</c:v>
                </c:pt>
                <c:pt idx="752">
                  <c:v>1.33454614930108E-2</c:v>
                </c:pt>
                <c:pt idx="753">
                  <c:v>1.33561830864564E-2</c:v>
                </c:pt>
                <c:pt idx="754">
                  <c:v>1.3352654918879801E-2</c:v>
                </c:pt>
                <c:pt idx="755">
                  <c:v>1.34060095781194E-2</c:v>
                </c:pt>
                <c:pt idx="756">
                  <c:v>1.34714133269871E-2</c:v>
                </c:pt>
                <c:pt idx="757">
                  <c:v>1.3423674083590201E-2</c:v>
                </c:pt>
                <c:pt idx="758">
                  <c:v>1.3524936258791901E-2</c:v>
                </c:pt>
                <c:pt idx="759">
                  <c:v>1.34469918190724E-2</c:v>
                </c:pt>
                <c:pt idx="760">
                  <c:v>1.43665166661296E-2</c:v>
                </c:pt>
                <c:pt idx="761">
                  <c:v>1.43729015945946E-2</c:v>
                </c:pt>
                <c:pt idx="762">
                  <c:v>1.43890523139657E-2</c:v>
                </c:pt>
                <c:pt idx="763">
                  <c:v>1.4378377566238601E-2</c:v>
                </c:pt>
                <c:pt idx="764">
                  <c:v>1.4363044765945699E-2</c:v>
                </c:pt>
                <c:pt idx="765">
                  <c:v>1.44074906428456E-2</c:v>
                </c:pt>
                <c:pt idx="766">
                  <c:v>1.4418120261580099E-2</c:v>
                </c:pt>
                <c:pt idx="767">
                  <c:v>1.4397139507649899E-2</c:v>
                </c:pt>
                <c:pt idx="768">
                  <c:v>1.44731747238159E-2</c:v>
                </c:pt>
                <c:pt idx="769">
                  <c:v>1.4486797160685299E-2</c:v>
                </c:pt>
                <c:pt idx="770">
                  <c:v>1.4491212969447401E-2</c:v>
                </c:pt>
                <c:pt idx="771">
                  <c:v>1.4434652634092099E-2</c:v>
                </c:pt>
                <c:pt idx="772">
                  <c:v>1.4393675912143499E-2</c:v>
                </c:pt>
                <c:pt idx="773">
                  <c:v>1.4446376743572501E-2</c:v>
                </c:pt>
                <c:pt idx="774">
                  <c:v>1.4407818191989301E-2</c:v>
                </c:pt>
                <c:pt idx="775">
                  <c:v>1.43938815679358E-2</c:v>
                </c:pt>
                <c:pt idx="776">
                  <c:v>1.44549173752699E-2</c:v>
                </c:pt>
                <c:pt idx="777">
                  <c:v>1.4501629218775E-2</c:v>
                </c:pt>
                <c:pt idx="778">
                  <c:v>1.44951212754976E-2</c:v>
                </c:pt>
                <c:pt idx="779">
                  <c:v>1.4490848274911599E-2</c:v>
                </c:pt>
                <c:pt idx="780">
                  <c:v>1.44654249310457E-2</c:v>
                </c:pt>
                <c:pt idx="781">
                  <c:v>1.44515600546539E-2</c:v>
                </c:pt>
                <c:pt idx="782">
                  <c:v>1.44612335520223E-2</c:v>
                </c:pt>
                <c:pt idx="783">
                  <c:v>1.4462408389837899E-2</c:v>
                </c:pt>
                <c:pt idx="784">
                  <c:v>1.4481924186170799E-2</c:v>
                </c:pt>
                <c:pt idx="785">
                  <c:v>1.44845285274688E-2</c:v>
                </c:pt>
                <c:pt idx="786">
                  <c:v>1.4487269669565799E-2</c:v>
                </c:pt>
                <c:pt idx="787">
                  <c:v>1.4494456704653699E-2</c:v>
                </c:pt>
                <c:pt idx="788">
                  <c:v>1.4494469619522299E-2</c:v>
                </c:pt>
                <c:pt idx="789">
                  <c:v>1.44954802427137E-2</c:v>
                </c:pt>
                <c:pt idx="790">
                  <c:v>1.4505306104590301E-2</c:v>
                </c:pt>
                <c:pt idx="791">
                  <c:v>1.4447209378180901E-2</c:v>
                </c:pt>
                <c:pt idx="792">
                  <c:v>1.44968328692379E-2</c:v>
                </c:pt>
                <c:pt idx="793">
                  <c:v>1.44965500620617E-2</c:v>
                </c:pt>
                <c:pt idx="794">
                  <c:v>1.45430220706801E-2</c:v>
                </c:pt>
                <c:pt idx="795">
                  <c:v>1.4504078006110199E-2</c:v>
                </c:pt>
                <c:pt idx="796">
                  <c:v>1.45041351253829E-2</c:v>
                </c:pt>
                <c:pt idx="797">
                  <c:v>1.44985932151086E-2</c:v>
                </c:pt>
                <c:pt idx="798">
                  <c:v>1.45017302156666E-2</c:v>
                </c:pt>
                <c:pt idx="799">
                  <c:v>1.4448843243177001E-2</c:v>
                </c:pt>
                <c:pt idx="800">
                  <c:v>1.4453945376316101E-2</c:v>
                </c:pt>
                <c:pt idx="801">
                  <c:v>1.4436566244155799E-2</c:v>
                </c:pt>
                <c:pt idx="802">
                  <c:v>1.45037339702483E-2</c:v>
                </c:pt>
                <c:pt idx="803">
                  <c:v>1.4501221123204599E-2</c:v>
                </c:pt>
                <c:pt idx="804">
                  <c:v>1.4480221228273599E-2</c:v>
                </c:pt>
                <c:pt idx="805">
                  <c:v>1.4464733642935599E-2</c:v>
                </c:pt>
                <c:pt idx="806">
                  <c:v>1.4488911053853E-2</c:v>
                </c:pt>
                <c:pt idx="807">
                  <c:v>1.45196405633583E-2</c:v>
                </c:pt>
                <c:pt idx="808">
                  <c:v>1.44534562514647E-2</c:v>
                </c:pt>
                <c:pt idx="809">
                  <c:v>1.4442614404663601E-2</c:v>
                </c:pt>
                <c:pt idx="810">
                  <c:v>1.4453686369212701E-2</c:v>
                </c:pt>
                <c:pt idx="811">
                  <c:v>1.46085788511228E-2</c:v>
                </c:pt>
                <c:pt idx="812">
                  <c:v>1.46061013154411E-2</c:v>
                </c:pt>
                <c:pt idx="813">
                  <c:v>1.46037132544331E-2</c:v>
                </c:pt>
                <c:pt idx="814">
                  <c:v>1.45999376212535E-2</c:v>
                </c:pt>
                <c:pt idx="815">
                  <c:v>1.4608540499627801E-2</c:v>
                </c:pt>
                <c:pt idx="816">
                  <c:v>1.45987902141765E-2</c:v>
                </c:pt>
                <c:pt idx="817">
                  <c:v>1.45954213277068E-2</c:v>
                </c:pt>
                <c:pt idx="818">
                  <c:v>1.46126716435528E-2</c:v>
                </c:pt>
                <c:pt idx="819">
                  <c:v>1.45958860385925E-2</c:v>
                </c:pt>
                <c:pt idx="820">
                  <c:v>1.46253115135229E-2</c:v>
                </c:pt>
                <c:pt idx="821">
                  <c:v>1.46516110245883E-2</c:v>
                </c:pt>
                <c:pt idx="822">
                  <c:v>1.46339093905341E-2</c:v>
                </c:pt>
                <c:pt idx="823">
                  <c:v>1.46366567920834E-2</c:v>
                </c:pt>
                <c:pt idx="824">
                  <c:v>1.46724427458075E-2</c:v>
                </c:pt>
                <c:pt idx="825">
                  <c:v>1.4698256258081001E-2</c:v>
                </c:pt>
                <c:pt idx="826">
                  <c:v>1.4699433245931599E-2</c:v>
                </c:pt>
                <c:pt idx="827">
                  <c:v>1.46640514604827E-2</c:v>
                </c:pt>
                <c:pt idx="828">
                  <c:v>1.4634185533286499E-2</c:v>
                </c:pt>
                <c:pt idx="829">
                  <c:v>1.4662019237242099E-2</c:v>
                </c:pt>
                <c:pt idx="830">
                  <c:v>1.46683429985787E-2</c:v>
                </c:pt>
                <c:pt idx="831">
                  <c:v>1.4666746527103E-2</c:v>
                </c:pt>
                <c:pt idx="832">
                  <c:v>1.46666689188431E-2</c:v>
                </c:pt>
                <c:pt idx="833">
                  <c:v>1.46571577238495E-2</c:v>
                </c:pt>
                <c:pt idx="834">
                  <c:v>1.4622545745804801E-2</c:v>
                </c:pt>
                <c:pt idx="835">
                  <c:v>1.4666509069084101E-2</c:v>
                </c:pt>
                <c:pt idx="836">
                  <c:v>1.4671548871819E-2</c:v>
                </c:pt>
                <c:pt idx="837">
                  <c:v>1.45531018793114E-2</c:v>
                </c:pt>
                <c:pt idx="838">
                  <c:v>1.4314168920927199E-2</c:v>
                </c:pt>
                <c:pt idx="839">
                  <c:v>1.43272333320044E-2</c:v>
                </c:pt>
                <c:pt idx="840">
                  <c:v>1.41776291860095E-2</c:v>
                </c:pt>
                <c:pt idx="841">
                  <c:v>1.40261314230013E-2</c:v>
                </c:pt>
                <c:pt idx="842">
                  <c:v>1.40206415924923E-2</c:v>
                </c:pt>
                <c:pt idx="843">
                  <c:v>1.39794328538029E-2</c:v>
                </c:pt>
                <c:pt idx="844">
                  <c:v>1.38418529801148E-2</c:v>
                </c:pt>
                <c:pt idx="845">
                  <c:v>1.3796921987310499E-2</c:v>
                </c:pt>
                <c:pt idx="846">
                  <c:v>1.37980542853769E-2</c:v>
                </c:pt>
                <c:pt idx="847">
                  <c:v>1.3809042043299099E-2</c:v>
                </c:pt>
                <c:pt idx="848">
                  <c:v>1.38018053485748E-2</c:v>
                </c:pt>
                <c:pt idx="849">
                  <c:v>1.3785296492886E-2</c:v>
                </c:pt>
                <c:pt idx="850">
                  <c:v>1.37221052002547E-2</c:v>
                </c:pt>
                <c:pt idx="851">
                  <c:v>1.3720438676182899E-2</c:v>
                </c:pt>
                <c:pt idx="852">
                  <c:v>1.3669166880229301E-2</c:v>
                </c:pt>
                <c:pt idx="853">
                  <c:v>1.3670460813129E-2</c:v>
                </c:pt>
                <c:pt idx="854">
                  <c:v>1.34589525294122E-2</c:v>
                </c:pt>
                <c:pt idx="855">
                  <c:v>1.3518541294072201E-2</c:v>
                </c:pt>
                <c:pt idx="856">
                  <c:v>1.3517713202615999E-2</c:v>
                </c:pt>
                <c:pt idx="857">
                  <c:v>1.3526357036383401E-2</c:v>
                </c:pt>
                <c:pt idx="858">
                  <c:v>1.3541947669583901E-2</c:v>
                </c:pt>
                <c:pt idx="859">
                  <c:v>1.35238455542325E-2</c:v>
                </c:pt>
                <c:pt idx="860">
                  <c:v>1.35182408718089E-2</c:v>
                </c:pt>
                <c:pt idx="861">
                  <c:v>1.35052538670678E-2</c:v>
                </c:pt>
                <c:pt idx="862">
                  <c:v>1.3493325810915001E-2</c:v>
                </c:pt>
                <c:pt idx="863">
                  <c:v>1.3476692423759601E-2</c:v>
                </c:pt>
                <c:pt idx="864">
                  <c:v>1.3481365545336001E-2</c:v>
                </c:pt>
                <c:pt idx="865">
                  <c:v>1.3440724405285299E-2</c:v>
                </c:pt>
                <c:pt idx="866">
                  <c:v>1.34719840469748E-2</c:v>
                </c:pt>
                <c:pt idx="867">
                  <c:v>1.3472661636397799E-2</c:v>
                </c:pt>
                <c:pt idx="868">
                  <c:v>1.34200785350267E-2</c:v>
                </c:pt>
                <c:pt idx="869">
                  <c:v>1.3363207012336E-2</c:v>
                </c:pt>
                <c:pt idx="870">
                  <c:v>1.3373006232310899E-2</c:v>
                </c:pt>
                <c:pt idx="871">
                  <c:v>1.33725771338146E-2</c:v>
                </c:pt>
                <c:pt idx="872">
                  <c:v>1.34513326824702E-2</c:v>
                </c:pt>
                <c:pt idx="873">
                  <c:v>1.3238528130976699E-2</c:v>
                </c:pt>
                <c:pt idx="874">
                  <c:v>1.32711878064248E-2</c:v>
                </c:pt>
                <c:pt idx="875">
                  <c:v>1.32804668234E-2</c:v>
                </c:pt>
                <c:pt idx="876">
                  <c:v>1.32655851145543E-2</c:v>
                </c:pt>
                <c:pt idx="877">
                  <c:v>1.32676717173782E-2</c:v>
                </c:pt>
                <c:pt idx="878">
                  <c:v>1.32582477199E-2</c:v>
                </c:pt>
                <c:pt idx="879">
                  <c:v>1.32539748497106E-2</c:v>
                </c:pt>
                <c:pt idx="880">
                  <c:v>1.3249308597542401E-2</c:v>
                </c:pt>
                <c:pt idx="881">
                  <c:v>1.32473189714623E-2</c:v>
                </c:pt>
                <c:pt idx="882">
                  <c:v>1.32392030091393E-2</c:v>
                </c:pt>
                <c:pt idx="883">
                  <c:v>1.3252664295739E-2</c:v>
                </c:pt>
                <c:pt idx="884">
                  <c:v>1.3263295553324599E-2</c:v>
                </c:pt>
                <c:pt idx="885">
                  <c:v>1.3277711260598299E-2</c:v>
                </c:pt>
                <c:pt idx="886">
                  <c:v>1.32562038302045E-2</c:v>
                </c:pt>
                <c:pt idx="887">
                  <c:v>1.32935271007819E-2</c:v>
                </c:pt>
                <c:pt idx="888">
                  <c:v>1.32920913234053E-2</c:v>
                </c:pt>
                <c:pt idx="889">
                  <c:v>1.329211623271E-2</c:v>
                </c:pt>
                <c:pt idx="890">
                  <c:v>1.33085251004734E-2</c:v>
                </c:pt>
                <c:pt idx="891">
                  <c:v>1.3307836638103299E-2</c:v>
                </c:pt>
                <c:pt idx="892">
                  <c:v>1.3298560315803599E-2</c:v>
                </c:pt>
                <c:pt idx="893">
                  <c:v>1.3298343272589601E-2</c:v>
                </c:pt>
                <c:pt idx="894">
                  <c:v>1.3286460300542299E-2</c:v>
                </c:pt>
                <c:pt idx="895">
                  <c:v>1.3256661107916999E-2</c:v>
                </c:pt>
                <c:pt idx="896">
                  <c:v>1.3259286102276001E-2</c:v>
                </c:pt>
                <c:pt idx="897">
                  <c:v>1.32688230002821E-2</c:v>
                </c:pt>
                <c:pt idx="898">
                  <c:v>1.32750712995333E-2</c:v>
                </c:pt>
                <c:pt idx="899">
                  <c:v>1.3273867018337399E-2</c:v>
                </c:pt>
                <c:pt idx="900">
                  <c:v>1.32607699092494E-2</c:v>
                </c:pt>
                <c:pt idx="901">
                  <c:v>1.3258146286682799E-2</c:v>
                </c:pt>
                <c:pt idx="902">
                  <c:v>1.3270050280407199E-2</c:v>
                </c:pt>
                <c:pt idx="903">
                  <c:v>1.32281366202299E-2</c:v>
                </c:pt>
                <c:pt idx="904">
                  <c:v>1.32345836976961E-2</c:v>
                </c:pt>
                <c:pt idx="905">
                  <c:v>1.32544842882041E-2</c:v>
                </c:pt>
                <c:pt idx="906">
                  <c:v>1.32570227799651E-2</c:v>
                </c:pt>
                <c:pt idx="907">
                  <c:v>1.32581045595371E-2</c:v>
                </c:pt>
                <c:pt idx="908">
                  <c:v>1.3257603569661901E-2</c:v>
                </c:pt>
                <c:pt idx="909">
                  <c:v>1.32742055672428E-2</c:v>
                </c:pt>
                <c:pt idx="910">
                  <c:v>1.3275568450485E-2</c:v>
                </c:pt>
                <c:pt idx="911">
                  <c:v>1.3278463980406699E-2</c:v>
                </c:pt>
                <c:pt idx="912">
                  <c:v>1.3264770969769E-2</c:v>
                </c:pt>
                <c:pt idx="913">
                  <c:v>1.33111504467917E-2</c:v>
                </c:pt>
                <c:pt idx="914">
                  <c:v>1.33199545458354E-2</c:v>
                </c:pt>
                <c:pt idx="915">
                  <c:v>1.33054975682352E-2</c:v>
                </c:pt>
                <c:pt idx="916">
                  <c:v>1.3305091622023301E-2</c:v>
                </c:pt>
                <c:pt idx="917">
                  <c:v>1.33063675582154E-2</c:v>
                </c:pt>
                <c:pt idx="918">
                  <c:v>1.33227867952304E-2</c:v>
                </c:pt>
                <c:pt idx="919">
                  <c:v>1.33909572253773E-2</c:v>
                </c:pt>
                <c:pt idx="920">
                  <c:v>1.3322903012744599E-2</c:v>
                </c:pt>
                <c:pt idx="921">
                  <c:v>1.3316232791309701E-2</c:v>
                </c:pt>
                <c:pt idx="922">
                  <c:v>1.3333609727675E-2</c:v>
                </c:pt>
                <c:pt idx="923">
                  <c:v>1.33354177314149E-2</c:v>
                </c:pt>
                <c:pt idx="924">
                  <c:v>1.3225884179312E-2</c:v>
                </c:pt>
                <c:pt idx="925">
                  <c:v>1.3195783743810001E-2</c:v>
                </c:pt>
                <c:pt idx="926">
                  <c:v>1.3196973892860699E-2</c:v>
                </c:pt>
                <c:pt idx="927">
                  <c:v>1.32543690160068E-2</c:v>
                </c:pt>
                <c:pt idx="928">
                  <c:v>1.32168401208363E-2</c:v>
                </c:pt>
                <c:pt idx="929">
                  <c:v>1.3211941022234899E-2</c:v>
                </c:pt>
                <c:pt idx="930">
                  <c:v>1.32178557256954E-2</c:v>
                </c:pt>
                <c:pt idx="931">
                  <c:v>1.3217990972888701E-2</c:v>
                </c:pt>
                <c:pt idx="932">
                  <c:v>1.2806953505351999E-2</c:v>
                </c:pt>
                <c:pt idx="933">
                  <c:v>1.27857057026599E-2</c:v>
                </c:pt>
                <c:pt idx="934">
                  <c:v>1.2700220384408101E-2</c:v>
                </c:pt>
                <c:pt idx="935">
                  <c:v>1.2697237296487199E-2</c:v>
                </c:pt>
                <c:pt idx="936">
                  <c:v>1.26975020235967E-2</c:v>
                </c:pt>
                <c:pt idx="937">
                  <c:v>1.2711433419711799E-2</c:v>
                </c:pt>
                <c:pt idx="938">
                  <c:v>1.26544879728431E-2</c:v>
                </c:pt>
                <c:pt idx="939">
                  <c:v>1.25897314972918E-2</c:v>
                </c:pt>
                <c:pt idx="940">
                  <c:v>1.2674235034826099E-2</c:v>
                </c:pt>
                <c:pt idx="941">
                  <c:v>1.2678639273029599E-2</c:v>
                </c:pt>
                <c:pt idx="942">
                  <c:v>1.2681893891037001E-2</c:v>
                </c:pt>
                <c:pt idx="943">
                  <c:v>1.2678977020227499E-2</c:v>
                </c:pt>
                <c:pt idx="944">
                  <c:v>1.2695460921116E-2</c:v>
                </c:pt>
                <c:pt idx="945">
                  <c:v>1.2664046359751499E-2</c:v>
                </c:pt>
                <c:pt idx="946">
                  <c:v>1.26751716117112E-2</c:v>
                </c:pt>
                <c:pt idx="947">
                  <c:v>1.26729741746513E-2</c:v>
                </c:pt>
                <c:pt idx="948">
                  <c:v>1.2669136477906E-2</c:v>
                </c:pt>
                <c:pt idx="949">
                  <c:v>1.26431737662169E-2</c:v>
                </c:pt>
                <c:pt idx="950">
                  <c:v>1.26437740800848E-2</c:v>
                </c:pt>
                <c:pt idx="951">
                  <c:v>1.2563697465628401E-2</c:v>
                </c:pt>
                <c:pt idx="952">
                  <c:v>1.2560089167967E-2</c:v>
                </c:pt>
                <c:pt idx="953">
                  <c:v>1.25634776085304E-2</c:v>
                </c:pt>
                <c:pt idx="954">
                  <c:v>1.2525371220796701E-2</c:v>
                </c:pt>
                <c:pt idx="955">
                  <c:v>1.25112940785575E-2</c:v>
                </c:pt>
                <c:pt idx="956">
                  <c:v>1.25053729265499E-2</c:v>
                </c:pt>
                <c:pt idx="957">
                  <c:v>1.2484910314072501E-2</c:v>
                </c:pt>
                <c:pt idx="958">
                  <c:v>1.24872705046895E-2</c:v>
                </c:pt>
                <c:pt idx="959">
                  <c:v>1.24753388871522E-2</c:v>
                </c:pt>
                <c:pt idx="960">
                  <c:v>1.2482552291927599E-2</c:v>
                </c:pt>
                <c:pt idx="961">
                  <c:v>1.24911951895389E-2</c:v>
                </c:pt>
                <c:pt idx="962">
                  <c:v>1.2491188131496E-2</c:v>
                </c:pt>
                <c:pt idx="963">
                  <c:v>1.24899016059973E-2</c:v>
                </c:pt>
                <c:pt idx="964">
                  <c:v>1.25093489305599E-2</c:v>
                </c:pt>
                <c:pt idx="965">
                  <c:v>1.2448563413496001E-2</c:v>
                </c:pt>
                <c:pt idx="966">
                  <c:v>1.24511967442738E-2</c:v>
                </c:pt>
                <c:pt idx="967">
                  <c:v>1.23055029794404E-2</c:v>
                </c:pt>
                <c:pt idx="968">
                  <c:v>1.2335767717387E-2</c:v>
                </c:pt>
                <c:pt idx="969">
                  <c:v>1.23300251520979E-2</c:v>
                </c:pt>
                <c:pt idx="970">
                  <c:v>1.22813962527025E-2</c:v>
                </c:pt>
                <c:pt idx="971">
                  <c:v>1.2267675668409301E-2</c:v>
                </c:pt>
                <c:pt idx="972">
                  <c:v>1.2215297131626999E-2</c:v>
                </c:pt>
                <c:pt idx="973">
                  <c:v>1.2228551662170401E-2</c:v>
                </c:pt>
                <c:pt idx="974">
                  <c:v>1.21843543648394E-2</c:v>
                </c:pt>
                <c:pt idx="975">
                  <c:v>1.2105630497463001E-2</c:v>
                </c:pt>
                <c:pt idx="976">
                  <c:v>1.20920226008747E-2</c:v>
                </c:pt>
                <c:pt idx="977">
                  <c:v>1.2060480767268299E-2</c:v>
                </c:pt>
                <c:pt idx="978">
                  <c:v>1.20713064461043E-2</c:v>
                </c:pt>
                <c:pt idx="979">
                  <c:v>1.23053286053986E-2</c:v>
                </c:pt>
                <c:pt idx="980">
                  <c:v>1.2368660577441799E-2</c:v>
                </c:pt>
                <c:pt idx="981">
                  <c:v>1.2374202441810599E-2</c:v>
                </c:pt>
                <c:pt idx="982">
                  <c:v>1.2383261559434399E-2</c:v>
                </c:pt>
                <c:pt idx="983">
                  <c:v>1.25197771714578E-2</c:v>
                </c:pt>
                <c:pt idx="984">
                  <c:v>1.2778403238113901E-2</c:v>
                </c:pt>
                <c:pt idx="985">
                  <c:v>1.27991502086819E-2</c:v>
                </c:pt>
                <c:pt idx="986">
                  <c:v>1.27637112920205E-2</c:v>
                </c:pt>
                <c:pt idx="987">
                  <c:v>1.2745461548905599E-2</c:v>
                </c:pt>
                <c:pt idx="988">
                  <c:v>1.27260921201395E-2</c:v>
                </c:pt>
                <c:pt idx="989">
                  <c:v>1.272736903467E-2</c:v>
                </c:pt>
                <c:pt idx="990">
                  <c:v>1.29885794364486E-2</c:v>
                </c:pt>
                <c:pt idx="991">
                  <c:v>1.29415888159233E-2</c:v>
                </c:pt>
                <c:pt idx="992">
                  <c:v>1.29421666729775E-2</c:v>
                </c:pt>
                <c:pt idx="993">
                  <c:v>1.2944752700359901E-2</c:v>
                </c:pt>
                <c:pt idx="994">
                  <c:v>1.3032689782936599E-2</c:v>
                </c:pt>
                <c:pt idx="995">
                  <c:v>1.3040932409565199E-2</c:v>
                </c:pt>
                <c:pt idx="996">
                  <c:v>1.30610732612364E-2</c:v>
                </c:pt>
                <c:pt idx="997">
                  <c:v>1.3156954028457299E-2</c:v>
                </c:pt>
                <c:pt idx="998">
                  <c:v>1.30864672888073E-2</c:v>
                </c:pt>
                <c:pt idx="999">
                  <c:v>1.3092468347223E-2</c:v>
                </c:pt>
                <c:pt idx="1000">
                  <c:v>1.3095407618274E-2</c:v>
                </c:pt>
                <c:pt idx="1001">
                  <c:v>1.36020644726843E-2</c:v>
                </c:pt>
                <c:pt idx="1002">
                  <c:v>1.35854511989733E-2</c:v>
                </c:pt>
                <c:pt idx="1003">
                  <c:v>1.36805514815237E-2</c:v>
                </c:pt>
                <c:pt idx="1004">
                  <c:v>1.36804718451214E-2</c:v>
                </c:pt>
                <c:pt idx="1005">
                  <c:v>1.35996482947032E-2</c:v>
                </c:pt>
                <c:pt idx="1006">
                  <c:v>1.35325691125023E-2</c:v>
                </c:pt>
                <c:pt idx="1007">
                  <c:v>1.35318884263527E-2</c:v>
                </c:pt>
                <c:pt idx="1008">
                  <c:v>1.3530147797027599E-2</c:v>
                </c:pt>
                <c:pt idx="1009">
                  <c:v>1.3545494467259601E-2</c:v>
                </c:pt>
                <c:pt idx="1010">
                  <c:v>1.26382420754605E-2</c:v>
                </c:pt>
                <c:pt idx="1011">
                  <c:v>1.2636625325622999E-2</c:v>
                </c:pt>
                <c:pt idx="1012">
                  <c:v>1.25642973472421E-2</c:v>
                </c:pt>
                <c:pt idx="1013">
                  <c:v>1.2565420751545601E-2</c:v>
                </c:pt>
                <c:pt idx="1014">
                  <c:v>1.2582468823144901E-2</c:v>
                </c:pt>
                <c:pt idx="1015">
                  <c:v>1.2513101176189201E-2</c:v>
                </c:pt>
                <c:pt idx="1016">
                  <c:v>1.24892991851644E-2</c:v>
                </c:pt>
                <c:pt idx="1017">
                  <c:v>1.2563874242568799E-2</c:v>
                </c:pt>
                <c:pt idx="1018">
                  <c:v>1.2445952372492E-2</c:v>
                </c:pt>
                <c:pt idx="1019">
                  <c:v>1.24651616160305E-2</c:v>
                </c:pt>
                <c:pt idx="1020">
                  <c:v>1.24749144817461E-2</c:v>
                </c:pt>
                <c:pt idx="1021">
                  <c:v>1.24942510228224E-2</c:v>
                </c:pt>
                <c:pt idx="1022">
                  <c:v>1.2535771321593499E-2</c:v>
                </c:pt>
                <c:pt idx="1023">
                  <c:v>1.249434597913E-2</c:v>
                </c:pt>
                <c:pt idx="1024">
                  <c:v>1.2456735884096201E-2</c:v>
                </c:pt>
                <c:pt idx="1025">
                  <c:v>1.24497133732939E-2</c:v>
                </c:pt>
                <c:pt idx="1026">
                  <c:v>1.2351967502634601E-2</c:v>
                </c:pt>
                <c:pt idx="1027">
                  <c:v>1.2739858810290199E-2</c:v>
                </c:pt>
                <c:pt idx="1028">
                  <c:v>1.2740595163870799E-2</c:v>
                </c:pt>
                <c:pt idx="1029">
                  <c:v>1.27405650461436E-2</c:v>
                </c:pt>
                <c:pt idx="1030">
                  <c:v>1.2723852876676199E-2</c:v>
                </c:pt>
                <c:pt idx="1031">
                  <c:v>1.2856182340032499E-2</c:v>
                </c:pt>
                <c:pt idx="1032">
                  <c:v>1.279614809998E-2</c:v>
                </c:pt>
                <c:pt idx="1033">
                  <c:v>1.2790625203277299E-2</c:v>
                </c:pt>
                <c:pt idx="1034">
                  <c:v>1.2637354803616999E-2</c:v>
                </c:pt>
                <c:pt idx="1035">
                  <c:v>1.2641313781397301E-2</c:v>
                </c:pt>
                <c:pt idx="1036">
                  <c:v>1.26432197716412E-2</c:v>
                </c:pt>
                <c:pt idx="1037">
                  <c:v>1.26488553055016E-2</c:v>
                </c:pt>
                <c:pt idx="1038">
                  <c:v>1.26524283318187E-2</c:v>
                </c:pt>
                <c:pt idx="1039">
                  <c:v>1.2873894849871399E-2</c:v>
                </c:pt>
                <c:pt idx="1040">
                  <c:v>1.28866674851592E-2</c:v>
                </c:pt>
                <c:pt idx="1041">
                  <c:v>1.2894554944893499E-2</c:v>
                </c:pt>
                <c:pt idx="1042">
                  <c:v>1.2853215255446601E-2</c:v>
                </c:pt>
                <c:pt idx="1043">
                  <c:v>1.2948916662906399E-2</c:v>
                </c:pt>
                <c:pt idx="1044">
                  <c:v>1.2917975288658E-2</c:v>
                </c:pt>
                <c:pt idx="1045">
                  <c:v>1.29368772923849E-2</c:v>
                </c:pt>
                <c:pt idx="1046">
                  <c:v>1.2933994404953899E-2</c:v>
                </c:pt>
                <c:pt idx="1047">
                  <c:v>1.29639282480811E-2</c:v>
                </c:pt>
                <c:pt idx="1048">
                  <c:v>1.29635329094828E-2</c:v>
                </c:pt>
                <c:pt idx="1049">
                  <c:v>1.3038605342122299E-2</c:v>
                </c:pt>
                <c:pt idx="1050">
                  <c:v>1.30677133906115E-2</c:v>
                </c:pt>
                <c:pt idx="1051">
                  <c:v>1.30835599586648E-2</c:v>
                </c:pt>
                <c:pt idx="1052">
                  <c:v>1.3038627707895401E-2</c:v>
                </c:pt>
                <c:pt idx="1053">
                  <c:v>1.30402544030979E-2</c:v>
                </c:pt>
                <c:pt idx="1054">
                  <c:v>1.30368266370846E-2</c:v>
                </c:pt>
                <c:pt idx="1055">
                  <c:v>1.3046498076521499E-2</c:v>
                </c:pt>
                <c:pt idx="1056">
                  <c:v>1.3019948613069401E-2</c:v>
                </c:pt>
                <c:pt idx="1057">
                  <c:v>1.2973442458696799E-2</c:v>
                </c:pt>
                <c:pt idx="1058">
                  <c:v>1.2934709465848701E-2</c:v>
                </c:pt>
                <c:pt idx="1059">
                  <c:v>1.29897897637765E-2</c:v>
                </c:pt>
                <c:pt idx="1060">
                  <c:v>1.29826829796725E-2</c:v>
                </c:pt>
                <c:pt idx="1061">
                  <c:v>1.27820259398914E-2</c:v>
                </c:pt>
                <c:pt idx="1062">
                  <c:v>1.27822046546191E-2</c:v>
                </c:pt>
                <c:pt idx="1063">
                  <c:v>1.2817497889555499E-2</c:v>
                </c:pt>
                <c:pt idx="1064">
                  <c:v>1.2827147691053699E-2</c:v>
                </c:pt>
                <c:pt idx="1065">
                  <c:v>1.2821044185728899E-2</c:v>
                </c:pt>
                <c:pt idx="1066">
                  <c:v>1.28215904078434E-2</c:v>
                </c:pt>
                <c:pt idx="1067">
                  <c:v>1.2854484325841801E-2</c:v>
                </c:pt>
                <c:pt idx="1068">
                  <c:v>1.28272666779746E-2</c:v>
                </c:pt>
                <c:pt idx="1069">
                  <c:v>1.28263264148016E-2</c:v>
                </c:pt>
                <c:pt idx="1070">
                  <c:v>1.28053545514286E-2</c:v>
                </c:pt>
                <c:pt idx="1071">
                  <c:v>1.2774381661416799E-2</c:v>
                </c:pt>
                <c:pt idx="1072">
                  <c:v>1.27740201949781E-2</c:v>
                </c:pt>
                <c:pt idx="1073">
                  <c:v>1.28140805383291E-2</c:v>
                </c:pt>
                <c:pt idx="1074">
                  <c:v>1.27706595975119E-2</c:v>
                </c:pt>
                <c:pt idx="1075">
                  <c:v>1.27324293195736E-2</c:v>
                </c:pt>
                <c:pt idx="1076">
                  <c:v>1.27325066448507E-2</c:v>
                </c:pt>
                <c:pt idx="1077">
                  <c:v>1.2726238982752699E-2</c:v>
                </c:pt>
                <c:pt idx="1078">
                  <c:v>1.27436693664257E-2</c:v>
                </c:pt>
                <c:pt idx="1079">
                  <c:v>1.2716740938323E-2</c:v>
                </c:pt>
                <c:pt idx="1080">
                  <c:v>1.27358010722303E-2</c:v>
                </c:pt>
                <c:pt idx="1081">
                  <c:v>1.2746594499379401E-2</c:v>
                </c:pt>
                <c:pt idx="1082">
                  <c:v>1.27606419933205E-2</c:v>
                </c:pt>
                <c:pt idx="1083">
                  <c:v>1.2776190709501201E-2</c:v>
                </c:pt>
                <c:pt idx="1084">
                  <c:v>1.2829900670575101E-2</c:v>
                </c:pt>
                <c:pt idx="1085">
                  <c:v>1.27671712980315E-2</c:v>
                </c:pt>
                <c:pt idx="1086">
                  <c:v>1.2674599356682701E-2</c:v>
                </c:pt>
                <c:pt idx="1087">
                  <c:v>1.2671298733865801E-2</c:v>
                </c:pt>
                <c:pt idx="1088">
                  <c:v>1.26714677973329E-2</c:v>
                </c:pt>
                <c:pt idx="1089">
                  <c:v>1.26404867631651E-2</c:v>
                </c:pt>
                <c:pt idx="1090">
                  <c:v>1.2643082002833299E-2</c:v>
                </c:pt>
                <c:pt idx="1091">
                  <c:v>1.26544896417486E-2</c:v>
                </c:pt>
                <c:pt idx="1092">
                  <c:v>1.2654527968553099E-2</c:v>
                </c:pt>
                <c:pt idx="1093">
                  <c:v>1.2628504440050099E-2</c:v>
                </c:pt>
                <c:pt idx="1094">
                  <c:v>1.26967390121642E-2</c:v>
                </c:pt>
                <c:pt idx="1095">
                  <c:v>1.2760590694878299E-2</c:v>
                </c:pt>
                <c:pt idx="1096">
                  <c:v>1.27480004546319E-2</c:v>
                </c:pt>
                <c:pt idx="1097">
                  <c:v>1.27172405102108E-2</c:v>
                </c:pt>
                <c:pt idx="1098">
                  <c:v>1.27312937673138E-2</c:v>
                </c:pt>
                <c:pt idx="1099">
                  <c:v>1.27309930512211E-2</c:v>
                </c:pt>
                <c:pt idx="1100">
                  <c:v>1.2743145615273101E-2</c:v>
                </c:pt>
                <c:pt idx="1101">
                  <c:v>1.27536149449568E-2</c:v>
                </c:pt>
                <c:pt idx="1102">
                  <c:v>1.2752715299201E-2</c:v>
                </c:pt>
                <c:pt idx="1103">
                  <c:v>1.27549974786454E-2</c:v>
                </c:pt>
                <c:pt idx="1104">
                  <c:v>1.27349691536577E-2</c:v>
                </c:pt>
                <c:pt idx="1105">
                  <c:v>1.26530738582546E-2</c:v>
                </c:pt>
                <c:pt idx="1106">
                  <c:v>1.26837199003058E-2</c:v>
                </c:pt>
                <c:pt idx="1107">
                  <c:v>1.27000627186264E-2</c:v>
                </c:pt>
                <c:pt idx="1108">
                  <c:v>1.27305910575672E-2</c:v>
                </c:pt>
                <c:pt idx="1109">
                  <c:v>1.27949988835872E-2</c:v>
                </c:pt>
                <c:pt idx="1110">
                  <c:v>1.27984735363251E-2</c:v>
                </c:pt>
                <c:pt idx="1111">
                  <c:v>1.28758385604142E-2</c:v>
                </c:pt>
                <c:pt idx="1112">
                  <c:v>1.2876762085256101E-2</c:v>
                </c:pt>
                <c:pt idx="1113">
                  <c:v>1.291639980674E-2</c:v>
                </c:pt>
                <c:pt idx="1114">
                  <c:v>1.29622310544746E-2</c:v>
                </c:pt>
                <c:pt idx="1115">
                  <c:v>1.2972418364642699E-2</c:v>
                </c:pt>
                <c:pt idx="1116">
                  <c:v>1.29064707654502E-2</c:v>
                </c:pt>
                <c:pt idx="1117">
                  <c:v>1.29091065630262E-2</c:v>
                </c:pt>
                <c:pt idx="1118">
                  <c:v>1.29045713094808E-2</c:v>
                </c:pt>
                <c:pt idx="1119">
                  <c:v>1.2898853284049199E-2</c:v>
                </c:pt>
                <c:pt idx="1120">
                  <c:v>1.29034247567444E-2</c:v>
                </c:pt>
                <c:pt idx="1121">
                  <c:v>1.29219774064023E-2</c:v>
                </c:pt>
                <c:pt idx="1122">
                  <c:v>1.2960357597265699E-2</c:v>
                </c:pt>
                <c:pt idx="1123">
                  <c:v>1.2965754074823799E-2</c:v>
                </c:pt>
                <c:pt idx="1124">
                  <c:v>1.30190033289762E-2</c:v>
                </c:pt>
                <c:pt idx="1125">
                  <c:v>1.3018966665909799E-2</c:v>
                </c:pt>
                <c:pt idx="1126">
                  <c:v>1.30365422461583E-2</c:v>
                </c:pt>
                <c:pt idx="1127">
                  <c:v>1.3040207183394501E-2</c:v>
                </c:pt>
                <c:pt idx="1128">
                  <c:v>1.3270569227528201E-2</c:v>
                </c:pt>
                <c:pt idx="1129">
                  <c:v>1.35099952196215E-2</c:v>
                </c:pt>
                <c:pt idx="1130">
                  <c:v>1.3512712925601401E-2</c:v>
                </c:pt>
                <c:pt idx="1131">
                  <c:v>1.3511391426923799E-2</c:v>
                </c:pt>
                <c:pt idx="1132">
                  <c:v>1.3537531098456001E-2</c:v>
                </c:pt>
                <c:pt idx="1133">
                  <c:v>1.35331186469066E-2</c:v>
                </c:pt>
                <c:pt idx="1134">
                  <c:v>1.3605101614193101E-2</c:v>
                </c:pt>
                <c:pt idx="1135">
                  <c:v>1.36002327499322E-2</c:v>
                </c:pt>
                <c:pt idx="1136">
                  <c:v>1.3602192712364999E-2</c:v>
                </c:pt>
                <c:pt idx="1137">
                  <c:v>1.3625977773060601E-2</c:v>
                </c:pt>
                <c:pt idx="1138">
                  <c:v>1.36404536211048E-2</c:v>
                </c:pt>
                <c:pt idx="1139">
                  <c:v>1.36959855388404E-2</c:v>
                </c:pt>
                <c:pt idx="1140">
                  <c:v>1.36905787101297E-2</c:v>
                </c:pt>
                <c:pt idx="1141">
                  <c:v>1.3743344753796899E-2</c:v>
                </c:pt>
                <c:pt idx="1142">
                  <c:v>1.3744547954961699E-2</c:v>
                </c:pt>
                <c:pt idx="1143">
                  <c:v>1.3851070137051001E-2</c:v>
                </c:pt>
                <c:pt idx="1144">
                  <c:v>1.3863504355249801E-2</c:v>
                </c:pt>
                <c:pt idx="1145">
                  <c:v>1.3854439877033E-2</c:v>
                </c:pt>
                <c:pt idx="1146">
                  <c:v>1.3940359503762E-2</c:v>
                </c:pt>
                <c:pt idx="1147">
                  <c:v>1.4051606009286099E-2</c:v>
                </c:pt>
                <c:pt idx="1148">
                  <c:v>1.41159935781103E-2</c:v>
                </c:pt>
                <c:pt idx="1149">
                  <c:v>1.4138855070121E-2</c:v>
                </c:pt>
                <c:pt idx="1150">
                  <c:v>1.4263711377360801E-2</c:v>
                </c:pt>
                <c:pt idx="1151">
                  <c:v>1.45669654166861E-2</c:v>
                </c:pt>
                <c:pt idx="1152">
                  <c:v>1.46300196762373E-2</c:v>
                </c:pt>
                <c:pt idx="1153">
                  <c:v>1.4668733893856501E-2</c:v>
                </c:pt>
                <c:pt idx="1154">
                  <c:v>1.46376193297756E-2</c:v>
                </c:pt>
                <c:pt idx="1155">
                  <c:v>1.47520621741475E-2</c:v>
                </c:pt>
                <c:pt idx="1156">
                  <c:v>1.4920201846790699E-2</c:v>
                </c:pt>
                <c:pt idx="1157">
                  <c:v>1.49213048334429E-2</c:v>
                </c:pt>
                <c:pt idx="1158">
                  <c:v>1.4918800205911501E-2</c:v>
                </c:pt>
                <c:pt idx="1159">
                  <c:v>1.5098477023665799E-2</c:v>
                </c:pt>
                <c:pt idx="1160">
                  <c:v>1.51441391359513E-2</c:v>
                </c:pt>
                <c:pt idx="1161">
                  <c:v>1.51414497553171E-2</c:v>
                </c:pt>
                <c:pt idx="1162">
                  <c:v>1.5166136377854999E-2</c:v>
                </c:pt>
                <c:pt idx="1163">
                  <c:v>1.5790185086450099E-2</c:v>
                </c:pt>
                <c:pt idx="1164">
                  <c:v>1.5788025785785201E-2</c:v>
                </c:pt>
                <c:pt idx="1165">
                  <c:v>1.6041690868381701E-2</c:v>
                </c:pt>
                <c:pt idx="1166">
                  <c:v>1.6069029906368E-2</c:v>
                </c:pt>
                <c:pt idx="1167">
                  <c:v>1.6100793896740399E-2</c:v>
                </c:pt>
                <c:pt idx="1168">
                  <c:v>1.6142183875672299E-2</c:v>
                </c:pt>
                <c:pt idx="1169">
                  <c:v>1.6116974365750401E-2</c:v>
                </c:pt>
                <c:pt idx="1170">
                  <c:v>1.6121542461561798E-2</c:v>
                </c:pt>
                <c:pt idx="1171">
                  <c:v>1.62538546640634E-2</c:v>
                </c:pt>
                <c:pt idx="1172">
                  <c:v>1.6235210434224202E-2</c:v>
                </c:pt>
                <c:pt idx="1173">
                  <c:v>1.6285859887015301E-2</c:v>
                </c:pt>
                <c:pt idx="1174">
                  <c:v>1.6371788954896101E-2</c:v>
                </c:pt>
                <c:pt idx="1175">
                  <c:v>1.63708346118361E-2</c:v>
                </c:pt>
                <c:pt idx="1176">
                  <c:v>1.6378006127443102E-2</c:v>
                </c:pt>
                <c:pt idx="1177">
                  <c:v>1.7506469872852402E-2</c:v>
                </c:pt>
                <c:pt idx="1178">
                  <c:v>1.7616749638587201E-2</c:v>
                </c:pt>
                <c:pt idx="1179">
                  <c:v>1.7731788922674602E-2</c:v>
                </c:pt>
                <c:pt idx="1180">
                  <c:v>1.77249325641325E-2</c:v>
                </c:pt>
                <c:pt idx="1181">
                  <c:v>1.77546600765471E-2</c:v>
                </c:pt>
                <c:pt idx="1182">
                  <c:v>1.7778031771226499E-2</c:v>
                </c:pt>
                <c:pt idx="1183">
                  <c:v>1.7838331320006499E-2</c:v>
                </c:pt>
                <c:pt idx="1184">
                  <c:v>1.78489393625469E-2</c:v>
                </c:pt>
                <c:pt idx="1185">
                  <c:v>1.7859684138131701E-2</c:v>
                </c:pt>
                <c:pt idx="1186">
                  <c:v>1.7860043976878799E-2</c:v>
                </c:pt>
                <c:pt idx="1187">
                  <c:v>1.7814625213235302E-2</c:v>
                </c:pt>
                <c:pt idx="1188">
                  <c:v>1.7859767813686499E-2</c:v>
                </c:pt>
                <c:pt idx="1189">
                  <c:v>1.7879406113681901E-2</c:v>
                </c:pt>
                <c:pt idx="1190">
                  <c:v>1.78400036787764E-2</c:v>
                </c:pt>
                <c:pt idx="1191">
                  <c:v>1.7863014735503301E-2</c:v>
                </c:pt>
                <c:pt idx="1192">
                  <c:v>1.78544631842238E-2</c:v>
                </c:pt>
                <c:pt idx="1193">
                  <c:v>1.7860204306370999E-2</c:v>
                </c:pt>
                <c:pt idx="1194">
                  <c:v>1.7854939907860901E-2</c:v>
                </c:pt>
                <c:pt idx="1195">
                  <c:v>1.78520577403424E-2</c:v>
                </c:pt>
                <c:pt idx="1196">
                  <c:v>1.7867765496324701E-2</c:v>
                </c:pt>
                <c:pt idx="1197">
                  <c:v>1.7865818234148699E-2</c:v>
                </c:pt>
                <c:pt idx="1198">
                  <c:v>1.7859560475334501E-2</c:v>
                </c:pt>
                <c:pt idx="1199">
                  <c:v>1.7859299507744501E-2</c:v>
                </c:pt>
                <c:pt idx="1200">
                  <c:v>1.7861462692644201E-2</c:v>
                </c:pt>
                <c:pt idx="1201">
                  <c:v>1.79069379637363E-2</c:v>
                </c:pt>
                <c:pt idx="1202">
                  <c:v>1.79153221948396E-2</c:v>
                </c:pt>
                <c:pt idx="1203">
                  <c:v>1.7906516285205901E-2</c:v>
                </c:pt>
                <c:pt idx="1204">
                  <c:v>1.79109007520118E-2</c:v>
                </c:pt>
                <c:pt idx="1205">
                  <c:v>1.7913597732790099E-2</c:v>
                </c:pt>
                <c:pt idx="1206">
                  <c:v>1.7946903548198601E-2</c:v>
                </c:pt>
                <c:pt idx="1207">
                  <c:v>1.7938033175925499E-2</c:v>
                </c:pt>
                <c:pt idx="1208">
                  <c:v>1.7946067723245598E-2</c:v>
                </c:pt>
                <c:pt idx="1209">
                  <c:v>1.7947431658759401E-2</c:v>
                </c:pt>
                <c:pt idx="1210">
                  <c:v>1.7949488927175801E-2</c:v>
                </c:pt>
                <c:pt idx="1211">
                  <c:v>1.8003841434967999E-2</c:v>
                </c:pt>
                <c:pt idx="1212">
                  <c:v>1.8005492846172502E-2</c:v>
                </c:pt>
                <c:pt idx="1213">
                  <c:v>1.8003709627959101E-2</c:v>
                </c:pt>
                <c:pt idx="1214">
                  <c:v>1.8294490384635299E-2</c:v>
                </c:pt>
                <c:pt idx="1215">
                  <c:v>1.8460221367738699E-2</c:v>
                </c:pt>
                <c:pt idx="1216">
                  <c:v>1.8604962744291801E-2</c:v>
                </c:pt>
                <c:pt idx="1217">
                  <c:v>1.8534833941924001E-2</c:v>
                </c:pt>
                <c:pt idx="1218">
                  <c:v>1.8502062467782899E-2</c:v>
                </c:pt>
                <c:pt idx="1219">
                  <c:v>1.8509916000407699E-2</c:v>
                </c:pt>
                <c:pt idx="1220">
                  <c:v>1.85230828394949E-2</c:v>
                </c:pt>
                <c:pt idx="1221">
                  <c:v>1.8568623616408E-2</c:v>
                </c:pt>
                <c:pt idx="1222">
                  <c:v>1.8662106863737201E-2</c:v>
                </c:pt>
                <c:pt idx="1223">
                  <c:v>1.8654818788928301E-2</c:v>
                </c:pt>
                <c:pt idx="1224">
                  <c:v>1.86435674501189E-2</c:v>
                </c:pt>
                <c:pt idx="1225">
                  <c:v>1.8652568118061201E-2</c:v>
                </c:pt>
                <c:pt idx="1226">
                  <c:v>1.8648409548805599E-2</c:v>
                </c:pt>
                <c:pt idx="1227">
                  <c:v>1.8817150608372399E-2</c:v>
                </c:pt>
                <c:pt idx="1228">
                  <c:v>1.8856076877781801E-2</c:v>
                </c:pt>
                <c:pt idx="1229">
                  <c:v>1.87612646922935E-2</c:v>
                </c:pt>
                <c:pt idx="1230">
                  <c:v>1.8710265218336099E-2</c:v>
                </c:pt>
                <c:pt idx="1231">
                  <c:v>1.8715776525888302E-2</c:v>
                </c:pt>
                <c:pt idx="1232">
                  <c:v>1.8700792060276399E-2</c:v>
                </c:pt>
                <c:pt idx="1233">
                  <c:v>1.8635760503797099E-2</c:v>
                </c:pt>
                <c:pt idx="1234">
                  <c:v>1.8489865539701701E-2</c:v>
                </c:pt>
                <c:pt idx="1235">
                  <c:v>1.8462716415608201E-2</c:v>
                </c:pt>
                <c:pt idx="1236">
                  <c:v>1.8494926170030301E-2</c:v>
                </c:pt>
                <c:pt idx="1237">
                  <c:v>1.85264069589419E-2</c:v>
                </c:pt>
                <c:pt idx="1238">
                  <c:v>1.9068022587380998E-2</c:v>
                </c:pt>
                <c:pt idx="1239">
                  <c:v>1.9072184204524299E-2</c:v>
                </c:pt>
                <c:pt idx="1240">
                  <c:v>1.8989323489974501E-2</c:v>
                </c:pt>
                <c:pt idx="1241">
                  <c:v>1.97103471614779E-2</c:v>
                </c:pt>
                <c:pt idx="1242">
                  <c:v>1.9802682247273599E-2</c:v>
                </c:pt>
                <c:pt idx="1243">
                  <c:v>1.97898928233535E-2</c:v>
                </c:pt>
                <c:pt idx="1244">
                  <c:v>1.98273568729639E-2</c:v>
                </c:pt>
                <c:pt idx="1245">
                  <c:v>1.9827590380889101E-2</c:v>
                </c:pt>
                <c:pt idx="1246">
                  <c:v>1.9848756221113699E-2</c:v>
                </c:pt>
                <c:pt idx="1247">
                  <c:v>1.9844796564341599E-2</c:v>
                </c:pt>
                <c:pt idx="1248">
                  <c:v>1.9852036757629601E-2</c:v>
                </c:pt>
                <c:pt idx="1249">
                  <c:v>1.9871222763503501E-2</c:v>
                </c:pt>
                <c:pt idx="1250">
                  <c:v>1.9866275304199599E-2</c:v>
                </c:pt>
                <c:pt idx="1251">
                  <c:v>1.9538352438564902E-2</c:v>
                </c:pt>
                <c:pt idx="1252">
                  <c:v>1.9538526559685201E-2</c:v>
                </c:pt>
                <c:pt idx="1253">
                  <c:v>1.9529384102915999E-2</c:v>
                </c:pt>
                <c:pt idx="1254">
                  <c:v>1.9531359835969202E-2</c:v>
                </c:pt>
                <c:pt idx="1255">
                  <c:v>1.9693333906236499E-2</c:v>
                </c:pt>
                <c:pt idx="1256">
                  <c:v>1.9905542991011001E-2</c:v>
                </c:pt>
                <c:pt idx="1257">
                  <c:v>1.9911795275762201E-2</c:v>
                </c:pt>
                <c:pt idx="1258">
                  <c:v>1.9925720793616802E-2</c:v>
                </c:pt>
                <c:pt idx="1259">
                  <c:v>2.0173557520225802E-2</c:v>
                </c:pt>
                <c:pt idx="1260">
                  <c:v>2.02566451919916E-2</c:v>
                </c:pt>
                <c:pt idx="1261">
                  <c:v>2.0254231458871098E-2</c:v>
                </c:pt>
                <c:pt idx="1262">
                  <c:v>2.02747406806334E-2</c:v>
                </c:pt>
                <c:pt idx="1263">
                  <c:v>2.0349605638170998E-2</c:v>
                </c:pt>
                <c:pt idx="1264">
                  <c:v>2.0690441827524102E-2</c:v>
                </c:pt>
                <c:pt idx="1265">
                  <c:v>2.0874550606867801E-2</c:v>
                </c:pt>
                <c:pt idx="1266">
                  <c:v>2.0934402852532001E-2</c:v>
                </c:pt>
                <c:pt idx="1267">
                  <c:v>2.0923396391017701E-2</c:v>
                </c:pt>
                <c:pt idx="1268">
                  <c:v>2.0921168376906801E-2</c:v>
                </c:pt>
                <c:pt idx="1269">
                  <c:v>2.0901182846098602E-2</c:v>
                </c:pt>
                <c:pt idx="1270">
                  <c:v>2.0891424131093898E-2</c:v>
                </c:pt>
                <c:pt idx="1271">
                  <c:v>2.0991757096635501E-2</c:v>
                </c:pt>
                <c:pt idx="1272">
                  <c:v>2.10125527619901E-2</c:v>
                </c:pt>
                <c:pt idx="1273">
                  <c:v>2.1003459817878999E-2</c:v>
                </c:pt>
                <c:pt idx="1274">
                  <c:v>2.1004347436608201E-2</c:v>
                </c:pt>
                <c:pt idx="1275">
                  <c:v>2.1144495635863299E-2</c:v>
                </c:pt>
                <c:pt idx="1276">
                  <c:v>2.1304355117270399E-2</c:v>
                </c:pt>
                <c:pt idx="1277">
                  <c:v>2.0993692980798302E-2</c:v>
                </c:pt>
                <c:pt idx="1278">
                  <c:v>2.1022790819685101E-2</c:v>
                </c:pt>
                <c:pt idx="1279">
                  <c:v>2.1022883584473701E-2</c:v>
                </c:pt>
                <c:pt idx="1280">
                  <c:v>2.1022837626785602E-2</c:v>
                </c:pt>
                <c:pt idx="1281">
                  <c:v>2.096050631864E-2</c:v>
                </c:pt>
                <c:pt idx="1282">
                  <c:v>2.0964369171220801E-2</c:v>
                </c:pt>
                <c:pt idx="1283">
                  <c:v>2.11444236695413E-2</c:v>
                </c:pt>
                <c:pt idx="1284">
                  <c:v>2.12217181658097E-2</c:v>
                </c:pt>
                <c:pt idx="1285">
                  <c:v>2.1308616016098899E-2</c:v>
                </c:pt>
                <c:pt idx="1286">
                  <c:v>2.1333958438657801E-2</c:v>
                </c:pt>
                <c:pt idx="1287">
                  <c:v>2.1308307019216099E-2</c:v>
                </c:pt>
                <c:pt idx="1288">
                  <c:v>2.1312967032484201E-2</c:v>
                </c:pt>
                <c:pt idx="1289">
                  <c:v>2.11861928690164E-2</c:v>
                </c:pt>
                <c:pt idx="1290">
                  <c:v>2.1189458383890001E-2</c:v>
                </c:pt>
                <c:pt idx="1291">
                  <c:v>2.1182519286621501E-2</c:v>
                </c:pt>
                <c:pt idx="1292">
                  <c:v>2.1186769969521301E-2</c:v>
                </c:pt>
                <c:pt idx="1293">
                  <c:v>2.1108491598008899E-2</c:v>
                </c:pt>
                <c:pt idx="1294">
                  <c:v>2.1115148625565398E-2</c:v>
                </c:pt>
                <c:pt idx="1295">
                  <c:v>2.1148770601296701E-2</c:v>
                </c:pt>
                <c:pt idx="1296">
                  <c:v>2.1372841144080199E-2</c:v>
                </c:pt>
                <c:pt idx="1297">
                  <c:v>2.1376517926385199E-2</c:v>
                </c:pt>
                <c:pt idx="1298">
                  <c:v>2.1385984734659701E-2</c:v>
                </c:pt>
                <c:pt idx="1299">
                  <c:v>2.1316373952444002E-2</c:v>
                </c:pt>
                <c:pt idx="1300">
                  <c:v>2.1315862127957701E-2</c:v>
                </c:pt>
                <c:pt idx="1301">
                  <c:v>2.1309509204683299E-2</c:v>
                </c:pt>
                <c:pt idx="1302">
                  <c:v>2.1289821044528499E-2</c:v>
                </c:pt>
                <c:pt idx="1303">
                  <c:v>2.1324352072377099E-2</c:v>
                </c:pt>
                <c:pt idx="1304">
                  <c:v>2.1328742733131099E-2</c:v>
                </c:pt>
                <c:pt idx="1305">
                  <c:v>2.1327770683634499E-2</c:v>
                </c:pt>
                <c:pt idx="1306">
                  <c:v>2.1352642269614398E-2</c:v>
                </c:pt>
                <c:pt idx="1307">
                  <c:v>2.1378639536631199E-2</c:v>
                </c:pt>
                <c:pt idx="1308">
                  <c:v>2.1380076877734799E-2</c:v>
                </c:pt>
                <c:pt idx="1309">
                  <c:v>2.1352121742367301E-2</c:v>
                </c:pt>
                <c:pt idx="1310">
                  <c:v>2.1422482490763201E-2</c:v>
                </c:pt>
                <c:pt idx="1311">
                  <c:v>2.1431221768121799E-2</c:v>
                </c:pt>
                <c:pt idx="1312">
                  <c:v>2.1699070967914302E-2</c:v>
                </c:pt>
                <c:pt idx="1313">
                  <c:v>2.1667439269191398E-2</c:v>
                </c:pt>
                <c:pt idx="1314">
                  <c:v>2.17064167196886E-2</c:v>
                </c:pt>
                <c:pt idx="1315">
                  <c:v>2.1706564680185999E-2</c:v>
                </c:pt>
                <c:pt idx="1316">
                  <c:v>2.17221533888091E-2</c:v>
                </c:pt>
                <c:pt idx="1317">
                  <c:v>2.1697059932381701E-2</c:v>
                </c:pt>
                <c:pt idx="1318">
                  <c:v>2.1720627098502001E-2</c:v>
                </c:pt>
                <c:pt idx="1319">
                  <c:v>2.17268488084989E-2</c:v>
                </c:pt>
                <c:pt idx="1320">
                  <c:v>2.1736981351893201E-2</c:v>
                </c:pt>
                <c:pt idx="1321">
                  <c:v>2.1723173480776899E-2</c:v>
                </c:pt>
                <c:pt idx="1322">
                  <c:v>2.1745150547155201E-2</c:v>
                </c:pt>
                <c:pt idx="1323">
                  <c:v>2.17795092831903E-2</c:v>
                </c:pt>
                <c:pt idx="1324">
                  <c:v>2.1782242845894601E-2</c:v>
                </c:pt>
                <c:pt idx="1325">
                  <c:v>2.1826814707779599E-2</c:v>
                </c:pt>
                <c:pt idx="1326">
                  <c:v>2.1828866949366501E-2</c:v>
                </c:pt>
                <c:pt idx="1327">
                  <c:v>2.1829048143928401E-2</c:v>
                </c:pt>
                <c:pt idx="1328">
                  <c:v>2.1810520742382201E-2</c:v>
                </c:pt>
                <c:pt idx="1329">
                  <c:v>2.18102309787023E-2</c:v>
                </c:pt>
                <c:pt idx="1330">
                  <c:v>2.1793698116420599E-2</c:v>
                </c:pt>
                <c:pt idx="1331">
                  <c:v>2.1799285478807998E-2</c:v>
                </c:pt>
                <c:pt idx="1332">
                  <c:v>2.17975515196717E-2</c:v>
                </c:pt>
                <c:pt idx="1333">
                  <c:v>2.1814504858444699E-2</c:v>
                </c:pt>
                <c:pt idx="1334">
                  <c:v>2.1948230816042899E-2</c:v>
                </c:pt>
                <c:pt idx="1335">
                  <c:v>2.1949297085361801E-2</c:v>
                </c:pt>
                <c:pt idx="1336">
                  <c:v>2.2032856910032698E-2</c:v>
                </c:pt>
                <c:pt idx="1337">
                  <c:v>2.20240889134578E-2</c:v>
                </c:pt>
                <c:pt idx="1338">
                  <c:v>2.2024494371367598E-2</c:v>
                </c:pt>
                <c:pt idx="1339">
                  <c:v>2.2251244165115099E-2</c:v>
                </c:pt>
                <c:pt idx="1340">
                  <c:v>2.2248478693757501E-2</c:v>
                </c:pt>
                <c:pt idx="1341">
                  <c:v>2.22594123141866E-2</c:v>
                </c:pt>
                <c:pt idx="1342">
                  <c:v>2.2267599605951299E-2</c:v>
                </c:pt>
                <c:pt idx="1343">
                  <c:v>2.2276191323149699E-2</c:v>
                </c:pt>
                <c:pt idx="1344">
                  <c:v>2.2244532977524299E-2</c:v>
                </c:pt>
                <c:pt idx="1345">
                  <c:v>2.2297296357630801E-2</c:v>
                </c:pt>
                <c:pt idx="1346">
                  <c:v>2.23584436144755E-2</c:v>
                </c:pt>
                <c:pt idx="1347">
                  <c:v>2.23740073835654E-2</c:v>
                </c:pt>
                <c:pt idx="1348">
                  <c:v>2.2348156145944601E-2</c:v>
                </c:pt>
                <c:pt idx="1349">
                  <c:v>2.2612111676135801E-2</c:v>
                </c:pt>
                <c:pt idx="1350">
                  <c:v>2.2628340734928299E-2</c:v>
                </c:pt>
                <c:pt idx="1351">
                  <c:v>2.26525311972458E-2</c:v>
                </c:pt>
                <c:pt idx="1352">
                  <c:v>2.2664903592114101E-2</c:v>
                </c:pt>
                <c:pt idx="1353">
                  <c:v>2.2779963414668598E-2</c:v>
                </c:pt>
                <c:pt idx="1354">
                  <c:v>2.2801306712108199E-2</c:v>
                </c:pt>
                <c:pt idx="1355">
                  <c:v>2.2834327383262201E-2</c:v>
                </c:pt>
                <c:pt idx="1356">
                  <c:v>2.28146837933411E-2</c:v>
                </c:pt>
                <c:pt idx="1357">
                  <c:v>2.28093317230781E-2</c:v>
                </c:pt>
                <c:pt idx="1358">
                  <c:v>2.2811380573498699E-2</c:v>
                </c:pt>
                <c:pt idx="1359">
                  <c:v>2.29884273602576E-2</c:v>
                </c:pt>
                <c:pt idx="1360">
                  <c:v>2.2997591067848801E-2</c:v>
                </c:pt>
                <c:pt idx="1361">
                  <c:v>2.29767369047628E-2</c:v>
                </c:pt>
                <c:pt idx="1362">
                  <c:v>2.3021210624926E-2</c:v>
                </c:pt>
                <c:pt idx="1363">
                  <c:v>2.3031190943357802E-2</c:v>
                </c:pt>
                <c:pt idx="1364">
                  <c:v>2.3125732275803199E-2</c:v>
                </c:pt>
                <c:pt idx="1365">
                  <c:v>2.31804851881015E-2</c:v>
                </c:pt>
                <c:pt idx="1366">
                  <c:v>2.3180556368535801E-2</c:v>
                </c:pt>
                <c:pt idx="1367">
                  <c:v>2.3184889752852302E-2</c:v>
                </c:pt>
                <c:pt idx="1368">
                  <c:v>2.3231836282958E-2</c:v>
                </c:pt>
                <c:pt idx="1369">
                  <c:v>2.3230813292601901E-2</c:v>
                </c:pt>
                <c:pt idx="1370">
                  <c:v>2.32315017298645E-2</c:v>
                </c:pt>
                <c:pt idx="1371">
                  <c:v>2.3239800596713701E-2</c:v>
                </c:pt>
                <c:pt idx="1372">
                  <c:v>2.31929780690356E-2</c:v>
                </c:pt>
                <c:pt idx="1373">
                  <c:v>2.3215256206452799E-2</c:v>
                </c:pt>
                <c:pt idx="1374">
                  <c:v>2.3319664872408101E-2</c:v>
                </c:pt>
                <c:pt idx="1375">
                  <c:v>2.33376584263967E-2</c:v>
                </c:pt>
                <c:pt idx="1376">
                  <c:v>2.3394497612374901E-2</c:v>
                </c:pt>
                <c:pt idx="1377">
                  <c:v>2.3399326233514799E-2</c:v>
                </c:pt>
                <c:pt idx="1378">
                  <c:v>2.3288719143953598E-2</c:v>
                </c:pt>
                <c:pt idx="1379">
                  <c:v>2.3163469625530599E-2</c:v>
                </c:pt>
                <c:pt idx="1380">
                  <c:v>2.31690970663983E-2</c:v>
                </c:pt>
                <c:pt idx="1381">
                  <c:v>2.31907743160727E-2</c:v>
                </c:pt>
                <c:pt idx="1382">
                  <c:v>2.31754016488795E-2</c:v>
                </c:pt>
                <c:pt idx="1383">
                  <c:v>2.3163294595373099E-2</c:v>
                </c:pt>
                <c:pt idx="1384">
                  <c:v>2.31431482272343E-2</c:v>
                </c:pt>
                <c:pt idx="1385">
                  <c:v>2.3150937695800601E-2</c:v>
                </c:pt>
                <c:pt idx="1386">
                  <c:v>2.3151591871055699E-2</c:v>
                </c:pt>
                <c:pt idx="1387">
                  <c:v>2.31226277153283E-2</c:v>
                </c:pt>
                <c:pt idx="1388">
                  <c:v>2.3116038248252601E-2</c:v>
                </c:pt>
                <c:pt idx="1389">
                  <c:v>2.3093508298838002E-2</c:v>
                </c:pt>
                <c:pt idx="1390">
                  <c:v>2.3099234703492701E-2</c:v>
                </c:pt>
                <c:pt idx="1391">
                  <c:v>2.30800968142067E-2</c:v>
                </c:pt>
                <c:pt idx="1392">
                  <c:v>2.30805972444207E-2</c:v>
                </c:pt>
                <c:pt idx="1393">
                  <c:v>2.3020627205922399E-2</c:v>
                </c:pt>
                <c:pt idx="1394">
                  <c:v>2.3014425748283399E-2</c:v>
                </c:pt>
                <c:pt idx="1395">
                  <c:v>2.30234352681233E-2</c:v>
                </c:pt>
                <c:pt idx="1396">
                  <c:v>2.3098871143130299E-2</c:v>
                </c:pt>
                <c:pt idx="1397">
                  <c:v>2.31063236481579E-2</c:v>
                </c:pt>
                <c:pt idx="1398">
                  <c:v>2.3068599531429101E-2</c:v>
                </c:pt>
                <c:pt idx="1399">
                  <c:v>2.3306582084296399E-2</c:v>
                </c:pt>
                <c:pt idx="1400">
                  <c:v>2.381167141358E-2</c:v>
                </c:pt>
                <c:pt idx="1401">
                  <c:v>2.3770206429021602E-2</c:v>
                </c:pt>
                <c:pt idx="1402">
                  <c:v>2.3719350121951199E-2</c:v>
                </c:pt>
                <c:pt idx="1403">
                  <c:v>2.36809220935312E-2</c:v>
                </c:pt>
                <c:pt idx="1404">
                  <c:v>2.4134475424216401E-2</c:v>
                </c:pt>
                <c:pt idx="1405">
                  <c:v>2.4056863460799702E-2</c:v>
                </c:pt>
                <c:pt idx="1406">
                  <c:v>2.39617768101579E-2</c:v>
                </c:pt>
                <c:pt idx="1407">
                  <c:v>2.4000218580544901E-2</c:v>
                </c:pt>
                <c:pt idx="1408">
                  <c:v>2.40077221967251E-2</c:v>
                </c:pt>
                <c:pt idx="1409">
                  <c:v>2.4390170431805702E-2</c:v>
                </c:pt>
                <c:pt idx="1410">
                  <c:v>2.43581753830538E-2</c:v>
                </c:pt>
                <c:pt idx="1411">
                  <c:v>2.4364978738996401E-2</c:v>
                </c:pt>
                <c:pt idx="1412">
                  <c:v>2.4361901348032702E-2</c:v>
                </c:pt>
                <c:pt idx="1413">
                  <c:v>2.3975233850454102E-2</c:v>
                </c:pt>
                <c:pt idx="1414">
                  <c:v>2.40000088541245E-2</c:v>
                </c:pt>
                <c:pt idx="1415">
                  <c:v>2.3865122719719401E-2</c:v>
                </c:pt>
                <c:pt idx="1416">
                  <c:v>2.3902674531849601E-2</c:v>
                </c:pt>
                <c:pt idx="1417">
                  <c:v>2.3888392296141599E-2</c:v>
                </c:pt>
                <c:pt idx="1418">
                  <c:v>2.39831516057042E-2</c:v>
                </c:pt>
                <c:pt idx="1419">
                  <c:v>2.4114445362148299E-2</c:v>
                </c:pt>
                <c:pt idx="1420">
                  <c:v>2.4110011903786699E-2</c:v>
                </c:pt>
                <c:pt idx="1421">
                  <c:v>2.40665016170564E-2</c:v>
                </c:pt>
                <c:pt idx="1422">
                  <c:v>2.4056938474954E-2</c:v>
                </c:pt>
                <c:pt idx="1423">
                  <c:v>2.4018103990803501E-2</c:v>
                </c:pt>
                <c:pt idx="1424">
                  <c:v>2.3992843759565199E-2</c:v>
                </c:pt>
                <c:pt idx="1425">
                  <c:v>2.4056297884869401E-2</c:v>
                </c:pt>
                <c:pt idx="1426">
                  <c:v>2.4059747101123501E-2</c:v>
                </c:pt>
                <c:pt idx="1427">
                  <c:v>2.32301449253852E-2</c:v>
                </c:pt>
                <c:pt idx="1428">
                  <c:v>2.3162049974090802E-2</c:v>
                </c:pt>
                <c:pt idx="1429">
                  <c:v>2.3250936798401199E-2</c:v>
                </c:pt>
                <c:pt idx="1430">
                  <c:v>2.3238873924706901E-2</c:v>
                </c:pt>
                <c:pt idx="1431">
                  <c:v>2.3308131125913099E-2</c:v>
                </c:pt>
                <c:pt idx="1432">
                  <c:v>2.3354958754465301E-2</c:v>
                </c:pt>
                <c:pt idx="1433">
                  <c:v>2.3312730472246E-2</c:v>
                </c:pt>
                <c:pt idx="1434">
                  <c:v>2.3506131639965601E-2</c:v>
                </c:pt>
                <c:pt idx="1435">
                  <c:v>2.37457646760393E-2</c:v>
                </c:pt>
                <c:pt idx="1436">
                  <c:v>2.3827528741751199E-2</c:v>
                </c:pt>
                <c:pt idx="1437">
                  <c:v>2.38841976514905E-2</c:v>
                </c:pt>
                <c:pt idx="1438">
                  <c:v>2.3861167359162199E-2</c:v>
                </c:pt>
                <c:pt idx="1439">
                  <c:v>2.4026316014655501E-2</c:v>
                </c:pt>
                <c:pt idx="1440">
                  <c:v>2.4011349492092701E-2</c:v>
                </c:pt>
                <c:pt idx="1441">
                  <c:v>2.3979939724313001E-2</c:v>
                </c:pt>
                <c:pt idx="1442">
                  <c:v>2.41451488905454E-2</c:v>
                </c:pt>
                <c:pt idx="1443">
                  <c:v>2.4288811255812399E-2</c:v>
                </c:pt>
                <c:pt idx="1444">
                  <c:v>2.43869114745323E-2</c:v>
                </c:pt>
                <c:pt idx="1445">
                  <c:v>2.4658259083060598E-2</c:v>
                </c:pt>
                <c:pt idx="1446">
                  <c:v>2.46459770522875E-2</c:v>
                </c:pt>
                <c:pt idx="1447">
                  <c:v>2.4704422748348099E-2</c:v>
                </c:pt>
                <c:pt idx="1448">
                  <c:v>2.4912926591463699E-2</c:v>
                </c:pt>
                <c:pt idx="1449">
                  <c:v>2.4918275811684699E-2</c:v>
                </c:pt>
                <c:pt idx="1450">
                  <c:v>2.5158823819529299E-2</c:v>
                </c:pt>
                <c:pt idx="1451">
                  <c:v>2.51385068302604E-2</c:v>
                </c:pt>
                <c:pt idx="1452">
                  <c:v>2.5130185477332301E-2</c:v>
                </c:pt>
                <c:pt idx="1453">
                  <c:v>2.5498768686158E-2</c:v>
                </c:pt>
                <c:pt idx="1454">
                  <c:v>2.5502111380995798E-2</c:v>
                </c:pt>
                <c:pt idx="1455">
                  <c:v>2.5549527767350099E-2</c:v>
                </c:pt>
                <c:pt idx="1456">
                  <c:v>2.5592511748418E-2</c:v>
                </c:pt>
                <c:pt idx="1457">
                  <c:v>2.5671378884268299E-2</c:v>
                </c:pt>
                <c:pt idx="1458">
                  <c:v>2.56591807541546E-2</c:v>
                </c:pt>
                <c:pt idx="1459">
                  <c:v>2.5641418302456798E-2</c:v>
                </c:pt>
                <c:pt idx="1460">
                  <c:v>2.58090797461073E-2</c:v>
                </c:pt>
                <c:pt idx="1461">
                  <c:v>2.6355725794964001E-2</c:v>
                </c:pt>
                <c:pt idx="1462">
                  <c:v>2.63547104675452E-2</c:v>
                </c:pt>
                <c:pt idx="1463">
                  <c:v>2.63831022427146E-2</c:v>
                </c:pt>
                <c:pt idx="1464">
                  <c:v>2.62155318962265E-2</c:v>
                </c:pt>
                <c:pt idx="1465">
                  <c:v>2.6242297822952801E-2</c:v>
                </c:pt>
                <c:pt idx="1466">
                  <c:v>2.6151861051931399E-2</c:v>
                </c:pt>
                <c:pt idx="1467">
                  <c:v>2.6161606425504101E-2</c:v>
                </c:pt>
                <c:pt idx="1468">
                  <c:v>2.6344692476599301E-2</c:v>
                </c:pt>
                <c:pt idx="1469">
                  <c:v>2.6385426219092699E-2</c:v>
                </c:pt>
                <c:pt idx="1470">
                  <c:v>2.6393079824314099E-2</c:v>
                </c:pt>
                <c:pt idx="1471">
                  <c:v>2.6349675134431299E-2</c:v>
                </c:pt>
                <c:pt idx="1472">
                  <c:v>2.6271788754499401E-2</c:v>
                </c:pt>
                <c:pt idx="1473">
                  <c:v>2.63462564847027E-2</c:v>
                </c:pt>
                <c:pt idx="1474">
                  <c:v>2.6347520198402401E-2</c:v>
                </c:pt>
                <c:pt idx="1475">
                  <c:v>2.6345468047499699E-2</c:v>
                </c:pt>
                <c:pt idx="1476">
                  <c:v>2.63427628117269E-2</c:v>
                </c:pt>
                <c:pt idx="1477">
                  <c:v>2.64642873997393E-2</c:v>
                </c:pt>
                <c:pt idx="1478">
                  <c:v>2.6440539699089601E-2</c:v>
                </c:pt>
                <c:pt idx="1479">
                  <c:v>2.64350097109581E-2</c:v>
                </c:pt>
                <c:pt idx="1480">
                  <c:v>2.6442194243453902E-2</c:v>
                </c:pt>
                <c:pt idx="1481">
                  <c:v>2.6502952523937199E-2</c:v>
                </c:pt>
                <c:pt idx="1482">
                  <c:v>2.6496627956008E-2</c:v>
                </c:pt>
                <c:pt idx="1483">
                  <c:v>2.65314348093161E-2</c:v>
                </c:pt>
                <c:pt idx="1484">
                  <c:v>2.6580827840057199E-2</c:v>
                </c:pt>
                <c:pt idx="1485">
                  <c:v>2.6565033359611401E-2</c:v>
                </c:pt>
                <c:pt idx="1486">
                  <c:v>2.6529558554451101E-2</c:v>
                </c:pt>
                <c:pt idx="1487">
                  <c:v>2.64874021128816E-2</c:v>
                </c:pt>
                <c:pt idx="1488">
                  <c:v>2.6143961459131199E-2</c:v>
                </c:pt>
                <c:pt idx="1489">
                  <c:v>2.61414798236554E-2</c:v>
                </c:pt>
                <c:pt idx="1490">
                  <c:v>2.6067106250169701E-2</c:v>
                </c:pt>
                <c:pt idx="1491">
                  <c:v>2.61243922024888E-2</c:v>
                </c:pt>
                <c:pt idx="1492">
                  <c:v>2.60623935907205E-2</c:v>
                </c:pt>
                <c:pt idx="1493">
                  <c:v>2.6073467112769699E-2</c:v>
                </c:pt>
                <c:pt idx="1494">
                  <c:v>2.60722773397647E-2</c:v>
                </c:pt>
                <c:pt idx="1495">
                  <c:v>2.6069060425453199E-2</c:v>
                </c:pt>
                <c:pt idx="1496">
                  <c:v>2.6122861293906102E-2</c:v>
                </c:pt>
                <c:pt idx="1497">
                  <c:v>2.62740878319834E-2</c:v>
                </c:pt>
                <c:pt idx="1498">
                  <c:v>2.6658283896323701E-2</c:v>
                </c:pt>
                <c:pt idx="1499">
                  <c:v>2.6714584986267699E-2</c:v>
                </c:pt>
                <c:pt idx="1500">
                  <c:v>2.6739787625848301E-2</c:v>
                </c:pt>
                <c:pt idx="1501">
                  <c:v>2.6702754989980201E-2</c:v>
                </c:pt>
                <c:pt idx="1502">
                  <c:v>2.6830365672923798E-2</c:v>
                </c:pt>
                <c:pt idx="1503">
                  <c:v>2.6798410764304802E-2</c:v>
                </c:pt>
                <c:pt idx="1504">
                  <c:v>2.7018810876810399E-2</c:v>
                </c:pt>
                <c:pt idx="1505">
                  <c:v>2.6937396286812298E-2</c:v>
                </c:pt>
                <c:pt idx="1506">
                  <c:v>2.6882556721063201E-2</c:v>
                </c:pt>
                <c:pt idx="1507">
                  <c:v>2.6867246304119199E-2</c:v>
                </c:pt>
                <c:pt idx="1508">
                  <c:v>2.6843895801876901E-2</c:v>
                </c:pt>
                <c:pt idx="1509">
                  <c:v>2.66966231538661E-2</c:v>
                </c:pt>
                <c:pt idx="1510">
                  <c:v>2.6852599539906302E-2</c:v>
                </c:pt>
                <c:pt idx="1511">
                  <c:v>2.68569401165526E-2</c:v>
                </c:pt>
                <c:pt idx="1512">
                  <c:v>2.6940382536244801E-2</c:v>
                </c:pt>
                <c:pt idx="1513">
                  <c:v>2.6915132261746601E-2</c:v>
                </c:pt>
                <c:pt idx="1514">
                  <c:v>2.6684388740695002E-2</c:v>
                </c:pt>
                <c:pt idx="1515">
                  <c:v>2.6512022096358698E-2</c:v>
                </c:pt>
                <c:pt idx="1516">
                  <c:v>2.6569693462629201E-2</c:v>
                </c:pt>
                <c:pt idx="1517">
                  <c:v>2.6664964175048999E-2</c:v>
                </c:pt>
                <c:pt idx="1518">
                  <c:v>2.6668828297914799E-2</c:v>
                </c:pt>
                <c:pt idx="1519">
                  <c:v>2.6763551278217501E-2</c:v>
                </c:pt>
                <c:pt idx="1520">
                  <c:v>2.68526177408758E-2</c:v>
                </c:pt>
                <c:pt idx="1521">
                  <c:v>2.6778547843658799E-2</c:v>
                </c:pt>
                <c:pt idx="1522">
                  <c:v>2.67327197557061E-2</c:v>
                </c:pt>
                <c:pt idx="1523">
                  <c:v>2.6812573629720501E-2</c:v>
                </c:pt>
                <c:pt idx="1524">
                  <c:v>2.68231042276902E-2</c:v>
                </c:pt>
                <c:pt idx="1525">
                  <c:v>2.6686416395189899E-2</c:v>
                </c:pt>
                <c:pt idx="1526">
                  <c:v>2.6544403318881402E-2</c:v>
                </c:pt>
                <c:pt idx="1527">
                  <c:v>2.65465318429156E-2</c:v>
                </c:pt>
                <c:pt idx="1528">
                  <c:v>2.65553968600774E-2</c:v>
                </c:pt>
                <c:pt idx="1529">
                  <c:v>2.65583665396271E-2</c:v>
                </c:pt>
                <c:pt idx="1530">
                  <c:v>2.6595711695809501E-2</c:v>
                </c:pt>
                <c:pt idx="1531">
                  <c:v>2.6589031131196601E-2</c:v>
                </c:pt>
                <c:pt idx="1532">
                  <c:v>2.6581559689387201E-2</c:v>
                </c:pt>
                <c:pt idx="1533">
                  <c:v>2.64782296609751E-2</c:v>
                </c:pt>
                <c:pt idx="1534">
                  <c:v>2.65477749209409E-2</c:v>
                </c:pt>
                <c:pt idx="1535">
                  <c:v>2.6634004433358501E-2</c:v>
                </c:pt>
                <c:pt idx="1536">
                  <c:v>2.65863344971452E-2</c:v>
                </c:pt>
                <c:pt idx="1537">
                  <c:v>2.6583250825039199E-2</c:v>
                </c:pt>
                <c:pt idx="1538">
                  <c:v>2.6576906609207401E-2</c:v>
                </c:pt>
                <c:pt idx="1539">
                  <c:v>2.6528144712855001E-2</c:v>
                </c:pt>
                <c:pt idx="1540">
                  <c:v>2.6740279519951001E-2</c:v>
                </c:pt>
                <c:pt idx="1541">
                  <c:v>2.6764045056542202E-2</c:v>
                </c:pt>
                <c:pt idx="1542">
                  <c:v>2.71952957515036E-2</c:v>
                </c:pt>
                <c:pt idx="1543">
                  <c:v>2.7275406905243899E-2</c:v>
                </c:pt>
                <c:pt idx="1544">
                  <c:v>2.72753502345469E-2</c:v>
                </c:pt>
                <c:pt idx="1545">
                  <c:v>2.7252222786211502E-2</c:v>
                </c:pt>
                <c:pt idx="1546">
                  <c:v>2.7061495764590798E-2</c:v>
                </c:pt>
                <c:pt idx="1547">
                  <c:v>2.70296669592586E-2</c:v>
                </c:pt>
                <c:pt idx="1548">
                  <c:v>2.7007631862847301E-2</c:v>
                </c:pt>
                <c:pt idx="1549">
                  <c:v>2.70319176581988E-2</c:v>
                </c:pt>
                <c:pt idx="1550">
                  <c:v>2.70809944952781E-2</c:v>
                </c:pt>
                <c:pt idx="1551">
                  <c:v>2.70797203348907E-2</c:v>
                </c:pt>
                <c:pt idx="1552">
                  <c:v>2.70925054753311E-2</c:v>
                </c:pt>
                <c:pt idx="1553">
                  <c:v>2.7084253536285501E-2</c:v>
                </c:pt>
                <c:pt idx="1554">
                  <c:v>2.7118007421780499E-2</c:v>
                </c:pt>
                <c:pt idx="1555">
                  <c:v>2.71418297688099E-2</c:v>
                </c:pt>
                <c:pt idx="1556">
                  <c:v>2.7096577189972701E-2</c:v>
                </c:pt>
                <c:pt idx="1557">
                  <c:v>2.7095012200948301E-2</c:v>
                </c:pt>
                <c:pt idx="1558">
                  <c:v>2.7160178945849899E-2</c:v>
                </c:pt>
                <c:pt idx="1559">
                  <c:v>2.7151121011316798E-2</c:v>
                </c:pt>
                <c:pt idx="1560">
                  <c:v>2.7212480765873698E-2</c:v>
                </c:pt>
                <c:pt idx="1561">
                  <c:v>2.7262008541440199E-2</c:v>
                </c:pt>
                <c:pt idx="1562">
                  <c:v>2.7130943673488998E-2</c:v>
                </c:pt>
                <c:pt idx="1563">
                  <c:v>2.7739198767572699E-2</c:v>
                </c:pt>
                <c:pt idx="1564">
                  <c:v>2.7986150768574799E-2</c:v>
                </c:pt>
                <c:pt idx="1565">
                  <c:v>2.8063932769398E-2</c:v>
                </c:pt>
                <c:pt idx="1566">
                  <c:v>2.8036593424597099E-2</c:v>
                </c:pt>
                <c:pt idx="1567">
                  <c:v>2.8165771559509101E-2</c:v>
                </c:pt>
                <c:pt idx="1568">
                  <c:v>2.8173557356816599E-2</c:v>
                </c:pt>
                <c:pt idx="1569">
                  <c:v>2.8321966834686699E-2</c:v>
                </c:pt>
                <c:pt idx="1570">
                  <c:v>2.8327126566157899E-2</c:v>
                </c:pt>
                <c:pt idx="1571">
                  <c:v>2.8401554462319002E-2</c:v>
                </c:pt>
                <c:pt idx="1572">
                  <c:v>2.8404959721394799E-2</c:v>
                </c:pt>
                <c:pt idx="1573">
                  <c:v>2.8512411569412501E-2</c:v>
                </c:pt>
                <c:pt idx="1574">
                  <c:v>2.86321916917502E-2</c:v>
                </c:pt>
                <c:pt idx="1575">
                  <c:v>2.85939535958354E-2</c:v>
                </c:pt>
                <c:pt idx="1576">
                  <c:v>2.85760018557282E-2</c:v>
                </c:pt>
                <c:pt idx="1577">
                  <c:v>2.8716822085238101E-2</c:v>
                </c:pt>
                <c:pt idx="1578">
                  <c:v>2.87230069290423E-2</c:v>
                </c:pt>
                <c:pt idx="1579">
                  <c:v>2.8805284806216601E-2</c:v>
                </c:pt>
                <c:pt idx="1580">
                  <c:v>2.8806202017772699E-2</c:v>
                </c:pt>
                <c:pt idx="1581">
                  <c:v>2.88125113699126E-2</c:v>
                </c:pt>
                <c:pt idx="1582">
                  <c:v>2.88005736650182E-2</c:v>
                </c:pt>
                <c:pt idx="1583">
                  <c:v>2.8841799360235801E-2</c:v>
                </c:pt>
                <c:pt idx="1584">
                  <c:v>2.91034108535775E-2</c:v>
                </c:pt>
                <c:pt idx="1585">
                  <c:v>2.9187709100129799E-2</c:v>
                </c:pt>
                <c:pt idx="1586">
                  <c:v>2.91962211048289E-2</c:v>
                </c:pt>
                <c:pt idx="1587">
                  <c:v>2.9231259138270599E-2</c:v>
                </c:pt>
                <c:pt idx="1588">
                  <c:v>2.9235302663529798E-2</c:v>
                </c:pt>
                <c:pt idx="1589">
                  <c:v>2.9115193836364801E-2</c:v>
                </c:pt>
                <c:pt idx="1590">
                  <c:v>2.9105590726338001E-2</c:v>
                </c:pt>
                <c:pt idx="1591">
                  <c:v>2.91885891121406E-2</c:v>
                </c:pt>
                <c:pt idx="1592">
                  <c:v>2.9187245299188001E-2</c:v>
                </c:pt>
                <c:pt idx="1593">
                  <c:v>2.91886371077766E-2</c:v>
                </c:pt>
                <c:pt idx="1594">
                  <c:v>2.9575705537100899E-2</c:v>
                </c:pt>
                <c:pt idx="1595">
                  <c:v>2.9553380138057399E-2</c:v>
                </c:pt>
                <c:pt idx="1596">
                  <c:v>2.9552238664502101E-2</c:v>
                </c:pt>
                <c:pt idx="1597">
                  <c:v>2.96800997210785E-2</c:v>
                </c:pt>
                <c:pt idx="1598">
                  <c:v>2.9784028670211401E-2</c:v>
                </c:pt>
                <c:pt idx="1599">
                  <c:v>2.96913479458321E-2</c:v>
                </c:pt>
                <c:pt idx="1600">
                  <c:v>3.0048402048597898E-2</c:v>
                </c:pt>
                <c:pt idx="1601">
                  <c:v>3.0313243997525E-2</c:v>
                </c:pt>
                <c:pt idx="1602">
                  <c:v>3.0315294254371E-2</c:v>
                </c:pt>
                <c:pt idx="1603">
                  <c:v>3.0182179537126399E-2</c:v>
                </c:pt>
                <c:pt idx="1604">
                  <c:v>3.0284652565827099E-2</c:v>
                </c:pt>
                <c:pt idx="1605">
                  <c:v>3.0277642326567902E-2</c:v>
                </c:pt>
                <c:pt idx="1606">
                  <c:v>3.02829045724721E-2</c:v>
                </c:pt>
                <c:pt idx="1607">
                  <c:v>3.0281978558107301E-2</c:v>
                </c:pt>
                <c:pt idx="1608">
                  <c:v>3.02962840120466E-2</c:v>
                </c:pt>
                <c:pt idx="1609">
                  <c:v>3.0211680344691998E-2</c:v>
                </c:pt>
                <c:pt idx="1610">
                  <c:v>3.01844776437994E-2</c:v>
                </c:pt>
                <c:pt idx="1611">
                  <c:v>3.03313330111952E-2</c:v>
                </c:pt>
                <c:pt idx="1612">
                  <c:v>3.03397617709803E-2</c:v>
                </c:pt>
                <c:pt idx="1613">
                  <c:v>3.0355993181057299E-2</c:v>
                </c:pt>
                <c:pt idx="1614">
                  <c:v>3.0350871265363798E-2</c:v>
                </c:pt>
                <c:pt idx="1615">
                  <c:v>3.0362778424255499E-2</c:v>
                </c:pt>
                <c:pt idx="1616">
                  <c:v>3.04153352488283E-2</c:v>
                </c:pt>
                <c:pt idx="1617">
                  <c:v>3.0428766608523901E-2</c:v>
                </c:pt>
                <c:pt idx="1618">
                  <c:v>3.0465395013725999E-2</c:v>
                </c:pt>
                <c:pt idx="1619">
                  <c:v>3.0472112198687399E-2</c:v>
                </c:pt>
                <c:pt idx="1620">
                  <c:v>3.0463352903765301E-2</c:v>
                </c:pt>
                <c:pt idx="1621">
                  <c:v>3.04352726534728E-2</c:v>
                </c:pt>
                <c:pt idx="1622">
                  <c:v>3.04758963562855E-2</c:v>
                </c:pt>
                <c:pt idx="1623">
                  <c:v>3.04743223140077E-2</c:v>
                </c:pt>
                <c:pt idx="1624">
                  <c:v>3.04044789999585E-2</c:v>
                </c:pt>
                <c:pt idx="1625">
                  <c:v>3.05128823658651E-2</c:v>
                </c:pt>
                <c:pt idx="1626">
                  <c:v>3.0495779171693198E-2</c:v>
                </c:pt>
                <c:pt idx="1627">
                  <c:v>3.0497126376252601E-2</c:v>
                </c:pt>
                <c:pt idx="1628">
                  <c:v>3.0446748329532598E-2</c:v>
                </c:pt>
                <c:pt idx="1629">
                  <c:v>3.04143306538181E-2</c:v>
                </c:pt>
                <c:pt idx="1630">
                  <c:v>3.0399427495245102E-2</c:v>
                </c:pt>
                <c:pt idx="1631">
                  <c:v>3.0360816337340699E-2</c:v>
                </c:pt>
                <c:pt idx="1632">
                  <c:v>3.0460967527366E-2</c:v>
                </c:pt>
                <c:pt idx="1633">
                  <c:v>3.0531566777129399E-2</c:v>
                </c:pt>
                <c:pt idx="1634">
                  <c:v>3.0496034132191398E-2</c:v>
                </c:pt>
                <c:pt idx="1635">
                  <c:v>3.0518431449442999E-2</c:v>
                </c:pt>
                <c:pt idx="1636">
                  <c:v>3.0534118852633699E-2</c:v>
                </c:pt>
                <c:pt idx="1637">
                  <c:v>3.05280792884275E-2</c:v>
                </c:pt>
                <c:pt idx="1638">
                  <c:v>3.0536532173456601E-2</c:v>
                </c:pt>
                <c:pt idx="1639">
                  <c:v>3.06524530144246E-2</c:v>
                </c:pt>
                <c:pt idx="1640">
                  <c:v>3.06534269175151E-2</c:v>
                </c:pt>
                <c:pt idx="1641">
                  <c:v>3.06603243871203E-2</c:v>
                </c:pt>
                <c:pt idx="1642">
                  <c:v>3.0661835326610098E-2</c:v>
                </c:pt>
                <c:pt idx="1643">
                  <c:v>3.0663800127246899E-2</c:v>
                </c:pt>
                <c:pt idx="1644">
                  <c:v>3.0657822128245801E-2</c:v>
                </c:pt>
                <c:pt idx="1645">
                  <c:v>3.0673012281401301E-2</c:v>
                </c:pt>
                <c:pt idx="1646">
                  <c:v>3.06141914618717E-2</c:v>
                </c:pt>
                <c:pt idx="1647">
                  <c:v>3.0599271846722498E-2</c:v>
                </c:pt>
                <c:pt idx="1648">
                  <c:v>3.0642419027385102E-2</c:v>
                </c:pt>
                <c:pt idx="1649">
                  <c:v>3.0556763360038101E-2</c:v>
                </c:pt>
                <c:pt idx="1650">
                  <c:v>3.01768788156868E-2</c:v>
                </c:pt>
                <c:pt idx="1651">
                  <c:v>3.0139555026995099E-2</c:v>
                </c:pt>
                <c:pt idx="1652">
                  <c:v>3.0184678318365101E-2</c:v>
                </c:pt>
                <c:pt idx="1653">
                  <c:v>3.01906561154494E-2</c:v>
                </c:pt>
                <c:pt idx="1654">
                  <c:v>2.9887605999856199E-2</c:v>
                </c:pt>
                <c:pt idx="1655">
                  <c:v>2.9882369142658499E-2</c:v>
                </c:pt>
                <c:pt idx="1656">
                  <c:v>2.9969953034142599E-2</c:v>
                </c:pt>
                <c:pt idx="1657">
                  <c:v>3.0005978884065601E-2</c:v>
                </c:pt>
                <c:pt idx="1658">
                  <c:v>3.0058708755487301E-2</c:v>
                </c:pt>
                <c:pt idx="1659">
                  <c:v>2.9734190823831198E-2</c:v>
                </c:pt>
                <c:pt idx="1660">
                  <c:v>2.97450304350831E-2</c:v>
                </c:pt>
                <c:pt idx="1661">
                  <c:v>2.97561876780311E-2</c:v>
                </c:pt>
                <c:pt idx="1662">
                  <c:v>2.98022125078246E-2</c:v>
                </c:pt>
                <c:pt idx="1663">
                  <c:v>2.9919837793890999E-2</c:v>
                </c:pt>
                <c:pt idx="1664">
                  <c:v>2.9885159637119501E-2</c:v>
                </c:pt>
                <c:pt idx="1665">
                  <c:v>2.9994235873992501E-2</c:v>
                </c:pt>
                <c:pt idx="1666">
                  <c:v>2.9995244295059301E-2</c:v>
                </c:pt>
                <c:pt idx="1667">
                  <c:v>3.0008577131011401E-2</c:v>
                </c:pt>
                <c:pt idx="1668">
                  <c:v>2.99387297042824E-2</c:v>
                </c:pt>
                <c:pt idx="1669">
                  <c:v>3.01540381711046E-2</c:v>
                </c:pt>
                <c:pt idx="1670">
                  <c:v>3.0162367124870599E-2</c:v>
                </c:pt>
                <c:pt idx="1671">
                  <c:v>3.01046043509989E-2</c:v>
                </c:pt>
                <c:pt idx="1672">
                  <c:v>3.0184077541644601E-2</c:v>
                </c:pt>
                <c:pt idx="1673">
                  <c:v>3.0197639930353501E-2</c:v>
                </c:pt>
                <c:pt idx="1674">
                  <c:v>3.0149596390526098E-2</c:v>
                </c:pt>
                <c:pt idx="1675">
                  <c:v>3.01166627201758E-2</c:v>
                </c:pt>
                <c:pt idx="1676">
                  <c:v>3.0114327672804999E-2</c:v>
                </c:pt>
                <c:pt idx="1677">
                  <c:v>3.0123891654291201E-2</c:v>
                </c:pt>
                <c:pt idx="1678">
                  <c:v>3.02136031647019E-2</c:v>
                </c:pt>
                <c:pt idx="1679">
                  <c:v>3.01138856078659E-2</c:v>
                </c:pt>
                <c:pt idx="1680">
                  <c:v>3.01498498482606E-2</c:v>
                </c:pt>
                <c:pt idx="1681">
                  <c:v>3.00990721644206E-2</c:v>
                </c:pt>
                <c:pt idx="1682">
                  <c:v>3.0110060060695699E-2</c:v>
                </c:pt>
                <c:pt idx="1683">
                  <c:v>3.0109576585289899E-2</c:v>
                </c:pt>
                <c:pt idx="1684">
                  <c:v>2.9995501135997599E-2</c:v>
                </c:pt>
                <c:pt idx="1685">
                  <c:v>2.9903524661115798E-2</c:v>
                </c:pt>
                <c:pt idx="1686">
                  <c:v>2.98300707481182E-2</c:v>
                </c:pt>
                <c:pt idx="1687">
                  <c:v>2.97685495411972E-2</c:v>
                </c:pt>
                <c:pt idx="1688">
                  <c:v>2.9769114312542401E-2</c:v>
                </c:pt>
                <c:pt idx="1689">
                  <c:v>2.96595585154216E-2</c:v>
                </c:pt>
                <c:pt idx="1690">
                  <c:v>2.9656750511028802E-2</c:v>
                </c:pt>
                <c:pt idx="1691">
                  <c:v>2.9655760994106599E-2</c:v>
                </c:pt>
                <c:pt idx="1692">
                  <c:v>2.9539514939454701E-2</c:v>
                </c:pt>
                <c:pt idx="1693">
                  <c:v>2.9489545079836602E-2</c:v>
                </c:pt>
                <c:pt idx="1694">
                  <c:v>2.9442287828955201E-2</c:v>
                </c:pt>
                <c:pt idx="1695">
                  <c:v>2.9306039562472599E-2</c:v>
                </c:pt>
                <c:pt idx="1696">
                  <c:v>2.9341957652213799E-2</c:v>
                </c:pt>
                <c:pt idx="1697">
                  <c:v>2.9286714006504299E-2</c:v>
                </c:pt>
                <c:pt idx="1698">
                  <c:v>2.9092302850634001E-2</c:v>
                </c:pt>
                <c:pt idx="1699">
                  <c:v>2.9080516397705598E-2</c:v>
                </c:pt>
                <c:pt idx="1700">
                  <c:v>2.8902453673838799E-2</c:v>
                </c:pt>
                <c:pt idx="1701">
                  <c:v>2.89122494783054E-2</c:v>
                </c:pt>
                <c:pt idx="1702">
                  <c:v>2.89144134406806E-2</c:v>
                </c:pt>
                <c:pt idx="1703">
                  <c:v>2.8700628382678998E-2</c:v>
                </c:pt>
                <c:pt idx="1704">
                  <c:v>2.86904063713006E-2</c:v>
                </c:pt>
                <c:pt idx="1705">
                  <c:v>2.86533425266624E-2</c:v>
                </c:pt>
                <c:pt idx="1706">
                  <c:v>2.86248453638514E-2</c:v>
                </c:pt>
                <c:pt idx="1707">
                  <c:v>2.8548322834941801E-2</c:v>
                </c:pt>
                <c:pt idx="1708">
                  <c:v>2.86337293551686E-2</c:v>
                </c:pt>
                <c:pt idx="1709">
                  <c:v>2.8631259439375799E-2</c:v>
                </c:pt>
                <c:pt idx="1710">
                  <c:v>2.8559072097319099E-2</c:v>
                </c:pt>
                <c:pt idx="1711">
                  <c:v>2.7986879707500599E-2</c:v>
                </c:pt>
                <c:pt idx="1712">
                  <c:v>2.7997678156684001E-2</c:v>
                </c:pt>
                <c:pt idx="1713">
                  <c:v>2.7973686797611801E-2</c:v>
                </c:pt>
                <c:pt idx="1714">
                  <c:v>2.7965782125597499E-2</c:v>
                </c:pt>
                <c:pt idx="1715">
                  <c:v>2.7831027021827801E-2</c:v>
                </c:pt>
                <c:pt idx="1716">
                  <c:v>2.78267589144095E-2</c:v>
                </c:pt>
                <c:pt idx="1717">
                  <c:v>2.7828030042147501E-2</c:v>
                </c:pt>
                <c:pt idx="1718">
                  <c:v>2.76704997952004E-2</c:v>
                </c:pt>
                <c:pt idx="1719">
                  <c:v>2.7613673853989801E-2</c:v>
                </c:pt>
                <c:pt idx="1720">
                  <c:v>2.7608711360544901E-2</c:v>
                </c:pt>
                <c:pt idx="1721">
                  <c:v>2.7614101144469001E-2</c:v>
                </c:pt>
                <c:pt idx="1722">
                  <c:v>2.7607895181142601E-2</c:v>
                </c:pt>
                <c:pt idx="1723">
                  <c:v>2.7561086109083598E-2</c:v>
                </c:pt>
                <c:pt idx="1724">
                  <c:v>2.75591363564705E-2</c:v>
                </c:pt>
                <c:pt idx="1725">
                  <c:v>2.7561427210096998E-2</c:v>
                </c:pt>
                <c:pt idx="1726">
                  <c:v>2.7568346923459899E-2</c:v>
                </c:pt>
                <c:pt idx="1727">
                  <c:v>2.7389195040813601E-2</c:v>
                </c:pt>
                <c:pt idx="1728">
                  <c:v>2.7454951376147101E-2</c:v>
                </c:pt>
                <c:pt idx="1729">
                  <c:v>2.7432025021776898E-2</c:v>
                </c:pt>
                <c:pt idx="1730">
                  <c:v>2.7477888986735002E-2</c:v>
                </c:pt>
                <c:pt idx="1731">
                  <c:v>2.7408884116250701E-2</c:v>
                </c:pt>
                <c:pt idx="1732">
                  <c:v>2.74079010517197E-2</c:v>
                </c:pt>
                <c:pt idx="1733">
                  <c:v>2.7349804190824199E-2</c:v>
                </c:pt>
                <c:pt idx="1734">
                  <c:v>2.7303942823047999E-2</c:v>
                </c:pt>
                <c:pt idx="1735">
                  <c:v>2.7305817485621001E-2</c:v>
                </c:pt>
                <c:pt idx="1736">
                  <c:v>2.7309590938640299E-2</c:v>
                </c:pt>
                <c:pt idx="1737">
                  <c:v>2.73330394162439E-2</c:v>
                </c:pt>
                <c:pt idx="1738">
                  <c:v>2.7342308928272101E-2</c:v>
                </c:pt>
                <c:pt idx="1739">
                  <c:v>2.73362228569516E-2</c:v>
                </c:pt>
                <c:pt idx="1740">
                  <c:v>2.7355377731873999E-2</c:v>
                </c:pt>
                <c:pt idx="1741">
                  <c:v>2.6849046510839501E-2</c:v>
                </c:pt>
                <c:pt idx="1742">
                  <c:v>2.6821036099620901E-2</c:v>
                </c:pt>
                <c:pt idx="1743">
                  <c:v>2.6797237113095101E-2</c:v>
                </c:pt>
                <c:pt idx="1744">
                  <c:v>2.6705969787229802E-2</c:v>
                </c:pt>
                <c:pt idx="1745">
                  <c:v>2.6709822880996499E-2</c:v>
                </c:pt>
                <c:pt idx="1746">
                  <c:v>2.6600502238857699E-2</c:v>
                </c:pt>
                <c:pt idx="1747">
                  <c:v>2.64066545950578E-2</c:v>
                </c:pt>
                <c:pt idx="1748">
                  <c:v>2.5982250110503199E-2</c:v>
                </c:pt>
                <c:pt idx="1749">
                  <c:v>2.5928587239127901E-2</c:v>
                </c:pt>
                <c:pt idx="1750">
                  <c:v>2.5928948247382799E-2</c:v>
                </c:pt>
                <c:pt idx="1751">
                  <c:v>2.59067009955849E-2</c:v>
                </c:pt>
                <c:pt idx="1752">
                  <c:v>2.5796214703807802E-2</c:v>
                </c:pt>
                <c:pt idx="1753">
                  <c:v>2.5810019276202401E-2</c:v>
                </c:pt>
                <c:pt idx="1754">
                  <c:v>2.5560706025703501E-2</c:v>
                </c:pt>
                <c:pt idx="1755">
                  <c:v>2.5554476115521699E-2</c:v>
                </c:pt>
                <c:pt idx="1756">
                  <c:v>2.5470482202739401E-2</c:v>
                </c:pt>
                <c:pt idx="1757">
                  <c:v>2.5470474238646099E-2</c:v>
                </c:pt>
                <c:pt idx="1758">
                  <c:v>2.5445185561068701E-2</c:v>
                </c:pt>
                <c:pt idx="1759">
                  <c:v>2.54965451200828E-2</c:v>
                </c:pt>
                <c:pt idx="1760">
                  <c:v>2.5312987517739999E-2</c:v>
                </c:pt>
                <c:pt idx="1761">
                  <c:v>2.5310464875760198E-2</c:v>
                </c:pt>
                <c:pt idx="1762">
                  <c:v>2.5199665738908202E-2</c:v>
                </c:pt>
                <c:pt idx="1763">
                  <c:v>2.5212777632494202E-2</c:v>
                </c:pt>
                <c:pt idx="1764">
                  <c:v>2.5226434689218299E-2</c:v>
                </c:pt>
                <c:pt idx="1765">
                  <c:v>2.5248618441824501E-2</c:v>
                </c:pt>
                <c:pt idx="1766">
                  <c:v>2.5111426642071898E-2</c:v>
                </c:pt>
                <c:pt idx="1767">
                  <c:v>2.4987563990658199E-2</c:v>
                </c:pt>
                <c:pt idx="1768">
                  <c:v>2.5007264782180499E-2</c:v>
                </c:pt>
                <c:pt idx="1769">
                  <c:v>2.49146724197204E-2</c:v>
                </c:pt>
                <c:pt idx="1770">
                  <c:v>2.50728072476782E-2</c:v>
                </c:pt>
                <c:pt idx="1771">
                  <c:v>2.5105279372796E-2</c:v>
                </c:pt>
                <c:pt idx="1772">
                  <c:v>2.5154204265401998E-2</c:v>
                </c:pt>
                <c:pt idx="1773">
                  <c:v>2.5090292828790901E-2</c:v>
                </c:pt>
                <c:pt idx="1774">
                  <c:v>2.5074949429959501E-2</c:v>
                </c:pt>
                <c:pt idx="1775">
                  <c:v>2.50854697312081E-2</c:v>
                </c:pt>
                <c:pt idx="1776">
                  <c:v>2.5092799014963699E-2</c:v>
                </c:pt>
                <c:pt idx="1777">
                  <c:v>2.5163271549322502E-2</c:v>
                </c:pt>
                <c:pt idx="1778">
                  <c:v>2.5098566751043501E-2</c:v>
                </c:pt>
                <c:pt idx="1779">
                  <c:v>2.50881052635515E-2</c:v>
                </c:pt>
                <c:pt idx="1780">
                  <c:v>2.5211682827297799E-2</c:v>
                </c:pt>
                <c:pt idx="1781">
                  <c:v>2.5166902681354901E-2</c:v>
                </c:pt>
                <c:pt idx="1782">
                  <c:v>2.52324714457705E-2</c:v>
                </c:pt>
                <c:pt idx="1783">
                  <c:v>2.55531977663307E-2</c:v>
                </c:pt>
                <c:pt idx="1784">
                  <c:v>2.53687037461773E-2</c:v>
                </c:pt>
                <c:pt idx="1785">
                  <c:v>2.5348113251799202E-2</c:v>
                </c:pt>
                <c:pt idx="1786">
                  <c:v>2.5479640849834499E-2</c:v>
                </c:pt>
                <c:pt idx="1787">
                  <c:v>2.5504033048299402E-2</c:v>
                </c:pt>
                <c:pt idx="1788">
                  <c:v>2.5507671984355801E-2</c:v>
                </c:pt>
                <c:pt idx="1789">
                  <c:v>2.56260422831684E-2</c:v>
                </c:pt>
                <c:pt idx="1790">
                  <c:v>2.5393590833912402E-2</c:v>
                </c:pt>
                <c:pt idx="1791">
                  <c:v>2.5381624719912E-2</c:v>
                </c:pt>
                <c:pt idx="1792">
                  <c:v>2.50425274814613E-2</c:v>
                </c:pt>
                <c:pt idx="1793">
                  <c:v>2.53775201561529E-2</c:v>
                </c:pt>
                <c:pt idx="1794">
                  <c:v>2.5356683057088401E-2</c:v>
                </c:pt>
                <c:pt idx="1795">
                  <c:v>2.5375851578874901E-2</c:v>
                </c:pt>
                <c:pt idx="1796">
                  <c:v>2.55285430349441E-2</c:v>
                </c:pt>
                <c:pt idx="1797">
                  <c:v>2.5531404726769999E-2</c:v>
                </c:pt>
                <c:pt idx="1798">
                  <c:v>2.55350701419064E-2</c:v>
                </c:pt>
                <c:pt idx="1799">
                  <c:v>2.5527291793575799E-2</c:v>
                </c:pt>
                <c:pt idx="1800">
                  <c:v>2.5426544160054E-2</c:v>
                </c:pt>
                <c:pt idx="1801">
                  <c:v>2.5426042145691E-2</c:v>
                </c:pt>
                <c:pt idx="1802">
                  <c:v>2.5436793419594501E-2</c:v>
                </c:pt>
                <c:pt idx="1803">
                  <c:v>2.5455525882451199E-2</c:v>
                </c:pt>
                <c:pt idx="1804">
                  <c:v>2.53740633843892E-2</c:v>
                </c:pt>
                <c:pt idx="1805">
                  <c:v>2.53298987983708E-2</c:v>
                </c:pt>
                <c:pt idx="1806">
                  <c:v>2.5351611849312498E-2</c:v>
                </c:pt>
                <c:pt idx="1807">
                  <c:v>2.5469482847987401E-2</c:v>
                </c:pt>
                <c:pt idx="1808">
                  <c:v>2.5370644832534699E-2</c:v>
                </c:pt>
                <c:pt idx="1809">
                  <c:v>2.5424692510227099E-2</c:v>
                </c:pt>
                <c:pt idx="1810">
                  <c:v>2.5348927507986199E-2</c:v>
                </c:pt>
                <c:pt idx="1811">
                  <c:v>2.5235160268378201E-2</c:v>
                </c:pt>
                <c:pt idx="1812">
                  <c:v>2.5212457316299501E-2</c:v>
                </c:pt>
                <c:pt idx="1813">
                  <c:v>2.4667404832404399E-2</c:v>
                </c:pt>
                <c:pt idx="1814">
                  <c:v>2.4357281158137602E-2</c:v>
                </c:pt>
                <c:pt idx="1815">
                  <c:v>2.4231690643348E-2</c:v>
                </c:pt>
                <c:pt idx="1816">
                  <c:v>2.44357222831608E-2</c:v>
                </c:pt>
                <c:pt idx="1817">
                  <c:v>2.4323156935429999E-2</c:v>
                </c:pt>
                <c:pt idx="1818">
                  <c:v>2.4333118393487101E-2</c:v>
                </c:pt>
                <c:pt idx="1819">
                  <c:v>2.40946549255622E-2</c:v>
                </c:pt>
                <c:pt idx="1820">
                  <c:v>2.4078432037555799E-2</c:v>
                </c:pt>
                <c:pt idx="1821">
                  <c:v>2.3942119760730698E-2</c:v>
                </c:pt>
                <c:pt idx="1822">
                  <c:v>2.3972410934686599E-2</c:v>
                </c:pt>
                <c:pt idx="1823">
                  <c:v>2.3795764610925599E-2</c:v>
                </c:pt>
                <c:pt idx="1824">
                  <c:v>2.36744383172461E-2</c:v>
                </c:pt>
                <c:pt idx="1825">
                  <c:v>2.36137584283721E-2</c:v>
                </c:pt>
                <c:pt idx="1826">
                  <c:v>2.3625174485057798E-2</c:v>
                </c:pt>
                <c:pt idx="1827">
                  <c:v>2.3390423629055201E-2</c:v>
                </c:pt>
                <c:pt idx="1828">
                  <c:v>2.3476698440213401E-2</c:v>
                </c:pt>
                <c:pt idx="1829">
                  <c:v>2.3390823575161802E-2</c:v>
                </c:pt>
                <c:pt idx="1830">
                  <c:v>2.3445309826638699E-2</c:v>
                </c:pt>
                <c:pt idx="1831">
                  <c:v>2.3382785641092699E-2</c:v>
                </c:pt>
                <c:pt idx="1832">
                  <c:v>2.34665821543284E-2</c:v>
                </c:pt>
                <c:pt idx="1833">
                  <c:v>2.3387530312523799E-2</c:v>
                </c:pt>
                <c:pt idx="1834">
                  <c:v>2.2877500102965999E-2</c:v>
                </c:pt>
                <c:pt idx="1835">
                  <c:v>2.2810756957920501E-2</c:v>
                </c:pt>
                <c:pt idx="1836">
                  <c:v>2.2725434316667601E-2</c:v>
                </c:pt>
                <c:pt idx="1837">
                  <c:v>2.2688037114943299E-2</c:v>
                </c:pt>
                <c:pt idx="1838">
                  <c:v>2.2640530553351901E-2</c:v>
                </c:pt>
                <c:pt idx="1839">
                  <c:v>2.2635699450336201E-2</c:v>
                </c:pt>
                <c:pt idx="1840">
                  <c:v>2.26048030704574E-2</c:v>
                </c:pt>
                <c:pt idx="1841">
                  <c:v>2.2493901905630501E-2</c:v>
                </c:pt>
                <c:pt idx="1842">
                  <c:v>2.2488859631697701E-2</c:v>
                </c:pt>
                <c:pt idx="1843">
                  <c:v>2.24725125918987E-2</c:v>
                </c:pt>
                <c:pt idx="1844">
                  <c:v>2.2052663234557901E-2</c:v>
                </c:pt>
                <c:pt idx="1845">
                  <c:v>2.20344013748805E-2</c:v>
                </c:pt>
                <c:pt idx="1846">
                  <c:v>2.2030932909068601E-2</c:v>
                </c:pt>
                <c:pt idx="1847">
                  <c:v>2.1912778751615399E-2</c:v>
                </c:pt>
                <c:pt idx="1848">
                  <c:v>2.1920377860806101E-2</c:v>
                </c:pt>
                <c:pt idx="1849">
                  <c:v>2.19223973417145E-2</c:v>
                </c:pt>
                <c:pt idx="1850">
                  <c:v>2.1507495723431701E-2</c:v>
                </c:pt>
                <c:pt idx="1851">
                  <c:v>2.1297102542505501E-2</c:v>
                </c:pt>
                <c:pt idx="1852">
                  <c:v>2.1397717236581001E-2</c:v>
                </c:pt>
                <c:pt idx="1853">
                  <c:v>2.1403293264392401E-2</c:v>
                </c:pt>
                <c:pt idx="1854">
                  <c:v>2.1202255245781999E-2</c:v>
                </c:pt>
                <c:pt idx="1855">
                  <c:v>2.1202229653153399E-2</c:v>
                </c:pt>
                <c:pt idx="1856">
                  <c:v>2.1214997566739301E-2</c:v>
                </c:pt>
                <c:pt idx="1857">
                  <c:v>2.12034704280166E-2</c:v>
                </c:pt>
                <c:pt idx="1858">
                  <c:v>2.1167298753030899E-2</c:v>
                </c:pt>
                <c:pt idx="1859">
                  <c:v>2.1189331415506701E-2</c:v>
                </c:pt>
                <c:pt idx="1860">
                  <c:v>2.1190690301933299E-2</c:v>
                </c:pt>
                <c:pt idx="1861">
                  <c:v>2.10279197249937E-2</c:v>
                </c:pt>
                <c:pt idx="1862">
                  <c:v>2.1018105572098E-2</c:v>
                </c:pt>
                <c:pt idx="1863">
                  <c:v>2.10130706850527E-2</c:v>
                </c:pt>
                <c:pt idx="1864">
                  <c:v>2.0884245129604E-2</c:v>
                </c:pt>
                <c:pt idx="1865">
                  <c:v>2.0867213521965799E-2</c:v>
                </c:pt>
                <c:pt idx="1866">
                  <c:v>2.08820908773516E-2</c:v>
                </c:pt>
                <c:pt idx="1867">
                  <c:v>2.0816310207019299E-2</c:v>
                </c:pt>
                <c:pt idx="1868">
                  <c:v>2.07033700814221E-2</c:v>
                </c:pt>
                <c:pt idx="1869">
                  <c:v>2.0705652168776099E-2</c:v>
                </c:pt>
                <c:pt idx="1870">
                  <c:v>2.07762950856769E-2</c:v>
                </c:pt>
                <c:pt idx="1871">
                  <c:v>2.0779906641599601E-2</c:v>
                </c:pt>
                <c:pt idx="1872">
                  <c:v>2.0760699435053601E-2</c:v>
                </c:pt>
                <c:pt idx="1873">
                  <c:v>2.0762295713670002E-2</c:v>
                </c:pt>
                <c:pt idx="1874">
                  <c:v>2.0746355104020099E-2</c:v>
                </c:pt>
                <c:pt idx="1875">
                  <c:v>2.04785776497186E-2</c:v>
                </c:pt>
                <c:pt idx="1876">
                  <c:v>2.0461106736672102E-2</c:v>
                </c:pt>
                <c:pt idx="1877">
                  <c:v>2.0451785450485E-2</c:v>
                </c:pt>
                <c:pt idx="1878">
                  <c:v>2.0454364461176398E-2</c:v>
                </c:pt>
                <c:pt idx="1879">
                  <c:v>2.0500230406053099E-2</c:v>
                </c:pt>
                <c:pt idx="1880">
                  <c:v>2.0480756619088498E-2</c:v>
                </c:pt>
                <c:pt idx="1881">
                  <c:v>2.04688742859267E-2</c:v>
                </c:pt>
                <c:pt idx="1882">
                  <c:v>2.0379115905800299E-2</c:v>
                </c:pt>
                <c:pt idx="1883">
                  <c:v>2.0418268409515099E-2</c:v>
                </c:pt>
                <c:pt idx="1884">
                  <c:v>2.0424730692568002E-2</c:v>
                </c:pt>
                <c:pt idx="1885">
                  <c:v>2.0363354701599799E-2</c:v>
                </c:pt>
                <c:pt idx="1886">
                  <c:v>2.0346005299970198E-2</c:v>
                </c:pt>
                <c:pt idx="1887">
                  <c:v>2.03458849786681E-2</c:v>
                </c:pt>
                <c:pt idx="1888">
                  <c:v>2.0401906517742801E-2</c:v>
                </c:pt>
                <c:pt idx="1889">
                  <c:v>2.0252206370581401E-2</c:v>
                </c:pt>
                <c:pt idx="1890">
                  <c:v>2.02730758086399E-2</c:v>
                </c:pt>
                <c:pt idx="1891">
                  <c:v>2.0266463199116201E-2</c:v>
                </c:pt>
                <c:pt idx="1892">
                  <c:v>2.0335304115001899E-2</c:v>
                </c:pt>
                <c:pt idx="1893">
                  <c:v>2.0357387702953599E-2</c:v>
                </c:pt>
                <c:pt idx="1894">
                  <c:v>2.0356183210020699E-2</c:v>
                </c:pt>
                <c:pt idx="1895">
                  <c:v>2.0348094304043399E-2</c:v>
                </c:pt>
                <c:pt idx="1896">
                  <c:v>2.0374224694950101E-2</c:v>
                </c:pt>
                <c:pt idx="1897">
                  <c:v>2.0365400439971201E-2</c:v>
                </c:pt>
                <c:pt idx="1898">
                  <c:v>2.03730632823045E-2</c:v>
                </c:pt>
                <c:pt idx="1899">
                  <c:v>2.0312920237731E-2</c:v>
                </c:pt>
                <c:pt idx="1900">
                  <c:v>2.03540231529457E-2</c:v>
                </c:pt>
                <c:pt idx="1901">
                  <c:v>2.02123212796478E-2</c:v>
                </c:pt>
                <c:pt idx="1902">
                  <c:v>2.01527334312466E-2</c:v>
                </c:pt>
                <c:pt idx="1903">
                  <c:v>2.01553329305156E-2</c:v>
                </c:pt>
                <c:pt idx="1904">
                  <c:v>2.0155341385343299E-2</c:v>
                </c:pt>
                <c:pt idx="1905">
                  <c:v>2.0157428030500898E-2</c:v>
                </c:pt>
                <c:pt idx="1906">
                  <c:v>2.0053573766812102E-2</c:v>
                </c:pt>
                <c:pt idx="1907">
                  <c:v>2.00057803595853E-2</c:v>
                </c:pt>
                <c:pt idx="1908">
                  <c:v>1.9914178803858099E-2</c:v>
                </c:pt>
                <c:pt idx="1909">
                  <c:v>1.9695132654659799E-2</c:v>
                </c:pt>
                <c:pt idx="1910">
                  <c:v>1.96900960458458E-2</c:v>
                </c:pt>
                <c:pt idx="1911">
                  <c:v>1.9669244083100699E-2</c:v>
                </c:pt>
                <c:pt idx="1912">
                  <c:v>1.9600321592185801E-2</c:v>
                </c:pt>
                <c:pt idx="1913">
                  <c:v>1.9371381387132399E-2</c:v>
                </c:pt>
                <c:pt idx="1914">
                  <c:v>1.9447323328784901E-2</c:v>
                </c:pt>
                <c:pt idx="1915">
                  <c:v>1.91635410998106E-2</c:v>
                </c:pt>
                <c:pt idx="1916">
                  <c:v>1.91043245417723E-2</c:v>
                </c:pt>
                <c:pt idx="1917">
                  <c:v>1.90966925274028E-2</c:v>
                </c:pt>
                <c:pt idx="1918">
                  <c:v>1.9090936773192201E-2</c:v>
                </c:pt>
                <c:pt idx="1919">
                  <c:v>1.8668798839045899E-2</c:v>
                </c:pt>
                <c:pt idx="1920">
                  <c:v>1.8686706522985101E-2</c:v>
                </c:pt>
                <c:pt idx="1921">
                  <c:v>1.8708067679074201E-2</c:v>
                </c:pt>
                <c:pt idx="1922">
                  <c:v>1.8548072530757801E-2</c:v>
                </c:pt>
                <c:pt idx="1923">
                  <c:v>1.8565040226894799E-2</c:v>
                </c:pt>
                <c:pt idx="1924">
                  <c:v>1.8554013852338899E-2</c:v>
                </c:pt>
                <c:pt idx="1925">
                  <c:v>1.8557059342101501E-2</c:v>
                </c:pt>
                <c:pt idx="1926">
                  <c:v>1.8552951153187301E-2</c:v>
                </c:pt>
                <c:pt idx="1927">
                  <c:v>1.8539906852894701E-2</c:v>
                </c:pt>
                <c:pt idx="1928">
                  <c:v>1.84147095274582E-2</c:v>
                </c:pt>
                <c:pt idx="1929">
                  <c:v>1.8441420264009301E-2</c:v>
                </c:pt>
                <c:pt idx="1930">
                  <c:v>1.8416243979493901E-2</c:v>
                </c:pt>
                <c:pt idx="1931">
                  <c:v>1.84775690451137E-2</c:v>
                </c:pt>
                <c:pt idx="1932">
                  <c:v>1.8418172186678902E-2</c:v>
                </c:pt>
                <c:pt idx="1933">
                  <c:v>1.8422820094982102E-2</c:v>
                </c:pt>
                <c:pt idx="1934">
                  <c:v>1.8386398949192799E-2</c:v>
                </c:pt>
                <c:pt idx="1935">
                  <c:v>1.8283462762554201E-2</c:v>
                </c:pt>
                <c:pt idx="1936">
                  <c:v>1.8279311856421999E-2</c:v>
                </c:pt>
                <c:pt idx="1937">
                  <c:v>1.8278658870620901E-2</c:v>
                </c:pt>
                <c:pt idx="1938">
                  <c:v>1.8290348105581399E-2</c:v>
                </c:pt>
                <c:pt idx="1939">
                  <c:v>1.8274060739960501E-2</c:v>
                </c:pt>
                <c:pt idx="1940">
                  <c:v>1.8272816465391001E-2</c:v>
                </c:pt>
                <c:pt idx="1941">
                  <c:v>1.828451016401E-2</c:v>
                </c:pt>
                <c:pt idx="1942">
                  <c:v>1.82849384298054E-2</c:v>
                </c:pt>
                <c:pt idx="1943">
                  <c:v>1.81118535171228E-2</c:v>
                </c:pt>
                <c:pt idx="1944">
                  <c:v>1.8107117586803102E-2</c:v>
                </c:pt>
                <c:pt idx="1945">
                  <c:v>1.8357692584770002E-2</c:v>
                </c:pt>
                <c:pt idx="1946">
                  <c:v>1.8302721848436E-2</c:v>
                </c:pt>
                <c:pt idx="1947">
                  <c:v>1.8337156213048302E-2</c:v>
                </c:pt>
                <c:pt idx="1948">
                  <c:v>1.8350990103401101E-2</c:v>
                </c:pt>
                <c:pt idx="1949">
                  <c:v>1.83529714592734E-2</c:v>
                </c:pt>
                <c:pt idx="1950">
                  <c:v>1.8334863739087801E-2</c:v>
                </c:pt>
                <c:pt idx="1951">
                  <c:v>1.8336012873356001E-2</c:v>
                </c:pt>
                <c:pt idx="1952">
                  <c:v>1.8320646578343799E-2</c:v>
                </c:pt>
                <c:pt idx="1953">
                  <c:v>1.81762375018087E-2</c:v>
                </c:pt>
                <c:pt idx="1954">
                  <c:v>1.8172574738082901E-2</c:v>
                </c:pt>
                <c:pt idx="1955">
                  <c:v>1.8194005263567299E-2</c:v>
                </c:pt>
                <c:pt idx="1956">
                  <c:v>1.8132255459072998E-2</c:v>
                </c:pt>
                <c:pt idx="1957">
                  <c:v>1.8382280540265101E-2</c:v>
                </c:pt>
                <c:pt idx="1958">
                  <c:v>1.83099649035189E-2</c:v>
                </c:pt>
                <c:pt idx="1959">
                  <c:v>1.8311172795816299E-2</c:v>
                </c:pt>
                <c:pt idx="1960">
                  <c:v>1.82303670555405E-2</c:v>
                </c:pt>
                <c:pt idx="1961">
                  <c:v>1.82321164341534E-2</c:v>
                </c:pt>
                <c:pt idx="1962">
                  <c:v>1.8274646267224401E-2</c:v>
                </c:pt>
                <c:pt idx="1963">
                  <c:v>1.8279572049913699E-2</c:v>
                </c:pt>
                <c:pt idx="1964">
                  <c:v>1.8601494216327199E-2</c:v>
                </c:pt>
                <c:pt idx="1965">
                  <c:v>1.8589715672421101E-2</c:v>
                </c:pt>
                <c:pt idx="1966">
                  <c:v>1.8534062223778101E-2</c:v>
                </c:pt>
                <c:pt idx="1967">
                  <c:v>1.8543522134583001E-2</c:v>
                </c:pt>
                <c:pt idx="1968">
                  <c:v>1.8563843836260401E-2</c:v>
                </c:pt>
                <c:pt idx="1969">
                  <c:v>1.8711757265658099E-2</c:v>
                </c:pt>
                <c:pt idx="1970">
                  <c:v>1.8756203885823899E-2</c:v>
                </c:pt>
                <c:pt idx="1971">
                  <c:v>1.8744484430790999E-2</c:v>
                </c:pt>
                <c:pt idx="1972">
                  <c:v>1.87626808448993E-2</c:v>
                </c:pt>
                <c:pt idx="1973">
                  <c:v>1.87087357166189E-2</c:v>
                </c:pt>
                <c:pt idx="1974">
                  <c:v>1.87884016452982E-2</c:v>
                </c:pt>
                <c:pt idx="1975">
                  <c:v>1.87982932265152E-2</c:v>
                </c:pt>
                <c:pt idx="1976">
                  <c:v>1.8785235057633101E-2</c:v>
                </c:pt>
                <c:pt idx="1977">
                  <c:v>1.8769067166875899E-2</c:v>
                </c:pt>
                <c:pt idx="1978">
                  <c:v>1.86369856337581E-2</c:v>
                </c:pt>
                <c:pt idx="1979">
                  <c:v>1.8669965441999701E-2</c:v>
                </c:pt>
                <c:pt idx="1980">
                  <c:v>1.85980152933902E-2</c:v>
                </c:pt>
                <c:pt idx="1981">
                  <c:v>1.86953188627428E-2</c:v>
                </c:pt>
                <c:pt idx="1982">
                  <c:v>1.8706845746952801E-2</c:v>
                </c:pt>
                <c:pt idx="1983">
                  <c:v>1.8706917961293899E-2</c:v>
                </c:pt>
                <c:pt idx="1984">
                  <c:v>1.8708208020926299E-2</c:v>
                </c:pt>
                <c:pt idx="1985">
                  <c:v>1.8727361651719301E-2</c:v>
                </c:pt>
                <c:pt idx="1986">
                  <c:v>1.8822605867246298E-2</c:v>
                </c:pt>
                <c:pt idx="1987">
                  <c:v>1.8785646248945301E-2</c:v>
                </c:pt>
                <c:pt idx="1988">
                  <c:v>1.8748515982295998E-2</c:v>
                </c:pt>
                <c:pt idx="1989">
                  <c:v>1.8748309878842299E-2</c:v>
                </c:pt>
                <c:pt idx="1990">
                  <c:v>1.8723663817619501E-2</c:v>
                </c:pt>
                <c:pt idx="1991">
                  <c:v>1.8701508988628299E-2</c:v>
                </c:pt>
                <c:pt idx="1992">
                  <c:v>1.89248670662122E-2</c:v>
                </c:pt>
                <c:pt idx="1993">
                  <c:v>1.89363478075751E-2</c:v>
                </c:pt>
                <c:pt idx="1994">
                  <c:v>1.8956298994437602E-2</c:v>
                </c:pt>
                <c:pt idx="1995">
                  <c:v>1.8940930366060201E-2</c:v>
                </c:pt>
                <c:pt idx="1996">
                  <c:v>1.89471437493672E-2</c:v>
                </c:pt>
                <c:pt idx="1997">
                  <c:v>1.89903450890117E-2</c:v>
                </c:pt>
                <c:pt idx="1998">
                  <c:v>1.8965383402494901E-2</c:v>
                </c:pt>
                <c:pt idx="1999">
                  <c:v>1.89642354216767E-2</c:v>
                </c:pt>
                <c:pt idx="2000">
                  <c:v>1.89910525008187E-2</c:v>
                </c:pt>
                <c:pt idx="2001">
                  <c:v>1.8983579212407599E-2</c:v>
                </c:pt>
                <c:pt idx="2002">
                  <c:v>1.8984745380670898E-2</c:v>
                </c:pt>
                <c:pt idx="2003">
                  <c:v>1.89674523261966E-2</c:v>
                </c:pt>
                <c:pt idx="2004">
                  <c:v>1.8986082720685499E-2</c:v>
                </c:pt>
                <c:pt idx="2005">
                  <c:v>1.8985542421761401E-2</c:v>
                </c:pt>
                <c:pt idx="2006">
                  <c:v>1.9036246393267099E-2</c:v>
                </c:pt>
                <c:pt idx="2007">
                  <c:v>1.9090140095101599E-2</c:v>
                </c:pt>
                <c:pt idx="2008">
                  <c:v>1.90801073646505E-2</c:v>
                </c:pt>
                <c:pt idx="2009">
                  <c:v>1.90135446838673E-2</c:v>
                </c:pt>
                <c:pt idx="2010">
                  <c:v>1.9001140569006501E-2</c:v>
                </c:pt>
                <c:pt idx="2011">
                  <c:v>1.90057253892565E-2</c:v>
                </c:pt>
                <c:pt idx="2012">
                  <c:v>1.9003886330718998E-2</c:v>
                </c:pt>
                <c:pt idx="2013">
                  <c:v>1.9023160264319602E-2</c:v>
                </c:pt>
                <c:pt idx="2014">
                  <c:v>1.9007454972852E-2</c:v>
                </c:pt>
                <c:pt idx="2015">
                  <c:v>1.89671930421999E-2</c:v>
                </c:pt>
                <c:pt idx="2016">
                  <c:v>1.89813765563932E-2</c:v>
                </c:pt>
                <c:pt idx="2017">
                  <c:v>1.9008360667830099E-2</c:v>
                </c:pt>
                <c:pt idx="2018">
                  <c:v>1.89615438902116E-2</c:v>
                </c:pt>
                <c:pt idx="2019">
                  <c:v>1.8966103194258701E-2</c:v>
                </c:pt>
                <c:pt idx="2020">
                  <c:v>1.8698307676963101E-2</c:v>
                </c:pt>
                <c:pt idx="2021">
                  <c:v>1.8652702872534802E-2</c:v>
                </c:pt>
                <c:pt idx="2022">
                  <c:v>1.8656993248840001E-2</c:v>
                </c:pt>
                <c:pt idx="2023">
                  <c:v>1.8638325268815599E-2</c:v>
                </c:pt>
                <c:pt idx="2024">
                  <c:v>1.8650713294818801E-2</c:v>
                </c:pt>
                <c:pt idx="2025">
                  <c:v>1.8661705018533099E-2</c:v>
                </c:pt>
                <c:pt idx="2026">
                  <c:v>1.8680627265585101E-2</c:v>
                </c:pt>
                <c:pt idx="2027">
                  <c:v>1.8595809880424301E-2</c:v>
                </c:pt>
                <c:pt idx="2028">
                  <c:v>1.85953693472834E-2</c:v>
                </c:pt>
                <c:pt idx="2029">
                  <c:v>1.8598665587511901E-2</c:v>
                </c:pt>
                <c:pt idx="2030">
                  <c:v>1.8416915864454601E-2</c:v>
                </c:pt>
                <c:pt idx="2031">
                  <c:v>1.8397440002458201E-2</c:v>
                </c:pt>
                <c:pt idx="2032">
                  <c:v>1.8316953192072601E-2</c:v>
                </c:pt>
                <c:pt idx="2033">
                  <c:v>1.7944890021257501E-2</c:v>
                </c:pt>
                <c:pt idx="2034">
                  <c:v>1.7933574526271801E-2</c:v>
                </c:pt>
                <c:pt idx="2035">
                  <c:v>1.7646004611739902E-2</c:v>
                </c:pt>
                <c:pt idx="2036">
                  <c:v>1.7485152414394901E-2</c:v>
                </c:pt>
                <c:pt idx="2037">
                  <c:v>1.7445190024004499E-2</c:v>
                </c:pt>
                <c:pt idx="2038">
                  <c:v>1.7441290133458E-2</c:v>
                </c:pt>
                <c:pt idx="2039">
                  <c:v>1.7299455451214401E-2</c:v>
                </c:pt>
                <c:pt idx="2040">
                  <c:v>1.7251991766210902E-2</c:v>
                </c:pt>
                <c:pt idx="2041">
                  <c:v>1.7290854220151999E-2</c:v>
                </c:pt>
                <c:pt idx="2042">
                  <c:v>1.7147683892696001E-2</c:v>
                </c:pt>
                <c:pt idx="2043">
                  <c:v>1.6498098195908799E-2</c:v>
                </c:pt>
                <c:pt idx="2044">
                  <c:v>1.65376876370667E-2</c:v>
                </c:pt>
                <c:pt idx="2045">
                  <c:v>1.6505535750154801E-2</c:v>
                </c:pt>
                <c:pt idx="2046">
                  <c:v>1.6156459054973499E-2</c:v>
                </c:pt>
                <c:pt idx="2047">
                  <c:v>1.6147925113970001E-2</c:v>
                </c:pt>
                <c:pt idx="2048">
                  <c:v>1.6175698966287899E-2</c:v>
                </c:pt>
                <c:pt idx="2049">
                  <c:v>1.6161883650345401E-2</c:v>
                </c:pt>
                <c:pt idx="2050">
                  <c:v>1.6154380405914999E-2</c:v>
                </c:pt>
                <c:pt idx="2051">
                  <c:v>1.61444539865691E-2</c:v>
                </c:pt>
                <c:pt idx="2052">
                  <c:v>1.60741103636678E-2</c:v>
                </c:pt>
                <c:pt idx="2053">
                  <c:v>1.6072313291604301E-2</c:v>
                </c:pt>
                <c:pt idx="2054">
                  <c:v>1.6078554752487401E-2</c:v>
                </c:pt>
                <c:pt idx="2055">
                  <c:v>1.6057716303129601E-2</c:v>
                </c:pt>
                <c:pt idx="2056">
                  <c:v>1.6068442317947702E-2</c:v>
                </c:pt>
                <c:pt idx="2057">
                  <c:v>1.60693304628554E-2</c:v>
                </c:pt>
                <c:pt idx="2058">
                  <c:v>1.6171999545876E-2</c:v>
                </c:pt>
                <c:pt idx="2059">
                  <c:v>1.61175560313923E-2</c:v>
                </c:pt>
                <c:pt idx="2060">
                  <c:v>1.6075408493877001E-2</c:v>
                </c:pt>
                <c:pt idx="2061">
                  <c:v>1.6070387863398702E-2</c:v>
                </c:pt>
                <c:pt idx="2062">
                  <c:v>1.6185641976017701E-2</c:v>
                </c:pt>
                <c:pt idx="2063">
                  <c:v>1.6087830919887001E-2</c:v>
                </c:pt>
                <c:pt idx="2064">
                  <c:v>1.61393405232674E-2</c:v>
                </c:pt>
                <c:pt idx="2065">
                  <c:v>1.6130060990799999E-2</c:v>
                </c:pt>
                <c:pt idx="2066">
                  <c:v>1.5807010868397298E-2</c:v>
                </c:pt>
                <c:pt idx="2067">
                  <c:v>1.5804986313921399E-2</c:v>
                </c:pt>
                <c:pt idx="2068">
                  <c:v>1.5889175164533201E-2</c:v>
                </c:pt>
                <c:pt idx="2069">
                  <c:v>1.5882368989463599E-2</c:v>
                </c:pt>
                <c:pt idx="2070">
                  <c:v>1.59233140178307E-2</c:v>
                </c:pt>
                <c:pt idx="2071">
                  <c:v>1.5923798485463998E-2</c:v>
                </c:pt>
                <c:pt idx="2072">
                  <c:v>1.5838660103943001E-2</c:v>
                </c:pt>
                <c:pt idx="2073">
                  <c:v>1.5905265846786101E-2</c:v>
                </c:pt>
                <c:pt idx="2074">
                  <c:v>1.5905538762733401E-2</c:v>
                </c:pt>
                <c:pt idx="2075">
                  <c:v>1.5919789925517899E-2</c:v>
                </c:pt>
                <c:pt idx="2076">
                  <c:v>1.5910202486397299E-2</c:v>
                </c:pt>
                <c:pt idx="2077">
                  <c:v>1.5926617423700402E-2</c:v>
                </c:pt>
                <c:pt idx="2078">
                  <c:v>1.58218572417178E-2</c:v>
                </c:pt>
                <c:pt idx="2079">
                  <c:v>1.5826274482035899E-2</c:v>
                </c:pt>
                <c:pt idx="2080">
                  <c:v>1.5751796277966201E-2</c:v>
                </c:pt>
                <c:pt idx="2081">
                  <c:v>1.5740247372214199E-2</c:v>
                </c:pt>
                <c:pt idx="2082">
                  <c:v>1.61179724392033E-2</c:v>
                </c:pt>
                <c:pt idx="2083">
                  <c:v>1.6104432681659901E-2</c:v>
                </c:pt>
                <c:pt idx="2084">
                  <c:v>1.6346663389198799E-2</c:v>
                </c:pt>
                <c:pt idx="2085">
                  <c:v>1.6396946992033999E-2</c:v>
                </c:pt>
                <c:pt idx="2086">
                  <c:v>1.6418603189238001E-2</c:v>
                </c:pt>
                <c:pt idx="2087">
                  <c:v>1.6429209565819801E-2</c:v>
                </c:pt>
                <c:pt idx="2088">
                  <c:v>1.64287272028356E-2</c:v>
                </c:pt>
                <c:pt idx="2089">
                  <c:v>1.647805981748E-2</c:v>
                </c:pt>
                <c:pt idx="2090">
                  <c:v>1.6540197755588501E-2</c:v>
                </c:pt>
                <c:pt idx="2091">
                  <c:v>1.6563111188831799E-2</c:v>
                </c:pt>
                <c:pt idx="2092">
                  <c:v>1.6459446680003601E-2</c:v>
                </c:pt>
                <c:pt idx="2093">
                  <c:v>1.6459387293182502E-2</c:v>
                </c:pt>
                <c:pt idx="2094">
                  <c:v>1.64913269083427E-2</c:v>
                </c:pt>
                <c:pt idx="2095">
                  <c:v>1.6489437419420001E-2</c:v>
                </c:pt>
                <c:pt idx="2096">
                  <c:v>1.6493995618795099E-2</c:v>
                </c:pt>
                <c:pt idx="2097">
                  <c:v>1.6482026794272599E-2</c:v>
                </c:pt>
                <c:pt idx="2098">
                  <c:v>1.6357533097805702E-2</c:v>
                </c:pt>
                <c:pt idx="2099">
                  <c:v>1.6307323961467699E-2</c:v>
                </c:pt>
                <c:pt idx="2100">
                  <c:v>1.6118074491980799E-2</c:v>
                </c:pt>
                <c:pt idx="2101">
                  <c:v>1.6036074094706001E-2</c:v>
                </c:pt>
                <c:pt idx="2102">
                  <c:v>1.5876004274040699E-2</c:v>
                </c:pt>
                <c:pt idx="2103">
                  <c:v>1.5973321603837101E-2</c:v>
                </c:pt>
                <c:pt idx="2104">
                  <c:v>1.59603723846737E-2</c:v>
                </c:pt>
                <c:pt idx="2105">
                  <c:v>1.5965129224381099E-2</c:v>
                </c:pt>
                <c:pt idx="2106">
                  <c:v>1.5939756612470501E-2</c:v>
                </c:pt>
                <c:pt idx="2107">
                  <c:v>1.5932942890239599E-2</c:v>
                </c:pt>
                <c:pt idx="2108">
                  <c:v>1.59407471830279E-2</c:v>
                </c:pt>
                <c:pt idx="2109">
                  <c:v>1.5959272761723601E-2</c:v>
                </c:pt>
                <c:pt idx="2110">
                  <c:v>1.5966442915937299E-2</c:v>
                </c:pt>
                <c:pt idx="2111">
                  <c:v>1.5974366081484899E-2</c:v>
                </c:pt>
                <c:pt idx="2112">
                  <c:v>1.5966399299409701E-2</c:v>
                </c:pt>
                <c:pt idx="2113">
                  <c:v>1.6007578138712401E-2</c:v>
                </c:pt>
                <c:pt idx="2114">
                  <c:v>1.6040656454624699E-2</c:v>
                </c:pt>
                <c:pt idx="2115">
                  <c:v>1.5982861666087901E-2</c:v>
                </c:pt>
                <c:pt idx="2116">
                  <c:v>1.5902593801202101E-2</c:v>
                </c:pt>
                <c:pt idx="2117">
                  <c:v>1.5958252934303099E-2</c:v>
                </c:pt>
                <c:pt idx="2118">
                  <c:v>1.5915571385568199E-2</c:v>
                </c:pt>
                <c:pt idx="2119">
                  <c:v>1.5906476874268299E-2</c:v>
                </c:pt>
                <c:pt idx="2120">
                  <c:v>1.5791676113268101E-2</c:v>
                </c:pt>
                <c:pt idx="2121">
                  <c:v>1.57906892305863E-2</c:v>
                </c:pt>
                <c:pt idx="2122">
                  <c:v>1.5800752299195399E-2</c:v>
                </c:pt>
                <c:pt idx="2123">
                  <c:v>1.57991019923082E-2</c:v>
                </c:pt>
                <c:pt idx="2124">
                  <c:v>1.57672181464612E-2</c:v>
                </c:pt>
                <c:pt idx="2125">
                  <c:v>1.5763747139767501E-2</c:v>
                </c:pt>
                <c:pt idx="2126">
                  <c:v>1.57786822462656E-2</c:v>
                </c:pt>
                <c:pt idx="2127">
                  <c:v>1.5952891415215002E-2</c:v>
                </c:pt>
                <c:pt idx="2128">
                  <c:v>1.59494006607524E-2</c:v>
                </c:pt>
                <c:pt idx="2129">
                  <c:v>1.5968031105221901E-2</c:v>
                </c:pt>
                <c:pt idx="2130">
                  <c:v>1.6101929732130298E-2</c:v>
                </c:pt>
                <c:pt idx="2131">
                  <c:v>1.6125197869475399E-2</c:v>
                </c:pt>
                <c:pt idx="2132">
                  <c:v>1.6104832534100302E-2</c:v>
                </c:pt>
                <c:pt idx="2133">
                  <c:v>1.5978899135578099E-2</c:v>
                </c:pt>
                <c:pt idx="2134">
                  <c:v>1.5977244107046401E-2</c:v>
                </c:pt>
                <c:pt idx="2135">
                  <c:v>1.6009215395356002E-2</c:v>
                </c:pt>
                <c:pt idx="2136">
                  <c:v>1.6007095460195901E-2</c:v>
                </c:pt>
                <c:pt idx="2137">
                  <c:v>1.6029362819877799E-2</c:v>
                </c:pt>
                <c:pt idx="2138">
                  <c:v>1.58981645755575E-2</c:v>
                </c:pt>
                <c:pt idx="2139">
                  <c:v>1.59120713379804E-2</c:v>
                </c:pt>
                <c:pt idx="2140">
                  <c:v>1.5948956248408201E-2</c:v>
                </c:pt>
                <c:pt idx="2141">
                  <c:v>1.59374586238493E-2</c:v>
                </c:pt>
                <c:pt idx="2142">
                  <c:v>1.5975577500768501E-2</c:v>
                </c:pt>
                <c:pt idx="2143">
                  <c:v>1.5951888926745001E-2</c:v>
                </c:pt>
                <c:pt idx="2144">
                  <c:v>1.59625014665409E-2</c:v>
                </c:pt>
                <c:pt idx="2145">
                  <c:v>1.5962512964773998E-2</c:v>
                </c:pt>
                <c:pt idx="2146">
                  <c:v>1.5943421596810298E-2</c:v>
                </c:pt>
                <c:pt idx="2147">
                  <c:v>1.5967925247498502E-2</c:v>
                </c:pt>
                <c:pt idx="2148">
                  <c:v>1.5988467037275099E-2</c:v>
                </c:pt>
                <c:pt idx="2149">
                  <c:v>1.5988434559433402E-2</c:v>
                </c:pt>
                <c:pt idx="2150">
                  <c:v>1.5938203582066501E-2</c:v>
                </c:pt>
                <c:pt idx="2151">
                  <c:v>1.5938661640438501E-2</c:v>
                </c:pt>
                <c:pt idx="2152">
                  <c:v>1.5955731524210901E-2</c:v>
                </c:pt>
                <c:pt idx="2153">
                  <c:v>1.59337323350087E-2</c:v>
                </c:pt>
                <c:pt idx="2154">
                  <c:v>1.59349119882451E-2</c:v>
                </c:pt>
                <c:pt idx="2155">
                  <c:v>1.59290339620255E-2</c:v>
                </c:pt>
                <c:pt idx="2156">
                  <c:v>1.5953800407120699E-2</c:v>
                </c:pt>
                <c:pt idx="2157">
                  <c:v>1.5985327448082301E-2</c:v>
                </c:pt>
                <c:pt idx="2158">
                  <c:v>1.59604293083291E-2</c:v>
                </c:pt>
                <c:pt idx="2159">
                  <c:v>1.5933987587323301E-2</c:v>
                </c:pt>
                <c:pt idx="2160">
                  <c:v>1.5972276883617499E-2</c:v>
                </c:pt>
                <c:pt idx="2161">
                  <c:v>1.5963697343520399E-2</c:v>
                </c:pt>
                <c:pt idx="2162">
                  <c:v>1.59647469931961E-2</c:v>
                </c:pt>
                <c:pt idx="2163">
                  <c:v>1.5999358835128201E-2</c:v>
                </c:pt>
                <c:pt idx="2164">
                  <c:v>1.59409835114693E-2</c:v>
                </c:pt>
                <c:pt idx="2165">
                  <c:v>1.5971433864344901E-2</c:v>
                </c:pt>
                <c:pt idx="2166">
                  <c:v>1.5967420158712199E-2</c:v>
                </c:pt>
                <c:pt idx="2167">
                  <c:v>1.5963607854613499E-2</c:v>
                </c:pt>
                <c:pt idx="2168">
                  <c:v>1.59590283724091E-2</c:v>
                </c:pt>
                <c:pt idx="2169">
                  <c:v>1.5980119538549099E-2</c:v>
                </c:pt>
                <c:pt idx="2170">
                  <c:v>1.5959750264257899E-2</c:v>
                </c:pt>
                <c:pt idx="2171">
                  <c:v>1.5950507036855702E-2</c:v>
                </c:pt>
                <c:pt idx="2172">
                  <c:v>1.5945585170167999E-2</c:v>
                </c:pt>
                <c:pt idx="2173">
                  <c:v>1.5899601403242099E-2</c:v>
                </c:pt>
                <c:pt idx="2174">
                  <c:v>1.5899172615018001E-2</c:v>
                </c:pt>
                <c:pt idx="2175">
                  <c:v>1.5903756797984898E-2</c:v>
                </c:pt>
                <c:pt idx="2176">
                  <c:v>1.5932291383743701E-2</c:v>
                </c:pt>
                <c:pt idx="2177">
                  <c:v>1.5940837968678699E-2</c:v>
                </c:pt>
                <c:pt idx="2178">
                  <c:v>1.5942816291308101E-2</c:v>
                </c:pt>
                <c:pt idx="2179">
                  <c:v>1.59247531730746E-2</c:v>
                </c:pt>
                <c:pt idx="2180">
                  <c:v>1.5904695069405499E-2</c:v>
                </c:pt>
                <c:pt idx="2181">
                  <c:v>1.5825009619528301E-2</c:v>
                </c:pt>
                <c:pt idx="2182">
                  <c:v>1.5847459700443701E-2</c:v>
                </c:pt>
                <c:pt idx="2183">
                  <c:v>1.5846272216902001E-2</c:v>
                </c:pt>
                <c:pt idx="2184">
                  <c:v>1.5822566170623501E-2</c:v>
                </c:pt>
                <c:pt idx="2185">
                  <c:v>1.5819907933105799E-2</c:v>
                </c:pt>
                <c:pt idx="2186">
                  <c:v>1.58657634425673E-2</c:v>
                </c:pt>
                <c:pt idx="2187">
                  <c:v>1.58622902117855E-2</c:v>
                </c:pt>
                <c:pt idx="2188">
                  <c:v>1.5849973728759799E-2</c:v>
                </c:pt>
                <c:pt idx="2189">
                  <c:v>1.5841459945998101E-2</c:v>
                </c:pt>
                <c:pt idx="2190">
                  <c:v>1.5862656194971399E-2</c:v>
                </c:pt>
                <c:pt idx="2191">
                  <c:v>1.5848081897671899E-2</c:v>
                </c:pt>
                <c:pt idx="2192">
                  <c:v>1.58515764037894E-2</c:v>
                </c:pt>
                <c:pt idx="2193">
                  <c:v>1.58782560957536E-2</c:v>
                </c:pt>
                <c:pt idx="2194">
                  <c:v>1.58753069059492E-2</c:v>
                </c:pt>
                <c:pt idx="2195">
                  <c:v>1.54921430204103E-2</c:v>
                </c:pt>
                <c:pt idx="2196">
                  <c:v>1.55786870517103E-2</c:v>
                </c:pt>
                <c:pt idx="2197">
                  <c:v>1.55278972331967E-2</c:v>
                </c:pt>
                <c:pt idx="2198">
                  <c:v>1.55130679624293E-2</c:v>
                </c:pt>
                <c:pt idx="2199">
                  <c:v>1.55124506769573E-2</c:v>
                </c:pt>
                <c:pt idx="2200">
                  <c:v>1.55156944415467E-2</c:v>
                </c:pt>
                <c:pt idx="2201">
                  <c:v>1.5463340598626999E-2</c:v>
                </c:pt>
                <c:pt idx="2202">
                  <c:v>1.5486921205408901E-2</c:v>
                </c:pt>
                <c:pt idx="2203">
                  <c:v>1.5477023709682999E-2</c:v>
                </c:pt>
                <c:pt idx="2204">
                  <c:v>1.54866858423321E-2</c:v>
                </c:pt>
                <c:pt idx="2205">
                  <c:v>1.54573099546332E-2</c:v>
                </c:pt>
                <c:pt idx="2206">
                  <c:v>1.5460420918910599E-2</c:v>
                </c:pt>
                <c:pt idx="2207">
                  <c:v>1.5172678964388699E-2</c:v>
                </c:pt>
                <c:pt idx="2208">
                  <c:v>1.51125476456253E-2</c:v>
                </c:pt>
                <c:pt idx="2209">
                  <c:v>1.5244568450757501E-2</c:v>
                </c:pt>
                <c:pt idx="2210">
                  <c:v>1.5188886787261401E-2</c:v>
                </c:pt>
                <c:pt idx="2211">
                  <c:v>1.52039588405292E-2</c:v>
                </c:pt>
                <c:pt idx="2212">
                  <c:v>1.5130521088964601E-2</c:v>
                </c:pt>
                <c:pt idx="2213">
                  <c:v>1.5128165687652901E-2</c:v>
                </c:pt>
                <c:pt idx="2214">
                  <c:v>1.47200522491373E-2</c:v>
                </c:pt>
                <c:pt idx="2215">
                  <c:v>1.46963734196837E-2</c:v>
                </c:pt>
                <c:pt idx="2216">
                  <c:v>1.46945975364581E-2</c:v>
                </c:pt>
                <c:pt idx="2217">
                  <c:v>1.47072939152892E-2</c:v>
                </c:pt>
                <c:pt idx="2218">
                  <c:v>1.46891640118252E-2</c:v>
                </c:pt>
                <c:pt idx="2219">
                  <c:v>1.4506705136194601E-2</c:v>
                </c:pt>
                <c:pt idx="2220">
                  <c:v>1.4444822014627001E-2</c:v>
                </c:pt>
                <c:pt idx="2221">
                  <c:v>1.4496371898792101E-2</c:v>
                </c:pt>
                <c:pt idx="2222">
                  <c:v>1.44620342730144E-2</c:v>
                </c:pt>
                <c:pt idx="2223">
                  <c:v>1.44625892264926E-2</c:v>
                </c:pt>
                <c:pt idx="2224">
                  <c:v>1.4384904146845101E-2</c:v>
                </c:pt>
                <c:pt idx="2225">
                  <c:v>1.4383925234219301E-2</c:v>
                </c:pt>
                <c:pt idx="2226">
                  <c:v>1.44155946694114E-2</c:v>
                </c:pt>
                <c:pt idx="2227">
                  <c:v>1.4417825618286299E-2</c:v>
                </c:pt>
                <c:pt idx="2228">
                  <c:v>1.44220463525347E-2</c:v>
                </c:pt>
                <c:pt idx="2229">
                  <c:v>1.4394850326855099E-2</c:v>
                </c:pt>
                <c:pt idx="2230">
                  <c:v>1.43947301833788E-2</c:v>
                </c:pt>
                <c:pt idx="2231">
                  <c:v>1.43071914704798E-2</c:v>
                </c:pt>
                <c:pt idx="2232">
                  <c:v>1.4361539118118201E-2</c:v>
                </c:pt>
                <c:pt idx="2233">
                  <c:v>1.4361358729602701E-2</c:v>
                </c:pt>
                <c:pt idx="2234">
                  <c:v>1.4356113443090001E-2</c:v>
                </c:pt>
                <c:pt idx="2235">
                  <c:v>1.4341180050663699E-2</c:v>
                </c:pt>
                <c:pt idx="2236">
                  <c:v>1.4238881424470599E-2</c:v>
                </c:pt>
                <c:pt idx="2237">
                  <c:v>1.42391197616947E-2</c:v>
                </c:pt>
                <c:pt idx="2238">
                  <c:v>1.43006319814432E-2</c:v>
                </c:pt>
                <c:pt idx="2239">
                  <c:v>1.4300543685960799E-2</c:v>
                </c:pt>
                <c:pt idx="2240">
                  <c:v>1.4292587447830799E-2</c:v>
                </c:pt>
                <c:pt idx="2241">
                  <c:v>1.42870148290622E-2</c:v>
                </c:pt>
                <c:pt idx="2242">
                  <c:v>1.39648619214664E-2</c:v>
                </c:pt>
                <c:pt idx="2243">
                  <c:v>1.3944236546506001E-2</c:v>
                </c:pt>
                <c:pt idx="2244">
                  <c:v>1.3962560034067701E-2</c:v>
                </c:pt>
                <c:pt idx="2245">
                  <c:v>1.39950290711319E-2</c:v>
                </c:pt>
                <c:pt idx="2246">
                  <c:v>1.3983206948314701E-2</c:v>
                </c:pt>
                <c:pt idx="2247">
                  <c:v>1.39330680663229E-2</c:v>
                </c:pt>
                <c:pt idx="2248">
                  <c:v>1.39289067127527E-2</c:v>
                </c:pt>
                <c:pt idx="2249">
                  <c:v>1.3941231486201701E-2</c:v>
                </c:pt>
                <c:pt idx="2250">
                  <c:v>1.3839579822738601E-2</c:v>
                </c:pt>
                <c:pt idx="2251">
                  <c:v>1.3841949958146501E-2</c:v>
                </c:pt>
                <c:pt idx="2252">
                  <c:v>1.3804371222773599E-2</c:v>
                </c:pt>
                <c:pt idx="2253">
                  <c:v>1.3960906100284399E-2</c:v>
                </c:pt>
                <c:pt idx="2254">
                  <c:v>1.39171962725481E-2</c:v>
                </c:pt>
                <c:pt idx="2255">
                  <c:v>1.39232819393018E-2</c:v>
                </c:pt>
                <c:pt idx="2256">
                  <c:v>1.38428549588089E-2</c:v>
                </c:pt>
                <c:pt idx="2257">
                  <c:v>1.3777951520826601E-2</c:v>
                </c:pt>
                <c:pt idx="2258">
                  <c:v>1.3777837233735501E-2</c:v>
                </c:pt>
                <c:pt idx="2259">
                  <c:v>1.3764993945477999E-2</c:v>
                </c:pt>
                <c:pt idx="2260">
                  <c:v>1.3762746199753101E-2</c:v>
                </c:pt>
                <c:pt idx="2261">
                  <c:v>1.3757520000089301E-2</c:v>
                </c:pt>
                <c:pt idx="2262">
                  <c:v>1.38211217881155E-2</c:v>
                </c:pt>
                <c:pt idx="2263">
                  <c:v>1.39294891644099E-2</c:v>
                </c:pt>
                <c:pt idx="2264">
                  <c:v>1.392616684838E-2</c:v>
                </c:pt>
                <c:pt idx="2265">
                  <c:v>1.3937288365711301E-2</c:v>
                </c:pt>
                <c:pt idx="2266">
                  <c:v>1.39294742131076E-2</c:v>
                </c:pt>
                <c:pt idx="2267">
                  <c:v>1.38854299463192E-2</c:v>
                </c:pt>
                <c:pt idx="2268">
                  <c:v>1.39145155482368E-2</c:v>
                </c:pt>
                <c:pt idx="2269">
                  <c:v>1.3909980724389299E-2</c:v>
                </c:pt>
                <c:pt idx="2270">
                  <c:v>1.38740652333528E-2</c:v>
                </c:pt>
                <c:pt idx="2271">
                  <c:v>1.3913678384667401E-2</c:v>
                </c:pt>
                <c:pt idx="2272">
                  <c:v>1.3798553807659099E-2</c:v>
                </c:pt>
                <c:pt idx="2273">
                  <c:v>1.38092933147617E-2</c:v>
                </c:pt>
                <c:pt idx="2274">
                  <c:v>1.3823596777252201E-2</c:v>
                </c:pt>
                <c:pt idx="2275">
                  <c:v>1.3797935825659399E-2</c:v>
                </c:pt>
                <c:pt idx="2276">
                  <c:v>1.3877611575933301E-2</c:v>
                </c:pt>
                <c:pt idx="2277">
                  <c:v>1.38707621161868E-2</c:v>
                </c:pt>
                <c:pt idx="2278">
                  <c:v>1.3910907247091301E-2</c:v>
                </c:pt>
                <c:pt idx="2279">
                  <c:v>1.39072818132583E-2</c:v>
                </c:pt>
                <c:pt idx="2280">
                  <c:v>1.3853433966914399E-2</c:v>
                </c:pt>
                <c:pt idx="2281">
                  <c:v>1.3855964124571501E-2</c:v>
                </c:pt>
                <c:pt idx="2282">
                  <c:v>1.3868370228008299E-2</c:v>
                </c:pt>
                <c:pt idx="2283">
                  <c:v>1.3853468404460801E-2</c:v>
                </c:pt>
                <c:pt idx="2284">
                  <c:v>1.38602712329542E-2</c:v>
                </c:pt>
                <c:pt idx="2285">
                  <c:v>1.3919186297421801E-2</c:v>
                </c:pt>
                <c:pt idx="2286">
                  <c:v>1.38725523049527E-2</c:v>
                </c:pt>
                <c:pt idx="2287">
                  <c:v>1.3870784435421101E-2</c:v>
                </c:pt>
                <c:pt idx="2288">
                  <c:v>1.38825110153953E-2</c:v>
                </c:pt>
                <c:pt idx="2289">
                  <c:v>1.3861157412740801E-2</c:v>
                </c:pt>
                <c:pt idx="2290">
                  <c:v>1.38613696534555E-2</c:v>
                </c:pt>
                <c:pt idx="2291">
                  <c:v>1.38100469965107E-2</c:v>
                </c:pt>
                <c:pt idx="2292">
                  <c:v>1.3865757990226799E-2</c:v>
                </c:pt>
                <c:pt idx="2293">
                  <c:v>1.38684996910113E-2</c:v>
                </c:pt>
                <c:pt idx="2294">
                  <c:v>1.39512742869139E-2</c:v>
                </c:pt>
                <c:pt idx="2295">
                  <c:v>1.4088021605941701E-2</c:v>
                </c:pt>
                <c:pt idx="2296">
                  <c:v>1.4076931553598401E-2</c:v>
                </c:pt>
                <c:pt idx="2297">
                  <c:v>1.4143790681159001E-2</c:v>
                </c:pt>
                <c:pt idx="2298">
                  <c:v>1.41182027779999E-2</c:v>
                </c:pt>
                <c:pt idx="2299">
                  <c:v>1.40820558931995E-2</c:v>
                </c:pt>
                <c:pt idx="2300">
                  <c:v>1.40913443836334E-2</c:v>
                </c:pt>
                <c:pt idx="2301">
                  <c:v>1.4090173477424001E-2</c:v>
                </c:pt>
                <c:pt idx="2302">
                  <c:v>1.4100411098247501E-2</c:v>
                </c:pt>
                <c:pt idx="2303">
                  <c:v>1.40595940630744E-2</c:v>
                </c:pt>
                <c:pt idx="2304">
                  <c:v>1.4236067150355001E-2</c:v>
                </c:pt>
                <c:pt idx="2305">
                  <c:v>1.4242616121387899E-2</c:v>
                </c:pt>
                <c:pt idx="2306">
                  <c:v>1.41799296782276E-2</c:v>
                </c:pt>
                <c:pt idx="2307">
                  <c:v>1.39909165752153E-2</c:v>
                </c:pt>
                <c:pt idx="2308">
                  <c:v>1.39780078726204E-2</c:v>
                </c:pt>
                <c:pt idx="2309">
                  <c:v>1.3953177624581399E-2</c:v>
                </c:pt>
                <c:pt idx="2310">
                  <c:v>1.4001234298600999E-2</c:v>
                </c:pt>
                <c:pt idx="2311">
                  <c:v>1.4002261285050201E-2</c:v>
                </c:pt>
                <c:pt idx="2312">
                  <c:v>1.39626083864489E-2</c:v>
                </c:pt>
                <c:pt idx="2313">
                  <c:v>1.4014062393811399E-2</c:v>
                </c:pt>
                <c:pt idx="2314">
                  <c:v>1.3963149706214499E-2</c:v>
                </c:pt>
                <c:pt idx="2315">
                  <c:v>1.3957060936888799E-2</c:v>
                </c:pt>
                <c:pt idx="2316">
                  <c:v>1.4010759599071301E-2</c:v>
                </c:pt>
                <c:pt idx="2317">
                  <c:v>1.40126540684437E-2</c:v>
                </c:pt>
                <c:pt idx="2318">
                  <c:v>1.3876281919359201E-2</c:v>
                </c:pt>
                <c:pt idx="2319">
                  <c:v>1.39187765456879E-2</c:v>
                </c:pt>
                <c:pt idx="2320">
                  <c:v>1.3876338827409599E-2</c:v>
                </c:pt>
                <c:pt idx="2321">
                  <c:v>1.3885244338915101E-2</c:v>
                </c:pt>
                <c:pt idx="2322">
                  <c:v>1.3894599650771E-2</c:v>
                </c:pt>
                <c:pt idx="2323">
                  <c:v>1.3781102940040601E-2</c:v>
                </c:pt>
                <c:pt idx="2324">
                  <c:v>1.3794226195012299E-2</c:v>
                </c:pt>
                <c:pt idx="2325">
                  <c:v>1.38229930070608E-2</c:v>
                </c:pt>
                <c:pt idx="2326">
                  <c:v>1.37736710318175E-2</c:v>
                </c:pt>
                <c:pt idx="2327">
                  <c:v>1.3816794142594801E-2</c:v>
                </c:pt>
                <c:pt idx="2328">
                  <c:v>1.38055157367754E-2</c:v>
                </c:pt>
                <c:pt idx="2329">
                  <c:v>1.3902056764851E-2</c:v>
                </c:pt>
                <c:pt idx="2330">
                  <c:v>1.38974459638462E-2</c:v>
                </c:pt>
                <c:pt idx="2331">
                  <c:v>1.3952155951898901E-2</c:v>
                </c:pt>
                <c:pt idx="2332">
                  <c:v>1.336748286216E-2</c:v>
                </c:pt>
                <c:pt idx="2333">
                  <c:v>1.3358159770348399E-2</c:v>
                </c:pt>
                <c:pt idx="2334">
                  <c:v>1.3076785190831801E-2</c:v>
                </c:pt>
                <c:pt idx="2335">
                  <c:v>1.30153721588701E-2</c:v>
                </c:pt>
                <c:pt idx="2336">
                  <c:v>1.29879480026615E-2</c:v>
                </c:pt>
                <c:pt idx="2337">
                  <c:v>1.2971289914418699E-2</c:v>
                </c:pt>
                <c:pt idx="2338">
                  <c:v>1.3003148827458301E-2</c:v>
                </c:pt>
                <c:pt idx="2339">
                  <c:v>1.3111552543711699E-2</c:v>
                </c:pt>
                <c:pt idx="2340">
                  <c:v>1.31269888031646E-2</c:v>
                </c:pt>
                <c:pt idx="2341">
                  <c:v>1.31041344285671E-2</c:v>
                </c:pt>
                <c:pt idx="2342">
                  <c:v>1.31210901076119E-2</c:v>
                </c:pt>
                <c:pt idx="2343">
                  <c:v>1.3121213826933299E-2</c:v>
                </c:pt>
                <c:pt idx="2344">
                  <c:v>1.3087475553182499E-2</c:v>
                </c:pt>
                <c:pt idx="2345">
                  <c:v>1.30874544118641E-2</c:v>
                </c:pt>
                <c:pt idx="2346">
                  <c:v>1.3089074066111799E-2</c:v>
                </c:pt>
                <c:pt idx="2347">
                  <c:v>1.31020491368111E-2</c:v>
                </c:pt>
                <c:pt idx="2348">
                  <c:v>1.31725670240575E-2</c:v>
                </c:pt>
                <c:pt idx="2349">
                  <c:v>1.3162915329455E-2</c:v>
                </c:pt>
                <c:pt idx="2350">
                  <c:v>1.32324914718117E-2</c:v>
                </c:pt>
                <c:pt idx="2351">
                  <c:v>1.32749866629749E-2</c:v>
                </c:pt>
                <c:pt idx="2352">
                  <c:v>1.3248111456063799E-2</c:v>
                </c:pt>
                <c:pt idx="2353">
                  <c:v>1.3092029752962499E-2</c:v>
                </c:pt>
                <c:pt idx="2354">
                  <c:v>1.3123264225380699E-2</c:v>
                </c:pt>
                <c:pt idx="2355">
                  <c:v>1.3119636117205199E-2</c:v>
                </c:pt>
                <c:pt idx="2356">
                  <c:v>1.31292668574211E-2</c:v>
                </c:pt>
                <c:pt idx="2357">
                  <c:v>1.31408783553496E-2</c:v>
                </c:pt>
                <c:pt idx="2358">
                  <c:v>1.3135212973162801E-2</c:v>
                </c:pt>
                <c:pt idx="2359">
                  <c:v>1.30524658977618E-2</c:v>
                </c:pt>
                <c:pt idx="2360">
                  <c:v>1.3040692814200901E-2</c:v>
                </c:pt>
                <c:pt idx="2361">
                  <c:v>1.3072486376204499E-2</c:v>
                </c:pt>
                <c:pt idx="2362">
                  <c:v>1.3120597783425701E-2</c:v>
                </c:pt>
                <c:pt idx="2363">
                  <c:v>1.30767072188555E-2</c:v>
                </c:pt>
                <c:pt idx="2364">
                  <c:v>1.3042555076069899E-2</c:v>
                </c:pt>
                <c:pt idx="2365">
                  <c:v>1.3218466150833399E-2</c:v>
                </c:pt>
                <c:pt idx="2366">
                  <c:v>1.33892649275082E-2</c:v>
                </c:pt>
                <c:pt idx="2367">
                  <c:v>1.3320877110158299E-2</c:v>
                </c:pt>
                <c:pt idx="2368">
                  <c:v>1.32575926659542E-2</c:v>
                </c:pt>
                <c:pt idx="2369">
                  <c:v>1.3293843581101E-2</c:v>
                </c:pt>
                <c:pt idx="2370">
                  <c:v>1.33481724686239E-2</c:v>
                </c:pt>
                <c:pt idx="2371">
                  <c:v>1.3702187095043601E-2</c:v>
                </c:pt>
                <c:pt idx="2372">
                  <c:v>1.36884737563399E-2</c:v>
                </c:pt>
                <c:pt idx="2373">
                  <c:v>1.37402730359338E-2</c:v>
                </c:pt>
                <c:pt idx="2374">
                  <c:v>1.3768314791719799E-2</c:v>
                </c:pt>
                <c:pt idx="2375">
                  <c:v>1.3808049750513999E-2</c:v>
                </c:pt>
                <c:pt idx="2376">
                  <c:v>1.37764847061101E-2</c:v>
                </c:pt>
                <c:pt idx="2377">
                  <c:v>1.35928094002615E-2</c:v>
                </c:pt>
                <c:pt idx="2378">
                  <c:v>1.36775560235668E-2</c:v>
                </c:pt>
                <c:pt idx="2379">
                  <c:v>1.3610389866803799E-2</c:v>
                </c:pt>
                <c:pt idx="2380">
                  <c:v>1.3451433213020199E-2</c:v>
                </c:pt>
                <c:pt idx="2381">
                  <c:v>1.3471300983528899E-2</c:v>
                </c:pt>
                <c:pt idx="2382">
                  <c:v>1.3582819250211599E-2</c:v>
                </c:pt>
                <c:pt idx="2383">
                  <c:v>1.3579734845265199E-2</c:v>
                </c:pt>
                <c:pt idx="2384">
                  <c:v>1.35512556876755E-2</c:v>
                </c:pt>
                <c:pt idx="2385">
                  <c:v>1.35099613754794E-2</c:v>
                </c:pt>
                <c:pt idx="2386">
                  <c:v>1.3508944253901299E-2</c:v>
                </c:pt>
                <c:pt idx="2387">
                  <c:v>1.3500777306936501E-2</c:v>
                </c:pt>
                <c:pt idx="2388">
                  <c:v>1.3503720118562001E-2</c:v>
                </c:pt>
                <c:pt idx="2389">
                  <c:v>1.34854942234174E-2</c:v>
                </c:pt>
                <c:pt idx="2390">
                  <c:v>1.3418254970846101E-2</c:v>
                </c:pt>
                <c:pt idx="2391">
                  <c:v>1.34255000462779E-2</c:v>
                </c:pt>
                <c:pt idx="2392">
                  <c:v>1.33047556504278E-2</c:v>
                </c:pt>
                <c:pt idx="2393">
                  <c:v>1.33074262507507E-2</c:v>
                </c:pt>
                <c:pt idx="2394">
                  <c:v>1.33333728271495E-2</c:v>
                </c:pt>
                <c:pt idx="2395">
                  <c:v>1.3335822309399401E-2</c:v>
                </c:pt>
                <c:pt idx="2396">
                  <c:v>1.3322809401682199E-2</c:v>
                </c:pt>
                <c:pt idx="2397">
                  <c:v>1.3303501348308299E-2</c:v>
                </c:pt>
                <c:pt idx="2398">
                  <c:v>1.3179587287550001E-2</c:v>
                </c:pt>
                <c:pt idx="2399">
                  <c:v>1.3227465331990601E-2</c:v>
                </c:pt>
                <c:pt idx="2400">
                  <c:v>1.32273927783096E-2</c:v>
                </c:pt>
                <c:pt idx="2401">
                  <c:v>1.32603024473081E-2</c:v>
                </c:pt>
                <c:pt idx="2402">
                  <c:v>1.3236748544087899E-2</c:v>
                </c:pt>
                <c:pt idx="2403">
                  <c:v>1.32591391666309E-2</c:v>
                </c:pt>
                <c:pt idx="2404">
                  <c:v>1.32782645117517E-2</c:v>
                </c:pt>
                <c:pt idx="2405">
                  <c:v>1.3274317118501499E-2</c:v>
                </c:pt>
                <c:pt idx="2406">
                  <c:v>1.32538156458251E-2</c:v>
                </c:pt>
                <c:pt idx="2407">
                  <c:v>1.33092534097275E-2</c:v>
                </c:pt>
                <c:pt idx="2408">
                  <c:v>1.33151521729483E-2</c:v>
                </c:pt>
                <c:pt idx="2409">
                  <c:v>1.33513685900903E-2</c:v>
                </c:pt>
                <c:pt idx="2410">
                  <c:v>1.33106789331103E-2</c:v>
                </c:pt>
                <c:pt idx="2411">
                  <c:v>1.33393992782758E-2</c:v>
                </c:pt>
                <c:pt idx="2412">
                  <c:v>1.3335254012750999E-2</c:v>
                </c:pt>
                <c:pt idx="2413">
                  <c:v>1.32899630758105E-2</c:v>
                </c:pt>
                <c:pt idx="2414">
                  <c:v>1.32761996727045E-2</c:v>
                </c:pt>
                <c:pt idx="2415">
                  <c:v>1.3243007735603E-2</c:v>
                </c:pt>
                <c:pt idx="2416">
                  <c:v>1.32370049559119E-2</c:v>
                </c:pt>
                <c:pt idx="2417">
                  <c:v>1.3353189525839099E-2</c:v>
                </c:pt>
                <c:pt idx="2418">
                  <c:v>1.33688849631613E-2</c:v>
                </c:pt>
                <c:pt idx="2419">
                  <c:v>1.3344449483091899E-2</c:v>
                </c:pt>
                <c:pt idx="2420">
                  <c:v>1.34323884982482E-2</c:v>
                </c:pt>
                <c:pt idx="2421">
                  <c:v>1.3404299993381901E-2</c:v>
                </c:pt>
                <c:pt idx="2422">
                  <c:v>1.34157711037371E-2</c:v>
                </c:pt>
                <c:pt idx="2423">
                  <c:v>1.3421714327940299E-2</c:v>
                </c:pt>
                <c:pt idx="2424">
                  <c:v>1.34218745084781E-2</c:v>
                </c:pt>
                <c:pt idx="2425">
                  <c:v>1.34737558483135E-2</c:v>
                </c:pt>
                <c:pt idx="2426">
                  <c:v>1.34382933283089E-2</c:v>
                </c:pt>
                <c:pt idx="2427">
                  <c:v>1.3414792505862499E-2</c:v>
                </c:pt>
                <c:pt idx="2428">
                  <c:v>1.3430851613974301E-2</c:v>
                </c:pt>
                <c:pt idx="2429">
                  <c:v>1.34999696247668E-2</c:v>
                </c:pt>
                <c:pt idx="2430">
                  <c:v>1.34963548204486E-2</c:v>
                </c:pt>
                <c:pt idx="2431">
                  <c:v>1.3520397627306001E-2</c:v>
                </c:pt>
                <c:pt idx="2432">
                  <c:v>1.34963449344564E-2</c:v>
                </c:pt>
                <c:pt idx="2433">
                  <c:v>1.34934179746977E-2</c:v>
                </c:pt>
                <c:pt idx="2434">
                  <c:v>1.35046567400202E-2</c:v>
                </c:pt>
                <c:pt idx="2435">
                  <c:v>1.3505871128968901E-2</c:v>
                </c:pt>
                <c:pt idx="2436">
                  <c:v>1.3456818989584E-2</c:v>
                </c:pt>
                <c:pt idx="2437">
                  <c:v>1.35317820474641E-2</c:v>
                </c:pt>
                <c:pt idx="2438">
                  <c:v>1.3525894222349399E-2</c:v>
                </c:pt>
                <c:pt idx="2439">
                  <c:v>1.35372453125724E-2</c:v>
                </c:pt>
                <c:pt idx="2440">
                  <c:v>1.35057500129705E-2</c:v>
                </c:pt>
                <c:pt idx="2441">
                  <c:v>1.3502898279299199E-2</c:v>
                </c:pt>
                <c:pt idx="2442">
                  <c:v>1.35485052960905E-2</c:v>
                </c:pt>
                <c:pt idx="2443">
                  <c:v>1.35184109982275E-2</c:v>
                </c:pt>
                <c:pt idx="2444">
                  <c:v>1.35092737720762E-2</c:v>
                </c:pt>
                <c:pt idx="2445">
                  <c:v>1.35109454448669E-2</c:v>
                </c:pt>
                <c:pt idx="2446">
                  <c:v>1.34170648842293E-2</c:v>
                </c:pt>
                <c:pt idx="2447">
                  <c:v>1.3453951692366699E-2</c:v>
                </c:pt>
                <c:pt idx="2448">
                  <c:v>1.3491487119248699E-2</c:v>
                </c:pt>
                <c:pt idx="2449">
                  <c:v>1.3521696950208901E-2</c:v>
                </c:pt>
                <c:pt idx="2450">
                  <c:v>1.3516783985776401E-2</c:v>
                </c:pt>
                <c:pt idx="2451">
                  <c:v>1.35552776686303E-2</c:v>
                </c:pt>
                <c:pt idx="2452">
                  <c:v>1.35310252940641E-2</c:v>
                </c:pt>
                <c:pt idx="2453">
                  <c:v>1.3526939329871699E-2</c:v>
                </c:pt>
                <c:pt idx="2454">
                  <c:v>1.35262363611436E-2</c:v>
                </c:pt>
                <c:pt idx="2455">
                  <c:v>1.35629970088764E-2</c:v>
                </c:pt>
                <c:pt idx="2456">
                  <c:v>1.35839377014331E-2</c:v>
                </c:pt>
                <c:pt idx="2457">
                  <c:v>1.3580739535160201E-2</c:v>
                </c:pt>
                <c:pt idx="2458">
                  <c:v>1.35821124281718E-2</c:v>
                </c:pt>
                <c:pt idx="2459">
                  <c:v>1.3434897116156599E-2</c:v>
                </c:pt>
                <c:pt idx="2460">
                  <c:v>1.35501898560371E-2</c:v>
                </c:pt>
                <c:pt idx="2461">
                  <c:v>1.35313690530416E-2</c:v>
                </c:pt>
                <c:pt idx="2462">
                  <c:v>1.35296628337177E-2</c:v>
                </c:pt>
                <c:pt idx="2463">
                  <c:v>1.3530969250127501E-2</c:v>
                </c:pt>
                <c:pt idx="2464">
                  <c:v>1.3536272897529201E-2</c:v>
                </c:pt>
                <c:pt idx="2465">
                  <c:v>1.35252392656958E-2</c:v>
                </c:pt>
                <c:pt idx="2466">
                  <c:v>1.35310526936239E-2</c:v>
                </c:pt>
                <c:pt idx="2467">
                  <c:v>1.35346397681637E-2</c:v>
                </c:pt>
                <c:pt idx="2468">
                  <c:v>1.3524912634054E-2</c:v>
                </c:pt>
                <c:pt idx="2469">
                  <c:v>1.35203638169458E-2</c:v>
                </c:pt>
                <c:pt idx="2470">
                  <c:v>1.35245994755838E-2</c:v>
                </c:pt>
                <c:pt idx="2471">
                  <c:v>1.34839572598442E-2</c:v>
                </c:pt>
                <c:pt idx="2472">
                  <c:v>1.34820651889492E-2</c:v>
                </c:pt>
                <c:pt idx="2473">
                  <c:v>1.35154630779378E-2</c:v>
                </c:pt>
                <c:pt idx="2474">
                  <c:v>1.3550746353944499E-2</c:v>
                </c:pt>
                <c:pt idx="2475">
                  <c:v>1.3537511962350399E-2</c:v>
                </c:pt>
                <c:pt idx="2476">
                  <c:v>1.35060287551438E-2</c:v>
                </c:pt>
                <c:pt idx="2477">
                  <c:v>1.35061755819583E-2</c:v>
                </c:pt>
                <c:pt idx="2478">
                  <c:v>1.35369365062161E-2</c:v>
                </c:pt>
                <c:pt idx="2479">
                  <c:v>1.3514562921258201E-2</c:v>
                </c:pt>
                <c:pt idx="2480">
                  <c:v>1.35151635985173E-2</c:v>
                </c:pt>
                <c:pt idx="2481">
                  <c:v>1.34701314300273E-2</c:v>
                </c:pt>
                <c:pt idx="2482">
                  <c:v>1.34095211056045E-2</c:v>
                </c:pt>
                <c:pt idx="2483">
                  <c:v>1.34562042717969E-2</c:v>
                </c:pt>
                <c:pt idx="2484">
                  <c:v>1.3529031338791299E-2</c:v>
                </c:pt>
                <c:pt idx="2485">
                  <c:v>1.3505787339432499E-2</c:v>
                </c:pt>
                <c:pt idx="2486">
                  <c:v>1.34816319995567E-2</c:v>
                </c:pt>
                <c:pt idx="2487">
                  <c:v>1.3497167462824601E-2</c:v>
                </c:pt>
                <c:pt idx="2488">
                  <c:v>1.34091502859018E-2</c:v>
                </c:pt>
                <c:pt idx="2489">
                  <c:v>1.3468580275019701E-2</c:v>
                </c:pt>
                <c:pt idx="2490">
                  <c:v>1.34755084584538E-2</c:v>
                </c:pt>
                <c:pt idx="2491">
                  <c:v>1.3474458542039301E-2</c:v>
                </c:pt>
                <c:pt idx="2492">
                  <c:v>1.3476633999571001E-2</c:v>
                </c:pt>
                <c:pt idx="2493">
                  <c:v>1.34898630374584E-2</c:v>
                </c:pt>
                <c:pt idx="2494">
                  <c:v>1.3470246042338299E-2</c:v>
                </c:pt>
                <c:pt idx="2495">
                  <c:v>1.3431315642657799E-2</c:v>
                </c:pt>
                <c:pt idx="2496">
                  <c:v>1.3433480512305401E-2</c:v>
                </c:pt>
                <c:pt idx="2497">
                  <c:v>1.34318803744395E-2</c:v>
                </c:pt>
                <c:pt idx="2498">
                  <c:v>1.34322703543876E-2</c:v>
                </c:pt>
                <c:pt idx="2499">
                  <c:v>1.3426497305591799E-2</c:v>
                </c:pt>
                <c:pt idx="2500">
                  <c:v>1.3426498812315399E-2</c:v>
                </c:pt>
                <c:pt idx="2501">
                  <c:v>1.34348294382956E-2</c:v>
                </c:pt>
                <c:pt idx="2502">
                  <c:v>1.34447637665954E-2</c:v>
                </c:pt>
                <c:pt idx="2503">
                  <c:v>1.33030712946923E-2</c:v>
                </c:pt>
                <c:pt idx="2504">
                  <c:v>1.33316201645194E-2</c:v>
                </c:pt>
                <c:pt idx="2505">
                  <c:v>1.33218790282724E-2</c:v>
                </c:pt>
                <c:pt idx="2506">
                  <c:v>1.3317613957624E-2</c:v>
                </c:pt>
                <c:pt idx="2507">
                  <c:v>1.33319420935109E-2</c:v>
                </c:pt>
                <c:pt idx="2508">
                  <c:v>1.3333360873483399E-2</c:v>
                </c:pt>
                <c:pt idx="2509">
                  <c:v>1.33830298623255E-2</c:v>
                </c:pt>
                <c:pt idx="2510">
                  <c:v>1.33844213851725E-2</c:v>
                </c:pt>
                <c:pt idx="2511">
                  <c:v>1.3397996717927499E-2</c:v>
                </c:pt>
                <c:pt idx="2512">
                  <c:v>1.33372183094932E-2</c:v>
                </c:pt>
                <c:pt idx="2513">
                  <c:v>1.31459785582854E-2</c:v>
                </c:pt>
                <c:pt idx="2514">
                  <c:v>1.31479902948799E-2</c:v>
                </c:pt>
                <c:pt idx="2515">
                  <c:v>1.31380805212901E-2</c:v>
                </c:pt>
                <c:pt idx="2516">
                  <c:v>1.3106999701962101E-2</c:v>
                </c:pt>
                <c:pt idx="2517">
                  <c:v>1.31069208146871E-2</c:v>
                </c:pt>
                <c:pt idx="2518">
                  <c:v>1.30868956947565E-2</c:v>
                </c:pt>
                <c:pt idx="2519">
                  <c:v>1.31430850460487E-2</c:v>
                </c:pt>
                <c:pt idx="2520">
                  <c:v>1.3146539585485799E-2</c:v>
                </c:pt>
                <c:pt idx="2521">
                  <c:v>1.31159308586435E-2</c:v>
                </c:pt>
                <c:pt idx="2522">
                  <c:v>1.31050332568765E-2</c:v>
                </c:pt>
                <c:pt idx="2523">
                  <c:v>1.30910564358551E-2</c:v>
                </c:pt>
                <c:pt idx="2524">
                  <c:v>1.30703492032604E-2</c:v>
                </c:pt>
                <c:pt idx="2525">
                  <c:v>1.3083927775457501E-2</c:v>
                </c:pt>
                <c:pt idx="2526">
                  <c:v>1.29066884742621E-2</c:v>
                </c:pt>
                <c:pt idx="2527">
                  <c:v>1.29198857119117E-2</c:v>
                </c:pt>
                <c:pt idx="2528">
                  <c:v>1.31895586380838E-2</c:v>
                </c:pt>
                <c:pt idx="2529">
                  <c:v>1.3191781482260599E-2</c:v>
                </c:pt>
                <c:pt idx="2530">
                  <c:v>1.3195460969148899E-2</c:v>
                </c:pt>
                <c:pt idx="2531">
                  <c:v>1.3196483186164299E-2</c:v>
                </c:pt>
                <c:pt idx="2532">
                  <c:v>1.3192146187199201E-2</c:v>
                </c:pt>
                <c:pt idx="2533">
                  <c:v>1.3135588579553501E-2</c:v>
                </c:pt>
                <c:pt idx="2534">
                  <c:v>1.32173299899157E-2</c:v>
                </c:pt>
                <c:pt idx="2535">
                  <c:v>1.3163760370692499E-2</c:v>
                </c:pt>
                <c:pt idx="2536">
                  <c:v>1.31603239500082E-2</c:v>
                </c:pt>
                <c:pt idx="2537">
                  <c:v>1.3232386683350699E-2</c:v>
                </c:pt>
                <c:pt idx="2538">
                  <c:v>1.32167929346066E-2</c:v>
                </c:pt>
                <c:pt idx="2539">
                  <c:v>1.3222583410858999E-2</c:v>
                </c:pt>
                <c:pt idx="2540">
                  <c:v>1.3222901792602101E-2</c:v>
                </c:pt>
                <c:pt idx="2541">
                  <c:v>1.32389450954821E-2</c:v>
                </c:pt>
                <c:pt idx="2542">
                  <c:v>1.33264995757381E-2</c:v>
                </c:pt>
                <c:pt idx="2543">
                  <c:v>1.33769235415057E-2</c:v>
                </c:pt>
                <c:pt idx="2544">
                  <c:v>1.3250425807827501E-2</c:v>
                </c:pt>
                <c:pt idx="2545">
                  <c:v>1.31854206346264E-2</c:v>
                </c:pt>
                <c:pt idx="2546">
                  <c:v>1.31816277476709E-2</c:v>
                </c:pt>
                <c:pt idx="2547">
                  <c:v>1.31218810978787E-2</c:v>
                </c:pt>
                <c:pt idx="2548">
                  <c:v>1.31043337933896E-2</c:v>
                </c:pt>
                <c:pt idx="2549">
                  <c:v>1.30914675883484E-2</c:v>
                </c:pt>
                <c:pt idx="2550">
                  <c:v>1.30819187185151E-2</c:v>
                </c:pt>
                <c:pt idx="2551">
                  <c:v>1.30815910652427E-2</c:v>
                </c:pt>
                <c:pt idx="2552">
                  <c:v>1.31065267260766E-2</c:v>
                </c:pt>
                <c:pt idx="2553">
                  <c:v>1.31063341808821E-2</c:v>
                </c:pt>
                <c:pt idx="2554">
                  <c:v>1.29076950109246E-2</c:v>
                </c:pt>
                <c:pt idx="2555">
                  <c:v>1.2922503875771299E-2</c:v>
                </c:pt>
                <c:pt idx="2556">
                  <c:v>1.2921585814896301E-2</c:v>
                </c:pt>
                <c:pt idx="2557">
                  <c:v>1.29236166235103E-2</c:v>
                </c:pt>
                <c:pt idx="2558">
                  <c:v>1.28562465107797E-2</c:v>
                </c:pt>
                <c:pt idx="2559">
                  <c:v>1.2858490023536499E-2</c:v>
                </c:pt>
                <c:pt idx="2560">
                  <c:v>1.27691603312721E-2</c:v>
                </c:pt>
                <c:pt idx="2561">
                  <c:v>1.2773776977462899E-2</c:v>
                </c:pt>
                <c:pt idx="2562">
                  <c:v>1.27136484894493E-2</c:v>
                </c:pt>
                <c:pt idx="2563">
                  <c:v>1.2658080143613099E-2</c:v>
                </c:pt>
                <c:pt idx="2564">
                  <c:v>1.2641044790699199E-2</c:v>
                </c:pt>
                <c:pt idx="2565">
                  <c:v>1.2641916097332499E-2</c:v>
                </c:pt>
                <c:pt idx="2566">
                  <c:v>1.2579542219221401E-2</c:v>
                </c:pt>
                <c:pt idx="2567">
                  <c:v>1.2627390159745899E-2</c:v>
                </c:pt>
                <c:pt idx="2568">
                  <c:v>1.2627258095695299E-2</c:v>
                </c:pt>
                <c:pt idx="2569">
                  <c:v>1.2584863552501199E-2</c:v>
                </c:pt>
                <c:pt idx="2570">
                  <c:v>1.26296156722166E-2</c:v>
                </c:pt>
                <c:pt idx="2571">
                  <c:v>1.2624744597395E-2</c:v>
                </c:pt>
                <c:pt idx="2572">
                  <c:v>1.2636261499680701E-2</c:v>
                </c:pt>
                <c:pt idx="2573">
                  <c:v>1.26423944448935E-2</c:v>
                </c:pt>
                <c:pt idx="2574">
                  <c:v>1.2627567797879E-2</c:v>
                </c:pt>
                <c:pt idx="2575">
                  <c:v>1.257708988663E-2</c:v>
                </c:pt>
                <c:pt idx="2576">
                  <c:v>1.2611071260105199E-2</c:v>
                </c:pt>
                <c:pt idx="2577">
                  <c:v>1.2547599236835599E-2</c:v>
                </c:pt>
                <c:pt idx="2578">
                  <c:v>1.2557241281229601E-2</c:v>
                </c:pt>
                <c:pt idx="2579">
                  <c:v>1.24506906459336E-2</c:v>
                </c:pt>
                <c:pt idx="2580">
                  <c:v>1.24683704130782E-2</c:v>
                </c:pt>
                <c:pt idx="2581">
                  <c:v>1.24158986468994E-2</c:v>
                </c:pt>
                <c:pt idx="2582">
                  <c:v>1.2420160461779701E-2</c:v>
                </c:pt>
                <c:pt idx="2583">
                  <c:v>1.24436720979949E-2</c:v>
                </c:pt>
                <c:pt idx="2584">
                  <c:v>1.2460865266448099E-2</c:v>
                </c:pt>
                <c:pt idx="2585">
                  <c:v>1.2480859851865299E-2</c:v>
                </c:pt>
                <c:pt idx="2586">
                  <c:v>1.2679664016846901E-2</c:v>
                </c:pt>
                <c:pt idx="2587">
                  <c:v>1.26793609223974E-2</c:v>
                </c:pt>
                <c:pt idx="2588">
                  <c:v>1.27107085847218E-2</c:v>
                </c:pt>
                <c:pt idx="2589">
                  <c:v>1.25531878536305E-2</c:v>
                </c:pt>
                <c:pt idx="2590">
                  <c:v>1.2458517200254199E-2</c:v>
                </c:pt>
                <c:pt idx="2591">
                  <c:v>1.2446694694083099E-2</c:v>
                </c:pt>
                <c:pt idx="2592">
                  <c:v>1.24348996919415E-2</c:v>
                </c:pt>
                <c:pt idx="2593">
                  <c:v>1.28258864001884E-2</c:v>
                </c:pt>
                <c:pt idx="2594">
                  <c:v>1.2825696671506201E-2</c:v>
                </c:pt>
                <c:pt idx="2595">
                  <c:v>1.2825650237233701E-2</c:v>
                </c:pt>
                <c:pt idx="2596">
                  <c:v>1.28151328512544E-2</c:v>
                </c:pt>
                <c:pt idx="2597">
                  <c:v>1.2804495419466299E-2</c:v>
                </c:pt>
                <c:pt idx="2598">
                  <c:v>1.2728217260698499E-2</c:v>
                </c:pt>
                <c:pt idx="2599">
                  <c:v>1.27145869188278E-2</c:v>
                </c:pt>
                <c:pt idx="2600">
                  <c:v>1.27451140417862E-2</c:v>
                </c:pt>
                <c:pt idx="2601">
                  <c:v>1.2679402099950899E-2</c:v>
                </c:pt>
                <c:pt idx="2602">
                  <c:v>1.2683065451866701E-2</c:v>
                </c:pt>
                <c:pt idx="2603">
                  <c:v>1.27136141157224E-2</c:v>
                </c:pt>
                <c:pt idx="2604">
                  <c:v>1.27166581398827E-2</c:v>
                </c:pt>
                <c:pt idx="2605">
                  <c:v>1.27166033001383E-2</c:v>
                </c:pt>
                <c:pt idx="2606">
                  <c:v>1.27111117873461E-2</c:v>
                </c:pt>
                <c:pt idx="2607">
                  <c:v>1.2697579937723601E-2</c:v>
                </c:pt>
                <c:pt idx="2608">
                  <c:v>1.2668498840139E-2</c:v>
                </c:pt>
                <c:pt idx="2609">
                  <c:v>1.2668680203583801E-2</c:v>
                </c:pt>
                <c:pt idx="2610">
                  <c:v>1.2726838683043499E-2</c:v>
                </c:pt>
                <c:pt idx="2611">
                  <c:v>1.29088688566778E-2</c:v>
                </c:pt>
                <c:pt idx="2612">
                  <c:v>1.28490167812644E-2</c:v>
                </c:pt>
                <c:pt idx="2613">
                  <c:v>1.28419271115243E-2</c:v>
                </c:pt>
                <c:pt idx="2614">
                  <c:v>1.28522210256101E-2</c:v>
                </c:pt>
                <c:pt idx="2615">
                  <c:v>1.27215673448392E-2</c:v>
                </c:pt>
                <c:pt idx="2616">
                  <c:v>1.2559763934873999E-2</c:v>
                </c:pt>
                <c:pt idx="2617">
                  <c:v>1.2560735599058801E-2</c:v>
                </c:pt>
                <c:pt idx="2618">
                  <c:v>1.25630067422437E-2</c:v>
                </c:pt>
                <c:pt idx="2619">
                  <c:v>1.25309294794437E-2</c:v>
                </c:pt>
                <c:pt idx="2620">
                  <c:v>1.24643615914824E-2</c:v>
                </c:pt>
                <c:pt idx="2621">
                  <c:v>1.22474615351198E-2</c:v>
                </c:pt>
                <c:pt idx="2622">
                  <c:v>1.22173287063417E-2</c:v>
                </c:pt>
                <c:pt idx="2623">
                  <c:v>1.21641209190896E-2</c:v>
                </c:pt>
                <c:pt idx="2624">
                  <c:v>1.2131590377273399E-2</c:v>
                </c:pt>
                <c:pt idx="2625">
                  <c:v>1.21480451092629E-2</c:v>
                </c:pt>
                <c:pt idx="2626">
                  <c:v>1.2148149925661E-2</c:v>
                </c:pt>
                <c:pt idx="2627">
                  <c:v>1.2122246421238001E-2</c:v>
                </c:pt>
                <c:pt idx="2628">
                  <c:v>1.2035910840673699E-2</c:v>
                </c:pt>
                <c:pt idx="2629">
                  <c:v>1.2032806438928199E-2</c:v>
                </c:pt>
                <c:pt idx="2630">
                  <c:v>1.2035131610739601E-2</c:v>
                </c:pt>
                <c:pt idx="2631">
                  <c:v>1.2001742740355601E-2</c:v>
                </c:pt>
                <c:pt idx="2632">
                  <c:v>1.19350731043786E-2</c:v>
                </c:pt>
                <c:pt idx="2633">
                  <c:v>1.19412627871036E-2</c:v>
                </c:pt>
                <c:pt idx="2634">
                  <c:v>1.21435076572658E-2</c:v>
                </c:pt>
                <c:pt idx="2635">
                  <c:v>1.2148356268879E-2</c:v>
                </c:pt>
                <c:pt idx="2636">
                  <c:v>1.21472717899183E-2</c:v>
                </c:pt>
                <c:pt idx="2637">
                  <c:v>1.21629935596609E-2</c:v>
                </c:pt>
                <c:pt idx="2638">
                  <c:v>1.21761792751459E-2</c:v>
                </c:pt>
                <c:pt idx="2639">
                  <c:v>1.23208901042375E-2</c:v>
                </c:pt>
                <c:pt idx="2640">
                  <c:v>1.23212248794205E-2</c:v>
                </c:pt>
                <c:pt idx="2641">
                  <c:v>1.26695663963995E-2</c:v>
                </c:pt>
                <c:pt idx="2642">
                  <c:v>1.2780882453262501E-2</c:v>
                </c:pt>
                <c:pt idx="2643">
                  <c:v>1.2795924871324501E-2</c:v>
                </c:pt>
                <c:pt idx="2644">
                  <c:v>1.2777693566883901E-2</c:v>
                </c:pt>
                <c:pt idx="2645">
                  <c:v>1.27795351165135E-2</c:v>
                </c:pt>
                <c:pt idx="2646">
                  <c:v>1.2783469026169199E-2</c:v>
                </c:pt>
                <c:pt idx="2647">
                  <c:v>1.2797408547683201E-2</c:v>
                </c:pt>
                <c:pt idx="2648">
                  <c:v>1.28161074728126E-2</c:v>
                </c:pt>
                <c:pt idx="2649">
                  <c:v>1.2768070302737701E-2</c:v>
                </c:pt>
                <c:pt idx="2650">
                  <c:v>1.27628541518663E-2</c:v>
                </c:pt>
                <c:pt idx="2651">
                  <c:v>1.27583891111813E-2</c:v>
                </c:pt>
                <c:pt idx="2652">
                  <c:v>1.27643805312541E-2</c:v>
                </c:pt>
                <c:pt idx="2653">
                  <c:v>1.2912126633754999E-2</c:v>
                </c:pt>
                <c:pt idx="2654">
                  <c:v>1.28944863124375E-2</c:v>
                </c:pt>
                <c:pt idx="2655">
                  <c:v>1.2892679356796499E-2</c:v>
                </c:pt>
                <c:pt idx="2656">
                  <c:v>1.28774275381018E-2</c:v>
                </c:pt>
                <c:pt idx="2657">
                  <c:v>1.2782143643638E-2</c:v>
                </c:pt>
                <c:pt idx="2658">
                  <c:v>1.27750007290601E-2</c:v>
                </c:pt>
                <c:pt idx="2659">
                  <c:v>1.29120705674083E-2</c:v>
                </c:pt>
                <c:pt idx="2660">
                  <c:v>1.29113034668646E-2</c:v>
                </c:pt>
                <c:pt idx="2661">
                  <c:v>1.28647371920463E-2</c:v>
                </c:pt>
                <c:pt idx="2662">
                  <c:v>1.28654504286723E-2</c:v>
                </c:pt>
                <c:pt idx="2663">
                  <c:v>1.28652941172643E-2</c:v>
                </c:pt>
                <c:pt idx="2664">
                  <c:v>1.28463694899815E-2</c:v>
                </c:pt>
                <c:pt idx="2665">
                  <c:v>1.28538859409194E-2</c:v>
                </c:pt>
                <c:pt idx="2666">
                  <c:v>1.28527117380683E-2</c:v>
                </c:pt>
                <c:pt idx="2667">
                  <c:v>1.2724521960929601E-2</c:v>
                </c:pt>
                <c:pt idx="2668">
                  <c:v>1.2704543225071301E-2</c:v>
                </c:pt>
                <c:pt idx="2669">
                  <c:v>1.27177317681463E-2</c:v>
                </c:pt>
                <c:pt idx="2670">
                  <c:v>1.26450354556208E-2</c:v>
                </c:pt>
                <c:pt idx="2671">
                  <c:v>1.264374471581E-2</c:v>
                </c:pt>
                <c:pt idx="2672">
                  <c:v>1.2629709381911099E-2</c:v>
                </c:pt>
                <c:pt idx="2673">
                  <c:v>1.2735115221886801E-2</c:v>
                </c:pt>
                <c:pt idx="2674">
                  <c:v>1.27353675085E-2</c:v>
                </c:pt>
                <c:pt idx="2675">
                  <c:v>1.2839356621716E-2</c:v>
                </c:pt>
                <c:pt idx="2676">
                  <c:v>1.2892035302622101E-2</c:v>
                </c:pt>
                <c:pt idx="2677">
                  <c:v>1.2910055617481099E-2</c:v>
                </c:pt>
                <c:pt idx="2678">
                  <c:v>1.28965679424868E-2</c:v>
                </c:pt>
                <c:pt idx="2679">
                  <c:v>1.28158078978626E-2</c:v>
                </c:pt>
                <c:pt idx="2680">
                  <c:v>1.2864599439343901E-2</c:v>
                </c:pt>
                <c:pt idx="2681">
                  <c:v>1.2870090733612199E-2</c:v>
                </c:pt>
                <c:pt idx="2682">
                  <c:v>1.2861018437994301E-2</c:v>
                </c:pt>
                <c:pt idx="2683">
                  <c:v>1.28651853477184E-2</c:v>
                </c:pt>
                <c:pt idx="2684">
                  <c:v>1.2859933490259601E-2</c:v>
                </c:pt>
                <c:pt idx="2685">
                  <c:v>1.2863529475263501E-2</c:v>
                </c:pt>
                <c:pt idx="2686">
                  <c:v>1.2865261919196101E-2</c:v>
                </c:pt>
                <c:pt idx="2687">
                  <c:v>1.2824542487139001E-2</c:v>
                </c:pt>
                <c:pt idx="2688">
                  <c:v>1.2827992162015101E-2</c:v>
                </c:pt>
                <c:pt idx="2689">
                  <c:v>1.2867244970015901E-2</c:v>
                </c:pt>
                <c:pt idx="2690">
                  <c:v>1.29046110120916E-2</c:v>
                </c:pt>
                <c:pt idx="2691">
                  <c:v>1.29106427886383E-2</c:v>
                </c:pt>
                <c:pt idx="2692">
                  <c:v>1.28543135613539E-2</c:v>
                </c:pt>
                <c:pt idx="2693">
                  <c:v>1.2854568085484099E-2</c:v>
                </c:pt>
                <c:pt idx="2694">
                  <c:v>1.2873835898457101E-2</c:v>
                </c:pt>
                <c:pt idx="2695">
                  <c:v>1.2868532659139099E-2</c:v>
                </c:pt>
                <c:pt idx="2696">
                  <c:v>1.2868585980220301E-2</c:v>
                </c:pt>
                <c:pt idx="2697">
                  <c:v>1.28714076725124E-2</c:v>
                </c:pt>
                <c:pt idx="2698">
                  <c:v>1.28360189314169E-2</c:v>
                </c:pt>
                <c:pt idx="2699">
                  <c:v>1.2800106404558901E-2</c:v>
                </c:pt>
                <c:pt idx="2700">
                  <c:v>1.2814037722323901E-2</c:v>
                </c:pt>
                <c:pt idx="2701">
                  <c:v>1.2776859309841E-2</c:v>
                </c:pt>
                <c:pt idx="2702">
                  <c:v>1.28061733158702E-2</c:v>
                </c:pt>
                <c:pt idx="2703">
                  <c:v>1.27961467304849E-2</c:v>
                </c:pt>
                <c:pt idx="2704">
                  <c:v>1.28104392033201E-2</c:v>
                </c:pt>
                <c:pt idx="2705">
                  <c:v>1.2816316242046299E-2</c:v>
                </c:pt>
                <c:pt idx="2706">
                  <c:v>1.29676993482259E-2</c:v>
                </c:pt>
                <c:pt idx="2707">
                  <c:v>1.2974823881410399E-2</c:v>
                </c:pt>
                <c:pt idx="2708">
                  <c:v>1.29767872820576E-2</c:v>
                </c:pt>
                <c:pt idx="2709">
                  <c:v>1.2983313818494499E-2</c:v>
                </c:pt>
                <c:pt idx="2710">
                  <c:v>1.28677592489663E-2</c:v>
                </c:pt>
                <c:pt idx="2711">
                  <c:v>1.3039302372601201E-2</c:v>
                </c:pt>
                <c:pt idx="2712">
                  <c:v>1.30395857401207E-2</c:v>
                </c:pt>
                <c:pt idx="2713">
                  <c:v>1.3663598610749599E-2</c:v>
                </c:pt>
                <c:pt idx="2714">
                  <c:v>1.3658148981343999E-2</c:v>
                </c:pt>
                <c:pt idx="2715">
                  <c:v>1.3629900839115401E-2</c:v>
                </c:pt>
                <c:pt idx="2716">
                  <c:v>1.3624972997822201E-2</c:v>
                </c:pt>
                <c:pt idx="2717">
                  <c:v>1.36379778646336E-2</c:v>
                </c:pt>
                <c:pt idx="2718">
                  <c:v>1.36361723520234E-2</c:v>
                </c:pt>
                <c:pt idx="2719">
                  <c:v>1.3637273094355799E-2</c:v>
                </c:pt>
                <c:pt idx="2720">
                  <c:v>1.3640956600752201E-2</c:v>
                </c:pt>
                <c:pt idx="2721">
                  <c:v>1.36424779058105E-2</c:v>
                </c:pt>
                <c:pt idx="2722">
                  <c:v>1.3643111557547201E-2</c:v>
                </c:pt>
                <c:pt idx="2723">
                  <c:v>1.37253285242252E-2</c:v>
                </c:pt>
                <c:pt idx="2724">
                  <c:v>1.3655268205745801E-2</c:v>
                </c:pt>
                <c:pt idx="2725">
                  <c:v>1.37737523406381E-2</c:v>
                </c:pt>
                <c:pt idx="2726">
                  <c:v>1.4069955922390799E-2</c:v>
                </c:pt>
                <c:pt idx="2727">
                  <c:v>1.41288659938368E-2</c:v>
                </c:pt>
                <c:pt idx="2728">
                  <c:v>1.4125769530872001E-2</c:v>
                </c:pt>
                <c:pt idx="2729">
                  <c:v>1.4128641035456699E-2</c:v>
                </c:pt>
                <c:pt idx="2730">
                  <c:v>1.4159922588440401E-2</c:v>
                </c:pt>
                <c:pt idx="2731">
                  <c:v>1.4197000769315999E-2</c:v>
                </c:pt>
                <c:pt idx="2732">
                  <c:v>1.4254032464262901E-2</c:v>
                </c:pt>
                <c:pt idx="2733">
                  <c:v>1.42146836811636E-2</c:v>
                </c:pt>
                <c:pt idx="2734">
                  <c:v>1.42588844281826E-2</c:v>
                </c:pt>
                <c:pt idx="2735">
                  <c:v>1.4264210845743801E-2</c:v>
                </c:pt>
                <c:pt idx="2736">
                  <c:v>1.42582327929424E-2</c:v>
                </c:pt>
                <c:pt idx="2737">
                  <c:v>1.4248725579795399E-2</c:v>
                </c:pt>
                <c:pt idx="2738">
                  <c:v>1.4313012671026E-2</c:v>
                </c:pt>
                <c:pt idx="2739">
                  <c:v>1.42596195330193E-2</c:v>
                </c:pt>
                <c:pt idx="2740">
                  <c:v>1.42544549537415E-2</c:v>
                </c:pt>
                <c:pt idx="2741">
                  <c:v>1.4334831772221199E-2</c:v>
                </c:pt>
                <c:pt idx="2742">
                  <c:v>1.43322753927544E-2</c:v>
                </c:pt>
                <c:pt idx="2743">
                  <c:v>1.43443162580928E-2</c:v>
                </c:pt>
                <c:pt idx="2744">
                  <c:v>1.4324609440786101E-2</c:v>
                </c:pt>
                <c:pt idx="2745">
                  <c:v>1.432596242401E-2</c:v>
                </c:pt>
                <c:pt idx="2746">
                  <c:v>1.43202491160076E-2</c:v>
                </c:pt>
                <c:pt idx="2747">
                  <c:v>1.4318861647499299E-2</c:v>
                </c:pt>
                <c:pt idx="2748">
                  <c:v>1.44349866634601E-2</c:v>
                </c:pt>
                <c:pt idx="2749">
                  <c:v>1.44314232464226E-2</c:v>
                </c:pt>
                <c:pt idx="2750">
                  <c:v>1.4433746791793701E-2</c:v>
                </c:pt>
                <c:pt idx="2751">
                  <c:v>1.4436187157059001E-2</c:v>
                </c:pt>
                <c:pt idx="2752">
                  <c:v>1.4429865900242599E-2</c:v>
                </c:pt>
                <c:pt idx="2753">
                  <c:v>1.44401948557938E-2</c:v>
                </c:pt>
                <c:pt idx="2754">
                  <c:v>1.44238152513835E-2</c:v>
                </c:pt>
                <c:pt idx="2755">
                  <c:v>1.44238374576402E-2</c:v>
                </c:pt>
                <c:pt idx="2756">
                  <c:v>1.4424289769574701E-2</c:v>
                </c:pt>
                <c:pt idx="2757">
                  <c:v>1.44195145054176E-2</c:v>
                </c:pt>
                <c:pt idx="2758">
                  <c:v>1.4478924892345601E-2</c:v>
                </c:pt>
                <c:pt idx="2759">
                  <c:v>1.44237275914925E-2</c:v>
                </c:pt>
                <c:pt idx="2760">
                  <c:v>1.44272022777121E-2</c:v>
                </c:pt>
                <c:pt idx="2761">
                  <c:v>1.44133618743274E-2</c:v>
                </c:pt>
                <c:pt idx="2762">
                  <c:v>1.44102068786966E-2</c:v>
                </c:pt>
                <c:pt idx="2763">
                  <c:v>1.44102835743187E-2</c:v>
                </c:pt>
                <c:pt idx="2764">
                  <c:v>1.4436166443281599E-2</c:v>
                </c:pt>
                <c:pt idx="2765">
                  <c:v>1.4432969334996101E-2</c:v>
                </c:pt>
                <c:pt idx="2766">
                  <c:v>1.44263253699235E-2</c:v>
                </c:pt>
                <c:pt idx="2767">
                  <c:v>1.44315634558257E-2</c:v>
                </c:pt>
                <c:pt idx="2768">
                  <c:v>1.45756352508298E-2</c:v>
                </c:pt>
                <c:pt idx="2769">
                  <c:v>1.4537763181176701E-2</c:v>
                </c:pt>
                <c:pt idx="2770">
                  <c:v>1.45364698273937E-2</c:v>
                </c:pt>
                <c:pt idx="2771">
                  <c:v>1.4531771727578399E-2</c:v>
                </c:pt>
                <c:pt idx="2772">
                  <c:v>1.4539849735925901E-2</c:v>
                </c:pt>
                <c:pt idx="2773">
                  <c:v>1.45412933535805E-2</c:v>
                </c:pt>
                <c:pt idx="2774">
                  <c:v>1.45890745386355E-2</c:v>
                </c:pt>
                <c:pt idx="2775">
                  <c:v>1.4572296004056001E-2</c:v>
                </c:pt>
                <c:pt idx="2776">
                  <c:v>1.46057647019995E-2</c:v>
                </c:pt>
                <c:pt idx="2777">
                  <c:v>1.4617357054848E-2</c:v>
                </c:pt>
                <c:pt idx="2778">
                  <c:v>1.43603055668834E-2</c:v>
                </c:pt>
                <c:pt idx="2779">
                  <c:v>1.4406801968110901E-2</c:v>
                </c:pt>
                <c:pt idx="2780">
                  <c:v>1.4403487884514199E-2</c:v>
                </c:pt>
                <c:pt idx="2781">
                  <c:v>1.44064373271575E-2</c:v>
                </c:pt>
                <c:pt idx="2782">
                  <c:v>1.44184199885586E-2</c:v>
                </c:pt>
                <c:pt idx="2783">
                  <c:v>1.44141770632033E-2</c:v>
                </c:pt>
                <c:pt idx="2784">
                  <c:v>1.4340638316737399E-2</c:v>
                </c:pt>
                <c:pt idx="2785">
                  <c:v>1.4358661845483499E-2</c:v>
                </c:pt>
                <c:pt idx="2786">
                  <c:v>1.4356021508624301E-2</c:v>
                </c:pt>
                <c:pt idx="2787">
                  <c:v>1.42822444410814E-2</c:v>
                </c:pt>
                <c:pt idx="2788">
                  <c:v>1.43344143295903E-2</c:v>
                </c:pt>
                <c:pt idx="2789">
                  <c:v>1.4329271672584999E-2</c:v>
                </c:pt>
                <c:pt idx="2790">
                  <c:v>1.4331549061439399E-2</c:v>
                </c:pt>
                <c:pt idx="2791">
                  <c:v>1.43572676678947E-2</c:v>
                </c:pt>
                <c:pt idx="2792">
                  <c:v>1.4249529142485E-2</c:v>
                </c:pt>
                <c:pt idx="2793">
                  <c:v>1.42228951976467E-2</c:v>
                </c:pt>
                <c:pt idx="2794">
                  <c:v>1.4216169857669001E-2</c:v>
                </c:pt>
                <c:pt idx="2795">
                  <c:v>1.4175655758475901E-2</c:v>
                </c:pt>
                <c:pt idx="2796">
                  <c:v>1.4175477232079899E-2</c:v>
                </c:pt>
                <c:pt idx="2797">
                  <c:v>1.41637517776887E-2</c:v>
                </c:pt>
                <c:pt idx="2798">
                  <c:v>1.41941766614851E-2</c:v>
                </c:pt>
                <c:pt idx="2799">
                  <c:v>1.42202834587545E-2</c:v>
                </c:pt>
                <c:pt idx="2800">
                  <c:v>1.42230113136838E-2</c:v>
                </c:pt>
                <c:pt idx="2801">
                  <c:v>1.4223453139030199E-2</c:v>
                </c:pt>
                <c:pt idx="2802">
                  <c:v>1.41914222603857E-2</c:v>
                </c:pt>
                <c:pt idx="2803">
                  <c:v>1.4214252495799599E-2</c:v>
                </c:pt>
                <c:pt idx="2804">
                  <c:v>1.4216494024385301E-2</c:v>
                </c:pt>
                <c:pt idx="2805">
                  <c:v>1.42215603135353E-2</c:v>
                </c:pt>
                <c:pt idx="2806">
                  <c:v>1.42227312382825E-2</c:v>
                </c:pt>
                <c:pt idx="2807">
                  <c:v>1.42303253494021E-2</c:v>
                </c:pt>
                <c:pt idx="2808">
                  <c:v>1.4249880498846601E-2</c:v>
                </c:pt>
                <c:pt idx="2809">
                  <c:v>1.4252634216739699E-2</c:v>
                </c:pt>
                <c:pt idx="2810">
                  <c:v>1.43068561079233E-2</c:v>
                </c:pt>
                <c:pt idx="2811">
                  <c:v>1.444835351276E-2</c:v>
                </c:pt>
                <c:pt idx="2812">
                  <c:v>1.44069731720758E-2</c:v>
                </c:pt>
                <c:pt idx="2813">
                  <c:v>1.4408656225417701E-2</c:v>
                </c:pt>
                <c:pt idx="2814">
                  <c:v>1.4413508834502599E-2</c:v>
                </c:pt>
                <c:pt idx="2815">
                  <c:v>1.44145688949056E-2</c:v>
                </c:pt>
                <c:pt idx="2816">
                  <c:v>1.4416189906019901E-2</c:v>
                </c:pt>
                <c:pt idx="2817">
                  <c:v>1.4367025717781199E-2</c:v>
                </c:pt>
                <c:pt idx="2818">
                  <c:v>1.43832023192057E-2</c:v>
                </c:pt>
                <c:pt idx="2819">
                  <c:v>1.43942946701944E-2</c:v>
                </c:pt>
                <c:pt idx="2820">
                  <c:v>1.4349018458797399E-2</c:v>
                </c:pt>
                <c:pt idx="2821">
                  <c:v>1.4356742771254399E-2</c:v>
                </c:pt>
                <c:pt idx="2822">
                  <c:v>1.43429235304161E-2</c:v>
                </c:pt>
                <c:pt idx="2823">
                  <c:v>1.43565714758644E-2</c:v>
                </c:pt>
                <c:pt idx="2824">
                  <c:v>1.4357777376944001E-2</c:v>
                </c:pt>
                <c:pt idx="2825">
                  <c:v>1.4360843907150599E-2</c:v>
                </c:pt>
                <c:pt idx="2826">
                  <c:v>1.43362367037331E-2</c:v>
                </c:pt>
                <c:pt idx="2827">
                  <c:v>1.43264023708019E-2</c:v>
                </c:pt>
                <c:pt idx="2828">
                  <c:v>1.43614361660819E-2</c:v>
                </c:pt>
                <c:pt idx="2829">
                  <c:v>1.4352323225324801E-2</c:v>
                </c:pt>
                <c:pt idx="2830">
                  <c:v>1.4332738212950599E-2</c:v>
                </c:pt>
                <c:pt idx="2831">
                  <c:v>1.4356217565348901E-2</c:v>
                </c:pt>
                <c:pt idx="2832">
                  <c:v>1.4353737912955101E-2</c:v>
                </c:pt>
                <c:pt idx="2833">
                  <c:v>1.43372249458164E-2</c:v>
                </c:pt>
                <c:pt idx="2834">
                  <c:v>1.4323012836282701E-2</c:v>
                </c:pt>
                <c:pt idx="2835">
                  <c:v>1.438782283972E-2</c:v>
                </c:pt>
                <c:pt idx="2836">
                  <c:v>1.42166125160812E-2</c:v>
                </c:pt>
                <c:pt idx="2837">
                  <c:v>1.4216297081851801E-2</c:v>
                </c:pt>
                <c:pt idx="2838">
                  <c:v>1.41711260303046E-2</c:v>
                </c:pt>
                <c:pt idx="2839">
                  <c:v>1.4198024941036801E-2</c:v>
                </c:pt>
                <c:pt idx="2840">
                  <c:v>1.4232869113888699E-2</c:v>
                </c:pt>
                <c:pt idx="2841">
                  <c:v>1.4231043117834401E-2</c:v>
                </c:pt>
                <c:pt idx="2842">
                  <c:v>1.42374158234638E-2</c:v>
                </c:pt>
                <c:pt idx="2843">
                  <c:v>1.38935298602622E-2</c:v>
                </c:pt>
                <c:pt idx="2844">
                  <c:v>1.39164213745259E-2</c:v>
                </c:pt>
                <c:pt idx="2845">
                  <c:v>1.39914449070735E-2</c:v>
                </c:pt>
                <c:pt idx="2846">
                  <c:v>1.39911268383263E-2</c:v>
                </c:pt>
                <c:pt idx="2847">
                  <c:v>1.3986516726289399E-2</c:v>
                </c:pt>
                <c:pt idx="2848">
                  <c:v>1.3993265900088999E-2</c:v>
                </c:pt>
                <c:pt idx="2849">
                  <c:v>1.39989845260746E-2</c:v>
                </c:pt>
                <c:pt idx="2850">
                  <c:v>1.38876848773188E-2</c:v>
                </c:pt>
                <c:pt idx="2851">
                  <c:v>1.3897198833005799E-2</c:v>
                </c:pt>
                <c:pt idx="2852">
                  <c:v>1.38939900234505E-2</c:v>
                </c:pt>
                <c:pt idx="2853">
                  <c:v>1.38625960702155E-2</c:v>
                </c:pt>
                <c:pt idx="2854">
                  <c:v>1.3848523007782901E-2</c:v>
                </c:pt>
                <c:pt idx="2855">
                  <c:v>1.38521738002575E-2</c:v>
                </c:pt>
                <c:pt idx="2856">
                  <c:v>1.3864088858913E-2</c:v>
                </c:pt>
                <c:pt idx="2857">
                  <c:v>1.3959593529734001E-2</c:v>
                </c:pt>
                <c:pt idx="2858">
                  <c:v>1.3962867812363E-2</c:v>
                </c:pt>
                <c:pt idx="2859">
                  <c:v>1.3968495786017301E-2</c:v>
                </c:pt>
                <c:pt idx="2860">
                  <c:v>1.3943535883514499E-2</c:v>
                </c:pt>
                <c:pt idx="2861">
                  <c:v>1.37361625542984E-2</c:v>
                </c:pt>
                <c:pt idx="2862">
                  <c:v>1.37302250287239E-2</c:v>
                </c:pt>
                <c:pt idx="2863">
                  <c:v>1.3740885150002E-2</c:v>
                </c:pt>
                <c:pt idx="2864">
                  <c:v>1.3733212320568001E-2</c:v>
                </c:pt>
                <c:pt idx="2865">
                  <c:v>1.3782545285489001E-2</c:v>
                </c:pt>
                <c:pt idx="2866">
                  <c:v>1.37868541393486E-2</c:v>
                </c:pt>
                <c:pt idx="2867">
                  <c:v>1.3784727394985499E-2</c:v>
                </c:pt>
                <c:pt idx="2868">
                  <c:v>1.37847579379706E-2</c:v>
                </c:pt>
                <c:pt idx="2869">
                  <c:v>1.37811336804619E-2</c:v>
                </c:pt>
                <c:pt idx="2870">
                  <c:v>1.3787010355497301E-2</c:v>
                </c:pt>
                <c:pt idx="2871">
                  <c:v>1.36662198675317E-2</c:v>
                </c:pt>
                <c:pt idx="2872">
                  <c:v>1.3673872367726899E-2</c:v>
                </c:pt>
                <c:pt idx="2873">
                  <c:v>1.36804803178944E-2</c:v>
                </c:pt>
                <c:pt idx="2874">
                  <c:v>1.3693739097620301E-2</c:v>
                </c:pt>
                <c:pt idx="2875">
                  <c:v>1.3693113686588701E-2</c:v>
                </c:pt>
                <c:pt idx="2876">
                  <c:v>1.37833056781773E-2</c:v>
                </c:pt>
                <c:pt idx="2877">
                  <c:v>1.3771828300526799E-2</c:v>
                </c:pt>
                <c:pt idx="2878">
                  <c:v>1.37725081878084E-2</c:v>
                </c:pt>
                <c:pt idx="2879">
                  <c:v>1.3791765009831701E-2</c:v>
                </c:pt>
                <c:pt idx="2880">
                  <c:v>1.3793307775512201E-2</c:v>
                </c:pt>
                <c:pt idx="2881">
                  <c:v>1.3774498114714699E-2</c:v>
                </c:pt>
                <c:pt idx="2882">
                  <c:v>1.37363367762495E-2</c:v>
                </c:pt>
                <c:pt idx="2883">
                  <c:v>1.37329145682302E-2</c:v>
                </c:pt>
                <c:pt idx="2884">
                  <c:v>1.3564612757529499E-2</c:v>
                </c:pt>
                <c:pt idx="2885">
                  <c:v>1.37150370828214E-2</c:v>
                </c:pt>
                <c:pt idx="2886">
                  <c:v>1.37179207104942E-2</c:v>
                </c:pt>
                <c:pt idx="2887">
                  <c:v>1.3692364237315201E-2</c:v>
                </c:pt>
                <c:pt idx="2888">
                  <c:v>1.36988686051327E-2</c:v>
                </c:pt>
                <c:pt idx="2889">
                  <c:v>1.35679571349167E-2</c:v>
                </c:pt>
                <c:pt idx="2890">
                  <c:v>1.35837745737832E-2</c:v>
                </c:pt>
                <c:pt idx="2891">
                  <c:v>1.3261437677258899E-2</c:v>
                </c:pt>
                <c:pt idx="2892">
                  <c:v>1.3127052246286099E-2</c:v>
                </c:pt>
                <c:pt idx="2893">
                  <c:v>1.31429298498228E-2</c:v>
                </c:pt>
                <c:pt idx="2894">
                  <c:v>1.33080969198848E-2</c:v>
                </c:pt>
                <c:pt idx="2895">
                  <c:v>1.3317662042735399E-2</c:v>
                </c:pt>
                <c:pt idx="2896">
                  <c:v>1.3314068596698E-2</c:v>
                </c:pt>
                <c:pt idx="2897">
                  <c:v>1.32862456207104E-2</c:v>
                </c:pt>
                <c:pt idx="2898">
                  <c:v>1.3276113046390399E-2</c:v>
                </c:pt>
                <c:pt idx="2899">
                  <c:v>1.3274621708890599E-2</c:v>
                </c:pt>
                <c:pt idx="2900">
                  <c:v>1.3273964536093299E-2</c:v>
                </c:pt>
                <c:pt idx="2901">
                  <c:v>1.3254203063333201E-2</c:v>
                </c:pt>
                <c:pt idx="2902">
                  <c:v>1.3251761344872401E-2</c:v>
                </c:pt>
                <c:pt idx="2903">
                  <c:v>1.3084103628545301E-2</c:v>
                </c:pt>
                <c:pt idx="2904">
                  <c:v>1.30988515291867E-2</c:v>
                </c:pt>
                <c:pt idx="2905">
                  <c:v>1.3187169269087799E-2</c:v>
                </c:pt>
                <c:pt idx="2906">
                  <c:v>1.31871053276782E-2</c:v>
                </c:pt>
                <c:pt idx="2907">
                  <c:v>1.31964202548891E-2</c:v>
                </c:pt>
                <c:pt idx="2908">
                  <c:v>1.31943395680061E-2</c:v>
                </c:pt>
                <c:pt idx="2909">
                  <c:v>1.3030680454833399E-2</c:v>
                </c:pt>
                <c:pt idx="2910">
                  <c:v>1.3074834554027101E-2</c:v>
                </c:pt>
                <c:pt idx="2911">
                  <c:v>1.30753294761511E-2</c:v>
                </c:pt>
                <c:pt idx="2912">
                  <c:v>1.30759310741617E-2</c:v>
                </c:pt>
                <c:pt idx="2913">
                  <c:v>1.30758694933752E-2</c:v>
                </c:pt>
                <c:pt idx="2914">
                  <c:v>1.31146303157815E-2</c:v>
                </c:pt>
                <c:pt idx="2915">
                  <c:v>1.3109849278915E-2</c:v>
                </c:pt>
                <c:pt idx="2916">
                  <c:v>1.31096780604553E-2</c:v>
                </c:pt>
                <c:pt idx="2917">
                  <c:v>1.3109030653428401E-2</c:v>
                </c:pt>
                <c:pt idx="2918">
                  <c:v>1.31187023714135E-2</c:v>
                </c:pt>
                <c:pt idx="2919">
                  <c:v>1.31372956174035E-2</c:v>
                </c:pt>
                <c:pt idx="2920">
                  <c:v>1.31426541139982E-2</c:v>
                </c:pt>
                <c:pt idx="2921">
                  <c:v>1.3142710176289599E-2</c:v>
                </c:pt>
                <c:pt idx="2922">
                  <c:v>1.31412599293511E-2</c:v>
                </c:pt>
                <c:pt idx="2923">
                  <c:v>1.30194140927743E-2</c:v>
                </c:pt>
                <c:pt idx="2924">
                  <c:v>1.30309199463016E-2</c:v>
                </c:pt>
                <c:pt idx="2925">
                  <c:v>1.28721638205726E-2</c:v>
                </c:pt>
                <c:pt idx="2926">
                  <c:v>1.28143089120011E-2</c:v>
                </c:pt>
                <c:pt idx="2927">
                  <c:v>1.28720899394598E-2</c:v>
                </c:pt>
                <c:pt idx="2928">
                  <c:v>1.28629509821661E-2</c:v>
                </c:pt>
                <c:pt idx="2929">
                  <c:v>1.2862701644249E-2</c:v>
                </c:pt>
                <c:pt idx="2930">
                  <c:v>1.28364579928091E-2</c:v>
                </c:pt>
                <c:pt idx="2931">
                  <c:v>1.28069590578408E-2</c:v>
                </c:pt>
                <c:pt idx="2932">
                  <c:v>1.28358925964304E-2</c:v>
                </c:pt>
                <c:pt idx="2933">
                  <c:v>1.28307999990088E-2</c:v>
                </c:pt>
                <c:pt idx="2934">
                  <c:v>1.2842750855974701E-2</c:v>
                </c:pt>
                <c:pt idx="2935">
                  <c:v>1.28378586256524E-2</c:v>
                </c:pt>
                <c:pt idx="2936">
                  <c:v>1.28484857612909E-2</c:v>
                </c:pt>
                <c:pt idx="2937">
                  <c:v>1.28192468109524E-2</c:v>
                </c:pt>
                <c:pt idx="2938">
                  <c:v>1.2815395744578699E-2</c:v>
                </c:pt>
                <c:pt idx="2939">
                  <c:v>1.27788471107476E-2</c:v>
                </c:pt>
                <c:pt idx="2940">
                  <c:v>1.2744042903349E-2</c:v>
                </c:pt>
                <c:pt idx="2941">
                  <c:v>1.27354600730474E-2</c:v>
                </c:pt>
                <c:pt idx="2942">
                  <c:v>1.27350508382534E-2</c:v>
                </c:pt>
                <c:pt idx="2943">
                  <c:v>1.2748082808384201E-2</c:v>
                </c:pt>
                <c:pt idx="2944">
                  <c:v>1.27423048349519E-2</c:v>
                </c:pt>
                <c:pt idx="2945">
                  <c:v>1.27430041017625E-2</c:v>
                </c:pt>
                <c:pt idx="2946">
                  <c:v>1.2742604517975001E-2</c:v>
                </c:pt>
                <c:pt idx="2947">
                  <c:v>1.27203908428368E-2</c:v>
                </c:pt>
                <c:pt idx="2948">
                  <c:v>1.27204405026436E-2</c:v>
                </c:pt>
                <c:pt idx="2949">
                  <c:v>1.2720665082084699E-2</c:v>
                </c:pt>
                <c:pt idx="2950">
                  <c:v>1.27254480331451E-2</c:v>
                </c:pt>
                <c:pt idx="2951">
                  <c:v>1.27350927297791E-2</c:v>
                </c:pt>
                <c:pt idx="2952">
                  <c:v>1.27200535525784E-2</c:v>
                </c:pt>
                <c:pt idx="2953">
                  <c:v>1.272191416362E-2</c:v>
                </c:pt>
                <c:pt idx="2954">
                  <c:v>1.2733412299999599E-2</c:v>
                </c:pt>
                <c:pt idx="2955">
                  <c:v>1.2693277343211001E-2</c:v>
                </c:pt>
                <c:pt idx="2956">
                  <c:v>1.25096358786693E-2</c:v>
                </c:pt>
                <c:pt idx="2957">
                  <c:v>1.25055174215827E-2</c:v>
                </c:pt>
                <c:pt idx="2958">
                  <c:v>1.25054990257327E-2</c:v>
                </c:pt>
                <c:pt idx="2959">
                  <c:v>1.2508179075537701E-2</c:v>
                </c:pt>
                <c:pt idx="2960">
                  <c:v>1.2500462548126E-2</c:v>
                </c:pt>
                <c:pt idx="2961">
                  <c:v>1.23303712932776E-2</c:v>
                </c:pt>
                <c:pt idx="2962">
                  <c:v>1.23300131018128E-2</c:v>
                </c:pt>
                <c:pt idx="2963">
                  <c:v>1.16227414727589E-2</c:v>
                </c:pt>
                <c:pt idx="2964">
                  <c:v>1.1624648273753301E-2</c:v>
                </c:pt>
                <c:pt idx="2965">
                  <c:v>1.1624439966474999E-2</c:v>
                </c:pt>
                <c:pt idx="2966">
                  <c:v>1.16225244312514E-2</c:v>
                </c:pt>
                <c:pt idx="2967">
                  <c:v>1.15651527137903E-2</c:v>
                </c:pt>
                <c:pt idx="2968">
                  <c:v>1.15962093433589E-2</c:v>
                </c:pt>
                <c:pt idx="2969">
                  <c:v>1.15945572165093E-2</c:v>
                </c:pt>
                <c:pt idx="2970">
                  <c:v>1.15843588928201E-2</c:v>
                </c:pt>
                <c:pt idx="2971">
                  <c:v>1.1593747338123199E-2</c:v>
                </c:pt>
                <c:pt idx="2972">
                  <c:v>1.15932745617924E-2</c:v>
                </c:pt>
                <c:pt idx="2973">
                  <c:v>1.14496645953222E-2</c:v>
                </c:pt>
                <c:pt idx="2974">
                  <c:v>1.1456764116577201E-2</c:v>
                </c:pt>
                <c:pt idx="2975">
                  <c:v>1.1319939685440299E-2</c:v>
                </c:pt>
                <c:pt idx="2976">
                  <c:v>1.09500465821949E-2</c:v>
                </c:pt>
                <c:pt idx="2977">
                  <c:v>1.08882904247673E-2</c:v>
                </c:pt>
                <c:pt idx="2978">
                  <c:v>1.08526933877734E-2</c:v>
                </c:pt>
                <c:pt idx="2979">
                  <c:v>1.0907318712989099E-2</c:v>
                </c:pt>
                <c:pt idx="2980">
                  <c:v>1.0885494308581101E-2</c:v>
                </c:pt>
                <c:pt idx="2981">
                  <c:v>1.097505587519E-2</c:v>
                </c:pt>
                <c:pt idx="2982">
                  <c:v>1.0862473125187301E-2</c:v>
                </c:pt>
                <c:pt idx="2983">
                  <c:v>1.08610075227779E-2</c:v>
                </c:pt>
                <c:pt idx="2984">
                  <c:v>1.0738317500947401E-2</c:v>
                </c:pt>
                <c:pt idx="2985">
                  <c:v>1.07430253002655E-2</c:v>
                </c:pt>
                <c:pt idx="2986">
                  <c:v>1.08083397608843E-2</c:v>
                </c:pt>
                <c:pt idx="2987">
                  <c:v>1.08023407319535E-2</c:v>
                </c:pt>
                <c:pt idx="2988">
                  <c:v>1.07124826503249E-2</c:v>
                </c:pt>
                <c:pt idx="2989">
                  <c:v>1.07512112715983E-2</c:v>
                </c:pt>
                <c:pt idx="2990">
                  <c:v>1.0751169749495E-2</c:v>
                </c:pt>
                <c:pt idx="2991">
                  <c:v>1.0687503539001801E-2</c:v>
                </c:pt>
                <c:pt idx="2992">
                  <c:v>1.06900173750874E-2</c:v>
                </c:pt>
                <c:pt idx="2993">
                  <c:v>1.06554633340839E-2</c:v>
                </c:pt>
                <c:pt idx="2994">
                  <c:v>1.06656771508619E-2</c:v>
                </c:pt>
                <c:pt idx="2995">
                  <c:v>1.0679735198839101E-2</c:v>
                </c:pt>
                <c:pt idx="2996">
                  <c:v>1.0685263810582201E-2</c:v>
                </c:pt>
                <c:pt idx="2997">
                  <c:v>1.0682427288209E-2</c:v>
                </c:pt>
                <c:pt idx="2998">
                  <c:v>1.05290361063677E-2</c:v>
                </c:pt>
                <c:pt idx="2999">
                  <c:v>1.0532549857060401E-2</c:v>
                </c:pt>
                <c:pt idx="3000">
                  <c:v>1.05333167059894E-2</c:v>
                </c:pt>
                <c:pt idx="3001">
                  <c:v>1.0524265400571499E-2</c:v>
                </c:pt>
                <c:pt idx="3002">
                  <c:v>1.0525768839247499E-2</c:v>
                </c:pt>
                <c:pt idx="3003">
                  <c:v>1.0499775712147E-2</c:v>
                </c:pt>
                <c:pt idx="3004">
                  <c:v>1.0496482079952E-2</c:v>
                </c:pt>
                <c:pt idx="3005">
                  <c:v>1.05216114970948E-2</c:v>
                </c:pt>
                <c:pt idx="3006">
                  <c:v>1.05306317053154E-2</c:v>
                </c:pt>
                <c:pt idx="3007">
                  <c:v>1.0552033914502299E-2</c:v>
                </c:pt>
                <c:pt idx="3008">
                  <c:v>1.04845963398041E-2</c:v>
                </c:pt>
                <c:pt idx="3009">
                  <c:v>1.04932699559567E-2</c:v>
                </c:pt>
                <c:pt idx="3010">
                  <c:v>1.05035981629037E-2</c:v>
                </c:pt>
                <c:pt idx="3011">
                  <c:v>1.05005489026655E-2</c:v>
                </c:pt>
                <c:pt idx="3012">
                  <c:v>1.05053812366385E-2</c:v>
                </c:pt>
                <c:pt idx="3013">
                  <c:v>1.05069864267173E-2</c:v>
                </c:pt>
                <c:pt idx="3014">
                  <c:v>1.04738128799745E-2</c:v>
                </c:pt>
                <c:pt idx="3015">
                  <c:v>1.04732949093936E-2</c:v>
                </c:pt>
                <c:pt idx="3016">
                  <c:v>1.05481366786448E-2</c:v>
                </c:pt>
                <c:pt idx="3017">
                  <c:v>1.0544546694557001E-2</c:v>
                </c:pt>
                <c:pt idx="3018">
                  <c:v>1.0316957696110801E-2</c:v>
                </c:pt>
                <c:pt idx="3019">
                  <c:v>1.0287993150197201E-2</c:v>
                </c:pt>
                <c:pt idx="3020">
                  <c:v>1.03571094865653E-2</c:v>
                </c:pt>
                <c:pt idx="3021">
                  <c:v>1.03525544868979E-2</c:v>
                </c:pt>
                <c:pt idx="3022">
                  <c:v>1.04024620640197E-2</c:v>
                </c:pt>
                <c:pt idx="3023">
                  <c:v>1.03998425017104E-2</c:v>
                </c:pt>
                <c:pt idx="3024">
                  <c:v>1.03160056551E-2</c:v>
                </c:pt>
                <c:pt idx="3025">
                  <c:v>1.031876565409E-2</c:v>
                </c:pt>
                <c:pt idx="3026">
                  <c:v>1.0267737243736801E-2</c:v>
                </c:pt>
                <c:pt idx="3027">
                  <c:v>1.02656883144468E-2</c:v>
                </c:pt>
                <c:pt idx="3028">
                  <c:v>1.0258607314567099E-2</c:v>
                </c:pt>
                <c:pt idx="3029">
                  <c:v>1.0198053990711799E-2</c:v>
                </c:pt>
                <c:pt idx="3030">
                  <c:v>1.0199214915109099E-2</c:v>
                </c:pt>
                <c:pt idx="3031">
                  <c:v>1.01950599208656E-2</c:v>
                </c:pt>
                <c:pt idx="3032">
                  <c:v>1.0168985412534399E-2</c:v>
                </c:pt>
                <c:pt idx="3033">
                  <c:v>1.0176898052688401E-2</c:v>
                </c:pt>
                <c:pt idx="3034">
                  <c:v>1.0157623407827301E-2</c:v>
                </c:pt>
                <c:pt idx="3035">
                  <c:v>1.0112446378827401E-2</c:v>
                </c:pt>
                <c:pt idx="3036">
                  <c:v>1.0126840718490999E-2</c:v>
                </c:pt>
                <c:pt idx="3037">
                  <c:v>1.01332340702342E-2</c:v>
                </c:pt>
                <c:pt idx="3038">
                  <c:v>1.0080308714163599E-2</c:v>
                </c:pt>
                <c:pt idx="3039">
                  <c:v>1.0079074460848001E-2</c:v>
                </c:pt>
                <c:pt idx="3040">
                  <c:v>1.00900210671119E-2</c:v>
                </c:pt>
                <c:pt idx="3041">
                  <c:v>1.0101540445275701E-2</c:v>
                </c:pt>
                <c:pt idx="3042">
                  <c:v>1.01211209651259E-2</c:v>
                </c:pt>
                <c:pt idx="3043">
                  <c:v>1.01056915661214E-2</c:v>
                </c:pt>
                <c:pt idx="3044">
                  <c:v>1.0143144641212999E-2</c:v>
                </c:pt>
                <c:pt idx="3045">
                  <c:v>1.01068698672777E-2</c:v>
                </c:pt>
                <c:pt idx="3046">
                  <c:v>1.01065124284498E-2</c:v>
                </c:pt>
                <c:pt idx="3047">
                  <c:v>1.01087642532339E-2</c:v>
                </c:pt>
                <c:pt idx="3048">
                  <c:v>1.0066282616391401E-2</c:v>
                </c:pt>
                <c:pt idx="3049">
                  <c:v>1.0026000585573999E-2</c:v>
                </c:pt>
                <c:pt idx="3050">
                  <c:v>1.0144880549104901E-2</c:v>
                </c:pt>
                <c:pt idx="3051">
                  <c:v>1.01458017606095E-2</c:v>
                </c:pt>
                <c:pt idx="3052">
                  <c:v>1.0181827187270299E-2</c:v>
                </c:pt>
                <c:pt idx="3053">
                  <c:v>1.0154996966172799E-2</c:v>
                </c:pt>
                <c:pt idx="3054">
                  <c:v>1.01480531149125E-2</c:v>
                </c:pt>
                <c:pt idx="3055">
                  <c:v>1.0113521543260401E-2</c:v>
                </c:pt>
                <c:pt idx="3056">
                  <c:v>1.01333651050194E-2</c:v>
                </c:pt>
                <c:pt idx="3057">
                  <c:v>1.01142887097403E-2</c:v>
                </c:pt>
                <c:pt idx="3058">
                  <c:v>1.0010687525883801E-2</c:v>
                </c:pt>
                <c:pt idx="3059">
                  <c:v>1.00641945091853E-2</c:v>
                </c:pt>
                <c:pt idx="3060">
                  <c:v>1.01105979012203E-2</c:v>
                </c:pt>
                <c:pt idx="3061">
                  <c:v>9.9366923403985292E-3</c:v>
                </c:pt>
                <c:pt idx="3062">
                  <c:v>9.9620500230367792E-3</c:v>
                </c:pt>
                <c:pt idx="3063">
                  <c:v>9.9818434935031904E-3</c:v>
                </c:pt>
                <c:pt idx="3064">
                  <c:v>1.00449908852732E-2</c:v>
                </c:pt>
                <c:pt idx="3065">
                  <c:v>1.00407869380667E-2</c:v>
                </c:pt>
                <c:pt idx="3066">
                  <c:v>1.02860277054985E-2</c:v>
                </c:pt>
                <c:pt idx="3067">
                  <c:v>1.03236780669714E-2</c:v>
                </c:pt>
                <c:pt idx="3068">
                  <c:v>1.06757029637454E-2</c:v>
                </c:pt>
                <c:pt idx="3069">
                  <c:v>1.06652389405346E-2</c:v>
                </c:pt>
                <c:pt idx="3070">
                  <c:v>1.09485591002752E-2</c:v>
                </c:pt>
                <c:pt idx="3071">
                  <c:v>1.13307275453206E-2</c:v>
                </c:pt>
                <c:pt idx="3072">
                  <c:v>1.15344552659222E-2</c:v>
                </c:pt>
                <c:pt idx="3073">
                  <c:v>1.15387886325111E-2</c:v>
                </c:pt>
                <c:pt idx="3074">
                  <c:v>1.15370738670399E-2</c:v>
                </c:pt>
                <c:pt idx="3075">
                  <c:v>1.15344134512332E-2</c:v>
                </c:pt>
                <c:pt idx="3076">
                  <c:v>1.1644729950449999E-2</c:v>
                </c:pt>
                <c:pt idx="3077">
                  <c:v>1.1688458475086001E-2</c:v>
                </c:pt>
                <c:pt idx="3078">
                  <c:v>1.1638472591896499E-2</c:v>
                </c:pt>
                <c:pt idx="3079">
                  <c:v>1.16537661088961E-2</c:v>
                </c:pt>
                <c:pt idx="3080">
                  <c:v>1.16531138762761E-2</c:v>
                </c:pt>
                <c:pt idx="3081">
                  <c:v>1.16837252633979E-2</c:v>
                </c:pt>
                <c:pt idx="3082">
                  <c:v>1.1832438882514401E-2</c:v>
                </c:pt>
                <c:pt idx="3083">
                  <c:v>1.1990859776109E-2</c:v>
                </c:pt>
                <c:pt idx="3084">
                  <c:v>1.2127637155934101E-2</c:v>
                </c:pt>
                <c:pt idx="3085">
                  <c:v>1.20226270569684E-2</c:v>
                </c:pt>
                <c:pt idx="3086">
                  <c:v>1.20225852388625E-2</c:v>
                </c:pt>
                <c:pt idx="3087">
                  <c:v>1.2089808248575201E-2</c:v>
                </c:pt>
                <c:pt idx="3088">
                  <c:v>1.22167958982979E-2</c:v>
                </c:pt>
                <c:pt idx="3089">
                  <c:v>1.2156255443915799E-2</c:v>
                </c:pt>
                <c:pt idx="3090">
                  <c:v>1.2120057714487299E-2</c:v>
                </c:pt>
                <c:pt idx="3091">
                  <c:v>1.22232809183091E-2</c:v>
                </c:pt>
                <c:pt idx="3092">
                  <c:v>1.22060868079255E-2</c:v>
                </c:pt>
                <c:pt idx="3093">
                  <c:v>1.2221858662408601E-2</c:v>
                </c:pt>
                <c:pt idx="3094">
                  <c:v>1.2184177111351E-2</c:v>
                </c:pt>
                <c:pt idx="3095">
                  <c:v>1.20868569810751E-2</c:v>
                </c:pt>
                <c:pt idx="3096">
                  <c:v>1.2204630601313E-2</c:v>
                </c:pt>
                <c:pt idx="3097">
                  <c:v>1.22119061886201E-2</c:v>
                </c:pt>
                <c:pt idx="3098">
                  <c:v>1.3253071562398799E-2</c:v>
                </c:pt>
                <c:pt idx="3099">
                  <c:v>1.32559224401337E-2</c:v>
                </c:pt>
                <c:pt idx="3100">
                  <c:v>1.35152347956444E-2</c:v>
                </c:pt>
                <c:pt idx="3101">
                  <c:v>1.3510058204895601E-2</c:v>
                </c:pt>
                <c:pt idx="3102">
                  <c:v>1.3508126285773799E-2</c:v>
                </c:pt>
                <c:pt idx="3103">
                  <c:v>1.35179648190641E-2</c:v>
                </c:pt>
                <c:pt idx="3104">
                  <c:v>1.34927381334461E-2</c:v>
                </c:pt>
                <c:pt idx="3105">
                  <c:v>1.35216489615639E-2</c:v>
                </c:pt>
                <c:pt idx="3106">
                  <c:v>1.35427545804215E-2</c:v>
                </c:pt>
                <c:pt idx="3107">
                  <c:v>1.3495167959229001E-2</c:v>
                </c:pt>
                <c:pt idx="3108">
                  <c:v>1.35833357204395E-2</c:v>
                </c:pt>
                <c:pt idx="3109">
                  <c:v>1.36578203397226E-2</c:v>
                </c:pt>
                <c:pt idx="3110">
                  <c:v>1.3646194796572799E-2</c:v>
                </c:pt>
                <c:pt idx="3111">
                  <c:v>1.3667292760140001E-2</c:v>
                </c:pt>
                <c:pt idx="3112">
                  <c:v>1.37140264628836E-2</c:v>
                </c:pt>
                <c:pt idx="3113">
                  <c:v>1.36994385531445E-2</c:v>
                </c:pt>
                <c:pt idx="3114">
                  <c:v>1.3737494448852101E-2</c:v>
                </c:pt>
                <c:pt idx="3115">
                  <c:v>1.36664818772544E-2</c:v>
                </c:pt>
                <c:pt idx="3116">
                  <c:v>1.3660821405741199E-2</c:v>
                </c:pt>
                <c:pt idx="3117">
                  <c:v>1.3666278327048399E-2</c:v>
                </c:pt>
                <c:pt idx="3118">
                  <c:v>1.3666307846792101E-2</c:v>
                </c:pt>
                <c:pt idx="3119">
                  <c:v>1.36655706607714E-2</c:v>
                </c:pt>
                <c:pt idx="3120">
                  <c:v>1.3690731782867E-2</c:v>
                </c:pt>
                <c:pt idx="3121">
                  <c:v>1.37387355713791E-2</c:v>
                </c:pt>
                <c:pt idx="3122">
                  <c:v>1.3725101116998499E-2</c:v>
                </c:pt>
                <c:pt idx="3123">
                  <c:v>1.37128683528561E-2</c:v>
                </c:pt>
                <c:pt idx="3124">
                  <c:v>1.3806849640501301E-2</c:v>
                </c:pt>
                <c:pt idx="3125">
                  <c:v>1.3725788366717799E-2</c:v>
                </c:pt>
                <c:pt idx="3126">
                  <c:v>1.3632562540000601E-2</c:v>
                </c:pt>
                <c:pt idx="3127">
                  <c:v>1.36397708199403E-2</c:v>
                </c:pt>
                <c:pt idx="3128">
                  <c:v>1.36668613406864E-2</c:v>
                </c:pt>
                <c:pt idx="3129">
                  <c:v>1.36603465552089E-2</c:v>
                </c:pt>
                <c:pt idx="3130">
                  <c:v>1.3658824500075099E-2</c:v>
                </c:pt>
                <c:pt idx="3131">
                  <c:v>1.3699037308564E-2</c:v>
                </c:pt>
                <c:pt idx="3132">
                  <c:v>1.36835909162847E-2</c:v>
                </c:pt>
                <c:pt idx="3133">
                  <c:v>1.3753251548215399E-2</c:v>
                </c:pt>
                <c:pt idx="3134">
                  <c:v>1.37698824726456E-2</c:v>
                </c:pt>
                <c:pt idx="3135">
                  <c:v>1.3651475043075499E-2</c:v>
                </c:pt>
                <c:pt idx="3136">
                  <c:v>1.36527761294289E-2</c:v>
                </c:pt>
                <c:pt idx="3137">
                  <c:v>1.3671358584554901E-2</c:v>
                </c:pt>
                <c:pt idx="3138">
                  <c:v>1.37033604897155E-2</c:v>
                </c:pt>
                <c:pt idx="3139">
                  <c:v>1.36873245142567E-2</c:v>
                </c:pt>
                <c:pt idx="3140">
                  <c:v>1.36969971159441E-2</c:v>
                </c:pt>
                <c:pt idx="3141">
                  <c:v>1.36937036763245E-2</c:v>
                </c:pt>
                <c:pt idx="3142">
                  <c:v>1.36785741994497E-2</c:v>
                </c:pt>
                <c:pt idx="3143">
                  <c:v>1.3728666674446799E-2</c:v>
                </c:pt>
                <c:pt idx="3144">
                  <c:v>1.36053972732114E-2</c:v>
                </c:pt>
                <c:pt idx="3145">
                  <c:v>1.3634971405183299E-2</c:v>
                </c:pt>
                <c:pt idx="3146">
                  <c:v>1.3633947812349501E-2</c:v>
                </c:pt>
                <c:pt idx="3147">
                  <c:v>1.36419213719215E-2</c:v>
                </c:pt>
                <c:pt idx="3148">
                  <c:v>1.3678586692785899E-2</c:v>
                </c:pt>
                <c:pt idx="3149">
                  <c:v>1.3680266009421901E-2</c:v>
                </c:pt>
                <c:pt idx="3150">
                  <c:v>1.36925495546487E-2</c:v>
                </c:pt>
                <c:pt idx="3151">
                  <c:v>1.37280091796148E-2</c:v>
                </c:pt>
                <c:pt idx="3152">
                  <c:v>1.37553939186496E-2</c:v>
                </c:pt>
                <c:pt idx="3153">
                  <c:v>1.37406922355601E-2</c:v>
                </c:pt>
                <c:pt idx="3154">
                  <c:v>1.37713024108612E-2</c:v>
                </c:pt>
                <c:pt idx="3155">
                  <c:v>1.38163101972075E-2</c:v>
                </c:pt>
                <c:pt idx="3156">
                  <c:v>1.38495069848455E-2</c:v>
                </c:pt>
                <c:pt idx="3157">
                  <c:v>1.38787232628258E-2</c:v>
                </c:pt>
                <c:pt idx="3158">
                  <c:v>1.39255621902406E-2</c:v>
                </c:pt>
                <c:pt idx="3159">
                  <c:v>1.3998839693923799E-2</c:v>
                </c:pt>
                <c:pt idx="3160">
                  <c:v>1.3940165749023599E-2</c:v>
                </c:pt>
                <c:pt idx="3161">
                  <c:v>1.3957522708897101E-2</c:v>
                </c:pt>
                <c:pt idx="3162">
                  <c:v>1.40035290406099E-2</c:v>
                </c:pt>
                <c:pt idx="3163">
                  <c:v>1.4042581942767999E-2</c:v>
                </c:pt>
                <c:pt idx="3164">
                  <c:v>1.39875533094788E-2</c:v>
                </c:pt>
                <c:pt idx="3165">
                  <c:v>1.39970615796757E-2</c:v>
                </c:pt>
                <c:pt idx="3166">
                  <c:v>1.39980357238495E-2</c:v>
                </c:pt>
                <c:pt idx="3167">
                  <c:v>1.42662863998686E-2</c:v>
                </c:pt>
                <c:pt idx="3168">
                  <c:v>1.42630892004416E-2</c:v>
                </c:pt>
                <c:pt idx="3169">
                  <c:v>1.42808076980442E-2</c:v>
                </c:pt>
                <c:pt idx="3170">
                  <c:v>1.4310536483671501E-2</c:v>
                </c:pt>
                <c:pt idx="3171">
                  <c:v>1.44004579776182E-2</c:v>
                </c:pt>
                <c:pt idx="3172">
                  <c:v>1.44091673605895E-2</c:v>
                </c:pt>
                <c:pt idx="3173">
                  <c:v>1.44200798675897E-2</c:v>
                </c:pt>
                <c:pt idx="3174">
                  <c:v>1.4405065369810901E-2</c:v>
                </c:pt>
                <c:pt idx="3175">
                  <c:v>1.4464221570284701E-2</c:v>
                </c:pt>
                <c:pt idx="3176">
                  <c:v>1.44831170959529E-2</c:v>
                </c:pt>
                <c:pt idx="3177">
                  <c:v>1.45650971670045E-2</c:v>
                </c:pt>
                <c:pt idx="3178">
                  <c:v>1.4561411531101799E-2</c:v>
                </c:pt>
                <c:pt idx="3179">
                  <c:v>1.4588910874769601E-2</c:v>
                </c:pt>
                <c:pt idx="3180">
                  <c:v>1.46030351316534E-2</c:v>
                </c:pt>
                <c:pt idx="3181">
                  <c:v>1.46953834355303E-2</c:v>
                </c:pt>
                <c:pt idx="3182">
                  <c:v>1.46851705395506E-2</c:v>
                </c:pt>
                <c:pt idx="3183">
                  <c:v>1.46903111018633E-2</c:v>
                </c:pt>
                <c:pt idx="3184">
                  <c:v>1.5393508657423701E-2</c:v>
                </c:pt>
                <c:pt idx="3185">
                  <c:v>1.53898166419115E-2</c:v>
                </c:pt>
                <c:pt idx="3186">
                  <c:v>1.56386459084716E-2</c:v>
                </c:pt>
                <c:pt idx="3187">
                  <c:v>1.5661253993860001E-2</c:v>
                </c:pt>
                <c:pt idx="3188">
                  <c:v>1.5660327251977999E-2</c:v>
                </c:pt>
                <c:pt idx="3189">
                  <c:v>1.5656396803081399E-2</c:v>
                </c:pt>
                <c:pt idx="3190">
                  <c:v>1.5647868987629598E-2</c:v>
                </c:pt>
                <c:pt idx="3191">
                  <c:v>1.5696393102052401E-2</c:v>
                </c:pt>
                <c:pt idx="3192">
                  <c:v>1.5704624622398199E-2</c:v>
                </c:pt>
                <c:pt idx="3193">
                  <c:v>1.56838717067555E-2</c:v>
                </c:pt>
                <c:pt idx="3194">
                  <c:v>1.56801082988152E-2</c:v>
                </c:pt>
                <c:pt idx="3195">
                  <c:v>1.5664845306974502E-2</c:v>
                </c:pt>
                <c:pt idx="3196">
                  <c:v>1.5744241464824098E-2</c:v>
                </c:pt>
                <c:pt idx="3197">
                  <c:v>1.58796877751082E-2</c:v>
                </c:pt>
                <c:pt idx="3198">
                  <c:v>1.5893479639700701E-2</c:v>
                </c:pt>
                <c:pt idx="3199">
                  <c:v>1.61389127779408E-2</c:v>
                </c:pt>
                <c:pt idx="3200">
                  <c:v>1.6642582366269899E-2</c:v>
                </c:pt>
                <c:pt idx="3201">
                  <c:v>1.6738718890019901E-2</c:v>
                </c:pt>
                <c:pt idx="3202">
                  <c:v>1.6749083309714901E-2</c:v>
                </c:pt>
                <c:pt idx="3203">
                  <c:v>1.6927455081618699E-2</c:v>
                </c:pt>
                <c:pt idx="3204">
                  <c:v>1.7723745911781601E-2</c:v>
                </c:pt>
                <c:pt idx="3205">
                  <c:v>1.78752953993347E-2</c:v>
                </c:pt>
                <c:pt idx="3206">
                  <c:v>1.83024112616028E-2</c:v>
                </c:pt>
                <c:pt idx="3207">
                  <c:v>1.8610745782435701E-2</c:v>
                </c:pt>
                <c:pt idx="3208">
                  <c:v>1.8753934024027499E-2</c:v>
                </c:pt>
                <c:pt idx="3209">
                  <c:v>1.91091424078999E-2</c:v>
                </c:pt>
                <c:pt idx="3210">
                  <c:v>1.9180465127783299E-2</c:v>
                </c:pt>
                <c:pt idx="3211">
                  <c:v>1.9221193139524501E-2</c:v>
                </c:pt>
                <c:pt idx="3212">
                  <c:v>1.97558839297413E-2</c:v>
                </c:pt>
                <c:pt idx="3213">
                  <c:v>2.0116658477512799E-2</c:v>
                </c:pt>
                <c:pt idx="3214">
                  <c:v>2.0362178732115901E-2</c:v>
                </c:pt>
                <c:pt idx="3215">
                  <c:v>2.0411979195542398E-2</c:v>
                </c:pt>
                <c:pt idx="3216">
                  <c:v>2.0479800795239402E-2</c:v>
                </c:pt>
                <c:pt idx="3217">
                  <c:v>2.06243369155137E-2</c:v>
                </c:pt>
                <c:pt idx="3218">
                  <c:v>2.0598493535558801E-2</c:v>
                </c:pt>
                <c:pt idx="3219">
                  <c:v>2.0716698465909299E-2</c:v>
                </c:pt>
                <c:pt idx="3220">
                  <c:v>2.0716712776214501E-2</c:v>
                </c:pt>
                <c:pt idx="3221">
                  <c:v>2.0710090585461801E-2</c:v>
                </c:pt>
                <c:pt idx="3222">
                  <c:v>2.0712134261399499E-2</c:v>
                </c:pt>
                <c:pt idx="3223">
                  <c:v>2.0747501646157102E-2</c:v>
                </c:pt>
                <c:pt idx="3224">
                  <c:v>2.0779659139130501E-2</c:v>
                </c:pt>
                <c:pt idx="3225">
                  <c:v>2.1581336182320901E-2</c:v>
                </c:pt>
                <c:pt idx="3226">
                  <c:v>2.1582881615259002E-2</c:v>
                </c:pt>
                <c:pt idx="3227">
                  <c:v>2.16495111041126E-2</c:v>
                </c:pt>
                <c:pt idx="3228">
                  <c:v>2.1744035119894999E-2</c:v>
                </c:pt>
                <c:pt idx="3229">
                  <c:v>2.17221407323492E-2</c:v>
                </c:pt>
                <c:pt idx="3230">
                  <c:v>2.1715900597130099E-2</c:v>
                </c:pt>
                <c:pt idx="3231">
                  <c:v>2.1730388413031002E-2</c:v>
                </c:pt>
                <c:pt idx="3232">
                  <c:v>2.1778541264834899E-2</c:v>
                </c:pt>
                <c:pt idx="3233">
                  <c:v>2.1786579461979701E-2</c:v>
                </c:pt>
                <c:pt idx="3234">
                  <c:v>2.1805092707503901E-2</c:v>
                </c:pt>
                <c:pt idx="3235">
                  <c:v>2.1957862038187202E-2</c:v>
                </c:pt>
                <c:pt idx="3236">
                  <c:v>2.1933914050231401E-2</c:v>
                </c:pt>
                <c:pt idx="3237">
                  <c:v>2.1951432828671302E-2</c:v>
                </c:pt>
                <c:pt idx="3238">
                  <c:v>2.19637155965904E-2</c:v>
                </c:pt>
                <c:pt idx="3239">
                  <c:v>2.1936494401591899E-2</c:v>
                </c:pt>
                <c:pt idx="3240">
                  <c:v>2.1936580737544498E-2</c:v>
                </c:pt>
                <c:pt idx="3241">
                  <c:v>2.2317592865997E-2</c:v>
                </c:pt>
                <c:pt idx="3242">
                  <c:v>2.2331997695070799E-2</c:v>
                </c:pt>
                <c:pt idx="3243">
                  <c:v>2.2438926985964901E-2</c:v>
                </c:pt>
                <c:pt idx="3244">
                  <c:v>2.26372064093859E-2</c:v>
                </c:pt>
                <c:pt idx="3245">
                  <c:v>2.3385820741416902E-2</c:v>
                </c:pt>
                <c:pt idx="3246">
                  <c:v>2.3859648658098101E-2</c:v>
                </c:pt>
                <c:pt idx="3247">
                  <c:v>2.3863316841878899E-2</c:v>
                </c:pt>
                <c:pt idx="3248">
                  <c:v>2.4130280048763199E-2</c:v>
                </c:pt>
                <c:pt idx="3249">
                  <c:v>2.42626276642821E-2</c:v>
                </c:pt>
                <c:pt idx="3250">
                  <c:v>2.4264529099389701E-2</c:v>
                </c:pt>
                <c:pt idx="3251">
                  <c:v>2.4255166752990599E-2</c:v>
                </c:pt>
                <c:pt idx="3252">
                  <c:v>2.42476931760345E-2</c:v>
                </c:pt>
                <c:pt idx="3253">
                  <c:v>2.4356435464559401E-2</c:v>
                </c:pt>
                <c:pt idx="3254">
                  <c:v>2.4397915738779499E-2</c:v>
                </c:pt>
                <c:pt idx="3255">
                  <c:v>2.44158592178398E-2</c:v>
                </c:pt>
                <c:pt idx="3256">
                  <c:v>2.4428786952053801E-2</c:v>
                </c:pt>
                <c:pt idx="3257">
                  <c:v>2.4419087744367001E-2</c:v>
                </c:pt>
                <c:pt idx="3258">
                  <c:v>2.4450808321956199E-2</c:v>
                </c:pt>
                <c:pt idx="3259">
                  <c:v>2.4586959738116199E-2</c:v>
                </c:pt>
                <c:pt idx="3260">
                  <c:v>2.4764815673659801E-2</c:v>
                </c:pt>
                <c:pt idx="3261">
                  <c:v>2.4807920093216699E-2</c:v>
                </c:pt>
                <c:pt idx="3262">
                  <c:v>2.4805478215902399E-2</c:v>
                </c:pt>
                <c:pt idx="3263">
                  <c:v>2.4824694595831E-2</c:v>
                </c:pt>
                <c:pt idx="3264">
                  <c:v>2.4827955793992398E-2</c:v>
                </c:pt>
                <c:pt idx="3265">
                  <c:v>2.4875187411815301E-2</c:v>
                </c:pt>
                <c:pt idx="3266">
                  <c:v>2.48410142987756E-2</c:v>
                </c:pt>
                <c:pt idx="3267">
                  <c:v>2.4864492101154798E-2</c:v>
                </c:pt>
                <c:pt idx="3268">
                  <c:v>2.4864585357787999E-2</c:v>
                </c:pt>
                <c:pt idx="3269">
                  <c:v>2.4897672860871502E-2</c:v>
                </c:pt>
                <c:pt idx="3270">
                  <c:v>2.4867386395717599E-2</c:v>
                </c:pt>
                <c:pt idx="3271">
                  <c:v>2.49242409240291E-2</c:v>
                </c:pt>
                <c:pt idx="3272">
                  <c:v>2.4914341855948301E-2</c:v>
                </c:pt>
                <c:pt idx="3273">
                  <c:v>2.4987716579019902E-2</c:v>
                </c:pt>
                <c:pt idx="3274">
                  <c:v>2.4987955693859899E-2</c:v>
                </c:pt>
                <c:pt idx="3275">
                  <c:v>2.5000232901017199E-2</c:v>
                </c:pt>
                <c:pt idx="3276">
                  <c:v>2.50392665846246E-2</c:v>
                </c:pt>
                <c:pt idx="3277">
                  <c:v>2.50433587197673E-2</c:v>
                </c:pt>
                <c:pt idx="3278">
                  <c:v>2.5043512564469701E-2</c:v>
                </c:pt>
                <c:pt idx="3279">
                  <c:v>2.50482357945663E-2</c:v>
                </c:pt>
                <c:pt idx="3280">
                  <c:v>2.5122368952420301E-2</c:v>
                </c:pt>
                <c:pt idx="3281">
                  <c:v>2.5134482917801199E-2</c:v>
                </c:pt>
                <c:pt idx="3282">
                  <c:v>2.5142919707743201E-2</c:v>
                </c:pt>
                <c:pt idx="3283">
                  <c:v>2.51367865060367E-2</c:v>
                </c:pt>
                <c:pt idx="3284">
                  <c:v>2.5136255074636699E-2</c:v>
                </c:pt>
                <c:pt idx="3285">
                  <c:v>2.51689527320497E-2</c:v>
                </c:pt>
                <c:pt idx="3286">
                  <c:v>2.5160728187806E-2</c:v>
                </c:pt>
                <c:pt idx="3287">
                  <c:v>2.51562691331269E-2</c:v>
                </c:pt>
                <c:pt idx="3288">
                  <c:v>2.51728307049158E-2</c:v>
                </c:pt>
                <c:pt idx="3289">
                  <c:v>2.5173372904582499E-2</c:v>
                </c:pt>
                <c:pt idx="3290">
                  <c:v>2.53207716808183E-2</c:v>
                </c:pt>
                <c:pt idx="3291">
                  <c:v>2.5324144174239199E-2</c:v>
                </c:pt>
                <c:pt idx="3292">
                  <c:v>2.5348593848794999E-2</c:v>
                </c:pt>
                <c:pt idx="3293">
                  <c:v>2.5355122972661299E-2</c:v>
                </c:pt>
                <c:pt idx="3294">
                  <c:v>2.5340399050372098E-2</c:v>
                </c:pt>
                <c:pt idx="3295">
                  <c:v>2.5340598440219401E-2</c:v>
                </c:pt>
                <c:pt idx="3296">
                  <c:v>2.5351316771422799E-2</c:v>
                </c:pt>
                <c:pt idx="3297">
                  <c:v>2.5365903663867699E-2</c:v>
                </c:pt>
                <c:pt idx="3298">
                  <c:v>2.5366660253861101E-2</c:v>
                </c:pt>
                <c:pt idx="3299">
                  <c:v>2.5366640490055201E-2</c:v>
                </c:pt>
                <c:pt idx="3300">
                  <c:v>2.5336161840754001E-2</c:v>
                </c:pt>
                <c:pt idx="3301">
                  <c:v>2.5350989843916601E-2</c:v>
                </c:pt>
                <c:pt idx="3302">
                  <c:v>2.53391645036108E-2</c:v>
                </c:pt>
                <c:pt idx="3303">
                  <c:v>2.5339117255123299E-2</c:v>
                </c:pt>
                <c:pt idx="3304">
                  <c:v>2.5339186153188201E-2</c:v>
                </c:pt>
                <c:pt idx="3305">
                  <c:v>2.53380451371788E-2</c:v>
                </c:pt>
                <c:pt idx="3306">
                  <c:v>2.5331746116073701E-2</c:v>
                </c:pt>
                <c:pt idx="3307">
                  <c:v>2.5585551766977799E-2</c:v>
                </c:pt>
                <c:pt idx="3308">
                  <c:v>2.5585527252707602E-2</c:v>
                </c:pt>
                <c:pt idx="3309">
                  <c:v>2.5566026816051302E-2</c:v>
                </c:pt>
                <c:pt idx="3310">
                  <c:v>2.56137624519963E-2</c:v>
                </c:pt>
                <c:pt idx="3311">
                  <c:v>2.5604772149100299E-2</c:v>
                </c:pt>
                <c:pt idx="3312">
                  <c:v>2.56255600621507E-2</c:v>
                </c:pt>
                <c:pt idx="3313">
                  <c:v>2.5617420418995701E-2</c:v>
                </c:pt>
                <c:pt idx="3314">
                  <c:v>2.5618364126484699E-2</c:v>
                </c:pt>
                <c:pt idx="3315">
                  <c:v>2.56182171662412E-2</c:v>
                </c:pt>
                <c:pt idx="3316">
                  <c:v>2.5521796660479799E-2</c:v>
                </c:pt>
                <c:pt idx="3317">
                  <c:v>2.5508351498056001E-2</c:v>
                </c:pt>
                <c:pt idx="3318">
                  <c:v>2.5412947623432401E-2</c:v>
                </c:pt>
                <c:pt idx="3319">
                  <c:v>2.54123841620396E-2</c:v>
                </c:pt>
                <c:pt idx="3320">
                  <c:v>2.5289156743723298E-2</c:v>
                </c:pt>
                <c:pt idx="3321">
                  <c:v>2.5143352690668402E-2</c:v>
                </c:pt>
                <c:pt idx="3322">
                  <c:v>2.5042769903509701E-2</c:v>
                </c:pt>
                <c:pt idx="3323">
                  <c:v>2.5079808557613801E-2</c:v>
                </c:pt>
                <c:pt idx="3324">
                  <c:v>2.5079657309668699E-2</c:v>
                </c:pt>
                <c:pt idx="3325">
                  <c:v>2.5076969620067901E-2</c:v>
                </c:pt>
                <c:pt idx="3326">
                  <c:v>2.50322109454479E-2</c:v>
                </c:pt>
                <c:pt idx="3327">
                  <c:v>2.50103217390585E-2</c:v>
                </c:pt>
                <c:pt idx="3328">
                  <c:v>2.5079214959738302E-2</c:v>
                </c:pt>
                <c:pt idx="3329">
                  <c:v>2.5076231636116698E-2</c:v>
                </c:pt>
                <c:pt idx="3330">
                  <c:v>2.5075566761873599E-2</c:v>
                </c:pt>
                <c:pt idx="3331">
                  <c:v>2.5047068308343998E-2</c:v>
                </c:pt>
                <c:pt idx="3332">
                  <c:v>2.5405212660775299E-2</c:v>
                </c:pt>
                <c:pt idx="3333">
                  <c:v>2.53258372306828E-2</c:v>
                </c:pt>
                <c:pt idx="3334">
                  <c:v>2.52659757148413E-2</c:v>
                </c:pt>
                <c:pt idx="3335">
                  <c:v>2.5671947335723401E-2</c:v>
                </c:pt>
                <c:pt idx="3336">
                  <c:v>2.5704239320585701E-2</c:v>
                </c:pt>
                <c:pt idx="3337">
                  <c:v>2.5871766645139099E-2</c:v>
                </c:pt>
                <c:pt idx="3338">
                  <c:v>2.5804043933220101E-2</c:v>
                </c:pt>
                <c:pt idx="3339">
                  <c:v>2.58299255616533E-2</c:v>
                </c:pt>
                <c:pt idx="3340">
                  <c:v>2.58644964142235E-2</c:v>
                </c:pt>
                <c:pt idx="3341">
                  <c:v>2.5902701436570801E-2</c:v>
                </c:pt>
                <c:pt idx="3342">
                  <c:v>2.5903466105844899E-2</c:v>
                </c:pt>
                <c:pt idx="3343">
                  <c:v>2.5964664423318701E-2</c:v>
                </c:pt>
                <c:pt idx="3344">
                  <c:v>2.5981727369010599E-2</c:v>
                </c:pt>
                <c:pt idx="3345">
                  <c:v>2.6047297483362399E-2</c:v>
                </c:pt>
                <c:pt idx="3346">
                  <c:v>2.5990814876249602E-2</c:v>
                </c:pt>
                <c:pt idx="3347">
                  <c:v>2.5986692496080301E-2</c:v>
                </c:pt>
                <c:pt idx="3348">
                  <c:v>2.5789053968008201E-2</c:v>
                </c:pt>
                <c:pt idx="3349">
                  <c:v>2.5777103860759602E-2</c:v>
                </c:pt>
                <c:pt idx="3350">
                  <c:v>2.5672888039722501E-2</c:v>
                </c:pt>
                <c:pt idx="3351">
                  <c:v>2.57533034281432E-2</c:v>
                </c:pt>
                <c:pt idx="3352">
                  <c:v>2.5769638046649401E-2</c:v>
                </c:pt>
                <c:pt idx="3353">
                  <c:v>2.5795954479804001E-2</c:v>
                </c:pt>
                <c:pt idx="3354">
                  <c:v>2.5791390066281901E-2</c:v>
                </c:pt>
                <c:pt idx="3355">
                  <c:v>2.57906512684642E-2</c:v>
                </c:pt>
                <c:pt idx="3356">
                  <c:v>2.5783054631885498E-2</c:v>
                </c:pt>
                <c:pt idx="3357">
                  <c:v>2.5771790860401499E-2</c:v>
                </c:pt>
                <c:pt idx="3358">
                  <c:v>2.5803289879696101E-2</c:v>
                </c:pt>
                <c:pt idx="3359">
                  <c:v>2.5760916872736701E-2</c:v>
                </c:pt>
                <c:pt idx="3360">
                  <c:v>2.5753707985427501E-2</c:v>
                </c:pt>
                <c:pt idx="3361">
                  <c:v>2.5746107992208001E-2</c:v>
                </c:pt>
                <c:pt idx="3362">
                  <c:v>2.5764286810838401E-2</c:v>
                </c:pt>
                <c:pt idx="3363">
                  <c:v>2.5762584933551901E-2</c:v>
                </c:pt>
                <c:pt idx="3364">
                  <c:v>2.5739807054451499E-2</c:v>
                </c:pt>
                <c:pt idx="3365">
                  <c:v>2.6040291139677499E-2</c:v>
                </c:pt>
                <c:pt idx="3366">
                  <c:v>2.6048202607632399E-2</c:v>
                </c:pt>
                <c:pt idx="3367">
                  <c:v>2.6085347299136301E-2</c:v>
                </c:pt>
                <c:pt idx="3368">
                  <c:v>2.6106721582576899E-2</c:v>
                </c:pt>
                <c:pt idx="3369">
                  <c:v>2.6231673041446999E-2</c:v>
                </c:pt>
                <c:pt idx="3370">
                  <c:v>2.6221444874316199E-2</c:v>
                </c:pt>
                <c:pt idx="3371">
                  <c:v>2.6183159803059301E-2</c:v>
                </c:pt>
                <c:pt idx="3372">
                  <c:v>2.61840070125521E-2</c:v>
                </c:pt>
                <c:pt idx="3373">
                  <c:v>2.61786333554631E-2</c:v>
                </c:pt>
                <c:pt idx="3374">
                  <c:v>2.61372073120902E-2</c:v>
                </c:pt>
                <c:pt idx="3375">
                  <c:v>2.6160284135476601E-2</c:v>
                </c:pt>
                <c:pt idx="3376">
                  <c:v>2.6154193721134401E-2</c:v>
                </c:pt>
                <c:pt idx="3377">
                  <c:v>2.6172569775839299E-2</c:v>
                </c:pt>
                <c:pt idx="3378">
                  <c:v>2.6150222269067599E-2</c:v>
                </c:pt>
                <c:pt idx="3379">
                  <c:v>2.6151105809569999E-2</c:v>
                </c:pt>
                <c:pt idx="3380">
                  <c:v>2.6161049271432701E-2</c:v>
                </c:pt>
                <c:pt idx="3381">
                  <c:v>2.6150230732215E-2</c:v>
                </c:pt>
                <c:pt idx="3382">
                  <c:v>2.6192507511816902E-2</c:v>
                </c:pt>
                <c:pt idx="3383">
                  <c:v>2.6149905322361802E-2</c:v>
                </c:pt>
                <c:pt idx="3384">
                  <c:v>2.6135144238731998E-2</c:v>
                </c:pt>
                <c:pt idx="3385">
                  <c:v>2.61108298600468E-2</c:v>
                </c:pt>
                <c:pt idx="3386">
                  <c:v>2.6113311556747999E-2</c:v>
                </c:pt>
                <c:pt idx="3387">
                  <c:v>2.6102249868752501E-2</c:v>
                </c:pt>
                <c:pt idx="3388">
                  <c:v>2.6075686273710201E-2</c:v>
                </c:pt>
                <c:pt idx="3389">
                  <c:v>2.6129044203665502E-2</c:v>
                </c:pt>
                <c:pt idx="3390">
                  <c:v>2.6124959389935101E-2</c:v>
                </c:pt>
                <c:pt idx="3391">
                  <c:v>2.61244560580738E-2</c:v>
                </c:pt>
                <c:pt idx="3392">
                  <c:v>2.6136349547667002E-2</c:v>
                </c:pt>
                <c:pt idx="3393">
                  <c:v>2.60683803934804E-2</c:v>
                </c:pt>
                <c:pt idx="3394">
                  <c:v>2.6078337494342501E-2</c:v>
                </c:pt>
                <c:pt idx="3395">
                  <c:v>2.60543433795268E-2</c:v>
                </c:pt>
                <c:pt idx="3396">
                  <c:v>2.6071189312000798E-2</c:v>
                </c:pt>
                <c:pt idx="3397">
                  <c:v>2.6060544834885901E-2</c:v>
                </c:pt>
                <c:pt idx="3398">
                  <c:v>2.6038030483977102E-2</c:v>
                </c:pt>
                <c:pt idx="3399">
                  <c:v>2.6033494582467301E-2</c:v>
                </c:pt>
                <c:pt idx="3400">
                  <c:v>2.6029932355156601E-2</c:v>
                </c:pt>
                <c:pt idx="3401">
                  <c:v>2.60100612963882E-2</c:v>
                </c:pt>
                <c:pt idx="3402">
                  <c:v>2.5984437608509998E-2</c:v>
                </c:pt>
                <c:pt idx="3403">
                  <c:v>2.6003558625356499E-2</c:v>
                </c:pt>
                <c:pt idx="3404">
                  <c:v>2.5994904722091199E-2</c:v>
                </c:pt>
                <c:pt idx="3405">
                  <c:v>2.59219059164102E-2</c:v>
                </c:pt>
                <c:pt idx="3406">
                  <c:v>2.58927056284168E-2</c:v>
                </c:pt>
                <c:pt idx="3407">
                  <c:v>2.58792966918702E-2</c:v>
                </c:pt>
                <c:pt idx="3408">
                  <c:v>2.5839726903649E-2</c:v>
                </c:pt>
                <c:pt idx="3409">
                  <c:v>2.5781532065750401E-2</c:v>
                </c:pt>
                <c:pt idx="3410">
                  <c:v>2.57812781907725E-2</c:v>
                </c:pt>
                <c:pt idx="3411">
                  <c:v>2.58072766966717E-2</c:v>
                </c:pt>
                <c:pt idx="3412">
                  <c:v>2.5763757861127199E-2</c:v>
                </c:pt>
                <c:pt idx="3413">
                  <c:v>2.5752881904843501E-2</c:v>
                </c:pt>
                <c:pt idx="3414">
                  <c:v>2.57949498562852E-2</c:v>
                </c:pt>
                <c:pt idx="3415">
                  <c:v>2.58226511185192E-2</c:v>
                </c:pt>
                <c:pt idx="3416">
                  <c:v>2.5815985686199E-2</c:v>
                </c:pt>
                <c:pt idx="3417">
                  <c:v>2.57003481468852E-2</c:v>
                </c:pt>
                <c:pt idx="3418">
                  <c:v>2.56966457461228E-2</c:v>
                </c:pt>
                <c:pt idx="3419">
                  <c:v>2.5675154708680401E-2</c:v>
                </c:pt>
                <c:pt idx="3420">
                  <c:v>2.5645528912417899E-2</c:v>
                </c:pt>
                <c:pt idx="3421">
                  <c:v>2.5574238845911298E-2</c:v>
                </c:pt>
                <c:pt idx="3422">
                  <c:v>2.5560696661205098E-2</c:v>
                </c:pt>
                <c:pt idx="3423">
                  <c:v>2.5559186125793502E-2</c:v>
                </c:pt>
                <c:pt idx="3424">
                  <c:v>2.5562525614660599E-2</c:v>
                </c:pt>
                <c:pt idx="3425">
                  <c:v>2.5543469032254899E-2</c:v>
                </c:pt>
                <c:pt idx="3426">
                  <c:v>2.554183735341E-2</c:v>
                </c:pt>
                <c:pt idx="3427">
                  <c:v>2.5444135239189401E-2</c:v>
                </c:pt>
                <c:pt idx="3428">
                  <c:v>2.5441442096791701E-2</c:v>
                </c:pt>
                <c:pt idx="3429">
                  <c:v>2.5410814134740601E-2</c:v>
                </c:pt>
                <c:pt idx="3430">
                  <c:v>2.5364500762862199E-2</c:v>
                </c:pt>
                <c:pt idx="3431">
                  <c:v>2.53828788804452E-2</c:v>
                </c:pt>
                <c:pt idx="3432">
                  <c:v>2.5347178344006901E-2</c:v>
                </c:pt>
                <c:pt idx="3433">
                  <c:v>2.5348324843566999E-2</c:v>
                </c:pt>
                <c:pt idx="3434">
                  <c:v>2.49900610208268E-2</c:v>
                </c:pt>
                <c:pt idx="3435">
                  <c:v>2.49895128102786E-2</c:v>
                </c:pt>
                <c:pt idx="3436">
                  <c:v>2.4793953808473601E-2</c:v>
                </c:pt>
                <c:pt idx="3437">
                  <c:v>2.4766143293198602E-2</c:v>
                </c:pt>
                <c:pt idx="3438">
                  <c:v>2.4835631108184701E-2</c:v>
                </c:pt>
                <c:pt idx="3439">
                  <c:v>2.4830678384371099E-2</c:v>
                </c:pt>
                <c:pt idx="3440">
                  <c:v>2.4838450069081301E-2</c:v>
                </c:pt>
                <c:pt idx="3441">
                  <c:v>2.4788095651958698E-2</c:v>
                </c:pt>
                <c:pt idx="3442">
                  <c:v>2.4790586668914E-2</c:v>
                </c:pt>
                <c:pt idx="3443">
                  <c:v>2.47912336018987E-2</c:v>
                </c:pt>
                <c:pt idx="3444">
                  <c:v>2.4791010047727401E-2</c:v>
                </c:pt>
                <c:pt idx="3445">
                  <c:v>2.4796246555203998E-2</c:v>
                </c:pt>
                <c:pt idx="3446">
                  <c:v>2.47662971352615E-2</c:v>
                </c:pt>
                <c:pt idx="3447">
                  <c:v>2.4710656488001099E-2</c:v>
                </c:pt>
                <c:pt idx="3448">
                  <c:v>2.47093154289822E-2</c:v>
                </c:pt>
                <c:pt idx="3449">
                  <c:v>2.4586340568012399E-2</c:v>
                </c:pt>
                <c:pt idx="3450">
                  <c:v>2.4296991292093499E-2</c:v>
                </c:pt>
                <c:pt idx="3451">
                  <c:v>2.4205974831596099E-2</c:v>
                </c:pt>
                <c:pt idx="3452">
                  <c:v>2.4169053170036901E-2</c:v>
                </c:pt>
                <c:pt idx="3453">
                  <c:v>2.4095099930881402E-2</c:v>
                </c:pt>
                <c:pt idx="3454">
                  <c:v>2.3548162198715101E-2</c:v>
                </c:pt>
                <c:pt idx="3455">
                  <c:v>2.3457695979663299E-2</c:v>
                </c:pt>
                <c:pt idx="3456">
                  <c:v>2.3079787812463899E-2</c:v>
                </c:pt>
                <c:pt idx="3457">
                  <c:v>2.28698871040935E-2</c:v>
                </c:pt>
                <c:pt idx="3458">
                  <c:v>2.2772223980476999E-2</c:v>
                </c:pt>
                <c:pt idx="3459">
                  <c:v>2.2551257783507601E-2</c:v>
                </c:pt>
                <c:pt idx="3460">
                  <c:v>2.2475866745879002E-2</c:v>
                </c:pt>
                <c:pt idx="3461">
                  <c:v>2.2450013872431299E-2</c:v>
                </c:pt>
                <c:pt idx="3462">
                  <c:v>2.2016900461369001E-2</c:v>
                </c:pt>
                <c:pt idx="3463">
                  <c:v>2.16572383636945E-2</c:v>
                </c:pt>
                <c:pt idx="3464">
                  <c:v>2.1395880310283898E-2</c:v>
                </c:pt>
                <c:pt idx="3465">
                  <c:v>2.1331345571327501E-2</c:v>
                </c:pt>
                <c:pt idx="3466">
                  <c:v>2.1284648780421599E-2</c:v>
                </c:pt>
                <c:pt idx="3467">
                  <c:v>2.1173437913107902E-2</c:v>
                </c:pt>
                <c:pt idx="3468">
                  <c:v>2.1167194344280299E-2</c:v>
                </c:pt>
                <c:pt idx="3469">
                  <c:v>2.1040015245518701E-2</c:v>
                </c:pt>
                <c:pt idx="3470">
                  <c:v>2.1060052995867402E-2</c:v>
                </c:pt>
                <c:pt idx="3471">
                  <c:v>2.1059892238620401E-2</c:v>
                </c:pt>
                <c:pt idx="3472">
                  <c:v>2.1061559547214299E-2</c:v>
                </c:pt>
                <c:pt idx="3473">
                  <c:v>2.1014604992314001E-2</c:v>
                </c:pt>
                <c:pt idx="3474">
                  <c:v>2.09907235451228E-2</c:v>
                </c:pt>
                <c:pt idx="3475">
                  <c:v>2.02262553284644E-2</c:v>
                </c:pt>
                <c:pt idx="3476">
                  <c:v>2.0227067034779399E-2</c:v>
                </c:pt>
                <c:pt idx="3477">
                  <c:v>2.0128211749101201E-2</c:v>
                </c:pt>
                <c:pt idx="3478">
                  <c:v>2.0053984936643499E-2</c:v>
                </c:pt>
                <c:pt idx="3479">
                  <c:v>2.0059781538388E-2</c:v>
                </c:pt>
                <c:pt idx="3480">
                  <c:v>2.0059495591645E-2</c:v>
                </c:pt>
                <c:pt idx="3481">
                  <c:v>1.9961645903483899E-2</c:v>
                </c:pt>
                <c:pt idx="3482">
                  <c:v>1.9958844771083301E-2</c:v>
                </c:pt>
                <c:pt idx="3483">
                  <c:v>2.0043263280856899E-2</c:v>
                </c:pt>
                <c:pt idx="3484">
                  <c:v>2.0004951036526698E-2</c:v>
                </c:pt>
                <c:pt idx="3485">
                  <c:v>1.9799952965561099E-2</c:v>
                </c:pt>
                <c:pt idx="3486">
                  <c:v>1.9798975082056799E-2</c:v>
                </c:pt>
                <c:pt idx="3487">
                  <c:v>1.9784993562920301E-2</c:v>
                </c:pt>
                <c:pt idx="3488">
                  <c:v>1.9766829210492401E-2</c:v>
                </c:pt>
                <c:pt idx="3489">
                  <c:v>1.9767358328993598E-2</c:v>
                </c:pt>
                <c:pt idx="3490">
                  <c:v>1.9767794546361499E-2</c:v>
                </c:pt>
                <c:pt idx="3491">
                  <c:v>1.9360873546607E-2</c:v>
                </c:pt>
                <c:pt idx="3492">
                  <c:v>1.9333082455748399E-2</c:v>
                </c:pt>
                <c:pt idx="3493">
                  <c:v>1.9226280641891899E-2</c:v>
                </c:pt>
                <c:pt idx="3494">
                  <c:v>1.9000760449767999E-2</c:v>
                </c:pt>
                <c:pt idx="3495">
                  <c:v>1.8098722579754301E-2</c:v>
                </c:pt>
                <c:pt idx="3496">
                  <c:v>1.7490635470460401E-2</c:v>
                </c:pt>
                <c:pt idx="3497">
                  <c:v>1.74878257049275E-2</c:v>
                </c:pt>
                <c:pt idx="3498">
                  <c:v>1.7103935504364301E-2</c:v>
                </c:pt>
                <c:pt idx="3499">
                  <c:v>1.6904333086398899E-2</c:v>
                </c:pt>
                <c:pt idx="3500">
                  <c:v>1.68981306466474E-2</c:v>
                </c:pt>
                <c:pt idx="3501">
                  <c:v>1.68979452043754E-2</c:v>
                </c:pt>
                <c:pt idx="3502">
                  <c:v>1.6902687614042601E-2</c:v>
                </c:pt>
                <c:pt idx="3503">
                  <c:v>1.67917022521634E-2</c:v>
                </c:pt>
                <c:pt idx="3504">
                  <c:v>1.6714362178370901E-2</c:v>
                </c:pt>
                <c:pt idx="3505">
                  <c:v>1.6673549569856901E-2</c:v>
                </c:pt>
                <c:pt idx="3506">
                  <c:v>1.6662668538470499E-2</c:v>
                </c:pt>
                <c:pt idx="3507">
                  <c:v>1.6661922301241298E-2</c:v>
                </c:pt>
                <c:pt idx="3508">
                  <c:v>1.6615285452503001E-2</c:v>
                </c:pt>
                <c:pt idx="3509">
                  <c:v>1.6425934279076501E-2</c:v>
                </c:pt>
                <c:pt idx="3510">
                  <c:v>1.61380973329792E-2</c:v>
                </c:pt>
                <c:pt idx="3511">
                  <c:v>1.61136739811206E-2</c:v>
                </c:pt>
                <c:pt idx="3512">
                  <c:v>1.61162742034625E-2</c:v>
                </c:pt>
                <c:pt idx="3513">
                  <c:v>1.60795066266054E-2</c:v>
                </c:pt>
                <c:pt idx="3514">
                  <c:v>1.6070831642145799E-2</c:v>
                </c:pt>
                <c:pt idx="3515">
                  <c:v>1.60058076635579E-2</c:v>
                </c:pt>
                <c:pt idx="3516">
                  <c:v>1.6019441862068402E-2</c:v>
                </c:pt>
                <c:pt idx="3517">
                  <c:v>1.5987779937163001E-2</c:v>
                </c:pt>
                <c:pt idx="3518">
                  <c:v>1.5986983681818501E-2</c:v>
                </c:pt>
                <c:pt idx="3519">
                  <c:v>1.5936653637185098E-2</c:v>
                </c:pt>
                <c:pt idx="3520">
                  <c:v>1.59298144435112E-2</c:v>
                </c:pt>
                <c:pt idx="3521">
                  <c:v>1.5834687531264199E-2</c:v>
                </c:pt>
                <c:pt idx="3522">
                  <c:v>1.58347441392345E-2</c:v>
                </c:pt>
                <c:pt idx="3523">
                  <c:v>1.5706358145867901E-2</c:v>
                </c:pt>
                <c:pt idx="3524">
                  <c:v>1.5706404992805501E-2</c:v>
                </c:pt>
                <c:pt idx="3525">
                  <c:v>1.5691290573597499E-2</c:v>
                </c:pt>
                <c:pt idx="3526">
                  <c:v>1.5638798061459801E-2</c:v>
                </c:pt>
                <c:pt idx="3527">
                  <c:v>1.56149413210476E-2</c:v>
                </c:pt>
                <c:pt idx="3528">
                  <c:v>1.5616566724214799E-2</c:v>
                </c:pt>
                <c:pt idx="3529">
                  <c:v>1.55973267989933E-2</c:v>
                </c:pt>
                <c:pt idx="3530">
                  <c:v>1.5485790955520299E-2</c:v>
                </c:pt>
                <c:pt idx="3531">
                  <c:v>1.5457312624490301E-2</c:v>
                </c:pt>
                <c:pt idx="3532">
                  <c:v>1.54404114005316E-2</c:v>
                </c:pt>
                <c:pt idx="3533">
                  <c:v>1.5443893610408901E-2</c:v>
                </c:pt>
                <c:pt idx="3534">
                  <c:v>1.5456048408951E-2</c:v>
                </c:pt>
                <c:pt idx="3535">
                  <c:v>1.5410925697501699E-2</c:v>
                </c:pt>
                <c:pt idx="3536">
                  <c:v>1.54101698730941E-2</c:v>
                </c:pt>
                <c:pt idx="3537">
                  <c:v>1.5412805276873401E-2</c:v>
                </c:pt>
                <c:pt idx="3538">
                  <c:v>1.53811979319902E-2</c:v>
                </c:pt>
                <c:pt idx="3539">
                  <c:v>1.53966295389088E-2</c:v>
                </c:pt>
                <c:pt idx="3540">
                  <c:v>1.51248873531008E-2</c:v>
                </c:pt>
                <c:pt idx="3541">
                  <c:v>1.5066244598664401E-2</c:v>
                </c:pt>
                <c:pt idx="3542">
                  <c:v>1.49914201707766E-2</c:v>
                </c:pt>
                <c:pt idx="3543">
                  <c:v>1.4969692348451E-2</c:v>
                </c:pt>
                <c:pt idx="3544">
                  <c:v>1.4970244091463801E-2</c:v>
                </c:pt>
                <c:pt idx="3545">
                  <c:v>1.49737175460924E-2</c:v>
                </c:pt>
                <c:pt idx="3546">
                  <c:v>1.49684888786906E-2</c:v>
                </c:pt>
                <c:pt idx="3547">
                  <c:v>1.4956066145197301E-2</c:v>
                </c:pt>
                <c:pt idx="3548">
                  <c:v>1.49532235524699E-2</c:v>
                </c:pt>
                <c:pt idx="3549">
                  <c:v>1.4955545376650401E-2</c:v>
                </c:pt>
                <c:pt idx="3550">
                  <c:v>1.49509384991192E-2</c:v>
                </c:pt>
                <c:pt idx="3551">
                  <c:v>1.49184117171082E-2</c:v>
                </c:pt>
                <c:pt idx="3552">
                  <c:v>1.49279159031987E-2</c:v>
                </c:pt>
                <c:pt idx="3553">
                  <c:v>1.4930836588232001E-2</c:v>
                </c:pt>
                <c:pt idx="3554">
                  <c:v>1.49390721855088E-2</c:v>
                </c:pt>
                <c:pt idx="3555">
                  <c:v>1.49445728811644E-2</c:v>
                </c:pt>
                <c:pt idx="3556">
                  <c:v>1.49778959295227E-2</c:v>
                </c:pt>
                <c:pt idx="3557">
                  <c:v>1.4565670048901001E-2</c:v>
                </c:pt>
                <c:pt idx="3558">
                  <c:v>1.45679285565035E-2</c:v>
                </c:pt>
                <c:pt idx="3559">
                  <c:v>1.4561116215817099E-2</c:v>
                </c:pt>
                <c:pt idx="3560">
                  <c:v>1.43898770753442E-2</c:v>
                </c:pt>
                <c:pt idx="3561">
                  <c:v>1.4463088803194701E-2</c:v>
                </c:pt>
                <c:pt idx="3562">
                  <c:v>1.4413159568659E-2</c:v>
                </c:pt>
                <c:pt idx="3563">
                  <c:v>1.44194151333694E-2</c:v>
                </c:pt>
                <c:pt idx="3564">
                  <c:v>1.43947998125741E-2</c:v>
                </c:pt>
                <c:pt idx="3565">
                  <c:v>1.4393250656955001E-2</c:v>
                </c:pt>
                <c:pt idx="3566">
                  <c:v>1.43949935342889E-2</c:v>
                </c:pt>
                <c:pt idx="3567">
                  <c:v>1.4397434307075499E-2</c:v>
                </c:pt>
                <c:pt idx="3568">
                  <c:v>1.4294914672689899E-2</c:v>
                </c:pt>
                <c:pt idx="3569">
                  <c:v>1.42925157007073E-2</c:v>
                </c:pt>
                <c:pt idx="3570">
                  <c:v>1.43010079018969E-2</c:v>
                </c:pt>
                <c:pt idx="3571">
                  <c:v>1.42515007218246E-2</c:v>
                </c:pt>
                <c:pt idx="3572">
                  <c:v>1.42498179254377E-2</c:v>
                </c:pt>
                <c:pt idx="3573">
                  <c:v>1.41543494318311E-2</c:v>
                </c:pt>
                <c:pt idx="3574">
                  <c:v>1.4152744882040699E-2</c:v>
                </c:pt>
                <c:pt idx="3575">
                  <c:v>1.41548557240328E-2</c:v>
                </c:pt>
                <c:pt idx="3576">
                  <c:v>1.41581943144447E-2</c:v>
                </c:pt>
                <c:pt idx="3577">
                  <c:v>1.41668420062204E-2</c:v>
                </c:pt>
                <c:pt idx="3578">
                  <c:v>1.40490720149326E-2</c:v>
                </c:pt>
                <c:pt idx="3579">
                  <c:v>1.4040363939180201E-2</c:v>
                </c:pt>
                <c:pt idx="3580">
                  <c:v>1.40441173328445E-2</c:v>
                </c:pt>
                <c:pt idx="3581">
                  <c:v>1.4033551778789099E-2</c:v>
                </c:pt>
                <c:pt idx="3582">
                  <c:v>1.32671592280181E-2</c:v>
                </c:pt>
                <c:pt idx="3583">
                  <c:v>1.3269460371802801E-2</c:v>
                </c:pt>
                <c:pt idx="3584">
                  <c:v>1.32225510308822E-2</c:v>
                </c:pt>
                <c:pt idx="3585">
                  <c:v>1.24163417584823E-2</c:v>
                </c:pt>
                <c:pt idx="3586">
                  <c:v>1.23509278837497E-2</c:v>
                </c:pt>
                <c:pt idx="3587">
                  <c:v>1.19111721035625E-2</c:v>
                </c:pt>
                <c:pt idx="3588">
                  <c:v>1.1904379047697301E-2</c:v>
                </c:pt>
                <c:pt idx="3589">
                  <c:v>1.1852958433647901E-2</c:v>
                </c:pt>
                <c:pt idx="3590">
                  <c:v>1.17833847086869E-2</c:v>
                </c:pt>
                <c:pt idx="3591">
                  <c:v>1.1599949159174901E-2</c:v>
                </c:pt>
                <c:pt idx="3592">
                  <c:v>1.15994406322385E-2</c:v>
                </c:pt>
                <c:pt idx="3593">
                  <c:v>1.14565137562402E-2</c:v>
                </c:pt>
                <c:pt idx="3594">
                  <c:v>1.1423596656137E-2</c:v>
                </c:pt>
                <c:pt idx="3595">
                  <c:v>1.1264772209072E-2</c:v>
                </c:pt>
                <c:pt idx="3596">
                  <c:v>1.12480054852302E-2</c:v>
                </c:pt>
                <c:pt idx="3597">
                  <c:v>1.12484736046799E-2</c:v>
                </c:pt>
                <c:pt idx="3598">
                  <c:v>1.05293200335283E-2</c:v>
                </c:pt>
                <c:pt idx="3599">
                  <c:v>1.05299751525332E-2</c:v>
                </c:pt>
                <c:pt idx="3600">
                  <c:v>1.03952443396593E-2</c:v>
                </c:pt>
                <c:pt idx="3601">
                  <c:v>1.0206067644715501E-2</c:v>
                </c:pt>
                <c:pt idx="3602">
                  <c:v>1.01597523071292E-2</c:v>
                </c:pt>
                <c:pt idx="3603">
                  <c:v>1.0085818828402199E-2</c:v>
                </c:pt>
                <c:pt idx="3604">
                  <c:v>1.00889002721819E-2</c:v>
                </c:pt>
                <c:pt idx="3605">
                  <c:v>1.0100645639151799E-2</c:v>
                </c:pt>
                <c:pt idx="3606">
                  <c:v>1.0090338058662E-2</c:v>
                </c:pt>
                <c:pt idx="3607">
                  <c:v>1.00824317838204E-2</c:v>
                </c:pt>
                <c:pt idx="3608">
                  <c:v>9.9123039841481908E-3</c:v>
                </c:pt>
                <c:pt idx="3609">
                  <c:v>9.8990444753749296E-3</c:v>
                </c:pt>
                <c:pt idx="3610">
                  <c:v>9.9109348316489595E-3</c:v>
                </c:pt>
                <c:pt idx="3611">
                  <c:v>9.9110620808310294E-3</c:v>
                </c:pt>
                <c:pt idx="3612">
                  <c:v>9.8185212860419004E-3</c:v>
                </c:pt>
                <c:pt idx="3613">
                  <c:v>9.8089419735329208E-3</c:v>
                </c:pt>
                <c:pt idx="3614">
                  <c:v>9.80260191173986E-3</c:v>
                </c:pt>
                <c:pt idx="3615">
                  <c:v>8.9338854662853791E-3</c:v>
                </c:pt>
                <c:pt idx="3616">
                  <c:v>8.9148072965480694E-3</c:v>
                </c:pt>
                <c:pt idx="3617">
                  <c:v>8.7750892793383595E-3</c:v>
                </c:pt>
                <c:pt idx="3618">
                  <c:v>8.7148400643568703E-3</c:v>
                </c:pt>
                <c:pt idx="3619">
                  <c:v>8.3420029803858396E-3</c:v>
                </c:pt>
                <c:pt idx="3620">
                  <c:v>8.3577377984129092E-3</c:v>
                </c:pt>
                <c:pt idx="3621">
                  <c:v>8.3284632702770797E-3</c:v>
                </c:pt>
                <c:pt idx="3622">
                  <c:v>8.3267501253845005E-3</c:v>
                </c:pt>
                <c:pt idx="3623">
                  <c:v>8.3320237083864806E-3</c:v>
                </c:pt>
                <c:pt idx="3624">
                  <c:v>8.3250625399790504E-3</c:v>
                </c:pt>
                <c:pt idx="3625">
                  <c:v>8.2299135424232697E-3</c:v>
                </c:pt>
                <c:pt idx="3626">
                  <c:v>8.2340857231755007E-3</c:v>
                </c:pt>
                <c:pt idx="3627">
                  <c:v>8.18520035806743E-3</c:v>
                </c:pt>
                <c:pt idx="3628">
                  <c:v>8.1858590654292802E-3</c:v>
                </c:pt>
                <c:pt idx="3629">
                  <c:v>8.1946331039706496E-3</c:v>
                </c:pt>
                <c:pt idx="3630">
                  <c:v>8.1708721269521094E-3</c:v>
                </c:pt>
                <c:pt idx="3631">
                  <c:v>8.1189176995194196E-3</c:v>
                </c:pt>
                <c:pt idx="3632">
                  <c:v>7.9779701735543003E-3</c:v>
                </c:pt>
                <c:pt idx="3633">
                  <c:v>7.9817412558604393E-3</c:v>
                </c:pt>
                <c:pt idx="3634">
                  <c:v>7.9867513661017204E-3</c:v>
                </c:pt>
                <c:pt idx="3635">
                  <c:v>7.9573812424816402E-3</c:v>
                </c:pt>
                <c:pt idx="3636">
                  <c:v>7.9535770827286398E-3</c:v>
                </c:pt>
                <c:pt idx="3637">
                  <c:v>7.9321706034849102E-3</c:v>
                </c:pt>
                <c:pt idx="3638">
                  <c:v>7.9036231543342297E-3</c:v>
                </c:pt>
                <c:pt idx="3639">
                  <c:v>7.7448230454313302E-3</c:v>
                </c:pt>
                <c:pt idx="3640">
                  <c:v>7.7465613649125402E-3</c:v>
                </c:pt>
                <c:pt idx="3641">
                  <c:v>7.7467029222568397E-3</c:v>
                </c:pt>
                <c:pt idx="3642">
                  <c:v>7.7219572772863603E-3</c:v>
                </c:pt>
                <c:pt idx="3643">
                  <c:v>7.7216606257092197E-3</c:v>
                </c:pt>
                <c:pt idx="3644">
                  <c:v>7.6685042585323904E-3</c:v>
                </c:pt>
                <c:pt idx="3645">
                  <c:v>7.6601188197380696E-3</c:v>
                </c:pt>
                <c:pt idx="3646">
                  <c:v>7.6166802052087196E-3</c:v>
                </c:pt>
                <c:pt idx="3647">
                  <c:v>7.61306483922958E-3</c:v>
                </c:pt>
                <c:pt idx="3648">
                  <c:v>7.5978388169324201E-3</c:v>
                </c:pt>
                <c:pt idx="3649">
                  <c:v>7.5949520424484999E-3</c:v>
                </c:pt>
                <c:pt idx="3650">
                  <c:v>7.5947761596567897E-3</c:v>
                </c:pt>
                <c:pt idx="3651">
                  <c:v>7.54502004994101E-3</c:v>
                </c:pt>
                <c:pt idx="3652">
                  <c:v>7.5443196164332203E-3</c:v>
                </c:pt>
                <c:pt idx="3653">
                  <c:v>7.4610237786634399E-3</c:v>
                </c:pt>
                <c:pt idx="3654">
                  <c:v>7.4536013703008098E-3</c:v>
                </c:pt>
                <c:pt idx="3655">
                  <c:v>7.4510005833047796E-3</c:v>
                </c:pt>
                <c:pt idx="3656">
                  <c:v>7.4580647639912699E-3</c:v>
                </c:pt>
                <c:pt idx="3657">
                  <c:v>7.4651985065516896E-3</c:v>
                </c:pt>
                <c:pt idx="3658">
                  <c:v>7.4611767106116701E-3</c:v>
                </c:pt>
                <c:pt idx="3659">
                  <c:v>7.4660281813474496E-3</c:v>
                </c:pt>
                <c:pt idx="3660">
                  <c:v>7.47339255664749E-3</c:v>
                </c:pt>
                <c:pt idx="3661">
                  <c:v>7.4083411975874799E-3</c:v>
                </c:pt>
                <c:pt idx="3662">
                  <c:v>7.4117607802021901E-3</c:v>
                </c:pt>
                <c:pt idx="3663">
                  <c:v>7.4304316298011803E-3</c:v>
                </c:pt>
                <c:pt idx="3664">
                  <c:v>7.2452094942913898E-3</c:v>
                </c:pt>
                <c:pt idx="3665">
                  <c:v>7.1228972934731499E-3</c:v>
                </c:pt>
                <c:pt idx="3666">
                  <c:v>7.1232073048046896E-3</c:v>
                </c:pt>
                <c:pt idx="3667">
                  <c:v>7.1194676805593103E-3</c:v>
                </c:pt>
                <c:pt idx="3668">
                  <c:v>7.1216007140909301E-3</c:v>
                </c:pt>
                <c:pt idx="3669">
                  <c:v>7.1135725399800202E-3</c:v>
                </c:pt>
                <c:pt idx="3670">
                  <c:v>7.1874426764300999E-3</c:v>
                </c:pt>
                <c:pt idx="3671">
                  <c:v>7.18514617601404E-3</c:v>
                </c:pt>
                <c:pt idx="3672">
                  <c:v>7.1765314957312303E-3</c:v>
                </c:pt>
                <c:pt idx="3673">
                  <c:v>7.17521858665034E-3</c:v>
                </c:pt>
                <c:pt idx="3674">
                  <c:v>7.1731785290228001E-3</c:v>
                </c:pt>
                <c:pt idx="3675">
                  <c:v>7.1802566243123903E-3</c:v>
                </c:pt>
                <c:pt idx="3676">
                  <c:v>7.1730880083620699E-3</c:v>
                </c:pt>
                <c:pt idx="3677">
                  <c:v>7.2065212573251798E-3</c:v>
                </c:pt>
                <c:pt idx="3678">
                  <c:v>7.22007045551884E-3</c:v>
                </c:pt>
                <c:pt idx="3679">
                  <c:v>7.2233868411878599E-3</c:v>
                </c:pt>
                <c:pt idx="3680">
                  <c:v>7.2235726414619696E-3</c:v>
                </c:pt>
                <c:pt idx="3681">
                  <c:v>6.9257202952758704E-3</c:v>
                </c:pt>
                <c:pt idx="3682">
                  <c:v>6.97650676727107E-3</c:v>
                </c:pt>
                <c:pt idx="3683">
                  <c:v>6.9772429447399302E-3</c:v>
                </c:pt>
                <c:pt idx="3684">
                  <c:v>6.9678269557699899E-3</c:v>
                </c:pt>
                <c:pt idx="3685">
                  <c:v>6.9895343225355898E-3</c:v>
                </c:pt>
                <c:pt idx="3686">
                  <c:v>6.9909986109560696E-3</c:v>
                </c:pt>
                <c:pt idx="3687">
                  <c:v>7.0206168673150196E-3</c:v>
                </c:pt>
                <c:pt idx="3688">
                  <c:v>6.7229567546453796E-3</c:v>
                </c:pt>
                <c:pt idx="3689">
                  <c:v>6.7420414340396504E-3</c:v>
                </c:pt>
                <c:pt idx="3690">
                  <c:v>6.7374130238570199E-3</c:v>
                </c:pt>
                <c:pt idx="3691">
                  <c:v>6.7203011580196899E-3</c:v>
                </c:pt>
                <c:pt idx="3692">
                  <c:v>6.7359007459361396E-3</c:v>
                </c:pt>
                <c:pt idx="3693">
                  <c:v>6.7450704571924598E-3</c:v>
                </c:pt>
                <c:pt idx="3694">
                  <c:v>6.74333442714005E-3</c:v>
                </c:pt>
                <c:pt idx="3695">
                  <c:v>6.7306281773820602E-3</c:v>
                </c:pt>
                <c:pt idx="3696">
                  <c:v>6.7448121010968099E-3</c:v>
                </c:pt>
                <c:pt idx="3697">
                  <c:v>6.7209537631154398E-3</c:v>
                </c:pt>
                <c:pt idx="3698">
                  <c:v>6.6677191738908001E-3</c:v>
                </c:pt>
                <c:pt idx="3699">
                  <c:v>6.6627082104459903E-3</c:v>
                </c:pt>
                <c:pt idx="3700">
                  <c:v>6.6579217842815102E-3</c:v>
                </c:pt>
                <c:pt idx="3701">
                  <c:v>6.6629167315828998E-3</c:v>
                </c:pt>
                <c:pt idx="3702">
                  <c:v>6.6673547006915902E-3</c:v>
                </c:pt>
                <c:pt idx="3703">
                  <c:v>6.6116301900302696E-3</c:v>
                </c:pt>
                <c:pt idx="3704">
                  <c:v>6.6160119426856602E-3</c:v>
                </c:pt>
                <c:pt idx="3705">
                  <c:v>6.6527997318771501E-3</c:v>
                </c:pt>
                <c:pt idx="3706">
                  <c:v>6.6507309352263301E-3</c:v>
                </c:pt>
                <c:pt idx="3707">
                  <c:v>6.7197669311291402E-3</c:v>
                </c:pt>
                <c:pt idx="3708">
                  <c:v>6.7227040479863097E-3</c:v>
                </c:pt>
                <c:pt idx="3709">
                  <c:v>6.5997121321975296E-3</c:v>
                </c:pt>
                <c:pt idx="3710">
                  <c:v>6.6015471635201299E-3</c:v>
                </c:pt>
                <c:pt idx="3711">
                  <c:v>6.6143945966632501E-3</c:v>
                </c:pt>
                <c:pt idx="3712">
                  <c:v>6.6199220528932699E-3</c:v>
                </c:pt>
                <c:pt idx="3713">
                  <c:v>6.61326992062072E-3</c:v>
                </c:pt>
                <c:pt idx="3714">
                  <c:v>6.6076792121762297E-3</c:v>
                </c:pt>
                <c:pt idx="3715">
                  <c:v>6.6074271832558401E-3</c:v>
                </c:pt>
                <c:pt idx="3716">
                  <c:v>6.6223452637124503E-3</c:v>
                </c:pt>
                <c:pt idx="3717">
                  <c:v>6.60045017925229E-3</c:v>
                </c:pt>
                <c:pt idx="3718">
                  <c:v>6.6269233900736703E-3</c:v>
                </c:pt>
                <c:pt idx="3719">
                  <c:v>6.5985465855864902E-3</c:v>
                </c:pt>
                <c:pt idx="3720">
                  <c:v>6.5230210668492097E-3</c:v>
                </c:pt>
                <c:pt idx="3721">
                  <c:v>6.5232214566095801E-3</c:v>
                </c:pt>
                <c:pt idx="3722">
                  <c:v>6.5125481586556398E-3</c:v>
                </c:pt>
                <c:pt idx="3723">
                  <c:v>6.4936322102858704E-3</c:v>
                </c:pt>
                <c:pt idx="3724">
                  <c:v>6.6034931167942004E-3</c:v>
                </c:pt>
                <c:pt idx="3725">
                  <c:v>6.64937264606305E-3</c:v>
                </c:pt>
                <c:pt idx="3726">
                  <c:v>6.65021417277834E-3</c:v>
                </c:pt>
                <c:pt idx="3727">
                  <c:v>6.6511162343626E-3</c:v>
                </c:pt>
                <c:pt idx="3728">
                  <c:v>6.6363951280066199E-3</c:v>
                </c:pt>
                <c:pt idx="3729">
                  <c:v>6.6237327882630297E-3</c:v>
                </c:pt>
                <c:pt idx="3730">
                  <c:v>6.6213102823190501E-3</c:v>
                </c:pt>
                <c:pt idx="3731">
                  <c:v>6.61903521837247E-3</c:v>
                </c:pt>
                <c:pt idx="3732">
                  <c:v>6.5190579069610097E-3</c:v>
                </c:pt>
                <c:pt idx="3733">
                  <c:v>6.2629390635978903E-3</c:v>
                </c:pt>
                <c:pt idx="3734">
                  <c:v>6.3348843047392996E-3</c:v>
                </c:pt>
                <c:pt idx="3735">
                  <c:v>6.3775804514424796E-3</c:v>
                </c:pt>
                <c:pt idx="3736">
                  <c:v>6.3768380766646097E-3</c:v>
                </c:pt>
                <c:pt idx="3737">
                  <c:v>6.3769039473960997E-3</c:v>
                </c:pt>
                <c:pt idx="3738">
                  <c:v>6.3559674002512797E-3</c:v>
                </c:pt>
                <c:pt idx="3739">
                  <c:v>6.3565479362098698E-3</c:v>
                </c:pt>
                <c:pt idx="3740">
                  <c:v>6.3546924920765699E-3</c:v>
                </c:pt>
                <c:pt idx="3741">
                  <c:v>6.3414671212033502E-3</c:v>
                </c:pt>
                <c:pt idx="3742">
                  <c:v>6.3431390977073E-3</c:v>
                </c:pt>
                <c:pt idx="3743">
                  <c:v>6.3533549187768101E-3</c:v>
                </c:pt>
                <c:pt idx="3744">
                  <c:v>6.3540085857582704E-3</c:v>
                </c:pt>
                <c:pt idx="3745">
                  <c:v>6.3485893505038698E-3</c:v>
                </c:pt>
                <c:pt idx="3746">
                  <c:v>6.3279515598920503E-3</c:v>
                </c:pt>
                <c:pt idx="3747">
                  <c:v>6.3248422979002798E-3</c:v>
                </c:pt>
                <c:pt idx="3748">
                  <c:v>6.3292363893459897E-3</c:v>
                </c:pt>
                <c:pt idx="3749">
                  <c:v>6.3165224364971299E-3</c:v>
                </c:pt>
                <c:pt idx="3750">
                  <c:v>6.3181802006664197E-3</c:v>
                </c:pt>
                <c:pt idx="3751">
                  <c:v>6.3216351576712198E-3</c:v>
                </c:pt>
                <c:pt idx="3752">
                  <c:v>6.3073340173277299E-3</c:v>
                </c:pt>
                <c:pt idx="3753">
                  <c:v>6.2105033222276101E-3</c:v>
                </c:pt>
                <c:pt idx="3754">
                  <c:v>6.2100637867878502E-3</c:v>
                </c:pt>
                <c:pt idx="3755">
                  <c:v>6.2039393437023898E-3</c:v>
                </c:pt>
                <c:pt idx="3756">
                  <c:v>6.1887039396189203E-3</c:v>
                </c:pt>
                <c:pt idx="3757">
                  <c:v>6.1869408198048604E-3</c:v>
                </c:pt>
                <c:pt idx="3758">
                  <c:v>6.18539713567053E-3</c:v>
                </c:pt>
                <c:pt idx="3759">
                  <c:v>6.1731436343261999E-3</c:v>
                </c:pt>
                <c:pt idx="3760">
                  <c:v>6.20453332505198E-3</c:v>
                </c:pt>
                <c:pt idx="3761">
                  <c:v>6.1019762028629897E-3</c:v>
                </c:pt>
                <c:pt idx="3762">
                  <c:v>6.0938276299862901E-3</c:v>
                </c:pt>
                <c:pt idx="3763">
                  <c:v>6.0902166387111099E-3</c:v>
                </c:pt>
                <c:pt idx="3764">
                  <c:v>6.0869381894228299E-3</c:v>
                </c:pt>
                <c:pt idx="3765">
                  <c:v>6.0879961757020797E-3</c:v>
                </c:pt>
                <c:pt idx="3766">
                  <c:v>6.0430083780662197E-3</c:v>
                </c:pt>
                <c:pt idx="3767">
                  <c:v>6.0570045676193304E-3</c:v>
                </c:pt>
                <c:pt idx="3768">
                  <c:v>6.0598676420953301E-3</c:v>
                </c:pt>
                <c:pt idx="3769">
                  <c:v>6.0609569818016098E-3</c:v>
                </c:pt>
                <c:pt idx="3770">
                  <c:v>6.0609641876923004E-3</c:v>
                </c:pt>
                <c:pt idx="3771">
                  <c:v>6.0468863664888996E-3</c:v>
                </c:pt>
                <c:pt idx="3772">
                  <c:v>5.9999018567289996E-3</c:v>
                </c:pt>
                <c:pt idx="3773">
                  <c:v>6.0021458264967404E-3</c:v>
                </c:pt>
                <c:pt idx="3774">
                  <c:v>6.0155251841960697E-3</c:v>
                </c:pt>
                <c:pt idx="3775">
                  <c:v>6.0190379859489298E-3</c:v>
                </c:pt>
                <c:pt idx="3776">
                  <c:v>5.9779138458013002E-3</c:v>
                </c:pt>
                <c:pt idx="3777">
                  <c:v>5.9812046112561901E-3</c:v>
                </c:pt>
                <c:pt idx="3778">
                  <c:v>5.97464047018625E-3</c:v>
                </c:pt>
                <c:pt idx="3779">
                  <c:v>5.9718128969465404E-3</c:v>
                </c:pt>
                <c:pt idx="3780">
                  <c:v>5.9832724456187697E-3</c:v>
                </c:pt>
                <c:pt idx="3781">
                  <c:v>6.0009030238768997E-3</c:v>
                </c:pt>
                <c:pt idx="3782">
                  <c:v>5.9904663241313197E-3</c:v>
                </c:pt>
                <c:pt idx="3783">
                  <c:v>5.9789235880490701E-3</c:v>
                </c:pt>
                <c:pt idx="3784">
                  <c:v>5.9751112985092598E-3</c:v>
                </c:pt>
                <c:pt idx="3785">
                  <c:v>5.9727963565109499E-3</c:v>
                </c:pt>
                <c:pt idx="3786">
                  <c:v>5.9931948062132397E-3</c:v>
                </c:pt>
                <c:pt idx="3787">
                  <c:v>6.0056926461830697E-3</c:v>
                </c:pt>
                <c:pt idx="3788">
                  <c:v>6.0088422662720204E-3</c:v>
                </c:pt>
                <c:pt idx="3789">
                  <c:v>5.9761136628477497E-3</c:v>
                </c:pt>
                <c:pt idx="3790">
                  <c:v>5.9671395750033902E-3</c:v>
                </c:pt>
                <c:pt idx="3791">
                  <c:v>6.0591650631195504E-3</c:v>
                </c:pt>
                <c:pt idx="3792">
                  <c:v>6.05962229408466E-3</c:v>
                </c:pt>
                <c:pt idx="3793">
                  <c:v>6.3666083421411402E-3</c:v>
                </c:pt>
                <c:pt idx="3794">
                  <c:v>6.3660899693449898E-3</c:v>
                </c:pt>
                <c:pt idx="3795">
                  <c:v>6.41536199033476E-3</c:v>
                </c:pt>
                <c:pt idx="3796">
                  <c:v>6.4033998051462203E-3</c:v>
                </c:pt>
                <c:pt idx="3797">
                  <c:v>6.38732524428121E-3</c:v>
                </c:pt>
                <c:pt idx="3798">
                  <c:v>6.43516420971751E-3</c:v>
                </c:pt>
                <c:pt idx="3799">
                  <c:v>6.4334367964829402E-3</c:v>
                </c:pt>
                <c:pt idx="3800">
                  <c:v>6.4161990959735703E-3</c:v>
                </c:pt>
                <c:pt idx="3801">
                  <c:v>6.4197170752929101E-3</c:v>
                </c:pt>
                <c:pt idx="3802">
                  <c:v>6.4148191273378403E-3</c:v>
                </c:pt>
                <c:pt idx="3803">
                  <c:v>6.4384081507853699E-3</c:v>
                </c:pt>
                <c:pt idx="3804">
                  <c:v>6.44067904108752E-3</c:v>
                </c:pt>
                <c:pt idx="3805">
                  <c:v>6.4833615329877598E-3</c:v>
                </c:pt>
                <c:pt idx="3806">
                  <c:v>6.4464265181675296E-3</c:v>
                </c:pt>
                <c:pt idx="3807">
                  <c:v>6.4615841411106998E-3</c:v>
                </c:pt>
                <c:pt idx="3808">
                  <c:v>6.4694384501991003E-3</c:v>
                </c:pt>
                <c:pt idx="3809">
                  <c:v>6.5116364252547597E-3</c:v>
                </c:pt>
                <c:pt idx="3810">
                  <c:v>6.4997640931610604E-3</c:v>
                </c:pt>
                <c:pt idx="3811">
                  <c:v>6.3470729413361796E-3</c:v>
                </c:pt>
                <c:pt idx="3812">
                  <c:v>6.3470551016271198E-3</c:v>
                </c:pt>
                <c:pt idx="3813">
                  <c:v>6.3476879890942001E-3</c:v>
                </c:pt>
                <c:pt idx="3814">
                  <c:v>6.3053920937669698E-3</c:v>
                </c:pt>
                <c:pt idx="3815">
                  <c:v>6.3102002617189696E-3</c:v>
                </c:pt>
                <c:pt idx="3816">
                  <c:v>6.3007484493040498E-3</c:v>
                </c:pt>
                <c:pt idx="3817">
                  <c:v>6.3702706913073897E-3</c:v>
                </c:pt>
                <c:pt idx="3818">
                  <c:v>6.3614544851484101E-3</c:v>
                </c:pt>
                <c:pt idx="3819">
                  <c:v>6.36219160676375E-3</c:v>
                </c:pt>
                <c:pt idx="3820">
                  <c:v>6.3895223455021702E-3</c:v>
                </c:pt>
                <c:pt idx="3821">
                  <c:v>6.39327904735829E-3</c:v>
                </c:pt>
                <c:pt idx="3822">
                  <c:v>6.3945852131531101E-3</c:v>
                </c:pt>
                <c:pt idx="3823">
                  <c:v>6.3865731895972003E-3</c:v>
                </c:pt>
                <c:pt idx="3824">
                  <c:v>6.3907552445113102E-3</c:v>
                </c:pt>
                <c:pt idx="3825">
                  <c:v>6.3997769555271403E-3</c:v>
                </c:pt>
                <c:pt idx="3826">
                  <c:v>6.3796024920103802E-3</c:v>
                </c:pt>
                <c:pt idx="3827">
                  <c:v>6.3653842753295803E-3</c:v>
                </c:pt>
                <c:pt idx="3828">
                  <c:v>6.3693692954938097E-3</c:v>
                </c:pt>
                <c:pt idx="3829">
                  <c:v>6.3545274885244496E-3</c:v>
                </c:pt>
                <c:pt idx="3830">
                  <c:v>6.3647450048889198E-3</c:v>
                </c:pt>
                <c:pt idx="3831">
                  <c:v>6.36617843782786E-3</c:v>
                </c:pt>
                <c:pt idx="3832">
                  <c:v>6.3520281091728904E-3</c:v>
                </c:pt>
                <c:pt idx="3833">
                  <c:v>6.3419406046554497E-3</c:v>
                </c:pt>
                <c:pt idx="3834">
                  <c:v>6.37893281983333E-3</c:v>
                </c:pt>
                <c:pt idx="3835">
                  <c:v>6.4065915861580497E-3</c:v>
                </c:pt>
                <c:pt idx="3836">
                  <c:v>6.4063918382930704E-3</c:v>
                </c:pt>
                <c:pt idx="3837">
                  <c:v>6.4182166538256404E-3</c:v>
                </c:pt>
                <c:pt idx="3838">
                  <c:v>6.4150904784185496E-3</c:v>
                </c:pt>
                <c:pt idx="3839">
                  <c:v>6.5172702393117097E-3</c:v>
                </c:pt>
                <c:pt idx="3840">
                  <c:v>6.5583489313878604E-3</c:v>
                </c:pt>
                <c:pt idx="3841">
                  <c:v>6.5623041241759097E-3</c:v>
                </c:pt>
                <c:pt idx="3842">
                  <c:v>6.5799098511817597E-3</c:v>
                </c:pt>
                <c:pt idx="3843">
                  <c:v>6.5854832116222098E-3</c:v>
                </c:pt>
                <c:pt idx="3844">
                  <c:v>6.5664773283628701E-3</c:v>
                </c:pt>
                <c:pt idx="3845">
                  <c:v>6.8466527894229297E-3</c:v>
                </c:pt>
                <c:pt idx="3846">
                  <c:v>7.0218996025014904E-3</c:v>
                </c:pt>
                <c:pt idx="3847">
                  <c:v>7.0460888740893303E-3</c:v>
                </c:pt>
                <c:pt idx="3848">
                  <c:v>7.5807534581030303E-3</c:v>
                </c:pt>
                <c:pt idx="3849">
                  <c:v>7.6151881789221099E-3</c:v>
                </c:pt>
                <c:pt idx="3850">
                  <c:v>7.63778210247341E-3</c:v>
                </c:pt>
                <c:pt idx="3851">
                  <c:v>7.6519219215204397E-3</c:v>
                </c:pt>
                <c:pt idx="3852">
                  <c:v>7.7584448350725196E-3</c:v>
                </c:pt>
                <c:pt idx="3853">
                  <c:v>7.7559895627987803E-3</c:v>
                </c:pt>
                <c:pt idx="3854">
                  <c:v>7.7758888966582198E-3</c:v>
                </c:pt>
                <c:pt idx="3855">
                  <c:v>7.7864633793494299E-3</c:v>
                </c:pt>
                <c:pt idx="3856">
                  <c:v>7.8071025730499797E-3</c:v>
                </c:pt>
                <c:pt idx="3857">
                  <c:v>7.8150040813076901E-3</c:v>
                </c:pt>
                <c:pt idx="3858">
                  <c:v>7.8271050632932604E-3</c:v>
                </c:pt>
                <c:pt idx="3859">
                  <c:v>7.8270655445606095E-3</c:v>
                </c:pt>
                <c:pt idx="3860">
                  <c:v>7.84118814791873E-3</c:v>
                </c:pt>
                <c:pt idx="3861">
                  <c:v>7.8572560802281696E-3</c:v>
                </c:pt>
                <c:pt idx="3862">
                  <c:v>7.8798048232196303E-3</c:v>
                </c:pt>
                <c:pt idx="3863">
                  <c:v>7.8779416511132305E-3</c:v>
                </c:pt>
                <c:pt idx="3864">
                  <c:v>7.8796354356109998E-3</c:v>
                </c:pt>
                <c:pt idx="3865">
                  <c:v>7.8973535386527398E-3</c:v>
                </c:pt>
                <c:pt idx="3866">
                  <c:v>7.9032933902310892E-3</c:v>
                </c:pt>
                <c:pt idx="3867">
                  <c:v>7.9082059987249202E-3</c:v>
                </c:pt>
                <c:pt idx="3868">
                  <c:v>7.92330461673817E-3</c:v>
                </c:pt>
                <c:pt idx="3869">
                  <c:v>7.9267375460726E-3</c:v>
                </c:pt>
                <c:pt idx="3870">
                  <c:v>7.9101099032989498E-3</c:v>
                </c:pt>
                <c:pt idx="3871">
                  <c:v>7.9155347703580396E-3</c:v>
                </c:pt>
                <c:pt idx="3872">
                  <c:v>7.9440005728110101E-3</c:v>
                </c:pt>
                <c:pt idx="3873">
                  <c:v>8.1580080772287299E-3</c:v>
                </c:pt>
                <c:pt idx="3874">
                  <c:v>8.1411461096596999E-3</c:v>
                </c:pt>
                <c:pt idx="3875">
                  <c:v>8.1571289974097395E-3</c:v>
                </c:pt>
                <c:pt idx="3876">
                  <c:v>8.2376382707196605E-3</c:v>
                </c:pt>
                <c:pt idx="3877">
                  <c:v>8.2711448748633894E-3</c:v>
                </c:pt>
                <c:pt idx="3878">
                  <c:v>8.2691063138880701E-3</c:v>
                </c:pt>
                <c:pt idx="3879">
                  <c:v>8.2583177996859193E-3</c:v>
                </c:pt>
                <c:pt idx="3880">
                  <c:v>8.2659294638806908E-3</c:v>
                </c:pt>
                <c:pt idx="3881">
                  <c:v>8.2654328689664592E-3</c:v>
                </c:pt>
                <c:pt idx="3882">
                  <c:v>8.2648917486153502E-3</c:v>
                </c:pt>
                <c:pt idx="3883">
                  <c:v>8.3302813852105494E-3</c:v>
                </c:pt>
                <c:pt idx="3884">
                  <c:v>8.3253746393777608E-3</c:v>
                </c:pt>
                <c:pt idx="3885">
                  <c:v>8.3100035351348304E-3</c:v>
                </c:pt>
                <c:pt idx="3886">
                  <c:v>8.3220394500936306E-3</c:v>
                </c:pt>
                <c:pt idx="3887">
                  <c:v>8.3879512956116595E-3</c:v>
                </c:pt>
                <c:pt idx="3888">
                  <c:v>8.4473424598170699E-3</c:v>
                </c:pt>
                <c:pt idx="3889">
                  <c:v>8.44955859991494E-3</c:v>
                </c:pt>
                <c:pt idx="3890">
                  <c:v>8.4806140324838099E-3</c:v>
                </c:pt>
                <c:pt idx="3891">
                  <c:v>8.5250609006025605E-3</c:v>
                </c:pt>
                <c:pt idx="3892">
                  <c:v>8.5091056956455597E-3</c:v>
                </c:pt>
                <c:pt idx="3893">
                  <c:v>8.6011308365550702E-3</c:v>
                </c:pt>
                <c:pt idx="3894">
                  <c:v>8.5986640328805999E-3</c:v>
                </c:pt>
                <c:pt idx="3895">
                  <c:v>8.6822536553621595E-3</c:v>
                </c:pt>
                <c:pt idx="3896">
                  <c:v>8.6781706067006002E-3</c:v>
                </c:pt>
                <c:pt idx="3897">
                  <c:v>8.6783475240825997E-3</c:v>
                </c:pt>
                <c:pt idx="3898">
                  <c:v>8.6646937904941296E-3</c:v>
                </c:pt>
                <c:pt idx="3899">
                  <c:v>8.6696958900714001E-3</c:v>
                </c:pt>
                <c:pt idx="3900">
                  <c:v>8.7233419037592106E-3</c:v>
                </c:pt>
                <c:pt idx="3901">
                  <c:v>8.7515894332363692E-3</c:v>
                </c:pt>
                <c:pt idx="3902">
                  <c:v>8.7513669178352904E-3</c:v>
                </c:pt>
                <c:pt idx="3903">
                  <c:v>8.7528757647061597E-3</c:v>
                </c:pt>
                <c:pt idx="3904">
                  <c:v>8.7558447718386005E-3</c:v>
                </c:pt>
                <c:pt idx="3905">
                  <c:v>8.7715513833409794E-3</c:v>
                </c:pt>
                <c:pt idx="3906">
                  <c:v>8.7626544637803006E-3</c:v>
                </c:pt>
                <c:pt idx="3907">
                  <c:v>8.7662043819226199E-3</c:v>
                </c:pt>
                <c:pt idx="3908">
                  <c:v>8.7794870207869892E-3</c:v>
                </c:pt>
                <c:pt idx="3909">
                  <c:v>8.7941040803929393E-3</c:v>
                </c:pt>
                <c:pt idx="3910">
                  <c:v>8.7920050326733695E-3</c:v>
                </c:pt>
                <c:pt idx="3911">
                  <c:v>8.7821503768437306E-3</c:v>
                </c:pt>
                <c:pt idx="3912">
                  <c:v>8.8230176801665002E-3</c:v>
                </c:pt>
                <c:pt idx="3913">
                  <c:v>8.8209979841542396E-3</c:v>
                </c:pt>
                <c:pt idx="3914">
                  <c:v>8.8154543339808693E-3</c:v>
                </c:pt>
                <c:pt idx="3915">
                  <c:v>8.8153920507166895E-3</c:v>
                </c:pt>
                <c:pt idx="3916">
                  <c:v>8.8300689032243997E-3</c:v>
                </c:pt>
                <c:pt idx="3917">
                  <c:v>8.9370194268430497E-3</c:v>
                </c:pt>
                <c:pt idx="3918">
                  <c:v>9.0294097788192699E-3</c:v>
                </c:pt>
                <c:pt idx="3919">
                  <c:v>9.0465702039833999E-3</c:v>
                </c:pt>
                <c:pt idx="3920">
                  <c:v>8.9986006105912397E-3</c:v>
                </c:pt>
                <c:pt idx="3921">
                  <c:v>9.0178771153444897E-3</c:v>
                </c:pt>
                <c:pt idx="3922">
                  <c:v>9.0169707739525904E-3</c:v>
                </c:pt>
                <c:pt idx="3923">
                  <c:v>9.0176509191023692E-3</c:v>
                </c:pt>
                <c:pt idx="3924">
                  <c:v>9.0574473130205103E-3</c:v>
                </c:pt>
                <c:pt idx="3925">
                  <c:v>9.0508960623123108E-3</c:v>
                </c:pt>
                <c:pt idx="3926">
                  <c:v>9.0718186694684708E-3</c:v>
                </c:pt>
                <c:pt idx="3927">
                  <c:v>9.0663532845579094E-3</c:v>
                </c:pt>
                <c:pt idx="3928">
                  <c:v>9.05819668044602E-3</c:v>
                </c:pt>
                <c:pt idx="3929">
                  <c:v>9.0613036003804499E-3</c:v>
                </c:pt>
                <c:pt idx="3930">
                  <c:v>9.3441547914153208E-3</c:v>
                </c:pt>
                <c:pt idx="3931">
                  <c:v>9.3464182775065199E-3</c:v>
                </c:pt>
                <c:pt idx="3932">
                  <c:v>9.33861742292969E-3</c:v>
                </c:pt>
                <c:pt idx="3933">
                  <c:v>9.3418863125805402E-3</c:v>
                </c:pt>
                <c:pt idx="3934">
                  <c:v>9.3796014208453703E-3</c:v>
                </c:pt>
                <c:pt idx="3935">
                  <c:v>9.3735071180288797E-3</c:v>
                </c:pt>
                <c:pt idx="3936">
                  <c:v>9.4622482198794804E-3</c:v>
                </c:pt>
                <c:pt idx="3937">
                  <c:v>9.4550990180718893E-3</c:v>
                </c:pt>
                <c:pt idx="3938">
                  <c:v>9.5905933672714508E-3</c:v>
                </c:pt>
                <c:pt idx="3939">
                  <c:v>9.7551249836099994E-3</c:v>
                </c:pt>
                <c:pt idx="3940">
                  <c:v>9.7221114397497508E-3</c:v>
                </c:pt>
                <c:pt idx="3941">
                  <c:v>9.7566751559448207E-3</c:v>
                </c:pt>
                <c:pt idx="3942">
                  <c:v>9.7526752914913993E-3</c:v>
                </c:pt>
                <c:pt idx="3943">
                  <c:v>9.7542689871250206E-3</c:v>
                </c:pt>
                <c:pt idx="3944">
                  <c:v>9.9127228696631806E-3</c:v>
                </c:pt>
                <c:pt idx="3945">
                  <c:v>9.9106498490398598E-3</c:v>
                </c:pt>
                <c:pt idx="3946">
                  <c:v>9.9568294261066694E-3</c:v>
                </c:pt>
                <c:pt idx="3947">
                  <c:v>1.0025451545771001E-2</c:v>
                </c:pt>
                <c:pt idx="3948">
                  <c:v>1.00279267199898E-2</c:v>
                </c:pt>
                <c:pt idx="3949">
                  <c:v>1.00342951971667E-2</c:v>
                </c:pt>
                <c:pt idx="3950">
                  <c:v>1.0042314648717399E-2</c:v>
                </c:pt>
                <c:pt idx="3951">
                  <c:v>1.0042462895187799E-2</c:v>
                </c:pt>
                <c:pt idx="3952">
                  <c:v>1.00407281357434E-2</c:v>
                </c:pt>
                <c:pt idx="3953">
                  <c:v>1.0099483797912701E-2</c:v>
                </c:pt>
                <c:pt idx="3954">
                  <c:v>1.0113508252252301E-2</c:v>
                </c:pt>
                <c:pt idx="3955">
                  <c:v>1.0141342893937901E-2</c:v>
                </c:pt>
                <c:pt idx="3956">
                  <c:v>1.01413136532294E-2</c:v>
                </c:pt>
                <c:pt idx="3957">
                  <c:v>1.01097786504227E-2</c:v>
                </c:pt>
                <c:pt idx="3958">
                  <c:v>1.01078699192643E-2</c:v>
                </c:pt>
                <c:pt idx="3959">
                  <c:v>1.01035204533832E-2</c:v>
                </c:pt>
                <c:pt idx="3960">
                  <c:v>1.01001656510809E-2</c:v>
                </c:pt>
                <c:pt idx="3961">
                  <c:v>1.0171190851139199E-2</c:v>
                </c:pt>
                <c:pt idx="3962">
                  <c:v>1.02646146052797E-2</c:v>
                </c:pt>
                <c:pt idx="3963">
                  <c:v>1.0315096162092301E-2</c:v>
                </c:pt>
                <c:pt idx="3964">
                  <c:v>1.03425037381877E-2</c:v>
                </c:pt>
                <c:pt idx="3965">
                  <c:v>1.0503019715092401E-2</c:v>
                </c:pt>
                <c:pt idx="3966">
                  <c:v>1.05347903893488E-2</c:v>
                </c:pt>
                <c:pt idx="3967">
                  <c:v>1.06543384418828E-2</c:v>
                </c:pt>
                <c:pt idx="3968">
                  <c:v>1.06421848267994E-2</c:v>
                </c:pt>
                <c:pt idx="3969">
                  <c:v>1.0640261885489499E-2</c:v>
                </c:pt>
                <c:pt idx="3970">
                  <c:v>1.0638760941823099E-2</c:v>
                </c:pt>
                <c:pt idx="3971">
                  <c:v>1.0744786802898599E-2</c:v>
                </c:pt>
                <c:pt idx="3972">
                  <c:v>1.07479706378889E-2</c:v>
                </c:pt>
                <c:pt idx="3973">
                  <c:v>1.0781913443665201E-2</c:v>
                </c:pt>
                <c:pt idx="3974">
                  <c:v>1.0747877182563001E-2</c:v>
                </c:pt>
                <c:pt idx="3975">
                  <c:v>1.0778248855249599E-2</c:v>
                </c:pt>
                <c:pt idx="3976">
                  <c:v>1.07809875879076E-2</c:v>
                </c:pt>
                <c:pt idx="3977">
                  <c:v>1.07839811713446E-2</c:v>
                </c:pt>
                <c:pt idx="3978">
                  <c:v>1.0778502627318E-2</c:v>
                </c:pt>
                <c:pt idx="3979">
                  <c:v>1.08898030997673E-2</c:v>
                </c:pt>
                <c:pt idx="3980">
                  <c:v>1.0886077643132701E-2</c:v>
                </c:pt>
                <c:pt idx="3981">
                  <c:v>1.0886332729769899E-2</c:v>
                </c:pt>
                <c:pt idx="3982">
                  <c:v>1.0904744357653101E-2</c:v>
                </c:pt>
                <c:pt idx="3983">
                  <c:v>1.09033732139512E-2</c:v>
                </c:pt>
                <c:pt idx="3984">
                  <c:v>1.0853792893564E-2</c:v>
                </c:pt>
                <c:pt idx="3985">
                  <c:v>1.0855196407930799E-2</c:v>
                </c:pt>
                <c:pt idx="3986">
                  <c:v>1.0922550268857001E-2</c:v>
                </c:pt>
                <c:pt idx="3987">
                  <c:v>1.0941320312402801E-2</c:v>
                </c:pt>
                <c:pt idx="3988">
                  <c:v>1.0944972853375401E-2</c:v>
                </c:pt>
                <c:pt idx="3989">
                  <c:v>1.09792350258037E-2</c:v>
                </c:pt>
                <c:pt idx="3990">
                  <c:v>1.0975556729703601E-2</c:v>
                </c:pt>
                <c:pt idx="3991">
                  <c:v>1.0980051816717899E-2</c:v>
                </c:pt>
                <c:pt idx="3992">
                  <c:v>1.1003720692548799E-2</c:v>
                </c:pt>
                <c:pt idx="3993">
                  <c:v>1.10011935514868E-2</c:v>
                </c:pt>
                <c:pt idx="3994">
                  <c:v>1.10226155366291E-2</c:v>
                </c:pt>
                <c:pt idx="3995">
                  <c:v>1.10995705827355E-2</c:v>
                </c:pt>
                <c:pt idx="3996">
                  <c:v>1.1130802292725801E-2</c:v>
                </c:pt>
                <c:pt idx="3997">
                  <c:v>1.11302127658783E-2</c:v>
                </c:pt>
                <c:pt idx="3998">
                  <c:v>1.1294338722864301E-2</c:v>
                </c:pt>
                <c:pt idx="3999">
                  <c:v>1.1307225375497E-2</c:v>
                </c:pt>
                <c:pt idx="4000">
                  <c:v>1.13284362460674E-2</c:v>
                </c:pt>
                <c:pt idx="4001">
                  <c:v>1.1329624855964201E-2</c:v>
                </c:pt>
                <c:pt idx="4002">
                  <c:v>1.1348404372737601E-2</c:v>
                </c:pt>
                <c:pt idx="4003">
                  <c:v>1.16775951256687E-2</c:v>
                </c:pt>
                <c:pt idx="4004">
                  <c:v>1.16775352239821E-2</c:v>
                </c:pt>
                <c:pt idx="4005">
                  <c:v>1.16743109448408E-2</c:v>
                </c:pt>
                <c:pt idx="4006">
                  <c:v>1.20713805231242E-2</c:v>
                </c:pt>
                <c:pt idx="4007">
                  <c:v>1.2111603969712999E-2</c:v>
                </c:pt>
                <c:pt idx="4008">
                  <c:v>1.21406353368492E-2</c:v>
                </c:pt>
                <c:pt idx="4009">
                  <c:v>1.2146273190565699E-2</c:v>
                </c:pt>
                <c:pt idx="4010">
                  <c:v>1.2126374428817E-2</c:v>
                </c:pt>
                <c:pt idx="4011">
                  <c:v>1.22126040533895E-2</c:v>
                </c:pt>
                <c:pt idx="4012">
                  <c:v>1.2359161948779901E-2</c:v>
                </c:pt>
                <c:pt idx="4013">
                  <c:v>1.2654919717714401E-2</c:v>
                </c:pt>
                <c:pt idx="4014">
                  <c:v>1.2761602745370601E-2</c:v>
                </c:pt>
                <c:pt idx="4015">
                  <c:v>1.2762261912280901E-2</c:v>
                </c:pt>
                <c:pt idx="4016">
                  <c:v>1.27633536131798E-2</c:v>
                </c:pt>
                <c:pt idx="4017">
                  <c:v>1.27563187694145E-2</c:v>
                </c:pt>
                <c:pt idx="4018">
                  <c:v>1.2896678990163999E-2</c:v>
                </c:pt>
                <c:pt idx="4019">
                  <c:v>1.29181290759838E-2</c:v>
                </c:pt>
                <c:pt idx="4020">
                  <c:v>1.29516337131512E-2</c:v>
                </c:pt>
                <c:pt idx="4021">
                  <c:v>1.29518436458893E-2</c:v>
                </c:pt>
                <c:pt idx="4022">
                  <c:v>1.31452440860934E-2</c:v>
                </c:pt>
                <c:pt idx="4023">
                  <c:v>1.3150273040892901E-2</c:v>
                </c:pt>
                <c:pt idx="4024">
                  <c:v>1.3144855597005E-2</c:v>
                </c:pt>
                <c:pt idx="4025">
                  <c:v>1.31490953564586E-2</c:v>
                </c:pt>
                <c:pt idx="4026">
                  <c:v>1.31496804040129E-2</c:v>
                </c:pt>
                <c:pt idx="4027">
                  <c:v>1.3176278726610801E-2</c:v>
                </c:pt>
                <c:pt idx="4028">
                  <c:v>1.32008233469011E-2</c:v>
                </c:pt>
                <c:pt idx="4029">
                  <c:v>1.3218773936854999E-2</c:v>
                </c:pt>
                <c:pt idx="4030">
                  <c:v>1.3222124068418099E-2</c:v>
                </c:pt>
                <c:pt idx="4031">
                  <c:v>1.3233142556805501E-2</c:v>
                </c:pt>
                <c:pt idx="4032">
                  <c:v>1.32378158485315E-2</c:v>
                </c:pt>
                <c:pt idx="4033">
                  <c:v>1.32510827912629E-2</c:v>
                </c:pt>
                <c:pt idx="4034">
                  <c:v>1.3313235540598401E-2</c:v>
                </c:pt>
                <c:pt idx="4035">
                  <c:v>1.3311443718881299E-2</c:v>
                </c:pt>
                <c:pt idx="4036">
                  <c:v>1.33071619332705E-2</c:v>
                </c:pt>
                <c:pt idx="4037">
                  <c:v>1.33713576885363E-2</c:v>
                </c:pt>
                <c:pt idx="4038">
                  <c:v>1.33599578794171E-2</c:v>
                </c:pt>
                <c:pt idx="4039">
                  <c:v>1.33563071341261E-2</c:v>
                </c:pt>
                <c:pt idx="4040">
                  <c:v>1.338030785086E-2</c:v>
                </c:pt>
                <c:pt idx="4041">
                  <c:v>1.33487042754522E-2</c:v>
                </c:pt>
                <c:pt idx="4042">
                  <c:v>1.33694948064645E-2</c:v>
                </c:pt>
                <c:pt idx="4043">
                  <c:v>1.3364744271604299E-2</c:v>
                </c:pt>
                <c:pt idx="4044">
                  <c:v>1.33658084133675E-2</c:v>
                </c:pt>
                <c:pt idx="4045">
                  <c:v>1.3344962514913799E-2</c:v>
                </c:pt>
                <c:pt idx="4046">
                  <c:v>1.3409933941568201E-2</c:v>
                </c:pt>
                <c:pt idx="4047">
                  <c:v>1.3410033358400301E-2</c:v>
                </c:pt>
                <c:pt idx="4048">
                  <c:v>1.34094206976762E-2</c:v>
                </c:pt>
                <c:pt idx="4049">
                  <c:v>1.34141802672465E-2</c:v>
                </c:pt>
                <c:pt idx="4050">
                  <c:v>1.34114220378486E-2</c:v>
                </c:pt>
                <c:pt idx="4051">
                  <c:v>1.34453208555197E-2</c:v>
                </c:pt>
                <c:pt idx="4052">
                  <c:v>1.3479197500990201E-2</c:v>
                </c:pt>
                <c:pt idx="4053">
                  <c:v>1.3463501398614399E-2</c:v>
                </c:pt>
                <c:pt idx="4054">
                  <c:v>1.34646500476005E-2</c:v>
                </c:pt>
                <c:pt idx="4055">
                  <c:v>1.34372301258892E-2</c:v>
                </c:pt>
                <c:pt idx="4056">
                  <c:v>1.34217287157175E-2</c:v>
                </c:pt>
                <c:pt idx="4057">
                  <c:v>1.3427314898703999E-2</c:v>
                </c:pt>
                <c:pt idx="4058">
                  <c:v>1.3426337532387801E-2</c:v>
                </c:pt>
                <c:pt idx="4059">
                  <c:v>1.34158049677475E-2</c:v>
                </c:pt>
                <c:pt idx="4060">
                  <c:v>1.3417389186049501E-2</c:v>
                </c:pt>
                <c:pt idx="4061">
                  <c:v>1.3390576349611501E-2</c:v>
                </c:pt>
                <c:pt idx="4062">
                  <c:v>1.3399919675503301E-2</c:v>
                </c:pt>
                <c:pt idx="4063">
                  <c:v>1.34071360814803E-2</c:v>
                </c:pt>
                <c:pt idx="4064">
                  <c:v>1.3406548882733901E-2</c:v>
                </c:pt>
                <c:pt idx="4065">
                  <c:v>1.34982849592458E-2</c:v>
                </c:pt>
                <c:pt idx="4066">
                  <c:v>1.35034473617698E-2</c:v>
                </c:pt>
                <c:pt idx="4067">
                  <c:v>1.3472698948595299E-2</c:v>
                </c:pt>
                <c:pt idx="4068">
                  <c:v>1.34816240552186E-2</c:v>
                </c:pt>
                <c:pt idx="4069">
                  <c:v>1.3479283658248201E-2</c:v>
                </c:pt>
                <c:pt idx="4070">
                  <c:v>1.3455776210059099E-2</c:v>
                </c:pt>
                <c:pt idx="4071">
                  <c:v>1.34571426418336E-2</c:v>
                </c:pt>
                <c:pt idx="4072">
                  <c:v>1.35158952024298E-2</c:v>
                </c:pt>
                <c:pt idx="4073">
                  <c:v>1.35143160867975E-2</c:v>
                </c:pt>
                <c:pt idx="4074">
                  <c:v>1.3511270839174999E-2</c:v>
                </c:pt>
                <c:pt idx="4075">
                  <c:v>1.35562676578408E-2</c:v>
                </c:pt>
                <c:pt idx="4076">
                  <c:v>1.3558228086165599E-2</c:v>
                </c:pt>
                <c:pt idx="4077">
                  <c:v>1.35803245394348E-2</c:v>
                </c:pt>
                <c:pt idx="4078">
                  <c:v>1.35754143211156E-2</c:v>
                </c:pt>
                <c:pt idx="4079">
                  <c:v>1.3582034975674499E-2</c:v>
                </c:pt>
                <c:pt idx="4080">
                  <c:v>1.35827533727898E-2</c:v>
                </c:pt>
                <c:pt idx="4081">
                  <c:v>1.3582643922328301E-2</c:v>
                </c:pt>
                <c:pt idx="4082">
                  <c:v>1.3578951076161101E-2</c:v>
                </c:pt>
                <c:pt idx="4083">
                  <c:v>1.35829114678291E-2</c:v>
                </c:pt>
                <c:pt idx="4084">
                  <c:v>1.35775461795688E-2</c:v>
                </c:pt>
                <c:pt idx="4085">
                  <c:v>1.35921634042394E-2</c:v>
                </c:pt>
                <c:pt idx="4086">
                  <c:v>1.3645300176116201E-2</c:v>
                </c:pt>
                <c:pt idx="4087">
                  <c:v>1.3652379566365599E-2</c:v>
                </c:pt>
                <c:pt idx="4088">
                  <c:v>1.37130205520463E-2</c:v>
                </c:pt>
                <c:pt idx="4089">
                  <c:v>1.3670117601766001E-2</c:v>
                </c:pt>
                <c:pt idx="4090">
                  <c:v>1.3702936968949799E-2</c:v>
                </c:pt>
                <c:pt idx="4091">
                  <c:v>1.38521365989175E-2</c:v>
                </c:pt>
                <c:pt idx="4092">
                  <c:v>1.3846709698975199E-2</c:v>
                </c:pt>
                <c:pt idx="4093">
                  <c:v>1.38428494284333E-2</c:v>
                </c:pt>
                <c:pt idx="4094">
                  <c:v>1.3842982871368301E-2</c:v>
                </c:pt>
                <c:pt idx="4095">
                  <c:v>1.37977764845593E-2</c:v>
                </c:pt>
                <c:pt idx="4096">
                  <c:v>1.42054385510563E-2</c:v>
                </c:pt>
                <c:pt idx="4097">
                  <c:v>1.42129715263747E-2</c:v>
                </c:pt>
                <c:pt idx="4098">
                  <c:v>1.3944572960273899E-2</c:v>
                </c:pt>
                <c:pt idx="4099">
                  <c:v>1.3920960573107301E-2</c:v>
                </c:pt>
                <c:pt idx="4100">
                  <c:v>1.3969626689770301E-2</c:v>
                </c:pt>
                <c:pt idx="4101">
                  <c:v>1.39806991100814E-2</c:v>
                </c:pt>
                <c:pt idx="4102">
                  <c:v>1.3918664068071501E-2</c:v>
                </c:pt>
                <c:pt idx="4103">
                  <c:v>1.39260843068195E-2</c:v>
                </c:pt>
                <c:pt idx="4104">
                  <c:v>1.3920274671994699E-2</c:v>
                </c:pt>
                <c:pt idx="4105">
                  <c:v>1.4122493790388E-2</c:v>
                </c:pt>
                <c:pt idx="4106">
                  <c:v>1.4169027877309399E-2</c:v>
                </c:pt>
                <c:pt idx="4107">
                  <c:v>1.4169962380681E-2</c:v>
                </c:pt>
                <c:pt idx="4108">
                  <c:v>1.4170502351849801E-2</c:v>
                </c:pt>
                <c:pt idx="4109">
                  <c:v>1.4176613945963401E-2</c:v>
                </c:pt>
                <c:pt idx="4110">
                  <c:v>1.41784354662389E-2</c:v>
                </c:pt>
                <c:pt idx="4111">
                  <c:v>1.4284772273892601E-2</c:v>
                </c:pt>
                <c:pt idx="4112">
                  <c:v>1.42725603908971E-2</c:v>
                </c:pt>
                <c:pt idx="4113">
                  <c:v>1.4263835091578801E-2</c:v>
                </c:pt>
                <c:pt idx="4114">
                  <c:v>1.4260586489231701E-2</c:v>
                </c:pt>
                <c:pt idx="4115">
                  <c:v>1.42502407245824E-2</c:v>
                </c:pt>
                <c:pt idx="4116">
                  <c:v>1.4326930221684599E-2</c:v>
                </c:pt>
                <c:pt idx="4117">
                  <c:v>1.43389622175493E-2</c:v>
                </c:pt>
                <c:pt idx="4118">
                  <c:v>1.4346468345165999E-2</c:v>
                </c:pt>
                <c:pt idx="4119">
                  <c:v>1.43452346143706E-2</c:v>
                </c:pt>
                <c:pt idx="4120">
                  <c:v>1.45474725473792E-2</c:v>
                </c:pt>
                <c:pt idx="4121">
                  <c:v>1.4638659951994299E-2</c:v>
                </c:pt>
                <c:pt idx="4122">
                  <c:v>1.46249722455514E-2</c:v>
                </c:pt>
                <c:pt idx="4123">
                  <c:v>1.4530029294354801E-2</c:v>
                </c:pt>
                <c:pt idx="4124">
                  <c:v>1.4537201871201401E-2</c:v>
                </c:pt>
                <c:pt idx="4125">
                  <c:v>1.45277157138884E-2</c:v>
                </c:pt>
                <c:pt idx="4126">
                  <c:v>1.4483479117876201E-2</c:v>
                </c:pt>
                <c:pt idx="4127">
                  <c:v>1.44605887207072E-2</c:v>
                </c:pt>
                <c:pt idx="4128">
                  <c:v>1.45274263335071E-2</c:v>
                </c:pt>
                <c:pt idx="4129">
                  <c:v>1.4526878498115899E-2</c:v>
                </c:pt>
                <c:pt idx="4130">
                  <c:v>1.45227831099199E-2</c:v>
                </c:pt>
                <c:pt idx="4131">
                  <c:v>1.4623978972684399E-2</c:v>
                </c:pt>
                <c:pt idx="4132">
                  <c:v>1.46239067385385E-2</c:v>
                </c:pt>
                <c:pt idx="4133">
                  <c:v>1.45769055445546E-2</c:v>
                </c:pt>
                <c:pt idx="4134">
                  <c:v>1.45947139753535E-2</c:v>
                </c:pt>
                <c:pt idx="4135">
                  <c:v>1.46558770676391E-2</c:v>
                </c:pt>
                <c:pt idx="4136">
                  <c:v>1.46491717200362E-2</c:v>
                </c:pt>
                <c:pt idx="4137">
                  <c:v>1.46131302823843E-2</c:v>
                </c:pt>
                <c:pt idx="4138">
                  <c:v>1.4645951657439499E-2</c:v>
                </c:pt>
                <c:pt idx="4139">
                  <c:v>1.46684271366554E-2</c:v>
                </c:pt>
                <c:pt idx="4140">
                  <c:v>1.46500039250844E-2</c:v>
                </c:pt>
                <c:pt idx="4141">
                  <c:v>1.46260396526589E-2</c:v>
                </c:pt>
                <c:pt idx="4142">
                  <c:v>1.5115553768511101E-2</c:v>
                </c:pt>
                <c:pt idx="4143">
                  <c:v>1.50731476176078E-2</c:v>
                </c:pt>
                <c:pt idx="4144">
                  <c:v>1.50983631725935E-2</c:v>
                </c:pt>
                <c:pt idx="4145">
                  <c:v>1.5095072489242399E-2</c:v>
                </c:pt>
                <c:pt idx="4146">
                  <c:v>1.52643679855457E-2</c:v>
                </c:pt>
                <c:pt idx="4147">
                  <c:v>1.53001972083389E-2</c:v>
                </c:pt>
                <c:pt idx="4148">
                  <c:v>1.52972467855886E-2</c:v>
                </c:pt>
                <c:pt idx="4149">
                  <c:v>1.53596315985611E-2</c:v>
                </c:pt>
                <c:pt idx="4150">
                  <c:v>1.5329980447561399E-2</c:v>
                </c:pt>
                <c:pt idx="4151">
                  <c:v>1.5397634568929499E-2</c:v>
                </c:pt>
                <c:pt idx="4152">
                  <c:v>1.54062242179978E-2</c:v>
                </c:pt>
                <c:pt idx="4153">
                  <c:v>1.54263444403807E-2</c:v>
                </c:pt>
                <c:pt idx="4154">
                  <c:v>1.5425787758401199E-2</c:v>
                </c:pt>
                <c:pt idx="4155">
                  <c:v>1.54548395428386E-2</c:v>
                </c:pt>
                <c:pt idx="4156">
                  <c:v>1.5453888832299799E-2</c:v>
                </c:pt>
                <c:pt idx="4157">
                  <c:v>1.54658178377427E-2</c:v>
                </c:pt>
                <c:pt idx="4158">
                  <c:v>1.54716611776105E-2</c:v>
                </c:pt>
                <c:pt idx="4159">
                  <c:v>1.54585021719059E-2</c:v>
                </c:pt>
                <c:pt idx="4160">
                  <c:v>1.5459951801286899E-2</c:v>
                </c:pt>
                <c:pt idx="4161">
                  <c:v>1.54593653380002E-2</c:v>
                </c:pt>
                <c:pt idx="4162">
                  <c:v>1.5437363408370699E-2</c:v>
                </c:pt>
                <c:pt idx="4163">
                  <c:v>1.54418224864908E-2</c:v>
                </c:pt>
                <c:pt idx="4164">
                  <c:v>1.54409704926087E-2</c:v>
                </c:pt>
                <c:pt idx="4165">
                  <c:v>1.5448216474777499E-2</c:v>
                </c:pt>
                <c:pt idx="4166">
                  <c:v>1.5463337223745899E-2</c:v>
                </c:pt>
                <c:pt idx="4167">
                  <c:v>1.5518940942442E-2</c:v>
                </c:pt>
                <c:pt idx="4168">
                  <c:v>1.54688375192755E-2</c:v>
                </c:pt>
                <c:pt idx="4169">
                  <c:v>1.54601829860286E-2</c:v>
                </c:pt>
                <c:pt idx="4170">
                  <c:v>1.54561810824606E-2</c:v>
                </c:pt>
                <c:pt idx="4171">
                  <c:v>1.5443066295220201E-2</c:v>
                </c:pt>
                <c:pt idx="4172">
                  <c:v>1.5444374098829299E-2</c:v>
                </c:pt>
                <c:pt idx="4173">
                  <c:v>1.54668567387806E-2</c:v>
                </c:pt>
                <c:pt idx="4174">
                  <c:v>1.5558954635691701E-2</c:v>
                </c:pt>
                <c:pt idx="4175">
                  <c:v>1.55591933452109E-2</c:v>
                </c:pt>
                <c:pt idx="4176">
                  <c:v>1.55408907649844E-2</c:v>
                </c:pt>
                <c:pt idx="4177">
                  <c:v>1.55424127872608E-2</c:v>
                </c:pt>
                <c:pt idx="4178">
                  <c:v>1.55408138659495E-2</c:v>
                </c:pt>
                <c:pt idx="4179">
                  <c:v>1.5551519063216199E-2</c:v>
                </c:pt>
                <c:pt idx="4180">
                  <c:v>1.53837536216912E-2</c:v>
                </c:pt>
                <c:pt idx="4181">
                  <c:v>1.5484981619719E-2</c:v>
                </c:pt>
                <c:pt idx="4182">
                  <c:v>1.54660069258488E-2</c:v>
                </c:pt>
                <c:pt idx="4183">
                  <c:v>1.54809421758801E-2</c:v>
                </c:pt>
                <c:pt idx="4184">
                  <c:v>1.54601669986076E-2</c:v>
                </c:pt>
                <c:pt idx="4185">
                  <c:v>1.5453463137154001E-2</c:v>
                </c:pt>
                <c:pt idx="4186">
                  <c:v>1.5470570617181699E-2</c:v>
                </c:pt>
                <c:pt idx="4187">
                  <c:v>1.5456609761581801E-2</c:v>
                </c:pt>
                <c:pt idx="4188">
                  <c:v>1.53766114641111E-2</c:v>
                </c:pt>
                <c:pt idx="4189">
                  <c:v>1.5257576224414199E-2</c:v>
                </c:pt>
                <c:pt idx="4190">
                  <c:v>1.52619421426584E-2</c:v>
                </c:pt>
                <c:pt idx="4191">
                  <c:v>1.52380983253566E-2</c:v>
                </c:pt>
                <c:pt idx="4192">
                  <c:v>1.52352540648222E-2</c:v>
                </c:pt>
                <c:pt idx="4193">
                  <c:v>1.52302482901368E-2</c:v>
                </c:pt>
                <c:pt idx="4194">
                  <c:v>1.51459725618978E-2</c:v>
                </c:pt>
                <c:pt idx="4195">
                  <c:v>1.51588931687093E-2</c:v>
                </c:pt>
                <c:pt idx="4196">
                  <c:v>1.51237567912503E-2</c:v>
                </c:pt>
                <c:pt idx="4197">
                  <c:v>1.5065683103788099E-2</c:v>
                </c:pt>
                <c:pt idx="4198">
                  <c:v>1.50720195898667E-2</c:v>
                </c:pt>
                <c:pt idx="4199">
                  <c:v>1.5074748913731799E-2</c:v>
                </c:pt>
                <c:pt idx="4200">
                  <c:v>1.50685379288689E-2</c:v>
                </c:pt>
                <c:pt idx="4201">
                  <c:v>1.5064527608999101E-2</c:v>
                </c:pt>
                <c:pt idx="4202">
                  <c:v>1.5066092507574499E-2</c:v>
                </c:pt>
                <c:pt idx="4203">
                  <c:v>1.50338321788637E-2</c:v>
                </c:pt>
                <c:pt idx="4204">
                  <c:v>1.5033035335525999E-2</c:v>
                </c:pt>
                <c:pt idx="4205">
                  <c:v>1.50313107097247E-2</c:v>
                </c:pt>
                <c:pt idx="4206">
                  <c:v>1.50816927764818E-2</c:v>
                </c:pt>
                <c:pt idx="4207">
                  <c:v>1.5078974046547801E-2</c:v>
                </c:pt>
                <c:pt idx="4208">
                  <c:v>1.50788019297169E-2</c:v>
                </c:pt>
                <c:pt idx="4209">
                  <c:v>1.51007715616306E-2</c:v>
                </c:pt>
                <c:pt idx="4210">
                  <c:v>1.51138703575186E-2</c:v>
                </c:pt>
                <c:pt idx="4211">
                  <c:v>1.51001837473447E-2</c:v>
                </c:pt>
                <c:pt idx="4212">
                  <c:v>1.5043043415440899E-2</c:v>
                </c:pt>
                <c:pt idx="4213">
                  <c:v>1.50065744323648E-2</c:v>
                </c:pt>
                <c:pt idx="4214">
                  <c:v>1.49841974464959E-2</c:v>
                </c:pt>
                <c:pt idx="4215">
                  <c:v>1.4878273694098601E-2</c:v>
                </c:pt>
                <c:pt idx="4216">
                  <c:v>1.4900084712174501E-2</c:v>
                </c:pt>
                <c:pt idx="4217">
                  <c:v>1.48208588172E-2</c:v>
                </c:pt>
                <c:pt idx="4218">
                  <c:v>1.48209765405762E-2</c:v>
                </c:pt>
                <c:pt idx="4219">
                  <c:v>1.4818876923911799E-2</c:v>
                </c:pt>
                <c:pt idx="4220">
                  <c:v>1.48206845083723E-2</c:v>
                </c:pt>
                <c:pt idx="4221">
                  <c:v>1.4767727792502299E-2</c:v>
                </c:pt>
                <c:pt idx="4222">
                  <c:v>1.47865994453177E-2</c:v>
                </c:pt>
                <c:pt idx="4223">
                  <c:v>1.4758187068805001E-2</c:v>
                </c:pt>
                <c:pt idx="4224">
                  <c:v>1.47438902725665E-2</c:v>
                </c:pt>
                <c:pt idx="4225">
                  <c:v>1.47028400315459E-2</c:v>
                </c:pt>
                <c:pt idx="4226">
                  <c:v>1.47178176817518E-2</c:v>
                </c:pt>
                <c:pt idx="4227">
                  <c:v>1.4716634566113799E-2</c:v>
                </c:pt>
                <c:pt idx="4228">
                  <c:v>1.4724716931601701E-2</c:v>
                </c:pt>
                <c:pt idx="4229">
                  <c:v>1.46612363185783E-2</c:v>
                </c:pt>
                <c:pt idx="4230">
                  <c:v>1.46642638938373E-2</c:v>
                </c:pt>
                <c:pt idx="4231">
                  <c:v>1.4665554414123301E-2</c:v>
                </c:pt>
                <c:pt idx="4232">
                  <c:v>1.46507218959222E-2</c:v>
                </c:pt>
                <c:pt idx="4233">
                  <c:v>1.46552816344593E-2</c:v>
                </c:pt>
                <c:pt idx="4234">
                  <c:v>1.4666248046735201E-2</c:v>
                </c:pt>
                <c:pt idx="4235">
                  <c:v>1.46494592533485E-2</c:v>
                </c:pt>
                <c:pt idx="4236">
                  <c:v>1.4634883513107899E-2</c:v>
                </c:pt>
                <c:pt idx="4237">
                  <c:v>1.46192694006669E-2</c:v>
                </c:pt>
                <c:pt idx="4238">
                  <c:v>1.46184729501739E-2</c:v>
                </c:pt>
                <c:pt idx="4239">
                  <c:v>1.4586579177906201E-2</c:v>
                </c:pt>
                <c:pt idx="4240">
                  <c:v>1.46063639801822E-2</c:v>
                </c:pt>
                <c:pt idx="4241">
                  <c:v>1.45987583434609E-2</c:v>
                </c:pt>
                <c:pt idx="4242">
                  <c:v>1.45949945585667E-2</c:v>
                </c:pt>
                <c:pt idx="4243">
                  <c:v>1.46046422148652E-2</c:v>
                </c:pt>
                <c:pt idx="4244">
                  <c:v>1.45847532864464E-2</c:v>
                </c:pt>
                <c:pt idx="4245">
                  <c:v>1.45492094720449E-2</c:v>
                </c:pt>
                <c:pt idx="4246">
                  <c:v>1.4531803374658999E-2</c:v>
                </c:pt>
                <c:pt idx="4247">
                  <c:v>1.4531669834011701E-2</c:v>
                </c:pt>
                <c:pt idx="4248">
                  <c:v>1.44204426326595E-2</c:v>
                </c:pt>
                <c:pt idx="4249">
                  <c:v>1.44188719347617E-2</c:v>
                </c:pt>
                <c:pt idx="4250">
                  <c:v>1.44175621240224E-2</c:v>
                </c:pt>
                <c:pt idx="4251">
                  <c:v>1.44179639706742E-2</c:v>
                </c:pt>
                <c:pt idx="4252">
                  <c:v>1.4406939868043899E-2</c:v>
                </c:pt>
                <c:pt idx="4253">
                  <c:v>1.4127038302373199E-2</c:v>
                </c:pt>
                <c:pt idx="4254">
                  <c:v>1.41587505156079E-2</c:v>
                </c:pt>
                <c:pt idx="4255">
                  <c:v>1.4158371679927E-2</c:v>
                </c:pt>
                <c:pt idx="4256">
                  <c:v>1.3801242654163401E-2</c:v>
                </c:pt>
                <c:pt idx="4257">
                  <c:v>1.3780423385144E-2</c:v>
                </c:pt>
                <c:pt idx="4258">
                  <c:v>1.3748205821230999E-2</c:v>
                </c:pt>
                <c:pt idx="4259">
                  <c:v>1.37411802513064E-2</c:v>
                </c:pt>
                <c:pt idx="4260">
                  <c:v>1.3744595441008299E-2</c:v>
                </c:pt>
                <c:pt idx="4261">
                  <c:v>1.3657352291972E-2</c:v>
                </c:pt>
                <c:pt idx="4262">
                  <c:v>1.35434095160366E-2</c:v>
                </c:pt>
                <c:pt idx="4263">
                  <c:v>1.3286396299120699E-2</c:v>
                </c:pt>
                <c:pt idx="4264">
                  <c:v>1.32088181537792E-2</c:v>
                </c:pt>
                <c:pt idx="4265">
                  <c:v>1.3213548878396601E-2</c:v>
                </c:pt>
                <c:pt idx="4266">
                  <c:v>1.3217647938312401E-2</c:v>
                </c:pt>
                <c:pt idx="4267">
                  <c:v>1.32137550754569E-2</c:v>
                </c:pt>
                <c:pt idx="4268">
                  <c:v>1.3057939520294401E-2</c:v>
                </c:pt>
                <c:pt idx="4269">
                  <c:v>1.30483147723139E-2</c:v>
                </c:pt>
                <c:pt idx="4270">
                  <c:v>1.30761203031042E-2</c:v>
                </c:pt>
                <c:pt idx="4271">
                  <c:v>1.30697083795076E-2</c:v>
                </c:pt>
                <c:pt idx="4272">
                  <c:v>1.28885126851412E-2</c:v>
                </c:pt>
                <c:pt idx="4273">
                  <c:v>1.28758041041824E-2</c:v>
                </c:pt>
                <c:pt idx="4274">
                  <c:v>1.28789137615103E-2</c:v>
                </c:pt>
                <c:pt idx="4275">
                  <c:v>1.28786107829844E-2</c:v>
                </c:pt>
                <c:pt idx="4276">
                  <c:v>1.2889625428932201E-2</c:v>
                </c:pt>
                <c:pt idx="4277">
                  <c:v>1.2872564719589899E-2</c:v>
                </c:pt>
                <c:pt idx="4278">
                  <c:v>1.28582993263902E-2</c:v>
                </c:pt>
                <c:pt idx="4279">
                  <c:v>1.2863655699883601E-2</c:v>
                </c:pt>
                <c:pt idx="4280">
                  <c:v>1.28521951705944E-2</c:v>
                </c:pt>
                <c:pt idx="4281">
                  <c:v>1.28348905237534E-2</c:v>
                </c:pt>
                <c:pt idx="4282">
                  <c:v>1.28360582230218E-2</c:v>
                </c:pt>
                <c:pt idx="4283">
                  <c:v>1.2821088492866501E-2</c:v>
                </c:pt>
                <c:pt idx="4284">
                  <c:v>1.2744043578444801E-2</c:v>
                </c:pt>
                <c:pt idx="4285">
                  <c:v>1.2743765366019099E-2</c:v>
                </c:pt>
                <c:pt idx="4286">
                  <c:v>1.2742258192916101E-2</c:v>
                </c:pt>
                <c:pt idx="4287">
                  <c:v>1.2658178653879E-2</c:v>
                </c:pt>
                <c:pt idx="4288">
                  <c:v>1.26651708381654E-2</c:v>
                </c:pt>
                <c:pt idx="4289">
                  <c:v>1.2668509224571699E-2</c:v>
                </c:pt>
                <c:pt idx="4290">
                  <c:v>1.26453707850287E-2</c:v>
                </c:pt>
                <c:pt idx="4291">
                  <c:v>1.26146266599402E-2</c:v>
                </c:pt>
                <c:pt idx="4292">
                  <c:v>1.25978801722792E-2</c:v>
                </c:pt>
                <c:pt idx="4293">
                  <c:v>1.2486274318522299E-2</c:v>
                </c:pt>
                <c:pt idx="4294">
                  <c:v>1.25433336389253E-2</c:v>
                </c:pt>
                <c:pt idx="4295">
                  <c:v>1.2540928068450599E-2</c:v>
                </c:pt>
                <c:pt idx="4296">
                  <c:v>1.2483450951253E-2</c:v>
                </c:pt>
                <c:pt idx="4297">
                  <c:v>1.2484927776632401E-2</c:v>
                </c:pt>
                <c:pt idx="4298">
                  <c:v>1.2460257570559101E-2</c:v>
                </c:pt>
                <c:pt idx="4299">
                  <c:v>1.24598299768558E-2</c:v>
                </c:pt>
                <c:pt idx="4300">
                  <c:v>1.24881369118446E-2</c:v>
                </c:pt>
                <c:pt idx="4301">
                  <c:v>1.24594553207194E-2</c:v>
                </c:pt>
                <c:pt idx="4302">
                  <c:v>1.24089671680779E-2</c:v>
                </c:pt>
                <c:pt idx="4303">
                  <c:v>1.24178866387667E-2</c:v>
                </c:pt>
                <c:pt idx="4304">
                  <c:v>1.2397458160794701E-2</c:v>
                </c:pt>
                <c:pt idx="4305">
                  <c:v>1.24000454953318E-2</c:v>
                </c:pt>
                <c:pt idx="4306">
                  <c:v>1.2388430830742101E-2</c:v>
                </c:pt>
                <c:pt idx="4307">
                  <c:v>1.23825570668811E-2</c:v>
                </c:pt>
                <c:pt idx="4308">
                  <c:v>1.2383582107380799E-2</c:v>
                </c:pt>
                <c:pt idx="4309">
                  <c:v>1.2376897077205899E-2</c:v>
                </c:pt>
                <c:pt idx="4310">
                  <c:v>1.2376562248257599E-2</c:v>
                </c:pt>
                <c:pt idx="4311">
                  <c:v>1.23991493201195E-2</c:v>
                </c:pt>
                <c:pt idx="4312">
                  <c:v>1.24150199827425E-2</c:v>
                </c:pt>
                <c:pt idx="4313">
                  <c:v>1.2378636580167199E-2</c:v>
                </c:pt>
                <c:pt idx="4314">
                  <c:v>1.23886065901084E-2</c:v>
                </c:pt>
                <c:pt idx="4315">
                  <c:v>1.2311111157399E-2</c:v>
                </c:pt>
                <c:pt idx="4316">
                  <c:v>1.2314933903804901E-2</c:v>
                </c:pt>
                <c:pt idx="4317">
                  <c:v>1.2317966485038899E-2</c:v>
                </c:pt>
                <c:pt idx="4318">
                  <c:v>1.23052490930515E-2</c:v>
                </c:pt>
                <c:pt idx="4319">
                  <c:v>1.2309973922259101E-2</c:v>
                </c:pt>
                <c:pt idx="4320">
                  <c:v>1.2359406854606601E-2</c:v>
                </c:pt>
                <c:pt idx="4321">
                  <c:v>1.23449551603358E-2</c:v>
                </c:pt>
                <c:pt idx="4322">
                  <c:v>1.24621431795362E-2</c:v>
                </c:pt>
                <c:pt idx="4323">
                  <c:v>1.35244272941181E-2</c:v>
                </c:pt>
                <c:pt idx="4324">
                  <c:v>1.3613470147852301E-2</c:v>
                </c:pt>
                <c:pt idx="4325">
                  <c:v>1.35855216492055E-2</c:v>
                </c:pt>
                <c:pt idx="4326">
                  <c:v>1.3628243946100601E-2</c:v>
                </c:pt>
                <c:pt idx="4327">
                  <c:v>1.3598558834859701E-2</c:v>
                </c:pt>
                <c:pt idx="4328">
                  <c:v>1.35997503305972E-2</c:v>
                </c:pt>
                <c:pt idx="4329">
                  <c:v>1.3606789742437101E-2</c:v>
                </c:pt>
                <c:pt idx="4330">
                  <c:v>1.36066966957705E-2</c:v>
                </c:pt>
                <c:pt idx="4331">
                  <c:v>1.3613861119662399E-2</c:v>
                </c:pt>
                <c:pt idx="4332">
                  <c:v>1.3618590696945499E-2</c:v>
                </c:pt>
                <c:pt idx="4333">
                  <c:v>1.36734975855843E-2</c:v>
                </c:pt>
                <c:pt idx="4334">
                  <c:v>1.3665502276731601E-2</c:v>
                </c:pt>
                <c:pt idx="4335">
                  <c:v>1.36404497338935E-2</c:v>
                </c:pt>
                <c:pt idx="4336">
                  <c:v>1.36677292451295E-2</c:v>
                </c:pt>
                <c:pt idx="4337">
                  <c:v>1.36619049264335E-2</c:v>
                </c:pt>
                <c:pt idx="4338">
                  <c:v>1.36122427099249E-2</c:v>
                </c:pt>
                <c:pt idx="4339">
                  <c:v>1.3613452554711801E-2</c:v>
                </c:pt>
                <c:pt idx="4340">
                  <c:v>1.35823622093932E-2</c:v>
                </c:pt>
                <c:pt idx="4341">
                  <c:v>1.3441908468865E-2</c:v>
                </c:pt>
                <c:pt idx="4342">
                  <c:v>1.3640906457235801E-2</c:v>
                </c:pt>
                <c:pt idx="4343">
                  <c:v>1.3787375515089399E-2</c:v>
                </c:pt>
                <c:pt idx="4344">
                  <c:v>1.37888789123918E-2</c:v>
                </c:pt>
                <c:pt idx="4345">
                  <c:v>1.37247322615259E-2</c:v>
                </c:pt>
                <c:pt idx="4346">
                  <c:v>1.3306845095345099E-2</c:v>
                </c:pt>
                <c:pt idx="4347">
                  <c:v>1.33257501816045E-2</c:v>
                </c:pt>
                <c:pt idx="4348">
                  <c:v>1.3510065110974301E-2</c:v>
                </c:pt>
                <c:pt idx="4349">
                  <c:v>1.35730871926213E-2</c:v>
                </c:pt>
                <c:pt idx="4350">
                  <c:v>1.3533854574591201E-2</c:v>
                </c:pt>
                <c:pt idx="4351">
                  <c:v>1.3571348622460899E-2</c:v>
                </c:pt>
                <c:pt idx="4352">
                  <c:v>1.3596859285456E-2</c:v>
                </c:pt>
                <c:pt idx="4353">
                  <c:v>1.3868639189429601E-2</c:v>
                </c:pt>
                <c:pt idx="4354">
                  <c:v>1.3857057039588901E-2</c:v>
                </c:pt>
                <c:pt idx="4355">
                  <c:v>1.36761762955704E-2</c:v>
                </c:pt>
                <c:pt idx="4356">
                  <c:v>1.36439544860098E-2</c:v>
                </c:pt>
                <c:pt idx="4357">
                  <c:v>1.36837044592672E-2</c:v>
                </c:pt>
                <c:pt idx="4358">
                  <c:v>1.38432293641991E-2</c:v>
                </c:pt>
                <c:pt idx="4359">
                  <c:v>1.3939223196629101E-2</c:v>
                </c:pt>
                <c:pt idx="4360">
                  <c:v>1.4017991009589101E-2</c:v>
                </c:pt>
                <c:pt idx="4361">
                  <c:v>1.39097387230569E-2</c:v>
                </c:pt>
                <c:pt idx="4362">
                  <c:v>1.3908496948590299E-2</c:v>
                </c:pt>
                <c:pt idx="4363">
                  <c:v>1.3921714264904499E-2</c:v>
                </c:pt>
                <c:pt idx="4364">
                  <c:v>1.39233787516408E-2</c:v>
                </c:pt>
                <c:pt idx="4365">
                  <c:v>1.3924487313243399E-2</c:v>
                </c:pt>
                <c:pt idx="4366">
                  <c:v>1.3879413324364299E-2</c:v>
                </c:pt>
                <c:pt idx="4367">
                  <c:v>1.3865369843252401E-2</c:v>
                </c:pt>
                <c:pt idx="4368">
                  <c:v>1.3919704844017E-2</c:v>
                </c:pt>
                <c:pt idx="4369">
                  <c:v>1.3920533625775999E-2</c:v>
                </c:pt>
                <c:pt idx="4370">
                  <c:v>1.3713438842762601E-2</c:v>
                </c:pt>
                <c:pt idx="4371">
                  <c:v>1.3619248687196901E-2</c:v>
                </c:pt>
                <c:pt idx="4372">
                  <c:v>1.36215947116359E-2</c:v>
                </c:pt>
                <c:pt idx="4373">
                  <c:v>1.36519527746213E-2</c:v>
                </c:pt>
                <c:pt idx="4374">
                  <c:v>1.36444290723395E-2</c:v>
                </c:pt>
                <c:pt idx="4375">
                  <c:v>1.36446614973598E-2</c:v>
                </c:pt>
                <c:pt idx="4376">
                  <c:v>1.36559746572149E-2</c:v>
                </c:pt>
                <c:pt idx="4377">
                  <c:v>1.36570304030415E-2</c:v>
                </c:pt>
                <c:pt idx="4378">
                  <c:v>1.3608096852004901E-2</c:v>
                </c:pt>
                <c:pt idx="4379">
                  <c:v>1.3617791278960499E-2</c:v>
                </c:pt>
                <c:pt idx="4380">
                  <c:v>1.36171600858299E-2</c:v>
                </c:pt>
                <c:pt idx="4381">
                  <c:v>1.3514943055172E-2</c:v>
                </c:pt>
                <c:pt idx="4382">
                  <c:v>1.3522270711727E-2</c:v>
                </c:pt>
                <c:pt idx="4383">
                  <c:v>1.35280171575651E-2</c:v>
                </c:pt>
                <c:pt idx="4384">
                  <c:v>1.3509845833483001E-2</c:v>
                </c:pt>
                <c:pt idx="4385">
                  <c:v>1.3451152871857599E-2</c:v>
                </c:pt>
                <c:pt idx="4386">
                  <c:v>1.34564064777539E-2</c:v>
                </c:pt>
                <c:pt idx="4387">
                  <c:v>1.3456362715816199E-2</c:v>
                </c:pt>
                <c:pt idx="4388">
                  <c:v>1.33978353571419E-2</c:v>
                </c:pt>
                <c:pt idx="4389">
                  <c:v>1.33707468268064E-2</c:v>
                </c:pt>
                <c:pt idx="4390">
                  <c:v>1.3369592301503801E-2</c:v>
                </c:pt>
                <c:pt idx="4391">
                  <c:v>1.33685953689486E-2</c:v>
                </c:pt>
                <c:pt idx="4392">
                  <c:v>1.28290980001017E-2</c:v>
                </c:pt>
                <c:pt idx="4393">
                  <c:v>1.2816738886565201E-2</c:v>
                </c:pt>
                <c:pt idx="4394">
                  <c:v>1.2783976168449901E-2</c:v>
                </c:pt>
                <c:pt idx="4395">
                  <c:v>1.27377595521592E-2</c:v>
                </c:pt>
                <c:pt idx="4396">
                  <c:v>1.2543914572401E-2</c:v>
                </c:pt>
                <c:pt idx="4397">
                  <c:v>1.2503217524818601E-2</c:v>
                </c:pt>
                <c:pt idx="4398">
                  <c:v>1.25838847691801E-2</c:v>
                </c:pt>
                <c:pt idx="4399">
                  <c:v>1.25060860259285E-2</c:v>
                </c:pt>
                <c:pt idx="4400">
                  <c:v>1.25229752678167E-2</c:v>
                </c:pt>
                <c:pt idx="4401">
                  <c:v>1.24231079089238E-2</c:v>
                </c:pt>
                <c:pt idx="4402">
                  <c:v>1.24118244756838E-2</c:v>
                </c:pt>
                <c:pt idx="4403">
                  <c:v>1.2384511400813401E-2</c:v>
                </c:pt>
                <c:pt idx="4404">
                  <c:v>1.2492461491377E-2</c:v>
                </c:pt>
                <c:pt idx="4405">
                  <c:v>1.2438680928786999E-2</c:v>
                </c:pt>
                <c:pt idx="4406">
                  <c:v>1.2437810996587299E-2</c:v>
                </c:pt>
                <c:pt idx="4407">
                  <c:v>1.24162112546994E-2</c:v>
                </c:pt>
                <c:pt idx="4408">
                  <c:v>1.24055604966813E-2</c:v>
                </c:pt>
                <c:pt idx="4409">
                  <c:v>1.2408169263428999E-2</c:v>
                </c:pt>
                <c:pt idx="4410">
                  <c:v>1.2406554036626201E-2</c:v>
                </c:pt>
                <c:pt idx="4411">
                  <c:v>1.2405313623510199E-2</c:v>
                </c:pt>
                <c:pt idx="4412">
                  <c:v>1.24260098258021E-2</c:v>
                </c:pt>
                <c:pt idx="4413">
                  <c:v>1.24111689711962E-2</c:v>
                </c:pt>
                <c:pt idx="4414">
                  <c:v>1.2436279689935201E-2</c:v>
                </c:pt>
                <c:pt idx="4415">
                  <c:v>1.2455805758817801E-2</c:v>
                </c:pt>
                <c:pt idx="4416">
                  <c:v>1.2431058869828499E-2</c:v>
                </c:pt>
                <c:pt idx="4417">
                  <c:v>1.22986215550978E-2</c:v>
                </c:pt>
                <c:pt idx="4418">
                  <c:v>1.23156584349585E-2</c:v>
                </c:pt>
                <c:pt idx="4419">
                  <c:v>1.2315049349745401E-2</c:v>
                </c:pt>
                <c:pt idx="4420">
                  <c:v>1.2305590833172101E-2</c:v>
                </c:pt>
                <c:pt idx="4421">
                  <c:v>1.23077527749944E-2</c:v>
                </c:pt>
                <c:pt idx="4422">
                  <c:v>1.2315620201282001E-2</c:v>
                </c:pt>
                <c:pt idx="4423">
                  <c:v>1.23157147134162E-2</c:v>
                </c:pt>
                <c:pt idx="4424">
                  <c:v>1.22363848483807E-2</c:v>
                </c:pt>
                <c:pt idx="4425">
                  <c:v>1.2302125397416E-2</c:v>
                </c:pt>
                <c:pt idx="4426">
                  <c:v>1.23581992897692E-2</c:v>
                </c:pt>
                <c:pt idx="4427">
                  <c:v>1.28112060417986E-2</c:v>
                </c:pt>
                <c:pt idx="4428">
                  <c:v>1.28142352174235E-2</c:v>
                </c:pt>
                <c:pt idx="4429">
                  <c:v>1.2835312133260101E-2</c:v>
                </c:pt>
                <c:pt idx="4430">
                  <c:v>1.2859925332258101E-2</c:v>
                </c:pt>
                <c:pt idx="4431">
                  <c:v>1.27982856896235E-2</c:v>
                </c:pt>
                <c:pt idx="4432">
                  <c:v>1.2860796978509699E-2</c:v>
                </c:pt>
                <c:pt idx="4433">
                  <c:v>1.28553179859144E-2</c:v>
                </c:pt>
                <c:pt idx="4434">
                  <c:v>1.2879495379437901E-2</c:v>
                </c:pt>
                <c:pt idx="4435">
                  <c:v>1.32605197393653E-2</c:v>
                </c:pt>
                <c:pt idx="4436">
                  <c:v>1.3176733209268E-2</c:v>
                </c:pt>
                <c:pt idx="4437">
                  <c:v>1.32993402116979E-2</c:v>
                </c:pt>
                <c:pt idx="4438">
                  <c:v>1.3298684751017E-2</c:v>
                </c:pt>
                <c:pt idx="4439">
                  <c:v>1.3300992821406E-2</c:v>
                </c:pt>
                <c:pt idx="4440">
                  <c:v>1.32969600626741E-2</c:v>
                </c:pt>
                <c:pt idx="4441">
                  <c:v>1.3606294827412499E-2</c:v>
                </c:pt>
                <c:pt idx="4442">
                  <c:v>1.36051085385674E-2</c:v>
                </c:pt>
                <c:pt idx="4443">
                  <c:v>1.3614399323813E-2</c:v>
                </c:pt>
                <c:pt idx="4444">
                  <c:v>1.3677475872831101E-2</c:v>
                </c:pt>
                <c:pt idx="4445">
                  <c:v>1.3668744934333499E-2</c:v>
                </c:pt>
                <c:pt idx="4446">
                  <c:v>1.3668128659945201E-2</c:v>
                </c:pt>
                <c:pt idx="4447">
                  <c:v>1.3701873395930399E-2</c:v>
                </c:pt>
                <c:pt idx="4448">
                  <c:v>1.3694779912233701E-2</c:v>
                </c:pt>
                <c:pt idx="4449">
                  <c:v>1.3687086922633301E-2</c:v>
                </c:pt>
                <c:pt idx="4450">
                  <c:v>1.36890977607678E-2</c:v>
                </c:pt>
                <c:pt idx="4451">
                  <c:v>1.37110857359595E-2</c:v>
                </c:pt>
                <c:pt idx="4452">
                  <c:v>1.3710577964560501E-2</c:v>
                </c:pt>
                <c:pt idx="4453">
                  <c:v>1.3710832913774101E-2</c:v>
                </c:pt>
                <c:pt idx="4454">
                  <c:v>1.3708226115593599E-2</c:v>
                </c:pt>
                <c:pt idx="4455">
                  <c:v>1.36739170368563E-2</c:v>
                </c:pt>
                <c:pt idx="4456">
                  <c:v>1.36417779257045E-2</c:v>
                </c:pt>
                <c:pt idx="4457">
                  <c:v>1.36935339104112E-2</c:v>
                </c:pt>
                <c:pt idx="4458">
                  <c:v>1.36899086839179E-2</c:v>
                </c:pt>
                <c:pt idx="4459">
                  <c:v>1.3706965114642301E-2</c:v>
                </c:pt>
                <c:pt idx="4460">
                  <c:v>1.3718887364826101E-2</c:v>
                </c:pt>
                <c:pt idx="4461">
                  <c:v>1.36852122739893E-2</c:v>
                </c:pt>
                <c:pt idx="4462">
                  <c:v>1.3677142186824301E-2</c:v>
                </c:pt>
                <c:pt idx="4463">
                  <c:v>1.36753557131194E-2</c:v>
                </c:pt>
                <c:pt idx="4464">
                  <c:v>1.36986785484402E-2</c:v>
                </c:pt>
                <c:pt idx="4465">
                  <c:v>1.3699690571997301E-2</c:v>
                </c:pt>
                <c:pt idx="4466">
                  <c:v>1.37130156214495E-2</c:v>
                </c:pt>
                <c:pt idx="4467">
                  <c:v>1.3719236134887401E-2</c:v>
                </c:pt>
                <c:pt idx="4468">
                  <c:v>1.37211014847647E-2</c:v>
                </c:pt>
                <c:pt idx="4469">
                  <c:v>1.3720500178467401E-2</c:v>
                </c:pt>
                <c:pt idx="4470">
                  <c:v>1.3720997053949999E-2</c:v>
                </c:pt>
                <c:pt idx="4471">
                  <c:v>1.37029823866298E-2</c:v>
                </c:pt>
                <c:pt idx="4472">
                  <c:v>1.37521889933068E-2</c:v>
                </c:pt>
                <c:pt idx="4473">
                  <c:v>1.3752086615009E-2</c:v>
                </c:pt>
                <c:pt idx="4474">
                  <c:v>1.38368399015277E-2</c:v>
                </c:pt>
                <c:pt idx="4475">
                  <c:v>1.3836664176406501E-2</c:v>
                </c:pt>
                <c:pt idx="4476">
                  <c:v>1.38277662802568E-2</c:v>
                </c:pt>
                <c:pt idx="4477">
                  <c:v>1.38304931546558E-2</c:v>
                </c:pt>
                <c:pt idx="4478">
                  <c:v>1.38297270614543E-2</c:v>
                </c:pt>
                <c:pt idx="4479">
                  <c:v>1.3824934487221E-2</c:v>
                </c:pt>
                <c:pt idx="4480">
                  <c:v>1.38261372175038E-2</c:v>
                </c:pt>
                <c:pt idx="4481">
                  <c:v>1.38894210926623E-2</c:v>
                </c:pt>
                <c:pt idx="4482">
                  <c:v>1.3902503724701599E-2</c:v>
                </c:pt>
                <c:pt idx="4483">
                  <c:v>1.3916059627265E-2</c:v>
                </c:pt>
                <c:pt idx="4484">
                  <c:v>1.39026983732718E-2</c:v>
                </c:pt>
                <c:pt idx="4485">
                  <c:v>1.39575412040829E-2</c:v>
                </c:pt>
                <c:pt idx="4486">
                  <c:v>1.39132720315953E-2</c:v>
                </c:pt>
                <c:pt idx="4487">
                  <c:v>1.39112846094743E-2</c:v>
                </c:pt>
                <c:pt idx="4488">
                  <c:v>1.39103043544883E-2</c:v>
                </c:pt>
                <c:pt idx="4489">
                  <c:v>1.39099354951617E-2</c:v>
                </c:pt>
                <c:pt idx="4490">
                  <c:v>1.3943685862831399E-2</c:v>
                </c:pt>
                <c:pt idx="4491">
                  <c:v>1.4064546528169301E-2</c:v>
                </c:pt>
                <c:pt idx="4492">
                  <c:v>1.40547994429931E-2</c:v>
                </c:pt>
                <c:pt idx="4493">
                  <c:v>1.40522948510218E-2</c:v>
                </c:pt>
                <c:pt idx="4494">
                  <c:v>1.4052649386412101E-2</c:v>
                </c:pt>
                <c:pt idx="4495">
                  <c:v>1.40366533642246E-2</c:v>
                </c:pt>
                <c:pt idx="4496">
                  <c:v>1.4043088805471501E-2</c:v>
                </c:pt>
                <c:pt idx="4497">
                  <c:v>1.4050215295177601E-2</c:v>
                </c:pt>
                <c:pt idx="4498">
                  <c:v>1.4042803282390701E-2</c:v>
                </c:pt>
                <c:pt idx="4499">
                  <c:v>1.40341805044213E-2</c:v>
                </c:pt>
                <c:pt idx="4500">
                  <c:v>1.40456743321404E-2</c:v>
                </c:pt>
                <c:pt idx="4501">
                  <c:v>1.40481172377837E-2</c:v>
                </c:pt>
                <c:pt idx="4502">
                  <c:v>1.4045782745919401E-2</c:v>
                </c:pt>
                <c:pt idx="4503">
                  <c:v>1.4053427989269601E-2</c:v>
                </c:pt>
                <c:pt idx="4504">
                  <c:v>1.40271376779299E-2</c:v>
                </c:pt>
                <c:pt idx="4505">
                  <c:v>1.4068714697402399E-2</c:v>
                </c:pt>
                <c:pt idx="4506">
                  <c:v>1.40704280865971E-2</c:v>
                </c:pt>
                <c:pt idx="4507">
                  <c:v>1.40807564984896E-2</c:v>
                </c:pt>
                <c:pt idx="4508">
                  <c:v>1.40869691378485E-2</c:v>
                </c:pt>
                <c:pt idx="4509">
                  <c:v>1.4109421452241E-2</c:v>
                </c:pt>
                <c:pt idx="4510">
                  <c:v>1.41030589375979E-2</c:v>
                </c:pt>
                <c:pt idx="4511">
                  <c:v>1.41478252672461E-2</c:v>
                </c:pt>
                <c:pt idx="4512">
                  <c:v>1.41489788382102E-2</c:v>
                </c:pt>
                <c:pt idx="4513">
                  <c:v>1.41651576395416E-2</c:v>
                </c:pt>
                <c:pt idx="4514">
                  <c:v>1.4129510728391199E-2</c:v>
                </c:pt>
                <c:pt idx="4515">
                  <c:v>1.4143434678808801E-2</c:v>
                </c:pt>
                <c:pt idx="4516">
                  <c:v>1.41505423318468E-2</c:v>
                </c:pt>
                <c:pt idx="4517">
                  <c:v>1.41476046478771E-2</c:v>
                </c:pt>
                <c:pt idx="4518">
                  <c:v>1.4147781321031901E-2</c:v>
                </c:pt>
                <c:pt idx="4519">
                  <c:v>1.4149480787632601E-2</c:v>
                </c:pt>
                <c:pt idx="4520">
                  <c:v>1.4100523153964199E-2</c:v>
                </c:pt>
                <c:pt idx="4521">
                  <c:v>1.4119068822105001E-2</c:v>
                </c:pt>
                <c:pt idx="4522">
                  <c:v>1.41257943603703E-2</c:v>
                </c:pt>
                <c:pt idx="4523">
                  <c:v>1.41528370870934E-2</c:v>
                </c:pt>
                <c:pt idx="4524">
                  <c:v>1.4143103661682799E-2</c:v>
                </c:pt>
                <c:pt idx="4525">
                  <c:v>1.4154662996311599E-2</c:v>
                </c:pt>
                <c:pt idx="4526">
                  <c:v>1.41467763081777E-2</c:v>
                </c:pt>
                <c:pt idx="4527">
                  <c:v>1.4188388583240201E-2</c:v>
                </c:pt>
                <c:pt idx="4528">
                  <c:v>1.41838910207986E-2</c:v>
                </c:pt>
                <c:pt idx="4529">
                  <c:v>1.41671018811461E-2</c:v>
                </c:pt>
                <c:pt idx="4530">
                  <c:v>1.4161674945457E-2</c:v>
                </c:pt>
                <c:pt idx="4531">
                  <c:v>1.41741950390587E-2</c:v>
                </c:pt>
                <c:pt idx="4532">
                  <c:v>1.41721590672789E-2</c:v>
                </c:pt>
                <c:pt idx="4533">
                  <c:v>1.41991467176453E-2</c:v>
                </c:pt>
                <c:pt idx="4534">
                  <c:v>1.41859959017244E-2</c:v>
                </c:pt>
                <c:pt idx="4535">
                  <c:v>1.42040934192384E-2</c:v>
                </c:pt>
                <c:pt idx="4536">
                  <c:v>1.4212435613890699E-2</c:v>
                </c:pt>
                <c:pt idx="4537">
                  <c:v>1.4212351883023701E-2</c:v>
                </c:pt>
                <c:pt idx="4538">
                  <c:v>1.42061812516645E-2</c:v>
                </c:pt>
                <c:pt idx="4539">
                  <c:v>1.42223120529953E-2</c:v>
                </c:pt>
                <c:pt idx="4540">
                  <c:v>1.4224075597627501E-2</c:v>
                </c:pt>
                <c:pt idx="4541">
                  <c:v>1.42338257089339E-2</c:v>
                </c:pt>
                <c:pt idx="4542">
                  <c:v>1.4276413509556799E-2</c:v>
                </c:pt>
                <c:pt idx="4543">
                  <c:v>1.4282095625144301E-2</c:v>
                </c:pt>
                <c:pt idx="4544">
                  <c:v>1.4233755160218501E-2</c:v>
                </c:pt>
                <c:pt idx="4545">
                  <c:v>1.4239368494873899E-2</c:v>
                </c:pt>
                <c:pt idx="4546">
                  <c:v>1.4218730732455701E-2</c:v>
                </c:pt>
                <c:pt idx="4547">
                  <c:v>1.42210855361414E-2</c:v>
                </c:pt>
                <c:pt idx="4548">
                  <c:v>1.42442093657531E-2</c:v>
                </c:pt>
                <c:pt idx="4549">
                  <c:v>1.4287645238435299E-2</c:v>
                </c:pt>
                <c:pt idx="4550">
                  <c:v>1.42746299887162E-2</c:v>
                </c:pt>
                <c:pt idx="4551">
                  <c:v>1.4315092889035E-2</c:v>
                </c:pt>
                <c:pt idx="4552">
                  <c:v>1.4323457551273301E-2</c:v>
                </c:pt>
                <c:pt idx="4553">
                  <c:v>1.43528474951739E-2</c:v>
                </c:pt>
                <c:pt idx="4554">
                  <c:v>1.43550625402071E-2</c:v>
                </c:pt>
                <c:pt idx="4555">
                  <c:v>1.4346836161361801E-2</c:v>
                </c:pt>
                <c:pt idx="4556">
                  <c:v>1.44470960805539E-2</c:v>
                </c:pt>
                <c:pt idx="4557">
                  <c:v>1.44289403781335E-2</c:v>
                </c:pt>
                <c:pt idx="4558">
                  <c:v>1.4486753967344401E-2</c:v>
                </c:pt>
                <c:pt idx="4559">
                  <c:v>1.4485010496142399E-2</c:v>
                </c:pt>
                <c:pt idx="4560">
                  <c:v>1.4492995446771E-2</c:v>
                </c:pt>
                <c:pt idx="4561">
                  <c:v>1.4505692107241799E-2</c:v>
                </c:pt>
                <c:pt idx="4562">
                  <c:v>1.4492493497440501E-2</c:v>
                </c:pt>
                <c:pt idx="4563">
                  <c:v>1.4522986514710901E-2</c:v>
                </c:pt>
                <c:pt idx="4564">
                  <c:v>1.45127394484634E-2</c:v>
                </c:pt>
                <c:pt idx="4565">
                  <c:v>1.45208236803753E-2</c:v>
                </c:pt>
                <c:pt idx="4566">
                  <c:v>1.4578027037834399E-2</c:v>
                </c:pt>
                <c:pt idx="4567">
                  <c:v>1.4574374868770799E-2</c:v>
                </c:pt>
                <c:pt idx="4568">
                  <c:v>1.4687874251932499E-2</c:v>
                </c:pt>
                <c:pt idx="4569">
                  <c:v>1.4686680367402999E-2</c:v>
                </c:pt>
                <c:pt idx="4570">
                  <c:v>1.4658006328729101E-2</c:v>
                </c:pt>
                <c:pt idx="4571">
                  <c:v>1.46840960613152E-2</c:v>
                </c:pt>
                <c:pt idx="4572">
                  <c:v>1.4539653724549E-2</c:v>
                </c:pt>
                <c:pt idx="4573">
                  <c:v>1.35441796985255E-2</c:v>
                </c:pt>
                <c:pt idx="4574">
                  <c:v>1.34548818707881E-2</c:v>
                </c:pt>
                <c:pt idx="4575">
                  <c:v>1.3466621774840599E-2</c:v>
                </c:pt>
                <c:pt idx="4576">
                  <c:v>1.3484263462721101E-2</c:v>
                </c:pt>
                <c:pt idx="4577">
                  <c:v>1.3540924980526199E-2</c:v>
                </c:pt>
                <c:pt idx="4578">
                  <c:v>1.35503344747726E-2</c:v>
                </c:pt>
                <c:pt idx="4579">
                  <c:v>1.3541486960783101E-2</c:v>
                </c:pt>
                <c:pt idx="4580">
                  <c:v>1.3699034808511701E-2</c:v>
                </c:pt>
                <c:pt idx="4581">
                  <c:v>1.3693711333842199E-2</c:v>
                </c:pt>
                <c:pt idx="4582">
                  <c:v>1.37962958080432E-2</c:v>
                </c:pt>
                <c:pt idx="4583">
                  <c:v>1.3734918895743299E-2</c:v>
                </c:pt>
                <c:pt idx="4584">
                  <c:v>1.38259760824793E-2</c:v>
                </c:pt>
                <c:pt idx="4585">
                  <c:v>1.3853886531425601E-2</c:v>
                </c:pt>
                <c:pt idx="4586">
                  <c:v>1.3813796256426E-2</c:v>
                </c:pt>
                <c:pt idx="4587">
                  <c:v>1.3860485327060801E-2</c:v>
                </c:pt>
                <c:pt idx="4588">
                  <c:v>1.4013671304357199E-2</c:v>
                </c:pt>
                <c:pt idx="4589">
                  <c:v>1.4014987454314801E-2</c:v>
                </c:pt>
                <c:pt idx="4590">
                  <c:v>1.4177145203491301E-2</c:v>
                </c:pt>
                <c:pt idx="4591">
                  <c:v>1.42482457489564E-2</c:v>
                </c:pt>
                <c:pt idx="4592">
                  <c:v>1.40588971696797E-2</c:v>
                </c:pt>
                <c:pt idx="4593">
                  <c:v>1.39976326117948E-2</c:v>
                </c:pt>
                <c:pt idx="4594">
                  <c:v>1.39958424166932E-2</c:v>
                </c:pt>
                <c:pt idx="4595">
                  <c:v>1.40657177155925E-2</c:v>
                </c:pt>
                <c:pt idx="4596">
                  <c:v>1.4009991373039399E-2</c:v>
                </c:pt>
                <c:pt idx="4597">
                  <c:v>1.3969486488901599E-2</c:v>
                </c:pt>
                <c:pt idx="4598">
                  <c:v>1.3792538012561801E-2</c:v>
                </c:pt>
                <c:pt idx="4599">
                  <c:v>1.38423212848409E-2</c:v>
                </c:pt>
                <c:pt idx="4600">
                  <c:v>1.38248175773166E-2</c:v>
                </c:pt>
                <c:pt idx="4601">
                  <c:v>1.3780385117312499E-2</c:v>
                </c:pt>
                <c:pt idx="4602">
                  <c:v>1.37899776966844E-2</c:v>
                </c:pt>
                <c:pt idx="4603">
                  <c:v>1.34925902104698E-2</c:v>
                </c:pt>
                <c:pt idx="4604">
                  <c:v>1.3554132355842701E-2</c:v>
                </c:pt>
                <c:pt idx="4605">
                  <c:v>1.34870557253531E-2</c:v>
                </c:pt>
                <c:pt idx="4606">
                  <c:v>1.3465829955724399E-2</c:v>
                </c:pt>
                <c:pt idx="4607">
                  <c:v>1.34422954936911E-2</c:v>
                </c:pt>
                <c:pt idx="4608">
                  <c:v>1.3269510737333399E-2</c:v>
                </c:pt>
                <c:pt idx="4609">
                  <c:v>1.3185046532879399E-2</c:v>
                </c:pt>
                <c:pt idx="4610">
                  <c:v>1.3092845311985299E-2</c:v>
                </c:pt>
                <c:pt idx="4611">
                  <c:v>1.30942229497079E-2</c:v>
                </c:pt>
                <c:pt idx="4612">
                  <c:v>1.3093656985492801E-2</c:v>
                </c:pt>
                <c:pt idx="4613">
                  <c:v>1.3116411115893199E-2</c:v>
                </c:pt>
                <c:pt idx="4614">
                  <c:v>1.3169577007799299E-2</c:v>
                </c:pt>
                <c:pt idx="4615">
                  <c:v>1.3168112488558001E-2</c:v>
                </c:pt>
                <c:pt idx="4616">
                  <c:v>1.3142003553237301E-2</c:v>
                </c:pt>
                <c:pt idx="4617">
                  <c:v>1.3143443273117899E-2</c:v>
                </c:pt>
                <c:pt idx="4618">
                  <c:v>1.30736876307424E-2</c:v>
                </c:pt>
                <c:pt idx="4619">
                  <c:v>1.31489357587318E-2</c:v>
                </c:pt>
                <c:pt idx="4620">
                  <c:v>1.31488031658532E-2</c:v>
                </c:pt>
                <c:pt idx="4621">
                  <c:v>1.3140858940103301E-2</c:v>
                </c:pt>
                <c:pt idx="4622">
                  <c:v>1.31377744531317E-2</c:v>
                </c:pt>
                <c:pt idx="4623">
                  <c:v>1.3098035931789299E-2</c:v>
                </c:pt>
                <c:pt idx="4624">
                  <c:v>1.3110898642553701E-2</c:v>
                </c:pt>
                <c:pt idx="4625">
                  <c:v>1.3111215894696099E-2</c:v>
                </c:pt>
                <c:pt idx="4626">
                  <c:v>1.3103064486544899E-2</c:v>
                </c:pt>
                <c:pt idx="4627">
                  <c:v>1.3110925782892999E-2</c:v>
                </c:pt>
                <c:pt idx="4628">
                  <c:v>1.30975513029792E-2</c:v>
                </c:pt>
                <c:pt idx="4629">
                  <c:v>1.3117425702418599E-2</c:v>
                </c:pt>
                <c:pt idx="4630">
                  <c:v>1.31455253282051E-2</c:v>
                </c:pt>
                <c:pt idx="4631">
                  <c:v>1.31317168286742E-2</c:v>
                </c:pt>
                <c:pt idx="4632">
                  <c:v>1.3130647428367099E-2</c:v>
                </c:pt>
                <c:pt idx="4633">
                  <c:v>1.3127068678158001E-2</c:v>
                </c:pt>
                <c:pt idx="4634">
                  <c:v>1.31447284420203E-2</c:v>
                </c:pt>
                <c:pt idx="4635">
                  <c:v>1.32027749131573E-2</c:v>
                </c:pt>
                <c:pt idx="4636">
                  <c:v>1.32262114910357E-2</c:v>
                </c:pt>
                <c:pt idx="4637">
                  <c:v>1.3223838899701501E-2</c:v>
                </c:pt>
                <c:pt idx="4638">
                  <c:v>1.32147551905386E-2</c:v>
                </c:pt>
                <c:pt idx="4639">
                  <c:v>1.3214601097607401E-2</c:v>
                </c:pt>
                <c:pt idx="4640">
                  <c:v>1.3233436440543001E-2</c:v>
                </c:pt>
                <c:pt idx="4641">
                  <c:v>1.3234772672307601E-2</c:v>
                </c:pt>
                <c:pt idx="4642">
                  <c:v>1.33486348025525E-2</c:v>
                </c:pt>
                <c:pt idx="4643">
                  <c:v>1.33458428936758E-2</c:v>
                </c:pt>
                <c:pt idx="4644">
                  <c:v>1.3346221290735099E-2</c:v>
                </c:pt>
                <c:pt idx="4645">
                  <c:v>1.33412490901059E-2</c:v>
                </c:pt>
                <c:pt idx="4646">
                  <c:v>1.3334918347816201E-2</c:v>
                </c:pt>
                <c:pt idx="4647">
                  <c:v>1.3328243698817599E-2</c:v>
                </c:pt>
                <c:pt idx="4648">
                  <c:v>1.32561015645489E-2</c:v>
                </c:pt>
                <c:pt idx="4649">
                  <c:v>1.3265454100966301E-2</c:v>
                </c:pt>
                <c:pt idx="4650">
                  <c:v>1.3252488490085101E-2</c:v>
                </c:pt>
                <c:pt idx="4651">
                  <c:v>1.32427580212129E-2</c:v>
                </c:pt>
                <c:pt idx="4652">
                  <c:v>1.3257225639987E-2</c:v>
                </c:pt>
                <c:pt idx="4653">
                  <c:v>1.3256919449492499E-2</c:v>
                </c:pt>
                <c:pt idx="4654">
                  <c:v>1.31630751689216E-2</c:v>
                </c:pt>
                <c:pt idx="4655">
                  <c:v>1.31777956690152E-2</c:v>
                </c:pt>
                <c:pt idx="4656">
                  <c:v>1.3200487334171901E-2</c:v>
                </c:pt>
                <c:pt idx="4657">
                  <c:v>1.32483460361177E-2</c:v>
                </c:pt>
                <c:pt idx="4658">
                  <c:v>1.3247736856917301E-2</c:v>
                </c:pt>
                <c:pt idx="4659">
                  <c:v>1.3245174268862001E-2</c:v>
                </c:pt>
                <c:pt idx="4660">
                  <c:v>1.3242600628379999E-2</c:v>
                </c:pt>
                <c:pt idx="4661">
                  <c:v>1.32456991021156E-2</c:v>
                </c:pt>
                <c:pt idx="4662">
                  <c:v>1.3226596454340401E-2</c:v>
                </c:pt>
                <c:pt idx="4663">
                  <c:v>1.32265669847886E-2</c:v>
                </c:pt>
                <c:pt idx="4664">
                  <c:v>1.32348700102884E-2</c:v>
                </c:pt>
                <c:pt idx="4665">
                  <c:v>1.32059249313453E-2</c:v>
                </c:pt>
                <c:pt idx="4666">
                  <c:v>1.3230704131519401E-2</c:v>
                </c:pt>
                <c:pt idx="4667">
                  <c:v>1.32303479762563E-2</c:v>
                </c:pt>
                <c:pt idx="4668">
                  <c:v>1.3207199058335299E-2</c:v>
                </c:pt>
                <c:pt idx="4669">
                  <c:v>1.3340905333159301E-2</c:v>
                </c:pt>
                <c:pt idx="4670">
                  <c:v>1.33385547274627E-2</c:v>
                </c:pt>
                <c:pt idx="4671">
                  <c:v>1.3337160867175801E-2</c:v>
                </c:pt>
                <c:pt idx="4672">
                  <c:v>1.33438166995185E-2</c:v>
                </c:pt>
                <c:pt idx="4673">
                  <c:v>1.3339596723907001E-2</c:v>
                </c:pt>
                <c:pt idx="4674">
                  <c:v>1.32871385621867E-2</c:v>
                </c:pt>
                <c:pt idx="4675">
                  <c:v>1.3248399611224799E-2</c:v>
                </c:pt>
                <c:pt idx="4676">
                  <c:v>1.31966743157077E-2</c:v>
                </c:pt>
                <c:pt idx="4677">
                  <c:v>1.2756748905803099E-2</c:v>
                </c:pt>
                <c:pt idx="4678">
                  <c:v>1.27783761184371E-2</c:v>
                </c:pt>
                <c:pt idx="4679">
                  <c:v>1.2759951116106999E-2</c:v>
                </c:pt>
                <c:pt idx="4680">
                  <c:v>1.2732450896665E-2</c:v>
                </c:pt>
                <c:pt idx="4681">
                  <c:v>1.26784201927962E-2</c:v>
                </c:pt>
                <c:pt idx="4682">
                  <c:v>1.2618407751033201E-2</c:v>
                </c:pt>
                <c:pt idx="4683">
                  <c:v>1.2603250743439201E-2</c:v>
                </c:pt>
                <c:pt idx="4684">
                  <c:v>1.25998839161309E-2</c:v>
                </c:pt>
                <c:pt idx="4685">
                  <c:v>1.23798409023857E-2</c:v>
                </c:pt>
                <c:pt idx="4686">
                  <c:v>1.2585139998661199E-2</c:v>
                </c:pt>
                <c:pt idx="4687">
                  <c:v>1.2448146648812599E-2</c:v>
                </c:pt>
                <c:pt idx="4688">
                  <c:v>1.2502969550605999E-2</c:v>
                </c:pt>
                <c:pt idx="4689">
                  <c:v>1.2509960518895E-2</c:v>
                </c:pt>
                <c:pt idx="4690">
                  <c:v>1.26100295477243E-2</c:v>
                </c:pt>
                <c:pt idx="4691">
                  <c:v>1.22809701258911E-2</c:v>
                </c:pt>
                <c:pt idx="4692">
                  <c:v>1.2289420290753901E-2</c:v>
                </c:pt>
                <c:pt idx="4693">
                  <c:v>1.22846367195388E-2</c:v>
                </c:pt>
                <c:pt idx="4694">
                  <c:v>1.21979838418517E-2</c:v>
                </c:pt>
                <c:pt idx="4695">
                  <c:v>1.22201003279382E-2</c:v>
                </c:pt>
                <c:pt idx="4696">
                  <c:v>1.2230106406327001E-2</c:v>
                </c:pt>
                <c:pt idx="4697">
                  <c:v>1.21941762908345E-2</c:v>
                </c:pt>
                <c:pt idx="4698">
                  <c:v>1.2206221501078701E-2</c:v>
                </c:pt>
                <c:pt idx="4699">
                  <c:v>1.22115048943248E-2</c:v>
                </c:pt>
                <c:pt idx="4700">
                  <c:v>1.22100839934662E-2</c:v>
                </c:pt>
                <c:pt idx="4701">
                  <c:v>1.22622726780865E-2</c:v>
                </c:pt>
                <c:pt idx="4702">
                  <c:v>1.2282159916755801E-2</c:v>
                </c:pt>
                <c:pt idx="4703">
                  <c:v>1.22753912381738E-2</c:v>
                </c:pt>
                <c:pt idx="4704">
                  <c:v>1.2327855690208601E-2</c:v>
                </c:pt>
                <c:pt idx="4705">
                  <c:v>1.2357349723359799E-2</c:v>
                </c:pt>
                <c:pt idx="4706">
                  <c:v>1.23411091645475E-2</c:v>
                </c:pt>
                <c:pt idx="4707">
                  <c:v>1.2254364044647199E-2</c:v>
                </c:pt>
                <c:pt idx="4708">
                  <c:v>1.23192822208118E-2</c:v>
                </c:pt>
                <c:pt idx="4709">
                  <c:v>1.2286460496196199E-2</c:v>
                </c:pt>
                <c:pt idx="4710">
                  <c:v>1.2259562249102201E-2</c:v>
                </c:pt>
                <c:pt idx="4711">
                  <c:v>1.22485929064716E-2</c:v>
                </c:pt>
                <c:pt idx="4712">
                  <c:v>1.22669862410268E-2</c:v>
                </c:pt>
                <c:pt idx="4713">
                  <c:v>1.22667561532065E-2</c:v>
                </c:pt>
                <c:pt idx="4714">
                  <c:v>1.22485899706773E-2</c:v>
                </c:pt>
                <c:pt idx="4715">
                  <c:v>1.22995930276201E-2</c:v>
                </c:pt>
                <c:pt idx="4716">
                  <c:v>1.2232286036188899E-2</c:v>
                </c:pt>
                <c:pt idx="4717">
                  <c:v>1.22295158513897E-2</c:v>
                </c:pt>
                <c:pt idx="4718">
                  <c:v>1.22250421720976E-2</c:v>
                </c:pt>
                <c:pt idx="4719">
                  <c:v>1.2237161791505901E-2</c:v>
                </c:pt>
                <c:pt idx="4720">
                  <c:v>1.22351936292832E-2</c:v>
                </c:pt>
                <c:pt idx="4721">
                  <c:v>1.2256816620596999E-2</c:v>
                </c:pt>
                <c:pt idx="4722">
                  <c:v>1.21983491221764E-2</c:v>
                </c:pt>
                <c:pt idx="4723">
                  <c:v>1.22193949725486E-2</c:v>
                </c:pt>
                <c:pt idx="4724">
                  <c:v>1.2141678188278601E-2</c:v>
                </c:pt>
                <c:pt idx="4725">
                  <c:v>1.2150334587294601E-2</c:v>
                </c:pt>
                <c:pt idx="4726">
                  <c:v>1.21415303397002E-2</c:v>
                </c:pt>
                <c:pt idx="4727">
                  <c:v>1.21376368456077E-2</c:v>
                </c:pt>
                <c:pt idx="4728">
                  <c:v>1.2132589177267001E-2</c:v>
                </c:pt>
                <c:pt idx="4729">
                  <c:v>1.21250766602727E-2</c:v>
                </c:pt>
                <c:pt idx="4730">
                  <c:v>1.2138168816622E-2</c:v>
                </c:pt>
                <c:pt idx="4731">
                  <c:v>1.2063936237474499E-2</c:v>
                </c:pt>
                <c:pt idx="4732">
                  <c:v>1.2075190025562E-2</c:v>
                </c:pt>
                <c:pt idx="4733">
                  <c:v>1.2050748450846201E-2</c:v>
                </c:pt>
                <c:pt idx="4734">
                  <c:v>1.20686123528403E-2</c:v>
                </c:pt>
                <c:pt idx="4735">
                  <c:v>1.20253015753968E-2</c:v>
                </c:pt>
                <c:pt idx="4736">
                  <c:v>1.2030444648573E-2</c:v>
                </c:pt>
                <c:pt idx="4737">
                  <c:v>1.20315617550682E-2</c:v>
                </c:pt>
                <c:pt idx="4738">
                  <c:v>1.20548121004784E-2</c:v>
                </c:pt>
                <c:pt idx="4739">
                  <c:v>1.20696696310674E-2</c:v>
                </c:pt>
                <c:pt idx="4740">
                  <c:v>1.2004292769655299E-2</c:v>
                </c:pt>
                <c:pt idx="4741">
                  <c:v>1.1857388324006599E-2</c:v>
                </c:pt>
                <c:pt idx="4742">
                  <c:v>1.1862390828595099E-2</c:v>
                </c:pt>
                <c:pt idx="4743">
                  <c:v>1.1857144939387301E-2</c:v>
                </c:pt>
                <c:pt idx="4744">
                  <c:v>1.18585522536037E-2</c:v>
                </c:pt>
                <c:pt idx="4745">
                  <c:v>1.18879642812162E-2</c:v>
                </c:pt>
                <c:pt idx="4746">
                  <c:v>1.18864424319344E-2</c:v>
                </c:pt>
                <c:pt idx="4747">
                  <c:v>1.18898075375413E-2</c:v>
                </c:pt>
                <c:pt idx="4748">
                  <c:v>1.1892209536261101E-2</c:v>
                </c:pt>
                <c:pt idx="4749">
                  <c:v>1.19091735273604E-2</c:v>
                </c:pt>
                <c:pt idx="4750">
                  <c:v>1.1885018041033001E-2</c:v>
                </c:pt>
                <c:pt idx="4751">
                  <c:v>1.1895055954729099E-2</c:v>
                </c:pt>
                <c:pt idx="4752">
                  <c:v>1.18998706257325E-2</c:v>
                </c:pt>
                <c:pt idx="4753">
                  <c:v>1.1889416254229099E-2</c:v>
                </c:pt>
                <c:pt idx="4754">
                  <c:v>1.18801369636297E-2</c:v>
                </c:pt>
                <c:pt idx="4755">
                  <c:v>1.1839069470947801E-2</c:v>
                </c:pt>
                <c:pt idx="4756">
                  <c:v>1.18766705028178E-2</c:v>
                </c:pt>
                <c:pt idx="4757">
                  <c:v>1.18538384921537E-2</c:v>
                </c:pt>
                <c:pt idx="4758">
                  <c:v>1.1844710365301899E-2</c:v>
                </c:pt>
                <c:pt idx="4759">
                  <c:v>1.1807992067081399E-2</c:v>
                </c:pt>
                <c:pt idx="4760">
                  <c:v>1.18080315953341E-2</c:v>
                </c:pt>
                <c:pt idx="4761">
                  <c:v>1.1760119602318099E-2</c:v>
                </c:pt>
                <c:pt idx="4762">
                  <c:v>1.1775208006251699E-2</c:v>
                </c:pt>
                <c:pt idx="4763">
                  <c:v>1.1762019787690699E-2</c:v>
                </c:pt>
                <c:pt idx="4764">
                  <c:v>1.1761937218410699E-2</c:v>
                </c:pt>
                <c:pt idx="4765">
                  <c:v>1.17428228901355E-2</c:v>
                </c:pt>
                <c:pt idx="4766">
                  <c:v>1.17297449727731E-2</c:v>
                </c:pt>
                <c:pt idx="4767">
                  <c:v>1.1738565595679601E-2</c:v>
                </c:pt>
                <c:pt idx="4768">
                  <c:v>1.17390342781126E-2</c:v>
                </c:pt>
                <c:pt idx="4769">
                  <c:v>1.1732197304708701E-2</c:v>
                </c:pt>
                <c:pt idx="4770">
                  <c:v>1.1731556263372999E-2</c:v>
                </c:pt>
                <c:pt idx="4771">
                  <c:v>1.17059188142703E-2</c:v>
                </c:pt>
                <c:pt idx="4772">
                  <c:v>1.1714383928655999E-2</c:v>
                </c:pt>
                <c:pt idx="4773">
                  <c:v>1.16866212799463E-2</c:v>
                </c:pt>
                <c:pt idx="4774">
                  <c:v>1.16922677275661E-2</c:v>
                </c:pt>
                <c:pt idx="4775">
                  <c:v>1.17040901056323E-2</c:v>
                </c:pt>
                <c:pt idx="4776">
                  <c:v>1.1747023778307599E-2</c:v>
                </c:pt>
                <c:pt idx="4777">
                  <c:v>1.1673223001377801E-2</c:v>
                </c:pt>
                <c:pt idx="4778">
                  <c:v>1.1678723893689199E-2</c:v>
                </c:pt>
                <c:pt idx="4779">
                  <c:v>1.1685833958151899E-2</c:v>
                </c:pt>
                <c:pt idx="4780">
                  <c:v>1.1698245592099201E-2</c:v>
                </c:pt>
                <c:pt idx="4781">
                  <c:v>1.16911252316424E-2</c:v>
                </c:pt>
                <c:pt idx="4782">
                  <c:v>1.1733955260420899E-2</c:v>
                </c:pt>
                <c:pt idx="4783">
                  <c:v>1.1741846436544599E-2</c:v>
                </c:pt>
                <c:pt idx="4784">
                  <c:v>1.1749699198834901E-2</c:v>
                </c:pt>
                <c:pt idx="4785">
                  <c:v>1.1731373180226001E-2</c:v>
                </c:pt>
                <c:pt idx="4786">
                  <c:v>1.17251599820888E-2</c:v>
                </c:pt>
                <c:pt idx="4787">
                  <c:v>1.17296891549709E-2</c:v>
                </c:pt>
                <c:pt idx="4788">
                  <c:v>1.17291628577968E-2</c:v>
                </c:pt>
                <c:pt idx="4789">
                  <c:v>1.1710635876336299E-2</c:v>
                </c:pt>
                <c:pt idx="4790">
                  <c:v>1.17454305355589E-2</c:v>
                </c:pt>
                <c:pt idx="4791">
                  <c:v>1.17407816700161E-2</c:v>
                </c:pt>
                <c:pt idx="4792">
                  <c:v>1.16976463141389E-2</c:v>
                </c:pt>
                <c:pt idx="4793">
                  <c:v>1.16886608897131E-2</c:v>
                </c:pt>
                <c:pt idx="4794">
                  <c:v>1.1705723503809801E-2</c:v>
                </c:pt>
                <c:pt idx="4795">
                  <c:v>1.17110043182169E-2</c:v>
                </c:pt>
                <c:pt idx="4796">
                  <c:v>1.1707529663160901E-2</c:v>
                </c:pt>
                <c:pt idx="4797">
                  <c:v>1.1708419579438301E-2</c:v>
                </c:pt>
                <c:pt idx="4798">
                  <c:v>1.1689222315587401E-2</c:v>
                </c:pt>
                <c:pt idx="4799">
                  <c:v>1.16438031833128E-2</c:v>
                </c:pt>
                <c:pt idx="4800">
                  <c:v>1.16678993477351E-2</c:v>
                </c:pt>
                <c:pt idx="4801">
                  <c:v>1.16134388871859E-2</c:v>
                </c:pt>
                <c:pt idx="4802">
                  <c:v>1.1611581473059501E-2</c:v>
                </c:pt>
                <c:pt idx="4803">
                  <c:v>1.1572720559156599E-2</c:v>
                </c:pt>
                <c:pt idx="4804">
                  <c:v>1.15783328678451E-2</c:v>
                </c:pt>
                <c:pt idx="4805">
                  <c:v>1.1578650337058301E-2</c:v>
                </c:pt>
                <c:pt idx="4806">
                  <c:v>1.1448250155923099E-2</c:v>
                </c:pt>
                <c:pt idx="4807">
                  <c:v>1.14478312653253E-2</c:v>
                </c:pt>
                <c:pt idx="4808">
                  <c:v>1.14724686623767E-2</c:v>
                </c:pt>
                <c:pt idx="4809">
                  <c:v>1.1482680459405099E-2</c:v>
                </c:pt>
                <c:pt idx="4810">
                  <c:v>1.15230251884021E-2</c:v>
                </c:pt>
                <c:pt idx="4811">
                  <c:v>1.15115704497328E-2</c:v>
                </c:pt>
                <c:pt idx="4812">
                  <c:v>1.15453851911477E-2</c:v>
                </c:pt>
                <c:pt idx="4813">
                  <c:v>1.15004588393422E-2</c:v>
                </c:pt>
                <c:pt idx="4814">
                  <c:v>1.15177612424211E-2</c:v>
                </c:pt>
                <c:pt idx="4815">
                  <c:v>1.14981219027371E-2</c:v>
                </c:pt>
                <c:pt idx="4816">
                  <c:v>1.1441367930733999E-2</c:v>
                </c:pt>
                <c:pt idx="4817">
                  <c:v>1.1457185926840099E-2</c:v>
                </c:pt>
                <c:pt idx="4818">
                  <c:v>1.1351529274266201E-2</c:v>
                </c:pt>
                <c:pt idx="4819">
                  <c:v>1.13521391317734E-2</c:v>
                </c:pt>
                <c:pt idx="4820">
                  <c:v>1.13247039260832E-2</c:v>
                </c:pt>
                <c:pt idx="4821">
                  <c:v>1.1284800130388E-2</c:v>
                </c:pt>
                <c:pt idx="4822">
                  <c:v>1.12854967823424E-2</c:v>
                </c:pt>
                <c:pt idx="4823">
                  <c:v>1.1312364216034E-2</c:v>
                </c:pt>
                <c:pt idx="4824">
                  <c:v>1.1334101255567801E-2</c:v>
                </c:pt>
                <c:pt idx="4825">
                  <c:v>1.1360778678352499E-2</c:v>
                </c:pt>
                <c:pt idx="4826">
                  <c:v>1.12908629777911E-2</c:v>
                </c:pt>
                <c:pt idx="4827">
                  <c:v>1.12053985381155E-2</c:v>
                </c:pt>
                <c:pt idx="4828">
                  <c:v>1.1214326695420201E-2</c:v>
                </c:pt>
                <c:pt idx="4829">
                  <c:v>1.1224526245967099E-2</c:v>
                </c:pt>
                <c:pt idx="4830">
                  <c:v>1.1055479415672999E-2</c:v>
                </c:pt>
                <c:pt idx="4831">
                  <c:v>1.10779080190762E-2</c:v>
                </c:pt>
                <c:pt idx="4832">
                  <c:v>1.11460416205218E-2</c:v>
                </c:pt>
                <c:pt idx="4833">
                  <c:v>1.12049116078716E-2</c:v>
                </c:pt>
                <c:pt idx="4834">
                  <c:v>1.11167617675044E-2</c:v>
                </c:pt>
                <c:pt idx="4835">
                  <c:v>1.11188767452514E-2</c:v>
                </c:pt>
                <c:pt idx="4836">
                  <c:v>1.1096099281027101E-2</c:v>
                </c:pt>
                <c:pt idx="4837">
                  <c:v>1.11876330910331E-2</c:v>
                </c:pt>
                <c:pt idx="4838">
                  <c:v>1.13900329444203E-2</c:v>
                </c:pt>
                <c:pt idx="4839">
                  <c:v>1.17159857995902E-2</c:v>
                </c:pt>
                <c:pt idx="4840">
                  <c:v>1.15815699663876E-2</c:v>
                </c:pt>
                <c:pt idx="4841">
                  <c:v>1.15139665910058E-2</c:v>
                </c:pt>
                <c:pt idx="4842">
                  <c:v>1.15051972129204E-2</c:v>
                </c:pt>
                <c:pt idx="4843">
                  <c:v>1.13929840770709E-2</c:v>
                </c:pt>
                <c:pt idx="4844">
                  <c:v>1.13955198025248E-2</c:v>
                </c:pt>
                <c:pt idx="4845">
                  <c:v>1.13218698108757E-2</c:v>
                </c:pt>
                <c:pt idx="4846">
                  <c:v>1.13603704171697E-2</c:v>
                </c:pt>
                <c:pt idx="4847">
                  <c:v>1.1361180195655201E-2</c:v>
                </c:pt>
                <c:pt idx="4848">
                  <c:v>1.1348572868320901E-2</c:v>
                </c:pt>
                <c:pt idx="4849">
                  <c:v>1.13835080324466E-2</c:v>
                </c:pt>
                <c:pt idx="4850">
                  <c:v>1.1371577717299301E-2</c:v>
                </c:pt>
                <c:pt idx="4851">
                  <c:v>1.13889152930233E-2</c:v>
                </c:pt>
                <c:pt idx="4852">
                  <c:v>1.1346808385100399E-2</c:v>
                </c:pt>
                <c:pt idx="4853">
                  <c:v>1.13736205862628E-2</c:v>
                </c:pt>
                <c:pt idx="4854">
                  <c:v>1.1285226523318899E-2</c:v>
                </c:pt>
              </c:numCache>
            </c:numRef>
          </c:val>
          <c:smooth val="0"/>
          <c:extLst>
            <c:ext xmlns:c16="http://schemas.microsoft.com/office/drawing/2014/chart" uri="{C3380CC4-5D6E-409C-BE32-E72D297353CC}">
              <c16:uniqueId val="{00000004-A453-4679-8CD4-0E382E926464}"/>
            </c:ext>
          </c:extLst>
        </c:ser>
        <c:dLbls>
          <c:showLegendKey val="0"/>
          <c:showVal val="0"/>
          <c:showCatName val="0"/>
          <c:showSerName val="0"/>
          <c:showPercent val="0"/>
          <c:showBubbleSize val="0"/>
        </c:dLbls>
        <c:marker val="1"/>
        <c:smooth val="0"/>
        <c:axId val="633520016"/>
        <c:axId val="633517456"/>
      </c:lineChart>
      <c:dateAx>
        <c:axId val="633520016"/>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zh-CN"/>
          </a:p>
        </c:txPr>
        <c:crossAx val="633517456"/>
        <c:crosses val="autoZero"/>
        <c:auto val="0"/>
        <c:lblOffset val="100"/>
        <c:baseTimeUnit val="days"/>
        <c:majorUnit val="2"/>
        <c:majorTimeUnit val="years"/>
        <c:minorUnit val="1"/>
        <c:minorTimeUnit val="years"/>
      </c:dateAx>
      <c:valAx>
        <c:axId val="63351745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zh-CN"/>
          </a:p>
        </c:txPr>
        <c:crossAx val="633520016"/>
        <c:crosses val="autoZero"/>
        <c:crossBetween val="between"/>
      </c:valAx>
      <c:valAx>
        <c:axId val="623830416"/>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zh-CN"/>
          </a:p>
        </c:txPr>
        <c:crossAx val="623832336"/>
        <c:crosses val="max"/>
        <c:crossBetween val="between"/>
      </c:valAx>
      <c:catAx>
        <c:axId val="623832336"/>
        <c:scaling>
          <c:orientation val="minMax"/>
        </c:scaling>
        <c:delete val="1"/>
        <c:axPos val="b"/>
        <c:numFmt formatCode="General" sourceLinked="1"/>
        <c:majorTickMark val="out"/>
        <c:minorTickMark val="none"/>
        <c:tickLblPos val="nextTo"/>
        <c:crossAx val="623830416"/>
        <c:crosses val="autoZero"/>
        <c:auto val="1"/>
        <c:lblAlgn val="ctr"/>
        <c:lblOffset val="100"/>
        <c:noMultiLvlLbl val="0"/>
      </c:catAx>
      <c:spPr>
        <a:noFill/>
        <a:ln>
          <a:noFill/>
        </a:ln>
        <a:effectLst/>
      </c:spPr>
    </c:plotArea>
    <c:legend>
      <c:legendPos val="b"/>
      <c:layout>
        <c:manualLayout>
          <c:xMode val="edge"/>
          <c:yMode val="edge"/>
          <c:x val="5.5617457733984368E-2"/>
          <c:y val="0.86310774218833508"/>
          <c:w val="0.89792894444895421"/>
          <c:h val="6.901888797642626E-2"/>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pPr>
      <a:endParaRPr lang="zh-CN"/>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
          <c:order val="1"/>
          <c:tx>
            <c:strRef>
              <c:f>turnover!$C$1</c:f>
              <c:strCache>
                <c:ptCount val="1"/>
                <c:pt idx="0">
                  <c:v>close price</c:v>
                </c:pt>
              </c:strCache>
            </c:strRef>
          </c:tx>
          <c:spPr>
            <a:solidFill>
              <a:schemeClr val="bg2">
                <a:lumMod val="75000"/>
              </a:schemeClr>
            </a:solidFill>
            <a:ln>
              <a:noFill/>
            </a:ln>
            <a:effectLst/>
          </c:spPr>
          <c:invertIfNegative val="0"/>
          <c:cat>
            <c:numRef>
              <c:f>turnover!$A$2:$A$4201</c:f>
              <c:numCache>
                <c:formatCode>yyyy/m/d;@</c:formatCode>
                <c:ptCount val="4200"/>
                <c:pt idx="0">
                  <c:v>38356</c:v>
                </c:pt>
                <c:pt idx="1">
                  <c:v>38357</c:v>
                </c:pt>
                <c:pt idx="2">
                  <c:v>38358</c:v>
                </c:pt>
                <c:pt idx="3">
                  <c:v>38359</c:v>
                </c:pt>
                <c:pt idx="4">
                  <c:v>38362</c:v>
                </c:pt>
                <c:pt idx="5">
                  <c:v>38363</c:v>
                </c:pt>
                <c:pt idx="6">
                  <c:v>38364</c:v>
                </c:pt>
                <c:pt idx="7">
                  <c:v>38365</c:v>
                </c:pt>
                <c:pt idx="8">
                  <c:v>38366</c:v>
                </c:pt>
                <c:pt idx="9">
                  <c:v>38369</c:v>
                </c:pt>
                <c:pt idx="10">
                  <c:v>38370</c:v>
                </c:pt>
                <c:pt idx="11">
                  <c:v>38371</c:v>
                </c:pt>
                <c:pt idx="12">
                  <c:v>38372</c:v>
                </c:pt>
                <c:pt idx="13">
                  <c:v>38373</c:v>
                </c:pt>
                <c:pt idx="14">
                  <c:v>38376</c:v>
                </c:pt>
                <c:pt idx="15">
                  <c:v>38377</c:v>
                </c:pt>
                <c:pt idx="16">
                  <c:v>38378</c:v>
                </c:pt>
                <c:pt idx="17">
                  <c:v>38379</c:v>
                </c:pt>
                <c:pt idx="18">
                  <c:v>38380</c:v>
                </c:pt>
                <c:pt idx="19">
                  <c:v>38383</c:v>
                </c:pt>
                <c:pt idx="20">
                  <c:v>38384</c:v>
                </c:pt>
                <c:pt idx="21">
                  <c:v>38385</c:v>
                </c:pt>
                <c:pt idx="22">
                  <c:v>38386</c:v>
                </c:pt>
                <c:pt idx="23">
                  <c:v>38387</c:v>
                </c:pt>
                <c:pt idx="24">
                  <c:v>38399</c:v>
                </c:pt>
                <c:pt idx="25">
                  <c:v>38400</c:v>
                </c:pt>
                <c:pt idx="26">
                  <c:v>38401</c:v>
                </c:pt>
                <c:pt idx="27">
                  <c:v>38404</c:v>
                </c:pt>
                <c:pt idx="28">
                  <c:v>38405</c:v>
                </c:pt>
                <c:pt idx="29">
                  <c:v>38406</c:v>
                </c:pt>
                <c:pt idx="30">
                  <c:v>38407</c:v>
                </c:pt>
                <c:pt idx="31">
                  <c:v>38408</c:v>
                </c:pt>
                <c:pt idx="32">
                  <c:v>38411</c:v>
                </c:pt>
                <c:pt idx="33">
                  <c:v>38412</c:v>
                </c:pt>
                <c:pt idx="34">
                  <c:v>38413</c:v>
                </c:pt>
                <c:pt idx="35">
                  <c:v>38414</c:v>
                </c:pt>
                <c:pt idx="36">
                  <c:v>38415</c:v>
                </c:pt>
                <c:pt idx="37">
                  <c:v>38418</c:v>
                </c:pt>
                <c:pt idx="38">
                  <c:v>38419</c:v>
                </c:pt>
                <c:pt idx="39">
                  <c:v>38420</c:v>
                </c:pt>
                <c:pt idx="40">
                  <c:v>38421</c:v>
                </c:pt>
                <c:pt idx="41">
                  <c:v>38422</c:v>
                </c:pt>
                <c:pt idx="42">
                  <c:v>38425</c:v>
                </c:pt>
                <c:pt idx="43">
                  <c:v>38426</c:v>
                </c:pt>
                <c:pt idx="44">
                  <c:v>38427</c:v>
                </c:pt>
                <c:pt idx="45">
                  <c:v>38428</c:v>
                </c:pt>
                <c:pt idx="46">
                  <c:v>38429</c:v>
                </c:pt>
                <c:pt idx="47">
                  <c:v>38432</c:v>
                </c:pt>
                <c:pt idx="48">
                  <c:v>38433</c:v>
                </c:pt>
                <c:pt idx="49">
                  <c:v>38434</c:v>
                </c:pt>
                <c:pt idx="50">
                  <c:v>38435</c:v>
                </c:pt>
                <c:pt idx="51">
                  <c:v>38436</c:v>
                </c:pt>
                <c:pt idx="52">
                  <c:v>38439</c:v>
                </c:pt>
                <c:pt idx="53">
                  <c:v>38440</c:v>
                </c:pt>
                <c:pt idx="54">
                  <c:v>38441</c:v>
                </c:pt>
                <c:pt idx="55">
                  <c:v>38442</c:v>
                </c:pt>
                <c:pt idx="56">
                  <c:v>38443</c:v>
                </c:pt>
                <c:pt idx="57">
                  <c:v>38446</c:v>
                </c:pt>
                <c:pt idx="58">
                  <c:v>38447</c:v>
                </c:pt>
                <c:pt idx="59">
                  <c:v>38448</c:v>
                </c:pt>
                <c:pt idx="60">
                  <c:v>38449</c:v>
                </c:pt>
                <c:pt idx="61">
                  <c:v>38450</c:v>
                </c:pt>
                <c:pt idx="62">
                  <c:v>38453</c:v>
                </c:pt>
                <c:pt idx="63">
                  <c:v>38454</c:v>
                </c:pt>
                <c:pt idx="64">
                  <c:v>38455</c:v>
                </c:pt>
                <c:pt idx="65">
                  <c:v>38456</c:v>
                </c:pt>
                <c:pt idx="66">
                  <c:v>38457</c:v>
                </c:pt>
                <c:pt idx="67">
                  <c:v>38460</c:v>
                </c:pt>
                <c:pt idx="68">
                  <c:v>38461</c:v>
                </c:pt>
                <c:pt idx="69">
                  <c:v>38462</c:v>
                </c:pt>
                <c:pt idx="70">
                  <c:v>38463</c:v>
                </c:pt>
                <c:pt idx="71">
                  <c:v>38464</c:v>
                </c:pt>
                <c:pt idx="72">
                  <c:v>38467</c:v>
                </c:pt>
                <c:pt idx="73">
                  <c:v>38468</c:v>
                </c:pt>
                <c:pt idx="74">
                  <c:v>38469</c:v>
                </c:pt>
                <c:pt idx="75">
                  <c:v>38470</c:v>
                </c:pt>
                <c:pt idx="76">
                  <c:v>38471</c:v>
                </c:pt>
                <c:pt idx="77">
                  <c:v>38481</c:v>
                </c:pt>
                <c:pt idx="78">
                  <c:v>38482</c:v>
                </c:pt>
                <c:pt idx="79">
                  <c:v>38483</c:v>
                </c:pt>
                <c:pt idx="80">
                  <c:v>38484</c:v>
                </c:pt>
                <c:pt idx="81">
                  <c:v>38485</c:v>
                </c:pt>
                <c:pt idx="82">
                  <c:v>38488</c:v>
                </c:pt>
                <c:pt idx="83">
                  <c:v>38489</c:v>
                </c:pt>
                <c:pt idx="84">
                  <c:v>38490</c:v>
                </c:pt>
                <c:pt idx="85">
                  <c:v>38491</c:v>
                </c:pt>
                <c:pt idx="86">
                  <c:v>38492</c:v>
                </c:pt>
                <c:pt idx="87">
                  <c:v>38495</c:v>
                </c:pt>
                <c:pt idx="88">
                  <c:v>38496</c:v>
                </c:pt>
                <c:pt idx="89">
                  <c:v>38497</c:v>
                </c:pt>
                <c:pt idx="90">
                  <c:v>38498</c:v>
                </c:pt>
                <c:pt idx="91">
                  <c:v>38499</c:v>
                </c:pt>
                <c:pt idx="92">
                  <c:v>38502</c:v>
                </c:pt>
                <c:pt idx="93">
                  <c:v>38503</c:v>
                </c:pt>
                <c:pt idx="94">
                  <c:v>38504</c:v>
                </c:pt>
                <c:pt idx="95">
                  <c:v>38505</c:v>
                </c:pt>
                <c:pt idx="96">
                  <c:v>38506</c:v>
                </c:pt>
                <c:pt idx="97">
                  <c:v>38509</c:v>
                </c:pt>
                <c:pt idx="98">
                  <c:v>38510</c:v>
                </c:pt>
                <c:pt idx="99">
                  <c:v>38511</c:v>
                </c:pt>
                <c:pt idx="100">
                  <c:v>38512</c:v>
                </c:pt>
                <c:pt idx="101">
                  <c:v>38513</c:v>
                </c:pt>
                <c:pt idx="102">
                  <c:v>38516</c:v>
                </c:pt>
                <c:pt idx="103">
                  <c:v>38517</c:v>
                </c:pt>
                <c:pt idx="104">
                  <c:v>38518</c:v>
                </c:pt>
                <c:pt idx="105">
                  <c:v>38519</c:v>
                </c:pt>
                <c:pt idx="106">
                  <c:v>38520</c:v>
                </c:pt>
                <c:pt idx="107">
                  <c:v>38523</c:v>
                </c:pt>
                <c:pt idx="108">
                  <c:v>38524</c:v>
                </c:pt>
                <c:pt idx="109">
                  <c:v>38525</c:v>
                </c:pt>
                <c:pt idx="110">
                  <c:v>38526</c:v>
                </c:pt>
                <c:pt idx="111">
                  <c:v>38527</c:v>
                </c:pt>
                <c:pt idx="112">
                  <c:v>38530</c:v>
                </c:pt>
                <c:pt idx="113">
                  <c:v>38531</c:v>
                </c:pt>
                <c:pt idx="114">
                  <c:v>38532</c:v>
                </c:pt>
                <c:pt idx="115">
                  <c:v>38533</c:v>
                </c:pt>
                <c:pt idx="116">
                  <c:v>38534</c:v>
                </c:pt>
                <c:pt idx="117">
                  <c:v>38537</c:v>
                </c:pt>
                <c:pt idx="118">
                  <c:v>38538</c:v>
                </c:pt>
                <c:pt idx="119">
                  <c:v>38539</c:v>
                </c:pt>
                <c:pt idx="120">
                  <c:v>38540</c:v>
                </c:pt>
                <c:pt idx="121">
                  <c:v>38541</c:v>
                </c:pt>
                <c:pt idx="122">
                  <c:v>38544</c:v>
                </c:pt>
                <c:pt idx="123">
                  <c:v>38545</c:v>
                </c:pt>
                <c:pt idx="124">
                  <c:v>38546</c:v>
                </c:pt>
                <c:pt idx="125">
                  <c:v>38547</c:v>
                </c:pt>
                <c:pt idx="126">
                  <c:v>38548</c:v>
                </c:pt>
                <c:pt idx="127">
                  <c:v>38551</c:v>
                </c:pt>
                <c:pt idx="128">
                  <c:v>38552</c:v>
                </c:pt>
                <c:pt idx="129">
                  <c:v>38553</c:v>
                </c:pt>
                <c:pt idx="130">
                  <c:v>38554</c:v>
                </c:pt>
                <c:pt idx="131">
                  <c:v>38555</c:v>
                </c:pt>
                <c:pt idx="132">
                  <c:v>38558</c:v>
                </c:pt>
                <c:pt idx="133">
                  <c:v>38559</c:v>
                </c:pt>
                <c:pt idx="134">
                  <c:v>38560</c:v>
                </c:pt>
                <c:pt idx="135">
                  <c:v>38561</c:v>
                </c:pt>
                <c:pt idx="136">
                  <c:v>38562</c:v>
                </c:pt>
                <c:pt idx="137">
                  <c:v>38565</c:v>
                </c:pt>
                <c:pt idx="138">
                  <c:v>38566</c:v>
                </c:pt>
                <c:pt idx="139">
                  <c:v>38567</c:v>
                </c:pt>
                <c:pt idx="140">
                  <c:v>38568</c:v>
                </c:pt>
                <c:pt idx="141">
                  <c:v>38569</c:v>
                </c:pt>
                <c:pt idx="142">
                  <c:v>38572</c:v>
                </c:pt>
                <c:pt idx="143">
                  <c:v>38573</c:v>
                </c:pt>
                <c:pt idx="144">
                  <c:v>38574</c:v>
                </c:pt>
                <c:pt idx="145">
                  <c:v>38575</c:v>
                </c:pt>
                <c:pt idx="146">
                  <c:v>38576</c:v>
                </c:pt>
                <c:pt idx="147">
                  <c:v>38579</c:v>
                </c:pt>
                <c:pt idx="148">
                  <c:v>38580</c:v>
                </c:pt>
                <c:pt idx="149">
                  <c:v>38581</c:v>
                </c:pt>
                <c:pt idx="150">
                  <c:v>38582</c:v>
                </c:pt>
                <c:pt idx="151">
                  <c:v>38583</c:v>
                </c:pt>
                <c:pt idx="152">
                  <c:v>38586</c:v>
                </c:pt>
                <c:pt idx="153">
                  <c:v>38587</c:v>
                </c:pt>
                <c:pt idx="154">
                  <c:v>38588</c:v>
                </c:pt>
                <c:pt idx="155">
                  <c:v>38589</c:v>
                </c:pt>
                <c:pt idx="156">
                  <c:v>38590</c:v>
                </c:pt>
                <c:pt idx="157">
                  <c:v>38593</c:v>
                </c:pt>
                <c:pt idx="158">
                  <c:v>38594</c:v>
                </c:pt>
                <c:pt idx="159">
                  <c:v>38595</c:v>
                </c:pt>
                <c:pt idx="160">
                  <c:v>38596</c:v>
                </c:pt>
                <c:pt idx="161">
                  <c:v>38597</c:v>
                </c:pt>
                <c:pt idx="162">
                  <c:v>38600</c:v>
                </c:pt>
                <c:pt idx="163">
                  <c:v>38601</c:v>
                </c:pt>
                <c:pt idx="164">
                  <c:v>38602</c:v>
                </c:pt>
                <c:pt idx="165">
                  <c:v>38603</c:v>
                </c:pt>
                <c:pt idx="166">
                  <c:v>38604</c:v>
                </c:pt>
                <c:pt idx="167">
                  <c:v>38607</c:v>
                </c:pt>
                <c:pt idx="168">
                  <c:v>38608</c:v>
                </c:pt>
                <c:pt idx="169">
                  <c:v>38609</c:v>
                </c:pt>
                <c:pt idx="170">
                  <c:v>38610</c:v>
                </c:pt>
                <c:pt idx="171">
                  <c:v>38611</c:v>
                </c:pt>
                <c:pt idx="172">
                  <c:v>38614</c:v>
                </c:pt>
                <c:pt idx="173">
                  <c:v>38615</c:v>
                </c:pt>
                <c:pt idx="174">
                  <c:v>38616</c:v>
                </c:pt>
                <c:pt idx="175">
                  <c:v>38617</c:v>
                </c:pt>
                <c:pt idx="176">
                  <c:v>38618</c:v>
                </c:pt>
                <c:pt idx="177">
                  <c:v>38621</c:v>
                </c:pt>
                <c:pt idx="178">
                  <c:v>38622</c:v>
                </c:pt>
                <c:pt idx="179">
                  <c:v>38623</c:v>
                </c:pt>
                <c:pt idx="180">
                  <c:v>38624</c:v>
                </c:pt>
                <c:pt idx="181">
                  <c:v>38625</c:v>
                </c:pt>
                <c:pt idx="182">
                  <c:v>38635</c:v>
                </c:pt>
                <c:pt idx="183">
                  <c:v>38636</c:v>
                </c:pt>
                <c:pt idx="184">
                  <c:v>38637</c:v>
                </c:pt>
                <c:pt idx="185">
                  <c:v>38638</c:v>
                </c:pt>
                <c:pt idx="186">
                  <c:v>38639</c:v>
                </c:pt>
                <c:pt idx="187">
                  <c:v>38642</c:v>
                </c:pt>
                <c:pt idx="188">
                  <c:v>38643</c:v>
                </c:pt>
                <c:pt idx="189">
                  <c:v>38644</c:v>
                </c:pt>
                <c:pt idx="190">
                  <c:v>38645</c:v>
                </c:pt>
                <c:pt idx="191">
                  <c:v>38646</c:v>
                </c:pt>
                <c:pt idx="192">
                  <c:v>38649</c:v>
                </c:pt>
                <c:pt idx="193">
                  <c:v>38650</c:v>
                </c:pt>
                <c:pt idx="194">
                  <c:v>38651</c:v>
                </c:pt>
                <c:pt idx="195">
                  <c:v>38652</c:v>
                </c:pt>
                <c:pt idx="196">
                  <c:v>38653</c:v>
                </c:pt>
                <c:pt idx="197">
                  <c:v>38656</c:v>
                </c:pt>
                <c:pt idx="198">
                  <c:v>38657</c:v>
                </c:pt>
                <c:pt idx="199">
                  <c:v>38658</c:v>
                </c:pt>
                <c:pt idx="200">
                  <c:v>38659</c:v>
                </c:pt>
                <c:pt idx="201">
                  <c:v>38660</c:v>
                </c:pt>
                <c:pt idx="202">
                  <c:v>38663</c:v>
                </c:pt>
                <c:pt idx="203">
                  <c:v>38664</c:v>
                </c:pt>
                <c:pt idx="204">
                  <c:v>38665</c:v>
                </c:pt>
                <c:pt idx="205">
                  <c:v>38666</c:v>
                </c:pt>
                <c:pt idx="206">
                  <c:v>38667</c:v>
                </c:pt>
                <c:pt idx="207">
                  <c:v>38670</c:v>
                </c:pt>
                <c:pt idx="208">
                  <c:v>38671</c:v>
                </c:pt>
                <c:pt idx="209">
                  <c:v>38672</c:v>
                </c:pt>
                <c:pt idx="210">
                  <c:v>38673</c:v>
                </c:pt>
                <c:pt idx="211">
                  <c:v>38674</c:v>
                </c:pt>
                <c:pt idx="212">
                  <c:v>38677</c:v>
                </c:pt>
                <c:pt idx="213">
                  <c:v>38678</c:v>
                </c:pt>
                <c:pt idx="214">
                  <c:v>38679</c:v>
                </c:pt>
                <c:pt idx="215">
                  <c:v>38680</c:v>
                </c:pt>
                <c:pt idx="216">
                  <c:v>38681</c:v>
                </c:pt>
                <c:pt idx="217">
                  <c:v>38684</c:v>
                </c:pt>
                <c:pt idx="218">
                  <c:v>38685</c:v>
                </c:pt>
                <c:pt idx="219">
                  <c:v>38686</c:v>
                </c:pt>
                <c:pt idx="220">
                  <c:v>38687</c:v>
                </c:pt>
                <c:pt idx="221">
                  <c:v>38688</c:v>
                </c:pt>
                <c:pt idx="222">
                  <c:v>38691</c:v>
                </c:pt>
                <c:pt idx="223">
                  <c:v>38692</c:v>
                </c:pt>
                <c:pt idx="224">
                  <c:v>38693</c:v>
                </c:pt>
                <c:pt idx="225">
                  <c:v>38694</c:v>
                </c:pt>
                <c:pt idx="226">
                  <c:v>38695</c:v>
                </c:pt>
                <c:pt idx="227">
                  <c:v>38698</c:v>
                </c:pt>
                <c:pt idx="228">
                  <c:v>38699</c:v>
                </c:pt>
                <c:pt idx="229">
                  <c:v>38700</c:v>
                </c:pt>
                <c:pt idx="230">
                  <c:v>38701</c:v>
                </c:pt>
                <c:pt idx="231">
                  <c:v>38702</c:v>
                </c:pt>
                <c:pt idx="232">
                  <c:v>38705</c:v>
                </c:pt>
                <c:pt idx="233">
                  <c:v>38706</c:v>
                </c:pt>
                <c:pt idx="234">
                  <c:v>38707</c:v>
                </c:pt>
                <c:pt idx="235">
                  <c:v>38708</c:v>
                </c:pt>
                <c:pt idx="236">
                  <c:v>38709</c:v>
                </c:pt>
                <c:pt idx="237">
                  <c:v>38712</c:v>
                </c:pt>
                <c:pt idx="238">
                  <c:v>38713</c:v>
                </c:pt>
                <c:pt idx="239">
                  <c:v>38714</c:v>
                </c:pt>
                <c:pt idx="240">
                  <c:v>38715</c:v>
                </c:pt>
                <c:pt idx="241">
                  <c:v>38716</c:v>
                </c:pt>
                <c:pt idx="242">
                  <c:v>38721</c:v>
                </c:pt>
                <c:pt idx="243">
                  <c:v>38722</c:v>
                </c:pt>
                <c:pt idx="244">
                  <c:v>38723</c:v>
                </c:pt>
                <c:pt idx="245">
                  <c:v>38726</c:v>
                </c:pt>
                <c:pt idx="246">
                  <c:v>38727</c:v>
                </c:pt>
                <c:pt idx="247">
                  <c:v>38728</c:v>
                </c:pt>
                <c:pt idx="248">
                  <c:v>38729</c:v>
                </c:pt>
                <c:pt idx="249">
                  <c:v>38730</c:v>
                </c:pt>
                <c:pt idx="250">
                  <c:v>38733</c:v>
                </c:pt>
                <c:pt idx="251">
                  <c:v>38734</c:v>
                </c:pt>
                <c:pt idx="252">
                  <c:v>38735</c:v>
                </c:pt>
                <c:pt idx="253">
                  <c:v>38736</c:v>
                </c:pt>
                <c:pt idx="254">
                  <c:v>38737</c:v>
                </c:pt>
                <c:pt idx="255">
                  <c:v>38740</c:v>
                </c:pt>
                <c:pt idx="256">
                  <c:v>38741</c:v>
                </c:pt>
                <c:pt idx="257">
                  <c:v>38742</c:v>
                </c:pt>
                <c:pt idx="258">
                  <c:v>38754</c:v>
                </c:pt>
                <c:pt idx="259">
                  <c:v>38755</c:v>
                </c:pt>
                <c:pt idx="260">
                  <c:v>38756</c:v>
                </c:pt>
                <c:pt idx="261">
                  <c:v>38757</c:v>
                </c:pt>
                <c:pt idx="262">
                  <c:v>38758</c:v>
                </c:pt>
                <c:pt idx="263">
                  <c:v>38761</c:v>
                </c:pt>
                <c:pt idx="264">
                  <c:v>38762</c:v>
                </c:pt>
                <c:pt idx="265">
                  <c:v>38763</c:v>
                </c:pt>
                <c:pt idx="266">
                  <c:v>38764</c:v>
                </c:pt>
                <c:pt idx="267">
                  <c:v>38765</c:v>
                </c:pt>
                <c:pt idx="268">
                  <c:v>38768</c:v>
                </c:pt>
                <c:pt idx="269">
                  <c:v>38769</c:v>
                </c:pt>
                <c:pt idx="270">
                  <c:v>38770</c:v>
                </c:pt>
                <c:pt idx="271">
                  <c:v>38771</c:v>
                </c:pt>
                <c:pt idx="272">
                  <c:v>38772</c:v>
                </c:pt>
                <c:pt idx="273">
                  <c:v>38775</c:v>
                </c:pt>
                <c:pt idx="274">
                  <c:v>38776</c:v>
                </c:pt>
                <c:pt idx="275">
                  <c:v>38777</c:v>
                </c:pt>
                <c:pt idx="276">
                  <c:v>38778</c:v>
                </c:pt>
                <c:pt idx="277">
                  <c:v>38779</c:v>
                </c:pt>
                <c:pt idx="278">
                  <c:v>38782</c:v>
                </c:pt>
                <c:pt idx="279">
                  <c:v>38783</c:v>
                </c:pt>
                <c:pt idx="280">
                  <c:v>38784</c:v>
                </c:pt>
                <c:pt idx="281">
                  <c:v>38785</c:v>
                </c:pt>
                <c:pt idx="282">
                  <c:v>38786</c:v>
                </c:pt>
                <c:pt idx="283">
                  <c:v>38789</c:v>
                </c:pt>
                <c:pt idx="284">
                  <c:v>38790</c:v>
                </c:pt>
                <c:pt idx="285">
                  <c:v>38791</c:v>
                </c:pt>
                <c:pt idx="286">
                  <c:v>38792</c:v>
                </c:pt>
                <c:pt idx="287">
                  <c:v>38793</c:v>
                </c:pt>
                <c:pt idx="288">
                  <c:v>38796</c:v>
                </c:pt>
                <c:pt idx="289">
                  <c:v>38797</c:v>
                </c:pt>
                <c:pt idx="290">
                  <c:v>38798</c:v>
                </c:pt>
                <c:pt idx="291">
                  <c:v>38799</c:v>
                </c:pt>
                <c:pt idx="292">
                  <c:v>38800</c:v>
                </c:pt>
                <c:pt idx="293">
                  <c:v>38803</c:v>
                </c:pt>
                <c:pt idx="294">
                  <c:v>38804</c:v>
                </c:pt>
                <c:pt idx="295">
                  <c:v>38805</c:v>
                </c:pt>
                <c:pt idx="296">
                  <c:v>38806</c:v>
                </c:pt>
                <c:pt idx="297">
                  <c:v>38807</c:v>
                </c:pt>
                <c:pt idx="298">
                  <c:v>38810</c:v>
                </c:pt>
                <c:pt idx="299">
                  <c:v>38811</c:v>
                </c:pt>
                <c:pt idx="300">
                  <c:v>38812</c:v>
                </c:pt>
                <c:pt idx="301">
                  <c:v>38813</c:v>
                </c:pt>
                <c:pt idx="302">
                  <c:v>38814</c:v>
                </c:pt>
                <c:pt idx="303">
                  <c:v>38817</c:v>
                </c:pt>
                <c:pt idx="304">
                  <c:v>38818</c:v>
                </c:pt>
                <c:pt idx="305">
                  <c:v>38819</c:v>
                </c:pt>
                <c:pt idx="306">
                  <c:v>38820</c:v>
                </c:pt>
                <c:pt idx="307">
                  <c:v>38821</c:v>
                </c:pt>
                <c:pt idx="308">
                  <c:v>38824</c:v>
                </c:pt>
                <c:pt idx="309">
                  <c:v>38825</c:v>
                </c:pt>
                <c:pt idx="310">
                  <c:v>38826</c:v>
                </c:pt>
                <c:pt idx="311">
                  <c:v>38827</c:v>
                </c:pt>
                <c:pt idx="312">
                  <c:v>38828</c:v>
                </c:pt>
                <c:pt idx="313">
                  <c:v>38831</c:v>
                </c:pt>
                <c:pt idx="314">
                  <c:v>38832</c:v>
                </c:pt>
                <c:pt idx="315">
                  <c:v>38833</c:v>
                </c:pt>
                <c:pt idx="316">
                  <c:v>38834</c:v>
                </c:pt>
                <c:pt idx="317">
                  <c:v>38835</c:v>
                </c:pt>
                <c:pt idx="318">
                  <c:v>38845</c:v>
                </c:pt>
                <c:pt idx="319">
                  <c:v>38846</c:v>
                </c:pt>
                <c:pt idx="320">
                  <c:v>38847</c:v>
                </c:pt>
                <c:pt idx="321">
                  <c:v>38848</c:v>
                </c:pt>
                <c:pt idx="322">
                  <c:v>38849</c:v>
                </c:pt>
                <c:pt idx="323">
                  <c:v>38852</c:v>
                </c:pt>
                <c:pt idx="324">
                  <c:v>38853</c:v>
                </c:pt>
                <c:pt idx="325">
                  <c:v>38854</c:v>
                </c:pt>
                <c:pt idx="326">
                  <c:v>38855</c:v>
                </c:pt>
                <c:pt idx="327">
                  <c:v>38856</c:v>
                </c:pt>
                <c:pt idx="328">
                  <c:v>38859</c:v>
                </c:pt>
                <c:pt idx="329">
                  <c:v>38860</c:v>
                </c:pt>
                <c:pt idx="330">
                  <c:v>38861</c:v>
                </c:pt>
                <c:pt idx="331">
                  <c:v>38862</c:v>
                </c:pt>
                <c:pt idx="332">
                  <c:v>38863</c:v>
                </c:pt>
                <c:pt idx="333">
                  <c:v>38866</c:v>
                </c:pt>
                <c:pt idx="334">
                  <c:v>38867</c:v>
                </c:pt>
                <c:pt idx="335">
                  <c:v>38868</c:v>
                </c:pt>
                <c:pt idx="336">
                  <c:v>38869</c:v>
                </c:pt>
                <c:pt idx="337">
                  <c:v>38870</c:v>
                </c:pt>
                <c:pt idx="338">
                  <c:v>38873</c:v>
                </c:pt>
                <c:pt idx="339">
                  <c:v>38874</c:v>
                </c:pt>
                <c:pt idx="340">
                  <c:v>38875</c:v>
                </c:pt>
                <c:pt idx="341">
                  <c:v>38876</c:v>
                </c:pt>
                <c:pt idx="342">
                  <c:v>38877</c:v>
                </c:pt>
                <c:pt idx="343">
                  <c:v>38880</c:v>
                </c:pt>
                <c:pt idx="344">
                  <c:v>38881</c:v>
                </c:pt>
                <c:pt idx="345">
                  <c:v>38882</c:v>
                </c:pt>
                <c:pt idx="346">
                  <c:v>38883</c:v>
                </c:pt>
                <c:pt idx="347">
                  <c:v>38884</c:v>
                </c:pt>
                <c:pt idx="348">
                  <c:v>38887</c:v>
                </c:pt>
                <c:pt idx="349">
                  <c:v>38888</c:v>
                </c:pt>
                <c:pt idx="350">
                  <c:v>38889</c:v>
                </c:pt>
                <c:pt idx="351">
                  <c:v>38890</c:v>
                </c:pt>
                <c:pt idx="352">
                  <c:v>38891</c:v>
                </c:pt>
                <c:pt idx="353">
                  <c:v>38894</c:v>
                </c:pt>
                <c:pt idx="354">
                  <c:v>38895</c:v>
                </c:pt>
                <c:pt idx="355">
                  <c:v>38896</c:v>
                </c:pt>
                <c:pt idx="356">
                  <c:v>38897</c:v>
                </c:pt>
                <c:pt idx="357">
                  <c:v>38898</c:v>
                </c:pt>
                <c:pt idx="358">
                  <c:v>38901</c:v>
                </c:pt>
                <c:pt idx="359">
                  <c:v>38902</c:v>
                </c:pt>
                <c:pt idx="360">
                  <c:v>38903</c:v>
                </c:pt>
                <c:pt idx="361">
                  <c:v>38904</c:v>
                </c:pt>
                <c:pt idx="362">
                  <c:v>38905</c:v>
                </c:pt>
                <c:pt idx="363">
                  <c:v>38908</c:v>
                </c:pt>
                <c:pt idx="364">
                  <c:v>38909</c:v>
                </c:pt>
                <c:pt idx="365">
                  <c:v>38910</c:v>
                </c:pt>
                <c:pt idx="366">
                  <c:v>38911</c:v>
                </c:pt>
                <c:pt idx="367">
                  <c:v>38912</c:v>
                </c:pt>
                <c:pt idx="368">
                  <c:v>38915</c:v>
                </c:pt>
                <c:pt idx="369">
                  <c:v>38916</c:v>
                </c:pt>
                <c:pt idx="370">
                  <c:v>38917</c:v>
                </c:pt>
                <c:pt idx="371">
                  <c:v>38918</c:v>
                </c:pt>
                <c:pt idx="372">
                  <c:v>38919</c:v>
                </c:pt>
                <c:pt idx="373">
                  <c:v>38922</c:v>
                </c:pt>
                <c:pt idx="374">
                  <c:v>38923</c:v>
                </c:pt>
                <c:pt idx="375">
                  <c:v>38924</c:v>
                </c:pt>
                <c:pt idx="376">
                  <c:v>38925</c:v>
                </c:pt>
                <c:pt idx="377">
                  <c:v>38926</c:v>
                </c:pt>
                <c:pt idx="378">
                  <c:v>38929</c:v>
                </c:pt>
                <c:pt idx="379">
                  <c:v>38930</c:v>
                </c:pt>
                <c:pt idx="380">
                  <c:v>38931</c:v>
                </c:pt>
                <c:pt idx="381">
                  <c:v>38932</c:v>
                </c:pt>
                <c:pt idx="382">
                  <c:v>38933</c:v>
                </c:pt>
                <c:pt idx="383">
                  <c:v>38936</c:v>
                </c:pt>
                <c:pt idx="384">
                  <c:v>38937</c:v>
                </c:pt>
                <c:pt idx="385">
                  <c:v>38938</c:v>
                </c:pt>
                <c:pt idx="386">
                  <c:v>38939</c:v>
                </c:pt>
                <c:pt idx="387">
                  <c:v>38940</c:v>
                </c:pt>
                <c:pt idx="388">
                  <c:v>38943</c:v>
                </c:pt>
                <c:pt idx="389">
                  <c:v>38944</c:v>
                </c:pt>
                <c:pt idx="390">
                  <c:v>38945</c:v>
                </c:pt>
                <c:pt idx="391">
                  <c:v>38946</c:v>
                </c:pt>
                <c:pt idx="392">
                  <c:v>38947</c:v>
                </c:pt>
                <c:pt idx="393">
                  <c:v>38950</c:v>
                </c:pt>
                <c:pt idx="394">
                  <c:v>38951</c:v>
                </c:pt>
                <c:pt idx="395">
                  <c:v>38952</c:v>
                </c:pt>
                <c:pt idx="396">
                  <c:v>38953</c:v>
                </c:pt>
                <c:pt idx="397">
                  <c:v>38954</c:v>
                </c:pt>
                <c:pt idx="398">
                  <c:v>38957</c:v>
                </c:pt>
                <c:pt idx="399">
                  <c:v>38958</c:v>
                </c:pt>
                <c:pt idx="400">
                  <c:v>38959</c:v>
                </c:pt>
                <c:pt idx="401">
                  <c:v>38960</c:v>
                </c:pt>
                <c:pt idx="402">
                  <c:v>38961</c:v>
                </c:pt>
                <c:pt idx="403">
                  <c:v>38964</c:v>
                </c:pt>
                <c:pt idx="404">
                  <c:v>38965</c:v>
                </c:pt>
                <c:pt idx="405">
                  <c:v>38966</c:v>
                </c:pt>
                <c:pt idx="406">
                  <c:v>38967</c:v>
                </c:pt>
                <c:pt idx="407">
                  <c:v>38968</c:v>
                </c:pt>
                <c:pt idx="408">
                  <c:v>38971</c:v>
                </c:pt>
                <c:pt idx="409">
                  <c:v>38972</c:v>
                </c:pt>
                <c:pt idx="410">
                  <c:v>38973</c:v>
                </c:pt>
                <c:pt idx="411">
                  <c:v>38974</c:v>
                </c:pt>
                <c:pt idx="412">
                  <c:v>38975</c:v>
                </c:pt>
                <c:pt idx="413">
                  <c:v>38978</c:v>
                </c:pt>
                <c:pt idx="414">
                  <c:v>38979</c:v>
                </c:pt>
                <c:pt idx="415">
                  <c:v>38980</c:v>
                </c:pt>
                <c:pt idx="416">
                  <c:v>38981</c:v>
                </c:pt>
                <c:pt idx="417">
                  <c:v>38982</c:v>
                </c:pt>
                <c:pt idx="418">
                  <c:v>38985</c:v>
                </c:pt>
                <c:pt idx="419">
                  <c:v>38986</c:v>
                </c:pt>
                <c:pt idx="420">
                  <c:v>38987</c:v>
                </c:pt>
                <c:pt idx="421">
                  <c:v>38988</c:v>
                </c:pt>
                <c:pt idx="422">
                  <c:v>38989</c:v>
                </c:pt>
                <c:pt idx="423">
                  <c:v>38999</c:v>
                </c:pt>
                <c:pt idx="424">
                  <c:v>39000</c:v>
                </c:pt>
                <c:pt idx="425">
                  <c:v>39001</c:v>
                </c:pt>
                <c:pt idx="426">
                  <c:v>39002</c:v>
                </c:pt>
                <c:pt idx="427">
                  <c:v>39003</c:v>
                </c:pt>
                <c:pt idx="428">
                  <c:v>39006</c:v>
                </c:pt>
                <c:pt idx="429">
                  <c:v>39007</c:v>
                </c:pt>
                <c:pt idx="430">
                  <c:v>39008</c:v>
                </c:pt>
                <c:pt idx="431">
                  <c:v>39009</c:v>
                </c:pt>
                <c:pt idx="432">
                  <c:v>39010</c:v>
                </c:pt>
                <c:pt idx="433">
                  <c:v>39013</c:v>
                </c:pt>
                <c:pt idx="434">
                  <c:v>39014</c:v>
                </c:pt>
                <c:pt idx="435">
                  <c:v>39015</c:v>
                </c:pt>
                <c:pt idx="436">
                  <c:v>39016</c:v>
                </c:pt>
                <c:pt idx="437">
                  <c:v>39017</c:v>
                </c:pt>
                <c:pt idx="438">
                  <c:v>39020</c:v>
                </c:pt>
                <c:pt idx="439">
                  <c:v>39021</c:v>
                </c:pt>
                <c:pt idx="440">
                  <c:v>39022</c:v>
                </c:pt>
                <c:pt idx="441">
                  <c:v>39023</c:v>
                </c:pt>
                <c:pt idx="442">
                  <c:v>39024</c:v>
                </c:pt>
                <c:pt idx="443">
                  <c:v>39027</c:v>
                </c:pt>
                <c:pt idx="444">
                  <c:v>39028</c:v>
                </c:pt>
                <c:pt idx="445">
                  <c:v>39029</c:v>
                </c:pt>
                <c:pt idx="446">
                  <c:v>39030</c:v>
                </c:pt>
                <c:pt idx="447">
                  <c:v>39031</c:v>
                </c:pt>
                <c:pt idx="448">
                  <c:v>39034</c:v>
                </c:pt>
                <c:pt idx="449">
                  <c:v>39035</c:v>
                </c:pt>
                <c:pt idx="450">
                  <c:v>39036</c:v>
                </c:pt>
                <c:pt idx="451">
                  <c:v>39037</c:v>
                </c:pt>
                <c:pt idx="452">
                  <c:v>39038</c:v>
                </c:pt>
                <c:pt idx="453">
                  <c:v>39041</c:v>
                </c:pt>
                <c:pt idx="454">
                  <c:v>39042</c:v>
                </c:pt>
                <c:pt idx="455">
                  <c:v>39043</c:v>
                </c:pt>
                <c:pt idx="456">
                  <c:v>39044</c:v>
                </c:pt>
                <c:pt idx="457">
                  <c:v>39045</c:v>
                </c:pt>
                <c:pt idx="458">
                  <c:v>39048</c:v>
                </c:pt>
                <c:pt idx="459">
                  <c:v>39049</c:v>
                </c:pt>
                <c:pt idx="460">
                  <c:v>39050</c:v>
                </c:pt>
                <c:pt idx="461">
                  <c:v>39051</c:v>
                </c:pt>
                <c:pt idx="462">
                  <c:v>39052</c:v>
                </c:pt>
                <c:pt idx="463">
                  <c:v>39055</c:v>
                </c:pt>
                <c:pt idx="464">
                  <c:v>39056</c:v>
                </c:pt>
                <c:pt idx="465">
                  <c:v>39057</c:v>
                </c:pt>
                <c:pt idx="466">
                  <c:v>39058</c:v>
                </c:pt>
                <c:pt idx="467">
                  <c:v>39059</c:v>
                </c:pt>
                <c:pt idx="468">
                  <c:v>39062</c:v>
                </c:pt>
                <c:pt idx="469">
                  <c:v>39063</c:v>
                </c:pt>
                <c:pt idx="470">
                  <c:v>39064</c:v>
                </c:pt>
                <c:pt idx="471">
                  <c:v>39065</c:v>
                </c:pt>
                <c:pt idx="472">
                  <c:v>39066</c:v>
                </c:pt>
                <c:pt idx="473">
                  <c:v>39069</c:v>
                </c:pt>
                <c:pt idx="474">
                  <c:v>39070</c:v>
                </c:pt>
                <c:pt idx="475">
                  <c:v>39071</c:v>
                </c:pt>
                <c:pt idx="476">
                  <c:v>39072</c:v>
                </c:pt>
                <c:pt idx="477">
                  <c:v>39073</c:v>
                </c:pt>
                <c:pt idx="478">
                  <c:v>39076</c:v>
                </c:pt>
                <c:pt idx="479">
                  <c:v>39077</c:v>
                </c:pt>
                <c:pt idx="480">
                  <c:v>39078</c:v>
                </c:pt>
                <c:pt idx="481">
                  <c:v>39079</c:v>
                </c:pt>
                <c:pt idx="482">
                  <c:v>39080</c:v>
                </c:pt>
                <c:pt idx="483">
                  <c:v>39086</c:v>
                </c:pt>
                <c:pt idx="484">
                  <c:v>39087</c:v>
                </c:pt>
                <c:pt idx="485">
                  <c:v>39090</c:v>
                </c:pt>
                <c:pt idx="486">
                  <c:v>39091</c:v>
                </c:pt>
                <c:pt idx="487">
                  <c:v>39092</c:v>
                </c:pt>
                <c:pt idx="488">
                  <c:v>39093</c:v>
                </c:pt>
                <c:pt idx="489">
                  <c:v>39094</c:v>
                </c:pt>
                <c:pt idx="490">
                  <c:v>39097</c:v>
                </c:pt>
                <c:pt idx="491">
                  <c:v>39098</c:v>
                </c:pt>
                <c:pt idx="492">
                  <c:v>39099</c:v>
                </c:pt>
                <c:pt idx="493">
                  <c:v>39100</c:v>
                </c:pt>
                <c:pt idx="494">
                  <c:v>39101</c:v>
                </c:pt>
                <c:pt idx="495">
                  <c:v>39104</c:v>
                </c:pt>
                <c:pt idx="496">
                  <c:v>39105</c:v>
                </c:pt>
                <c:pt idx="497">
                  <c:v>39106</c:v>
                </c:pt>
                <c:pt idx="498">
                  <c:v>39107</c:v>
                </c:pt>
                <c:pt idx="499">
                  <c:v>39108</c:v>
                </c:pt>
                <c:pt idx="500">
                  <c:v>39111</c:v>
                </c:pt>
                <c:pt idx="501">
                  <c:v>39112</c:v>
                </c:pt>
                <c:pt idx="502">
                  <c:v>39113</c:v>
                </c:pt>
                <c:pt idx="503">
                  <c:v>39114</c:v>
                </c:pt>
                <c:pt idx="504">
                  <c:v>39115</c:v>
                </c:pt>
                <c:pt idx="505">
                  <c:v>39118</c:v>
                </c:pt>
                <c:pt idx="506">
                  <c:v>39119</c:v>
                </c:pt>
                <c:pt idx="507">
                  <c:v>39120</c:v>
                </c:pt>
                <c:pt idx="508">
                  <c:v>39121</c:v>
                </c:pt>
                <c:pt idx="509">
                  <c:v>39122</c:v>
                </c:pt>
                <c:pt idx="510">
                  <c:v>39125</c:v>
                </c:pt>
                <c:pt idx="511">
                  <c:v>39126</c:v>
                </c:pt>
                <c:pt idx="512">
                  <c:v>39127</c:v>
                </c:pt>
                <c:pt idx="513">
                  <c:v>39128</c:v>
                </c:pt>
                <c:pt idx="514">
                  <c:v>39129</c:v>
                </c:pt>
                <c:pt idx="515">
                  <c:v>39139</c:v>
                </c:pt>
                <c:pt idx="516">
                  <c:v>39140</c:v>
                </c:pt>
                <c:pt idx="517">
                  <c:v>39141</c:v>
                </c:pt>
                <c:pt idx="518">
                  <c:v>39142</c:v>
                </c:pt>
                <c:pt idx="519">
                  <c:v>39143</c:v>
                </c:pt>
                <c:pt idx="520">
                  <c:v>39146</c:v>
                </c:pt>
                <c:pt idx="521">
                  <c:v>39147</c:v>
                </c:pt>
                <c:pt idx="522">
                  <c:v>39148</c:v>
                </c:pt>
                <c:pt idx="523">
                  <c:v>39149</c:v>
                </c:pt>
                <c:pt idx="524">
                  <c:v>39150</c:v>
                </c:pt>
                <c:pt idx="525">
                  <c:v>39153</c:v>
                </c:pt>
                <c:pt idx="526">
                  <c:v>39154</c:v>
                </c:pt>
                <c:pt idx="527">
                  <c:v>39155</c:v>
                </c:pt>
                <c:pt idx="528">
                  <c:v>39156</c:v>
                </c:pt>
                <c:pt idx="529">
                  <c:v>39157</c:v>
                </c:pt>
                <c:pt idx="530">
                  <c:v>39160</c:v>
                </c:pt>
                <c:pt idx="531">
                  <c:v>39161</c:v>
                </c:pt>
                <c:pt idx="532">
                  <c:v>39162</c:v>
                </c:pt>
                <c:pt idx="533">
                  <c:v>39163</c:v>
                </c:pt>
                <c:pt idx="534">
                  <c:v>39164</c:v>
                </c:pt>
                <c:pt idx="535">
                  <c:v>39167</c:v>
                </c:pt>
                <c:pt idx="536">
                  <c:v>39168</c:v>
                </c:pt>
                <c:pt idx="537">
                  <c:v>39169</c:v>
                </c:pt>
                <c:pt idx="538">
                  <c:v>39170</c:v>
                </c:pt>
                <c:pt idx="539">
                  <c:v>39171</c:v>
                </c:pt>
                <c:pt idx="540">
                  <c:v>39174</c:v>
                </c:pt>
                <c:pt idx="541">
                  <c:v>39175</c:v>
                </c:pt>
                <c:pt idx="542">
                  <c:v>39176</c:v>
                </c:pt>
                <c:pt idx="543">
                  <c:v>39177</c:v>
                </c:pt>
                <c:pt idx="544">
                  <c:v>39178</c:v>
                </c:pt>
                <c:pt idx="545">
                  <c:v>39181</c:v>
                </c:pt>
                <c:pt idx="546">
                  <c:v>39182</c:v>
                </c:pt>
                <c:pt idx="547">
                  <c:v>39183</c:v>
                </c:pt>
                <c:pt idx="548">
                  <c:v>39184</c:v>
                </c:pt>
                <c:pt idx="549">
                  <c:v>39185</c:v>
                </c:pt>
                <c:pt idx="550">
                  <c:v>39188</c:v>
                </c:pt>
                <c:pt idx="551">
                  <c:v>39189</c:v>
                </c:pt>
                <c:pt idx="552">
                  <c:v>39190</c:v>
                </c:pt>
                <c:pt idx="553">
                  <c:v>39191</c:v>
                </c:pt>
                <c:pt idx="554">
                  <c:v>39192</c:v>
                </c:pt>
                <c:pt idx="555">
                  <c:v>39195</c:v>
                </c:pt>
                <c:pt idx="556">
                  <c:v>39196</c:v>
                </c:pt>
                <c:pt idx="557">
                  <c:v>39197</c:v>
                </c:pt>
                <c:pt idx="558">
                  <c:v>39198</c:v>
                </c:pt>
                <c:pt idx="559">
                  <c:v>39199</c:v>
                </c:pt>
                <c:pt idx="560">
                  <c:v>39202</c:v>
                </c:pt>
                <c:pt idx="561">
                  <c:v>39210</c:v>
                </c:pt>
                <c:pt idx="562">
                  <c:v>39211</c:v>
                </c:pt>
                <c:pt idx="563">
                  <c:v>39212</c:v>
                </c:pt>
                <c:pt idx="564">
                  <c:v>39213</c:v>
                </c:pt>
                <c:pt idx="565">
                  <c:v>39216</c:v>
                </c:pt>
                <c:pt idx="566">
                  <c:v>39217</c:v>
                </c:pt>
                <c:pt idx="567">
                  <c:v>39218</c:v>
                </c:pt>
                <c:pt idx="568">
                  <c:v>39219</c:v>
                </c:pt>
                <c:pt idx="569">
                  <c:v>39220</c:v>
                </c:pt>
                <c:pt idx="570">
                  <c:v>39223</c:v>
                </c:pt>
                <c:pt idx="571">
                  <c:v>39224</c:v>
                </c:pt>
                <c:pt idx="572">
                  <c:v>39225</c:v>
                </c:pt>
                <c:pt idx="573">
                  <c:v>39226</c:v>
                </c:pt>
                <c:pt idx="574">
                  <c:v>39227</c:v>
                </c:pt>
                <c:pt idx="575">
                  <c:v>39230</c:v>
                </c:pt>
                <c:pt idx="576">
                  <c:v>39231</c:v>
                </c:pt>
                <c:pt idx="577">
                  <c:v>39232</c:v>
                </c:pt>
                <c:pt idx="578">
                  <c:v>39233</c:v>
                </c:pt>
                <c:pt idx="579">
                  <c:v>39234</c:v>
                </c:pt>
                <c:pt idx="580">
                  <c:v>39237</c:v>
                </c:pt>
                <c:pt idx="581">
                  <c:v>39238</c:v>
                </c:pt>
                <c:pt idx="582">
                  <c:v>39239</c:v>
                </c:pt>
                <c:pt idx="583">
                  <c:v>39240</c:v>
                </c:pt>
                <c:pt idx="584">
                  <c:v>39241</c:v>
                </c:pt>
                <c:pt idx="585">
                  <c:v>39244</c:v>
                </c:pt>
                <c:pt idx="586">
                  <c:v>39245</c:v>
                </c:pt>
                <c:pt idx="587">
                  <c:v>39246</c:v>
                </c:pt>
                <c:pt idx="588">
                  <c:v>39247</c:v>
                </c:pt>
                <c:pt idx="589">
                  <c:v>39248</c:v>
                </c:pt>
                <c:pt idx="590">
                  <c:v>39251</c:v>
                </c:pt>
                <c:pt idx="591">
                  <c:v>39252</c:v>
                </c:pt>
                <c:pt idx="592">
                  <c:v>39253</c:v>
                </c:pt>
                <c:pt idx="593">
                  <c:v>39254</c:v>
                </c:pt>
                <c:pt idx="594">
                  <c:v>39255</c:v>
                </c:pt>
                <c:pt idx="595">
                  <c:v>39258</c:v>
                </c:pt>
                <c:pt idx="596">
                  <c:v>39259</c:v>
                </c:pt>
                <c:pt idx="597">
                  <c:v>39260</c:v>
                </c:pt>
                <c:pt idx="598">
                  <c:v>39261</c:v>
                </c:pt>
                <c:pt idx="599">
                  <c:v>39262</c:v>
                </c:pt>
                <c:pt idx="600">
                  <c:v>39265</c:v>
                </c:pt>
                <c:pt idx="601">
                  <c:v>39266</c:v>
                </c:pt>
                <c:pt idx="602">
                  <c:v>39267</c:v>
                </c:pt>
                <c:pt idx="603">
                  <c:v>39268</c:v>
                </c:pt>
                <c:pt idx="604">
                  <c:v>39269</c:v>
                </c:pt>
                <c:pt idx="605">
                  <c:v>39272</c:v>
                </c:pt>
                <c:pt idx="606">
                  <c:v>39273</c:v>
                </c:pt>
                <c:pt idx="607">
                  <c:v>39274</c:v>
                </c:pt>
                <c:pt idx="608">
                  <c:v>39275</c:v>
                </c:pt>
                <c:pt idx="609">
                  <c:v>39276</c:v>
                </c:pt>
                <c:pt idx="610">
                  <c:v>39279</c:v>
                </c:pt>
                <c:pt idx="611">
                  <c:v>39280</c:v>
                </c:pt>
                <c:pt idx="612">
                  <c:v>39281</c:v>
                </c:pt>
                <c:pt idx="613">
                  <c:v>39282</c:v>
                </c:pt>
                <c:pt idx="614">
                  <c:v>39283</c:v>
                </c:pt>
                <c:pt idx="615">
                  <c:v>39286</c:v>
                </c:pt>
                <c:pt idx="616">
                  <c:v>39287</c:v>
                </c:pt>
                <c:pt idx="617">
                  <c:v>39288</c:v>
                </c:pt>
                <c:pt idx="618">
                  <c:v>39289</c:v>
                </c:pt>
                <c:pt idx="619">
                  <c:v>39290</c:v>
                </c:pt>
                <c:pt idx="620">
                  <c:v>39293</c:v>
                </c:pt>
                <c:pt idx="621">
                  <c:v>39294</c:v>
                </c:pt>
                <c:pt idx="622">
                  <c:v>39295</c:v>
                </c:pt>
                <c:pt idx="623">
                  <c:v>39296</c:v>
                </c:pt>
                <c:pt idx="624">
                  <c:v>39297</c:v>
                </c:pt>
                <c:pt idx="625">
                  <c:v>39300</c:v>
                </c:pt>
                <c:pt idx="626">
                  <c:v>39301</c:v>
                </c:pt>
                <c:pt idx="627">
                  <c:v>39302</c:v>
                </c:pt>
                <c:pt idx="628">
                  <c:v>39303</c:v>
                </c:pt>
                <c:pt idx="629">
                  <c:v>39304</c:v>
                </c:pt>
                <c:pt idx="630">
                  <c:v>39307</c:v>
                </c:pt>
                <c:pt idx="631">
                  <c:v>39308</c:v>
                </c:pt>
                <c:pt idx="632">
                  <c:v>39309</c:v>
                </c:pt>
                <c:pt idx="633">
                  <c:v>39310</c:v>
                </c:pt>
                <c:pt idx="634">
                  <c:v>39311</c:v>
                </c:pt>
                <c:pt idx="635">
                  <c:v>39314</c:v>
                </c:pt>
                <c:pt idx="636">
                  <c:v>39315</c:v>
                </c:pt>
                <c:pt idx="637">
                  <c:v>39316</c:v>
                </c:pt>
                <c:pt idx="638">
                  <c:v>39317</c:v>
                </c:pt>
                <c:pt idx="639">
                  <c:v>39318</c:v>
                </c:pt>
                <c:pt idx="640">
                  <c:v>39321</c:v>
                </c:pt>
                <c:pt idx="641">
                  <c:v>39322</c:v>
                </c:pt>
                <c:pt idx="642">
                  <c:v>39323</c:v>
                </c:pt>
                <c:pt idx="643">
                  <c:v>39324</c:v>
                </c:pt>
                <c:pt idx="644">
                  <c:v>39325</c:v>
                </c:pt>
                <c:pt idx="645">
                  <c:v>39328</c:v>
                </c:pt>
                <c:pt idx="646">
                  <c:v>39329</c:v>
                </c:pt>
                <c:pt idx="647">
                  <c:v>39330</c:v>
                </c:pt>
                <c:pt idx="648">
                  <c:v>39331</c:v>
                </c:pt>
                <c:pt idx="649">
                  <c:v>39332</c:v>
                </c:pt>
                <c:pt idx="650">
                  <c:v>39335</c:v>
                </c:pt>
                <c:pt idx="651">
                  <c:v>39336</c:v>
                </c:pt>
                <c:pt idx="652">
                  <c:v>39337</c:v>
                </c:pt>
                <c:pt idx="653">
                  <c:v>39338</c:v>
                </c:pt>
                <c:pt idx="654">
                  <c:v>39339</c:v>
                </c:pt>
                <c:pt idx="655">
                  <c:v>39342</c:v>
                </c:pt>
                <c:pt idx="656">
                  <c:v>39343</c:v>
                </c:pt>
                <c:pt idx="657">
                  <c:v>39344</c:v>
                </c:pt>
                <c:pt idx="658">
                  <c:v>39345</c:v>
                </c:pt>
                <c:pt idx="659">
                  <c:v>39346</c:v>
                </c:pt>
                <c:pt idx="660">
                  <c:v>39349</c:v>
                </c:pt>
                <c:pt idx="661">
                  <c:v>39350</c:v>
                </c:pt>
                <c:pt idx="662">
                  <c:v>39351</c:v>
                </c:pt>
                <c:pt idx="663">
                  <c:v>39352</c:v>
                </c:pt>
                <c:pt idx="664">
                  <c:v>39353</c:v>
                </c:pt>
                <c:pt idx="665">
                  <c:v>39363</c:v>
                </c:pt>
                <c:pt idx="666">
                  <c:v>39364</c:v>
                </c:pt>
                <c:pt idx="667">
                  <c:v>39365</c:v>
                </c:pt>
                <c:pt idx="668">
                  <c:v>39366</c:v>
                </c:pt>
                <c:pt idx="669">
                  <c:v>39367</c:v>
                </c:pt>
                <c:pt idx="670">
                  <c:v>39370</c:v>
                </c:pt>
                <c:pt idx="671">
                  <c:v>39371</c:v>
                </c:pt>
                <c:pt idx="672">
                  <c:v>39372</c:v>
                </c:pt>
                <c:pt idx="673">
                  <c:v>39373</c:v>
                </c:pt>
                <c:pt idx="674">
                  <c:v>39374</c:v>
                </c:pt>
                <c:pt idx="675">
                  <c:v>39377</c:v>
                </c:pt>
                <c:pt idx="676">
                  <c:v>39378</c:v>
                </c:pt>
                <c:pt idx="677">
                  <c:v>39379</c:v>
                </c:pt>
                <c:pt idx="678">
                  <c:v>39380</c:v>
                </c:pt>
                <c:pt idx="679">
                  <c:v>39381</c:v>
                </c:pt>
                <c:pt idx="680">
                  <c:v>39384</c:v>
                </c:pt>
                <c:pt idx="681">
                  <c:v>39385</c:v>
                </c:pt>
                <c:pt idx="682">
                  <c:v>39386</c:v>
                </c:pt>
                <c:pt idx="683">
                  <c:v>39387</c:v>
                </c:pt>
                <c:pt idx="684">
                  <c:v>39388</c:v>
                </c:pt>
                <c:pt idx="685">
                  <c:v>39391</c:v>
                </c:pt>
                <c:pt idx="686">
                  <c:v>39392</c:v>
                </c:pt>
                <c:pt idx="687">
                  <c:v>39393</c:v>
                </c:pt>
                <c:pt idx="688">
                  <c:v>39394</c:v>
                </c:pt>
                <c:pt idx="689">
                  <c:v>39395</c:v>
                </c:pt>
                <c:pt idx="690">
                  <c:v>39398</c:v>
                </c:pt>
                <c:pt idx="691">
                  <c:v>39399</c:v>
                </c:pt>
                <c:pt idx="692">
                  <c:v>39400</c:v>
                </c:pt>
                <c:pt idx="693">
                  <c:v>39401</c:v>
                </c:pt>
                <c:pt idx="694">
                  <c:v>39402</c:v>
                </c:pt>
                <c:pt idx="695">
                  <c:v>39405</c:v>
                </c:pt>
                <c:pt idx="696">
                  <c:v>39406</c:v>
                </c:pt>
                <c:pt idx="697">
                  <c:v>39407</c:v>
                </c:pt>
                <c:pt idx="698">
                  <c:v>39408</c:v>
                </c:pt>
                <c:pt idx="699">
                  <c:v>39409</c:v>
                </c:pt>
                <c:pt idx="700">
                  <c:v>39412</c:v>
                </c:pt>
                <c:pt idx="701">
                  <c:v>39413</c:v>
                </c:pt>
                <c:pt idx="702">
                  <c:v>39414</c:v>
                </c:pt>
                <c:pt idx="703">
                  <c:v>39415</c:v>
                </c:pt>
                <c:pt idx="704">
                  <c:v>39416</c:v>
                </c:pt>
                <c:pt idx="705">
                  <c:v>39419</c:v>
                </c:pt>
                <c:pt idx="706">
                  <c:v>39420</c:v>
                </c:pt>
                <c:pt idx="707">
                  <c:v>39421</c:v>
                </c:pt>
                <c:pt idx="708">
                  <c:v>39422</c:v>
                </c:pt>
                <c:pt idx="709">
                  <c:v>39423</c:v>
                </c:pt>
                <c:pt idx="710">
                  <c:v>39426</c:v>
                </c:pt>
                <c:pt idx="711">
                  <c:v>39427</c:v>
                </c:pt>
                <c:pt idx="712">
                  <c:v>39428</c:v>
                </c:pt>
                <c:pt idx="713">
                  <c:v>39429</c:v>
                </c:pt>
                <c:pt idx="714">
                  <c:v>39430</c:v>
                </c:pt>
                <c:pt idx="715">
                  <c:v>39433</c:v>
                </c:pt>
                <c:pt idx="716">
                  <c:v>39434</c:v>
                </c:pt>
                <c:pt idx="717">
                  <c:v>39435</c:v>
                </c:pt>
                <c:pt idx="718">
                  <c:v>39436</c:v>
                </c:pt>
                <c:pt idx="719">
                  <c:v>39437</c:v>
                </c:pt>
                <c:pt idx="720">
                  <c:v>39440</c:v>
                </c:pt>
                <c:pt idx="721">
                  <c:v>39441</c:v>
                </c:pt>
                <c:pt idx="722">
                  <c:v>39442</c:v>
                </c:pt>
                <c:pt idx="723">
                  <c:v>39443</c:v>
                </c:pt>
                <c:pt idx="724">
                  <c:v>39444</c:v>
                </c:pt>
                <c:pt idx="725">
                  <c:v>39449</c:v>
                </c:pt>
                <c:pt idx="726">
                  <c:v>39450</c:v>
                </c:pt>
                <c:pt idx="727">
                  <c:v>39451</c:v>
                </c:pt>
                <c:pt idx="728">
                  <c:v>39454</c:v>
                </c:pt>
                <c:pt idx="729">
                  <c:v>39455</c:v>
                </c:pt>
                <c:pt idx="730">
                  <c:v>39456</c:v>
                </c:pt>
                <c:pt idx="731">
                  <c:v>39457</c:v>
                </c:pt>
                <c:pt idx="732">
                  <c:v>39458</c:v>
                </c:pt>
                <c:pt idx="733">
                  <c:v>39461</c:v>
                </c:pt>
                <c:pt idx="734">
                  <c:v>39462</c:v>
                </c:pt>
                <c:pt idx="735">
                  <c:v>39463</c:v>
                </c:pt>
                <c:pt idx="736">
                  <c:v>39464</c:v>
                </c:pt>
                <c:pt idx="737">
                  <c:v>39465</c:v>
                </c:pt>
                <c:pt idx="738">
                  <c:v>39468</c:v>
                </c:pt>
                <c:pt idx="739">
                  <c:v>39469</c:v>
                </c:pt>
                <c:pt idx="740">
                  <c:v>39470</c:v>
                </c:pt>
                <c:pt idx="741">
                  <c:v>39471</c:v>
                </c:pt>
                <c:pt idx="742">
                  <c:v>39472</c:v>
                </c:pt>
                <c:pt idx="743">
                  <c:v>39475</c:v>
                </c:pt>
                <c:pt idx="744">
                  <c:v>39476</c:v>
                </c:pt>
                <c:pt idx="745">
                  <c:v>39477</c:v>
                </c:pt>
                <c:pt idx="746">
                  <c:v>39478</c:v>
                </c:pt>
                <c:pt idx="747">
                  <c:v>39479</c:v>
                </c:pt>
                <c:pt idx="748">
                  <c:v>39482</c:v>
                </c:pt>
                <c:pt idx="749">
                  <c:v>39483</c:v>
                </c:pt>
                <c:pt idx="750">
                  <c:v>39491</c:v>
                </c:pt>
                <c:pt idx="751">
                  <c:v>39492</c:v>
                </c:pt>
                <c:pt idx="752">
                  <c:v>39493</c:v>
                </c:pt>
                <c:pt idx="753">
                  <c:v>39496</c:v>
                </c:pt>
                <c:pt idx="754">
                  <c:v>39497</c:v>
                </c:pt>
                <c:pt idx="755">
                  <c:v>39498</c:v>
                </c:pt>
                <c:pt idx="756">
                  <c:v>39499</c:v>
                </c:pt>
                <c:pt idx="757">
                  <c:v>39500</c:v>
                </c:pt>
                <c:pt idx="758">
                  <c:v>39503</c:v>
                </c:pt>
                <c:pt idx="759">
                  <c:v>39504</c:v>
                </c:pt>
                <c:pt idx="760">
                  <c:v>39505</c:v>
                </c:pt>
                <c:pt idx="761">
                  <c:v>39506</c:v>
                </c:pt>
                <c:pt idx="762">
                  <c:v>39507</c:v>
                </c:pt>
                <c:pt idx="763">
                  <c:v>39510</c:v>
                </c:pt>
                <c:pt idx="764">
                  <c:v>39511</c:v>
                </c:pt>
                <c:pt idx="765">
                  <c:v>39512</c:v>
                </c:pt>
                <c:pt idx="766">
                  <c:v>39513</c:v>
                </c:pt>
                <c:pt idx="767">
                  <c:v>39514</c:v>
                </c:pt>
                <c:pt idx="768">
                  <c:v>39517</c:v>
                </c:pt>
                <c:pt idx="769">
                  <c:v>39518</c:v>
                </c:pt>
                <c:pt idx="770">
                  <c:v>39519</c:v>
                </c:pt>
                <c:pt idx="771">
                  <c:v>39520</c:v>
                </c:pt>
                <c:pt idx="772">
                  <c:v>39521</c:v>
                </c:pt>
                <c:pt idx="773">
                  <c:v>39524</c:v>
                </c:pt>
                <c:pt idx="774">
                  <c:v>39525</c:v>
                </c:pt>
                <c:pt idx="775">
                  <c:v>39526</c:v>
                </c:pt>
                <c:pt idx="776">
                  <c:v>39527</c:v>
                </c:pt>
                <c:pt idx="777">
                  <c:v>39528</c:v>
                </c:pt>
                <c:pt idx="778">
                  <c:v>39531</c:v>
                </c:pt>
                <c:pt idx="779">
                  <c:v>39532</c:v>
                </c:pt>
                <c:pt idx="780">
                  <c:v>39533</c:v>
                </c:pt>
                <c:pt idx="781">
                  <c:v>39534</c:v>
                </c:pt>
                <c:pt idx="782">
                  <c:v>39535</c:v>
                </c:pt>
                <c:pt idx="783">
                  <c:v>39538</c:v>
                </c:pt>
                <c:pt idx="784">
                  <c:v>39539</c:v>
                </c:pt>
                <c:pt idx="785">
                  <c:v>39540</c:v>
                </c:pt>
                <c:pt idx="786">
                  <c:v>39541</c:v>
                </c:pt>
                <c:pt idx="787">
                  <c:v>39545</c:v>
                </c:pt>
                <c:pt idx="788">
                  <c:v>39546</c:v>
                </c:pt>
                <c:pt idx="789">
                  <c:v>39547</c:v>
                </c:pt>
                <c:pt idx="790">
                  <c:v>39548</c:v>
                </c:pt>
                <c:pt idx="791">
                  <c:v>39549</c:v>
                </c:pt>
                <c:pt idx="792">
                  <c:v>39552</c:v>
                </c:pt>
                <c:pt idx="793">
                  <c:v>39553</c:v>
                </c:pt>
                <c:pt idx="794">
                  <c:v>39554</c:v>
                </c:pt>
                <c:pt idx="795">
                  <c:v>39555</c:v>
                </c:pt>
                <c:pt idx="796">
                  <c:v>39556</c:v>
                </c:pt>
                <c:pt idx="797">
                  <c:v>39559</c:v>
                </c:pt>
                <c:pt idx="798">
                  <c:v>39560</c:v>
                </c:pt>
                <c:pt idx="799">
                  <c:v>39561</c:v>
                </c:pt>
                <c:pt idx="800">
                  <c:v>39562</c:v>
                </c:pt>
                <c:pt idx="801">
                  <c:v>39563</c:v>
                </c:pt>
                <c:pt idx="802">
                  <c:v>39566</c:v>
                </c:pt>
                <c:pt idx="803">
                  <c:v>39567</c:v>
                </c:pt>
                <c:pt idx="804">
                  <c:v>39568</c:v>
                </c:pt>
                <c:pt idx="805">
                  <c:v>39573</c:v>
                </c:pt>
                <c:pt idx="806">
                  <c:v>39574</c:v>
                </c:pt>
                <c:pt idx="807">
                  <c:v>39575</c:v>
                </c:pt>
                <c:pt idx="808">
                  <c:v>39576</c:v>
                </c:pt>
                <c:pt idx="809">
                  <c:v>39577</c:v>
                </c:pt>
                <c:pt idx="810">
                  <c:v>39580</c:v>
                </c:pt>
                <c:pt idx="811">
                  <c:v>39581</c:v>
                </c:pt>
                <c:pt idx="812">
                  <c:v>39582</c:v>
                </c:pt>
                <c:pt idx="813">
                  <c:v>39583</c:v>
                </c:pt>
                <c:pt idx="814">
                  <c:v>39584</c:v>
                </c:pt>
                <c:pt idx="815">
                  <c:v>39587</c:v>
                </c:pt>
                <c:pt idx="816">
                  <c:v>39588</c:v>
                </c:pt>
                <c:pt idx="817">
                  <c:v>39589</c:v>
                </c:pt>
                <c:pt idx="818">
                  <c:v>39590</c:v>
                </c:pt>
                <c:pt idx="819">
                  <c:v>39591</c:v>
                </c:pt>
                <c:pt idx="820">
                  <c:v>39594</c:v>
                </c:pt>
                <c:pt idx="821">
                  <c:v>39595</c:v>
                </c:pt>
                <c:pt idx="822">
                  <c:v>39596</c:v>
                </c:pt>
                <c:pt idx="823">
                  <c:v>39597</c:v>
                </c:pt>
                <c:pt idx="824">
                  <c:v>39598</c:v>
                </c:pt>
                <c:pt idx="825">
                  <c:v>39601</c:v>
                </c:pt>
                <c:pt idx="826">
                  <c:v>39602</c:v>
                </c:pt>
                <c:pt idx="827">
                  <c:v>39603</c:v>
                </c:pt>
                <c:pt idx="828">
                  <c:v>39604</c:v>
                </c:pt>
                <c:pt idx="829">
                  <c:v>39605</c:v>
                </c:pt>
                <c:pt idx="830">
                  <c:v>39609</c:v>
                </c:pt>
                <c:pt idx="831">
                  <c:v>39610</c:v>
                </c:pt>
                <c:pt idx="832">
                  <c:v>39611</c:v>
                </c:pt>
                <c:pt idx="833">
                  <c:v>39612</c:v>
                </c:pt>
                <c:pt idx="834">
                  <c:v>39615</c:v>
                </c:pt>
                <c:pt idx="835">
                  <c:v>39616</c:v>
                </c:pt>
                <c:pt idx="836">
                  <c:v>39617</c:v>
                </c:pt>
                <c:pt idx="837">
                  <c:v>39618</c:v>
                </c:pt>
                <c:pt idx="838">
                  <c:v>39619</c:v>
                </c:pt>
                <c:pt idx="839">
                  <c:v>39622</c:v>
                </c:pt>
                <c:pt idx="840">
                  <c:v>39623</c:v>
                </c:pt>
                <c:pt idx="841">
                  <c:v>39624</c:v>
                </c:pt>
                <c:pt idx="842">
                  <c:v>39625</c:v>
                </c:pt>
                <c:pt idx="843">
                  <c:v>39626</c:v>
                </c:pt>
                <c:pt idx="844">
                  <c:v>39629</c:v>
                </c:pt>
                <c:pt idx="845">
                  <c:v>39630</c:v>
                </c:pt>
                <c:pt idx="846">
                  <c:v>39631</c:v>
                </c:pt>
                <c:pt idx="847">
                  <c:v>39632</c:v>
                </c:pt>
                <c:pt idx="848">
                  <c:v>39633</c:v>
                </c:pt>
                <c:pt idx="849">
                  <c:v>39636</c:v>
                </c:pt>
                <c:pt idx="850">
                  <c:v>39637</c:v>
                </c:pt>
                <c:pt idx="851">
                  <c:v>39638</c:v>
                </c:pt>
                <c:pt idx="852">
                  <c:v>39639</c:v>
                </c:pt>
                <c:pt idx="853">
                  <c:v>39640</c:v>
                </c:pt>
                <c:pt idx="854">
                  <c:v>39643</c:v>
                </c:pt>
                <c:pt idx="855">
                  <c:v>39644</c:v>
                </c:pt>
                <c:pt idx="856">
                  <c:v>39645</c:v>
                </c:pt>
                <c:pt idx="857">
                  <c:v>39646</c:v>
                </c:pt>
                <c:pt idx="858">
                  <c:v>39647</c:v>
                </c:pt>
                <c:pt idx="859">
                  <c:v>39650</c:v>
                </c:pt>
                <c:pt idx="860">
                  <c:v>39651</c:v>
                </c:pt>
                <c:pt idx="861">
                  <c:v>39652</c:v>
                </c:pt>
                <c:pt idx="862">
                  <c:v>39653</c:v>
                </c:pt>
                <c:pt idx="863">
                  <c:v>39654</c:v>
                </c:pt>
                <c:pt idx="864">
                  <c:v>39657</c:v>
                </c:pt>
                <c:pt idx="865">
                  <c:v>39658</c:v>
                </c:pt>
                <c:pt idx="866">
                  <c:v>39659</c:v>
                </c:pt>
                <c:pt idx="867">
                  <c:v>39660</c:v>
                </c:pt>
                <c:pt idx="868">
                  <c:v>39661</c:v>
                </c:pt>
                <c:pt idx="869">
                  <c:v>39664</c:v>
                </c:pt>
                <c:pt idx="870">
                  <c:v>39665</c:v>
                </c:pt>
                <c:pt idx="871">
                  <c:v>39666</c:v>
                </c:pt>
                <c:pt idx="872">
                  <c:v>39667</c:v>
                </c:pt>
                <c:pt idx="873">
                  <c:v>39668</c:v>
                </c:pt>
                <c:pt idx="874">
                  <c:v>39671</c:v>
                </c:pt>
                <c:pt idx="875">
                  <c:v>39672</c:v>
                </c:pt>
                <c:pt idx="876">
                  <c:v>39673</c:v>
                </c:pt>
                <c:pt idx="877">
                  <c:v>39674</c:v>
                </c:pt>
                <c:pt idx="878">
                  <c:v>39675</c:v>
                </c:pt>
                <c:pt idx="879">
                  <c:v>39678</c:v>
                </c:pt>
                <c:pt idx="880">
                  <c:v>39679</c:v>
                </c:pt>
                <c:pt idx="881">
                  <c:v>39680</c:v>
                </c:pt>
                <c:pt idx="882">
                  <c:v>39681</c:v>
                </c:pt>
                <c:pt idx="883">
                  <c:v>39682</c:v>
                </c:pt>
                <c:pt idx="884">
                  <c:v>39685</c:v>
                </c:pt>
                <c:pt idx="885">
                  <c:v>39686</c:v>
                </c:pt>
                <c:pt idx="886">
                  <c:v>39687</c:v>
                </c:pt>
                <c:pt idx="887">
                  <c:v>39688</c:v>
                </c:pt>
                <c:pt idx="888">
                  <c:v>39689</c:v>
                </c:pt>
                <c:pt idx="889">
                  <c:v>39692</c:v>
                </c:pt>
                <c:pt idx="890">
                  <c:v>39693</c:v>
                </c:pt>
                <c:pt idx="891">
                  <c:v>39694</c:v>
                </c:pt>
                <c:pt idx="892">
                  <c:v>39695</c:v>
                </c:pt>
                <c:pt idx="893">
                  <c:v>39696</c:v>
                </c:pt>
                <c:pt idx="894">
                  <c:v>39699</c:v>
                </c:pt>
                <c:pt idx="895">
                  <c:v>39700</c:v>
                </c:pt>
                <c:pt idx="896">
                  <c:v>39701</c:v>
                </c:pt>
                <c:pt idx="897">
                  <c:v>39702</c:v>
                </c:pt>
                <c:pt idx="898">
                  <c:v>39703</c:v>
                </c:pt>
                <c:pt idx="899">
                  <c:v>39707</c:v>
                </c:pt>
                <c:pt idx="900">
                  <c:v>39708</c:v>
                </c:pt>
                <c:pt idx="901">
                  <c:v>39709</c:v>
                </c:pt>
                <c:pt idx="902">
                  <c:v>39710</c:v>
                </c:pt>
                <c:pt idx="903">
                  <c:v>39713</c:v>
                </c:pt>
                <c:pt idx="904">
                  <c:v>39714</c:v>
                </c:pt>
                <c:pt idx="905">
                  <c:v>39715</c:v>
                </c:pt>
                <c:pt idx="906">
                  <c:v>39716</c:v>
                </c:pt>
                <c:pt idx="907">
                  <c:v>39717</c:v>
                </c:pt>
                <c:pt idx="908">
                  <c:v>39727</c:v>
                </c:pt>
                <c:pt idx="909">
                  <c:v>39728</c:v>
                </c:pt>
                <c:pt idx="910">
                  <c:v>39729</c:v>
                </c:pt>
                <c:pt idx="911">
                  <c:v>39730</c:v>
                </c:pt>
                <c:pt idx="912">
                  <c:v>39731</c:v>
                </c:pt>
                <c:pt idx="913">
                  <c:v>39734</c:v>
                </c:pt>
                <c:pt idx="914">
                  <c:v>39735</c:v>
                </c:pt>
                <c:pt idx="915">
                  <c:v>39736</c:v>
                </c:pt>
                <c:pt idx="916">
                  <c:v>39737</c:v>
                </c:pt>
                <c:pt idx="917">
                  <c:v>39738</c:v>
                </c:pt>
                <c:pt idx="918">
                  <c:v>39741</c:v>
                </c:pt>
                <c:pt idx="919">
                  <c:v>39742</c:v>
                </c:pt>
                <c:pt idx="920">
                  <c:v>39743</c:v>
                </c:pt>
                <c:pt idx="921">
                  <c:v>39744</c:v>
                </c:pt>
                <c:pt idx="922">
                  <c:v>39745</c:v>
                </c:pt>
                <c:pt idx="923">
                  <c:v>39748</c:v>
                </c:pt>
                <c:pt idx="924">
                  <c:v>39749</c:v>
                </c:pt>
                <c:pt idx="925">
                  <c:v>39750</c:v>
                </c:pt>
                <c:pt idx="926">
                  <c:v>39751</c:v>
                </c:pt>
                <c:pt idx="927">
                  <c:v>39752</c:v>
                </c:pt>
                <c:pt idx="928">
                  <c:v>39755</c:v>
                </c:pt>
                <c:pt idx="929">
                  <c:v>39756</c:v>
                </c:pt>
                <c:pt idx="930">
                  <c:v>39757</c:v>
                </c:pt>
                <c:pt idx="931">
                  <c:v>39758</c:v>
                </c:pt>
                <c:pt idx="932">
                  <c:v>39759</c:v>
                </c:pt>
                <c:pt idx="933">
                  <c:v>39762</c:v>
                </c:pt>
                <c:pt idx="934">
                  <c:v>39763</c:v>
                </c:pt>
                <c:pt idx="935">
                  <c:v>39764</c:v>
                </c:pt>
                <c:pt idx="936">
                  <c:v>39765</c:v>
                </c:pt>
                <c:pt idx="937">
                  <c:v>39766</c:v>
                </c:pt>
                <c:pt idx="938">
                  <c:v>39769</c:v>
                </c:pt>
                <c:pt idx="939">
                  <c:v>39770</c:v>
                </c:pt>
                <c:pt idx="940">
                  <c:v>39771</c:v>
                </c:pt>
                <c:pt idx="941">
                  <c:v>39772</c:v>
                </c:pt>
                <c:pt idx="942">
                  <c:v>39773</c:v>
                </c:pt>
                <c:pt idx="943">
                  <c:v>39776</c:v>
                </c:pt>
                <c:pt idx="944">
                  <c:v>39777</c:v>
                </c:pt>
                <c:pt idx="945">
                  <c:v>39778</c:v>
                </c:pt>
                <c:pt idx="946">
                  <c:v>39779</c:v>
                </c:pt>
                <c:pt idx="947">
                  <c:v>39780</c:v>
                </c:pt>
                <c:pt idx="948">
                  <c:v>39783</c:v>
                </c:pt>
                <c:pt idx="949">
                  <c:v>39784</c:v>
                </c:pt>
                <c:pt idx="950">
                  <c:v>39785</c:v>
                </c:pt>
                <c:pt idx="951">
                  <c:v>39786</c:v>
                </c:pt>
                <c:pt idx="952">
                  <c:v>39787</c:v>
                </c:pt>
                <c:pt idx="953">
                  <c:v>39790</c:v>
                </c:pt>
                <c:pt idx="954">
                  <c:v>39791</c:v>
                </c:pt>
                <c:pt idx="955">
                  <c:v>39792</c:v>
                </c:pt>
                <c:pt idx="956">
                  <c:v>39793</c:v>
                </c:pt>
                <c:pt idx="957">
                  <c:v>39794</c:v>
                </c:pt>
                <c:pt idx="958">
                  <c:v>39797</c:v>
                </c:pt>
                <c:pt idx="959">
                  <c:v>39798</c:v>
                </c:pt>
                <c:pt idx="960">
                  <c:v>39799</c:v>
                </c:pt>
                <c:pt idx="961">
                  <c:v>39800</c:v>
                </c:pt>
                <c:pt idx="962">
                  <c:v>39801</c:v>
                </c:pt>
                <c:pt idx="963">
                  <c:v>39804</c:v>
                </c:pt>
                <c:pt idx="964">
                  <c:v>39805</c:v>
                </c:pt>
                <c:pt idx="965">
                  <c:v>39806</c:v>
                </c:pt>
                <c:pt idx="966">
                  <c:v>39807</c:v>
                </c:pt>
                <c:pt idx="967">
                  <c:v>39808</c:v>
                </c:pt>
                <c:pt idx="968">
                  <c:v>39811</c:v>
                </c:pt>
                <c:pt idx="969">
                  <c:v>39812</c:v>
                </c:pt>
                <c:pt idx="970">
                  <c:v>39813</c:v>
                </c:pt>
                <c:pt idx="971">
                  <c:v>39818</c:v>
                </c:pt>
                <c:pt idx="972">
                  <c:v>39819</c:v>
                </c:pt>
                <c:pt idx="973">
                  <c:v>39820</c:v>
                </c:pt>
                <c:pt idx="974">
                  <c:v>39821</c:v>
                </c:pt>
                <c:pt idx="975">
                  <c:v>39822</c:v>
                </c:pt>
                <c:pt idx="976">
                  <c:v>39825</c:v>
                </c:pt>
                <c:pt idx="977">
                  <c:v>39826</c:v>
                </c:pt>
                <c:pt idx="978">
                  <c:v>39827</c:v>
                </c:pt>
                <c:pt idx="979">
                  <c:v>39828</c:v>
                </c:pt>
                <c:pt idx="980">
                  <c:v>39829</c:v>
                </c:pt>
                <c:pt idx="981">
                  <c:v>39832</c:v>
                </c:pt>
                <c:pt idx="982">
                  <c:v>39833</c:v>
                </c:pt>
                <c:pt idx="983">
                  <c:v>39834</c:v>
                </c:pt>
                <c:pt idx="984">
                  <c:v>39835</c:v>
                </c:pt>
                <c:pt idx="985">
                  <c:v>39836</c:v>
                </c:pt>
                <c:pt idx="986">
                  <c:v>39846</c:v>
                </c:pt>
                <c:pt idx="987">
                  <c:v>39847</c:v>
                </c:pt>
                <c:pt idx="988">
                  <c:v>39848</c:v>
                </c:pt>
                <c:pt idx="989">
                  <c:v>39849</c:v>
                </c:pt>
                <c:pt idx="990">
                  <c:v>39850</c:v>
                </c:pt>
                <c:pt idx="991">
                  <c:v>39853</c:v>
                </c:pt>
                <c:pt idx="992">
                  <c:v>39854</c:v>
                </c:pt>
                <c:pt idx="993">
                  <c:v>39855</c:v>
                </c:pt>
                <c:pt idx="994">
                  <c:v>39856</c:v>
                </c:pt>
                <c:pt idx="995">
                  <c:v>39857</c:v>
                </c:pt>
                <c:pt idx="996">
                  <c:v>39860</c:v>
                </c:pt>
                <c:pt idx="997">
                  <c:v>39861</c:v>
                </c:pt>
                <c:pt idx="998">
                  <c:v>39862</c:v>
                </c:pt>
                <c:pt idx="999">
                  <c:v>39863</c:v>
                </c:pt>
                <c:pt idx="1000">
                  <c:v>39864</c:v>
                </c:pt>
                <c:pt idx="1001">
                  <c:v>39867</c:v>
                </c:pt>
                <c:pt idx="1002">
                  <c:v>39868</c:v>
                </c:pt>
                <c:pt idx="1003">
                  <c:v>39869</c:v>
                </c:pt>
                <c:pt idx="1004">
                  <c:v>39870</c:v>
                </c:pt>
                <c:pt idx="1005">
                  <c:v>39871</c:v>
                </c:pt>
                <c:pt idx="1006">
                  <c:v>39874</c:v>
                </c:pt>
                <c:pt idx="1007">
                  <c:v>39875</c:v>
                </c:pt>
                <c:pt idx="1008">
                  <c:v>39876</c:v>
                </c:pt>
                <c:pt idx="1009">
                  <c:v>39877</c:v>
                </c:pt>
                <c:pt idx="1010">
                  <c:v>39878</c:v>
                </c:pt>
                <c:pt idx="1011">
                  <c:v>39881</c:v>
                </c:pt>
                <c:pt idx="1012">
                  <c:v>39882</c:v>
                </c:pt>
                <c:pt idx="1013">
                  <c:v>39883</c:v>
                </c:pt>
                <c:pt idx="1014">
                  <c:v>39884</c:v>
                </c:pt>
                <c:pt idx="1015">
                  <c:v>39885</c:v>
                </c:pt>
                <c:pt idx="1016">
                  <c:v>39888</c:v>
                </c:pt>
                <c:pt idx="1017">
                  <c:v>39889</c:v>
                </c:pt>
                <c:pt idx="1018">
                  <c:v>39890</c:v>
                </c:pt>
                <c:pt idx="1019">
                  <c:v>39891</c:v>
                </c:pt>
                <c:pt idx="1020">
                  <c:v>39892</c:v>
                </c:pt>
                <c:pt idx="1021">
                  <c:v>39895</c:v>
                </c:pt>
                <c:pt idx="1022">
                  <c:v>39896</c:v>
                </c:pt>
                <c:pt idx="1023">
                  <c:v>39897</c:v>
                </c:pt>
                <c:pt idx="1024">
                  <c:v>39898</c:v>
                </c:pt>
                <c:pt idx="1025">
                  <c:v>39899</c:v>
                </c:pt>
                <c:pt idx="1026">
                  <c:v>39902</c:v>
                </c:pt>
                <c:pt idx="1027">
                  <c:v>39903</c:v>
                </c:pt>
                <c:pt idx="1028">
                  <c:v>39904</c:v>
                </c:pt>
                <c:pt idx="1029">
                  <c:v>39905</c:v>
                </c:pt>
                <c:pt idx="1030">
                  <c:v>39906</c:v>
                </c:pt>
                <c:pt idx="1031">
                  <c:v>39910</c:v>
                </c:pt>
                <c:pt idx="1032">
                  <c:v>39911</c:v>
                </c:pt>
                <c:pt idx="1033">
                  <c:v>39912</c:v>
                </c:pt>
                <c:pt idx="1034">
                  <c:v>39913</c:v>
                </c:pt>
                <c:pt idx="1035">
                  <c:v>39916</c:v>
                </c:pt>
                <c:pt idx="1036">
                  <c:v>39917</c:v>
                </c:pt>
                <c:pt idx="1037">
                  <c:v>39918</c:v>
                </c:pt>
                <c:pt idx="1038">
                  <c:v>39919</c:v>
                </c:pt>
                <c:pt idx="1039">
                  <c:v>39920</c:v>
                </c:pt>
                <c:pt idx="1040">
                  <c:v>39923</c:v>
                </c:pt>
                <c:pt idx="1041">
                  <c:v>39924</c:v>
                </c:pt>
                <c:pt idx="1042">
                  <c:v>39925</c:v>
                </c:pt>
                <c:pt idx="1043">
                  <c:v>39926</c:v>
                </c:pt>
                <c:pt idx="1044">
                  <c:v>39927</c:v>
                </c:pt>
                <c:pt idx="1045">
                  <c:v>39930</c:v>
                </c:pt>
                <c:pt idx="1046">
                  <c:v>39931</c:v>
                </c:pt>
                <c:pt idx="1047">
                  <c:v>39932</c:v>
                </c:pt>
                <c:pt idx="1048">
                  <c:v>39933</c:v>
                </c:pt>
                <c:pt idx="1049">
                  <c:v>39937</c:v>
                </c:pt>
                <c:pt idx="1050">
                  <c:v>39938</c:v>
                </c:pt>
                <c:pt idx="1051">
                  <c:v>39939</c:v>
                </c:pt>
                <c:pt idx="1052">
                  <c:v>39940</c:v>
                </c:pt>
                <c:pt idx="1053">
                  <c:v>39941</c:v>
                </c:pt>
                <c:pt idx="1054">
                  <c:v>39944</c:v>
                </c:pt>
                <c:pt idx="1055">
                  <c:v>39945</c:v>
                </c:pt>
                <c:pt idx="1056">
                  <c:v>39946</c:v>
                </c:pt>
                <c:pt idx="1057">
                  <c:v>39947</c:v>
                </c:pt>
                <c:pt idx="1058">
                  <c:v>39948</c:v>
                </c:pt>
                <c:pt idx="1059">
                  <c:v>39951</c:v>
                </c:pt>
                <c:pt idx="1060">
                  <c:v>39952</c:v>
                </c:pt>
                <c:pt idx="1061">
                  <c:v>39953</c:v>
                </c:pt>
                <c:pt idx="1062">
                  <c:v>39954</c:v>
                </c:pt>
                <c:pt idx="1063">
                  <c:v>39955</c:v>
                </c:pt>
                <c:pt idx="1064">
                  <c:v>39958</c:v>
                </c:pt>
                <c:pt idx="1065">
                  <c:v>39959</c:v>
                </c:pt>
                <c:pt idx="1066">
                  <c:v>39960</c:v>
                </c:pt>
                <c:pt idx="1067">
                  <c:v>39965</c:v>
                </c:pt>
                <c:pt idx="1068">
                  <c:v>39966</c:v>
                </c:pt>
                <c:pt idx="1069">
                  <c:v>39967</c:v>
                </c:pt>
                <c:pt idx="1070">
                  <c:v>39968</c:v>
                </c:pt>
                <c:pt idx="1071">
                  <c:v>39969</c:v>
                </c:pt>
                <c:pt idx="1072">
                  <c:v>39972</c:v>
                </c:pt>
                <c:pt idx="1073">
                  <c:v>39973</c:v>
                </c:pt>
                <c:pt idx="1074">
                  <c:v>39974</c:v>
                </c:pt>
                <c:pt idx="1075">
                  <c:v>39975</c:v>
                </c:pt>
                <c:pt idx="1076">
                  <c:v>39976</c:v>
                </c:pt>
                <c:pt idx="1077">
                  <c:v>39979</c:v>
                </c:pt>
                <c:pt idx="1078">
                  <c:v>39980</c:v>
                </c:pt>
                <c:pt idx="1079">
                  <c:v>39981</c:v>
                </c:pt>
                <c:pt idx="1080">
                  <c:v>39982</c:v>
                </c:pt>
                <c:pt idx="1081">
                  <c:v>39983</c:v>
                </c:pt>
                <c:pt idx="1082">
                  <c:v>39986</c:v>
                </c:pt>
                <c:pt idx="1083">
                  <c:v>39987</c:v>
                </c:pt>
                <c:pt idx="1084">
                  <c:v>39988</c:v>
                </c:pt>
                <c:pt idx="1085">
                  <c:v>39989</c:v>
                </c:pt>
                <c:pt idx="1086">
                  <c:v>39990</c:v>
                </c:pt>
                <c:pt idx="1087">
                  <c:v>39993</c:v>
                </c:pt>
                <c:pt idx="1088">
                  <c:v>39994</c:v>
                </c:pt>
                <c:pt idx="1089">
                  <c:v>39995</c:v>
                </c:pt>
                <c:pt idx="1090">
                  <c:v>39996</c:v>
                </c:pt>
                <c:pt idx="1091">
                  <c:v>39997</c:v>
                </c:pt>
                <c:pt idx="1092">
                  <c:v>40000</c:v>
                </c:pt>
                <c:pt idx="1093">
                  <c:v>40001</c:v>
                </c:pt>
                <c:pt idx="1094">
                  <c:v>40002</c:v>
                </c:pt>
                <c:pt idx="1095">
                  <c:v>40003</c:v>
                </c:pt>
                <c:pt idx="1096">
                  <c:v>40004</c:v>
                </c:pt>
                <c:pt idx="1097">
                  <c:v>40007</c:v>
                </c:pt>
                <c:pt idx="1098">
                  <c:v>40008</c:v>
                </c:pt>
                <c:pt idx="1099">
                  <c:v>40009</c:v>
                </c:pt>
                <c:pt idx="1100">
                  <c:v>40010</c:v>
                </c:pt>
                <c:pt idx="1101">
                  <c:v>40011</c:v>
                </c:pt>
                <c:pt idx="1102">
                  <c:v>40014</c:v>
                </c:pt>
                <c:pt idx="1103">
                  <c:v>40015</c:v>
                </c:pt>
                <c:pt idx="1104">
                  <c:v>40016</c:v>
                </c:pt>
                <c:pt idx="1105">
                  <c:v>40017</c:v>
                </c:pt>
                <c:pt idx="1106">
                  <c:v>40018</c:v>
                </c:pt>
                <c:pt idx="1107">
                  <c:v>40021</c:v>
                </c:pt>
                <c:pt idx="1108">
                  <c:v>40022</c:v>
                </c:pt>
                <c:pt idx="1109">
                  <c:v>40023</c:v>
                </c:pt>
                <c:pt idx="1110">
                  <c:v>40024</c:v>
                </c:pt>
                <c:pt idx="1111">
                  <c:v>40025</c:v>
                </c:pt>
                <c:pt idx="1112">
                  <c:v>40028</c:v>
                </c:pt>
                <c:pt idx="1113">
                  <c:v>40029</c:v>
                </c:pt>
                <c:pt idx="1114">
                  <c:v>40030</c:v>
                </c:pt>
                <c:pt idx="1115">
                  <c:v>40031</c:v>
                </c:pt>
                <c:pt idx="1116">
                  <c:v>40032</c:v>
                </c:pt>
                <c:pt idx="1117">
                  <c:v>40035</c:v>
                </c:pt>
                <c:pt idx="1118">
                  <c:v>40036</c:v>
                </c:pt>
                <c:pt idx="1119">
                  <c:v>40037</c:v>
                </c:pt>
                <c:pt idx="1120">
                  <c:v>40038</c:v>
                </c:pt>
                <c:pt idx="1121">
                  <c:v>40039</c:v>
                </c:pt>
                <c:pt idx="1122">
                  <c:v>40042</c:v>
                </c:pt>
                <c:pt idx="1123">
                  <c:v>40043</c:v>
                </c:pt>
                <c:pt idx="1124">
                  <c:v>40044</c:v>
                </c:pt>
                <c:pt idx="1125">
                  <c:v>40045</c:v>
                </c:pt>
                <c:pt idx="1126">
                  <c:v>40046</c:v>
                </c:pt>
                <c:pt idx="1127">
                  <c:v>40049</c:v>
                </c:pt>
                <c:pt idx="1128">
                  <c:v>40050</c:v>
                </c:pt>
                <c:pt idx="1129">
                  <c:v>40051</c:v>
                </c:pt>
                <c:pt idx="1130">
                  <c:v>40052</c:v>
                </c:pt>
                <c:pt idx="1131">
                  <c:v>40053</c:v>
                </c:pt>
                <c:pt idx="1132">
                  <c:v>40056</c:v>
                </c:pt>
                <c:pt idx="1133">
                  <c:v>40057</c:v>
                </c:pt>
                <c:pt idx="1134">
                  <c:v>40058</c:v>
                </c:pt>
                <c:pt idx="1135">
                  <c:v>40059</c:v>
                </c:pt>
                <c:pt idx="1136">
                  <c:v>40060</c:v>
                </c:pt>
                <c:pt idx="1137">
                  <c:v>40063</c:v>
                </c:pt>
                <c:pt idx="1138">
                  <c:v>40064</c:v>
                </c:pt>
                <c:pt idx="1139">
                  <c:v>40065</c:v>
                </c:pt>
                <c:pt idx="1140">
                  <c:v>40066</c:v>
                </c:pt>
                <c:pt idx="1141">
                  <c:v>40067</c:v>
                </c:pt>
                <c:pt idx="1142">
                  <c:v>40070</c:v>
                </c:pt>
                <c:pt idx="1143">
                  <c:v>40071</c:v>
                </c:pt>
                <c:pt idx="1144">
                  <c:v>40072</c:v>
                </c:pt>
                <c:pt idx="1145">
                  <c:v>40073</c:v>
                </c:pt>
                <c:pt idx="1146">
                  <c:v>40074</c:v>
                </c:pt>
                <c:pt idx="1147">
                  <c:v>40077</c:v>
                </c:pt>
                <c:pt idx="1148">
                  <c:v>40078</c:v>
                </c:pt>
                <c:pt idx="1149">
                  <c:v>40079</c:v>
                </c:pt>
                <c:pt idx="1150">
                  <c:v>40080</c:v>
                </c:pt>
                <c:pt idx="1151">
                  <c:v>40081</c:v>
                </c:pt>
                <c:pt idx="1152">
                  <c:v>40084</c:v>
                </c:pt>
                <c:pt idx="1153">
                  <c:v>40085</c:v>
                </c:pt>
                <c:pt idx="1154">
                  <c:v>40086</c:v>
                </c:pt>
                <c:pt idx="1155">
                  <c:v>40095</c:v>
                </c:pt>
                <c:pt idx="1156">
                  <c:v>40098</c:v>
                </c:pt>
                <c:pt idx="1157">
                  <c:v>40099</c:v>
                </c:pt>
                <c:pt idx="1158">
                  <c:v>40100</c:v>
                </c:pt>
                <c:pt idx="1159">
                  <c:v>40101</c:v>
                </c:pt>
                <c:pt idx="1160">
                  <c:v>40102</c:v>
                </c:pt>
                <c:pt idx="1161">
                  <c:v>40105</c:v>
                </c:pt>
                <c:pt idx="1162">
                  <c:v>40106</c:v>
                </c:pt>
                <c:pt idx="1163">
                  <c:v>40107</c:v>
                </c:pt>
                <c:pt idx="1164">
                  <c:v>40108</c:v>
                </c:pt>
                <c:pt idx="1165">
                  <c:v>40109</c:v>
                </c:pt>
                <c:pt idx="1166">
                  <c:v>40112</c:v>
                </c:pt>
                <c:pt idx="1167">
                  <c:v>40113</c:v>
                </c:pt>
                <c:pt idx="1168">
                  <c:v>40114</c:v>
                </c:pt>
                <c:pt idx="1169">
                  <c:v>40115</c:v>
                </c:pt>
                <c:pt idx="1170">
                  <c:v>40116</c:v>
                </c:pt>
                <c:pt idx="1171">
                  <c:v>40119</c:v>
                </c:pt>
                <c:pt idx="1172">
                  <c:v>40120</c:v>
                </c:pt>
                <c:pt idx="1173">
                  <c:v>40121</c:v>
                </c:pt>
                <c:pt idx="1174">
                  <c:v>40122</c:v>
                </c:pt>
                <c:pt idx="1175">
                  <c:v>40123</c:v>
                </c:pt>
                <c:pt idx="1176">
                  <c:v>40126</c:v>
                </c:pt>
                <c:pt idx="1177">
                  <c:v>40127</c:v>
                </c:pt>
                <c:pt idx="1178">
                  <c:v>40128</c:v>
                </c:pt>
                <c:pt idx="1179">
                  <c:v>40129</c:v>
                </c:pt>
                <c:pt idx="1180">
                  <c:v>40130</c:v>
                </c:pt>
                <c:pt idx="1181">
                  <c:v>40133</c:v>
                </c:pt>
                <c:pt idx="1182">
                  <c:v>40134</c:v>
                </c:pt>
                <c:pt idx="1183">
                  <c:v>40135</c:v>
                </c:pt>
                <c:pt idx="1184">
                  <c:v>40136</c:v>
                </c:pt>
                <c:pt idx="1185">
                  <c:v>40137</c:v>
                </c:pt>
                <c:pt idx="1186">
                  <c:v>40140</c:v>
                </c:pt>
                <c:pt idx="1187">
                  <c:v>40141</c:v>
                </c:pt>
                <c:pt idx="1188">
                  <c:v>40142</c:v>
                </c:pt>
                <c:pt idx="1189">
                  <c:v>40143</c:v>
                </c:pt>
                <c:pt idx="1190">
                  <c:v>40144</c:v>
                </c:pt>
                <c:pt idx="1191">
                  <c:v>40147</c:v>
                </c:pt>
                <c:pt idx="1192">
                  <c:v>40148</c:v>
                </c:pt>
                <c:pt idx="1193">
                  <c:v>40149</c:v>
                </c:pt>
                <c:pt idx="1194">
                  <c:v>40150</c:v>
                </c:pt>
                <c:pt idx="1195">
                  <c:v>40151</c:v>
                </c:pt>
                <c:pt idx="1196">
                  <c:v>40154</c:v>
                </c:pt>
                <c:pt idx="1197">
                  <c:v>40155</c:v>
                </c:pt>
                <c:pt idx="1198">
                  <c:v>40156</c:v>
                </c:pt>
                <c:pt idx="1199">
                  <c:v>40157</c:v>
                </c:pt>
                <c:pt idx="1200">
                  <c:v>40158</c:v>
                </c:pt>
                <c:pt idx="1201">
                  <c:v>40161</c:v>
                </c:pt>
                <c:pt idx="1202">
                  <c:v>40162</c:v>
                </c:pt>
                <c:pt idx="1203">
                  <c:v>40163</c:v>
                </c:pt>
                <c:pt idx="1204">
                  <c:v>40164</c:v>
                </c:pt>
                <c:pt idx="1205">
                  <c:v>40165</c:v>
                </c:pt>
                <c:pt idx="1206">
                  <c:v>40168</c:v>
                </c:pt>
                <c:pt idx="1207">
                  <c:v>40169</c:v>
                </c:pt>
                <c:pt idx="1208">
                  <c:v>40170</c:v>
                </c:pt>
                <c:pt idx="1209">
                  <c:v>40171</c:v>
                </c:pt>
                <c:pt idx="1210">
                  <c:v>40172</c:v>
                </c:pt>
                <c:pt idx="1211">
                  <c:v>40175</c:v>
                </c:pt>
                <c:pt idx="1212">
                  <c:v>40176</c:v>
                </c:pt>
                <c:pt idx="1213">
                  <c:v>40177</c:v>
                </c:pt>
                <c:pt idx="1214">
                  <c:v>40178</c:v>
                </c:pt>
                <c:pt idx="1215">
                  <c:v>40182</c:v>
                </c:pt>
                <c:pt idx="1216">
                  <c:v>40183</c:v>
                </c:pt>
                <c:pt idx="1217">
                  <c:v>40184</c:v>
                </c:pt>
                <c:pt idx="1218">
                  <c:v>40185</c:v>
                </c:pt>
                <c:pt idx="1219">
                  <c:v>40186</c:v>
                </c:pt>
                <c:pt idx="1220">
                  <c:v>40189</c:v>
                </c:pt>
                <c:pt idx="1221">
                  <c:v>40190</c:v>
                </c:pt>
                <c:pt idx="1222">
                  <c:v>40191</c:v>
                </c:pt>
                <c:pt idx="1223">
                  <c:v>40192</c:v>
                </c:pt>
                <c:pt idx="1224">
                  <c:v>40193</c:v>
                </c:pt>
                <c:pt idx="1225">
                  <c:v>40196</c:v>
                </c:pt>
                <c:pt idx="1226">
                  <c:v>40197</c:v>
                </c:pt>
                <c:pt idx="1227">
                  <c:v>40198</c:v>
                </c:pt>
                <c:pt idx="1228">
                  <c:v>40199</c:v>
                </c:pt>
                <c:pt idx="1229">
                  <c:v>40200</c:v>
                </c:pt>
                <c:pt idx="1230">
                  <c:v>40203</c:v>
                </c:pt>
                <c:pt idx="1231">
                  <c:v>40204</c:v>
                </c:pt>
                <c:pt idx="1232">
                  <c:v>40205</c:v>
                </c:pt>
                <c:pt idx="1233">
                  <c:v>40206</c:v>
                </c:pt>
                <c:pt idx="1234">
                  <c:v>40207</c:v>
                </c:pt>
                <c:pt idx="1235">
                  <c:v>40210</c:v>
                </c:pt>
                <c:pt idx="1236">
                  <c:v>40211</c:v>
                </c:pt>
                <c:pt idx="1237">
                  <c:v>40212</c:v>
                </c:pt>
                <c:pt idx="1238">
                  <c:v>40213</c:v>
                </c:pt>
                <c:pt idx="1239">
                  <c:v>40214</c:v>
                </c:pt>
                <c:pt idx="1240">
                  <c:v>40217</c:v>
                </c:pt>
                <c:pt idx="1241">
                  <c:v>40218</c:v>
                </c:pt>
                <c:pt idx="1242">
                  <c:v>40219</c:v>
                </c:pt>
                <c:pt idx="1243">
                  <c:v>40220</c:v>
                </c:pt>
                <c:pt idx="1244">
                  <c:v>40221</c:v>
                </c:pt>
                <c:pt idx="1245">
                  <c:v>40231</c:v>
                </c:pt>
                <c:pt idx="1246">
                  <c:v>40232</c:v>
                </c:pt>
                <c:pt idx="1247">
                  <c:v>40233</c:v>
                </c:pt>
                <c:pt idx="1248">
                  <c:v>40234</c:v>
                </c:pt>
                <c:pt idx="1249">
                  <c:v>40235</c:v>
                </c:pt>
                <c:pt idx="1250">
                  <c:v>40238</c:v>
                </c:pt>
                <c:pt idx="1251">
                  <c:v>40239</c:v>
                </c:pt>
                <c:pt idx="1252">
                  <c:v>40240</c:v>
                </c:pt>
                <c:pt idx="1253">
                  <c:v>40241</c:v>
                </c:pt>
                <c:pt idx="1254">
                  <c:v>40242</c:v>
                </c:pt>
                <c:pt idx="1255">
                  <c:v>40245</c:v>
                </c:pt>
                <c:pt idx="1256">
                  <c:v>40246</c:v>
                </c:pt>
                <c:pt idx="1257">
                  <c:v>40247</c:v>
                </c:pt>
                <c:pt idx="1258">
                  <c:v>40248</c:v>
                </c:pt>
                <c:pt idx="1259">
                  <c:v>40249</c:v>
                </c:pt>
                <c:pt idx="1260">
                  <c:v>40252</c:v>
                </c:pt>
                <c:pt idx="1261">
                  <c:v>40253</c:v>
                </c:pt>
                <c:pt idx="1262">
                  <c:v>40254</c:v>
                </c:pt>
                <c:pt idx="1263">
                  <c:v>40255</c:v>
                </c:pt>
                <c:pt idx="1264">
                  <c:v>40256</c:v>
                </c:pt>
                <c:pt idx="1265">
                  <c:v>40259</c:v>
                </c:pt>
                <c:pt idx="1266">
                  <c:v>40260</c:v>
                </c:pt>
                <c:pt idx="1267">
                  <c:v>40261</c:v>
                </c:pt>
                <c:pt idx="1268">
                  <c:v>40262</c:v>
                </c:pt>
                <c:pt idx="1269">
                  <c:v>40263</c:v>
                </c:pt>
                <c:pt idx="1270">
                  <c:v>40266</c:v>
                </c:pt>
                <c:pt idx="1271">
                  <c:v>40267</c:v>
                </c:pt>
                <c:pt idx="1272">
                  <c:v>40268</c:v>
                </c:pt>
                <c:pt idx="1273">
                  <c:v>40269</c:v>
                </c:pt>
                <c:pt idx="1274">
                  <c:v>40270</c:v>
                </c:pt>
                <c:pt idx="1275">
                  <c:v>40274</c:v>
                </c:pt>
                <c:pt idx="1276">
                  <c:v>40275</c:v>
                </c:pt>
                <c:pt idx="1277">
                  <c:v>40276</c:v>
                </c:pt>
                <c:pt idx="1278">
                  <c:v>40277</c:v>
                </c:pt>
                <c:pt idx="1279">
                  <c:v>40280</c:v>
                </c:pt>
                <c:pt idx="1280">
                  <c:v>40281</c:v>
                </c:pt>
                <c:pt idx="1281">
                  <c:v>40282</c:v>
                </c:pt>
                <c:pt idx="1282">
                  <c:v>40283</c:v>
                </c:pt>
                <c:pt idx="1283">
                  <c:v>40284</c:v>
                </c:pt>
                <c:pt idx="1284">
                  <c:v>40287</c:v>
                </c:pt>
                <c:pt idx="1285">
                  <c:v>40288</c:v>
                </c:pt>
                <c:pt idx="1286">
                  <c:v>40289</c:v>
                </c:pt>
                <c:pt idx="1287">
                  <c:v>40290</c:v>
                </c:pt>
                <c:pt idx="1288">
                  <c:v>40291</c:v>
                </c:pt>
                <c:pt idx="1289">
                  <c:v>40294</c:v>
                </c:pt>
                <c:pt idx="1290">
                  <c:v>40295</c:v>
                </c:pt>
                <c:pt idx="1291">
                  <c:v>40296</c:v>
                </c:pt>
                <c:pt idx="1292">
                  <c:v>40297</c:v>
                </c:pt>
                <c:pt idx="1293">
                  <c:v>40298</c:v>
                </c:pt>
                <c:pt idx="1294">
                  <c:v>40302</c:v>
                </c:pt>
                <c:pt idx="1295">
                  <c:v>40303</c:v>
                </c:pt>
                <c:pt idx="1296">
                  <c:v>40304</c:v>
                </c:pt>
                <c:pt idx="1297">
                  <c:v>40305</c:v>
                </c:pt>
                <c:pt idx="1298">
                  <c:v>40308</c:v>
                </c:pt>
                <c:pt idx="1299">
                  <c:v>40309</c:v>
                </c:pt>
                <c:pt idx="1300">
                  <c:v>40310</c:v>
                </c:pt>
                <c:pt idx="1301">
                  <c:v>40311</c:v>
                </c:pt>
                <c:pt idx="1302">
                  <c:v>40312</c:v>
                </c:pt>
                <c:pt idx="1303">
                  <c:v>40315</c:v>
                </c:pt>
                <c:pt idx="1304">
                  <c:v>40316</c:v>
                </c:pt>
                <c:pt idx="1305">
                  <c:v>40317</c:v>
                </c:pt>
                <c:pt idx="1306">
                  <c:v>40318</c:v>
                </c:pt>
                <c:pt idx="1307">
                  <c:v>40319</c:v>
                </c:pt>
                <c:pt idx="1308">
                  <c:v>40322</c:v>
                </c:pt>
                <c:pt idx="1309">
                  <c:v>40323</c:v>
                </c:pt>
                <c:pt idx="1310">
                  <c:v>40324</c:v>
                </c:pt>
                <c:pt idx="1311">
                  <c:v>40325</c:v>
                </c:pt>
                <c:pt idx="1312">
                  <c:v>40326</c:v>
                </c:pt>
                <c:pt idx="1313">
                  <c:v>40329</c:v>
                </c:pt>
                <c:pt idx="1314">
                  <c:v>40330</c:v>
                </c:pt>
                <c:pt idx="1315">
                  <c:v>40331</c:v>
                </c:pt>
                <c:pt idx="1316">
                  <c:v>40332</c:v>
                </c:pt>
                <c:pt idx="1317">
                  <c:v>40333</c:v>
                </c:pt>
                <c:pt idx="1318">
                  <c:v>40336</c:v>
                </c:pt>
                <c:pt idx="1319">
                  <c:v>40337</c:v>
                </c:pt>
                <c:pt idx="1320">
                  <c:v>40338</c:v>
                </c:pt>
                <c:pt idx="1321">
                  <c:v>40339</c:v>
                </c:pt>
                <c:pt idx="1322">
                  <c:v>40340</c:v>
                </c:pt>
                <c:pt idx="1323">
                  <c:v>40346</c:v>
                </c:pt>
                <c:pt idx="1324">
                  <c:v>40347</c:v>
                </c:pt>
                <c:pt idx="1325">
                  <c:v>40350</c:v>
                </c:pt>
                <c:pt idx="1326">
                  <c:v>40351</c:v>
                </c:pt>
                <c:pt idx="1327">
                  <c:v>40352</c:v>
                </c:pt>
                <c:pt idx="1328">
                  <c:v>40353</c:v>
                </c:pt>
                <c:pt idx="1329">
                  <c:v>40354</c:v>
                </c:pt>
                <c:pt idx="1330">
                  <c:v>40357</c:v>
                </c:pt>
                <c:pt idx="1331">
                  <c:v>40358</c:v>
                </c:pt>
                <c:pt idx="1332">
                  <c:v>40359</c:v>
                </c:pt>
                <c:pt idx="1333">
                  <c:v>40360</c:v>
                </c:pt>
                <c:pt idx="1334">
                  <c:v>40361</c:v>
                </c:pt>
                <c:pt idx="1335">
                  <c:v>40364</c:v>
                </c:pt>
                <c:pt idx="1336">
                  <c:v>40365</c:v>
                </c:pt>
                <c:pt idx="1337">
                  <c:v>40366</c:v>
                </c:pt>
                <c:pt idx="1338">
                  <c:v>40367</c:v>
                </c:pt>
                <c:pt idx="1339">
                  <c:v>40368</c:v>
                </c:pt>
                <c:pt idx="1340">
                  <c:v>40371</c:v>
                </c:pt>
                <c:pt idx="1341">
                  <c:v>40372</c:v>
                </c:pt>
                <c:pt idx="1342">
                  <c:v>40373</c:v>
                </c:pt>
                <c:pt idx="1343">
                  <c:v>40374</c:v>
                </c:pt>
                <c:pt idx="1344">
                  <c:v>40375</c:v>
                </c:pt>
                <c:pt idx="1345">
                  <c:v>40378</c:v>
                </c:pt>
                <c:pt idx="1346">
                  <c:v>40379</c:v>
                </c:pt>
                <c:pt idx="1347">
                  <c:v>40380</c:v>
                </c:pt>
                <c:pt idx="1348">
                  <c:v>40381</c:v>
                </c:pt>
                <c:pt idx="1349">
                  <c:v>40382</c:v>
                </c:pt>
                <c:pt idx="1350">
                  <c:v>40385</c:v>
                </c:pt>
                <c:pt idx="1351">
                  <c:v>40386</c:v>
                </c:pt>
                <c:pt idx="1352">
                  <c:v>40387</c:v>
                </c:pt>
                <c:pt idx="1353">
                  <c:v>40388</c:v>
                </c:pt>
                <c:pt idx="1354">
                  <c:v>40389</c:v>
                </c:pt>
                <c:pt idx="1355">
                  <c:v>40392</c:v>
                </c:pt>
                <c:pt idx="1356">
                  <c:v>40393</c:v>
                </c:pt>
                <c:pt idx="1357">
                  <c:v>40394</c:v>
                </c:pt>
                <c:pt idx="1358">
                  <c:v>40395</c:v>
                </c:pt>
                <c:pt idx="1359">
                  <c:v>40396</c:v>
                </c:pt>
                <c:pt idx="1360">
                  <c:v>40399</c:v>
                </c:pt>
                <c:pt idx="1361">
                  <c:v>40400</c:v>
                </c:pt>
                <c:pt idx="1362">
                  <c:v>40401</c:v>
                </c:pt>
                <c:pt idx="1363">
                  <c:v>40402</c:v>
                </c:pt>
                <c:pt idx="1364">
                  <c:v>40403</c:v>
                </c:pt>
                <c:pt idx="1365">
                  <c:v>40406</c:v>
                </c:pt>
                <c:pt idx="1366">
                  <c:v>40407</c:v>
                </c:pt>
                <c:pt idx="1367">
                  <c:v>40408</c:v>
                </c:pt>
                <c:pt idx="1368">
                  <c:v>40409</c:v>
                </c:pt>
                <c:pt idx="1369">
                  <c:v>40410</c:v>
                </c:pt>
                <c:pt idx="1370">
                  <c:v>40413</c:v>
                </c:pt>
                <c:pt idx="1371">
                  <c:v>40414</c:v>
                </c:pt>
                <c:pt idx="1372">
                  <c:v>40415</c:v>
                </c:pt>
                <c:pt idx="1373">
                  <c:v>40416</c:v>
                </c:pt>
                <c:pt idx="1374">
                  <c:v>40417</c:v>
                </c:pt>
                <c:pt idx="1375">
                  <c:v>40420</c:v>
                </c:pt>
                <c:pt idx="1376">
                  <c:v>40421</c:v>
                </c:pt>
                <c:pt idx="1377">
                  <c:v>40422</c:v>
                </c:pt>
                <c:pt idx="1378">
                  <c:v>40423</c:v>
                </c:pt>
                <c:pt idx="1379">
                  <c:v>40424</c:v>
                </c:pt>
                <c:pt idx="1380">
                  <c:v>40427</c:v>
                </c:pt>
                <c:pt idx="1381">
                  <c:v>40428</c:v>
                </c:pt>
                <c:pt idx="1382">
                  <c:v>40429</c:v>
                </c:pt>
                <c:pt idx="1383">
                  <c:v>40430</c:v>
                </c:pt>
                <c:pt idx="1384">
                  <c:v>40431</c:v>
                </c:pt>
                <c:pt idx="1385">
                  <c:v>40434</c:v>
                </c:pt>
                <c:pt idx="1386">
                  <c:v>40435</c:v>
                </c:pt>
                <c:pt idx="1387">
                  <c:v>40436</c:v>
                </c:pt>
                <c:pt idx="1388">
                  <c:v>40437</c:v>
                </c:pt>
                <c:pt idx="1389">
                  <c:v>40438</c:v>
                </c:pt>
                <c:pt idx="1390">
                  <c:v>40441</c:v>
                </c:pt>
                <c:pt idx="1391">
                  <c:v>40442</c:v>
                </c:pt>
                <c:pt idx="1392">
                  <c:v>40448</c:v>
                </c:pt>
                <c:pt idx="1393">
                  <c:v>40449</c:v>
                </c:pt>
                <c:pt idx="1394">
                  <c:v>40450</c:v>
                </c:pt>
                <c:pt idx="1395">
                  <c:v>40451</c:v>
                </c:pt>
                <c:pt idx="1396">
                  <c:v>40459</c:v>
                </c:pt>
                <c:pt idx="1397">
                  <c:v>40462</c:v>
                </c:pt>
                <c:pt idx="1398">
                  <c:v>40463</c:v>
                </c:pt>
                <c:pt idx="1399">
                  <c:v>40464</c:v>
                </c:pt>
                <c:pt idx="1400">
                  <c:v>40465</c:v>
                </c:pt>
                <c:pt idx="1401">
                  <c:v>40466</c:v>
                </c:pt>
                <c:pt idx="1402">
                  <c:v>40469</c:v>
                </c:pt>
                <c:pt idx="1403">
                  <c:v>40470</c:v>
                </c:pt>
                <c:pt idx="1404">
                  <c:v>40471</c:v>
                </c:pt>
                <c:pt idx="1405">
                  <c:v>40472</c:v>
                </c:pt>
                <c:pt idx="1406">
                  <c:v>40473</c:v>
                </c:pt>
                <c:pt idx="1407">
                  <c:v>40476</c:v>
                </c:pt>
                <c:pt idx="1408">
                  <c:v>40477</c:v>
                </c:pt>
                <c:pt idx="1409">
                  <c:v>40478</c:v>
                </c:pt>
                <c:pt idx="1410">
                  <c:v>40479</c:v>
                </c:pt>
                <c:pt idx="1411">
                  <c:v>40480</c:v>
                </c:pt>
                <c:pt idx="1412">
                  <c:v>40483</c:v>
                </c:pt>
                <c:pt idx="1413">
                  <c:v>40484</c:v>
                </c:pt>
                <c:pt idx="1414">
                  <c:v>40485</c:v>
                </c:pt>
                <c:pt idx="1415">
                  <c:v>40486</c:v>
                </c:pt>
                <c:pt idx="1416">
                  <c:v>40487</c:v>
                </c:pt>
                <c:pt idx="1417">
                  <c:v>40490</c:v>
                </c:pt>
                <c:pt idx="1418">
                  <c:v>40491</c:v>
                </c:pt>
                <c:pt idx="1419">
                  <c:v>40492</c:v>
                </c:pt>
                <c:pt idx="1420">
                  <c:v>40493</c:v>
                </c:pt>
                <c:pt idx="1421">
                  <c:v>40494</c:v>
                </c:pt>
                <c:pt idx="1422">
                  <c:v>40497</c:v>
                </c:pt>
                <c:pt idx="1423">
                  <c:v>40498</c:v>
                </c:pt>
                <c:pt idx="1424">
                  <c:v>40499</c:v>
                </c:pt>
                <c:pt idx="1425">
                  <c:v>40500</c:v>
                </c:pt>
                <c:pt idx="1426">
                  <c:v>40501</c:v>
                </c:pt>
                <c:pt idx="1427">
                  <c:v>40504</c:v>
                </c:pt>
                <c:pt idx="1428">
                  <c:v>40505</c:v>
                </c:pt>
                <c:pt idx="1429">
                  <c:v>40506</c:v>
                </c:pt>
                <c:pt idx="1430">
                  <c:v>40507</c:v>
                </c:pt>
                <c:pt idx="1431">
                  <c:v>40508</c:v>
                </c:pt>
                <c:pt idx="1432">
                  <c:v>40511</c:v>
                </c:pt>
                <c:pt idx="1433">
                  <c:v>40512</c:v>
                </c:pt>
                <c:pt idx="1434">
                  <c:v>40513</c:v>
                </c:pt>
                <c:pt idx="1435">
                  <c:v>40514</c:v>
                </c:pt>
                <c:pt idx="1436">
                  <c:v>40515</c:v>
                </c:pt>
                <c:pt idx="1437">
                  <c:v>40518</c:v>
                </c:pt>
                <c:pt idx="1438">
                  <c:v>40519</c:v>
                </c:pt>
                <c:pt idx="1439">
                  <c:v>40520</c:v>
                </c:pt>
                <c:pt idx="1440">
                  <c:v>40521</c:v>
                </c:pt>
                <c:pt idx="1441">
                  <c:v>40522</c:v>
                </c:pt>
                <c:pt idx="1442">
                  <c:v>40525</c:v>
                </c:pt>
                <c:pt idx="1443">
                  <c:v>40526</c:v>
                </c:pt>
                <c:pt idx="1444">
                  <c:v>40527</c:v>
                </c:pt>
                <c:pt idx="1445">
                  <c:v>40528</c:v>
                </c:pt>
                <c:pt idx="1446">
                  <c:v>40529</c:v>
                </c:pt>
                <c:pt idx="1447">
                  <c:v>40532</c:v>
                </c:pt>
                <c:pt idx="1448">
                  <c:v>40533</c:v>
                </c:pt>
                <c:pt idx="1449">
                  <c:v>40534</c:v>
                </c:pt>
                <c:pt idx="1450">
                  <c:v>40535</c:v>
                </c:pt>
                <c:pt idx="1451">
                  <c:v>40536</c:v>
                </c:pt>
                <c:pt idx="1452">
                  <c:v>40539</c:v>
                </c:pt>
                <c:pt idx="1453">
                  <c:v>40540</c:v>
                </c:pt>
                <c:pt idx="1454">
                  <c:v>40541</c:v>
                </c:pt>
                <c:pt idx="1455">
                  <c:v>40542</c:v>
                </c:pt>
                <c:pt idx="1456">
                  <c:v>40543</c:v>
                </c:pt>
                <c:pt idx="1457">
                  <c:v>40547</c:v>
                </c:pt>
                <c:pt idx="1458">
                  <c:v>40548</c:v>
                </c:pt>
                <c:pt idx="1459">
                  <c:v>40549</c:v>
                </c:pt>
                <c:pt idx="1460">
                  <c:v>40550</c:v>
                </c:pt>
                <c:pt idx="1461">
                  <c:v>40553</c:v>
                </c:pt>
                <c:pt idx="1462">
                  <c:v>40554</c:v>
                </c:pt>
                <c:pt idx="1463">
                  <c:v>40555</c:v>
                </c:pt>
                <c:pt idx="1464">
                  <c:v>40556</c:v>
                </c:pt>
                <c:pt idx="1465">
                  <c:v>40557</c:v>
                </c:pt>
                <c:pt idx="1466">
                  <c:v>40560</c:v>
                </c:pt>
                <c:pt idx="1467">
                  <c:v>40561</c:v>
                </c:pt>
                <c:pt idx="1468">
                  <c:v>40562</c:v>
                </c:pt>
                <c:pt idx="1469">
                  <c:v>40563</c:v>
                </c:pt>
                <c:pt idx="1470">
                  <c:v>40564</c:v>
                </c:pt>
                <c:pt idx="1471">
                  <c:v>40567</c:v>
                </c:pt>
                <c:pt idx="1472">
                  <c:v>40568</c:v>
                </c:pt>
                <c:pt idx="1473">
                  <c:v>40569</c:v>
                </c:pt>
                <c:pt idx="1474">
                  <c:v>40570</c:v>
                </c:pt>
                <c:pt idx="1475">
                  <c:v>40571</c:v>
                </c:pt>
                <c:pt idx="1476">
                  <c:v>40574</c:v>
                </c:pt>
                <c:pt idx="1477">
                  <c:v>40575</c:v>
                </c:pt>
                <c:pt idx="1478">
                  <c:v>40583</c:v>
                </c:pt>
                <c:pt idx="1479">
                  <c:v>40584</c:v>
                </c:pt>
                <c:pt idx="1480">
                  <c:v>40585</c:v>
                </c:pt>
                <c:pt idx="1481">
                  <c:v>40588</c:v>
                </c:pt>
                <c:pt idx="1482">
                  <c:v>40589</c:v>
                </c:pt>
                <c:pt idx="1483">
                  <c:v>40590</c:v>
                </c:pt>
                <c:pt idx="1484">
                  <c:v>40591</c:v>
                </c:pt>
                <c:pt idx="1485">
                  <c:v>40592</c:v>
                </c:pt>
                <c:pt idx="1486">
                  <c:v>40595</c:v>
                </c:pt>
                <c:pt idx="1487">
                  <c:v>40596</c:v>
                </c:pt>
                <c:pt idx="1488">
                  <c:v>40597</c:v>
                </c:pt>
                <c:pt idx="1489">
                  <c:v>40598</c:v>
                </c:pt>
                <c:pt idx="1490">
                  <c:v>40599</c:v>
                </c:pt>
                <c:pt idx="1491">
                  <c:v>40602</c:v>
                </c:pt>
                <c:pt idx="1492">
                  <c:v>40603</c:v>
                </c:pt>
                <c:pt idx="1493">
                  <c:v>40604</c:v>
                </c:pt>
                <c:pt idx="1494">
                  <c:v>40605</c:v>
                </c:pt>
                <c:pt idx="1495">
                  <c:v>40606</c:v>
                </c:pt>
                <c:pt idx="1496">
                  <c:v>40609</c:v>
                </c:pt>
                <c:pt idx="1497">
                  <c:v>40610</c:v>
                </c:pt>
                <c:pt idx="1498">
                  <c:v>40611</c:v>
                </c:pt>
                <c:pt idx="1499">
                  <c:v>40612</c:v>
                </c:pt>
                <c:pt idx="1500">
                  <c:v>40613</c:v>
                </c:pt>
                <c:pt idx="1501">
                  <c:v>40616</c:v>
                </c:pt>
                <c:pt idx="1502">
                  <c:v>40617</c:v>
                </c:pt>
                <c:pt idx="1503">
                  <c:v>40618</c:v>
                </c:pt>
                <c:pt idx="1504">
                  <c:v>40619</c:v>
                </c:pt>
                <c:pt idx="1505">
                  <c:v>40620</c:v>
                </c:pt>
                <c:pt idx="1506">
                  <c:v>40623</c:v>
                </c:pt>
                <c:pt idx="1507">
                  <c:v>40624</c:v>
                </c:pt>
                <c:pt idx="1508">
                  <c:v>40625</c:v>
                </c:pt>
                <c:pt idx="1509">
                  <c:v>40626</c:v>
                </c:pt>
                <c:pt idx="1510">
                  <c:v>40627</c:v>
                </c:pt>
                <c:pt idx="1511">
                  <c:v>40630</c:v>
                </c:pt>
                <c:pt idx="1512">
                  <c:v>40631</c:v>
                </c:pt>
                <c:pt idx="1513">
                  <c:v>40632</c:v>
                </c:pt>
                <c:pt idx="1514">
                  <c:v>40633</c:v>
                </c:pt>
                <c:pt idx="1515">
                  <c:v>40634</c:v>
                </c:pt>
                <c:pt idx="1516">
                  <c:v>40639</c:v>
                </c:pt>
                <c:pt idx="1517">
                  <c:v>40640</c:v>
                </c:pt>
                <c:pt idx="1518">
                  <c:v>40641</c:v>
                </c:pt>
                <c:pt idx="1519">
                  <c:v>40644</c:v>
                </c:pt>
                <c:pt idx="1520">
                  <c:v>40645</c:v>
                </c:pt>
                <c:pt idx="1521">
                  <c:v>40646</c:v>
                </c:pt>
                <c:pt idx="1522">
                  <c:v>40647</c:v>
                </c:pt>
                <c:pt idx="1523">
                  <c:v>40648</c:v>
                </c:pt>
                <c:pt idx="1524">
                  <c:v>40651</c:v>
                </c:pt>
                <c:pt idx="1525">
                  <c:v>40652</c:v>
                </c:pt>
                <c:pt idx="1526">
                  <c:v>40653</c:v>
                </c:pt>
                <c:pt idx="1527">
                  <c:v>40654</c:v>
                </c:pt>
                <c:pt idx="1528">
                  <c:v>40655</c:v>
                </c:pt>
                <c:pt idx="1529">
                  <c:v>40658</c:v>
                </c:pt>
                <c:pt idx="1530">
                  <c:v>40659</c:v>
                </c:pt>
                <c:pt idx="1531">
                  <c:v>40660</c:v>
                </c:pt>
                <c:pt idx="1532">
                  <c:v>40661</c:v>
                </c:pt>
                <c:pt idx="1533">
                  <c:v>40662</c:v>
                </c:pt>
                <c:pt idx="1534">
                  <c:v>40666</c:v>
                </c:pt>
                <c:pt idx="1535">
                  <c:v>40667</c:v>
                </c:pt>
                <c:pt idx="1536">
                  <c:v>40668</c:v>
                </c:pt>
                <c:pt idx="1537">
                  <c:v>40669</c:v>
                </c:pt>
                <c:pt idx="1538">
                  <c:v>40672</c:v>
                </c:pt>
                <c:pt idx="1539">
                  <c:v>40673</c:v>
                </c:pt>
                <c:pt idx="1540">
                  <c:v>40674</c:v>
                </c:pt>
                <c:pt idx="1541">
                  <c:v>40675</c:v>
                </c:pt>
                <c:pt idx="1542">
                  <c:v>40676</c:v>
                </c:pt>
                <c:pt idx="1543">
                  <c:v>40679</c:v>
                </c:pt>
                <c:pt idx="1544">
                  <c:v>40680</c:v>
                </c:pt>
                <c:pt idx="1545">
                  <c:v>40681</c:v>
                </c:pt>
                <c:pt idx="1546">
                  <c:v>40682</c:v>
                </c:pt>
                <c:pt idx="1547">
                  <c:v>40683</c:v>
                </c:pt>
                <c:pt idx="1548">
                  <c:v>40686</c:v>
                </c:pt>
                <c:pt idx="1549">
                  <c:v>40687</c:v>
                </c:pt>
                <c:pt idx="1550">
                  <c:v>40688</c:v>
                </c:pt>
                <c:pt idx="1551">
                  <c:v>40689</c:v>
                </c:pt>
                <c:pt idx="1552">
                  <c:v>40690</c:v>
                </c:pt>
                <c:pt idx="1553">
                  <c:v>40693</c:v>
                </c:pt>
                <c:pt idx="1554">
                  <c:v>40694</c:v>
                </c:pt>
                <c:pt idx="1555">
                  <c:v>40695</c:v>
                </c:pt>
                <c:pt idx="1556">
                  <c:v>40696</c:v>
                </c:pt>
                <c:pt idx="1557">
                  <c:v>40697</c:v>
                </c:pt>
                <c:pt idx="1558">
                  <c:v>40701</c:v>
                </c:pt>
                <c:pt idx="1559">
                  <c:v>40702</c:v>
                </c:pt>
                <c:pt idx="1560">
                  <c:v>40703</c:v>
                </c:pt>
                <c:pt idx="1561">
                  <c:v>40704</c:v>
                </c:pt>
                <c:pt idx="1562">
                  <c:v>40707</c:v>
                </c:pt>
                <c:pt idx="1563">
                  <c:v>40708</c:v>
                </c:pt>
                <c:pt idx="1564">
                  <c:v>40709</c:v>
                </c:pt>
                <c:pt idx="1565">
                  <c:v>40710</c:v>
                </c:pt>
                <c:pt idx="1566">
                  <c:v>40711</c:v>
                </c:pt>
                <c:pt idx="1567">
                  <c:v>40714</c:v>
                </c:pt>
                <c:pt idx="1568">
                  <c:v>40715</c:v>
                </c:pt>
                <c:pt idx="1569">
                  <c:v>40716</c:v>
                </c:pt>
                <c:pt idx="1570">
                  <c:v>40717</c:v>
                </c:pt>
                <c:pt idx="1571">
                  <c:v>40718</c:v>
                </c:pt>
                <c:pt idx="1572">
                  <c:v>40721</c:v>
                </c:pt>
                <c:pt idx="1573">
                  <c:v>40722</c:v>
                </c:pt>
                <c:pt idx="1574">
                  <c:v>40723</c:v>
                </c:pt>
                <c:pt idx="1575">
                  <c:v>40724</c:v>
                </c:pt>
                <c:pt idx="1576">
                  <c:v>40725</c:v>
                </c:pt>
                <c:pt idx="1577">
                  <c:v>40728</c:v>
                </c:pt>
                <c:pt idx="1578">
                  <c:v>40729</c:v>
                </c:pt>
                <c:pt idx="1579">
                  <c:v>40730</c:v>
                </c:pt>
                <c:pt idx="1580">
                  <c:v>40731</c:v>
                </c:pt>
                <c:pt idx="1581">
                  <c:v>40732</c:v>
                </c:pt>
                <c:pt idx="1582">
                  <c:v>40735</c:v>
                </c:pt>
                <c:pt idx="1583">
                  <c:v>40736</c:v>
                </c:pt>
                <c:pt idx="1584">
                  <c:v>40737</c:v>
                </c:pt>
                <c:pt idx="1585">
                  <c:v>40738</c:v>
                </c:pt>
                <c:pt idx="1586">
                  <c:v>40739</c:v>
                </c:pt>
                <c:pt idx="1587">
                  <c:v>40742</c:v>
                </c:pt>
                <c:pt idx="1588">
                  <c:v>40743</c:v>
                </c:pt>
                <c:pt idx="1589">
                  <c:v>40744</c:v>
                </c:pt>
                <c:pt idx="1590">
                  <c:v>40745</c:v>
                </c:pt>
                <c:pt idx="1591">
                  <c:v>40746</c:v>
                </c:pt>
                <c:pt idx="1592">
                  <c:v>40749</c:v>
                </c:pt>
                <c:pt idx="1593">
                  <c:v>40750</c:v>
                </c:pt>
                <c:pt idx="1594">
                  <c:v>40751</c:v>
                </c:pt>
                <c:pt idx="1595">
                  <c:v>40752</c:v>
                </c:pt>
                <c:pt idx="1596">
                  <c:v>40753</c:v>
                </c:pt>
                <c:pt idx="1597">
                  <c:v>40756</c:v>
                </c:pt>
                <c:pt idx="1598">
                  <c:v>40757</c:v>
                </c:pt>
                <c:pt idx="1599">
                  <c:v>40758</c:v>
                </c:pt>
                <c:pt idx="1600">
                  <c:v>40759</c:v>
                </c:pt>
                <c:pt idx="1601">
                  <c:v>40760</c:v>
                </c:pt>
                <c:pt idx="1602">
                  <c:v>40763</c:v>
                </c:pt>
                <c:pt idx="1603">
                  <c:v>40764</c:v>
                </c:pt>
                <c:pt idx="1604">
                  <c:v>40765</c:v>
                </c:pt>
                <c:pt idx="1605">
                  <c:v>40766</c:v>
                </c:pt>
                <c:pt idx="1606">
                  <c:v>40767</c:v>
                </c:pt>
                <c:pt idx="1607">
                  <c:v>40770</c:v>
                </c:pt>
                <c:pt idx="1608">
                  <c:v>40771</c:v>
                </c:pt>
                <c:pt idx="1609">
                  <c:v>40772</c:v>
                </c:pt>
                <c:pt idx="1610">
                  <c:v>40773</c:v>
                </c:pt>
                <c:pt idx="1611">
                  <c:v>40774</c:v>
                </c:pt>
                <c:pt idx="1612">
                  <c:v>40777</c:v>
                </c:pt>
                <c:pt idx="1613">
                  <c:v>40778</c:v>
                </c:pt>
                <c:pt idx="1614">
                  <c:v>40779</c:v>
                </c:pt>
                <c:pt idx="1615">
                  <c:v>40780</c:v>
                </c:pt>
                <c:pt idx="1616">
                  <c:v>40781</c:v>
                </c:pt>
                <c:pt idx="1617">
                  <c:v>40784</c:v>
                </c:pt>
                <c:pt idx="1618">
                  <c:v>40785</c:v>
                </c:pt>
                <c:pt idx="1619">
                  <c:v>40786</c:v>
                </c:pt>
                <c:pt idx="1620">
                  <c:v>40787</c:v>
                </c:pt>
                <c:pt idx="1621">
                  <c:v>40788</c:v>
                </c:pt>
                <c:pt idx="1622">
                  <c:v>40791</c:v>
                </c:pt>
                <c:pt idx="1623">
                  <c:v>40792</c:v>
                </c:pt>
                <c:pt idx="1624">
                  <c:v>40793</c:v>
                </c:pt>
                <c:pt idx="1625">
                  <c:v>40794</c:v>
                </c:pt>
                <c:pt idx="1626">
                  <c:v>40795</c:v>
                </c:pt>
                <c:pt idx="1627">
                  <c:v>40799</c:v>
                </c:pt>
                <c:pt idx="1628">
                  <c:v>40800</c:v>
                </c:pt>
                <c:pt idx="1629">
                  <c:v>40801</c:v>
                </c:pt>
                <c:pt idx="1630">
                  <c:v>40802</c:v>
                </c:pt>
                <c:pt idx="1631">
                  <c:v>40805</c:v>
                </c:pt>
                <c:pt idx="1632">
                  <c:v>40806</c:v>
                </c:pt>
                <c:pt idx="1633">
                  <c:v>40807</c:v>
                </c:pt>
                <c:pt idx="1634">
                  <c:v>40808</c:v>
                </c:pt>
                <c:pt idx="1635">
                  <c:v>40809</c:v>
                </c:pt>
                <c:pt idx="1636">
                  <c:v>40812</c:v>
                </c:pt>
                <c:pt idx="1637">
                  <c:v>40813</c:v>
                </c:pt>
                <c:pt idx="1638">
                  <c:v>40814</c:v>
                </c:pt>
                <c:pt idx="1639">
                  <c:v>40815</c:v>
                </c:pt>
                <c:pt idx="1640">
                  <c:v>40816</c:v>
                </c:pt>
                <c:pt idx="1641">
                  <c:v>40826</c:v>
                </c:pt>
                <c:pt idx="1642">
                  <c:v>40827</c:v>
                </c:pt>
                <c:pt idx="1643">
                  <c:v>40828</c:v>
                </c:pt>
                <c:pt idx="1644">
                  <c:v>40829</c:v>
                </c:pt>
                <c:pt idx="1645">
                  <c:v>40830</c:v>
                </c:pt>
                <c:pt idx="1646">
                  <c:v>40833</c:v>
                </c:pt>
                <c:pt idx="1647">
                  <c:v>40834</c:v>
                </c:pt>
                <c:pt idx="1648">
                  <c:v>40835</c:v>
                </c:pt>
                <c:pt idx="1649">
                  <c:v>40836</c:v>
                </c:pt>
                <c:pt idx="1650">
                  <c:v>40837</c:v>
                </c:pt>
                <c:pt idx="1651">
                  <c:v>40840</c:v>
                </c:pt>
                <c:pt idx="1652">
                  <c:v>40841</c:v>
                </c:pt>
                <c:pt idx="1653">
                  <c:v>40842</c:v>
                </c:pt>
                <c:pt idx="1654">
                  <c:v>40843</c:v>
                </c:pt>
                <c:pt idx="1655">
                  <c:v>40844</c:v>
                </c:pt>
                <c:pt idx="1656">
                  <c:v>40847</c:v>
                </c:pt>
                <c:pt idx="1657">
                  <c:v>40848</c:v>
                </c:pt>
                <c:pt idx="1658">
                  <c:v>40849</c:v>
                </c:pt>
                <c:pt idx="1659">
                  <c:v>40850</c:v>
                </c:pt>
                <c:pt idx="1660">
                  <c:v>40851</c:v>
                </c:pt>
                <c:pt idx="1661">
                  <c:v>40854</c:v>
                </c:pt>
                <c:pt idx="1662">
                  <c:v>40855</c:v>
                </c:pt>
                <c:pt idx="1663">
                  <c:v>40856</c:v>
                </c:pt>
                <c:pt idx="1664">
                  <c:v>40857</c:v>
                </c:pt>
                <c:pt idx="1665">
                  <c:v>40858</c:v>
                </c:pt>
                <c:pt idx="1666">
                  <c:v>40861</c:v>
                </c:pt>
                <c:pt idx="1667">
                  <c:v>40862</c:v>
                </c:pt>
                <c:pt idx="1668">
                  <c:v>40863</c:v>
                </c:pt>
                <c:pt idx="1669">
                  <c:v>40864</c:v>
                </c:pt>
                <c:pt idx="1670">
                  <c:v>40865</c:v>
                </c:pt>
                <c:pt idx="1671">
                  <c:v>40868</c:v>
                </c:pt>
                <c:pt idx="1672">
                  <c:v>40869</c:v>
                </c:pt>
                <c:pt idx="1673">
                  <c:v>40870</c:v>
                </c:pt>
                <c:pt idx="1674">
                  <c:v>40871</c:v>
                </c:pt>
                <c:pt idx="1675">
                  <c:v>40872</c:v>
                </c:pt>
                <c:pt idx="1676">
                  <c:v>40875</c:v>
                </c:pt>
                <c:pt idx="1677">
                  <c:v>40876</c:v>
                </c:pt>
                <c:pt idx="1678">
                  <c:v>40877</c:v>
                </c:pt>
                <c:pt idx="1679">
                  <c:v>40878</c:v>
                </c:pt>
                <c:pt idx="1680">
                  <c:v>40879</c:v>
                </c:pt>
                <c:pt idx="1681">
                  <c:v>40882</c:v>
                </c:pt>
                <c:pt idx="1682">
                  <c:v>40883</c:v>
                </c:pt>
                <c:pt idx="1683">
                  <c:v>40884</c:v>
                </c:pt>
                <c:pt idx="1684">
                  <c:v>40885</c:v>
                </c:pt>
                <c:pt idx="1685">
                  <c:v>40886</c:v>
                </c:pt>
                <c:pt idx="1686">
                  <c:v>40889</c:v>
                </c:pt>
                <c:pt idx="1687">
                  <c:v>40890</c:v>
                </c:pt>
                <c:pt idx="1688">
                  <c:v>40891</c:v>
                </c:pt>
                <c:pt idx="1689">
                  <c:v>40892</c:v>
                </c:pt>
                <c:pt idx="1690">
                  <c:v>40893</c:v>
                </c:pt>
                <c:pt idx="1691">
                  <c:v>40896</c:v>
                </c:pt>
                <c:pt idx="1692">
                  <c:v>40897</c:v>
                </c:pt>
                <c:pt idx="1693">
                  <c:v>40898</c:v>
                </c:pt>
                <c:pt idx="1694">
                  <c:v>40899</c:v>
                </c:pt>
                <c:pt idx="1695">
                  <c:v>40900</c:v>
                </c:pt>
                <c:pt idx="1696">
                  <c:v>40903</c:v>
                </c:pt>
                <c:pt idx="1697">
                  <c:v>40904</c:v>
                </c:pt>
                <c:pt idx="1698">
                  <c:v>40905</c:v>
                </c:pt>
                <c:pt idx="1699">
                  <c:v>40906</c:v>
                </c:pt>
                <c:pt idx="1700">
                  <c:v>40907</c:v>
                </c:pt>
                <c:pt idx="1701">
                  <c:v>40912</c:v>
                </c:pt>
                <c:pt idx="1702">
                  <c:v>40913</c:v>
                </c:pt>
                <c:pt idx="1703">
                  <c:v>40914</c:v>
                </c:pt>
                <c:pt idx="1704">
                  <c:v>40917</c:v>
                </c:pt>
                <c:pt idx="1705">
                  <c:v>40918</c:v>
                </c:pt>
                <c:pt idx="1706">
                  <c:v>40919</c:v>
                </c:pt>
                <c:pt idx="1707">
                  <c:v>40920</c:v>
                </c:pt>
                <c:pt idx="1708">
                  <c:v>40921</c:v>
                </c:pt>
                <c:pt idx="1709">
                  <c:v>40924</c:v>
                </c:pt>
                <c:pt idx="1710">
                  <c:v>40925</c:v>
                </c:pt>
                <c:pt idx="1711">
                  <c:v>40926</c:v>
                </c:pt>
                <c:pt idx="1712">
                  <c:v>40927</c:v>
                </c:pt>
                <c:pt idx="1713">
                  <c:v>40928</c:v>
                </c:pt>
                <c:pt idx="1714">
                  <c:v>40938</c:v>
                </c:pt>
                <c:pt idx="1715">
                  <c:v>40939</c:v>
                </c:pt>
                <c:pt idx="1716">
                  <c:v>40940</c:v>
                </c:pt>
                <c:pt idx="1717">
                  <c:v>40941</c:v>
                </c:pt>
                <c:pt idx="1718">
                  <c:v>40942</c:v>
                </c:pt>
                <c:pt idx="1719">
                  <c:v>40945</c:v>
                </c:pt>
                <c:pt idx="1720">
                  <c:v>40946</c:v>
                </c:pt>
                <c:pt idx="1721">
                  <c:v>40947</c:v>
                </c:pt>
                <c:pt idx="1722">
                  <c:v>40948</c:v>
                </c:pt>
                <c:pt idx="1723">
                  <c:v>40949</c:v>
                </c:pt>
                <c:pt idx="1724">
                  <c:v>40952</c:v>
                </c:pt>
                <c:pt idx="1725">
                  <c:v>40953</c:v>
                </c:pt>
                <c:pt idx="1726">
                  <c:v>40954</c:v>
                </c:pt>
                <c:pt idx="1727">
                  <c:v>40955</c:v>
                </c:pt>
                <c:pt idx="1728">
                  <c:v>40956</c:v>
                </c:pt>
                <c:pt idx="1729">
                  <c:v>40959</c:v>
                </c:pt>
                <c:pt idx="1730">
                  <c:v>40960</c:v>
                </c:pt>
                <c:pt idx="1731">
                  <c:v>40961</c:v>
                </c:pt>
                <c:pt idx="1732">
                  <c:v>40962</c:v>
                </c:pt>
                <c:pt idx="1733">
                  <c:v>40963</c:v>
                </c:pt>
                <c:pt idx="1734">
                  <c:v>40966</c:v>
                </c:pt>
                <c:pt idx="1735">
                  <c:v>40967</c:v>
                </c:pt>
                <c:pt idx="1736">
                  <c:v>40968</c:v>
                </c:pt>
                <c:pt idx="1737">
                  <c:v>40969</c:v>
                </c:pt>
                <c:pt idx="1738">
                  <c:v>40970</c:v>
                </c:pt>
                <c:pt idx="1739">
                  <c:v>40973</c:v>
                </c:pt>
                <c:pt idx="1740">
                  <c:v>40974</c:v>
                </c:pt>
                <c:pt idx="1741">
                  <c:v>40975</c:v>
                </c:pt>
                <c:pt idx="1742">
                  <c:v>40976</c:v>
                </c:pt>
                <c:pt idx="1743">
                  <c:v>40977</c:v>
                </c:pt>
                <c:pt idx="1744">
                  <c:v>40980</c:v>
                </c:pt>
                <c:pt idx="1745">
                  <c:v>40981</c:v>
                </c:pt>
                <c:pt idx="1746">
                  <c:v>40982</c:v>
                </c:pt>
                <c:pt idx="1747">
                  <c:v>40983</c:v>
                </c:pt>
                <c:pt idx="1748">
                  <c:v>40984</c:v>
                </c:pt>
                <c:pt idx="1749">
                  <c:v>40987</c:v>
                </c:pt>
                <c:pt idx="1750">
                  <c:v>40988</c:v>
                </c:pt>
                <c:pt idx="1751">
                  <c:v>40989</c:v>
                </c:pt>
                <c:pt idx="1752">
                  <c:v>40990</c:v>
                </c:pt>
                <c:pt idx="1753">
                  <c:v>40991</c:v>
                </c:pt>
                <c:pt idx="1754">
                  <c:v>40994</c:v>
                </c:pt>
                <c:pt idx="1755">
                  <c:v>40995</c:v>
                </c:pt>
                <c:pt idx="1756">
                  <c:v>40996</c:v>
                </c:pt>
                <c:pt idx="1757">
                  <c:v>40997</c:v>
                </c:pt>
                <c:pt idx="1758">
                  <c:v>40998</c:v>
                </c:pt>
                <c:pt idx="1759">
                  <c:v>41004</c:v>
                </c:pt>
                <c:pt idx="1760">
                  <c:v>41005</c:v>
                </c:pt>
                <c:pt idx="1761">
                  <c:v>41008</c:v>
                </c:pt>
                <c:pt idx="1762">
                  <c:v>41009</c:v>
                </c:pt>
                <c:pt idx="1763">
                  <c:v>41010</c:v>
                </c:pt>
                <c:pt idx="1764">
                  <c:v>41011</c:v>
                </c:pt>
                <c:pt idx="1765">
                  <c:v>41012</c:v>
                </c:pt>
                <c:pt idx="1766">
                  <c:v>41015</c:v>
                </c:pt>
                <c:pt idx="1767">
                  <c:v>41016</c:v>
                </c:pt>
                <c:pt idx="1768">
                  <c:v>41017</c:v>
                </c:pt>
                <c:pt idx="1769">
                  <c:v>41018</c:v>
                </c:pt>
                <c:pt idx="1770">
                  <c:v>41019</c:v>
                </c:pt>
                <c:pt idx="1771">
                  <c:v>41022</c:v>
                </c:pt>
                <c:pt idx="1772">
                  <c:v>41023</c:v>
                </c:pt>
                <c:pt idx="1773">
                  <c:v>41024</c:v>
                </c:pt>
                <c:pt idx="1774">
                  <c:v>41025</c:v>
                </c:pt>
                <c:pt idx="1775">
                  <c:v>41026</c:v>
                </c:pt>
                <c:pt idx="1776">
                  <c:v>41031</c:v>
                </c:pt>
                <c:pt idx="1777">
                  <c:v>41032</c:v>
                </c:pt>
                <c:pt idx="1778">
                  <c:v>41033</c:v>
                </c:pt>
                <c:pt idx="1779">
                  <c:v>41036</c:v>
                </c:pt>
                <c:pt idx="1780">
                  <c:v>41037</c:v>
                </c:pt>
                <c:pt idx="1781">
                  <c:v>41038</c:v>
                </c:pt>
                <c:pt idx="1782">
                  <c:v>41039</c:v>
                </c:pt>
                <c:pt idx="1783">
                  <c:v>41040</c:v>
                </c:pt>
                <c:pt idx="1784">
                  <c:v>41043</c:v>
                </c:pt>
                <c:pt idx="1785">
                  <c:v>41044</c:v>
                </c:pt>
                <c:pt idx="1786">
                  <c:v>41045</c:v>
                </c:pt>
                <c:pt idx="1787">
                  <c:v>41046</c:v>
                </c:pt>
                <c:pt idx="1788">
                  <c:v>41047</c:v>
                </c:pt>
                <c:pt idx="1789">
                  <c:v>41050</c:v>
                </c:pt>
                <c:pt idx="1790">
                  <c:v>41051</c:v>
                </c:pt>
                <c:pt idx="1791">
                  <c:v>41052</c:v>
                </c:pt>
                <c:pt idx="1792">
                  <c:v>41053</c:v>
                </c:pt>
                <c:pt idx="1793">
                  <c:v>41054</c:v>
                </c:pt>
                <c:pt idx="1794">
                  <c:v>41057</c:v>
                </c:pt>
                <c:pt idx="1795">
                  <c:v>41058</c:v>
                </c:pt>
                <c:pt idx="1796">
                  <c:v>41059</c:v>
                </c:pt>
                <c:pt idx="1797">
                  <c:v>41060</c:v>
                </c:pt>
                <c:pt idx="1798">
                  <c:v>41061</c:v>
                </c:pt>
                <c:pt idx="1799">
                  <c:v>41064</c:v>
                </c:pt>
                <c:pt idx="1800">
                  <c:v>41065</c:v>
                </c:pt>
                <c:pt idx="1801">
                  <c:v>41066</c:v>
                </c:pt>
                <c:pt idx="1802">
                  <c:v>41067</c:v>
                </c:pt>
                <c:pt idx="1803">
                  <c:v>41068</c:v>
                </c:pt>
                <c:pt idx="1804">
                  <c:v>41071</c:v>
                </c:pt>
                <c:pt idx="1805">
                  <c:v>41072</c:v>
                </c:pt>
                <c:pt idx="1806">
                  <c:v>41073</c:v>
                </c:pt>
                <c:pt idx="1807">
                  <c:v>41074</c:v>
                </c:pt>
                <c:pt idx="1808">
                  <c:v>41075</c:v>
                </c:pt>
                <c:pt idx="1809">
                  <c:v>41078</c:v>
                </c:pt>
                <c:pt idx="1810">
                  <c:v>41079</c:v>
                </c:pt>
                <c:pt idx="1811">
                  <c:v>41080</c:v>
                </c:pt>
                <c:pt idx="1812">
                  <c:v>41081</c:v>
                </c:pt>
                <c:pt idx="1813">
                  <c:v>41085</c:v>
                </c:pt>
                <c:pt idx="1814">
                  <c:v>41086</c:v>
                </c:pt>
                <c:pt idx="1815">
                  <c:v>41087</c:v>
                </c:pt>
                <c:pt idx="1816">
                  <c:v>41088</c:v>
                </c:pt>
                <c:pt idx="1817">
                  <c:v>41089</c:v>
                </c:pt>
                <c:pt idx="1818">
                  <c:v>41092</c:v>
                </c:pt>
                <c:pt idx="1819">
                  <c:v>41093</c:v>
                </c:pt>
                <c:pt idx="1820">
                  <c:v>41094</c:v>
                </c:pt>
                <c:pt idx="1821">
                  <c:v>41095</c:v>
                </c:pt>
                <c:pt idx="1822">
                  <c:v>41096</c:v>
                </c:pt>
                <c:pt idx="1823">
                  <c:v>41099</c:v>
                </c:pt>
                <c:pt idx="1824">
                  <c:v>41100</c:v>
                </c:pt>
                <c:pt idx="1825">
                  <c:v>41101</c:v>
                </c:pt>
                <c:pt idx="1826">
                  <c:v>41102</c:v>
                </c:pt>
                <c:pt idx="1827">
                  <c:v>41103</c:v>
                </c:pt>
                <c:pt idx="1828">
                  <c:v>41106</c:v>
                </c:pt>
                <c:pt idx="1829">
                  <c:v>41107</c:v>
                </c:pt>
                <c:pt idx="1830">
                  <c:v>41108</c:v>
                </c:pt>
                <c:pt idx="1831">
                  <c:v>41109</c:v>
                </c:pt>
                <c:pt idx="1832">
                  <c:v>41110</c:v>
                </c:pt>
                <c:pt idx="1833">
                  <c:v>41113</c:v>
                </c:pt>
                <c:pt idx="1834">
                  <c:v>41114</c:v>
                </c:pt>
                <c:pt idx="1835">
                  <c:v>41115</c:v>
                </c:pt>
                <c:pt idx="1836">
                  <c:v>41116</c:v>
                </c:pt>
                <c:pt idx="1837">
                  <c:v>41117</c:v>
                </c:pt>
                <c:pt idx="1838">
                  <c:v>41120</c:v>
                </c:pt>
                <c:pt idx="1839">
                  <c:v>41121</c:v>
                </c:pt>
                <c:pt idx="1840">
                  <c:v>41122</c:v>
                </c:pt>
                <c:pt idx="1841">
                  <c:v>41123</c:v>
                </c:pt>
                <c:pt idx="1842">
                  <c:v>41124</c:v>
                </c:pt>
                <c:pt idx="1843">
                  <c:v>41127</c:v>
                </c:pt>
                <c:pt idx="1844">
                  <c:v>41128</c:v>
                </c:pt>
                <c:pt idx="1845">
                  <c:v>41129</c:v>
                </c:pt>
                <c:pt idx="1846">
                  <c:v>41130</c:v>
                </c:pt>
                <c:pt idx="1847">
                  <c:v>41131</c:v>
                </c:pt>
                <c:pt idx="1848">
                  <c:v>41134</c:v>
                </c:pt>
                <c:pt idx="1849">
                  <c:v>41135</c:v>
                </c:pt>
                <c:pt idx="1850">
                  <c:v>41136</c:v>
                </c:pt>
                <c:pt idx="1851">
                  <c:v>41137</c:v>
                </c:pt>
                <c:pt idx="1852">
                  <c:v>41138</c:v>
                </c:pt>
                <c:pt idx="1853">
                  <c:v>41141</c:v>
                </c:pt>
                <c:pt idx="1854">
                  <c:v>41142</c:v>
                </c:pt>
                <c:pt idx="1855">
                  <c:v>41143</c:v>
                </c:pt>
                <c:pt idx="1856">
                  <c:v>41144</c:v>
                </c:pt>
                <c:pt idx="1857">
                  <c:v>41145</c:v>
                </c:pt>
                <c:pt idx="1858">
                  <c:v>41148</c:v>
                </c:pt>
                <c:pt idx="1859">
                  <c:v>41149</c:v>
                </c:pt>
                <c:pt idx="1860">
                  <c:v>41150</c:v>
                </c:pt>
                <c:pt idx="1861">
                  <c:v>41151</c:v>
                </c:pt>
                <c:pt idx="1862">
                  <c:v>41152</c:v>
                </c:pt>
                <c:pt idx="1863">
                  <c:v>41155</c:v>
                </c:pt>
                <c:pt idx="1864">
                  <c:v>41156</c:v>
                </c:pt>
                <c:pt idx="1865">
                  <c:v>41157</c:v>
                </c:pt>
                <c:pt idx="1866">
                  <c:v>41158</c:v>
                </c:pt>
                <c:pt idx="1867">
                  <c:v>41159</c:v>
                </c:pt>
                <c:pt idx="1868">
                  <c:v>41162</c:v>
                </c:pt>
                <c:pt idx="1869">
                  <c:v>41163</c:v>
                </c:pt>
                <c:pt idx="1870">
                  <c:v>41164</c:v>
                </c:pt>
                <c:pt idx="1871">
                  <c:v>41165</c:v>
                </c:pt>
                <c:pt idx="1872">
                  <c:v>41166</c:v>
                </c:pt>
                <c:pt idx="1873">
                  <c:v>41169</c:v>
                </c:pt>
                <c:pt idx="1874">
                  <c:v>41170</c:v>
                </c:pt>
                <c:pt idx="1875">
                  <c:v>41171</c:v>
                </c:pt>
                <c:pt idx="1876">
                  <c:v>41172</c:v>
                </c:pt>
                <c:pt idx="1877">
                  <c:v>41173</c:v>
                </c:pt>
                <c:pt idx="1878">
                  <c:v>41176</c:v>
                </c:pt>
                <c:pt idx="1879">
                  <c:v>41177</c:v>
                </c:pt>
                <c:pt idx="1880">
                  <c:v>41178</c:v>
                </c:pt>
                <c:pt idx="1881">
                  <c:v>41179</c:v>
                </c:pt>
                <c:pt idx="1882">
                  <c:v>41180</c:v>
                </c:pt>
                <c:pt idx="1883">
                  <c:v>41190</c:v>
                </c:pt>
                <c:pt idx="1884">
                  <c:v>41191</c:v>
                </c:pt>
                <c:pt idx="1885">
                  <c:v>41192</c:v>
                </c:pt>
                <c:pt idx="1886">
                  <c:v>41193</c:v>
                </c:pt>
                <c:pt idx="1887">
                  <c:v>41194</c:v>
                </c:pt>
                <c:pt idx="1888">
                  <c:v>41197</c:v>
                </c:pt>
                <c:pt idx="1889">
                  <c:v>41198</c:v>
                </c:pt>
                <c:pt idx="1890">
                  <c:v>41199</c:v>
                </c:pt>
                <c:pt idx="1891">
                  <c:v>41200</c:v>
                </c:pt>
                <c:pt idx="1892">
                  <c:v>41201</c:v>
                </c:pt>
                <c:pt idx="1893">
                  <c:v>41204</c:v>
                </c:pt>
                <c:pt idx="1894">
                  <c:v>41205</c:v>
                </c:pt>
                <c:pt idx="1895">
                  <c:v>41206</c:v>
                </c:pt>
                <c:pt idx="1896">
                  <c:v>41207</c:v>
                </c:pt>
                <c:pt idx="1897">
                  <c:v>41208</c:v>
                </c:pt>
                <c:pt idx="1898">
                  <c:v>41211</c:v>
                </c:pt>
                <c:pt idx="1899">
                  <c:v>41212</c:v>
                </c:pt>
                <c:pt idx="1900">
                  <c:v>41213</c:v>
                </c:pt>
                <c:pt idx="1901">
                  <c:v>41214</c:v>
                </c:pt>
                <c:pt idx="1902">
                  <c:v>41215</c:v>
                </c:pt>
                <c:pt idx="1903">
                  <c:v>41218</c:v>
                </c:pt>
                <c:pt idx="1904">
                  <c:v>41219</c:v>
                </c:pt>
                <c:pt idx="1905">
                  <c:v>41220</c:v>
                </c:pt>
                <c:pt idx="1906">
                  <c:v>41221</c:v>
                </c:pt>
                <c:pt idx="1907">
                  <c:v>41222</c:v>
                </c:pt>
                <c:pt idx="1908">
                  <c:v>41225</c:v>
                </c:pt>
                <c:pt idx="1909">
                  <c:v>41226</c:v>
                </c:pt>
                <c:pt idx="1910">
                  <c:v>41227</c:v>
                </c:pt>
                <c:pt idx="1911">
                  <c:v>41228</c:v>
                </c:pt>
                <c:pt idx="1912">
                  <c:v>41229</c:v>
                </c:pt>
                <c:pt idx="1913">
                  <c:v>41232</c:v>
                </c:pt>
                <c:pt idx="1914">
                  <c:v>41233</c:v>
                </c:pt>
                <c:pt idx="1915">
                  <c:v>41234</c:v>
                </c:pt>
                <c:pt idx="1916">
                  <c:v>41235</c:v>
                </c:pt>
                <c:pt idx="1917">
                  <c:v>41236</c:v>
                </c:pt>
                <c:pt idx="1918">
                  <c:v>41239</c:v>
                </c:pt>
                <c:pt idx="1919">
                  <c:v>41240</c:v>
                </c:pt>
                <c:pt idx="1920">
                  <c:v>41241</c:v>
                </c:pt>
                <c:pt idx="1921">
                  <c:v>41242</c:v>
                </c:pt>
                <c:pt idx="1922">
                  <c:v>41243</c:v>
                </c:pt>
                <c:pt idx="1923">
                  <c:v>41246</c:v>
                </c:pt>
                <c:pt idx="1924">
                  <c:v>41247</c:v>
                </c:pt>
                <c:pt idx="1925">
                  <c:v>41248</c:v>
                </c:pt>
                <c:pt idx="1926">
                  <c:v>41249</c:v>
                </c:pt>
                <c:pt idx="1927">
                  <c:v>41250</c:v>
                </c:pt>
                <c:pt idx="1928">
                  <c:v>41253</c:v>
                </c:pt>
                <c:pt idx="1929">
                  <c:v>41254</c:v>
                </c:pt>
                <c:pt idx="1930">
                  <c:v>41255</c:v>
                </c:pt>
                <c:pt idx="1931">
                  <c:v>41256</c:v>
                </c:pt>
                <c:pt idx="1932">
                  <c:v>41257</c:v>
                </c:pt>
                <c:pt idx="1933">
                  <c:v>41260</c:v>
                </c:pt>
                <c:pt idx="1934">
                  <c:v>41261</c:v>
                </c:pt>
                <c:pt idx="1935">
                  <c:v>41262</c:v>
                </c:pt>
                <c:pt idx="1936">
                  <c:v>41263</c:v>
                </c:pt>
                <c:pt idx="1937">
                  <c:v>41264</c:v>
                </c:pt>
                <c:pt idx="1938">
                  <c:v>41267</c:v>
                </c:pt>
                <c:pt idx="1939">
                  <c:v>41268</c:v>
                </c:pt>
                <c:pt idx="1940">
                  <c:v>41269</c:v>
                </c:pt>
                <c:pt idx="1941">
                  <c:v>41270</c:v>
                </c:pt>
                <c:pt idx="1942">
                  <c:v>41271</c:v>
                </c:pt>
                <c:pt idx="1943">
                  <c:v>41274</c:v>
                </c:pt>
                <c:pt idx="1944">
                  <c:v>41278</c:v>
                </c:pt>
                <c:pt idx="1945">
                  <c:v>41281</c:v>
                </c:pt>
                <c:pt idx="1946">
                  <c:v>41282</c:v>
                </c:pt>
                <c:pt idx="1947">
                  <c:v>41283</c:v>
                </c:pt>
                <c:pt idx="1948">
                  <c:v>41284</c:v>
                </c:pt>
                <c:pt idx="1949">
                  <c:v>41285</c:v>
                </c:pt>
                <c:pt idx="1950">
                  <c:v>41288</c:v>
                </c:pt>
                <c:pt idx="1951">
                  <c:v>41289</c:v>
                </c:pt>
                <c:pt idx="1952">
                  <c:v>41290</c:v>
                </c:pt>
                <c:pt idx="1953">
                  <c:v>41291</c:v>
                </c:pt>
                <c:pt idx="1954">
                  <c:v>41292</c:v>
                </c:pt>
                <c:pt idx="1955">
                  <c:v>41295</c:v>
                </c:pt>
                <c:pt idx="1956">
                  <c:v>41296</c:v>
                </c:pt>
                <c:pt idx="1957">
                  <c:v>41297</c:v>
                </c:pt>
                <c:pt idx="1958">
                  <c:v>41298</c:v>
                </c:pt>
                <c:pt idx="1959">
                  <c:v>41299</c:v>
                </c:pt>
                <c:pt idx="1960">
                  <c:v>41302</c:v>
                </c:pt>
                <c:pt idx="1961">
                  <c:v>41303</c:v>
                </c:pt>
                <c:pt idx="1962">
                  <c:v>41304</c:v>
                </c:pt>
                <c:pt idx="1963">
                  <c:v>41305</c:v>
                </c:pt>
                <c:pt idx="1964">
                  <c:v>41306</c:v>
                </c:pt>
                <c:pt idx="1965">
                  <c:v>41309</c:v>
                </c:pt>
                <c:pt idx="1966">
                  <c:v>41310</c:v>
                </c:pt>
                <c:pt idx="1967">
                  <c:v>41311</c:v>
                </c:pt>
                <c:pt idx="1968">
                  <c:v>41312</c:v>
                </c:pt>
                <c:pt idx="1969">
                  <c:v>41313</c:v>
                </c:pt>
                <c:pt idx="1970">
                  <c:v>41323</c:v>
                </c:pt>
                <c:pt idx="1971">
                  <c:v>41324</c:v>
                </c:pt>
                <c:pt idx="1972">
                  <c:v>41325</c:v>
                </c:pt>
                <c:pt idx="1973">
                  <c:v>41326</c:v>
                </c:pt>
                <c:pt idx="1974">
                  <c:v>41327</c:v>
                </c:pt>
                <c:pt idx="1975">
                  <c:v>41330</c:v>
                </c:pt>
                <c:pt idx="1976">
                  <c:v>41331</c:v>
                </c:pt>
                <c:pt idx="1977">
                  <c:v>41332</c:v>
                </c:pt>
                <c:pt idx="1978">
                  <c:v>41333</c:v>
                </c:pt>
                <c:pt idx="1979">
                  <c:v>41334</c:v>
                </c:pt>
                <c:pt idx="1980">
                  <c:v>41337</c:v>
                </c:pt>
                <c:pt idx="1981">
                  <c:v>41338</c:v>
                </c:pt>
                <c:pt idx="1982">
                  <c:v>41339</c:v>
                </c:pt>
                <c:pt idx="1983">
                  <c:v>41340</c:v>
                </c:pt>
                <c:pt idx="1984">
                  <c:v>41341</c:v>
                </c:pt>
                <c:pt idx="1985">
                  <c:v>41344</c:v>
                </c:pt>
                <c:pt idx="1986">
                  <c:v>41345</c:v>
                </c:pt>
                <c:pt idx="1987">
                  <c:v>41346</c:v>
                </c:pt>
                <c:pt idx="1988">
                  <c:v>41347</c:v>
                </c:pt>
                <c:pt idx="1989">
                  <c:v>41348</c:v>
                </c:pt>
                <c:pt idx="1990">
                  <c:v>41351</c:v>
                </c:pt>
                <c:pt idx="1991">
                  <c:v>41352</c:v>
                </c:pt>
                <c:pt idx="1992">
                  <c:v>41353</c:v>
                </c:pt>
                <c:pt idx="1993">
                  <c:v>41354</c:v>
                </c:pt>
                <c:pt idx="1994">
                  <c:v>41355</c:v>
                </c:pt>
                <c:pt idx="1995">
                  <c:v>41358</c:v>
                </c:pt>
                <c:pt idx="1996">
                  <c:v>41359</c:v>
                </c:pt>
                <c:pt idx="1997">
                  <c:v>41360</c:v>
                </c:pt>
                <c:pt idx="1998">
                  <c:v>41361</c:v>
                </c:pt>
                <c:pt idx="1999">
                  <c:v>41362</c:v>
                </c:pt>
                <c:pt idx="2000">
                  <c:v>41365</c:v>
                </c:pt>
                <c:pt idx="2001">
                  <c:v>41366</c:v>
                </c:pt>
                <c:pt idx="2002">
                  <c:v>41367</c:v>
                </c:pt>
                <c:pt idx="2003">
                  <c:v>41372</c:v>
                </c:pt>
                <c:pt idx="2004">
                  <c:v>41373</c:v>
                </c:pt>
                <c:pt idx="2005">
                  <c:v>41374</c:v>
                </c:pt>
                <c:pt idx="2006">
                  <c:v>41375</c:v>
                </c:pt>
                <c:pt idx="2007">
                  <c:v>41376</c:v>
                </c:pt>
                <c:pt idx="2008">
                  <c:v>41379</c:v>
                </c:pt>
                <c:pt idx="2009">
                  <c:v>41380</c:v>
                </c:pt>
                <c:pt idx="2010">
                  <c:v>41381</c:v>
                </c:pt>
                <c:pt idx="2011">
                  <c:v>41382</c:v>
                </c:pt>
                <c:pt idx="2012">
                  <c:v>41383</c:v>
                </c:pt>
                <c:pt idx="2013">
                  <c:v>41386</c:v>
                </c:pt>
                <c:pt idx="2014">
                  <c:v>41387</c:v>
                </c:pt>
                <c:pt idx="2015">
                  <c:v>41388</c:v>
                </c:pt>
                <c:pt idx="2016">
                  <c:v>41389</c:v>
                </c:pt>
                <c:pt idx="2017">
                  <c:v>41390</c:v>
                </c:pt>
                <c:pt idx="2018">
                  <c:v>41396</c:v>
                </c:pt>
                <c:pt idx="2019">
                  <c:v>41397</c:v>
                </c:pt>
                <c:pt idx="2020">
                  <c:v>41400</c:v>
                </c:pt>
                <c:pt idx="2021">
                  <c:v>41401</c:v>
                </c:pt>
                <c:pt idx="2022">
                  <c:v>41402</c:v>
                </c:pt>
                <c:pt idx="2023">
                  <c:v>41403</c:v>
                </c:pt>
                <c:pt idx="2024">
                  <c:v>41404</c:v>
                </c:pt>
                <c:pt idx="2025">
                  <c:v>41407</c:v>
                </c:pt>
                <c:pt idx="2026">
                  <c:v>41408</c:v>
                </c:pt>
                <c:pt idx="2027">
                  <c:v>41409</c:v>
                </c:pt>
                <c:pt idx="2028">
                  <c:v>41410</c:v>
                </c:pt>
                <c:pt idx="2029">
                  <c:v>41411</c:v>
                </c:pt>
                <c:pt idx="2030">
                  <c:v>41414</c:v>
                </c:pt>
                <c:pt idx="2031">
                  <c:v>41415</c:v>
                </c:pt>
                <c:pt idx="2032">
                  <c:v>41416</c:v>
                </c:pt>
                <c:pt idx="2033">
                  <c:v>41417</c:v>
                </c:pt>
                <c:pt idx="2034">
                  <c:v>41418</c:v>
                </c:pt>
                <c:pt idx="2035">
                  <c:v>41421</c:v>
                </c:pt>
                <c:pt idx="2036">
                  <c:v>41422</c:v>
                </c:pt>
                <c:pt idx="2037">
                  <c:v>41423</c:v>
                </c:pt>
                <c:pt idx="2038">
                  <c:v>41424</c:v>
                </c:pt>
                <c:pt idx="2039">
                  <c:v>41425</c:v>
                </c:pt>
                <c:pt idx="2040">
                  <c:v>41428</c:v>
                </c:pt>
                <c:pt idx="2041">
                  <c:v>41429</c:v>
                </c:pt>
                <c:pt idx="2042">
                  <c:v>41430</c:v>
                </c:pt>
                <c:pt idx="2043">
                  <c:v>41431</c:v>
                </c:pt>
                <c:pt idx="2044">
                  <c:v>41432</c:v>
                </c:pt>
                <c:pt idx="2045">
                  <c:v>41438</c:v>
                </c:pt>
                <c:pt idx="2046">
                  <c:v>41439</c:v>
                </c:pt>
                <c:pt idx="2047">
                  <c:v>41442</c:v>
                </c:pt>
                <c:pt idx="2048">
                  <c:v>41443</c:v>
                </c:pt>
                <c:pt idx="2049">
                  <c:v>41444</c:v>
                </c:pt>
                <c:pt idx="2050">
                  <c:v>41445</c:v>
                </c:pt>
                <c:pt idx="2051">
                  <c:v>41446</c:v>
                </c:pt>
                <c:pt idx="2052">
                  <c:v>41449</c:v>
                </c:pt>
                <c:pt idx="2053">
                  <c:v>41450</c:v>
                </c:pt>
                <c:pt idx="2054">
                  <c:v>41451</c:v>
                </c:pt>
                <c:pt idx="2055">
                  <c:v>41452</c:v>
                </c:pt>
                <c:pt idx="2056">
                  <c:v>41453</c:v>
                </c:pt>
                <c:pt idx="2057">
                  <c:v>41456</c:v>
                </c:pt>
                <c:pt idx="2058">
                  <c:v>41457</c:v>
                </c:pt>
                <c:pt idx="2059">
                  <c:v>41458</c:v>
                </c:pt>
                <c:pt idx="2060">
                  <c:v>41459</c:v>
                </c:pt>
                <c:pt idx="2061">
                  <c:v>41460</c:v>
                </c:pt>
                <c:pt idx="2062">
                  <c:v>41463</c:v>
                </c:pt>
                <c:pt idx="2063">
                  <c:v>41464</c:v>
                </c:pt>
                <c:pt idx="2064">
                  <c:v>41465</c:v>
                </c:pt>
                <c:pt idx="2065">
                  <c:v>41466</c:v>
                </c:pt>
                <c:pt idx="2066">
                  <c:v>41467</c:v>
                </c:pt>
                <c:pt idx="2067">
                  <c:v>41470</c:v>
                </c:pt>
                <c:pt idx="2068">
                  <c:v>41471</c:v>
                </c:pt>
                <c:pt idx="2069">
                  <c:v>41472</c:v>
                </c:pt>
                <c:pt idx="2070">
                  <c:v>41473</c:v>
                </c:pt>
                <c:pt idx="2071">
                  <c:v>41474</c:v>
                </c:pt>
                <c:pt idx="2072">
                  <c:v>41477</c:v>
                </c:pt>
                <c:pt idx="2073">
                  <c:v>41478</c:v>
                </c:pt>
                <c:pt idx="2074">
                  <c:v>41479</c:v>
                </c:pt>
                <c:pt idx="2075">
                  <c:v>41480</c:v>
                </c:pt>
                <c:pt idx="2076">
                  <c:v>41481</c:v>
                </c:pt>
                <c:pt idx="2077">
                  <c:v>41484</c:v>
                </c:pt>
                <c:pt idx="2078">
                  <c:v>41485</c:v>
                </c:pt>
                <c:pt idx="2079">
                  <c:v>41486</c:v>
                </c:pt>
                <c:pt idx="2080">
                  <c:v>41487</c:v>
                </c:pt>
                <c:pt idx="2081">
                  <c:v>41488</c:v>
                </c:pt>
                <c:pt idx="2082">
                  <c:v>41491</c:v>
                </c:pt>
                <c:pt idx="2083">
                  <c:v>41492</c:v>
                </c:pt>
                <c:pt idx="2084">
                  <c:v>41493</c:v>
                </c:pt>
                <c:pt idx="2085">
                  <c:v>41494</c:v>
                </c:pt>
                <c:pt idx="2086">
                  <c:v>41495</c:v>
                </c:pt>
                <c:pt idx="2087">
                  <c:v>41498</c:v>
                </c:pt>
                <c:pt idx="2088">
                  <c:v>41499</c:v>
                </c:pt>
                <c:pt idx="2089">
                  <c:v>41500</c:v>
                </c:pt>
                <c:pt idx="2090">
                  <c:v>41501</c:v>
                </c:pt>
                <c:pt idx="2091">
                  <c:v>41502</c:v>
                </c:pt>
                <c:pt idx="2092">
                  <c:v>41505</c:v>
                </c:pt>
                <c:pt idx="2093">
                  <c:v>41506</c:v>
                </c:pt>
                <c:pt idx="2094">
                  <c:v>41507</c:v>
                </c:pt>
                <c:pt idx="2095">
                  <c:v>41508</c:v>
                </c:pt>
                <c:pt idx="2096">
                  <c:v>41509</c:v>
                </c:pt>
                <c:pt idx="2097">
                  <c:v>41512</c:v>
                </c:pt>
                <c:pt idx="2098">
                  <c:v>41513</c:v>
                </c:pt>
                <c:pt idx="2099">
                  <c:v>41514</c:v>
                </c:pt>
                <c:pt idx="2100">
                  <c:v>41515</c:v>
                </c:pt>
                <c:pt idx="2101">
                  <c:v>41516</c:v>
                </c:pt>
                <c:pt idx="2102">
                  <c:v>41519</c:v>
                </c:pt>
                <c:pt idx="2103">
                  <c:v>41520</c:v>
                </c:pt>
                <c:pt idx="2104">
                  <c:v>41521</c:v>
                </c:pt>
                <c:pt idx="2105">
                  <c:v>41522</c:v>
                </c:pt>
                <c:pt idx="2106">
                  <c:v>41523</c:v>
                </c:pt>
                <c:pt idx="2107">
                  <c:v>41526</c:v>
                </c:pt>
                <c:pt idx="2108">
                  <c:v>41527</c:v>
                </c:pt>
                <c:pt idx="2109">
                  <c:v>41528</c:v>
                </c:pt>
                <c:pt idx="2110">
                  <c:v>41529</c:v>
                </c:pt>
                <c:pt idx="2111">
                  <c:v>41530</c:v>
                </c:pt>
                <c:pt idx="2112">
                  <c:v>41533</c:v>
                </c:pt>
                <c:pt idx="2113">
                  <c:v>41534</c:v>
                </c:pt>
                <c:pt idx="2114">
                  <c:v>41535</c:v>
                </c:pt>
                <c:pt idx="2115">
                  <c:v>41540</c:v>
                </c:pt>
                <c:pt idx="2116">
                  <c:v>41541</c:v>
                </c:pt>
                <c:pt idx="2117">
                  <c:v>41542</c:v>
                </c:pt>
                <c:pt idx="2118">
                  <c:v>41543</c:v>
                </c:pt>
                <c:pt idx="2119">
                  <c:v>41544</c:v>
                </c:pt>
                <c:pt idx="2120">
                  <c:v>41547</c:v>
                </c:pt>
                <c:pt idx="2121">
                  <c:v>41555</c:v>
                </c:pt>
                <c:pt idx="2122">
                  <c:v>41556</c:v>
                </c:pt>
                <c:pt idx="2123">
                  <c:v>41557</c:v>
                </c:pt>
                <c:pt idx="2124">
                  <c:v>41558</c:v>
                </c:pt>
                <c:pt idx="2125">
                  <c:v>41561</c:v>
                </c:pt>
                <c:pt idx="2126">
                  <c:v>41562</c:v>
                </c:pt>
                <c:pt idx="2127">
                  <c:v>41563</c:v>
                </c:pt>
                <c:pt idx="2128">
                  <c:v>41564</c:v>
                </c:pt>
                <c:pt idx="2129">
                  <c:v>41565</c:v>
                </c:pt>
                <c:pt idx="2130">
                  <c:v>41568</c:v>
                </c:pt>
                <c:pt idx="2131">
                  <c:v>41569</c:v>
                </c:pt>
                <c:pt idx="2132">
                  <c:v>41570</c:v>
                </c:pt>
                <c:pt idx="2133">
                  <c:v>41571</c:v>
                </c:pt>
                <c:pt idx="2134">
                  <c:v>41572</c:v>
                </c:pt>
                <c:pt idx="2135">
                  <c:v>41575</c:v>
                </c:pt>
                <c:pt idx="2136">
                  <c:v>41576</c:v>
                </c:pt>
                <c:pt idx="2137">
                  <c:v>41577</c:v>
                </c:pt>
                <c:pt idx="2138">
                  <c:v>41578</c:v>
                </c:pt>
                <c:pt idx="2139">
                  <c:v>41579</c:v>
                </c:pt>
                <c:pt idx="2140">
                  <c:v>41582</c:v>
                </c:pt>
                <c:pt idx="2141">
                  <c:v>41583</c:v>
                </c:pt>
                <c:pt idx="2142">
                  <c:v>41584</c:v>
                </c:pt>
                <c:pt idx="2143">
                  <c:v>41585</c:v>
                </c:pt>
                <c:pt idx="2144">
                  <c:v>41586</c:v>
                </c:pt>
                <c:pt idx="2145">
                  <c:v>41589</c:v>
                </c:pt>
                <c:pt idx="2146">
                  <c:v>41590</c:v>
                </c:pt>
                <c:pt idx="2147">
                  <c:v>41591</c:v>
                </c:pt>
                <c:pt idx="2148">
                  <c:v>41592</c:v>
                </c:pt>
                <c:pt idx="2149">
                  <c:v>41593</c:v>
                </c:pt>
                <c:pt idx="2150">
                  <c:v>41596</c:v>
                </c:pt>
                <c:pt idx="2151">
                  <c:v>41597</c:v>
                </c:pt>
                <c:pt idx="2152">
                  <c:v>41598</c:v>
                </c:pt>
                <c:pt idx="2153">
                  <c:v>41599</c:v>
                </c:pt>
                <c:pt idx="2154">
                  <c:v>41600</c:v>
                </c:pt>
                <c:pt idx="2155">
                  <c:v>41603</c:v>
                </c:pt>
                <c:pt idx="2156">
                  <c:v>41604</c:v>
                </c:pt>
                <c:pt idx="2157">
                  <c:v>41605</c:v>
                </c:pt>
                <c:pt idx="2158">
                  <c:v>41606</c:v>
                </c:pt>
                <c:pt idx="2159">
                  <c:v>41607</c:v>
                </c:pt>
                <c:pt idx="2160">
                  <c:v>41610</c:v>
                </c:pt>
                <c:pt idx="2161">
                  <c:v>41611</c:v>
                </c:pt>
                <c:pt idx="2162">
                  <c:v>41612</c:v>
                </c:pt>
                <c:pt idx="2163">
                  <c:v>41613</c:v>
                </c:pt>
                <c:pt idx="2164">
                  <c:v>41614</c:v>
                </c:pt>
                <c:pt idx="2165">
                  <c:v>41617</c:v>
                </c:pt>
                <c:pt idx="2166">
                  <c:v>41618</c:v>
                </c:pt>
                <c:pt idx="2167">
                  <c:v>41619</c:v>
                </c:pt>
                <c:pt idx="2168">
                  <c:v>41620</c:v>
                </c:pt>
                <c:pt idx="2169">
                  <c:v>41621</c:v>
                </c:pt>
                <c:pt idx="2170">
                  <c:v>41624</c:v>
                </c:pt>
                <c:pt idx="2171">
                  <c:v>41625</c:v>
                </c:pt>
                <c:pt idx="2172">
                  <c:v>41626</c:v>
                </c:pt>
                <c:pt idx="2173">
                  <c:v>41627</c:v>
                </c:pt>
                <c:pt idx="2174">
                  <c:v>41628</c:v>
                </c:pt>
                <c:pt idx="2175">
                  <c:v>41631</c:v>
                </c:pt>
                <c:pt idx="2176">
                  <c:v>41632</c:v>
                </c:pt>
                <c:pt idx="2177">
                  <c:v>41633</c:v>
                </c:pt>
                <c:pt idx="2178">
                  <c:v>41634</c:v>
                </c:pt>
                <c:pt idx="2179">
                  <c:v>41635</c:v>
                </c:pt>
                <c:pt idx="2180">
                  <c:v>41638</c:v>
                </c:pt>
                <c:pt idx="2181">
                  <c:v>41639</c:v>
                </c:pt>
                <c:pt idx="2182">
                  <c:v>41641</c:v>
                </c:pt>
                <c:pt idx="2183">
                  <c:v>41642</c:v>
                </c:pt>
                <c:pt idx="2184">
                  <c:v>41645</c:v>
                </c:pt>
                <c:pt idx="2185">
                  <c:v>41646</c:v>
                </c:pt>
                <c:pt idx="2186">
                  <c:v>41647</c:v>
                </c:pt>
                <c:pt idx="2187">
                  <c:v>41648</c:v>
                </c:pt>
                <c:pt idx="2188">
                  <c:v>41649</c:v>
                </c:pt>
                <c:pt idx="2189">
                  <c:v>41652</c:v>
                </c:pt>
                <c:pt idx="2190">
                  <c:v>41653</c:v>
                </c:pt>
                <c:pt idx="2191">
                  <c:v>41654</c:v>
                </c:pt>
                <c:pt idx="2192">
                  <c:v>41655</c:v>
                </c:pt>
                <c:pt idx="2193">
                  <c:v>41656</c:v>
                </c:pt>
                <c:pt idx="2194">
                  <c:v>41659</c:v>
                </c:pt>
                <c:pt idx="2195">
                  <c:v>41660</c:v>
                </c:pt>
                <c:pt idx="2196">
                  <c:v>41661</c:v>
                </c:pt>
                <c:pt idx="2197">
                  <c:v>41662</c:v>
                </c:pt>
                <c:pt idx="2198">
                  <c:v>41663</c:v>
                </c:pt>
                <c:pt idx="2199">
                  <c:v>41666</c:v>
                </c:pt>
                <c:pt idx="2200">
                  <c:v>41667</c:v>
                </c:pt>
                <c:pt idx="2201">
                  <c:v>41668</c:v>
                </c:pt>
                <c:pt idx="2202">
                  <c:v>41669</c:v>
                </c:pt>
                <c:pt idx="2203">
                  <c:v>41677</c:v>
                </c:pt>
                <c:pt idx="2204">
                  <c:v>41680</c:v>
                </c:pt>
                <c:pt idx="2205">
                  <c:v>41681</c:v>
                </c:pt>
                <c:pt idx="2206">
                  <c:v>41682</c:v>
                </c:pt>
                <c:pt idx="2207">
                  <c:v>41683</c:v>
                </c:pt>
                <c:pt idx="2208">
                  <c:v>41684</c:v>
                </c:pt>
                <c:pt idx="2209">
                  <c:v>41687</c:v>
                </c:pt>
                <c:pt idx="2210">
                  <c:v>41688</c:v>
                </c:pt>
                <c:pt idx="2211">
                  <c:v>41689</c:v>
                </c:pt>
                <c:pt idx="2212">
                  <c:v>41690</c:v>
                </c:pt>
                <c:pt idx="2213">
                  <c:v>41691</c:v>
                </c:pt>
                <c:pt idx="2214">
                  <c:v>41694</c:v>
                </c:pt>
                <c:pt idx="2215">
                  <c:v>41695</c:v>
                </c:pt>
                <c:pt idx="2216">
                  <c:v>41696</c:v>
                </c:pt>
                <c:pt idx="2217">
                  <c:v>41697</c:v>
                </c:pt>
                <c:pt idx="2218">
                  <c:v>41698</c:v>
                </c:pt>
                <c:pt idx="2219">
                  <c:v>41701</c:v>
                </c:pt>
                <c:pt idx="2220">
                  <c:v>41702</c:v>
                </c:pt>
                <c:pt idx="2221">
                  <c:v>41703</c:v>
                </c:pt>
                <c:pt idx="2222">
                  <c:v>41704</c:v>
                </c:pt>
                <c:pt idx="2223">
                  <c:v>41705</c:v>
                </c:pt>
                <c:pt idx="2224">
                  <c:v>41708</c:v>
                </c:pt>
                <c:pt idx="2225">
                  <c:v>41709</c:v>
                </c:pt>
                <c:pt idx="2226">
                  <c:v>41710</c:v>
                </c:pt>
                <c:pt idx="2227">
                  <c:v>41711</c:v>
                </c:pt>
                <c:pt idx="2228">
                  <c:v>41712</c:v>
                </c:pt>
                <c:pt idx="2229">
                  <c:v>41715</c:v>
                </c:pt>
                <c:pt idx="2230">
                  <c:v>41716</c:v>
                </c:pt>
                <c:pt idx="2231">
                  <c:v>41717</c:v>
                </c:pt>
                <c:pt idx="2232">
                  <c:v>41718</c:v>
                </c:pt>
                <c:pt idx="2233">
                  <c:v>41719</c:v>
                </c:pt>
                <c:pt idx="2234">
                  <c:v>41722</c:v>
                </c:pt>
                <c:pt idx="2235">
                  <c:v>41723</c:v>
                </c:pt>
                <c:pt idx="2236">
                  <c:v>41724</c:v>
                </c:pt>
                <c:pt idx="2237">
                  <c:v>41725</c:v>
                </c:pt>
                <c:pt idx="2238">
                  <c:v>41726</c:v>
                </c:pt>
                <c:pt idx="2239">
                  <c:v>41729</c:v>
                </c:pt>
                <c:pt idx="2240">
                  <c:v>41730</c:v>
                </c:pt>
                <c:pt idx="2241">
                  <c:v>41731</c:v>
                </c:pt>
                <c:pt idx="2242">
                  <c:v>41732</c:v>
                </c:pt>
                <c:pt idx="2243">
                  <c:v>41733</c:v>
                </c:pt>
                <c:pt idx="2244">
                  <c:v>41737</c:v>
                </c:pt>
                <c:pt idx="2245">
                  <c:v>41738</c:v>
                </c:pt>
                <c:pt idx="2246">
                  <c:v>41739</c:v>
                </c:pt>
                <c:pt idx="2247">
                  <c:v>41740</c:v>
                </c:pt>
                <c:pt idx="2248">
                  <c:v>41743</c:v>
                </c:pt>
                <c:pt idx="2249">
                  <c:v>41744</c:v>
                </c:pt>
                <c:pt idx="2250">
                  <c:v>41745</c:v>
                </c:pt>
                <c:pt idx="2251">
                  <c:v>41746</c:v>
                </c:pt>
                <c:pt idx="2252">
                  <c:v>41747</c:v>
                </c:pt>
                <c:pt idx="2253">
                  <c:v>41750</c:v>
                </c:pt>
                <c:pt idx="2254">
                  <c:v>41751</c:v>
                </c:pt>
                <c:pt idx="2255">
                  <c:v>41752</c:v>
                </c:pt>
                <c:pt idx="2256">
                  <c:v>41753</c:v>
                </c:pt>
                <c:pt idx="2257">
                  <c:v>41754</c:v>
                </c:pt>
                <c:pt idx="2258">
                  <c:v>41757</c:v>
                </c:pt>
                <c:pt idx="2259">
                  <c:v>41758</c:v>
                </c:pt>
                <c:pt idx="2260">
                  <c:v>41759</c:v>
                </c:pt>
                <c:pt idx="2261">
                  <c:v>41764</c:v>
                </c:pt>
                <c:pt idx="2262">
                  <c:v>41765</c:v>
                </c:pt>
                <c:pt idx="2263">
                  <c:v>41766</c:v>
                </c:pt>
                <c:pt idx="2264">
                  <c:v>41767</c:v>
                </c:pt>
                <c:pt idx="2265">
                  <c:v>41768</c:v>
                </c:pt>
                <c:pt idx="2266">
                  <c:v>41771</c:v>
                </c:pt>
                <c:pt idx="2267">
                  <c:v>41772</c:v>
                </c:pt>
                <c:pt idx="2268">
                  <c:v>41773</c:v>
                </c:pt>
                <c:pt idx="2269">
                  <c:v>41774</c:v>
                </c:pt>
                <c:pt idx="2270">
                  <c:v>41775</c:v>
                </c:pt>
                <c:pt idx="2271">
                  <c:v>41778</c:v>
                </c:pt>
                <c:pt idx="2272">
                  <c:v>41779</c:v>
                </c:pt>
                <c:pt idx="2273">
                  <c:v>41780</c:v>
                </c:pt>
                <c:pt idx="2274">
                  <c:v>41781</c:v>
                </c:pt>
                <c:pt idx="2275">
                  <c:v>41782</c:v>
                </c:pt>
                <c:pt idx="2276">
                  <c:v>41785</c:v>
                </c:pt>
                <c:pt idx="2277">
                  <c:v>41786</c:v>
                </c:pt>
                <c:pt idx="2278">
                  <c:v>41787</c:v>
                </c:pt>
                <c:pt idx="2279">
                  <c:v>41788</c:v>
                </c:pt>
                <c:pt idx="2280">
                  <c:v>41789</c:v>
                </c:pt>
                <c:pt idx="2281">
                  <c:v>41793</c:v>
                </c:pt>
                <c:pt idx="2282">
                  <c:v>41794</c:v>
                </c:pt>
                <c:pt idx="2283">
                  <c:v>41795</c:v>
                </c:pt>
                <c:pt idx="2284">
                  <c:v>41796</c:v>
                </c:pt>
                <c:pt idx="2285">
                  <c:v>41799</c:v>
                </c:pt>
                <c:pt idx="2286">
                  <c:v>41800</c:v>
                </c:pt>
                <c:pt idx="2287">
                  <c:v>41801</c:v>
                </c:pt>
                <c:pt idx="2288">
                  <c:v>41802</c:v>
                </c:pt>
                <c:pt idx="2289">
                  <c:v>41803</c:v>
                </c:pt>
                <c:pt idx="2290">
                  <c:v>41806</c:v>
                </c:pt>
                <c:pt idx="2291">
                  <c:v>41807</c:v>
                </c:pt>
                <c:pt idx="2292">
                  <c:v>41808</c:v>
                </c:pt>
                <c:pt idx="2293">
                  <c:v>41809</c:v>
                </c:pt>
                <c:pt idx="2294">
                  <c:v>41810</c:v>
                </c:pt>
                <c:pt idx="2295">
                  <c:v>41813</c:v>
                </c:pt>
                <c:pt idx="2296">
                  <c:v>41814</c:v>
                </c:pt>
                <c:pt idx="2297">
                  <c:v>41815</c:v>
                </c:pt>
                <c:pt idx="2298">
                  <c:v>41816</c:v>
                </c:pt>
                <c:pt idx="2299">
                  <c:v>41817</c:v>
                </c:pt>
                <c:pt idx="2300">
                  <c:v>41820</c:v>
                </c:pt>
                <c:pt idx="2301">
                  <c:v>41821</c:v>
                </c:pt>
                <c:pt idx="2302">
                  <c:v>41822</c:v>
                </c:pt>
                <c:pt idx="2303">
                  <c:v>41823</c:v>
                </c:pt>
                <c:pt idx="2304">
                  <c:v>41824</c:v>
                </c:pt>
                <c:pt idx="2305">
                  <c:v>41827</c:v>
                </c:pt>
                <c:pt idx="2306">
                  <c:v>41828</c:v>
                </c:pt>
                <c:pt idx="2307">
                  <c:v>41829</c:v>
                </c:pt>
                <c:pt idx="2308">
                  <c:v>41830</c:v>
                </c:pt>
                <c:pt idx="2309">
                  <c:v>41831</c:v>
                </c:pt>
                <c:pt idx="2310">
                  <c:v>41834</c:v>
                </c:pt>
                <c:pt idx="2311">
                  <c:v>41835</c:v>
                </c:pt>
                <c:pt idx="2312">
                  <c:v>41836</c:v>
                </c:pt>
                <c:pt idx="2313">
                  <c:v>41837</c:v>
                </c:pt>
                <c:pt idx="2314">
                  <c:v>41838</c:v>
                </c:pt>
                <c:pt idx="2315">
                  <c:v>41841</c:v>
                </c:pt>
                <c:pt idx="2316">
                  <c:v>41842</c:v>
                </c:pt>
                <c:pt idx="2317">
                  <c:v>41843</c:v>
                </c:pt>
                <c:pt idx="2318">
                  <c:v>41844</c:v>
                </c:pt>
                <c:pt idx="2319">
                  <c:v>41845</c:v>
                </c:pt>
                <c:pt idx="2320">
                  <c:v>41848</c:v>
                </c:pt>
                <c:pt idx="2321">
                  <c:v>41849</c:v>
                </c:pt>
                <c:pt idx="2322">
                  <c:v>41850</c:v>
                </c:pt>
                <c:pt idx="2323">
                  <c:v>41851</c:v>
                </c:pt>
                <c:pt idx="2324">
                  <c:v>41852</c:v>
                </c:pt>
                <c:pt idx="2325">
                  <c:v>41855</c:v>
                </c:pt>
                <c:pt idx="2326">
                  <c:v>41856</c:v>
                </c:pt>
                <c:pt idx="2327">
                  <c:v>41857</c:v>
                </c:pt>
                <c:pt idx="2328">
                  <c:v>41858</c:v>
                </c:pt>
                <c:pt idx="2329">
                  <c:v>41859</c:v>
                </c:pt>
                <c:pt idx="2330">
                  <c:v>41862</c:v>
                </c:pt>
                <c:pt idx="2331">
                  <c:v>41863</c:v>
                </c:pt>
                <c:pt idx="2332">
                  <c:v>41864</c:v>
                </c:pt>
                <c:pt idx="2333">
                  <c:v>41865</c:v>
                </c:pt>
                <c:pt idx="2334">
                  <c:v>41866</c:v>
                </c:pt>
                <c:pt idx="2335">
                  <c:v>41869</c:v>
                </c:pt>
                <c:pt idx="2336">
                  <c:v>41870</c:v>
                </c:pt>
                <c:pt idx="2337">
                  <c:v>41871</c:v>
                </c:pt>
                <c:pt idx="2338">
                  <c:v>41872</c:v>
                </c:pt>
                <c:pt idx="2339">
                  <c:v>41873</c:v>
                </c:pt>
                <c:pt idx="2340">
                  <c:v>41876</c:v>
                </c:pt>
                <c:pt idx="2341">
                  <c:v>41877</c:v>
                </c:pt>
                <c:pt idx="2342">
                  <c:v>41878</c:v>
                </c:pt>
                <c:pt idx="2343">
                  <c:v>41879</c:v>
                </c:pt>
                <c:pt idx="2344">
                  <c:v>41880</c:v>
                </c:pt>
                <c:pt idx="2345">
                  <c:v>41883</c:v>
                </c:pt>
                <c:pt idx="2346">
                  <c:v>41884</c:v>
                </c:pt>
                <c:pt idx="2347">
                  <c:v>41885</c:v>
                </c:pt>
                <c:pt idx="2348">
                  <c:v>41886</c:v>
                </c:pt>
                <c:pt idx="2349">
                  <c:v>41887</c:v>
                </c:pt>
                <c:pt idx="2350">
                  <c:v>41891</c:v>
                </c:pt>
                <c:pt idx="2351">
                  <c:v>41892</c:v>
                </c:pt>
                <c:pt idx="2352">
                  <c:v>41893</c:v>
                </c:pt>
                <c:pt idx="2353">
                  <c:v>41894</c:v>
                </c:pt>
                <c:pt idx="2354">
                  <c:v>41897</c:v>
                </c:pt>
                <c:pt idx="2355">
                  <c:v>41898</c:v>
                </c:pt>
                <c:pt idx="2356">
                  <c:v>41899</c:v>
                </c:pt>
                <c:pt idx="2357">
                  <c:v>41900</c:v>
                </c:pt>
                <c:pt idx="2358">
                  <c:v>41901</c:v>
                </c:pt>
                <c:pt idx="2359">
                  <c:v>41904</c:v>
                </c:pt>
                <c:pt idx="2360">
                  <c:v>41905</c:v>
                </c:pt>
                <c:pt idx="2361">
                  <c:v>41906</c:v>
                </c:pt>
                <c:pt idx="2362">
                  <c:v>41907</c:v>
                </c:pt>
                <c:pt idx="2363">
                  <c:v>41908</c:v>
                </c:pt>
                <c:pt idx="2364">
                  <c:v>41911</c:v>
                </c:pt>
                <c:pt idx="2365">
                  <c:v>41912</c:v>
                </c:pt>
                <c:pt idx="2366">
                  <c:v>41920</c:v>
                </c:pt>
                <c:pt idx="2367">
                  <c:v>41921</c:v>
                </c:pt>
                <c:pt idx="2368">
                  <c:v>41922</c:v>
                </c:pt>
                <c:pt idx="2369">
                  <c:v>41925</c:v>
                </c:pt>
                <c:pt idx="2370">
                  <c:v>41926</c:v>
                </c:pt>
                <c:pt idx="2371">
                  <c:v>41927</c:v>
                </c:pt>
                <c:pt idx="2372">
                  <c:v>41928</c:v>
                </c:pt>
                <c:pt idx="2373">
                  <c:v>41929</c:v>
                </c:pt>
                <c:pt idx="2374">
                  <c:v>41932</c:v>
                </c:pt>
                <c:pt idx="2375">
                  <c:v>41933</c:v>
                </c:pt>
                <c:pt idx="2376">
                  <c:v>41934</c:v>
                </c:pt>
                <c:pt idx="2377">
                  <c:v>41935</c:v>
                </c:pt>
                <c:pt idx="2378">
                  <c:v>41936</c:v>
                </c:pt>
                <c:pt idx="2379">
                  <c:v>41939</c:v>
                </c:pt>
                <c:pt idx="2380">
                  <c:v>41940</c:v>
                </c:pt>
                <c:pt idx="2381">
                  <c:v>41941</c:v>
                </c:pt>
                <c:pt idx="2382">
                  <c:v>41942</c:v>
                </c:pt>
                <c:pt idx="2383">
                  <c:v>41943</c:v>
                </c:pt>
                <c:pt idx="2384">
                  <c:v>41946</c:v>
                </c:pt>
                <c:pt idx="2385">
                  <c:v>41947</c:v>
                </c:pt>
                <c:pt idx="2386">
                  <c:v>41948</c:v>
                </c:pt>
                <c:pt idx="2387">
                  <c:v>41949</c:v>
                </c:pt>
                <c:pt idx="2388">
                  <c:v>41950</c:v>
                </c:pt>
                <c:pt idx="2389">
                  <c:v>41953</c:v>
                </c:pt>
                <c:pt idx="2390">
                  <c:v>41954</c:v>
                </c:pt>
                <c:pt idx="2391">
                  <c:v>41955</c:v>
                </c:pt>
                <c:pt idx="2392">
                  <c:v>41956</c:v>
                </c:pt>
                <c:pt idx="2393">
                  <c:v>41957</c:v>
                </c:pt>
                <c:pt idx="2394">
                  <c:v>41960</c:v>
                </c:pt>
                <c:pt idx="2395">
                  <c:v>41961</c:v>
                </c:pt>
                <c:pt idx="2396">
                  <c:v>41962</c:v>
                </c:pt>
                <c:pt idx="2397">
                  <c:v>41963</c:v>
                </c:pt>
                <c:pt idx="2398">
                  <c:v>41964</c:v>
                </c:pt>
                <c:pt idx="2399">
                  <c:v>41967</c:v>
                </c:pt>
                <c:pt idx="2400">
                  <c:v>41968</c:v>
                </c:pt>
                <c:pt idx="2401">
                  <c:v>41969</c:v>
                </c:pt>
                <c:pt idx="2402">
                  <c:v>41970</c:v>
                </c:pt>
                <c:pt idx="2403">
                  <c:v>41971</c:v>
                </c:pt>
                <c:pt idx="2404">
                  <c:v>41974</c:v>
                </c:pt>
                <c:pt idx="2405">
                  <c:v>41975</c:v>
                </c:pt>
                <c:pt idx="2406">
                  <c:v>41976</c:v>
                </c:pt>
                <c:pt idx="2407">
                  <c:v>41977</c:v>
                </c:pt>
                <c:pt idx="2408">
                  <c:v>41978</c:v>
                </c:pt>
                <c:pt idx="2409">
                  <c:v>41981</c:v>
                </c:pt>
                <c:pt idx="2410">
                  <c:v>41982</c:v>
                </c:pt>
                <c:pt idx="2411">
                  <c:v>41983</c:v>
                </c:pt>
                <c:pt idx="2412">
                  <c:v>41984</c:v>
                </c:pt>
                <c:pt idx="2413">
                  <c:v>41985</c:v>
                </c:pt>
                <c:pt idx="2414">
                  <c:v>41988</c:v>
                </c:pt>
                <c:pt idx="2415">
                  <c:v>41989</c:v>
                </c:pt>
                <c:pt idx="2416">
                  <c:v>41990</c:v>
                </c:pt>
                <c:pt idx="2417">
                  <c:v>41991</c:v>
                </c:pt>
                <c:pt idx="2418">
                  <c:v>41992</c:v>
                </c:pt>
                <c:pt idx="2419">
                  <c:v>41995</c:v>
                </c:pt>
                <c:pt idx="2420">
                  <c:v>41996</c:v>
                </c:pt>
                <c:pt idx="2421">
                  <c:v>41997</c:v>
                </c:pt>
                <c:pt idx="2422">
                  <c:v>41998</c:v>
                </c:pt>
                <c:pt idx="2423">
                  <c:v>41999</c:v>
                </c:pt>
                <c:pt idx="2424">
                  <c:v>42002</c:v>
                </c:pt>
                <c:pt idx="2425">
                  <c:v>42003</c:v>
                </c:pt>
                <c:pt idx="2426">
                  <c:v>42004</c:v>
                </c:pt>
                <c:pt idx="2427">
                  <c:v>42009</c:v>
                </c:pt>
                <c:pt idx="2428">
                  <c:v>42010</c:v>
                </c:pt>
                <c:pt idx="2429">
                  <c:v>42011</c:v>
                </c:pt>
                <c:pt idx="2430">
                  <c:v>42012</c:v>
                </c:pt>
                <c:pt idx="2431">
                  <c:v>42013</c:v>
                </c:pt>
                <c:pt idx="2432">
                  <c:v>42016</c:v>
                </c:pt>
                <c:pt idx="2433">
                  <c:v>42017</c:v>
                </c:pt>
                <c:pt idx="2434">
                  <c:v>42018</c:v>
                </c:pt>
                <c:pt idx="2435">
                  <c:v>42019</c:v>
                </c:pt>
                <c:pt idx="2436">
                  <c:v>42020</c:v>
                </c:pt>
                <c:pt idx="2437">
                  <c:v>42023</c:v>
                </c:pt>
                <c:pt idx="2438">
                  <c:v>42024</c:v>
                </c:pt>
                <c:pt idx="2439">
                  <c:v>42025</c:v>
                </c:pt>
                <c:pt idx="2440">
                  <c:v>42026</c:v>
                </c:pt>
                <c:pt idx="2441">
                  <c:v>42027</c:v>
                </c:pt>
                <c:pt idx="2442">
                  <c:v>42030</c:v>
                </c:pt>
                <c:pt idx="2443">
                  <c:v>42031</c:v>
                </c:pt>
                <c:pt idx="2444">
                  <c:v>42032</c:v>
                </c:pt>
                <c:pt idx="2445">
                  <c:v>42033</c:v>
                </c:pt>
                <c:pt idx="2446">
                  <c:v>42034</c:v>
                </c:pt>
                <c:pt idx="2447">
                  <c:v>42037</c:v>
                </c:pt>
                <c:pt idx="2448">
                  <c:v>42038</c:v>
                </c:pt>
                <c:pt idx="2449">
                  <c:v>42039</c:v>
                </c:pt>
                <c:pt idx="2450">
                  <c:v>42040</c:v>
                </c:pt>
                <c:pt idx="2451">
                  <c:v>42041</c:v>
                </c:pt>
                <c:pt idx="2452">
                  <c:v>42044</c:v>
                </c:pt>
                <c:pt idx="2453">
                  <c:v>42045</c:v>
                </c:pt>
                <c:pt idx="2454">
                  <c:v>42046</c:v>
                </c:pt>
                <c:pt idx="2455">
                  <c:v>42047</c:v>
                </c:pt>
                <c:pt idx="2456">
                  <c:v>42048</c:v>
                </c:pt>
                <c:pt idx="2457">
                  <c:v>42051</c:v>
                </c:pt>
                <c:pt idx="2458">
                  <c:v>42052</c:v>
                </c:pt>
                <c:pt idx="2459">
                  <c:v>42060</c:v>
                </c:pt>
                <c:pt idx="2460">
                  <c:v>42061</c:v>
                </c:pt>
                <c:pt idx="2461">
                  <c:v>42062</c:v>
                </c:pt>
                <c:pt idx="2462">
                  <c:v>42065</c:v>
                </c:pt>
                <c:pt idx="2463">
                  <c:v>42066</c:v>
                </c:pt>
                <c:pt idx="2464">
                  <c:v>42067</c:v>
                </c:pt>
                <c:pt idx="2465">
                  <c:v>42068</c:v>
                </c:pt>
                <c:pt idx="2466">
                  <c:v>42069</c:v>
                </c:pt>
                <c:pt idx="2467">
                  <c:v>42072</c:v>
                </c:pt>
                <c:pt idx="2468">
                  <c:v>42073</c:v>
                </c:pt>
                <c:pt idx="2469">
                  <c:v>42074</c:v>
                </c:pt>
                <c:pt idx="2470">
                  <c:v>42075</c:v>
                </c:pt>
                <c:pt idx="2471">
                  <c:v>42076</c:v>
                </c:pt>
                <c:pt idx="2472">
                  <c:v>42079</c:v>
                </c:pt>
                <c:pt idx="2473">
                  <c:v>42080</c:v>
                </c:pt>
                <c:pt idx="2474">
                  <c:v>42081</c:v>
                </c:pt>
                <c:pt idx="2475">
                  <c:v>42082</c:v>
                </c:pt>
                <c:pt idx="2476">
                  <c:v>42083</c:v>
                </c:pt>
                <c:pt idx="2477">
                  <c:v>42086</c:v>
                </c:pt>
                <c:pt idx="2478">
                  <c:v>42087</c:v>
                </c:pt>
                <c:pt idx="2479">
                  <c:v>42088</c:v>
                </c:pt>
                <c:pt idx="2480">
                  <c:v>42089</c:v>
                </c:pt>
                <c:pt idx="2481">
                  <c:v>42090</c:v>
                </c:pt>
                <c:pt idx="2482">
                  <c:v>42093</c:v>
                </c:pt>
                <c:pt idx="2483">
                  <c:v>42094</c:v>
                </c:pt>
                <c:pt idx="2484">
                  <c:v>42095</c:v>
                </c:pt>
                <c:pt idx="2485">
                  <c:v>42096</c:v>
                </c:pt>
                <c:pt idx="2486">
                  <c:v>42097</c:v>
                </c:pt>
                <c:pt idx="2487">
                  <c:v>42101</c:v>
                </c:pt>
                <c:pt idx="2488">
                  <c:v>42102</c:v>
                </c:pt>
                <c:pt idx="2489">
                  <c:v>42103</c:v>
                </c:pt>
                <c:pt idx="2490">
                  <c:v>42104</c:v>
                </c:pt>
                <c:pt idx="2491">
                  <c:v>42107</c:v>
                </c:pt>
                <c:pt idx="2492">
                  <c:v>42108</c:v>
                </c:pt>
                <c:pt idx="2493">
                  <c:v>42109</c:v>
                </c:pt>
                <c:pt idx="2494">
                  <c:v>42110</c:v>
                </c:pt>
                <c:pt idx="2495">
                  <c:v>42111</c:v>
                </c:pt>
                <c:pt idx="2496">
                  <c:v>42114</c:v>
                </c:pt>
                <c:pt idx="2497">
                  <c:v>42115</c:v>
                </c:pt>
                <c:pt idx="2498">
                  <c:v>42116</c:v>
                </c:pt>
                <c:pt idx="2499">
                  <c:v>42117</c:v>
                </c:pt>
                <c:pt idx="2500">
                  <c:v>42118</c:v>
                </c:pt>
                <c:pt idx="2501">
                  <c:v>42121</c:v>
                </c:pt>
                <c:pt idx="2502">
                  <c:v>42122</c:v>
                </c:pt>
                <c:pt idx="2503">
                  <c:v>42123</c:v>
                </c:pt>
                <c:pt idx="2504">
                  <c:v>42124</c:v>
                </c:pt>
                <c:pt idx="2505">
                  <c:v>42128</c:v>
                </c:pt>
                <c:pt idx="2506">
                  <c:v>42129</c:v>
                </c:pt>
                <c:pt idx="2507">
                  <c:v>42130</c:v>
                </c:pt>
                <c:pt idx="2508">
                  <c:v>42131</c:v>
                </c:pt>
                <c:pt idx="2509">
                  <c:v>42132</c:v>
                </c:pt>
                <c:pt idx="2510">
                  <c:v>42135</c:v>
                </c:pt>
                <c:pt idx="2511">
                  <c:v>42136</c:v>
                </c:pt>
                <c:pt idx="2512">
                  <c:v>42137</c:v>
                </c:pt>
                <c:pt idx="2513">
                  <c:v>42138</c:v>
                </c:pt>
                <c:pt idx="2514">
                  <c:v>42139</c:v>
                </c:pt>
                <c:pt idx="2515">
                  <c:v>42142</c:v>
                </c:pt>
                <c:pt idx="2516">
                  <c:v>42143</c:v>
                </c:pt>
                <c:pt idx="2517">
                  <c:v>42144</c:v>
                </c:pt>
                <c:pt idx="2518">
                  <c:v>42145</c:v>
                </c:pt>
                <c:pt idx="2519">
                  <c:v>42146</c:v>
                </c:pt>
                <c:pt idx="2520">
                  <c:v>42149</c:v>
                </c:pt>
                <c:pt idx="2521">
                  <c:v>42150</c:v>
                </c:pt>
                <c:pt idx="2522">
                  <c:v>42151</c:v>
                </c:pt>
                <c:pt idx="2523">
                  <c:v>42152</c:v>
                </c:pt>
                <c:pt idx="2524">
                  <c:v>42153</c:v>
                </c:pt>
                <c:pt idx="2525">
                  <c:v>42156</c:v>
                </c:pt>
                <c:pt idx="2526">
                  <c:v>42157</c:v>
                </c:pt>
                <c:pt idx="2527">
                  <c:v>42158</c:v>
                </c:pt>
                <c:pt idx="2528">
                  <c:v>42159</c:v>
                </c:pt>
                <c:pt idx="2529">
                  <c:v>42160</c:v>
                </c:pt>
                <c:pt idx="2530">
                  <c:v>42163</c:v>
                </c:pt>
                <c:pt idx="2531">
                  <c:v>42164</c:v>
                </c:pt>
                <c:pt idx="2532">
                  <c:v>42165</c:v>
                </c:pt>
                <c:pt idx="2533">
                  <c:v>42166</c:v>
                </c:pt>
                <c:pt idx="2534">
                  <c:v>42167</c:v>
                </c:pt>
                <c:pt idx="2535">
                  <c:v>42170</c:v>
                </c:pt>
                <c:pt idx="2536">
                  <c:v>42171</c:v>
                </c:pt>
                <c:pt idx="2537">
                  <c:v>42172</c:v>
                </c:pt>
                <c:pt idx="2538">
                  <c:v>42173</c:v>
                </c:pt>
                <c:pt idx="2539">
                  <c:v>42174</c:v>
                </c:pt>
                <c:pt idx="2540">
                  <c:v>42178</c:v>
                </c:pt>
                <c:pt idx="2541">
                  <c:v>42179</c:v>
                </c:pt>
                <c:pt idx="2542">
                  <c:v>42180</c:v>
                </c:pt>
                <c:pt idx="2543">
                  <c:v>42181</c:v>
                </c:pt>
                <c:pt idx="2544">
                  <c:v>42184</c:v>
                </c:pt>
                <c:pt idx="2545">
                  <c:v>42185</c:v>
                </c:pt>
                <c:pt idx="2546">
                  <c:v>42186</c:v>
                </c:pt>
                <c:pt idx="2547">
                  <c:v>42187</c:v>
                </c:pt>
                <c:pt idx="2548">
                  <c:v>42188</c:v>
                </c:pt>
                <c:pt idx="2549">
                  <c:v>42191</c:v>
                </c:pt>
                <c:pt idx="2550">
                  <c:v>42192</c:v>
                </c:pt>
                <c:pt idx="2551">
                  <c:v>42193</c:v>
                </c:pt>
                <c:pt idx="2552">
                  <c:v>42194</c:v>
                </c:pt>
                <c:pt idx="2553">
                  <c:v>42195</c:v>
                </c:pt>
                <c:pt idx="2554">
                  <c:v>42198</c:v>
                </c:pt>
                <c:pt idx="2555">
                  <c:v>42199</c:v>
                </c:pt>
                <c:pt idx="2556">
                  <c:v>42200</c:v>
                </c:pt>
                <c:pt idx="2557">
                  <c:v>42201</c:v>
                </c:pt>
                <c:pt idx="2558">
                  <c:v>42202</c:v>
                </c:pt>
                <c:pt idx="2559">
                  <c:v>42205</c:v>
                </c:pt>
                <c:pt idx="2560">
                  <c:v>42206</c:v>
                </c:pt>
                <c:pt idx="2561">
                  <c:v>42207</c:v>
                </c:pt>
                <c:pt idx="2562">
                  <c:v>42208</c:v>
                </c:pt>
                <c:pt idx="2563">
                  <c:v>42209</c:v>
                </c:pt>
                <c:pt idx="2564">
                  <c:v>42212</c:v>
                </c:pt>
                <c:pt idx="2565">
                  <c:v>42213</c:v>
                </c:pt>
                <c:pt idx="2566">
                  <c:v>42214</c:v>
                </c:pt>
                <c:pt idx="2567">
                  <c:v>42215</c:v>
                </c:pt>
                <c:pt idx="2568">
                  <c:v>42216</c:v>
                </c:pt>
                <c:pt idx="2569">
                  <c:v>42219</c:v>
                </c:pt>
                <c:pt idx="2570">
                  <c:v>42220</c:v>
                </c:pt>
                <c:pt idx="2571">
                  <c:v>42221</c:v>
                </c:pt>
                <c:pt idx="2572">
                  <c:v>42222</c:v>
                </c:pt>
                <c:pt idx="2573">
                  <c:v>42223</c:v>
                </c:pt>
                <c:pt idx="2574">
                  <c:v>42226</c:v>
                </c:pt>
                <c:pt idx="2575">
                  <c:v>42227</c:v>
                </c:pt>
                <c:pt idx="2576">
                  <c:v>42228</c:v>
                </c:pt>
                <c:pt idx="2577">
                  <c:v>42229</c:v>
                </c:pt>
                <c:pt idx="2578">
                  <c:v>42230</c:v>
                </c:pt>
                <c:pt idx="2579">
                  <c:v>42233</c:v>
                </c:pt>
                <c:pt idx="2580">
                  <c:v>42234</c:v>
                </c:pt>
                <c:pt idx="2581">
                  <c:v>42235</c:v>
                </c:pt>
                <c:pt idx="2582">
                  <c:v>42236</c:v>
                </c:pt>
                <c:pt idx="2583">
                  <c:v>42237</c:v>
                </c:pt>
                <c:pt idx="2584">
                  <c:v>42240</c:v>
                </c:pt>
                <c:pt idx="2585">
                  <c:v>42241</c:v>
                </c:pt>
                <c:pt idx="2586">
                  <c:v>42242</c:v>
                </c:pt>
                <c:pt idx="2587">
                  <c:v>42243</c:v>
                </c:pt>
                <c:pt idx="2588">
                  <c:v>42244</c:v>
                </c:pt>
                <c:pt idx="2589">
                  <c:v>42247</c:v>
                </c:pt>
                <c:pt idx="2590">
                  <c:v>42248</c:v>
                </c:pt>
                <c:pt idx="2591">
                  <c:v>42249</c:v>
                </c:pt>
                <c:pt idx="2592">
                  <c:v>42254</c:v>
                </c:pt>
                <c:pt idx="2593">
                  <c:v>42255</c:v>
                </c:pt>
                <c:pt idx="2594">
                  <c:v>42256</c:v>
                </c:pt>
                <c:pt idx="2595">
                  <c:v>42257</c:v>
                </c:pt>
                <c:pt idx="2596">
                  <c:v>42258</c:v>
                </c:pt>
                <c:pt idx="2597">
                  <c:v>42261</c:v>
                </c:pt>
                <c:pt idx="2598">
                  <c:v>42262</c:v>
                </c:pt>
                <c:pt idx="2599">
                  <c:v>42263</c:v>
                </c:pt>
                <c:pt idx="2600">
                  <c:v>42264</c:v>
                </c:pt>
                <c:pt idx="2601">
                  <c:v>42265</c:v>
                </c:pt>
                <c:pt idx="2602">
                  <c:v>42268</c:v>
                </c:pt>
                <c:pt idx="2603">
                  <c:v>42269</c:v>
                </c:pt>
                <c:pt idx="2604">
                  <c:v>42270</c:v>
                </c:pt>
                <c:pt idx="2605">
                  <c:v>42271</c:v>
                </c:pt>
                <c:pt idx="2606">
                  <c:v>42272</c:v>
                </c:pt>
                <c:pt idx="2607">
                  <c:v>42275</c:v>
                </c:pt>
                <c:pt idx="2608">
                  <c:v>42276</c:v>
                </c:pt>
                <c:pt idx="2609">
                  <c:v>42277</c:v>
                </c:pt>
                <c:pt idx="2610">
                  <c:v>42285</c:v>
                </c:pt>
                <c:pt idx="2611">
                  <c:v>42286</c:v>
                </c:pt>
                <c:pt idx="2612">
                  <c:v>42289</c:v>
                </c:pt>
                <c:pt idx="2613">
                  <c:v>42290</c:v>
                </c:pt>
                <c:pt idx="2614">
                  <c:v>42291</c:v>
                </c:pt>
                <c:pt idx="2615">
                  <c:v>42292</c:v>
                </c:pt>
                <c:pt idx="2616">
                  <c:v>42293</c:v>
                </c:pt>
                <c:pt idx="2617">
                  <c:v>42296</c:v>
                </c:pt>
                <c:pt idx="2618">
                  <c:v>42297</c:v>
                </c:pt>
                <c:pt idx="2619">
                  <c:v>42298</c:v>
                </c:pt>
                <c:pt idx="2620">
                  <c:v>42299</c:v>
                </c:pt>
                <c:pt idx="2621">
                  <c:v>42300</c:v>
                </c:pt>
                <c:pt idx="2622">
                  <c:v>42303</c:v>
                </c:pt>
                <c:pt idx="2623">
                  <c:v>42304</c:v>
                </c:pt>
                <c:pt idx="2624">
                  <c:v>42305</c:v>
                </c:pt>
                <c:pt idx="2625">
                  <c:v>42306</c:v>
                </c:pt>
                <c:pt idx="2626">
                  <c:v>42307</c:v>
                </c:pt>
                <c:pt idx="2627">
                  <c:v>42310</c:v>
                </c:pt>
                <c:pt idx="2628">
                  <c:v>42311</c:v>
                </c:pt>
                <c:pt idx="2629">
                  <c:v>42312</c:v>
                </c:pt>
                <c:pt idx="2630">
                  <c:v>42313</c:v>
                </c:pt>
                <c:pt idx="2631">
                  <c:v>42314</c:v>
                </c:pt>
                <c:pt idx="2632">
                  <c:v>42317</c:v>
                </c:pt>
                <c:pt idx="2633">
                  <c:v>42318</c:v>
                </c:pt>
                <c:pt idx="2634">
                  <c:v>42319</c:v>
                </c:pt>
                <c:pt idx="2635">
                  <c:v>42320</c:v>
                </c:pt>
                <c:pt idx="2636">
                  <c:v>42321</c:v>
                </c:pt>
                <c:pt idx="2637">
                  <c:v>42324</c:v>
                </c:pt>
                <c:pt idx="2638">
                  <c:v>42325</c:v>
                </c:pt>
                <c:pt idx="2639">
                  <c:v>42326</c:v>
                </c:pt>
                <c:pt idx="2640">
                  <c:v>42327</c:v>
                </c:pt>
                <c:pt idx="2641">
                  <c:v>42328</c:v>
                </c:pt>
                <c:pt idx="2642">
                  <c:v>42331</c:v>
                </c:pt>
                <c:pt idx="2643">
                  <c:v>42332</c:v>
                </c:pt>
                <c:pt idx="2644">
                  <c:v>42333</c:v>
                </c:pt>
                <c:pt idx="2645">
                  <c:v>42334</c:v>
                </c:pt>
                <c:pt idx="2646">
                  <c:v>42335</c:v>
                </c:pt>
                <c:pt idx="2647">
                  <c:v>42338</c:v>
                </c:pt>
                <c:pt idx="2648">
                  <c:v>42339</c:v>
                </c:pt>
                <c:pt idx="2649">
                  <c:v>42340</c:v>
                </c:pt>
                <c:pt idx="2650">
                  <c:v>42341</c:v>
                </c:pt>
                <c:pt idx="2651">
                  <c:v>42342</c:v>
                </c:pt>
                <c:pt idx="2652">
                  <c:v>42345</c:v>
                </c:pt>
                <c:pt idx="2653">
                  <c:v>42346</c:v>
                </c:pt>
                <c:pt idx="2654">
                  <c:v>42347</c:v>
                </c:pt>
                <c:pt idx="2655">
                  <c:v>42348</c:v>
                </c:pt>
                <c:pt idx="2656">
                  <c:v>42349</c:v>
                </c:pt>
                <c:pt idx="2657">
                  <c:v>42352</c:v>
                </c:pt>
                <c:pt idx="2658">
                  <c:v>42353</c:v>
                </c:pt>
                <c:pt idx="2659">
                  <c:v>42354</c:v>
                </c:pt>
                <c:pt idx="2660">
                  <c:v>42355</c:v>
                </c:pt>
                <c:pt idx="2661">
                  <c:v>42356</c:v>
                </c:pt>
                <c:pt idx="2662">
                  <c:v>42359</c:v>
                </c:pt>
                <c:pt idx="2663">
                  <c:v>42360</c:v>
                </c:pt>
                <c:pt idx="2664">
                  <c:v>42361</c:v>
                </c:pt>
                <c:pt idx="2665">
                  <c:v>42362</c:v>
                </c:pt>
                <c:pt idx="2666">
                  <c:v>42363</c:v>
                </c:pt>
                <c:pt idx="2667">
                  <c:v>42366</c:v>
                </c:pt>
                <c:pt idx="2668">
                  <c:v>42367</c:v>
                </c:pt>
                <c:pt idx="2669">
                  <c:v>42368</c:v>
                </c:pt>
                <c:pt idx="2670">
                  <c:v>42369</c:v>
                </c:pt>
                <c:pt idx="2671">
                  <c:v>42373</c:v>
                </c:pt>
                <c:pt idx="2672">
                  <c:v>42374</c:v>
                </c:pt>
                <c:pt idx="2673">
                  <c:v>42375</c:v>
                </c:pt>
                <c:pt idx="2674">
                  <c:v>42376</c:v>
                </c:pt>
                <c:pt idx="2675">
                  <c:v>42377</c:v>
                </c:pt>
                <c:pt idx="2676">
                  <c:v>42380</c:v>
                </c:pt>
                <c:pt idx="2677">
                  <c:v>42381</c:v>
                </c:pt>
                <c:pt idx="2678">
                  <c:v>42382</c:v>
                </c:pt>
                <c:pt idx="2679">
                  <c:v>42383</c:v>
                </c:pt>
                <c:pt idx="2680">
                  <c:v>42384</c:v>
                </c:pt>
                <c:pt idx="2681">
                  <c:v>42387</c:v>
                </c:pt>
                <c:pt idx="2682">
                  <c:v>42388</c:v>
                </c:pt>
                <c:pt idx="2683">
                  <c:v>42389</c:v>
                </c:pt>
                <c:pt idx="2684">
                  <c:v>42390</c:v>
                </c:pt>
                <c:pt idx="2685">
                  <c:v>42391</c:v>
                </c:pt>
                <c:pt idx="2686">
                  <c:v>42394</c:v>
                </c:pt>
                <c:pt idx="2687">
                  <c:v>42395</c:v>
                </c:pt>
                <c:pt idx="2688">
                  <c:v>42396</c:v>
                </c:pt>
                <c:pt idx="2689">
                  <c:v>42397</c:v>
                </c:pt>
                <c:pt idx="2690">
                  <c:v>42398</c:v>
                </c:pt>
                <c:pt idx="2691">
                  <c:v>42401</c:v>
                </c:pt>
                <c:pt idx="2692">
                  <c:v>42402</c:v>
                </c:pt>
                <c:pt idx="2693">
                  <c:v>42403</c:v>
                </c:pt>
                <c:pt idx="2694">
                  <c:v>42404</c:v>
                </c:pt>
                <c:pt idx="2695">
                  <c:v>42405</c:v>
                </c:pt>
                <c:pt idx="2696">
                  <c:v>42415</c:v>
                </c:pt>
                <c:pt idx="2697">
                  <c:v>42416</c:v>
                </c:pt>
                <c:pt idx="2698">
                  <c:v>42417</c:v>
                </c:pt>
                <c:pt idx="2699">
                  <c:v>42418</c:v>
                </c:pt>
                <c:pt idx="2700">
                  <c:v>42419</c:v>
                </c:pt>
                <c:pt idx="2701">
                  <c:v>42422</c:v>
                </c:pt>
                <c:pt idx="2702">
                  <c:v>42423</c:v>
                </c:pt>
                <c:pt idx="2703">
                  <c:v>42424</c:v>
                </c:pt>
                <c:pt idx="2704">
                  <c:v>42425</c:v>
                </c:pt>
                <c:pt idx="2705">
                  <c:v>42426</c:v>
                </c:pt>
                <c:pt idx="2706">
                  <c:v>42429</c:v>
                </c:pt>
                <c:pt idx="2707">
                  <c:v>42430</c:v>
                </c:pt>
                <c:pt idx="2708">
                  <c:v>42431</c:v>
                </c:pt>
                <c:pt idx="2709">
                  <c:v>42432</c:v>
                </c:pt>
                <c:pt idx="2710">
                  <c:v>42433</c:v>
                </c:pt>
                <c:pt idx="2711">
                  <c:v>42436</c:v>
                </c:pt>
                <c:pt idx="2712">
                  <c:v>42437</c:v>
                </c:pt>
                <c:pt idx="2713">
                  <c:v>42438</c:v>
                </c:pt>
                <c:pt idx="2714">
                  <c:v>42439</c:v>
                </c:pt>
                <c:pt idx="2715">
                  <c:v>42440</c:v>
                </c:pt>
                <c:pt idx="2716">
                  <c:v>42443</c:v>
                </c:pt>
                <c:pt idx="2717">
                  <c:v>42444</c:v>
                </c:pt>
                <c:pt idx="2718">
                  <c:v>42445</c:v>
                </c:pt>
                <c:pt idx="2719">
                  <c:v>42446</c:v>
                </c:pt>
                <c:pt idx="2720">
                  <c:v>42447</c:v>
                </c:pt>
                <c:pt idx="2721">
                  <c:v>42450</c:v>
                </c:pt>
                <c:pt idx="2722">
                  <c:v>42451</c:v>
                </c:pt>
                <c:pt idx="2723">
                  <c:v>42452</c:v>
                </c:pt>
                <c:pt idx="2724">
                  <c:v>42453</c:v>
                </c:pt>
                <c:pt idx="2725">
                  <c:v>42454</c:v>
                </c:pt>
                <c:pt idx="2726">
                  <c:v>42457</c:v>
                </c:pt>
                <c:pt idx="2727">
                  <c:v>42458</c:v>
                </c:pt>
                <c:pt idx="2728">
                  <c:v>42459</c:v>
                </c:pt>
                <c:pt idx="2729">
                  <c:v>42460</c:v>
                </c:pt>
                <c:pt idx="2730">
                  <c:v>42461</c:v>
                </c:pt>
                <c:pt idx="2731">
                  <c:v>42465</c:v>
                </c:pt>
                <c:pt idx="2732">
                  <c:v>42466</c:v>
                </c:pt>
                <c:pt idx="2733">
                  <c:v>42467</c:v>
                </c:pt>
                <c:pt idx="2734">
                  <c:v>42468</c:v>
                </c:pt>
                <c:pt idx="2735">
                  <c:v>42471</c:v>
                </c:pt>
                <c:pt idx="2736">
                  <c:v>42472</c:v>
                </c:pt>
                <c:pt idx="2737">
                  <c:v>42473</c:v>
                </c:pt>
                <c:pt idx="2738">
                  <c:v>42474</c:v>
                </c:pt>
                <c:pt idx="2739">
                  <c:v>42475</c:v>
                </c:pt>
                <c:pt idx="2740">
                  <c:v>42478</c:v>
                </c:pt>
                <c:pt idx="2741">
                  <c:v>42479</c:v>
                </c:pt>
                <c:pt idx="2742">
                  <c:v>42480</c:v>
                </c:pt>
                <c:pt idx="2743">
                  <c:v>42481</c:v>
                </c:pt>
                <c:pt idx="2744">
                  <c:v>42482</c:v>
                </c:pt>
                <c:pt idx="2745">
                  <c:v>42485</c:v>
                </c:pt>
                <c:pt idx="2746">
                  <c:v>42486</c:v>
                </c:pt>
                <c:pt idx="2747">
                  <c:v>42487</c:v>
                </c:pt>
                <c:pt idx="2748">
                  <c:v>42488</c:v>
                </c:pt>
                <c:pt idx="2749">
                  <c:v>42489</c:v>
                </c:pt>
                <c:pt idx="2750">
                  <c:v>42493</c:v>
                </c:pt>
                <c:pt idx="2751">
                  <c:v>42494</c:v>
                </c:pt>
                <c:pt idx="2752">
                  <c:v>42495</c:v>
                </c:pt>
                <c:pt idx="2753">
                  <c:v>42496</c:v>
                </c:pt>
                <c:pt idx="2754">
                  <c:v>42499</c:v>
                </c:pt>
                <c:pt idx="2755">
                  <c:v>42500</c:v>
                </c:pt>
                <c:pt idx="2756">
                  <c:v>42501</c:v>
                </c:pt>
                <c:pt idx="2757">
                  <c:v>42502</c:v>
                </c:pt>
                <c:pt idx="2758">
                  <c:v>42503</c:v>
                </c:pt>
                <c:pt idx="2759">
                  <c:v>42506</c:v>
                </c:pt>
                <c:pt idx="2760">
                  <c:v>42507</c:v>
                </c:pt>
                <c:pt idx="2761">
                  <c:v>42508</c:v>
                </c:pt>
                <c:pt idx="2762">
                  <c:v>42509</c:v>
                </c:pt>
                <c:pt idx="2763">
                  <c:v>42510</c:v>
                </c:pt>
                <c:pt idx="2764">
                  <c:v>42513</c:v>
                </c:pt>
                <c:pt idx="2765">
                  <c:v>42514</c:v>
                </c:pt>
                <c:pt idx="2766">
                  <c:v>42515</c:v>
                </c:pt>
                <c:pt idx="2767">
                  <c:v>42516</c:v>
                </c:pt>
                <c:pt idx="2768">
                  <c:v>42517</c:v>
                </c:pt>
                <c:pt idx="2769">
                  <c:v>42520</c:v>
                </c:pt>
                <c:pt idx="2770">
                  <c:v>42521</c:v>
                </c:pt>
                <c:pt idx="2771">
                  <c:v>42522</c:v>
                </c:pt>
                <c:pt idx="2772">
                  <c:v>42523</c:v>
                </c:pt>
                <c:pt idx="2773">
                  <c:v>42524</c:v>
                </c:pt>
                <c:pt idx="2774">
                  <c:v>42527</c:v>
                </c:pt>
                <c:pt idx="2775">
                  <c:v>42528</c:v>
                </c:pt>
                <c:pt idx="2776">
                  <c:v>42529</c:v>
                </c:pt>
                <c:pt idx="2777">
                  <c:v>42534</c:v>
                </c:pt>
                <c:pt idx="2778">
                  <c:v>42535</c:v>
                </c:pt>
                <c:pt idx="2779">
                  <c:v>42536</c:v>
                </c:pt>
                <c:pt idx="2780">
                  <c:v>42537</c:v>
                </c:pt>
                <c:pt idx="2781">
                  <c:v>42538</c:v>
                </c:pt>
                <c:pt idx="2782">
                  <c:v>42541</c:v>
                </c:pt>
                <c:pt idx="2783">
                  <c:v>42542</c:v>
                </c:pt>
                <c:pt idx="2784">
                  <c:v>42543</c:v>
                </c:pt>
                <c:pt idx="2785">
                  <c:v>42544</c:v>
                </c:pt>
                <c:pt idx="2786">
                  <c:v>42545</c:v>
                </c:pt>
                <c:pt idx="2787">
                  <c:v>42548</c:v>
                </c:pt>
                <c:pt idx="2788">
                  <c:v>42549</c:v>
                </c:pt>
                <c:pt idx="2789">
                  <c:v>42550</c:v>
                </c:pt>
                <c:pt idx="2790">
                  <c:v>42551</c:v>
                </c:pt>
                <c:pt idx="2791">
                  <c:v>42552</c:v>
                </c:pt>
                <c:pt idx="2792">
                  <c:v>42555</c:v>
                </c:pt>
                <c:pt idx="2793">
                  <c:v>42556</c:v>
                </c:pt>
                <c:pt idx="2794">
                  <c:v>42557</c:v>
                </c:pt>
                <c:pt idx="2795">
                  <c:v>42558</c:v>
                </c:pt>
                <c:pt idx="2796">
                  <c:v>42559</c:v>
                </c:pt>
                <c:pt idx="2797">
                  <c:v>42562</c:v>
                </c:pt>
                <c:pt idx="2798">
                  <c:v>42563</c:v>
                </c:pt>
                <c:pt idx="2799">
                  <c:v>42564</c:v>
                </c:pt>
                <c:pt idx="2800">
                  <c:v>42565</c:v>
                </c:pt>
                <c:pt idx="2801">
                  <c:v>42566</c:v>
                </c:pt>
                <c:pt idx="2802">
                  <c:v>42569</c:v>
                </c:pt>
                <c:pt idx="2803">
                  <c:v>42570</c:v>
                </c:pt>
                <c:pt idx="2804">
                  <c:v>42571</c:v>
                </c:pt>
                <c:pt idx="2805">
                  <c:v>42572</c:v>
                </c:pt>
                <c:pt idx="2806">
                  <c:v>42573</c:v>
                </c:pt>
                <c:pt idx="2807">
                  <c:v>42576</c:v>
                </c:pt>
                <c:pt idx="2808">
                  <c:v>42577</c:v>
                </c:pt>
                <c:pt idx="2809">
                  <c:v>42578</c:v>
                </c:pt>
                <c:pt idx="2810">
                  <c:v>42579</c:v>
                </c:pt>
                <c:pt idx="2811">
                  <c:v>42580</c:v>
                </c:pt>
                <c:pt idx="2812">
                  <c:v>42583</c:v>
                </c:pt>
                <c:pt idx="2813">
                  <c:v>42584</c:v>
                </c:pt>
                <c:pt idx="2814">
                  <c:v>42585</c:v>
                </c:pt>
                <c:pt idx="2815">
                  <c:v>42586</c:v>
                </c:pt>
                <c:pt idx="2816">
                  <c:v>42587</c:v>
                </c:pt>
                <c:pt idx="2817">
                  <c:v>42590</c:v>
                </c:pt>
                <c:pt idx="2818">
                  <c:v>42591</c:v>
                </c:pt>
                <c:pt idx="2819">
                  <c:v>42592</c:v>
                </c:pt>
                <c:pt idx="2820">
                  <c:v>42593</c:v>
                </c:pt>
                <c:pt idx="2821">
                  <c:v>42594</c:v>
                </c:pt>
                <c:pt idx="2822">
                  <c:v>42597</c:v>
                </c:pt>
                <c:pt idx="2823">
                  <c:v>42598</c:v>
                </c:pt>
                <c:pt idx="2824">
                  <c:v>42599</c:v>
                </c:pt>
                <c:pt idx="2825">
                  <c:v>42600</c:v>
                </c:pt>
                <c:pt idx="2826">
                  <c:v>42601</c:v>
                </c:pt>
                <c:pt idx="2827">
                  <c:v>42604</c:v>
                </c:pt>
                <c:pt idx="2828">
                  <c:v>42605</c:v>
                </c:pt>
                <c:pt idx="2829">
                  <c:v>42606</c:v>
                </c:pt>
                <c:pt idx="2830">
                  <c:v>42607</c:v>
                </c:pt>
                <c:pt idx="2831">
                  <c:v>42608</c:v>
                </c:pt>
                <c:pt idx="2832">
                  <c:v>42611</c:v>
                </c:pt>
                <c:pt idx="2833">
                  <c:v>42612</c:v>
                </c:pt>
                <c:pt idx="2834">
                  <c:v>42613</c:v>
                </c:pt>
                <c:pt idx="2835">
                  <c:v>42614</c:v>
                </c:pt>
                <c:pt idx="2836">
                  <c:v>42615</c:v>
                </c:pt>
                <c:pt idx="2837">
                  <c:v>42618</c:v>
                </c:pt>
                <c:pt idx="2838">
                  <c:v>42619</c:v>
                </c:pt>
                <c:pt idx="2839">
                  <c:v>42620</c:v>
                </c:pt>
                <c:pt idx="2840">
                  <c:v>42621</c:v>
                </c:pt>
                <c:pt idx="2841">
                  <c:v>42622</c:v>
                </c:pt>
                <c:pt idx="2842">
                  <c:v>42625</c:v>
                </c:pt>
                <c:pt idx="2843">
                  <c:v>42626</c:v>
                </c:pt>
                <c:pt idx="2844">
                  <c:v>42627</c:v>
                </c:pt>
                <c:pt idx="2845">
                  <c:v>42632</c:v>
                </c:pt>
                <c:pt idx="2846">
                  <c:v>42633</c:v>
                </c:pt>
                <c:pt idx="2847">
                  <c:v>42634</c:v>
                </c:pt>
                <c:pt idx="2848">
                  <c:v>42635</c:v>
                </c:pt>
                <c:pt idx="2849">
                  <c:v>42636</c:v>
                </c:pt>
                <c:pt idx="2850">
                  <c:v>42639</c:v>
                </c:pt>
                <c:pt idx="2851">
                  <c:v>42640</c:v>
                </c:pt>
                <c:pt idx="2852">
                  <c:v>42641</c:v>
                </c:pt>
                <c:pt idx="2853">
                  <c:v>42642</c:v>
                </c:pt>
                <c:pt idx="2854">
                  <c:v>42643</c:v>
                </c:pt>
                <c:pt idx="2855">
                  <c:v>42653</c:v>
                </c:pt>
                <c:pt idx="2856">
                  <c:v>42654</c:v>
                </c:pt>
                <c:pt idx="2857">
                  <c:v>42655</c:v>
                </c:pt>
                <c:pt idx="2858">
                  <c:v>42656</c:v>
                </c:pt>
                <c:pt idx="2859">
                  <c:v>42657</c:v>
                </c:pt>
                <c:pt idx="2860">
                  <c:v>42660</c:v>
                </c:pt>
                <c:pt idx="2861">
                  <c:v>42661</c:v>
                </c:pt>
                <c:pt idx="2862">
                  <c:v>42662</c:v>
                </c:pt>
                <c:pt idx="2863">
                  <c:v>42663</c:v>
                </c:pt>
                <c:pt idx="2864">
                  <c:v>42664</c:v>
                </c:pt>
                <c:pt idx="2865">
                  <c:v>42667</c:v>
                </c:pt>
                <c:pt idx="2866">
                  <c:v>42668</c:v>
                </c:pt>
                <c:pt idx="2867">
                  <c:v>42669</c:v>
                </c:pt>
                <c:pt idx="2868">
                  <c:v>42670</c:v>
                </c:pt>
                <c:pt idx="2869">
                  <c:v>42671</c:v>
                </c:pt>
                <c:pt idx="2870">
                  <c:v>42674</c:v>
                </c:pt>
                <c:pt idx="2871">
                  <c:v>42675</c:v>
                </c:pt>
                <c:pt idx="2872">
                  <c:v>42676</c:v>
                </c:pt>
                <c:pt idx="2873">
                  <c:v>42677</c:v>
                </c:pt>
                <c:pt idx="2874">
                  <c:v>42678</c:v>
                </c:pt>
                <c:pt idx="2875">
                  <c:v>42681</c:v>
                </c:pt>
                <c:pt idx="2876">
                  <c:v>42682</c:v>
                </c:pt>
                <c:pt idx="2877">
                  <c:v>42683</c:v>
                </c:pt>
                <c:pt idx="2878">
                  <c:v>42684</c:v>
                </c:pt>
                <c:pt idx="2879">
                  <c:v>42685</c:v>
                </c:pt>
                <c:pt idx="2880">
                  <c:v>42688</c:v>
                </c:pt>
                <c:pt idx="2881">
                  <c:v>42689</c:v>
                </c:pt>
                <c:pt idx="2882">
                  <c:v>42690</c:v>
                </c:pt>
                <c:pt idx="2883">
                  <c:v>42691</c:v>
                </c:pt>
                <c:pt idx="2884">
                  <c:v>42692</c:v>
                </c:pt>
                <c:pt idx="2885">
                  <c:v>42695</c:v>
                </c:pt>
                <c:pt idx="2886">
                  <c:v>42696</c:v>
                </c:pt>
                <c:pt idx="2887">
                  <c:v>42697</c:v>
                </c:pt>
                <c:pt idx="2888">
                  <c:v>42698</c:v>
                </c:pt>
                <c:pt idx="2889">
                  <c:v>42699</c:v>
                </c:pt>
                <c:pt idx="2890">
                  <c:v>42702</c:v>
                </c:pt>
                <c:pt idx="2891">
                  <c:v>42703</c:v>
                </c:pt>
                <c:pt idx="2892">
                  <c:v>42704</c:v>
                </c:pt>
                <c:pt idx="2893">
                  <c:v>42705</c:v>
                </c:pt>
                <c:pt idx="2894">
                  <c:v>42706</c:v>
                </c:pt>
                <c:pt idx="2895">
                  <c:v>42709</c:v>
                </c:pt>
                <c:pt idx="2896">
                  <c:v>42710</c:v>
                </c:pt>
                <c:pt idx="2897">
                  <c:v>42711</c:v>
                </c:pt>
                <c:pt idx="2898">
                  <c:v>42712</c:v>
                </c:pt>
                <c:pt idx="2899">
                  <c:v>42713</c:v>
                </c:pt>
                <c:pt idx="2900">
                  <c:v>42716</c:v>
                </c:pt>
                <c:pt idx="2901">
                  <c:v>42717</c:v>
                </c:pt>
                <c:pt idx="2902">
                  <c:v>42718</c:v>
                </c:pt>
                <c:pt idx="2903">
                  <c:v>42719</c:v>
                </c:pt>
                <c:pt idx="2904">
                  <c:v>42720</c:v>
                </c:pt>
                <c:pt idx="2905">
                  <c:v>42723</c:v>
                </c:pt>
                <c:pt idx="2906">
                  <c:v>42724</c:v>
                </c:pt>
                <c:pt idx="2907">
                  <c:v>42725</c:v>
                </c:pt>
                <c:pt idx="2908">
                  <c:v>42726</c:v>
                </c:pt>
                <c:pt idx="2909">
                  <c:v>42727</c:v>
                </c:pt>
                <c:pt idx="2910">
                  <c:v>42730</c:v>
                </c:pt>
                <c:pt idx="2911">
                  <c:v>42731</c:v>
                </c:pt>
                <c:pt idx="2912">
                  <c:v>42732</c:v>
                </c:pt>
                <c:pt idx="2913">
                  <c:v>42733</c:v>
                </c:pt>
                <c:pt idx="2914">
                  <c:v>42734</c:v>
                </c:pt>
                <c:pt idx="2915">
                  <c:v>42738</c:v>
                </c:pt>
                <c:pt idx="2916">
                  <c:v>42739</c:v>
                </c:pt>
                <c:pt idx="2917">
                  <c:v>42740</c:v>
                </c:pt>
                <c:pt idx="2918">
                  <c:v>42741</c:v>
                </c:pt>
                <c:pt idx="2919">
                  <c:v>42744</c:v>
                </c:pt>
                <c:pt idx="2920">
                  <c:v>42745</c:v>
                </c:pt>
                <c:pt idx="2921">
                  <c:v>42746</c:v>
                </c:pt>
                <c:pt idx="2922">
                  <c:v>42747</c:v>
                </c:pt>
                <c:pt idx="2923">
                  <c:v>42748</c:v>
                </c:pt>
                <c:pt idx="2924">
                  <c:v>42751</c:v>
                </c:pt>
                <c:pt idx="2925">
                  <c:v>42752</c:v>
                </c:pt>
                <c:pt idx="2926">
                  <c:v>42753</c:v>
                </c:pt>
                <c:pt idx="2927">
                  <c:v>42754</c:v>
                </c:pt>
                <c:pt idx="2928">
                  <c:v>42755</c:v>
                </c:pt>
                <c:pt idx="2929">
                  <c:v>42758</c:v>
                </c:pt>
                <c:pt idx="2930">
                  <c:v>42759</c:v>
                </c:pt>
                <c:pt idx="2931">
                  <c:v>42760</c:v>
                </c:pt>
                <c:pt idx="2932">
                  <c:v>42761</c:v>
                </c:pt>
                <c:pt idx="2933">
                  <c:v>42769</c:v>
                </c:pt>
                <c:pt idx="2934">
                  <c:v>42772</c:v>
                </c:pt>
                <c:pt idx="2935">
                  <c:v>42773</c:v>
                </c:pt>
                <c:pt idx="2936">
                  <c:v>42774</c:v>
                </c:pt>
                <c:pt idx="2937">
                  <c:v>42775</c:v>
                </c:pt>
                <c:pt idx="2938">
                  <c:v>42776</c:v>
                </c:pt>
                <c:pt idx="2939">
                  <c:v>42779</c:v>
                </c:pt>
                <c:pt idx="2940">
                  <c:v>42780</c:v>
                </c:pt>
                <c:pt idx="2941">
                  <c:v>42781</c:v>
                </c:pt>
                <c:pt idx="2942">
                  <c:v>42782</c:v>
                </c:pt>
                <c:pt idx="2943">
                  <c:v>42783</c:v>
                </c:pt>
                <c:pt idx="2944">
                  <c:v>42786</c:v>
                </c:pt>
                <c:pt idx="2945">
                  <c:v>42787</c:v>
                </c:pt>
                <c:pt idx="2946">
                  <c:v>42788</c:v>
                </c:pt>
                <c:pt idx="2947">
                  <c:v>42789</c:v>
                </c:pt>
                <c:pt idx="2948">
                  <c:v>42790</c:v>
                </c:pt>
                <c:pt idx="2949">
                  <c:v>42793</c:v>
                </c:pt>
                <c:pt idx="2950">
                  <c:v>42794</c:v>
                </c:pt>
                <c:pt idx="2951">
                  <c:v>42795</c:v>
                </c:pt>
                <c:pt idx="2952">
                  <c:v>42796</c:v>
                </c:pt>
                <c:pt idx="2953">
                  <c:v>42797</c:v>
                </c:pt>
                <c:pt idx="2954">
                  <c:v>42800</c:v>
                </c:pt>
                <c:pt idx="2955">
                  <c:v>42801</c:v>
                </c:pt>
                <c:pt idx="2956">
                  <c:v>42802</c:v>
                </c:pt>
                <c:pt idx="2957">
                  <c:v>42803</c:v>
                </c:pt>
                <c:pt idx="2958">
                  <c:v>42804</c:v>
                </c:pt>
                <c:pt idx="2959">
                  <c:v>42807</c:v>
                </c:pt>
                <c:pt idx="2960">
                  <c:v>42808</c:v>
                </c:pt>
                <c:pt idx="2961">
                  <c:v>42809</c:v>
                </c:pt>
                <c:pt idx="2962">
                  <c:v>42810</c:v>
                </c:pt>
                <c:pt idx="2963">
                  <c:v>42811</c:v>
                </c:pt>
                <c:pt idx="2964">
                  <c:v>42814</c:v>
                </c:pt>
                <c:pt idx="2965">
                  <c:v>42815</c:v>
                </c:pt>
                <c:pt idx="2966">
                  <c:v>42816</c:v>
                </c:pt>
                <c:pt idx="2967">
                  <c:v>42817</c:v>
                </c:pt>
                <c:pt idx="2968">
                  <c:v>42818</c:v>
                </c:pt>
                <c:pt idx="2969">
                  <c:v>42821</c:v>
                </c:pt>
                <c:pt idx="2970">
                  <c:v>42822</c:v>
                </c:pt>
                <c:pt idx="2971">
                  <c:v>42823</c:v>
                </c:pt>
                <c:pt idx="2972">
                  <c:v>42824</c:v>
                </c:pt>
                <c:pt idx="2973">
                  <c:v>42825</c:v>
                </c:pt>
                <c:pt idx="2974">
                  <c:v>42830</c:v>
                </c:pt>
                <c:pt idx="2975">
                  <c:v>42831</c:v>
                </c:pt>
                <c:pt idx="2976">
                  <c:v>42832</c:v>
                </c:pt>
                <c:pt idx="2977">
                  <c:v>42835</c:v>
                </c:pt>
                <c:pt idx="2978">
                  <c:v>42836</c:v>
                </c:pt>
                <c:pt idx="2979">
                  <c:v>42837</c:v>
                </c:pt>
                <c:pt idx="2980">
                  <c:v>42838</c:v>
                </c:pt>
                <c:pt idx="2981">
                  <c:v>42839</c:v>
                </c:pt>
                <c:pt idx="2982">
                  <c:v>42842</c:v>
                </c:pt>
                <c:pt idx="2983">
                  <c:v>42843</c:v>
                </c:pt>
                <c:pt idx="2984">
                  <c:v>42844</c:v>
                </c:pt>
                <c:pt idx="2985">
                  <c:v>42845</c:v>
                </c:pt>
                <c:pt idx="2986">
                  <c:v>42846</c:v>
                </c:pt>
                <c:pt idx="2987">
                  <c:v>42849</c:v>
                </c:pt>
                <c:pt idx="2988">
                  <c:v>42850</c:v>
                </c:pt>
                <c:pt idx="2989">
                  <c:v>42851</c:v>
                </c:pt>
                <c:pt idx="2990">
                  <c:v>42852</c:v>
                </c:pt>
                <c:pt idx="2991">
                  <c:v>42853</c:v>
                </c:pt>
                <c:pt idx="2992">
                  <c:v>42857</c:v>
                </c:pt>
                <c:pt idx="2993">
                  <c:v>42858</c:v>
                </c:pt>
                <c:pt idx="2994">
                  <c:v>42859</c:v>
                </c:pt>
                <c:pt idx="2995">
                  <c:v>42860</c:v>
                </c:pt>
                <c:pt idx="2996">
                  <c:v>42863</c:v>
                </c:pt>
                <c:pt idx="2997">
                  <c:v>42864</c:v>
                </c:pt>
                <c:pt idx="2998">
                  <c:v>42865</c:v>
                </c:pt>
                <c:pt idx="2999">
                  <c:v>42866</c:v>
                </c:pt>
                <c:pt idx="3000">
                  <c:v>42867</c:v>
                </c:pt>
                <c:pt idx="3001">
                  <c:v>42870</c:v>
                </c:pt>
                <c:pt idx="3002">
                  <c:v>42871</c:v>
                </c:pt>
                <c:pt idx="3003">
                  <c:v>42872</c:v>
                </c:pt>
                <c:pt idx="3004">
                  <c:v>42873</c:v>
                </c:pt>
                <c:pt idx="3005">
                  <c:v>42874</c:v>
                </c:pt>
                <c:pt idx="3006">
                  <c:v>42877</c:v>
                </c:pt>
                <c:pt idx="3007">
                  <c:v>42878</c:v>
                </c:pt>
                <c:pt idx="3008">
                  <c:v>42879</c:v>
                </c:pt>
                <c:pt idx="3009">
                  <c:v>42880</c:v>
                </c:pt>
                <c:pt idx="3010">
                  <c:v>42881</c:v>
                </c:pt>
                <c:pt idx="3011">
                  <c:v>42886</c:v>
                </c:pt>
                <c:pt idx="3012">
                  <c:v>42887</c:v>
                </c:pt>
                <c:pt idx="3013">
                  <c:v>42888</c:v>
                </c:pt>
                <c:pt idx="3014">
                  <c:v>42891</c:v>
                </c:pt>
                <c:pt idx="3015">
                  <c:v>42892</c:v>
                </c:pt>
                <c:pt idx="3016">
                  <c:v>42893</c:v>
                </c:pt>
                <c:pt idx="3017">
                  <c:v>42894</c:v>
                </c:pt>
                <c:pt idx="3018">
                  <c:v>42895</c:v>
                </c:pt>
                <c:pt idx="3019">
                  <c:v>42898</c:v>
                </c:pt>
                <c:pt idx="3020">
                  <c:v>42899</c:v>
                </c:pt>
                <c:pt idx="3021">
                  <c:v>42900</c:v>
                </c:pt>
                <c:pt idx="3022">
                  <c:v>42901</c:v>
                </c:pt>
                <c:pt idx="3023">
                  <c:v>42902</c:v>
                </c:pt>
                <c:pt idx="3024">
                  <c:v>42905</c:v>
                </c:pt>
                <c:pt idx="3025">
                  <c:v>42906</c:v>
                </c:pt>
                <c:pt idx="3026">
                  <c:v>42907</c:v>
                </c:pt>
                <c:pt idx="3027">
                  <c:v>42908</c:v>
                </c:pt>
                <c:pt idx="3028">
                  <c:v>42909</c:v>
                </c:pt>
                <c:pt idx="3029">
                  <c:v>42912</c:v>
                </c:pt>
                <c:pt idx="3030">
                  <c:v>42913</c:v>
                </c:pt>
                <c:pt idx="3031">
                  <c:v>42914</c:v>
                </c:pt>
                <c:pt idx="3032">
                  <c:v>42915</c:v>
                </c:pt>
                <c:pt idx="3033">
                  <c:v>42916</c:v>
                </c:pt>
                <c:pt idx="3034">
                  <c:v>42919</c:v>
                </c:pt>
                <c:pt idx="3035">
                  <c:v>42920</c:v>
                </c:pt>
                <c:pt idx="3036">
                  <c:v>42921</c:v>
                </c:pt>
                <c:pt idx="3037">
                  <c:v>42922</c:v>
                </c:pt>
                <c:pt idx="3038">
                  <c:v>42923</c:v>
                </c:pt>
                <c:pt idx="3039">
                  <c:v>42926</c:v>
                </c:pt>
                <c:pt idx="3040">
                  <c:v>42927</c:v>
                </c:pt>
                <c:pt idx="3041">
                  <c:v>42928</c:v>
                </c:pt>
                <c:pt idx="3042">
                  <c:v>42929</c:v>
                </c:pt>
                <c:pt idx="3043">
                  <c:v>42930</c:v>
                </c:pt>
                <c:pt idx="3044">
                  <c:v>42933</c:v>
                </c:pt>
                <c:pt idx="3045">
                  <c:v>42934</c:v>
                </c:pt>
                <c:pt idx="3046">
                  <c:v>42935</c:v>
                </c:pt>
                <c:pt idx="3047">
                  <c:v>42936</c:v>
                </c:pt>
                <c:pt idx="3048">
                  <c:v>42937</c:v>
                </c:pt>
                <c:pt idx="3049">
                  <c:v>42940</c:v>
                </c:pt>
                <c:pt idx="3050">
                  <c:v>42941</c:v>
                </c:pt>
                <c:pt idx="3051">
                  <c:v>42942</c:v>
                </c:pt>
                <c:pt idx="3052">
                  <c:v>42943</c:v>
                </c:pt>
                <c:pt idx="3053">
                  <c:v>42944</c:v>
                </c:pt>
                <c:pt idx="3054">
                  <c:v>42947</c:v>
                </c:pt>
                <c:pt idx="3055">
                  <c:v>42948</c:v>
                </c:pt>
                <c:pt idx="3056">
                  <c:v>42949</c:v>
                </c:pt>
                <c:pt idx="3057">
                  <c:v>42950</c:v>
                </c:pt>
                <c:pt idx="3058">
                  <c:v>42951</c:v>
                </c:pt>
                <c:pt idx="3059">
                  <c:v>42954</c:v>
                </c:pt>
                <c:pt idx="3060">
                  <c:v>42955</c:v>
                </c:pt>
                <c:pt idx="3061">
                  <c:v>42956</c:v>
                </c:pt>
                <c:pt idx="3062">
                  <c:v>42957</c:v>
                </c:pt>
                <c:pt idx="3063">
                  <c:v>42958</c:v>
                </c:pt>
                <c:pt idx="3064">
                  <c:v>42961</c:v>
                </c:pt>
                <c:pt idx="3065">
                  <c:v>42962</c:v>
                </c:pt>
                <c:pt idx="3066">
                  <c:v>42963</c:v>
                </c:pt>
                <c:pt idx="3067">
                  <c:v>42964</c:v>
                </c:pt>
                <c:pt idx="3068">
                  <c:v>42965</c:v>
                </c:pt>
                <c:pt idx="3069">
                  <c:v>42968</c:v>
                </c:pt>
                <c:pt idx="3070">
                  <c:v>42969</c:v>
                </c:pt>
                <c:pt idx="3071">
                  <c:v>42970</c:v>
                </c:pt>
                <c:pt idx="3072">
                  <c:v>42971</c:v>
                </c:pt>
                <c:pt idx="3073">
                  <c:v>42972</c:v>
                </c:pt>
                <c:pt idx="3074">
                  <c:v>42975</c:v>
                </c:pt>
                <c:pt idx="3075">
                  <c:v>42976</c:v>
                </c:pt>
                <c:pt idx="3076">
                  <c:v>42977</c:v>
                </c:pt>
                <c:pt idx="3077">
                  <c:v>42978</c:v>
                </c:pt>
                <c:pt idx="3078">
                  <c:v>42979</c:v>
                </c:pt>
                <c:pt idx="3079">
                  <c:v>42982</c:v>
                </c:pt>
                <c:pt idx="3080">
                  <c:v>42983</c:v>
                </c:pt>
                <c:pt idx="3081">
                  <c:v>42984</c:v>
                </c:pt>
                <c:pt idx="3082">
                  <c:v>42985</c:v>
                </c:pt>
                <c:pt idx="3083">
                  <c:v>42986</c:v>
                </c:pt>
                <c:pt idx="3084">
                  <c:v>42989</c:v>
                </c:pt>
                <c:pt idx="3085">
                  <c:v>42990</c:v>
                </c:pt>
                <c:pt idx="3086">
                  <c:v>42991</c:v>
                </c:pt>
                <c:pt idx="3087">
                  <c:v>42992</c:v>
                </c:pt>
                <c:pt idx="3088">
                  <c:v>42993</c:v>
                </c:pt>
                <c:pt idx="3089">
                  <c:v>42996</c:v>
                </c:pt>
                <c:pt idx="3090">
                  <c:v>42997</c:v>
                </c:pt>
                <c:pt idx="3091">
                  <c:v>42998</c:v>
                </c:pt>
                <c:pt idx="3092">
                  <c:v>42999</c:v>
                </c:pt>
                <c:pt idx="3093">
                  <c:v>43000</c:v>
                </c:pt>
                <c:pt idx="3094">
                  <c:v>43003</c:v>
                </c:pt>
                <c:pt idx="3095">
                  <c:v>43004</c:v>
                </c:pt>
                <c:pt idx="3096">
                  <c:v>43005</c:v>
                </c:pt>
                <c:pt idx="3097">
                  <c:v>43006</c:v>
                </c:pt>
                <c:pt idx="3098">
                  <c:v>43007</c:v>
                </c:pt>
                <c:pt idx="3099">
                  <c:v>43017</c:v>
                </c:pt>
                <c:pt idx="3100">
                  <c:v>43018</c:v>
                </c:pt>
                <c:pt idx="3101">
                  <c:v>43019</c:v>
                </c:pt>
                <c:pt idx="3102">
                  <c:v>43020</c:v>
                </c:pt>
                <c:pt idx="3103">
                  <c:v>43021</c:v>
                </c:pt>
                <c:pt idx="3104">
                  <c:v>43024</c:v>
                </c:pt>
                <c:pt idx="3105">
                  <c:v>43025</c:v>
                </c:pt>
                <c:pt idx="3106">
                  <c:v>43026</c:v>
                </c:pt>
                <c:pt idx="3107">
                  <c:v>43027</c:v>
                </c:pt>
                <c:pt idx="3108">
                  <c:v>43028</c:v>
                </c:pt>
                <c:pt idx="3109">
                  <c:v>43031</c:v>
                </c:pt>
                <c:pt idx="3110">
                  <c:v>43032</c:v>
                </c:pt>
                <c:pt idx="3111">
                  <c:v>43033</c:v>
                </c:pt>
                <c:pt idx="3112">
                  <c:v>43034</c:v>
                </c:pt>
                <c:pt idx="3113">
                  <c:v>43035</c:v>
                </c:pt>
                <c:pt idx="3114">
                  <c:v>43038</c:v>
                </c:pt>
                <c:pt idx="3115">
                  <c:v>43039</c:v>
                </c:pt>
                <c:pt idx="3116">
                  <c:v>43040</c:v>
                </c:pt>
                <c:pt idx="3117">
                  <c:v>43041</c:v>
                </c:pt>
                <c:pt idx="3118">
                  <c:v>43042</c:v>
                </c:pt>
                <c:pt idx="3119">
                  <c:v>43045</c:v>
                </c:pt>
                <c:pt idx="3120">
                  <c:v>43046</c:v>
                </c:pt>
                <c:pt idx="3121">
                  <c:v>43047</c:v>
                </c:pt>
                <c:pt idx="3122">
                  <c:v>43048</c:v>
                </c:pt>
                <c:pt idx="3123">
                  <c:v>43049</c:v>
                </c:pt>
                <c:pt idx="3124">
                  <c:v>43052</c:v>
                </c:pt>
                <c:pt idx="3125">
                  <c:v>43053</c:v>
                </c:pt>
                <c:pt idx="3126">
                  <c:v>43054</c:v>
                </c:pt>
                <c:pt idx="3127">
                  <c:v>43055</c:v>
                </c:pt>
                <c:pt idx="3128">
                  <c:v>43056</c:v>
                </c:pt>
                <c:pt idx="3129">
                  <c:v>43059</c:v>
                </c:pt>
                <c:pt idx="3130">
                  <c:v>43060</c:v>
                </c:pt>
                <c:pt idx="3131">
                  <c:v>43061</c:v>
                </c:pt>
                <c:pt idx="3132">
                  <c:v>43062</c:v>
                </c:pt>
                <c:pt idx="3133">
                  <c:v>43063</c:v>
                </c:pt>
                <c:pt idx="3134">
                  <c:v>43066</c:v>
                </c:pt>
                <c:pt idx="3135">
                  <c:v>43067</c:v>
                </c:pt>
                <c:pt idx="3136">
                  <c:v>43068</c:v>
                </c:pt>
                <c:pt idx="3137">
                  <c:v>43069</c:v>
                </c:pt>
                <c:pt idx="3138">
                  <c:v>43070</c:v>
                </c:pt>
                <c:pt idx="3139">
                  <c:v>43073</c:v>
                </c:pt>
                <c:pt idx="3140">
                  <c:v>43074</c:v>
                </c:pt>
                <c:pt idx="3141">
                  <c:v>43075</c:v>
                </c:pt>
                <c:pt idx="3142">
                  <c:v>43076</c:v>
                </c:pt>
                <c:pt idx="3143">
                  <c:v>43077</c:v>
                </c:pt>
                <c:pt idx="3144">
                  <c:v>43080</c:v>
                </c:pt>
                <c:pt idx="3145">
                  <c:v>43081</c:v>
                </c:pt>
                <c:pt idx="3146">
                  <c:v>43082</c:v>
                </c:pt>
                <c:pt idx="3147">
                  <c:v>43083</c:v>
                </c:pt>
                <c:pt idx="3148">
                  <c:v>43084</c:v>
                </c:pt>
                <c:pt idx="3149">
                  <c:v>43087</c:v>
                </c:pt>
                <c:pt idx="3150">
                  <c:v>43088</c:v>
                </c:pt>
                <c:pt idx="3151">
                  <c:v>43089</c:v>
                </c:pt>
                <c:pt idx="3152">
                  <c:v>43090</c:v>
                </c:pt>
                <c:pt idx="3153">
                  <c:v>43091</c:v>
                </c:pt>
                <c:pt idx="3154">
                  <c:v>43094</c:v>
                </c:pt>
                <c:pt idx="3155">
                  <c:v>43095</c:v>
                </c:pt>
                <c:pt idx="3156">
                  <c:v>43096</c:v>
                </c:pt>
                <c:pt idx="3157">
                  <c:v>43097</c:v>
                </c:pt>
                <c:pt idx="3158">
                  <c:v>43098</c:v>
                </c:pt>
                <c:pt idx="3159">
                  <c:v>43102</c:v>
                </c:pt>
                <c:pt idx="3160">
                  <c:v>43103</c:v>
                </c:pt>
                <c:pt idx="3161">
                  <c:v>43104</c:v>
                </c:pt>
                <c:pt idx="3162">
                  <c:v>43105</c:v>
                </c:pt>
                <c:pt idx="3163">
                  <c:v>43108</c:v>
                </c:pt>
                <c:pt idx="3164">
                  <c:v>43109</c:v>
                </c:pt>
                <c:pt idx="3165">
                  <c:v>43110</c:v>
                </c:pt>
                <c:pt idx="3166">
                  <c:v>43111</c:v>
                </c:pt>
                <c:pt idx="3167">
                  <c:v>43112</c:v>
                </c:pt>
                <c:pt idx="3168">
                  <c:v>43115</c:v>
                </c:pt>
                <c:pt idx="3169">
                  <c:v>43116</c:v>
                </c:pt>
                <c:pt idx="3170">
                  <c:v>43117</c:v>
                </c:pt>
                <c:pt idx="3171">
                  <c:v>43118</c:v>
                </c:pt>
                <c:pt idx="3172">
                  <c:v>43119</c:v>
                </c:pt>
                <c:pt idx="3173">
                  <c:v>43122</c:v>
                </c:pt>
                <c:pt idx="3174">
                  <c:v>43123</c:v>
                </c:pt>
                <c:pt idx="3175">
                  <c:v>43124</c:v>
                </c:pt>
                <c:pt idx="3176">
                  <c:v>43125</c:v>
                </c:pt>
                <c:pt idx="3177">
                  <c:v>43126</c:v>
                </c:pt>
                <c:pt idx="3178">
                  <c:v>43129</c:v>
                </c:pt>
                <c:pt idx="3179">
                  <c:v>43130</c:v>
                </c:pt>
                <c:pt idx="3180">
                  <c:v>43131</c:v>
                </c:pt>
                <c:pt idx="3181">
                  <c:v>43132</c:v>
                </c:pt>
                <c:pt idx="3182">
                  <c:v>43133</c:v>
                </c:pt>
                <c:pt idx="3183">
                  <c:v>43136</c:v>
                </c:pt>
                <c:pt idx="3184">
                  <c:v>43137</c:v>
                </c:pt>
                <c:pt idx="3185">
                  <c:v>43138</c:v>
                </c:pt>
                <c:pt idx="3186">
                  <c:v>43139</c:v>
                </c:pt>
                <c:pt idx="3187">
                  <c:v>43140</c:v>
                </c:pt>
                <c:pt idx="3188">
                  <c:v>43143</c:v>
                </c:pt>
                <c:pt idx="3189">
                  <c:v>43144</c:v>
                </c:pt>
                <c:pt idx="3190">
                  <c:v>43145</c:v>
                </c:pt>
                <c:pt idx="3191">
                  <c:v>43153</c:v>
                </c:pt>
                <c:pt idx="3192">
                  <c:v>43154</c:v>
                </c:pt>
                <c:pt idx="3193">
                  <c:v>43157</c:v>
                </c:pt>
                <c:pt idx="3194">
                  <c:v>43158</c:v>
                </c:pt>
                <c:pt idx="3195">
                  <c:v>43159</c:v>
                </c:pt>
                <c:pt idx="3196">
                  <c:v>43160</c:v>
                </c:pt>
                <c:pt idx="3197">
                  <c:v>43161</c:v>
                </c:pt>
                <c:pt idx="3198">
                  <c:v>43164</c:v>
                </c:pt>
                <c:pt idx="3199">
                  <c:v>43165</c:v>
                </c:pt>
                <c:pt idx="3200">
                  <c:v>43166</c:v>
                </c:pt>
                <c:pt idx="3201">
                  <c:v>43167</c:v>
                </c:pt>
                <c:pt idx="3202">
                  <c:v>43168</c:v>
                </c:pt>
                <c:pt idx="3203">
                  <c:v>43171</c:v>
                </c:pt>
                <c:pt idx="3204">
                  <c:v>43172</c:v>
                </c:pt>
                <c:pt idx="3205">
                  <c:v>43173</c:v>
                </c:pt>
                <c:pt idx="3206">
                  <c:v>43174</c:v>
                </c:pt>
                <c:pt idx="3207">
                  <c:v>43175</c:v>
                </c:pt>
                <c:pt idx="3208">
                  <c:v>43178</c:v>
                </c:pt>
                <c:pt idx="3209">
                  <c:v>43179</c:v>
                </c:pt>
                <c:pt idx="3210">
                  <c:v>43180</c:v>
                </c:pt>
                <c:pt idx="3211">
                  <c:v>43181</c:v>
                </c:pt>
                <c:pt idx="3212">
                  <c:v>43182</c:v>
                </c:pt>
                <c:pt idx="3213">
                  <c:v>43185</c:v>
                </c:pt>
                <c:pt idx="3214">
                  <c:v>43186</c:v>
                </c:pt>
                <c:pt idx="3215">
                  <c:v>43187</c:v>
                </c:pt>
                <c:pt idx="3216">
                  <c:v>43188</c:v>
                </c:pt>
                <c:pt idx="3217">
                  <c:v>43189</c:v>
                </c:pt>
                <c:pt idx="3218">
                  <c:v>43192</c:v>
                </c:pt>
                <c:pt idx="3219">
                  <c:v>43193</c:v>
                </c:pt>
                <c:pt idx="3220">
                  <c:v>43194</c:v>
                </c:pt>
                <c:pt idx="3221">
                  <c:v>43199</c:v>
                </c:pt>
                <c:pt idx="3222">
                  <c:v>43200</c:v>
                </c:pt>
                <c:pt idx="3223">
                  <c:v>43201</c:v>
                </c:pt>
                <c:pt idx="3224">
                  <c:v>43202</c:v>
                </c:pt>
                <c:pt idx="3225">
                  <c:v>43203</c:v>
                </c:pt>
                <c:pt idx="3226">
                  <c:v>43206</c:v>
                </c:pt>
                <c:pt idx="3227">
                  <c:v>43207</c:v>
                </c:pt>
                <c:pt idx="3228">
                  <c:v>43208</c:v>
                </c:pt>
                <c:pt idx="3229">
                  <c:v>43209</c:v>
                </c:pt>
                <c:pt idx="3230">
                  <c:v>43210</c:v>
                </c:pt>
                <c:pt idx="3231">
                  <c:v>43213</c:v>
                </c:pt>
                <c:pt idx="3232">
                  <c:v>43214</c:v>
                </c:pt>
                <c:pt idx="3233">
                  <c:v>43215</c:v>
                </c:pt>
                <c:pt idx="3234">
                  <c:v>43216</c:v>
                </c:pt>
                <c:pt idx="3235">
                  <c:v>43217</c:v>
                </c:pt>
                <c:pt idx="3236">
                  <c:v>43222</c:v>
                </c:pt>
                <c:pt idx="3237">
                  <c:v>43223</c:v>
                </c:pt>
                <c:pt idx="3238">
                  <c:v>43224</c:v>
                </c:pt>
                <c:pt idx="3239">
                  <c:v>43227</c:v>
                </c:pt>
                <c:pt idx="3240">
                  <c:v>43228</c:v>
                </c:pt>
                <c:pt idx="3241">
                  <c:v>43229</c:v>
                </c:pt>
                <c:pt idx="3242">
                  <c:v>43230</c:v>
                </c:pt>
                <c:pt idx="3243">
                  <c:v>43231</c:v>
                </c:pt>
                <c:pt idx="3244">
                  <c:v>43234</c:v>
                </c:pt>
                <c:pt idx="3245">
                  <c:v>43235</c:v>
                </c:pt>
                <c:pt idx="3246">
                  <c:v>43236</c:v>
                </c:pt>
                <c:pt idx="3247">
                  <c:v>43237</c:v>
                </c:pt>
                <c:pt idx="3248">
                  <c:v>43238</c:v>
                </c:pt>
                <c:pt idx="3249">
                  <c:v>43241</c:v>
                </c:pt>
                <c:pt idx="3250">
                  <c:v>43242</c:v>
                </c:pt>
                <c:pt idx="3251">
                  <c:v>43243</c:v>
                </c:pt>
                <c:pt idx="3252">
                  <c:v>43244</c:v>
                </c:pt>
                <c:pt idx="3253">
                  <c:v>43245</c:v>
                </c:pt>
                <c:pt idx="3254">
                  <c:v>43248</c:v>
                </c:pt>
                <c:pt idx="3255">
                  <c:v>43249</c:v>
                </c:pt>
                <c:pt idx="3256">
                  <c:v>43250</c:v>
                </c:pt>
                <c:pt idx="3257">
                  <c:v>43251</c:v>
                </c:pt>
                <c:pt idx="3258">
                  <c:v>43252</c:v>
                </c:pt>
                <c:pt idx="3259">
                  <c:v>43255</c:v>
                </c:pt>
                <c:pt idx="3260">
                  <c:v>43256</c:v>
                </c:pt>
                <c:pt idx="3261">
                  <c:v>43257</c:v>
                </c:pt>
                <c:pt idx="3262">
                  <c:v>43258</c:v>
                </c:pt>
                <c:pt idx="3263">
                  <c:v>43259</c:v>
                </c:pt>
                <c:pt idx="3264">
                  <c:v>43262</c:v>
                </c:pt>
                <c:pt idx="3265">
                  <c:v>43263</c:v>
                </c:pt>
                <c:pt idx="3266">
                  <c:v>43264</c:v>
                </c:pt>
                <c:pt idx="3267">
                  <c:v>43265</c:v>
                </c:pt>
                <c:pt idx="3268">
                  <c:v>43266</c:v>
                </c:pt>
                <c:pt idx="3269">
                  <c:v>43270</c:v>
                </c:pt>
                <c:pt idx="3270">
                  <c:v>43271</c:v>
                </c:pt>
                <c:pt idx="3271">
                  <c:v>43272</c:v>
                </c:pt>
                <c:pt idx="3272">
                  <c:v>43273</c:v>
                </c:pt>
                <c:pt idx="3273">
                  <c:v>43276</c:v>
                </c:pt>
                <c:pt idx="3274">
                  <c:v>43277</c:v>
                </c:pt>
                <c:pt idx="3275">
                  <c:v>43278</c:v>
                </c:pt>
                <c:pt idx="3276">
                  <c:v>43279</c:v>
                </c:pt>
                <c:pt idx="3277">
                  <c:v>43280</c:v>
                </c:pt>
                <c:pt idx="3278">
                  <c:v>43283</c:v>
                </c:pt>
                <c:pt idx="3279">
                  <c:v>43284</c:v>
                </c:pt>
                <c:pt idx="3280">
                  <c:v>43285</c:v>
                </c:pt>
                <c:pt idx="3281">
                  <c:v>43286</c:v>
                </c:pt>
                <c:pt idx="3282">
                  <c:v>43287</c:v>
                </c:pt>
                <c:pt idx="3283">
                  <c:v>43290</c:v>
                </c:pt>
                <c:pt idx="3284">
                  <c:v>43291</c:v>
                </c:pt>
                <c:pt idx="3285">
                  <c:v>43292</c:v>
                </c:pt>
                <c:pt idx="3286">
                  <c:v>43293</c:v>
                </c:pt>
                <c:pt idx="3287">
                  <c:v>43294</c:v>
                </c:pt>
                <c:pt idx="3288">
                  <c:v>43297</c:v>
                </c:pt>
                <c:pt idx="3289">
                  <c:v>43298</c:v>
                </c:pt>
                <c:pt idx="3290">
                  <c:v>43299</c:v>
                </c:pt>
                <c:pt idx="3291">
                  <c:v>43300</c:v>
                </c:pt>
                <c:pt idx="3292">
                  <c:v>43301</c:v>
                </c:pt>
                <c:pt idx="3293">
                  <c:v>43304</c:v>
                </c:pt>
                <c:pt idx="3294">
                  <c:v>43305</c:v>
                </c:pt>
                <c:pt idx="3295">
                  <c:v>43306</c:v>
                </c:pt>
                <c:pt idx="3296">
                  <c:v>43307</c:v>
                </c:pt>
                <c:pt idx="3297">
                  <c:v>43308</c:v>
                </c:pt>
                <c:pt idx="3298">
                  <c:v>43311</c:v>
                </c:pt>
                <c:pt idx="3299">
                  <c:v>43312</c:v>
                </c:pt>
                <c:pt idx="3300">
                  <c:v>43313</c:v>
                </c:pt>
                <c:pt idx="3301">
                  <c:v>43314</c:v>
                </c:pt>
                <c:pt idx="3302">
                  <c:v>43315</c:v>
                </c:pt>
                <c:pt idx="3303">
                  <c:v>43318</c:v>
                </c:pt>
                <c:pt idx="3304">
                  <c:v>43319</c:v>
                </c:pt>
                <c:pt idx="3305">
                  <c:v>43320</c:v>
                </c:pt>
                <c:pt idx="3306">
                  <c:v>43321</c:v>
                </c:pt>
                <c:pt idx="3307">
                  <c:v>43322</c:v>
                </c:pt>
                <c:pt idx="3308">
                  <c:v>43325</c:v>
                </c:pt>
                <c:pt idx="3309">
                  <c:v>43326</c:v>
                </c:pt>
                <c:pt idx="3310">
                  <c:v>43327</c:v>
                </c:pt>
                <c:pt idx="3311">
                  <c:v>43328</c:v>
                </c:pt>
                <c:pt idx="3312">
                  <c:v>43329</c:v>
                </c:pt>
                <c:pt idx="3313">
                  <c:v>43332</c:v>
                </c:pt>
                <c:pt idx="3314">
                  <c:v>43333</c:v>
                </c:pt>
                <c:pt idx="3315">
                  <c:v>43334</c:v>
                </c:pt>
                <c:pt idx="3316">
                  <c:v>43335</c:v>
                </c:pt>
                <c:pt idx="3317">
                  <c:v>43336</c:v>
                </c:pt>
                <c:pt idx="3318">
                  <c:v>43339</c:v>
                </c:pt>
                <c:pt idx="3319">
                  <c:v>43340</c:v>
                </c:pt>
                <c:pt idx="3320">
                  <c:v>43341</c:v>
                </c:pt>
                <c:pt idx="3321">
                  <c:v>43342</c:v>
                </c:pt>
                <c:pt idx="3322">
                  <c:v>43343</c:v>
                </c:pt>
                <c:pt idx="3323">
                  <c:v>43346</c:v>
                </c:pt>
                <c:pt idx="3324">
                  <c:v>43347</c:v>
                </c:pt>
                <c:pt idx="3325">
                  <c:v>43348</c:v>
                </c:pt>
                <c:pt idx="3326">
                  <c:v>43349</c:v>
                </c:pt>
                <c:pt idx="3327">
                  <c:v>43350</c:v>
                </c:pt>
                <c:pt idx="3328">
                  <c:v>43353</c:v>
                </c:pt>
                <c:pt idx="3329">
                  <c:v>43354</c:v>
                </c:pt>
                <c:pt idx="3330">
                  <c:v>43355</c:v>
                </c:pt>
                <c:pt idx="3331">
                  <c:v>43356</c:v>
                </c:pt>
                <c:pt idx="3332">
                  <c:v>43357</c:v>
                </c:pt>
                <c:pt idx="3333">
                  <c:v>43360</c:v>
                </c:pt>
                <c:pt idx="3334">
                  <c:v>43361</c:v>
                </c:pt>
                <c:pt idx="3335">
                  <c:v>43362</c:v>
                </c:pt>
                <c:pt idx="3336">
                  <c:v>43363</c:v>
                </c:pt>
                <c:pt idx="3337">
                  <c:v>43364</c:v>
                </c:pt>
                <c:pt idx="3338">
                  <c:v>43368</c:v>
                </c:pt>
                <c:pt idx="3339">
                  <c:v>43369</c:v>
                </c:pt>
                <c:pt idx="3340">
                  <c:v>43370</c:v>
                </c:pt>
                <c:pt idx="3341">
                  <c:v>43371</c:v>
                </c:pt>
                <c:pt idx="3342">
                  <c:v>43381</c:v>
                </c:pt>
                <c:pt idx="3343">
                  <c:v>43382</c:v>
                </c:pt>
                <c:pt idx="3344">
                  <c:v>43383</c:v>
                </c:pt>
                <c:pt idx="3345">
                  <c:v>43384</c:v>
                </c:pt>
                <c:pt idx="3346">
                  <c:v>43385</c:v>
                </c:pt>
                <c:pt idx="3347">
                  <c:v>43388</c:v>
                </c:pt>
                <c:pt idx="3348">
                  <c:v>43389</c:v>
                </c:pt>
                <c:pt idx="3349">
                  <c:v>43390</c:v>
                </c:pt>
                <c:pt idx="3350">
                  <c:v>43391</c:v>
                </c:pt>
                <c:pt idx="3351">
                  <c:v>43392</c:v>
                </c:pt>
                <c:pt idx="3352">
                  <c:v>43395</c:v>
                </c:pt>
                <c:pt idx="3353">
                  <c:v>43396</c:v>
                </c:pt>
                <c:pt idx="3354">
                  <c:v>43397</c:v>
                </c:pt>
                <c:pt idx="3355">
                  <c:v>43398</c:v>
                </c:pt>
                <c:pt idx="3356">
                  <c:v>43399</c:v>
                </c:pt>
                <c:pt idx="3357">
                  <c:v>43402</c:v>
                </c:pt>
                <c:pt idx="3358">
                  <c:v>43403</c:v>
                </c:pt>
                <c:pt idx="3359">
                  <c:v>43404</c:v>
                </c:pt>
                <c:pt idx="3360">
                  <c:v>43405</c:v>
                </c:pt>
                <c:pt idx="3361">
                  <c:v>43406</c:v>
                </c:pt>
                <c:pt idx="3362">
                  <c:v>43409</c:v>
                </c:pt>
                <c:pt idx="3363">
                  <c:v>43410</c:v>
                </c:pt>
                <c:pt idx="3364">
                  <c:v>43411</c:v>
                </c:pt>
                <c:pt idx="3365">
                  <c:v>43412</c:v>
                </c:pt>
                <c:pt idx="3366">
                  <c:v>43413</c:v>
                </c:pt>
                <c:pt idx="3367">
                  <c:v>43416</c:v>
                </c:pt>
                <c:pt idx="3368">
                  <c:v>43417</c:v>
                </c:pt>
                <c:pt idx="3369">
                  <c:v>43418</c:v>
                </c:pt>
                <c:pt idx="3370">
                  <c:v>43419</c:v>
                </c:pt>
                <c:pt idx="3371">
                  <c:v>43420</c:v>
                </c:pt>
                <c:pt idx="3372">
                  <c:v>43423</c:v>
                </c:pt>
                <c:pt idx="3373">
                  <c:v>43424</c:v>
                </c:pt>
                <c:pt idx="3374">
                  <c:v>43425</c:v>
                </c:pt>
                <c:pt idx="3375">
                  <c:v>43426</c:v>
                </c:pt>
                <c:pt idx="3376">
                  <c:v>43427</c:v>
                </c:pt>
                <c:pt idx="3377">
                  <c:v>43430</c:v>
                </c:pt>
                <c:pt idx="3378">
                  <c:v>43431</c:v>
                </c:pt>
                <c:pt idx="3379">
                  <c:v>43432</c:v>
                </c:pt>
                <c:pt idx="3380">
                  <c:v>43433</c:v>
                </c:pt>
                <c:pt idx="3381">
                  <c:v>43434</c:v>
                </c:pt>
                <c:pt idx="3382">
                  <c:v>43437</c:v>
                </c:pt>
                <c:pt idx="3383">
                  <c:v>43438</c:v>
                </c:pt>
                <c:pt idx="3384">
                  <c:v>43439</c:v>
                </c:pt>
                <c:pt idx="3385">
                  <c:v>43440</c:v>
                </c:pt>
                <c:pt idx="3386">
                  <c:v>43441</c:v>
                </c:pt>
                <c:pt idx="3387">
                  <c:v>43444</c:v>
                </c:pt>
                <c:pt idx="3388">
                  <c:v>43445</c:v>
                </c:pt>
                <c:pt idx="3389">
                  <c:v>43446</c:v>
                </c:pt>
                <c:pt idx="3390">
                  <c:v>43447</c:v>
                </c:pt>
                <c:pt idx="3391">
                  <c:v>43448</c:v>
                </c:pt>
                <c:pt idx="3392">
                  <c:v>43451</c:v>
                </c:pt>
                <c:pt idx="3393">
                  <c:v>43452</c:v>
                </c:pt>
                <c:pt idx="3394">
                  <c:v>43453</c:v>
                </c:pt>
                <c:pt idx="3395">
                  <c:v>43454</c:v>
                </c:pt>
                <c:pt idx="3396">
                  <c:v>43455</c:v>
                </c:pt>
                <c:pt idx="3397">
                  <c:v>43458</c:v>
                </c:pt>
                <c:pt idx="3398">
                  <c:v>43459</c:v>
                </c:pt>
                <c:pt idx="3399">
                  <c:v>43460</c:v>
                </c:pt>
                <c:pt idx="3400">
                  <c:v>43461</c:v>
                </c:pt>
                <c:pt idx="3401">
                  <c:v>43462</c:v>
                </c:pt>
                <c:pt idx="3402">
                  <c:v>43467</c:v>
                </c:pt>
                <c:pt idx="3403">
                  <c:v>43468</c:v>
                </c:pt>
                <c:pt idx="3404">
                  <c:v>43469</c:v>
                </c:pt>
                <c:pt idx="3405">
                  <c:v>43472</c:v>
                </c:pt>
                <c:pt idx="3406">
                  <c:v>43473</c:v>
                </c:pt>
                <c:pt idx="3407">
                  <c:v>43474</c:v>
                </c:pt>
                <c:pt idx="3408">
                  <c:v>43475</c:v>
                </c:pt>
                <c:pt idx="3409">
                  <c:v>43476</c:v>
                </c:pt>
                <c:pt idx="3410">
                  <c:v>43479</c:v>
                </c:pt>
                <c:pt idx="3411">
                  <c:v>43480</c:v>
                </c:pt>
                <c:pt idx="3412">
                  <c:v>43481</c:v>
                </c:pt>
                <c:pt idx="3413">
                  <c:v>43482</c:v>
                </c:pt>
                <c:pt idx="3414">
                  <c:v>43483</c:v>
                </c:pt>
                <c:pt idx="3415">
                  <c:v>43486</c:v>
                </c:pt>
                <c:pt idx="3416">
                  <c:v>43487</c:v>
                </c:pt>
                <c:pt idx="3417">
                  <c:v>43488</c:v>
                </c:pt>
                <c:pt idx="3418">
                  <c:v>43489</c:v>
                </c:pt>
                <c:pt idx="3419">
                  <c:v>43490</c:v>
                </c:pt>
                <c:pt idx="3420">
                  <c:v>43493</c:v>
                </c:pt>
                <c:pt idx="3421">
                  <c:v>43494</c:v>
                </c:pt>
                <c:pt idx="3422">
                  <c:v>43495</c:v>
                </c:pt>
                <c:pt idx="3423">
                  <c:v>43496</c:v>
                </c:pt>
                <c:pt idx="3424">
                  <c:v>43497</c:v>
                </c:pt>
                <c:pt idx="3425">
                  <c:v>43507</c:v>
                </c:pt>
                <c:pt idx="3426">
                  <c:v>43508</c:v>
                </c:pt>
                <c:pt idx="3427">
                  <c:v>43509</c:v>
                </c:pt>
                <c:pt idx="3428">
                  <c:v>43510</c:v>
                </c:pt>
                <c:pt idx="3429">
                  <c:v>43511</c:v>
                </c:pt>
                <c:pt idx="3430">
                  <c:v>43514</c:v>
                </c:pt>
                <c:pt idx="3431">
                  <c:v>43515</c:v>
                </c:pt>
                <c:pt idx="3432">
                  <c:v>43516</c:v>
                </c:pt>
                <c:pt idx="3433">
                  <c:v>43517</c:v>
                </c:pt>
                <c:pt idx="3434">
                  <c:v>43518</c:v>
                </c:pt>
                <c:pt idx="3435">
                  <c:v>43521</c:v>
                </c:pt>
                <c:pt idx="3436">
                  <c:v>43522</c:v>
                </c:pt>
                <c:pt idx="3437">
                  <c:v>43523</c:v>
                </c:pt>
                <c:pt idx="3438">
                  <c:v>43524</c:v>
                </c:pt>
                <c:pt idx="3439">
                  <c:v>43525</c:v>
                </c:pt>
                <c:pt idx="3440">
                  <c:v>43528</c:v>
                </c:pt>
                <c:pt idx="3441">
                  <c:v>43529</c:v>
                </c:pt>
                <c:pt idx="3442">
                  <c:v>43530</c:v>
                </c:pt>
                <c:pt idx="3443">
                  <c:v>43531</c:v>
                </c:pt>
                <c:pt idx="3444">
                  <c:v>43532</c:v>
                </c:pt>
                <c:pt idx="3445">
                  <c:v>43535</c:v>
                </c:pt>
                <c:pt idx="3446">
                  <c:v>43536</c:v>
                </c:pt>
                <c:pt idx="3447">
                  <c:v>43537</c:v>
                </c:pt>
                <c:pt idx="3448">
                  <c:v>43538</c:v>
                </c:pt>
                <c:pt idx="3449">
                  <c:v>43539</c:v>
                </c:pt>
                <c:pt idx="3450">
                  <c:v>43542</c:v>
                </c:pt>
                <c:pt idx="3451">
                  <c:v>43543</c:v>
                </c:pt>
                <c:pt idx="3452">
                  <c:v>43544</c:v>
                </c:pt>
                <c:pt idx="3453">
                  <c:v>43545</c:v>
                </c:pt>
                <c:pt idx="3454">
                  <c:v>43546</c:v>
                </c:pt>
                <c:pt idx="3455">
                  <c:v>43549</c:v>
                </c:pt>
                <c:pt idx="3456">
                  <c:v>43550</c:v>
                </c:pt>
                <c:pt idx="3457">
                  <c:v>43551</c:v>
                </c:pt>
                <c:pt idx="3458">
                  <c:v>43552</c:v>
                </c:pt>
                <c:pt idx="3459">
                  <c:v>43553</c:v>
                </c:pt>
                <c:pt idx="3460">
                  <c:v>43556</c:v>
                </c:pt>
                <c:pt idx="3461">
                  <c:v>43557</c:v>
                </c:pt>
                <c:pt idx="3462">
                  <c:v>43558</c:v>
                </c:pt>
                <c:pt idx="3463">
                  <c:v>43559</c:v>
                </c:pt>
                <c:pt idx="3464">
                  <c:v>43563</c:v>
                </c:pt>
                <c:pt idx="3465">
                  <c:v>43564</c:v>
                </c:pt>
                <c:pt idx="3466">
                  <c:v>43565</c:v>
                </c:pt>
                <c:pt idx="3467">
                  <c:v>43566</c:v>
                </c:pt>
                <c:pt idx="3468">
                  <c:v>43567</c:v>
                </c:pt>
                <c:pt idx="3469">
                  <c:v>43570</c:v>
                </c:pt>
                <c:pt idx="3470">
                  <c:v>43571</c:v>
                </c:pt>
                <c:pt idx="3471">
                  <c:v>43572</c:v>
                </c:pt>
                <c:pt idx="3472">
                  <c:v>43573</c:v>
                </c:pt>
                <c:pt idx="3473">
                  <c:v>43574</c:v>
                </c:pt>
                <c:pt idx="3474">
                  <c:v>43577</c:v>
                </c:pt>
                <c:pt idx="3475">
                  <c:v>43578</c:v>
                </c:pt>
                <c:pt idx="3476">
                  <c:v>43579</c:v>
                </c:pt>
                <c:pt idx="3477">
                  <c:v>43580</c:v>
                </c:pt>
                <c:pt idx="3478">
                  <c:v>43581</c:v>
                </c:pt>
                <c:pt idx="3479">
                  <c:v>43584</c:v>
                </c:pt>
                <c:pt idx="3480">
                  <c:v>43585</c:v>
                </c:pt>
                <c:pt idx="3481">
                  <c:v>43591</c:v>
                </c:pt>
                <c:pt idx="3482">
                  <c:v>43592</c:v>
                </c:pt>
                <c:pt idx="3483">
                  <c:v>43593</c:v>
                </c:pt>
                <c:pt idx="3484">
                  <c:v>43594</c:v>
                </c:pt>
                <c:pt idx="3485">
                  <c:v>43595</c:v>
                </c:pt>
                <c:pt idx="3486">
                  <c:v>43598</c:v>
                </c:pt>
                <c:pt idx="3487">
                  <c:v>43599</c:v>
                </c:pt>
                <c:pt idx="3488">
                  <c:v>43600</c:v>
                </c:pt>
                <c:pt idx="3489">
                  <c:v>43601</c:v>
                </c:pt>
                <c:pt idx="3490">
                  <c:v>43602</c:v>
                </c:pt>
                <c:pt idx="3491">
                  <c:v>43605</c:v>
                </c:pt>
                <c:pt idx="3492">
                  <c:v>43606</c:v>
                </c:pt>
                <c:pt idx="3493">
                  <c:v>43607</c:v>
                </c:pt>
                <c:pt idx="3494">
                  <c:v>43608</c:v>
                </c:pt>
                <c:pt idx="3495">
                  <c:v>43609</c:v>
                </c:pt>
                <c:pt idx="3496">
                  <c:v>43612</c:v>
                </c:pt>
                <c:pt idx="3497">
                  <c:v>43613</c:v>
                </c:pt>
                <c:pt idx="3498">
                  <c:v>43614</c:v>
                </c:pt>
                <c:pt idx="3499">
                  <c:v>43615</c:v>
                </c:pt>
                <c:pt idx="3500">
                  <c:v>43616</c:v>
                </c:pt>
                <c:pt idx="3501">
                  <c:v>43619</c:v>
                </c:pt>
                <c:pt idx="3502">
                  <c:v>43620</c:v>
                </c:pt>
                <c:pt idx="3503">
                  <c:v>43621</c:v>
                </c:pt>
                <c:pt idx="3504">
                  <c:v>43622</c:v>
                </c:pt>
                <c:pt idx="3505">
                  <c:v>43626</c:v>
                </c:pt>
                <c:pt idx="3506">
                  <c:v>43627</c:v>
                </c:pt>
                <c:pt idx="3507">
                  <c:v>43628</c:v>
                </c:pt>
                <c:pt idx="3508">
                  <c:v>43629</c:v>
                </c:pt>
                <c:pt idx="3509">
                  <c:v>43630</c:v>
                </c:pt>
                <c:pt idx="3510">
                  <c:v>43633</c:v>
                </c:pt>
                <c:pt idx="3511">
                  <c:v>43634</c:v>
                </c:pt>
                <c:pt idx="3512">
                  <c:v>43635</c:v>
                </c:pt>
                <c:pt idx="3513">
                  <c:v>43636</c:v>
                </c:pt>
                <c:pt idx="3514">
                  <c:v>43637</c:v>
                </c:pt>
                <c:pt idx="3515">
                  <c:v>43640</c:v>
                </c:pt>
                <c:pt idx="3516">
                  <c:v>43641</c:v>
                </c:pt>
                <c:pt idx="3517">
                  <c:v>43642</c:v>
                </c:pt>
                <c:pt idx="3518">
                  <c:v>43643</c:v>
                </c:pt>
                <c:pt idx="3519">
                  <c:v>43644</c:v>
                </c:pt>
                <c:pt idx="3520">
                  <c:v>43647</c:v>
                </c:pt>
                <c:pt idx="3521">
                  <c:v>43648</c:v>
                </c:pt>
                <c:pt idx="3522">
                  <c:v>43649</c:v>
                </c:pt>
                <c:pt idx="3523">
                  <c:v>43650</c:v>
                </c:pt>
                <c:pt idx="3524">
                  <c:v>43651</c:v>
                </c:pt>
                <c:pt idx="3525">
                  <c:v>43654</c:v>
                </c:pt>
                <c:pt idx="3526">
                  <c:v>43655</c:v>
                </c:pt>
                <c:pt idx="3527">
                  <c:v>43656</c:v>
                </c:pt>
                <c:pt idx="3528">
                  <c:v>43657</c:v>
                </c:pt>
                <c:pt idx="3529">
                  <c:v>43658</c:v>
                </c:pt>
                <c:pt idx="3530">
                  <c:v>43661</c:v>
                </c:pt>
                <c:pt idx="3531">
                  <c:v>43662</c:v>
                </c:pt>
                <c:pt idx="3532">
                  <c:v>43663</c:v>
                </c:pt>
                <c:pt idx="3533">
                  <c:v>43664</c:v>
                </c:pt>
                <c:pt idx="3534">
                  <c:v>43665</c:v>
                </c:pt>
                <c:pt idx="3535">
                  <c:v>43668</c:v>
                </c:pt>
                <c:pt idx="3536">
                  <c:v>43669</c:v>
                </c:pt>
                <c:pt idx="3537">
                  <c:v>43670</c:v>
                </c:pt>
                <c:pt idx="3538">
                  <c:v>43671</c:v>
                </c:pt>
                <c:pt idx="3539">
                  <c:v>43672</c:v>
                </c:pt>
                <c:pt idx="3540">
                  <c:v>43675</c:v>
                </c:pt>
                <c:pt idx="3541">
                  <c:v>43676</c:v>
                </c:pt>
                <c:pt idx="3542">
                  <c:v>43677</c:v>
                </c:pt>
                <c:pt idx="3543">
                  <c:v>43678</c:v>
                </c:pt>
                <c:pt idx="3544">
                  <c:v>43679</c:v>
                </c:pt>
                <c:pt idx="3545">
                  <c:v>43682</c:v>
                </c:pt>
                <c:pt idx="3546">
                  <c:v>43683</c:v>
                </c:pt>
                <c:pt idx="3547">
                  <c:v>43684</c:v>
                </c:pt>
                <c:pt idx="3548">
                  <c:v>43685</c:v>
                </c:pt>
                <c:pt idx="3549">
                  <c:v>43686</c:v>
                </c:pt>
                <c:pt idx="3550">
                  <c:v>43689</c:v>
                </c:pt>
                <c:pt idx="3551">
                  <c:v>43690</c:v>
                </c:pt>
                <c:pt idx="3552">
                  <c:v>43691</c:v>
                </c:pt>
                <c:pt idx="3553">
                  <c:v>43692</c:v>
                </c:pt>
                <c:pt idx="3554">
                  <c:v>43693</c:v>
                </c:pt>
                <c:pt idx="3555">
                  <c:v>43696</c:v>
                </c:pt>
                <c:pt idx="3556">
                  <c:v>43697</c:v>
                </c:pt>
                <c:pt idx="3557">
                  <c:v>43698</c:v>
                </c:pt>
                <c:pt idx="3558">
                  <c:v>43699</c:v>
                </c:pt>
                <c:pt idx="3559">
                  <c:v>43700</c:v>
                </c:pt>
                <c:pt idx="3560">
                  <c:v>43703</c:v>
                </c:pt>
                <c:pt idx="3561">
                  <c:v>43704</c:v>
                </c:pt>
                <c:pt idx="3562">
                  <c:v>43705</c:v>
                </c:pt>
                <c:pt idx="3563">
                  <c:v>43706</c:v>
                </c:pt>
                <c:pt idx="3564">
                  <c:v>43707</c:v>
                </c:pt>
                <c:pt idx="3565">
                  <c:v>43710</c:v>
                </c:pt>
                <c:pt idx="3566">
                  <c:v>43711</c:v>
                </c:pt>
                <c:pt idx="3567">
                  <c:v>43712</c:v>
                </c:pt>
                <c:pt idx="3568">
                  <c:v>43713</c:v>
                </c:pt>
                <c:pt idx="3569">
                  <c:v>43714</c:v>
                </c:pt>
                <c:pt idx="3570">
                  <c:v>43717</c:v>
                </c:pt>
                <c:pt idx="3571">
                  <c:v>43718</c:v>
                </c:pt>
                <c:pt idx="3572">
                  <c:v>43719</c:v>
                </c:pt>
                <c:pt idx="3573">
                  <c:v>43720</c:v>
                </c:pt>
                <c:pt idx="3574">
                  <c:v>43724</c:v>
                </c:pt>
                <c:pt idx="3575">
                  <c:v>43725</c:v>
                </c:pt>
                <c:pt idx="3576">
                  <c:v>43726</c:v>
                </c:pt>
                <c:pt idx="3577">
                  <c:v>43727</c:v>
                </c:pt>
                <c:pt idx="3578">
                  <c:v>43728</c:v>
                </c:pt>
                <c:pt idx="3579">
                  <c:v>43731</c:v>
                </c:pt>
                <c:pt idx="3580">
                  <c:v>43732</c:v>
                </c:pt>
                <c:pt idx="3581">
                  <c:v>43733</c:v>
                </c:pt>
                <c:pt idx="3582">
                  <c:v>43734</c:v>
                </c:pt>
                <c:pt idx="3583">
                  <c:v>43735</c:v>
                </c:pt>
                <c:pt idx="3584">
                  <c:v>43738</c:v>
                </c:pt>
                <c:pt idx="3585">
                  <c:v>43746</c:v>
                </c:pt>
                <c:pt idx="3586">
                  <c:v>43747</c:v>
                </c:pt>
                <c:pt idx="3587">
                  <c:v>43748</c:v>
                </c:pt>
                <c:pt idx="3588">
                  <c:v>43749</c:v>
                </c:pt>
                <c:pt idx="3589">
                  <c:v>43752</c:v>
                </c:pt>
                <c:pt idx="3590">
                  <c:v>43753</c:v>
                </c:pt>
                <c:pt idx="3591">
                  <c:v>43754</c:v>
                </c:pt>
                <c:pt idx="3592">
                  <c:v>43755</c:v>
                </c:pt>
                <c:pt idx="3593">
                  <c:v>43756</c:v>
                </c:pt>
                <c:pt idx="3594">
                  <c:v>43759</c:v>
                </c:pt>
                <c:pt idx="3595">
                  <c:v>43760</c:v>
                </c:pt>
                <c:pt idx="3596">
                  <c:v>43761</c:v>
                </c:pt>
                <c:pt idx="3597">
                  <c:v>43762</c:v>
                </c:pt>
                <c:pt idx="3598">
                  <c:v>43763</c:v>
                </c:pt>
                <c:pt idx="3599">
                  <c:v>43766</c:v>
                </c:pt>
                <c:pt idx="3600">
                  <c:v>43767</c:v>
                </c:pt>
                <c:pt idx="3601">
                  <c:v>43768</c:v>
                </c:pt>
                <c:pt idx="3602">
                  <c:v>43769</c:v>
                </c:pt>
                <c:pt idx="3603">
                  <c:v>43770</c:v>
                </c:pt>
                <c:pt idx="3604">
                  <c:v>43773</c:v>
                </c:pt>
                <c:pt idx="3605">
                  <c:v>43774</c:v>
                </c:pt>
                <c:pt idx="3606">
                  <c:v>43775</c:v>
                </c:pt>
                <c:pt idx="3607">
                  <c:v>43776</c:v>
                </c:pt>
                <c:pt idx="3608">
                  <c:v>43777</c:v>
                </c:pt>
                <c:pt idx="3609">
                  <c:v>43780</c:v>
                </c:pt>
                <c:pt idx="3610">
                  <c:v>43781</c:v>
                </c:pt>
                <c:pt idx="3611">
                  <c:v>43782</c:v>
                </c:pt>
                <c:pt idx="3612">
                  <c:v>43783</c:v>
                </c:pt>
                <c:pt idx="3613">
                  <c:v>43784</c:v>
                </c:pt>
                <c:pt idx="3614">
                  <c:v>43787</c:v>
                </c:pt>
                <c:pt idx="3615">
                  <c:v>43788</c:v>
                </c:pt>
                <c:pt idx="3616">
                  <c:v>43789</c:v>
                </c:pt>
                <c:pt idx="3617">
                  <c:v>43790</c:v>
                </c:pt>
                <c:pt idx="3618">
                  <c:v>43791</c:v>
                </c:pt>
                <c:pt idx="3619">
                  <c:v>43794</c:v>
                </c:pt>
                <c:pt idx="3620">
                  <c:v>43795</c:v>
                </c:pt>
                <c:pt idx="3621">
                  <c:v>43796</c:v>
                </c:pt>
                <c:pt idx="3622">
                  <c:v>43797</c:v>
                </c:pt>
                <c:pt idx="3623">
                  <c:v>43798</c:v>
                </c:pt>
                <c:pt idx="3624">
                  <c:v>43801</c:v>
                </c:pt>
                <c:pt idx="3625">
                  <c:v>43802</c:v>
                </c:pt>
                <c:pt idx="3626">
                  <c:v>43803</c:v>
                </c:pt>
                <c:pt idx="3627">
                  <c:v>43804</c:v>
                </c:pt>
                <c:pt idx="3628">
                  <c:v>43805</c:v>
                </c:pt>
                <c:pt idx="3629">
                  <c:v>43808</c:v>
                </c:pt>
                <c:pt idx="3630">
                  <c:v>43809</c:v>
                </c:pt>
                <c:pt idx="3631">
                  <c:v>43810</c:v>
                </c:pt>
                <c:pt idx="3632">
                  <c:v>43811</c:v>
                </c:pt>
                <c:pt idx="3633">
                  <c:v>43812</c:v>
                </c:pt>
                <c:pt idx="3634">
                  <c:v>43815</c:v>
                </c:pt>
                <c:pt idx="3635">
                  <c:v>43816</c:v>
                </c:pt>
                <c:pt idx="3636">
                  <c:v>43817</c:v>
                </c:pt>
                <c:pt idx="3637">
                  <c:v>43818</c:v>
                </c:pt>
                <c:pt idx="3638">
                  <c:v>43819</c:v>
                </c:pt>
                <c:pt idx="3639">
                  <c:v>43822</c:v>
                </c:pt>
                <c:pt idx="3640">
                  <c:v>43823</c:v>
                </c:pt>
                <c:pt idx="3641">
                  <c:v>43824</c:v>
                </c:pt>
                <c:pt idx="3642">
                  <c:v>43825</c:v>
                </c:pt>
                <c:pt idx="3643">
                  <c:v>43826</c:v>
                </c:pt>
                <c:pt idx="3644">
                  <c:v>43829</c:v>
                </c:pt>
                <c:pt idx="3645">
                  <c:v>43830</c:v>
                </c:pt>
                <c:pt idx="3646">
                  <c:v>43832</c:v>
                </c:pt>
                <c:pt idx="3647">
                  <c:v>43833</c:v>
                </c:pt>
                <c:pt idx="3648">
                  <c:v>43836</c:v>
                </c:pt>
                <c:pt idx="3649">
                  <c:v>43837</c:v>
                </c:pt>
                <c:pt idx="3650">
                  <c:v>43838</c:v>
                </c:pt>
                <c:pt idx="3651">
                  <c:v>43839</c:v>
                </c:pt>
                <c:pt idx="3652">
                  <c:v>43840</c:v>
                </c:pt>
                <c:pt idx="3653">
                  <c:v>43843</c:v>
                </c:pt>
                <c:pt idx="3654">
                  <c:v>43844</c:v>
                </c:pt>
                <c:pt idx="3655">
                  <c:v>43845</c:v>
                </c:pt>
                <c:pt idx="3656">
                  <c:v>43846</c:v>
                </c:pt>
                <c:pt idx="3657">
                  <c:v>43847</c:v>
                </c:pt>
                <c:pt idx="3658">
                  <c:v>43850</c:v>
                </c:pt>
                <c:pt idx="3659">
                  <c:v>43851</c:v>
                </c:pt>
                <c:pt idx="3660">
                  <c:v>43852</c:v>
                </c:pt>
                <c:pt idx="3661">
                  <c:v>43853</c:v>
                </c:pt>
                <c:pt idx="3662">
                  <c:v>43864</c:v>
                </c:pt>
                <c:pt idx="3663">
                  <c:v>43865</c:v>
                </c:pt>
                <c:pt idx="3664">
                  <c:v>43866</c:v>
                </c:pt>
                <c:pt idx="3665">
                  <c:v>43867</c:v>
                </c:pt>
                <c:pt idx="3666">
                  <c:v>43868</c:v>
                </c:pt>
                <c:pt idx="3667">
                  <c:v>43871</c:v>
                </c:pt>
                <c:pt idx="3668">
                  <c:v>43872</c:v>
                </c:pt>
                <c:pt idx="3669">
                  <c:v>43873</c:v>
                </c:pt>
                <c:pt idx="3670">
                  <c:v>43874</c:v>
                </c:pt>
                <c:pt idx="3671">
                  <c:v>43875</c:v>
                </c:pt>
                <c:pt idx="3672">
                  <c:v>43878</c:v>
                </c:pt>
                <c:pt idx="3673">
                  <c:v>43879</c:v>
                </c:pt>
                <c:pt idx="3674">
                  <c:v>43880</c:v>
                </c:pt>
                <c:pt idx="3675">
                  <c:v>43881</c:v>
                </c:pt>
                <c:pt idx="3676">
                  <c:v>43882</c:v>
                </c:pt>
                <c:pt idx="3677">
                  <c:v>43885</c:v>
                </c:pt>
                <c:pt idx="3678">
                  <c:v>43886</c:v>
                </c:pt>
                <c:pt idx="3679">
                  <c:v>43887</c:v>
                </c:pt>
                <c:pt idx="3680">
                  <c:v>43888</c:v>
                </c:pt>
                <c:pt idx="3681">
                  <c:v>43889</c:v>
                </c:pt>
                <c:pt idx="3682">
                  <c:v>43892</c:v>
                </c:pt>
                <c:pt idx="3683">
                  <c:v>43893</c:v>
                </c:pt>
                <c:pt idx="3684">
                  <c:v>43894</c:v>
                </c:pt>
                <c:pt idx="3685">
                  <c:v>43895</c:v>
                </c:pt>
                <c:pt idx="3686">
                  <c:v>43896</c:v>
                </c:pt>
                <c:pt idx="3687">
                  <c:v>43899</c:v>
                </c:pt>
                <c:pt idx="3688">
                  <c:v>43900</c:v>
                </c:pt>
                <c:pt idx="3689">
                  <c:v>43901</c:v>
                </c:pt>
                <c:pt idx="3690">
                  <c:v>43902</c:v>
                </c:pt>
                <c:pt idx="3691">
                  <c:v>43903</c:v>
                </c:pt>
                <c:pt idx="3692">
                  <c:v>43906</c:v>
                </c:pt>
                <c:pt idx="3693">
                  <c:v>43907</c:v>
                </c:pt>
                <c:pt idx="3694">
                  <c:v>43908</c:v>
                </c:pt>
                <c:pt idx="3695">
                  <c:v>43909</c:v>
                </c:pt>
                <c:pt idx="3696">
                  <c:v>43910</c:v>
                </c:pt>
                <c:pt idx="3697">
                  <c:v>43913</c:v>
                </c:pt>
                <c:pt idx="3698">
                  <c:v>43914</c:v>
                </c:pt>
                <c:pt idx="3699">
                  <c:v>43915</c:v>
                </c:pt>
                <c:pt idx="3700">
                  <c:v>43916</c:v>
                </c:pt>
                <c:pt idx="3701">
                  <c:v>43917</c:v>
                </c:pt>
                <c:pt idx="3702">
                  <c:v>43920</c:v>
                </c:pt>
                <c:pt idx="3703">
                  <c:v>43921</c:v>
                </c:pt>
                <c:pt idx="3704">
                  <c:v>43922</c:v>
                </c:pt>
                <c:pt idx="3705">
                  <c:v>43923</c:v>
                </c:pt>
                <c:pt idx="3706">
                  <c:v>43924</c:v>
                </c:pt>
                <c:pt idx="3707">
                  <c:v>43928</c:v>
                </c:pt>
                <c:pt idx="3708">
                  <c:v>43929</c:v>
                </c:pt>
                <c:pt idx="3709">
                  <c:v>43930</c:v>
                </c:pt>
                <c:pt idx="3710">
                  <c:v>43931</c:v>
                </c:pt>
                <c:pt idx="3711">
                  <c:v>43934</c:v>
                </c:pt>
                <c:pt idx="3712">
                  <c:v>43935</c:v>
                </c:pt>
                <c:pt idx="3713">
                  <c:v>43936</c:v>
                </c:pt>
                <c:pt idx="3714">
                  <c:v>43937</c:v>
                </c:pt>
                <c:pt idx="3715">
                  <c:v>43938</c:v>
                </c:pt>
                <c:pt idx="3716">
                  <c:v>43941</c:v>
                </c:pt>
                <c:pt idx="3717">
                  <c:v>43942</c:v>
                </c:pt>
                <c:pt idx="3718">
                  <c:v>43943</c:v>
                </c:pt>
                <c:pt idx="3719">
                  <c:v>43944</c:v>
                </c:pt>
                <c:pt idx="3720">
                  <c:v>43945</c:v>
                </c:pt>
                <c:pt idx="3721">
                  <c:v>43948</c:v>
                </c:pt>
                <c:pt idx="3722">
                  <c:v>43949</c:v>
                </c:pt>
                <c:pt idx="3723">
                  <c:v>43950</c:v>
                </c:pt>
                <c:pt idx="3724">
                  <c:v>43951</c:v>
                </c:pt>
                <c:pt idx="3725">
                  <c:v>43957</c:v>
                </c:pt>
                <c:pt idx="3726">
                  <c:v>43958</c:v>
                </c:pt>
                <c:pt idx="3727">
                  <c:v>43959</c:v>
                </c:pt>
                <c:pt idx="3728">
                  <c:v>43962</c:v>
                </c:pt>
                <c:pt idx="3729">
                  <c:v>43963</c:v>
                </c:pt>
                <c:pt idx="3730">
                  <c:v>43964</c:v>
                </c:pt>
                <c:pt idx="3731">
                  <c:v>43965</c:v>
                </c:pt>
                <c:pt idx="3732">
                  <c:v>43966</c:v>
                </c:pt>
                <c:pt idx="3733">
                  <c:v>43969</c:v>
                </c:pt>
                <c:pt idx="3734">
                  <c:v>43970</c:v>
                </c:pt>
                <c:pt idx="3735">
                  <c:v>43971</c:v>
                </c:pt>
                <c:pt idx="3736">
                  <c:v>43972</c:v>
                </c:pt>
                <c:pt idx="3737">
                  <c:v>43973</c:v>
                </c:pt>
                <c:pt idx="3738">
                  <c:v>43976</c:v>
                </c:pt>
                <c:pt idx="3739">
                  <c:v>43977</c:v>
                </c:pt>
                <c:pt idx="3740">
                  <c:v>43978</c:v>
                </c:pt>
                <c:pt idx="3741">
                  <c:v>43979</c:v>
                </c:pt>
                <c:pt idx="3742">
                  <c:v>43980</c:v>
                </c:pt>
                <c:pt idx="3743">
                  <c:v>43983</c:v>
                </c:pt>
                <c:pt idx="3744">
                  <c:v>43984</c:v>
                </c:pt>
                <c:pt idx="3745">
                  <c:v>43985</c:v>
                </c:pt>
                <c:pt idx="3746">
                  <c:v>43986</c:v>
                </c:pt>
                <c:pt idx="3747">
                  <c:v>43987</c:v>
                </c:pt>
                <c:pt idx="3748">
                  <c:v>43990</c:v>
                </c:pt>
                <c:pt idx="3749">
                  <c:v>43991</c:v>
                </c:pt>
                <c:pt idx="3750">
                  <c:v>43992</c:v>
                </c:pt>
                <c:pt idx="3751">
                  <c:v>43993</c:v>
                </c:pt>
                <c:pt idx="3752">
                  <c:v>43994</c:v>
                </c:pt>
                <c:pt idx="3753">
                  <c:v>43997</c:v>
                </c:pt>
                <c:pt idx="3754">
                  <c:v>43998</c:v>
                </c:pt>
                <c:pt idx="3755">
                  <c:v>43999</c:v>
                </c:pt>
                <c:pt idx="3756">
                  <c:v>44000</c:v>
                </c:pt>
                <c:pt idx="3757">
                  <c:v>44001</c:v>
                </c:pt>
                <c:pt idx="3758">
                  <c:v>44004</c:v>
                </c:pt>
                <c:pt idx="3759">
                  <c:v>44005</c:v>
                </c:pt>
                <c:pt idx="3760">
                  <c:v>44006</c:v>
                </c:pt>
                <c:pt idx="3761">
                  <c:v>44011</c:v>
                </c:pt>
                <c:pt idx="3762">
                  <c:v>44012</c:v>
                </c:pt>
                <c:pt idx="3763">
                  <c:v>44013</c:v>
                </c:pt>
                <c:pt idx="3764">
                  <c:v>44014</c:v>
                </c:pt>
                <c:pt idx="3765">
                  <c:v>44015</c:v>
                </c:pt>
                <c:pt idx="3766">
                  <c:v>44018</c:v>
                </c:pt>
                <c:pt idx="3767">
                  <c:v>44019</c:v>
                </c:pt>
                <c:pt idx="3768">
                  <c:v>44020</c:v>
                </c:pt>
                <c:pt idx="3769">
                  <c:v>44021</c:v>
                </c:pt>
                <c:pt idx="3770">
                  <c:v>44022</c:v>
                </c:pt>
                <c:pt idx="3771">
                  <c:v>44025</c:v>
                </c:pt>
                <c:pt idx="3772">
                  <c:v>44026</c:v>
                </c:pt>
                <c:pt idx="3773">
                  <c:v>44027</c:v>
                </c:pt>
                <c:pt idx="3774">
                  <c:v>44028</c:v>
                </c:pt>
                <c:pt idx="3775">
                  <c:v>44029</c:v>
                </c:pt>
                <c:pt idx="3776">
                  <c:v>44032</c:v>
                </c:pt>
                <c:pt idx="3777">
                  <c:v>44033</c:v>
                </c:pt>
                <c:pt idx="3778">
                  <c:v>44034</c:v>
                </c:pt>
                <c:pt idx="3779">
                  <c:v>44035</c:v>
                </c:pt>
                <c:pt idx="3780">
                  <c:v>44036</c:v>
                </c:pt>
                <c:pt idx="3781">
                  <c:v>44039</c:v>
                </c:pt>
                <c:pt idx="3782">
                  <c:v>44040</c:v>
                </c:pt>
                <c:pt idx="3783">
                  <c:v>44041</c:v>
                </c:pt>
                <c:pt idx="3784">
                  <c:v>44042</c:v>
                </c:pt>
                <c:pt idx="3785">
                  <c:v>44043</c:v>
                </c:pt>
                <c:pt idx="3786">
                  <c:v>44046</c:v>
                </c:pt>
                <c:pt idx="3787">
                  <c:v>44047</c:v>
                </c:pt>
                <c:pt idx="3788">
                  <c:v>44048</c:v>
                </c:pt>
                <c:pt idx="3789">
                  <c:v>44049</c:v>
                </c:pt>
                <c:pt idx="3790">
                  <c:v>44050</c:v>
                </c:pt>
                <c:pt idx="3791">
                  <c:v>44053</c:v>
                </c:pt>
                <c:pt idx="3792">
                  <c:v>44054</c:v>
                </c:pt>
                <c:pt idx="3793">
                  <c:v>44055</c:v>
                </c:pt>
                <c:pt idx="3794">
                  <c:v>44056</c:v>
                </c:pt>
                <c:pt idx="3795">
                  <c:v>44057</c:v>
                </c:pt>
                <c:pt idx="3796">
                  <c:v>44060</c:v>
                </c:pt>
                <c:pt idx="3797">
                  <c:v>44061</c:v>
                </c:pt>
                <c:pt idx="3798">
                  <c:v>44062</c:v>
                </c:pt>
                <c:pt idx="3799">
                  <c:v>44063</c:v>
                </c:pt>
                <c:pt idx="3800">
                  <c:v>44064</c:v>
                </c:pt>
                <c:pt idx="3801">
                  <c:v>44067</c:v>
                </c:pt>
                <c:pt idx="3802">
                  <c:v>44068</c:v>
                </c:pt>
                <c:pt idx="3803">
                  <c:v>44069</c:v>
                </c:pt>
                <c:pt idx="3804">
                  <c:v>44070</c:v>
                </c:pt>
                <c:pt idx="3805">
                  <c:v>44071</c:v>
                </c:pt>
                <c:pt idx="3806">
                  <c:v>44074</c:v>
                </c:pt>
                <c:pt idx="3807">
                  <c:v>44075</c:v>
                </c:pt>
                <c:pt idx="3808">
                  <c:v>44076</c:v>
                </c:pt>
                <c:pt idx="3809">
                  <c:v>44077</c:v>
                </c:pt>
                <c:pt idx="3810">
                  <c:v>44078</c:v>
                </c:pt>
                <c:pt idx="3811">
                  <c:v>44081</c:v>
                </c:pt>
                <c:pt idx="3812">
                  <c:v>44082</c:v>
                </c:pt>
                <c:pt idx="3813">
                  <c:v>44083</c:v>
                </c:pt>
                <c:pt idx="3814">
                  <c:v>44084</c:v>
                </c:pt>
                <c:pt idx="3815">
                  <c:v>44085</c:v>
                </c:pt>
                <c:pt idx="3816">
                  <c:v>44088</c:v>
                </c:pt>
                <c:pt idx="3817">
                  <c:v>44089</c:v>
                </c:pt>
                <c:pt idx="3818">
                  <c:v>44090</c:v>
                </c:pt>
                <c:pt idx="3819">
                  <c:v>44091</c:v>
                </c:pt>
                <c:pt idx="3820">
                  <c:v>44092</c:v>
                </c:pt>
                <c:pt idx="3821">
                  <c:v>44095</c:v>
                </c:pt>
                <c:pt idx="3822">
                  <c:v>44096</c:v>
                </c:pt>
                <c:pt idx="3823">
                  <c:v>44097</c:v>
                </c:pt>
                <c:pt idx="3824">
                  <c:v>44098</c:v>
                </c:pt>
                <c:pt idx="3825">
                  <c:v>44099</c:v>
                </c:pt>
                <c:pt idx="3826">
                  <c:v>44102</c:v>
                </c:pt>
                <c:pt idx="3827">
                  <c:v>44103</c:v>
                </c:pt>
                <c:pt idx="3828">
                  <c:v>44104</c:v>
                </c:pt>
                <c:pt idx="3829">
                  <c:v>44113</c:v>
                </c:pt>
                <c:pt idx="3830">
                  <c:v>44116</c:v>
                </c:pt>
                <c:pt idx="3831">
                  <c:v>44117</c:v>
                </c:pt>
                <c:pt idx="3832">
                  <c:v>44118</c:v>
                </c:pt>
                <c:pt idx="3833">
                  <c:v>44119</c:v>
                </c:pt>
                <c:pt idx="3834">
                  <c:v>44120</c:v>
                </c:pt>
                <c:pt idx="3835">
                  <c:v>44123</c:v>
                </c:pt>
                <c:pt idx="3836">
                  <c:v>44124</c:v>
                </c:pt>
                <c:pt idx="3837">
                  <c:v>44125</c:v>
                </c:pt>
                <c:pt idx="3838">
                  <c:v>44126</c:v>
                </c:pt>
                <c:pt idx="3839">
                  <c:v>44127</c:v>
                </c:pt>
                <c:pt idx="3840">
                  <c:v>44130</c:v>
                </c:pt>
                <c:pt idx="3841">
                  <c:v>44131</c:v>
                </c:pt>
                <c:pt idx="3842">
                  <c:v>44132</c:v>
                </c:pt>
                <c:pt idx="3843">
                  <c:v>44133</c:v>
                </c:pt>
                <c:pt idx="3844">
                  <c:v>44134</c:v>
                </c:pt>
                <c:pt idx="3845">
                  <c:v>44137</c:v>
                </c:pt>
                <c:pt idx="3846">
                  <c:v>44138</c:v>
                </c:pt>
                <c:pt idx="3847">
                  <c:v>44139</c:v>
                </c:pt>
                <c:pt idx="3848">
                  <c:v>44140</c:v>
                </c:pt>
                <c:pt idx="3849">
                  <c:v>44141</c:v>
                </c:pt>
                <c:pt idx="3850">
                  <c:v>44144</c:v>
                </c:pt>
                <c:pt idx="3851">
                  <c:v>44145</c:v>
                </c:pt>
                <c:pt idx="3852">
                  <c:v>44146</c:v>
                </c:pt>
                <c:pt idx="3853">
                  <c:v>44147</c:v>
                </c:pt>
                <c:pt idx="3854">
                  <c:v>44148</c:v>
                </c:pt>
                <c:pt idx="3855">
                  <c:v>44151</c:v>
                </c:pt>
                <c:pt idx="3856">
                  <c:v>44152</c:v>
                </c:pt>
                <c:pt idx="3857">
                  <c:v>44153</c:v>
                </c:pt>
                <c:pt idx="3858">
                  <c:v>44154</c:v>
                </c:pt>
                <c:pt idx="3859">
                  <c:v>44155</c:v>
                </c:pt>
                <c:pt idx="3860">
                  <c:v>44158</c:v>
                </c:pt>
                <c:pt idx="3861">
                  <c:v>44159</c:v>
                </c:pt>
                <c:pt idx="3862">
                  <c:v>44160</c:v>
                </c:pt>
                <c:pt idx="3863">
                  <c:v>44161</c:v>
                </c:pt>
                <c:pt idx="3864">
                  <c:v>44162</c:v>
                </c:pt>
                <c:pt idx="3865">
                  <c:v>44165</c:v>
                </c:pt>
                <c:pt idx="3866">
                  <c:v>44166</c:v>
                </c:pt>
                <c:pt idx="3867">
                  <c:v>44167</c:v>
                </c:pt>
                <c:pt idx="3868">
                  <c:v>44168</c:v>
                </c:pt>
                <c:pt idx="3869">
                  <c:v>44169</c:v>
                </c:pt>
                <c:pt idx="3870">
                  <c:v>44172</c:v>
                </c:pt>
                <c:pt idx="3871">
                  <c:v>44173</c:v>
                </c:pt>
                <c:pt idx="3872">
                  <c:v>44174</c:v>
                </c:pt>
                <c:pt idx="3873">
                  <c:v>44175</c:v>
                </c:pt>
                <c:pt idx="3874">
                  <c:v>44176</c:v>
                </c:pt>
                <c:pt idx="3875">
                  <c:v>44179</c:v>
                </c:pt>
                <c:pt idx="3876">
                  <c:v>44180</c:v>
                </c:pt>
                <c:pt idx="3877">
                  <c:v>44181</c:v>
                </c:pt>
                <c:pt idx="3878">
                  <c:v>44182</c:v>
                </c:pt>
                <c:pt idx="3879">
                  <c:v>44183</c:v>
                </c:pt>
                <c:pt idx="3880">
                  <c:v>44186</c:v>
                </c:pt>
                <c:pt idx="3881">
                  <c:v>44187</c:v>
                </c:pt>
                <c:pt idx="3882">
                  <c:v>44188</c:v>
                </c:pt>
                <c:pt idx="3883">
                  <c:v>44189</c:v>
                </c:pt>
                <c:pt idx="3884">
                  <c:v>44190</c:v>
                </c:pt>
                <c:pt idx="3885">
                  <c:v>44193</c:v>
                </c:pt>
                <c:pt idx="3886">
                  <c:v>44194</c:v>
                </c:pt>
                <c:pt idx="3887">
                  <c:v>44195</c:v>
                </c:pt>
                <c:pt idx="3888">
                  <c:v>44196</c:v>
                </c:pt>
                <c:pt idx="3889">
                  <c:v>44200</c:v>
                </c:pt>
                <c:pt idx="3890">
                  <c:v>44201</c:v>
                </c:pt>
                <c:pt idx="3891">
                  <c:v>44202</c:v>
                </c:pt>
                <c:pt idx="3892">
                  <c:v>44203</c:v>
                </c:pt>
                <c:pt idx="3893">
                  <c:v>44204</c:v>
                </c:pt>
                <c:pt idx="3894">
                  <c:v>44207</c:v>
                </c:pt>
                <c:pt idx="3895">
                  <c:v>44208</c:v>
                </c:pt>
                <c:pt idx="3896">
                  <c:v>44209</c:v>
                </c:pt>
                <c:pt idx="3897">
                  <c:v>44210</c:v>
                </c:pt>
                <c:pt idx="3898">
                  <c:v>44211</c:v>
                </c:pt>
                <c:pt idx="3899">
                  <c:v>44214</c:v>
                </c:pt>
                <c:pt idx="3900">
                  <c:v>44215</c:v>
                </c:pt>
                <c:pt idx="3901">
                  <c:v>44216</c:v>
                </c:pt>
                <c:pt idx="3902">
                  <c:v>44217</c:v>
                </c:pt>
                <c:pt idx="3903">
                  <c:v>44218</c:v>
                </c:pt>
                <c:pt idx="3904">
                  <c:v>44221</c:v>
                </c:pt>
                <c:pt idx="3905">
                  <c:v>44222</c:v>
                </c:pt>
                <c:pt idx="3906">
                  <c:v>44223</c:v>
                </c:pt>
                <c:pt idx="3907">
                  <c:v>44224</c:v>
                </c:pt>
                <c:pt idx="3908">
                  <c:v>44225</c:v>
                </c:pt>
                <c:pt idx="3909">
                  <c:v>44228</c:v>
                </c:pt>
                <c:pt idx="3910">
                  <c:v>44229</c:v>
                </c:pt>
                <c:pt idx="3911">
                  <c:v>44230</c:v>
                </c:pt>
                <c:pt idx="3912">
                  <c:v>44231</c:v>
                </c:pt>
                <c:pt idx="3913">
                  <c:v>44232</c:v>
                </c:pt>
                <c:pt idx="3914">
                  <c:v>44235</c:v>
                </c:pt>
                <c:pt idx="3915">
                  <c:v>44236</c:v>
                </c:pt>
                <c:pt idx="3916">
                  <c:v>44237</c:v>
                </c:pt>
                <c:pt idx="3917">
                  <c:v>44245</c:v>
                </c:pt>
                <c:pt idx="3918">
                  <c:v>44246</c:v>
                </c:pt>
                <c:pt idx="3919">
                  <c:v>44249</c:v>
                </c:pt>
                <c:pt idx="3920">
                  <c:v>44250</c:v>
                </c:pt>
                <c:pt idx="3921">
                  <c:v>44251</c:v>
                </c:pt>
                <c:pt idx="3922">
                  <c:v>44252</c:v>
                </c:pt>
                <c:pt idx="3923">
                  <c:v>44253</c:v>
                </c:pt>
                <c:pt idx="3924">
                  <c:v>44256</c:v>
                </c:pt>
                <c:pt idx="3925">
                  <c:v>44257</c:v>
                </c:pt>
                <c:pt idx="3926">
                  <c:v>44258</c:v>
                </c:pt>
                <c:pt idx="3927">
                  <c:v>44259</c:v>
                </c:pt>
                <c:pt idx="3928">
                  <c:v>44260</c:v>
                </c:pt>
                <c:pt idx="3929">
                  <c:v>44263</c:v>
                </c:pt>
                <c:pt idx="3930">
                  <c:v>44264</c:v>
                </c:pt>
                <c:pt idx="3931">
                  <c:v>44265</c:v>
                </c:pt>
                <c:pt idx="3932">
                  <c:v>44266</c:v>
                </c:pt>
                <c:pt idx="3933">
                  <c:v>44267</c:v>
                </c:pt>
                <c:pt idx="3934">
                  <c:v>44270</c:v>
                </c:pt>
                <c:pt idx="3935">
                  <c:v>44271</c:v>
                </c:pt>
                <c:pt idx="3936">
                  <c:v>44272</c:v>
                </c:pt>
                <c:pt idx="3937">
                  <c:v>44273</c:v>
                </c:pt>
                <c:pt idx="3938">
                  <c:v>44274</c:v>
                </c:pt>
                <c:pt idx="3939">
                  <c:v>44277</c:v>
                </c:pt>
                <c:pt idx="3940">
                  <c:v>44278</c:v>
                </c:pt>
                <c:pt idx="3941">
                  <c:v>44279</c:v>
                </c:pt>
                <c:pt idx="3942">
                  <c:v>44280</c:v>
                </c:pt>
                <c:pt idx="3943">
                  <c:v>44281</c:v>
                </c:pt>
                <c:pt idx="3944">
                  <c:v>44284</c:v>
                </c:pt>
                <c:pt idx="3945">
                  <c:v>44285</c:v>
                </c:pt>
                <c:pt idx="3946">
                  <c:v>44286</c:v>
                </c:pt>
                <c:pt idx="3947">
                  <c:v>44287</c:v>
                </c:pt>
                <c:pt idx="3948">
                  <c:v>44288</c:v>
                </c:pt>
                <c:pt idx="3949">
                  <c:v>44292</c:v>
                </c:pt>
                <c:pt idx="3950">
                  <c:v>44293</c:v>
                </c:pt>
                <c:pt idx="3951">
                  <c:v>44294</c:v>
                </c:pt>
                <c:pt idx="3952">
                  <c:v>44295</c:v>
                </c:pt>
                <c:pt idx="3953">
                  <c:v>44298</c:v>
                </c:pt>
                <c:pt idx="3954">
                  <c:v>44299</c:v>
                </c:pt>
                <c:pt idx="3955">
                  <c:v>44300</c:v>
                </c:pt>
                <c:pt idx="3956">
                  <c:v>44301</c:v>
                </c:pt>
                <c:pt idx="3957">
                  <c:v>44302</c:v>
                </c:pt>
                <c:pt idx="3958">
                  <c:v>44305</c:v>
                </c:pt>
                <c:pt idx="3959">
                  <c:v>44306</c:v>
                </c:pt>
                <c:pt idx="3960">
                  <c:v>44307</c:v>
                </c:pt>
                <c:pt idx="3961">
                  <c:v>44308</c:v>
                </c:pt>
                <c:pt idx="3962">
                  <c:v>44309</c:v>
                </c:pt>
                <c:pt idx="3963">
                  <c:v>44312</c:v>
                </c:pt>
                <c:pt idx="3964">
                  <c:v>44313</c:v>
                </c:pt>
                <c:pt idx="3965">
                  <c:v>44314</c:v>
                </c:pt>
                <c:pt idx="3966">
                  <c:v>44315</c:v>
                </c:pt>
                <c:pt idx="3967">
                  <c:v>44316</c:v>
                </c:pt>
                <c:pt idx="3968">
                  <c:v>44322</c:v>
                </c:pt>
                <c:pt idx="3969">
                  <c:v>44323</c:v>
                </c:pt>
                <c:pt idx="3970">
                  <c:v>44326</c:v>
                </c:pt>
                <c:pt idx="3971">
                  <c:v>44327</c:v>
                </c:pt>
                <c:pt idx="3972">
                  <c:v>44328</c:v>
                </c:pt>
                <c:pt idx="3973">
                  <c:v>44329</c:v>
                </c:pt>
                <c:pt idx="3974">
                  <c:v>44330</c:v>
                </c:pt>
                <c:pt idx="3975">
                  <c:v>44333</c:v>
                </c:pt>
                <c:pt idx="3976">
                  <c:v>44334</c:v>
                </c:pt>
                <c:pt idx="3977">
                  <c:v>44335</c:v>
                </c:pt>
                <c:pt idx="3978">
                  <c:v>44336</c:v>
                </c:pt>
                <c:pt idx="3979">
                  <c:v>44337</c:v>
                </c:pt>
                <c:pt idx="3980">
                  <c:v>44340</c:v>
                </c:pt>
                <c:pt idx="3981">
                  <c:v>44341</c:v>
                </c:pt>
                <c:pt idx="3982">
                  <c:v>44342</c:v>
                </c:pt>
                <c:pt idx="3983">
                  <c:v>44343</c:v>
                </c:pt>
                <c:pt idx="3984">
                  <c:v>44344</c:v>
                </c:pt>
                <c:pt idx="3985">
                  <c:v>44347</c:v>
                </c:pt>
                <c:pt idx="3986">
                  <c:v>44348</c:v>
                </c:pt>
                <c:pt idx="3987">
                  <c:v>44349</c:v>
                </c:pt>
                <c:pt idx="3988">
                  <c:v>44350</c:v>
                </c:pt>
                <c:pt idx="3989">
                  <c:v>44351</c:v>
                </c:pt>
                <c:pt idx="3990">
                  <c:v>44354</c:v>
                </c:pt>
                <c:pt idx="3991">
                  <c:v>44355</c:v>
                </c:pt>
                <c:pt idx="3992">
                  <c:v>44356</c:v>
                </c:pt>
                <c:pt idx="3993">
                  <c:v>44357</c:v>
                </c:pt>
                <c:pt idx="3994">
                  <c:v>44358</c:v>
                </c:pt>
                <c:pt idx="3995">
                  <c:v>44362</c:v>
                </c:pt>
                <c:pt idx="3996">
                  <c:v>44363</c:v>
                </c:pt>
                <c:pt idx="3997">
                  <c:v>44364</c:v>
                </c:pt>
                <c:pt idx="3998">
                  <c:v>44365</c:v>
                </c:pt>
                <c:pt idx="3999">
                  <c:v>44368</c:v>
                </c:pt>
                <c:pt idx="4000">
                  <c:v>44369</c:v>
                </c:pt>
                <c:pt idx="4001">
                  <c:v>44370</c:v>
                </c:pt>
                <c:pt idx="4002">
                  <c:v>44371</c:v>
                </c:pt>
                <c:pt idx="4003">
                  <c:v>44372</c:v>
                </c:pt>
                <c:pt idx="4004">
                  <c:v>44375</c:v>
                </c:pt>
                <c:pt idx="4005">
                  <c:v>44376</c:v>
                </c:pt>
                <c:pt idx="4006">
                  <c:v>44377</c:v>
                </c:pt>
                <c:pt idx="4007">
                  <c:v>44378</c:v>
                </c:pt>
                <c:pt idx="4008">
                  <c:v>44379</c:v>
                </c:pt>
                <c:pt idx="4009">
                  <c:v>44382</c:v>
                </c:pt>
                <c:pt idx="4010">
                  <c:v>44383</c:v>
                </c:pt>
                <c:pt idx="4011">
                  <c:v>44384</c:v>
                </c:pt>
                <c:pt idx="4012">
                  <c:v>44385</c:v>
                </c:pt>
                <c:pt idx="4013">
                  <c:v>44386</c:v>
                </c:pt>
                <c:pt idx="4014">
                  <c:v>44389</c:v>
                </c:pt>
                <c:pt idx="4015">
                  <c:v>44390</c:v>
                </c:pt>
                <c:pt idx="4016">
                  <c:v>44391</c:v>
                </c:pt>
                <c:pt idx="4017">
                  <c:v>44392</c:v>
                </c:pt>
                <c:pt idx="4018">
                  <c:v>44393</c:v>
                </c:pt>
                <c:pt idx="4019">
                  <c:v>44396</c:v>
                </c:pt>
                <c:pt idx="4020">
                  <c:v>44397</c:v>
                </c:pt>
                <c:pt idx="4021">
                  <c:v>44398</c:v>
                </c:pt>
                <c:pt idx="4022">
                  <c:v>44399</c:v>
                </c:pt>
                <c:pt idx="4023">
                  <c:v>44400</c:v>
                </c:pt>
                <c:pt idx="4024">
                  <c:v>44403</c:v>
                </c:pt>
                <c:pt idx="4025">
                  <c:v>44404</c:v>
                </c:pt>
                <c:pt idx="4026">
                  <c:v>44405</c:v>
                </c:pt>
                <c:pt idx="4027">
                  <c:v>44406</c:v>
                </c:pt>
                <c:pt idx="4028">
                  <c:v>44407</c:v>
                </c:pt>
                <c:pt idx="4029">
                  <c:v>44410</c:v>
                </c:pt>
                <c:pt idx="4030">
                  <c:v>44411</c:v>
                </c:pt>
                <c:pt idx="4031">
                  <c:v>44412</c:v>
                </c:pt>
                <c:pt idx="4032">
                  <c:v>44413</c:v>
                </c:pt>
                <c:pt idx="4033">
                  <c:v>44414</c:v>
                </c:pt>
                <c:pt idx="4034">
                  <c:v>44417</c:v>
                </c:pt>
                <c:pt idx="4035">
                  <c:v>44418</c:v>
                </c:pt>
                <c:pt idx="4036">
                  <c:v>44419</c:v>
                </c:pt>
                <c:pt idx="4037">
                  <c:v>44420</c:v>
                </c:pt>
                <c:pt idx="4038">
                  <c:v>44421</c:v>
                </c:pt>
                <c:pt idx="4039">
                  <c:v>44424</c:v>
                </c:pt>
                <c:pt idx="4040">
                  <c:v>44425</c:v>
                </c:pt>
                <c:pt idx="4041">
                  <c:v>44426</c:v>
                </c:pt>
                <c:pt idx="4042">
                  <c:v>44427</c:v>
                </c:pt>
                <c:pt idx="4043">
                  <c:v>44428</c:v>
                </c:pt>
                <c:pt idx="4044">
                  <c:v>44431</c:v>
                </c:pt>
                <c:pt idx="4045">
                  <c:v>44432</c:v>
                </c:pt>
                <c:pt idx="4046">
                  <c:v>44433</c:v>
                </c:pt>
                <c:pt idx="4047">
                  <c:v>44434</c:v>
                </c:pt>
                <c:pt idx="4048">
                  <c:v>44435</c:v>
                </c:pt>
                <c:pt idx="4049">
                  <c:v>44438</c:v>
                </c:pt>
                <c:pt idx="4050">
                  <c:v>44439</c:v>
                </c:pt>
                <c:pt idx="4051">
                  <c:v>44440</c:v>
                </c:pt>
                <c:pt idx="4052">
                  <c:v>44441</c:v>
                </c:pt>
                <c:pt idx="4053">
                  <c:v>44442</c:v>
                </c:pt>
                <c:pt idx="4054">
                  <c:v>44445</c:v>
                </c:pt>
                <c:pt idx="4055">
                  <c:v>44446</c:v>
                </c:pt>
                <c:pt idx="4056">
                  <c:v>44447</c:v>
                </c:pt>
                <c:pt idx="4057">
                  <c:v>44448</c:v>
                </c:pt>
                <c:pt idx="4058">
                  <c:v>44449</c:v>
                </c:pt>
                <c:pt idx="4059">
                  <c:v>44452</c:v>
                </c:pt>
                <c:pt idx="4060">
                  <c:v>44453</c:v>
                </c:pt>
                <c:pt idx="4061">
                  <c:v>44454</c:v>
                </c:pt>
                <c:pt idx="4062">
                  <c:v>44455</c:v>
                </c:pt>
                <c:pt idx="4063">
                  <c:v>44456</c:v>
                </c:pt>
                <c:pt idx="4064">
                  <c:v>44461</c:v>
                </c:pt>
                <c:pt idx="4065">
                  <c:v>44462</c:v>
                </c:pt>
                <c:pt idx="4066">
                  <c:v>44463</c:v>
                </c:pt>
                <c:pt idx="4067">
                  <c:v>44466</c:v>
                </c:pt>
                <c:pt idx="4068">
                  <c:v>44467</c:v>
                </c:pt>
                <c:pt idx="4069">
                  <c:v>44468</c:v>
                </c:pt>
                <c:pt idx="4070">
                  <c:v>44469</c:v>
                </c:pt>
                <c:pt idx="4071">
                  <c:v>44477</c:v>
                </c:pt>
                <c:pt idx="4072">
                  <c:v>44480</c:v>
                </c:pt>
                <c:pt idx="4073">
                  <c:v>44481</c:v>
                </c:pt>
                <c:pt idx="4074">
                  <c:v>44482</c:v>
                </c:pt>
                <c:pt idx="4075">
                  <c:v>44483</c:v>
                </c:pt>
                <c:pt idx="4076">
                  <c:v>44484</c:v>
                </c:pt>
                <c:pt idx="4077">
                  <c:v>44487</c:v>
                </c:pt>
                <c:pt idx="4078">
                  <c:v>44488</c:v>
                </c:pt>
                <c:pt idx="4079">
                  <c:v>44489</c:v>
                </c:pt>
                <c:pt idx="4080">
                  <c:v>44490</c:v>
                </c:pt>
                <c:pt idx="4081">
                  <c:v>44491</c:v>
                </c:pt>
                <c:pt idx="4082">
                  <c:v>44494</c:v>
                </c:pt>
                <c:pt idx="4083">
                  <c:v>44495</c:v>
                </c:pt>
                <c:pt idx="4084">
                  <c:v>44496</c:v>
                </c:pt>
                <c:pt idx="4085">
                  <c:v>44497</c:v>
                </c:pt>
                <c:pt idx="4086">
                  <c:v>44498</c:v>
                </c:pt>
                <c:pt idx="4087">
                  <c:v>44501</c:v>
                </c:pt>
                <c:pt idx="4088">
                  <c:v>44502</c:v>
                </c:pt>
                <c:pt idx="4089">
                  <c:v>44503</c:v>
                </c:pt>
                <c:pt idx="4090">
                  <c:v>44504</c:v>
                </c:pt>
                <c:pt idx="4091">
                  <c:v>44505</c:v>
                </c:pt>
                <c:pt idx="4092">
                  <c:v>44508</c:v>
                </c:pt>
                <c:pt idx="4093">
                  <c:v>44509</c:v>
                </c:pt>
                <c:pt idx="4094">
                  <c:v>44510</c:v>
                </c:pt>
                <c:pt idx="4095">
                  <c:v>44511</c:v>
                </c:pt>
                <c:pt idx="4096">
                  <c:v>44512</c:v>
                </c:pt>
                <c:pt idx="4097">
                  <c:v>44515</c:v>
                </c:pt>
                <c:pt idx="4098">
                  <c:v>44516</c:v>
                </c:pt>
                <c:pt idx="4099">
                  <c:v>44517</c:v>
                </c:pt>
                <c:pt idx="4100">
                  <c:v>44518</c:v>
                </c:pt>
                <c:pt idx="4101">
                  <c:v>44519</c:v>
                </c:pt>
                <c:pt idx="4102">
                  <c:v>44522</c:v>
                </c:pt>
                <c:pt idx="4103">
                  <c:v>44523</c:v>
                </c:pt>
                <c:pt idx="4104">
                  <c:v>44524</c:v>
                </c:pt>
                <c:pt idx="4105">
                  <c:v>44525</c:v>
                </c:pt>
                <c:pt idx="4106">
                  <c:v>44526</c:v>
                </c:pt>
                <c:pt idx="4107">
                  <c:v>44529</c:v>
                </c:pt>
                <c:pt idx="4108">
                  <c:v>44530</c:v>
                </c:pt>
                <c:pt idx="4109">
                  <c:v>44531</c:v>
                </c:pt>
                <c:pt idx="4110">
                  <c:v>44532</c:v>
                </c:pt>
                <c:pt idx="4111">
                  <c:v>44533</c:v>
                </c:pt>
                <c:pt idx="4112">
                  <c:v>44536</c:v>
                </c:pt>
                <c:pt idx="4113">
                  <c:v>44537</c:v>
                </c:pt>
                <c:pt idx="4114">
                  <c:v>44538</c:v>
                </c:pt>
                <c:pt idx="4115">
                  <c:v>44539</c:v>
                </c:pt>
                <c:pt idx="4116">
                  <c:v>44540</c:v>
                </c:pt>
                <c:pt idx="4117">
                  <c:v>44543</c:v>
                </c:pt>
                <c:pt idx="4118">
                  <c:v>44544</c:v>
                </c:pt>
                <c:pt idx="4119">
                  <c:v>44545</c:v>
                </c:pt>
                <c:pt idx="4120">
                  <c:v>44546</c:v>
                </c:pt>
                <c:pt idx="4121">
                  <c:v>44547</c:v>
                </c:pt>
                <c:pt idx="4122">
                  <c:v>44550</c:v>
                </c:pt>
                <c:pt idx="4123">
                  <c:v>44551</c:v>
                </c:pt>
                <c:pt idx="4124">
                  <c:v>44552</c:v>
                </c:pt>
                <c:pt idx="4125">
                  <c:v>44553</c:v>
                </c:pt>
                <c:pt idx="4126">
                  <c:v>44554</c:v>
                </c:pt>
                <c:pt idx="4127">
                  <c:v>44557</c:v>
                </c:pt>
                <c:pt idx="4128">
                  <c:v>44558</c:v>
                </c:pt>
                <c:pt idx="4129">
                  <c:v>44559</c:v>
                </c:pt>
                <c:pt idx="4130">
                  <c:v>44560</c:v>
                </c:pt>
                <c:pt idx="4131">
                  <c:v>44561</c:v>
                </c:pt>
                <c:pt idx="4132">
                  <c:v>44565</c:v>
                </c:pt>
                <c:pt idx="4133">
                  <c:v>44566</c:v>
                </c:pt>
                <c:pt idx="4134">
                  <c:v>44567</c:v>
                </c:pt>
                <c:pt idx="4135">
                  <c:v>44568</c:v>
                </c:pt>
                <c:pt idx="4136">
                  <c:v>44571</c:v>
                </c:pt>
                <c:pt idx="4137">
                  <c:v>44572</c:v>
                </c:pt>
                <c:pt idx="4138">
                  <c:v>44573</c:v>
                </c:pt>
                <c:pt idx="4139">
                  <c:v>44574</c:v>
                </c:pt>
                <c:pt idx="4140">
                  <c:v>44575</c:v>
                </c:pt>
                <c:pt idx="4141">
                  <c:v>44578</c:v>
                </c:pt>
                <c:pt idx="4142">
                  <c:v>44579</c:v>
                </c:pt>
                <c:pt idx="4143">
                  <c:v>44580</c:v>
                </c:pt>
                <c:pt idx="4144">
                  <c:v>44581</c:v>
                </c:pt>
                <c:pt idx="4145">
                  <c:v>44582</c:v>
                </c:pt>
                <c:pt idx="4146">
                  <c:v>44585</c:v>
                </c:pt>
                <c:pt idx="4147">
                  <c:v>44586</c:v>
                </c:pt>
                <c:pt idx="4148">
                  <c:v>44587</c:v>
                </c:pt>
                <c:pt idx="4149">
                  <c:v>44588</c:v>
                </c:pt>
                <c:pt idx="4150">
                  <c:v>44589</c:v>
                </c:pt>
                <c:pt idx="4151">
                  <c:v>44599</c:v>
                </c:pt>
                <c:pt idx="4152">
                  <c:v>44600</c:v>
                </c:pt>
                <c:pt idx="4153">
                  <c:v>44601</c:v>
                </c:pt>
                <c:pt idx="4154">
                  <c:v>44602</c:v>
                </c:pt>
                <c:pt idx="4155">
                  <c:v>44603</c:v>
                </c:pt>
                <c:pt idx="4156">
                  <c:v>44606</c:v>
                </c:pt>
                <c:pt idx="4157">
                  <c:v>44607</c:v>
                </c:pt>
                <c:pt idx="4158">
                  <c:v>44608</c:v>
                </c:pt>
                <c:pt idx="4159">
                  <c:v>44609</c:v>
                </c:pt>
                <c:pt idx="4160">
                  <c:v>44610</c:v>
                </c:pt>
                <c:pt idx="4161">
                  <c:v>44613</c:v>
                </c:pt>
                <c:pt idx="4162">
                  <c:v>44614</c:v>
                </c:pt>
                <c:pt idx="4163">
                  <c:v>44615</c:v>
                </c:pt>
                <c:pt idx="4164">
                  <c:v>44616</c:v>
                </c:pt>
                <c:pt idx="4165">
                  <c:v>44617</c:v>
                </c:pt>
                <c:pt idx="4166">
                  <c:v>44620</c:v>
                </c:pt>
                <c:pt idx="4167">
                  <c:v>44621</c:v>
                </c:pt>
                <c:pt idx="4168">
                  <c:v>44622</c:v>
                </c:pt>
                <c:pt idx="4169">
                  <c:v>44623</c:v>
                </c:pt>
                <c:pt idx="4170">
                  <c:v>44624</c:v>
                </c:pt>
                <c:pt idx="4171">
                  <c:v>44627</c:v>
                </c:pt>
                <c:pt idx="4172">
                  <c:v>44628</c:v>
                </c:pt>
                <c:pt idx="4173">
                  <c:v>44629</c:v>
                </c:pt>
                <c:pt idx="4174">
                  <c:v>44630</c:v>
                </c:pt>
                <c:pt idx="4175">
                  <c:v>44631</c:v>
                </c:pt>
                <c:pt idx="4176">
                  <c:v>44634</c:v>
                </c:pt>
                <c:pt idx="4177">
                  <c:v>44635</c:v>
                </c:pt>
                <c:pt idx="4178">
                  <c:v>44636</c:v>
                </c:pt>
                <c:pt idx="4179">
                  <c:v>44637</c:v>
                </c:pt>
                <c:pt idx="4180">
                  <c:v>44638</c:v>
                </c:pt>
                <c:pt idx="4181">
                  <c:v>44641</c:v>
                </c:pt>
                <c:pt idx="4182">
                  <c:v>44642</c:v>
                </c:pt>
                <c:pt idx="4183">
                  <c:v>44643</c:v>
                </c:pt>
                <c:pt idx="4184">
                  <c:v>44644</c:v>
                </c:pt>
                <c:pt idx="4185">
                  <c:v>44645</c:v>
                </c:pt>
                <c:pt idx="4186">
                  <c:v>44648</c:v>
                </c:pt>
                <c:pt idx="4187">
                  <c:v>44649</c:v>
                </c:pt>
                <c:pt idx="4188">
                  <c:v>44650</c:v>
                </c:pt>
                <c:pt idx="4189">
                  <c:v>44651</c:v>
                </c:pt>
                <c:pt idx="4190">
                  <c:v>44652</c:v>
                </c:pt>
                <c:pt idx="4191">
                  <c:v>44657</c:v>
                </c:pt>
                <c:pt idx="4192">
                  <c:v>44658</c:v>
                </c:pt>
                <c:pt idx="4193">
                  <c:v>44659</c:v>
                </c:pt>
                <c:pt idx="4194">
                  <c:v>44662</c:v>
                </c:pt>
                <c:pt idx="4195">
                  <c:v>44663</c:v>
                </c:pt>
                <c:pt idx="4196">
                  <c:v>44664</c:v>
                </c:pt>
                <c:pt idx="4197">
                  <c:v>44665</c:v>
                </c:pt>
                <c:pt idx="4198">
                  <c:v>44666</c:v>
                </c:pt>
                <c:pt idx="4199">
                  <c:v>44669</c:v>
                </c:pt>
              </c:numCache>
            </c:numRef>
          </c:cat>
          <c:val>
            <c:numRef>
              <c:f>turnover!$C$2:$C$4201</c:f>
              <c:numCache>
                <c:formatCode>General</c:formatCode>
                <c:ptCount val="4200"/>
                <c:pt idx="0">
                  <c:v>982.79</c:v>
                </c:pt>
                <c:pt idx="1">
                  <c:v>992.56</c:v>
                </c:pt>
                <c:pt idx="2">
                  <c:v>983.17</c:v>
                </c:pt>
                <c:pt idx="3">
                  <c:v>983.96</c:v>
                </c:pt>
                <c:pt idx="4">
                  <c:v>993.88</c:v>
                </c:pt>
                <c:pt idx="5">
                  <c:v>997.14</c:v>
                </c:pt>
                <c:pt idx="6">
                  <c:v>996.75</c:v>
                </c:pt>
                <c:pt idx="7">
                  <c:v>996.88</c:v>
                </c:pt>
                <c:pt idx="8">
                  <c:v>988.31</c:v>
                </c:pt>
                <c:pt idx="9">
                  <c:v>967.45</c:v>
                </c:pt>
                <c:pt idx="10">
                  <c:v>974.69</c:v>
                </c:pt>
                <c:pt idx="11">
                  <c:v>967.21</c:v>
                </c:pt>
                <c:pt idx="12">
                  <c:v>956.25</c:v>
                </c:pt>
                <c:pt idx="13">
                  <c:v>982.6</c:v>
                </c:pt>
                <c:pt idx="14">
                  <c:v>998.13</c:v>
                </c:pt>
                <c:pt idx="15">
                  <c:v>997.78</c:v>
                </c:pt>
                <c:pt idx="16">
                  <c:v>989.93</c:v>
                </c:pt>
                <c:pt idx="17">
                  <c:v>974.63</c:v>
                </c:pt>
                <c:pt idx="18">
                  <c:v>969.21</c:v>
                </c:pt>
                <c:pt idx="19">
                  <c:v>954.88</c:v>
                </c:pt>
                <c:pt idx="20">
                  <c:v>955.95</c:v>
                </c:pt>
                <c:pt idx="21">
                  <c:v>1006.91</c:v>
                </c:pt>
                <c:pt idx="22">
                  <c:v>993.22</c:v>
                </c:pt>
                <c:pt idx="23">
                  <c:v>1016.86</c:v>
                </c:pt>
                <c:pt idx="24">
                  <c:v>1023.58</c:v>
                </c:pt>
                <c:pt idx="25">
                  <c:v>1020.61</c:v>
                </c:pt>
                <c:pt idx="26">
                  <c:v>1006.06</c:v>
                </c:pt>
                <c:pt idx="27">
                  <c:v>1025.6300000000001</c:v>
                </c:pt>
                <c:pt idx="28">
                  <c:v>1046.74</c:v>
                </c:pt>
                <c:pt idx="29">
                  <c:v>1043.94</c:v>
                </c:pt>
                <c:pt idx="30">
                  <c:v>1045.46</c:v>
                </c:pt>
                <c:pt idx="31">
                  <c:v>1046.76</c:v>
                </c:pt>
                <c:pt idx="32">
                  <c:v>1039.99</c:v>
                </c:pt>
                <c:pt idx="33">
                  <c:v>1035.93</c:v>
                </c:pt>
                <c:pt idx="34">
                  <c:v>1021.32</c:v>
                </c:pt>
                <c:pt idx="35">
                  <c:v>1027.71</c:v>
                </c:pt>
                <c:pt idx="36">
                  <c:v>1023.67</c:v>
                </c:pt>
                <c:pt idx="37">
                  <c:v>1029.8699999999999</c:v>
                </c:pt>
                <c:pt idx="38">
                  <c:v>1048.99</c:v>
                </c:pt>
                <c:pt idx="39">
                  <c:v>1046.54</c:v>
                </c:pt>
                <c:pt idx="40">
                  <c:v>1022.41</c:v>
                </c:pt>
                <c:pt idx="41">
                  <c:v>1027.43</c:v>
                </c:pt>
                <c:pt idx="42">
                  <c:v>1031.03</c:v>
                </c:pt>
                <c:pt idx="43">
                  <c:v>1013.52</c:v>
                </c:pt>
                <c:pt idx="44">
                  <c:v>1003.07</c:v>
                </c:pt>
                <c:pt idx="45">
                  <c:v>992.86</c:v>
                </c:pt>
                <c:pt idx="46">
                  <c:v>978.67</c:v>
                </c:pt>
                <c:pt idx="47">
                  <c:v>981.89</c:v>
                </c:pt>
                <c:pt idx="48">
                  <c:v>964.02</c:v>
                </c:pt>
                <c:pt idx="49">
                  <c:v>959.01</c:v>
                </c:pt>
                <c:pt idx="50">
                  <c:v>964.8</c:v>
                </c:pt>
                <c:pt idx="51">
                  <c:v>962.96</c:v>
                </c:pt>
                <c:pt idx="52">
                  <c:v>960.7</c:v>
                </c:pt>
                <c:pt idx="53">
                  <c:v>955.19</c:v>
                </c:pt>
                <c:pt idx="54">
                  <c:v>937.03</c:v>
                </c:pt>
                <c:pt idx="55">
                  <c:v>942.2</c:v>
                </c:pt>
                <c:pt idx="56">
                  <c:v>978.15</c:v>
                </c:pt>
                <c:pt idx="57">
                  <c:v>962.17</c:v>
                </c:pt>
                <c:pt idx="58">
                  <c:v>955.6</c:v>
                </c:pt>
                <c:pt idx="59">
                  <c:v>973.67</c:v>
                </c:pt>
                <c:pt idx="60">
                  <c:v>984.73</c:v>
                </c:pt>
                <c:pt idx="61">
                  <c:v>1003.45</c:v>
                </c:pt>
                <c:pt idx="62">
                  <c:v>995.42</c:v>
                </c:pt>
                <c:pt idx="63">
                  <c:v>978.7</c:v>
                </c:pt>
                <c:pt idx="64">
                  <c:v>1000.9</c:v>
                </c:pt>
                <c:pt idx="65">
                  <c:v>986.98</c:v>
                </c:pt>
                <c:pt idx="66">
                  <c:v>974.08</c:v>
                </c:pt>
                <c:pt idx="67">
                  <c:v>963.77</c:v>
                </c:pt>
                <c:pt idx="68">
                  <c:v>965.89</c:v>
                </c:pt>
                <c:pt idx="69">
                  <c:v>950.87</c:v>
                </c:pt>
                <c:pt idx="70">
                  <c:v>943.98</c:v>
                </c:pt>
                <c:pt idx="71">
                  <c:v>939.1</c:v>
                </c:pt>
                <c:pt idx="72">
                  <c:v>930.07</c:v>
                </c:pt>
                <c:pt idx="73">
                  <c:v>937.08</c:v>
                </c:pt>
                <c:pt idx="74">
                  <c:v>926.6</c:v>
                </c:pt>
                <c:pt idx="75">
                  <c:v>942.07</c:v>
                </c:pt>
                <c:pt idx="76">
                  <c:v>932.4</c:v>
                </c:pt>
                <c:pt idx="77">
                  <c:v>909.17</c:v>
                </c:pt>
                <c:pt idx="78">
                  <c:v>913.08</c:v>
                </c:pt>
                <c:pt idx="79">
                  <c:v>901.85</c:v>
                </c:pt>
                <c:pt idx="80">
                  <c:v>885.82</c:v>
                </c:pt>
                <c:pt idx="81">
                  <c:v>887.54</c:v>
                </c:pt>
                <c:pt idx="82">
                  <c:v>875.27</c:v>
                </c:pt>
                <c:pt idx="83">
                  <c:v>881.46</c:v>
                </c:pt>
                <c:pt idx="84">
                  <c:v>883.2</c:v>
                </c:pt>
                <c:pt idx="85">
                  <c:v>884.17</c:v>
                </c:pt>
                <c:pt idx="86">
                  <c:v>882.76</c:v>
                </c:pt>
                <c:pt idx="87">
                  <c:v>863.34</c:v>
                </c:pt>
                <c:pt idx="88">
                  <c:v>868.46</c:v>
                </c:pt>
                <c:pt idx="89">
                  <c:v>868.45</c:v>
                </c:pt>
                <c:pt idx="90">
                  <c:v>857.33</c:v>
                </c:pt>
                <c:pt idx="91">
                  <c:v>849.51</c:v>
                </c:pt>
                <c:pt idx="92">
                  <c:v>855.61</c:v>
                </c:pt>
                <c:pt idx="93">
                  <c:v>855.95</c:v>
                </c:pt>
                <c:pt idx="94">
                  <c:v>837.53</c:v>
                </c:pt>
                <c:pt idx="95">
                  <c:v>818.38</c:v>
                </c:pt>
                <c:pt idx="96">
                  <c:v>818.03</c:v>
                </c:pt>
                <c:pt idx="97">
                  <c:v>839</c:v>
                </c:pt>
                <c:pt idx="98">
                  <c:v>837.28</c:v>
                </c:pt>
                <c:pt idx="99">
                  <c:v>905.77</c:v>
                </c:pt>
                <c:pt idx="100">
                  <c:v>912.6</c:v>
                </c:pt>
                <c:pt idx="101">
                  <c:v>894.56</c:v>
                </c:pt>
                <c:pt idx="102">
                  <c:v>892.96</c:v>
                </c:pt>
                <c:pt idx="103">
                  <c:v>883.54</c:v>
                </c:pt>
                <c:pt idx="104">
                  <c:v>866.83</c:v>
                </c:pt>
                <c:pt idx="105">
                  <c:v>879.24</c:v>
                </c:pt>
                <c:pt idx="106">
                  <c:v>880.35</c:v>
                </c:pt>
                <c:pt idx="107">
                  <c:v>906.26</c:v>
                </c:pt>
                <c:pt idx="108">
                  <c:v>896.17</c:v>
                </c:pt>
                <c:pt idx="109">
                  <c:v>900.65</c:v>
                </c:pt>
                <c:pt idx="110">
                  <c:v>893.57</c:v>
                </c:pt>
                <c:pt idx="111">
                  <c:v>898.3</c:v>
                </c:pt>
                <c:pt idx="112">
                  <c:v>916.04</c:v>
                </c:pt>
                <c:pt idx="113">
                  <c:v>903.72</c:v>
                </c:pt>
                <c:pt idx="114">
                  <c:v>898.9</c:v>
                </c:pt>
                <c:pt idx="115">
                  <c:v>878.69</c:v>
                </c:pt>
                <c:pt idx="116">
                  <c:v>859.49</c:v>
                </c:pt>
                <c:pt idx="117">
                  <c:v>855.93</c:v>
                </c:pt>
                <c:pt idx="118">
                  <c:v>849.68</c:v>
                </c:pt>
                <c:pt idx="119">
                  <c:v>842.56</c:v>
                </c:pt>
                <c:pt idx="120">
                  <c:v>844.73</c:v>
                </c:pt>
                <c:pt idx="121">
                  <c:v>829.49</c:v>
                </c:pt>
                <c:pt idx="122">
                  <c:v>824.1</c:v>
                </c:pt>
                <c:pt idx="123">
                  <c:v>851.82</c:v>
                </c:pt>
                <c:pt idx="124">
                  <c:v>846.23</c:v>
                </c:pt>
                <c:pt idx="125">
                  <c:v>849.59</c:v>
                </c:pt>
                <c:pt idx="126">
                  <c:v>841</c:v>
                </c:pt>
                <c:pt idx="127">
                  <c:v>833</c:v>
                </c:pt>
                <c:pt idx="128">
                  <c:v>835.61</c:v>
                </c:pt>
                <c:pt idx="129">
                  <c:v>842.64</c:v>
                </c:pt>
                <c:pt idx="130">
                  <c:v>843.99</c:v>
                </c:pt>
                <c:pt idx="131">
                  <c:v>859.69</c:v>
                </c:pt>
                <c:pt idx="132">
                  <c:v>856.86</c:v>
                </c:pt>
                <c:pt idx="133">
                  <c:v>876.48</c:v>
                </c:pt>
                <c:pt idx="134">
                  <c:v>894.01</c:v>
                </c:pt>
                <c:pt idx="135">
                  <c:v>890.89</c:v>
                </c:pt>
                <c:pt idx="136">
                  <c:v>888.16</c:v>
                </c:pt>
                <c:pt idx="137">
                  <c:v>891.61</c:v>
                </c:pt>
                <c:pt idx="138">
                  <c:v>903.6</c:v>
                </c:pt>
                <c:pt idx="139">
                  <c:v>909.57</c:v>
                </c:pt>
                <c:pt idx="140">
                  <c:v>904.15</c:v>
                </c:pt>
                <c:pt idx="141">
                  <c:v>923.8</c:v>
                </c:pt>
                <c:pt idx="142">
                  <c:v>927.47</c:v>
                </c:pt>
                <c:pt idx="143">
                  <c:v>933.09</c:v>
                </c:pt>
                <c:pt idx="144">
                  <c:v>940.37</c:v>
                </c:pt>
                <c:pt idx="145">
                  <c:v>953.99</c:v>
                </c:pt>
                <c:pt idx="146">
                  <c:v>938.32</c:v>
                </c:pt>
                <c:pt idx="147">
                  <c:v>954.5</c:v>
                </c:pt>
                <c:pt idx="148">
                  <c:v>945.06</c:v>
                </c:pt>
                <c:pt idx="149">
                  <c:v>953.01</c:v>
                </c:pt>
                <c:pt idx="150">
                  <c:v>920.67</c:v>
                </c:pt>
                <c:pt idx="151">
                  <c:v>923.04</c:v>
                </c:pt>
                <c:pt idx="152">
                  <c:v>931.67</c:v>
                </c:pt>
                <c:pt idx="153">
                  <c:v>923.41</c:v>
                </c:pt>
                <c:pt idx="154">
                  <c:v>930.65</c:v>
                </c:pt>
                <c:pt idx="155">
                  <c:v>930.12</c:v>
                </c:pt>
                <c:pt idx="156">
                  <c:v>928.26</c:v>
                </c:pt>
                <c:pt idx="157">
                  <c:v>917.37</c:v>
                </c:pt>
                <c:pt idx="158">
                  <c:v>914.88</c:v>
                </c:pt>
                <c:pt idx="159">
                  <c:v>927.92</c:v>
                </c:pt>
                <c:pt idx="160">
                  <c:v>944.56</c:v>
                </c:pt>
                <c:pt idx="161">
                  <c:v>947.87</c:v>
                </c:pt>
                <c:pt idx="162">
                  <c:v>952.72</c:v>
                </c:pt>
                <c:pt idx="163">
                  <c:v>936.61</c:v>
                </c:pt>
                <c:pt idx="164">
                  <c:v>952.76</c:v>
                </c:pt>
                <c:pt idx="165">
                  <c:v>955.28</c:v>
                </c:pt>
                <c:pt idx="166">
                  <c:v>949.07</c:v>
                </c:pt>
                <c:pt idx="167">
                  <c:v>949.51</c:v>
                </c:pt>
                <c:pt idx="168">
                  <c:v>963.77</c:v>
                </c:pt>
                <c:pt idx="169">
                  <c:v>970.19</c:v>
                </c:pt>
                <c:pt idx="170">
                  <c:v>969.6</c:v>
                </c:pt>
                <c:pt idx="171">
                  <c:v>967.5</c:v>
                </c:pt>
                <c:pt idx="172">
                  <c:v>971.14</c:v>
                </c:pt>
                <c:pt idx="173">
                  <c:v>961.92</c:v>
                </c:pt>
                <c:pt idx="174">
                  <c:v>944.41</c:v>
                </c:pt>
                <c:pt idx="175">
                  <c:v>923.27</c:v>
                </c:pt>
                <c:pt idx="176">
                  <c:v>916.15</c:v>
                </c:pt>
                <c:pt idx="177">
                  <c:v>918.49</c:v>
                </c:pt>
                <c:pt idx="178">
                  <c:v>904.21</c:v>
                </c:pt>
                <c:pt idx="179">
                  <c:v>903.72</c:v>
                </c:pt>
                <c:pt idx="180">
                  <c:v>915.98</c:v>
                </c:pt>
                <c:pt idx="181">
                  <c:v>917.39</c:v>
                </c:pt>
                <c:pt idx="182">
                  <c:v>907.32</c:v>
                </c:pt>
                <c:pt idx="183">
                  <c:v>919.72</c:v>
                </c:pt>
                <c:pt idx="184">
                  <c:v>923.49</c:v>
                </c:pt>
                <c:pt idx="185">
                  <c:v>916.5</c:v>
                </c:pt>
                <c:pt idx="186">
                  <c:v>904.83</c:v>
                </c:pt>
                <c:pt idx="187">
                  <c:v>897.62</c:v>
                </c:pt>
                <c:pt idx="188">
                  <c:v>902.37</c:v>
                </c:pt>
                <c:pt idx="189">
                  <c:v>898.74</c:v>
                </c:pt>
                <c:pt idx="190">
                  <c:v>899.92</c:v>
                </c:pt>
                <c:pt idx="191">
                  <c:v>904.41</c:v>
                </c:pt>
                <c:pt idx="192">
                  <c:v>906.65</c:v>
                </c:pt>
                <c:pt idx="193">
                  <c:v>894.27</c:v>
                </c:pt>
                <c:pt idx="194">
                  <c:v>875.82</c:v>
                </c:pt>
                <c:pt idx="195">
                  <c:v>875.85</c:v>
                </c:pt>
                <c:pt idx="196">
                  <c:v>867.73</c:v>
                </c:pt>
                <c:pt idx="197">
                  <c:v>876.28</c:v>
                </c:pt>
                <c:pt idx="198">
                  <c:v>872.87</c:v>
                </c:pt>
                <c:pt idx="199">
                  <c:v>882.48</c:v>
                </c:pt>
                <c:pt idx="200">
                  <c:v>874.58</c:v>
                </c:pt>
                <c:pt idx="201">
                  <c:v>878.36</c:v>
                </c:pt>
                <c:pt idx="202">
                  <c:v>877.28</c:v>
                </c:pt>
                <c:pt idx="203">
                  <c:v>881.52</c:v>
                </c:pt>
                <c:pt idx="204">
                  <c:v>879.25</c:v>
                </c:pt>
                <c:pt idx="205">
                  <c:v>862.97</c:v>
                </c:pt>
                <c:pt idx="206">
                  <c:v>864.79</c:v>
                </c:pt>
                <c:pt idx="207">
                  <c:v>862.15</c:v>
                </c:pt>
                <c:pt idx="208">
                  <c:v>856.64</c:v>
                </c:pt>
                <c:pt idx="209">
                  <c:v>863.12</c:v>
                </c:pt>
                <c:pt idx="210">
                  <c:v>862.66</c:v>
                </c:pt>
                <c:pt idx="211">
                  <c:v>882.24</c:v>
                </c:pt>
                <c:pt idx="212">
                  <c:v>883.87</c:v>
                </c:pt>
                <c:pt idx="213">
                  <c:v>869.62</c:v>
                </c:pt>
                <c:pt idx="214">
                  <c:v>876.23</c:v>
                </c:pt>
                <c:pt idx="215">
                  <c:v>881.49</c:v>
                </c:pt>
                <c:pt idx="216">
                  <c:v>884.11</c:v>
                </c:pt>
                <c:pt idx="217">
                  <c:v>880.17</c:v>
                </c:pt>
                <c:pt idx="218">
                  <c:v>871.31</c:v>
                </c:pt>
                <c:pt idx="219">
                  <c:v>873.83</c:v>
                </c:pt>
                <c:pt idx="220">
                  <c:v>873.07</c:v>
                </c:pt>
                <c:pt idx="221">
                  <c:v>869.94</c:v>
                </c:pt>
                <c:pt idx="222">
                  <c:v>859.61</c:v>
                </c:pt>
                <c:pt idx="223">
                  <c:v>866.08</c:v>
                </c:pt>
                <c:pt idx="224">
                  <c:v>873.84</c:v>
                </c:pt>
                <c:pt idx="225">
                  <c:v>874.06</c:v>
                </c:pt>
                <c:pt idx="226">
                  <c:v>887.36</c:v>
                </c:pt>
                <c:pt idx="227">
                  <c:v>888.52</c:v>
                </c:pt>
                <c:pt idx="228">
                  <c:v>889.1</c:v>
                </c:pt>
                <c:pt idx="229">
                  <c:v>898.15</c:v>
                </c:pt>
                <c:pt idx="230">
                  <c:v>896.43</c:v>
                </c:pt>
                <c:pt idx="231">
                  <c:v>902.56</c:v>
                </c:pt>
                <c:pt idx="232">
                  <c:v>902.91</c:v>
                </c:pt>
                <c:pt idx="233">
                  <c:v>907.32</c:v>
                </c:pt>
                <c:pt idx="234">
                  <c:v>903.14</c:v>
                </c:pt>
                <c:pt idx="235">
                  <c:v>908.75</c:v>
                </c:pt>
                <c:pt idx="236">
                  <c:v>915.89</c:v>
                </c:pt>
                <c:pt idx="237">
                  <c:v>922.38</c:v>
                </c:pt>
                <c:pt idx="238">
                  <c:v>919.36</c:v>
                </c:pt>
                <c:pt idx="239">
                  <c:v>920.92</c:v>
                </c:pt>
                <c:pt idx="240">
                  <c:v>932.03</c:v>
                </c:pt>
                <c:pt idx="241">
                  <c:v>923.45</c:v>
                </c:pt>
                <c:pt idx="242">
                  <c:v>941.43</c:v>
                </c:pt>
                <c:pt idx="243">
                  <c:v>959.13</c:v>
                </c:pt>
                <c:pt idx="244">
                  <c:v>970.03</c:v>
                </c:pt>
                <c:pt idx="245">
                  <c:v>975.25</c:v>
                </c:pt>
                <c:pt idx="246">
                  <c:v>978.15</c:v>
                </c:pt>
                <c:pt idx="247">
                  <c:v>973.48</c:v>
                </c:pt>
                <c:pt idx="248">
                  <c:v>983.72</c:v>
                </c:pt>
                <c:pt idx="249">
                  <c:v>978.81</c:v>
                </c:pt>
                <c:pt idx="250">
                  <c:v>961.44</c:v>
                </c:pt>
                <c:pt idx="251">
                  <c:v>964.29</c:v>
                </c:pt>
                <c:pt idx="252">
                  <c:v>983.62</c:v>
                </c:pt>
                <c:pt idx="253">
                  <c:v>991.22</c:v>
                </c:pt>
                <c:pt idx="254">
                  <c:v>993.34</c:v>
                </c:pt>
                <c:pt idx="255">
                  <c:v>996.16</c:v>
                </c:pt>
                <c:pt idx="256">
                  <c:v>999.09</c:v>
                </c:pt>
                <c:pt idx="257">
                  <c:v>1009.6</c:v>
                </c:pt>
                <c:pt idx="258">
                  <c:v>1033.23</c:v>
                </c:pt>
                <c:pt idx="259">
                  <c:v>1029.94</c:v>
                </c:pt>
                <c:pt idx="260">
                  <c:v>1033.07</c:v>
                </c:pt>
                <c:pt idx="261">
                  <c:v>1019.6</c:v>
                </c:pt>
                <c:pt idx="262">
                  <c:v>1032.3399999999999</c:v>
                </c:pt>
                <c:pt idx="263">
                  <c:v>1031.6099999999999</c:v>
                </c:pt>
                <c:pt idx="264">
                  <c:v>1038.53</c:v>
                </c:pt>
                <c:pt idx="265">
                  <c:v>1041.6600000000001</c:v>
                </c:pt>
                <c:pt idx="266">
                  <c:v>1020.12</c:v>
                </c:pt>
                <c:pt idx="267">
                  <c:v>1020.37</c:v>
                </c:pt>
                <c:pt idx="268">
                  <c:v>1021.64</c:v>
                </c:pt>
                <c:pt idx="269">
                  <c:v>1038.82</c:v>
                </c:pt>
                <c:pt idx="270">
                  <c:v>1037.8900000000001</c:v>
                </c:pt>
                <c:pt idx="271">
                  <c:v>1041.3699999999999</c:v>
                </c:pt>
                <c:pt idx="272">
                  <c:v>1049.44</c:v>
                </c:pt>
                <c:pt idx="273">
                  <c:v>1047.8499999999999</c:v>
                </c:pt>
                <c:pt idx="274">
                  <c:v>1053.01</c:v>
                </c:pt>
                <c:pt idx="275">
                  <c:v>1056.6199999999999</c:v>
                </c:pt>
                <c:pt idx="276">
                  <c:v>1038.67</c:v>
                </c:pt>
                <c:pt idx="277">
                  <c:v>1041.68</c:v>
                </c:pt>
                <c:pt idx="278">
                  <c:v>1038.8699999999999</c:v>
                </c:pt>
                <c:pt idx="279">
                  <c:v>1014.97</c:v>
                </c:pt>
                <c:pt idx="280">
                  <c:v>1009.27</c:v>
                </c:pt>
                <c:pt idx="281">
                  <c:v>1004.34</c:v>
                </c:pt>
                <c:pt idx="282">
                  <c:v>1008.9</c:v>
                </c:pt>
                <c:pt idx="283">
                  <c:v>1019.86</c:v>
                </c:pt>
                <c:pt idx="284">
                  <c:v>1018.27</c:v>
                </c:pt>
                <c:pt idx="285">
                  <c:v>1028.96</c:v>
                </c:pt>
                <c:pt idx="286">
                  <c:v>1027.6199999999999</c:v>
                </c:pt>
                <c:pt idx="287">
                  <c:v>1024.02</c:v>
                </c:pt>
                <c:pt idx="288">
                  <c:v>1037.6600000000001</c:v>
                </c:pt>
                <c:pt idx="289">
                  <c:v>1040.76</c:v>
                </c:pt>
                <c:pt idx="290">
                  <c:v>1047.67</c:v>
                </c:pt>
                <c:pt idx="291">
                  <c:v>1048.54</c:v>
                </c:pt>
                <c:pt idx="292">
                  <c:v>1042.5999999999999</c:v>
                </c:pt>
                <c:pt idx="293">
                  <c:v>1050.71</c:v>
                </c:pt>
                <c:pt idx="294">
                  <c:v>1055.98</c:v>
                </c:pt>
                <c:pt idx="295">
                  <c:v>1065.29</c:v>
                </c:pt>
                <c:pt idx="296">
                  <c:v>1055.6300000000001</c:v>
                </c:pt>
                <c:pt idx="297">
                  <c:v>1061.0899999999999</c:v>
                </c:pt>
                <c:pt idx="298">
                  <c:v>1079.32</c:v>
                </c:pt>
                <c:pt idx="299">
                  <c:v>1089.3699999999999</c:v>
                </c:pt>
                <c:pt idx="300">
                  <c:v>1099.97</c:v>
                </c:pt>
                <c:pt idx="301">
                  <c:v>1103.24</c:v>
                </c:pt>
                <c:pt idx="302">
                  <c:v>1103.1500000000001</c:v>
                </c:pt>
                <c:pt idx="303">
                  <c:v>1117.9100000000001</c:v>
                </c:pt>
                <c:pt idx="304">
                  <c:v>1123.31</c:v>
                </c:pt>
                <c:pt idx="305">
                  <c:v>1117.07</c:v>
                </c:pt>
                <c:pt idx="306">
                  <c:v>1093.93</c:v>
                </c:pt>
                <c:pt idx="307">
                  <c:v>1118.6099999999999</c:v>
                </c:pt>
                <c:pt idx="308">
                  <c:v>1124.4100000000001</c:v>
                </c:pt>
                <c:pt idx="309">
                  <c:v>1131.28</c:v>
                </c:pt>
                <c:pt idx="310">
                  <c:v>1138.24</c:v>
                </c:pt>
                <c:pt idx="311">
                  <c:v>1134.3800000000001</c:v>
                </c:pt>
                <c:pt idx="312">
                  <c:v>1149.1600000000001</c:v>
                </c:pt>
                <c:pt idx="313">
                  <c:v>1142.7</c:v>
                </c:pt>
                <c:pt idx="314">
                  <c:v>1141.93</c:v>
                </c:pt>
                <c:pt idx="315">
                  <c:v>1155.73</c:v>
                </c:pt>
                <c:pt idx="316">
                  <c:v>1155.27</c:v>
                </c:pt>
                <c:pt idx="317">
                  <c:v>1172.3499999999999</c:v>
                </c:pt>
                <c:pt idx="318">
                  <c:v>1218.45</c:v>
                </c:pt>
                <c:pt idx="319">
                  <c:v>1251.6099999999999</c:v>
                </c:pt>
                <c:pt idx="320">
                  <c:v>1265.93</c:v>
                </c:pt>
                <c:pt idx="321">
                  <c:v>1255.04</c:v>
                </c:pt>
                <c:pt idx="322">
                  <c:v>1296.26</c:v>
                </c:pt>
                <c:pt idx="323">
                  <c:v>1352.16</c:v>
                </c:pt>
                <c:pt idx="324">
                  <c:v>1331.13</c:v>
                </c:pt>
                <c:pt idx="325">
                  <c:v>1335.52</c:v>
                </c:pt>
                <c:pt idx="326">
                  <c:v>1331.2</c:v>
                </c:pt>
                <c:pt idx="327">
                  <c:v>1366.1</c:v>
                </c:pt>
                <c:pt idx="328">
                  <c:v>1373.67</c:v>
                </c:pt>
                <c:pt idx="329">
                  <c:v>1317.65</c:v>
                </c:pt>
                <c:pt idx="330">
                  <c:v>1308.24</c:v>
                </c:pt>
                <c:pt idx="331">
                  <c:v>1307.7</c:v>
                </c:pt>
                <c:pt idx="332">
                  <c:v>1331.02</c:v>
                </c:pt>
                <c:pt idx="333">
                  <c:v>1366.29</c:v>
                </c:pt>
                <c:pt idx="334">
                  <c:v>1378.76</c:v>
                </c:pt>
                <c:pt idx="335">
                  <c:v>1365.45</c:v>
                </c:pt>
                <c:pt idx="336">
                  <c:v>1402.88</c:v>
                </c:pt>
                <c:pt idx="337">
                  <c:v>1390.12</c:v>
                </c:pt>
                <c:pt idx="338">
                  <c:v>1403.16</c:v>
                </c:pt>
                <c:pt idx="339">
                  <c:v>1399.14</c:v>
                </c:pt>
                <c:pt idx="340">
                  <c:v>1320.23</c:v>
                </c:pt>
                <c:pt idx="341">
                  <c:v>1325.98</c:v>
                </c:pt>
                <c:pt idx="342">
                  <c:v>1294.19</c:v>
                </c:pt>
                <c:pt idx="343">
                  <c:v>1297.67</c:v>
                </c:pt>
                <c:pt idx="344">
                  <c:v>1298.28</c:v>
                </c:pt>
                <c:pt idx="345">
                  <c:v>1283.8800000000001</c:v>
                </c:pt>
                <c:pt idx="346">
                  <c:v>1285.3900000000001</c:v>
                </c:pt>
                <c:pt idx="347">
                  <c:v>1318.01</c:v>
                </c:pt>
                <c:pt idx="348">
                  <c:v>1334.89</c:v>
                </c:pt>
                <c:pt idx="349">
                  <c:v>1338.22</c:v>
                </c:pt>
                <c:pt idx="350">
                  <c:v>1333.53</c:v>
                </c:pt>
                <c:pt idx="351">
                  <c:v>1331.55</c:v>
                </c:pt>
                <c:pt idx="352">
                  <c:v>1339.45</c:v>
                </c:pt>
                <c:pt idx="353">
                  <c:v>1363.41</c:v>
                </c:pt>
                <c:pt idx="354">
                  <c:v>1363.9</c:v>
                </c:pt>
                <c:pt idx="355">
                  <c:v>1362.89</c:v>
                </c:pt>
                <c:pt idx="356">
                  <c:v>1395.12</c:v>
                </c:pt>
                <c:pt idx="357">
                  <c:v>1393.96</c:v>
                </c:pt>
                <c:pt idx="358">
                  <c:v>1420.33</c:v>
                </c:pt>
                <c:pt idx="359">
                  <c:v>1411.01</c:v>
                </c:pt>
                <c:pt idx="360">
                  <c:v>1393.01</c:v>
                </c:pt>
                <c:pt idx="361">
                  <c:v>1418.68</c:v>
                </c:pt>
                <c:pt idx="362">
                  <c:v>1410.43</c:v>
                </c:pt>
                <c:pt idx="363">
                  <c:v>1412.12</c:v>
                </c:pt>
                <c:pt idx="364">
                  <c:v>1418.58</c:v>
                </c:pt>
                <c:pt idx="365">
                  <c:v>1419.2</c:v>
                </c:pt>
                <c:pt idx="366">
                  <c:v>1346.09</c:v>
                </c:pt>
                <c:pt idx="367">
                  <c:v>1357.13</c:v>
                </c:pt>
                <c:pt idx="368">
                  <c:v>1372.25</c:v>
                </c:pt>
                <c:pt idx="369">
                  <c:v>1373.42</c:v>
                </c:pt>
                <c:pt idx="370">
                  <c:v>1336.64</c:v>
                </c:pt>
                <c:pt idx="371">
                  <c:v>1345.19</c:v>
                </c:pt>
                <c:pt idx="372">
                  <c:v>1356.03</c:v>
                </c:pt>
                <c:pt idx="373">
                  <c:v>1358.12</c:v>
                </c:pt>
                <c:pt idx="374">
                  <c:v>1374.17</c:v>
                </c:pt>
                <c:pt idx="375">
                  <c:v>1371.3</c:v>
                </c:pt>
                <c:pt idx="376">
                  <c:v>1355.55</c:v>
                </c:pt>
                <c:pt idx="377">
                  <c:v>1341.39</c:v>
                </c:pt>
                <c:pt idx="378">
                  <c:v>1294.33</c:v>
                </c:pt>
                <c:pt idx="379">
                  <c:v>1282.06</c:v>
                </c:pt>
                <c:pt idx="380">
                  <c:v>1275.0899999999999</c:v>
                </c:pt>
                <c:pt idx="381">
                  <c:v>1271.74</c:v>
                </c:pt>
                <c:pt idx="382">
                  <c:v>1241.9100000000001</c:v>
                </c:pt>
                <c:pt idx="383">
                  <c:v>1224.0999999999999</c:v>
                </c:pt>
                <c:pt idx="384">
                  <c:v>1252.3900000000001</c:v>
                </c:pt>
                <c:pt idx="385">
                  <c:v>1251.3</c:v>
                </c:pt>
                <c:pt idx="386">
                  <c:v>1271.47</c:v>
                </c:pt>
                <c:pt idx="387">
                  <c:v>1275.6500000000001</c:v>
                </c:pt>
                <c:pt idx="388">
                  <c:v>1245.72</c:v>
                </c:pt>
                <c:pt idx="389">
                  <c:v>1265.8599999999999</c:v>
                </c:pt>
                <c:pt idx="390">
                  <c:v>1283.57</c:v>
                </c:pt>
                <c:pt idx="391">
                  <c:v>1271.6300000000001</c:v>
                </c:pt>
                <c:pt idx="392">
                  <c:v>1267.8699999999999</c:v>
                </c:pt>
                <c:pt idx="393">
                  <c:v>1270.56</c:v>
                </c:pt>
                <c:pt idx="394">
                  <c:v>1285.27</c:v>
                </c:pt>
                <c:pt idx="395">
                  <c:v>1285.68</c:v>
                </c:pt>
                <c:pt idx="396">
                  <c:v>1292.4000000000001</c:v>
                </c:pt>
                <c:pt idx="397">
                  <c:v>1295.44</c:v>
                </c:pt>
                <c:pt idx="398">
                  <c:v>1325.89</c:v>
                </c:pt>
                <c:pt idx="399">
                  <c:v>1330.16</c:v>
                </c:pt>
                <c:pt idx="400">
                  <c:v>1334.67</c:v>
                </c:pt>
                <c:pt idx="401">
                  <c:v>1338.69</c:v>
                </c:pt>
                <c:pt idx="402">
                  <c:v>1318.1</c:v>
                </c:pt>
                <c:pt idx="403">
                  <c:v>1337.24</c:v>
                </c:pt>
                <c:pt idx="404">
                  <c:v>1340.68</c:v>
                </c:pt>
                <c:pt idx="405">
                  <c:v>1346.37</c:v>
                </c:pt>
                <c:pt idx="406">
                  <c:v>1328.38</c:v>
                </c:pt>
                <c:pt idx="407">
                  <c:v>1332.15</c:v>
                </c:pt>
                <c:pt idx="408">
                  <c:v>1338.76</c:v>
                </c:pt>
                <c:pt idx="409">
                  <c:v>1347.64</c:v>
                </c:pt>
                <c:pt idx="410">
                  <c:v>1338.39</c:v>
                </c:pt>
                <c:pt idx="411">
                  <c:v>1338.28</c:v>
                </c:pt>
                <c:pt idx="412">
                  <c:v>1362.32</c:v>
                </c:pt>
                <c:pt idx="413">
                  <c:v>1375.56</c:v>
                </c:pt>
                <c:pt idx="414">
                  <c:v>1378.31</c:v>
                </c:pt>
                <c:pt idx="415">
                  <c:v>1378.46</c:v>
                </c:pt>
                <c:pt idx="416">
                  <c:v>1387.37</c:v>
                </c:pt>
                <c:pt idx="417">
                  <c:v>1374.85</c:v>
                </c:pt>
                <c:pt idx="418">
                  <c:v>1372.4</c:v>
                </c:pt>
                <c:pt idx="419">
                  <c:v>1357.65</c:v>
                </c:pt>
                <c:pt idx="420">
                  <c:v>1371.12</c:v>
                </c:pt>
                <c:pt idx="421">
                  <c:v>1387</c:v>
                </c:pt>
                <c:pt idx="422">
                  <c:v>1403.27</c:v>
                </c:pt>
                <c:pt idx="423">
                  <c:v>1436.07</c:v>
                </c:pt>
                <c:pt idx="424">
                  <c:v>1437.25</c:v>
                </c:pt>
                <c:pt idx="425">
                  <c:v>1435.91</c:v>
                </c:pt>
                <c:pt idx="426">
                  <c:v>1426.5</c:v>
                </c:pt>
                <c:pt idx="427">
                  <c:v>1430.88</c:v>
                </c:pt>
                <c:pt idx="428">
                  <c:v>1418.52</c:v>
                </c:pt>
                <c:pt idx="429">
                  <c:v>1414.45</c:v>
                </c:pt>
                <c:pt idx="430">
                  <c:v>1437.59</c:v>
                </c:pt>
                <c:pt idx="431">
                  <c:v>1439.38</c:v>
                </c:pt>
                <c:pt idx="432">
                  <c:v>1440.18</c:v>
                </c:pt>
                <c:pt idx="433">
                  <c:v>1408.72</c:v>
                </c:pt>
                <c:pt idx="434">
                  <c:v>1440.05</c:v>
                </c:pt>
                <c:pt idx="435">
                  <c:v>1446.83</c:v>
                </c:pt>
                <c:pt idx="436">
                  <c:v>1456.1</c:v>
                </c:pt>
                <c:pt idx="437">
                  <c:v>1439.05</c:v>
                </c:pt>
                <c:pt idx="438">
                  <c:v>1446.24</c:v>
                </c:pt>
                <c:pt idx="439">
                  <c:v>1464.47</c:v>
                </c:pt>
                <c:pt idx="440">
                  <c:v>1479.41</c:v>
                </c:pt>
                <c:pt idx="441">
                  <c:v>1479.66</c:v>
                </c:pt>
                <c:pt idx="442">
                  <c:v>1488.29</c:v>
                </c:pt>
                <c:pt idx="443">
                  <c:v>1507.89</c:v>
                </c:pt>
                <c:pt idx="444">
                  <c:v>1516.1</c:v>
                </c:pt>
                <c:pt idx="445">
                  <c:v>1498.17</c:v>
                </c:pt>
                <c:pt idx="446">
                  <c:v>1524.71</c:v>
                </c:pt>
                <c:pt idx="447">
                  <c:v>1504.06</c:v>
                </c:pt>
                <c:pt idx="448">
                  <c:v>1475.78</c:v>
                </c:pt>
                <c:pt idx="449">
                  <c:v>1493.78</c:v>
                </c:pt>
                <c:pt idx="450">
                  <c:v>1534.76</c:v>
                </c:pt>
                <c:pt idx="451">
                  <c:v>1533.29</c:v>
                </c:pt>
                <c:pt idx="452">
                  <c:v>1562.08</c:v>
                </c:pt>
                <c:pt idx="453">
                  <c:v>1593.16</c:v>
                </c:pt>
                <c:pt idx="454">
                  <c:v>1612.25</c:v>
                </c:pt>
                <c:pt idx="455">
                  <c:v>1624.03</c:v>
                </c:pt>
                <c:pt idx="456">
                  <c:v>1634.91</c:v>
                </c:pt>
                <c:pt idx="457">
                  <c:v>1636.58</c:v>
                </c:pt>
                <c:pt idx="458">
                  <c:v>1651.8</c:v>
                </c:pt>
                <c:pt idx="459">
                  <c:v>1644.01</c:v>
                </c:pt>
                <c:pt idx="460">
                  <c:v>1667.14</c:v>
                </c:pt>
                <c:pt idx="461">
                  <c:v>1714.36</c:v>
                </c:pt>
                <c:pt idx="462">
                  <c:v>1729.22</c:v>
                </c:pt>
                <c:pt idx="463">
                  <c:v>1780.74</c:v>
                </c:pt>
                <c:pt idx="464">
                  <c:v>1794.23</c:v>
                </c:pt>
                <c:pt idx="465">
                  <c:v>1779.41</c:v>
                </c:pt>
                <c:pt idx="466">
                  <c:v>1775.71</c:v>
                </c:pt>
                <c:pt idx="467">
                  <c:v>1711.58</c:v>
                </c:pt>
                <c:pt idx="468">
                  <c:v>1789.92</c:v>
                </c:pt>
                <c:pt idx="469">
                  <c:v>1802.79</c:v>
                </c:pt>
                <c:pt idx="470">
                  <c:v>1803.86</c:v>
                </c:pt>
                <c:pt idx="471">
                  <c:v>1836.14</c:v>
                </c:pt>
                <c:pt idx="472">
                  <c:v>1867.64</c:v>
                </c:pt>
                <c:pt idx="473">
                  <c:v>1916.11</c:v>
                </c:pt>
                <c:pt idx="474">
                  <c:v>1921.44</c:v>
                </c:pt>
                <c:pt idx="475">
                  <c:v>1936.55</c:v>
                </c:pt>
                <c:pt idx="476">
                  <c:v>1908.99</c:v>
                </c:pt>
                <c:pt idx="477">
                  <c:v>1895.64</c:v>
                </c:pt>
                <c:pt idx="478">
                  <c:v>1939.1</c:v>
                </c:pt>
                <c:pt idx="479">
                  <c:v>1938.24</c:v>
                </c:pt>
                <c:pt idx="480">
                  <c:v>1982.88</c:v>
                </c:pt>
                <c:pt idx="481">
                  <c:v>1979.93</c:v>
                </c:pt>
                <c:pt idx="482">
                  <c:v>2041.05</c:v>
                </c:pt>
                <c:pt idx="483">
                  <c:v>2067.09</c:v>
                </c:pt>
                <c:pt idx="484">
                  <c:v>2072.88</c:v>
                </c:pt>
                <c:pt idx="485">
                  <c:v>2131.56</c:v>
                </c:pt>
                <c:pt idx="486">
                  <c:v>2200.09</c:v>
                </c:pt>
                <c:pt idx="487">
                  <c:v>2255.9699999999998</c:v>
                </c:pt>
                <c:pt idx="488">
                  <c:v>2231.63</c:v>
                </c:pt>
                <c:pt idx="489">
                  <c:v>2173.75</c:v>
                </c:pt>
                <c:pt idx="490">
                  <c:v>2287.34</c:v>
                </c:pt>
                <c:pt idx="491">
                  <c:v>2353.87</c:v>
                </c:pt>
                <c:pt idx="492">
                  <c:v>2308.9299999999998</c:v>
                </c:pt>
                <c:pt idx="493">
                  <c:v>2317.09</c:v>
                </c:pt>
                <c:pt idx="494">
                  <c:v>2396.09</c:v>
                </c:pt>
                <c:pt idx="495">
                  <c:v>2491.31</c:v>
                </c:pt>
                <c:pt idx="496">
                  <c:v>2508.13</c:v>
                </c:pt>
                <c:pt idx="497">
                  <c:v>2536.4299999999998</c:v>
                </c:pt>
                <c:pt idx="498">
                  <c:v>2452.83</c:v>
                </c:pt>
                <c:pt idx="499">
                  <c:v>2512.92</c:v>
                </c:pt>
                <c:pt idx="500">
                  <c:v>2576.92</c:v>
                </c:pt>
                <c:pt idx="501">
                  <c:v>2551.88</c:v>
                </c:pt>
                <c:pt idx="502">
                  <c:v>2385.34</c:v>
                </c:pt>
                <c:pt idx="503">
                  <c:v>2395.17</c:v>
                </c:pt>
                <c:pt idx="504">
                  <c:v>2298</c:v>
                </c:pt>
                <c:pt idx="505">
                  <c:v>2271.8000000000002</c:v>
                </c:pt>
                <c:pt idx="506">
                  <c:v>2316.04</c:v>
                </c:pt>
                <c:pt idx="507">
                  <c:v>2369.79</c:v>
                </c:pt>
                <c:pt idx="508">
                  <c:v>2410.6</c:v>
                </c:pt>
                <c:pt idx="509">
                  <c:v>2397.25</c:v>
                </c:pt>
                <c:pt idx="510">
                  <c:v>2485.39</c:v>
                </c:pt>
                <c:pt idx="511">
                  <c:v>2522.63</c:v>
                </c:pt>
                <c:pt idx="512">
                  <c:v>2588.35</c:v>
                </c:pt>
                <c:pt idx="513">
                  <c:v>2668.63</c:v>
                </c:pt>
                <c:pt idx="514">
                  <c:v>2676.74</c:v>
                </c:pt>
                <c:pt idx="515">
                  <c:v>2707.68</c:v>
                </c:pt>
                <c:pt idx="516">
                  <c:v>2457.4899999999998</c:v>
                </c:pt>
                <c:pt idx="517">
                  <c:v>2544.5700000000002</c:v>
                </c:pt>
                <c:pt idx="518">
                  <c:v>2473.54</c:v>
                </c:pt>
                <c:pt idx="519">
                  <c:v>2508.73</c:v>
                </c:pt>
                <c:pt idx="520">
                  <c:v>2475.61</c:v>
                </c:pt>
                <c:pt idx="521">
                  <c:v>2520.29</c:v>
                </c:pt>
                <c:pt idx="522">
                  <c:v>2589.44</c:v>
                </c:pt>
                <c:pt idx="523">
                  <c:v>2627.63</c:v>
                </c:pt>
                <c:pt idx="524">
                  <c:v>2611.39</c:v>
                </c:pt>
                <c:pt idx="525">
                  <c:v>2616.17</c:v>
                </c:pt>
                <c:pt idx="526">
                  <c:v>2640.17</c:v>
                </c:pt>
                <c:pt idx="527">
                  <c:v>2597.36</c:v>
                </c:pt>
                <c:pt idx="528">
                  <c:v>2645.55</c:v>
                </c:pt>
                <c:pt idx="529">
                  <c:v>2604.23</c:v>
                </c:pt>
                <c:pt idx="530">
                  <c:v>2659.41</c:v>
                </c:pt>
                <c:pt idx="531">
                  <c:v>2672.77</c:v>
                </c:pt>
                <c:pt idx="532">
                  <c:v>2702.6</c:v>
                </c:pt>
                <c:pt idx="533">
                  <c:v>2711.32</c:v>
                </c:pt>
                <c:pt idx="534">
                  <c:v>2716.27</c:v>
                </c:pt>
                <c:pt idx="535">
                  <c:v>2764.03</c:v>
                </c:pt>
                <c:pt idx="536">
                  <c:v>2784.02</c:v>
                </c:pt>
                <c:pt idx="537">
                  <c:v>2797.65</c:v>
                </c:pt>
                <c:pt idx="538">
                  <c:v>2783.31</c:v>
                </c:pt>
                <c:pt idx="539">
                  <c:v>2781.78</c:v>
                </c:pt>
                <c:pt idx="540">
                  <c:v>2850.11</c:v>
                </c:pt>
                <c:pt idx="541">
                  <c:v>2888.12</c:v>
                </c:pt>
                <c:pt idx="542">
                  <c:v>2911.82</c:v>
                </c:pt>
                <c:pt idx="543">
                  <c:v>2945.05</c:v>
                </c:pt>
                <c:pt idx="544">
                  <c:v>2972.01</c:v>
                </c:pt>
                <c:pt idx="545">
                  <c:v>3038.17</c:v>
                </c:pt>
                <c:pt idx="546">
                  <c:v>3081.57</c:v>
                </c:pt>
                <c:pt idx="547">
                  <c:v>3121.32</c:v>
                </c:pt>
                <c:pt idx="548">
                  <c:v>3176.44</c:v>
                </c:pt>
                <c:pt idx="549">
                  <c:v>3169.23</c:v>
                </c:pt>
                <c:pt idx="550">
                  <c:v>3256</c:v>
                </c:pt>
                <c:pt idx="551">
                  <c:v>3283.6</c:v>
                </c:pt>
                <c:pt idx="552">
                  <c:v>3304.5</c:v>
                </c:pt>
                <c:pt idx="553">
                  <c:v>3150.3</c:v>
                </c:pt>
                <c:pt idx="554">
                  <c:v>3289.28</c:v>
                </c:pt>
                <c:pt idx="555">
                  <c:v>3431.32</c:v>
                </c:pt>
                <c:pt idx="556">
                  <c:v>3445.2</c:v>
                </c:pt>
                <c:pt idx="557">
                  <c:v>3448.28</c:v>
                </c:pt>
                <c:pt idx="558">
                  <c:v>3493.58</c:v>
                </c:pt>
                <c:pt idx="559">
                  <c:v>3470.52</c:v>
                </c:pt>
                <c:pt idx="560">
                  <c:v>3558.71</c:v>
                </c:pt>
                <c:pt idx="561">
                  <c:v>3686.03</c:v>
                </c:pt>
                <c:pt idx="562">
                  <c:v>3701.28</c:v>
                </c:pt>
                <c:pt idx="563">
                  <c:v>3724.51</c:v>
                </c:pt>
                <c:pt idx="564">
                  <c:v>3702.61</c:v>
                </c:pt>
                <c:pt idx="565">
                  <c:v>3734.42</c:v>
                </c:pt>
                <c:pt idx="566">
                  <c:v>3604.64</c:v>
                </c:pt>
                <c:pt idx="567">
                  <c:v>3700.29</c:v>
                </c:pt>
                <c:pt idx="568">
                  <c:v>3778.61</c:v>
                </c:pt>
                <c:pt idx="569">
                  <c:v>3776.63</c:v>
                </c:pt>
                <c:pt idx="570">
                  <c:v>3831.44</c:v>
                </c:pt>
                <c:pt idx="571">
                  <c:v>3870.49</c:v>
                </c:pt>
                <c:pt idx="572">
                  <c:v>3938.95</c:v>
                </c:pt>
                <c:pt idx="573">
                  <c:v>3919.75</c:v>
                </c:pt>
                <c:pt idx="574">
                  <c:v>3985.25</c:v>
                </c:pt>
                <c:pt idx="575">
                  <c:v>4072.58</c:v>
                </c:pt>
                <c:pt idx="576">
                  <c:v>4168.29</c:v>
                </c:pt>
                <c:pt idx="577">
                  <c:v>3886.46</c:v>
                </c:pt>
                <c:pt idx="578">
                  <c:v>3927.95</c:v>
                </c:pt>
                <c:pt idx="579">
                  <c:v>3803.95</c:v>
                </c:pt>
                <c:pt idx="580">
                  <c:v>3511.43</c:v>
                </c:pt>
                <c:pt idx="581">
                  <c:v>3634.63</c:v>
                </c:pt>
                <c:pt idx="582">
                  <c:v>3677.58</c:v>
                </c:pt>
                <c:pt idx="583">
                  <c:v>3802.3</c:v>
                </c:pt>
                <c:pt idx="584">
                  <c:v>3837.87</c:v>
                </c:pt>
                <c:pt idx="585">
                  <c:v>3931.86</c:v>
                </c:pt>
                <c:pt idx="586">
                  <c:v>4036.11</c:v>
                </c:pt>
                <c:pt idx="587">
                  <c:v>4118.2700000000004</c:v>
                </c:pt>
                <c:pt idx="588">
                  <c:v>4075.82</c:v>
                </c:pt>
                <c:pt idx="589">
                  <c:v>4099.38</c:v>
                </c:pt>
                <c:pt idx="590">
                  <c:v>4227.57</c:v>
                </c:pt>
                <c:pt idx="591">
                  <c:v>4253</c:v>
                </c:pt>
                <c:pt idx="592">
                  <c:v>4157.6000000000004</c:v>
                </c:pt>
                <c:pt idx="593">
                  <c:v>4197.28</c:v>
                </c:pt>
                <c:pt idx="594">
                  <c:v>4051.43</c:v>
                </c:pt>
                <c:pt idx="595">
                  <c:v>3877.59</c:v>
                </c:pt>
                <c:pt idx="596">
                  <c:v>3928.21</c:v>
                </c:pt>
                <c:pt idx="597">
                  <c:v>4040.48</c:v>
                </c:pt>
                <c:pt idx="598">
                  <c:v>3858.52</c:v>
                </c:pt>
                <c:pt idx="599">
                  <c:v>3764.08</c:v>
                </c:pt>
                <c:pt idx="600">
                  <c:v>3757.66</c:v>
                </c:pt>
                <c:pt idx="601">
                  <c:v>3832.23</c:v>
                </c:pt>
                <c:pt idx="602">
                  <c:v>3743.58</c:v>
                </c:pt>
                <c:pt idx="603">
                  <c:v>3537.44</c:v>
                </c:pt>
                <c:pt idx="604">
                  <c:v>3710.28</c:v>
                </c:pt>
                <c:pt idx="605">
                  <c:v>3821.3</c:v>
                </c:pt>
                <c:pt idx="606">
                  <c:v>3775.62</c:v>
                </c:pt>
                <c:pt idx="607">
                  <c:v>3789.87</c:v>
                </c:pt>
                <c:pt idx="608">
                  <c:v>3816.92</c:v>
                </c:pt>
                <c:pt idx="609">
                  <c:v>3820.12</c:v>
                </c:pt>
                <c:pt idx="610">
                  <c:v>3697.97</c:v>
                </c:pt>
                <c:pt idx="611">
                  <c:v>3789.65</c:v>
                </c:pt>
                <c:pt idx="612">
                  <c:v>3807.57</c:v>
                </c:pt>
                <c:pt idx="613">
                  <c:v>3807</c:v>
                </c:pt>
                <c:pt idx="614">
                  <c:v>3971.88</c:v>
                </c:pt>
                <c:pt idx="615">
                  <c:v>4156.72</c:v>
                </c:pt>
                <c:pt idx="616">
                  <c:v>4161.3500000000004</c:v>
                </c:pt>
                <c:pt idx="617">
                  <c:v>4255.46</c:v>
                </c:pt>
                <c:pt idx="618">
                  <c:v>4303.1899999999996</c:v>
                </c:pt>
                <c:pt idx="619">
                  <c:v>4307.1400000000003</c:v>
                </c:pt>
                <c:pt idx="620">
                  <c:v>4410.3</c:v>
                </c:pt>
                <c:pt idx="621">
                  <c:v>4460.5600000000004</c:v>
                </c:pt>
                <c:pt idx="622">
                  <c:v>4290.4799999999996</c:v>
                </c:pt>
                <c:pt idx="623">
                  <c:v>4436.1899999999996</c:v>
                </c:pt>
                <c:pt idx="624">
                  <c:v>4598.38</c:v>
                </c:pt>
                <c:pt idx="625">
                  <c:v>4703.9799999999996</c:v>
                </c:pt>
                <c:pt idx="626">
                  <c:v>4724.55</c:v>
                </c:pt>
                <c:pt idx="627">
                  <c:v>4668.09</c:v>
                </c:pt>
                <c:pt idx="628">
                  <c:v>4777.29</c:v>
                </c:pt>
                <c:pt idx="629">
                  <c:v>4726.68</c:v>
                </c:pt>
                <c:pt idx="630">
                  <c:v>4721.1899999999996</c:v>
                </c:pt>
                <c:pt idx="631">
                  <c:v>4795.57</c:v>
                </c:pt>
                <c:pt idx="632">
                  <c:v>4798.75</c:v>
                </c:pt>
                <c:pt idx="633">
                  <c:v>4721.9399999999996</c:v>
                </c:pt>
                <c:pt idx="634">
                  <c:v>4626.58</c:v>
                </c:pt>
                <c:pt idx="635">
                  <c:v>4885.43</c:v>
                </c:pt>
                <c:pt idx="636">
                  <c:v>4972.71</c:v>
                </c:pt>
                <c:pt idx="637">
                  <c:v>5051.6899999999996</c:v>
                </c:pt>
                <c:pt idx="638">
                  <c:v>5135.93</c:v>
                </c:pt>
                <c:pt idx="639">
                  <c:v>5217.58</c:v>
                </c:pt>
                <c:pt idx="640">
                  <c:v>5243.15</c:v>
                </c:pt>
                <c:pt idx="641">
                  <c:v>5251.77</c:v>
                </c:pt>
                <c:pt idx="642">
                  <c:v>5171.82</c:v>
                </c:pt>
                <c:pt idx="643">
                  <c:v>5241.2299999999996</c:v>
                </c:pt>
                <c:pt idx="644">
                  <c:v>5296.81</c:v>
                </c:pt>
                <c:pt idx="645">
                  <c:v>5419.17</c:v>
                </c:pt>
                <c:pt idx="646">
                  <c:v>5360.33</c:v>
                </c:pt>
                <c:pt idx="647">
                  <c:v>5363.25</c:v>
                </c:pt>
                <c:pt idx="648">
                  <c:v>5412.04</c:v>
                </c:pt>
                <c:pt idx="649">
                  <c:v>5294.8</c:v>
                </c:pt>
                <c:pt idx="650">
                  <c:v>5377.22</c:v>
                </c:pt>
                <c:pt idx="651">
                  <c:v>5124.09</c:v>
                </c:pt>
                <c:pt idx="652">
                  <c:v>5202.8599999999997</c:v>
                </c:pt>
                <c:pt idx="653">
                  <c:v>5349.97</c:v>
                </c:pt>
                <c:pt idx="654">
                  <c:v>5397.28</c:v>
                </c:pt>
                <c:pt idx="655">
                  <c:v>5498.91</c:v>
                </c:pt>
                <c:pt idx="656">
                  <c:v>5476.84</c:v>
                </c:pt>
                <c:pt idx="657">
                  <c:v>5419.27</c:v>
                </c:pt>
                <c:pt idx="658">
                  <c:v>5494.92</c:v>
                </c:pt>
                <c:pt idx="659">
                  <c:v>5468.1</c:v>
                </c:pt>
                <c:pt idx="660">
                  <c:v>5513.9</c:v>
                </c:pt>
                <c:pt idx="661">
                  <c:v>5454.62</c:v>
                </c:pt>
                <c:pt idx="662">
                  <c:v>5361.02</c:v>
                </c:pt>
                <c:pt idx="663">
                  <c:v>5427.66</c:v>
                </c:pt>
                <c:pt idx="664">
                  <c:v>5580.81</c:v>
                </c:pt>
                <c:pt idx="665">
                  <c:v>5653.14</c:v>
                </c:pt>
                <c:pt idx="666">
                  <c:v>5675.93</c:v>
                </c:pt>
                <c:pt idx="667">
                  <c:v>5685.76</c:v>
                </c:pt>
                <c:pt idx="668">
                  <c:v>5760.08</c:v>
                </c:pt>
                <c:pt idx="669">
                  <c:v>5737.22</c:v>
                </c:pt>
                <c:pt idx="670">
                  <c:v>5821.45</c:v>
                </c:pt>
                <c:pt idx="671">
                  <c:v>5877.2</c:v>
                </c:pt>
                <c:pt idx="672">
                  <c:v>5824.12</c:v>
                </c:pt>
                <c:pt idx="673">
                  <c:v>5615.75</c:v>
                </c:pt>
                <c:pt idx="674">
                  <c:v>5614.06</c:v>
                </c:pt>
                <c:pt idx="675">
                  <c:v>5472.68</c:v>
                </c:pt>
                <c:pt idx="676">
                  <c:v>5540.09</c:v>
                </c:pt>
                <c:pt idx="677">
                  <c:v>5588.01</c:v>
                </c:pt>
                <c:pt idx="678">
                  <c:v>5333.79</c:v>
                </c:pt>
                <c:pt idx="679">
                  <c:v>5394.81</c:v>
                </c:pt>
                <c:pt idx="680">
                  <c:v>5508.36</c:v>
                </c:pt>
                <c:pt idx="681">
                  <c:v>5596.07</c:v>
                </c:pt>
                <c:pt idx="682">
                  <c:v>5688.54</c:v>
                </c:pt>
                <c:pt idx="683">
                  <c:v>5605.23</c:v>
                </c:pt>
                <c:pt idx="684">
                  <c:v>5472.93</c:v>
                </c:pt>
                <c:pt idx="685">
                  <c:v>5360.31</c:v>
                </c:pt>
                <c:pt idx="686">
                  <c:v>5317.55</c:v>
                </c:pt>
                <c:pt idx="687">
                  <c:v>5350.63</c:v>
                </c:pt>
                <c:pt idx="688">
                  <c:v>5093.67</c:v>
                </c:pt>
                <c:pt idx="689">
                  <c:v>5040.5200000000004</c:v>
                </c:pt>
                <c:pt idx="690">
                  <c:v>4978.25</c:v>
                </c:pt>
                <c:pt idx="691">
                  <c:v>4939.24</c:v>
                </c:pt>
                <c:pt idx="692">
                  <c:v>5145.8900000000003</c:v>
                </c:pt>
                <c:pt idx="693">
                  <c:v>5081.1099999999997</c:v>
                </c:pt>
                <c:pt idx="694">
                  <c:v>5007.66</c:v>
                </c:pt>
                <c:pt idx="695">
                  <c:v>4994.42</c:v>
                </c:pt>
                <c:pt idx="696">
                  <c:v>5069.38</c:v>
                </c:pt>
                <c:pt idx="697">
                  <c:v>4997.62</c:v>
                </c:pt>
                <c:pt idx="698">
                  <c:v>4772.62</c:v>
                </c:pt>
                <c:pt idx="699">
                  <c:v>4856.16</c:v>
                </c:pt>
                <c:pt idx="700">
                  <c:v>4800.08</c:v>
                </c:pt>
                <c:pt idx="701">
                  <c:v>4711.1499999999996</c:v>
                </c:pt>
                <c:pt idx="702">
                  <c:v>4648.75</c:v>
                </c:pt>
                <c:pt idx="703">
                  <c:v>4842.07</c:v>
                </c:pt>
                <c:pt idx="704">
                  <c:v>4737.41</c:v>
                </c:pt>
                <c:pt idx="705">
                  <c:v>4772.67</c:v>
                </c:pt>
                <c:pt idx="706">
                  <c:v>4829.21</c:v>
                </c:pt>
                <c:pt idx="707">
                  <c:v>4965.95</c:v>
                </c:pt>
                <c:pt idx="708">
                  <c:v>4971.0600000000004</c:v>
                </c:pt>
                <c:pt idx="709">
                  <c:v>5041.3500000000004</c:v>
                </c:pt>
                <c:pt idx="710">
                  <c:v>5133.5600000000004</c:v>
                </c:pt>
                <c:pt idx="711">
                  <c:v>5140</c:v>
                </c:pt>
                <c:pt idx="712">
                  <c:v>5077.3900000000003</c:v>
                </c:pt>
                <c:pt idx="713">
                  <c:v>4884.3</c:v>
                </c:pt>
                <c:pt idx="714">
                  <c:v>4977.6499999999996</c:v>
                </c:pt>
                <c:pt idx="715">
                  <c:v>4857.29</c:v>
                </c:pt>
                <c:pt idx="716">
                  <c:v>4829.91</c:v>
                </c:pt>
                <c:pt idx="717">
                  <c:v>4946.29</c:v>
                </c:pt>
                <c:pt idx="718">
                  <c:v>5037.2</c:v>
                </c:pt>
                <c:pt idx="719">
                  <c:v>5101.8500000000004</c:v>
                </c:pt>
                <c:pt idx="720">
                  <c:v>5207.13</c:v>
                </c:pt>
                <c:pt idx="721">
                  <c:v>5216.8100000000004</c:v>
                </c:pt>
                <c:pt idx="722">
                  <c:v>5265.03</c:v>
                </c:pt>
                <c:pt idx="723">
                  <c:v>5367.53</c:v>
                </c:pt>
                <c:pt idx="724">
                  <c:v>5338.28</c:v>
                </c:pt>
                <c:pt idx="725">
                  <c:v>5385.1</c:v>
                </c:pt>
                <c:pt idx="726">
                  <c:v>5422.03</c:v>
                </c:pt>
                <c:pt idx="727">
                  <c:v>5483.65</c:v>
                </c:pt>
                <c:pt idx="728">
                  <c:v>5556.59</c:v>
                </c:pt>
                <c:pt idx="729">
                  <c:v>5528.05</c:v>
                </c:pt>
                <c:pt idx="730">
                  <c:v>5613.76</c:v>
                </c:pt>
                <c:pt idx="731">
                  <c:v>5672.15</c:v>
                </c:pt>
                <c:pt idx="732">
                  <c:v>5699.15</c:v>
                </c:pt>
                <c:pt idx="733">
                  <c:v>5731.76</c:v>
                </c:pt>
                <c:pt idx="734">
                  <c:v>5696.45</c:v>
                </c:pt>
                <c:pt idx="735">
                  <c:v>5505.72</c:v>
                </c:pt>
                <c:pt idx="736">
                  <c:v>5365.62</c:v>
                </c:pt>
                <c:pt idx="737">
                  <c:v>5414.47</c:v>
                </c:pt>
                <c:pt idx="738">
                  <c:v>5145.7299999999996</c:v>
                </c:pt>
                <c:pt idx="739">
                  <c:v>4753.87</c:v>
                </c:pt>
                <c:pt idx="740">
                  <c:v>4975.1099999999997</c:v>
                </c:pt>
                <c:pt idx="741">
                  <c:v>5027.21</c:v>
                </c:pt>
                <c:pt idx="742">
                  <c:v>5077.43</c:v>
                </c:pt>
                <c:pt idx="743">
                  <c:v>4731.88</c:v>
                </c:pt>
                <c:pt idx="744">
                  <c:v>4762.08</c:v>
                </c:pt>
                <c:pt idx="745">
                  <c:v>4710.6499999999996</c:v>
                </c:pt>
                <c:pt idx="746">
                  <c:v>4620.3999999999996</c:v>
                </c:pt>
                <c:pt idx="747">
                  <c:v>4571.95</c:v>
                </c:pt>
                <c:pt idx="748">
                  <c:v>4950.12</c:v>
                </c:pt>
                <c:pt idx="749">
                  <c:v>4921.83</c:v>
                </c:pt>
                <c:pt idx="750">
                  <c:v>4816.08</c:v>
                </c:pt>
                <c:pt idx="751">
                  <c:v>4880.25</c:v>
                </c:pt>
                <c:pt idx="752">
                  <c:v>4813.3100000000004</c:v>
                </c:pt>
                <c:pt idx="753">
                  <c:v>4910.99</c:v>
                </c:pt>
                <c:pt idx="754">
                  <c:v>5020.75</c:v>
                </c:pt>
                <c:pt idx="755">
                  <c:v>4908.72</c:v>
                </c:pt>
                <c:pt idx="756">
                  <c:v>4876.03</c:v>
                </c:pt>
                <c:pt idx="757">
                  <c:v>4702.24</c:v>
                </c:pt>
                <c:pt idx="758">
                  <c:v>4519.78</c:v>
                </c:pt>
                <c:pt idx="759">
                  <c:v>4515.53</c:v>
                </c:pt>
                <c:pt idx="760">
                  <c:v>4639.7700000000004</c:v>
                </c:pt>
                <c:pt idx="761">
                  <c:v>4622.0600000000004</c:v>
                </c:pt>
                <c:pt idx="762">
                  <c:v>4674.55</c:v>
                </c:pt>
                <c:pt idx="763">
                  <c:v>4790.74</c:v>
                </c:pt>
                <c:pt idx="764">
                  <c:v>4671.1499999999996</c:v>
                </c:pt>
                <c:pt idx="765">
                  <c:v>4628.72</c:v>
                </c:pt>
                <c:pt idx="766">
                  <c:v>4685.03</c:v>
                </c:pt>
                <c:pt idx="767">
                  <c:v>4621.6899999999996</c:v>
                </c:pt>
                <c:pt idx="768">
                  <c:v>4431.59</c:v>
                </c:pt>
                <c:pt idx="769">
                  <c:v>4441.18</c:v>
                </c:pt>
                <c:pt idx="770">
                  <c:v>4309.6499999999996</c:v>
                </c:pt>
                <c:pt idx="771">
                  <c:v>4198.96</c:v>
                </c:pt>
                <c:pt idx="772">
                  <c:v>4157.87</c:v>
                </c:pt>
                <c:pt idx="773">
                  <c:v>3965.28</c:v>
                </c:pt>
                <c:pt idx="774">
                  <c:v>3763.95</c:v>
                </c:pt>
                <c:pt idx="775">
                  <c:v>3888.86</c:v>
                </c:pt>
                <c:pt idx="776">
                  <c:v>4001.83</c:v>
                </c:pt>
                <c:pt idx="777">
                  <c:v>4037.83</c:v>
                </c:pt>
                <c:pt idx="778">
                  <c:v>3857.09</c:v>
                </c:pt>
                <c:pt idx="779">
                  <c:v>3905.77</c:v>
                </c:pt>
                <c:pt idx="780">
                  <c:v>3914.37</c:v>
                </c:pt>
                <c:pt idx="781">
                  <c:v>3748.92</c:v>
                </c:pt>
                <c:pt idx="782">
                  <c:v>3918.16</c:v>
                </c:pt>
                <c:pt idx="783">
                  <c:v>3790.53</c:v>
                </c:pt>
                <c:pt idx="784">
                  <c:v>3582.86</c:v>
                </c:pt>
                <c:pt idx="785">
                  <c:v>3547.98</c:v>
                </c:pt>
                <c:pt idx="786">
                  <c:v>3650.7</c:v>
                </c:pt>
                <c:pt idx="787">
                  <c:v>3845.82</c:v>
                </c:pt>
                <c:pt idx="788">
                  <c:v>3891.06</c:v>
                </c:pt>
                <c:pt idx="789">
                  <c:v>3688.13</c:v>
                </c:pt>
                <c:pt idx="790">
                  <c:v>3754.72</c:v>
                </c:pt>
                <c:pt idx="791">
                  <c:v>3783.73</c:v>
                </c:pt>
                <c:pt idx="792">
                  <c:v>3536.33</c:v>
                </c:pt>
                <c:pt idx="793">
                  <c:v>3583.3</c:v>
                </c:pt>
                <c:pt idx="794">
                  <c:v>3494.02</c:v>
                </c:pt>
                <c:pt idx="795">
                  <c:v>3386.63</c:v>
                </c:pt>
                <c:pt idx="796">
                  <c:v>3272.5</c:v>
                </c:pt>
                <c:pt idx="797">
                  <c:v>3267.55</c:v>
                </c:pt>
                <c:pt idx="798">
                  <c:v>3296.28</c:v>
                </c:pt>
                <c:pt idx="799">
                  <c:v>3453.73</c:v>
                </c:pt>
                <c:pt idx="800">
                  <c:v>3774.5</c:v>
                </c:pt>
                <c:pt idx="801">
                  <c:v>3803.07</c:v>
                </c:pt>
                <c:pt idx="802">
                  <c:v>3729.15</c:v>
                </c:pt>
                <c:pt idx="803">
                  <c:v>3776.94</c:v>
                </c:pt>
                <c:pt idx="804">
                  <c:v>3959.12</c:v>
                </c:pt>
                <c:pt idx="805">
                  <c:v>4055.78</c:v>
                </c:pt>
                <c:pt idx="806">
                  <c:v>4010.89</c:v>
                </c:pt>
                <c:pt idx="807">
                  <c:v>3821.32</c:v>
                </c:pt>
                <c:pt idx="808">
                  <c:v>3925.04</c:v>
                </c:pt>
                <c:pt idx="809">
                  <c:v>3878.92</c:v>
                </c:pt>
                <c:pt idx="810">
                  <c:v>3904.92</c:v>
                </c:pt>
                <c:pt idx="811">
                  <c:v>3851.69</c:v>
                </c:pt>
                <c:pt idx="812">
                  <c:v>3975.78</c:v>
                </c:pt>
                <c:pt idx="813">
                  <c:v>3948.09</c:v>
                </c:pt>
                <c:pt idx="814">
                  <c:v>3936.12</c:v>
                </c:pt>
                <c:pt idx="815">
                  <c:v>3914.07</c:v>
                </c:pt>
                <c:pt idx="816">
                  <c:v>3710.82</c:v>
                </c:pt>
                <c:pt idx="817">
                  <c:v>3783.05</c:v>
                </c:pt>
                <c:pt idx="818">
                  <c:v>3711.44</c:v>
                </c:pt>
                <c:pt idx="819">
                  <c:v>3675.15</c:v>
                </c:pt>
                <c:pt idx="820">
                  <c:v>3559.22</c:v>
                </c:pt>
                <c:pt idx="821">
                  <c:v>3576.2</c:v>
                </c:pt>
                <c:pt idx="822">
                  <c:v>3676.23</c:v>
                </c:pt>
                <c:pt idx="823">
                  <c:v>3580.87</c:v>
                </c:pt>
                <c:pt idx="824">
                  <c:v>3611.33</c:v>
                </c:pt>
                <c:pt idx="825">
                  <c:v>3625.83</c:v>
                </c:pt>
                <c:pt idx="826">
                  <c:v>3614.11</c:v>
                </c:pt>
                <c:pt idx="827">
                  <c:v>3546.92</c:v>
                </c:pt>
                <c:pt idx="828">
                  <c:v>3512.14</c:v>
                </c:pt>
                <c:pt idx="829">
                  <c:v>3489.5</c:v>
                </c:pt>
                <c:pt idx="830">
                  <c:v>3206.56</c:v>
                </c:pt>
                <c:pt idx="831">
                  <c:v>3140.3</c:v>
                </c:pt>
                <c:pt idx="832">
                  <c:v>3084.63</c:v>
                </c:pt>
                <c:pt idx="833">
                  <c:v>2979.12</c:v>
                </c:pt>
                <c:pt idx="834">
                  <c:v>2952.24</c:v>
                </c:pt>
                <c:pt idx="835">
                  <c:v>2842.68</c:v>
                </c:pt>
                <c:pt idx="836">
                  <c:v>2991.27</c:v>
                </c:pt>
                <c:pt idx="837">
                  <c:v>2773.08</c:v>
                </c:pt>
                <c:pt idx="838">
                  <c:v>2849.67</c:v>
                </c:pt>
                <c:pt idx="839">
                  <c:v>2789.94</c:v>
                </c:pt>
                <c:pt idx="840">
                  <c:v>2851.92</c:v>
                </c:pt>
                <c:pt idx="841">
                  <c:v>2969.54</c:v>
                </c:pt>
                <c:pt idx="842">
                  <c:v>2980.91</c:v>
                </c:pt>
                <c:pt idx="843">
                  <c:v>2816.02</c:v>
                </c:pt>
                <c:pt idx="844">
                  <c:v>2791.82</c:v>
                </c:pt>
                <c:pt idx="845">
                  <c:v>2698.35</c:v>
                </c:pt>
                <c:pt idx="846">
                  <c:v>2699.6</c:v>
                </c:pt>
                <c:pt idx="847">
                  <c:v>2760.61</c:v>
                </c:pt>
                <c:pt idx="848">
                  <c:v>2741.85</c:v>
                </c:pt>
                <c:pt idx="849">
                  <c:v>2882.76</c:v>
                </c:pt>
                <c:pt idx="850">
                  <c:v>2901.84</c:v>
                </c:pt>
                <c:pt idx="851">
                  <c:v>3015.13</c:v>
                </c:pt>
                <c:pt idx="852">
                  <c:v>2973.73</c:v>
                </c:pt>
                <c:pt idx="853">
                  <c:v>2953.5</c:v>
                </c:pt>
                <c:pt idx="854">
                  <c:v>2975.87</c:v>
                </c:pt>
                <c:pt idx="855">
                  <c:v>2852.98</c:v>
                </c:pt>
                <c:pt idx="856">
                  <c:v>2745.6</c:v>
                </c:pt>
                <c:pt idx="857">
                  <c:v>2718.07</c:v>
                </c:pt>
                <c:pt idx="858">
                  <c:v>2815.46</c:v>
                </c:pt>
                <c:pt idx="859">
                  <c:v>2911.05</c:v>
                </c:pt>
                <c:pt idx="860">
                  <c:v>2904.74</c:v>
                </c:pt>
                <c:pt idx="861">
                  <c:v>2883.32</c:v>
                </c:pt>
                <c:pt idx="862">
                  <c:v>2977.36</c:v>
                </c:pt>
                <c:pt idx="863">
                  <c:v>2939.2</c:v>
                </c:pt>
                <c:pt idx="864">
                  <c:v>2960.85</c:v>
                </c:pt>
                <c:pt idx="865">
                  <c:v>2905.63</c:v>
                </c:pt>
                <c:pt idx="866">
                  <c:v>2884.38</c:v>
                </c:pt>
                <c:pt idx="867">
                  <c:v>2805.21</c:v>
                </c:pt>
                <c:pt idx="868">
                  <c:v>2840.79</c:v>
                </c:pt>
                <c:pt idx="869">
                  <c:v>2773.15</c:v>
                </c:pt>
                <c:pt idx="870">
                  <c:v>2703.08</c:v>
                </c:pt>
                <c:pt idx="871">
                  <c:v>2721.69</c:v>
                </c:pt>
                <c:pt idx="872">
                  <c:v>2720.44</c:v>
                </c:pt>
                <c:pt idx="873">
                  <c:v>2591.46</c:v>
                </c:pt>
                <c:pt idx="874">
                  <c:v>2456.81</c:v>
                </c:pt>
                <c:pt idx="875">
                  <c:v>2444.16</c:v>
                </c:pt>
                <c:pt idx="876">
                  <c:v>2444.67</c:v>
                </c:pt>
                <c:pt idx="877">
                  <c:v>2443.5100000000002</c:v>
                </c:pt>
                <c:pt idx="878">
                  <c:v>2447.61</c:v>
                </c:pt>
                <c:pt idx="879">
                  <c:v>2313.4</c:v>
                </c:pt>
                <c:pt idx="880">
                  <c:v>2348.4699999999998</c:v>
                </c:pt>
                <c:pt idx="881">
                  <c:v>2532.94</c:v>
                </c:pt>
                <c:pt idx="882">
                  <c:v>2443.98</c:v>
                </c:pt>
                <c:pt idx="883">
                  <c:v>2404.9299999999998</c:v>
                </c:pt>
                <c:pt idx="884">
                  <c:v>2400.5500000000002</c:v>
                </c:pt>
                <c:pt idx="885">
                  <c:v>2331.5300000000002</c:v>
                </c:pt>
                <c:pt idx="886">
                  <c:v>2325.29</c:v>
                </c:pt>
                <c:pt idx="887">
                  <c:v>2335.86</c:v>
                </c:pt>
                <c:pt idx="888">
                  <c:v>2391.64</c:v>
                </c:pt>
                <c:pt idx="889">
                  <c:v>2309.17</c:v>
                </c:pt>
                <c:pt idx="890">
                  <c:v>2285.41</c:v>
                </c:pt>
                <c:pt idx="891">
                  <c:v>2245.96</c:v>
                </c:pt>
                <c:pt idx="892">
                  <c:v>2251.15</c:v>
                </c:pt>
                <c:pt idx="893">
                  <c:v>2183.4299999999998</c:v>
                </c:pt>
                <c:pt idx="894">
                  <c:v>2126.52</c:v>
                </c:pt>
                <c:pt idx="895">
                  <c:v>2139.15</c:v>
                </c:pt>
                <c:pt idx="896">
                  <c:v>2143.1799999999998</c:v>
                </c:pt>
                <c:pt idx="897">
                  <c:v>2072.13</c:v>
                </c:pt>
                <c:pt idx="898">
                  <c:v>2077.85</c:v>
                </c:pt>
                <c:pt idx="899">
                  <c:v>2000.65</c:v>
                </c:pt>
                <c:pt idx="900">
                  <c:v>1929.14</c:v>
                </c:pt>
                <c:pt idx="901">
                  <c:v>1895.99</c:v>
                </c:pt>
                <c:pt idx="902">
                  <c:v>2073.11</c:v>
                </c:pt>
                <c:pt idx="903">
                  <c:v>2207.61</c:v>
                </c:pt>
                <c:pt idx="904">
                  <c:v>2123.48</c:v>
                </c:pt>
                <c:pt idx="905">
                  <c:v>2138.85</c:v>
                </c:pt>
                <c:pt idx="906">
                  <c:v>2223.5300000000002</c:v>
                </c:pt>
                <c:pt idx="907">
                  <c:v>2243.66</c:v>
                </c:pt>
                <c:pt idx="908">
                  <c:v>2128.6999999999998</c:v>
                </c:pt>
                <c:pt idx="909">
                  <c:v>2102.4499999999998</c:v>
                </c:pt>
                <c:pt idx="910">
                  <c:v>2022.88</c:v>
                </c:pt>
                <c:pt idx="911">
                  <c:v>1995.3</c:v>
                </c:pt>
                <c:pt idx="912">
                  <c:v>1906.96</c:v>
                </c:pt>
                <c:pt idx="913">
                  <c:v>1985.49</c:v>
                </c:pt>
                <c:pt idx="914">
                  <c:v>1934.62</c:v>
                </c:pt>
                <c:pt idx="915">
                  <c:v>1914.36</c:v>
                </c:pt>
                <c:pt idx="916">
                  <c:v>1820.9</c:v>
                </c:pt>
                <c:pt idx="917">
                  <c:v>1833.26</c:v>
                </c:pt>
                <c:pt idx="918">
                  <c:v>1896.73</c:v>
                </c:pt>
                <c:pt idx="919">
                  <c:v>1881.41</c:v>
                </c:pt>
                <c:pt idx="920">
                  <c:v>1833.32</c:v>
                </c:pt>
                <c:pt idx="921">
                  <c:v>1834.78</c:v>
                </c:pt>
                <c:pt idx="922">
                  <c:v>1781.6</c:v>
                </c:pt>
                <c:pt idx="923">
                  <c:v>1654.67</c:v>
                </c:pt>
                <c:pt idx="924">
                  <c:v>1705.82</c:v>
                </c:pt>
                <c:pt idx="925">
                  <c:v>1658.22</c:v>
                </c:pt>
                <c:pt idx="926">
                  <c:v>1697.66</c:v>
                </c:pt>
                <c:pt idx="927">
                  <c:v>1663.66</c:v>
                </c:pt>
                <c:pt idx="928">
                  <c:v>1653.54</c:v>
                </c:pt>
                <c:pt idx="929">
                  <c:v>1627.76</c:v>
                </c:pt>
                <c:pt idx="930">
                  <c:v>1691.42</c:v>
                </c:pt>
                <c:pt idx="931">
                  <c:v>1649.78</c:v>
                </c:pt>
                <c:pt idx="932">
                  <c:v>1677.83</c:v>
                </c:pt>
                <c:pt idx="933">
                  <c:v>1801.67</c:v>
                </c:pt>
                <c:pt idx="934">
                  <c:v>1781.36</c:v>
                </c:pt>
                <c:pt idx="935">
                  <c:v>1801.82</c:v>
                </c:pt>
                <c:pt idx="936">
                  <c:v>1874.08</c:v>
                </c:pt>
                <c:pt idx="937">
                  <c:v>1943.65</c:v>
                </c:pt>
                <c:pt idx="938">
                  <c:v>1987.23</c:v>
                </c:pt>
                <c:pt idx="939">
                  <c:v>1839.82</c:v>
                </c:pt>
                <c:pt idx="940">
                  <c:v>1953.16</c:v>
                </c:pt>
                <c:pt idx="941">
                  <c:v>1932.43</c:v>
                </c:pt>
                <c:pt idx="942">
                  <c:v>1920.74</c:v>
                </c:pt>
                <c:pt idx="943">
                  <c:v>1837.64</c:v>
                </c:pt>
                <c:pt idx="944">
                  <c:v>1834.29</c:v>
                </c:pt>
                <c:pt idx="945">
                  <c:v>1843.5</c:v>
                </c:pt>
                <c:pt idx="946">
                  <c:v>1870.47</c:v>
                </c:pt>
                <c:pt idx="947">
                  <c:v>1829.92</c:v>
                </c:pt>
                <c:pt idx="948">
                  <c:v>1864.21</c:v>
                </c:pt>
                <c:pt idx="949">
                  <c:v>1868.63</c:v>
                </c:pt>
                <c:pt idx="950">
                  <c:v>1952.67</c:v>
                </c:pt>
                <c:pt idx="951">
                  <c:v>1982.93</c:v>
                </c:pt>
                <c:pt idx="952">
                  <c:v>2013.18</c:v>
                </c:pt>
                <c:pt idx="953">
                  <c:v>2095.04</c:v>
                </c:pt>
                <c:pt idx="954">
                  <c:v>2040.85</c:v>
                </c:pt>
                <c:pt idx="955">
                  <c:v>2096.39</c:v>
                </c:pt>
                <c:pt idx="956">
                  <c:v>2046.34</c:v>
                </c:pt>
                <c:pt idx="957">
                  <c:v>1960.38</c:v>
                </c:pt>
                <c:pt idx="958">
                  <c:v>1975.03</c:v>
                </c:pt>
                <c:pt idx="959">
                  <c:v>1994.45</c:v>
                </c:pt>
                <c:pt idx="960">
                  <c:v>2001.42</c:v>
                </c:pt>
                <c:pt idx="961">
                  <c:v>2045.1</c:v>
                </c:pt>
                <c:pt idx="962">
                  <c:v>2052.11</c:v>
                </c:pt>
                <c:pt idx="963">
                  <c:v>2017.55</c:v>
                </c:pt>
                <c:pt idx="964">
                  <c:v>1918.96</c:v>
                </c:pt>
                <c:pt idx="965">
                  <c:v>1887.08</c:v>
                </c:pt>
                <c:pt idx="966">
                  <c:v>1870.77</c:v>
                </c:pt>
                <c:pt idx="967">
                  <c:v>1862.1</c:v>
                </c:pt>
                <c:pt idx="968">
                  <c:v>1854.76</c:v>
                </c:pt>
                <c:pt idx="969">
                  <c:v>1833.44</c:v>
                </c:pt>
                <c:pt idx="970">
                  <c:v>1817.72</c:v>
                </c:pt>
                <c:pt idx="971">
                  <c:v>1882.96</c:v>
                </c:pt>
                <c:pt idx="972">
                  <c:v>1942.8</c:v>
                </c:pt>
                <c:pt idx="973">
                  <c:v>1931.18</c:v>
                </c:pt>
                <c:pt idx="974">
                  <c:v>1887.99</c:v>
                </c:pt>
                <c:pt idx="975">
                  <c:v>1918.37</c:v>
                </c:pt>
                <c:pt idx="976">
                  <c:v>1920.69</c:v>
                </c:pt>
                <c:pt idx="977">
                  <c:v>1876.19</c:v>
                </c:pt>
                <c:pt idx="978">
                  <c:v>1955.24</c:v>
                </c:pt>
                <c:pt idx="979">
                  <c:v>1954.87</c:v>
                </c:pt>
                <c:pt idx="980">
                  <c:v>1990.21</c:v>
                </c:pt>
                <c:pt idx="981">
                  <c:v>2012.47</c:v>
                </c:pt>
                <c:pt idx="982">
                  <c:v>2025.19</c:v>
                </c:pt>
                <c:pt idx="983">
                  <c:v>2021.71</c:v>
                </c:pt>
                <c:pt idx="984">
                  <c:v>2044.55</c:v>
                </c:pt>
                <c:pt idx="985">
                  <c:v>2032.68</c:v>
                </c:pt>
                <c:pt idx="986">
                  <c:v>2057.06</c:v>
                </c:pt>
                <c:pt idx="987">
                  <c:v>2108.91</c:v>
                </c:pt>
                <c:pt idx="988">
                  <c:v>2166.41</c:v>
                </c:pt>
                <c:pt idx="989">
                  <c:v>2150.9699999999998</c:v>
                </c:pt>
                <c:pt idx="990">
                  <c:v>2237.2800000000002</c:v>
                </c:pt>
                <c:pt idx="991">
                  <c:v>2296.67</c:v>
                </c:pt>
                <c:pt idx="992">
                  <c:v>2326.7600000000002</c:v>
                </c:pt>
                <c:pt idx="993">
                  <c:v>2331.14</c:v>
                </c:pt>
                <c:pt idx="994">
                  <c:v>2318.34</c:v>
                </c:pt>
                <c:pt idx="995">
                  <c:v>2399.0700000000002</c:v>
                </c:pt>
                <c:pt idx="996">
                  <c:v>2462.25</c:v>
                </c:pt>
                <c:pt idx="997">
                  <c:v>2385.29</c:v>
                </c:pt>
                <c:pt idx="998">
                  <c:v>2275.84</c:v>
                </c:pt>
                <c:pt idx="999">
                  <c:v>2298.41</c:v>
                </c:pt>
                <c:pt idx="1000">
                  <c:v>2344.3200000000002</c:v>
                </c:pt>
                <c:pt idx="1001">
                  <c:v>2410.48</c:v>
                </c:pt>
                <c:pt idx="1002">
                  <c:v>2301.85</c:v>
                </c:pt>
                <c:pt idx="1003">
                  <c:v>2304.25</c:v>
                </c:pt>
                <c:pt idx="1004">
                  <c:v>2190.19</c:v>
                </c:pt>
                <c:pt idx="1005">
                  <c:v>2140.4899999999998</c:v>
                </c:pt>
                <c:pt idx="1006">
                  <c:v>2164.67</c:v>
                </c:pt>
                <c:pt idx="1007">
                  <c:v>2142.15</c:v>
                </c:pt>
                <c:pt idx="1008">
                  <c:v>2285.15</c:v>
                </c:pt>
                <c:pt idx="1009">
                  <c:v>2304.92</c:v>
                </c:pt>
                <c:pt idx="1010">
                  <c:v>2286.58</c:v>
                </c:pt>
                <c:pt idx="1011">
                  <c:v>2202.5300000000002</c:v>
                </c:pt>
                <c:pt idx="1012">
                  <c:v>2240.7800000000002</c:v>
                </c:pt>
                <c:pt idx="1013">
                  <c:v>2220.38</c:v>
                </c:pt>
                <c:pt idx="1014">
                  <c:v>2215.6999999999998</c:v>
                </c:pt>
                <c:pt idx="1015">
                  <c:v>2205.42</c:v>
                </c:pt>
                <c:pt idx="1016">
                  <c:v>2241.61</c:v>
                </c:pt>
                <c:pt idx="1017">
                  <c:v>2322.4</c:v>
                </c:pt>
                <c:pt idx="1018">
                  <c:v>2332.65</c:v>
                </c:pt>
                <c:pt idx="1019">
                  <c:v>2382.56</c:v>
                </c:pt>
                <c:pt idx="1020">
                  <c:v>2379.84</c:v>
                </c:pt>
                <c:pt idx="1021">
                  <c:v>2439.4</c:v>
                </c:pt>
                <c:pt idx="1022">
                  <c:v>2451.7800000000002</c:v>
                </c:pt>
                <c:pt idx="1023">
                  <c:v>2401.33</c:v>
                </c:pt>
                <c:pt idx="1024">
                  <c:v>2479.79</c:v>
                </c:pt>
                <c:pt idx="1025">
                  <c:v>2498.9299999999998</c:v>
                </c:pt>
                <c:pt idx="1026">
                  <c:v>2484.4899999999998</c:v>
                </c:pt>
                <c:pt idx="1027">
                  <c:v>2507.79</c:v>
                </c:pt>
                <c:pt idx="1028">
                  <c:v>2548.2199999999998</c:v>
                </c:pt>
                <c:pt idx="1029">
                  <c:v>2576.4</c:v>
                </c:pt>
                <c:pt idx="1030">
                  <c:v>2570.5</c:v>
                </c:pt>
                <c:pt idx="1031">
                  <c:v>2576.9499999999998</c:v>
                </c:pt>
                <c:pt idx="1032">
                  <c:v>2479.35</c:v>
                </c:pt>
                <c:pt idx="1033">
                  <c:v>2517.67</c:v>
                </c:pt>
                <c:pt idx="1034">
                  <c:v>2595.5300000000002</c:v>
                </c:pt>
                <c:pt idx="1035">
                  <c:v>2656.52</c:v>
                </c:pt>
                <c:pt idx="1036">
                  <c:v>2676.87</c:v>
                </c:pt>
                <c:pt idx="1037">
                  <c:v>2686.99</c:v>
                </c:pt>
                <c:pt idx="1038">
                  <c:v>2687.11</c:v>
                </c:pt>
                <c:pt idx="1039">
                  <c:v>2650.69</c:v>
                </c:pt>
                <c:pt idx="1040">
                  <c:v>2707.67</c:v>
                </c:pt>
                <c:pt idx="1041">
                  <c:v>2675.44</c:v>
                </c:pt>
                <c:pt idx="1042">
                  <c:v>2576.2800000000002</c:v>
                </c:pt>
                <c:pt idx="1043">
                  <c:v>2593.56</c:v>
                </c:pt>
                <c:pt idx="1044">
                  <c:v>2572.89</c:v>
                </c:pt>
                <c:pt idx="1045">
                  <c:v>2513.29</c:v>
                </c:pt>
                <c:pt idx="1046">
                  <c:v>2518.5300000000002</c:v>
                </c:pt>
                <c:pt idx="1047">
                  <c:v>2605.37</c:v>
                </c:pt>
                <c:pt idx="1048">
                  <c:v>2622.93</c:v>
                </c:pt>
                <c:pt idx="1049">
                  <c:v>2714.3</c:v>
                </c:pt>
                <c:pt idx="1050">
                  <c:v>2727.01</c:v>
                </c:pt>
                <c:pt idx="1051">
                  <c:v>2764.98</c:v>
                </c:pt>
                <c:pt idx="1052">
                  <c:v>2767.08</c:v>
                </c:pt>
                <c:pt idx="1053">
                  <c:v>2789.22</c:v>
                </c:pt>
                <c:pt idx="1054">
                  <c:v>2725.32</c:v>
                </c:pt>
                <c:pt idx="1055">
                  <c:v>2788.56</c:v>
                </c:pt>
                <c:pt idx="1056">
                  <c:v>2814.01</c:v>
                </c:pt>
                <c:pt idx="1057">
                  <c:v>2792.6</c:v>
                </c:pt>
                <c:pt idx="1058">
                  <c:v>2796.12</c:v>
                </c:pt>
                <c:pt idx="1059">
                  <c:v>2810.57</c:v>
                </c:pt>
                <c:pt idx="1060">
                  <c:v>2840.08</c:v>
                </c:pt>
                <c:pt idx="1061">
                  <c:v>2812.87</c:v>
                </c:pt>
                <c:pt idx="1062">
                  <c:v>2750.01</c:v>
                </c:pt>
                <c:pt idx="1063">
                  <c:v>2740.68</c:v>
                </c:pt>
                <c:pt idx="1064">
                  <c:v>2752.72</c:v>
                </c:pt>
                <c:pt idx="1065">
                  <c:v>2719.76</c:v>
                </c:pt>
                <c:pt idx="1066">
                  <c:v>2759.71</c:v>
                </c:pt>
                <c:pt idx="1067">
                  <c:v>2858.34</c:v>
                </c:pt>
                <c:pt idx="1068">
                  <c:v>2865.1</c:v>
                </c:pt>
                <c:pt idx="1069">
                  <c:v>2939.39</c:v>
                </c:pt>
                <c:pt idx="1070">
                  <c:v>2953.75</c:v>
                </c:pt>
                <c:pt idx="1071">
                  <c:v>2939.31</c:v>
                </c:pt>
                <c:pt idx="1072">
                  <c:v>2948.48</c:v>
                </c:pt>
                <c:pt idx="1073">
                  <c:v>2960.56</c:v>
                </c:pt>
                <c:pt idx="1074">
                  <c:v>2989.6</c:v>
                </c:pt>
                <c:pt idx="1075">
                  <c:v>2961.63</c:v>
                </c:pt>
                <c:pt idx="1076">
                  <c:v>2906.29</c:v>
                </c:pt>
                <c:pt idx="1077">
                  <c:v>2966.19</c:v>
                </c:pt>
                <c:pt idx="1078">
                  <c:v>2961.22</c:v>
                </c:pt>
                <c:pt idx="1079">
                  <c:v>3010.59</c:v>
                </c:pt>
                <c:pt idx="1080">
                  <c:v>3057.43</c:v>
                </c:pt>
                <c:pt idx="1081">
                  <c:v>3080</c:v>
                </c:pt>
                <c:pt idx="1082">
                  <c:v>3082.56</c:v>
                </c:pt>
                <c:pt idx="1083">
                  <c:v>3083.9</c:v>
                </c:pt>
                <c:pt idx="1084">
                  <c:v>3120.73</c:v>
                </c:pt>
                <c:pt idx="1085">
                  <c:v>3117.92</c:v>
                </c:pt>
                <c:pt idx="1086">
                  <c:v>3128.42</c:v>
                </c:pt>
                <c:pt idx="1087">
                  <c:v>3179.97</c:v>
                </c:pt>
                <c:pt idx="1088">
                  <c:v>3166.47</c:v>
                </c:pt>
                <c:pt idx="1089">
                  <c:v>3237.9</c:v>
                </c:pt>
                <c:pt idx="1090">
                  <c:v>3282.36</c:v>
                </c:pt>
                <c:pt idx="1091">
                  <c:v>3327.14</c:v>
                </c:pt>
                <c:pt idx="1092">
                  <c:v>3374.75</c:v>
                </c:pt>
                <c:pt idx="1093">
                  <c:v>3340.49</c:v>
                </c:pt>
                <c:pt idx="1094">
                  <c:v>3352.27</c:v>
                </c:pt>
                <c:pt idx="1095">
                  <c:v>3396.3</c:v>
                </c:pt>
                <c:pt idx="1096">
                  <c:v>3398.31</c:v>
                </c:pt>
                <c:pt idx="1097">
                  <c:v>3361.01</c:v>
                </c:pt>
                <c:pt idx="1098">
                  <c:v>3454.75</c:v>
                </c:pt>
                <c:pt idx="1099">
                  <c:v>3493.31</c:v>
                </c:pt>
                <c:pt idx="1100">
                  <c:v>3501.24</c:v>
                </c:pt>
                <c:pt idx="1101">
                  <c:v>3519.81</c:v>
                </c:pt>
                <c:pt idx="1102">
                  <c:v>3591.12</c:v>
                </c:pt>
                <c:pt idx="1103">
                  <c:v>3539.83</c:v>
                </c:pt>
                <c:pt idx="1104">
                  <c:v>3606.92</c:v>
                </c:pt>
                <c:pt idx="1105">
                  <c:v>3651.97</c:v>
                </c:pt>
                <c:pt idx="1106">
                  <c:v>3667.56</c:v>
                </c:pt>
                <c:pt idx="1107">
                  <c:v>3743.63</c:v>
                </c:pt>
                <c:pt idx="1108">
                  <c:v>3755.82</c:v>
                </c:pt>
                <c:pt idx="1109">
                  <c:v>3558.51</c:v>
                </c:pt>
                <c:pt idx="1110">
                  <c:v>3634.82</c:v>
                </c:pt>
                <c:pt idx="1111">
                  <c:v>3734.62</c:v>
                </c:pt>
                <c:pt idx="1112">
                  <c:v>3787.03</c:v>
                </c:pt>
                <c:pt idx="1113">
                  <c:v>3786.62</c:v>
                </c:pt>
                <c:pt idx="1114">
                  <c:v>3740.94</c:v>
                </c:pt>
                <c:pt idx="1115">
                  <c:v>3663.12</c:v>
                </c:pt>
                <c:pt idx="1116">
                  <c:v>3555.1</c:v>
                </c:pt>
                <c:pt idx="1117">
                  <c:v>3544.54</c:v>
                </c:pt>
                <c:pt idx="1118">
                  <c:v>3556.38</c:v>
                </c:pt>
                <c:pt idx="1119">
                  <c:v>3397.4</c:v>
                </c:pt>
                <c:pt idx="1120">
                  <c:v>3440.82</c:v>
                </c:pt>
                <c:pt idx="1121">
                  <c:v>3344.46</c:v>
                </c:pt>
                <c:pt idx="1122">
                  <c:v>3140.27</c:v>
                </c:pt>
                <c:pt idx="1123">
                  <c:v>3171.99</c:v>
                </c:pt>
                <c:pt idx="1124">
                  <c:v>3014.57</c:v>
                </c:pt>
                <c:pt idx="1125">
                  <c:v>3144.39</c:v>
                </c:pt>
                <c:pt idx="1126">
                  <c:v>3203.62</c:v>
                </c:pt>
                <c:pt idx="1127">
                  <c:v>3229.6</c:v>
                </c:pt>
                <c:pt idx="1128">
                  <c:v>3109.83</c:v>
                </c:pt>
                <c:pt idx="1129">
                  <c:v>3172.39</c:v>
                </c:pt>
                <c:pt idx="1130">
                  <c:v>3156.3</c:v>
                </c:pt>
                <c:pt idx="1131">
                  <c:v>3046.78</c:v>
                </c:pt>
                <c:pt idx="1132">
                  <c:v>2830.27</c:v>
                </c:pt>
                <c:pt idx="1133">
                  <c:v>2843.7</c:v>
                </c:pt>
                <c:pt idx="1134">
                  <c:v>2890.93</c:v>
                </c:pt>
                <c:pt idx="1135">
                  <c:v>3051.96</c:v>
                </c:pt>
                <c:pt idx="1136">
                  <c:v>3077.14</c:v>
                </c:pt>
                <c:pt idx="1137">
                  <c:v>3104.21</c:v>
                </c:pt>
                <c:pt idx="1138">
                  <c:v>3170.97</c:v>
                </c:pt>
                <c:pt idx="1139">
                  <c:v>3194.91</c:v>
                </c:pt>
                <c:pt idx="1140">
                  <c:v>3162.91</c:v>
                </c:pt>
                <c:pt idx="1141">
                  <c:v>3238.13</c:v>
                </c:pt>
                <c:pt idx="1142">
                  <c:v>3293.39</c:v>
                </c:pt>
                <c:pt idx="1143">
                  <c:v>3302.64</c:v>
                </c:pt>
                <c:pt idx="1144">
                  <c:v>3258.24</c:v>
                </c:pt>
                <c:pt idx="1145">
                  <c:v>3320.1</c:v>
                </c:pt>
                <c:pt idx="1146">
                  <c:v>3199.69</c:v>
                </c:pt>
                <c:pt idx="1147">
                  <c:v>3208.6</c:v>
                </c:pt>
                <c:pt idx="1148">
                  <c:v>3131.03</c:v>
                </c:pt>
                <c:pt idx="1149">
                  <c:v>3060.07</c:v>
                </c:pt>
                <c:pt idx="1150">
                  <c:v>3080.93</c:v>
                </c:pt>
                <c:pt idx="1151">
                  <c:v>3058.53</c:v>
                </c:pt>
                <c:pt idx="1152">
                  <c:v>2972.64</c:v>
                </c:pt>
                <c:pt idx="1153">
                  <c:v>2972.29</c:v>
                </c:pt>
                <c:pt idx="1154">
                  <c:v>3004.81</c:v>
                </c:pt>
                <c:pt idx="1155">
                  <c:v>3163.71</c:v>
                </c:pt>
                <c:pt idx="1156">
                  <c:v>3151.63</c:v>
                </c:pt>
                <c:pt idx="1157">
                  <c:v>3198.52</c:v>
                </c:pt>
                <c:pt idx="1158">
                  <c:v>3227.4</c:v>
                </c:pt>
                <c:pt idx="1159">
                  <c:v>3239.64</c:v>
                </c:pt>
                <c:pt idx="1160">
                  <c:v>3241.71</c:v>
                </c:pt>
                <c:pt idx="1161">
                  <c:v>3329.16</c:v>
                </c:pt>
                <c:pt idx="1162">
                  <c:v>3377.57</c:v>
                </c:pt>
                <c:pt idx="1163">
                  <c:v>3369.29</c:v>
                </c:pt>
                <c:pt idx="1164">
                  <c:v>3347.32</c:v>
                </c:pt>
                <c:pt idx="1165">
                  <c:v>3413.25</c:v>
                </c:pt>
                <c:pt idx="1166">
                  <c:v>3414.24</c:v>
                </c:pt>
                <c:pt idx="1167">
                  <c:v>3314.72</c:v>
                </c:pt>
                <c:pt idx="1168">
                  <c:v>3329.33</c:v>
                </c:pt>
                <c:pt idx="1169">
                  <c:v>3247.05</c:v>
                </c:pt>
                <c:pt idx="1170">
                  <c:v>3280.37</c:v>
                </c:pt>
                <c:pt idx="1171">
                  <c:v>3392.8</c:v>
                </c:pt>
                <c:pt idx="1172">
                  <c:v>3435.43</c:v>
                </c:pt>
                <c:pt idx="1173">
                  <c:v>3453.89</c:v>
                </c:pt>
                <c:pt idx="1174">
                  <c:v>3464.32</c:v>
                </c:pt>
                <c:pt idx="1175">
                  <c:v>3483.02</c:v>
                </c:pt>
                <c:pt idx="1176">
                  <c:v>3495.79</c:v>
                </c:pt>
                <c:pt idx="1177">
                  <c:v>3503.78</c:v>
                </c:pt>
                <c:pt idx="1178">
                  <c:v>3495.67</c:v>
                </c:pt>
                <c:pt idx="1179">
                  <c:v>3499.99</c:v>
                </c:pt>
                <c:pt idx="1180">
                  <c:v>3518.72</c:v>
                </c:pt>
                <c:pt idx="1181">
                  <c:v>3625.8</c:v>
                </c:pt>
                <c:pt idx="1182">
                  <c:v>3628.35</c:v>
                </c:pt>
                <c:pt idx="1183">
                  <c:v>3630.23</c:v>
                </c:pt>
                <c:pt idx="1184">
                  <c:v>3642.44</c:v>
                </c:pt>
                <c:pt idx="1185">
                  <c:v>3631.01</c:v>
                </c:pt>
                <c:pt idx="1186">
                  <c:v>3665.51</c:v>
                </c:pt>
                <c:pt idx="1187">
                  <c:v>3548.08</c:v>
                </c:pt>
                <c:pt idx="1188">
                  <c:v>3629.63</c:v>
                </c:pt>
                <c:pt idx="1189">
                  <c:v>3485.77</c:v>
                </c:pt>
                <c:pt idx="1190">
                  <c:v>3382.51</c:v>
                </c:pt>
                <c:pt idx="1191">
                  <c:v>3511.67</c:v>
                </c:pt>
                <c:pt idx="1192">
                  <c:v>3560.83</c:v>
                </c:pt>
                <c:pt idx="1193">
                  <c:v>3597.33</c:v>
                </c:pt>
                <c:pt idx="1194">
                  <c:v>3590.88</c:v>
                </c:pt>
                <c:pt idx="1195">
                  <c:v>3643.49</c:v>
                </c:pt>
                <c:pt idx="1196">
                  <c:v>3668.83</c:v>
                </c:pt>
                <c:pt idx="1197">
                  <c:v>3624.02</c:v>
                </c:pt>
                <c:pt idx="1198">
                  <c:v>3554.48</c:v>
                </c:pt>
                <c:pt idx="1199">
                  <c:v>3577.24</c:v>
                </c:pt>
                <c:pt idx="1200">
                  <c:v>3575.02</c:v>
                </c:pt>
                <c:pt idx="1201">
                  <c:v>3612.75</c:v>
                </c:pt>
                <c:pt idx="1202">
                  <c:v>3583.34</c:v>
                </c:pt>
                <c:pt idx="1203">
                  <c:v>3560.72</c:v>
                </c:pt>
                <c:pt idx="1204">
                  <c:v>3480.15</c:v>
                </c:pt>
                <c:pt idx="1205">
                  <c:v>3391.74</c:v>
                </c:pt>
                <c:pt idx="1206">
                  <c:v>3396.62</c:v>
                </c:pt>
                <c:pt idx="1207">
                  <c:v>3305.54</c:v>
                </c:pt>
                <c:pt idx="1208">
                  <c:v>3336.48</c:v>
                </c:pt>
                <c:pt idx="1209">
                  <c:v>3438.82</c:v>
                </c:pt>
                <c:pt idx="1210">
                  <c:v>3424.78</c:v>
                </c:pt>
                <c:pt idx="1211">
                  <c:v>3478.43</c:v>
                </c:pt>
                <c:pt idx="1212">
                  <c:v>3500.74</c:v>
                </c:pt>
                <c:pt idx="1213">
                  <c:v>3558.86</c:v>
                </c:pt>
                <c:pt idx="1214">
                  <c:v>3575.68</c:v>
                </c:pt>
                <c:pt idx="1215">
                  <c:v>3535.23</c:v>
                </c:pt>
                <c:pt idx="1216">
                  <c:v>3564.04</c:v>
                </c:pt>
                <c:pt idx="1217">
                  <c:v>3541.73</c:v>
                </c:pt>
                <c:pt idx="1218">
                  <c:v>3471.46</c:v>
                </c:pt>
                <c:pt idx="1219">
                  <c:v>3480.13</c:v>
                </c:pt>
                <c:pt idx="1220">
                  <c:v>3482.05</c:v>
                </c:pt>
                <c:pt idx="1221">
                  <c:v>3534.92</c:v>
                </c:pt>
                <c:pt idx="1222">
                  <c:v>3421.14</c:v>
                </c:pt>
                <c:pt idx="1223">
                  <c:v>3469.05</c:v>
                </c:pt>
                <c:pt idx="1224">
                  <c:v>3482.74</c:v>
                </c:pt>
                <c:pt idx="1225">
                  <c:v>3500.68</c:v>
                </c:pt>
                <c:pt idx="1226">
                  <c:v>3507.48</c:v>
                </c:pt>
                <c:pt idx="1227">
                  <c:v>3394.43</c:v>
                </c:pt>
                <c:pt idx="1228">
                  <c:v>3408.57</c:v>
                </c:pt>
                <c:pt idx="1229">
                  <c:v>3366.2</c:v>
                </c:pt>
                <c:pt idx="1230">
                  <c:v>3328.01</c:v>
                </c:pt>
                <c:pt idx="1231">
                  <c:v>3242.8</c:v>
                </c:pt>
                <c:pt idx="1232">
                  <c:v>3198.57</c:v>
                </c:pt>
                <c:pt idx="1233">
                  <c:v>3206.57</c:v>
                </c:pt>
                <c:pt idx="1234">
                  <c:v>3204.16</c:v>
                </c:pt>
                <c:pt idx="1235">
                  <c:v>3152.71</c:v>
                </c:pt>
                <c:pt idx="1236">
                  <c:v>3146.19</c:v>
                </c:pt>
                <c:pt idx="1237">
                  <c:v>3230.72</c:v>
                </c:pt>
                <c:pt idx="1238">
                  <c:v>3218.8</c:v>
                </c:pt>
                <c:pt idx="1239">
                  <c:v>3153.09</c:v>
                </c:pt>
                <c:pt idx="1240">
                  <c:v>3150.99</c:v>
                </c:pt>
                <c:pt idx="1241">
                  <c:v>3169.19</c:v>
                </c:pt>
                <c:pt idx="1242">
                  <c:v>3214.13</c:v>
                </c:pt>
                <c:pt idx="1243">
                  <c:v>3220.4</c:v>
                </c:pt>
                <c:pt idx="1244">
                  <c:v>3251.28</c:v>
                </c:pt>
                <c:pt idx="1245">
                  <c:v>3233.35</c:v>
                </c:pt>
                <c:pt idx="1246">
                  <c:v>3198.63</c:v>
                </c:pt>
                <c:pt idx="1247">
                  <c:v>3244.48</c:v>
                </c:pt>
                <c:pt idx="1248">
                  <c:v>3292.13</c:v>
                </c:pt>
                <c:pt idx="1249">
                  <c:v>3281.67</c:v>
                </c:pt>
                <c:pt idx="1250">
                  <c:v>3324.42</c:v>
                </c:pt>
                <c:pt idx="1251">
                  <c:v>3311.24</c:v>
                </c:pt>
                <c:pt idx="1252">
                  <c:v>3335.08</c:v>
                </c:pt>
                <c:pt idx="1253">
                  <c:v>3250.57</c:v>
                </c:pt>
                <c:pt idx="1254">
                  <c:v>3259.76</c:v>
                </c:pt>
                <c:pt idx="1255">
                  <c:v>3286.18</c:v>
                </c:pt>
                <c:pt idx="1256">
                  <c:v>3305.86</c:v>
                </c:pt>
                <c:pt idx="1257">
                  <c:v>3279.69</c:v>
                </c:pt>
                <c:pt idx="1258">
                  <c:v>3276.71</c:v>
                </c:pt>
                <c:pt idx="1259">
                  <c:v>3233.13</c:v>
                </c:pt>
                <c:pt idx="1260">
                  <c:v>3183.18</c:v>
                </c:pt>
                <c:pt idx="1261">
                  <c:v>3203.97</c:v>
                </c:pt>
                <c:pt idx="1262">
                  <c:v>3273.92</c:v>
                </c:pt>
                <c:pt idx="1263">
                  <c:v>3267.56</c:v>
                </c:pt>
                <c:pt idx="1264">
                  <c:v>3293.87</c:v>
                </c:pt>
                <c:pt idx="1265">
                  <c:v>3302.63</c:v>
                </c:pt>
                <c:pt idx="1266">
                  <c:v>3275.57</c:v>
                </c:pt>
                <c:pt idx="1267">
                  <c:v>3276.67</c:v>
                </c:pt>
                <c:pt idx="1268">
                  <c:v>3229.13</c:v>
                </c:pt>
                <c:pt idx="1269">
                  <c:v>3275</c:v>
                </c:pt>
                <c:pt idx="1270">
                  <c:v>3358.54</c:v>
                </c:pt>
                <c:pt idx="1271">
                  <c:v>3366.71</c:v>
                </c:pt>
                <c:pt idx="1272">
                  <c:v>3345.61</c:v>
                </c:pt>
                <c:pt idx="1273">
                  <c:v>3391.94</c:v>
                </c:pt>
                <c:pt idx="1274">
                  <c:v>3407.35</c:v>
                </c:pt>
                <c:pt idx="1275">
                  <c:v>3405.15</c:v>
                </c:pt>
                <c:pt idx="1276">
                  <c:v>3386.95</c:v>
                </c:pt>
                <c:pt idx="1277">
                  <c:v>3346.74</c:v>
                </c:pt>
                <c:pt idx="1278">
                  <c:v>3379.17</c:v>
                </c:pt>
                <c:pt idx="1279">
                  <c:v>3351.48</c:v>
                </c:pt>
                <c:pt idx="1280">
                  <c:v>3391.72</c:v>
                </c:pt>
                <c:pt idx="1281">
                  <c:v>3403.71</c:v>
                </c:pt>
                <c:pt idx="1282">
                  <c:v>3394.57</c:v>
                </c:pt>
                <c:pt idx="1283">
                  <c:v>3356.33</c:v>
                </c:pt>
                <c:pt idx="1284">
                  <c:v>3176.42</c:v>
                </c:pt>
                <c:pt idx="1285">
                  <c:v>3173.37</c:v>
                </c:pt>
                <c:pt idx="1286">
                  <c:v>3236.68</c:v>
                </c:pt>
                <c:pt idx="1287">
                  <c:v>3201.54</c:v>
                </c:pt>
                <c:pt idx="1288">
                  <c:v>3190</c:v>
                </c:pt>
                <c:pt idx="1289">
                  <c:v>3172</c:v>
                </c:pt>
                <c:pt idx="1290">
                  <c:v>3108.41</c:v>
                </c:pt>
                <c:pt idx="1291">
                  <c:v>3097.35</c:v>
                </c:pt>
                <c:pt idx="1292">
                  <c:v>3060.06</c:v>
                </c:pt>
                <c:pt idx="1293">
                  <c:v>3067.37</c:v>
                </c:pt>
                <c:pt idx="1294">
                  <c:v>3019.45</c:v>
                </c:pt>
                <c:pt idx="1295">
                  <c:v>3036.39</c:v>
                </c:pt>
                <c:pt idx="1296">
                  <c:v>2896.86</c:v>
                </c:pt>
                <c:pt idx="1297">
                  <c:v>2836.79</c:v>
                </c:pt>
                <c:pt idx="1298">
                  <c:v>2858.23</c:v>
                </c:pt>
                <c:pt idx="1299">
                  <c:v>2800.82</c:v>
                </c:pt>
                <c:pt idx="1300">
                  <c:v>2818.16</c:v>
                </c:pt>
                <c:pt idx="1301">
                  <c:v>2886.91</c:v>
                </c:pt>
                <c:pt idx="1302">
                  <c:v>2868.02</c:v>
                </c:pt>
                <c:pt idx="1303">
                  <c:v>2714.72</c:v>
                </c:pt>
                <c:pt idx="1304">
                  <c:v>2771.35</c:v>
                </c:pt>
                <c:pt idx="1305">
                  <c:v>2762.17</c:v>
                </c:pt>
                <c:pt idx="1306">
                  <c:v>2726.02</c:v>
                </c:pt>
                <c:pt idx="1307">
                  <c:v>2768.79</c:v>
                </c:pt>
                <c:pt idx="1308">
                  <c:v>2873.47</c:v>
                </c:pt>
                <c:pt idx="1309">
                  <c:v>2813.94</c:v>
                </c:pt>
                <c:pt idx="1310">
                  <c:v>2813.94</c:v>
                </c:pt>
                <c:pt idx="1311">
                  <c:v>2859.98</c:v>
                </c:pt>
                <c:pt idx="1312">
                  <c:v>2850.3</c:v>
                </c:pt>
                <c:pt idx="1313">
                  <c:v>2773.26</c:v>
                </c:pt>
                <c:pt idx="1314">
                  <c:v>2744.16</c:v>
                </c:pt>
                <c:pt idx="1315">
                  <c:v>2757.53</c:v>
                </c:pt>
                <c:pt idx="1316">
                  <c:v>2736.08</c:v>
                </c:pt>
                <c:pt idx="1317">
                  <c:v>2744.39</c:v>
                </c:pt>
                <c:pt idx="1318">
                  <c:v>2695.72</c:v>
                </c:pt>
                <c:pt idx="1319">
                  <c:v>2699.34</c:v>
                </c:pt>
                <c:pt idx="1320">
                  <c:v>2782.13</c:v>
                </c:pt>
                <c:pt idx="1321">
                  <c:v>2750.02</c:v>
                </c:pt>
                <c:pt idx="1322">
                  <c:v>2758.87</c:v>
                </c:pt>
                <c:pt idx="1323">
                  <c:v>2742.73</c:v>
                </c:pt>
                <c:pt idx="1324">
                  <c:v>2696.17</c:v>
                </c:pt>
                <c:pt idx="1325">
                  <c:v>2780.66</c:v>
                </c:pt>
                <c:pt idx="1326">
                  <c:v>2783.72</c:v>
                </c:pt>
                <c:pt idx="1327">
                  <c:v>2758.5</c:v>
                </c:pt>
                <c:pt idx="1328">
                  <c:v>2757.5</c:v>
                </c:pt>
                <c:pt idx="1329">
                  <c:v>2736.29</c:v>
                </c:pt>
                <c:pt idx="1330">
                  <c:v>2716.78</c:v>
                </c:pt>
                <c:pt idx="1331">
                  <c:v>2592.02</c:v>
                </c:pt>
                <c:pt idx="1332">
                  <c:v>2563.0700000000002</c:v>
                </c:pt>
                <c:pt idx="1333">
                  <c:v>2526.0700000000002</c:v>
                </c:pt>
                <c:pt idx="1334">
                  <c:v>2534.11</c:v>
                </c:pt>
                <c:pt idx="1335">
                  <c:v>2512.65</c:v>
                </c:pt>
                <c:pt idx="1336">
                  <c:v>2562.9</c:v>
                </c:pt>
                <c:pt idx="1337">
                  <c:v>2580.48</c:v>
                </c:pt>
                <c:pt idx="1338">
                  <c:v>2575.92</c:v>
                </c:pt>
                <c:pt idx="1339">
                  <c:v>2647.1</c:v>
                </c:pt>
                <c:pt idx="1340">
                  <c:v>2676.22</c:v>
                </c:pt>
                <c:pt idx="1341">
                  <c:v>2634.59</c:v>
                </c:pt>
                <c:pt idx="1342">
                  <c:v>2653.61</c:v>
                </c:pt>
                <c:pt idx="1343">
                  <c:v>2608.52</c:v>
                </c:pt>
                <c:pt idx="1344">
                  <c:v>2616.13</c:v>
                </c:pt>
                <c:pt idx="1345">
                  <c:v>2682.47</c:v>
                </c:pt>
                <c:pt idx="1346">
                  <c:v>2741.5</c:v>
                </c:pt>
                <c:pt idx="1347">
                  <c:v>2747.34</c:v>
                </c:pt>
                <c:pt idx="1348">
                  <c:v>2781.29</c:v>
                </c:pt>
                <c:pt idx="1349">
                  <c:v>2793.08</c:v>
                </c:pt>
                <c:pt idx="1350">
                  <c:v>2811.06</c:v>
                </c:pt>
                <c:pt idx="1351">
                  <c:v>2795.72</c:v>
                </c:pt>
                <c:pt idx="1352">
                  <c:v>2863.72</c:v>
                </c:pt>
                <c:pt idx="1353">
                  <c:v>2877.98</c:v>
                </c:pt>
                <c:pt idx="1354">
                  <c:v>2868.85</c:v>
                </c:pt>
                <c:pt idx="1355">
                  <c:v>2917.28</c:v>
                </c:pt>
                <c:pt idx="1356">
                  <c:v>2865.97</c:v>
                </c:pt>
                <c:pt idx="1357">
                  <c:v>2876.43</c:v>
                </c:pt>
                <c:pt idx="1358">
                  <c:v>2850.83</c:v>
                </c:pt>
                <c:pt idx="1359">
                  <c:v>2897.66</c:v>
                </c:pt>
                <c:pt idx="1360">
                  <c:v>2918.24</c:v>
                </c:pt>
                <c:pt idx="1361">
                  <c:v>2832.64</c:v>
                </c:pt>
                <c:pt idx="1362">
                  <c:v>2850.21</c:v>
                </c:pt>
                <c:pt idx="1363">
                  <c:v>2816.39</c:v>
                </c:pt>
                <c:pt idx="1364">
                  <c:v>2855.55</c:v>
                </c:pt>
                <c:pt idx="1365">
                  <c:v>2922.08</c:v>
                </c:pt>
                <c:pt idx="1366">
                  <c:v>2942.29</c:v>
                </c:pt>
                <c:pt idx="1367">
                  <c:v>2937.36</c:v>
                </c:pt>
                <c:pt idx="1368">
                  <c:v>2955.4</c:v>
                </c:pt>
                <c:pt idx="1369">
                  <c:v>2898.33</c:v>
                </c:pt>
                <c:pt idx="1370">
                  <c:v>2896.19</c:v>
                </c:pt>
                <c:pt idx="1371">
                  <c:v>2911.83</c:v>
                </c:pt>
                <c:pt idx="1372">
                  <c:v>2843.02</c:v>
                </c:pt>
                <c:pt idx="1373">
                  <c:v>2850.09</c:v>
                </c:pt>
                <c:pt idx="1374">
                  <c:v>2858.57</c:v>
                </c:pt>
                <c:pt idx="1375">
                  <c:v>2915.01</c:v>
                </c:pt>
                <c:pt idx="1376">
                  <c:v>2903.19</c:v>
                </c:pt>
                <c:pt idx="1377">
                  <c:v>2884.04</c:v>
                </c:pt>
                <c:pt idx="1378">
                  <c:v>2921.39</c:v>
                </c:pt>
                <c:pt idx="1379">
                  <c:v>2920.21</c:v>
                </c:pt>
                <c:pt idx="1380">
                  <c:v>2975.09</c:v>
                </c:pt>
                <c:pt idx="1381">
                  <c:v>2983.11</c:v>
                </c:pt>
                <c:pt idx="1382">
                  <c:v>2980.97</c:v>
                </c:pt>
                <c:pt idx="1383">
                  <c:v>2926.46</c:v>
                </c:pt>
                <c:pt idx="1384">
                  <c:v>2932.55</c:v>
                </c:pt>
                <c:pt idx="1385">
                  <c:v>2962.32</c:v>
                </c:pt>
                <c:pt idx="1386">
                  <c:v>2965.01</c:v>
                </c:pt>
                <c:pt idx="1387">
                  <c:v>2913.19</c:v>
                </c:pt>
                <c:pt idx="1388">
                  <c:v>2857.79</c:v>
                </c:pt>
                <c:pt idx="1389">
                  <c:v>2861.37</c:v>
                </c:pt>
                <c:pt idx="1390">
                  <c:v>2849.83</c:v>
                </c:pt>
                <c:pt idx="1391">
                  <c:v>2857.48</c:v>
                </c:pt>
                <c:pt idx="1392">
                  <c:v>2905.03</c:v>
                </c:pt>
                <c:pt idx="1393">
                  <c:v>2880.91</c:v>
                </c:pt>
                <c:pt idx="1394">
                  <c:v>2874.81</c:v>
                </c:pt>
                <c:pt idx="1395">
                  <c:v>2935.57</c:v>
                </c:pt>
                <c:pt idx="1396">
                  <c:v>3044.23</c:v>
                </c:pt>
                <c:pt idx="1397">
                  <c:v>3132.9</c:v>
                </c:pt>
                <c:pt idx="1398">
                  <c:v>3172.73</c:v>
                </c:pt>
                <c:pt idx="1399">
                  <c:v>3217.58</c:v>
                </c:pt>
                <c:pt idx="1400">
                  <c:v>3224.14</c:v>
                </c:pt>
                <c:pt idx="1401">
                  <c:v>3327.68</c:v>
                </c:pt>
                <c:pt idx="1402">
                  <c:v>3306.16</c:v>
                </c:pt>
                <c:pt idx="1403">
                  <c:v>3375.67</c:v>
                </c:pt>
                <c:pt idx="1404">
                  <c:v>3396.88</c:v>
                </c:pt>
                <c:pt idx="1405">
                  <c:v>3374.69</c:v>
                </c:pt>
                <c:pt idx="1406">
                  <c:v>3378.66</c:v>
                </c:pt>
                <c:pt idx="1407">
                  <c:v>3481.08</c:v>
                </c:pt>
                <c:pt idx="1408">
                  <c:v>3466.08</c:v>
                </c:pt>
                <c:pt idx="1409">
                  <c:v>3403.87</c:v>
                </c:pt>
                <c:pt idx="1410">
                  <c:v>3397.69</c:v>
                </c:pt>
                <c:pt idx="1411">
                  <c:v>3379.98</c:v>
                </c:pt>
                <c:pt idx="1412">
                  <c:v>3473</c:v>
                </c:pt>
                <c:pt idx="1413">
                  <c:v>3463.13</c:v>
                </c:pt>
                <c:pt idx="1414">
                  <c:v>3420.34</c:v>
                </c:pt>
                <c:pt idx="1415">
                  <c:v>3480.51</c:v>
                </c:pt>
                <c:pt idx="1416">
                  <c:v>3520.8</c:v>
                </c:pt>
                <c:pt idx="1417">
                  <c:v>3548.57</c:v>
                </c:pt>
                <c:pt idx="1418">
                  <c:v>3523.95</c:v>
                </c:pt>
                <c:pt idx="1419">
                  <c:v>3499.11</c:v>
                </c:pt>
                <c:pt idx="1420">
                  <c:v>3509.98</c:v>
                </c:pt>
                <c:pt idx="1421">
                  <c:v>3291.83</c:v>
                </c:pt>
                <c:pt idx="1422">
                  <c:v>3314.89</c:v>
                </c:pt>
                <c:pt idx="1423">
                  <c:v>3169.54</c:v>
                </c:pt>
                <c:pt idx="1424">
                  <c:v>3103.91</c:v>
                </c:pt>
                <c:pt idx="1425">
                  <c:v>3147.96</c:v>
                </c:pt>
                <c:pt idx="1426">
                  <c:v>3178.85</c:v>
                </c:pt>
                <c:pt idx="1427">
                  <c:v>3171.94</c:v>
                </c:pt>
                <c:pt idx="1428">
                  <c:v>3107.18</c:v>
                </c:pt>
                <c:pt idx="1429">
                  <c:v>3177.04</c:v>
                </c:pt>
                <c:pt idx="1430">
                  <c:v>3223.48</c:v>
                </c:pt>
                <c:pt idx="1431">
                  <c:v>3194.85</c:v>
                </c:pt>
                <c:pt idx="1432">
                  <c:v>3190.05</c:v>
                </c:pt>
                <c:pt idx="1433">
                  <c:v>3136.99</c:v>
                </c:pt>
                <c:pt idx="1434">
                  <c:v>3136.02</c:v>
                </c:pt>
                <c:pt idx="1435">
                  <c:v>3155.06</c:v>
                </c:pt>
                <c:pt idx="1436">
                  <c:v>3158.16</c:v>
                </c:pt>
                <c:pt idx="1437">
                  <c:v>3165.57</c:v>
                </c:pt>
                <c:pt idx="1438">
                  <c:v>3200.34</c:v>
                </c:pt>
                <c:pt idx="1439">
                  <c:v>3171.88</c:v>
                </c:pt>
                <c:pt idx="1440">
                  <c:v>3123.37</c:v>
                </c:pt>
                <c:pt idx="1441">
                  <c:v>3161.98</c:v>
                </c:pt>
                <c:pt idx="1442">
                  <c:v>3261.06</c:v>
                </c:pt>
                <c:pt idx="1443">
                  <c:v>3269.47</c:v>
                </c:pt>
                <c:pt idx="1444">
                  <c:v>3247.64</c:v>
                </c:pt>
                <c:pt idx="1445">
                  <c:v>3230.67</c:v>
                </c:pt>
                <c:pt idx="1446">
                  <c:v>3225.66</c:v>
                </c:pt>
                <c:pt idx="1447">
                  <c:v>3178.66</c:v>
                </c:pt>
                <c:pt idx="1448">
                  <c:v>3249.51</c:v>
                </c:pt>
                <c:pt idx="1449">
                  <c:v>3215.45</c:v>
                </c:pt>
                <c:pt idx="1450">
                  <c:v>3188.61</c:v>
                </c:pt>
                <c:pt idx="1451">
                  <c:v>3162.96</c:v>
                </c:pt>
                <c:pt idx="1452">
                  <c:v>3099.71</c:v>
                </c:pt>
                <c:pt idx="1453">
                  <c:v>3044.93</c:v>
                </c:pt>
                <c:pt idx="1454">
                  <c:v>3061.83</c:v>
                </c:pt>
                <c:pt idx="1455">
                  <c:v>3064.1</c:v>
                </c:pt>
                <c:pt idx="1456">
                  <c:v>3128.26</c:v>
                </c:pt>
                <c:pt idx="1457">
                  <c:v>3189.68</c:v>
                </c:pt>
                <c:pt idx="1458">
                  <c:v>3175.66</c:v>
                </c:pt>
                <c:pt idx="1459">
                  <c:v>3159.64</c:v>
                </c:pt>
                <c:pt idx="1460">
                  <c:v>3166.62</c:v>
                </c:pt>
                <c:pt idx="1461">
                  <c:v>3108.19</c:v>
                </c:pt>
                <c:pt idx="1462">
                  <c:v>3124.92</c:v>
                </c:pt>
                <c:pt idx="1463">
                  <c:v>3142.34</c:v>
                </c:pt>
                <c:pt idx="1464">
                  <c:v>3141.28</c:v>
                </c:pt>
                <c:pt idx="1465">
                  <c:v>3091.86</c:v>
                </c:pt>
                <c:pt idx="1466">
                  <c:v>2974.35</c:v>
                </c:pt>
                <c:pt idx="1467">
                  <c:v>2977.65</c:v>
                </c:pt>
                <c:pt idx="1468">
                  <c:v>3044.85</c:v>
                </c:pt>
                <c:pt idx="1469">
                  <c:v>2944.71</c:v>
                </c:pt>
                <c:pt idx="1470">
                  <c:v>2983.46</c:v>
                </c:pt>
                <c:pt idx="1471">
                  <c:v>2954.23</c:v>
                </c:pt>
                <c:pt idx="1472">
                  <c:v>2938.65</c:v>
                </c:pt>
                <c:pt idx="1473">
                  <c:v>2978.43</c:v>
                </c:pt>
                <c:pt idx="1474">
                  <c:v>3026.47</c:v>
                </c:pt>
                <c:pt idx="1475">
                  <c:v>3036.74</c:v>
                </c:pt>
                <c:pt idx="1476">
                  <c:v>3076.51</c:v>
                </c:pt>
                <c:pt idx="1477">
                  <c:v>3077.28</c:v>
                </c:pt>
                <c:pt idx="1478">
                  <c:v>3040.95</c:v>
                </c:pt>
                <c:pt idx="1479">
                  <c:v>3104.16</c:v>
                </c:pt>
                <c:pt idx="1480">
                  <c:v>3120.96</c:v>
                </c:pt>
                <c:pt idx="1481">
                  <c:v>3219.14</c:v>
                </c:pt>
                <c:pt idx="1482">
                  <c:v>3217.67</c:v>
                </c:pt>
                <c:pt idx="1483">
                  <c:v>3248.53</c:v>
                </c:pt>
                <c:pt idx="1484">
                  <c:v>3245.91</c:v>
                </c:pt>
                <c:pt idx="1485">
                  <c:v>3211.88</c:v>
                </c:pt>
                <c:pt idx="1486">
                  <c:v>3257.91</c:v>
                </c:pt>
                <c:pt idx="1487">
                  <c:v>3163.58</c:v>
                </c:pt>
                <c:pt idx="1488">
                  <c:v>3174.74</c:v>
                </c:pt>
                <c:pt idx="1489">
                  <c:v>3190.94</c:v>
                </c:pt>
                <c:pt idx="1490">
                  <c:v>3197.62</c:v>
                </c:pt>
                <c:pt idx="1491">
                  <c:v>3239.56</c:v>
                </c:pt>
                <c:pt idx="1492">
                  <c:v>3254.89</c:v>
                </c:pt>
                <c:pt idx="1493">
                  <c:v>3243.3</c:v>
                </c:pt>
                <c:pt idx="1494">
                  <c:v>3221.72</c:v>
                </c:pt>
                <c:pt idx="1495">
                  <c:v>3270.67</c:v>
                </c:pt>
                <c:pt idx="1496">
                  <c:v>3334.51</c:v>
                </c:pt>
                <c:pt idx="1497">
                  <c:v>3337.46</c:v>
                </c:pt>
                <c:pt idx="1498">
                  <c:v>3338.86</c:v>
                </c:pt>
                <c:pt idx="1499">
                  <c:v>3280.26</c:v>
                </c:pt>
                <c:pt idx="1500">
                  <c:v>3247.38</c:v>
                </c:pt>
                <c:pt idx="1501">
                  <c:v>3262.92</c:v>
                </c:pt>
                <c:pt idx="1502">
                  <c:v>3203.96</c:v>
                </c:pt>
                <c:pt idx="1503">
                  <c:v>3248.2</c:v>
                </c:pt>
                <c:pt idx="1504">
                  <c:v>3197.1</c:v>
                </c:pt>
                <c:pt idx="1505">
                  <c:v>3215.69</c:v>
                </c:pt>
                <c:pt idx="1506">
                  <c:v>3207.11</c:v>
                </c:pt>
                <c:pt idx="1507">
                  <c:v>3222.96</c:v>
                </c:pt>
                <c:pt idx="1508">
                  <c:v>3264.93</c:v>
                </c:pt>
                <c:pt idx="1509">
                  <c:v>3251.36</c:v>
                </c:pt>
                <c:pt idx="1510">
                  <c:v>3294.48</c:v>
                </c:pt>
                <c:pt idx="1511">
                  <c:v>3290.57</c:v>
                </c:pt>
                <c:pt idx="1512">
                  <c:v>3257.98</c:v>
                </c:pt>
                <c:pt idx="1513">
                  <c:v>3256.08</c:v>
                </c:pt>
                <c:pt idx="1514">
                  <c:v>3223.29</c:v>
                </c:pt>
                <c:pt idx="1515">
                  <c:v>3272.73</c:v>
                </c:pt>
                <c:pt idx="1516">
                  <c:v>3311.07</c:v>
                </c:pt>
                <c:pt idx="1517">
                  <c:v>3324.42</c:v>
                </c:pt>
                <c:pt idx="1518">
                  <c:v>3353.36</c:v>
                </c:pt>
                <c:pt idx="1519">
                  <c:v>3333.43</c:v>
                </c:pt>
                <c:pt idx="1520">
                  <c:v>3326.77</c:v>
                </c:pt>
                <c:pt idx="1521">
                  <c:v>3372.03</c:v>
                </c:pt>
                <c:pt idx="1522">
                  <c:v>3353.56</c:v>
                </c:pt>
                <c:pt idx="1523">
                  <c:v>3358.94</c:v>
                </c:pt>
                <c:pt idx="1524">
                  <c:v>3359.44</c:v>
                </c:pt>
                <c:pt idx="1525">
                  <c:v>3295.81</c:v>
                </c:pt>
                <c:pt idx="1526">
                  <c:v>3295.76</c:v>
                </c:pt>
                <c:pt idx="1527">
                  <c:v>3317.37</c:v>
                </c:pt>
                <c:pt idx="1528">
                  <c:v>3299.94</c:v>
                </c:pt>
                <c:pt idx="1529">
                  <c:v>3249.57</c:v>
                </c:pt>
                <c:pt idx="1530">
                  <c:v>3230.96</c:v>
                </c:pt>
                <c:pt idx="1531">
                  <c:v>3209.5</c:v>
                </c:pt>
                <c:pt idx="1532">
                  <c:v>3161.78</c:v>
                </c:pt>
                <c:pt idx="1533">
                  <c:v>3192.72</c:v>
                </c:pt>
                <c:pt idx="1534">
                  <c:v>3211.13</c:v>
                </c:pt>
                <c:pt idx="1535">
                  <c:v>3129.03</c:v>
                </c:pt>
                <c:pt idx="1536">
                  <c:v>3126.12</c:v>
                </c:pt>
                <c:pt idx="1537">
                  <c:v>3121.4</c:v>
                </c:pt>
                <c:pt idx="1538">
                  <c:v>3129.76</c:v>
                </c:pt>
                <c:pt idx="1539">
                  <c:v>3153.22</c:v>
                </c:pt>
                <c:pt idx="1540">
                  <c:v>3145.09</c:v>
                </c:pt>
                <c:pt idx="1541">
                  <c:v>3101.6</c:v>
                </c:pt>
                <c:pt idx="1542">
                  <c:v>3128.09</c:v>
                </c:pt>
                <c:pt idx="1543">
                  <c:v>3100.46</c:v>
                </c:pt>
                <c:pt idx="1544">
                  <c:v>3116.03</c:v>
                </c:pt>
                <c:pt idx="1545">
                  <c:v>3139.38</c:v>
                </c:pt>
                <c:pt idx="1546">
                  <c:v>3120.64</c:v>
                </c:pt>
                <c:pt idx="1547">
                  <c:v>3121.6</c:v>
                </c:pt>
                <c:pt idx="1548">
                  <c:v>3022.98</c:v>
                </c:pt>
                <c:pt idx="1549">
                  <c:v>3026.22</c:v>
                </c:pt>
                <c:pt idx="1550">
                  <c:v>2990.34</c:v>
                </c:pt>
                <c:pt idx="1551">
                  <c:v>2978.38</c:v>
                </c:pt>
                <c:pt idx="1552">
                  <c:v>2963.31</c:v>
                </c:pt>
                <c:pt idx="1553">
                  <c:v>2954.51</c:v>
                </c:pt>
                <c:pt idx="1554">
                  <c:v>3001.56</c:v>
                </c:pt>
                <c:pt idx="1555">
                  <c:v>3004.17</c:v>
                </c:pt>
                <c:pt idx="1556">
                  <c:v>2955.71</c:v>
                </c:pt>
                <c:pt idx="1557">
                  <c:v>2986.35</c:v>
                </c:pt>
                <c:pt idx="1558">
                  <c:v>3004.26</c:v>
                </c:pt>
                <c:pt idx="1559">
                  <c:v>3008.65</c:v>
                </c:pt>
                <c:pt idx="1560">
                  <c:v>2951.89</c:v>
                </c:pt>
                <c:pt idx="1561">
                  <c:v>2961.93</c:v>
                </c:pt>
                <c:pt idx="1562">
                  <c:v>2950.35</c:v>
                </c:pt>
                <c:pt idx="1563">
                  <c:v>2993.56</c:v>
                </c:pt>
                <c:pt idx="1564">
                  <c:v>2963.12</c:v>
                </c:pt>
                <c:pt idx="1565">
                  <c:v>2917.58</c:v>
                </c:pt>
                <c:pt idx="1566">
                  <c:v>2892.16</c:v>
                </c:pt>
                <c:pt idx="1567">
                  <c:v>2874.9</c:v>
                </c:pt>
                <c:pt idx="1568">
                  <c:v>2909.07</c:v>
                </c:pt>
                <c:pt idx="1569">
                  <c:v>2908.58</c:v>
                </c:pt>
                <c:pt idx="1570">
                  <c:v>2957.63</c:v>
                </c:pt>
                <c:pt idx="1571">
                  <c:v>3027.47</c:v>
                </c:pt>
                <c:pt idx="1572">
                  <c:v>3036.49</c:v>
                </c:pt>
                <c:pt idx="1573">
                  <c:v>3041.73</c:v>
                </c:pt>
                <c:pt idx="1574">
                  <c:v>3000.17</c:v>
                </c:pt>
                <c:pt idx="1575">
                  <c:v>3044.09</c:v>
                </c:pt>
                <c:pt idx="1576">
                  <c:v>3049.75</c:v>
                </c:pt>
                <c:pt idx="1577">
                  <c:v>3121.98</c:v>
                </c:pt>
                <c:pt idx="1578">
                  <c:v>3122.5</c:v>
                </c:pt>
                <c:pt idx="1579">
                  <c:v>3113.71</c:v>
                </c:pt>
                <c:pt idx="1580">
                  <c:v>3101.68</c:v>
                </c:pt>
                <c:pt idx="1581">
                  <c:v>3109.18</c:v>
                </c:pt>
                <c:pt idx="1582">
                  <c:v>3113.21</c:v>
                </c:pt>
                <c:pt idx="1583">
                  <c:v>3056.91</c:v>
                </c:pt>
                <c:pt idx="1584">
                  <c:v>3106.25</c:v>
                </c:pt>
                <c:pt idx="1585">
                  <c:v>3115.75</c:v>
                </c:pt>
                <c:pt idx="1586">
                  <c:v>3128.89</c:v>
                </c:pt>
                <c:pt idx="1587">
                  <c:v>3122.6</c:v>
                </c:pt>
                <c:pt idx="1588">
                  <c:v>3095.13</c:v>
                </c:pt>
                <c:pt idx="1589">
                  <c:v>3091.57</c:v>
                </c:pt>
                <c:pt idx="1590">
                  <c:v>3059.14</c:v>
                </c:pt>
                <c:pt idx="1591">
                  <c:v>3067.99</c:v>
                </c:pt>
                <c:pt idx="1592">
                  <c:v>2968.29</c:v>
                </c:pt>
                <c:pt idx="1593">
                  <c:v>2977.77</c:v>
                </c:pt>
                <c:pt idx="1594">
                  <c:v>3000.05</c:v>
                </c:pt>
                <c:pt idx="1595">
                  <c:v>2981</c:v>
                </c:pt>
                <c:pt idx="1596">
                  <c:v>2972.08</c:v>
                </c:pt>
                <c:pt idx="1597">
                  <c:v>2977.72</c:v>
                </c:pt>
                <c:pt idx="1598">
                  <c:v>2956.38</c:v>
                </c:pt>
                <c:pt idx="1599">
                  <c:v>2954.87</c:v>
                </c:pt>
                <c:pt idx="1600">
                  <c:v>2960.31</c:v>
                </c:pt>
                <c:pt idx="1601">
                  <c:v>2897.42</c:v>
                </c:pt>
                <c:pt idx="1602">
                  <c:v>2793.9</c:v>
                </c:pt>
                <c:pt idx="1603">
                  <c:v>2798.19</c:v>
                </c:pt>
                <c:pt idx="1604">
                  <c:v>2824.12</c:v>
                </c:pt>
                <c:pt idx="1605">
                  <c:v>2866.92</c:v>
                </c:pt>
                <c:pt idx="1606">
                  <c:v>2875.37</c:v>
                </c:pt>
                <c:pt idx="1607">
                  <c:v>2917.88</c:v>
                </c:pt>
                <c:pt idx="1608">
                  <c:v>2897.58</c:v>
                </c:pt>
                <c:pt idx="1609">
                  <c:v>2886.01</c:v>
                </c:pt>
                <c:pt idx="1610">
                  <c:v>2834.25</c:v>
                </c:pt>
                <c:pt idx="1611">
                  <c:v>2807.66</c:v>
                </c:pt>
                <c:pt idx="1612">
                  <c:v>2777.79</c:v>
                </c:pt>
                <c:pt idx="1613">
                  <c:v>2821</c:v>
                </c:pt>
                <c:pt idx="1614">
                  <c:v>2810.02</c:v>
                </c:pt>
                <c:pt idx="1615">
                  <c:v>2903.84</c:v>
                </c:pt>
                <c:pt idx="1616">
                  <c:v>2901.22</c:v>
                </c:pt>
                <c:pt idx="1617">
                  <c:v>2852.81</c:v>
                </c:pt>
                <c:pt idx="1618">
                  <c:v>2841.74</c:v>
                </c:pt>
                <c:pt idx="1619">
                  <c:v>2846.78</c:v>
                </c:pt>
                <c:pt idx="1620">
                  <c:v>2834.54</c:v>
                </c:pt>
                <c:pt idx="1621">
                  <c:v>2803.85</c:v>
                </c:pt>
                <c:pt idx="1622">
                  <c:v>2743.82</c:v>
                </c:pt>
                <c:pt idx="1623">
                  <c:v>2723.3</c:v>
                </c:pt>
                <c:pt idx="1624">
                  <c:v>2779.09</c:v>
                </c:pt>
                <c:pt idx="1625">
                  <c:v>2756.11</c:v>
                </c:pt>
                <c:pt idx="1626">
                  <c:v>2751.1</c:v>
                </c:pt>
                <c:pt idx="1627">
                  <c:v>2720.28</c:v>
                </c:pt>
                <c:pt idx="1628">
                  <c:v>2733.11</c:v>
                </c:pt>
                <c:pt idx="1629">
                  <c:v>2729.05</c:v>
                </c:pt>
                <c:pt idx="1630">
                  <c:v>2733.99</c:v>
                </c:pt>
                <c:pt idx="1631">
                  <c:v>2679.27</c:v>
                </c:pt>
                <c:pt idx="1632">
                  <c:v>2689.85</c:v>
                </c:pt>
                <c:pt idx="1633">
                  <c:v>2771.01</c:v>
                </c:pt>
                <c:pt idx="1634">
                  <c:v>2685.69</c:v>
                </c:pt>
                <c:pt idx="1635">
                  <c:v>2669.48</c:v>
                </c:pt>
                <c:pt idx="1636">
                  <c:v>2610.92</c:v>
                </c:pt>
                <c:pt idx="1637">
                  <c:v>2637.88</c:v>
                </c:pt>
                <c:pt idx="1638">
                  <c:v>2610.59</c:v>
                </c:pt>
                <c:pt idx="1639">
                  <c:v>2588.19</c:v>
                </c:pt>
                <c:pt idx="1640">
                  <c:v>2581.35</c:v>
                </c:pt>
                <c:pt idx="1641">
                  <c:v>2557.08</c:v>
                </c:pt>
                <c:pt idx="1642">
                  <c:v>2551.9899999999998</c:v>
                </c:pt>
                <c:pt idx="1643">
                  <c:v>2644.76</c:v>
                </c:pt>
                <c:pt idx="1644">
                  <c:v>2662.6</c:v>
                </c:pt>
                <c:pt idx="1645">
                  <c:v>2653.78</c:v>
                </c:pt>
                <c:pt idx="1646">
                  <c:v>2666.95</c:v>
                </c:pt>
                <c:pt idx="1647">
                  <c:v>2592.21</c:v>
                </c:pt>
                <c:pt idx="1648">
                  <c:v>2583.08</c:v>
                </c:pt>
                <c:pt idx="1649">
                  <c:v>2520.5300000000002</c:v>
                </c:pt>
                <c:pt idx="1650">
                  <c:v>2507.88</c:v>
                </c:pt>
                <c:pt idx="1651">
                  <c:v>2576.67</c:v>
                </c:pt>
                <c:pt idx="1652">
                  <c:v>2625.43</c:v>
                </c:pt>
                <c:pt idx="1653">
                  <c:v>2651.65</c:v>
                </c:pt>
                <c:pt idx="1654">
                  <c:v>2657.48</c:v>
                </c:pt>
                <c:pt idx="1655">
                  <c:v>2709.02</c:v>
                </c:pt>
                <c:pt idx="1656">
                  <c:v>2695.31</c:v>
                </c:pt>
                <c:pt idx="1657">
                  <c:v>2697.53</c:v>
                </c:pt>
                <c:pt idx="1658">
                  <c:v>2742.39</c:v>
                </c:pt>
                <c:pt idx="1659">
                  <c:v>2744.3</c:v>
                </c:pt>
                <c:pt idx="1660">
                  <c:v>2763.75</c:v>
                </c:pt>
                <c:pt idx="1661">
                  <c:v>2736.25</c:v>
                </c:pt>
                <c:pt idx="1662">
                  <c:v>2727.71</c:v>
                </c:pt>
                <c:pt idx="1663">
                  <c:v>2751.65</c:v>
                </c:pt>
                <c:pt idx="1664">
                  <c:v>2699.59</c:v>
                </c:pt>
                <c:pt idx="1665">
                  <c:v>2695</c:v>
                </c:pt>
                <c:pt idx="1666">
                  <c:v>2750.2</c:v>
                </c:pt>
                <c:pt idx="1667">
                  <c:v>2744.68</c:v>
                </c:pt>
                <c:pt idx="1668">
                  <c:v>2670.12</c:v>
                </c:pt>
                <c:pt idx="1669">
                  <c:v>2662.02</c:v>
                </c:pt>
                <c:pt idx="1670">
                  <c:v>2606.5</c:v>
                </c:pt>
                <c:pt idx="1671">
                  <c:v>2609.69</c:v>
                </c:pt>
                <c:pt idx="1672">
                  <c:v>2609.48</c:v>
                </c:pt>
                <c:pt idx="1673">
                  <c:v>2584.0100000000002</c:v>
                </c:pt>
                <c:pt idx="1674">
                  <c:v>2588.92</c:v>
                </c:pt>
                <c:pt idx="1675">
                  <c:v>2569.9699999999998</c:v>
                </c:pt>
                <c:pt idx="1676">
                  <c:v>2573.3200000000002</c:v>
                </c:pt>
                <c:pt idx="1677">
                  <c:v>2608.5700000000002</c:v>
                </c:pt>
                <c:pt idx="1678">
                  <c:v>2521.52</c:v>
                </c:pt>
                <c:pt idx="1679">
                  <c:v>2583.61</c:v>
                </c:pt>
                <c:pt idx="1680">
                  <c:v>2557.31</c:v>
                </c:pt>
                <c:pt idx="1681">
                  <c:v>2521.39</c:v>
                </c:pt>
                <c:pt idx="1682">
                  <c:v>2516.34</c:v>
                </c:pt>
                <c:pt idx="1683">
                  <c:v>2528.23</c:v>
                </c:pt>
                <c:pt idx="1684">
                  <c:v>2525</c:v>
                </c:pt>
                <c:pt idx="1685">
                  <c:v>2503.46</c:v>
                </c:pt>
                <c:pt idx="1686">
                  <c:v>2477.69</c:v>
                </c:pt>
                <c:pt idx="1687">
                  <c:v>2421.9299999999998</c:v>
                </c:pt>
                <c:pt idx="1688">
                  <c:v>2397.48</c:v>
                </c:pt>
                <c:pt idx="1689">
                  <c:v>2340.79</c:v>
                </c:pt>
                <c:pt idx="1690">
                  <c:v>2390.13</c:v>
                </c:pt>
                <c:pt idx="1691">
                  <c:v>2384.41</c:v>
                </c:pt>
                <c:pt idx="1692">
                  <c:v>2377.0700000000002</c:v>
                </c:pt>
                <c:pt idx="1693">
                  <c:v>2339.11</c:v>
                </c:pt>
                <c:pt idx="1694">
                  <c:v>2341.34</c:v>
                </c:pt>
                <c:pt idx="1695">
                  <c:v>2359.16</c:v>
                </c:pt>
                <c:pt idx="1696">
                  <c:v>2335.6999999999998</c:v>
                </c:pt>
                <c:pt idx="1697">
                  <c:v>2305.04</c:v>
                </c:pt>
                <c:pt idx="1698">
                  <c:v>2307.9299999999998</c:v>
                </c:pt>
                <c:pt idx="1699">
                  <c:v>2311.36</c:v>
                </c:pt>
                <c:pt idx="1700">
                  <c:v>2345.7399999999998</c:v>
                </c:pt>
                <c:pt idx="1701">
                  <c:v>2298.75</c:v>
                </c:pt>
                <c:pt idx="1702">
                  <c:v>2276.39</c:v>
                </c:pt>
                <c:pt idx="1703">
                  <c:v>2290.6</c:v>
                </c:pt>
                <c:pt idx="1704">
                  <c:v>2368.5700000000002</c:v>
                </c:pt>
                <c:pt idx="1705">
                  <c:v>2447.35</c:v>
                </c:pt>
                <c:pt idx="1706">
                  <c:v>2435.61</c:v>
                </c:pt>
                <c:pt idx="1707">
                  <c:v>2435.2199999999998</c:v>
                </c:pt>
                <c:pt idx="1708">
                  <c:v>2394.33</c:v>
                </c:pt>
                <c:pt idx="1709">
                  <c:v>2345.65</c:v>
                </c:pt>
                <c:pt idx="1710">
                  <c:v>2460.6</c:v>
                </c:pt>
                <c:pt idx="1711">
                  <c:v>2422.19</c:v>
                </c:pt>
                <c:pt idx="1712">
                  <c:v>2468.35</c:v>
                </c:pt>
                <c:pt idx="1713">
                  <c:v>2504.09</c:v>
                </c:pt>
                <c:pt idx="1714">
                  <c:v>2460.7199999999998</c:v>
                </c:pt>
                <c:pt idx="1715">
                  <c:v>2464.2600000000002</c:v>
                </c:pt>
                <c:pt idx="1716">
                  <c:v>2428.9899999999998</c:v>
                </c:pt>
                <c:pt idx="1717">
                  <c:v>2486.2399999999998</c:v>
                </c:pt>
                <c:pt idx="1718">
                  <c:v>2506.09</c:v>
                </c:pt>
                <c:pt idx="1719">
                  <c:v>2504.3200000000002</c:v>
                </c:pt>
                <c:pt idx="1720">
                  <c:v>2457.9499999999998</c:v>
                </c:pt>
                <c:pt idx="1721">
                  <c:v>2528.2399999999998</c:v>
                </c:pt>
                <c:pt idx="1722">
                  <c:v>2529.23</c:v>
                </c:pt>
                <c:pt idx="1723">
                  <c:v>2533.62</c:v>
                </c:pt>
                <c:pt idx="1724">
                  <c:v>2531.98</c:v>
                </c:pt>
                <c:pt idx="1725">
                  <c:v>2522.11</c:v>
                </c:pt>
                <c:pt idx="1726">
                  <c:v>2549.61</c:v>
                </c:pt>
                <c:pt idx="1727">
                  <c:v>2536.0700000000002</c:v>
                </c:pt>
                <c:pt idx="1728">
                  <c:v>2537.09</c:v>
                </c:pt>
                <c:pt idx="1729">
                  <c:v>2540.71</c:v>
                </c:pt>
                <c:pt idx="1730">
                  <c:v>2562.4499999999998</c:v>
                </c:pt>
                <c:pt idx="1731">
                  <c:v>2597.48</c:v>
                </c:pt>
                <c:pt idx="1732">
                  <c:v>2606.2600000000002</c:v>
                </c:pt>
                <c:pt idx="1733">
                  <c:v>2648.02</c:v>
                </c:pt>
                <c:pt idx="1734">
                  <c:v>2656.57</c:v>
                </c:pt>
                <c:pt idx="1735">
                  <c:v>2662.46</c:v>
                </c:pt>
                <c:pt idx="1736">
                  <c:v>2634.14</c:v>
                </c:pt>
                <c:pt idx="1737">
                  <c:v>2633.35</c:v>
                </c:pt>
                <c:pt idx="1738">
                  <c:v>2679.93</c:v>
                </c:pt>
                <c:pt idx="1739">
                  <c:v>2662.7</c:v>
                </c:pt>
                <c:pt idx="1740">
                  <c:v>2621.0500000000002</c:v>
                </c:pt>
                <c:pt idx="1741">
                  <c:v>2603.0100000000002</c:v>
                </c:pt>
                <c:pt idx="1742">
                  <c:v>2635.79</c:v>
                </c:pt>
                <c:pt idx="1743">
                  <c:v>2664.3</c:v>
                </c:pt>
                <c:pt idx="1744">
                  <c:v>2654.4</c:v>
                </c:pt>
                <c:pt idx="1745">
                  <c:v>2681.07</c:v>
                </c:pt>
                <c:pt idx="1746">
                  <c:v>2605.11</c:v>
                </c:pt>
                <c:pt idx="1747">
                  <c:v>2585.5500000000002</c:v>
                </c:pt>
                <c:pt idx="1748">
                  <c:v>2623.52</c:v>
                </c:pt>
                <c:pt idx="1749">
                  <c:v>2630.01</c:v>
                </c:pt>
                <c:pt idx="1750">
                  <c:v>2584.4499999999998</c:v>
                </c:pt>
                <c:pt idx="1751">
                  <c:v>2587.79</c:v>
                </c:pt>
                <c:pt idx="1752">
                  <c:v>2583.75</c:v>
                </c:pt>
                <c:pt idx="1753">
                  <c:v>2552.94</c:v>
                </c:pt>
                <c:pt idx="1754">
                  <c:v>2555.44</c:v>
                </c:pt>
                <c:pt idx="1755">
                  <c:v>2547.14</c:v>
                </c:pt>
                <c:pt idx="1756">
                  <c:v>2474.9</c:v>
                </c:pt>
                <c:pt idx="1757">
                  <c:v>2443.12</c:v>
                </c:pt>
                <c:pt idx="1758">
                  <c:v>2454.9</c:v>
                </c:pt>
                <c:pt idx="1759">
                  <c:v>2512.83</c:v>
                </c:pt>
                <c:pt idx="1760">
                  <c:v>2519.83</c:v>
                </c:pt>
                <c:pt idx="1761">
                  <c:v>2495.15</c:v>
                </c:pt>
                <c:pt idx="1762">
                  <c:v>2519.79</c:v>
                </c:pt>
                <c:pt idx="1763">
                  <c:v>2520.04</c:v>
                </c:pt>
                <c:pt idx="1764">
                  <c:v>2570.44</c:v>
                </c:pt>
                <c:pt idx="1765">
                  <c:v>2580.4499999999998</c:v>
                </c:pt>
                <c:pt idx="1766">
                  <c:v>2574.04</c:v>
                </c:pt>
                <c:pt idx="1767">
                  <c:v>2541.88</c:v>
                </c:pt>
                <c:pt idx="1768">
                  <c:v>2599.91</c:v>
                </c:pt>
                <c:pt idx="1769">
                  <c:v>2596.06</c:v>
                </c:pt>
                <c:pt idx="1770">
                  <c:v>2626.84</c:v>
                </c:pt>
                <c:pt idx="1771">
                  <c:v>2606.04</c:v>
                </c:pt>
                <c:pt idx="1772">
                  <c:v>2604.87</c:v>
                </c:pt>
                <c:pt idx="1773">
                  <c:v>2625.99</c:v>
                </c:pt>
                <c:pt idx="1774">
                  <c:v>2631.49</c:v>
                </c:pt>
                <c:pt idx="1775">
                  <c:v>2626.16</c:v>
                </c:pt>
                <c:pt idx="1776">
                  <c:v>2683.49</c:v>
                </c:pt>
                <c:pt idx="1777">
                  <c:v>2691.52</c:v>
                </c:pt>
                <c:pt idx="1778">
                  <c:v>2715.88</c:v>
                </c:pt>
                <c:pt idx="1779">
                  <c:v>2717.78</c:v>
                </c:pt>
                <c:pt idx="1780">
                  <c:v>2709.12</c:v>
                </c:pt>
                <c:pt idx="1781">
                  <c:v>2657.51</c:v>
                </c:pt>
                <c:pt idx="1782">
                  <c:v>2657.21</c:v>
                </c:pt>
                <c:pt idx="1783">
                  <c:v>2636.92</c:v>
                </c:pt>
                <c:pt idx="1784">
                  <c:v>2615.5300000000002</c:v>
                </c:pt>
                <c:pt idx="1785">
                  <c:v>2617.37</c:v>
                </c:pt>
                <c:pt idx="1786">
                  <c:v>2574.65</c:v>
                </c:pt>
                <c:pt idx="1787">
                  <c:v>2613.94</c:v>
                </c:pt>
                <c:pt idx="1788">
                  <c:v>2573.98</c:v>
                </c:pt>
                <c:pt idx="1789">
                  <c:v>2587.23</c:v>
                </c:pt>
                <c:pt idx="1790">
                  <c:v>2627.53</c:v>
                </c:pt>
                <c:pt idx="1791">
                  <c:v>2616.87</c:v>
                </c:pt>
                <c:pt idx="1792">
                  <c:v>2595.2600000000002</c:v>
                </c:pt>
                <c:pt idx="1793">
                  <c:v>2573.1</c:v>
                </c:pt>
                <c:pt idx="1794">
                  <c:v>2614.69</c:v>
                </c:pt>
                <c:pt idx="1795">
                  <c:v>2650.85</c:v>
                </c:pt>
                <c:pt idx="1796">
                  <c:v>2642.26</c:v>
                </c:pt>
                <c:pt idx="1797">
                  <c:v>2632.04</c:v>
                </c:pt>
                <c:pt idx="1798">
                  <c:v>2633</c:v>
                </c:pt>
                <c:pt idx="1799">
                  <c:v>2559.0300000000002</c:v>
                </c:pt>
                <c:pt idx="1800">
                  <c:v>2558.84</c:v>
                </c:pt>
                <c:pt idx="1801">
                  <c:v>2557.4</c:v>
                </c:pt>
                <c:pt idx="1802">
                  <c:v>2542.1799999999998</c:v>
                </c:pt>
                <c:pt idx="1803">
                  <c:v>2524.33</c:v>
                </c:pt>
                <c:pt idx="1804">
                  <c:v>2558.27</c:v>
                </c:pt>
                <c:pt idx="1805">
                  <c:v>2540.1799999999998</c:v>
                </c:pt>
                <c:pt idx="1806">
                  <c:v>2580.64</c:v>
                </c:pt>
                <c:pt idx="1807">
                  <c:v>2560.42</c:v>
                </c:pt>
                <c:pt idx="1808">
                  <c:v>2568.0500000000002</c:v>
                </c:pt>
                <c:pt idx="1809">
                  <c:v>2581.21</c:v>
                </c:pt>
                <c:pt idx="1810">
                  <c:v>2558.62</c:v>
                </c:pt>
                <c:pt idx="1811">
                  <c:v>2552.61</c:v>
                </c:pt>
                <c:pt idx="1812">
                  <c:v>2512.19</c:v>
                </c:pt>
                <c:pt idx="1813">
                  <c:v>2456.52</c:v>
                </c:pt>
                <c:pt idx="1814">
                  <c:v>2454.92</c:v>
                </c:pt>
                <c:pt idx="1815">
                  <c:v>2447.1999999999998</c:v>
                </c:pt>
                <c:pt idx="1816">
                  <c:v>2425.73</c:v>
                </c:pt>
                <c:pt idx="1817">
                  <c:v>2461.61</c:v>
                </c:pt>
                <c:pt idx="1818">
                  <c:v>2465.2399999999998</c:v>
                </c:pt>
                <c:pt idx="1819">
                  <c:v>2468.7199999999998</c:v>
                </c:pt>
                <c:pt idx="1820">
                  <c:v>2464.92</c:v>
                </c:pt>
                <c:pt idx="1821">
                  <c:v>2430.37</c:v>
                </c:pt>
                <c:pt idx="1822">
                  <c:v>2472.61</c:v>
                </c:pt>
                <c:pt idx="1823">
                  <c:v>2416.04</c:v>
                </c:pt>
                <c:pt idx="1824">
                  <c:v>2406.71</c:v>
                </c:pt>
                <c:pt idx="1825">
                  <c:v>2425.5700000000002</c:v>
                </c:pt>
                <c:pt idx="1826">
                  <c:v>2449.1799999999998</c:v>
                </c:pt>
                <c:pt idx="1827">
                  <c:v>2450.63</c:v>
                </c:pt>
                <c:pt idx="1828">
                  <c:v>2399.73</c:v>
                </c:pt>
                <c:pt idx="1829">
                  <c:v>2414.1999999999998</c:v>
                </c:pt>
                <c:pt idx="1830">
                  <c:v>2414.34</c:v>
                </c:pt>
                <c:pt idx="1831">
                  <c:v>2424.3200000000002</c:v>
                </c:pt>
                <c:pt idx="1832">
                  <c:v>2398.46</c:v>
                </c:pt>
                <c:pt idx="1833">
                  <c:v>2365.4299999999998</c:v>
                </c:pt>
                <c:pt idx="1834">
                  <c:v>2375.9899999999998</c:v>
                </c:pt>
                <c:pt idx="1835">
                  <c:v>2360.08</c:v>
                </c:pt>
                <c:pt idx="1836">
                  <c:v>2347.4899999999998</c:v>
                </c:pt>
                <c:pt idx="1837">
                  <c:v>2349.11</c:v>
                </c:pt>
                <c:pt idx="1838">
                  <c:v>2335.79</c:v>
                </c:pt>
                <c:pt idx="1839">
                  <c:v>2332.92</c:v>
                </c:pt>
                <c:pt idx="1840">
                  <c:v>2358.65</c:v>
                </c:pt>
                <c:pt idx="1841">
                  <c:v>2334.88</c:v>
                </c:pt>
                <c:pt idx="1842">
                  <c:v>2353.7399999999998</c:v>
                </c:pt>
                <c:pt idx="1843">
                  <c:v>2385.61</c:v>
                </c:pt>
                <c:pt idx="1844">
                  <c:v>2388.87</c:v>
                </c:pt>
                <c:pt idx="1845">
                  <c:v>2389.8000000000002</c:v>
                </c:pt>
                <c:pt idx="1846">
                  <c:v>2411.6999999999998</c:v>
                </c:pt>
                <c:pt idx="1847">
                  <c:v>2399.75</c:v>
                </c:pt>
                <c:pt idx="1848">
                  <c:v>2351.9299999999998</c:v>
                </c:pt>
                <c:pt idx="1849">
                  <c:v>2357.02</c:v>
                </c:pt>
                <c:pt idx="1850">
                  <c:v>2331.61</c:v>
                </c:pt>
                <c:pt idx="1851">
                  <c:v>2319.67</c:v>
                </c:pt>
                <c:pt idx="1852">
                  <c:v>2313.48</c:v>
                </c:pt>
                <c:pt idx="1853">
                  <c:v>2301.79</c:v>
                </c:pt>
                <c:pt idx="1854">
                  <c:v>2313.6999999999998</c:v>
                </c:pt>
                <c:pt idx="1855">
                  <c:v>2295.59</c:v>
                </c:pt>
                <c:pt idx="1856">
                  <c:v>2302.1999999999998</c:v>
                </c:pt>
                <c:pt idx="1857">
                  <c:v>2275.6799999999998</c:v>
                </c:pt>
                <c:pt idx="1858">
                  <c:v>2228.1999999999998</c:v>
                </c:pt>
                <c:pt idx="1859">
                  <c:v>2238.41</c:v>
                </c:pt>
                <c:pt idx="1860">
                  <c:v>2214.81</c:v>
                </c:pt>
                <c:pt idx="1861">
                  <c:v>2211.37</c:v>
                </c:pt>
                <c:pt idx="1862">
                  <c:v>2204.87</c:v>
                </c:pt>
                <c:pt idx="1863">
                  <c:v>2228.37</c:v>
                </c:pt>
                <c:pt idx="1864">
                  <c:v>2204.41</c:v>
                </c:pt>
                <c:pt idx="1865">
                  <c:v>2199.88</c:v>
                </c:pt>
                <c:pt idx="1866">
                  <c:v>2217.8200000000002</c:v>
                </c:pt>
                <c:pt idx="1867">
                  <c:v>2317.1799999999998</c:v>
                </c:pt>
                <c:pt idx="1868">
                  <c:v>2326.67</c:v>
                </c:pt>
                <c:pt idx="1869">
                  <c:v>2311.89</c:v>
                </c:pt>
                <c:pt idx="1870">
                  <c:v>2320.0700000000002</c:v>
                </c:pt>
                <c:pt idx="1871">
                  <c:v>2298.46</c:v>
                </c:pt>
                <c:pt idx="1872">
                  <c:v>2315.54</c:v>
                </c:pt>
                <c:pt idx="1873">
                  <c:v>2258.71</c:v>
                </c:pt>
                <c:pt idx="1874">
                  <c:v>2235.2399999999998</c:v>
                </c:pt>
                <c:pt idx="1875">
                  <c:v>2246.2399999999998</c:v>
                </c:pt>
                <c:pt idx="1876">
                  <c:v>2195.9499999999998</c:v>
                </c:pt>
                <c:pt idx="1877">
                  <c:v>2199.06</c:v>
                </c:pt>
                <c:pt idx="1878">
                  <c:v>2215.52</c:v>
                </c:pt>
                <c:pt idx="1879">
                  <c:v>2210.15</c:v>
                </c:pt>
                <c:pt idx="1880">
                  <c:v>2184.89</c:v>
                </c:pt>
                <c:pt idx="1881">
                  <c:v>2251.7199999999998</c:v>
                </c:pt>
                <c:pt idx="1882">
                  <c:v>2293.11</c:v>
                </c:pt>
                <c:pt idx="1883">
                  <c:v>2270.0500000000002</c:v>
                </c:pt>
                <c:pt idx="1884">
                  <c:v>2320.16</c:v>
                </c:pt>
                <c:pt idx="1885">
                  <c:v>2324.12</c:v>
                </c:pt>
                <c:pt idx="1886">
                  <c:v>2302.5300000000002</c:v>
                </c:pt>
                <c:pt idx="1887">
                  <c:v>2304.5300000000002</c:v>
                </c:pt>
                <c:pt idx="1888">
                  <c:v>2294.86</c:v>
                </c:pt>
                <c:pt idx="1889">
                  <c:v>2298.16</c:v>
                </c:pt>
                <c:pt idx="1890">
                  <c:v>2300.8000000000002</c:v>
                </c:pt>
                <c:pt idx="1891">
                  <c:v>2336.08</c:v>
                </c:pt>
                <c:pt idx="1892">
                  <c:v>2332.4699999999998</c:v>
                </c:pt>
                <c:pt idx="1893">
                  <c:v>2341.59</c:v>
                </c:pt>
                <c:pt idx="1894">
                  <c:v>2312.08</c:v>
                </c:pt>
                <c:pt idx="1895">
                  <c:v>2307.7800000000002</c:v>
                </c:pt>
                <c:pt idx="1896">
                  <c:v>2291.2399999999998</c:v>
                </c:pt>
                <c:pt idx="1897">
                  <c:v>2247.91</c:v>
                </c:pt>
                <c:pt idx="1898">
                  <c:v>2235.85</c:v>
                </c:pt>
                <c:pt idx="1899">
                  <c:v>2239.88</c:v>
                </c:pt>
                <c:pt idx="1900">
                  <c:v>2254.8200000000002</c:v>
                </c:pt>
                <c:pt idx="1901">
                  <c:v>2297.88</c:v>
                </c:pt>
                <c:pt idx="1902">
                  <c:v>2306.77</c:v>
                </c:pt>
                <c:pt idx="1903">
                  <c:v>2301.88</c:v>
                </c:pt>
                <c:pt idx="1904">
                  <c:v>2292.21</c:v>
                </c:pt>
                <c:pt idx="1905">
                  <c:v>2287.5100000000002</c:v>
                </c:pt>
                <c:pt idx="1906">
                  <c:v>2245.41</c:v>
                </c:pt>
                <c:pt idx="1907">
                  <c:v>2240.92</c:v>
                </c:pt>
                <c:pt idx="1908">
                  <c:v>2251.85</c:v>
                </c:pt>
                <c:pt idx="1909">
                  <c:v>2212.44</c:v>
                </c:pt>
                <c:pt idx="1910">
                  <c:v>2223.11</c:v>
                </c:pt>
                <c:pt idx="1911">
                  <c:v>2193.62</c:v>
                </c:pt>
                <c:pt idx="1912">
                  <c:v>2177.2399999999998</c:v>
                </c:pt>
                <c:pt idx="1913">
                  <c:v>2174.9899999999998</c:v>
                </c:pt>
                <c:pt idx="1914">
                  <c:v>2164.88</c:v>
                </c:pt>
                <c:pt idx="1915">
                  <c:v>2194.9</c:v>
                </c:pt>
                <c:pt idx="1916">
                  <c:v>2177.5500000000002</c:v>
                </c:pt>
                <c:pt idx="1917">
                  <c:v>2192.6799999999998</c:v>
                </c:pt>
                <c:pt idx="1918">
                  <c:v>2175.6</c:v>
                </c:pt>
                <c:pt idx="1919">
                  <c:v>2150.64</c:v>
                </c:pt>
                <c:pt idx="1920">
                  <c:v>2129.16</c:v>
                </c:pt>
                <c:pt idx="1921">
                  <c:v>2115.6799999999998</c:v>
                </c:pt>
                <c:pt idx="1922">
                  <c:v>2139.66</c:v>
                </c:pt>
                <c:pt idx="1923">
                  <c:v>2108.85</c:v>
                </c:pt>
                <c:pt idx="1924">
                  <c:v>2131.4699999999998</c:v>
                </c:pt>
                <c:pt idx="1925">
                  <c:v>2207.88</c:v>
                </c:pt>
                <c:pt idx="1926">
                  <c:v>2203.6</c:v>
                </c:pt>
                <c:pt idx="1927">
                  <c:v>2246.7600000000002</c:v>
                </c:pt>
                <c:pt idx="1928">
                  <c:v>2271.0500000000002</c:v>
                </c:pt>
                <c:pt idx="1929">
                  <c:v>2258.5</c:v>
                </c:pt>
                <c:pt idx="1930">
                  <c:v>2267.77</c:v>
                </c:pt>
                <c:pt idx="1931">
                  <c:v>2242.64</c:v>
                </c:pt>
                <c:pt idx="1932">
                  <c:v>2355.86</c:v>
                </c:pt>
                <c:pt idx="1933">
                  <c:v>2366.6999999999998</c:v>
                </c:pt>
                <c:pt idx="1934">
                  <c:v>2368.12</c:v>
                </c:pt>
                <c:pt idx="1935">
                  <c:v>2371.11</c:v>
                </c:pt>
                <c:pt idx="1936">
                  <c:v>2384.8200000000002</c:v>
                </c:pt>
                <c:pt idx="1937">
                  <c:v>2372</c:v>
                </c:pt>
                <c:pt idx="1938">
                  <c:v>2381.2199999999998</c:v>
                </c:pt>
                <c:pt idx="1939">
                  <c:v>2448.4</c:v>
                </c:pt>
                <c:pt idx="1940">
                  <c:v>2457.62</c:v>
                </c:pt>
                <c:pt idx="1941">
                  <c:v>2444.59</c:v>
                </c:pt>
                <c:pt idx="1942">
                  <c:v>2480.0500000000002</c:v>
                </c:pt>
                <c:pt idx="1943">
                  <c:v>2522.9499999999998</c:v>
                </c:pt>
                <c:pt idx="1944">
                  <c:v>2524.41</c:v>
                </c:pt>
                <c:pt idx="1945">
                  <c:v>2535.9899999999998</c:v>
                </c:pt>
                <c:pt idx="1946">
                  <c:v>2525.33</c:v>
                </c:pt>
                <c:pt idx="1947">
                  <c:v>2526.13</c:v>
                </c:pt>
                <c:pt idx="1948">
                  <c:v>2530.5700000000002</c:v>
                </c:pt>
                <c:pt idx="1949">
                  <c:v>2483.23</c:v>
                </c:pt>
                <c:pt idx="1950">
                  <c:v>2577.73</c:v>
                </c:pt>
                <c:pt idx="1951">
                  <c:v>2595.86</c:v>
                </c:pt>
                <c:pt idx="1952">
                  <c:v>2577.09</c:v>
                </c:pt>
                <c:pt idx="1953">
                  <c:v>2552.7600000000002</c:v>
                </c:pt>
                <c:pt idx="1954">
                  <c:v>2595.44</c:v>
                </c:pt>
                <c:pt idx="1955">
                  <c:v>2610.9</c:v>
                </c:pt>
                <c:pt idx="1956">
                  <c:v>2596.9</c:v>
                </c:pt>
                <c:pt idx="1957">
                  <c:v>2607.46</c:v>
                </c:pt>
                <c:pt idx="1958">
                  <c:v>2582.7600000000002</c:v>
                </c:pt>
                <c:pt idx="1959">
                  <c:v>2571.67</c:v>
                </c:pt>
                <c:pt idx="1960">
                  <c:v>2651.86</c:v>
                </c:pt>
                <c:pt idx="1961">
                  <c:v>2675.87</c:v>
                </c:pt>
                <c:pt idx="1962">
                  <c:v>2688.71</c:v>
                </c:pt>
                <c:pt idx="1963">
                  <c:v>2686.88</c:v>
                </c:pt>
                <c:pt idx="1964">
                  <c:v>2743.32</c:v>
                </c:pt>
                <c:pt idx="1965">
                  <c:v>2748.03</c:v>
                </c:pt>
                <c:pt idx="1966">
                  <c:v>2771.68</c:v>
                </c:pt>
                <c:pt idx="1967">
                  <c:v>2775.84</c:v>
                </c:pt>
                <c:pt idx="1968">
                  <c:v>2759.87</c:v>
                </c:pt>
                <c:pt idx="1969">
                  <c:v>2771.73</c:v>
                </c:pt>
                <c:pt idx="1970">
                  <c:v>2737.47</c:v>
                </c:pt>
                <c:pt idx="1971">
                  <c:v>2685.61</c:v>
                </c:pt>
                <c:pt idx="1972">
                  <c:v>2702.64</c:v>
                </c:pt>
                <c:pt idx="1973">
                  <c:v>2610.5500000000002</c:v>
                </c:pt>
                <c:pt idx="1974">
                  <c:v>2596.6</c:v>
                </c:pt>
                <c:pt idx="1975">
                  <c:v>2604.96</c:v>
                </c:pt>
                <c:pt idx="1976">
                  <c:v>2567.59</c:v>
                </c:pt>
                <c:pt idx="1977">
                  <c:v>2594.6799999999998</c:v>
                </c:pt>
                <c:pt idx="1978">
                  <c:v>2673.33</c:v>
                </c:pt>
                <c:pt idx="1979">
                  <c:v>2668.84</c:v>
                </c:pt>
                <c:pt idx="1980">
                  <c:v>2545.7199999999998</c:v>
                </c:pt>
                <c:pt idx="1981">
                  <c:v>2622.81</c:v>
                </c:pt>
                <c:pt idx="1982">
                  <c:v>2650.2</c:v>
                </c:pt>
                <c:pt idx="1983">
                  <c:v>2619.48</c:v>
                </c:pt>
                <c:pt idx="1984">
                  <c:v>2606.9299999999998</c:v>
                </c:pt>
                <c:pt idx="1985">
                  <c:v>2592.37</c:v>
                </c:pt>
                <c:pt idx="1986">
                  <c:v>2555.61</c:v>
                </c:pt>
                <c:pt idx="1987">
                  <c:v>2527.4899999999998</c:v>
                </c:pt>
                <c:pt idx="1988">
                  <c:v>2534.27</c:v>
                </c:pt>
                <c:pt idx="1989">
                  <c:v>2539.87</c:v>
                </c:pt>
                <c:pt idx="1990">
                  <c:v>2502.4899999999998</c:v>
                </c:pt>
                <c:pt idx="1991">
                  <c:v>2525.1</c:v>
                </c:pt>
                <c:pt idx="1992">
                  <c:v>2610.17</c:v>
                </c:pt>
                <c:pt idx="1993">
                  <c:v>2614.9899999999998</c:v>
                </c:pt>
                <c:pt idx="1994">
                  <c:v>2618.31</c:v>
                </c:pt>
                <c:pt idx="1995">
                  <c:v>2613.1</c:v>
                </c:pt>
                <c:pt idx="1996">
                  <c:v>2575.0500000000002</c:v>
                </c:pt>
                <c:pt idx="1997">
                  <c:v>2583.5300000000002</c:v>
                </c:pt>
                <c:pt idx="1998">
                  <c:v>2499.3000000000002</c:v>
                </c:pt>
                <c:pt idx="1999">
                  <c:v>2495.08</c:v>
                </c:pt>
                <c:pt idx="2000">
                  <c:v>2493.19</c:v>
                </c:pt>
                <c:pt idx="2001">
                  <c:v>2486.39</c:v>
                </c:pt>
                <c:pt idx="2002">
                  <c:v>2483.5500000000002</c:v>
                </c:pt>
                <c:pt idx="2003">
                  <c:v>2472.3000000000002</c:v>
                </c:pt>
                <c:pt idx="2004">
                  <c:v>2489.4299999999998</c:v>
                </c:pt>
                <c:pt idx="2005">
                  <c:v>2485.31</c:v>
                </c:pt>
                <c:pt idx="2006">
                  <c:v>2477.88</c:v>
                </c:pt>
                <c:pt idx="2007">
                  <c:v>2462.11</c:v>
                </c:pt>
                <c:pt idx="2008">
                  <c:v>2436.8200000000002</c:v>
                </c:pt>
                <c:pt idx="2009">
                  <c:v>2459.59</c:v>
                </c:pt>
                <c:pt idx="2010">
                  <c:v>2458.4699999999998</c:v>
                </c:pt>
                <c:pt idx="2011">
                  <c:v>2464.85</c:v>
                </c:pt>
                <c:pt idx="2012">
                  <c:v>2533.83</c:v>
                </c:pt>
                <c:pt idx="2013">
                  <c:v>2530.67</c:v>
                </c:pt>
                <c:pt idx="2014">
                  <c:v>2449.4699999999998</c:v>
                </c:pt>
                <c:pt idx="2015">
                  <c:v>2495.58</c:v>
                </c:pt>
                <c:pt idx="2016">
                  <c:v>2467.88</c:v>
                </c:pt>
                <c:pt idx="2017">
                  <c:v>2447.31</c:v>
                </c:pt>
                <c:pt idx="2018">
                  <c:v>2449.64</c:v>
                </c:pt>
                <c:pt idx="2019">
                  <c:v>2492.91</c:v>
                </c:pt>
                <c:pt idx="2020">
                  <c:v>2525.98</c:v>
                </c:pt>
                <c:pt idx="2021">
                  <c:v>2529.94</c:v>
                </c:pt>
                <c:pt idx="2022">
                  <c:v>2542.8000000000002</c:v>
                </c:pt>
                <c:pt idx="2023">
                  <c:v>2527.79</c:v>
                </c:pt>
                <c:pt idx="2024">
                  <c:v>2540.84</c:v>
                </c:pt>
                <c:pt idx="2025">
                  <c:v>2530.77</c:v>
                </c:pt>
                <c:pt idx="2026">
                  <c:v>2493.34</c:v>
                </c:pt>
                <c:pt idx="2027">
                  <c:v>2506.9299999999998</c:v>
                </c:pt>
                <c:pt idx="2028">
                  <c:v>2552.71</c:v>
                </c:pt>
                <c:pt idx="2029">
                  <c:v>2592.0500000000002</c:v>
                </c:pt>
                <c:pt idx="2030">
                  <c:v>2609.61</c:v>
                </c:pt>
                <c:pt idx="2031">
                  <c:v>2614.85</c:v>
                </c:pt>
                <c:pt idx="2032">
                  <c:v>2618.0300000000002</c:v>
                </c:pt>
                <c:pt idx="2033">
                  <c:v>2582.85</c:v>
                </c:pt>
                <c:pt idx="2034">
                  <c:v>2597.23</c:v>
                </c:pt>
                <c:pt idx="2035">
                  <c:v>2599.59</c:v>
                </c:pt>
                <c:pt idx="2036">
                  <c:v>2644.36</c:v>
                </c:pt>
                <c:pt idx="2037">
                  <c:v>2642.56</c:v>
                </c:pt>
                <c:pt idx="2038">
                  <c:v>2634.32</c:v>
                </c:pt>
                <c:pt idx="2039">
                  <c:v>2606.4299999999998</c:v>
                </c:pt>
                <c:pt idx="2040">
                  <c:v>2602.62</c:v>
                </c:pt>
                <c:pt idx="2041">
                  <c:v>2565.67</c:v>
                </c:pt>
                <c:pt idx="2042">
                  <c:v>2560.54</c:v>
                </c:pt>
                <c:pt idx="2043">
                  <c:v>2527.84</c:v>
                </c:pt>
                <c:pt idx="2044">
                  <c:v>2484.16</c:v>
                </c:pt>
                <c:pt idx="2045">
                  <c:v>2399.94</c:v>
                </c:pt>
                <c:pt idx="2046">
                  <c:v>2416.77</c:v>
                </c:pt>
                <c:pt idx="2047">
                  <c:v>2403.84</c:v>
                </c:pt>
                <c:pt idx="2048">
                  <c:v>2418.75</c:v>
                </c:pt>
                <c:pt idx="2049">
                  <c:v>2400.77</c:v>
                </c:pt>
                <c:pt idx="2050">
                  <c:v>2321.4699999999998</c:v>
                </c:pt>
                <c:pt idx="2051">
                  <c:v>2317.39</c:v>
                </c:pt>
                <c:pt idx="2052">
                  <c:v>2171.21</c:v>
                </c:pt>
                <c:pt idx="2053">
                  <c:v>2165.42</c:v>
                </c:pt>
                <c:pt idx="2054">
                  <c:v>2168.3000000000002</c:v>
                </c:pt>
                <c:pt idx="2055">
                  <c:v>2160.7399999999998</c:v>
                </c:pt>
                <c:pt idx="2056">
                  <c:v>2200.64</c:v>
                </c:pt>
                <c:pt idx="2057">
                  <c:v>2213.3200000000002</c:v>
                </c:pt>
                <c:pt idx="2058">
                  <c:v>2221.98</c:v>
                </c:pt>
                <c:pt idx="2059">
                  <c:v>2203.83</c:v>
                </c:pt>
                <c:pt idx="2060">
                  <c:v>2221.98</c:v>
                </c:pt>
                <c:pt idx="2061">
                  <c:v>2226.85</c:v>
                </c:pt>
                <c:pt idx="2062">
                  <c:v>2163.62</c:v>
                </c:pt>
                <c:pt idx="2063">
                  <c:v>2162.67</c:v>
                </c:pt>
                <c:pt idx="2064">
                  <c:v>2224.0700000000002</c:v>
                </c:pt>
                <c:pt idx="2065">
                  <c:v>2326.69</c:v>
                </c:pt>
                <c:pt idx="2066">
                  <c:v>2275.37</c:v>
                </c:pt>
                <c:pt idx="2067">
                  <c:v>2307.3000000000002</c:v>
                </c:pt>
                <c:pt idx="2068">
                  <c:v>2317.85</c:v>
                </c:pt>
                <c:pt idx="2069">
                  <c:v>2282.84</c:v>
                </c:pt>
                <c:pt idx="2070">
                  <c:v>2245.33</c:v>
                </c:pt>
                <c:pt idx="2071">
                  <c:v>2190.48</c:v>
                </c:pt>
                <c:pt idx="2072">
                  <c:v>2202.19</c:v>
                </c:pt>
                <c:pt idx="2073">
                  <c:v>2265.84</c:v>
                </c:pt>
                <c:pt idx="2074">
                  <c:v>2249.15</c:v>
                </c:pt>
                <c:pt idx="2075">
                  <c:v>2237.6799999999998</c:v>
                </c:pt>
                <c:pt idx="2076">
                  <c:v>2224.0100000000002</c:v>
                </c:pt>
                <c:pt idx="2077">
                  <c:v>2175.9699999999998</c:v>
                </c:pt>
                <c:pt idx="2078">
                  <c:v>2189.39</c:v>
                </c:pt>
                <c:pt idx="2079">
                  <c:v>2193.02</c:v>
                </c:pt>
                <c:pt idx="2080">
                  <c:v>2245.36</c:v>
                </c:pt>
                <c:pt idx="2081">
                  <c:v>2247.2600000000002</c:v>
                </c:pt>
                <c:pt idx="2082">
                  <c:v>2278.33</c:v>
                </c:pt>
                <c:pt idx="2083">
                  <c:v>2293.64</c:v>
                </c:pt>
                <c:pt idx="2084">
                  <c:v>2280.62</c:v>
                </c:pt>
                <c:pt idx="2085">
                  <c:v>2276.7800000000002</c:v>
                </c:pt>
                <c:pt idx="2086">
                  <c:v>2286.0100000000002</c:v>
                </c:pt>
                <c:pt idx="2087">
                  <c:v>2352.79</c:v>
                </c:pt>
                <c:pt idx="2088">
                  <c:v>2359.0700000000002</c:v>
                </c:pt>
                <c:pt idx="2089">
                  <c:v>2349.08</c:v>
                </c:pt>
                <c:pt idx="2090">
                  <c:v>2321.58</c:v>
                </c:pt>
                <c:pt idx="2091">
                  <c:v>2304.14</c:v>
                </c:pt>
                <c:pt idx="2092">
                  <c:v>2331.4299999999998</c:v>
                </c:pt>
                <c:pt idx="2093">
                  <c:v>2312.4699999999998</c:v>
                </c:pt>
                <c:pt idx="2094">
                  <c:v>2308.59</c:v>
                </c:pt>
                <c:pt idx="2095">
                  <c:v>2303.9299999999998</c:v>
                </c:pt>
                <c:pt idx="2096">
                  <c:v>2286.9299999999998</c:v>
                </c:pt>
                <c:pt idx="2097">
                  <c:v>2335.62</c:v>
                </c:pt>
                <c:pt idx="2098">
                  <c:v>2340.88</c:v>
                </c:pt>
                <c:pt idx="2099">
                  <c:v>2328.06</c:v>
                </c:pt>
                <c:pt idx="2100">
                  <c:v>2318.31</c:v>
                </c:pt>
                <c:pt idx="2101">
                  <c:v>2313.91</c:v>
                </c:pt>
                <c:pt idx="2102">
                  <c:v>2320.34</c:v>
                </c:pt>
                <c:pt idx="2103">
                  <c:v>2354.5</c:v>
                </c:pt>
                <c:pt idx="2104">
                  <c:v>2350.6999999999998</c:v>
                </c:pt>
                <c:pt idx="2105">
                  <c:v>2341.7399999999998</c:v>
                </c:pt>
                <c:pt idx="2106">
                  <c:v>2357.7800000000002</c:v>
                </c:pt>
                <c:pt idx="2107">
                  <c:v>2440.61</c:v>
                </c:pt>
                <c:pt idx="2108">
                  <c:v>2474.89</c:v>
                </c:pt>
                <c:pt idx="2109">
                  <c:v>2482.89</c:v>
                </c:pt>
                <c:pt idx="2110">
                  <c:v>2507.46</c:v>
                </c:pt>
                <c:pt idx="2111">
                  <c:v>2488.9</c:v>
                </c:pt>
                <c:pt idx="2112">
                  <c:v>2478.39</c:v>
                </c:pt>
                <c:pt idx="2113">
                  <c:v>2427.3200000000002</c:v>
                </c:pt>
                <c:pt idx="2114">
                  <c:v>2432.5100000000002</c:v>
                </c:pt>
                <c:pt idx="2115">
                  <c:v>2472.29</c:v>
                </c:pt>
                <c:pt idx="2116">
                  <c:v>2443.89</c:v>
                </c:pt>
                <c:pt idx="2117">
                  <c:v>2429.0300000000002</c:v>
                </c:pt>
                <c:pt idx="2118">
                  <c:v>2384.44</c:v>
                </c:pt>
                <c:pt idx="2119">
                  <c:v>2394.9699999999998</c:v>
                </c:pt>
                <c:pt idx="2120">
                  <c:v>2409.04</c:v>
                </c:pt>
                <c:pt idx="2121">
                  <c:v>2441.81</c:v>
                </c:pt>
                <c:pt idx="2122">
                  <c:v>2453.58</c:v>
                </c:pt>
                <c:pt idx="2123">
                  <c:v>2429.3200000000002</c:v>
                </c:pt>
                <c:pt idx="2124">
                  <c:v>2468.5100000000002</c:v>
                </c:pt>
                <c:pt idx="2125">
                  <c:v>2472.54</c:v>
                </c:pt>
                <c:pt idx="2126">
                  <c:v>2467.52</c:v>
                </c:pt>
                <c:pt idx="2127">
                  <c:v>2421.37</c:v>
                </c:pt>
                <c:pt idx="2128">
                  <c:v>2413.33</c:v>
                </c:pt>
                <c:pt idx="2129">
                  <c:v>2426.0500000000002</c:v>
                </c:pt>
                <c:pt idx="2130">
                  <c:v>2471.3200000000002</c:v>
                </c:pt>
                <c:pt idx="2131">
                  <c:v>2445.89</c:v>
                </c:pt>
                <c:pt idx="2132">
                  <c:v>2418.4899999999998</c:v>
                </c:pt>
                <c:pt idx="2133">
                  <c:v>2400.5100000000002</c:v>
                </c:pt>
                <c:pt idx="2134">
                  <c:v>2368.56</c:v>
                </c:pt>
                <c:pt idx="2135">
                  <c:v>2365.9499999999998</c:v>
                </c:pt>
                <c:pt idx="2136">
                  <c:v>2372.0500000000002</c:v>
                </c:pt>
                <c:pt idx="2137">
                  <c:v>2407.4699999999998</c:v>
                </c:pt>
                <c:pt idx="2138">
                  <c:v>2373.7199999999998</c:v>
                </c:pt>
                <c:pt idx="2139">
                  <c:v>2384.96</c:v>
                </c:pt>
                <c:pt idx="2140">
                  <c:v>2380.4499999999998</c:v>
                </c:pt>
                <c:pt idx="2141">
                  <c:v>2383.77</c:v>
                </c:pt>
                <c:pt idx="2142">
                  <c:v>2353.5700000000002</c:v>
                </c:pt>
                <c:pt idx="2143">
                  <c:v>2340.5500000000002</c:v>
                </c:pt>
                <c:pt idx="2144">
                  <c:v>2307.9499999999998</c:v>
                </c:pt>
                <c:pt idx="2145">
                  <c:v>2315.89</c:v>
                </c:pt>
                <c:pt idx="2146">
                  <c:v>2340</c:v>
                </c:pt>
                <c:pt idx="2147">
                  <c:v>2288.12</c:v>
                </c:pt>
                <c:pt idx="2148">
                  <c:v>2304.5</c:v>
                </c:pt>
                <c:pt idx="2149">
                  <c:v>2350.73</c:v>
                </c:pt>
                <c:pt idx="2150">
                  <c:v>2428.9</c:v>
                </c:pt>
                <c:pt idx="2151">
                  <c:v>2412.16</c:v>
                </c:pt>
                <c:pt idx="2152">
                  <c:v>2424.85</c:v>
                </c:pt>
                <c:pt idx="2153">
                  <c:v>2409.9899999999998</c:v>
                </c:pt>
                <c:pt idx="2154">
                  <c:v>2397.96</c:v>
                </c:pt>
                <c:pt idx="2155">
                  <c:v>2388.63</c:v>
                </c:pt>
                <c:pt idx="2156">
                  <c:v>2387.42</c:v>
                </c:pt>
                <c:pt idx="2157">
                  <c:v>2414.48</c:v>
                </c:pt>
                <c:pt idx="2158">
                  <c:v>2439.5300000000002</c:v>
                </c:pt>
                <c:pt idx="2159">
                  <c:v>2438.94</c:v>
                </c:pt>
                <c:pt idx="2160">
                  <c:v>2418.79</c:v>
                </c:pt>
                <c:pt idx="2161">
                  <c:v>2442.7800000000002</c:v>
                </c:pt>
                <c:pt idx="2162">
                  <c:v>2475.14</c:v>
                </c:pt>
                <c:pt idx="2163">
                  <c:v>2468.1999999999998</c:v>
                </c:pt>
                <c:pt idx="2164">
                  <c:v>2452.29</c:v>
                </c:pt>
                <c:pt idx="2165">
                  <c:v>2450.87</c:v>
                </c:pt>
                <c:pt idx="2166">
                  <c:v>2453.3200000000002</c:v>
                </c:pt>
                <c:pt idx="2167">
                  <c:v>2412.7600000000002</c:v>
                </c:pt>
                <c:pt idx="2168">
                  <c:v>2410.02</c:v>
                </c:pt>
                <c:pt idx="2169">
                  <c:v>2406.64</c:v>
                </c:pt>
                <c:pt idx="2170">
                  <c:v>2367.92</c:v>
                </c:pt>
                <c:pt idx="2171">
                  <c:v>2356.38</c:v>
                </c:pt>
                <c:pt idx="2172">
                  <c:v>2357.23</c:v>
                </c:pt>
                <c:pt idx="2173">
                  <c:v>2332.41</c:v>
                </c:pt>
                <c:pt idx="2174">
                  <c:v>2278.14</c:v>
                </c:pt>
                <c:pt idx="2175">
                  <c:v>2284.6</c:v>
                </c:pt>
                <c:pt idx="2176">
                  <c:v>2288.25</c:v>
                </c:pt>
                <c:pt idx="2177">
                  <c:v>2305.11</c:v>
                </c:pt>
                <c:pt idx="2178">
                  <c:v>2265.33</c:v>
                </c:pt>
                <c:pt idx="2179">
                  <c:v>2303.48</c:v>
                </c:pt>
                <c:pt idx="2180">
                  <c:v>2299.46</c:v>
                </c:pt>
                <c:pt idx="2181">
                  <c:v>2330.0300000000002</c:v>
                </c:pt>
                <c:pt idx="2182">
                  <c:v>2321.98</c:v>
                </c:pt>
                <c:pt idx="2183">
                  <c:v>2290.7800000000002</c:v>
                </c:pt>
                <c:pt idx="2184">
                  <c:v>2238.64</c:v>
                </c:pt>
                <c:pt idx="2185">
                  <c:v>2238</c:v>
                </c:pt>
                <c:pt idx="2186">
                  <c:v>2241.91</c:v>
                </c:pt>
                <c:pt idx="2187">
                  <c:v>2222.2199999999998</c:v>
                </c:pt>
                <c:pt idx="2188">
                  <c:v>2204.85</c:v>
                </c:pt>
                <c:pt idx="2189">
                  <c:v>2193.6799999999998</c:v>
                </c:pt>
                <c:pt idx="2190">
                  <c:v>2212.85</c:v>
                </c:pt>
                <c:pt idx="2191">
                  <c:v>2208.94</c:v>
                </c:pt>
                <c:pt idx="2192">
                  <c:v>2211.84</c:v>
                </c:pt>
                <c:pt idx="2193">
                  <c:v>2178.4899999999998</c:v>
                </c:pt>
                <c:pt idx="2194">
                  <c:v>2165.9899999999998</c:v>
                </c:pt>
                <c:pt idx="2195">
                  <c:v>2187.41</c:v>
                </c:pt>
                <c:pt idx="2196">
                  <c:v>2243.8000000000002</c:v>
                </c:pt>
                <c:pt idx="2197">
                  <c:v>2231.89</c:v>
                </c:pt>
                <c:pt idx="2198">
                  <c:v>2245.6799999999998</c:v>
                </c:pt>
                <c:pt idx="2199">
                  <c:v>2215.92</c:v>
                </c:pt>
                <c:pt idx="2200">
                  <c:v>2219.86</c:v>
                </c:pt>
                <c:pt idx="2201">
                  <c:v>2227.7800000000002</c:v>
                </c:pt>
                <c:pt idx="2202">
                  <c:v>2202.4499999999998</c:v>
                </c:pt>
                <c:pt idx="2203">
                  <c:v>2212.48</c:v>
                </c:pt>
                <c:pt idx="2204">
                  <c:v>2267.5300000000002</c:v>
                </c:pt>
                <c:pt idx="2205">
                  <c:v>2285.56</c:v>
                </c:pt>
                <c:pt idx="2206">
                  <c:v>2291.25</c:v>
                </c:pt>
                <c:pt idx="2207">
                  <c:v>2279.5500000000002</c:v>
                </c:pt>
                <c:pt idx="2208">
                  <c:v>2295.5700000000002</c:v>
                </c:pt>
                <c:pt idx="2209">
                  <c:v>2311.65</c:v>
                </c:pt>
                <c:pt idx="2210">
                  <c:v>2282.44</c:v>
                </c:pt>
                <c:pt idx="2211">
                  <c:v>2308.66</c:v>
                </c:pt>
                <c:pt idx="2212">
                  <c:v>2287.44</c:v>
                </c:pt>
                <c:pt idx="2213">
                  <c:v>2264.29</c:v>
                </c:pt>
                <c:pt idx="2214">
                  <c:v>2214.5100000000002</c:v>
                </c:pt>
                <c:pt idx="2215">
                  <c:v>2157.91</c:v>
                </c:pt>
                <c:pt idx="2216">
                  <c:v>2163.41</c:v>
                </c:pt>
                <c:pt idx="2217">
                  <c:v>2154.11</c:v>
                </c:pt>
                <c:pt idx="2218">
                  <c:v>2178.9699999999998</c:v>
                </c:pt>
                <c:pt idx="2219">
                  <c:v>2190.37</c:v>
                </c:pt>
                <c:pt idx="2220">
                  <c:v>2184.27</c:v>
                </c:pt>
                <c:pt idx="2221">
                  <c:v>2163.98</c:v>
                </c:pt>
                <c:pt idx="2222">
                  <c:v>2173.63</c:v>
                </c:pt>
                <c:pt idx="2223">
                  <c:v>2168.36</c:v>
                </c:pt>
                <c:pt idx="2224">
                  <c:v>2097.79</c:v>
                </c:pt>
                <c:pt idx="2225">
                  <c:v>2108.66</c:v>
                </c:pt>
                <c:pt idx="2226">
                  <c:v>2114.13</c:v>
                </c:pt>
                <c:pt idx="2227">
                  <c:v>2140.33</c:v>
                </c:pt>
                <c:pt idx="2228">
                  <c:v>2122.84</c:v>
                </c:pt>
                <c:pt idx="2229">
                  <c:v>2143.04</c:v>
                </c:pt>
                <c:pt idx="2230">
                  <c:v>2138.13</c:v>
                </c:pt>
                <c:pt idx="2231">
                  <c:v>2120.87</c:v>
                </c:pt>
                <c:pt idx="2232">
                  <c:v>2086.9699999999998</c:v>
                </c:pt>
                <c:pt idx="2233">
                  <c:v>2158.8000000000002</c:v>
                </c:pt>
                <c:pt idx="2234">
                  <c:v>2176.5500000000002</c:v>
                </c:pt>
                <c:pt idx="2235">
                  <c:v>2174.44</c:v>
                </c:pt>
                <c:pt idx="2236">
                  <c:v>2171.0500000000002</c:v>
                </c:pt>
                <c:pt idx="2237">
                  <c:v>2155.71</c:v>
                </c:pt>
                <c:pt idx="2238">
                  <c:v>2151.9699999999998</c:v>
                </c:pt>
                <c:pt idx="2239">
                  <c:v>2146.3000000000002</c:v>
                </c:pt>
                <c:pt idx="2240">
                  <c:v>2163.11</c:v>
                </c:pt>
                <c:pt idx="2241">
                  <c:v>2180.73</c:v>
                </c:pt>
                <c:pt idx="2242">
                  <c:v>2165.0100000000002</c:v>
                </c:pt>
                <c:pt idx="2243">
                  <c:v>2185.4699999999998</c:v>
                </c:pt>
                <c:pt idx="2244">
                  <c:v>2237.3200000000002</c:v>
                </c:pt>
                <c:pt idx="2245">
                  <c:v>2238.62</c:v>
                </c:pt>
                <c:pt idx="2246">
                  <c:v>2273.7600000000002</c:v>
                </c:pt>
                <c:pt idx="2247">
                  <c:v>2270.67</c:v>
                </c:pt>
                <c:pt idx="2248">
                  <c:v>2268.61</c:v>
                </c:pt>
                <c:pt idx="2249">
                  <c:v>2229.46</c:v>
                </c:pt>
                <c:pt idx="2250">
                  <c:v>2232.5300000000002</c:v>
                </c:pt>
                <c:pt idx="2251">
                  <c:v>2224.8000000000002</c:v>
                </c:pt>
                <c:pt idx="2252">
                  <c:v>2224.48</c:v>
                </c:pt>
                <c:pt idx="2253">
                  <c:v>2187.25</c:v>
                </c:pt>
                <c:pt idx="2254">
                  <c:v>2196.8000000000002</c:v>
                </c:pt>
                <c:pt idx="2255">
                  <c:v>2194.67</c:v>
                </c:pt>
                <c:pt idx="2256">
                  <c:v>2190.4699999999998</c:v>
                </c:pt>
                <c:pt idx="2257">
                  <c:v>2167.83</c:v>
                </c:pt>
                <c:pt idx="2258">
                  <c:v>2134.9699999999998</c:v>
                </c:pt>
                <c:pt idx="2259">
                  <c:v>2158.4699999999998</c:v>
                </c:pt>
                <c:pt idx="2260">
                  <c:v>2158.66</c:v>
                </c:pt>
                <c:pt idx="2261">
                  <c:v>2156.4699999999998</c:v>
                </c:pt>
                <c:pt idx="2262">
                  <c:v>2157.33</c:v>
                </c:pt>
                <c:pt idx="2263">
                  <c:v>2137.3200000000002</c:v>
                </c:pt>
                <c:pt idx="2264">
                  <c:v>2135.5</c:v>
                </c:pt>
                <c:pt idx="2265">
                  <c:v>2133.91</c:v>
                </c:pt>
                <c:pt idx="2266">
                  <c:v>2180.0500000000002</c:v>
                </c:pt>
                <c:pt idx="2267">
                  <c:v>2174.85</c:v>
                </c:pt>
                <c:pt idx="2268">
                  <c:v>2172.37</c:v>
                </c:pt>
                <c:pt idx="2269">
                  <c:v>2144.08</c:v>
                </c:pt>
                <c:pt idx="2270">
                  <c:v>2145.9499999999998</c:v>
                </c:pt>
                <c:pt idx="2271">
                  <c:v>2115.14</c:v>
                </c:pt>
                <c:pt idx="2272">
                  <c:v>2115.77</c:v>
                </c:pt>
                <c:pt idx="2273">
                  <c:v>2135.91</c:v>
                </c:pt>
                <c:pt idx="2274">
                  <c:v>2130.87</c:v>
                </c:pt>
                <c:pt idx="2275">
                  <c:v>2148.41</c:v>
                </c:pt>
                <c:pt idx="2276">
                  <c:v>2155.98</c:v>
                </c:pt>
                <c:pt idx="2277">
                  <c:v>2147.2800000000002</c:v>
                </c:pt>
                <c:pt idx="2278">
                  <c:v>2169.35</c:v>
                </c:pt>
                <c:pt idx="2279">
                  <c:v>2155.16</c:v>
                </c:pt>
                <c:pt idx="2280">
                  <c:v>2156.46</c:v>
                </c:pt>
                <c:pt idx="2281">
                  <c:v>2149.92</c:v>
                </c:pt>
                <c:pt idx="2282">
                  <c:v>2128.27</c:v>
                </c:pt>
                <c:pt idx="2283">
                  <c:v>2150.6</c:v>
                </c:pt>
                <c:pt idx="2284">
                  <c:v>2134.7199999999998</c:v>
                </c:pt>
                <c:pt idx="2285">
                  <c:v>2134.2800000000002</c:v>
                </c:pt>
                <c:pt idx="2286">
                  <c:v>2161.27</c:v>
                </c:pt>
                <c:pt idx="2287">
                  <c:v>2160.77</c:v>
                </c:pt>
                <c:pt idx="2288">
                  <c:v>2153.41</c:v>
                </c:pt>
                <c:pt idx="2289">
                  <c:v>2176.2399999999998</c:v>
                </c:pt>
                <c:pt idx="2290">
                  <c:v>2191.86</c:v>
                </c:pt>
                <c:pt idx="2291">
                  <c:v>2169.67</c:v>
                </c:pt>
                <c:pt idx="2292">
                  <c:v>2160.2399999999998</c:v>
                </c:pt>
                <c:pt idx="2293">
                  <c:v>2126.91</c:v>
                </c:pt>
                <c:pt idx="2294">
                  <c:v>2136.73</c:v>
                </c:pt>
                <c:pt idx="2295">
                  <c:v>2134.11</c:v>
                </c:pt>
                <c:pt idx="2296">
                  <c:v>2144.8200000000002</c:v>
                </c:pt>
                <c:pt idx="2297">
                  <c:v>2133.37</c:v>
                </c:pt>
                <c:pt idx="2298">
                  <c:v>2149.08</c:v>
                </c:pt>
                <c:pt idx="2299">
                  <c:v>2150.2600000000002</c:v>
                </c:pt>
                <c:pt idx="2300">
                  <c:v>2165.12</c:v>
                </c:pt>
                <c:pt idx="2301">
                  <c:v>2164.56</c:v>
                </c:pt>
                <c:pt idx="2302">
                  <c:v>2170.87</c:v>
                </c:pt>
                <c:pt idx="2303">
                  <c:v>2180.19</c:v>
                </c:pt>
                <c:pt idx="2304">
                  <c:v>2178.6999999999998</c:v>
                </c:pt>
                <c:pt idx="2305">
                  <c:v>2176.29</c:v>
                </c:pt>
                <c:pt idx="2306">
                  <c:v>2180.4699999999998</c:v>
                </c:pt>
                <c:pt idx="2307">
                  <c:v>2148.71</c:v>
                </c:pt>
                <c:pt idx="2308">
                  <c:v>2142.85</c:v>
                </c:pt>
                <c:pt idx="2309">
                  <c:v>2148.0100000000002</c:v>
                </c:pt>
                <c:pt idx="2310">
                  <c:v>2171.7600000000002</c:v>
                </c:pt>
                <c:pt idx="2311">
                  <c:v>2174.98</c:v>
                </c:pt>
                <c:pt idx="2312">
                  <c:v>2170.87</c:v>
                </c:pt>
                <c:pt idx="2313">
                  <c:v>2157.0700000000002</c:v>
                </c:pt>
                <c:pt idx="2314">
                  <c:v>2164.14</c:v>
                </c:pt>
                <c:pt idx="2315">
                  <c:v>2166.3000000000002</c:v>
                </c:pt>
                <c:pt idx="2316">
                  <c:v>2192.6999999999998</c:v>
                </c:pt>
                <c:pt idx="2317">
                  <c:v>2197.83</c:v>
                </c:pt>
                <c:pt idx="2318">
                  <c:v>2237.02</c:v>
                </c:pt>
                <c:pt idx="2319">
                  <c:v>2260.4499999999998</c:v>
                </c:pt>
                <c:pt idx="2320">
                  <c:v>2323.9</c:v>
                </c:pt>
                <c:pt idx="2321">
                  <c:v>2331.37</c:v>
                </c:pt>
                <c:pt idx="2322">
                  <c:v>2322.0100000000002</c:v>
                </c:pt>
                <c:pt idx="2323">
                  <c:v>2350.25</c:v>
                </c:pt>
                <c:pt idx="2324">
                  <c:v>2329.4</c:v>
                </c:pt>
                <c:pt idx="2325">
                  <c:v>2375.62</c:v>
                </c:pt>
                <c:pt idx="2326">
                  <c:v>2369.35</c:v>
                </c:pt>
                <c:pt idx="2327">
                  <c:v>2363.2199999999998</c:v>
                </c:pt>
                <c:pt idx="2328">
                  <c:v>2327.46</c:v>
                </c:pt>
                <c:pt idx="2329">
                  <c:v>2331.13</c:v>
                </c:pt>
                <c:pt idx="2330">
                  <c:v>2365.35</c:v>
                </c:pt>
                <c:pt idx="2331">
                  <c:v>2357.0500000000002</c:v>
                </c:pt>
                <c:pt idx="2332">
                  <c:v>2358.9</c:v>
                </c:pt>
                <c:pt idx="2333">
                  <c:v>2335.9499999999998</c:v>
                </c:pt>
                <c:pt idx="2334">
                  <c:v>2360.64</c:v>
                </c:pt>
                <c:pt idx="2335">
                  <c:v>2374.56</c:v>
                </c:pt>
                <c:pt idx="2336">
                  <c:v>2374.77</c:v>
                </c:pt>
                <c:pt idx="2337">
                  <c:v>2366.14</c:v>
                </c:pt>
                <c:pt idx="2338">
                  <c:v>2354.2399999999998</c:v>
                </c:pt>
                <c:pt idx="2339">
                  <c:v>2365.36</c:v>
                </c:pt>
                <c:pt idx="2340">
                  <c:v>2342.86</c:v>
                </c:pt>
                <c:pt idx="2341">
                  <c:v>2324.09</c:v>
                </c:pt>
                <c:pt idx="2342">
                  <c:v>2327.59</c:v>
                </c:pt>
                <c:pt idx="2343">
                  <c:v>2311.2800000000002</c:v>
                </c:pt>
                <c:pt idx="2344">
                  <c:v>2338.29</c:v>
                </c:pt>
                <c:pt idx="2345">
                  <c:v>2355.3200000000002</c:v>
                </c:pt>
                <c:pt idx="2346">
                  <c:v>2386.46</c:v>
                </c:pt>
                <c:pt idx="2347">
                  <c:v>2408.84</c:v>
                </c:pt>
                <c:pt idx="2348">
                  <c:v>2426.2199999999998</c:v>
                </c:pt>
                <c:pt idx="2349">
                  <c:v>2449.2600000000002</c:v>
                </c:pt>
                <c:pt idx="2350">
                  <c:v>2445.2199999999998</c:v>
                </c:pt>
                <c:pt idx="2351">
                  <c:v>2432.4299999999998</c:v>
                </c:pt>
                <c:pt idx="2352">
                  <c:v>2423.4499999999998</c:v>
                </c:pt>
                <c:pt idx="2353">
                  <c:v>2438.36</c:v>
                </c:pt>
                <c:pt idx="2354">
                  <c:v>2437.19</c:v>
                </c:pt>
                <c:pt idx="2355">
                  <c:v>2388.77</c:v>
                </c:pt>
                <c:pt idx="2356">
                  <c:v>2401.33</c:v>
                </c:pt>
                <c:pt idx="2357">
                  <c:v>2408.66</c:v>
                </c:pt>
                <c:pt idx="2358">
                  <c:v>2425.21</c:v>
                </c:pt>
                <c:pt idx="2359">
                  <c:v>2378.92</c:v>
                </c:pt>
                <c:pt idx="2360">
                  <c:v>2399.46</c:v>
                </c:pt>
                <c:pt idx="2361">
                  <c:v>2441.86</c:v>
                </c:pt>
                <c:pt idx="2362">
                  <c:v>2436.9699999999998</c:v>
                </c:pt>
                <c:pt idx="2363">
                  <c:v>2437.1999999999998</c:v>
                </c:pt>
                <c:pt idx="2364">
                  <c:v>2447.8000000000002</c:v>
                </c:pt>
                <c:pt idx="2365">
                  <c:v>2450.9899999999998</c:v>
                </c:pt>
                <c:pt idx="2366">
                  <c:v>2478.38</c:v>
                </c:pt>
                <c:pt idx="2367">
                  <c:v>2481.96</c:v>
                </c:pt>
                <c:pt idx="2368">
                  <c:v>2466.79</c:v>
                </c:pt>
                <c:pt idx="2369">
                  <c:v>2454.9499999999998</c:v>
                </c:pt>
                <c:pt idx="2370">
                  <c:v>2446.56</c:v>
                </c:pt>
                <c:pt idx="2371">
                  <c:v>2463.87</c:v>
                </c:pt>
                <c:pt idx="2372">
                  <c:v>2444.4</c:v>
                </c:pt>
                <c:pt idx="2373">
                  <c:v>2441.73</c:v>
                </c:pt>
                <c:pt idx="2374">
                  <c:v>2454.71</c:v>
                </c:pt>
                <c:pt idx="2375">
                  <c:v>2433.39</c:v>
                </c:pt>
                <c:pt idx="2376">
                  <c:v>2418.64</c:v>
                </c:pt>
                <c:pt idx="2377">
                  <c:v>2395.94</c:v>
                </c:pt>
                <c:pt idx="2378">
                  <c:v>2390.71</c:v>
                </c:pt>
                <c:pt idx="2379">
                  <c:v>2368.83</c:v>
                </c:pt>
                <c:pt idx="2380">
                  <c:v>2416.65</c:v>
                </c:pt>
                <c:pt idx="2381">
                  <c:v>2451.38</c:v>
                </c:pt>
                <c:pt idx="2382">
                  <c:v>2468.9299999999998</c:v>
                </c:pt>
                <c:pt idx="2383">
                  <c:v>2508.3200000000002</c:v>
                </c:pt>
                <c:pt idx="2384">
                  <c:v>2512.5500000000002</c:v>
                </c:pt>
                <c:pt idx="2385">
                  <c:v>2513.17</c:v>
                </c:pt>
                <c:pt idx="2386">
                  <c:v>2503.4499999999998</c:v>
                </c:pt>
                <c:pt idx="2387">
                  <c:v>2506.0700000000002</c:v>
                </c:pt>
                <c:pt idx="2388">
                  <c:v>2502.15</c:v>
                </c:pt>
                <c:pt idx="2389">
                  <c:v>2565.73</c:v>
                </c:pt>
                <c:pt idx="2390">
                  <c:v>2558.61</c:v>
                </c:pt>
                <c:pt idx="2391">
                  <c:v>2594.3200000000002</c:v>
                </c:pt>
                <c:pt idx="2392">
                  <c:v>2579.75</c:v>
                </c:pt>
                <c:pt idx="2393">
                  <c:v>2581.09</c:v>
                </c:pt>
                <c:pt idx="2394">
                  <c:v>2567.1</c:v>
                </c:pt>
                <c:pt idx="2395">
                  <c:v>2541.42</c:v>
                </c:pt>
                <c:pt idx="2396">
                  <c:v>2537.2199999999998</c:v>
                </c:pt>
                <c:pt idx="2397">
                  <c:v>2537.1</c:v>
                </c:pt>
                <c:pt idx="2398">
                  <c:v>2583.46</c:v>
                </c:pt>
                <c:pt idx="2399">
                  <c:v>2649.26</c:v>
                </c:pt>
                <c:pt idx="2400">
                  <c:v>2685.56</c:v>
                </c:pt>
                <c:pt idx="2401">
                  <c:v>2723.02</c:v>
                </c:pt>
                <c:pt idx="2402">
                  <c:v>2754.49</c:v>
                </c:pt>
                <c:pt idx="2403">
                  <c:v>2808.82</c:v>
                </c:pt>
                <c:pt idx="2404">
                  <c:v>2819.81</c:v>
                </c:pt>
                <c:pt idx="2405">
                  <c:v>2923.94</c:v>
                </c:pt>
                <c:pt idx="2406">
                  <c:v>2967.55</c:v>
                </c:pt>
                <c:pt idx="2407">
                  <c:v>3104.35</c:v>
                </c:pt>
                <c:pt idx="2408">
                  <c:v>3124.89</c:v>
                </c:pt>
                <c:pt idx="2409">
                  <c:v>3252.88</c:v>
                </c:pt>
                <c:pt idx="2410">
                  <c:v>3106.91</c:v>
                </c:pt>
                <c:pt idx="2411">
                  <c:v>3221.55</c:v>
                </c:pt>
                <c:pt idx="2412">
                  <c:v>3183.01</c:v>
                </c:pt>
                <c:pt idx="2413">
                  <c:v>3193.23</c:v>
                </c:pt>
                <c:pt idx="2414">
                  <c:v>3217.23</c:v>
                </c:pt>
                <c:pt idx="2415">
                  <c:v>3303.4</c:v>
                </c:pt>
                <c:pt idx="2416">
                  <c:v>3360.6</c:v>
                </c:pt>
                <c:pt idx="2417">
                  <c:v>3345.93</c:v>
                </c:pt>
                <c:pt idx="2418">
                  <c:v>3383.17</c:v>
                </c:pt>
                <c:pt idx="2419">
                  <c:v>3394.48</c:v>
                </c:pt>
                <c:pt idx="2420">
                  <c:v>3324.92</c:v>
                </c:pt>
                <c:pt idx="2421">
                  <c:v>3230.39</c:v>
                </c:pt>
                <c:pt idx="2422">
                  <c:v>3335.42</c:v>
                </c:pt>
                <c:pt idx="2423">
                  <c:v>3445.84</c:v>
                </c:pt>
                <c:pt idx="2424">
                  <c:v>3455.46</c:v>
                </c:pt>
                <c:pt idx="2425">
                  <c:v>3457.55</c:v>
                </c:pt>
                <c:pt idx="2426">
                  <c:v>3533.71</c:v>
                </c:pt>
                <c:pt idx="2427">
                  <c:v>3641.54</c:v>
                </c:pt>
                <c:pt idx="2428">
                  <c:v>3641.06</c:v>
                </c:pt>
                <c:pt idx="2429">
                  <c:v>3643.79</c:v>
                </c:pt>
                <c:pt idx="2430">
                  <c:v>3559.26</c:v>
                </c:pt>
                <c:pt idx="2431">
                  <c:v>3546.72</c:v>
                </c:pt>
                <c:pt idx="2432">
                  <c:v>3513.58</c:v>
                </c:pt>
                <c:pt idx="2433">
                  <c:v>3514.04</c:v>
                </c:pt>
                <c:pt idx="2434">
                  <c:v>3502.42</c:v>
                </c:pt>
                <c:pt idx="2435">
                  <c:v>3604.12</c:v>
                </c:pt>
                <c:pt idx="2436">
                  <c:v>3635.15</c:v>
                </c:pt>
                <c:pt idx="2437">
                  <c:v>3355.16</c:v>
                </c:pt>
                <c:pt idx="2438">
                  <c:v>3396.22</c:v>
                </c:pt>
                <c:pt idx="2439">
                  <c:v>3548.89</c:v>
                </c:pt>
                <c:pt idx="2440">
                  <c:v>3567.61</c:v>
                </c:pt>
                <c:pt idx="2441">
                  <c:v>3571.73</c:v>
                </c:pt>
                <c:pt idx="2442">
                  <c:v>3607.99</c:v>
                </c:pt>
                <c:pt idx="2443">
                  <c:v>3574.93</c:v>
                </c:pt>
                <c:pt idx="2444">
                  <c:v>3525.32</c:v>
                </c:pt>
                <c:pt idx="2445">
                  <c:v>3481.8</c:v>
                </c:pt>
                <c:pt idx="2446">
                  <c:v>3434.39</c:v>
                </c:pt>
                <c:pt idx="2447">
                  <c:v>3353.96</c:v>
                </c:pt>
                <c:pt idx="2448">
                  <c:v>3437.45</c:v>
                </c:pt>
                <c:pt idx="2449">
                  <c:v>3401.77</c:v>
                </c:pt>
                <c:pt idx="2450">
                  <c:v>3366.95</c:v>
                </c:pt>
                <c:pt idx="2451">
                  <c:v>3312.42</c:v>
                </c:pt>
                <c:pt idx="2452">
                  <c:v>3345.92</c:v>
                </c:pt>
                <c:pt idx="2453">
                  <c:v>3406.94</c:v>
                </c:pt>
                <c:pt idx="2454">
                  <c:v>3434.12</c:v>
                </c:pt>
                <c:pt idx="2455">
                  <c:v>3442.87</c:v>
                </c:pt>
                <c:pt idx="2456">
                  <c:v>3469.83</c:v>
                </c:pt>
                <c:pt idx="2457">
                  <c:v>3499.48</c:v>
                </c:pt>
                <c:pt idx="2458">
                  <c:v>3522.32</c:v>
                </c:pt>
                <c:pt idx="2459">
                  <c:v>3478.73</c:v>
                </c:pt>
                <c:pt idx="2460">
                  <c:v>3566.3</c:v>
                </c:pt>
                <c:pt idx="2461">
                  <c:v>3572.84</c:v>
                </c:pt>
                <c:pt idx="2462">
                  <c:v>3601.27</c:v>
                </c:pt>
                <c:pt idx="2463">
                  <c:v>3507.9</c:v>
                </c:pt>
                <c:pt idx="2464">
                  <c:v>3530.82</c:v>
                </c:pt>
                <c:pt idx="2465">
                  <c:v>3496.34</c:v>
                </c:pt>
                <c:pt idx="2466">
                  <c:v>3478.52</c:v>
                </c:pt>
                <c:pt idx="2467">
                  <c:v>3537.75</c:v>
                </c:pt>
                <c:pt idx="2468">
                  <c:v>3520.61</c:v>
                </c:pt>
                <c:pt idx="2469">
                  <c:v>3524.65</c:v>
                </c:pt>
                <c:pt idx="2470">
                  <c:v>3592.84</c:v>
                </c:pt>
                <c:pt idx="2471">
                  <c:v>3617.66</c:v>
                </c:pt>
                <c:pt idx="2472">
                  <c:v>3705.67</c:v>
                </c:pt>
                <c:pt idx="2473">
                  <c:v>3757.12</c:v>
                </c:pt>
                <c:pt idx="2474">
                  <c:v>3846.06</c:v>
                </c:pt>
                <c:pt idx="2475">
                  <c:v>3839.74</c:v>
                </c:pt>
                <c:pt idx="2476">
                  <c:v>3892.57</c:v>
                </c:pt>
                <c:pt idx="2477">
                  <c:v>3972.06</c:v>
                </c:pt>
                <c:pt idx="2478">
                  <c:v>3973.05</c:v>
                </c:pt>
                <c:pt idx="2479">
                  <c:v>3940.41</c:v>
                </c:pt>
                <c:pt idx="2480">
                  <c:v>3950</c:v>
                </c:pt>
                <c:pt idx="2481">
                  <c:v>3971.7</c:v>
                </c:pt>
                <c:pt idx="2482">
                  <c:v>4088.18</c:v>
                </c:pt>
                <c:pt idx="2483">
                  <c:v>4051.2</c:v>
                </c:pt>
                <c:pt idx="2484">
                  <c:v>4123.8999999999996</c:v>
                </c:pt>
                <c:pt idx="2485">
                  <c:v>4124.78</c:v>
                </c:pt>
                <c:pt idx="2486">
                  <c:v>4170.54</c:v>
                </c:pt>
                <c:pt idx="2487">
                  <c:v>4260.04</c:v>
                </c:pt>
                <c:pt idx="2488">
                  <c:v>4295.8</c:v>
                </c:pt>
                <c:pt idx="2489">
                  <c:v>4262.1400000000003</c:v>
                </c:pt>
                <c:pt idx="2490">
                  <c:v>4344.42</c:v>
                </c:pt>
                <c:pt idx="2491">
                  <c:v>4421.07</c:v>
                </c:pt>
                <c:pt idx="2492">
                  <c:v>4438.18</c:v>
                </c:pt>
                <c:pt idx="2493">
                  <c:v>4380.51</c:v>
                </c:pt>
                <c:pt idx="2494">
                  <c:v>4513.55</c:v>
                </c:pt>
                <c:pt idx="2495">
                  <c:v>4596.1400000000003</c:v>
                </c:pt>
                <c:pt idx="2496">
                  <c:v>4521.92</c:v>
                </c:pt>
                <c:pt idx="2497">
                  <c:v>4619.16</c:v>
                </c:pt>
                <c:pt idx="2498">
                  <c:v>4739.8100000000004</c:v>
                </c:pt>
                <c:pt idx="2499">
                  <c:v>4740.8900000000003</c:v>
                </c:pt>
                <c:pt idx="2500">
                  <c:v>4702.6400000000003</c:v>
                </c:pt>
                <c:pt idx="2501">
                  <c:v>4807.59</c:v>
                </c:pt>
                <c:pt idx="2502">
                  <c:v>4741.8599999999997</c:v>
                </c:pt>
                <c:pt idx="2503">
                  <c:v>4774.33</c:v>
                </c:pt>
                <c:pt idx="2504">
                  <c:v>4749.8900000000003</c:v>
                </c:pt>
                <c:pt idx="2505">
                  <c:v>4787.74</c:v>
                </c:pt>
                <c:pt idx="2506">
                  <c:v>4596.84</c:v>
                </c:pt>
                <c:pt idx="2507">
                  <c:v>4553.33</c:v>
                </c:pt>
                <c:pt idx="2508">
                  <c:v>4470.09</c:v>
                </c:pt>
                <c:pt idx="2509">
                  <c:v>4558.3999999999996</c:v>
                </c:pt>
                <c:pt idx="2510">
                  <c:v>4690.53</c:v>
                </c:pt>
                <c:pt idx="2511">
                  <c:v>4747.42</c:v>
                </c:pt>
                <c:pt idx="2512">
                  <c:v>4718.4399999999996</c:v>
                </c:pt>
                <c:pt idx="2513">
                  <c:v>4700.78</c:v>
                </c:pt>
                <c:pt idx="2514">
                  <c:v>4617.47</c:v>
                </c:pt>
                <c:pt idx="2515">
                  <c:v>4575.1400000000003</c:v>
                </c:pt>
                <c:pt idx="2516">
                  <c:v>4731.22</c:v>
                </c:pt>
                <c:pt idx="2517">
                  <c:v>4754.92</c:v>
                </c:pt>
                <c:pt idx="2518">
                  <c:v>4840.9799999999996</c:v>
                </c:pt>
                <c:pt idx="2519">
                  <c:v>4951.34</c:v>
                </c:pt>
                <c:pt idx="2520">
                  <c:v>5099.5</c:v>
                </c:pt>
                <c:pt idx="2521">
                  <c:v>5198.92</c:v>
                </c:pt>
                <c:pt idx="2522">
                  <c:v>5181.43</c:v>
                </c:pt>
                <c:pt idx="2523">
                  <c:v>4834.01</c:v>
                </c:pt>
                <c:pt idx="2524">
                  <c:v>4840.83</c:v>
                </c:pt>
                <c:pt idx="2525">
                  <c:v>5076.18</c:v>
                </c:pt>
                <c:pt idx="2526">
                  <c:v>5161.87</c:v>
                </c:pt>
                <c:pt idx="2527">
                  <c:v>5143.59</c:v>
                </c:pt>
                <c:pt idx="2528">
                  <c:v>5181.42</c:v>
                </c:pt>
                <c:pt idx="2529">
                  <c:v>5230.55</c:v>
                </c:pt>
                <c:pt idx="2530">
                  <c:v>5353.75</c:v>
                </c:pt>
                <c:pt idx="2531">
                  <c:v>5317.46</c:v>
                </c:pt>
                <c:pt idx="2532">
                  <c:v>5309.11</c:v>
                </c:pt>
                <c:pt idx="2533">
                  <c:v>5306.59</c:v>
                </c:pt>
                <c:pt idx="2534">
                  <c:v>5335.12</c:v>
                </c:pt>
                <c:pt idx="2535">
                  <c:v>5221.17</c:v>
                </c:pt>
                <c:pt idx="2536">
                  <c:v>5064.82</c:v>
                </c:pt>
                <c:pt idx="2537">
                  <c:v>5138.83</c:v>
                </c:pt>
                <c:pt idx="2538">
                  <c:v>4930.55</c:v>
                </c:pt>
                <c:pt idx="2539">
                  <c:v>4637.05</c:v>
                </c:pt>
                <c:pt idx="2540">
                  <c:v>4786.09</c:v>
                </c:pt>
                <c:pt idx="2541">
                  <c:v>4880.13</c:v>
                </c:pt>
                <c:pt idx="2542">
                  <c:v>4706.5200000000004</c:v>
                </c:pt>
                <c:pt idx="2543">
                  <c:v>4336.1899999999996</c:v>
                </c:pt>
                <c:pt idx="2544">
                  <c:v>4191.55</c:v>
                </c:pt>
                <c:pt idx="2545">
                  <c:v>4473</c:v>
                </c:pt>
                <c:pt idx="2546">
                  <c:v>4253.0200000000004</c:v>
                </c:pt>
                <c:pt idx="2547">
                  <c:v>4108</c:v>
                </c:pt>
                <c:pt idx="2548">
                  <c:v>3885.92</c:v>
                </c:pt>
                <c:pt idx="2549">
                  <c:v>3998.54</c:v>
                </c:pt>
                <c:pt idx="2550">
                  <c:v>3928</c:v>
                </c:pt>
                <c:pt idx="2551">
                  <c:v>3663.04</c:v>
                </c:pt>
                <c:pt idx="2552">
                  <c:v>3897.63</c:v>
                </c:pt>
                <c:pt idx="2553">
                  <c:v>4106.5600000000004</c:v>
                </c:pt>
                <c:pt idx="2554">
                  <c:v>4211.8100000000004</c:v>
                </c:pt>
                <c:pt idx="2555">
                  <c:v>4112.1499999999996</c:v>
                </c:pt>
                <c:pt idx="2556">
                  <c:v>3966.76</c:v>
                </c:pt>
                <c:pt idx="2557">
                  <c:v>3997.36</c:v>
                </c:pt>
                <c:pt idx="2558">
                  <c:v>4151.5</c:v>
                </c:pt>
                <c:pt idx="2559">
                  <c:v>4160.6099999999997</c:v>
                </c:pt>
                <c:pt idx="2560">
                  <c:v>4166.01</c:v>
                </c:pt>
                <c:pt idx="2561">
                  <c:v>4157.16</c:v>
                </c:pt>
                <c:pt idx="2562">
                  <c:v>4250.8100000000004</c:v>
                </c:pt>
                <c:pt idx="2563">
                  <c:v>4176.28</c:v>
                </c:pt>
                <c:pt idx="2564">
                  <c:v>3818.73</c:v>
                </c:pt>
                <c:pt idx="2565">
                  <c:v>3811.09</c:v>
                </c:pt>
                <c:pt idx="2566">
                  <c:v>3930.38</c:v>
                </c:pt>
                <c:pt idx="2567">
                  <c:v>3815.41</c:v>
                </c:pt>
                <c:pt idx="2568">
                  <c:v>3816.7</c:v>
                </c:pt>
                <c:pt idx="2569">
                  <c:v>3829.24</c:v>
                </c:pt>
                <c:pt idx="2570">
                  <c:v>3948.16</c:v>
                </c:pt>
                <c:pt idx="2571">
                  <c:v>3866.9</c:v>
                </c:pt>
                <c:pt idx="2572">
                  <c:v>3831.85</c:v>
                </c:pt>
                <c:pt idx="2573">
                  <c:v>3906.94</c:v>
                </c:pt>
                <c:pt idx="2574">
                  <c:v>4084.36</c:v>
                </c:pt>
                <c:pt idx="2575">
                  <c:v>4066.67</c:v>
                </c:pt>
                <c:pt idx="2576">
                  <c:v>4016.13</c:v>
                </c:pt>
                <c:pt idx="2577">
                  <c:v>4075.46</c:v>
                </c:pt>
                <c:pt idx="2578">
                  <c:v>4073.54</c:v>
                </c:pt>
                <c:pt idx="2579">
                  <c:v>4077.87</c:v>
                </c:pt>
                <c:pt idx="2580">
                  <c:v>3825.41</c:v>
                </c:pt>
                <c:pt idx="2581">
                  <c:v>3886.14</c:v>
                </c:pt>
                <c:pt idx="2582">
                  <c:v>3761.45</c:v>
                </c:pt>
                <c:pt idx="2583">
                  <c:v>3589.54</c:v>
                </c:pt>
                <c:pt idx="2584">
                  <c:v>3275.53</c:v>
                </c:pt>
                <c:pt idx="2585">
                  <c:v>3042.93</c:v>
                </c:pt>
                <c:pt idx="2586">
                  <c:v>3025.69</c:v>
                </c:pt>
                <c:pt idx="2587">
                  <c:v>3205.64</c:v>
                </c:pt>
                <c:pt idx="2588">
                  <c:v>3342.29</c:v>
                </c:pt>
                <c:pt idx="2589">
                  <c:v>3366.54</c:v>
                </c:pt>
                <c:pt idx="2590">
                  <c:v>3362.08</c:v>
                </c:pt>
                <c:pt idx="2591">
                  <c:v>3365.83</c:v>
                </c:pt>
                <c:pt idx="2592">
                  <c:v>3250.49</c:v>
                </c:pt>
                <c:pt idx="2593">
                  <c:v>3334.02</c:v>
                </c:pt>
                <c:pt idx="2594">
                  <c:v>3399.31</c:v>
                </c:pt>
                <c:pt idx="2595">
                  <c:v>3357.56</c:v>
                </c:pt>
                <c:pt idx="2596">
                  <c:v>3347.19</c:v>
                </c:pt>
                <c:pt idx="2597">
                  <c:v>3281.13</c:v>
                </c:pt>
                <c:pt idx="2598">
                  <c:v>3152.23</c:v>
                </c:pt>
                <c:pt idx="2599">
                  <c:v>3309.25</c:v>
                </c:pt>
                <c:pt idx="2600">
                  <c:v>3237</c:v>
                </c:pt>
                <c:pt idx="2601">
                  <c:v>3251.27</c:v>
                </c:pt>
                <c:pt idx="2602">
                  <c:v>3308.25</c:v>
                </c:pt>
                <c:pt idx="2603">
                  <c:v>3339.03</c:v>
                </c:pt>
                <c:pt idx="2604">
                  <c:v>3263.03</c:v>
                </c:pt>
                <c:pt idx="2605">
                  <c:v>3285</c:v>
                </c:pt>
                <c:pt idx="2606">
                  <c:v>3231.95</c:v>
                </c:pt>
                <c:pt idx="2607">
                  <c:v>3242.75</c:v>
                </c:pt>
                <c:pt idx="2608">
                  <c:v>3178.85</c:v>
                </c:pt>
                <c:pt idx="2609">
                  <c:v>3202.95</c:v>
                </c:pt>
                <c:pt idx="2610">
                  <c:v>3296.48</c:v>
                </c:pt>
                <c:pt idx="2611">
                  <c:v>3340.12</c:v>
                </c:pt>
                <c:pt idx="2612">
                  <c:v>3447.69</c:v>
                </c:pt>
                <c:pt idx="2613">
                  <c:v>3445.04</c:v>
                </c:pt>
                <c:pt idx="2614">
                  <c:v>3406.11</c:v>
                </c:pt>
                <c:pt idx="2615">
                  <c:v>3486.82</c:v>
                </c:pt>
                <c:pt idx="2616">
                  <c:v>3534.07</c:v>
                </c:pt>
                <c:pt idx="2617">
                  <c:v>3534.18</c:v>
                </c:pt>
                <c:pt idx="2618">
                  <c:v>3577.7</c:v>
                </c:pt>
                <c:pt idx="2619">
                  <c:v>3473.25</c:v>
                </c:pt>
                <c:pt idx="2620">
                  <c:v>3524.53</c:v>
                </c:pt>
                <c:pt idx="2621">
                  <c:v>3571.24</c:v>
                </c:pt>
                <c:pt idx="2622">
                  <c:v>3589.26</c:v>
                </c:pt>
                <c:pt idx="2623">
                  <c:v>3592.88</c:v>
                </c:pt>
                <c:pt idx="2624">
                  <c:v>3524.92</c:v>
                </c:pt>
                <c:pt idx="2625">
                  <c:v>3533.31</c:v>
                </c:pt>
                <c:pt idx="2626">
                  <c:v>3534.08</c:v>
                </c:pt>
                <c:pt idx="2627">
                  <c:v>3475.96</c:v>
                </c:pt>
                <c:pt idx="2628">
                  <c:v>3465.49</c:v>
                </c:pt>
                <c:pt idx="2629">
                  <c:v>3628.54</c:v>
                </c:pt>
                <c:pt idx="2630">
                  <c:v>3705.97</c:v>
                </c:pt>
                <c:pt idx="2631">
                  <c:v>3793.37</c:v>
                </c:pt>
                <c:pt idx="2632">
                  <c:v>3840.35</c:v>
                </c:pt>
                <c:pt idx="2633">
                  <c:v>3833.24</c:v>
                </c:pt>
                <c:pt idx="2634">
                  <c:v>3833.65</c:v>
                </c:pt>
                <c:pt idx="2635">
                  <c:v>3795.32</c:v>
                </c:pt>
                <c:pt idx="2636">
                  <c:v>3746.24</c:v>
                </c:pt>
                <c:pt idx="2637">
                  <c:v>3764.13</c:v>
                </c:pt>
                <c:pt idx="2638">
                  <c:v>3758.39</c:v>
                </c:pt>
                <c:pt idx="2639">
                  <c:v>3715.58</c:v>
                </c:pt>
                <c:pt idx="2640">
                  <c:v>3774.97</c:v>
                </c:pt>
                <c:pt idx="2641">
                  <c:v>3774.38</c:v>
                </c:pt>
                <c:pt idx="2642">
                  <c:v>3753.34</c:v>
                </c:pt>
                <c:pt idx="2643">
                  <c:v>3753.89</c:v>
                </c:pt>
                <c:pt idx="2644">
                  <c:v>3781.61</c:v>
                </c:pt>
                <c:pt idx="2645">
                  <c:v>3759.43</c:v>
                </c:pt>
                <c:pt idx="2646">
                  <c:v>3556.99</c:v>
                </c:pt>
                <c:pt idx="2647">
                  <c:v>3566.41</c:v>
                </c:pt>
                <c:pt idx="2648">
                  <c:v>3591.7</c:v>
                </c:pt>
                <c:pt idx="2649">
                  <c:v>3721.95</c:v>
                </c:pt>
                <c:pt idx="2650">
                  <c:v>3749.3</c:v>
                </c:pt>
                <c:pt idx="2651">
                  <c:v>3677.59</c:v>
                </c:pt>
                <c:pt idx="2652">
                  <c:v>3687.61</c:v>
                </c:pt>
                <c:pt idx="2653">
                  <c:v>3623.02</c:v>
                </c:pt>
                <c:pt idx="2654">
                  <c:v>3635.94</c:v>
                </c:pt>
                <c:pt idx="2655">
                  <c:v>3623.08</c:v>
                </c:pt>
                <c:pt idx="2656">
                  <c:v>3608.06</c:v>
                </c:pt>
                <c:pt idx="2657">
                  <c:v>3711.32</c:v>
                </c:pt>
                <c:pt idx="2658">
                  <c:v>3694.39</c:v>
                </c:pt>
                <c:pt idx="2659">
                  <c:v>3685.44</c:v>
                </c:pt>
                <c:pt idx="2660">
                  <c:v>3755.89</c:v>
                </c:pt>
                <c:pt idx="2661">
                  <c:v>3767.91</c:v>
                </c:pt>
                <c:pt idx="2662">
                  <c:v>3865.97</c:v>
                </c:pt>
                <c:pt idx="2663">
                  <c:v>3876.73</c:v>
                </c:pt>
                <c:pt idx="2664">
                  <c:v>3866.38</c:v>
                </c:pt>
                <c:pt idx="2665">
                  <c:v>3829.4</c:v>
                </c:pt>
                <c:pt idx="2666">
                  <c:v>3838.2</c:v>
                </c:pt>
                <c:pt idx="2667">
                  <c:v>3727.63</c:v>
                </c:pt>
                <c:pt idx="2668">
                  <c:v>3761.87</c:v>
                </c:pt>
                <c:pt idx="2669">
                  <c:v>3765.18</c:v>
                </c:pt>
                <c:pt idx="2670">
                  <c:v>3731</c:v>
                </c:pt>
                <c:pt idx="2671">
                  <c:v>3469.07</c:v>
                </c:pt>
                <c:pt idx="2672">
                  <c:v>3478.78</c:v>
                </c:pt>
                <c:pt idx="2673">
                  <c:v>3539.81</c:v>
                </c:pt>
                <c:pt idx="2674">
                  <c:v>3294.38</c:v>
                </c:pt>
                <c:pt idx="2675">
                  <c:v>3361.56</c:v>
                </c:pt>
                <c:pt idx="2676">
                  <c:v>3192.45</c:v>
                </c:pt>
                <c:pt idx="2677">
                  <c:v>3215.71</c:v>
                </c:pt>
                <c:pt idx="2678">
                  <c:v>3155.88</c:v>
                </c:pt>
                <c:pt idx="2679">
                  <c:v>3221.57</c:v>
                </c:pt>
                <c:pt idx="2680">
                  <c:v>3118.73</c:v>
                </c:pt>
                <c:pt idx="2681">
                  <c:v>3130.73</c:v>
                </c:pt>
                <c:pt idx="2682">
                  <c:v>3223.13</c:v>
                </c:pt>
                <c:pt idx="2683">
                  <c:v>3174.38</c:v>
                </c:pt>
                <c:pt idx="2684">
                  <c:v>3081.35</c:v>
                </c:pt>
                <c:pt idx="2685">
                  <c:v>3113.46</c:v>
                </c:pt>
                <c:pt idx="2686">
                  <c:v>3128.89</c:v>
                </c:pt>
                <c:pt idx="2687">
                  <c:v>2940.51</c:v>
                </c:pt>
                <c:pt idx="2688">
                  <c:v>2930.35</c:v>
                </c:pt>
                <c:pt idx="2689">
                  <c:v>2853.76</c:v>
                </c:pt>
                <c:pt idx="2690">
                  <c:v>2946.09</c:v>
                </c:pt>
                <c:pt idx="2691">
                  <c:v>2901.05</c:v>
                </c:pt>
                <c:pt idx="2692">
                  <c:v>2961.33</c:v>
                </c:pt>
                <c:pt idx="2693">
                  <c:v>2948.64</c:v>
                </c:pt>
                <c:pt idx="2694">
                  <c:v>2984.76</c:v>
                </c:pt>
                <c:pt idx="2695">
                  <c:v>2963.79</c:v>
                </c:pt>
                <c:pt idx="2696">
                  <c:v>2946.71</c:v>
                </c:pt>
                <c:pt idx="2697">
                  <c:v>3037.04</c:v>
                </c:pt>
                <c:pt idx="2698">
                  <c:v>3063.32</c:v>
                </c:pt>
                <c:pt idx="2699">
                  <c:v>3053.7</c:v>
                </c:pt>
                <c:pt idx="2700">
                  <c:v>3051.59</c:v>
                </c:pt>
                <c:pt idx="2701">
                  <c:v>3118.87</c:v>
                </c:pt>
                <c:pt idx="2702">
                  <c:v>3089.36</c:v>
                </c:pt>
                <c:pt idx="2703">
                  <c:v>3109.55</c:v>
                </c:pt>
                <c:pt idx="2704">
                  <c:v>2918.75</c:v>
                </c:pt>
                <c:pt idx="2705">
                  <c:v>2948.03</c:v>
                </c:pt>
                <c:pt idx="2706">
                  <c:v>2877.47</c:v>
                </c:pt>
                <c:pt idx="2707">
                  <c:v>2930.69</c:v>
                </c:pt>
                <c:pt idx="2708">
                  <c:v>3051.33</c:v>
                </c:pt>
                <c:pt idx="2709">
                  <c:v>3058.42</c:v>
                </c:pt>
                <c:pt idx="2710">
                  <c:v>3093.89</c:v>
                </c:pt>
                <c:pt idx="2711">
                  <c:v>3104.84</c:v>
                </c:pt>
                <c:pt idx="2712">
                  <c:v>3107.67</c:v>
                </c:pt>
                <c:pt idx="2713">
                  <c:v>3071.91</c:v>
                </c:pt>
                <c:pt idx="2714">
                  <c:v>3013.15</c:v>
                </c:pt>
                <c:pt idx="2715">
                  <c:v>3018.28</c:v>
                </c:pt>
                <c:pt idx="2716">
                  <c:v>3065.69</c:v>
                </c:pt>
                <c:pt idx="2717">
                  <c:v>3074.78</c:v>
                </c:pt>
                <c:pt idx="2718">
                  <c:v>3090.03</c:v>
                </c:pt>
                <c:pt idx="2719">
                  <c:v>3124.2</c:v>
                </c:pt>
                <c:pt idx="2720">
                  <c:v>3171.96</c:v>
                </c:pt>
                <c:pt idx="2721">
                  <c:v>3249.44</c:v>
                </c:pt>
                <c:pt idx="2722">
                  <c:v>3225.79</c:v>
                </c:pt>
                <c:pt idx="2723">
                  <c:v>3236.09</c:v>
                </c:pt>
                <c:pt idx="2724">
                  <c:v>3181.85</c:v>
                </c:pt>
                <c:pt idx="2725">
                  <c:v>3197.82</c:v>
                </c:pt>
                <c:pt idx="2726">
                  <c:v>3169.73</c:v>
                </c:pt>
                <c:pt idx="2727">
                  <c:v>3135.41</c:v>
                </c:pt>
                <c:pt idx="2728">
                  <c:v>3216.28</c:v>
                </c:pt>
                <c:pt idx="2729">
                  <c:v>3218.09</c:v>
                </c:pt>
                <c:pt idx="2730">
                  <c:v>3221.89</c:v>
                </c:pt>
                <c:pt idx="2731">
                  <c:v>3264.49</c:v>
                </c:pt>
                <c:pt idx="2732">
                  <c:v>3257.53</c:v>
                </c:pt>
                <c:pt idx="2733">
                  <c:v>3209.29</c:v>
                </c:pt>
                <c:pt idx="2734">
                  <c:v>3185.73</c:v>
                </c:pt>
                <c:pt idx="2735">
                  <c:v>3230.1</c:v>
                </c:pt>
                <c:pt idx="2736">
                  <c:v>3218.45</c:v>
                </c:pt>
                <c:pt idx="2737">
                  <c:v>3261.38</c:v>
                </c:pt>
                <c:pt idx="2738">
                  <c:v>3275.83</c:v>
                </c:pt>
                <c:pt idx="2739">
                  <c:v>3272.21</c:v>
                </c:pt>
                <c:pt idx="2740">
                  <c:v>3228.45</c:v>
                </c:pt>
                <c:pt idx="2741">
                  <c:v>3238.3</c:v>
                </c:pt>
                <c:pt idx="2742">
                  <c:v>3181.03</c:v>
                </c:pt>
                <c:pt idx="2743">
                  <c:v>3160.6</c:v>
                </c:pt>
                <c:pt idx="2744">
                  <c:v>3174.9</c:v>
                </c:pt>
                <c:pt idx="2745">
                  <c:v>3162.03</c:v>
                </c:pt>
                <c:pt idx="2746">
                  <c:v>3179.16</c:v>
                </c:pt>
                <c:pt idx="2747">
                  <c:v>3165.92</c:v>
                </c:pt>
                <c:pt idx="2748">
                  <c:v>3160.58</c:v>
                </c:pt>
                <c:pt idx="2749">
                  <c:v>3156.75</c:v>
                </c:pt>
                <c:pt idx="2750">
                  <c:v>3213.54</c:v>
                </c:pt>
                <c:pt idx="2751">
                  <c:v>3209.46</c:v>
                </c:pt>
                <c:pt idx="2752">
                  <c:v>3213.92</c:v>
                </c:pt>
                <c:pt idx="2753">
                  <c:v>3130.35</c:v>
                </c:pt>
                <c:pt idx="2754">
                  <c:v>3065.62</c:v>
                </c:pt>
                <c:pt idx="2755">
                  <c:v>3069.11</c:v>
                </c:pt>
                <c:pt idx="2756">
                  <c:v>3082.81</c:v>
                </c:pt>
                <c:pt idx="2757">
                  <c:v>3090.14</c:v>
                </c:pt>
                <c:pt idx="2758">
                  <c:v>3074.94</c:v>
                </c:pt>
                <c:pt idx="2759">
                  <c:v>3095.31</c:v>
                </c:pt>
                <c:pt idx="2760">
                  <c:v>3086.02</c:v>
                </c:pt>
                <c:pt idx="2761">
                  <c:v>3068.04</c:v>
                </c:pt>
                <c:pt idx="2762">
                  <c:v>3062.5</c:v>
                </c:pt>
                <c:pt idx="2763">
                  <c:v>3078.22</c:v>
                </c:pt>
                <c:pt idx="2764">
                  <c:v>3087.22</c:v>
                </c:pt>
                <c:pt idx="2765">
                  <c:v>3063.56</c:v>
                </c:pt>
                <c:pt idx="2766">
                  <c:v>3059.23</c:v>
                </c:pt>
                <c:pt idx="2767">
                  <c:v>3064.21</c:v>
                </c:pt>
                <c:pt idx="2768">
                  <c:v>3062.5</c:v>
                </c:pt>
                <c:pt idx="2769">
                  <c:v>3066.71</c:v>
                </c:pt>
                <c:pt idx="2770">
                  <c:v>3169.56</c:v>
                </c:pt>
                <c:pt idx="2771">
                  <c:v>3160.55</c:v>
                </c:pt>
                <c:pt idx="2772">
                  <c:v>3167.1</c:v>
                </c:pt>
                <c:pt idx="2773">
                  <c:v>3189.33</c:v>
                </c:pt>
                <c:pt idx="2774">
                  <c:v>3178.79</c:v>
                </c:pt>
                <c:pt idx="2775">
                  <c:v>3177.05</c:v>
                </c:pt>
                <c:pt idx="2776">
                  <c:v>3163.99</c:v>
                </c:pt>
                <c:pt idx="2777">
                  <c:v>3066.34</c:v>
                </c:pt>
                <c:pt idx="2778">
                  <c:v>3075.98</c:v>
                </c:pt>
                <c:pt idx="2779">
                  <c:v>3116.37</c:v>
                </c:pt>
                <c:pt idx="2780">
                  <c:v>3094.67</c:v>
                </c:pt>
                <c:pt idx="2781">
                  <c:v>3110.36</c:v>
                </c:pt>
                <c:pt idx="2782">
                  <c:v>3112.67</c:v>
                </c:pt>
                <c:pt idx="2783">
                  <c:v>3106.32</c:v>
                </c:pt>
                <c:pt idx="2784">
                  <c:v>3133.96</c:v>
                </c:pt>
                <c:pt idx="2785">
                  <c:v>3117.32</c:v>
                </c:pt>
                <c:pt idx="2786">
                  <c:v>3077.16</c:v>
                </c:pt>
                <c:pt idx="2787">
                  <c:v>3120.54</c:v>
                </c:pt>
                <c:pt idx="2788">
                  <c:v>3136.4</c:v>
                </c:pt>
                <c:pt idx="2789">
                  <c:v>3151.39</c:v>
                </c:pt>
                <c:pt idx="2790">
                  <c:v>3153.92</c:v>
                </c:pt>
                <c:pt idx="2791">
                  <c:v>3154.2</c:v>
                </c:pt>
                <c:pt idx="2792">
                  <c:v>3204.7</c:v>
                </c:pt>
                <c:pt idx="2793">
                  <c:v>3207.38</c:v>
                </c:pt>
                <c:pt idx="2794">
                  <c:v>3216.8</c:v>
                </c:pt>
                <c:pt idx="2795">
                  <c:v>3209.95</c:v>
                </c:pt>
                <c:pt idx="2796">
                  <c:v>3192.28</c:v>
                </c:pt>
                <c:pt idx="2797">
                  <c:v>3203.33</c:v>
                </c:pt>
                <c:pt idx="2798">
                  <c:v>3273.18</c:v>
                </c:pt>
                <c:pt idx="2799">
                  <c:v>3282.87</c:v>
                </c:pt>
                <c:pt idx="2800">
                  <c:v>3276.76</c:v>
                </c:pt>
                <c:pt idx="2801">
                  <c:v>3276.28</c:v>
                </c:pt>
                <c:pt idx="2802">
                  <c:v>3262.02</c:v>
                </c:pt>
                <c:pt idx="2803">
                  <c:v>3248.23</c:v>
                </c:pt>
                <c:pt idx="2804">
                  <c:v>3237.61</c:v>
                </c:pt>
                <c:pt idx="2805">
                  <c:v>3252.52</c:v>
                </c:pt>
                <c:pt idx="2806">
                  <c:v>3225.16</c:v>
                </c:pt>
                <c:pt idx="2807">
                  <c:v>3230.89</c:v>
                </c:pt>
                <c:pt idx="2808">
                  <c:v>3269.59</c:v>
                </c:pt>
                <c:pt idx="2809">
                  <c:v>3218.24</c:v>
                </c:pt>
                <c:pt idx="2810">
                  <c:v>3221.14</c:v>
                </c:pt>
                <c:pt idx="2811">
                  <c:v>3203.93</c:v>
                </c:pt>
                <c:pt idx="2812">
                  <c:v>3176.81</c:v>
                </c:pt>
                <c:pt idx="2813">
                  <c:v>3189.05</c:v>
                </c:pt>
                <c:pt idx="2814">
                  <c:v>3193.51</c:v>
                </c:pt>
                <c:pt idx="2815">
                  <c:v>3201.29</c:v>
                </c:pt>
                <c:pt idx="2816">
                  <c:v>3205.11</c:v>
                </c:pt>
                <c:pt idx="2817">
                  <c:v>3234.18</c:v>
                </c:pt>
                <c:pt idx="2818">
                  <c:v>3256.98</c:v>
                </c:pt>
                <c:pt idx="2819">
                  <c:v>3243.34</c:v>
                </c:pt>
                <c:pt idx="2820">
                  <c:v>3233.36</c:v>
                </c:pt>
                <c:pt idx="2821">
                  <c:v>3294.23</c:v>
                </c:pt>
                <c:pt idx="2822">
                  <c:v>3393.42</c:v>
                </c:pt>
                <c:pt idx="2823">
                  <c:v>3378.25</c:v>
                </c:pt>
                <c:pt idx="2824">
                  <c:v>3373.05</c:v>
                </c:pt>
                <c:pt idx="2825">
                  <c:v>3364.49</c:v>
                </c:pt>
                <c:pt idx="2826">
                  <c:v>3365.02</c:v>
                </c:pt>
                <c:pt idx="2827">
                  <c:v>3336.79</c:v>
                </c:pt>
                <c:pt idx="2828">
                  <c:v>3341.83</c:v>
                </c:pt>
                <c:pt idx="2829">
                  <c:v>3329.86</c:v>
                </c:pt>
                <c:pt idx="2830">
                  <c:v>3308.97</c:v>
                </c:pt>
                <c:pt idx="2831">
                  <c:v>3307.09</c:v>
                </c:pt>
                <c:pt idx="2832">
                  <c:v>3307.78</c:v>
                </c:pt>
                <c:pt idx="2833">
                  <c:v>3311.99</c:v>
                </c:pt>
                <c:pt idx="2834">
                  <c:v>3327.79</c:v>
                </c:pt>
                <c:pt idx="2835">
                  <c:v>3301.58</c:v>
                </c:pt>
                <c:pt idx="2836">
                  <c:v>3314.11</c:v>
                </c:pt>
                <c:pt idx="2837">
                  <c:v>3319.68</c:v>
                </c:pt>
                <c:pt idx="2838">
                  <c:v>3342.63</c:v>
                </c:pt>
                <c:pt idx="2839">
                  <c:v>3340.82</c:v>
                </c:pt>
                <c:pt idx="2840">
                  <c:v>3339.56</c:v>
                </c:pt>
                <c:pt idx="2841">
                  <c:v>3318.04</c:v>
                </c:pt>
                <c:pt idx="2842">
                  <c:v>3262.6</c:v>
                </c:pt>
                <c:pt idx="2843">
                  <c:v>3260.33</c:v>
                </c:pt>
                <c:pt idx="2844">
                  <c:v>3238.73</c:v>
                </c:pt>
                <c:pt idx="2845">
                  <c:v>3263.12</c:v>
                </c:pt>
                <c:pt idx="2846">
                  <c:v>3257.4</c:v>
                </c:pt>
                <c:pt idx="2847">
                  <c:v>3266.64</c:v>
                </c:pt>
                <c:pt idx="2848">
                  <c:v>3291.12</c:v>
                </c:pt>
                <c:pt idx="2849">
                  <c:v>3275.67</c:v>
                </c:pt>
                <c:pt idx="2850">
                  <c:v>3220.28</c:v>
                </c:pt>
                <c:pt idx="2851">
                  <c:v>3240.75</c:v>
                </c:pt>
                <c:pt idx="2852">
                  <c:v>3230.89</c:v>
                </c:pt>
                <c:pt idx="2853">
                  <c:v>3244.39</c:v>
                </c:pt>
                <c:pt idx="2854">
                  <c:v>3253.28</c:v>
                </c:pt>
                <c:pt idx="2855">
                  <c:v>3293.87</c:v>
                </c:pt>
                <c:pt idx="2856">
                  <c:v>3306.56</c:v>
                </c:pt>
                <c:pt idx="2857">
                  <c:v>3300.01</c:v>
                </c:pt>
                <c:pt idx="2858">
                  <c:v>3302.65</c:v>
                </c:pt>
                <c:pt idx="2859">
                  <c:v>3305.85</c:v>
                </c:pt>
                <c:pt idx="2860">
                  <c:v>3277.88</c:v>
                </c:pt>
                <c:pt idx="2861">
                  <c:v>3321.33</c:v>
                </c:pt>
                <c:pt idx="2862">
                  <c:v>3316.24</c:v>
                </c:pt>
                <c:pt idx="2863">
                  <c:v>3318.6</c:v>
                </c:pt>
                <c:pt idx="2864">
                  <c:v>3327.74</c:v>
                </c:pt>
                <c:pt idx="2865">
                  <c:v>3367.58</c:v>
                </c:pt>
                <c:pt idx="2866">
                  <c:v>3367.45</c:v>
                </c:pt>
                <c:pt idx="2867">
                  <c:v>3354.8</c:v>
                </c:pt>
                <c:pt idx="2868">
                  <c:v>3345.7</c:v>
                </c:pt>
                <c:pt idx="2869">
                  <c:v>3340.13</c:v>
                </c:pt>
                <c:pt idx="2870">
                  <c:v>3336.28</c:v>
                </c:pt>
                <c:pt idx="2871">
                  <c:v>3359.05</c:v>
                </c:pt>
                <c:pt idx="2872">
                  <c:v>3333.35</c:v>
                </c:pt>
                <c:pt idx="2873">
                  <c:v>3365.09</c:v>
                </c:pt>
                <c:pt idx="2874">
                  <c:v>3354.17</c:v>
                </c:pt>
                <c:pt idx="2875">
                  <c:v>3356.59</c:v>
                </c:pt>
                <c:pt idx="2876">
                  <c:v>3371.12</c:v>
                </c:pt>
                <c:pt idx="2877">
                  <c:v>3353.05</c:v>
                </c:pt>
                <c:pt idx="2878">
                  <c:v>3390.61</c:v>
                </c:pt>
                <c:pt idx="2879">
                  <c:v>3417.22</c:v>
                </c:pt>
                <c:pt idx="2880">
                  <c:v>3430.25</c:v>
                </c:pt>
                <c:pt idx="2881">
                  <c:v>3429.87</c:v>
                </c:pt>
                <c:pt idx="2882">
                  <c:v>3429.59</c:v>
                </c:pt>
                <c:pt idx="2883">
                  <c:v>3436.54</c:v>
                </c:pt>
                <c:pt idx="2884">
                  <c:v>3417.46</c:v>
                </c:pt>
                <c:pt idx="2885">
                  <c:v>3441.11</c:v>
                </c:pt>
                <c:pt idx="2886">
                  <c:v>3468.36</c:v>
                </c:pt>
                <c:pt idx="2887">
                  <c:v>3474.73</c:v>
                </c:pt>
                <c:pt idx="2888">
                  <c:v>3488.74</c:v>
                </c:pt>
                <c:pt idx="2889">
                  <c:v>3521.3</c:v>
                </c:pt>
                <c:pt idx="2890">
                  <c:v>3535.08</c:v>
                </c:pt>
                <c:pt idx="2891">
                  <c:v>3564.04</c:v>
                </c:pt>
                <c:pt idx="2892">
                  <c:v>3538</c:v>
                </c:pt>
                <c:pt idx="2893">
                  <c:v>3565.04</c:v>
                </c:pt>
                <c:pt idx="2894">
                  <c:v>3528.95</c:v>
                </c:pt>
                <c:pt idx="2895">
                  <c:v>3469.41</c:v>
                </c:pt>
                <c:pt idx="2896">
                  <c:v>3459.15</c:v>
                </c:pt>
                <c:pt idx="2897">
                  <c:v>3475.75</c:v>
                </c:pt>
                <c:pt idx="2898">
                  <c:v>3470.14</c:v>
                </c:pt>
                <c:pt idx="2899">
                  <c:v>3493.7</c:v>
                </c:pt>
                <c:pt idx="2900">
                  <c:v>3409.18</c:v>
                </c:pt>
                <c:pt idx="2901">
                  <c:v>3405.04</c:v>
                </c:pt>
                <c:pt idx="2902">
                  <c:v>3378.95</c:v>
                </c:pt>
                <c:pt idx="2903">
                  <c:v>3340.43</c:v>
                </c:pt>
                <c:pt idx="2904">
                  <c:v>3346.03</c:v>
                </c:pt>
                <c:pt idx="2905">
                  <c:v>3328.98</c:v>
                </c:pt>
                <c:pt idx="2906">
                  <c:v>3309.06</c:v>
                </c:pt>
                <c:pt idx="2907">
                  <c:v>3338.54</c:v>
                </c:pt>
                <c:pt idx="2908">
                  <c:v>3335.67</c:v>
                </c:pt>
                <c:pt idx="2909">
                  <c:v>3307.6</c:v>
                </c:pt>
                <c:pt idx="2910">
                  <c:v>3322.4</c:v>
                </c:pt>
                <c:pt idx="2911">
                  <c:v>3316.39</c:v>
                </c:pt>
                <c:pt idx="2912">
                  <c:v>3301.89</c:v>
                </c:pt>
                <c:pt idx="2913">
                  <c:v>3297.76</c:v>
                </c:pt>
                <c:pt idx="2914">
                  <c:v>3310.08</c:v>
                </c:pt>
                <c:pt idx="2915">
                  <c:v>3342.23</c:v>
                </c:pt>
                <c:pt idx="2916">
                  <c:v>3368.31</c:v>
                </c:pt>
                <c:pt idx="2917">
                  <c:v>3367.79</c:v>
                </c:pt>
                <c:pt idx="2918">
                  <c:v>3347.67</c:v>
                </c:pt>
                <c:pt idx="2919">
                  <c:v>3363.9</c:v>
                </c:pt>
                <c:pt idx="2920">
                  <c:v>3358.27</c:v>
                </c:pt>
                <c:pt idx="2921">
                  <c:v>3334.5</c:v>
                </c:pt>
                <c:pt idx="2922">
                  <c:v>3317.62</c:v>
                </c:pt>
                <c:pt idx="2923">
                  <c:v>3319.91</c:v>
                </c:pt>
                <c:pt idx="2924">
                  <c:v>3319.45</c:v>
                </c:pt>
                <c:pt idx="2925">
                  <c:v>3326.36</c:v>
                </c:pt>
                <c:pt idx="2926">
                  <c:v>3339.37</c:v>
                </c:pt>
                <c:pt idx="2927">
                  <c:v>3329.29</c:v>
                </c:pt>
                <c:pt idx="2928">
                  <c:v>3354.89</c:v>
                </c:pt>
                <c:pt idx="2929">
                  <c:v>3364.08</c:v>
                </c:pt>
                <c:pt idx="2930">
                  <c:v>3364.45</c:v>
                </c:pt>
                <c:pt idx="2931">
                  <c:v>3375.9</c:v>
                </c:pt>
                <c:pt idx="2932">
                  <c:v>3387.96</c:v>
                </c:pt>
                <c:pt idx="2933">
                  <c:v>3364.49</c:v>
                </c:pt>
                <c:pt idx="2934">
                  <c:v>3373.21</c:v>
                </c:pt>
                <c:pt idx="2935">
                  <c:v>3365.68</c:v>
                </c:pt>
                <c:pt idx="2936">
                  <c:v>3383.29</c:v>
                </c:pt>
                <c:pt idx="2937">
                  <c:v>3396.29</c:v>
                </c:pt>
                <c:pt idx="2938">
                  <c:v>3413.49</c:v>
                </c:pt>
                <c:pt idx="2939">
                  <c:v>3436.28</c:v>
                </c:pt>
                <c:pt idx="2940">
                  <c:v>3435.8</c:v>
                </c:pt>
                <c:pt idx="2941">
                  <c:v>3421.71</c:v>
                </c:pt>
                <c:pt idx="2942">
                  <c:v>3440.93</c:v>
                </c:pt>
                <c:pt idx="2943">
                  <c:v>3421.44</c:v>
                </c:pt>
                <c:pt idx="2944">
                  <c:v>3471.39</c:v>
                </c:pt>
                <c:pt idx="2945">
                  <c:v>3482.82</c:v>
                </c:pt>
                <c:pt idx="2946">
                  <c:v>3489.76</c:v>
                </c:pt>
                <c:pt idx="2947">
                  <c:v>3473.32</c:v>
                </c:pt>
                <c:pt idx="2948">
                  <c:v>3473.85</c:v>
                </c:pt>
                <c:pt idx="2949">
                  <c:v>3446.22</c:v>
                </c:pt>
                <c:pt idx="2950">
                  <c:v>3452.81</c:v>
                </c:pt>
                <c:pt idx="2951">
                  <c:v>3458.44</c:v>
                </c:pt>
                <c:pt idx="2952">
                  <c:v>3435.1</c:v>
                </c:pt>
                <c:pt idx="2953">
                  <c:v>3427.86</c:v>
                </c:pt>
                <c:pt idx="2954">
                  <c:v>3446.48</c:v>
                </c:pt>
                <c:pt idx="2955">
                  <c:v>3453.96</c:v>
                </c:pt>
                <c:pt idx="2956">
                  <c:v>3448.73</c:v>
                </c:pt>
                <c:pt idx="2957">
                  <c:v>3426.94</c:v>
                </c:pt>
                <c:pt idx="2958">
                  <c:v>3427.89</c:v>
                </c:pt>
                <c:pt idx="2959">
                  <c:v>3458.1</c:v>
                </c:pt>
                <c:pt idx="2960">
                  <c:v>3456.69</c:v>
                </c:pt>
                <c:pt idx="2961">
                  <c:v>3463.64</c:v>
                </c:pt>
                <c:pt idx="2962">
                  <c:v>3481.51</c:v>
                </c:pt>
                <c:pt idx="2963">
                  <c:v>3445.81</c:v>
                </c:pt>
                <c:pt idx="2964">
                  <c:v>3449.61</c:v>
                </c:pt>
                <c:pt idx="2965">
                  <c:v>3466.35</c:v>
                </c:pt>
                <c:pt idx="2966">
                  <c:v>3450.05</c:v>
                </c:pt>
                <c:pt idx="2967">
                  <c:v>3461.98</c:v>
                </c:pt>
                <c:pt idx="2968">
                  <c:v>3489.6</c:v>
                </c:pt>
                <c:pt idx="2969">
                  <c:v>3478.04</c:v>
                </c:pt>
                <c:pt idx="2970">
                  <c:v>3469.81</c:v>
                </c:pt>
                <c:pt idx="2971">
                  <c:v>3465.19</c:v>
                </c:pt>
                <c:pt idx="2972">
                  <c:v>3436.76</c:v>
                </c:pt>
                <c:pt idx="2973">
                  <c:v>3456.05</c:v>
                </c:pt>
                <c:pt idx="2974">
                  <c:v>3503.89</c:v>
                </c:pt>
                <c:pt idx="2975">
                  <c:v>3514.05</c:v>
                </c:pt>
                <c:pt idx="2976">
                  <c:v>3517.46</c:v>
                </c:pt>
                <c:pt idx="2977">
                  <c:v>3505.14</c:v>
                </c:pt>
                <c:pt idx="2978">
                  <c:v>3517.33</c:v>
                </c:pt>
                <c:pt idx="2979">
                  <c:v>3509.44</c:v>
                </c:pt>
                <c:pt idx="2980">
                  <c:v>3514.57</c:v>
                </c:pt>
                <c:pt idx="2981">
                  <c:v>3486.5</c:v>
                </c:pt>
                <c:pt idx="2982">
                  <c:v>3479.94</c:v>
                </c:pt>
                <c:pt idx="2983">
                  <c:v>3462.74</c:v>
                </c:pt>
                <c:pt idx="2984">
                  <c:v>3445.88</c:v>
                </c:pt>
                <c:pt idx="2985">
                  <c:v>3461.55</c:v>
                </c:pt>
                <c:pt idx="2986">
                  <c:v>3466.79</c:v>
                </c:pt>
                <c:pt idx="2987">
                  <c:v>3431.26</c:v>
                </c:pt>
                <c:pt idx="2988">
                  <c:v>3440.97</c:v>
                </c:pt>
                <c:pt idx="2989">
                  <c:v>3445.18</c:v>
                </c:pt>
                <c:pt idx="2990">
                  <c:v>3446.72</c:v>
                </c:pt>
                <c:pt idx="2991">
                  <c:v>3439.75</c:v>
                </c:pt>
                <c:pt idx="2992">
                  <c:v>3426.58</c:v>
                </c:pt>
                <c:pt idx="2993">
                  <c:v>3413.13</c:v>
                </c:pt>
                <c:pt idx="2994">
                  <c:v>3404.39</c:v>
                </c:pt>
                <c:pt idx="2995">
                  <c:v>3382.55</c:v>
                </c:pt>
                <c:pt idx="2996">
                  <c:v>3358.81</c:v>
                </c:pt>
                <c:pt idx="2997">
                  <c:v>3352.53</c:v>
                </c:pt>
                <c:pt idx="2998">
                  <c:v>3337.7</c:v>
                </c:pt>
                <c:pt idx="2999">
                  <c:v>3356.65</c:v>
                </c:pt>
                <c:pt idx="3000">
                  <c:v>3385.38</c:v>
                </c:pt>
                <c:pt idx="3001">
                  <c:v>3399.19</c:v>
                </c:pt>
                <c:pt idx="3002">
                  <c:v>3428.65</c:v>
                </c:pt>
                <c:pt idx="3003">
                  <c:v>3409.97</c:v>
                </c:pt>
                <c:pt idx="3004">
                  <c:v>3398.11</c:v>
                </c:pt>
                <c:pt idx="3005">
                  <c:v>3403.85</c:v>
                </c:pt>
                <c:pt idx="3006">
                  <c:v>3411.24</c:v>
                </c:pt>
                <c:pt idx="3007">
                  <c:v>3424.19</c:v>
                </c:pt>
                <c:pt idx="3008">
                  <c:v>3424.17</c:v>
                </c:pt>
                <c:pt idx="3009">
                  <c:v>3485.66</c:v>
                </c:pt>
                <c:pt idx="3010">
                  <c:v>3480.43</c:v>
                </c:pt>
                <c:pt idx="3011">
                  <c:v>3492.88</c:v>
                </c:pt>
                <c:pt idx="3012">
                  <c:v>3497.74</c:v>
                </c:pt>
                <c:pt idx="3013">
                  <c:v>3486.51</c:v>
                </c:pt>
                <c:pt idx="3014">
                  <c:v>3468.75</c:v>
                </c:pt>
                <c:pt idx="3015">
                  <c:v>3492.88</c:v>
                </c:pt>
                <c:pt idx="3016">
                  <c:v>3533.87</c:v>
                </c:pt>
                <c:pt idx="3017">
                  <c:v>3560.98</c:v>
                </c:pt>
                <c:pt idx="3018">
                  <c:v>3576.17</c:v>
                </c:pt>
                <c:pt idx="3019">
                  <c:v>3574.39</c:v>
                </c:pt>
                <c:pt idx="3020">
                  <c:v>3582.27</c:v>
                </c:pt>
                <c:pt idx="3021">
                  <c:v>3535.3</c:v>
                </c:pt>
                <c:pt idx="3022">
                  <c:v>3528.79</c:v>
                </c:pt>
                <c:pt idx="3023">
                  <c:v>3518.76</c:v>
                </c:pt>
                <c:pt idx="3024">
                  <c:v>3553.67</c:v>
                </c:pt>
                <c:pt idx="3025">
                  <c:v>3546.49</c:v>
                </c:pt>
                <c:pt idx="3026">
                  <c:v>3587.96</c:v>
                </c:pt>
                <c:pt idx="3027">
                  <c:v>3590.34</c:v>
                </c:pt>
                <c:pt idx="3028">
                  <c:v>3622.88</c:v>
                </c:pt>
                <c:pt idx="3029">
                  <c:v>3668.09</c:v>
                </c:pt>
                <c:pt idx="3030">
                  <c:v>3674.72</c:v>
                </c:pt>
                <c:pt idx="3031">
                  <c:v>3646.17</c:v>
                </c:pt>
                <c:pt idx="3032">
                  <c:v>3668.83</c:v>
                </c:pt>
                <c:pt idx="3033">
                  <c:v>3666.8</c:v>
                </c:pt>
                <c:pt idx="3034">
                  <c:v>3650.85</c:v>
                </c:pt>
                <c:pt idx="3035">
                  <c:v>3619.98</c:v>
                </c:pt>
                <c:pt idx="3036">
                  <c:v>3659.68</c:v>
                </c:pt>
                <c:pt idx="3037">
                  <c:v>3660.1</c:v>
                </c:pt>
                <c:pt idx="3038">
                  <c:v>3655.93</c:v>
                </c:pt>
                <c:pt idx="3039">
                  <c:v>3653.69</c:v>
                </c:pt>
                <c:pt idx="3040">
                  <c:v>3670.81</c:v>
                </c:pt>
                <c:pt idx="3041">
                  <c:v>3658.82</c:v>
                </c:pt>
                <c:pt idx="3042">
                  <c:v>3686.92</c:v>
                </c:pt>
                <c:pt idx="3043">
                  <c:v>3703.09</c:v>
                </c:pt>
                <c:pt idx="3044">
                  <c:v>3663.56</c:v>
                </c:pt>
                <c:pt idx="3045">
                  <c:v>3667.18</c:v>
                </c:pt>
                <c:pt idx="3046">
                  <c:v>3729.75</c:v>
                </c:pt>
                <c:pt idx="3047">
                  <c:v>3747.88</c:v>
                </c:pt>
                <c:pt idx="3048">
                  <c:v>3728.6</c:v>
                </c:pt>
                <c:pt idx="3049">
                  <c:v>3743.47</c:v>
                </c:pt>
                <c:pt idx="3050">
                  <c:v>3719.56</c:v>
                </c:pt>
                <c:pt idx="3051">
                  <c:v>3705.39</c:v>
                </c:pt>
                <c:pt idx="3052">
                  <c:v>3712.19</c:v>
                </c:pt>
                <c:pt idx="3053">
                  <c:v>3721.89</c:v>
                </c:pt>
                <c:pt idx="3054">
                  <c:v>3737.87</c:v>
                </c:pt>
                <c:pt idx="3055">
                  <c:v>3770.38</c:v>
                </c:pt>
                <c:pt idx="3056">
                  <c:v>3760.85</c:v>
                </c:pt>
                <c:pt idx="3057">
                  <c:v>3727.83</c:v>
                </c:pt>
                <c:pt idx="3058">
                  <c:v>3707.58</c:v>
                </c:pt>
                <c:pt idx="3059">
                  <c:v>3726.79</c:v>
                </c:pt>
                <c:pt idx="3060">
                  <c:v>3732.21</c:v>
                </c:pt>
                <c:pt idx="3061">
                  <c:v>3731.04</c:v>
                </c:pt>
                <c:pt idx="3062">
                  <c:v>3715.92</c:v>
                </c:pt>
                <c:pt idx="3063">
                  <c:v>3647.35</c:v>
                </c:pt>
                <c:pt idx="3064">
                  <c:v>3694.68</c:v>
                </c:pt>
                <c:pt idx="3065">
                  <c:v>3706.06</c:v>
                </c:pt>
                <c:pt idx="3066">
                  <c:v>3701.42</c:v>
                </c:pt>
                <c:pt idx="3067">
                  <c:v>3721.28</c:v>
                </c:pt>
                <c:pt idx="3068">
                  <c:v>3724.67</c:v>
                </c:pt>
                <c:pt idx="3069">
                  <c:v>3740.99</c:v>
                </c:pt>
                <c:pt idx="3070">
                  <c:v>3752.3</c:v>
                </c:pt>
                <c:pt idx="3071">
                  <c:v>3756.09</c:v>
                </c:pt>
                <c:pt idx="3072">
                  <c:v>3734.65</c:v>
                </c:pt>
                <c:pt idx="3073">
                  <c:v>3795.75</c:v>
                </c:pt>
                <c:pt idx="3074">
                  <c:v>3842.71</c:v>
                </c:pt>
                <c:pt idx="3075">
                  <c:v>3834.54</c:v>
                </c:pt>
                <c:pt idx="3076">
                  <c:v>3834.3</c:v>
                </c:pt>
                <c:pt idx="3077">
                  <c:v>3822.09</c:v>
                </c:pt>
                <c:pt idx="3078">
                  <c:v>3830.54</c:v>
                </c:pt>
                <c:pt idx="3079">
                  <c:v>3845.62</c:v>
                </c:pt>
                <c:pt idx="3080">
                  <c:v>3857.05</c:v>
                </c:pt>
                <c:pt idx="3081">
                  <c:v>3849.45</c:v>
                </c:pt>
                <c:pt idx="3082">
                  <c:v>3829.87</c:v>
                </c:pt>
                <c:pt idx="3083">
                  <c:v>3825.99</c:v>
                </c:pt>
                <c:pt idx="3084">
                  <c:v>3825.65</c:v>
                </c:pt>
                <c:pt idx="3085">
                  <c:v>3837.93</c:v>
                </c:pt>
                <c:pt idx="3086">
                  <c:v>3842.61</c:v>
                </c:pt>
                <c:pt idx="3087">
                  <c:v>3829.96</c:v>
                </c:pt>
                <c:pt idx="3088">
                  <c:v>3831.3</c:v>
                </c:pt>
                <c:pt idx="3089">
                  <c:v>3843.14</c:v>
                </c:pt>
                <c:pt idx="3090">
                  <c:v>3832.12</c:v>
                </c:pt>
                <c:pt idx="3091">
                  <c:v>3842.44</c:v>
                </c:pt>
                <c:pt idx="3092">
                  <c:v>3837.82</c:v>
                </c:pt>
                <c:pt idx="3093">
                  <c:v>3837.73</c:v>
                </c:pt>
                <c:pt idx="3094">
                  <c:v>3817.79</c:v>
                </c:pt>
                <c:pt idx="3095">
                  <c:v>3820.78</c:v>
                </c:pt>
                <c:pt idx="3096">
                  <c:v>3821.2</c:v>
                </c:pt>
                <c:pt idx="3097">
                  <c:v>3822.54</c:v>
                </c:pt>
                <c:pt idx="3098">
                  <c:v>3836.5</c:v>
                </c:pt>
                <c:pt idx="3099">
                  <c:v>3882.21</c:v>
                </c:pt>
                <c:pt idx="3100">
                  <c:v>3889.86</c:v>
                </c:pt>
                <c:pt idx="3101">
                  <c:v>3902.69</c:v>
                </c:pt>
                <c:pt idx="3102">
                  <c:v>3912.95</c:v>
                </c:pt>
                <c:pt idx="3103">
                  <c:v>3921</c:v>
                </c:pt>
                <c:pt idx="3104">
                  <c:v>3913.45</c:v>
                </c:pt>
                <c:pt idx="3105">
                  <c:v>3913.07</c:v>
                </c:pt>
                <c:pt idx="3106">
                  <c:v>3944.16</c:v>
                </c:pt>
                <c:pt idx="3107">
                  <c:v>3931.25</c:v>
                </c:pt>
                <c:pt idx="3108">
                  <c:v>3926.85</c:v>
                </c:pt>
                <c:pt idx="3109">
                  <c:v>3930.8</c:v>
                </c:pt>
                <c:pt idx="3110">
                  <c:v>3959.4</c:v>
                </c:pt>
                <c:pt idx="3111">
                  <c:v>3976.95</c:v>
                </c:pt>
                <c:pt idx="3112">
                  <c:v>3993.58</c:v>
                </c:pt>
                <c:pt idx="3113">
                  <c:v>4021.97</c:v>
                </c:pt>
                <c:pt idx="3114">
                  <c:v>4009.72</c:v>
                </c:pt>
                <c:pt idx="3115">
                  <c:v>4006.72</c:v>
                </c:pt>
                <c:pt idx="3116">
                  <c:v>3996.62</c:v>
                </c:pt>
                <c:pt idx="3117">
                  <c:v>3997.13</c:v>
                </c:pt>
                <c:pt idx="3118">
                  <c:v>3992.7</c:v>
                </c:pt>
                <c:pt idx="3119">
                  <c:v>4020.89</c:v>
                </c:pt>
                <c:pt idx="3120">
                  <c:v>4054.25</c:v>
                </c:pt>
                <c:pt idx="3121">
                  <c:v>4048.01</c:v>
                </c:pt>
                <c:pt idx="3122">
                  <c:v>4075.9</c:v>
                </c:pt>
                <c:pt idx="3123">
                  <c:v>4111.91</c:v>
                </c:pt>
                <c:pt idx="3124">
                  <c:v>4128.07</c:v>
                </c:pt>
                <c:pt idx="3125">
                  <c:v>4099.3500000000004</c:v>
                </c:pt>
                <c:pt idx="3126">
                  <c:v>4073.67</c:v>
                </c:pt>
                <c:pt idx="3127">
                  <c:v>4105.01</c:v>
                </c:pt>
                <c:pt idx="3128">
                  <c:v>4120.8500000000004</c:v>
                </c:pt>
                <c:pt idx="3129">
                  <c:v>4143.83</c:v>
                </c:pt>
                <c:pt idx="3130">
                  <c:v>4217.7</c:v>
                </c:pt>
                <c:pt idx="3131">
                  <c:v>4227.57</c:v>
                </c:pt>
                <c:pt idx="3132">
                  <c:v>4102.3999999999996</c:v>
                </c:pt>
                <c:pt idx="3133">
                  <c:v>4104.2</c:v>
                </c:pt>
                <c:pt idx="3134">
                  <c:v>4049.95</c:v>
                </c:pt>
                <c:pt idx="3135">
                  <c:v>4055.82</c:v>
                </c:pt>
                <c:pt idx="3136">
                  <c:v>4053.75</c:v>
                </c:pt>
                <c:pt idx="3137">
                  <c:v>4006.1</c:v>
                </c:pt>
                <c:pt idx="3138">
                  <c:v>3998.14</c:v>
                </c:pt>
                <c:pt idx="3139">
                  <c:v>4018.86</c:v>
                </c:pt>
                <c:pt idx="3140">
                  <c:v>4040.17</c:v>
                </c:pt>
                <c:pt idx="3141">
                  <c:v>4015.82</c:v>
                </c:pt>
                <c:pt idx="3142">
                  <c:v>3971.06</c:v>
                </c:pt>
                <c:pt idx="3143">
                  <c:v>4003.38</c:v>
                </c:pt>
                <c:pt idx="3144">
                  <c:v>4069.5</c:v>
                </c:pt>
                <c:pt idx="3145">
                  <c:v>4016.02</c:v>
                </c:pt>
                <c:pt idx="3146">
                  <c:v>4050.09</c:v>
                </c:pt>
                <c:pt idx="3147">
                  <c:v>4026.15</c:v>
                </c:pt>
                <c:pt idx="3148">
                  <c:v>3980.86</c:v>
                </c:pt>
                <c:pt idx="3149">
                  <c:v>3985.29</c:v>
                </c:pt>
                <c:pt idx="3150">
                  <c:v>4035.33</c:v>
                </c:pt>
                <c:pt idx="3151">
                  <c:v>4030.49</c:v>
                </c:pt>
                <c:pt idx="3152">
                  <c:v>4067.85</c:v>
                </c:pt>
                <c:pt idx="3153">
                  <c:v>4054.6</c:v>
                </c:pt>
                <c:pt idx="3154">
                  <c:v>4041.54</c:v>
                </c:pt>
                <c:pt idx="3155">
                  <c:v>4053.62</c:v>
                </c:pt>
                <c:pt idx="3156">
                  <c:v>3991.21</c:v>
                </c:pt>
                <c:pt idx="3157">
                  <c:v>4018.9</c:v>
                </c:pt>
                <c:pt idx="3158">
                  <c:v>4030.85</c:v>
                </c:pt>
                <c:pt idx="3159">
                  <c:v>4087.4</c:v>
                </c:pt>
                <c:pt idx="3160">
                  <c:v>4111.3900000000003</c:v>
                </c:pt>
                <c:pt idx="3161">
                  <c:v>4128.8100000000004</c:v>
                </c:pt>
                <c:pt idx="3162">
                  <c:v>4138.75</c:v>
                </c:pt>
                <c:pt idx="3163">
                  <c:v>4160.16</c:v>
                </c:pt>
                <c:pt idx="3164">
                  <c:v>4189.3</c:v>
                </c:pt>
                <c:pt idx="3165">
                  <c:v>4207.8100000000004</c:v>
                </c:pt>
                <c:pt idx="3166">
                  <c:v>4205.59</c:v>
                </c:pt>
                <c:pt idx="3167">
                  <c:v>4225</c:v>
                </c:pt>
                <c:pt idx="3168">
                  <c:v>4225.24</c:v>
                </c:pt>
                <c:pt idx="3169">
                  <c:v>4258.47</c:v>
                </c:pt>
                <c:pt idx="3170">
                  <c:v>4248.12</c:v>
                </c:pt>
                <c:pt idx="3171">
                  <c:v>4271.42</c:v>
                </c:pt>
                <c:pt idx="3172">
                  <c:v>4285.3999999999996</c:v>
                </c:pt>
                <c:pt idx="3173">
                  <c:v>4336.6000000000004</c:v>
                </c:pt>
                <c:pt idx="3174">
                  <c:v>4382.6099999999997</c:v>
                </c:pt>
                <c:pt idx="3175">
                  <c:v>4389.8900000000003</c:v>
                </c:pt>
                <c:pt idx="3176">
                  <c:v>4365.08</c:v>
                </c:pt>
                <c:pt idx="3177">
                  <c:v>4381.3</c:v>
                </c:pt>
                <c:pt idx="3178">
                  <c:v>4302.0200000000004</c:v>
                </c:pt>
                <c:pt idx="3179">
                  <c:v>4256.1000000000004</c:v>
                </c:pt>
                <c:pt idx="3180">
                  <c:v>4275.8999999999996</c:v>
                </c:pt>
                <c:pt idx="3181">
                  <c:v>4245.8999999999996</c:v>
                </c:pt>
                <c:pt idx="3182">
                  <c:v>4271.2299999999996</c:v>
                </c:pt>
                <c:pt idx="3183">
                  <c:v>4274.1499999999996</c:v>
                </c:pt>
                <c:pt idx="3184">
                  <c:v>4148.8900000000003</c:v>
                </c:pt>
                <c:pt idx="3185">
                  <c:v>4050.5</c:v>
                </c:pt>
                <c:pt idx="3186">
                  <c:v>4012.05</c:v>
                </c:pt>
                <c:pt idx="3187">
                  <c:v>3840.65</c:v>
                </c:pt>
                <c:pt idx="3188">
                  <c:v>3890.1</c:v>
                </c:pt>
                <c:pt idx="3189">
                  <c:v>3935.63</c:v>
                </c:pt>
                <c:pt idx="3190">
                  <c:v>3966.96</c:v>
                </c:pt>
                <c:pt idx="3191">
                  <c:v>4052.73</c:v>
                </c:pt>
                <c:pt idx="3192">
                  <c:v>4071.09</c:v>
                </c:pt>
                <c:pt idx="3193">
                  <c:v>4118.42</c:v>
                </c:pt>
                <c:pt idx="3194">
                  <c:v>4058.98</c:v>
                </c:pt>
                <c:pt idx="3195">
                  <c:v>4023.64</c:v>
                </c:pt>
                <c:pt idx="3196">
                  <c:v>4049.09</c:v>
                </c:pt>
                <c:pt idx="3197">
                  <c:v>4016.46</c:v>
                </c:pt>
                <c:pt idx="3198">
                  <c:v>4018.1</c:v>
                </c:pt>
                <c:pt idx="3199">
                  <c:v>4066.56</c:v>
                </c:pt>
                <c:pt idx="3200">
                  <c:v>4036.65</c:v>
                </c:pt>
                <c:pt idx="3201">
                  <c:v>4077.6</c:v>
                </c:pt>
                <c:pt idx="3202">
                  <c:v>4108.87</c:v>
                </c:pt>
                <c:pt idx="3203">
                  <c:v>4127.67</c:v>
                </c:pt>
                <c:pt idx="3204">
                  <c:v>4091.25</c:v>
                </c:pt>
                <c:pt idx="3205">
                  <c:v>4073.34</c:v>
                </c:pt>
                <c:pt idx="3206">
                  <c:v>4096.16</c:v>
                </c:pt>
                <c:pt idx="3207">
                  <c:v>4056.42</c:v>
                </c:pt>
                <c:pt idx="3208">
                  <c:v>4074.25</c:v>
                </c:pt>
                <c:pt idx="3209">
                  <c:v>4077.7</c:v>
                </c:pt>
                <c:pt idx="3210">
                  <c:v>4061.05</c:v>
                </c:pt>
                <c:pt idx="3211">
                  <c:v>4020.35</c:v>
                </c:pt>
                <c:pt idx="3212">
                  <c:v>3904.94</c:v>
                </c:pt>
                <c:pt idx="3213">
                  <c:v>3879.89</c:v>
                </c:pt>
                <c:pt idx="3214">
                  <c:v>3913.27</c:v>
                </c:pt>
                <c:pt idx="3215">
                  <c:v>3842.72</c:v>
                </c:pt>
                <c:pt idx="3216">
                  <c:v>3894.05</c:v>
                </c:pt>
                <c:pt idx="3217">
                  <c:v>3898.5</c:v>
                </c:pt>
                <c:pt idx="3218">
                  <c:v>3886.92</c:v>
                </c:pt>
                <c:pt idx="3219">
                  <c:v>3862.48</c:v>
                </c:pt>
                <c:pt idx="3220">
                  <c:v>3854.86</c:v>
                </c:pt>
                <c:pt idx="3221">
                  <c:v>3852.93</c:v>
                </c:pt>
                <c:pt idx="3222">
                  <c:v>3927.17</c:v>
                </c:pt>
                <c:pt idx="3223">
                  <c:v>3938.34</c:v>
                </c:pt>
                <c:pt idx="3224">
                  <c:v>3898.64</c:v>
                </c:pt>
                <c:pt idx="3225">
                  <c:v>3871.14</c:v>
                </c:pt>
                <c:pt idx="3226">
                  <c:v>3808.86</c:v>
                </c:pt>
                <c:pt idx="3227">
                  <c:v>3748.64</c:v>
                </c:pt>
                <c:pt idx="3228">
                  <c:v>3766.28</c:v>
                </c:pt>
                <c:pt idx="3229">
                  <c:v>3811.84</c:v>
                </c:pt>
                <c:pt idx="3230">
                  <c:v>3760.85</c:v>
                </c:pt>
                <c:pt idx="3231">
                  <c:v>3766.33</c:v>
                </c:pt>
                <c:pt idx="3232">
                  <c:v>3843.49</c:v>
                </c:pt>
                <c:pt idx="3233">
                  <c:v>3828.7</c:v>
                </c:pt>
                <c:pt idx="3234">
                  <c:v>3755.49</c:v>
                </c:pt>
                <c:pt idx="3235">
                  <c:v>3756.88</c:v>
                </c:pt>
                <c:pt idx="3236">
                  <c:v>3763.65</c:v>
                </c:pt>
                <c:pt idx="3237">
                  <c:v>3793</c:v>
                </c:pt>
                <c:pt idx="3238">
                  <c:v>3774.6</c:v>
                </c:pt>
                <c:pt idx="3239">
                  <c:v>3834.19</c:v>
                </c:pt>
                <c:pt idx="3240">
                  <c:v>3878.68</c:v>
                </c:pt>
                <c:pt idx="3241">
                  <c:v>3871.62</c:v>
                </c:pt>
                <c:pt idx="3242">
                  <c:v>3893.06</c:v>
                </c:pt>
                <c:pt idx="3243">
                  <c:v>3872.84</c:v>
                </c:pt>
                <c:pt idx="3244">
                  <c:v>3909.29</c:v>
                </c:pt>
                <c:pt idx="3245">
                  <c:v>3924.1</c:v>
                </c:pt>
                <c:pt idx="3246">
                  <c:v>3892.84</c:v>
                </c:pt>
                <c:pt idx="3247">
                  <c:v>3864.05</c:v>
                </c:pt>
                <c:pt idx="3248">
                  <c:v>3903.06</c:v>
                </c:pt>
                <c:pt idx="3249">
                  <c:v>3921.24</c:v>
                </c:pt>
                <c:pt idx="3250">
                  <c:v>3906.21</c:v>
                </c:pt>
                <c:pt idx="3251">
                  <c:v>3854.58</c:v>
                </c:pt>
                <c:pt idx="3252">
                  <c:v>3827.22</c:v>
                </c:pt>
                <c:pt idx="3253">
                  <c:v>3816.5</c:v>
                </c:pt>
                <c:pt idx="3254">
                  <c:v>3833.26</c:v>
                </c:pt>
                <c:pt idx="3255">
                  <c:v>3804.01</c:v>
                </c:pt>
                <c:pt idx="3256">
                  <c:v>3723.37</c:v>
                </c:pt>
                <c:pt idx="3257">
                  <c:v>3802.38</c:v>
                </c:pt>
                <c:pt idx="3258">
                  <c:v>3770.59</c:v>
                </c:pt>
                <c:pt idx="3259">
                  <c:v>3807.58</c:v>
                </c:pt>
                <c:pt idx="3260">
                  <c:v>3845.32</c:v>
                </c:pt>
                <c:pt idx="3261">
                  <c:v>3837.35</c:v>
                </c:pt>
                <c:pt idx="3262">
                  <c:v>3831.01</c:v>
                </c:pt>
                <c:pt idx="3263">
                  <c:v>3779.62</c:v>
                </c:pt>
                <c:pt idx="3264">
                  <c:v>3779.98</c:v>
                </c:pt>
                <c:pt idx="3265">
                  <c:v>3825.95</c:v>
                </c:pt>
                <c:pt idx="3266">
                  <c:v>3788.34</c:v>
                </c:pt>
                <c:pt idx="3267">
                  <c:v>3773.37</c:v>
                </c:pt>
                <c:pt idx="3268">
                  <c:v>3753.43</c:v>
                </c:pt>
                <c:pt idx="3269">
                  <c:v>3621.12</c:v>
                </c:pt>
                <c:pt idx="3270">
                  <c:v>3635.44</c:v>
                </c:pt>
                <c:pt idx="3271">
                  <c:v>3592.97</c:v>
                </c:pt>
                <c:pt idx="3272">
                  <c:v>3608.9</c:v>
                </c:pt>
                <c:pt idx="3273">
                  <c:v>3560.48</c:v>
                </c:pt>
                <c:pt idx="3274">
                  <c:v>3531.11</c:v>
                </c:pt>
                <c:pt idx="3275">
                  <c:v>3459.26</c:v>
                </c:pt>
                <c:pt idx="3276">
                  <c:v>3423.53</c:v>
                </c:pt>
                <c:pt idx="3277">
                  <c:v>3510.98</c:v>
                </c:pt>
                <c:pt idx="3278">
                  <c:v>3407.96</c:v>
                </c:pt>
                <c:pt idx="3279">
                  <c:v>3409.28</c:v>
                </c:pt>
                <c:pt idx="3280">
                  <c:v>3363.75</c:v>
                </c:pt>
                <c:pt idx="3281">
                  <c:v>3342.44</c:v>
                </c:pt>
                <c:pt idx="3282">
                  <c:v>3365.12</c:v>
                </c:pt>
                <c:pt idx="3283">
                  <c:v>3459.18</c:v>
                </c:pt>
                <c:pt idx="3284">
                  <c:v>3467.52</c:v>
                </c:pt>
                <c:pt idx="3285">
                  <c:v>3407.53</c:v>
                </c:pt>
                <c:pt idx="3286">
                  <c:v>3481.06</c:v>
                </c:pt>
                <c:pt idx="3287">
                  <c:v>3492.69</c:v>
                </c:pt>
                <c:pt idx="3288">
                  <c:v>3472.09</c:v>
                </c:pt>
                <c:pt idx="3289">
                  <c:v>3449.38</c:v>
                </c:pt>
                <c:pt idx="3290">
                  <c:v>3431.32</c:v>
                </c:pt>
                <c:pt idx="3291">
                  <c:v>3428.34</c:v>
                </c:pt>
                <c:pt idx="3292">
                  <c:v>3492.89</c:v>
                </c:pt>
                <c:pt idx="3293">
                  <c:v>3525.75</c:v>
                </c:pt>
                <c:pt idx="3294">
                  <c:v>3581.71</c:v>
                </c:pt>
                <c:pt idx="3295">
                  <c:v>3577.75</c:v>
                </c:pt>
                <c:pt idx="3296">
                  <c:v>3536.25</c:v>
                </c:pt>
                <c:pt idx="3297">
                  <c:v>3521.23</c:v>
                </c:pt>
                <c:pt idx="3298">
                  <c:v>3515.08</c:v>
                </c:pt>
                <c:pt idx="3299">
                  <c:v>3517.66</c:v>
                </c:pt>
                <c:pt idx="3300">
                  <c:v>3447.39</c:v>
                </c:pt>
                <c:pt idx="3301">
                  <c:v>3370.96</c:v>
                </c:pt>
                <c:pt idx="3302">
                  <c:v>3315.28</c:v>
                </c:pt>
                <c:pt idx="3303">
                  <c:v>3273.27</c:v>
                </c:pt>
                <c:pt idx="3304">
                  <c:v>3368.87</c:v>
                </c:pt>
                <c:pt idx="3305">
                  <c:v>3314.51</c:v>
                </c:pt>
                <c:pt idx="3306">
                  <c:v>3397.53</c:v>
                </c:pt>
                <c:pt idx="3307">
                  <c:v>3405.02</c:v>
                </c:pt>
                <c:pt idx="3308">
                  <c:v>3390.34</c:v>
                </c:pt>
                <c:pt idx="3309">
                  <c:v>3372.91</c:v>
                </c:pt>
                <c:pt idx="3310">
                  <c:v>3291.98</c:v>
                </c:pt>
                <c:pt idx="3311">
                  <c:v>3276.73</c:v>
                </c:pt>
                <c:pt idx="3312">
                  <c:v>3229.62</c:v>
                </c:pt>
                <c:pt idx="3313">
                  <c:v>3267.25</c:v>
                </c:pt>
                <c:pt idx="3314">
                  <c:v>3326.65</c:v>
                </c:pt>
                <c:pt idx="3315">
                  <c:v>3307.95</c:v>
                </c:pt>
                <c:pt idx="3316">
                  <c:v>3320.03</c:v>
                </c:pt>
                <c:pt idx="3317">
                  <c:v>3325.33</c:v>
                </c:pt>
                <c:pt idx="3318">
                  <c:v>3406.57</c:v>
                </c:pt>
                <c:pt idx="3319">
                  <c:v>3400.17</c:v>
                </c:pt>
                <c:pt idx="3320">
                  <c:v>3386.57</c:v>
                </c:pt>
                <c:pt idx="3321">
                  <c:v>3351.09</c:v>
                </c:pt>
                <c:pt idx="3322">
                  <c:v>3334.5</c:v>
                </c:pt>
                <c:pt idx="3323">
                  <c:v>3321.82</c:v>
                </c:pt>
                <c:pt idx="3324">
                  <c:v>3363.9</c:v>
                </c:pt>
                <c:pt idx="3325">
                  <c:v>3298.14</c:v>
                </c:pt>
                <c:pt idx="3326">
                  <c:v>3262.88</c:v>
                </c:pt>
                <c:pt idx="3327">
                  <c:v>3277.64</c:v>
                </c:pt>
                <c:pt idx="3328">
                  <c:v>3230.07</c:v>
                </c:pt>
                <c:pt idx="3329">
                  <c:v>3224.21</c:v>
                </c:pt>
                <c:pt idx="3330">
                  <c:v>3202.02</c:v>
                </c:pt>
                <c:pt idx="3331">
                  <c:v>3236.57</c:v>
                </c:pt>
                <c:pt idx="3332">
                  <c:v>3242.09</c:v>
                </c:pt>
                <c:pt idx="3333">
                  <c:v>3204.92</c:v>
                </c:pt>
                <c:pt idx="3334">
                  <c:v>3269.43</c:v>
                </c:pt>
                <c:pt idx="3335">
                  <c:v>3312.48</c:v>
                </c:pt>
                <c:pt idx="3336">
                  <c:v>3310.13</c:v>
                </c:pt>
                <c:pt idx="3337">
                  <c:v>3410.49</c:v>
                </c:pt>
                <c:pt idx="3338">
                  <c:v>3379.8</c:v>
                </c:pt>
                <c:pt idx="3339">
                  <c:v>3417.24</c:v>
                </c:pt>
                <c:pt idx="3340">
                  <c:v>3403.59</c:v>
                </c:pt>
                <c:pt idx="3341">
                  <c:v>3438.86</c:v>
                </c:pt>
                <c:pt idx="3342">
                  <c:v>3290.9</c:v>
                </c:pt>
                <c:pt idx="3343">
                  <c:v>3288.69</c:v>
                </c:pt>
                <c:pt idx="3344">
                  <c:v>3281.6</c:v>
                </c:pt>
                <c:pt idx="3345">
                  <c:v>3124.11</c:v>
                </c:pt>
                <c:pt idx="3346">
                  <c:v>3170.73</c:v>
                </c:pt>
                <c:pt idx="3347">
                  <c:v>3126.45</c:v>
                </c:pt>
                <c:pt idx="3348">
                  <c:v>3100.97</c:v>
                </c:pt>
                <c:pt idx="3349">
                  <c:v>3118.25</c:v>
                </c:pt>
                <c:pt idx="3350">
                  <c:v>3044.39</c:v>
                </c:pt>
                <c:pt idx="3351">
                  <c:v>3134.95</c:v>
                </c:pt>
                <c:pt idx="3352">
                  <c:v>3270.27</c:v>
                </c:pt>
                <c:pt idx="3353">
                  <c:v>3183.43</c:v>
                </c:pt>
                <c:pt idx="3354">
                  <c:v>3188.2</c:v>
                </c:pt>
                <c:pt idx="3355">
                  <c:v>3194.31</c:v>
                </c:pt>
                <c:pt idx="3356">
                  <c:v>3173.64</c:v>
                </c:pt>
                <c:pt idx="3357">
                  <c:v>3076.89</c:v>
                </c:pt>
                <c:pt idx="3358">
                  <c:v>3110.26</c:v>
                </c:pt>
                <c:pt idx="3359">
                  <c:v>3153.82</c:v>
                </c:pt>
                <c:pt idx="3360">
                  <c:v>3177.03</c:v>
                </c:pt>
                <c:pt idx="3361">
                  <c:v>3290.25</c:v>
                </c:pt>
                <c:pt idx="3362">
                  <c:v>3262.84</c:v>
                </c:pt>
                <c:pt idx="3363">
                  <c:v>3243.15</c:v>
                </c:pt>
                <c:pt idx="3364">
                  <c:v>3221.91</c:v>
                </c:pt>
                <c:pt idx="3365">
                  <c:v>3212.77</c:v>
                </c:pt>
                <c:pt idx="3366">
                  <c:v>3167.44</c:v>
                </c:pt>
                <c:pt idx="3367">
                  <c:v>3205.14</c:v>
                </c:pt>
                <c:pt idx="3368">
                  <c:v>3237.38</c:v>
                </c:pt>
                <c:pt idx="3369">
                  <c:v>3204.94</c:v>
                </c:pt>
                <c:pt idx="3370">
                  <c:v>3242.37</c:v>
                </c:pt>
                <c:pt idx="3371">
                  <c:v>3257.67</c:v>
                </c:pt>
                <c:pt idx="3372">
                  <c:v>3294.6</c:v>
                </c:pt>
                <c:pt idx="3373">
                  <c:v>3218.41</c:v>
                </c:pt>
                <c:pt idx="3374">
                  <c:v>3226.49</c:v>
                </c:pt>
                <c:pt idx="3375">
                  <c:v>3214.43</c:v>
                </c:pt>
                <c:pt idx="3376">
                  <c:v>3143.48</c:v>
                </c:pt>
                <c:pt idx="3377">
                  <c:v>3141.24</c:v>
                </c:pt>
                <c:pt idx="3378">
                  <c:v>3137.24</c:v>
                </c:pt>
                <c:pt idx="3379">
                  <c:v>3178.93</c:v>
                </c:pt>
                <c:pt idx="3380">
                  <c:v>3137.65</c:v>
                </c:pt>
                <c:pt idx="3381">
                  <c:v>3172.69</c:v>
                </c:pt>
                <c:pt idx="3382">
                  <c:v>3260.95</c:v>
                </c:pt>
                <c:pt idx="3383">
                  <c:v>3267.71</c:v>
                </c:pt>
                <c:pt idx="3384">
                  <c:v>3252</c:v>
                </c:pt>
                <c:pt idx="3385">
                  <c:v>3181.67</c:v>
                </c:pt>
                <c:pt idx="3386">
                  <c:v>3181.56</c:v>
                </c:pt>
                <c:pt idx="3387">
                  <c:v>3144.76</c:v>
                </c:pt>
                <c:pt idx="3388">
                  <c:v>3159.82</c:v>
                </c:pt>
                <c:pt idx="3389">
                  <c:v>3170.61</c:v>
                </c:pt>
                <c:pt idx="3390">
                  <c:v>3219.69</c:v>
                </c:pt>
                <c:pt idx="3391">
                  <c:v>3165.91</c:v>
                </c:pt>
                <c:pt idx="3392">
                  <c:v>3161.2</c:v>
                </c:pt>
                <c:pt idx="3393">
                  <c:v>3128.43</c:v>
                </c:pt>
                <c:pt idx="3394">
                  <c:v>3091.13</c:v>
                </c:pt>
                <c:pt idx="3395">
                  <c:v>3067.42</c:v>
                </c:pt>
                <c:pt idx="3396">
                  <c:v>3029.4</c:v>
                </c:pt>
                <c:pt idx="3397">
                  <c:v>3038.2</c:v>
                </c:pt>
                <c:pt idx="3398">
                  <c:v>3017.28</c:v>
                </c:pt>
                <c:pt idx="3399">
                  <c:v>3002.03</c:v>
                </c:pt>
                <c:pt idx="3400">
                  <c:v>2990.51</c:v>
                </c:pt>
                <c:pt idx="3401">
                  <c:v>3010.65</c:v>
                </c:pt>
                <c:pt idx="3402">
                  <c:v>2969.54</c:v>
                </c:pt>
                <c:pt idx="3403">
                  <c:v>2964.84</c:v>
                </c:pt>
                <c:pt idx="3404">
                  <c:v>3035.87</c:v>
                </c:pt>
                <c:pt idx="3405">
                  <c:v>3054.3</c:v>
                </c:pt>
                <c:pt idx="3406">
                  <c:v>3047.7</c:v>
                </c:pt>
                <c:pt idx="3407">
                  <c:v>3078.48</c:v>
                </c:pt>
                <c:pt idx="3408">
                  <c:v>3072.69</c:v>
                </c:pt>
                <c:pt idx="3409">
                  <c:v>3094.78</c:v>
                </c:pt>
                <c:pt idx="3410">
                  <c:v>3067.78</c:v>
                </c:pt>
                <c:pt idx="3411">
                  <c:v>3127.99</c:v>
                </c:pt>
                <c:pt idx="3412">
                  <c:v>3128.65</c:v>
                </c:pt>
                <c:pt idx="3413">
                  <c:v>3111.42</c:v>
                </c:pt>
                <c:pt idx="3414">
                  <c:v>3168.17</c:v>
                </c:pt>
                <c:pt idx="3415">
                  <c:v>3185.64</c:v>
                </c:pt>
                <c:pt idx="3416">
                  <c:v>3143.32</c:v>
                </c:pt>
                <c:pt idx="3417">
                  <c:v>3141.05</c:v>
                </c:pt>
                <c:pt idx="3418">
                  <c:v>3158.78</c:v>
                </c:pt>
                <c:pt idx="3419">
                  <c:v>3184.47</c:v>
                </c:pt>
                <c:pt idx="3420">
                  <c:v>3183.78</c:v>
                </c:pt>
                <c:pt idx="3421">
                  <c:v>3193.97</c:v>
                </c:pt>
                <c:pt idx="3422">
                  <c:v>3168.48</c:v>
                </c:pt>
                <c:pt idx="3423">
                  <c:v>3201.63</c:v>
                </c:pt>
                <c:pt idx="3424">
                  <c:v>3247.4</c:v>
                </c:pt>
                <c:pt idx="3425">
                  <c:v>3306.47</c:v>
                </c:pt>
                <c:pt idx="3426">
                  <c:v>3330.34</c:v>
                </c:pt>
                <c:pt idx="3427">
                  <c:v>3397.03</c:v>
                </c:pt>
                <c:pt idx="3428">
                  <c:v>3402.14</c:v>
                </c:pt>
                <c:pt idx="3429">
                  <c:v>3338.7</c:v>
                </c:pt>
                <c:pt idx="3430">
                  <c:v>3445.74</c:v>
                </c:pt>
                <c:pt idx="3431">
                  <c:v>3439.61</c:v>
                </c:pt>
                <c:pt idx="3432">
                  <c:v>3451.93</c:v>
                </c:pt>
                <c:pt idx="3433">
                  <c:v>3442.71</c:v>
                </c:pt>
                <c:pt idx="3434">
                  <c:v>3520.12</c:v>
                </c:pt>
                <c:pt idx="3435">
                  <c:v>3729.48</c:v>
                </c:pt>
                <c:pt idx="3436">
                  <c:v>3684.69</c:v>
                </c:pt>
                <c:pt idx="3437">
                  <c:v>3678.39</c:v>
                </c:pt>
                <c:pt idx="3438">
                  <c:v>3669.37</c:v>
                </c:pt>
                <c:pt idx="3439">
                  <c:v>3749.71</c:v>
                </c:pt>
                <c:pt idx="3440">
                  <c:v>3794.1</c:v>
                </c:pt>
                <c:pt idx="3441">
                  <c:v>3816.01</c:v>
                </c:pt>
                <c:pt idx="3442">
                  <c:v>3848.09</c:v>
                </c:pt>
                <c:pt idx="3443">
                  <c:v>3808.85</c:v>
                </c:pt>
                <c:pt idx="3444">
                  <c:v>3657.58</c:v>
                </c:pt>
                <c:pt idx="3445">
                  <c:v>3729.95</c:v>
                </c:pt>
                <c:pt idx="3446">
                  <c:v>3755.35</c:v>
                </c:pt>
                <c:pt idx="3447">
                  <c:v>3724.19</c:v>
                </c:pt>
                <c:pt idx="3448">
                  <c:v>3698.49</c:v>
                </c:pt>
                <c:pt idx="3449">
                  <c:v>3745.01</c:v>
                </c:pt>
                <c:pt idx="3450">
                  <c:v>3851.75</c:v>
                </c:pt>
                <c:pt idx="3451">
                  <c:v>3833.96</c:v>
                </c:pt>
                <c:pt idx="3452">
                  <c:v>3835.44</c:v>
                </c:pt>
                <c:pt idx="3453">
                  <c:v>3836.89</c:v>
                </c:pt>
                <c:pt idx="3454">
                  <c:v>3833.8</c:v>
                </c:pt>
                <c:pt idx="3455">
                  <c:v>3742.83</c:v>
                </c:pt>
                <c:pt idx="3456">
                  <c:v>3700.44</c:v>
                </c:pt>
                <c:pt idx="3457">
                  <c:v>3743.39</c:v>
                </c:pt>
                <c:pt idx="3458">
                  <c:v>3728.4</c:v>
                </c:pt>
                <c:pt idx="3459">
                  <c:v>3872.34</c:v>
                </c:pt>
                <c:pt idx="3460">
                  <c:v>3973.93</c:v>
                </c:pt>
                <c:pt idx="3461">
                  <c:v>3971.29</c:v>
                </c:pt>
                <c:pt idx="3462">
                  <c:v>4022.16</c:v>
                </c:pt>
                <c:pt idx="3463">
                  <c:v>4062.23</c:v>
                </c:pt>
                <c:pt idx="3464">
                  <c:v>4057.23</c:v>
                </c:pt>
                <c:pt idx="3465">
                  <c:v>4075.43</c:v>
                </c:pt>
                <c:pt idx="3466">
                  <c:v>4085.85</c:v>
                </c:pt>
                <c:pt idx="3467">
                  <c:v>3997.58</c:v>
                </c:pt>
                <c:pt idx="3468">
                  <c:v>3988.62</c:v>
                </c:pt>
                <c:pt idx="3469">
                  <c:v>3975.52</c:v>
                </c:pt>
                <c:pt idx="3470">
                  <c:v>4085.79</c:v>
                </c:pt>
                <c:pt idx="3471">
                  <c:v>4087.24</c:v>
                </c:pt>
                <c:pt idx="3472">
                  <c:v>4072.08</c:v>
                </c:pt>
                <c:pt idx="3473">
                  <c:v>4120.6099999999997</c:v>
                </c:pt>
                <c:pt idx="3474">
                  <c:v>4025.61</c:v>
                </c:pt>
                <c:pt idx="3475">
                  <c:v>4019.01</c:v>
                </c:pt>
                <c:pt idx="3476">
                  <c:v>4030.09</c:v>
                </c:pt>
                <c:pt idx="3477">
                  <c:v>3941.82</c:v>
                </c:pt>
                <c:pt idx="3478">
                  <c:v>3889.27</c:v>
                </c:pt>
                <c:pt idx="3479">
                  <c:v>3900.33</c:v>
                </c:pt>
                <c:pt idx="3480">
                  <c:v>3913.21</c:v>
                </c:pt>
                <c:pt idx="3481">
                  <c:v>3684.62</c:v>
                </c:pt>
                <c:pt idx="3482">
                  <c:v>3720.67</c:v>
                </c:pt>
                <c:pt idx="3483">
                  <c:v>3667.46</c:v>
                </c:pt>
                <c:pt idx="3484">
                  <c:v>3599.7</c:v>
                </c:pt>
                <c:pt idx="3485">
                  <c:v>3730.45</c:v>
                </c:pt>
                <c:pt idx="3486">
                  <c:v>3668.73</c:v>
                </c:pt>
                <c:pt idx="3487">
                  <c:v>3645.15</c:v>
                </c:pt>
                <c:pt idx="3488">
                  <c:v>3727.09</c:v>
                </c:pt>
                <c:pt idx="3489">
                  <c:v>3743.96</c:v>
                </c:pt>
                <c:pt idx="3490">
                  <c:v>3648.76</c:v>
                </c:pt>
                <c:pt idx="3491">
                  <c:v>3617.79</c:v>
                </c:pt>
                <c:pt idx="3492">
                  <c:v>3666.78</c:v>
                </c:pt>
                <c:pt idx="3493">
                  <c:v>3649.38</c:v>
                </c:pt>
                <c:pt idx="3494">
                  <c:v>3583.96</c:v>
                </c:pt>
                <c:pt idx="3495">
                  <c:v>3593.91</c:v>
                </c:pt>
                <c:pt idx="3496">
                  <c:v>3637.2</c:v>
                </c:pt>
                <c:pt idx="3497">
                  <c:v>3672.26</c:v>
                </c:pt>
                <c:pt idx="3498">
                  <c:v>3663.91</c:v>
                </c:pt>
                <c:pt idx="3499">
                  <c:v>3641.18</c:v>
                </c:pt>
                <c:pt idx="3500">
                  <c:v>3629.79</c:v>
                </c:pt>
                <c:pt idx="3501">
                  <c:v>3632.01</c:v>
                </c:pt>
                <c:pt idx="3502">
                  <c:v>3598.47</c:v>
                </c:pt>
                <c:pt idx="3503">
                  <c:v>3597.11</c:v>
                </c:pt>
                <c:pt idx="3504">
                  <c:v>3564.68</c:v>
                </c:pt>
                <c:pt idx="3505">
                  <c:v>3610.74</c:v>
                </c:pt>
                <c:pt idx="3506">
                  <c:v>3719.28</c:v>
                </c:pt>
                <c:pt idx="3507">
                  <c:v>3691.1</c:v>
                </c:pt>
                <c:pt idx="3508">
                  <c:v>3685.39</c:v>
                </c:pt>
                <c:pt idx="3509">
                  <c:v>3654.88</c:v>
                </c:pt>
                <c:pt idx="3510">
                  <c:v>3654.82</c:v>
                </c:pt>
                <c:pt idx="3511">
                  <c:v>3667.62</c:v>
                </c:pt>
                <c:pt idx="3512">
                  <c:v>3715.94</c:v>
                </c:pt>
                <c:pt idx="3513">
                  <c:v>3828.52</c:v>
                </c:pt>
                <c:pt idx="3514">
                  <c:v>3833.94</c:v>
                </c:pt>
                <c:pt idx="3515">
                  <c:v>3841.27</c:v>
                </c:pt>
                <c:pt idx="3516">
                  <c:v>3801.31</c:v>
                </c:pt>
                <c:pt idx="3517">
                  <c:v>3794.33</c:v>
                </c:pt>
                <c:pt idx="3518">
                  <c:v>3834.82</c:v>
                </c:pt>
                <c:pt idx="3519">
                  <c:v>3825.59</c:v>
                </c:pt>
                <c:pt idx="3520">
                  <c:v>3935.81</c:v>
                </c:pt>
                <c:pt idx="3521">
                  <c:v>3937.17</c:v>
                </c:pt>
                <c:pt idx="3522">
                  <c:v>3893.53</c:v>
                </c:pt>
                <c:pt idx="3523">
                  <c:v>3873.1</c:v>
                </c:pt>
                <c:pt idx="3524">
                  <c:v>3893.2</c:v>
                </c:pt>
                <c:pt idx="3525">
                  <c:v>3802.79</c:v>
                </c:pt>
                <c:pt idx="3526">
                  <c:v>3793.13</c:v>
                </c:pt>
                <c:pt idx="3527">
                  <c:v>3786.74</c:v>
                </c:pt>
                <c:pt idx="3528">
                  <c:v>3785.22</c:v>
                </c:pt>
                <c:pt idx="3529">
                  <c:v>3808.73</c:v>
                </c:pt>
                <c:pt idx="3530">
                  <c:v>3824.19</c:v>
                </c:pt>
                <c:pt idx="3531">
                  <c:v>3806.84</c:v>
                </c:pt>
                <c:pt idx="3532">
                  <c:v>3804.64</c:v>
                </c:pt>
                <c:pt idx="3533">
                  <c:v>3768.4</c:v>
                </c:pt>
                <c:pt idx="3534">
                  <c:v>3807.96</c:v>
                </c:pt>
                <c:pt idx="3535">
                  <c:v>3781.68</c:v>
                </c:pt>
                <c:pt idx="3536">
                  <c:v>3789.91</c:v>
                </c:pt>
                <c:pt idx="3537">
                  <c:v>3819.83</c:v>
                </c:pt>
                <c:pt idx="3538">
                  <c:v>3851.07</c:v>
                </c:pt>
                <c:pt idx="3539">
                  <c:v>3858.57</c:v>
                </c:pt>
                <c:pt idx="3540">
                  <c:v>3854.27</c:v>
                </c:pt>
                <c:pt idx="3541">
                  <c:v>3870.32</c:v>
                </c:pt>
                <c:pt idx="3542">
                  <c:v>3835.36</c:v>
                </c:pt>
                <c:pt idx="3543">
                  <c:v>3803.47</c:v>
                </c:pt>
                <c:pt idx="3544">
                  <c:v>3747.44</c:v>
                </c:pt>
                <c:pt idx="3545">
                  <c:v>3675.69</c:v>
                </c:pt>
                <c:pt idx="3546">
                  <c:v>3636.33</c:v>
                </c:pt>
                <c:pt idx="3547">
                  <c:v>3621.43</c:v>
                </c:pt>
                <c:pt idx="3548">
                  <c:v>3669.29</c:v>
                </c:pt>
                <c:pt idx="3549">
                  <c:v>3633.53</c:v>
                </c:pt>
                <c:pt idx="3550">
                  <c:v>3699.1</c:v>
                </c:pt>
                <c:pt idx="3551">
                  <c:v>3665.75</c:v>
                </c:pt>
                <c:pt idx="3552">
                  <c:v>3682.4</c:v>
                </c:pt>
                <c:pt idx="3553">
                  <c:v>3694</c:v>
                </c:pt>
                <c:pt idx="3554">
                  <c:v>3710.54</c:v>
                </c:pt>
                <c:pt idx="3555">
                  <c:v>3791.09</c:v>
                </c:pt>
                <c:pt idx="3556">
                  <c:v>3787.73</c:v>
                </c:pt>
                <c:pt idx="3557">
                  <c:v>3781.76</c:v>
                </c:pt>
                <c:pt idx="3558">
                  <c:v>3793.51</c:v>
                </c:pt>
                <c:pt idx="3559">
                  <c:v>3820.86</c:v>
                </c:pt>
                <c:pt idx="3560">
                  <c:v>3765.91</c:v>
                </c:pt>
                <c:pt idx="3561">
                  <c:v>3816.95</c:v>
                </c:pt>
                <c:pt idx="3562">
                  <c:v>3802.58</c:v>
                </c:pt>
                <c:pt idx="3563">
                  <c:v>3790.19</c:v>
                </c:pt>
                <c:pt idx="3564">
                  <c:v>3799.59</c:v>
                </c:pt>
                <c:pt idx="3565">
                  <c:v>3848.32</c:v>
                </c:pt>
                <c:pt idx="3566">
                  <c:v>3853.61</c:v>
                </c:pt>
                <c:pt idx="3567">
                  <c:v>3886</c:v>
                </c:pt>
                <c:pt idx="3568">
                  <c:v>3925.32</c:v>
                </c:pt>
                <c:pt idx="3569">
                  <c:v>3948.51</c:v>
                </c:pt>
                <c:pt idx="3570">
                  <c:v>3972.95</c:v>
                </c:pt>
                <c:pt idx="3571">
                  <c:v>3959.27</c:v>
                </c:pt>
                <c:pt idx="3572">
                  <c:v>3930.1</c:v>
                </c:pt>
                <c:pt idx="3573">
                  <c:v>3972.38</c:v>
                </c:pt>
                <c:pt idx="3574">
                  <c:v>3957.72</c:v>
                </c:pt>
                <c:pt idx="3575">
                  <c:v>3891.22</c:v>
                </c:pt>
                <c:pt idx="3576">
                  <c:v>3910.08</c:v>
                </c:pt>
                <c:pt idx="3577">
                  <c:v>3924.38</c:v>
                </c:pt>
                <c:pt idx="3578">
                  <c:v>3935.65</c:v>
                </c:pt>
                <c:pt idx="3579">
                  <c:v>3890.66</c:v>
                </c:pt>
                <c:pt idx="3580">
                  <c:v>3901.08</c:v>
                </c:pt>
                <c:pt idx="3581">
                  <c:v>3870.98</c:v>
                </c:pt>
                <c:pt idx="3582">
                  <c:v>3841.14</c:v>
                </c:pt>
                <c:pt idx="3583">
                  <c:v>3852.65</c:v>
                </c:pt>
                <c:pt idx="3584">
                  <c:v>3814.53</c:v>
                </c:pt>
                <c:pt idx="3585">
                  <c:v>3837.68</c:v>
                </c:pt>
                <c:pt idx="3586">
                  <c:v>3843.24</c:v>
                </c:pt>
                <c:pt idx="3587">
                  <c:v>3874.64</c:v>
                </c:pt>
                <c:pt idx="3588">
                  <c:v>3911.73</c:v>
                </c:pt>
                <c:pt idx="3589">
                  <c:v>3953.24</c:v>
                </c:pt>
                <c:pt idx="3590">
                  <c:v>3936.25</c:v>
                </c:pt>
                <c:pt idx="3591">
                  <c:v>3922.69</c:v>
                </c:pt>
                <c:pt idx="3592">
                  <c:v>3925.22</c:v>
                </c:pt>
                <c:pt idx="3593">
                  <c:v>3869.38</c:v>
                </c:pt>
                <c:pt idx="3594">
                  <c:v>3880.84</c:v>
                </c:pt>
                <c:pt idx="3595">
                  <c:v>3895.88</c:v>
                </c:pt>
                <c:pt idx="3596">
                  <c:v>3871.08</c:v>
                </c:pt>
                <c:pt idx="3597">
                  <c:v>3870.67</c:v>
                </c:pt>
                <c:pt idx="3598">
                  <c:v>3896.79</c:v>
                </c:pt>
                <c:pt idx="3599">
                  <c:v>3926.59</c:v>
                </c:pt>
                <c:pt idx="3600">
                  <c:v>3910.23</c:v>
                </c:pt>
                <c:pt idx="3601">
                  <c:v>3891.23</c:v>
                </c:pt>
                <c:pt idx="3602">
                  <c:v>3886.75</c:v>
                </c:pt>
                <c:pt idx="3603">
                  <c:v>3952.39</c:v>
                </c:pt>
                <c:pt idx="3604">
                  <c:v>3978.12</c:v>
                </c:pt>
                <c:pt idx="3605">
                  <c:v>4002.81</c:v>
                </c:pt>
                <c:pt idx="3606">
                  <c:v>3984.88</c:v>
                </c:pt>
                <c:pt idx="3607">
                  <c:v>3991.87</c:v>
                </c:pt>
                <c:pt idx="3608">
                  <c:v>3973.01</c:v>
                </c:pt>
                <c:pt idx="3609">
                  <c:v>3902.98</c:v>
                </c:pt>
                <c:pt idx="3610">
                  <c:v>3903.69</c:v>
                </c:pt>
                <c:pt idx="3611">
                  <c:v>3899.98</c:v>
                </c:pt>
                <c:pt idx="3612">
                  <c:v>3905.86</c:v>
                </c:pt>
                <c:pt idx="3613">
                  <c:v>3877.09</c:v>
                </c:pt>
                <c:pt idx="3614">
                  <c:v>3907.93</c:v>
                </c:pt>
                <c:pt idx="3615">
                  <c:v>3947.04</c:v>
                </c:pt>
                <c:pt idx="3616">
                  <c:v>3907.86</c:v>
                </c:pt>
                <c:pt idx="3617">
                  <c:v>3889.6</c:v>
                </c:pt>
                <c:pt idx="3618">
                  <c:v>3849.99</c:v>
                </c:pt>
                <c:pt idx="3619">
                  <c:v>3878.21</c:v>
                </c:pt>
                <c:pt idx="3620">
                  <c:v>3891.65</c:v>
                </c:pt>
                <c:pt idx="3621">
                  <c:v>3875.62</c:v>
                </c:pt>
                <c:pt idx="3622">
                  <c:v>3862.3</c:v>
                </c:pt>
                <c:pt idx="3623">
                  <c:v>3828.67</c:v>
                </c:pt>
                <c:pt idx="3624">
                  <c:v>3836.06</c:v>
                </c:pt>
                <c:pt idx="3625">
                  <c:v>3851.09</c:v>
                </c:pt>
                <c:pt idx="3626">
                  <c:v>3849.82</c:v>
                </c:pt>
                <c:pt idx="3627">
                  <c:v>3879.36</c:v>
                </c:pt>
                <c:pt idx="3628">
                  <c:v>3902.39</c:v>
                </c:pt>
                <c:pt idx="3629">
                  <c:v>3895.45</c:v>
                </c:pt>
                <c:pt idx="3630">
                  <c:v>3900.38</c:v>
                </c:pt>
                <c:pt idx="3631">
                  <c:v>3902.75</c:v>
                </c:pt>
                <c:pt idx="3632">
                  <c:v>3891.02</c:v>
                </c:pt>
                <c:pt idx="3633">
                  <c:v>3968.22</c:v>
                </c:pt>
                <c:pt idx="3634">
                  <c:v>3987.55</c:v>
                </c:pt>
                <c:pt idx="3635">
                  <c:v>4041.8</c:v>
                </c:pt>
                <c:pt idx="3636">
                  <c:v>4032.78</c:v>
                </c:pt>
                <c:pt idx="3637">
                  <c:v>4027.15</c:v>
                </c:pt>
                <c:pt idx="3638">
                  <c:v>4017.25</c:v>
                </c:pt>
                <c:pt idx="3639">
                  <c:v>3967.1</c:v>
                </c:pt>
                <c:pt idx="3640">
                  <c:v>3992.96</c:v>
                </c:pt>
                <c:pt idx="3641">
                  <c:v>3990.87</c:v>
                </c:pt>
                <c:pt idx="3642">
                  <c:v>4025.99</c:v>
                </c:pt>
                <c:pt idx="3643">
                  <c:v>4022.03</c:v>
                </c:pt>
                <c:pt idx="3644">
                  <c:v>4081.63</c:v>
                </c:pt>
                <c:pt idx="3645">
                  <c:v>4096.58</c:v>
                </c:pt>
                <c:pt idx="3646">
                  <c:v>4152.24</c:v>
                </c:pt>
                <c:pt idx="3647">
                  <c:v>4144.96</c:v>
                </c:pt>
                <c:pt idx="3648">
                  <c:v>4129.3</c:v>
                </c:pt>
                <c:pt idx="3649">
                  <c:v>4160.2299999999996</c:v>
                </c:pt>
                <c:pt idx="3650">
                  <c:v>4112.32</c:v>
                </c:pt>
                <c:pt idx="3651">
                  <c:v>4164.37</c:v>
                </c:pt>
                <c:pt idx="3652">
                  <c:v>4163.18</c:v>
                </c:pt>
                <c:pt idx="3653">
                  <c:v>4203.99</c:v>
                </c:pt>
                <c:pt idx="3654">
                  <c:v>4189.8900000000003</c:v>
                </c:pt>
                <c:pt idx="3655">
                  <c:v>4166.7299999999996</c:v>
                </c:pt>
                <c:pt idx="3656">
                  <c:v>4149.04</c:v>
                </c:pt>
                <c:pt idx="3657">
                  <c:v>4154.8500000000004</c:v>
                </c:pt>
                <c:pt idx="3658">
                  <c:v>4185.83</c:v>
                </c:pt>
                <c:pt idx="3659">
                  <c:v>4114.3100000000004</c:v>
                </c:pt>
                <c:pt idx="3660">
                  <c:v>4131.93</c:v>
                </c:pt>
                <c:pt idx="3661">
                  <c:v>4003.9</c:v>
                </c:pt>
                <c:pt idx="3662">
                  <c:v>3688.36</c:v>
                </c:pt>
                <c:pt idx="3663">
                  <c:v>3785.64</c:v>
                </c:pt>
                <c:pt idx="3664">
                  <c:v>3828.53</c:v>
                </c:pt>
                <c:pt idx="3665">
                  <c:v>3899.78</c:v>
                </c:pt>
                <c:pt idx="3666">
                  <c:v>3899.87</c:v>
                </c:pt>
                <c:pt idx="3667">
                  <c:v>3916.01</c:v>
                </c:pt>
                <c:pt idx="3668">
                  <c:v>3952.46</c:v>
                </c:pt>
                <c:pt idx="3669">
                  <c:v>3984.43</c:v>
                </c:pt>
                <c:pt idx="3670">
                  <c:v>3959.92</c:v>
                </c:pt>
                <c:pt idx="3671">
                  <c:v>3987.73</c:v>
                </c:pt>
                <c:pt idx="3672">
                  <c:v>4077.42</c:v>
                </c:pt>
                <c:pt idx="3673">
                  <c:v>4057.51</c:v>
                </c:pt>
                <c:pt idx="3674">
                  <c:v>4051.31</c:v>
                </c:pt>
                <c:pt idx="3675">
                  <c:v>4144.66</c:v>
                </c:pt>
                <c:pt idx="3676">
                  <c:v>4149.49</c:v>
                </c:pt>
                <c:pt idx="3677">
                  <c:v>4132.84</c:v>
                </c:pt>
                <c:pt idx="3678">
                  <c:v>4123.8500000000004</c:v>
                </c:pt>
                <c:pt idx="3679">
                  <c:v>4073.02</c:v>
                </c:pt>
                <c:pt idx="3680">
                  <c:v>4084.88</c:v>
                </c:pt>
                <c:pt idx="3681">
                  <c:v>3940.05</c:v>
                </c:pt>
                <c:pt idx="3682">
                  <c:v>4069.67</c:v>
                </c:pt>
                <c:pt idx="3683">
                  <c:v>4091.36</c:v>
                </c:pt>
                <c:pt idx="3684">
                  <c:v>4115.05</c:v>
                </c:pt>
                <c:pt idx="3685">
                  <c:v>4206.7299999999996</c:v>
                </c:pt>
                <c:pt idx="3686">
                  <c:v>4138.51</c:v>
                </c:pt>
                <c:pt idx="3687">
                  <c:v>3997.13</c:v>
                </c:pt>
                <c:pt idx="3688">
                  <c:v>4082.73</c:v>
                </c:pt>
                <c:pt idx="3689">
                  <c:v>4028.43</c:v>
                </c:pt>
                <c:pt idx="3690">
                  <c:v>3950.91</c:v>
                </c:pt>
                <c:pt idx="3691">
                  <c:v>3895.31</c:v>
                </c:pt>
                <c:pt idx="3692">
                  <c:v>3727.84</c:v>
                </c:pt>
                <c:pt idx="3693">
                  <c:v>3709.68</c:v>
                </c:pt>
                <c:pt idx="3694">
                  <c:v>3636.26</c:v>
                </c:pt>
                <c:pt idx="3695">
                  <c:v>3589.09</c:v>
                </c:pt>
                <c:pt idx="3696">
                  <c:v>3653.22</c:v>
                </c:pt>
                <c:pt idx="3697">
                  <c:v>3530.31</c:v>
                </c:pt>
                <c:pt idx="3698">
                  <c:v>3625.11</c:v>
                </c:pt>
                <c:pt idx="3699">
                  <c:v>3722.52</c:v>
                </c:pt>
                <c:pt idx="3700">
                  <c:v>3698.05</c:v>
                </c:pt>
                <c:pt idx="3701">
                  <c:v>3710.06</c:v>
                </c:pt>
                <c:pt idx="3702">
                  <c:v>3674.11</c:v>
                </c:pt>
                <c:pt idx="3703">
                  <c:v>3686.16</c:v>
                </c:pt>
                <c:pt idx="3704">
                  <c:v>3675.08</c:v>
                </c:pt>
                <c:pt idx="3705">
                  <c:v>3734.53</c:v>
                </c:pt>
                <c:pt idx="3706">
                  <c:v>3713.22</c:v>
                </c:pt>
                <c:pt idx="3707">
                  <c:v>3798.02</c:v>
                </c:pt>
                <c:pt idx="3708">
                  <c:v>3780.34</c:v>
                </c:pt>
                <c:pt idx="3709">
                  <c:v>3792.81</c:v>
                </c:pt>
                <c:pt idx="3710">
                  <c:v>3769.18</c:v>
                </c:pt>
                <c:pt idx="3711">
                  <c:v>3753.26</c:v>
                </c:pt>
                <c:pt idx="3712">
                  <c:v>3825.7</c:v>
                </c:pt>
                <c:pt idx="3713">
                  <c:v>3797.36</c:v>
                </c:pt>
                <c:pt idx="3714">
                  <c:v>3802.38</c:v>
                </c:pt>
                <c:pt idx="3715">
                  <c:v>3839.49</c:v>
                </c:pt>
                <c:pt idx="3716">
                  <c:v>3853.46</c:v>
                </c:pt>
                <c:pt idx="3717">
                  <c:v>3808.05</c:v>
                </c:pt>
                <c:pt idx="3718">
                  <c:v>3839.38</c:v>
                </c:pt>
                <c:pt idx="3719">
                  <c:v>3829.75</c:v>
                </c:pt>
                <c:pt idx="3720">
                  <c:v>3796.97</c:v>
                </c:pt>
                <c:pt idx="3721">
                  <c:v>3822.77</c:v>
                </c:pt>
                <c:pt idx="3722">
                  <c:v>3849.15</c:v>
                </c:pt>
                <c:pt idx="3723">
                  <c:v>3867.03</c:v>
                </c:pt>
                <c:pt idx="3724">
                  <c:v>3912.58</c:v>
                </c:pt>
                <c:pt idx="3725">
                  <c:v>3936.25</c:v>
                </c:pt>
                <c:pt idx="3726">
                  <c:v>3924.89</c:v>
                </c:pt>
                <c:pt idx="3727">
                  <c:v>3963.62</c:v>
                </c:pt>
                <c:pt idx="3728">
                  <c:v>3960.18</c:v>
                </c:pt>
                <c:pt idx="3729">
                  <c:v>3960.24</c:v>
                </c:pt>
                <c:pt idx="3730">
                  <c:v>3968.25</c:v>
                </c:pt>
                <c:pt idx="3731">
                  <c:v>3925.22</c:v>
                </c:pt>
                <c:pt idx="3732">
                  <c:v>3912.82</c:v>
                </c:pt>
                <c:pt idx="3733">
                  <c:v>3922.91</c:v>
                </c:pt>
                <c:pt idx="3734">
                  <c:v>3956.25</c:v>
                </c:pt>
                <c:pt idx="3735">
                  <c:v>3935.22</c:v>
                </c:pt>
                <c:pt idx="3736">
                  <c:v>3913.79</c:v>
                </c:pt>
                <c:pt idx="3737">
                  <c:v>3824.06</c:v>
                </c:pt>
                <c:pt idx="3738">
                  <c:v>3829.32</c:v>
                </c:pt>
                <c:pt idx="3739">
                  <c:v>3872.77</c:v>
                </c:pt>
                <c:pt idx="3740">
                  <c:v>3845.61</c:v>
                </c:pt>
                <c:pt idx="3741">
                  <c:v>3856.63</c:v>
                </c:pt>
                <c:pt idx="3742">
                  <c:v>3867.02</c:v>
                </c:pt>
                <c:pt idx="3743">
                  <c:v>3971.34</c:v>
                </c:pt>
                <c:pt idx="3744">
                  <c:v>3983.57</c:v>
                </c:pt>
                <c:pt idx="3745">
                  <c:v>3983.65</c:v>
                </c:pt>
                <c:pt idx="3746">
                  <c:v>3982.19</c:v>
                </c:pt>
                <c:pt idx="3747">
                  <c:v>4001.25</c:v>
                </c:pt>
                <c:pt idx="3748">
                  <c:v>4021.95</c:v>
                </c:pt>
                <c:pt idx="3749">
                  <c:v>4047.03</c:v>
                </c:pt>
                <c:pt idx="3750">
                  <c:v>4039.71</c:v>
                </c:pt>
                <c:pt idx="3751">
                  <c:v>3995.88</c:v>
                </c:pt>
                <c:pt idx="3752">
                  <c:v>4003.08</c:v>
                </c:pt>
                <c:pt idx="3753">
                  <c:v>3954.99</c:v>
                </c:pt>
                <c:pt idx="3754">
                  <c:v>4014.57</c:v>
                </c:pt>
                <c:pt idx="3755">
                  <c:v>4017.59</c:v>
                </c:pt>
                <c:pt idx="3756">
                  <c:v>4044.38</c:v>
                </c:pt>
                <c:pt idx="3757">
                  <c:v>4098.71</c:v>
                </c:pt>
                <c:pt idx="3758">
                  <c:v>4102.05</c:v>
                </c:pt>
                <c:pt idx="3759">
                  <c:v>4121.79</c:v>
                </c:pt>
                <c:pt idx="3760">
                  <c:v>4138.99</c:v>
                </c:pt>
                <c:pt idx="3761">
                  <c:v>4109.72</c:v>
                </c:pt>
                <c:pt idx="3762">
                  <c:v>4163.96</c:v>
                </c:pt>
                <c:pt idx="3763">
                  <c:v>4247.78</c:v>
                </c:pt>
                <c:pt idx="3764">
                  <c:v>4335.84</c:v>
                </c:pt>
                <c:pt idx="3765">
                  <c:v>4419.6000000000004</c:v>
                </c:pt>
                <c:pt idx="3766">
                  <c:v>4670.09</c:v>
                </c:pt>
                <c:pt idx="3767">
                  <c:v>4698.13</c:v>
                </c:pt>
                <c:pt idx="3768">
                  <c:v>4774</c:v>
                </c:pt>
                <c:pt idx="3769">
                  <c:v>4840.7700000000004</c:v>
                </c:pt>
                <c:pt idx="3770">
                  <c:v>4753.13</c:v>
                </c:pt>
                <c:pt idx="3771">
                  <c:v>4852.96</c:v>
                </c:pt>
                <c:pt idx="3772">
                  <c:v>4806.6899999999996</c:v>
                </c:pt>
                <c:pt idx="3773">
                  <c:v>4744.47</c:v>
                </c:pt>
                <c:pt idx="3774">
                  <c:v>4516.25</c:v>
                </c:pt>
                <c:pt idx="3775">
                  <c:v>4544.7</c:v>
                </c:pt>
                <c:pt idx="3776">
                  <c:v>4680.3</c:v>
                </c:pt>
                <c:pt idx="3777">
                  <c:v>4691.04</c:v>
                </c:pt>
                <c:pt idx="3778">
                  <c:v>4714.45</c:v>
                </c:pt>
                <c:pt idx="3779">
                  <c:v>4712.4399999999996</c:v>
                </c:pt>
                <c:pt idx="3780">
                  <c:v>4505.59</c:v>
                </c:pt>
                <c:pt idx="3781">
                  <c:v>4528.45</c:v>
                </c:pt>
                <c:pt idx="3782">
                  <c:v>4568.26</c:v>
                </c:pt>
                <c:pt idx="3783">
                  <c:v>4679.01</c:v>
                </c:pt>
                <c:pt idx="3784">
                  <c:v>4656.1499999999996</c:v>
                </c:pt>
                <c:pt idx="3785">
                  <c:v>4695.05</c:v>
                </c:pt>
                <c:pt idx="3786">
                  <c:v>4771.3100000000004</c:v>
                </c:pt>
                <c:pt idx="3787">
                  <c:v>4775.8</c:v>
                </c:pt>
                <c:pt idx="3788">
                  <c:v>4777.1099999999997</c:v>
                </c:pt>
                <c:pt idx="3789">
                  <c:v>4762.76</c:v>
                </c:pt>
                <c:pt idx="3790">
                  <c:v>4707.93</c:v>
                </c:pt>
                <c:pt idx="3791">
                  <c:v>4724.87</c:v>
                </c:pt>
                <c:pt idx="3792">
                  <c:v>4681.78</c:v>
                </c:pt>
                <c:pt idx="3793">
                  <c:v>4647.6400000000003</c:v>
                </c:pt>
                <c:pt idx="3794">
                  <c:v>4635.71</c:v>
                </c:pt>
                <c:pt idx="3795">
                  <c:v>4704.63</c:v>
                </c:pt>
                <c:pt idx="3796">
                  <c:v>4815.2299999999996</c:v>
                </c:pt>
                <c:pt idx="3797">
                  <c:v>4812.76</c:v>
                </c:pt>
                <c:pt idx="3798">
                  <c:v>4740.68</c:v>
                </c:pt>
                <c:pt idx="3799">
                  <c:v>4679.1499999999996</c:v>
                </c:pt>
                <c:pt idx="3800">
                  <c:v>4718.84</c:v>
                </c:pt>
                <c:pt idx="3801">
                  <c:v>4755.8500000000004</c:v>
                </c:pt>
                <c:pt idx="3802">
                  <c:v>4761.95</c:v>
                </c:pt>
                <c:pt idx="3803">
                  <c:v>4706.13</c:v>
                </c:pt>
                <c:pt idx="3804">
                  <c:v>4731.3500000000004</c:v>
                </c:pt>
                <c:pt idx="3805">
                  <c:v>4844.2700000000004</c:v>
                </c:pt>
                <c:pt idx="3806">
                  <c:v>4816.22</c:v>
                </c:pt>
                <c:pt idx="3807">
                  <c:v>4842.12</c:v>
                </c:pt>
                <c:pt idx="3808">
                  <c:v>4843.8900000000003</c:v>
                </c:pt>
                <c:pt idx="3809">
                  <c:v>4817.1000000000004</c:v>
                </c:pt>
                <c:pt idx="3810">
                  <c:v>4770.22</c:v>
                </c:pt>
                <c:pt idx="3811">
                  <c:v>4669.37</c:v>
                </c:pt>
                <c:pt idx="3812">
                  <c:v>4694.3900000000003</c:v>
                </c:pt>
                <c:pt idx="3813">
                  <c:v>4584.59</c:v>
                </c:pt>
                <c:pt idx="3814">
                  <c:v>4581.9799999999996</c:v>
                </c:pt>
                <c:pt idx="3815">
                  <c:v>4627.28</c:v>
                </c:pt>
                <c:pt idx="3816">
                  <c:v>4651.05</c:v>
                </c:pt>
                <c:pt idx="3817">
                  <c:v>4688.4799999999996</c:v>
                </c:pt>
                <c:pt idx="3818">
                  <c:v>4657.3599999999997</c:v>
                </c:pt>
                <c:pt idx="3819">
                  <c:v>4632.71</c:v>
                </c:pt>
                <c:pt idx="3820">
                  <c:v>4737.09</c:v>
                </c:pt>
                <c:pt idx="3821">
                  <c:v>4691.43</c:v>
                </c:pt>
                <c:pt idx="3822">
                  <c:v>4635.76</c:v>
                </c:pt>
                <c:pt idx="3823">
                  <c:v>4652.33</c:v>
                </c:pt>
                <c:pt idx="3824">
                  <c:v>4563.07</c:v>
                </c:pt>
                <c:pt idx="3825">
                  <c:v>4570.0200000000004</c:v>
                </c:pt>
                <c:pt idx="3826">
                  <c:v>4581.91</c:v>
                </c:pt>
                <c:pt idx="3827">
                  <c:v>4591.8</c:v>
                </c:pt>
                <c:pt idx="3828">
                  <c:v>4587.3999999999996</c:v>
                </c:pt>
                <c:pt idx="3829">
                  <c:v>4681.1400000000003</c:v>
                </c:pt>
                <c:pt idx="3830">
                  <c:v>4823.16</c:v>
                </c:pt>
                <c:pt idx="3831">
                  <c:v>4839.2</c:v>
                </c:pt>
                <c:pt idx="3832">
                  <c:v>4807.1000000000004</c:v>
                </c:pt>
                <c:pt idx="3833">
                  <c:v>4798.74</c:v>
                </c:pt>
                <c:pt idx="3834">
                  <c:v>4791.68</c:v>
                </c:pt>
                <c:pt idx="3835">
                  <c:v>4755.49</c:v>
                </c:pt>
                <c:pt idx="3836">
                  <c:v>4793.47</c:v>
                </c:pt>
                <c:pt idx="3837">
                  <c:v>4792.83</c:v>
                </c:pt>
                <c:pt idx="3838">
                  <c:v>4777.9799999999996</c:v>
                </c:pt>
                <c:pt idx="3839">
                  <c:v>4718.49</c:v>
                </c:pt>
                <c:pt idx="3840">
                  <c:v>4691.24</c:v>
                </c:pt>
                <c:pt idx="3841">
                  <c:v>4699.28</c:v>
                </c:pt>
                <c:pt idx="3842">
                  <c:v>4737.2700000000004</c:v>
                </c:pt>
                <c:pt idx="3843">
                  <c:v>4772.92</c:v>
                </c:pt>
                <c:pt idx="3844">
                  <c:v>4695.33</c:v>
                </c:pt>
                <c:pt idx="3845">
                  <c:v>4720.83</c:v>
                </c:pt>
                <c:pt idx="3846">
                  <c:v>4777.5600000000004</c:v>
                </c:pt>
                <c:pt idx="3847">
                  <c:v>4813.66</c:v>
                </c:pt>
                <c:pt idx="3848">
                  <c:v>4885.1099999999997</c:v>
                </c:pt>
                <c:pt idx="3849">
                  <c:v>4885.72</c:v>
                </c:pt>
                <c:pt idx="3850">
                  <c:v>4981.3500000000004</c:v>
                </c:pt>
                <c:pt idx="3851">
                  <c:v>4953.88</c:v>
                </c:pt>
                <c:pt idx="3852">
                  <c:v>4904.8999999999996</c:v>
                </c:pt>
                <c:pt idx="3853">
                  <c:v>4908.46</c:v>
                </c:pt>
                <c:pt idx="3854">
                  <c:v>4856.8500000000004</c:v>
                </c:pt>
                <c:pt idx="3855">
                  <c:v>4904.17</c:v>
                </c:pt>
                <c:pt idx="3856">
                  <c:v>4894.79</c:v>
                </c:pt>
                <c:pt idx="3857">
                  <c:v>4891.67</c:v>
                </c:pt>
                <c:pt idx="3858">
                  <c:v>4927.99</c:v>
                </c:pt>
                <c:pt idx="3859">
                  <c:v>4943.29</c:v>
                </c:pt>
                <c:pt idx="3860">
                  <c:v>5005.03</c:v>
                </c:pt>
                <c:pt idx="3861">
                  <c:v>4974.29</c:v>
                </c:pt>
                <c:pt idx="3862">
                  <c:v>4910.7</c:v>
                </c:pt>
                <c:pt idx="3863">
                  <c:v>4919.59</c:v>
                </c:pt>
                <c:pt idx="3864">
                  <c:v>4980.7700000000004</c:v>
                </c:pt>
                <c:pt idx="3865">
                  <c:v>4960.25</c:v>
                </c:pt>
                <c:pt idx="3866">
                  <c:v>5067.1000000000004</c:v>
                </c:pt>
                <c:pt idx="3867">
                  <c:v>5067.1400000000003</c:v>
                </c:pt>
                <c:pt idx="3868">
                  <c:v>5057.0600000000004</c:v>
                </c:pt>
                <c:pt idx="3869">
                  <c:v>5065.92</c:v>
                </c:pt>
                <c:pt idx="3870">
                  <c:v>5022.24</c:v>
                </c:pt>
                <c:pt idx="3871">
                  <c:v>5009.88</c:v>
                </c:pt>
                <c:pt idx="3872">
                  <c:v>4942.7</c:v>
                </c:pt>
                <c:pt idx="3873">
                  <c:v>4940.5200000000004</c:v>
                </c:pt>
                <c:pt idx="3874">
                  <c:v>4889.63</c:v>
                </c:pt>
                <c:pt idx="3875">
                  <c:v>4934.84</c:v>
                </c:pt>
                <c:pt idx="3876">
                  <c:v>4945.1000000000004</c:v>
                </c:pt>
                <c:pt idx="3877">
                  <c:v>4953.87</c:v>
                </c:pt>
                <c:pt idx="3878">
                  <c:v>5017.4799999999996</c:v>
                </c:pt>
                <c:pt idx="3879">
                  <c:v>4999.97</c:v>
                </c:pt>
                <c:pt idx="3880">
                  <c:v>5046.84</c:v>
                </c:pt>
                <c:pt idx="3881">
                  <c:v>4964.7700000000004</c:v>
                </c:pt>
                <c:pt idx="3882">
                  <c:v>5007.12</c:v>
                </c:pt>
                <c:pt idx="3883">
                  <c:v>5000.0200000000004</c:v>
                </c:pt>
                <c:pt idx="3884">
                  <c:v>5042.01</c:v>
                </c:pt>
                <c:pt idx="3885">
                  <c:v>5064.41</c:v>
                </c:pt>
                <c:pt idx="3886">
                  <c:v>5042.9399999999996</c:v>
                </c:pt>
                <c:pt idx="3887">
                  <c:v>5113.71</c:v>
                </c:pt>
                <c:pt idx="3888">
                  <c:v>5211.29</c:v>
                </c:pt>
                <c:pt idx="3889">
                  <c:v>5267.72</c:v>
                </c:pt>
                <c:pt idx="3890">
                  <c:v>5368.5</c:v>
                </c:pt>
                <c:pt idx="3891">
                  <c:v>5417.67</c:v>
                </c:pt>
                <c:pt idx="3892">
                  <c:v>5513.66</c:v>
                </c:pt>
                <c:pt idx="3893">
                  <c:v>5495.43</c:v>
                </c:pt>
                <c:pt idx="3894">
                  <c:v>5441.16</c:v>
                </c:pt>
                <c:pt idx="3895">
                  <c:v>5596.35</c:v>
                </c:pt>
                <c:pt idx="3896">
                  <c:v>5577.97</c:v>
                </c:pt>
                <c:pt idx="3897">
                  <c:v>5470.46</c:v>
                </c:pt>
                <c:pt idx="3898">
                  <c:v>5458.08</c:v>
                </c:pt>
                <c:pt idx="3899">
                  <c:v>5518.52</c:v>
                </c:pt>
                <c:pt idx="3900">
                  <c:v>5437.52</c:v>
                </c:pt>
                <c:pt idx="3901">
                  <c:v>5476.43</c:v>
                </c:pt>
                <c:pt idx="3902">
                  <c:v>5564.97</c:v>
                </c:pt>
                <c:pt idx="3903">
                  <c:v>5569.78</c:v>
                </c:pt>
                <c:pt idx="3904">
                  <c:v>5625.92</c:v>
                </c:pt>
                <c:pt idx="3905">
                  <c:v>5512.97</c:v>
                </c:pt>
                <c:pt idx="3906">
                  <c:v>5528</c:v>
                </c:pt>
                <c:pt idx="3907">
                  <c:v>5377.14</c:v>
                </c:pt>
                <c:pt idx="3908">
                  <c:v>5351.96</c:v>
                </c:pt>
                <c:pt idx="3909">
                  <c:v>5417.65</c:v>
                </c:pt>
                <c:pt idx="3910">
                  <c:v>5501.09</c:v>
                </c:pt>
                <c:pt idx="3911">
                  <c:v>5485.2</c:v>
                </c:pt>
                <c:pt idx="3912">
                  <c:v>5473.95</c:v>
                </c:pt>
                <c:pt idx="3913">
                  <c:v>5483.41</c:v>
                </c:pt>
                <c:pt idx="3914">
                  <c:v>5564.56</c:v>
                </c:pt>
                <c:pt idx="3915">
                  <c:v>5686.25</c:v>
                </c:pt>
                <c:pt idx="3916">
                  <c:v>5807.72</c:v>
                </c:pt>
                <c:pt idx="3917">
                  <c:v>5768.38</c:v>
                </c:pt>
                <c:pt idx="3918">
                  <c:v>5778.84</c:v>
                </c:pt>
                <c:pt idx="3919">
                  <c:v>5597.33</c:v>
                </c:pt>
                <c:pt idx="3920">
                  <c:v>5579.67</c:v>
                </c:pt>
                <c:pt idx="3921">
                  <c:v>5437.57</c:v>
                </c:pt>
                <c:pt idx="3922">
                  <c:v>5469.56</c:v>
                </c:pt>
                <c:pt idx="3923">
                  <c:v>5336.76</c:v>
                </c:pt>
                <c:pt idx="3924">
                  <c:v>5418.78</c:v>
                </c:pt>
                <c:pt idx="3925">
                  <c:v>5349.63</c:v>
                </c:pt>
                <c:pt idx="3926">
                  <c:v>5452.21</c:v>
                </c:pt>
                <c:pt idx="3927">
                  <c:v>5280.71</c:v>
                </c:pt>
                <c:pt idx="3928">
                  <c:v>5262.8</c:v>
                </c:pt>
                <c:pt idx="3929">
                  <c:v>5080.0200000000004</c:v>
                </c:pt>
                <c:pt idx="3930">
                  <c:v>4971</c:v>
                </c:pt>
                <c:pt idx="3931">
                  <c:v>5003.6099999999997</c:v>
                </c:pt>
                <c:pt idx="3932">
                  <c:v>5128.22</c:v>
                </c:pt>
                <c:pt idx="3933">
                  <c:v>5146.38</c:v>
                </c:pt>
                <c:pt idx="3934">
                  <c:v>5035.54</c:v>
                </c:pt>
                <c:pt idx="3935">
                  <c:v>5079.3599999999997</c:v>
                </c:pt>
                <c:pt idx="3936">
                  <c:v>5100.8599999999997</c:v>
                </c:pt>
                <c:pt idx="3937">
                  <c:v>5141.7700000000004</c:v>
                </c:pt>
                <c:pt idx="3938">
                  <c:v>5007.09</c:v>
                </c:pt>
                <c:pt idx="3939">
                  <c:v>5057.1499999999996</c:v>
                </c:pt>
                <c:pt idx="3940">
                  <c:v>5009.25</c:v>
                </c:pt>
                <c:pt idx="3941">
                  <c:v>4928.6899999999996</c:v>
                </c:pt>
                <c:pt idx="3942">
                  <c:v>4926.3500000000004</c:v>
                </c:pt>
                <c:pt idx="3943">
                  <c:v>5037.99</c:v>
                </c:pt>
                <c:pt idx="3944">
                  <c:v>5046.88</c:v>
                </c:pt>
                <c:pt idx="3945">
                  <c:v>5094.7299999999996</c:v>
                </c:pt>
                <c:pt idx="3946">
                  <c:v>5048.3599999999997</c:v>
                </c:pt>
                <c:pt idx="3947">
                  <c:v>5110.78</c:v>
                </c:pt>
                <c:pt idx="3948">
                  <c:v>5161.5600000000004</c:v>
                </c:pt>
                <c:pt idx="3949">
                  <c:v>5140.34</c:v>
                </c:pt>
                <c:pt idx="3950">
                  <c:v>5103.74</c:v>
                </c:pt>
                <c:pt idx="3951">
                  <c:v>5112.21</c:v>
                </c:pt>
                <c:pt idx="3952">
                  <c:v>5035.34</c:v>
                </c:pt>
                <c:pt idx="3953">
                  <c:v>4947.75</c:v>
                </c:pt>
                <c:pt idx="3954">
                  <c:v>4939.6400000000003</c:v>
                </c:pt>
                <c:pt idx="3955">
                  <c:v>4980.63</c:v>
                </c:pt>
                <c:pt idx="3956">
                  <c:v>4948.97</c:v>
                </c:pt>
                <c:pt idx="3957">
                  <c:v>4966.18</c:v>
                </c:pt>
                <c:pt idx="3958">
                  <c:v>5087.0200000000004</c:v>
                </c:pt>
                <c:pt idx="3959">
                  <c:v>5083.37</c:v>
                </c:pt>
                <c:pt idx="3960">
                  <c:v>5098.74</c:v>
                </c:pt>
                <c:pt idx="3961">
                  <c:v>5089.24</c:v>
                </c:pt>
                <c:pt idx="3962">
                  <c:v>5135.45</c:v>
                </c:pt>
                <c:pt idx="3963">
                  <c:v>5077.24</c:v>
                </c:pt>
                <c:pt idx="3964">
                  <c:v>5090.5200000000004</c:v>
                </c:pt>
                <c:pt idx="3965">
                  <c:v>5119.24</c:v>
                </c:pt>
                <c:pt idx="3966">
                  <c:v>5164.17</c:v>
                </c:pt>
                <c:pt idx="3967">
                  <c:v>5123.49</c:v>
                </c:pt>
                <c:pt idx="3968">
                  <c:v>5061.12</c:v>
                </c:pt>
                <c:pt idx="3969">
                  <c:v>4996.05</c:v>
                </c:pt>
                <c:pt idx="3970">
                  <c:v>4992.42</c:v>
                </c:pt>
                <c:pt idx="3971">
                  <c:v>5023.0600000000004</c:v>
                </c:pt>
                <c:pt idx="3972">
                  <c:v>5044.55</c:v>
                </c:pt>
                <c:pt idx="3973">
                  <c:v>4992.97</c:v>
                </c:pt>
                <c:pt idx="3974">
                  <c:v>5110.59</c:v>
                </c:pt>
                <c:pt idx="3975">
                  <c:v>5184.99</c:v>
                </c:pt>
                <c:pt idx="3976">
                  <c:v>5187.6000000000004</c:v>
                </c:pt>
                <c:pt idx="3977">
                  <c:v>5172.2700000000004</c:v>
                </c:pt>
                <c:pt idx="3978">
                  <c:v>5186.41</c:v>
                </c:pt>
                <c:pt idx="3979">
                  <c:v>5134.1499999999996</c:v>
                </c:pt>
                <c:pt idx="3980">
                  <c:v>5155.59</c:v>
                </c:pt>
                <c:pt idx="3981">
                  <c:v>5318.48</c:v>
                </c:pt>
                <c:pt idx="3982">
                  <c:v>5320.59</c:v>
                </c:pt>
                <c:pt idx="3983">
                  <c:v>5338.23</c:v>
                </c:pt>
                <c:pt idx="3984">
                  <c:v>5321.09</c:v>
                </c:pt>
                <c:pt idx="3985">
                  <c:v>5331.57</c:v>
                </c:pt>
                <c:pt idx="3986">
                  <c:v>5341.68</c:v>
                </c:pt>
                <c:pt idx="3987">
                  <c:v>5289.97</c:v>
                </c:pt>
                <c:pt idx="3988">
                  <c:v>5255.29</c:v>
                </c:pt>
                <c:pt idx="3989">
                  <c:v>5282.28</c:v>
                </c:pt>
                <c:pt idx="3990">
                  <c:v>5277.63</c:v>
                </c:pt>
                <c:pt idx="3991">
                  <c:v>5232.12</c:v>
                </c:pt>
                <c:pt idx="3992">
                  <c:v>5236.45</c:v>
                </c:pt>
                <c:pt idx="3993">
                  <c:v>5271.47</c:v>
                </c:pt>
                <c:pt idx="3994">
                  <c:v>5224.7</c:v>
                </c:pt>
                <c:pt idx="3995">
                  <c:v>5166.5600000000004</c:v>
                </c:pt>
                <c:pt idx="3996">
                  <c:v>5080.49</c:v>
                </c:pt>
                <c:pt idx="3997">
                  <c:v>5101.8900000000003</c:v>
                </c:pt>
                <c:pt idx="3998">
                  <c:v>5102.47</c:v>
                </c:pt>
                <c:pt idx="3999">
                  <c:v>5090.3900000000003</c:v>
                </c:pt>
                <c:pt idx="4000">
                  <c:v>5122.16</c:v>
                </c:pt>
                <c:pt idx="4001">
                  <c:v>5147.3900000000003</c:v>
                </c:pt>
                <c:pt idx="4002">
                  <c:v>5155.97</c:v>
                </c:pt>
                <c:pt idx="4003">
                  <c:v>5239.97</c:v>
                </c:pt>
                <c:pt idx="4004">
                  <c:v>5251.76</c:v>
                </c:pt>
                <c:pt idx="4005">
                  <c:v>5190.54</c:v>
                </c:pt>
                <c:pt idx="4006">
                  <c:v>5224.04</c:v>
                </c:pt>
                <c:pt idx="4007">
                  <c:v>5229.66</c:v>
                </c:pt>
                <c:pt idx="4008">
                  <c:v>5081.12</c:v>
                </c:pt>
                <c:pt idx="4009">
                  <c:v>5085.79</c:v>
                </c:pt>
                <c:pt idx="4010">
                  <c:v>5083.1000000000004</c:v>
                </c:pt>
                <c:pt idx="4011">
                  <c:v>5140.49</c:v>
                </c:pt>
                <c:pt idx="4012">
                  <c:v>5088.26</c:v>
                </c:pt>
                <c:pt idx="4013">
                  <c:v>5069.4399999999996</c:v>
                </c:pt>
                <c:pt idx="4014">
                  <c:v>5132.71</c:v>
                </c:pt>
                <c:pt idx="4015">
                  <c:v>5142.1000000000004</c:v>
                </c:pt>
                <c:pt idx="4016">
                  <c:v>5083.08</c:v>
                </c:pt>
                <c:pt idx="4017">
                  <c:v>5151.46</c:v>
                </c:pt>
                <c:pt idx="4018">
                  <c:v>5094.7700000000004</c:v>
                </c:pt>
                <c:pt idx="4019">
                  <c:v>5113.49</c:v>
                </c:pt>
                <c:pt idx="4020">
                  <c:v>5108.99</c:v>
                </c:pt>
                <c:pt idx="4021">
                  <c:v>5144.04</c:v>
                </c:pt>
                <c:pt idx="4022">
                  <c:v>5151.75</c:v>
                </c:pt>
                <c:pt idx="4023">
                  <c:v>5089.2299999999996</c:v>
                </c:pt>
                <c:pt idx="4024">
                  <c:v>4925.3</c:v>
                </c:pt>
                <c:pt idx="4025">
                  <c:v>4751.3100000000004</c:v>
                </c:pt>
                <c:pt idx="4026">
                  <c:v>4760.4799999999996</c:v>
                </c:pt>
                <c:pt idx="4027">
                  <c:v>4850.2700000000004</c:v>
                </c:pt>
                <c:pt idx="4028">
                  <c:v>4811.17</c:v>
                </c:pt>
                <c:pt idx="4029">
                  <c:v>4933.74</c:v>
                </c:pt>
                <c:pt idx="4030">
                  <c:v>4934.46</c:v>
                </c:pt>
                <c:pt idx="4031">
                  <c:v>4978.8500000000004</c:v>
                </c:pt>
                <c:pt idx="4032">
                  <c:v>4948.67</c:v>
                </c:pt>
                <c:pt idx="4033">
                  <c:v>4921.5600000000004</c:v>
                </c:pt>
                <c:pt idx="4034">
                  <c:v>4985.5600000000004</c:v>
                </c:pt>
                <c:pt idx="4035">
                  <c:v>5043.1499999999996</c:v>
                </c:pt>
                <c:pt idx="4036">
                  <c:v>5015.34</c:v>
                </c:pt>
                <c:pt idx="4037">
                  <c:v>4973.3500000000004</c:v>
                </c:pt>
                <c:pt idx="4038">
                  <c:v>4945.9799999999996</c:v>
                </c:pt>
                <c:pt idx="4039">
                  <c:v>4941.07</c:v>
                </c:pt>
                <c:pt idx="4040">
                  <c:v>4837.3999999999996</c:v>
                </c:pt>
                <c:pt idx="4041">
                  <c:v>4894.24</c:v>
                </c:pt>
                <c:pt idx="4042">
                  <c:v>4862.1400000000003</c:v>
                </c:pt>
                <c:pt idx="4043">
                  <c:v>4769.2700000000004</c:v>
                </c:pt>
                <c:pt idx="4044">
                  <c:v>4835.88</c:v>
                </c:pt>
                <c:pt idx="4045">
                  <c:v>4888.3900000000003</c:v>
                </c:pt>
                <c:pt idx="4046">
                  <c:v>4898.16</c:v>
                </c:pt>
                <c:pt idx="4047">
                  <c:v>4801.6099999999997</c:v>
                </c:pt>
                <c:pt idx="4048">
                  <c:v>4827.04</c:v>
                </c:pt>
                <c:pt idx="4049">
                  <c:v>4813.2700000000004</c:v>
                </c:pt>
                <c:pt idx="4050">
                  <c:v>4805.6099999999997</c:v>
                </c:pt>
                <c:pt idx="4051">
                  <c:v>4869.46</c:v>
                </c:pt>
                <c:pt idx="4052">
                  <c:v>4869.41</c:v>
                </c:pt>
                <c:pt idx="4053">
                  <c:v>4843.0600000000004</c:v>
                </c:pt>
                <c:pt idx="4054">
                  <c:v>4933.7299999999996</c:v>
                </c:pt>
                <c:pt idx="4055">
                  <c:v>4992.83</c:v>
                </c:pt>
                <c:pt idx="4056">
                  <c:v>4972.13</c:v>
                </c:pt>
                <c:pt idx="4057">
                  <c:v>4970.01</c:v>
                </c:pt>
                <c:pt idx="4058">
                  <c:v>5013.5200000000004</c:v>
                </c:pt>
                <c:pt idx="4059">
                  <c:v>4991.66</c:v>
                </c:pt>
                <c:pt idx="4060">
                  <c:v>4917.16</c:v>
                </c:pt>
                <c:pt idx="4061">
                  <c:v>4867.32</c:v>
                </c:pt>
                <c:pt idx="4062">
                  <c:v>4807.7</c:v>
                </c:pt>
                <c:pt idx="4063">
                  <c:v>4855.9399999999996</c:v>
                </c:pt>
                <c:pt idx="4064">
                  <c:v>4821.7700000000004</c:v>
                </c:pt>
                <c:pt idx="4065">
                  <c:v>4853.2</c:v>
                </c:pt>
                <c:pt idx="4066">
                  <c:v>4849.43</c:v>
                </c:pt>
                <c:pt idx="4067">
                  <c:v>4877.37</c:v>
                </c:pt>
                <c:pt idx="4068">
                  <c:v>4883.83</c:v>
                </c:pt>
                <c:pt idx="4069">
                  <c:v>4833.93</c:v>
                </c:pt>
                <c:pt idx="4070">
                  <c:v>4866.38</c:v>
                </c:pt>
                <c:pt idx="4071">
                  <c:v>4929.9399999999996</c:v>
                </c:pt>
                <c:pt idx="4072">
                  <c:v>4936.1899999999996</c:v>
                </c:pt>
                <c:pt idx="4073">
                  <c:v>4883.84</c:v>
                </c:pt>
                <c:pt idx="4074">
                  <c:v>4940.1099999999997</c:v>
                </c:pt>
                <c:pt idx="4075">
                  <c:v>4913.6099999999997</c:v>
                </c:pt>
                <c:pt idx="4076">
                  <c:v>4932.1099999999997</c:v>
                </c:pt>
                <c:pt idx="4077">
                  <c:v>4874.78</c:v>
                </c:pt>
                <c:pt idx="4078">
                  <c:v>4922.72</c:v>
                </c:pt>
                <c:pt idx="4079">
                  <c:v>4910.18</c:v>
                </c:pt>
                <c:pt idx="4080">
                  <c:v>4928.0200000000004</c:v>
                </c:pt>
                <c:pt idx="4081">
                  <c:v>4959.7299999999996</c:v>
                </c:pt>
                <c:pt idx="4082">
                  <c:v>4979.5200000000004</c:v>
                </c:pt>
                <c:pt idx="4083">
                  <c:v>4963.1000000000004</c:v>
                </c:pt>
                <c:pt idx="4084">
                  <c:v>4898.16</c:v>
                </c:pt>
                <c:pt idx="4085">
                  <c:v>4864.1400000000003</c:v>
                </c:pt>
                <c:pt idx="4086">
                  <c:v>4908.7700000000004</c:v>
                </c:pt>
                <c:pt idx="4087">
                  <c:v>4890.6899999999996</c:v>
                </c:pt>
                <c:pt idx="4088">
                  <c:v>4839.8500000000004</c:v>
                </c:pt>
                <c:pt idx="4089">
                  <c:v>4821.1099999999997</c:v>
                </c:pt>
                <c:pt idx="4090">
                  <c:v>4868.74</c:v>
                </c:pt>
                <c:pt idx="4091">
                  <c:v>4842.3500000000004</c:v>
                </c:pt>
                <c:pt idx="4092">
                  <c:v>4848.18</c:v>
                </c:pt>
                <c:pt idx="4093">
                  <c:v>4846.74</c:v>
                </c:pt>
                <c:pt idx="4094">
                  <c:v>4821.1899999999996</c:v>
                </c:pt>
                <c:pt idx="4095">
                  <c:v>4898.6499999999996</c:v>
                </c:pt>
                <c:pt idx="4096">
                  <c:v>4888.37</c:v>
                </c:pt>
                <c:pt idx="4097">
                  <c:v>4882.38</c:v>
                </c:pt>
                <c:pt idx="4098">
                  <c:v>4883.32</c:v>
                </c:pt>
                <c:pt idx="4099">
                  <c:v>4885.75</c:v>
                </c:pt>
                <c:pt idx="4100">
                  <c:v>4837.62</c:v>
                </c:pt>
                <c:pt idx="4101">
                  <c:v>4890.0600000000004</c:v>
                </c:pt>
                <c:pt idx="4102">
                  <c:v>4912.3999999999996</c:v>
                </c:pt>
                <c:pt idx="4103">
                  <c:v>4913.3500000000004</c:v>
                </c:pt>
                <c:pt idx="4104">
                  <c:v>4916.66</c:v>
                </c:pt>
                <c:pt idx="4105">
                  <c:v>4896.4399999999996</c:v>
                </c:pt>
                <c:pt idx="4106">
                  <c:v>4860.13</c:v>
                </c:pt>
                <c:pt idx="4107">
                  <c:v>4851.42</c:v>
                </c:pt>
                <c:pt idx="4108">
                  <c:v>4832.03</c:v>
                </c:pt>
                <c:pt idx="4109">
                  <c:v>4843.8500000000004</c:v>
                </c:pt>
                <c:pt idx="4110">
                  <c:v>4856.16</c:v>
                </c:pt>
                <c:pt idx="4111">
                  <c:v>4901.0200000000004</c:v>
                </c:pt>
                <c:pt idx="4112">
                  <c:v>4892.62</c:v>
                </c:pt>
                <c:pt idx="4113">
                  <c:v>4922.1000000000004</c:v>
                </c:pt>
                <c:pt idx="4114">
                  <c:v>4995.93</c:v>
                </c:pt>
                <c:pt idx="4115">
                  <c:v>5078.6899999999996</c:v>
                </c:pt>
                <c:pt idx="4116">
                  <c:v>5055.12</c:v>
                </c:pt>
                <c:pt idx="4117">
                  <c:v>5083.8</c:v>
                </c:pt>
                <c:pt idx="4118">
                  <c:v>5049.7</c:v>
                </c:pt>
                <c:pt idx="4119">
                  <c:v>5005.8999999999996</c:v>
                </c:pt>
                <c:pt idx="4120">
                  <c:v>5034.7299999999996</c:v>
                </c:pt>
                <c:pt idx="4121">
                  <c:v>4954.76</c:v>
                </c:pt>
                <c:pt idx="4122">
                  <c:v>4880.42</c:v>
                </c:pt>
                <c:pt idx="4123">
                  <c:v>4913.49</c:v>
                </c:pt>
                <c:pt idx="4124">
                  <c:v>4914.45</c:v>
                </c:pt>
                <c:pt idx="4125">
                  <c:v>4948.74</c:v>
                </c:pt>
                <c:pt idx="4126">
                  <c:v>4921.34</c:v>
                </c:pt>
                <c:pt idx="4127">
                  <c:v>4919.32</c:v>
                </c:pt>
                <c:pt idx="4128">
                  <c:v>4955.96</c:v>
                </c:pt>
                <c:pt idx="4129">
                  <c:v>4883.4799999999996</c:v>
                </c:pt>
                <c:pt idx="4130">
                  <c:v>4921.51</c:v>
                </c:pt>
                <c:pt idx="4131">
                  <c:v>4940.37</c:v>
                </c:pt>
                <c:pt idx="4132">
                  <c:v>4917.7700000000004</c:v>
                </c:pt>
                <c:pt idx="4133">
                  <c:v>4868.12</c:v>
                </c:pt>
                <c:pt idx="4134">
                  <c:v>4818.2299999999996</c:v>
                </c:pt>
                <c:pt idx="4135">
                  <c:v>4822.37</c:v>
                </c:pt>
                <c:pt idx="4136">
                  <c:v>4844.05</c:v>
                </c:pt>
                <c:pt idx="4137">
                  <c:v>4797.7700000000004</c:v>
                </c:pt>
                <c:pt idx="4138">
                  <c:v>4845.58</c:v>
                </c:pt>
                <c:pt idx="4139">
                  <c:v>4765.92</c:v>
                </c:pt>
                <c:pt idx="4140">
                  <c:v>4726.7299999999996</c:v>
                </c:pt>
                <c:pt idx="4141">
                  <c:v>4767.28</c:v>
                </c:pt>
                <c:pt idx="4142">
                  <c:v>4813.3500000000004</c:v>
                </c:pt>
                <c:pt idx="4143">
                  <c:v>4780.38</c:v>
                </c:pt>
                <c:pt idx="4144">
                  <c:v>4823.51</c:v>
                </c:pt>
                <c:pt idx="4145">
                  <c:v>4779.3100000000004</c:v>
                </c:pt>
                <c:pt idx="4146">
                  <c:v>4786.74</c:v>
                </c:pt>
                <c:pt idx="4147">
                  <c:v>4678.45</c:v>
                </c:pt>
                <c:pt idx="4148">
                  <c:v>4712.3100000000004</c:v>
                </c:pt>
                <c:pt idx="4149">
                  <c:v>4619.88</c:v>
                </c:pt>
                <c:pt idx="4150">
                  <c:v>4563.7700000000004</c:v>
                </c:pt>
                <c:pt idx="4151">
                  <c:v>4634.09</c:v>
                </c:pt>
                <c:pt idx="4152">
                  <c:v>4608.7700000000004</c:v>
                </c:pt>
                <c:pt idx="4153">
                  <c:v>4652.0600000000004</c:v>
                </c:pt>
                <c:pt idx="4154">
                  <c:v>4639.8599999999997</c:v>
                </c:pt>
                <c:pt idx="4155">
                  <c:v>4601.3999999999996</c:v>
                </c:pt>
                <c:pt idx="4156">
                  <c:v>4551.6899999999996</c:v>
                </c:pt>
                <c:pt idx="4157">
                  <c:v>4600.1000000000004</c:v>
                </c:pt>
                <c:pt idx="4158">
                  <c:v>4617.99</c:v>
                </c:pt>
                <c:pt idx="4159">
                  <c:v>4629.16</c:v>
                </c:pt>
                <c:pt idx="4160">
                  <c:v>4651.24</c:v>
                </c:pt>
                <c:pt idx="4161">
                  <c:v>4634.3100000000004</c:v>
                </c:pt>
                <c:pt idx="4162">
                  <c:v>4574.1499999999996</c:v>
                </c:pt>
                <c:pt idx="4163">
                  <c:v>4623.05</c:v>
                </c:pt>
                <c:pt idx="4164">
                  <c:v>4529.32</c:v>
                </c:pt>
                <c:pt idx="4165">
                  <c:v>4573.42</c:v>
                </c:pt>
                <c:pt idx="4166">
                  <c:v>4581.6499999999996</c:v>
                </c:pt>
                <c:pt idx="4167">
                  <c:v>4619.6899999999996</c:v>
                </c:pt>
                <c:pt idx="4168">
                  <c:v>4578.6000000000004</c:v>
                </c:pt>
                <c:pt idx="4169">
                  <c:v>4551.63</c:v>
                </c:pt>
                <c:pt idx="4170">
                  <c:v>4496.43</c:v>
                </c:pt>
                <c:pt idx="4171">
                  <c:v>4352.78</c:v>
                </c:pt>
                <c:pt idx="4172">
                  <c:v>4265.3900000000003</c:v>
                </c:pt>
                <c:pt idx="4173">
                  <c:v>4226.3500000000004</c:v>
                </c:pt>
                <c:pt idx="4174">
                  <c:v>4292.84</c:v>
                </c:pt>
                <c:pt idx="4175">
                  <c:v>4306.5200000000004</c:v>
                </c:pt>
                <c:pt idx="4176">
                  <c:v>4174.76</c:v>
                </c:pt>
                <c:pt idx="4177">
                  <c:v>3983.81</c:v>
                </c:pt>
                <c:pt idx="4178">
                  <c:v>4156.08</c:v>
                </c:pt>
                <c:pt idx="4179">
                  <c:v>4237.7</c:v>
                </c:pt>
                <c:pt idx="4180">
                  <c:v>4265.8999999999996</c:v>
                </c:pt>
                <c:pt idx="4181">
                  <c:v>4258.75</c:v>
                </c:pt>
                <c:pt idx="4182">
                  <c:v>4255.3</c:v>
                </c:pt>
                <c:pt idx="4183">
                  <c:v>4276.5200000000004</c:v>
                </c:pt>
                <c:pt idx="4184">
                  <c:v>4251.3100000000004</c:v>
                </c:pt>
                <c:pt idx="4185">
                  <c:v>4174.57</c:v>
                </c:pt>
                <c:pt idx="4186">
                  <c:v>4148.47</c:v>
                </c:pt>
                <c:pt idx="4187">
                  <c:v>4134.1400000000003</c:v>
                </c:pt>
                <c:pt idx="4188">
                  <c:v>4254.1000000000004</c:v>
                </c:pt>
                <c:pt idx="4189">
                  <c:v>4222.6000000000004</c:v>
                </c:pt>
                <c:pt idx="4190">
                  <c:v>4276.16</c:v>
                </c:pt>
                <c:pt idx="4191">
                  <c:v>4263.84</c:v>
                </c:pt>
                <c:pt idx="4192">
                  <c:v>4209.1000000000004</c:v>
                </c:pt>
                <c:pt idx="4193">
                  <c:v>4230.7700000000004</c:v>
                </c:pt>
              </c:numCache>
            </c:numRef>
          </c:val>
          <c:extLst>
            <c:ext xmlns:c16="http://schemas.microsoft.com/office/drawing/2014/chart" uri="{C3380CC4-5D6E-409C-BE32-E72D297353CC}">
              <c16:uniqueId val="{00000000-DFB4-4CAF-B9FD-3369932EE519}"/>
            </c:ext>
          </c:extLst>
        </c:ser>
        <c:dLbls>
          <c:showLegendKey val="0"/>
          <c:showVal val="0"/>
          <c:showCatName val="0"/>
          <c:showSerName val="0"/>
          <c:showPercent val="0"/>
          <c:showBubbleSize val="0"/>
        </c:dLbls>
        <c:gapWidth val="150"/>
        <c:axId val="652179984"/>
        <c:axId val="652186064"/>
      </c:barChart>
      <c:lineChart>
        <c:grouping val="standard"/>
        <c:varyColors val="0"/>
        <c:ser>
          <c:idx val="0"/>
          <c:order val="0"/>
          <c:tx>
            <c:strRef>
              <c:f>turnover!$B$1</c:f>
              <c:strCache>
                <c:ptCount val="1"/>
                <c:pt idx="0">
                  <c:v>turnover rate</c:v>
                </c:pt>
              </c:strCache>
            </c:strRef>
          </c:tx>
          <c:spPr>
            <a:ln w="28575" cap="rnd">
              <a:solidFill>
                <a:schemeClr val="accent1"/>
              </a:solidFill>
              <a:round/>
            </a:ln>
            <a:effectLst/>
          </c:spPr>
          <c:marker>
            <c:symbol val="none"/>
          </c:marker>
          <c:cat>
            <c:numRef>
              <c:f>turnover!$A$2:$A$4201</c:f>
              <c:numCache>
                <c:formatCode>yyyy/m/d;@</c:formatCode>
                <c:ptCount val="4200"/>
                <c:pt idx="0">
                  <c:v>38356</c:v>
                </c:pt>
                <c:pt idx="1">
                  <c:v>38357</c:v>
                </c:pt>
                <c:pt idx="2">
                  <c:v>38358</c:v>
                </c:pt>
                <c:pt idx="3">
                  <c:v>38359</c:v>
                </c:pt>
                <c:pt idx="4">
                  <c:v>38362</c:v>
                </c:pt>
                <c:pt idx="5">
                  <c:v>38363</c:v>
                </c:pt>
                <c:pt idx="6">
                  <c:v>38364</c:v>
                </c:pt>
                <c:pt idx="7">
                  <c:v>38365</c:v>
                </c:pt>
                <c:pt idx="8">
                  <c:v>38366</c:v>
                </c:pt>
                <c:pt idx="9">
                  <c:v>38369</c:v>
                </c:pt>
                <c:pt idx="10">
                  <c:v>38370</c:v>
                </c:pt>
                <c:pt idx="11">
                  <c:v>38371</c:v>
                </c:pt>
                <c:pt idx="12">
                  <c:v>38372</c:v>
                </c:pt>
                <c:pt idx="13">
                  <c:v>38373</c:v>
                </c:pt>
                <c:pt idx="14">
                  <c:v>38376</c:v>
                </c:pt>
                <c:pt idx="15">
                  <c:v>38377</c:v>
                </c:pt>
                <c:pt idx="16">
                  <c:v>38378</c:v>
                </c:pt>
                <c:pt idx="17">
                  <c:v>38379</c:v>
                </c:pt>
                <c:pt idx="18">
                  <c:v>38380</c:v>
                </c:pt>
                <c:pt idx="19">
                  <c:v>38383</c:v>
                </c:pt>
                <c:pt idx="20">
                  <c:v>38384</c:v>
                </c:pt>
                <c:pt idx="21">
                  <c:v>38385</c:v>
                </c:pt>
                <c:pt idx="22">
                  <c:v>38386</c:v>
                </c:pt>
                <c:pt idx="23">
                  <c:v>38387</c:v>
                </c:pt>
                <c:pt idx="24">
                  <c:v>38399</c:v>
                </c:pt>
                <c:pt idx="25">
                  <c:v>38400</c:v>
                </c:pt>
                <c:pt idx="26">
                  <c:v>38401</c:v>
                </c:pt>
                <c:pt idx="27">
                  <c:v>38404</c:v>
                </c:pt>
                <c:pt idx="28">
                  <c:v>38405</c:v>
                </c:pt>
                <c:pt idx="29">
                  <c:v>38406</c:v>
                </c:pt>
                <c:pt idx="30">
                  <c:v>38407</c:v>
                </c:pt>
                <c:pt idx="31">
                  <c:v>38408</c:v>
                </c:pt>
                <c:pt idx="32">
                  <c:v>38411</c:v>
                </c:pt>
                <c:pt idx="33">
                  <c:v>38412</c:v>
                </c:pt>
                <c:pt idx="34">
                  <c:v>38413</c:v>
                </c:pt>
                <c:pt idx="35">
                  <c:v>38414</c:v>
                </c:pt>
                <c:pt idx="36">
                  <c:v>38415</c:v>
                </c:pt>
                <c:pt idx="37">
                  <c:v>38418</c:v>
                </c:pt>
                <c:pt idx="38">
                  <c:v>38419</c:v>
                </c:pt>
                <c:pt idx="39">
                  <c:v>38420</c:v>
                </c:pt>
                <c:pt idx="40">
                  <c:v>38421</c:v>
                </c:pt>
                <c:pt idx="41">
                  <c:v>38422</c:v>
                </c:pt>
                <c:pt idx="42">
                  <c:v>38425</c:v>
                </c:pt>
                <c:pt idx="43">
                  <c:v>38426</c:v>
                </c:pt>
                <c:pt idx="44">
                  <c:v>38427</c:v>
                </c:pt>
                <c:pt idx="45">
                  <c:v>38428</c:v>
                </c:pt>
                <c:pt idx="46">
                  <c:v>38429</c:v>
                </c:pt>
                <c:pt idx="47">
                  <c:v>38432</c:v>
                </c:pt>
                <c:pt idx="48">
                  <c:v>38433</c:v>
                </c:pt>
                <c:pt idx="49">
                  <c:v>38434</c:v>
                </c:pt>
                <c:pt idx="50">
                  <c:v>38435</c:v>
                </c:pt>
                <c:pt idx="51">
                  <c:v>38436</c:v>
                </c:pt>
                <c:pt idx="52">
                  <c:v>38439</c:v>
                </c:pt>
                <c:pt idx="53">
                  <c:v>38440</c:v>
                </c:pt>
                <c:pt idx="54">
                  <c:v>38441</c:v>
                </c:pt>
                <c:pt idx="55">
                  <c:v>38442</c:v>
                </c:pt>
                <c:pt idx="56">
                  <c:v>38443</c:v>
                </c:pt>
                <c:pt idx="57">
                  <c:v>38446</c:v>
                </c:pt>
                <c:pt idx="58">
                  <c:v>38447</c:v>
                </c:pt>
                <c:pt idx="59">
                  <c:v>38448</c:v>
                </c:pt>
                <c:pt idx="60">
                  <c:v>38449</c:v>
                </c:pt>
                <c:pt idx="61">
                  <c:v>38450</c:v>
                </c:pt>
                <c:pt idx="62">
                  <c:v>38453</c:v>
                </c:pt>
                <c:pt idx="63">
                  <c:v>38454</c:v>
                </c:pt>
                <c:pt idx="64">
                  <c:v>38455</c:v>
                </c:pt>
                <c:pt idx="65">
                  <c:v>38456</c:v>
                </c:pt>
                <c:pt idx="66">
                  <c:v>38457</c:v>
                </c:pt>
                <c:pt idx="67">
                  <c:v>38460</c:v>
                </c:pt>
                <c:pt idx="68">
                  <c:v>38461</c:v>
                </c:pt>
                <c:pt idx="69">
                  <c:v>38462</c:v>
                </c:pt>
                <c:pt idx="70">
                  <c:v>38463</c:v>
                </c:pt>
                <c:pt idx="71">
                  <c:v>38464</c:v>
                </c:pt>
                <c:pt idx="72">
                  <c:v>38467</c:v>
                </c:pt>
                <c:pt idx="73">
                  <c:v>38468</c:v>
                </c:pt>
                <c:pt idx="74">
                  <c:v>38469</c:v>
                </c:pt>
                <c:pt idx="75">
                  <c:v>38470</c:v>
                </c:pt>
                <c:pt idx="76">
                  <c:v>38471</c:v>
                </c:pt>
                <c:pt idx="77">
                  <c:v>38481</c:v>
                </c:pt>
                <c:pt idx="78">
                  <c:v>38482</c:v>
                </c:pt>
                <c:pt idx="79">
                  <c:v>38483</c:v>
                </c:pt>
                <c:pt idx="80">
                  <c:v>38484</c:v>
                </c:pt>
                <c:pt idx="81">
                  <c:v>38485</c:v>
                </c:pt>
                <c:pt idx="82">
                  <c:v>38488</c:v>
                </c:pt>
                <c:pt idx="83">
                  <c:v>38489</c:v>
                </c:pt>
                <c:pt idx="84">
                  <c:v>38490</c:v>
                </c:pt>
                <c:pt idx="85">
                  <c:v>38491</c:v>
                </c:pt>
                <c:pt idx="86">
                  <c:v>38492</c:v>
                </c:pt>
                <c:pt idx="87">
                  <c:v>38495</c:v>
                </c:pt>
                <c:pt idx="88">
                  <c:v>38496</c:v>
                </c:pt>
                <c:pt idx="89">
                  <c:v>38497</c:v>
                </c:pt>
                <c:pt idx="90">
                  <c:v>38498</c:v>
                </c:pt>
                <c:pt idx="91">
                  <c:v>38499</c:v>
                </c:pt>
                <c:pt idx="92">
                  <c:v>38502</c:v>
                </c:pt>
                <c:pt idx="93">
                  <c:v>38503</c:v>
                </c:pt>
                <c:pt idx="94">
                  <c:v>38504</c:v>
                </c:pt>
                <c:pt idx="95">
                  <c:v>38505</c:v>
                </c:pt>
                <c:pt idx="96">
                  <c:v>38506</c:v>
                </c:pt>
                <c:pt idx="97">
                  <c:v>38509</c:v>
                </c:pt>
                <c:pt idx="98">
                  <c:v>38510</c:v>
                </c:pt>
                <c:pt idx="99">
                  <c:v>38511</c:v>
                </c:pt>
                <c:pt idx="100">
                  <c:v>38512</c:v>
                </c:pt>
                <c:pt idx="101">
                  <c:v>38513</c:v>
                </c:pt>
                <c:pt idx="102">
                  <c:v>38516</c:v>
                </c:pt>
                <c:pt idx="103">
                  <c:v>38517</c:v>
                </c:pt>
                <c:pt idx="104">
                  <c:v>38518</c:v>
                </c:pt>
                <c:pt idx="105">
                  <c:v>38519</c:v>
                </c:pt>
                <c:pt idx="106">
                  <c:v>38520</c:v>
                </c:pt>
                <c:pt idx="107">
                  <c:v>38523</c:v>
                </c:pt>
                <c:pt idx="108">
                  <c:v>38524</c:v>
                </c:pt>
                <c:pt idx="109">
                  <c:v>38525</c:v>
                </c:pt>
                <c:pt idx="110">
                  <c:v>38526</c:v>
                </c:pt>
                <c:pt idx="111">
                  <c:v>38527</c:v>
                </c:pt>
                <c:pt idx="112">
                  <c:v>38530</c:v>
                </c:pt>
                <c:pt idx="113">
                  <c:v>38531</c:v>
                </c:pt>
                <c:pt idx="114">
                  <c:v>38532</c:v>
                </c:pt>
                <c:pt idx="115">
                  <c:v>38533</c:v>
                </c:pt>
                <c:pt idx="116">
                  <c:v>38534</c:v>
                </c:pt>
                <c:pt idx="117">
                  <c:v>38537</c:v>
                </c:pt>
                <c:pt idx="118">
                  <c:v>38538</c:v>
                </c:pt>
                <c:pt idx="119">
                  <c:v>38539</c:v>
                </c:pt>
                <c:pt idx="120">
                  <c:v>38540</c:v>
                </c:pt>
                <c:pt idx="121">
                  <c:v>38541</c:v>
                </c:pt>
                <c:pt idx="122">
                  <c:v>38544</c:v>
                </c:pt>
                <c:pt idx="123">
                  <c:v>38545</c:v>
                </c:pt>
                <c:pt idx="124">
                  <c:v>38546</c:v>
                </c:pt>
                <c:pt idx="125">
                  <c:v>38547</c:v>
                </c:pt>
                <c:pt idx="126">
                  <c:v>38548</c:v>
                </c:pt>
                <c:pt idx="127">
                  <c:v>38551</c:v>
                </c:pt>
                <c:pt idx="128">
                  <c:v>38552</c:v>
                </c:pt>
                <c:pt idx="129">
                  <c:v>38553</c:v>
                </c:pt>
                <c:pt idx="130">
                  <c:v>38554</c:v>
                </c:pt>
                <c:pt idx="131">
                  <c:v>38555</c:v>
                </c:pt>
                <c:pt idx="132">
                  <c:v>38558</c:v>
                </c:pt>
                <c:pt idx="133">
                  <c:v>38559</c:v>
                </c:pt>
                <c:pt idx="134">
                  <c:v>38560</c:v>
                </c:pt>
                <c:pt idx="135">
                  <c:v>38561</c:v>
                </c:pt>
                <c:pt idx="136">
                  <c:v>38562</c:v>
                </c:pt>
                <c:pt idx="137">
                  <c:v>38565</c:v>
                </c:pt>
                <c:pt idx="138">
                  <c:v>38566</c:v>
                </c:pt>
                <c:pt idx="139">
                  <c:v>38567</c:v>
                </c:pt>
                <c:pt idx="140">
                  <c:v>38568</c:v>
                </c:pt>
                <c:pt idx="141">
                  <c:v>38569</c:v>
                </c:pt>
                <c:pt idx="142">
                  <c:v>38572</c:v>
                </c:pt>
                <c:pt idx="143">
                  <c:v>38573</c:v>
                </c:pt>
                <c:pt idx="144">
                  <c:v>38574</c:v>
                </c:pt>
                <c:pt idx="145">
                  <c:v>38575</c:v>
                </c:pt>
                <c:pt idx="146">
                  <c:v>38576</c:v>
                </c:pt>
                <c:pt idx="147">
                  <c:v>38579</c:v>
                </c:pt>
                <c:pt idx="148">
                  <c:v>38580</c:v>
                </c:pt>
                <c:pt idx="149">
                  <c:v>38581</c:v>
                </c:pt>
                <c:pt idx="150">
                  <c:v>38582</c:v>
                </c:pt>
                <c:pt idx="151">
                  <c:v>38583</c:v>
                </c:pt>
                <c:pt idx="152">
                  <c:v>38586</c:v>
                </c:pt>
                <c:pt idx="153">
                  <c:v>38587</c:v>
                </c:pt>
                <c:pt idx="154">
                  <c:v>38588</c:v>
                </c:pt>
                <c:pt idx="155">
                  <c:v>38589</c:v>
                </c:pt>
                <c:pt idx="156">
                  <c:v>38590</c:v>
                </c:pt>
                <c:pt idx="157">
                  <c:v>38593</c:v>
                </c:pt>
                <c:pt idx="158">
                  <c:v>38594</c:v>
                </c:pt>
                <c:pt idx="159">
                  <c:v>38595</c:v>
                </c:pt>
                <c:pt idx="160">
                  <c:v>38596</c:v>
                </c:pt>
                <c:pt idx="161">
                  <c:v>38597</c:v>
                </c:pt>
                <c:pt idx="162">
                  <c:v>38600</c:v>
                </c:pt>
                <c:pt idx="163">
                  <c:v>38601</c:v>
                </c:pt>
                <c:pt idx="164">
                  <c:v>38602</c:v>
                </c:pt>
                <c:pt idx="165">
                  <c:v>38603</c:v>
                </c:pt>
                <c:pt idx="166">
                  <c:v>38604</c:v>
                </c:pt>
                <c:pt idx="167">
                  <c:v>38607</c:v>
                </c:pt>
                <c:pt idx="168">
                  <c:v>38608</c:v>
                </c:pt>
                <c:pt idx="169">
                  <c:v>38609</c:v>
                </c:pt>
                <c:pt idx="170">
                  <c:v>38610</c:v>
                </c:pt>
                <c:pt idx="171">
                  <c:v>38611</c:v>
                </c:pt>
                <c:pt idx="172">
                  <c:v>38614</c:v>
                </c:pt>
                <c:pt idx="173">
                  <c:v>38615</c:v>
                </c:pt>
                <c:pt idx="174">
                  <c:v>38616</c:v>
                </c:pt>
                <c:pt idx="175">
                  <c:v>38617</c:v>
                </c:pt>
                <c:pt idx="176">
                  <c:v>38618</c:v>
                </c:pt>
                <c:pt idx="177">
                  <c:v>38621</c:v>
                </c:pt>
                <c:pt idx="178">
                  <c:v>38622</c:v>
                </c:pt>
                <c:pt idx="179">
                  <c:v>38623</c:v>
                </c:pt>
                <c:pt idx="180">
                  <c:v>38624</c:v>
                </c:pt>
                <c:pt idx="181">
                  <c:v>38625</c:v>
                </c:pt>
                <c:pt idx="182">
                  <c:v>38635</c:v>
                </c:pt>
                <c:pt idx="183">
                  <c:v>38636</c:v>
                </c:pt>
                <c:pt idx="184">
                  <c:v>38637</c:v>
                </c:pt>
                <c:pt idx="185">
                  <c:v>38638</c:v>
                </c:pt>
                <c:pt idx="186">
                  <c:v>38639</c:v>
                </c:pt>
                <c:pt idx="187">
                  <c:v>38642</c:v>
                </c:pt>
                <c:pt idx="188">
                  <c:v>38643</c:v>
                </c:pt>
                <c:pt idx="189">
                  <c:v>38644</c:v>
                </c:pt>
                <c:pt idx="190">
                  <c:v>38645</c:v>
                </c:pt>
                <c:pt idx="191">
                  <c:v>38646</c:v>
                </c:pt>
                <c:pt idx="192">
                  <c:v>38649</c:v>
                </c:pt>
                <c:pt idx="193">
                  <c:v>38650</c:v>
                </c:pt>
                <c:pt idx="194">
                  <c:v>38651</c:v>
                </c:pt>
                <c:pt idx="195">
                  <c:v>38652</c:v>
                </c:pt>
                <c:pt idx="196">
                  <c:v>38653</c:v>
                </c:pt>
                <c:pt idx="197">
                  <c:v>38656</c:v>
                </c:pt>
                <c:pt idx="198">
                  <c:v>38657</c:v>
                </c:pt>
                <c:pt idx="199">
                  <c:v>38658</c:v>
                </c:pt>
                <c:pt idx="200">
                  <c:v>38659</c:v>
                </c:pt>
                <c:pt idx="201">
                  <c:v>38660</c:v>
                </c:pt>
                <c:pt idx="202">
                  <c:v>38663</c:v>
                </c:pt>
                <c:pt idx="203">
                  <c:v>38664</c:v>
                </c:pt>
                <c:pt idx="204">
                  <c:v>38665</c:v>
                </c:pt>
                <c:pt idx="205">
                  <c:v>38666</c:v>
                </c:pt>
                <c:pt idx="206">
                  <c:v>38667</c:v>
                </c:pt>
                <c:pt idx="207">
                  <c:v>38670</c:v>
                </c:pt>
                <c:pt idx="208">
                  <c:v>38671</c:v>
                </c:pt>
                <c:pt idx="209">
                  <c:v>38672</c:v>
                </c:pt>
                <c:pt idx="210">
                  <c:v>38673</c:v>
                </c:pt>
                <c:pt idx="211">
                  <c:v>38674</c:v>
                </c:pt>
                <c:pt idx="212">
                  <c:v>38677</c:v>
                </c:pt>
                <c:pt idx="213">
                  <c:v>38678</c:v>
                </c:pt>
                <c:pt idx="214">
                  <c:v>38679</c:v>
                </c:pt>
                <c:pt idx="215">
                  <c:v>38680</c:v>
                </c:pt>
                <c:pt idx="216">
                  <c:v>38681</c:v>
                </c:pt>
                <c:pt idx="217">
                  <c:v>38684</c:v>
                </c:pt>
                <c:pt idx="218">
                  <c:v>38685</c:v>
                </c:pt>
                <c:pt idx="219">
                  <c:v>38686</c:v>
                </c:pt>
                <c:pt idx="220">
                  <c:v>38687</c:v>
                </c:pt>
                <c:pt idx="221">
                  <c:v>38688</c:v>
                </c:pt>
                <c:pt idx="222">
                  <c:v>38691</c:v>
                </c:pt>
                <c:pt idx="223">
                  <c:v>38692</c:v>
                </c:pt>
                <c:pt idx="224">
                  <c:v>38693</c:v>
                </c:pt>
                <c:pt idx="225">
                  <c:v>38694</c:v>
                </c:pt>
                <c:pt idx="226">
                  <c:v>38695</c:v>
                </c:pt>
                <c:pt idx="227">
                  <c:v>38698</c:v>
                </c:pt>
                <c:pt idx="228">
                  <c:v>38699</c:v>
                </c:pt>
                <c:pt idx="229">
                  <c:v>38700</c:v>
                </c:pt>
                <c:pt idx="230">
                  <c:v>38701</c:v>
                </c:pt>
                <c:pt idx="231">
                  <c:v>38702</c:v>
                </c:pt>
                <c:pt idx="232">
                  <c:v>38705</c:v>
                </c:pt>
                <c:pt idx="233">
                  <c:v>38706</c:v>
                </c:pt>
                <c:pt idx="234">
                  <c:v>38707</c:v>
                </c:pt>
                <c:pt idx="235">
                  <c:v>38708</c:v>
                </c:pt>
                <c:pt idx="236">
                  <c:v>38709</c:v>
                </c:pt>
                <c:pt idx="237">
                  <c:v>38712</c:v>
                </c:pt>
                <c:pt idx="238">
                  <c:v>38713</c:v>
                </c:pt>
                <c:pt idx="239">
                  <c:v>38714</c:v>
                </c:pt>
                <c:pt idx="240">
                  <c:v>38715</c:v>
                </c:pt>
                <c:pt idx="241">
                  <c:v>38716</c:v>
                </c:pt>
                <c:pt idx="242">
                  <c:v>38721</c:v>
                </c:pt>
                <c:pt idx="243">
                  <c:v>38722</c:v>
                </c:pt>
                <c:pt idx="244">
                  <c:v>38723</c:v>
                </c:pt>
                <c:pt idx="245">
                  <c:v>38726</c:v>
                </c:pt>
                <c:pt idx="246">
                  <c:v>38727</c:v>
                </c:pt>
                <c:pt idx="247">
                  <c:v>38728</c:v>
                </c:pt>
                <c:pt idx="248">
                  <c:v>38729</c:v>
                </c:pt>
                <c:pt idx="249">
                  <c:v>38730</c:v>
                </c:pt>
                <c:pt idx="250">
                  <c:v>38733</c:v>
                </c:pt>
                <c:pt idx="251">
                  <c:v>38734</c:v>
                </c:pt>
                <c:pt idx="252">
                  <c:v>38735</c:v>
                </c:pt>
                <c:pt idx="253">
                  <c:v>38736</c:v>
                </c:pt>
                <c:pt idx="254">
                  <c:v>38737</c:v>
                </c:pt>
                <c:pt idx="255">
                  <c:v>38740</c:v>
                </c:pt>
                <c:pt idx="256">
                  <c:v>38741</c:v>
                </c:pt>
                <c:pt idx="257">
                  <c:v>38742</c:v>
                </c:pt>
                <c:pt idx="258">
                  <c:v>38754</c:v>
                </c:pt>
                <c:pt idx="259">
                  <c:v>38755</c:v>
                </c:pt>
                <c:pt idx="260">
                  <c:v>38756</c:v>
                </c:pt>
                <c:pt idx="261">
                  <c:v>38757</c:v>
                </c:pt>
                <c:pt idx="262">
                  <c:v>38758</c:v>
                </c:pt>
                <c:pt idx="263">
                  <c:v>38761</c:v>
                </c:pt>
                <c:pt idx="264">
                  <c:v>38762</c:v>
                </c:pt>
                <c:pt idx="265">
                  <c:v>38763</c:v>
                </c:pt>
                <c:pt idx="266">
                  <c:v>38764</c:v>
                </c:pt>
                <c:pt idx="267">
                  <c:v>38765</c:v>
                </c:pt>
                <c:pt idx="268">
                  <c:v>38768</c:v>
                </c:pt>
                <c:pt idx="269">
                  <c:v>38769</c:v>
                </c:pt>
                <c:pt idx="270">
                  <c:v>38770</c:v>
                </c:pt>
                <c:pt idx="271">
                  <c:v>38771</c:v>
                </c:pt>
                <c:pt idx="272">
                  <c:v>38772</c:v>
                </c:pt>
                <c:pt idx="273">
                  <c:v>38775</c:v>
                </c:pt>
                <c:pt idx="274">
                  <c:v>38776</c:v>
                </c:pt>
                <c:pt idx="275">
                  <c:v>38777</c:v>
                </c:pt>
                <c:pt idx="276">
                  <c:v>38778</c:v>
                </c:pt>
                <c:pt idx="277">
                  <c:v>38779</c:v>
                </c:pt>
                <c:pt idx="278">
                  <c:v>38782</c:v>
                </c:pt>
                <c:pt idx="279">
                  <c:v>38783</c:v>
                </c:pt>
                <c:pt idx="280">
                  <c:v>38784</c:v>
                </c:pt>
                <c:pt idx="281">
                  <c:v>38785</c:v>
                </c:pt>
                <c:pt idx="282">
                  <c:v>38786</c:v>
                </c:pt>
                <c:pt idx="283">
                  <c:v>38789</c:v>
                </c:pt>
                <c:pt idx="284">
                  <c:v>38790</c:v>
                </c:pt>
                <c:pt idx="285">
                  <c:v>38791</c:v>
                </c:pt>
                <c:pt idx="286">
                  <c:v>38792</c:v>
                </c:pt>
                <c:pt idx="287">
                  <c:v>38793</c:v>
                </c:pt>
                <c:pt idx="288">
                  <c:v>38796</c:v>
                </c:pt>
                <c:pt idx="289">
                  <c:v>38797</c:v>
                </c:pt>
                <c:pt idx="290">
                  <c:v>38798</c:v>
                </c:pt>
                <c:pt idx="291">
                  <c:v>38799</c:v>
                </c:pt>
                <c:pt idx="292">
                  <c:v>38800</c:v>
                </c:pt>
                <c:pt idx="293">
                  <c:v>38803</c:v>
                </c:pt>
                <c:pt idx="294">
                  <c:v>38804</c:v>
                </c:pt>
                <c:pt idx="295">
                  <c:v>38805</c:v>
                </c:pt>
                <c:pt idx="296">
                  <c:v>38806</c:v>
                </c:pt>
                <c:pt idx="297">
                  <c:v>38807</c:v>
                </c:pt>
                <c:pt idx="298">
                  <c:v>38810</c:v>
                </c:pt>
                <c:pt idx="299">
                  <c:v>38811</c:v>
                </c:pt>
                <c:pt idx="300">
                  <c:v>38812</c:v>
                </c:pt>
                <c:pt idx="301">
                  <c:v>38813</c:v>
                </c:pt>
                <c:pt idx="302">
                  <c:v>38814</c:v>
                </c:pt>
                <c:pt idx="303">
                  <c:v>38817</c:v>
                </c:pt>
                <c:pt idx="304">
                  <c:v>38818</c:v>
                </c:pt>
                <c:pt idx="305">
                  <c:v>38819</c:v>
                </c:pt>
                <c:pt idx="306">
                  <c:v>38820</c:v>
                </c:pt>
                <c:pt idx="307">
                  <c:v>38821</c:v>
                </c:pt>
                <c:pt idx="308">
                  <c:v>38824</c:v>
                </c:pt>
                <c:pt idx="309">
                  <c:v>38825</c:v>
                </c:pt>
                <c:pt idx="310">
                  <c:v>38826</c:v>
                </c:pt>
                <c:pt idx="311">
                  <c:v>38827</c:v>
                </c:pt>
                <c:pt idx="312">
                  <c:v>38828</c:v>
                </c:pt>
                <c:pt idx="313">
                  <c:v>38831</c:v>
                </c:pt>
                <c:pt idx="314">
                  <c:v>38832</c:v>
                </c:pt>
                <c:pt idx="315">
                  <c:v>38833</c:v>
                </c:pt>
                <c:pt idx="316">
                  <c:v>38834</c:v>
                </c:pt>
                <c:pt idx="317">
                  <c:v>38835</c:v>
                </c:pt>
                <c:pt idx="318">
                  <c:v>38845</c:v>
                </c:pt>
                <c:pt idx="319">
                  <c:v>38846</c:v>
                </c:pt>
                <c:pt idx="320">
                  <c:v>38847</c:v>
                </c:pt>
                <c:pt idx="321">
                  <c:v>38848</c:v>
                </c:pt>
                <c:pt idx="322">
                  <c:v>38849</c:v>
                </c:pt>
                <c:pt idx="323">
                  <c:v>38852</c:v>
                </c:pt>
                <c:pt idx="324">
                  <c:v>38853</c:v>
                </c:pt>
                <c:pt idx="325">
                  <c:v>38854</c:v>
                </c:pt>
                <c:pt idx="326">
                  <c:v>38855</c:v>
                </c:pt>
                <c:pt idx="327">
                  <c:v>38856</c:v>
                </c:pt>
                <c:pt idx="328">
                  <c:v>38859</c:v>
                </c:pt>
                <c:pt idx="329">
                  <c:v>38860</c:v>
                </c:pt>
                <c:pt idx="330">
                  <c:v>38861</c:v>
                </c:pt>
                <c:pt idx="331">
                  <c:v>38862</c:v>
                </c:pt>
                <c:pt idx="332">
                  <c:v>38863</c:v>
                </c:pt>
                <c:pt idx="333">
                  <c:v>38866</c:v>
                </c:pt>
                <c:pt idx="334">
                  <c:v>38867</c:v>
                </c:pt>
                <c:pt idx="335">
                  <c:v>38868</c:v>
                </c:pt>
                <c:pt idx="336">
                  <c:v>38869</c:v>
                </c:pt>
                <c:pt idx="337">
                  <c:v>38870</c:v>
                </c:pt>
                <c:pt idx="338">
                  <c:v>38873</c:v>
                </c:pt>
                <c:pt idx="339">
                  <c:v>38874</c:v>
                </c:pt>
                <c:pt idx="340">
                  <c:v>38875</c:v>
                </c:pt>
                <c:pt idx="341">
                  <c:v>38876</c:v>
                </c:pt>
                <c:pt idx="342">
                  <c:v>38877</c:v>
                </c:pt>
                <c:pt idx="343">
                  <c:v>38880</c:v>
                </c:pt>
                <c:pt idx="344">
                  <c:v>38881</c:v>
                </c:pt>
                <c:pt idx="345">
                  <c:v>38882</c:v>
                </c:pt>
                <c:pt idx="346">
                  <c:v>38883</c:v>
                </c:pt>
                <c:pt idx="347">
                  <c:v>38884</c:v>
                </c:pt>
                <c:pt idx="348">
                  <c:v>38887</c:v>
                </c:pt>
                <c:pt idx="349">
                  <c:v>38888</c:v>
                </c:pt>
                <c:pt idx="350">
                  <c:v>38889</c:v>
                </c:pt>
                <c:pt idx="351">
                  <c:v>38890</c:v>
                </c:pt>
                <c:pt idx="352">
                  <c:v>38891</c:v>
                </c:pt>
                <c:pt idx="353">
                  <c:v>38894</c:v>
                </c:pt>
                <c:pt idx="354">
                  <c:v>38895</c:v>
                </c:pt>
                <c:pt idx="355">
                  <c:v>38896</c:v>
                </c:pt>
                <c:pt idx="356">
                  <c:v>38897</c:v>
                </c:pt>
                <c:pt idx="357">
                  <c:v>38898</c:v>
                </c:pt>
                <c:pt idx="358">
                  <c:v>38901</c:v>
                </c:pt>
                <c:pt idx="359">
                  <c:v>38902</c:v>
                </c:pt>
                <c:pt idx="360">
                  <c:v>38903</c:v>
                </c:pt>
                <c:pt idx="361">
                  <c:v>38904</c:v>
                </c:pt>
                <c:pt idx="362">
                  <c:v>38905</c:v>
                </c:pt>
                <c:pt idx="363">
                  <c:v>38908</c:v>
                </c:pt>
                <c:pt idx="364">
                  <c:v>38909</c:v>
                </c:pt>
                <c:pt idx="365">
                  <c:v>38910</c:v>
                </c:pt>
                <c:pt idx="366">
                  <c:v>38911</c:v>
                </c:pt>
                <c:pt idx="367">
                  <c:v>38912</c:v>
                </c:pt>
                <c:pt idx="368">
                  <c:v>38915</c:v>
                </c:pt>
                <c:pt idx="369">
                  <c:v>38916</c:v>
                </c:pt>
                <c:pt idx="370">
                  <c:v>38917</c:v>
                </c:pt>
                <c:pt idx="371">
                  <c:v>38918</c:v>
                </c:pt>
                <c:pt idx="372">
                  <c:v>38919</c:v>
                </c:pt>
                <c:pt idx="373">
                  <c:v>38922</c:v>
                </c:pt>
                <c:pt idx="374">
                  <c:v>38923</c:v>
                </c:pt>
                <c:pt idx="375">
                  <c:v>38924</c:v>
                </c:pt>
                <c:pt idx="376">
                  <c:v>38925</c:v>
                </c:pt>
                <c:pt idx="377">
                  <c:v>38926</c:v>
                </c:pt>
                <c:pt idx="378">
                  <c:v>38929</c:v>
                </c:pt>
                <c:pt idx="379">
                  <c:v>38930</c:v>
                </c:pt>
                <c:pt idx="380">
                  <c:v>38931</c:v>
                </c:pt>
                <c:pt idx="381">
                  <c:v>38932</c:v>
                </c:pt>
                <c:pt idx="382">
                  <c:v>38933</c:v>
                </c:pt>
                <c:pt idx="383">
                  <c:v>38936</c:v>
                </c:pt>
                <c:pt idx="384">
                  <c:v>38937</c:v>
                </c:pt>
                <c:pt idx="385">
                  <c:v>38938</c:v>
                </c:pt>
                <c:pt idx="386">
                  <c:v>38939</c:v>
                </c:pt>
                <c:pt idx="387">
                  <c:v>38940</c:v>
                </c:pt>
                <c:pt idx="388">
                  <c:v>38943</c:v>
                </c:pt>
                <c:pt idx="389">
                  <c:v>38944</c:v>
                </c:pt>
                <c:pt idx="390">
                  <c:v>38945</c:v>
                </c:pt>
                <c:pt idx="391">
                  <c:v>38946</c:v>
                </c:pt>
                <c:pt idx="392">
                  <c:v>38947</c:v>
                </c:pt>
                <c:pt idx="393">
                  <c:v>38950</c:v>
                </c:pt>
                <c:pt idx="394">
                  <c:v>38951</c:v>
                </c:pt>
                <c:pt idx="395">
                  <c:v>38952</c:v>
                </c:pt>
                <c:pt idx="396">
                  <c:v>38953</c:v>
                </c:pt>
                <c:pt idx="397">
                  <c:v>38954</c:v>
                </c:pt>
                <c:pt idx="398">
                  <c:v>38957</c:v>
                </c:pt>
                <c:pt idx="399">
                  <c:v>38958</c:v>
                </c:pt>
                <c:pt idx="400">
                  <c:v>38959</c:v>
                </c:pt>
                <c:pt idx="401">
                  <c:v>38960</c:v>
                </c:pt>
                <c:pt idx="402">
                  <c:v>38961</c:v>
                </c:pt>
                <c:pt idx="403">
                  <c:v>38964</c:v>
                </c:pt>
                <c:pt idx="404">
                  <c:v>38965</c:v>
                </c:pt>
                <c:pt idx="405">
                  <c:v>38966</c:v>
                </c:pt>
                <c:pt idx="406">
                  <c:v>38967</c:v>
                </c:pt>
                <c:pt idx="407">
                  <c:v>38968</c:v>
                </c:pt>
                <c:pt idx="408">
                  <c:v>38971</c:v>
                </c:pt>
                <c:pt idx="409">
                  <c:v>38972</c:v>
                </c:pt>
                <c:pt idx="410">
                  <c:v>38973</c:v>
                </c:pt>
                <c:pt idx="411">
                  <c:v>38974</c:v>
                </c:pt>
                <c:pt idx="412">
                  <c:v>38975</c:v>
                </c:pt>
                <c:pt idx="413">
                  <c:v>38978</c:v>
                </c:pt>
                <c:pt idx="414">
                  <c:v>38979</c:v>
                </c:pt>
                <c:pt idx="415">
                  <c:v>38980</c:v>
                </c:pt>
                <c:pt idx="416">
                  <c:v>38981</c:v>
                </c:pt>
                <c:pt idx="417">
                  <c:v>38982</c:v>
                </c:pt>
                <c:pt idx="418">
                  <c:v>38985</c:v>
                </c:pt>
                <c:pt idx="419">
                  <c:v>38986</c:v>
                </c:pt>
                <c:pt idx="420">
                  <c:v>38987</c:v>
                </c:pt>
                <c:pt idx="421">
                  <c:v>38988</c:v>
                </c:pt>
                <c:pt idx="422">
                  <c:v>38989</c:v>
                </c:pt>
                <c:pt idx="423">
                  <c:v>38999</c:v>
                </c:pt>
                <c:pt idx="424">
                  <c:v>39000</c:v>
                </c:pt>
                <c:pt idx="425">
                  <c:v>39001</c:v>
                </c:pt>
                <c:pt idx="426">
                  <c:v>39002</c:v>
                </c:pt>
                <c:pt idx="427">
                  <c:v>39003</c:v>
                </c:pt>
                <c:pt idx="428">
                  <c:v>39006</c:v>
                </c:pt>
                <c:pt idx="429">
                  <c:v>39007</c:v>
                </c:pt>
                <c:pt idx="430">
                  <c:v>39008</c:v>
                </c:pt>
                <c:pt idx="431">
                  <c:v>39009</c:v>
                </c:pt>
                <c:pt idx="432">
                  <c:v>39010</c:v>
                </c:pt>
                <c:pt idx="433">
                  <c:v>39013</c:v>
                </c:pt>
                <c:pt idx="434">
                  <c:v>39014</c:v>
                </c:pt>
                <c:pt idx="435">
                  <c:v>39015</c:v>
                </c:pt>
                <c:pt idx="436">
                  <c:v>39016</c:v>
                </c:pt>
                <c:pt idx="437">
                  <c:v>39017</c:v>
                </c:pt>
                <c:pt idx="438">
                  <c:v>39020</c:v>
                </c:pt>
                <c:pt idx="439">
                  <c:v>39021</c:v>
                </c:pt>
                <c:pt idx="440">
                  <c:v>39022</c:v>
                </c:pt>
                <c:pt idx="441">
                  <c:v>39023</c:v>
                </c:pt>
                <c:pt idx="442">
                  <c:v>39024</c:v>
                </c:pt>
                <c:pt idx="443">
                  <c:v>39027</c:v>
                </c:pt>
                <c:pt idx="444">
                  <c:v>39028</c:v>
                </c:pt>
                <c:pt idx="445">
                  <c:v>39029</c:v>
                </c:pt>
                <c:pt idx="446">
                  <c:v>39030</c:v>
                </c:pt>
                <c:pt idx="447">
                  <c:v>39031</c:v>
                </c:pt>
                <c:pt idx="448">
                  <c:v>39034</c:v>
                </c:pt>
                <c:pt idx="449">
                  <c:v>39035</c:v>
                </c:pt>
                <c:pt idx="450">
                  <c:v>39036</c:v>
                </c:pt>
                <c:pt idx="451">
                  <c:v>39037</c:v>
                </c:pt>
                <c:pt idx="452">
                  <c:v>39038</c:v>
                </c:pt>
                <c:pt idx="453">
                  <c:v>39041</c:v>
                </c:pt>
                <c:pt idx="454">
                  <c:v>39042</c:v>
                </c:pt>
                <c:pt idx="455">
                  <c:v>39043</c:v>
                </c:pt>
                <c:pt idx="456">
                  <c:v>39044</c:v>
                </c:pt>
                <c:pt idx="457">
                  <c:v>39045</c:v>
                </c:pt>
                <c:pt idx="458">
                  <c:v>39048</c:v>
                </c:pt>
                <c:pt idx="459">
                  <c:v>39049</c:v>
                </c:pt>
                <c:pt idx="460">
                  <c:v>39050</c:v>
                </c:pt>
                <c:pt idx="461">
                  <c:v>39051</c:v>
                </c:pt>
                <c:pt idx="462">
                  <c:v>39052</c:v>
                </c:pt>
                <c:pt idx="463">
                  <c:v>39055</c:v>
                </c:pt>
                <c:pt idx="464">
                  <c:v>39056</c:v>
                </c:pt>
                <c:pt idx="465">
                  <c:v>39057</c:v>
                </c:pt>
                <c:pt idx="466">
                  <c:v>39058</c:v>
                </c:pt>
                <c:pt idx="467">
                  <c:v>39059</c:v>
                </c:pt>
                <c:pt idx="468">
                  <c:v>39062</c:v>
                </c:pt>
                <c:pt idx="469">
                  <c:v>39063</c:v>
                </c:pt>
                <c:pt idx="470">
                  <c:v>39064</c:v>
                </c:pt>
                <c:pt idx="471">
                  <c:v>39065</c:v>
                </c:pt>
                <c:pt idx="472">
                  <c:v>39066</c:v>
                </c:pt>
                <c:pt idx="473">
                  <c:v>39069</c:v>
                </c:pt>
                <c:pt idx="474">
                  <c:v>39070</c:v>
                </c:pt>
                <c:pt idx="475">
                  <c:v>39071</c:v>
                </c:pt>
                <c:pt idx="476">
                  <c:v>39072</c:v>
                </c:pt>
                <c:pt idx="477">
                  <c:v>39073</c:v>
                </c:pt>
                <c:pt idx="478">
                  <c:v>39076</c:v>
                </c:pt>
                <c:pt idx="479">
                  <c:v>39077</c:v>
                </c:pt>
                <c:pt idx="480">
                  <c:v>39078</c:v>
                </c:pt>
                <c:pt idx="481">
                  <c:v>39079</c:v>
                </c:pt>
                <c:pt idx="482">
                  <c:v>39080</c:v>
                </c:pt>
                <c:pt idx="483">
                  <c:v>39086</c:v>
                </c:pt>
                <c:pt idx="484">
                  <c:v>39087</c:v>
                </c:pt>
                <c:pt idx="485">
                  <c:v>39090</c:v>
                </c:pt>
                <c:pt idx="486">
                  <c:v>39091</c:v>
                </c:pt>
                <c:pt idx="487">
                  <c:v>39092</c:v>
                </c:pt>
                <c:pt idx="488">
                  <c:v>39093</c:v>
                </c:pt>
                <c:pt idx="489">
                  <c:v>39094</c:v>
                </c:pt>
                <c:pt idx="490">
                  <c:v>39097</c:v>
                </c:pt>
                <c:pt idx="491">
                  <c:v>39098</c:v>
                </c:pt>
                <c:pt idx="492">
                  <c:v>39099</c:v>
                </c:pt>
                <c:pt idx="493">
                  <c:v>39100</c:v>
                </c:pt>
                <c:pt idx="494">
                  <c:v>39101</c:v>
                </c:pt>
                <c:pt idx="495">
                  <c:v>39104</c:v>
                </c:pt>
                <c:pt idx="496">
                  <c:v>39105</c:v>
                </c:pt>
                <c:pt idx="497">
                  <c:v>39106</c:v>
                </c:pt>
                <c:pt idx="498">
                  <c:v>39107</c:v>
                </c:pt>
                <c:pt idx="499">
                  <c:v>39108</c:v>
                </c:pt>
                <c:pt idx="500">
                  <c:v>39111</c:v>
                </c:pt>
                <c:pt idx="501">
                  <c:v>39112</c:v>
                </c:pt>
                <c:pt idx="502">
                  <c:v>39113</c:v>
                </c:pt>
                <c:pt idx="503">
                  <c:v>39114</c:v>
                </c:pt>
                <c:pt idx="504">
                  <c:v>39115</c:v>
                </c:pt>
                <c:pt idx="505">
                  <c:v>39118</c:v>
                </c:pt>
                <c:pt idx="506">
                  <c:v>39119</c:v>
                </c:pt>
                <c:pt idx="507">
                  <c:v>39120</c:v>
                </c:pt>
                <c:pt idx="508">
                  <c:v>39121</c:v>
                </c:pt>
                <c:pt idx="509">
                  <c:v>39122</c:v>
                </c:pt>
                <c:pt idx="510">
                  <c:v>39125</c:v>
                </c:pt>
                <c:pt idx="511">
                  <c:v>39126</c:v>
                </c:pt>
                <c:pt idx="512">
                  <c:v>39127</c:v>
                </c:pt>
                <c:pt idx="513">
                  <c:v>39128</c:v>
                </c:pt>
                <c:pt idx="514">
                  <c:v>39129</c:v>
                </c:pt>
                <c:pt idx="515">
                  <c:v>39139</c:v>
                </c:pt>
                <c:pt idx="516">
                  <c:v>39140</c:v>
                </c:pt>
                <c:pt idx="517">
                  <c:v>39141</c:v>
                </c:pt>
                <c:pt idx="518">
                  <c:v>39142</c:v>
                </c:pt>
                <c:pt idx="519">
                  <c:v>39143</c:v>
                </c:pt>
                <c:pt idx="520">
                  <c:v>39146</c:v>
                </c:pt>
                <c:pt idx="521">
                  <c:v>39147</c:v>
                </c:pt>
                <c:pt idx="522">
                  <c:v>39148</c:v>
                </c:pt>
                <c:pt idx="523">
                  <c:v>39149</c:v>
                </c:pt>
                <c:pt idx="524">
                  <c:v>39150</c:v>
                </c:pt>
                <c:pt idx="525">
                  <c:v>39153</c:v>
                </c:pt>
                <c:pt idx="526">
                  <c:v>39154</c:v>
                </c:pt>
                <c:pt idx="527">
                  <c:v>39155</c:v>
                </c:pt>
                <c:pt idx="528">
                  <c:v>39156</c:v>
                </c:pt>
                <c:pt idx="529">
                  <c:v>39157</c:v>
                </c:pt>
                <c:pt idx="530">
                  <c:v>39160</c:v>
                </c:pt>
                <c:pt idx="531">
                  <c:v>39161</c:v>
                </c:pt>
                <c:pt idx="532">
                  <c:v>39162</c:v>
                </c:pt>
                <c:pt idx="533">
                  <c:v>39163</c:v>
                </c:pt>
                <c:pt idx="534">
                  <c:v>39164</c:v>
                </c:pt>
                <c:pt idx="535">
                  <c:v>39167</c:v>
                </c:pt>
                <c:pt idx="536">
                  <c:v>39168</c:v>
                </c:pt>
                <c:pt idx="537">
                  <c:v>39169</c:v>
                </c:pt>
                <c:pt idx="538">
                  <c:v>39170</c:v>
                </c:pt>
                <c:pt idx="539">
                  <c:v>39171</c:v>
                </c:pt>
                <c:pt idx="540">
                  <c:v>39174</c:v>
                </c:pt>
                <c:pt idx="541">
                  <c:v>39175</c:v>
                </c:pt>
                <c:pt idx="542">
                  <c:v>39176</c:v>
                </c:pt>
                <c:pt idx="543">
                  <c:v>39177</c:v>
                </c:pt>
                <c:pt idx="544">
                  <c:v>39178</c:v>
                </c:pt>
                <c:pt idx="545">
                  <c:v>39181</c:v>
                </c:pt>
                <c:pt idx="546">
                  <c:v>39182</c:v>
                </c:pt>
                <c:pt idx="547">
                  <c:v>39183</c:v>
                </c:pt>
                <c:pt idx="548">
                  <c:v>39184</c:v>
                </c:pt>
                <c:pt idx="549">
                  <c:v>39185</c:v>
                </c:pt>
                <c:pt idx="550">
                  <c:v>39188</c:v>
                </c:pt>
                <c:pt idx="551">
                  <c:v>39189</c:v>
                </c:pt>
                <c:pt idx="552">
                  <c:v>39190</c:v>
                </c:pt>
                <c:pt idx="553">
                  <c:v>39191</c:v>
                </c:pt>
                <c:pt idx="554">
                  <c:v>39192</c:v>
                </c:pt>
                <c:pt idx="555">
                  <c:v>39195</c:v>
                </c:pt>
                <c:pt idx="556">
                  <c:v>39196</c:v>
                </c:pt>
                <c:pt idx="557">
                  <c:v>39197</c:v>
                </c:pt>
                <c:pt idx="558">
                  <c:v>39198</c:v>
                </c:pt>
                <c:pt idx="559">
                  <c:v>39199</c:v>
                </c:pt>
                <c:pt idx="560">
                  <c:v>39202</c:v>
                </c:pt>
                <c:pt idx="561">
                  <c:v>39210</c:v>
                </c:pt>
                <c:pt idx="562">
                  <c:v>39211</c:v>
                </c:pt>
                <c:pt idx="563">
                  <c:v>39212</c:v>
                </c:pt>
                <c:pt idx="564">
                  <c:v>39213</c:v>
                </c:pt>
                <c:pt idx="565">
                  <c:v>39216</c:v>
                </c:pt>
                <c:pt idx="566">
                  <c:v>39217</c:v>
                </c:pt>
                <c:pt idx="567">
                  <c:v>39218</c:v>
                </c:pt>
                <c:pt idx="568">
                  <c:v>39219</c:v>
                </c:pt>
                <c:pt idx="569">
                  <c:v>39220</c:v>
                </c:pt>
                <c:pt idx="570">
                  <c:v>39223</c:v>
                </c:pt>
                <c:pt idx="571">
                  <c:v>39224</c:v>
                </c:pt>
                <c:pt idx="572">
                  <c:v>39225</c:v>
                </c:pt>
                <c:pt idx="573">
                  <c:v>39226</c:v>
                </c:pt>
                <c:pt idx="574">
                  <c:v>39227</c:v>
                </c:pt>
                <c:pt idx="575">
                  <c:v>39230</c:v>
                </c:pt>
                <c:pt idx="576">
                  <c:v>39231</c:v>
                </c:pt>
                <c:pt idx="577">
                  <c:v>39232</c:v>
                </c:pt>
                <c:pt idx="578">
                  <c:v>39233</c:v>
                </c:pt>
                <c:pt idx="579">
                  <c:v>39234</c:v>
                </c:pt>
                <c:pt idx="580">
                  <c:v>39237</c:v>
                </c:pt>
                <c:pt idx="581">
                  <c:v>39238</c:v>
                </c:pt>
                <c:pt idx="582">
                  <c:v>39239</c:v>
                </c:pt>
                <c:pt idx="583">
                  <c:v>39240</c:v>
                </c:pt>
                <c:pt idx="584">
                  <c:v>39241</c:v>
                </c:pt>
                <c:pt idx="585">
                  <c:v>39244</c:v>
                </c:pt>
                <c:pt idx="586">
                  <c:v>39245</c:v>
                </c:pt>
                <c:pt idx="587">
                  <c:v>39246</c:v>
                </c:pt>
                <c:pt idx="588">
                  <c:v>39247</c:v>
                </c:pt>
                <c:pt idx="589">
                  <c:v>39248</c:v>
                </c:pt>
                <c:pt idx="590">
                  <c:v>39251</c:v>
                </c:pt>
                <c:pt idx="591">
                  <c:v>39252</c:v>
                </c:pt>
                <c:pt idx="592">
                  <c:v>39253</c:v>
                </c:pt>
                <c:pt idx="593">
                  <c:v>39254</c:v>
                </c:pt>
                <c:pt idx="594">
                  <c:v>39255</c:v>
                </c:pt>
                <c:pt idx="595">
                  <c:v>39258</c:v>
                </c:pt>
                <c:pt idx="596">
                  <c:v>39259</c:v>
                </c:pt>
                <c:pt idx="597">
                  <c:v>39260</c:v>
                </c:pt>
                <c:pt idx="598">
                  <c:v>39261</c:v>
                </c:pt>
                <c:pt idx="599">
                  <c:v>39262</c:v>
                </c:pt>
                <c:pt idx="600">
                  <c:v>39265</c:v>
                </c:pt>
                <c:pt idx="601">
                  <c:v>39266</c:v>
                </c:pt>
                <c:pt idx="602">
                  <c:v>39267</c:v>
                </c:pt>
                <c:pt idx="603">
                  <c:v>39268</c:v>
                </c:pt>
                <c:pt idx="604">
                  <c:v>39269</c:v>
                </c:pt>
                <c:pt idx="605">
                  <c:v>39272</c:v>
                </c:pt>
                <c:pt idx="606">
                  <c:v>39273</c:v>
                </c:pt>
                <c:pt idx="607">
                  <c:v>39274</c:v>
                </c:pt>
                <c:pt idx="608">
                  <c:v>39275</c:v>
                </c:pt>
                <c:pt idx="609">
                  <c:v>39276</c:v>
                </c:pt>
                <c:pt idx="610">
                  <c:v>39279</c:v>
                </c:pt>
                <c:pt idx="611">
                  <c:v>39280</c:v>
                </c:pt>
                <c:pt idx="612">
                  <c:v>39281</c:v>
                </c:pt>
                <c:pt idx="613">
                  <c:v>39282</c:v>
                </c:pt>
                <c:pt idx="614">
                  <c:v>39283</c:v>
                </c:pt>
                <c:pt idx="615">
                  <c:v>39286</c:v>
                </c:pt>
                <c:pt idx="616">
                  <c:v>39287</c:v>
                </c:pt>
                <c:pt idx="617">
                  <c:v>39288</c:v>
                </c:pt>
                <c:pt idx="618">
                  <c:v>39289</c:v>
                </c:pt>
                <c:pt idx="619">
                  <c:v>39290</c:v>
                </c:pt>
                <c:pt idx="620">
                  <c:v>39293</c:v>
                </c:pt>
                <c:pt idx="621">
                  <c:v>39294</c:v>
                </c:pt>
                <c:pt idx="622">
                  <c:v>39295</c:v>
                </c:pt>
                <c:pt idx="623">
                  <c:v>39296</c:v>
                </c:pt>
                <c:pt idx="624">
                  <c:v>39297</c:v>
                </c:pt>
                <c:pt idx="625">
                  <c:v>39300</c:v>
                </c:pt>
                <c:pt idx="626">
                  <c:v>39301</c:v>
                </c:pt>
                <c:pt idx="627">
                  <c:v>39302</c:v>
                </c:pt>
                <c:pt idx="628">
                  <c:v>39303</c:v>
                </c:pt>
                <c:pt idx="629">
                  <c:v>39304</c:v>
                </c:pt>
                <c:pt idx="630">
                  <c:v>39307</c:v>
                </c:pt>
                <c:pt idx="631">
                  <c:v>39308</c:v>
                </c:pt>
                <c:pt idx="632">
                  <c:v>39309</c:v>
                </c:pt>
                <c:pt idx="633">
                  <c:v>39310</c:v>
                </c:pt>
                <c:pt idx="634">
                  <c:v>39311</c:v>
                </c:pt>
                <c:pt idx="635">
                  <c:v>39314</c:v>
                </c:pt>
                <c:pt idx="636">
                  <c:v>39315</c:v>
                </c:pt>
                <c:pt idx="637">
                  <c:v>39316</c:v>
                </c:pt>
                <c:pt idx="638">
                  <c:v>39317</c:v>
                </c:pt>
                <c:pt idx="639">
                  <c:v>39318</c:v>
                </c:pt>
                <c:pt idx="640">
                  <c:v>39321</c:v>
                </c:pt>
                <c:pt idx="641">
                  <c:v>39322</c:v>
                </c:pt>
                <c:pt idx="642">
                  <c:v>39323</c:v>
                </c:pt>
                <c:pt idx="643">
                  <c:v>39324</c:v>
                </c:pt>
                <c:pt idx="644">
                  <c:v>39325</c:v>
                </c:pt>
                <c:pt idx="645">
                  <c:v>39328</c:v>
                </c:pt>
                <c:pt idx="646">
                  <c:v>39329</c:v>
                </c:pt>
                <c:pt idx="647">
                  <c:v>39330</c:v>
                </c:pt>
                <c:pt idx="648">
                  <c:v>39331</c:v>
                </c:pt>
                <c:pt idx="649">
                  <c:v>39332</c:v>
                </c:pt>
                <c:pt idx="650">
                  <c:v>39335</c:v>
                </c:pt>
                <c:pt idx="651">
                  <c:v>39336</c:v>
                </c:pt>
                <c:pt idx="652">
                  <c:v>39337</c:v>
                </c:pt>
                <c:pt idx="653">
                  <c:v>39338</c:v>
                </c:pt>
                <c:pt idx="654">
                  <c:v>39339</c:v>
                </c:pt>
                <c:pt idx="655">
                  <c:v>39342</c:v>
                </c:pt>
                <c:pt idx="656">
                  <c:v>39343</c:v>
                </c:pt>
                <c:pt idx="657">
                  <c:v>39344</c:v>
                </c:pt>
                <c:pt idx="658">
                  <c:v>39345</c:v>
                </c:pt>
                <c:pt idx="659">
                  <c:v>39346</c:v>
                </c:pt>
                <c:pt idx="660">
                  <c:v>39349</c:v>
                </c:pt>
                <c:pt idx="661">
                  <c:v>39350</c:v>
                </c:pt>
                <c:pt idx="662">
                  <c:v>39351</c:v>
                </c:pt>
                <c:pt idx="663">
                  <c:v>39352</c:v>
                </c:pt>
                <c:pt idx="664">
                  <c:v>39353</c:v>
                </c:pt>
                <c:pt idx="665">
                  <c:v>39363</c:v>
                </c:pt>
                <c:pt idx="666">
                  <c:v>39364</c:v>
                </c:pt>
                <c:pt idx="667">
                  <c:v>39365</c:v>
                </c:pt>
                <c:pt idx="668">
                  <c:v>39366</c:v>
                </c:pt>
                <c:pt idx="669">
                  <c:v>39367</c:v>
                </c:pt>
                <c:pt idx="670">
                  <c:v>39370</c:v>
                </c:pt>
                <c:pt idx="671">
                  <c:v>39371</c:v>
                </c:pt>
                <c:pt idx="672">
                  <c:v>39372</c:v>
                </c:pt>
                <c:pt idx="673">
                  <c:v>39373</c:v>
                </c:pt>
                <c:pt idx="674">
                  <c:v>39374</c:v>
                </c:pt>
                <c:pt idx="675">
                  <c:v>39377</c:v>
                </c:pt>
                <c:pt idx="676">
                  <c:v>39378</c:v>
                </c:pt>
                <c:pt idx="677">
                  <c:v>39379</c:v>
                </c:pt>
                <c:pt idx="678">
                  <c:v>39380</c:v>
                </c:pt>
                <c:pt idx="679">
                  <c:v>39381</c:v>
                </c:pt>
                <c:pt idx="680">
                  <c:v>39384</c:v>
                </c:pt>
                <c:pt idx="681">
                  <c:v>39385</c:v>
                </c:pt>
                <c:pt idx="682">
                  <c:v>39386</c:v>
                </c:pt>
                <c:pt idx="683">
                  <c:v>39387</c:v>
                </c:pt>
                <c:pt idx="684">
                  <c:v>39388</c:v>
                </c:pt>
                <c:pt idx="685">
                  <c:v>39391</c:v>
                </c:pt>
                <c:pt idx="686">
                  <c:v>39392</c:v>
                </c:pt>
                <c:pt idx="687">
                  <c:v>39393</c:v>
                </c:pt>
                <c:pt idx="688">
                  <c:v>39394</c:v>
                </c:pt>
                <c:pt idx="689">
                  <c:v>39395</c:v>
                </c:pt>
                <c:pt idx="690">
                  <c:v>39398</c:v>
                </c:pt>
                <c:pt idx="691">
                  <c:v>39399</c:v>
                </c:pt>
                <c:pt idx="692">
                  <c:v>39400</c:v>
                </c:pt>
                <c:pt idx="693">
                  <c:v>39401</c:v>
                </c:pt>
                <c:pt idx="694">
                  <c:v>39402</c:v>
                </c:pt>
                <c:pt idx="695">
                  <c:v>39405</c:v>
                </c:pt>
                <c:pt idx="696">
                  <c:v>39406</c:v>
                </c:pt>
                <c:pt idx="697">
                  <c:v>39407</c:v>
                </c:pt>
                <c:pt idx="698">
                  <c:v>39408</c:v>
                </c:pt>
                <c:pt idx="699">
                  <c:v>39409</c:v>
                </c:pt>
                <c:pt idx="700">
                  <c:v>39412</c:v>
                </c:pt>
                <c:pt idx="701">
                  <c:v>39413</c:v>
                </c:pt>
                <c:pt idx="702">
                  <c:v>39414</c:v>
                </c:pt>
                <c:pt idx="703">
                  <c:v>39415</c:v>
                </c:pt>
                <c:pt idx="704">
                  <c:v>39416</c:v>
                </c:pt>
                <c:pt idx="705">
                  <c:v>39419</c:v>
                </c:pt>
                <c:pt idx="706">
                  <c:v>39420</c:v>
                </c:pt>
                <c:pt idx="707">
                  <c:v>39421</c:v>
                </c:pt>
                <c:pt idx="708">
                  <c:v>39422</c:v>
                </c:pt>
                <c:pt idx="709">
                  <c:v>39423</c:v>
                </c:pt>
                <c:pt idx="710">
                  <c:v>39426</c:v>
                </c:pt>
                <c:pt idx="711">
                  <c:v>39427</c:v>
                </c:pt>
                <c:pt idx="712">
                  <c:v>39428</c:v>
                </c:pt>
                <c:pt idx="713">
                  <c:v>39429</c:v>
                </c:pt>
                <c:pt idx="714">
                  <c:v>39430</c:v>
                </c:pt>
                <c:pt idx="715">
                  <c:v>39433</c:v>
                </c:pt>
                <c:pt idx="716">
                  <c:v>39434</c:v>
                </c:pt>
                <c:pt idx="717">
                  <c:v>39435</c:v>
                </c:pt>
                <c:pt idx="718">
                  <c:v>39436</c:v>
                </c:pt>
                <c:pt idx="719">
                  <c:v>39437</c:v>
                </c:pt>
                <c:pt idx="720">
                  <c:v>39440</c:v>
                </c:pt>
                <c:pt idx="721">
                  <c:v>39441</c:v>
                </c:pt>
                <c:pt idx="722">
                  <c:v>39442</c:v>
                </c:pt>
                <c:pt idx="723">
                  <c:v>39443</c:v>
                </c:pt>
                <c:pt idx="724">
                  <c:v>39444</c:v>
                </c:pt>
                <c:pt idx="725">
                  <c:v>39449</c:v>
                </c:pt>
                <c:pt idx="726">
                  <c:v>39450</c:v>
                </c:pt>
                <c:pt idx="727">
                  <c:v>39451</c:v>
                </c:pt>
                <c:pt idx="728">
                  <c:v>39454</c:v>
                </c:pt>
                <c:pt idx="729">
                  <c:v>39455</c:v>
                </c:pt>
                <c:pt idx="730">
                  <c:v>39456</c:v>
                </c:pt>
                <c:pt idx="731">
                  <c:v>39457</c:v>
                </c:pt>
                <c:pt idx="732">
                  <c:v>39458</c:v>
                </c:pt>
                <c:pt idx="733">
                  <c:v>39461</c:v>
                </c:pt>
                <c:pt idx="734">
                  <c:v>39462</c:v>
                </c:pt>
                <c:pt idx="735">
                  <c:v>39463</c:v>
                </c:pt>
                <c:pt idx="736">
                  <c:v>39464</c:v>
                </c:pt>
                <c:pt idx="737">
                  <c:v>39465</c:v>
                </c:pt>
                <c:pt idx="738">
                  <c:v>39468</c:v>
                </c:pt>
                <c:pt idx="739">
                  <c:v>39469</c:v>
                </c:pt>
                <c:pt idx="740">
                  <c:v>39470</c:v>
                </c:pt>
                <c:pt idx="741">
                  <c:v>39471</c:v>
                </c:pt>
                <c:pt idx="742">
                  <c:v>39472</c:v>
                </c:pt>
                <c:pt idx="743">
                  <c:v>39475</c:v>
                </c:pt>
                <c:pt idx="744">
                  <c:v>39476</c:v>
                </c:pt>
                <c:pt idx="745">
                  <c:v>39477</c:v>
                </c:pt>
                <c:pt idx="746">
                  <c:v>39478</c:v>
                </c:pt>
                <c:pt idx="747">
                  <c:v>39479</c:v>
                </c:pt>
                <c:pt idx="748">
                  <c:v>39482</c:v>
                </c:pt>
                <c:pt idx="749">
                  <c:v>39483</c:v>
                </c:pt>
                <c:pt idx="750">
                  <c:v>39491</c:v>
                </c:pt>
                <c:pt idx="751">
                  <c:v>39492</c:v>
                </c:pt>
                <c:pt idx="752">
                  <c:v>39493</c:v>
                </c:pt>
                <c:pt idx="753">
                  <c:v>39496</c:v>
                </c:pt>
                <c:pt idx="754">
                  <c:v>39497</c:v>
                </c:pt>
                <c:pt idx="755">
                  <c:v>39498</c:v>
                </c:pt>
                <c:pt idx="756">
                  <c:v>39499</c:v>
                </c:pt>
                <c:pt idx="757">
                  <c:v>39500</c:v>
                </c:pt>
                <c:pt idx="758">
                  <c:v>39503</c:v>
                </c:pt>
                <c:pt idx="759">
                  <c:v>39504</c:v>
                </c:pt>
                <c:pt idx="760">
                  <c:v>39505</c:v>
                </c:pt>
                <c:pt idx="761">
                  <c:v>39506</c:v>
                </c:pt>
                <c:pt idx="762">
                  <c:v>39507</c:v>
                </c:pt>
                <c:pt idx="763">
                  <c:v>39510</c:v>
                </c:pt>
                <c:pt idx="764">
                  <c:v>39511</c:v>
                </c:pt>
                <c:pt idx="765">
                  <c:v>39512</c:v>
                </c:pt>
                <c:pt idx="766">
                  <c:v>39513</c:v>
                </c:pt>
                <c:pt idx="767">
                  <c:v>39514</c:v>
                </c:pt>
                <c:pt idx="768">
                  <c:v>39517</c:v>
                </c:pt>
                <c:pt idx="769">
                  <c:v>39518</c:v>
                </c:pt>
                <c:pt idx="770">
                  <c:v>39519</c:v>
                </c:pt>
                <c:pt idx="771">
                  <c:v>39520</c:v>
                </c:pt>
                <c:pt idx="772">
                  <c:v>39521</c:v>
                </c:pt>
                <c:pt idx="773">
                  <c:v>39524</c:v>
                </c:pt>
                <c:pt idx="774">
                  <c:v>39525</c:v>
                </c:pt>
                <c:pt idx="775">
                  <c:v>39526</c:v>
                </c:pt>
                <c:pt idx="776">
                  <c:v>39527</c:v>
                </c:pt>
                <c:pt idx="777">
                  <c:v>39528</c:v>
                </c:pt>
                <c:pt idx="778">
                  <c:v>39531</c:v>
                </c:pt>
                <c:pt idx="779">
                  <c:v>39532</c:v>
                </c:pt>
                <c:pt idx="780">
                  <c:v>39533</c:v>
                </c:pt>
                <c:pt idx="781">
                  <c:v>39534</c:v>
                </c:pt>
                <c:pt idx="782">
                  <c:v>39535</c:v>
                </c:pt>
                <c:pt idx="783">
                  <c:v>39538</c:v>
                </c:pt>
                <c:pt idx="784">
                  <c:v>39539</c:v>
                </c:pt>
                <c:pt idx="785">
                  <c:v>39540</c:v>
                </c:pt>
                <c:pt idx="786">
                  <c:v>39541</c:v>
                </c:pt>
                <c:pt idx="787">
                  <c:v>39545</c:v>
                </c:pt>
                <c:pt idx="788">
                  <c:v>39546</c:v>
                </c:pt>
                <c:pt idx="789">
                  <c:v>39547</c:v>
                </c:pt>
                <c:pt idx="790">
                  <c:v>39548</c:v>
                </c:pt>
                <c:pt idx="791">
                  <c:v>39549</c:v>
                </c:pt>
                <c:pt idx="792">
                  <c:v>39552</c:v>
                </c:pt>
                <c:pt idx="793">
                  <c:v>39553</c:v>
                </c:pt>
                <c:pt idx="794">
                  <c:v>39554</c:v>
                </c:pt>
                <c:pt idx="795">
                  <c:v>39555</c:v>
                </c:pt>
                <c:pt idx="796">
                  <c:v>39556</c:v>
                </c:pt>
                <c:pt idx="797">
                  <c:v>39559</c:v>
                </c:pt>
                <c:pt idx="798">
                  <c:v>39560</c:v>
                </c:pt>
                <c:pt idx="799">
                  <c:v>39561</c:v>
                </c:pt>
                <c:pt idx="800">
                  <c:v>39562</c:v>
                </c:pt>
                <c:pt idx="801">
                  <c:v>39563</c:v>
                </c:pt>
                <c:pt idx="802">
                  <c:v>39566</c:v>
                </c:pt>
                <c:pt idx="803">
                  <c:v>39567</c:v>
                </c:pt>
                <c:pt idx="804">
                  <c:v>39568</c:v>
                </c:pt>
                <c:pt idx="805">
                  <c:v>39573</c:v>
                </c:pt>
                <c:pt idx="806">
                  <c:v>39574</c:v>
                </c:pt>
                <c:pt idx="807">
                  <c:v>39575</c:v>
                </c:pt>
                <c:pt idx="808">
                  <c:v>39576</c:v>
                </c:pt>
                <c:pt idx="809">
                  <c:v>39577</c:v>
                </c:pt>
                <c:pt idx="810">
                  <c:v>39580</c:v>
                </c:pt>
                <c:pt idx="811">
                  <c:v>39581</c:v>
                </c:pt>
                <c:pt idx="812">
                  <c:v>39582</c:v>
                </c:pt>
                <c:pt idx="813">
                  <c:v>39583</c:v>
                </c:pt>
                <c:pt idx="814">
                  <c:v>39584</c:v>
                </c:pt>
                <c:pt idx="815">
                  <c:v>39587</c:v>
                </c:pt>
                <c:pt idx="816">
                  <c:v>39588</c:v>
                </c:pt>
                <c:pt idx="817">
                  <c:v>39589</c:v>
                </c:pt>
                <c:pt idx="818">
                  <c:v>39590</c:v>
                </c:pt>
                <c:pt idx="819">
                  <c:v>39591</c:v>
                </c:pt>
                <c:pt idx="820">
                  <c:v>39594</c:v>
                </c:pt>
                <c:pt idx="821">
                  <c:v>39595</c:v>
                </c:pt>
                <c:pt idx="822">
                  <c:v>39596</c:v>
                </c:pt>
                <c:pt idx="823">
                  <c:v>39597</c:v>
                </c:pt>
                <c:pt idx="824">
                  <c:v>39598</c:v>
                </c:pt>
                <c:pt idx="825">
                  <c:v>39601</c:v>
                </c:pt>
                <c:pt idx="826">
                  <c:v>39602</c:v>
                </c:pt>
                <c:pt idx="827">
                  <c:v>39603</c:v>
                </c:pt>
                <c:pt idx="828">
                  <c:v>39604</c:v>
                </c:pt>
                <c:pt idx="829">
                  <c:v>39605</c:v>
                </c:pt>
                <c:pt idx="830">
                  <c:v>39609</c:v>
                </c:pt>
                <c:pt idx="831">
                  <c:v>39610</c:v>
                </c:pt>
                <c:pt idx="832">
                  <c:v>39611</c:v>
                </c:pt>
                <c:pt idx="833">
                  <c:v>39612</c:v>
                </c:pt>
                <c:pt idx="834">
                  <c:v>39615</c:v>
                </c:pt>
                <c:pt idx="835">
                  <c:v>39616</c:v>
                </c:pt>
                <c:pt idx="836">
                  <c:v>39617</c:v>
                </c:pt>
                <c:pt idx="837">
                  <c:v>39618</c:v>
                </c:pt>
                <c:pt idx="838">
                  <c:v>39619</c:v>
                </c:pt>
                <c:pt idx="839">
                  <c:v>39622</c:v>
                </c:pt>
                <c:pt idx="840">
                  <c:v>39623</c:v>
                </c:pt>
                <c:pt idx="841">
                  <c:v>39624</c:v>
                </c:pt>
                <c:pt idx="842">
                  <c:v>39625</c:v>
                </c:pt>
                <c:pt idx="843">
                  <c:v>39626</c:v>
                </c:pt>
                <c:pt idx="844">
                  <c:v>39629</c:v>
                </c:pt>
                <c:pt idx="845">
                  <c:v>39630</c:v>
                </c:pt>
                <c:pt idx="846">
                  <c:v>39631</c:v>
                </c:pt>
                <c:pt idx="847">
                  <c:v>39632</c:v>
                </c:pt>
                <c:pt idx="848">
                  <c:v>39633</c:v>
                </c:pt>
                <c:pt idx="849">
                  <c:v>39636</c:v>
                </c:pt>
                <c:pt idx="850">
                  <c:v>39637</c:v>
                </c:pt>
                <c:pt idx="851">
                  <c:v>39638</c:v>
                </c:pt>
                <c:pt idx="852">
                  <c:v>39639</c:v>
                </c:pt>
                <c:pt idx="853">
                  <c:v>39640</c:v>
                </c:pt>
                <c:pt idx="854">
                  <c:v>39643</c:v>
                </c:pt>
                <c:pt idx="855">
                  <c:v>39644</c:v>
                </c:pt>
                <c:pt idx="856">
                  <c:v>39645</c:v>
                </c:pt>
                <c:pt idx="857">
                  <c:v>39646</c:v>
                </c:pt>
                <c:pt idx="858">
                  <c:v>39647</c:v>
                </c:pt>
                <c:pt idx="859">
                  <c:v>39650</c:v>
                </c:pt>
                <c:pt idx="860">
                  <c:v>39651</c:v>
                </c:pt>
                <c:pt idx="861">
                  <c:v>39652</c:v>
                </c:pt>
                <c:pt idx="862">
                  <c:v>39653</c:v>
                </c:pt>
                <c:pt idx="863">
                  <c:v>39654</c:v>
                </c:pt>
                <c:pt idx="864">
                  <c:v>39657</c:v>
                </c:pt>
                <c:pt idx="865">
                  <c:v>39658</c:v>
                </c:pt>
                <c:pt idx="866">
                  <c:v>39659</c:v>
                </c:pt>
                <c:pt idx="867">
                  <c:v>39660</c:v>
                </c:pt>
                <c:pt idx="868">
                  <c:v>39661</c:v>
                </c:pt>
                <c:pt idx="869">
                  <c:v>39664</c:v>
                </c:pt>
                <c:pt idx="870">
                  <c:v>39665</c:v>
                </c:pt>
                <c:pt idx="871">
                  <c:v>39666</c:v>
                </c:pt>
                <c:pt idx="872">
                  <c:v>39667</c:v>
                </c:pt>
                <c:pt idx="873">
                  <c:v>39668</c:v>
                </c:pt>
                <c:pt idx="874">
                  <c:v>39671</c:v>
                </c:pt>
                <c:pt idx="875">
                  <c:v>39672</c:v>
                </c:pt>
                <c:pt idx="876">
                  <c:v>39673</c:v>
                </c:pt>
                <c:pt idx="877">
                  <c:v>39674</c:v>
                </c:pt>
                <c:pt idx="878">
                  <c:v>39675</c:v>
                </c:pt>
                <c:pt idx="879">
                  <c:v>39678</c:v>
                </c:pt>
                <c:pt idx="880">
                  <c:v>39679</c:v>
                </c:pt>
                <c:pt idx="881">
                  <c:v>39680</c:v>
                </c:pt>
                <c:pt idx="882">
                  <c:v>39681</c:v>
                </c:pt>
                <c:pt idx="883">
                  <c:v>39682</c:v>
                </c:pt>
                <c:pt idx="884">
                  <c:v>39685</c:v>
                </c:pt>
                <c:pt idx="885">
                  <c:v>39686</c:v>
                </c:pt>
                <c:pt idx="886">
                  <c:v>39687</c:v>
                </c:pt>
                <c:pt idx="887">
                  <c:v>39688</c:v>
                </c:pt>
                <c:pt idx="888">
                  <c:v>39689</c:v>
                </c:pt>
                <c:pt idx="889">
                  <c:v>39692</c:v>
                </c:pt>
                <c:pt idx="890">
                  <c:v>39693</c:v>
                </c:pt>
                <c:pt idx="891">
                  <c:v>39694</c:v>
                </c:pt>
                <c:pt idx="892">
                  <c:v>39695</c:v>
                </c:pt>
                <c:pt idx="893">
                  <c:v>39696</c:v>
                </c:pt>
                <c:pt idx="894">
                  <c:v>39699</c:v>
                </c:pt>
                <c:pt idx="895">
                  <c:v>39700</c:v>
                </c:pt>
                <c:pt idx="896">
                  <c:v>39701</c:v>
                </c:pt>
                <c:pt idx="897">
                  <c:v>39702</c:v>
                </c:pt>
                <c:pt idx="898">
                  <c:v>39703</c:v>
                </c:pt>
                <c:pt idx="899">
                  <c:v>39707</c:v>
                </c:pt>
                <c:pt idx="900">
                  <c:v>39708</c:v>
                </c:pt>
                <c:pt idx="901">
                  <c:v>39709</c:v>
                </c:pt>
                <c:pt idx="902">
                  <c:v>39710</c:v>
                </c:pt>
                <c:pt idx="903">
                  <c:v>39713</c:v>
                </c:pt>
                <c:pt idx="904">
                  <c:v>39714</c:v>
                </c:pt>
                <c:pt idx="905">
                  <c:v>39715</c:v>
                </c:pt>
                <c:pt idx="906">
                  <c:v>39716</c:v>
                </c:pt>
                <c:pt idx="907">
                  <c:v>39717</c:v>
                </c:pt>
                <c:pt idx="908">
                  <c:v>39727</c:v>
                </c:pt>
                <c:pt idx="909">
                  <c:v>39728</c:v>
                </c:pt>
                <c:pt idx="910">
                  <c:v>39729</c:v>
                </c:pt>
                <c:pt idx="911">
                  <c:v>39730</c:v>
                </c:pt>
                <c:pt idx="912">
                  <c:v>39731</c:v>
                </c:pt>
                <c:pt idx="913">
                  <c:v>39734</c:v>
                </c:pt>
                <c:pt idx="914">
                  <c:v>39735</c:v>
                </c:pt>
                <c:pt idx="915">
                  <c:v>39736</c:v>
                </c:pt>
                <c:pt idx="916">
                  <c:v>39737</c:v>
                </c:pt>
                <c:pt idx="917">
                  <c:v>39738</c:v>
                </c:pt>
                <c:pt idx="918">
                  <c:v>39741</c:v>
                </c:pt>
                <c:pt idx="919">
                  <c:v>39742</c:v>
                </c:pt>
                <c:pt idx="920">
                  <c:v>39743</c:v>
                </c:pt>
                <c:pt idx="921">
                  <c:v>39744</c:v>
                </c:pt>
                <c:pt idx="922">
                  <c:v>39745</c:v>
                </c:pt>
                <c:pt idx="923">
                  <c:v>39748</c:v>
                </c:pt>
                <c:pt idx="924">
                  <c:v>39749</c:v>
                </c:pt>
                <c:pt idx="925">
                  <c:v>39750</c:v>
                </c:pt>
                <c:pt idx="926">
                  <c:v>39751</c:v>
                </c:pt>
                <c:pt idx="927">
                  <c:v>39752</c:v>
                </c:pt>
                <c:pt idx="928">
                  <c:v>39755</c:v>
                </c:pt>
                <c:pt idx="929">
                  <c:v>39756</c:v>
                </c:pt>
                <c:pt idx="930">
                  <c:v>39757</c:v>
                </c:pt>
                <c:pt idx="931">
                  <c:v>39758</c:v>
                </c:pt>
                <c:pt idx="932">
                  <c:v>39759</c:v>
                </c:pt>
                <c:pt idx="933">
                  <c:v>39762</c:v>
                </c:pt>
                <c:pt idx="934">
                  <c:v>39763</c:v>
                </c:pt>
                <c:pt idx="935">
                  <c:v>39764</c:v>
                </c:pt>
                <c:pt idx="936">
                  <c:v>39765</c:v>
                </c:pt>
                <c:pt idx="937">
                  <c:v>39766</c:v>
                </c:pt>
                <c:pt idx="938">
                  <c:v>39769</c:v>
                </c:pt>
                <c:pt idx="939">
                  <c:v>39770</c:v>
                </c:pt>
                <c:pt idx="940">
                  <c:v>39771</c:v>
                </c:pt>
                <c:pt idx="941">
                  <c:v>39772</c:v>
                </c:pt>
                <c:pt idx="942">
                  <c:v>39773</c:v>
                </c:pt>
                <c:pt idx="943">
                  <c:v>39776</c:v>
                </c:pt>
                <c:pt idx="944">
                  <c:v>39777</c:v>
                </c:pt>
                <c:pt idx="945">
                  <c:v>39778</c:v>
                </c:pt>
                <c:pt idx="946">
                  <c:v>39779</c:v>
                </c:pt>
                <c:pt idx="947">
                  <c:v>39780</c:v>
                </c:pt>
                <c:pt idx="948">
                  <c:v>39783</c:v>
                </c:pt>
                <c:pt idx="949">
                  <c:v>39784</c:v>
                </c:pt>
                <c:pt idx="950">
                  <c:v>39785</c:v>
                </c:pt>
                <c:pt idx="951">
                  <c:v>39786</c:v>
                </c:pt>
                <c:pt idx="952">
                  <c:v>39787</c:v>
                </c:pt>
                <c:pt idx="953">
                  <c:v>39790</c:v>
                </c:pt>
                <c:pt idx="954">
                  <c:v>39791</c:v>
                </c:pt>
                <c:pt idx="955">
                  <c:v>39792</c:v>
                </c:pt>
                <c:pt idx="956">
                  <c:v>39793</c:v>
                </c:pt>
                <c:pt idx="957">
                  <c:v>39794</c:v>
                </c:pt>
                <c:pt idx="958">
                  <c:v>39797</c:v>
                </c:pt>
                <c:pt idx="959">
                  <c:v>39798</c:v>
                </c:pt>
                <c:pt idx="960">
                  <c:v>39799</c:v>
                </c:pt>
                <c:pt idx="961">
                  <c:v>39800</c:v>
                </c:pt>
                <c:pt idx="962">
                  <c:v>39801</c:v>
                </c:pt>
                <c:pt idx="963">
                  <c:v>39804</c:v>
                </c:pt>
                <c:pt idx="964">
                  <c:v>39805</c:v>
                </c:pt>
                <c:pt idx="965">
                  <c:v>39806</c:v>
                </c:pt>
                <c:pt idx="966">
                  <c:v>39807</c:v>
                </c:pt>
                <c:pt idx="967">
                  <c:v>39808</c:v>
                </c:pt>
                <c:pt idx="968">
                  <c:v>39811</c:v>
                </c:pt>
                <c:pt idx="969">
                  <c:v>39812</c:v>
                </c:pt>
                <c:pt idx="970">
                  <c:v>39813</c:v>
                </c:pt>
                <c:pt idx="971">
                  <c:v>39818</c:v>
                </c:pt>
                <c:pt idx="972">
                  <c:v>39819</c:v>
                </c:pt>
                <c:pt idx="973">
                  <c:v>39820</c:v>
                </c:pt>
                <c:pt idx="974">
                  <c:v>39821</c:v>
                </c:pt>
                <c:pt idx="975">
                  <c:v>39822</c:v>
                </c:pt>
                <c:pt idx="976">
                  <c:v>39825</c:v>
                </c:pt>
                <c:pt idx="977">
                  <c:v>39826</c:v>
                </c:pt>
                <c:pt idx="978">
                  <c:v>39827</c:v>
                </c:pt>
                <c:pt idx="979">
                  <c:v>39828</c:v>
                </c:pt>
                <c:pt idx="980">
                  <c:v>39829</c:v>
                </c:pt>
                <c:pt idx="981">
                  <c:v>39832</c:v>
                </c:pt>
                <c:pt idx="982">
                  <c:v>39833</c:v>
                </c:pt>
                <c:pt idx="983">
                  <c:v>39834</c:v>
                </c:pt>
                <c:pt idx="984">
                  <c:v>39835</c:v>
                </c:pt>
                <c:pt idx="985">
                  <c:v>39836</c:v>
                </c:pt>
                <c:pt idx="986">
                  <c:v>39846</c:v>
                </c:pt>
                <c:pt idx="987">
                  <c:v>39847</c:v>
                </c:pt>
                <c:pt idx="988">
                  <c:v>39848</c:v>
                </c:pt>
                <c:pt idx="989">
                  <c:v>39849</c:v>
                </c:pt>
                <c:pt idx="990">
                  <c:v>39850</c:v>
                </c:pt>
                <c:pt idx="991">
                  <c:v>39853</c:v>
                </c:pt>
                <c:pt idx="992">
                  <c:v>39854</c:v>
                </c:pt>
                <c:pt idx="993">
                  <c:v>39855</c:v>
                </c:pt>
                <c:pt idx="994">
                  <c:v>39856</c:v>
                </c:pt>
                <c:pt idx="995">
                  <c:v>39857</c:v>
                </c:pt>
                <c:pt idx="996">
                  <c:v>39860</c:v>
                </c:pt>
                <c:pt idx="997">
                  <c:v>39861</c:v>
                </c:pt>
                <c:pt idx="998">
                  <c:v>39862</c:v>
                </c:pt>
                <c:pt idx="999">
                  <c:v>39863</c:v>
                </c:pt>
                <c:pt idx="1000">
                  <c:v>39864</c:v>
                </c:pt>
                <c:pt idx="1001">
                  <c:v>39867</c:v>
                </c:pt>
                <c:pt idx="1002">
                  <c:v>39868</c:v>
                </c:pt>
                <c:pt idx="1003">
                  <c:v>39869</c:v>
                </c:pt>
                <c:pt idx="1004">
                  <c:v>39870</c:v>
                </c:pt>
                <c:pt idx="1005">
                  <c:v>39871</c:v>
                </c:pt>
                <c:pt idx="1006">
                  <c:v>39874</c:v>
                </c:pt>
                <c:pt idx="1007">
                  <c:v>39875</c:v>
                </c:pt>
                <c:pt idx="1008">
                  <c:v>39876</c:v>
                </c:pt>
                <c:pt idx="1009">
                  <c:v>39877</c:v>
                </c:pt>
                <c:pt idx="1010">
                  <c:v>39878</c:v>
                </c:pt>
                <c:pt idx="1011">
                  <c:v>39881</c:v>
                </c:pt>
                <c:pt idx="1012">
                  <c:v>39882</c:v>
                </c:pt>
                <c:pt idx="1013">
                  <c:v>39883</c:v>
                </c:pt>
                <c:pt idx="1014">
                  <c:v>39884</c:v>
                </c:pt>
                <c:pt idx="1015">
                  <c:v>39885</c:v>
                </c:pt>
                <c:pt idx="1016">
                  <c:v>39888</c:v>
                </c:pt>
                <c:pt idx="1017">
                  <c:v>39889</c:v>
                </c:pt>
                <c:pt idx="1018">
                  <c:v>39890</c:v>
                </c:pt>
                <c:pt idx="1019">
                  <c:v>39891</c:v>
                </c:pt>
                <c:pt idx="1020">
                  <c:v>39892</c:v>
                </c:pt>
                <c:pt idx="1021">
                  <c:v>39895</c:v>
                </c:pt>
                <c:pt idx="1022">
                  <c:v>39896</c:v>
                </c:pt>
                <c:pt idx="1023">
                  <c:v>39897</c:v>
                </c:pt>
                <c:pt idx="1024">
                  <c:v>39898</c:v>
                </c:pt>
                <c:pt idx="1025">
                  <c:v>39899</c:v>
                </c:pt>
                <c:pt idx="1026">
                  <c:v>39902</c:v>
                </c:pt>
                <c:pt idx="1027">
                  <c:v>39903</c:v>
                </c:pt>
                <c:pt idx="1028">
                  <c:v>39904</c:v>
                </c:pt>
                <c:pt idx="1029">
                  <c:v>39905</c:v>
                </c:pt>
                <c:pt idx="1030">
                  <c:v>39906</c:v>
                </c:pt>
                <c:pt idx="1031">
                  <c:v>39910</c:v>
                </c:pt>
                <c:pt idx="1032">
                  <c:v>39911</c:v>
                </c:pt>
                <c:pt idx="1033">
                  <c:v>39912</c:v>
                </c:pt>
                <c:pt idx="1034">
                  <c:v>39913</c:v>
                </c:pt>
                <c:pt idx="1035">
                  <c:v>39916</c:v>
                </c:pt>
                <c:pt idx="1036">
                  <c:v>39917</c:v>
                </c:pt>
                <c:pt idx="1037">
                  <c:v>39918</c:v>
                </c:pt>
                <c:pt idx="1038">
                  <c:v>39919</c:v>
                </c:pt>
                <c:pt idx="1039">
                  <c:v>39920</c:v>
                </c:pt>
                <c:pt idx="1040">
                  <c:v>39923</c:v>
                </c:pt>
                <c:pt idx="1041">
                  <c:v>39924</c:v>
                </c:pt>
                <c:pt idx="1042">
                  <c:v>39925</c:v>
                </c:pt>
                <c:pt idx="1043">
                  <c:v>39926</c:v>
                </c:pt>
                <c:pt idx="1044">
                  <c:v>39927</c:v>
                </c:pt>
                <c:pt idx="1045">
                  <c:v>39930</c:v>
                </c:pt>
                <c:pt idx="1046">
                  <c:v>39931</c:v>
                </c:pt>
                <c:pt idx="1047">
                  <c:v>39932</c:v>
                </c:pt>
                <c:pt idx="1048">
                  <c:v>39933</c:v>
                </c:pt>
                <c:pt idx="1049">
                  <c:v>39937</c:v>
                </c:pt>
                <c:pt idx="1050">
                  <c:v>39938</c:v>
                </c:pt>
                <c:pt idx="1051">
                  <c:v>39939</c:v>
                </c:pt>
                <c:pt idx="1052">
                  <c:v>39940</c:v>
                </c:pt>
                <c:pt idx="1053">
                  <c:v>39941</c:v>
                </c:pt>
                <c:pt idx="1054">
                  <c:v>39944</c:v>
                </c:pt>
                <c:pt idx="1055">
                  <c:v>39945</c:v>
                </c:pt>
                <c:pt idx="1056">
                  <c:v>39946</c:v>
                </c:pt>
                <c:pt idx="1057">
                  <c:v>39947</c:v>
                </c:pt>
                <c:pt idx="1058">
                  <c:v>39948</c:v>
                </c:pt>
                <c:pt idx="1059">
                  <c:v>39951</c:v>
                </c:pt>
                <c:pt idx="1060">
                  <c:v>39952</c:v>
                </c:pt>
                <c:pt idx="1061">
                  <c:v>39953</c:v>
                </c:pt>
                <c:pt idx="1062">
                  <c:v>39954</c:v>
                </c:pt>
                <c:pt idx="1063">
                  <c:v>39955</c:v>
                </c:pt>
                <c:pt idx="1064">
                  <c:v>39958</c:v>
                </c:pt>
                <c:pt idx="1065">
                  <c:v>39959</c:v>
                </c:pt>
                <c:pt idx="1066">
                  <c:v>39960</c:v>
                </c:pt>
                <c:pt idx="1067">
                  <c:v>39965</c:v>
                </c:pt>
                <c:pt idx="1068">
                  <c:v>39966</c:v>
                </c:pt>
                <c:pt idx="1069">
                  <c:v>39967</c:v>
                </c:pt>
                <c:pt idx="1070">
                  <c:v>39968</c:v>
                </c:pt>
                <c:pt idx="1071">
                  <c:v>39969</c:v>
                </c:pt>
                <c:pt idx="1072">
                  <c:v>39972</c:v>
                </c:pt>
                <c:pt idx="1073">
                  <c:v>39973</c:v>
                </c:pt>
                <c:pt idx="1074">
                  <c:v>39974</c:v>
                </c:pt>
                <c:pt idx="1075">
                  <c:v>39975</c:v>
                </c:pt>
                <c:pt idx="1076">
                  <c:v>39976</c:v>
                </c:pt>
                <c:pt idx="1077">
                  <c:v>39979</c:v>
                </c:pt>
                <c:pt idx="1078">
                  <c:v>39980</c:v>
                </c:pt>
                <c:pt idx="1079">
                  <c:v>39981</c:v>
                </c:pt>
                <c:pt idx="1080">
                  <c:v>39982</c:v>
                </c:pt>
                <c:pt idx="1081">
                  <c:v>39983</c:v>
                </c:pt>
                <c:pt idx="1082">
                  <c:v>39986</c:v>
                </c:pt>
                <c:pt idx="1083">
                  <c:v>39987</c:v>
                </c:pt>
                <c:pt idx="1084">
                  <c:v>39988</c:v>
                </c:pt>
                <c:pt idx="1085">
                  <c:v>39989</c:v>
                </c:pt>
                <c:pt idx="1086">
                  <c:v>39990</c:v>
                </c:pt>
                <c:pt idx="1087">
                  <c:v>39993</c:v>
                </c:pt>
                <c:pt idx="1088">
                  <c:v>39994</c:v>
                </c:pt>
                <c:pt idx="1089">
                  <c:v>39995</c:v>
                </c:pt>
                <c:pt idx="1090">
                  <c:v>39996</c:v>
                </c:pt>
                <c:pt idx="1091">
                  <c:v>39997</c:v>
                </c:pt>
                <c:pt idx="1092">
                  <c:v>40000</c:v>
                </c:pt>
                <c:pt idx="1093">
                  <c:v>40001</c:v>
                </c:pt>
                <c:pt idx="1094">
                  <c:v>40002</c:v>
                </c:pt>
                <c:pt idx="1095">
                  <c:v>40003</c:v>
                </c:pt>
                <c:pt idx="1096">
                  <c:v>40004</c:v>
                </c:pt>
                <c:pt idx="1097">
                  <c:v>40007</c:v>
                </c:pt>
                <c:pt idx="1098">
                  <c:v>40008</c:v>
                </c:pt>
                <c:pt idx="1099">
                  <c:v>40009</c:v>
                </c:pt>
                <c:pt idx="1100">
                  <c:v>40010</c:v>
                </c:pt>
                <c:pt idx="1101">
                  <c:v>40011</c:v>
                </c:pt>
                <c:pt idx="1102">
                  <c:v>40014</c:v>
                </c:pt>
                <c:pt idx="1103">
                  <c:v>40015</c:v>
                </c:pt>
                <c:pt idx="1104">
                  <c:v>40016</c:v>
                </c:pt>
                <c:pt idx="1105">
                  <c:v>40017</c:v>
                </c:pt>
                <c:pt idx="1106">
                  <c:v>40018</c:v>
                </c:pt>
                <c:pt idx="1107">
                  <c:v>40021</c:v>
                </c:pt>
                <c:pt idx="1108">
                  <c:v>40022</c:v>
                </c:pt>
                <c:pt idx="1109">
                  <c:v>40023</c:v>
                </c:pt>
                <c:pt idx="1110">
                  <c:v>40024</c:v>
                </c:pt>
                <c:pt idx="1111">
                  <c:v>40025</c:v>
                </c:pt>
                <c:pt idx="1112">
                  <c:v>40028</c:v>
                </c:pt>
                <c:pt idx="1113">
                  <c:v>40029</c:v>
                </c:pt>
                <c:pt idx="1114">
                  <c:v>40030</c:v>
                </c:pt>
                <c:pt idx="1115">
                  <c:v>40031</c:v>
                </c:pt>
                <c:pt idx="1116">
                  <c:v>40032</c:v>
                </c:pt>
                <c:pt idx="1117">
                  <c:v>40035</c:v>
                </c:pt>
                <c:pt idx="1118">
                  <c:v>40036</c:v>
                </c:pt>
                <c:pt idx="1119">
                  <c:v>40037</c:v>
                </c:pt>
                <c:pt idx="1120">
                  <c:v>40038</c:v>
                </c:pt>
                <c:pt idx="1121">
                  <c:v>40039</c:v>
                </c:pt>
                <c:pt idx="1122">
                  <c:v>40042</c:v>
                </c:pt>
                <c:pt idx="1123">
                  <c:v>40043</c:v>
                </c:pt>
                <c:pt idx="1124">
                  <c:v>40044</c:v>
                </c:pt>
                <c:pt idx="1125">
                  <c:v>40045</c:v>
                </c:pt>
                <c:pt idx="1126">
                  <c:v>40046</c:v>
                </c:pt>
                <c:pt idx="1127">
                  <c:v>40049</c:v>
                </c:pt>
                <c:pt idx="1128">
                  <c:v>40050</c:v>
                </c:pt>
                <c:pt idx="1129">
                  <c:v>40051</c:v>
                </c:pt>
                <c:pt idx="1130">
                  <c:v>40052</c:v>
                </c:pt>
                <c:pt idx="1131">
                  <c:v>40053</c:v>
                </c:pt>
                <c:pt idx="1132">
                  <c:v>40056</c:v>
                </c:pt>
                <c:pt idx="1133">
                  <c:v>40057</c:v>
                </c:pt>
                <c:pt idx="1134">
                  <c:v>40058</c:v>
                </c:pt>
                <c:pt idx="1135">
                  <c:v>40059</c:v>
                </c:pt>
                <c:pt idx="1136">
                  <c:v>40060</c:v>
                </c:pt>
                <c:pt idx="1137">
                  <c:v>40063</c:v>
                </c:pt>
                <c:pt idx="1138">
                  <c:v>40064</c:v>
                </c:pt>
                <c:pt idx="1139">
                  <c:v>40065</c:v>
                </c:pt>
                <c:pt idx="1140">
                  <c:v>40066</c:v>
                </c:pt>
                <c:pt idx="1141">
                  <c:v>40067</c:v>
                </c:pt>
                <c:pt idx="1142">
                  <c:v>40070</c:v>
                </c:pt>
                <c:pt idx="1143">
                  <c:v>40071</c:v>
                </c:pt>
                <c:pt idx="1144">
                  <c:v>40072</c:v>
                </c:pt>
                <c:pt idx="1145">
                  <c:v>40073</c:v>
                </c:pt>
                <c:pt idx="1146">
                  <c:v>40074</c:v>
                </c:pt>
                <c:pt idx="1147">
                  <c:v>40077</c:v>
                </c:pt>
                <c:pt idx="1148">
                  <c:v>40078</c:v>
                </c:pt>
                <c:pt idx="1149">
                  <c:v>40079</c:v>
                </c:pt>
                <c:pt idx="1150">
                  <c:v>40080</c:v>
                </c:pt>
                <c:pt idx="1151">
                  <c:v>40081</c:v>
                </c:pt>
                <c:pt idx="1152">
                  <c:v>40084</c:v>
                </c:pt>
                <c:pt idx="1153">
                  <c:v>40085</c:v>
                </c:pt>
                <c:pt idx="1154">
                  <c:v>40086</c:v>
                </c:pt>
                <c:pt idx="1155">
                  <c:v>40095</c:v>
                </c:pt>
                <c:pt idx="1156">
                  <c:v>40098</c:v>
                </c:pt>
                <c:pt idx="1157">
                  <c:v>40099</c:v>
                </c:pt>
                <c:pt idx="1158">
                  <c:v>40100</c:v>
                </c:pt>
                <c:pt idx="1159">
                  <c:v>40101</c:v>
                </c:pt>
                <c:pt idx="1160">
                  <c:v>40102</c:v>
                </c:pt>
                <c:pt idx="1161">
                  <c:v>40105</c:v>
                </c:pt>
                <c:pt idx="1162">
                  <c:v>40106</c:v>
                </c:pt>
                <c:pt idx="1163">
                  <c:v>40107</c:v>
                </c:pt>
                <c:pt idx="1164">
                  <c:v>40108</c:v>
                </c:pt>
                <c:pt idx="1165">
                  <c:v>40109</c:v>
                </c:pt>
                <c:pt idx="1166">
                  <c:v>40112</c:v>
                </c:pt>
                <c:pt idx="1167">
                  <c:v>40113</c:v>
                </c:pt>
                <c:pt idx="1168">
                  <c:v>40114</c:v>
                </c:pt>
                <c:pt idx="1169">
                  <c:v>40115</c:v>
                </c:pt>
                <c:pt idx="1170">
                  <c:v>40116</c:v>
                </c:pt>
                <c:pt idx="1171">
                  <c:v>40119</c:v>
                </c:pt>
                <c:pt idx="1172">
                  <c:v>40120</c:v>
                </c:pt>
                <c:pt idx="1173">
                  <c:v>40121</c:v>
                </c:pt>
                <c:pt idx="1174">
                  <c:v>40122</c:v>
                </c:pt>
                <c:pt idx="1175">
                  <c:v>40123</c:v>
                </c:pt>
                <c:pt idx="1176">
                  <c:v>40126</c:v>
                </c:pt>
                <c:pt idx="1177">
                  <c:v>40127</c:v>
                </c:pt>
                <c:pt idx="1178">
                  <c:v>40128</c:v>
                </c:pt>
                <c:pt idx="1179">
                  <c:v>40129</c:v>
                </c:pt>
                <c:pt idx="1180">
                  <c:v>40130</c:v>
                </c:pt>
                <c:pt idx="1181">
                  <c:v>40133</c:v>
                </c:pt>
                <c:pt idx="1182">
                  <c:v>40134</c:v>
                </c:pt>
                <c:pt idx="1183">
                  <c:v>40135</c:v>
                </c:pt>
                <c:pt idx="1184">
                  <c:v>40136</c:v>
                </c:pt>
                <c:pt idx="1185">
                  <c:v>40137</c:v>
                </c:pt>
                <c:pt idx="1186">
                  <c:v>40140</c:v>
                </c:pt>
                <c:pt idx="1187">
                  <c:v>40141</c:v>
                </c:pt>
                <c:pt idx="1188">
                  <c:v>40142</c:v>
                </c:pt>
                <c:pt idx="1189">
                  <c:v>40143</c:v>
                </c:pt>
                <c:pt idx="1190">
                  <c:v>40144</c:v>
                </c:pt>
                <c:pt idx="1191">
                  <c:v>40147</c:v>
                </c:pt>
                <c:pt idx="1192">
                  <c:v>40148</c:v>
                </c:pt>
                <c:pt idx="1193">
                  <c:v>40149</c:v>
                </c:pt>
                <c:pt idx="1194">
                  <c:v>40150</c:v>
                </c:pt>
                <c:pt idx="1195">
                  <c:v>40151</c:v>
                </c:pt>
                <c:pt idx="1196">
                  <c:v>40154</c:v>
                </c:pt>
                <c:pt idx="1197">
                  <c:v>40155</c:v>
                </c:pt>
                <c:pt idx="1198">
                  <c:v>40156</c:v>
                </c:pt>
                <c:pt idx="1199">
                  <c:v>40157</c:v>
                </c:pt>
                <c:pt idx="1200">
                  <c:v>40158</c:v>
                </c:pt>
                <c:pt idx="1201">
                  <c:v>40161</c:v>
                </c:pt>
                <c:pt idx="1202">
                  <c:v>40162</c:v>
                </c:pt>
                <c:pt idx="1203">
                  <c:v>40163</c:v>
                </c:pt>
                <c:pt idx="1204">
                  <c:v>40164</c:v>
                </c:pt>
                <c:pt idx="1205">
                  <c:v>40165</c:v>
                </c:pt>
                <c:pt idx="1206">
                  <c:v>40168</c:v>
                </c:pt>
                <c:pt idx="1207">
                  <c:v>40169</c:v>
                </c:pt>
                <c:pt idx="1208">
                  <c:v>40170</c:v>
                </c:pt>
                <c:pt idx="1209">
                  <c:v>40171</c:v>
                </c:pt>
                <c:pt idx="1210">
                  <c:v>40172</c:v>
                </c:pt>
                <c:pt idx="1211">
                  <c:v>40175</c:v>
                </c:pt>
                <c:pt idx="1212">
                  <c:v>40176</c:v>
                </c:pt>
                <c:pt idx="1213">
                  <c:v>40177</c:v>
                </c:pt>
                <c:pt idx="1214">
                  <c:v>40178</c:v>
                </c:pt>
                <c:pt idx="1215">
                  <c:v>40182</c:v>
                </c:pt>
                <c:pt idx="1216">
                  <c:v>40183</c:v>
                </c:pt>
                <c:pt idx="1217">
                  <c:v>40184</c:v>
                </c:pt>
                <c:pt idx="1218">
                  <c:v>40185</c:v>
                </c:pt>
                <c:pt idx="1219">
                  <c:v>40186</c:v>
                </c:pt>
                <c:pt idx="1220">
                  <c:v>40189</c:v>
                </c:pt>
                <c:pt idx="1221">
                  <c:v>40190</c:v>
                </c:pt>
                <c:pt idx="1222">
                  <c:v>40191</c:v>
                </c:pt>
                <c:pt idx="1223">
                  <c:v>40192</c:v>
                </c:pt>
                <c:pt idx="1224">
                  <c:v>40193</c:v>
                </c:pt>
                <c:pt idx="1225">
                  <c:v>40196</c:v>
                </c:pt>
                <c:pt idx="1226">
                  <c:v>40197</c:v>
                </c:pt>
                <c:pt idx="1227">
                  <c:v>40198</c:v>
                </c:pt>
                <c:pt idx="1228">
                  <c:v>40199</c:v>
                </c:pt>
                <c:pt idx="1229">
                  <c:v>40200</c:v>
                </c:pt>
                <c:pt idx="1230">
                  <c:v>40203</c:v>
                </c:pt>
                <c:pt idx="1231">
                  <c:v>40204</c:v>
                </c:pt>
                <c:pt idx="1232">
                  <c:v>40205</c:v>
                </c:pt>
                <c:pt idx="1233">
                  <c:v>40206</c:v>
                </c:pt>
                <c:pt idx="1234">
                  <c:v>40207</c:v>
                </c:pt>
                <c:pt idx="1235">
                  <c:v>40210</c:v>
                </c:pt>
                <c:pt idx="1236">
                  <c:v>40211</c:v>
                </c:pt>
                <c:pt idx="1237">
                  <c:v>40212</c:v>
                </c:pt>
                <c:pt idx="1238">
                  <c:v>40213</c:v>
                </c:pt>
                <c:pt idx="1239">
                  <c:v>40214</c:v>
                </c:pt>
                <c:pt idx="1240">
                  <c:v>40217</c:v>
                </c:pt>
                <c:pt idx="1241">
                  <c:v>40218</c:v>
                </c:pt>
                <c:pt idx="1242">
                  <c:v>40219</c:v>
                </c:pt>
                <c:pt idx="1243">
                  <c:v>40220</c:v>
                </c:pt>
                <c:pt idx="1244">
                  <c:v>40221</c:v>
                </c:pt>
                <c:pt idx="1245">
                  <c:v>40231</c:v>
                </c:pt>
                <c:pt idx="1246">
                  <c:v>40232</c:v>
                </c:pt>
                <c:pt idx="1247">
                  <c:v>40233</c:v>
                </c:pt>
                <c:pt idx="1248">
                  <c:v>40234</c:v>
                </c:pt>
                <c:pt idx="1249">
                  <c:v>40235</c:v>
                </c:pt>
                <c:pt idx="1250">
                  <c:v>40238</c:v>
                </c:pt>
                <c:pt idx="1251">
                  <c:v>40239</c:v>
                </c:pt>
                <c:pt idx="1252">
                  <c:v>40240</c:v>
                </c:pt>
                <c:pt idx="1253">
                  <c:v>40241</c:v>
                </c:pt>
                <c:pt idx="1254">
                  <c:v>40242</c:v>
                </c:pt>
                <c:pt idx="1255">
                  <c:v>40245</c:v>
                </c:pt>
                <c:pt idx="1256">
                  <c:v>40246</c:v>
                </c:pt>
                <c:pt idx="1257">
                  <c:v>40247</c:v>
                </c:pt>
                <c:pt idx="1258">
                  <c:v>40248</c:v>
                </c:pt>
                <c:pt idx="1259">
                  <c:v>40249</c:v>
                </c:pt>
                <c:pt idx="1260">
                  <c:v>40252</c:v>
                </c:pt>
                <c:pt idx="1261">
                  <c:v>40253</c:v>
                </c:pt>
                <c:pt idx="1262">
                  <c:v>40254</c:v>
                </c:pt>
                <c:pt idx="1263">
                  <c:v>40255</c:v>
                </c:pt>
                <c:pt idx="1264">
                  <c:v>40256</c:v>
                </c:pt>
                <c:pt idx="1265">
                  <c:v>40259</c:v>
                </c:pt>
                <c:pt idx="1266">
                  <c:v>40260</c:v>
                </c:pt>
                <c:pt idx="1267">
                  <c:v>40261</c:v>
                </c:pt>
                <c:pt idx="1268">
                  <c:v>40262</c:v>
                </c:pt>
                <c:pt idx="1269">
                  <c:v>40263</c:v>
                </c:pt>
                <c:pt idx="1270">
                  <c:v>40266</c:v>
                </c:pt>
                <c:pt idx="1271">
                  <c:v>40267</c:v>
                </c:pt>
                <c:pt idx="1272">
                  <c:v>40268</c:v>
                </c:pt>
                <c:pt idx="1273">
                  <c:v>40269</c:v>
                </c:pt>
                <c:pt idx="1274">
                  <c:v>40270</c:v>
                </c:pt>
                <c:pt idx="1275">
                  <c:v>40274</c:v>
                </c:pt>
                <c:pt idx="1276">
                  <c:v>40275</c:v>
                </c:pt>
                <c:pt idx="1277">
                  <c:v>40276</c:v>
                </c:pt>
                <c:pt idx="1278">
                  <c:v>40277</c:v>
                </c:pt>
                <c:pt idx="1279">
                  <c:v>40280</c:v>
                </c:pt>
                <c:pt idx="1280">
                  <c:v>40281</c:v>
                </c:pt>
                <c:pt idx="1281">
                  <c:v>40282</c:v>
                </c:pt>
                <c:pt idx="1282">
                  <c:v>40283</c:v>
                </c:pt>
                <c:pt idx="1283">
                  <c:v>40284</c:v>
                </c:pt>
                <c:pt idx="1284">
                  <c:v>40287</c:v>
                </c:pt>
                <c:pt idx="1285">
                  <c:v>40288</c:v>
                </c:pt>
                <c:pt idx="1286">
                  <c:v>40289</c:v>
                </c:pt>
                <c:pt idx="1287">
                  <c:v>40290</c:v>
                </c:pt>
                <c:pt idx="1288">
                  <c:v>40291</c:v>
                </c:pt>
                <c:pt idx="1289">
                  <c:v>40294</c:v>
                </c:pt>
                <c:pt idx="1290">
                  <c:v>40295</c:v>
                </c:pt>
                <c:pt idx="1291">
                  <c:v>40296</c:v>
                </c:pt>
                <c:pt idx="1292">
                  <c:v>40297</c:v>
                </c:pt>
                <c:pt idx="1293">
                  <c:v>40298</c:v>
                </c:pt>
                <c:pt idx="1294">
                  <c:v>40302</c:v>
                </c:pt>
                <c:pt idx="1295">
                  <c:v>40303</c:v>
                </c:pt>
                <c:pt idx="1296">
                  <c:v>40304</c:v>
                </c:pt>
                <c:pt idx="1297">
                  <c:v>40305</c:v>
                </c:pt>
                <c:pt idx="1298">
                  <c:v>40308</c:v>
                </c:pt>
                <c:pt idx="1299">
                  <c:v>40309</c:v>
                </c:pt>
                <c:pt idx="1300">
                  <c:v>40310</c:v>
                </c:pt>
                <c:pt idx="1301">
                  <c:v>40311</c:v>
                </c:pt>
                <c:pt idx="1302">
                  <c:v>40312</c:v>
                </c:pt>
                <c:pt idx="1303">
                  <c:v>40315</c:v>
                </c:pt>
                <c:pt idx="1304">
                  <c:v>40316</c:v>
                </c:pt>
                <c:pt idx="1305">
                  <c:v>40317</c:v>
                </c:pt>
                <c:pt idx="1306">
                  <c:v>40318</c:v>
                </c:pt>
                <c:pt idx="1307">
                  <c:v>40319</c:v>
                </c:pt>
                <c:pt idx="1308">
                  <c:v>40322</c:v>
                </c:pt>
                <c:pt idx="1309">
                  <c:v>40323</c:v>
                </c:pt>
                <c:pt idx="1310">
                  <c:v>40324</c:v>
                </c:pt>
                <c:pt idx="1311">
                  <c:v>40325</c:v>
                </c:pt>
                <c:pt idx="1312">
                  <c:v>40326</c:v>
                </c:pt>
                <c:pt idx="1313">
                  <c:v>40329</c:v>
                </c:pt>
                <c:pt idx="1314">
                  <c:v>40330</c:v>
                </c:pt>
                <c:pt idx="1315">
                  <c:v>40331</c:v>
                </c:pt>
                <c:pt idx="1316">
                  <c:v>40332</c:v>
                </c:pt>
                <c:pt idx="1317">
                  <c:v>40333</c:v>
                </c:pt>
                <c:pt idx="1318">
                  <c:v>40336</c:v>
                </c:pt>
                <c:pt idx="1319">
                  <c:v>40337</c:v>
                </c:pt>
                <c:pt idx="1320">
                  <c:v>40338</c:v>
                </c:pt>
                <c:pt idx="1321">
                  <c:v>40339</c:v>
                </c:pt>
                <c:pt idx="1322">
                  <c:v>40340</c:v>
                </c:pt>
                <c:pt idx="1323">
                  <c:v>40346</c:v>
                </c:pt>
                <c:pt idx="1324">
                  <c:v>40347</c:v>
                </c:pt>
                <c:pt idx="1325">
                  <c:v>40350</c:v>
                </c:pt>
                <c:pt idx="1326">
                  <c:v>40351</c:v>
                </c:pt>
                <c:pt idx="1327">
                  <c:v>40352</c:v>
                </c:pt>
                <c:pt idx="1328">
                  <c:v>40353</c:v>
                </c:pt>
                <c:pt idx="1329">
                  <c:v>40354</c:v>
                </c:pt>
                <c:pt idx="1330">
                  <c:v>40357</c:v>
                </c:pt>
                <c:pt idx="1331">
                  <c:v>40358</c:v>
                </c:pt>
                <c:pt idx="1332">
                  <c:v>40359</c:v>
                </c:pt>
                <c:pt idx="1333">
                  <c:v>40360</c:v>
                </c:pt>
                <c:pt idx="1334">
                  <c:v>40361</c:v>
                </c:pt>
                <c:pt idx="1335">
                  <c:v>40364</c:v>
                </c:pt>
                <c:pt idx="1336">
                  <c:v>40365</c:v>
                </c:pt>
                <c:pt idx="1337">
                  <c:v>40366</c:v>
                </c:pt>
                <c:pt idx="1338">
                  <c:v>40367</c:v>
                </c:pt>
                <c:pt idx="1339">
                  <c:v>40368</c:v>
                </c:pt>
                <c:pt idx="1340">
                  <c:v>40371</c:v>
                </c:pt>
                <c:pt idx="1341">
                  <c:v>40372</c:v>
                </c:pt>
                <c:pt idx="1342">
                  <c:v>40373</c:v>
                </c:pt>
                <c:pt idx="1343">
                  <c:v>40374</c:v>
                </c:pt>
                <c:pt idx="1344">
                  <c:v>40375</c:v>
                </c:pt>
                <c:pt idx="1345">
                  <c:v>40378</c:v>
                </c:pt>
                <c:pt idx="1346">
                  <c:v>40379</c:v>
                </c:pt>
                <c:pt idx="1347">
                  <c:v>40380</c:v>
                </c:pt>
                <c:pt idx="1348">
                  <c:v>40381</c:v>
                </c:pt>
                <c:pt idx="1349">
                  <c:v>40382</c:v>
                </c:pt>
                <c:pt idx="1350">
                  <c:v>40385</c:v>
                </c:pt>
                <c:pt idx="1351">
                  <c:v>40386</c:v>
                </c:pt>
                <c:pt idx="1352">
                  <c:v>40387</c:v>
                </c:pt>
                <c:pt idx="1353">
                  <c:v>40388</c:v>
                </c:pt>
                <c:pt idx="1354">
                  <c:v>40389</c:v>
                </c:pt>
                <c:pt idx="1355">
                  <c:v>40392</c:v>
                </c:pt>
                <c:pt idx="1356">
                  <c:v>40393</c:v>
                </c:pt>
                <c:pt idx="1357">
                  <c:v>40394</c:v>
                </c:pt>
                <c:pt idx="1358">
                  <c:v>40395</c:v>
                </c:pt>
                <c:pt idx="1359">
                  <c:v>40396</c:v>
                </c:pt>
                <c:pt idx="1360">
                  <c:v>40399</c:v>
                </c:pt>
                <c:pt idx="1361">
                  <c:v>40400</c:v>
                </c:pt>
                <c:pt idx="1362">
                  <c:v>40401</c:v>
                </c:pt>
                <c:pt idx="1363">
                  <c:v>40402</c:v>
                </c:pt>
                <c:pt idx="1364">
                  <c:v>40403</c:v>
                </c:pt>
                <c:pt idx="1365">
                  <c:v>40406</c:v>
                </c:pt>
                <c:pt idx="1366">
                  <c:v>40407</c:v>
                </c:pt>
                <c:pt idx="1367">
                  <c:v>40408</c:v>
                </c:pt>
                <c:pt idx="1368">
                  <c:v>40409</c:v>
                </c:pt>
                <c:pt idx="1369">
                  <c:v>40410</c:v>
                </c:pt>
                <c:pt idx="1370">
                  <c:v>40413</c:v>
                </c:pt>
                <c:pt idx="1371">
                  <c:v>40414</c:v>
                </c:pt>
                <c:pt idx="1372">
                  <c:v>40415</c:v>
                </c:pt>
                <c:pt idx="1373">
                  <c:v>40416</c:v>
                </c:pt>
                <c:pt idx="1374">
                  <c:v>40417</c:v>
                </c:pt>
                <c:pt idx="1375">
                  <c:v>40420</c:v>
                </c:pt>
                <c:pt idx="1376">
                  <c:v>40421</c:v>
                </c:pt>
                <c:pt idx="1377">
                  <c:v>40422</c:v>
                </c:pt>
                <c:pt idx="1378">
                  <c:v>40423</c:v>
                </c:pt>
                <c:pt idx="1379">
                  <c:v>40424</c:v>
                </c:pt>
                <c:pt idx="1380">
                  <c:v>40427</c:v>
                </c:pt>
                <c:pt idx="1381">
                  <c:v>40428</c:v>
                </c:pt>
                <c:pt idx="1382">
                  <c:v>40429</c:v>
                </c:pt>
                <c:pt idx="1383">
                  <c:v>40430</c:v>
                </c:pt>
                <c:pt idx="1384">
                  <c:v>40431</c:v>
                </c:pt>
                <c:pt idx="1385">
                  <c:v>40434</c:v>
                </c:pt>
                <c:pt idx="1386">
                  <c:v>40435</c:v>
                </c:pt>
                <c:pt idx="1387">
                  <c:v>40436</c:v>
                </c:pt>
                <c:pt idx="1388">
                  <c:v>40437</c:v>
                </c:pt>
                <c:pt idx="1389">
                  <c:v>40438</c:v>
                </c:pt>
                <c:pt idx="1390">
                  <c:v>40441</c:v>
                </c:pt>
                <c:pt idx="1391">
                  <c:v>40442</c:v>
                </c:pt>
                <c:pt idx="1392">
                  <c:v>40448</c:v>
                </c:pt>
                <c:pt idx="1393">
                  <c:v>40449</c:v>
                </c:pt>
                <c:pt idx="1394">
                  <c:v>40450</c:v>
                </c:pt>
                <c:pt idx="1395">
                  <c:v>40451</c:v>
                </c:pt>
                <c:pt idx="1396">
                  <c:v>40459</c:v>
                </c:pt>
                <c:pt idx="1397">
                  <c:v>40462</c:v>
                </c:pt>
                <c:pt idx="1398">
                  <c:v>40463</c:v>
                </c:pt>
                <c:pt idx="1399">
                  <c:v>40464</c:v>
                </c:pt>
                <c:pt idx="1400">
                  <c:v>40465</c:v>
                </c:pt>
                <c:pt idx="1401">
                  <c:v>40466</c:v>
                </c:pt>
                <c:pt idx="1402">
                  <c:v>40469</c:v>
                </c:pt>
                <c:pt idx="1403">
                  <c:v>40470</c:v>
                </c:pt>
                <c:pt idx="1404">
                  <c:v>40471</c:v>
                </c:pt>
                <c:pt idx="1405">
                  <c:v>40472</c:v>
                </c:pt>
                <c:pt idx="1406">
                  <c:v>40473</c:v>
                </c:pt>
                <c:pt idx="1407">
                  <c:v>40476</c:v>
                </c:pt>
                <c:pt idx="1408">
                  <c:v>40477</c:v>
                </c:pt>
                <c:pt idx="1409">
                  <c:v>40478</c:v>
                </c:pt>
                <c:pt idx="1410">
                  <c:v>40479</c:v>
                </c:pt>
                <c:pt idx="1411">
                  <c:v>40480</c:v>
                </c:pt>
                <c:pt idx="1412">
                  <c:v>40483</c:v>
                </c:pt>
                <c:pt idx="1413">
                  <c:v>40484</c:v>
                </c:pt>
                <c:pt idx="1414">
                  <c:v>40485</c:v>
                </c:pt>
                <c:pt idx="1415">
                  <c:v>40486</c:v>
                </c:pt>
                <c:pt idx="1416">
                  <c:v>40487</c:v>
                </c:pt>
                <c:pt idx="1417">
                  <c:v>40490</c:v>
                </c:pt>
                <c:pt idx="1418">
                  <c:v>40491</c:v>
                </c:pt>
                <c:pt idx="1419">
                  <c:v>40492</c:v>
                </c:pt>
                <c:pt idx="1420">
                  <c:v>40493</c:v>
                </c:pt>
                <c:pt idx="1421">
                  <c:v>40494</c:v>
                </c:pt>
                <c:pt idx="1422">
                  <c:v>40497</c:v>
                </c:pt>
                <c:pt idx="1423">
                  <c:v>40498</c:v>
                </c:pt>
                <c:pt idx="1424">
                  <c:v>40499</c:v>
                </c:pt>
                <c:pt idx="1425">
                  <c:v>40500</c:v>
                </c:pt>
                <c:pt idx="1426">
                  <c:v>40501</c:v>
                </c:pt>
                <c:pt idx="1427">
                  <c:v>40504</c:v>
                </c:pt>
                <c:pt idx="1428">
                  <c:v>40505</c:v>
                </c:pt>
                <c:pt idx="1429">
                  <c:v>40506</c:v>
                </c:pt>
                <c:pt idx="1430">
                  <c:v>40507</c:v>
                </c:pt>
                <c:pt idx="1431">
                  <c:v>40508</c:v>
                </c:pt>
                <c:pt idx="1432">
                  <c:v>40511</c:v>
                </c:pt>
                <c:pt idx="1433">
                  <c:v>40512</c:v>
                </c:pt>
                <c:pt idx="1434">
                  <c:v>40513</c:v>
                </c:pt>
                <c:pt idx="1435">
                  <c:v>40514</c:v>
                </c:pt>
                <c:pt idx="1436">
                  <c:v>40515</c:v>
                </c:pt>
                <c:pt idx="1437">
                  <c:v>40518</c:v>
                </c:pt>
                <c:pt idx="1438">
                  <c:v>40519</c:v>
                </c:pt>
                <c:pt idx="1439">
                  <c:v>40520</c:v>
                </c:pt>
                <c:pt idx="1440">
                  <c:v>40521</c:v>
                </c:pt>
                <c:pt idx="1441">
                  <c:v>40522</c:v>
                </c:pt>
                <c:pt idx="1442">
                  <c:v>40525</c:v>
                </c:pt>
                <c:pt idx="1443">
                  <c:v>40526</c:v>
                </c:pt>
                <c:pt idx="1444">
                  <c:v>40527</c:v>
                </c:pt>
                <c:pt idx="1445">
                  <c:v>40528</c:v>
                </c:pt>
                <c:pt idx="1446">
                  <c:v>40529</c:v>
                </c:pt>
                <c:pt idx="1447">
                  <c:v>40532</c:v>
                </c:pt>
                <c:pt idx="1448">
                  <c:v>40533</c:v>
                </c:pt>
                <c:pt idx="1449">
                  <c:v>40534</c:v>
                </c:pt>
                <c:pt idx="1450">
                  <c:v>40535</c:v>
                </c:pt>
                <c:pt idx="1451">
                  <c:v>40536</c:v>
                </c:pt>
                <c:pt idx="1452">
                  <c:v>40539</c:v>
                </c:pt>
                <c:pt idx="1453">
                  <c:v>40540</c:v>
                </c:pt>
                <c:pt idx="1454">
                  <c:v>40541</c:v>
                </c:pt>
                <c:pt idx="1455">
                  <c:v>40542</c:v>
                </c:pt>
                <c:pt idx="1456">
                  <c:v>40543</c:v>
                </c:pt>
                <c:pt idx="1457">
                  <c:v>40547</c:v>
                </c:pt>
                <c:pt idx="1458">
                  <c:v>40548</c:v>
                </c:pt>
                <c:pt idx="1459">
                  <c:v>40549</c:v>
                </c:pt>
                <c:pt idx="1460">
                  <c:v>40550</c:v>
                </c:pt>
                <c:pt idx="1461">
                  <c:v>40553</c:v>
                </c:pt>
                <c:pt idx="1462">
                  <c:v>40554</c:v>
                </c:pt>
                <c:pt idx="1463">
                  <c:v>40555</c:v>
                </c:pt>
                <c:pt idx="1464">
                  <c:v>40556</c:v>
                </c:pt>
                <c:pt idx="1465">
                  <c:v>40557</c:v>
                </c:pt>
                <c:pt idx="1466">
                  <c:v>40560</c:v>
                </c:pt>
                <c:pt idx="1467">
                  <c:v>40561</c:v>
                </c:pt>
                <c:pt idx="1468">
                  <c:v>40562</c:v>
                </c:pt>
                <c:pt idx="1469">
                  <c:v>40563</c:v>
                </c:pt>
                <c:pt idx="1470">
                  <c:v>40564</c:v>
                </c:pt>
                <c:pt idx="1471">
                  <c:v>40567</c:v>
                </c:pt>
                <c:pt idx="1472">
                  <c:v>40568</c:v>
                </c:pt>
                <c:pt idx="1473">
                  <c:v>40569</c:v>
                </c:pt>
                <c:pt idx="1474">
                  <c:v>40570</c:v>
                </c:pt>
                <c:pt idx="1475">
                  <c:v>40571</c:v>
                </c:pt>
                <c:pt idx="1476">
                  <c:v>40574</c:v>
                </c:pt>
                <c:pt idx="1477">
                  <c:v>40575</c:v>
                </c:pt>
                <c:pt idx="1478">
                  <c:v>40583</c:v>
                </c:pt>
                <c:pt idx="1479">
                  <c:v>40584</c:v>
                </c:pt>
                <c:pt idx="1480">
                  <c:v>40585</c:v>
                </c:pt>
                <c:pt idx="1481">
                  <c:v>40588</c:v>
                </c:pt>
                <c:pt idx="1482">
                  <c:v>40589</c:v>
                </c:pt>
                <c:pt idx="1483">
                  <c:v>40590</c:v>
                </c:pt>
                <c:pt idx="1484">
                  <c:v>40591</c:v>
                </c:pt>
                <c:pt idx="1485">
                  <c:v>40592</c:v>
                </c:pt>
                <c:pt idx="1486">
                  <c:v>40595</c:v>
                </c:pt>
                <c:pt idx="1487">
                  <c:v>40596</c:v>
                </c:pt>
                <c:pt idx="1488">
                  <c:v>40597</c:v>
                </c:pt>
                <c:pt idx="1489">
                  <c:v>40598</c:v>
                </c:pt>
                <c:pt idx="1490">
                  <c:v>40599</c:v>
                </c:pt>
                <c:pt idx="1491">
                  <c:v>40602</c:v>
                </c:pt>
                <c:pt idx="1492">
                  <c:v>40603</c:v>
                </c:pt>
                <c:pt idx="1493">
                  <c:v>40604</c:v>
                </c:pt>
                <c:pt idx="1494">
                  <c:v>40605</c:v>
                </c:pt>
                <c:pt idx="1495">
                  <c:v>40606</c:v>
                </c:pt>
                <c:pt idx="1496">
                  <c:v>40609</c:v>
                </c:pt>
                <c:pt idx="1497">
                  <c:v>40610</c:v>
                </c:pt>
                <c:pt idx="1498">
                  <c:v>40611</c:v>
                </c:pt>
                <c:pt idx="1499">
                  <c:v>40612</c:v>
                </c:pt>
                <c:pt idx="1500">
                  <c:v>40613</c:v>
                </c:pt>
                <c:pt idx="1501">
                  <c:v>40616</c:v>
                </c:pt>
                <c:pt idx="1502">
                  <c:v>40617</c:v>
                </c:pt>
                <c:pt idx="1503">
                  <c:v>40618</c:v>
                </c:pt>
                <c:pt idx="1504">
                  <c:v>40619</c:v>
                </c:pt>
                <c:pt idx="1505">
                  <c:v>40620</c:v>
                </c:pt>
                <c:pt idx="1506">
                  <c:v>40623</c:v>
                </c:pt>
                <c:pt idx="1507">
                  <c:v>40624</c:v>
                </c:pt>
                <c:pt idx="1508">
                  <c:v>40625</c:v>
                </c:pt>
                <c:pt idx="1509">
                  <c:v>40626</c:v>
                </c:pt>
                <c:pt idx="1510">
                  <c:v>40627</c:v>
                </c:pt>
                <c:pt idx="1511">
                  <c:v>40630</c:v>
                </c:pt>
                <c:pt idx="1512">
                  <c:v>40631</c:v>
                </c:pt>
                <c:pt idx="1513">
                  <c:v>40632</c:v>
                </c:pt>
                <c:pt idx="1514">
                  <c:v>40633</c:v>
                </c:pt>
                <c:pt idx="1515">
                  <c:v>40634</c:v>
                </c:pt>
                <c:pt idx="1516">
                  <c:v>40639</c:v>
                </c:pt>
                <c:pt idx="1517">
                  <c:v>40640</c:v>
                </c:pt>
                <c:pt idx="1518">
                  <c:v>40641</c:v>
                </c:pt>
                <c:pt idx="1519">
                  <c:v>40644</c:v>
                </c:pt>
                <c:pt idx="1520">
                  <c:v>40645</c:v>
                </c:pt>
                <c:pt idx="1521">
                  <c:v>40646</c:v>
                </c:pt>
                <c:pt idx="1522">
                  <c:v>40647</c:v>
                </c:pt>
                <c:pt idx="1523">
                  <c:v>40648</c:v>
                </c:pt>
                <c:pt idx="1524">
                  <c:v>40651</c:v>
                </c:pt>
                <c:pt idx="1525">
                  <c:v>40652</c:v>
                </c:pt>
                <c:pt idx="1526">
                  <c:v>40653</c:v>
                </c:pt>
                <c:pt idx="1527">
                  <c:v>40654</c:v>
                </c:pt>
                <c:pt idx="1528">
                  <c:v>40655</c:v>
                </c:pt>
                <c:pt idx="1529">
                  <c:v>40658</c:v>
                </c:pt>
                <c:pt idx="1530">
                  <c:v>40659</c:v>
                </c:pt>
                <c:pt idx="1531">
                  <c:v>40660</c:v>
                </c:pt>
                <c:pt idx="1532">
                  <c:v>40661</c:v>
                </c:pt>
                <c:pt idx="1533">
                  <c:v>40662</c:v>
                </c:pt>
                <c:pt idx="1534">
                  <c:v>40666</c:v>
                </c:pt>
                <c:pt idx="1535">
                  <c:v>40667</c:v>
                </c:pt>
                <c:pt idx="1536">
                  <c:v>40668</c:v>
                </c:pt>
                <c:pt idx="1537">
                  <c:v>40669</c:v>
                </c:pt>
                <c:pt idx="1538">
                  <c:v>40672</c:v>
                </c:pt>
                <c:pt idx="1539">
                  <c:v>40673</c:v>
                </c:pt>
                <c:pt idx="1540">
                  <c:v>40674</c:v>
                </c:pt>
                <c:pt idx="1541">
                  <c:v>40675</c:v>
                </c:pt>
                <c:pt idx="1542">
                  <c:v>40676</c:v>
                </c:pt>
                <c:pt idx="1543">
                  <c:v>40679</c:v>
                </c:pt>
                <c:pt idx="1544">
                  <c:v>40680</c:v>
                </c:pt>
                <c:pt idx="1545">
                  <c:v>40681</c:v>
                </c:pt>
                <c:pt idx="1546">
                  <c:v>40682</c:v>
                </c:pt>
                <c:pt idx="1547">
                  <c:v>40683</c:v>
                </c:pt>
                <c:pt idx="1548">
                  <c:v>40686</c:v>
                </c:pt>
                <c:pt idx="1549">
                  <c:v>40687</c:v>
                </c:pt>
                <c:pt idx="1550">
                  <c:v>40688</c:v>
                </c:pt>
                <c:pt idx="1551">
                  <c:v>40689</c:v>
                </c:pt>
                <c:pt idx="1552">
                  <c:v>40690</c:v>
                </c:pt>
                <c:pt idx="1553">
                  <c:v>40693</c:v>
                </c:pt>
                <c:pt idx="1554">
                  <c:v>40694</c:v>
                </c:pt>
                <c:pt idx="1555">
                  <c:v>40695</c:v>
                </c:pt>
                <c:pt idx="1556">
                  <c:v>40696</c:v>
                </c:pt>
                <c:pt idx="1557">
                  <c:v>40697</c:v>
                </c:pt>
                <c:pt idx="1558">
                  <c:v>40701</c:v>
                </c:pt>
                <c:pt idx="1559">
                  <c:v>40702</c:v>
                </c:pt>
                <c:pt idx="1560">
                  <c:v>40703</c:v>
                </c:pt>
                <c:pt idx="1561">
                  <c:v>40704</c:v>
                </c:pt>
                <c:pt idx="1562">
                  <c:v>40707</c:v>
                </c:pt>
                <c:pt idx="1563">
                  <c:v>40708</c:v>
                </c:pt>
                <c:pt idx="1564">
                  <c:v>40709</c:v>
                </c:pt>
                <c:pt idx="1565">
                  <c:v>40710</c:v>
                </c:pt>
                <c:pt idx="1566">
                  <c:v>40711</c:v>
                </c:pt>
                <c:pt idx="1567">
                  <c:v>40714</c:v>
                </c:pt>
                <c:pt idx="1568">
                  <c:v>40715</c:v>
                </c:pt>
                <c:pt idx="1569">
                  <c:v>40716</c:v>
                </c:pt>
                <c:pt idx="1570">
                  <c:v>40717</c:v>
                </c:pt>
                <c:pt idx="1571">
                  <c:v>40718</c:v>
                </c:pt>
                <c:pt idx="1572">
                  <c:v>40721</c:v>
                </c:pt>
                <c:pt idx="1573">
                  <c:v>40722</c:v>
                </c:pt>
                <c:pt idx="1574">
                  <c:v>40723</c:v>
                </c:pt>
                <c:pt idx="1575">
                  <c:v>40724</c:v>
                </c:pt>
                <c:pt idx="1576">
                  <c:v>40725</c:v>
                </c:pt>
                <c:pt idx="1577">
                  <c:v>40728</c:v>
                </c:pt>
                <c:pt idx="1578">
                  <c:v>40729</c:v>
                </c:pt>
                <c:pt idx="1579">
                  <c:v>40730</c:v>
                </c:pt>
                <c:pt idx="1580">
                  <c:v>40731</c:v>
                </c:pt>
                <c:pt idx="1581">
                  <c:v>40732</c:v>
                </c:pt>
                <c:pt idx="1582">
                  <c:v>40735</c:v>
                </c:pt>
                <c:pt idx="1583">
                  <c:v>40736</c:v>
                </c:pt>
                <c:pt idx="1584">
                  <c:v>40737</c:v>
                </c:pt>
                <c:pt idx="1585">
                  <c:v>40738</c:v>
                </c:pt>
                <c:pt idx="1586">
                  <c:v>40739</c:v>
                </c:pt>
                <c:pt idx="1587">
                  <c:v>40742</c:v>
                </c:pt>
                <c:pt idx="1588">
                  <c:v>40743</c:v>
                </c:pt>
                <c:pt idx="1589">
                  <c:v>40744</c:v>
                </c:pt>
                <c:pt idx="1590">
                  <c:v>40745</c:v>
                </c:pt>
                <c:pt idx="1591">
                  <c:v>40746</c:v>
                </c:pt>
                <c:pt idx="1592">
                  <c:v>40749</c:v>
                </c:pt>
                <c:pt idx="1593">
                  <c:v>40750</c:v>
                </c:pt>
                <c:pt idx="1594">
                  <c:v>40751</c:v>
                </c:pt>
                <c:pt idx="1595">
                  <c:v>40752</c:v>
                </c:pt>
                <c:pt idx="1596">
                  <c:v>40753</c:v>
                </c:pt>
                <c:pt idx="1597">
                  <c:v>40756</c:v>
                </c:pt>
                <c:pt idx="1598">
                  <c:v>40757</c:v>
                </c:pt>
                <c:pt idx="1599">
                  <c:v>40758</c:v>
                </c:pt>
                <c:pt idx="1600">
                  <c:v>40759</c:v>
                </c:pt>
                <c:pt idx="1601">
                  <c:v>40760</c:v>
                </c:pt>
                <c:pt idx="1602">
                  <c:v>40763</c:v>
                </c:pt>
                <c:pt idx="1603">
                  <c:v>40764</c:v>
                </c:pt>
                <c:pt idx="1604">
                  <c:v>40765</c:v>
                </c:pt>
                <c:pt idx="1605">
                  <c:v>40766</c:v>
                </c:pt>
                <c:pt idx="1606">
                  <c:v>40767</c:v>
                </c:pt>
                <c:pt idx="1607">
                  <c:v>40770</c:v>
                </c:pt>
                <c:pt idx="1608">
                  <c:v>40771</c:v>
                </c:pt>
                <c:pt idx="1609">
                  <c:v>40772</c:v>
                </c:pt>
                <c:pt idx="1610">
                  <c:v>40773</c:v>
                </c:pt>
                <c:pt idx="1611">
                  <c:v>40774</c:v>
                </c:pt>
                <c:pt idx="1612">
                  <c:v>40777</c:v>
                </c:pt>
                <c:pt idx="1613">
                  <c:v>40778</c:v>
                </c:pt>
                <c:pt idx="1614">
                  <c:v>40779</c:v>
                </c:pt>
                <c:pt idx="1615">
                  <c:v>40780</c:v>
                </c:pt>
                <c:pt idx="1616">
                  <c:v>40781</c:v>
                </c:pt>
                <c:pt idx="1617">
                  <c:v>40784</c:v>
                </c:pt>
                <c:pt idx="1618">
                  <c:v>40785</c:v>
                </c:pt>
                <c:pt idx="1619">
                  <c:v>40786</c:v>
                </c:pt>
                <c:pt idx="1620">
                  <c:v>40787</c:v>
                </c:pt>
                <c:pt idx="1621">
                  <c:v>40788</c:v>
                </c:pt>
                <c:pt idx="1622">
                  <c:v>40791</c:v>
                </c:pt>
                <c:pt idx="1623">
                  <c:v>40792</c:v>
                </c:pt>
                <c:pt idx="1624">
                  <c:v>40793</c:v>
                </c:pt>
                <c:pt idx="1625">
                  <c:v>40794</c:v>
                </c:pt>
                <c:pt idx="1626">
                  <c:v>40795</c:v>
                </c:pt>
                <c:pt idx="1627">
                  <c:v>40799</c:v>
                </c:pt>
                <c:pt idx="1628">
                  <c:v>40800</c:v>
                </c:pt>
                <c:pt idx="1629">
                  <c:v>40801</c:v>
                </c:pt>
                <c:pt idx="1630">
                  <c:v>40802</c:v>
                </c:pt>
                <c:pt idx="1631">
                  <c:v>40805</c:v>
                </c:pt>
                <c:pt idx="1632">
                  <c:v>40806</c:v>
                </c:pt>
                <c:pt idx="1633">
                  <c:v>40807</c:v>
                </c:pt>
                <c:pt idx="1634">
                  <c:v>40808</c:v>
                </c:pt>
                <c:pt idx="1635">
                  <c:v>40809</c:v>
                </c:pt>
                <c:pt idx="1636">
                  <c:v>40812</c:v>
                </c:pt>
                <c:pt idx="1637">
                  <c:v>40813</c:v>
                </c:pt>
                <c:pt idx="1638">
                  <c:v>40814</c:v>
                </c:pt>
                <c:pt idx="1639">
                  <c:v>40815</c:v>
                </c:pt>
                <c:pt idx="1640">
                  <c:v>40816</c:v>
                </c:pt>
                <c:pt idx="1641">
                  <c:v>40826</c:v>
                </c:pt>
                <c:pt idx="1642">
                  <c:v>40827</c:v>
                </c:pt>
                <c:pt idx="1643">
                  <c:v>40828</c:v>
                </c:pt>
                <c:pt idx="1644">
                  <c:v>40829</c:v>
                </c:pt>
                <c:pt idx="1645">
                  <c:v>40830</c:v>
                </c:pt>
                <c:pt idx="1646">
                  <c:v>40833</c:v>
                </c:pt>
                <c:pt idx="1647">
                  <c:v>40834</c:v>
                </c:pt>
                <c:pt idx="1648">
                  <c:v>40835</c:v>
                </c:pt>
                <c:pt idx="1649">
                  <c:v>40836</c:v>
                </c:pt>
                <c:pt idx="1650">
                  <c:v>40837</c:v>
                </c:pt>
                <c:pt idx="1651">
                  <c:v>40840</c:v>
                </c:pt>
                <c:pt idx="1652">
                  <c:v>40841</c:v>
                </c:pt>
                <c:pt idx="1653">
                  <c:v>40842</c:v>
                </c:pt>
                <c:pt idx="1654">
                  <c:v>40843</c:v>
                </c:pt>
                <c:pt idx="1655">
                  <c:v>40844</c:v>
                </c:pt>
                <c:pt idx="1656">
                  <c:v>40847</c:v>
                </c:pt>
                <c:pt idx="1657">
                  <c:v>40848</c:v>
                </c:pt>
                <c:pt idx="1658">
                  <c:v>40849</c:v>
                </c:pt>
                <c:pt idx="1659">
                  <c:v>40850</c:v>
                </c:pt>
                <c:pt idx="1660">
                  <c:v>40851</c:v>
                </c:pt>
                <c:pt idx="1661">
                  <c:v>40854</c:v>
                </c:pt>
                <c:pt idx="1662">
                  <c:v>40855</c:v>
                </c:pt>
                <c:pt idx="1663">
                  <c:v>40856</c:v>
                </c:pt>
                <c:pt idx="1664">
                  <c:v>40857</c:v>
                </c:pt>
                <c:pt idx="1665">
                  <c:v>40858</c:v>
                </c:pt>
                <c:pt idx="1666">
                  <c:v>40861</c:v>
                </c:pt>
                <c:pt idx="1667">
                  <c:v>40862</c:v>
                </c:pt>
                <c:pt idx="1668">
                  <c:v>40863</c:v>
                </c:pt>
                <c:pt idx="1669">
                  <c:v>40864</c:v>
                </c:pt>
                <c:pt idx="1670">
                  <c:v>40865</c:v>
                </c:pt>
                <c:pt idx="1671">
                  <c:v>40868</c:v>
                </c:pt>
                <c:pt idx="1672">
                  <c:v>40869</c:v>
                </c:pt>
                <c:pt idx="1673">
                  <c:v>40870</c:v>
                </c:pt>
                <c:pt idx="1674">
                  <c:v>40871</c:v>
                </c:pt>
                <c:pt idx="1675">
                  <c:v>40872</c:v>
                </c:pt>
                <c:pt idx="1676">
                  <c:v>40875</c:v>
                </c:pt>
                <c:pt idx="1677">
                  <c:v>40876</c:v>
                </c:pt>
                <c:pt idx="1678">
                  <c:v>40877</c:v>
                </c:pt>
                <c:pt idx="1679">
                  <c:v>40878</c:v>
                </c:pt>
                <c:pt idx="1680">
                  <c:v>40879</c:v>
                </c:pt>
                <c:pt idx="1681">
                  <c:v>40882</c:v>
                </c:pt>
                <c:pt idx="1682">
                  <c:v>40883</c:v>
                </c:pt>
                <c:pt idx="1683">
                  <c:v>40884</c:v>
                </c:pt>
                <c:pt idx="1684">
                  <c:v>40885</c:v>
                </c:pt>
                <c:pt idx="1685">
                  <c:v>40886</c:v>
                </c:pt>
                <c:pt idx="1686">
                  <c:v>40889</c:v>
                </c:pt>
                <c:pt idx="1687">
                  <c:v>40890</c:v>
                </c:pt>
                <c:pt idx="1688">
                  <c:v>40891</c:v>
                </c:pt>
                <c:pt idx="1689">
                  <c:v>40892</c:v>
                </c:pt>
                <c:pt idx="1690">
                  <c:v>40893</c:v>
                </c:pt>
                <c:pt idx="1691">
                  <c:v>40896</c:v>
                </c:pt>
                <c:pt idx="1692">
                  <c:v>40897</c:v>
                </c:pt>
                <c:pt idx="1693">
                  <c:v>40898</c:v>
                </c:pt>
                <c:pt idx="1694">
                  <c:v>40899</c:v>
                </c:pt>
                <c:pt idx="1695">
                  <c:v>40900</c:v>
                </c:pt>
                <c:pt idx="1696">
                  <c:v>40903</c:v>
                </c:pt>
                <c:pt idx="1697">
                  <c:v>40904</c:v>
                </c:pt>
                <c:pt idx="1698">
                  <c:v>40905</c:v>
                </c:pt>
                <c:pt idx="1699">
                  <c:v>40906</c:v>
                </c:pt>
                <c:pt idx="1700">
                  <c:v>40907</c:v>
                </c:pt>
                <c:pt idx="1701">
                  <c:v>40912</c:v>
                </c:pt>
                <c:pt idx="1702">
                  <c:v>40913</c:v>
                </c:pt>
                <c:pt idx="1703">
                  <c:v>40914</c:v>
                </c:pt>
                <c:pt idx="1704">
                  <c:v>40917</c:v>
                </c:pt>
                <c:pt idx="1705">
                  <c:v>40918</c:v>
                </c:pt>
                <c:pt idx="1706">
                  <c:v>40919</c:v>
                </c:pt>
                <c:pt idx="1707">
                  <c:v>40920</c:v>
                </c:pt>
                <c:pt idx="1708">
                  <c:v>40921</c:v>
                </c:pt>
                <c:pt idx="1709">
                  <c:v>40924</c:v>
                </c:pt>
                <c:pt idx="1710">
                  <c:v>40925</c:v>
                </c:pt>
                <c:pt idx="1711">
                  <c:v>40926</c:v>
                </c:pt>
                <c:pt idx="1712">
                  <c:v>40927</c:v>
                </c:pt>
                <c:pt idx="1713">
                  <c:v>40928</c:v>
                </c:pt>
                <c:pt idx="1714">
                  <c:v>40938</c:v>
                </c:pt>
                <c:pt idx="1715">
                  <c:v>40939</c:v>
                </c:pt>
                <c:pt idx="1716">
                  <c:v>40940</c:v>
                </c:pt>
                <c:pt idx="1717">
                  <c:v>40941</c:v>
                </c:pt>
                <c:pt idx="1718">
                  <c:v>40942</c:v>
                </c:pt>
                <c:pt idx="1719">
                  <c:v>40945</c:v>
                </c:pt>
                <c:pt idx="1720">
                  <c:v>40946</c:v>
                </c:pt>
                <c:pt idx="1721">
                  <c:v>40947</c:v>
                </c:pt>
                <c:pt idx="1722">
                  <c:v>40948</c:v>
                </c:pt>
                <c:pt idx="1723">
                  <c:v>40949</c:v>
                </c:pt>
                <c:pt idx="1724">
                  <c:v>40952</c:v>
                </c:pt>
                <c:pt idx="1725">
                  <c:v>40953</c:v>
                </c:pt>
                <c:pt idx="1726">
                  <c:v>40954</c:v>
                </c:pt>
                <c:pt idx="1727">
                  <c:v>40955</c:v>
                </c:pt>
                <c:pt idx="1728">
                  <c:v>40956</c:v>
                </c:pt>
                <c:pt idx="1729">
                  <c:v>40959</c:v>
                </c:pt>
                <c:pt idx="1730">
                  <c:v>40960</c:v>
                </c:pt>
                <c:pt idx="1731">
                  <c:v>40961</c:v>
                </c:pt>
                <c:pt idx="1732">
                  <c:v>40962</c:v>
                </c:pt>
                <c:pt idx="1733">
                  <c:v>40963</c:v>
                </c:pt>
                <c:pt idx="1734">
                  <c:v>40966</c:v>
                </c:pt>
                <c:pt idx="1735">
                  <c:v>40967</c:v>
                </c:pt>
                <c:pt idx="1736">
                  <c:v>40968</c:v>
                </c:pt>
                <c:pt idx="1737">
                  <c:v>40969</c:v>
                </c:pt>
                <c:pt idx="1738">
                  <c:v>40970</c:v>
                </c:pt>
                <c:pt idx="1739">
                  <c:v>40973</c:v>
                </c:pt>
                <c:pt idx="1740">
                  <c:v>40974</c:v>
                </c:pt>
                <c:pt idx="1741">
                  <c:v>40975</c:v>
                </c:pt>
                <c:pt idx="1742">
                  <c:v>40976</c:v>
                </c:pt>
                <c:pt idx="1743">
                  <c:v>40977</c:v>
                </c:pt>
                <c:pt idx="1744">
                  <c:v>40980</c:v>
                </c:pt>
                <c:pt idx="1745">
                  <c:v>40981</c:v>
                </c:pt>
                <c:pt idx="1746">
                  <c:v>40982</c:v>
                </c:pt>
                <c:pt idx="1747">
                  <c:v>40983</c:v>
                </c:pt>
                <c:pt idx="1748">
                  <c:v>40984</c:v>
                </c:pt>
                <c:pt idx="1749">
                  <c:v>40987</c:v>
                </c:pt>
                <c:pt idx="1750">
                  <c:v>40988</c:v>
                </c:pt>
                <c:pt idx="1751">
                  <c:v>40989</c:v>
                </c:pt>
                <c:pt idx="1752">
                  <c:v>40990</c:v>
                </c:pt>
                <c:pt idx="1753">
                  <c:v>40991</c:v>
                </c:pt>
                <c:pt idx="1754">
                  <c:v>40994</c:v>
                </c:pt>
                <c:pt idx="1755">
                  <c:v>40995</c:v>
                </c:pt>
                <c:pt idx="1756">
                  <c:v>40996</c:v>
                </c:pt>
                <c:pt idx="1757">
                  <c:v>40997</c:v>
                </c:pt>
                <c:pt idx="1758">
                  <c:v>40998</c:v>
                </c:pt>
                <c:pt idx="1759">
                  <c:v>41004</c:v>
                </c:pt>
                <c:pt idx="1760">
                  <c:v>41005</c:v>
                </c:pt>
                <c:pt idx="1761">
                  <c:v>41008</c:v>
                </c:pt>
                <c:pt idx="1762">
                  <c:v>41009</c:v>
                </c:pt>
                <c:pt idx="1763">
                  <c:v>41010</c:v>
                </c:pt>
                <c:pt idx="1764">
                  <c:v>41011</c:v>
                </c:pt>
                <c:pt idx="1765">
                  <c:v>41012</c:v>
                </c:pt>
                <c:pt idx="1766">
                  <c:v>41015</c:v>
                </c:pt>
                <c:pt idx="1767">
                  <c:v>41016</c:v>
                </c:pt>
                <c:pt idx="1768">
                  <c:v>41017</c:v>
                </c:pt>
                <c:pt idx="1769">
                  <c:v>41018</c:v>
                </c:pt>
                <c:pt idx="1770">
                  <c:v>41019</c:v>
                </c:pt>
                <c:pt idx="1771">
                  <c:v>41022</c:v>
                </c:pt>
                <c:pt idx="1772">
                  <c:v>41023</c:v>
                </c:pt>
                <c:pt idx="1773">
                  <c:v>41024</c:v>
                </c:pt>
                <c:pt idx="1774">
                  <c:v>41025</c:v>
                </c:pt>
                <c:pt idx="1775">
                  <c:v>41026</c:v>
                </c:pt>
                <c:pt idx="1776">
                  <c:v>41031</c:v>
                </c:pt>
                <c:pt idx="1777">
                  <c:v>41032</c:v>
                </c:pt>
                <c:pt idx="1778">
                  <c:v>41033</c:v>
                </c:pt>
                <c:pt idx="1779">
                  <c:v>41036</c:v>
                </c:pt>
                <c:pt idx="1780">
                  <c:v>41037</c:v>
                </c:pt>
                <c:pt idx="1781">
                  <c:v>41038</c:v>
                </c:pt>
                <c:pt idx="1782">
                  <c:v>41039</c:v>
                </c:pt>
                <c:pt idx="1783">
                  <c:v>41040</c:v>
                </c:pt>
                <c:pt idx="1784">
                  <c:v>41043</c:v>
                </c:pt>
                <c:pt idx="1785">
                  <c:v>41044</c:v>
                </c:pt>
                <c:pt idx="1786">
                  <c:v>41045</c:v>
                </c:pt>
                <c:pt idx="1787">
                  <c:v>41046</c:v>
                </c:pt>
                <c:pt idx="1788">
                  <c:v>41047</c:v>
                </c:pt>
                <c:pt idx="1789">
                  <c:v>41050</c:v>
                </c:pt>
                <c:pt idx="1790">
                  <c:v>41051</c:v>
                </c:pt>
                <c:pt idx="1791">
                  <c:v>41052</c:v>
                </c:pt>
                <c:pt idx="1792">
                  <c:v>41053</c:v>
                </c:pt>
                <c:pt idx="1793">
                  <c:v>41054</c:v>
                </c:pt>
                <c:pt idx="1794">
                  <c:v>41057</c:v>
                </c:pt>
                <c:pt idx="1795">
                  <c:v>41058</c:v>
                </c:pt>
                <c:pt idx="1796">
                  <c:v>41059</c:v>
                </c:pt>
                <c:pt idx="1797">
                  <c:v>41060</c:v>
                </c:pt>
                <c:pt idx="1798">
                  <c:v>41061</c:v>
                </c:pt>
                <c:pt idx="1799">
                  <c:v>41064</c:v>
                </c:pt>
                <c:pt idx="1800">
                  <c:v>41065</c:v>
                </c:pt>
                <c:pt idx="1801">
                  <c:v>41066</c:v>
                </c:pt>
                <c:pt idx="1802">
                  <c:v>41067</c:v>
                </c:pt>
                <c:pt idx="1803">
                  <c:v>41068</c:v>
                </c:pt>
                <c:pt idx="1804">
                  <c:v>41071</c:v>
                </c:pt>
                <c:pt idx="1805">
                  <c:v>41072</c:v>
                </c:pt>
                <c:pt idx="1806">
                  <c:v>41073</c:v>
                </c:pt>
                <c:pt idx="1807">
                  <c:v>41074</c:v>
                </c:pt>
                <c:pt idx="1808">
                  <c:v>41075</c:v>
                </c:pt>
                <c:pt idx="1809">
                  <c:v>41078</c:v>
                </c:pt>
                <c:pt idx="1810">
                  <c:v>41079</c:v>
                </c:pt>
                <c:pt idx="1811">
                  <c:v>41080</c:v>
                </c:pt>
                <c:pt idx="1812">
                  <c:v>41081</c:v>
                </c:pt>
                <c:pt idx="1813">
                  <c:v>41085</c:v>
                </c:pt>
                <c:pt idx="1814">
                  <c:v>41086</c:v>
                </c:pt>
                <c:pt idx="1815">
                  <c:v>41087</c:v>
                </c:pt>
                <c:pt idx="1816">
                  <c:v>41088</c:v>
                </c:pt>
                <c:pt idx="1817">
                  <c:v>41089</c:v>
                </c:pt>
                <c:pt idx="1818">
                  <c:v>41092</c:v>
                </c:pt>
                <c:pt idx="1819">
                  <c:v>41093</c:v>
                </c:pt>
                <c:pt idx="1820">
                  <c:v>41094</c:v>
                </c:pt>
                <c:pt idx="1821">
                  <c:v>41095</c:v>
                </c:pt>
                <c:pt idx="1822">
                  <c:v>41096</c:v>
                </c:pt>
                <c:pt idx="1823">
                  <c:v>41099</c:v>
                </c:pt>
                <c:pt idx="1824">
                  <c:v>41100</c:v>
                </c:pt>
                <c:pt idx="1825">
                  <c:v>41101</c:v>
                </c:pt>
                <c:pt idx="1826">
                  <c:v>41102</c:v>
                </c:pt>
                <c:pt idx="1827">
                  <c:v>41103</c:v>
                </c:pt>
                <c:pt idx="1828">
                  <c:v>41106</c:v>
                </c:pt>
                <c:pt idx="1829">
                  <c:v>41107</c:v>
                </c:pt>
                <c:pt idx="1830">
                  <c:v>41108</c:v>
                </c:pt>
                <c:pt idx="1831">
                  <c:v>41109</c:v>
                </c:pt>
                <c:pt idx="1832">
                  <c:v>41110</c:v>
                </c:pt>
                <c:pt idx="1833">
                  <c:v>41113</c:v>
                </c:pt>
                <c:pt idx="1834">
                  <c:v>41114</c:v>
                </c:pt>
                <c:pt idx="1835">
                  <c:v>41115</c:v>
                </c:pt>
                <c:pt idx="1836">
                  <c:v>41116</c:v>
                </c:pt>
                <c:pt idx="1837">
                  <c:v>41117</c:v>
                </c:pt>
                <c:pt idx="1838">
                  <c:v>41120</c:v>
                </c:pt>
                <c:pt idx="1839">
                  <c:v>41121</c:v>
                </c:pt>
                <c:pt idx="1840">
                  <c:v>41122</c:v>
                </c:pt>
                <c:pt idx="1841">
                  <c:v>41123</c:v>
                </c:pt>
                <c:pt idx="1842">
                  <c:v>41124</c:v>
                </c:pt>
                <c:pt idx="1843">
                  <c:v>41127</c:v>
                </c:pt>
                <c:pt idx="1844">
                  <c:v>41128</c:v>
                </c:pt>
                <c:pt idx="1845">
                  <c:v>41129</c:v>
                </c:pt>
                <c:pt idx="1846">
                  <c:v>41130</c:v>
                </c:pt>
                <c:pt idx="1847">
                  <c:v>41131</c:v>
                </c:pt>
                <c:pt idx="1848">
                  <c:v>41134</c:v>
                </c:pt>
                <c:pt idx="1849">
                  <c:v>41135</c:v>
                </c:pt>
                <c:pt idx="1850">
                  <c:v>41136</c:v>
                </c:pt>
                <c:pt idx="1851">
                  <c:v>41137</c:v>
                </c:pt>
                <c:pt idx="1852">
                  <c:v>41138</c:v>
                </c:pt>
                <c:pt idx="1853">
                  <c:v>41141</c:v>
                </c:pt>
                <c:pt idx="1854">
                  <c:v>41142</c:v>
                </c:pt>
                <c:pt idx="1855">
                  <c:v>41143</c:v>
                </c:pt>
                <c:pt idx="1856">
                  <c:v>41144</c:v>
                </c:pt>
                <c:pt idx="1857">
                  <c:v>41145</c:v>
                </c:pt>
                <c:pt idx="1858">
                  <c:v>41148</c:v>
                </c:pt>
                <c:pt idx="1859">
                  <c:v>41149</c:v>
                </c:pt>
                <c:pt idx="1860">
                  <c:v>41150</c:v>
                </c:pt>
                <c:pt idx="1861">
                  <c:v>41151</c:v>
                </c:pt>
                <c:pt idx="1862">
                  <c:v>41152</c:v>
                </c:pt>
                <c:pt idx="1863">
                  <c:v>41155</c:v>
                </c:pt>
                <c:pt idx="1864">
                  <c:v>41156</c:v>
                </c:pt>
                <c:pt idx="1865">
                  <c:v>41157</c:v>
                </c:pt>
                <c:pt idx="1866">
                  <c:v>41158</c:v>
                </c:pt>
                <c:pt idx="1867">
                  <c:v>41159</c:v>
                </c:pt>
                <c:pt idx="1868">
                  <c:v>41162</c:v>
                </c:pt>
                <c:pt idx="1869">
                  <c:v>41163</c:v>
                </c:pt>
                <c:pt idx="1870">
                  <c:v>41164</c:v>
                </c:pt>
                <c:pt idx="1871">
                  <c:v>41165</c:v>
                </c:pt>
                <c:pt idx="1872">
                  <c:v>41166</c:v>
                </c:pt>
                <c:pt idx="1873">
                  <c:v>41169</c:v>
                </c:pt>
                <c:pt idx="1874">
                  <c:v>41170</c:v>
                </c:pt>
                <c:pt idx="1875">
                  <c:v>41171</c:v>
                </c:pt>
                <c:pt idx="1876">
                  <c:v>41172</c:v>
                </c:pt>
                <c:pt idx="1877">
                  <c:v>41173</c:v>
                </c:pt>
                <c:pt idx="1878">
                  <c:v>41176</c:v>
                </c:pt>
                <c:pt idx="1879">
                  <c:v>41177</c:v>
                </c:pt>
                <c:pt idx="1880">
                  <c:v>41178</c:v>
                </c:pt>
                <c:pt idx="1881">
                  <c:v>41179</c:v>
                </c:pt>
                <c:pt idx="1882">
                  <c:v>41180</c:v>
                </c:pt>
                <c:pt idx="1883">
                  <c:v>41190</c:v>
                </c:pt>
                <c:pt idx="1884">
                  <c:v>41191</c:v>
                </c:pt>
                <c:pt idx="1885">
                  <c:v>41192</c:v>
                </c:pt>
                <c:pt idx="1886">
                  <c:v>41193</c:v>
                </c:pt>
                <c:pt idx="1887">
                  <c:v>41194</c:v>
                </c:pt>
                <c:pt idx="1888">
                  <c:v>41197</c:v>
                </c:pt>
                <c:pt idx="1889">
                  <c:v>41198</c:v>
                </c:pt>
                <c:pt idx="1890">
                  <c:v>41199</c:v>
                </c:pt>
                <c:pt idx="1891">
                  <c:v>41200</c:v>
                </c:pt>
                <c:pt idx="1892">
                  <c:v>41201</c:v>
                </c:pt>
                <c:pt idx="1893">
                  <c:v>41204</c:v>
                </c:pt>
                <c:pt idx="1894">
                  <c:v>41205</c:v>
                </c:pt>
                <c:pt idx="1895">
                  <c:v>41206</c:v>
                </c:pt>
                <c:pt idx="1896">
                  <c:v>41207</c:v>
                </c:pt>
                <c:pt idx="1897">
                  <c:v>41208</c:v>
                </c:pt>
                <c:pt idx="1898">
                  <c:v>41211</c:v>
                </c:pt>
                <c:pt idx="1899">
                  <c:v>41212</c:v>
                </c:pt>
                <c:pt idx="1900">
                  <c:v>41213</c:v>
                </c:pt>
                <c:pt idx="1901">
                  <c:v>41214</c:v>
                </c:pt>
                <c:pt idx="1902">
                  <c:v>41215</c:v>
                </c:pt>
                <c:pt idx="1903">
                  <c:v>41218</c:v>
                </c:pt>
                <c:pt idx="1904">
                  <c:v>41219</c:v>
                </c:pt>
                <c:pt idx="1905">
                  <c:v>41220</c:v>
                </c:pt>
                <c:pt idx="1906">
                  <c:v>41221</c:v>
                </c:pt>
                <c:pt idx="1907">
                  <c:v>41222</c:v>
                </c:pt>
                <c:pt idx="1908">
                  <c:v>41225</c:v>
                </c:pt>
                <c:pt idx="1909">
                  <c:v>41226</c:v>
                </c:pt>
                <c:pt idx="1910">
                  <c:v>41227</c:v>
                </c:pt>
                <c:pt idx="1911">
                  <c:v>41228</c:v>
                </c:pt>
                <c:pt idx="1912">
                  <c:v>41229</c:v>
                </c:pt>
                <c:pt idx="1913">
                  <c:v>41232</c:v>
                </c:pt>
                <c:pt idx="1914">
                  <c:v>41233</c:v>
                </c:pt>
                <c:pt idx="1915">
                  <c:v>41234</c:v>
                </c:pt>
                <c:pt idx="1916">
                  <c:v>41235</c:v>
                </c:pt>
                <c:pt idx="1917">
                  <c:v>41236</c:v>
                </c:pt>
                <c:pt idx="1918">
                  <c:v>41239</c:v>
                </c:pt>
                <c:pt idx="1919">
                  <c:v>41240</c:v>
                </c:pt>
                <c:pt idx="1920">
                  <c:v>41241</c:v>
                </c:pt>
                <c:pt idx="1921">
                  <c:v>41242</c:v>
                </c:pt>
                <c:pt idx="1922">
                  <c:v>41243</c:v>
                </c:pt>
                <c:pt idx="1923">
                  <c:v>41246</c:v>
                </c:pt>
                <c:pt idx="1924">
                  <c:v>41247</c:v>
                </c:pt>
                <c:pt idx="1925">
                  <c:v>41248</c:v>
                </c:pt>
                <c:pt idx="1926">
                  <c:v>41249</c:v>
                </c:pt>
                <c:pt idx="1927">
                  <c:v>41250</c:v>
                </c:pt>
                <c:pt idx="1928">
                  <c:v>41253</c:v>
                </c:pt>
                <c:pt idx="1929">
                  <c:v>41254</c:v>
                </c:pt>
                <c:pt idx="1930">
                  <c:v>41255</c:v>
                </c:pt>
                <c:pt idx="1931">
                  <c:v>41256</c:v>
                </c:pt>
                <c:pt idx="1932">
                  <c:v>41257</c:v>
                </c:pt>
                <c:pt idx="1933">
                  <c:v>41260</c:v>
                </c:pt>
                <c:pt idx="1934">
                  <c:v>41261</c:v>
                </c:pt>
                <c:pt idx="1935">
                  <c:v>41262</c:v>
                </c:pt>
                <c:pt idx="1936">
                  <c:v>41263</c:v>
                </c:pt>
                <c:pt idx="1937">
                  <c:v>41264</c:v>
                </c:pt>
                <c:pt idx="1938">
                  <c:v>41267</c:v>
                </c:pt>
                <c:pt idx="1939">
                  <c:v>41268</c:v>
                </c:pt>
                <c:pt idx="1940">
                  <c:v>41269</c:v>
                </c:pt>
                <c:pt idx="1941">
                  <c:v>41270</c:v>
                </c:pt>
                <c:pt idx="1942">
                  <c:v>41271</c:v>
                </c:pt>
                <c:pt idx="1943">
                  <c:v>41274</c:v>
                </c:pt>
                <c:pt idx="1944">
                  <c:v>41278</c:v>
                </c:pt>
                <c:pt idx="1945">
                  <c:v>41281</c:v>
                </c:pt>
                <c:pt idx="1946">
                  <c:v>41282</c:v>
                </c:pt>
                <c:pt idx="1947">
                  <c:v>41283</c:v>
                </c:pt>
                <c:pt idx="1948">
                  <c:v>41284</c:v>
                </c:pt>
                <c:pt idx="1949">
                  <c:v>41285</c:v>
                </c:pt>
                <c:pt idx="1950">
                  <c:v>41288</c:v>
                </c:pt>
                <c:pt idx="1951">
                  <c:v>41289</c:v>
                </c:pt>
                <c:pt idx="1952">
                  <c:v>41290</c:v>
                </c:pt>
                <c:pt idx="1953">
                  <c:v>41291</c:v>
                </c:pt>
                <c:pt idx="1954">
                  <c:v>41292</c:v>
                </c:pt>
                <c:pt idx="1955">
                  <c:v>41295</c:v>
                </c:pt>
                <c:pt idx="1956">
                  <c:v>41296</c:v>
                </c:pt>
                <c:pt idx="1957">
                  <c:v>41297</c:v>
                </c:pt>
                <c:pt idx="1958">
                  <c:v>41298</c:v>
                </c:pt>
                <c:pt idx="1959">
                  <c:v>41299</c:v>
                </c:pt>
                <c:pt idx="1960">
                  <c:v>41302</c:v>
                </c:pt>
                <c:pt idx="1961">
                  <c:v>41303</c:v>
                </c:pt>
                <c:pt idx="1962">
                  <c:v>41304</c:v>
                </c:pt>
                <c:pt idx="1963">
                  <c:v>41305</c:v>
                </c:pt>
                <c:pt idx="1964">
                  <c:v>41306</c:v>
                </c:pt>
                <c:pt idx="1965">
                  <c:v>41309</c:v>
                </c:pt>
                <c:pt idx="1966">
                  <c:v>41310</c:v>
                </c:pt>
                <c:pt idx="1967">
                  <c:v>41311</c:v>
                </c:pt>
                <c:pt idx="1968">
                  <c:v>41312</c:v>
                </c:pt>
                <c:pt idx="1969">
                  <c:v>41313</c:v>
                </c:pt>
                <c:pt idx="1970">
                  <c:v>41323</c:v>
                </c:pt>
                <c:pt idx="1971">
                  <c:v>41324</c:v>
                </c:pt>
                <c:pt idx="1972">
                  <c:v>41325</c:v>
                </c:pt>
                <c:pt idx="1973">
                  <c:v>41326</c:v>
                </c:pt>
                <c:pt idx="1974">
                  <c:v>41327</c:v>
                </c:pt>
                <c:pt idx="1975">
                  <c:v>41330</c:v>
                </c:pt>
                <c:pt idx="1976">
                  <c:v>41331</c:v>
                </c:pt>
                <c:pt idx="1977">
                  <c:v>41332</c:v>
                </c:pt>
                <c:pt idx="1978">
                  <c:v>41333</c:v>
                </c:pt>
                <c:pt idx="1979">
                  <c:v>41334</c:v>
                </c:pt>
                <c:pt idx="1980">
                  <c:v>41337</c:v>
                </c:pt>
                <c:pt idx="1981">
                  <c:v>41338</c:v>
                </c:pt>
                <c:pt idx="1982">
                  <c:v>41339</c:v>
                </c:pt>
                <c:pt idx="1983">
                  <c:v>41340</c:v>
                </c:pt>
                <c:pt idx="1984">
                  <c:v>41341</c:v>
                </c:pt>
                <c:pt idx="1985">
                  <c:v>41344</c:v>
                </c:pt>
                <c:pt idx="1986">
                  <c:v>41345</c:v>
                </c:pt>
                <c:pt idx="1987">
                  <c:v>41346</c:v>
                </c:pt>
                <c:pt idx="1988">
                  <c:v>41347</c:v>
                </c:pt>
                <c:pt idx="1989">
                  <c:v>41348</c:v>
                </c:pt>
                <c:pt idx="1990">
                  <c:v>41351</c:v>
                </c:pt>
                <c:pt idx="1991">
                  <c:v>41352</c:v>
                </c:pt>
                <c:pt idx="1992">
                  <c:v>41353</c:v>
                </c:pt>
                <c:pt idx="1993">
                  <c:v>41354</c:v>
                </c:pt>
                <c:pt idx="1994">
                  <c:v>41355</c:v>
                </c:pt>
                <c:pt idx="1995">
                  <c:v>41358</c:v>
                </c:pt>
                <c:pt idx="1996">
                  <c:v>41359</c:v>
                </c:pt>
                <c:pt idx="1997">
                  <c:v>41360</c:v>
                </c:pt>
                <c:pt idx="1998">
                  <c:v>41361</c:v>
                </c:pt>
                <c:pt idx="1999">
                  <c:v>41362</c:v>
                </c:pt>
                <c:pt idx="2000">
                  <c:v>41365</c:v>
                </c:pt>
                <c:pt idx="2001">
                  <c:v>41366</c:v>
                </c:pt>
                <c:pt idx="2002">
                  <c:v>41367</c:v>
                </c:pt>
                <c:pt idx="2003">
                  <c:v>41372</c:v>
                </c:pt>
                <c:pt idx="2004">
                  <c:v>41373</c:v>
                </c:pt>
                <c:pt idx="2005">
                  <c:v>41374</c:v>
                </c:pt>
                <c:pt idx="2006">
                  <c:v>41375</c:v>
                </c:pt>
                <c:pt idx="2007">
                  <c:v>41376</c:v>
                </c:pt>
                <c:pt idx="2008">
                  <c:v>41379</c:v>
                </c:pt>
                <c:pt idx="2009">
                  <c:v>41380</c:v>
                </c:pt>
                <c:pt idx="2010">
                  <c:v>41381</c:v>
                </c:pt>
                <c:pt idx="2011">
                  <c:v>41382</c:v>
                </c:pt>
                <c:pt idx="2012">
                  <c:v>41383</c:v>
                </c:pt>
                <c:pt idx="2013">
                  <c:v>41386</c:v>
                </c:pt>
                <c:pt idx="2014">
                  <c:v>41387</c:v>
                </c:pt>
                <c:pt idx="2015">
                  <c:v>41388</c:v>
                </c:pt>
                <c:pt idx="2016">
                  <c:v>41389</c:v>
                </c:pt>
                <c:pt idx="2017">
                  <c:v>41390</c:v>
                </c:pt>
                <c:pt idx="2018">
                  <c:v>41396</c:v>
                </c:pt>
                <c:pt idx="2019">
                  <c:v>41397</c:v>
                </c:pt>
                <c:pt idx="2020">
                  <c:v>41400</c:v>
                </c:pt>
                <c:pt idx="2021">
                  <c:v>41401</c:v>
                </c:pt>
                <c:pt idx="2022">
                  <c:v>41402</c:v>
                </c:pt>
                <c:pt idx="2023">
                  <c:v>41403</c:v>
                </c:pt>
                <c:pt idx="2024">
                  <c:v>41404</c:v>
                </c:pt>
                <c:pt idx="2025">
                  <c:v>41407</c:v>
                </c:pt>
                <c:pt idx="2026">
                  <c:v>41408</c:v>
                </c:pt>
                <c:pt idx="2027">
                  <c:v>41409</c:v>
                </c:pt>
                <c:pt idx="2028">
                  <c:v>41410</c:v>
                </c:pt>
                <c:pt idx="2029">
                  <c:v>41411</c:v>
                </c:pt>
                <c:pt idx="2030">
                  <c:v>41414</c:v>
                </c:pt>
                <c:pt idx="2031">
                  <c:v>41415</c:v>
                </c:pt>
                <c:pt idx="2032">
                  <c:v>41416</c:v>
                </c:pt>
                <c:pt idx="2033">
                  <c:v>41417</c:v>
                </c:pt>
                <c:pt idx="2034">
                  <c:v>41418</c:v>
                </c:pt>
                <c:pt idx="2035">
                  <c:v>41421</c:v>
                </c:pt>
                <c:pt idx="2036">
                  <c:v>41422</c:v>
                </c:pt>
                <c:pt idx="2037">
                  <c:v>41423</c:v>
                </c:pt>
                <c:pt idx="2038">
                  <c:v>41424</c:v>
                </c:pt>
                <c:pt idx="2039">
                  <c:v>41425</c:v>
                </c:pt>
                <c:pt idx="2040">
                  <c:v>41428</c:v>
                </c:pt>
                <c:pt idx="2041">
                  <c:v>41429</c:v>
                </c:pt>
                <c:pt idx="2042">
                  <c:v>41430</c:v>
                </c:pt>
                <c:pt idx="2043">
                  <c:v>41431</c:v>
                </c:pt>
                <c:pt idx="2044">
                  <c:v>41432</c:v>
                </c:pt>
                <c:pt idx="2045">
                  <c:v>41438</c:v>
                </c:pt>
                <c:pt idx="2046">
                  <c:v>41439</c:v>
                </c:pt>
                <c:pt idx="2047">
                  <c:v>41442</c:v>
                </c:pt>
                <c:pt idx="2048">
                  <c:v>41443</c:v>
                </c:pt>
                <c:pt idx="2049">
                  <c:v>41444</c:v>
                </c:pt>
                <c:pt idx="2050">
                  <c:v>41445</c:v>
                </c:pt>
                <c:pt idx="2051">
                  <c:v>41446</c:v>
                </c:pt>
                <c:pt idx="2052">
                  <c:v>41449</c:v>
                </c:pt>
                <c:pt idx="2053">
                  <c:v>41450</c:v>
                </c:pt>
                <c:pt idx="2054">
                  <c:v>41451</c:v>
                </c:pt>
                <c:pt idx="2055">
                  <c:v>41452</c:v>
                </c:pt>
                <c:pt idx="2056">
                  <c:v>41453</c:v>
                </c:pt>
                <c:pt idx="2057">
                  <c:v>41456</c:v>
                </c:pt>
                <c:pt idx="2058">
                  <c:v>41457</c:v>
                </c:pt>
                <c:pt idx="2059">
                  <c:v>41458</c:v>
                </c:pt>
                <c:pt idx="2060">
                  <c:v>41459</c:v>
                </c:pt>
                <c:pt idx="2061">
                  <c:v>41460</c:v>
                </c:pt>
                <c:pt idx="2062">
                  <c:v>41463</c:v>
                </c:pt>
                <c:pt idx="2063">
                  <c:v>41464</c:v>
                </c:pt>
                <c:pt idx="2064">
                  <c:v>41465</c:v>
                </c:pt>
                <c:pt idx="2065">
                  <c:v>41466</c:v>
                </c:pt>
                <c:pt idx="2066">
                  <c:v>41467</c:v>
                </c:pt>
                <c:pt idx="2067">
                  <c:v>41470</c:v>
                </c:pt>
                <c:pt idx="2068">
                  <c:v>41471</c:v>
                </c:pt>
                <c:pt idx="2069">
                  <c:v>41472</c:v>
                </c:pt>
                <c:pt idx="2070">
                  <c:v>41473</c:v>
                </c:pt>
                <c:pt idx="2071">
                  <c:v>41474</c:v>
                </c:pt>
                <c:pt idx="2072">
                  <c:v>41477</c:v>
                </c:pt>
                <c:pt idx="2073">
                  <c:v>41478</c:v>
                </c:pt>
                <c:pt idx="2074">
                  <c:v>41479</c:v>
                </c:pt>
                <c:pt idx="2075">
                  <c:v>41480</c:v>
                </c:pt>
                <c:pt idx="2076">
                  <c:v>41481</c:v>
                </c:pt>
                <c:pt idx="2077">
                  <c:v>41484</c:v>
                </c:pt>
                <c:pt idx="2078">
                  <c:v>41485</c:v>
                </c:pt>
                <c:pt idx="2079">
                  <c:v>41486</c:v>
                </c:pt>
                <c:pt idx="2080">
                  <c:v>41487</c:v>
                </c:pt>
                <c:pt idx="2081">
                  <c:v>41488</c:v>
                </c:pt>
                <c:pt idx="2082">
                  <c:v>41491</c:v>
                </c:pt>
                <c:pt idx="2083">
                  <c:v>41492</c:v>
                </c:pt>
                <c:pt idx="2084">
                  <c:v>41493</c:v>
                </c:pt>
                <c:pt idx="2085">
                  <c:v>41494</c:v>
                </c:pt>
                <c:pt idx="2086">
                  <c:v>41495</c:v>
                </c:pt>
                <c:pt idx="2087">
                  <c:v>41498</c:v>
                </c:pt>
                <c:pt idx="2088">
                  <c:v>41499</c:v>
                </c:pt>
                <c:pt idx="2089">
                  <c:v>41500</c:v>
                </c:pt>
                <c:pt idx="2090">
                  <c:v>41501</c:v>
                </c:pt>
                <c:pt idx="2091">
                  <c:v>41502</c:v>
                </c:pt>
                <c:pt idx="2092">
                  <c:v>41505</c:v>
                </c:pt>
                <c:pt idx="2093">
                  <c:v>41506</c:v>
                </c:pt>
                <c:pt idx="2094">
                  <c:v>41507</c:v>
                </c:pt>
                <c:pt idx="2095">
                  <c:v>41508</c:v>
                </c:pt>
                <c:pt idx="2096">
                  <c:v>41509</c:v>
                </c:pt>
                <c:pt idx="2097">
                  <c:v>41512</c:v>
                </c:pt>
                <c:pt idx="2098">
                  <c:v>41513</c:v>
                </c:pt>
                <c:pt idx="2099">
                  <c:v>41514</c:v>
                </c:pt>
                <c:pt idx="2100">
                  <c:v>41515</c:v>
                </c:pt>
                <c:pt idx="2101">
                  <c:v>41516</c:v>
                </c:pt>
                <c:pt idx="2102">
                  <c:v>41519</c:v>
                </c:pt>
                <c:pt idx="2103">
                  <c:v>41520</c:v>
                </c:pt>
                <c:pt idx="2104">
                  <c:v>41521</c:v>
                </c:pt>
                <c:pt idx="2105">
                  <c:v>41522</c:v>
                </c:pt>
                <c:pt idx="2106">
                  <c:v>41523</c:v>
                </c:pt>
                <c:pt idx="2107">
                  <c:v>41526</c:v>
                </c:pt>
                <c:pt idx="2108">
                  <c:v>41527</c:v>
                </c:pt>
                <c:pt idx="2109">
                  <c:v>41528</c:v>
                </c:pt>
                <c:pt idx="2110">
                  <c:v>41529</c:v>
                </c:pt>
                <c:pt idx="2111">
                  <c:v>41530</c:v>
                </c:pt>
                <c:pt idx="2112">
                  <c:v>41533</c:v>
                </c:pt>
                <c:pt idx="2113">
                  <c:v>41534</c:v>
                </c:pt>
                <c:pt idx="2114">
                  <c:v>41535</c:v>
                </c:pt>
                <c:pt idx="2115">
                  <c:v>41540</c:v>
                </c:pt>
                <c:pt idx="2116">
                  <c:v>41541</c:v>
                </c:pt>
                <c:pt idx="2117">
                  <c:v>41542</c:v>
                </c:pt>
                <c:pt idx="2118">
                  <c:v>41543</c:v>
                </c:pt>
                <c:pt idx="2119">
                  <c:v>41544</c:v>
                </c:pt>
                <c:pt idx="2120">
                  <c:v>41547</c:v>
                </c:pt>
                <c:pt idx="2121">
                  <c:v>41555</c:v>
                </c:pt>
                <c:pt idx="2122">
                  <c:v>41556</c:v>
                </c:pt>
                <c:pt idx="2123">
                  <c:v>41557</c:v>
                </c:pt>
                <c:pt idx="2124">
                  <c:v>41558</c:v>
                </c:pt>
                <c:pt idx="2125">
                  <c:v>41561</c:v>
                </c:pt>
                <c:pt idx="2126">
                  <c:v>41562</c:v>
                </c:pt>
                <c:pt idx="2127">
                  <c:v>41563</c:v>
                </c:pt>
                <c:pt idx="2128">
                  <c:v>41564</c:v>
                </c:pt>
                <c:pt idx="2129">
                  <c:v>41565</c:v>
                </c:pt>
                <c:pt idx="2130">
                  <c:v>41568</c:v>
                </c:pt>
                <c:pt idx="2131">
                  <c:v>41569</c:v>
                </c:pt>
                <c:pt idx="2132">
                  <c:v>41570</c:v>
                </c:pt>
                <c:pt idx="2133">
                  <c:v>41571</c:v>
                </c:pt>
                <c:pt idx="2134">
                  <c:v>41572</c:v>
                </c:pt>
                <c:pt idx="2135">
                  <c:v>41575</c:v>
                </c:pt>
                <c:pt idx="2136">
                  <c:v>41576</c:v>
                </c:pt>
                <c:pt idx="2137">
                  <c:v>41577</c:v>
                </c:pt>
                <c:pt idx="2138">
                  <c:v>41578</c:v>
                </c:pt>
                <c:pt idx="2139">
                  <c:v>41579</c:v>
                </c:pt>
                <c:pt idx="2140">
                  <c:v>41582</c:v>
                </c:pt>
                <c:pt idx="2141">
                  <c:v>41583</c:v>
                </c:pt>
                <c:pt idx="2142">
                  <c:v>41584</c:v>
                </c:pt>
                <c:pt idx="2143">
                  <c:v>41585</c:v>
                </c:pt>
                <c:pt idx="2144">
                  <c:v>41586</c:v>
                </c:pt>
                <c:pt idx="2145">
                  <c:v>41589</c:v>
                </c:pt>
                <c:pt idx="2146">
                  <c:v>41590</c:v>
                </c:pt>
                <c:pt idx="2147">
                  <c:v>41591</c:v>
                </c:pt>
                <c:pt idx="2148">
                  <c:v>41592</c:v>
                </c:pt>
                <c:pt idx="2149">
                  <c:v>41593</c:v>
                </c:pt>
                <c:pt idx="2150">
                  <c:v>41596</c:v>
                </c:pt>
                <c:pt idx="2151">
                  <c:v>41597</c:v>
                </c:pt>
                <c:pt idx="2152">
                  <c:v>41598</c:v>
                </c:pt>
                <c:pt idx="2153">
                  <c:v>41599</c:v>
                </c:pt>
                <c:pt idx="2154">
                  <c:v>41600</c:v>
                </c:pt>
                <c:pt idx="2155">
                  <c:v>41603</c:v>
                </c:pt>
                <c:pt idx="2156">
                  <c:v>41604</c:v>
                </c:pt>
                <c:pt idx="2157">
                  <c:v>41605</c:v>
                </c:pt>
                <c:pt idx="2158">
                  <c:v>41606</c:v>
                </c:pt>
                <c:pt idx="2159">
                  <c:v>41607</c:v>
                </c:pt>
                <c:pt idx="2160">
                  <c:v>41610</c:v>
                </c:pt>
                <c:pt idx="2161">
                  <c:v>41611</c:v>
                </c:pt>
                <c:pt idx="2162">
                  <c:v>41612</c:v>
                </c:pt>
                <c:pt idx="2163">
                  <c:v>41613</c:v>
                </c:pt>
                <c:pt idx="2164">
                  <c:v>41614</c:v>
                </c:pt>
                <c:pt idx="2165">
                  <c:v>41617</c:v>
                </c:pt>
                <c:pt idx="2166">
                  <c:v>41618</c:v>
                </c:pt>
                <c:pt idx="2167">
                  <c:v>41619</c:v>
                </c:pt>
                <c:pt idx="2168">
                  <c:v>41620</c:v>
                </c:pt>
                <c:pt idx="2169">
                  <c:v>41621</c:v>
                </c:pt>
                <c:pt idx="2170">
                  <c:v>41624</c:v>
                </c:pt>
                <c:pt idx="2171">
                  <c:v>41625</c:v>
                </c:pt>
                <c:pt idx="2172">
                  <c:v>41626</c:v>
                </c:pt>
                <c:pt idx="2173">
                  <c:v>41627</c:v>
                </c:pt>
                <c:pt idx="2174">
                  <c:v>41628</c:v>
                </c:pt>
                <c:pt idx="2175">
                  <c:v>41631</c:v>
                </c:pt>
                <c:pt idx="2176">
                  <c:v>41632</c:v>
                </c:pt>
                <c:pt idx="2177">
                  <c:v>41633</c:v>
                </c:pt>
                <c:pt idx="2178">
                  <c:v>41634</c:v>
                </c:pt>
                <c:pt idx="2179">
                  <c:v>41635</c:v>
                </c:pt>
                <c:pt idx="2180">
                  <c:v>41638</c:v>
                </c:pt>
                <c:pt idx="2181">
                  <c:v>41639</c:v>
                </c:pt>
                <c:pt idx="2182">
                  <c:v>41641</c:v>
                </c:pt>
                <c:pt idx="2183">
                  <c:v>41642</c:v>
                </c:pt>
                <c:pt idx="2184">
                  <c:v>41645</c:v>
                </c:pt>
                <c:pt idx="2185">
                  <c:v>41646</c:v>
                </c:pt>
                <c:pt idx="2186">
                  <c:v>41647</c:v>
                </c:pt>
                <c:pt idx="2187">
                  <c:v>41648</c:v>
                </c:pt>
                <c:pt idx="2188">
                  <c:v>41649</c:v>
                </c:pt>
                <c:pt idx="2189">
                  <c:v>41652</c:v>
                </c:pt>
                <c:pt idx="2190">
                  <c:v>41653</c:v>
                </c:pt>
                <c:pt idx="2191">
                  <c:v>41654</c:v>
                </c:pt>
                <c:pt idx="2192">
                  <c:v>41655</c:v>
                </c:pt>
                <c:pt idx="2193">
                  <c:v>41656</c:v>
                </c:pt>
                <c:pt idx="2194">
                  <c:v>41659</c:v>
                </c:pt>
                <c:pt idx="2195">
                  <c:v>41660</c:v>
                </c:pt>
                <c:pt idx="2196">
                  <c:v>41661</c:v>
                </c:pt>
                <c:pt idx="2197">
                  <c:v>41662</c:v>
                </c:pt>
                <c:pt idx="2198">
                  <c:v>41663</c:v>
                </c:pt>
                <c:pt idx="2199">
                  <c:v>41666</c:v>
                </c:pt>
                <c:pt idx="2200">
                  <c:v>41667</c:v>
                </c:pt>
                <c:pt idx="2201">
                  <c:v>41668</c:v>
                </c:pt>
                <c:pt idx="2202">
                  <c:v>41669</c:v>
                </c:pt>
                <c:pt idx="2203">
                  <c:v>41677</c:v>
                </c:pt>
                <c:pt idx="2204">
                  <c:v>41680</c:v>
                </c:pt>
                <c:pt idx="2205">
                  <c:v>41681</c:v>
                </c:pt>
                <c:pt idx="2206">
                  <c:v>41682</c:v>
                </c:pt>
                <c:pt idx="2207">
                  <c:v>41683</c:v>
                </c:pt>
                <c:pt idx="2208">
                  <c:v>41684</c:v>
                </c:pt>
                <c:pt idx="2209">
                  <c:v>41687</c:v>
                </c:pt>
                <c:pt idx="2210">
                  <c:v>41688</c:v>
                </c:pt>
                <c:pt idx="2211">
                  <c:v>41689</c:v>
                </c:pt>
                <c:pt idx="2212">
                  <c:v>41690</c:v>
                </c:pt>
                <c:pt idx="2213">
                  <c:v>41691</c:v>
                </c:pt>
                <c:pt idx="2214">
                  <c:v>41694</c:v>
                </c:pt>
                <c:pt idx="2215">
                  <c:v>41695</c:v>
                </c:pt>
                <c:pt idx="2216">
                  <c:v>41696</c:v>
                </c:pt>
                <c:pt idx="2217">
                  <c:v>41697</c:v>
                </c:pt>
                <c:pt idx="2218">
                  <c:v>41698</c:v>
                </c:pt>
                <c:pt idx="2219">
                  <c:v>41701</c:v>
                </c:pt>
                <c:pt idx="2220">
                  <c:v>41702</c:v>
                </c:pt>
                <c:pt idx="2221">
                  <c:v>41703</c:v>
                </c:pt>
                <c:pt idx="2222">
                  <c:v>41704</c:v>
                </c:pt>
                <c:pt idx="2223">
                  <c:v>41705</c:v>
                </c:pt>
                <c:pt idx="2224">
                  <c:v>41708</c:v>
                </c:pt>
                <c:pt idx="2225">
                  <c:v>41709</c:v>
                </c:pt>
                <c:pt idx="2226">
                  <c:v>41710</c:v>
                </c:pt>
                <c:pt idx="2227">
                  <c:v>41711</c:v>
                </c:pt>
                <c:pt idx="2228">
                  <c:v>41712</c:v>
                </c:pt>
                <c:pt idx="2229">
                  <c:v>41715</c:v>
                </c:pt>
                <c:pt idx="2230">
                  <c:v>41716</c:v>
                </c:pt>
                <c:pt idx="2231">
                  <c:v>41717</c:v>
                </c:pt>
                <c:pt idx="2232">
                  <c:v>41718</c:v>
                </c:pt>
                <c:pt idx="2233">
                  <c:v>41719</c:v>
                </c:pt>
                <c:pt idx="2234">
                  <c:v>41722</c:v>
                </c:pt>
                <c:pt idx="2235">
                  <c:v>41723</c:v>
                </c:pt>
                <c:pt idx="2236">
                  <c:v>41724</c:v>
                </c:pt>
                <c:pt idx="2237">
                  <c:v>41725</c:v>
                </c:pt>
                <c:pt idx="2238">
                  <c:v>41726</c:v>
                </c:pt>
                <c:pt idx="2239">
                  <c:v>41729</c:v>
                </c:pt>
                <c:pt idx="2240">
                  <c:v>41730</c:v>
                </c:pt>
                <c:pt idx="2241">
                  <c:v>41731</c:v>
                </c:pt>
                <c:pt idx="2242">
                  <c:v>41732</c:v>
                </c:pt>
                <c:pt idx="2243">
                  <c:v>41733</c:v>
                </c:pt>
                <c:pt idx="2244">
                  <c:v>41737</c:v>
                </c:pt>
                <c:pt idx="2245">
                  <c:v>41738</c:v>
                </c:pt>
                <c:pt idx="2246">
                  <c:v>41739</c:v>
                </c:pt>
                <c:pt idx="2247">
                  <c:v>41740</c:v>
                </c:pt>
                <c:pt idx="2248">
                  <c:v>41743</c:v>
                </c:pt>
                <c:pt idx="2249">
                  <c:v>41744</c:v>
                </c:pt>
                <c:pt idx="2250">
                  <c:v>41745</c:v>
                </c:pt>
                <c:pt idx="2251">
                  <c:v>41746</c:v>
                </c:pt>
                <c:pt idx="2252">
                  <c:v>41747</c:v>
                </c:pt>
                <c:pt idx="2253">
                  <c:v>41750</c:v>
                </c:pt>
                <c:pt idx="2254">
                  <c:v>41751</c:v>
                </c:pt>
                <c:pt idx="2255">
                  <c:v>41752</c:v>
                </c:pt>
                <c:pt idx="2256">
                  <c:v>41753</c:v>
                </c:pt>
                <c:pt idx="2257">
                  <c:v>41754</c:v>
                </c:pt>
                <c:pt idx="2258">
                  <c:v>41757</c:v>
                </c:pt>
                <c:pt idx="2259">
                  <c:v>41758</c:v>
                </c:pt>
                <c:pt idx="2260">
                  <c:v>41759</c:v>
                </c:pt>
                <c:pt idx="2261">
                  <c:v>41764</c:v>
                </c:pt>
                <c:pt idx="2262">
                  <c:v>41765</c:v>
                </c:pt>
                <c:pt idx="2263">
                  <c:v>41766</c:v>
                </c:pt>
                <c:pt idx="2264">
                  <c:v>41767</c:v>
                </c:pt>
                <c:pt idx="2265">
                  <c:v>41768</c:v>
                </c:pt>
                <c:pt idx="2266">
                  <c:v>41771</c:v>
                </c:pt>
                <c:pt idx="2267">
                  <c:v>41772</c:v>
                </c:pt>
                <c:pt idx="2268">
                  <c:v>41773</c:v>
                </c:pt>
                <c:pt idx="2269">
                  <c:v>41774</c:v>
                </c:pt>
                <c:pt idx="2270">
                  <c:v>41775</c:v>
                </c:pt>
                <c:pt idx="2271">
                  <c:v>41778</c:v>
                </c:pt>
                <c:pt idx="2272">
                  <c:v>41779</c:v>
                </c:pt>
                <c:pt idx="2273">
                  <c:v>41780</c:v>
                </c:pt>
                <c:pt idx="2274">
                  <c:v>41781</c:v>
                </c:pt>
                <c:pt idx="2275">
                  <c:v>41782</c:v>
                </c:pt>
                <c:pt idx="2276">
                  <c:v>41785</c:v>
                </c:pt>
                <c:pt idx="2277">
                  <c:v>41786</c:v>
                </c:pt>
                <c:pt idx="2278">
                  <c:v>41787</c:v>
                </c:pt>
                <c:pt idx="2279">
                  <c:v>41788</c:v>
                </c:pt>
                <c:pt idx="2280">
                  <c:v>41789</c:v>
                </c:pt>
                <c:pt idx="2281">
                  <c:v>41793</c:v>
                </c:pt>
                <c:pt idx="2282">
                  <c:v>41794</c:v>
                </c:pt>
                <c:pt idx="2283">
                  <c:v>41795</c:v>
                </c:pt>
                <c:pt idx="2284">
                  <c:v>41796</c:v>
                </c:pt>
                <c:pt idx="2285">
                  <c:v>41799</c:v>
                </c:pt>
                <c:pt idx="2286">
                  <c:v>41800</c:v>
                </c:pt>
                <c:pt idx="2287">
                  <c:v>41801</c:v>
                </c:pt>
                <c:pt idx="2288">
                  <c:v>41802</c:v>
                </c:pt>
                <c:pt idx="2289">
                  <c:v>41803</c:v>
                </c:pt>
                <c:pt idx="2290">
                  <c:v>41806</c:v>
                </c:pt>
                <c:pt idx="2291">
                  <c:v>41807</c:v>
                </c:pt>
                <c:pt idx="2292">
                  <c:v>41808</c:v>
                </c:pt>
                <c:pt idx="2293">
                  <c:v>41809</c:v>
                </c:pt>
                <c:pt idx="2294">
                  <c:v>41810</c:v>
                </c:pt>
                <c:pt idx="2295">
                  <c:v>41813</c:v>
                </c:pt>
                <c:pt idx="2296">
                  <c:v>41814</c:v>
                </c:pt>
                <c:pt idx="2297">
                  <c:v>41815</c:v>
                </c:pt>
                <c:pt idx="2298">
                  <c:v>41816</c:v>
                </c:pt>
                <c:pt idx="2299">
                  <c:v>41817</c:v>
                </c:pt>
                <c:pt idx="2300">
                  <c:v>41820</c:v>
                </c:pt>
                <c:pt idx="2301">
                  <c:v>41821</c:v>
                </c:pt>
                <c:pt idx="2302">
                  <c:v>41822</c:v>
                </c:pt>
                <c:pt idx="2303">
                  <c:v>41823</c:v>
                </c:pt>
                <c:pt idx="2304">
                  <c:v>41824</c:v>
                </c:pt>
                <c:pt idx="2305">
                  <c:v>41827</c:v>
                </c:pt>
                <c:pt idx="2306">
                  <c:v>41828</c:v>
                </c:pt>
                <c:pt idx="2307">
                  <c:v>41829</c:v>
                </c:pt>
                <c:pt idx="2308">
                  <c:v>41830</c:v>
                </c:pt>
                <c:pt idx="2309">
                  <c:v>41831</c:v>
                </c:pt>
                <c:pt idx="2310">
                  <c:v>41834</c:v>
                </c:pt>
                <c:pt idx="2311">
                  <c:v>41835</c:v>
                </c:pt>
                <c:pt idx="2312">
                  <c:v>41836</c:v>
                </c:pt>
                <c:pt idx="2313">
                  <c:v>41837</c:v>
                </c:pt>
                <c:pt idx="2314">
                  <c:v>41838</c:v>
                </c:pt>
                <c:pt idx="2315">
                  <c:v>41841</c:v>
                </c:pt>
                <c:pt idx="2316">
                  <c:v>41842</c:v>
                </c:pt>
                <c:pt idx="2317">
                  <c:v>41843</c:v>
                </c:pt>
                <c:pt idx="2318">
                  <c:v>41844</c:v>
                </c:pt>
                <c:pt idx="2319">
                  <c:v>41845</c:v>
                </c:pt>
                <c:pt idx="2320">
                  <c:v>41848</c:v>
                </c:pt>
                <c:pt idx="2321">
                  <c:v>41849</c:v>
                </c:pt>
                <c:pt idx="2322">
                  <c:v>41850</c:v>
                </c:pt>
                <c:pt idx="2323">
                  <c:v>41851</c:v>
                </c:pt>
                <c:pt idx="2324">
                  <c:v>41852</c:v>
                </c:pt>
                <c:pt idx="2325">
                  <c:v>41855</c:v>
                </c:pt>
                <c:pt idx="2326">
                  <c:v>41856</c:v>
                </c:pt>
                <c:pt idx="2327">
                  <c:v>41857</c:v>
                </c:pt>
                <c:pt idx="2328">
                  <c:v>41858</c:v>
                </c:pt>
                <c:pt idx="2329">
                  <c:v>41859</c:v>
                </c:pt>
                <c:pt idx="2330">
                  <c:v>41862</c:v>
                </c:pt>
                <c:pt idx="2331">
                  <c:v>41863</c:v>
                </c:pt>
                <c:pt idx="2332">
                  <c:v>41864</c:v>
                </c:pt>
                <c:pt idx="2333">
                  <c:v>41865</c:v>
                </c:pt>
                <c:pt idx="2334">
                  <c:v>41866</c:v>
                </c:pt>
                <c:pt idx="2335">
                  <c:v>41869</c:v>
                </c:pt>
                <c:pt idx="2336">
                  <c:v>41870</c:v>
                </c:pt>
                <c:pt idx="2337">
                  <c:v>41871</c:v>
                </c:pt>
                <c:pt idx="2338">
                  <c:v>41872</c:v>
                </c:pt>
                <c:pt idx="2339">
                  <c:v>41873</c:v>
                </c:pt>
                <c:pt idx="2340">
                  <c:v>41876</c:v>
                </c:pt>
                <c:pt idx="2341">
                  <c:v>41877</c:v>
                </c:pt>
                <c:pt idx="2342">
                  <c:v>41878</c:v>
                </c:pt>
                <c:pt idx="2343">
                  <c:v>41879</c:v>
                </c:pt>
                <c:pt idx="2344">
                  <c:v>41880</c:v>
                </c:pt>
                <c:pt idx="2345">
                  <c:v>41883</c:v>
                </c:pt>
                <c:pt idx="2346">
                  <c:v>41884</c:v>
                </c:pt>
                <c:pt idx="2347">
                  <c:v>41885</c:v>
                </c:pt>
                <c:pt idx="2348">
                  <c:v>41886</c:v>
                </c:pt>
                <c:pt idx="2349">
                  <c:v>41887</c:v>
                </c:pt>
                <c:pt idx="2350">
                  <c:v>41891</c:v>
                </c:pt>
                <c:pt idx="2351">
                  <c:v>41892</c:v>
                </c:pt>
                <c:pt idx="2352">
                  <c:v>41893</c:v>
                </c:pt>
                <c:pt idx="2353">
                  <c:v>41894</c:v>
                </c:pt>
                <c:pt idx="2354">
                  <c:v>41897</c:v>
                </c:pt>
                <c:pt idx="2355">
                  <c:v>41898</c:v>
                </c:pt>
                <c:pt idx="2356">
                  <c:v>41899</c:v>
                </c:pt>
                <c:pt idx="2357">
                  <c:v>41900</c:v>
                </c:pt>
                <c:pt idx="2358">
                  <c:v>41901</c:v>
                </c:pt>
                <c:pt idx="2359">
                  <c:v>41904</c:v>
                </c:pt>
                <c:pt idx="2360">
                  <c:v>41905</c:v>
                </c:pt>
                <c:pt idx="2361">
                  <c:v>41906</c:v>
                </c:pt>
                <c:pt idx="2362">
                  <c:v>41907</c:v>
                </c:pt>
                <c:pt idx="2363">
                  <c:v>41908</c:v>
                </c:pt>
                <c:pt idx="2364">
                  <c:v>41911</c:v>
                </c:pt>
                <c:pt idx="2365">
                  <c:v>41912</c:v>
                </c:pt>
                <c:pt idx="2366">
                  <c:v>41920</c:v>
                </c:pt>
                <c:pt idx="2367">
                  <c:v>41921</c:v>
                </c:pt>
                <c:pt idx="2368">
                  <c:v>41922</c:v>
                </c:pt>
                <c:pt idx="2369">
                  <c:v>41925</c:v>
                </c:pt>
                <c:pt idx="2370">
                  <c:v>41926</c:v>
                </c:pt>
                <c:pt idx="2371">
                  <c:v>41927</c:v>
                </c:pt>
                <c:pt idx="2372">
                  <c:v>41928</c:v>
                </c:pt>
                <c:pt idx="2373">
                  <c:v>41929</c:v>
                </c:pt>
                <c:pt idx="2374">
                  <c:v>41932</c:v>
                </c:pt>
                <c:pt idx="2375">
                  <c:v>41933</c:v>
                </c:pt>
                <c:pt idx="2376">
                  <c:v>41934</c:v>
                </c:pt>
                <c:pt idx="2377">
                  <c:v>41935</c:v>
                </c:pt>
                <c:pt idx="2378">
                  <c:v>41936</c:v>
                </c:pt>
                <c:pt idx="2379">
                  <c:v>41939</c:v>
                </c:pt>
                <c:pt idx="2380">
                  <c:v>41940</c:v>
                </c:pt>
                <c:pt idx="2381">
                  <c:v>41941</c:v>
                </c:pt>
                <c:pt idx="2382">
                  <c:v>41942</c:v>
                </c:pt>
                <c:pt idx="2383">
                  <c:v>41943</c:v>
                </c:pt>
                <c:pt idx="2384">
                  <c:v>41946</c:v>
                </c:pt>
                <c:pt idx="2385">
                  <c:v>41947</c:v>
                </c:pt>
                <c:pt idx="2386">
                  <c:v>41948</c:v>
                </c:pt>
                <c:pt idx="2387">
                  <c:v>41949</c:v>
                </c:pt>
                <c:pt idx="2388">
                  <c:v>41950</c:v>
                </c:pt>
                <c:pt idx="2389">
                  <c:v>41953</c:v>
                </c:pt>
                <c:pt idx="2390">
                  <c:v>41954</c:v>
                </c:pt>
                <c:pt idx="2391">
                  <c:v>41955</c:v>
                </c:pt>
                <c:pt idx="2392">
                  <c:v>41956</c:v>
                </c:pt>
                <c:pt idx="2393">
                  <c:v>41957</c:v>
                </c:pt>
                <c:pt idx="2394">
                  <c:v>41960</c:v>
                </c:pt>
                <c:pt idx="2395">
                  <c:v>41961</c:v>
                </c:pt>
                <c:pt idx="2396">
                  <c:v>41962</c:v>
                </c:pt>
                <c:pt idx="2397">
                  <c:v>41963</c:v>
                </c:pt>
                <c:pt idx="2398">
                  <c:v>41964</c:v>
                </c:pt>
                <c:pt idx="2399">
                  <c:v>41967</c:v>
                </c:pt>
                <c:pt idx="2400">
                  <c:v>41968</c:v>
                </c:pt>
                <c:pt idx="2401">
                  <c:v>41969</c:v>
                </c:pt>
                <c:pt idx="2402">
                  <c:v>41970</c:v>
                </c:pt>
                <c:pt idx="2403">
                  <c:v>41971</c:v>
                </c:pt>
                <c:pt idx="2404">
                  <c:v>41974</c:v>
                </c:pt>
                <c:pt idx="2405">
                  <c:v>41975</c:v>
                </c:pt>
                <c:pt idx="2406">
                  <c:v>41976</c:v>
                </c:pt>
                <c:pt idx="2407">
                  <c:v>41977</c:v>
                </c:pt>
                <c:pt idx="2408">
                  <c:v>41978</c:v>
                </c:pt>
                <c:pt idx="2409">
                  <c:v>41981</c:v>
                </c:pt>
                <c:pt idx="2410">
                  <c:v>41982</c:v>
                </c:pt>
                <c:pt idx="2411">
                  <c:v>41983</c:v>
                </c:pt>
                <c:pt idx="2412">
                  <c:v>41984</c:v>
                </c:pt>
                <c:pt idx="2413">
                  <c:v>41985</c:v>
                </c:pt>
                <c:pt idx="2414">
                  <c:v>41988</c:v>
                </c:pt>
                <c:pt idx="2415">
                  <c:v>41989</c:v>
                </c:pt>
                <c:pt idx="2416">
                  <c:v>41990</c:v>
                </c:pt>
                <c:pt idx="2417">
                  <c:v>41991</c:v>
                </c:pt>
                <c:pt idx="2418">
                  <c:v>41992</c:v>
                </c:pt>
                <c:pt idx="2419">
                  <c:v>41995</c:v>
                </c:pt>
                <c:pt idx="2420">
                  <c:v>41996</c:v>
                </c:pt>
                <c:pt idx="2421">
                  <c:v>41997</c:v>
                </c:pt>
                <c:pt idx="2422">
                  <c:v>41998</c:v>
                </c:pt>
                <c:pt idx="2423">
                  <c:v>41999</c:v>
                </c:pt>
                <c:pt idx="2424">
                  <c:v>42002</c:v>
                </c:pt>
                <c:pt idx="2425">
                  <c:v>42003</c:v>
                </c:pt>
                <c:pt idx="2426">
                  <c:v>42004</c:v>
                </c:pt>
                <c:pt idx="2427">
                  <c:v>42009</c:v>
                </c:pt>
                <c:pt idx="2428">
                  <c:v>42010</c:v>
                </c:pt>
                <c:pt idx="2429">
                  <c:v>42011</c:v>
                </c:pt>
                <c:pt idx="2430">
                  <c:v>42012</c:v>
                </c:pt>
                <c:pt idx="2431">
                  <c:v>42013</c:v>
                </c:pt>
                <c:pt idx="2432">
                  <c:v>42016</c:v>
                </c:pt>
                <c:pt idx="2433">
                  <c:v>42017</c:v>
                </c:pt>
                <c:pt idx="2434">
                  <c:v>42018</c:v>
                </c:pt>
                <c:pt idx="2435">
                  <c:v>42019</c:v>
                </c:pt>
                <c:pt idx="2436">
                  <c:v>42020</c:v>
                </c:pt>
                <c:pt idx="2437">
                  <c:v>42023</c:v>
                </c:pt>
                <c:pt idx="2438">
                  <c:v>42024</c:v>
                </c:pt>
                <c:pt idx="2439">
                  <c:v>42025</c:v>
                </c:pt>
                <c:pt idx="2440">
                  <c:v>42026</c:v>
                </c:pt>
                <c:pt idx="2441">
                  <c:v>42027</c:v>
                </c:pt>
                <c:pt idx="2442">
                  <c:v>42030</c:v>
                </c:pt>
                <c:pt idx="2443">
                  <c:v>42031</c:v>
                </c:pt>
                <c:pt idx="2444">
                  <c:v>42032</c:v>
                </c:pt>
                <c:pt idx="2445">
                  <c:v>42033</c:v>
                </c:pt>
                <c:pt idx="2446">
                  <c:v>42034</c:v>
                </c:pt>
                <c:pt idx="2447">
                  <c:v>42037</c:v>
                </c:pt>
                <c:pt idx="2448">
                  <c:v>42038</c:v>
                </c:pt>
                <c:pt idx="2449">
                  <c:v>42039</c:v>
                </c:pt>
                <c:pt idx="2450">
                  <c:v>42040</c:v>
                </c:pt>
                <c:pt idx="2451">
                  <c:v>42041</c:v>
                </c:pt>
                <c:pt idx="2452">
                  <c:v>42044</c:v>
                </c:pt>
                <c:pt idx="2453">
                  <c:v>42045</c:v>
                </c:pt>
                <c:pt idx="2454">
                  <c:v>42046</c:v>
                </c:pt>
                <c:pt idx="2455">
                  <c:v>42047</c:v>
                </c:pt>
                <c:pt idx="2456">
                  <c:v>42048</c:v>
                </c:pt>
                <c:pt idx="2457">
                  <c:v>42051</c:v>
                </c:pt>
                <c:pt idx="2458">
                  <c:v>42052</c:v>
                </c:pt>
                <c:pt idx="2459">
                  <c:v>42060</c:v>
                </c:pt>
                <c:pt idx="2460">
                  <c:v>42061</c:v>
                </c:pt>
                <c:pt idx="2461">
                  <c:v>42062</c:v>
                </c:pt>
                <c:pt idx="2462">
                  <c:v>42065</c:v>
                </c:pt>
                <c:pt idx="2463">
                  <c:v>42066</c:v>
                </c:pt>
                <c:pt idx="2464">
                  <c:v>42067</c:v>
                </c:pt>
                <c:pt idx="2465">
                  <c:v>42068</c:v>
                </c:pt>
                <c:pt idx="2466">
                  <c:v>42069</c:v>
                </c:pt>
                <c:pt idx="2467">
                  <c:v>42072</c:v>
                </c:pt>
                <c:pt idx="2468">
                  <c:v>42073</c:v>
                </c:pt>
                <c:pt idx="2469">
                  <c:v>42074</c:v>
                </c:pt>
                <c:pt idx="2470">
                  <c:v>42075</c:v>
                </c:pt>
                <c:pt idx="2471">
                  <c:v>42076</c:v>
                </c:pt>
                <c:pt idx="2472">
                  <c:v>42079</c:v>
                </c:pt>
                <c:pt idx="2473">
                  <c:v>42080</c:v>
                </c:pt>
                <c:pt idx="2474">
                  <c:v>42081</c:v>
                </c:pt>
                <c:pt idx="2475">
                  <c:v>42082</c:v>
                </c:pt>
                <c:pt idx="2476">
                  <c:v>42083</c:v>
                </c:pt>
                <c:pt idx="2477">
                  <c:v>42086</c:v>
                </c:pt>
                <c:pt idx="2478">
                  <c:v>42087</c:v>
                </c:pt>
                <c:pt idx="2479">
                  <c:v>42088</c:v>
                </c:pt>
                <c:pt idx="2480">
                  <c:v>42089</c:v>
                </c:pt>
                <c:pt idx="2481">
                  <c:v>42090</c:v>
                </c:pt>
                <c:pt idx="2482">
                  <c:v>42093</c:v>
                </c:pt>
                <c:pt idx="2483">
                  <c:v>42094</c:v>
                </c:pt>
                <c:pt idx="2484">
                  <c:v>42095</c:v>
                </c:pt>
                <c:pt idx="2485">
                  <c:v>42096</c:v>
                </c:pt>
                <c:pt idx="2486">
                  <c:v>42097</c:v>
                </c:pt>
                <c:pt idx="2487">
                  <c:v>42101</c:v>
                </c:pt>
                <c:pt idx="2488">
                  <c:v>42102</c:v>
                </c:pt>
                <c:pt idx="2489">
                  <c:v>42103</c:v>
                </c:pt>
                <c:pt idx="2490">
                  <c:v>42104</c:v>
                </c:pt>
                <c:pt idx="2491">
                  <c:v>42107</c:v>
                </c:pt>
                <c:pt idx="2492">
                  <c:v>42108</c:v>
                </c:pt>
                <c:pt idx="2493">
                  <c:v>42109</c:v>
                </c:pt>
                <c:pt idx="2494">
                  <c:v>42110</c:v>
                </c:pt>
                <c:pt idx="2495">
                  <c:v>42111</c:v>
                </c:pt>
                <c:pt idx="2496">
                  <c:v>42114</c:v>
                </c:pt>
                <c:pt idx="2497">
                  <c:v>42115</c:v>
                </c:pt>
                <c:pt idx="2498">
                  <c:v>42116</c:v>
                </c:pt>
                <c:pt idx="2499">
                  <c:v>42117</c:v>
                </c:pt>
                <c:pt idx="2500">
                  <c:v>42118</c:v>
                </c:pt>
                <c:pt idx="2501">
                  <c:v>42121</c:v>
                </c:pt>
                <c:pt idx="2502">
                  <c:v>42122</c:v>
                </c:pt>
                <c:pt idx="2503">
                  <c:v>42123</c:v>
                </c:pt>
                <c:pt idx="2504">
                  <c:v>42124</c:v>
                </c:pt>
                <c:pt idx="2505">
                  <c:v>42128</c:v>
                </c:pt>
                <c:pt idx="2506">
                  <c:v>42129</c:v>
                </c:pt>
                <c:pt idx="2507">
                  <c:v>42130</c:v>
                </c:pt>
                <c:pt idx="2508">
                  <c:v>42131</c:v>
                </c:pt>
                <c:pt idx="2509">
                  <c:v>42132</c:v>
                </c:pt>
                <c:pt idx="2510">
                  <c:v>42135</c:v>
                </c:pt>
                <c:pt idx="2511">
                  <c:v>42136</c:v>
                </c:pt>
                <c:pt idx="2512">
                  <c:v>42137</c:v>
                </c:pt>
                <c:pt idx="2513">
                  <c:v>42138</c:v>
                </c:pt>
                <c:pt idx="2514">
                  <c:v>42139</c:v>
                </c:pt>
                <c:pt idx="2515">
                  <c:v>42142</c:v>
                </c:pt>
                <c:pt idx="2516">
                  <c:v>42143</c:v>
                </c:pt>
                <c:pt idx="2517">
                  <c:v>42144</c:v>
                </c:pt>
                <c:pt idx="2518">
                  <c:v>42145</c:v>
                </c:pt>
                <c:pt idx="2519">
                  <c:v>42146</c:v>
                </c:pt>
                <c:pt idx="2520">
                  <c:v>42149</c:v>
                </c:pt>
                <c:pt idx="2521">
                  <c:v>42150</c:v>
                </c:pt>
                <c:pt idx="2522">
                  <c:v>42151</c:v>
                </c:pt>
                <c:pt idx="2523">
                  <c:v>42152</c:v>
                </c:pt>
                <c:pt idx="2524">
                  <c:v>42153</c:v>
                </c:pt>
                <c:pt idx="2525">
                  <c:v>42156</c:v>
                </c:pt>
                <c:pt idx="2526">
                  <c:v>42157</c:v>
                </c:pt>
                <c:pt idx="2527">
                  <c:v>42158</c:v>
                </c:pt>
                <c:pt idx="2528">
                  <c:v>42159</c:v>
                </c:pt>
                <c:pt idx="2529">
                  <c:v>42160</c:v>
                </c:pt>
                <c:pt idx="2530">
                  <c:v>42163</c:v>
                </c:pt>
                <c:pt idx="2531">
                  <c:v>42164</c:v>
                </c:pt>
                <c:pt idx="2532">
                  <c:v>42165</c:v>
                </c:pt>
                <c:pt idx="2533">
                  <c:v>42166</c:v>
                </c:pt>
                <c:pt idx="2534">
                  <c:v>42167</c:v>
                </c:pt>
                <c:pt idx="2535">
                  <c:v>42170</c:v>
                </c:pt>
                <c:pt idx="2536">
                  <c:v>42171</c:v>
                </c:pt>
                <c:pt idx="2537">
                  <c:v>42172</c:v>
                </c:pt>
                <c:pt idx="2538">
                  <c:v>42173</c:v>
                </c:pt>
                <c:pt idx="2539">
                  <c:v>42174</c:v>
                </c:pt>
                <c:pt idx="2540">
                  <c:v>42178</c:v>
                </c:pt>
                <c:pt idx="2541">
                  <c:v>42179</c:v>
                </c:pt>
                <c:pt idx="2542">
                  <c:v>42180</c:v>
                </c:pt>
                <c:pt idx="2543">
                  <c:v>42181</c:v>
                </c:pt>
                <c:pt idx="2544">
                  <c:v>42184</c:v>
                </c:pt>
                <c:pt idx="2545">
                  <c:v>42185</c:v>
                </c:pt>
                <c:pt idx="2546">
                  <c:v>42186</c:v>
                </c:pt>
                <c:pt idx="2547">
                  <c:v>42187</c:v>
                </c:pt>
                <c:pt idx="2548">
                  <c:v>42188</c:v>
                </c:pt>
                <c:pt idx="2549">
                  <c:v>42191</c:v>
                </c:pt>
                <c:pt idx="2550">
                  <c:v>42192</c:v>
                </c:pt>
                <c:pt idx="2551">
                  <c:v>42193</c:v>
                </c:pt>
                <c:pt idx="2552">
                  <c:v>42194</c:v>
                </c:pt>
                <c:pt idx="2553">
                  <c:v>42195</c:v>
                </c:pt>
                <c:pt idx="2554">
                  <c:v>42198</c:v>
                </c:pt>
                <c:pt idx="2555">
                  <c:v>42199</c:v>
                </c:pt>
                <c:pt idx="2556">
                  <c:v>42200</c:v>
                </c:pt>
                <c:pt idx="2557">
                  <c:v>42201</c:v>
                </c:pt>
                <c:pt idx="2558">
                  <c:v>42202</c:v>
                </c:pt>
                <c:pt idx="2559">
                  <c:v>42205</c:v>
                </c:pt>
                <c:pt idx="2560">
                  <c:v>42206</c:v>
                </c:pt>
                <c:pt idx="2561">
                  <c:v>42207</c:v>
                </c:pt>
                <c:pt idx="2562">
                  <c:v>42208</c:v>
                </c:pt>
                <c:pt idx="2563">
                  <c:v>42209</c:v>
                </c:pt>
                <c:pt idx="2564">
                  <c:v>42212</c:v>
                </c:pt>
                <c:pt idx="2565">
                  <c:v>42213</c:v>
                </c:pt>
                <c:pt idx="2566">
                  <c:v>42214</c:v>
                </c:pt>
                <c:pt idx="2567">
                  <c:v>42215</c:v>
                </c:pt>
                <c:pt idx="2568">
                  <c:v>42216</c:v>
                </c:pt>
                <c:pt idx="2569">
                  <c:v>42219</c:v>
                </c:pt>
                <c:pt idx="2570">
                  <c:v>42220</c:v>
                </c:pt>
                <c:pt idx="2571">
                  <c:v>42221</c:v>
                </c:pt>
                <c:pt idx="2572">
                  <c:v>42222</c:v>
                </c:pt>
                <c:pt idx="2573">
                  <c:v>42223</c:v>
                </c:pt>
                <c:pt idx="2574">
                  <c:v>42226</c:v>
                </c:pt>
                <c:pt idx="2575">
                  <c:v>42227</c:v>
                </c:pt>
                <c:pt idx="2576">
                  <c:v>42228</c:v>
                </c:pt>
                <c:pt idx="2577">
                  <c:v>42229</c:v>
                </c:pt>
                <c:pt idx="2578">
                  <c:v>42230</c:v>
                </c:pt>
                <c:pt idx="2579">
                  <c:v>42233</c:v>
                </c:pt>
                <c:pt idx="2580">
                  <c:v>42234</c:v>
                </c:pt>
                <c:pt idx="2581">
                  <c:v>42235</c:v>
                </c:pt>
                <c:pt idx="2582">
                  <c:v>42236</c:v>
                </c:pt>
                <c:pt idx="2583">
                  <c:v>42237</c:v>
                </c:pt>
                <c:pt idx="2584">
                  <c:v>42240</c:v>
                </c:pt>
                <c:pt idx="2585">
                  <c:v>42241</c:v>
                </c:pt>
                <c:pt idx="2586">
                  <c:v>42242</c:v>
                </c:pt>
                <c:pt idx="2587">
                  <c:v>42243</c:v>
                </c:pt>
                <c:pt idx="2588">
                  <c:v>42244</c:v>
                </c:pt>
                <c:pt idx="2589">
                  <c:v>42247</c:v>
                </c:pt>
                <c:pt idx="2590">
                  <c:v>42248</c:v>
                </c:pt>
                <c:pt idx="2591">
                  <c:v>42249</c:v>
                </c:pt>
                <c:pt idx="2592">
                  <c:v>42254</c:v>
                </c:pt>
                <c:pt idx="2593">
                  <c:v>42255</c:v>
                </c:pt>
                <c:pt idx="2594">
                  <c:v>42256</c:v>
                </c:pt>
                <c:pt idx="2595">
                  <c:v>42257</c:v>
                </c:pt>
                <c:pt idx="2596">
                  <c:v>42258</c:v>
                </c:pt>
                <c:pt idx="2597">
                  <c:v>42261</c:v>
                </c:pt>
                <c:pt idx="2598">
                  <c:v>42262</c:v>
                </c:pt>
                <c:pt idx="2599">
                  <c:v>42263</c:v>
                </c:pt>
                <c:pt idx="2600">
                  <c:v>42264</c:v>
                </c:pt>
                <c:pt idx="2601">
                  <c:v>42265</c:v>
                </c:pt>
                <c:pt idx="2602">
                  <c:v>42268</c:v>
                </c:pt>
                <c:pt idx="2603">
                  <c:v>42269</c:v>
                </c:pt>
                <c:pt idx="2604">
                  <c:v>42270</c:v>
                </c:pt>
                <c:pt idx="2605">
                  <c:v>42271</c:v>
                </c:pt>
                <c:pt idx="2606">
                  <c:v>42272</c:v>
                </c:pt>
                <c:pt idx="2607">
                  <c:v>42275</c:v>
                </c:pt>
                <c:pt idx="2608">
                  <c:v>42276</c:v>
                </c:pt>
                <c:pt idx="2609">
                  <c:v>42277</c:v>
                </c:pt>
                <c:pt idx="2610">
                  <c:v>42285</c:v>
                </c:pt>
                <c:pt idx="2611">
                  <c:v>42286</c:v>
                </c:pt>
                <c:pt idx="2612">
                  <c:v>42289</c:v>
                </c:pt>
                <c:pt idx="2613">
                  <c:v>42290</c:v>
                </c:pt>
                <c:pt idx="2614">
                  <c:v>42291</c:v>
                </c:pt>
                <c:pt idx="2615">
                  <c:v>42292</c:v>
                </c:pt>
                <c:pt idx="2616">
                  <c:v>42293</c:v>
                </c:pt>
                <c:pt idx="2617">
                  <c:v>42296</c:v>
                </c:pt>
                <c:pt idx="2618">
                  <c:v>42297</c:v>
                </c:pt>
                <c:pt idx="2619">
                  <c:v>42298</c:v>
                </c:pt>
                <c:pt idx="2620">
                  <c:v>42299</c:v>
                </c:pt>
                <c:pt idx="2621">
                  <c:v>42300</c:v>
                </c:pt>
                <c:pt idx="2622">
                  <c:v>42303</c:v>
                </c:pt>
                <c:pt idx="2623">
                  <c:v>42304</c:v>
                </c:pt>
                <c:pt idx="2624">
                  <c:v>42305</c:v>
                </c:pt>
                <c:pt idx="2625">
                  <c:v>42306</c:v>
                </c:pt>
                <c:pt idx="2626">
                  <c:v>42307</c:v>
                </c:pt>
                <c:pt idx="2627">
                  <c:v>42310</c:v>
                </c:pt>
                <c:pt idx="2628">
                  <c:v>42311</c:v>
                </c:pt>
                <c:pt idx="2629">
                  <c:v>42312</c:v>
                </c:pt>
                <c:pt idx="2630">
                  <c:v>42313</c:v>
                </c:pt>
                <c:pt idx="2631">
                  <c:v>42314</c:v>
                </c:pt>
                <c:pt idx="2632">
                  <c:v>42317</c:v>
                </c:pt>
                <c:pt idx="2633">
                  <c:v>42318</c:v>
                </c:pt>
                <c:pt idx="2634">
                  <c:v>42319</c:v>
                </c:pt>
                <c:pt idx="2635">
                  <c:v>42320</c:v>
                </c:pt>
                <c:pt idx="2636">
                  <c:v>42321</c:v>
                </c:pt>
                <c:pt idx="2637">
                  <c:v>42324</c:v>
                </c:pt>
                <c:pt idx="2638">
                  <c:v>42325</c:v>
                </c:pt>
                <c:pt idx="2639">
                  <c:v>42326</c:v>
                </c:pt>
                <c:pt idx="2640">
                  <c:v>42327</c:v>
                </c:pt>
                <c:pt idx="2641">
                  <c:v>42328</c:v>
                </c:pt>
                <c:pt idx="2642">
                  <c:v>42331</c:v>
                </c:pt>
                <c:pt idx="2643">
                  <c:v>42332</c:v>
                </c:pt>
                <c:pt idx="2644">
                  <c:v>42333</c:v>
                </c:pt>
                <c:pt idx="2645">
                  <c:v>42334</c:v>
                </c:pt>
                <c:pt idx="2646">
                  <c:v>42335</c:v>
                </c:pt>
                <c:pt idx="2647">
                  <c:v>42338</c:v>
                </c:pt>
                <c:pt idx="2648">
                  <c:v>42339</c:v>
                </c:pt>
                <c:pt idx="2649">
                  <c:v>42340</c:v>
                </c:pt>
                <c:pt idx="2650">
                  <c:v>42341</c:v>
                </c:pt>
                <c:pt idx="2651">
                  <c:v>42342</c:v>
                </c:pt>
                <c:pt idx="2652">
                  <c:v>42345</c:v>
                </c:pt>
                <c:pt idx="2653">
                  <c:v>42346</c:v>
                </c:pt>
                <c:pt idx="2654">
                  <c:v>42347</c:v>
                </c:pt>
                <c:pt idx="2655">
                  <c:v>42348</c:v>
                </c:pt>
                <c:pt idx="2656">
                  <c:v>42349</c:v>
                </c:pt>
                <c:pt idx="2657">
                  <c:v>42352</c:v>
                </c:pt>
                <c:pt idx="2658">
                  <c:v>42353</c:v>
                </c:pt>
                <c:pt idx="2659">
                  <c:v>42354</c:v>
                </c:pt>
                <c:pt idx="2660">
                  <c:v>42355</c:v>
                </c:pt>
                <c:pt idx="2661">
                  <c:v>42356</c:v>
                </c:pt>
                <c:pt idx="2662">
                  <c:v>42359</c:v>
                </c:pt>
                <c:pt idx="2663">
                  <c:v>42360</c:v>
                </c:pt>
                <c:pt idx="2664">
                  <c:v>42361</c:v>
                </c:pt>
                <c:pt idx="2665">
                  <c:v>42362</c:v>
                </c:pt>
                <c:pt idx="2666">
                  <c:v>42363</c:v>
                </c:pt>
                <c:pt idx="2667">
                  <c:v>42366</c:v>
                </c:pt>
                <c:pt idx="2668">
                  <c:v>42367</c:v>
                </c:pt>
                <c:pt idx="2669">
                  <c:v>42368</c:v>
                </c:pt>
                <c:pt idx="2670">
                  <c:v>42369</c:v>
                </c:pt>
                <c:pt idx="2671">
                  <c:v>42373</c:v>
                </c:pt>
                <c:pt idx="2672">
                  <c:v>42374</c:v>
                </c:pt>
                <c:pt idx="2673">
                  <c:v>42375</c:v>
                </c:pt>
                <c:pt idx="2674">
                  <c:v>42376</c:v>
                </c:pt>
                <c:pt idx="2675">
                  <c:v>42377</c:v>
                </c:pt>
                <c:pt idx="2676">
                  <c:v>42380</c:v>
                </c:pt>
                <c:pt idx="2677">
                  <c:v>42381</c:v>
                </c:pt>
                <c:pt idx="2678">
                  <c:v>42382</c:v>
                </c:pt>
                <c:pt idx="2679">
                  <c:v>42383</c:v>
                </c:pt>
                <c:pt idx="2680">
                  <c:v>42384</c:v>
                </c:pt>
                <c:pt idx="2681">
                  <c:v>42387</c:v>
                </c:pt>
                <c:pt idx="2682">
                  <c:v>42388</c:v>
                </c:pt>
                <c:pt idx="2683">
                  <c:v>42389</c:v>
                </c:pt>
                <c:pt idx="2684">
                  <c:v>42390</c:v>
                </c:pt>
                <c:pt idx="2685">
                  <c:v>42391</c:v>
                </c:pt>
                <c:pt idx="2686">
                  <c:v>42394</c:v>
                </c:pt>
                <c:pt idx="2687">
                  <c:v>42395</c:v>
                </c:pt>
                <c:pt idx="2688">
                  <c:v>42396</c:v>
                </c:pt>
                <c:pt idx="2689">
                  <c:v>42397</c:v>
                </c:pt>
                <c:pt idx="2690">
                  <c:v>42398</c:v>
                </c:pt>
                <c:pt idx="2691">
                  <c:v>42401</c:v>
                </c:pt>
                <c:pt idx="2692">
                  <c:v>42402</c:v>
                </c:pt>
                <c:pt idx="2693">
                  <c:v>42403</c:v>
                </c:pt>
                <c:pt idx="2694">
                  <c:v>42404</c:v>
                </c:pt>
                <c:pt idx="2695">
                  <c:v>42405</c:v>
                </c:pt>
                <c:pt idx="2696">
                  <c:v>42415</c:v>
                </c:pt>
                <c:pt idx="2697">
                  <c:v>42416</c:v>
                </c:pt>
                <c:pt idx="2698">
                  <c:v>42417</c:v>
                </c:pt>
                <c:pt idx="2699">
                  <c:v>42418</c:v>
                </c:pt>
                <c:pt idx="2700">
                  <c:v>42419</c:v>
                </c:pt>
                <c:pt idx="2701">
                  <c:v>42422</c:v>
                </c:pt>
                <c:pt idx="2702">
                  <c:v>42423</c:v>
                </c:pt>
                <c:pt idx="2703">
                  <c:v>42424</c:v>
                </c:pt>
                <c:pt idx="2704">
                  <c:v>42425</c:v>
                </c:pt>
                <c:pt idx="2705">
                  <c:v>42426</c:v>
                </c:pt>
                <c:pt idx="2706">
                  <c:v>42429</c:v>
                </c:pt>
                <c:pt idx="2707">
                  <c:v>42430</c:v>
                </c:pt>
                <c:pt idx="2708">
                  <c:v>42431</c:v>
                </c:pt>
                <c:pt idx="2709">
                  <c:v>42432</c:v>
                </c:pt>
                <c:pt idx="2710">
                  <c:v>42433</c:v>
                </c:pt>
                <c:pt idx="2711">
                  <c:v>42436</c:v>
                </c:pt>
                <c:pt idx="2712">
                  <c:v>42437</c:v>
                </c:pt>
                <c:pt idx="2713">
                  <c:v>42438</c:v>
                </c:pt>
                <c:pt idx="2714">
                  <c:v>42439</c:v>
                </c:pt>
                <c:pt idx="2715">
                  <c:v>42440</c:v>
                </c:pt>
                <c:pt idx="2716">
                  <c:v>42443</c:v>
                </c:pt>
                <c:pt idx="2717">
                  <c:v>42444</c:v>
                </c:pt>
                <c:pt idx="2718">
                  <c:v>42445</c:v>
                </c:pt>
                <c:pt idx="2719">
                  <c:v>42446</c:v>
                </c:pt>
                <c:pt idx="2720">
                  <c:v>42447</c:v>
                </c:pt>
                <c:pt idx="2721">
                  <c:v>42450</c:v>
                </c:pt>
                <c:pt idx="2722">
                  <c:v>42451</c:v>
                </c:pt>
                <c:pt idx="2723">
                  <c:v>42452</c:v>
                </c:pt>
                <c:pt idx="2724">
                  <c:v>42453</c:v>
                </c:pt>
                <c:pt idx="2725">
                  <c:v>42454</c:v>
                </c:pt>
                <c:pt idx="2726">
                  <c:v>42457</c:v>
                </c:pt>
                <c:pt idx="2727">
                  <c:v>42458</c:v>
                </c:pt>
                <c:pt idx="2728">
                  <c:v>42459</c:v>
                </c:pt>
                <c:pt idx="2729">
                  <c:v>42460</c:v>
                </c:pt>
                <c:pt idx="2730">
                  <c:v>42461</c:v>
                </c:pt>
                <c:pt idx="2731">
                  <c:v>42465</c:v>
                </c:pt>
                <c:pt idx="2732">
                  <c:v>42466</c:v>
                </c:pt>
                <c:pt idx="2733">
                  <c:v>42467</c:v>
                </c:pt>
                <c:pt idx="2734">
                  <c:v>42468</c:v>
                </c:pt>
                <c:pt idx="2735">
                  <c:v>42471</c:v>
                </c:pt>
                <c:pt idx="2736">
                  <c:v>42472</c:v>
                </c:pt>
                <c:pt idx="2737">
                  <c:v>42473</c:v>
                </c:pt>
                <c:pt idx="2738">
                  <c:v>42474</c:v>
                </c:pt>
                <c:pt idx="2739">
                  <c:v>42475</c:v>
                </c:pt>
                <c:pt idx="2740">
                  <c:v>42478</c:v>
                </c:pt>
                <c:pt idx="2741">
                  <c:v>42479</c:v>
                </c:pt>
                <c:pt idx="2742">
                  <c:v>42480</c:v>
                </c:pt>
                <c:pt idx="2743">
                  <c:v>42481</c:v>
                </c:pt>
                <c:pt idx="2744">
                  <c:v>42482</c:v>
                </c:pt>
                <c:pt idx="2745">
                  <c:v>42485</c:v>
                </c:pt>
                <c:pt idx="2746">
                  <c:v>42486</c:v>
                </c:pt>
                <c:pt idx="2747">
                  <c:v>42487</c:v>
                </c:pt>
                <c:pt idx="2748">
                  <c:v>42488</c:v>
                </c:pt>
                <c:pt idx="2749">
                  <c:v>42489</c:v>
                </c:pt>
                <c:pt idx="2750">
                  <c:v>42493</c:v>
                </c:pt>
                <c:pt idx="2751">
                  <c:v>42494</c:v>
                </c:pt>
                <c:pt idx="2752">
                  <c:v>42495</c:v>
                </c:pt>
                <c:pt idx="2753">
                  <c:v>42496</c:v>
                </c:pt>
                <c:pt idx="2754">
                  <c:v>42499</c:v>
                </c:pt>
                <c:pt idx="2755">
                  <c:v>42500</c:v>
                </c:pt>
                <c:pt idx="2756">
                  <c:v>42501</c:v>
                </c:pt>
                <c:pt idx="2757">
                  <c:v>42502</c:v>
                </c:pt>
                <c:pt idx="2758">
                  <c:v>42503</c:v>
                </c:pt>
                <c:pt idx="2759">
                  <c:v>42506</c:v>
                </c:pt>
                <c:pt idx="2760">
                  <c:v>42507</c:v>
                </c:pt>
                <c:pt idx="2761">
                  <c:v>42508</c:v>
                </c:pt>
                <c:pt idx="2762">
                  <c:v>42509</c:v>
                </c:pt>
                <c:pt idx="2763">
                  <c:v>42510</c:v>
                </c:pt>
                <c:pt idx="2764">
                  <c:v>42513</c:v>
                </c:pt>
                <c:pt idx="2765">
                  <c:v>42514</c:v>
                </c:pt>
                <c:pt idx="2766">
                  <c:v>42515</c:v>
                </c:pt>
                <c:pt idx="2767">
                  <c:v>42516</c:v>
                </c:pt>
                <c:pt idx="2768">
                  <c:v>42517</c:v>
                </c:pt>
                <c:pt idx="2769">
                  <c:v>42520</c:v>
                </c:pt>
                <c:pt idx="2770">
                  <c:v>42521</c:v>
                </c:pt>
                <c:pt idx="2771">
                  <c:v>42522</c:v>
                </c:pt>
                <c:pt idx="2772">
                  <c:v>42523</c:v>
                </c:pt>
                <c:pt idx="2773">
                  <c:v>42524</c:v>
                </c:pt>
                <c:pt idx="2774">
                  <c:v>42527</c:v>
                </c:pt>
                <c:pt idx="2775">
                  <c:v>42528</c:v>
                </c:pt>
                <c:pt idx="2776">
                  <c:v>42529</c:v>
                </c:pt>
                <c:pt idx="2777">
                  <c:v>42534</c:v>
                </c:pt>
                <c:pt idx="2778">
                  <c:v>42535</c:v>
                </c:pt>
                <c:pt idx="2779">
                  <c:v>42536</c:v>
                </c:pt>
                <c:pt idx="2780">
                  <c:v>42537</c:v>
                </c:pt>
                <c:pt idx="2781">
                  <c:v>42538</c:v>
                </c:pt>
                <c:pt idx="2782">
                  <c:v>42541</c:v>
                </c:pt>
                <c:pt idx="2783">
                  <c:v>42542</c:v>
                </c:pt>
                <c:pt idx="2784">
                  <c:v>42543</c:v>
                </c:pt>
                <c:pt idx="2785">
                  <c:v>42544</c:v>
                </c:pt>
                <c:pt idx="2786">
                  <c:v>42545</c:v>
                </c:pt>
                <c:pt idx="2787">
                  <c:v>42548</c:v>
                </c:pt>
                <c:pt idx="2788">
                  <c:v>42549</c:v>
                </c:pt>
                <c:pt idx="2789">
                  <c:v>42550</c:v>
                </c:pt>
                <c:pt idx="2790">
                  <c:v>42551</c:v>
                </c:pt>
                <c:pt idx="2791">
                  <c:v>42552</c:v>
                </c:pt>
                <c:pt idx="2792">
                  <c:v>42555</c:v>
                </c:pt>
                <c:pt idx="2793">
                  <c:v>42556</c:v>
                </c:pt>
                <c:pt idx="2794">
                  <c:v>42557</c:v>
                </c:pt>
                <c:pt idx="2795">
                  <c:v>42558</c:v>
                </c:pt>
                <c:pt idx="2796">
                  <c:v>42559</c:v>
                </c:pt>
                <c:pt idx="2797">
                  <c:v>42562</c:v>
                </c:pt>
                <c:pt idx="2798">
                  <c:v>42563</c:v>
                </c:pt>
                <c:pt idx="2799">
                  <c:v>42564</c:v>
                </c:pt>
                <c:pt idx="2800">
                  <c:v>42565</c:v>
                </c:pt>
                <c:pt idx="2801">
                  <c:v>42566</c:v>
                </c:pt>
                <c:pt idx="2802">
                  <c:v>42569</c:v>
                </c:pt>
                <c:pt idx="2803">
                  <c:v>42570</c:v>
                </c:pt>
                <c:pt idx="2804">
                  <c:v>42571</c:v>
                </c:pt>
                <c:pt idx="2805">
                  <c:v>42572</c:v>
                </c:pt>
                <c:pt idx="2806">
                  <c:v>42573</c:v>
                </c:pt>
                <c:pt idx="2807">
                  <c:v>42576</c:v>
                </c:pt>
                <c:pt idx="2808">
                  <c:v>42577</c:v>
                </c:pt>
                <c:pt idx="2809">
                  <c:v>42578</c:v>
                </c:pt>
                <c:pt idx="2810">
                  <c:v>42579</c:v>
                </c:pt>
                <c:pt idx="2811">
                  <c:v>42580</c:v>
                </c:pt>
                <c:pt idx="2812">
                  <c:v>42583</c:v>
                </c:pt>
                <c:pt idx="2813">
                  <c:v>42584</c:v>
                </c:pt>
                <c:pt idx="2814">
                  <c:v>42585</c:v>
                </c:pt>
                <c:pt idx="2815">
                  <c:v>42586</c:v>
                </c:pt>
                <c:pt idx="2816">
                  <c:v>42587</c:v>
                </c:pt>
                <c:pt idx="2817">
                  <c:v>42590</c:v>
                </c:pt>
                <c:pt idx="2818">
                  <c:v>42591</c:v>
                </c:pt>
                <c:pt idx="2819">
                  <c:v>42592</c:v>
                </c:pt>
                <c:pt idx="2820">
                  <c:v>42593</c:v>
                </c:pt>
                <c:pt idx="2821">
                  <c:v>42594</c:v>
                </c:pt>
                <c:pt idx="2822">
                  <c:v>42597</c:v>
                </c:pt>
                <c:pt idx="2823">
                  <c:v>42598</c:v>
                </c:pt>
                <c:pt idx="2824">
                  <c:v>42599</c:v>
                </c:pt>
                <c:pt idx="2825">
                  <c:v>42600</c:v>
                </c:pt>
                <c:pt idx="2826">
                  <c:v>42601</c:v>
                </c:pt>
                <c:pt idx="2827">
                  <c:v>42604</c:v>
                </c:pt>
                <c:pt idx="2828">
                  <c:v>42605</c:v>
                </c:pt>
                <c:pt idx="2829">
                  <c:v>42606</c:v>
                </c:pt>
                <c:pt idx="2830">
                  <c:v>42607</c:v>
                </c:pt>
                <c:pt idx="2831">
                  <c:v>42608</c:v>
                </c:pt>
                <c:pt idx="2832">
                  <c:v>42611</c:v>
                </c:pt>
                <c:pt idx="2833">
                  <c:v>42612</c:v>
                </c:pt>
                <c:pt idx="2834">
                  <c:v>42613</c:v>
                </c:pt>
                <c:pt idx="2835">
                  <c:v>42614</c:v>
                </c:pt>
                <c:pt idx="2836">
                  <c:v>42615</c:v>
                </c:pt>
                <c:pt idx="2837">
                  <c:v>42618</c:v>
                </c:pt>
                <c:pt idx="2838">
                  <c:v>42619</c:v>
                </c:pt>
                <c:pt idx="2839">
                  <c:v>42620</c:v>
                </c:pt>
                <c:pt idx="2840">
                  <c:v>42621</c:v>
                </c:pt>
                <c:pt idx="2841">
                  <c:v>42622</c:v>
                </c:pt>
                <c:pt idx="2842">
                  <c:v>42625</c:v>
                </c:pt>
                <c:pt idx="2843">
                  <c:v>42626</c:v>
                </c:pt>
                <c:pt idx="2844">
                  <c:v>42627</c:v>
                </c:pt>
                <c:pt idx="2845">
                  <c:v>42632</c:v>
                </c:pt>
                <c:pt idx="2846">
                  <c:v>42633</c:v>
                </c:pt>
                <c:pt idx="2847">
                  <c:v>42634</c:v>
                </c:pt>
                <c:pt idx="2848">
                  <c:v>42635</c:v>
                </c:pt>
                <c:pt idx="2849">
                  <c:v>42636</c:v>
                </c:pt>
                <c:pt idx="2850">
                  <c:v>42639</c:v>
                </c:pt>
                <c:pt idx="2851">
                  <c:v>42640</c:v>
                </c:pt>
                <c:pt idx="2852">
                  <c:v>42641</c:v>
                </c:pt>
                <c:pt idx="2853">
                  <c:v>42642</c:v>
                </c:pt>
                <c:pt idx="2854">
                  <c:v>42643</c:v>
                </c:pt>
                <c:pt idx="2855">
                  <c:v>42653</c:v>
                </c:pt>
                <c:pt idx="2856">
                  <c:v>42654</c:v>
                </c:pt>
                <c:pt idx="2857">
                  <c:v>42655</c:v>
                </c:pt>
                <c:pt idx="2858">
                  <c:v>42656</c:v>
                </c:pt>
                <c:pt idx="2859">
                  <c:v>42657</c:v>
                </c:pt>
                <c:pt idx="2860">
                  <c:v>42660</c:v>
                </c:pt>
                <c:pt idx="2861">
                  <c:v>42661</c:v>
                </c:pt>
                <c:pt idx="2862">
                  <c:v>42662</c:v>
                </c:pt>
                <c:pt idx="2863">
                  <c:v>42663</c:v>
                </c:pt>
                <c:pt idx="2864">
                  <c:v>42664</c:v>
                </c:pt>
                <c:pt idx="2865">
                  <c:v>42667</c:v>
                </c:pt>
                <c:pt idx="2866">
                  <c:v>42668</c:v>
                </c:pt>
                <c:pt idx="2867">
                  <c:v>42669</c:v>
                </c:pt>
                <c:pt idx="2868">
                  <c:v>42670</c:v>
                </c:pt>
                <c:pt idx="2869">
                  <c:v>42671</c:v>
                </c:pt>
                <c:pt idx="2870">
                  <c:v>42674</c:v>
                </c:pt>
                <c:pt idx="2871">
                  <c:v>42675</c:v>
                </c:pt>
                <c:pt idx="2872">
                  <c:v>42676</c:v>
                </c:pt>
                <c:pt idx="2873">
                  <c:v>42677</c:v>
                </c:pt>
                <c:pt idx="2874">
                  <c:v>42678</c:v>
                </c:pt>
                <c:pt idx="2875">
                  <c:v>42681</c:v>
                </c:pt>
                <c:pt idx="2876">
                  <c:v>42682</c:v>
                </c:pt>
                <c:pt idx="2877">
                  <c:v>42683</c:v>
                </c:pt>
                <c:pt idx="2878">
                  <c:v>42684</c:v>
                </c:pt>
                <c:pt idx="2879">
                  <c:v>42685</c:v>
                </c:pt>
                <c:pt idx="2880">
                  <c:v>42688</c:v>
                </c:pt>
                <c:pt idx="2881">
                  <c:v>42689</c:v>
                </c:pt>
                <c:pt idx="2882">
                  <c:v>42690</c:v>
                </c:pt>
                <c:pt idx="2883">
                  <c:v>42691</c:v>
                </c:pt>
                <c:pt idx="2884">
                  <c:v>42692</c:v>
                </c:pt>
                <c:pt idx="2885">
                  <c:v>42695</c:v>
                </c:pt>
                <c:pt idx="2886">
                  <c:v>42696</c:v>
                </c:pt>
                <c:pt idx="2887">
                  <c:v>42697</c:v>
                </c:pt>
                <c:pt idx="2888">
                  <c:v>42698</c:v>
                </c:pt>
                <c:pt idx="2889">
                  <c:v>42699</c:v>
                </c:pt>
                <c:pt idx="2890">
                  <c:v>42702</c:v>
                </c:pt>
                <c:pt idx="2891">
                  <c:v>42703</c:v>
                </c:pt>
                <c:pt idx="2892">
                  <c:v>42704</c:v>
                </c:pt>
                <c:pt idx="2893">
                  <c:v>42705</c:v>
                </c:pt>
                <c:pt idx="2894">
                  <c:v>42706</c:v>
                </c:pt>
                <c:pt idx="2895">
                  <c:v>42709</c:v>
                </c:pt>
                <c:pt idx="2896">
                  <c:v>42710</c:v>
                </c:pt>
                <c:pt idx="2897">
                  <c:v>42711</c:v>
                </c:pt>
                <c:pt idx="2898">
                  <c:v>42712</c:v>
                </c:pt>
                <c:pt idx="2899">
                  <c:v>42713</c:v>
                </c:pt>
                <c:pt idx="2900">
                  <c:v>42716</c:v>
                </c:pt>
                <c:pt idx="2901">
                  <c:v>42717</c:v>
                </c:pt>
                <c:pt idx="2902">
                  <c:v>42718</c:v>
                </c:pt>
                <c:pt idx="2903">
                  <c:v>42719</c:v>
                </c:pt>
                <c:pt idx="2904">
                  <c:v>42720</c:v>
                </c:pt>
                <c:pt idx="2905">
                  <c:v>42723</c:v>
                </c:pt>
                <c:pt idx="2906">
                  <c:v>42724</c:v>
                </c:pt>
                <c:pt idx="2907">
                  <c:v>42725</c:v>
                </c:pt>
                <c:pt idx="2908">
                  <c:v>42726</c:v>
                </c:pt>
                <c:pt idx="2909">
                  <c:v>42727</c:v>
                </c:pt>
                <c:pt idx="2910">
                  <c:v>42730</c:v>
                </c:pt>
                <c:pt idx="2911">
                  <c:v>42731</c:v>
                </c:pt>
                <c:pt idx="2912">
                  <c:v>42732</c:v>
                </c:pt>
                <c:pt idx="2913">
                  <c:v>42733</c:v>
                </c:pt>
                <c:pt idx="2914">
                  <c:v>42734</c:v>
                </c:pt>
                <c:pt idx="2915">
                  <c:v>42738</c:v>
                </c:pt>
                <c:pt idx="2916">
                  <c:v>42739</c:v>
                </c:pt>
                <c:pt idx="2917">
                  <c:v>42740</c:v>
                </c:pt>
                <c:pt idx="2918">
                  <c:v>42741</c:v>
                </c:pt>
                <c:pt idx="2919">
                  <c:v>42744</c:v>
                </c:pt>
                <c:pt idx="2920">
                  <c:v>42745</c:v>
                </c:pt>
                <c:pt idx="2921">
                  <c:v>42746</c:v>
                </c:pt>
                <c:pt idx="2922">
                  <c:v>42747</c:v>
                </c:pt>
                <c:pt idx="2923">
                  <c:v>42748</c:v>
                </c:pt>
                <c:pt idx="2924">
                  <c:v>42751</c:v>
                </c:pt>
                <c:pt idx="2925">
                  <c:v>42752</c:v>
                </c:pt>
                <c:pt idx="2926">
                  <c:v>42753</c:v>
                </c:pt>
                <c:pt idx="2927">
                  <c:v>42754</c:v>
                </c:pt>
                <c:pt idx="2928">
                  <c:v>42755</c:v>
                </c:pt>
                <c:pt idx="2929">
                  <c:v>42758</c:v>
                </c:pt>
                <c:pt idx="2930">
                  <c:v>42759</c:v>
                </c:pt>
                <c:pt idx="2931">
                  <c:v>42760</c:v>
                </c:pt>
                <c:pt idx="2932">
                  <c:v>42761</c:v>
                </c:pt>
                <c:pt idx="2933">
                  <c:v>42769</c:v>
                </c:pt>
                <c:pt idx="2934">
                  <c:v>42772</c:v>
                </c:pt>
                <c:pt idx="2935">
                  <c:v>42773</c:v>
                </c:pt>
                <c:pt idx="2936">
                  <c:v>42774</c:v>
                </c:pt>
                <c:pt idx="2937">
                  <c:v>42775</c:v>
                </c:pt>
                <c:pt idx="2938">
                  <c:v>42776</c:v>
                </c:pt>
                <c:pt idx="2939">
                  <c:v>42779</c:v>
                </c:pt>
                <c:pt idx="2940">
                  <c:v>42780</c:v>
                </c:pt>
                <c:pt idx="2941">
                  <c:v>42781</c:v>
                </c:pt>
                <c:pt idx="2942">
                  <c:v>42782</c:v>
                </c:pt>
                <c:pt idx="2943">
                  <c:v>42783</c:v>
                </c:pt>
                <c:pt idx="2944">
                  <c:v>42786</c:v>
                </c:pt>
                <c:pt idx="2945">
                  <c:v>42787</c:v>
                </c:pt>
                <c:pt idx="2946">
                  <c:v>42788</c:v>
                </c:pt>
                <c:pt idx="2947">
                  <c:v>42789</c:v>
                </c:pt>
                <c:pt idx="2948">
                  <c:v>42790</c:v>
                </c:pt>
                <c:pt idx="2949">
                  <c:v>42793</c:v>
                </c:pt>
                <c:pt idx="2950">
                  <c:v>42794</c:v>
                </c:pt>
                <c:pt idx="2951">
                  <c:v>42795</c:v>
                </c:pt>
                <c:pt idx="2952">
                  <c:v>42796</c:v>
                </c:pt>
                <c:pt idx="2953">
                  <c:v>42797</c:v>
                </c:pt>
                <c:pt idx="2954">
                  <c:v>42800</c:v>
                </c:pt>
                <c:pt idx="2955">
                  <c:v>42801</c:v>
                </c:pt>
                <c:pt idx="2956">
                  <c:v>42802</c:v>
                </c:pt>
                <c:pt idx="2957">
                  <c:v>42803</c:v>
                </c:pt>
                <c:pt idx="2958">
                  <c:v>42804</c:v>
                </c:pt>
                <c:pt idx="2959">
                  <c:v>42807</c:v>
                </c:pt>
                <c:pt idx="2960">
                  <c:v>42808</c:v>
                </c:pt>
                <c:pt idx="2961">
                  <c:v>42809</c:v>
                </c:pt>
                <c:pt idx="2962">
                  <c:v>42810</c:v>
                </c:pt>
                <c:pt idx="2963">
                  <c:v>42811</c:v>
                </c:pt>
                <c:pt idx="2964">
                  <c:v>42814</c:v>
                </c:pt>
                <c:pt idx="2965">
                  <c:v>42815</c:v>
                </c:pt>
                <c:pt idx="2966">
                  <c:v>42816</c:v>
                </c:pt>
                <c:pt idx="2967">
                  <c:v>42817</c:v>
                </c:pt>
                <c:pt idx="2968">
                  <c:v>42818</c:v>
                </c:pt>
                <c:pt idx="2969">
                  <c:v>42821</c:v>
                </c:pt>
                <c:pt idx="2970">
                  <c:v>42822</c:v>
                </c:pt>
                <c:pt idx="2971">
                  <c:v>42823</c:v>
                </c:pt>
                <c:pt idx="2972">
                  <c:v>42824</c:v>
                </c:pt>
                <c:pt idx="2973">
                  <c:v>42825</c:v>
                </c:pt>
                <c:pt idx="2974">
                  <c:v>42830</c:v>
                </c:pt>
                <c:pt idx="2975">
                  <c:v>42831</c:v>
                </c:pt>
                <c:pt idx="2976">
                  <c:v>42832</c:v>
                </c:pt>
                <c:pt idx="2977">
                  <c:v>42835</c:v>
                </c:pt>
                <c:pt idx="2978">
                  <c:v>42836</c:v>
                </c:pt>
                <c:pt idx="2979">
                  <c:v>42837</c:v>
                </c:pt>
                <c:pt idx="2980">
                  <c:v>42838</c:v>
                </c:pt>
                <c:pt idx="2981">
                  <c:v>42839</c:v>
                </c:pt>
                <c:pt idx="2982">
                  <c:v>42842</c:v>
                </c:pt>
                <c:pt idx="2983">
                  <c:v>42843</c:v>
                </c:pt>
                <c:pt idx="2984">
                  <c:v>42844</c:v>
                </c:pt>
                <c:pt idx="2985">
                  <c:v>42845</c:v>
                </c:pt>
                <c:pt idx="2986">
                  <c:v>42846</c:v>
                </c:pt>
                <c:pt idx="2987">
                  <c:v>42849</c:v>
                </c:pt>
                <c:pt idx="2988">
                  <c:v>42850</c:v>
                </c:pt>
                <c:pt idx="2989">
                  <c:v>42851</c:v>
                </c:pt>
                <c:pt idx="2990">
                  <c:v>42852</c:v>
                </c:pt>
                <c:pt idx="2991">
                  <c:v>42853</c:v>
                </c:pt>
                <c:pt idx="2992">
                  <c:v>42857</c:v>
                </c:pt>
                <c:pt idx="2993">
                  <c:v>42858</c:v>
                </c:pt>
                <c:pt idx="2994">
                  <c:v>42859</c:v>
                </c:pt>
                <c:pt idx="2995">
                  <c:v>42860</c:v>
                </c:pt>
                <c:pt idx="2996">
                  <c:v>42863</c:v>
                </c:pt>
                <c:pt idx="2997">
                  <c:v>42864</c:v>
                </c:pt>
                <c:pt idx="2998">
                  <c:v>42865</c:v>
                </c:pt>
                <c:pt idx="2999">
                  <c:v>42866</c:v>
                </c:pt>
                <c:pt idx="3000">
                  <c:v>42867</c:v>
                </c:pt>
                <c:pt idx="3001">
                  <c:v>42870</c:v>
                </c:pt>
                <c:pt idx="3002">
                  <c:v>42871</c:v>
                </c:pt>
                <c:pt idx="3003">
                  <c:v>42872</c:v>
                </c:pt>
                <c:pt idx="3004">
                  <c:v>42873</c:v>
                </c:pt>
                <c:pt idx="3005">
                  <c:v>42874</c:v>
                </c:pt>
                <c:pt idx="3006">
                  <c:v>42877</c:v>
                </c:pt>
                <c:pt idx="3007">
                  <c:v>42878</c:v>
                </c:pt>
                <c:pt idx="3008">
                  <c:v>42879</c:v>
                </c:pt>
                <c:pt idx="3009">
                  <c:v>42880</c:v>
                </c:pt>
                <c:pt idx="3010">
                  <c:v>42881</c:v>
                </c:pt>
                <c:pt idx="3011">
                  <c:v>42886</c:v>
                </c:pt>
                <c:pt idx="3012">
                  <c:v>42887</c:v>
                </c:pt>
                <c:pt idx="3013">
                  <c:v>42888</c:v>
                </c:pt>
                <c:pt idx="3014">
                  <c:v>42891</c:v>
                </c:pt>
                <c:pt idx="3015">
                  <c:v>42892</c:v>
                </c:pt>
                <c:pt idx="3016">
                  <c:v>42893</c:v>
                </c:pt>
                <c:pt idx="3017">
                  <c:v>42894</c:v>
                </c:pt>
                <c:pt idx="3018">
                  <c:v>42895</c:v>
                </c:pt>
                <c:pt idx="3019">
                  <c:v>42898</c:v>
                </c:pt>
                <c:pt idx="3020">
                  <c:v>42899</c:v>
                </c:pt>
                <c:pt idx="3021">
                  <c:v>42900</c:v>
                </c:pt>
                <c:pt idx="3022">
                  <c:v>42901</c:v>
                </c:pt>
                <c:pt idx="3023">
                  <c:v>42902</c:v>
                </c:pt>
                <c:pt idx="3024">
                  <c:v>42905</c:v>
                </c:pt>
                <c:pt idx="3025">
                  <c:v>42906</c:v>
                </c:pt>
                <c:pt idx="3026">
                  <c:v>42907</c:v>
                </c:pt>
                <c:pt idx="3027">
                  <c:v>42908</c:v>
                </c:pt>
                <c:pt idx="3028">
                  <c:v>42909</c:v>
                </c:pt>
                <c:pt idx="3029">
                  <c:v>42912</c:v>
                </c:pt>
                <c:pt idx="3030">
                  <c:v>42913</c:v>
                </c:pt>
                <c:pt idx="3031">
                  <c:v>42914</c:v>
                </c:pt>
                <c:pt idx="3032">
                  <c:v>42915</c:v>
                </c:pt>
                <c:pt idx="3033">
                  <c:v>42916</c:v>
                </c:pt>
                <c:pt idx="3034">
                  <c:v>42919</c:v>
                </c:pt>
                <c:pt idx="3035">
                  <c:v>42920</c:v>
                </c:pt>
                <c:pt idx="3036">
                  <c:v>42921</c:v>
                </c:pt>
                <c:pt idx="3037">
                  <c:v>42922</c:v>
                </c:pt>
                <c:pt idx="3038">
                  <c:v>42923</c:v>
                </c:pt>
                <c:pt idx="3039">
                  <c:v>42926</c:v>
                </c:pt>
                <c:pt idx="3040">
                  <c:v>42927</c:v>
                </c:pt>
                <c:pt idx="3041">
                  <c:v>42928</c:v>
                </c:pt>
                <c:pt idx="3042">
                  <c:v>42929</c:v>
                </c:pt>
                <c:pt idx="3043">
                  <c:v>42930</c:v>
                </c:pt>
                <c:pt idx="3044">
                  <c:v>42933</c:v>
                </c:pt>
                <c:pt idx="3045">
                  <c:v>42934</c:v>
                </c:pt>
                <c:pt idx="3046">
                  <c:v>42935</c:v>
                </c:pt>
                <c:pt idx="3047">
                  <c:v>42936</c:v>
                </c:pt>
                <c:pt idx="3048">
                  <c:v>42937</c:v>
                </c:pt>
                <c:pt idx="3049">
                  <c:v>42940</c:v>
                </c:pt>
                <c:pt idx="3050">
                  <c:v>42941</c:v>
                </c:pt>
                <c:pt idx="3051">
                  <c:v>42942</c:v>
                </c:pt>
                <c:pt idx="3052">
                  <c:v>42943</c:v>
                </c:pt>
                <c:pt idx="3053">
                  <c:v>42944</c:v>
                </c:pt>
                <c:pt idx="3054">
                  <c:v>42947</c:v>
                </c:pt>
                <c:pt idx="3055">
                  <c:v>42948</c:v>
                </c:pt>
                <c:pt idx="3056">
                  <c:v>42949</c:v>
                </c:pt>
                <c:pt idx="3057">
                  <c:v>42950</c:v>
                </c:pt>
                <c:pt idx="3058">
                  <c:v>42951</c:v>
                </c:pt>
                <c:pt idx="3059">
                  <c:v>42954</c:v>
                </c:pt>
                <c:pt idx="3060">
                  <c:v>42955</c:v>
                </c:pt>
                <c:pt idx="3061">
                  <c:v>42956</c:v>
                </c:pt>
                <c:pt idx="3062">
                  <c:v>42957</c:v>
                </c:pt>
                <c:pt idx="3063">
                  <c:v>42958</c:v>
                </c:pt>
                <c:pt idx="3064">
                  <c:v>42961</c:v>
                </c:pt>
                <c:pt idx="3065">
                  <c:v>42962</c:v>
                </c:pt>
                <c:pt idx="3066">
                  <c:v>42963</c:v>
                </c:pt>
                <c:pt idx="3067">
                  <c:v>42964</c:v>
                </c:pt>
                <c:pt idx="3068">
                  <c:v>42965</c:v>
                </c:pt>
                <c:pt idx="3069">
                  <c:v>42968</c:v>
                </c:pt>
                <c:pt idx="3070">
                  <c:v>42969</c:v>
                </c:pt>
                <c:pt idx="3071">
                  <c:v>42970</c:v>
                </c:pt>
                <c:pt idx="3072">
                  <c:v>42971</c:v>
                </c:pt>
                <c:pt idx="3073">
                  <c:v>42972</c:v>
                </c:pt>
                <c:pt idx="3074">
                  <c:v>42975</c:v>
                </c:pt>
                <c:pt idx="3075">
                  <c:v>42976</c:v>
                </c:pt>
                <c:pt idx="3076">
                  <c:v>42977</c:v>
                </c:pt>
                <c:pt idx="3077">
                  <c:v>42978</c:v>
                </c:pt>
                <c:pt idx="3078">
                  <c:v>42979</c:v>
                </c:pt>
                <c:pt idx="3079">
                  <c:v>42982</c:v>
                </c:pt>
                <c:pt idx="3080">
                  <c:v>42983</c:v>
                </c:pt>
                <c:pt idx="3081">
                  <c:v>42984</c:v>
                </c:pt>
                <c:pt idx="3082">
                  <c:v>42985</c:v>
                </c:pt>
                <c:pt idx="3083">
                  <c:v>42986</c:v>
                </c:pt>
                <c:pt idx="3084">
                  <c:v>42989</c:v>
                </c:pt>
                <c:pt idx="3085">
                  <c:v>42990</c:v>
                </c:pt>
                <c:pt idx="3086">
                  <c:v>42991</c:v>
                </c:pt>
                <c:pt idx="3087">
                  <c:v>42992</c:v>
                </c:pt>
                <c:pt idx="3088">
                  <c:v>42993</c:v>
                </c:pt>
                <c:pt idx="3089">
                  <c:v>42996</c:v>
                </c:pt>
                <c:pt idx="3090">
                  <c:v>42997</c:v>
                </c:pt>
                <c:pt idx="3091">
                  <c:v>42998</c:v>
                </c:pt>
                <c:pt idx="3092">
                  <c:v>42999</c:v>
                </c:pt>
                <c:pt idx="3093">
                  <c:v>43000</c:v>
                </c:pt>
                <c:pt idx="3094">
                  <c:v>43003</c:v>
                </c:pt>
                <c:pt idx="3095">
                  <c:v>43004</c:v>
                </c:pt>
                <c:pt idx="3096">
                  <c:v>43005</c:v>
                </c:pt>
                <c:pt idx="3097">
                  <c:v>43006</c:v>
                </c:pt>
                <c:pt idx="3098">
                  <c:v>43007</c:v>
                </c:pt>
                <c:pt idx="3099">
                  <c:v>43017</c:v>
                </c:pt>
                <c:pt idx="3100">
                  <c:v>43018</c:v>
                </c:pt>
                <c:pt idx="3101">
                  <c:v>43019</c:v>
                </c:pt>
                <c:pt idx="3102">
                  <c:v>43020</c:v>
                </c:pt>
                <c:pt idx="3103">
                  <c:v>43021</c:v>
                </c:pt>
                <c:pt idx="3104">
                  <c:v>43024</c:v>
                </c:pt>
                <c:pt idx="3105">
                  <c:v>43025</c:v>
                </c:pt>
                <c:pt idx="3106">
                  <c:v>43026</c:v>
                </c:pt>
                <c:pt idx="3107">
                  <c:v>43027</c:v>
                </c:pt>
                <c:pt idx="3108">
                  <c:v>43028</c:v>
                </c:pt>
                <c:pt idx="3109">
                  <c:v>43031</c:v>
                </c:pt>
                <c:pt idx="3110">
                  <c:v>43032</c:v>
                </c:pt>
                <c:pt idx="3111">
                  <c:v>43033</c:v>
                </c:pt>
                <c:pt idx="3112">
                  <c:v>43034</c:v>
                </c:pt>
                <c:pt idx="3113">
                  <c:v>43035</c:v>
                </c:pt>
                <c:pt idx="3114">
                  <c:v>43038</c:v>
                </c:pt>
                <c:pt idx="3115">
                  <c:v>43039</c:v>
                </c:pt>
                <c:pt idx="3116">
                  <c:v>43040</c:v>
                </c:pt>
                <c:pt idx="3117">
                  <c:v>43041</c:v>
                </c:pt>
                <c:pt idx="3118">
                  <c:v>43042</c:v>
                </c:pt>
                <c:pt idx="3119">
                  <c:v>43045</c:v>
                </c:pt>
                <c:pt idx="3120">
                  <c:v>43046</c:v>
                </c:pt>
                <c:pt idx="3121">
                  <c:v>43047</c:v>
                </c:pt>
                <c:pt idx="3122">
                  <c:v>43048</c:v>
                </c:pt>
                <c:pt idx="3123">
                  <c:v>43049</c:v>
                </c:pt>
                <c:pt idx="3124">
                  <c:v>43052</c:v>
                </c:pt>
                <c:pt idx="3125">
                  <c:v>43053</c:v>
                </c:pt>
                <c:pt idx="3126">
                  <c:v>43054</c:v>
                </c:pt>
                <c:pt idx="3127">
                  <c:v>43055</c:v>
                </c:pt>
                <c:pt idx="3128">
                  <c:v>43056</c:v>
                </c:pt>
                <c:pt idx="3129">
                  <c:v>43059</c:v>
                </c:pt>
                <c:pt idx="3130">
                  <c:v>43060</c:v>
                </c:pt>
                <c:pt idx="3131">
                  <c:v>43061</c:v>
                </c:pt>
                <c:pt idx="3132">
                  <c:v>43062</c:v>
                </c:pt>
                <c:pt idx="3133">
                  <c:v>43063</c:v>
                </c:pt>
                <c:pt idx="3134">
                  <c:v>43066</c:v>
                </c:pt>
                <c:pt idx="3135">
                  <c:v>43067</c:v>
                </c:pt>
                <c:pt idx="3136">
                  <c:v>43068</c:v>
                </c:pt>
                <c:pt idx="3137">
                  <c:v>43069</c:v>
                </c:pt>
                <c:pt idx="3138">
                  <c:v>43070</c:v>
                </c:pt>
                <c:pt idx="3139">
                  <c:v>43073</c:v>
                </c:pt>
                <c:pt idx="3140">
                  <c:v>43074</c:v>
                </c:pt>
                <c:pt idx="3141">
                  <c:v>43075</c:v>
                </c:pt>
                <c:pt idx="3142">
                  <c:v>43076</c:v>
                </c:pt>
                <c:pt idx="3143">
                  <c:v>43077</c:v>
                </c:pt>
                <c:pt idx="3144">
                  <c:v>43080</c:v>
                </c:pt>
                <c:pt idx="3145">
                  <c:v>43081</c:v>
                </c:pt>
                <c:pt idx="3146">
                  <c:v>43082</c:v>
                </c:pt>
                <c:pt idx="3147">
                  <c:v>43083</c:v>
                </c:pt>
                <c:pt idx="3148">
                  <c:v>43084</c:v>
                </c:pt>
                <c:pt idx="3149">
                  <c:v>43087</c:v>
                </c:pt>
                <c:pt idx="3150">
                  <c:v>43088</c:v>
                </c:pt>
                <c:pt idx="3151">
                  <c:v>43089</c:v>
                </c:pt>
                <c:pt idx="3152">
                  <c:v>43090</c:v>
                </c:pt>
                <c:pt idx="3153">
                  <c:v>43091</c:v>
                </c:pt>
                <c:pt idx="3154">
                  <c:v>43094</c:v>
                </c:pt>
                <c:pt idx="3155">
                  <c:v>43095</c:v>
                </c:pt>
                <c:pt idx="3156">
                  <c:v>43096</c:v>
                </c:pt>
                <c:pt idx="3157">
                  <c:v>43097</c:v>
                </c:pt>
                <c:pt idx="3158">
                  <c:v>43098</c:v>
                </c:pt>
                <c:pt idx="3159">
                  <c:v>43102</c:v>
                </c:pt>
                <c:pt idx="3160">
                  <c:v>43103</c:v>
                </c:pt>
                <c:pt idx="3161">
                  <c:v>43104</c:v>
                </c:pt>
                <c:pt idx="3162">
                  <c:v>43105</c:v>
                </c:pt>
                <c:pt idx="3163">
                  <c:v>43108</c:v>
                </c:pt>
                <c:pt idx="3164">
                  <c:v>43109</c:v>
                </c:pt>
                <c:pt idx="3165">
                  <c:v>43110</c:v>
                </c:pt>
                <c:pt idx="3166">
                  <c:v>43111</c:v>
                </c:pt>
                <c:pt idx="3167">
                  <c:v>43112</c:v>
                </c:pt>
                <c:pt idx="3168">
                  <c:v>43115</c:v>
                </c:pt>
                <c:pt idx="3169">
                  <c:v>43116</c:v>
                </c:pt>
                <c:pt idx="3170">
                  <c:v>43117</c:v>
                </c:pt>
                <c:pt idx="3171">
                  <c:v>43118</c:v>
                </c:pt>
                <c:pt idx="3172">
                  <c:v>43119</c:v>
                </c:pt>
                <c:pt idx="3173">
                  <c:v>43122</c:v>
                </c:pt>
                <c:pt idx="3174">
                  <c:v>43123</c:v>
                </c:pt>
                <c:pt idx="3175">
                  <c:v>43124</c:v>
                </c:pt>
                <c:pt idx="3176">
                  <c:v>43125</c:v>
                </c:pt>
                <c:pt idx="3177">
                  <c:v>43126</c:v>
                </c:pt>
                <c:pt idx="3178">
                  <c:v>43129</c:v>
                </c:pt>
                <c:pt idx="3179">
                  <c:v>43130</c:v>
                </c:pt>
                <c:pt idx="3180">
                  <c:v>43131</c:v>
                </c:pt>
                <c:pt idx="3181">
                  <c:v>43132</c:v>
                </c:pt>
                <c:pt idx="3182">
                  <c:v>43133</c:v>
                </c:pt>
                <c:pt idx="3183">
                  <c:v>43136</c:v>
                </c:pt>
                <c:pt idx="3184">
                  <c:v>43137</c:v>
                </c:pt>
                <c:pt idx="3185">
                  <c:v>43138</c:v>
                </c:pt>
                <c:pt idx="3186">
                  <c:v>43139</c:v>
                </c:pt>
                <c:pt idx="3187">
                  <c:v>43140</c:v>
                </c:pt>
                <c:pt idx="3188">
                  <c:v>43143</c:v>
                </c:pt>
                <c:pt idx="3189">
                  <c:v>43144</c:v>
                </c:pt>
                <c:pt idx="3190">
                  <c:v>43145</c:v>
                </c:pt>
                <c:pt idx="3191">
                  <c:v>43153</c:v>
                </c:pt>
                <c:pt idx="3192">
                  <c:v>43154</c:v>
                </c:pt>
                <c:pt idx="3193">
                  <c:v>43157</c:v>
                </c:pt>
                <c:pt idx="3194">
                  <c:v>43158</c:v>
                </c:pt>
                <c:pt idx="3195">
                  <c:v>43159</c:v>
                </c:pt>
                <c:pt idx="3196">
                  <c:v>43160</c:v>
                </c:pt>
                <c:pt idx="3197">
                  <c:v>43161</c:v>
                </c:pt>
                <c:pt idx="3198">
                  <c:v>43164</c:v>
                </c:pt>
                <c:pt idx="3199">
                  <c:v>43165</c:v>
                </c:pt>
                <c:pt idx="3200">
                  <c:v>43166</c:v>
                </c:pt>
                <c:pt idx="3201">
                  <c:v>43167</c:v>
                </c:pt>
                <c:pt idx="3202">
                  <c:v>43168</c:v>
                </c:pt>
                <c:pt idx="3203">
                  <c:v>43171</c:v>
                </c:pt>
                <c:pt idx="3204">
                  <c:v>43172</c:v>
                </c:pt>
                <c:pt idx="3205">
                  <c:v>43173</c:v>
                </c:pt>
                <c:pt idx="3206">
                  <c:v>43174</c:v>
                </c:pt>
                <c:pt idx="3207">
                  <c:v>43175</c:v>
                </c:pt>
                <c:pt idx="3208">
                  <c:v>43178</c:v>
                </c:pt>
                <c:pt idx="3209">
                  <c:v>43179</c:v>
                </c:pt>
                <c:pt idx="3210">
                  <c:v>43180</c:v>
                </c:pt>
                <c:pt idx="3211">
                  <c:v>43181</c:v>
                </c:pt>
                <c:pt idx="3212">
                  <c:v>43182</c:v>
                </c:pt>
                <c:pt idx="3213">
                  <c:v>43185</c:v>
                </c:pt>
                <c:pt idx="3214">
                  <c:v>43186</c:v>
                </c:pt>
                <c:pt idx="3215">
                  <c:v>43187</c:v>
                </c:pt>
                <c:pt idx="3216">
                  <c:v>43188</c:v>
                </c:pt>
                <c:pt idx="3217">
                  <c:v>43189</c:v>
                </c:pt>
                <c:pt idx="3218">
                  <c:v>43192</c:v>
                </c:pt>
                <c:pt idx="3219">
                  <c:v>43193</c:v>
                </c:pt>
                <c:pt idx="3220">
                  <c:v>43194</c:v>
                </c:pt>
                <c:pt idx="3221">
                  <c:v>43199</c:v>
                </c:pt>
                <c:pt idx="3222">
                  <c:v>43200</c:v>
                </c:pt>
                <c:pt idx="3223">
                  <c:v>43201</c:v>
                </c:pt>
                <c:pt idx="3224">
                  <c:v>43202</c:v>
                </c:pt>
                <c:pt idx="3225">
                  <c:v>43203</c:v>
                </c:pt>
                <c:pt idx="3226">
                  <c:v>43206</c:v>
                </c:pt>
                <c:pt idx="3227">
                  <c:v>43207</c:v>
                </c:pt>
                <c:pt idx="3228">
                  <c:v>43208</c:v>
                </c:pt>
                <c:pt idx="3229">
                  <c:v>43209</c:v>
                </c:pt>
                <c:pt idx="3230">
                  <c:v>43210</c:v>
                </c:pt>
                <c:pt idx="3231">
                  <c:v>43213</c:v>
                </c:pt>
                <c:pt idx="3232">
                  <c:v>43214</c:v>
                </c:pt>
                <c:pt idx="3233">
                  <c:v>43215</c:v>
                </c:pt>
                <c:pt idx="3234">
                  <c:v>43216</c:v>
                </c:pt>
                <c:pt idx="3235">
                  <c:v>43217</c:v>
                </c:pt>
                <c:pt idx="3236">
                  <c:v>43222</c:v>
                </c:pt>
                <c:pt idx="3237">
                  <c:v>43223</c:v>
                </c:pt>
                <c:pt idx="3238">
                  <c:v>43224</c:v>
                </c:pt>
                <c:pt idx="3239">
                  <c:v>43227</c:v>
                </c:pt>
                <c:pt idx="3240">
                  <c:v>43228</c:v>
                </c:pt>
                <c:pt idx="3241">
                  <c:v>43229</c:v>
                </c:pt>
                <c:pt idx="3242">
                  <c:v>43230</c:v>
                </c:pt>
                <c:pt idx="3243">
                  <c:v>43231</c:v>
                </c:pt>
                <c:pt idx="3244">
                  <c:v>43234</c:v>
                </c:pt>
                <c:pt idx="3245">
                  <c:v>43235</c:v>
                </c:pt>
                <c:pt idx="3246">
                  <c:v>43236</c:v>
                </c:pt>
                <c:pt idx="3247">
                  <c:v>43237</c:v>
                </c:pt>
                <c:pt idx="3248">
                  <c:v>43238</c:v>
                </c:pt>
                <c:pt idx="3249">
                  <c:v>43241</c:v>
                </c:pt>
                <c:pt idx="3250">
                  <c:v>43242</c:v>
                </c:pt>
                <c:pt idx="3251">
                  <c:v>43243</c:v>
                </c:pt>
                <c:pt idx="3252">
                  <c:v>43244</c:v>
                </c:pt>
                <c:pt idx="3253">
                  <c:v>43245</c:v>
                </c:pt>
                <c:pt idx="3254">
                  <c:v>43248</c:v>
                </c:pt>
                <c:pt idx="3255">
                  <c:v>43249</c:v>
                </c:pt>
                <c:pt idx="3256">
                  <c:v>43250</c:v>
                </c:pt>
                <c:pt idx="3257">
                  <c:v>43251</c:v>
                </c:pt>
                <c:pt idx="3258">
                  <c:v>43252</c:v>
                </c:pt>
                <c:pt idx="3259">
                  <c:v>43255</c:v>
                </c:pt>
                <c:pt idx="3260">
                  <c:v>43256</c:v>
                </c:pt>
                <c:pt idx="3261">
                  <c:v>43257</c:v>
                </c:pt>
                <c:pt idx="3262">
                  <c:v>43258</c:v>
                </c:pt>
                <c:pt idx="3263">
                  <c:v>43259</c:v>
                </c:pt>
                <c:pt idx="3264">
                  <c:v>43262</c:v>
                </c:pt>
                <c:pt idx="3265">
                  <c:v>43263</c:v>
                </c:pt>
                <c:pt idx="3266">
                  <c:v>43264</c:v>
                </c:pt>
                <c:pt idx="3267">
                  <c:v>43265</c:v>
                </c:pt>
                <c:pt idx="3268">
                  <c:v>43266</c:v>
                </c:pt>
                <c:pt idx="3269">
                  <c:v>43270</c:v>
                </c:pt>
                <c:pt idx="3270">
                  <c:v>43271</c:v>
                </c:pt>
                <c:pt idx="3271">
                  <c:v>43272</c:v>
                </c:pt>
                <c:pt idx="3272">
                  <c:v>43273</c:v>
                </c:pt>
                <c:pt idx="3273">
                  <c:v>43276</c:v>
                </c:pt>
                <c:pt idx="3274">
                  <c:v>43277</c:v>
                </c:pt>
                <c:pt idx="3275">
                  <c:v>43278</c:v>
                </c:pt>
                <c:pt idx="3276">
                  <c:v>43279</c:v>
                </c:pt>
                <c:pt idx="3277">
                  <c:v>43280</c:v>
                </c:pt>
                <c:pt idx="3278">
                  <c:v>43283</c:v>
                </c:pt>
                <c:pt idx="3279">
                  <c:v>43284</c:v>
                </c:pt>
                <c:pt idx="3280">
                  <c:v>43285</c:v>
                </c:pt>
                <c:pt idx="3281">
                  <c:v>43286</c:v>
                </c:pt>
                <c:pt idx="3282">
                  <c:v>43287</c:v>
                </c:pt>
                <c:pt idx="3283">
                  <c:v>43290</c:v>
                </c:pt>
                <c:pt idx="3284">
                  <c:v>43291</c:v>
                </c:pt>
                <c:pt idx="3285">
                  <c:v>43292</c:v>
                </c:pt>
                <c:pt idx="3286">
                  <c:v>43293</c:v>
                </c:pt>
                <c:pt idx="3287">
                  <c:v>43294</c:v>
                </c:pt>
                <c:pt idx="3288">
                  <c:v>43297</c:v>
                </c:pt>
                <c:pt idx="3289">
                  <c:v>43298</c:v>
                </c:pt>
                <c:pt idx="3290">
                  <c:v>43299</c:v>
                </c:pt>
                <c:pt idx="3291">
                  <c:v>43300</c:v>
                </c:pt>
                <c:pt idx="3292">
                  <c:v>43301</c:v>
                </c:pt>
                <c:pt idx="3293">
                  <c:v>43304</c:v>
                </c:pt>
                <c:pt idx="3294">
                  <c:v>43305</c:v>
                </c:pt>
                <c:pt idx="3295">
                  <c:v>43306</c:v>
                </c:pt>
                <c:pt idx="3296">
                  <c:v>43307</c:v>
                </c:pt>
                <c:pt idx="3297">
                  <c:v>43308</c:v>
                </c:pt>
                <c:pt idx="3298">
                  <c:v>43311</c:v>
                </c:pt>
                <c:pt idx="3299">
                  <c:v>43312</c:v>
                </c:pt>
                <c:pt idx="3300">
                  <c:v>43313</c:v>
                </c:pt>
                <c:pt idx="3301">
                  <c:v>43314</c:v>
                </c:pt>
                <c:pt idx="3302">
                  <c:v>43315</c:v>
                </c:pt>
                <c:pt idx="3303">
                  <c:v>43318</c:v>
                </c:pt>
                <c:pt idx="3304">
                  <c:v>43319</c:v>
                </c:pt>
                <c:pt idx="3305">
                  <c:v>43320</c:v>
                </c:pt>
                <c:pt idx="3306">
                  <c:v>43321</c:v>
                </c:pt>
                <c:pt idx="3307">
                  <c:v>43322</c:v>
                </c:pt>
                <c:pt idx="3308">
                  <c:v>43325</c:v>
                </c:pt>
                <c:pt idx="3309">
                  <c:v>43326</c:v>
                </c:pt>
                <c:pt idx="3310">
                  <c:v>43327</c:v>
                </c:pt>
                <c:pt idx="3311">
                  <c:v>43328</c:v>
                </c:pt>
                <c:pt idx="3312">
                  <c:v>43329</c:v>
                </c:pt>
                <c:pt idx="3313">
                  <c:v>43332</c:v>
                </c:pt>
                <c:pt idx="3314">
                  <c:v>43333</c:v>
                </c:pt>
                <c:pt idx="3315">
                  <c:v>43334</c:v>
                </c:pt>
                <c:pt idx="3316">
                  <c:v>43335</c:v>
                </c:pt>
                <c:pt idx="3317">
                  <c:v>43336</c:v>
                </c:pt>
                <c:pt idx="3318">
                  <c:v>43339</c:v>
                </c:pt>
                <c:pt idx="3319">
                  <c:v>43340</c:v>
                </c:pt>
                <c:pt idx="3320">
                  <c:v>43341</c:v>
                </c:pt>
                <c:pt idx="3321">
                  <c:v>43342</c:v>
                </c:pt>
                <c:pt idx="3322">
                  <c:v>43343</c:v>
                </c:pt>
                <c:pt idx="3323">
                  <c:v>43346</c:v>
                </c:pt>
                <c:pt idx="3324">
                  <c:v>43347</c:v>
                </c:pt>
                <c:pt idx="3325">
                  <c:v>43348</c:v>
                </c:pt>
                <c:pt idx="3326">
                  <c:v>43349</c:v>
                </c:pt>
                <c:pt idx="3327">
                  <c:v>43350</c:v>
                </c:pt>
                <c:pt idx="3328">
                  <c:v>43353</c:v>
                </c:pt>
                <c:pt idx="3329">
                  <c:v>43354</c:v>
                </c:pt>
                <c:pt idx="3330">
                  <c:v>43355</c:v>
                </c:pt>
                <c:pt idx="3331">
                  <c:v>43356</c:v>
                </c:pt>
                <c:pt idx="3332">
                  <c:v>43357</c:v>
                </c:pt>
                <c:pt idx="3333">
                  <c:v>43360</c:v>
                </c:pt>
                <c:pt idx="3334">
                  <c:v>43361</c:v>
                </c:pt>
                <c:pt idx="3335">
                  <c:v>43362</c:v>
                </c:pt>
                <c:pt idx="3336">
                  <c:v>43363</c:v>
                </c:pt>
                <c:pt idx="3337">
                  <c:v>43364</c:v>
                </c:pt>
                <c:pt idx="3338">
                  <c:v>43368</c:v>
                </c:pt>
                <c:pt idx="3339">
                  <c:v>43369</c:v>
                </c:pt>
                <c:pt idx="3340">
                  <c:v>43370</c:v>
                </c:pt>
                <c:pt idx="3341">
                  <c:v>43371</c:v>
                </c:pt>
                <c:pt idx="3342">
                  <c:v>43381</c:v>
                </c:pt>
                <c:pt idx="3343">
                  <c:v>43382</c:v>
                </c:pt>
                <c:pt idx="3344">
                  <c:v>43383</c:v>
                </c:pt>
                <c:pt idx="3345">
                  <c:v>43384</c:v>
                </c:pt>
                <c:pt idx="3346">
                  <c:v>43385</c:v>
                </c:pt>
                <c:pt idx="3347">
                  <c:v>43388</c:v>
                </c:pt>
                <c:pt idx="3348">
                  <c:v>43389</c:v>
                </c:pt>
                <c:pt idx="3349">
                  <c:v>43390</c:v>
                </c:pt>
                <c:pt idx="3350">
                  <c:v>43391</c:v>
                </c:pt>
                <c:pt idx="3351">
                  <c:v>43392</c:v>
                </c:pt>
                <c:pt idx="3352">
                  <c:v>43395</c:v>
                </c:pt>
                <c:pt idx="3353">
                  <c:v>43396</c:v>
                </c:pt>
                <c:pt idx="3354">
                  <c:v>43397</c:v>
                </c:pt>
                <c:pt idx="3355">
                  <c:v>43398</c:v>
                </c:pt>
                <c:pt idx="3356">
                  <c:v>43399</c:v>
                </c:pt>
                <c:pt idx="3357">
                  <c:v>43402</c:v>
                </c:pt>
                <c:pt idx="3358">
                  <c:v>43403</c:v>
                </c:pt>
                <c:pt idx="3359">
                  <c:v>43404</c:v>
                </c:pt>
                <c:pt idx="3360">
                  <c:v>43405</c:v>
                </c:pt>
                <c:pt idx="3361">
                  <c:v>43406</c:v>
                </c:pt>
                <c:pt idx="3362">
                  <c:v>43409</c:v>
                </c:pt>
                <c:pt idx="3363">
                  <c:v>43410</c:v>
                </c:pt>
                <c:pt idx="3364">
                  <c:v>43411</c:v>
                </c:pt>
                <c:pt idx="3365">
                  <c:v>43412</c:v>
                </c:pt>
                <c:pt idx="3366">
                  <c:v>43413</c:v>
                </c:pt>
                <c:pt idx="3367">
                  <c:v>43416</c:v>
                </c:pt>
                <c:pt idx="3368">
                  <c:v>43417</c:v>
                </c:pt>
                <c:pt idx="3369">
                  <c:v>43418</c:v>
                </c:pt>
                <c:pt idx="3370">
                  <c:v>43419</c:v>
                </c:pt>
                <c:pt idx="3371">
                  <c:v>43420</c:v>
                </c:pt>
                <c:pt idx="3372">
                  <c:v>43423</c:v>
                </c:pt>
                <c:pt idx="3373">
                  <c:v>43424</c:v>
                </c:pt>
                <c:pt idx="3374">
                  <c:v>43425</c:v>
                </c:pt>
                <c:pt idx="3375">
                  <c:v>43426</c:v>
                </c:pt>
                <c:pt idx="3376">
                  <c:v>43427</c:v>
                </c:pt>
                <c:pt idx="3377">
                  <c:v>43430</c:v>
                </c:pt>
                <c:pt idx="3378">
                  <c:v>43431</c:v>
                </c:pt>
                <c:pt idx="3379">
                  <c:v>43432</c:v>
                </c:pt>
                <c:pt idx="3380">
                  <c:v>43433</c:v>
                </c:pt>
                <c:pt idx="3381">
                  <c:v>43434</c:v>
                </c:pt>
                <c:pt idx="3382">
                  <c:v>43437</c:v>
                </c:pt>
                <c:pt idx="3383">
                  <c:v>43438</c:v>
                </c:pt>
                <c:pt idx="3384">
                  <c:v>43439</c:v>
                </c:pt>
                <c:pt idx="3385">
                  <c:v>43440</c:v>
                </c:pt>
                <c:pt idx="3386">
                  <c:v>43441</c:v>
                </c:pt>
                <c:pt idx="3387">
                  <c:v>43444</c:v>
                </c:pt>
                <c:pt idx="3388">
                  <c:v>43445</c:v>
                </c:pt>
                <c:pt idx="3389">
                  <c:v>43446</c:v>
                </c:pt>
                <c:pt idx="3390">
                  <c:v>43447</c:v>
                </c:pt>
                <c:pt idx="3391">
                  <c:v>43448</c:v>
                </c:pt>
                <c:pt idx="3392">
                  <c:v>43451</c:v>
                </c:pt>
                <c:pt idx="3393">
                  <c:v>43452</c:v>
                </c:pt>
                <c:pt idx="3394">
                  <c:v>43453</c:v>
                </c:pt>
                <c:pt idx="3395">
                  <c:v>43454</c:v>
                </c:pt>
                <c:pt idx="3396">
                  <c:v>43455</c:v>
                </c:pt>
                <c:pt idx="3397">
                  <c:v>43458</c:v>
                </c:pt>
                <c:pt idx="3398">
                  <c:v>43459</c:v>
                </c:pt>
                <c:pt idx="3399">
                  <c:v>43460</c:v>
                </c:pt>
                <c:pt idx="3400">
                  <c:v>43461</c:v>
                </c:pt>
                <c:pt idx="3401">
                  <c:v>43462</c:v>
                </c:pt>
                <c:pt idx="3402">
                  <c:v>43467</c:v>
                </c:pt>
                <c:pt idx="3403">
                  <c:v>43468</c:v>
                </c:pt>
                <c:pt idx="3404">
                  <c:v>43469</c:v>
                </c:pt>
                <c:pt idx="3405">
                  <c:v>43472</c:v>
                </c:pt>
                <c:pt idx="3406">
                  <c:v>43473</c:v>
                </c:pt>
                <c:pt idx="3407">
                  <c:v>43474</c:v>
                </c:pt>
                <c:pt idx="3408">
                  <c:v>43475</c:v>
                </c:pt>
                <c:pt idx="3409">
                  <c:v>43476</c:v>
                </c:pt>
                <c:pt idx="3410">
                  <c:v>43479</c:v>
                </c:pt>
                <c:pt idx="3411">
                  <c:v>43480</c:v>
                </c:pt>
                <c:pt idx="3412">
                  <c:v>43481</c:v>
                </c:pt>
                <c:pt idx="3413">
                  <c:v>43482</c:v>
                </c:pt>
                <c:pt idx="3414">
                  <c:v>43483</c:v>
                </c:pt>
                <c:pt idx="3415">
                  <c:v>43486</c:v>
                </c:pt>
                <c:pt idx="3416">
                  <c:v>43487</c:v>
                </c:pt>
                <c:pt idx="3417">
                  <c:v>43488</c:v>
                </c:pt>
                <c:pt idx="3418">
                  <c:v>43489</c:v>
                </c:pt>
                <c:pt idx="3419">
                  <c:v>43490</c:v>
                </c:pt>
                <c:pt idx="3420">
                  <c:v>43493</c:v>
                </c:pt>
                <c:pt idx="3421">
                  <c:v>43494</c:v>
                </c:pt>
                <c:pt idx="3422">
                  <c:v>43495</c:v>
                </c:pt>
                <c:pt idx="3423">
                  <c:v>43496</c:v>
                </c:pt>
                <c:pt idx="3424">
                  <c:v>43497</c:v>
                </c:pt>
                <c:pt idx="3425">
                  <c:v>43507</c:v>
                </c:pt>
                <c:pt idx="3426">
                  <c:v>43508</c:v>
                </c:pt>
                <c:pt idx="3427">
                  <c:v>43509</c:v>
                </c:pt>
                <c:pt idx="3428">
                  <c:v>43510</c:v>
                </c:pt>
                <c:pt idx="3429">
                  <c:v>43511</c:v>
                </c:pt>
                <c:pt idx="3430">
                  <c:v>43514</c:v>
                </c:pt>
                <c:pt idx="3431">
                  <c:v>43515</c:v>
                </c:pt>
                <c:pt idx="3432">
                  <c:v>43516</c:v>
                </c:pt>
                <c:pt idx="3433">
                  <c:v>43517</c:v>
                </c:pt>
                <c:pt idx="3434">
                  <c:v>43518</c:v>
                </c:pt>
                <c:pt idx="3435">
                  <c:v>43521</c:v>
                </c:pt>
                <c:pt idx="3436">
                  <c:v>43522</c:v>
                </c:pt>
                <c:pt idx="3437">
                  <c:v>43523</c:v>
                </c:pt>
                <c:pt idx="3438">
                  <c:v>43524</c:v>
                </c:pt>
                <c:pt idx="3439">
                  <c:v>43525</c:v>
                </c:pt>
                <c:pt idx="3440">
                  <c:v>43528</c:v>
                </c:pt>
                <c:pt idx="3441">
                  <c:v>43529</c:v>
                </c:pt>
                <c:pt idx="3442">
                  <c:v>43530</c:v>
                </c:pt>
                <c:pt idx="3443">
                  <c:v>43531</c:v>
                </c:pt>
                <c:pt idx="3444">
                  <c:v>43532</c:v>
                </c:pt>
                <c:pt idx="3445">
                  <c:v>43535</c:v>
                </c:pt>
                <c:pt idx="3446">
                  <c:v>43536</c:v>
                </c:pt>
                <c:pt idx="3447">
                  <c:v>43537</c:v>
                </c:pt>
                <c:pt idx="3448">
                  <c:v>43538</c:v>
                </c:pt>
                <c:pt idx="3449">
                  <c:v>43539</c:v>
                </c:pt>
                <c:pt idx="3450">
                  <c:v>43542</c:v>
                </c:pt>
                <c:pt idx="3451">
                  <c:v>43543</c:v>
                </c:pt>
                <c:pt idx="3452">
                  <c:v>43544</c:v>
                </c:pt>
                <c:pt idx="3453">
                  <c:v>43545</c:v>
                </c:pt>
                <c:pt idx="3454">
                  <c:v>43546</c:v>
                </c:pt>
                <c:pt idx="3455">
                  <c:v>43549</c:v>
                </c:pt>
                <c:pt idx="3456">
                  <c:v>43550</c:v>
                </c:pt>
                <c:pt idx="3457">
                  <c:v>43551</c:v>
                </c:pt>
                <c:pt idx="3458">
                  <c:v>43552</c:v>
                </c:pt>
                <c:pt idx="3459">
                  <c:v>43553</c:v>
                </c:pt>
                <c:pt idx="3460">
                  <c:v>43556</c:v>
                </c:pt>
                <c:pt idx="3461">
                  <c:v>43557</c:v>
                </c:pt>
                <c:pt idx="3462">
                  <c:v>43558</c:v>
                </c:pt>
                <c:pt idx="3463">
                  <c:v>43559</c:v>
                </c:pt>
                <c:pt idx="3464">
                  <c:v>43563</c:v>
                </c:pt>
                <c:pt idx="3465">
                  <c:v>43564</c:v>
                </c:pt>
                <c:pt idx="3466">
                  <c:v>43565</c:v>
                </c:pt>
                <c:pt idx="3467">
                  <c:v>43566</c:v>
                </c:pt>
                <c:pt idx="3468">
                  <c:v>43567</c:v>
                </c:pt>
                <c:pt idx="3469">
                  <c:v>43570</c:v>
                </c:pt>
                <c:pt idx="3470">
                  <c:v>43571</c:v>
                </c:pt>
                <c:pt idx="3471">
                  <c:v>43572</c:v>
                </c:pt>
                <c:pt idx="3472">
                  <c:v>43573</c:v>
                </c:pt>
                <c:pt idx="3473">
                  <c:v>43574</c:v>
                </c:pt>
                <c:pt idx="3474">
                  <c:v>43577</c:v>
                </c:pt>
                <c:pt idx="3475">
                  <c:v>43578</c:v>
                </c:pt>
                <c:pt idx="3476">
                  <c:v>43579</c:v>
                </c:pt>
                <c:pt idx="3477">
                  <c:v>43580</c:v>
                </c:pt>
                <c:pt idx="3478">
                  <c:v>43581</c:v>
                </c:pt>
                <c:pt idx="3479">
                  <c:v>43584</c:v>
                </c:pt>
                <c:pt idx="3480">
                  <c:v>43585</c:v>
                </c:pt>
                <c:pt idx="3481">
                  <c:v>43591</c:v>
                </c:pt>
                <c:pt idx="3482">
                  <c:v>43592</c:v>
                </c:pt>
                <c:pt idx="3483">
                  <c:v>43593</c:v>
                </c:pt>
                <c:pt idx="3484">
                  <c:v>43594</c:v>
                </c:pt>
                <c:pt idx="3485">
                  <c:v>43595</c:v>
                </c:pt>
                <c:pt idx="3486">
                  <c:v>43598</c:v>
                </c:pt>
                <c:pt idx="3487">
                  <c:v>43599</c:v>
                </c:pt>
                <c:pt idx="3488">
                  <c:v>43600</c:v>
                </c:pt>
                <c:pt idx="3489">
                  <c:v>43601</c:v>
                </c:pt>
                <c:pt idx="3490">
                  <c:v>43602</c:v>
                </c:pt>
                <c:pt idx="3491">
                  <c:v>43605</c:v>
                </c:pt>
                <c:pt idx="3492">
                  <c:v>43606</c:v>
                </c:pt>
                <c:pt idx="3493">
                  <c:v>43607</c:v>
                </c:pt>
                <c:pt idx="3494">
                  <c:v>43608</c:v>
                </c:pt>
                <c:pt idx="3495">
                  <c:v>43609</c:v>
                </c:pt>
                <c:pt idx="3496">
                  <c:v>43612</c:v>
                </c:pt>
                <c:pt idx="3497">
                  <c:v>43613</c:v>
                </c:pt>
                <c:pt idx="3498">
                  <c:v>43614</c:v>
                </c:pt>
                <c:pt idx="3499">
                  <c:v>43615</c:v>
                </c:pt>
                <c:pt idx="3500">
                  <c:v>43616</c:v>
                </c:pt>
                <c:pt idx="3501">
                  <c:v>43619</c:v>
                </c:pt>
                <c:pt idx="3502">
                  <c:v>43620</c:v>
                </c:pt>
                <c:pt idx="3503">
                  <c:v>43621</c:v>
                </c:pt>
                <c:pt idx="3504">
                  <c:v>43622</c:v>
                </c:pt>
                <c:pt idx="3505">
                  <c:v>43626</c:v>
                </c:pt>
                <c:pt idx="3506">
                  <c:v>43627</c:v>
                </c:pt>
                <c:pt idx="3507">
                  <c:v>43628</c:v>
                </c:pt>
                <c:pt idx="3508">
                  <c:v>43629</c:v>
                </c:pt>
                <c:pt idx="3509">
                  <c:v>43630</c:v>
                </c:pt>
                <c:pt idx="3510">
                  <c:v>43633</c:v>
                </c:pt>
                <c:pt idx="3511">
                  <c:v>43634</c:v>
                </c:pt>
                <c:pt idx="3512">
                  <c:v>43635</c:v>
                </c:pt>
                <c:pt idx="3513">
                  <c:v>43636</c:v>
                </c:pt>
                <c:pt idx="3514">
                  <c:v>43637</c:v>
                </c:pt>
                <c:pt idx="3515">
                  <c:v>43640</c:v>
                </c:pt>
                <c:pt idx="3516">
                  <c:v>43641</c:v>
                </c:pt>
                <c:pt idx="3517">
                  <c:v>43642</c:v>
                </c:pt>
                <c:pt idx="3518">
                  <c:v>43643</c:v>
                </c:pt>
                <c:pt idx="3519">
                  <c:v>43644</c:v>
                </c:pt>
                <c:pt idx="3520">
                  <c:v>43647</c:v>
                </c:pt>
                <c:pt idx="3521">
                  <c:v>43648</c:v>
                </c:pt>
                <c:pt idx="3522">
                  <c:v>43649</c:v>
                </c:pt>
                <c:pt idx="3523">
                  <c:v>43650</c:v>
                </c:pt>
                <c:pt idx="3524">
                  <c:v>43651</c:v>
                </c:pt>
                <c:pt idx="3525">
                  <c:v>43654</c:v>
                </c:pt>
                <c:pt idx="3526">
                  <c:v>43655</c:v>
                </c:pt>
                <c:pt idx="3527">
                  <c:v>43656</c:v>
                </c:pt>
                <c:pt idx="3528">
                  <c:v>43657</c:v>
                </c:pt>
                <c:pt idx="3529">
                  <c:v>43658</c:v>
                </c:pt>
                <c:pt idx="3530">
                  <c:v>43661</c:v>
                </c:pt>
                <c:pt idx="3531">
                  <c:v>43662</c:v>
                </c:pt>
                <c:pt idx="3532">
                  <c:v>43663</c:v>
                </c:pt>
                <c:pt idx="3533">
                  <c:v>43664</c:v>
                </c:pt>
                <c:pt idx="3534">
                  <c:v>43665</c:v>
                </c:pt>
                <c:pt idx="3535">
                  <c:v>43668</c:v>
                </c:pt>
                <c:pt idx="3536">
                  <c:v>43669</c:v>
                </c:pt>
                <c:pt idx="3537">
                  <c:v>43670</c:v>
                </c:pt>
                <c:pt idx="3538">
                  <c:v>43671</c:v>
                </c:pt>
                <c:pt idx="3539">
                  <c:v>43672</c:v>
                </c:pt>
                <c:pt idx="3540">
                  <c:v>43675</c:v>
                </c:pt>
                <c:pt idx="3541">
                  <c:v>43676</c:v>
                </c:pt>
                <c:pt idx="3542">
                  <c:v>43677</c:v>
                </c:pt>
                <c:pt idx="3543">
                  <c:v>43678</c:v>
                </c:pt>
                <c:pt idx="3544">
                  <c:v>43679</c:v>
                </c:pt>
                <c:pt idx="3545">
                  <c:v>43682</c:v>
                </c:pt>
                <c:pt idx="3546">
                  <c:v>43683</c:v>
                </c:pt>
                <c:pt idx="3547">
                  <c:v>43684</c:v>
                </c:pt>
                <c:pt idx="3548">
                  <c:v>43685</c:v>
                </c:pt>
                <c:pt idx="3549">
                  <c:v>43686</c:v>
                </c:pt>
                <c:pt idx="3550">
                  <c:v>43689</c:v>
                </c:pt>
                <c:pt idx="3551">
                  <c:v>43690</c:v>
                </c:pt>
                <c:pt idx="3552">
                  <c:v>43691</c:v>
                </c:pt>
                <c:pt idx="3553">
                  <c:v>43692</c:v>
                </c:pt>
                <c:pt idx="3554">
                  <c:v>43693</c:v>
                </c:pt>
                <c:pt idx="3555">
                  <c:v>43696</c:v>
                </c:pt>
                <c:pt idx="3556">
                  <c:v>43697</c:v>
                </c:pt>
                <c:pt idx="3557">
                  <c:v>43698</c:v>
                </c:pt>
                <c:pt idx="3558">
                  <c:v>43699</c:v>
                </c:pt>
                <c:pt idx="3559">
                  <c:v>43700</c:v>
                </c:pt>
                <c:pt idx="3560">
                  <c:v>43703</c:v>
                </c:pt>
                <c:pt idx="3561">
                  <c:v>43704</c:v>
                </c:pt>
                <c:pt idx="3562">
                  <c:v>43705</c:v>
                </c:pt>
                <c:pt idx="3563">
                  <c:v>43706</c:v>
                </c:pt>
                <c:pt idx="3564">
                  <c:v>43707</c:v>
                </c:pt>
                <c:pt idx="3565">
                  <c:v>43710</c:v>
                </c:pt>
                <c:pt idx="3566">
                  <c:v>43711</c:v>
                </c:pt>
                <c:pt idx="3567">
                  <c:v>43712</c:v>
                </c:pt>
                <c:pt idx="3568">
                  <c:v>43713</c:v>
                </c:pt>
                <c:pt idx="3569">
                  <c:v>43714</c:v>
                </c:pt>
                <c:pt idx="3570">
                  <c:v>43717</c:v>
                </c:pt>
                <c:pt idx="3571">
                  <c:v>43718</c:v>
                </c:pt>
                <c:pt idx="3572">
                  <c:v>43719</c:v>
                </c:pt>
                <c:pt idx="3573">
                  <c:v>43720</c:v>
                </c:pt>
                <c:pt idx="3574">
                  <c:v>43724</c:v>
                </c:pt>
                <c:pt idx="3575">
                  <c:v>43725</c:v>
                </c:pt>
                <c:pt idx="3576">
                  <c:v>43726</c:v>
                </c:pt>
                <c:pt idx="3577">
                  <c:v>43727</c:v>
                </c:pt>
                <c:pt idx="3578">
                  <c:v>43728</c:v>
                </c:pt>
                <c:pt idx="3579">
                  <c:v>43731</c:v>
                </c:pt>
                <c:pt idx="3580">
                  <c:v>43732</c:v>
                </c:pt>
                <c:pt idx="3581">
                  <c:v>43733</c:v>
                </c:pt>
                <c:pt idx="3582">
                  <c:v>43734</c:v>
                </c:pt>
                <c:pt idx="3583">
                  <c:v>43735</c:v>
                </c:pt>
                <c:pt idx="3584">
                  <c:v>43738</c:v>
                </c:pt>
                <c:pt idx="3585">
                  <c:v>43746</c:v>
                </c:pt>
                <c:pt idx="3586">
                  <c:v>43747</c:v>
                </c:pt>
                <c:pt idx="3587">
                  <c:v>43748</c:v>
                </c:pt>
                <c:pt idx="3588">
                  <c:v>43749</c:v>
                </c:pt>
                <c:pt idx="3589">
                  <c:v>43752</c:v>
                </c:pt>
                <c:pt idx="3590">
                  <c:v>43753</c:v>
                </c:pt>
                <c:pt idx="3591">
                  <c:v>43754</c:v>
                </c:pt>
                <c:pt idx="3592">
                  <c:v>43755</c:v>
                </c:pt>
                <c:pt idx="3593">
                  <c:v>43756</c:v>
                </c:pt>
                <c:pt idx="3594">
                  <c:v>43759</c:v>
                </c:pt>
                <c:pt idx="3595">
                  <c:v>43760</c:v>
                </c:pt>
                <c:pt idx="3596">
                  <c:v>43761</c:v>
                </c:pt>
                <c:pt idx="3597">
                  <c:v>43762</c:v>
                </c:pt>
                <c:pt idx="3598">
                  <c:v>43763</c:v>
                </c:pt>
                <c:pt idx="3599">
                  <c:v>43766</c:v>
                </c:pt>
                <c:pt idx="3600">
                  <c:v>43767</c:v>
                </c:pt>
                <c:pt idx="3601">
                  <c:v>43768</c:v>
                </c:pt>
                <c:pt idx="3602">
                  <c:v>43769</c:v>
                </c:pt>
                <c:pt idx="3603">
                  <c:v>43770</c:v>
                </c:pt>
                <c:pt idx="3604">
                  <c:v>43773</c:v>
                </c:pt>
                <c:pt idx="3605">
                  <c:v>43774</c:v>
                </c:pt>
                <c:pt idx="3606">
                  <c:v>43775</c:v>
                </c:pt>
                <c:pt idx="3607">
                  <c:v>43776</c:v>
                </c:pt>
                <c:pt idx="3608">
                  <c:v>43777</c:v>
                </c:pt>
                <c:pt idx="3609">
                  <c:v>43780</c:v>
                </c:pt>
                <c:pt idx="3610">
                  <c:v>43781</c:v>
                </c:pt>
                <c:pt idx="3611">
                  <c:v>43782</c:v>
                </c:pt>
                <c:pt idx="3612">
                  <c:v>43783</c:v>
                </c:pt>
                <c:pt idx="3613">
                  <c:v>43784</c:v>
                </c:pt>
                <c:pt idx="3614">
                  <c:v>43787</c:v>
                </c:pt>
                <c:pt idx="3615">
                  <c:v>43788</c:v>
                </c:pt>
                <c:pt idx="3616">
                  <c:v>43789</c:v>
                </c:pt>
                <c:pt idx="3617">
                  <c:v>43790</c:v>
                </c:pt>
                <c:pt idx="3618">
                  <c:v>43791</c:v>
                </c:pt>
                <c:pt idx="3619">
                  <c:v>43794</c:v>
                </c:pt>
                <c:pt idx="3620">
                  <c:v>43795</c:v>
                </c:pt>
                <c:pt idx="3621">
                  <c:v>43796</c:v>
                </c:pt>
                <c:pt idx="3622">
                  <c:v>43797</c:v>
                </c:pt>
                <c:pt idx="3623">
                  <c:v>43798</c:v>
                </c:pt>
                <c:pt idx="3624">
                  <c:v>43801</c:v>
                </c:pt>
                <c:pt idx="3625">
                  <c:v>43802</c:v>
                </c:pt>
                <c:pt idx="3626">
                  <c:v>43803</c:v>
                </c:pt>
                <c:pt idx="3627">
                  <c:v>43804</c:v>
                </c:pt>
                <c:pt idx="3628">
                  <c:v>43805</c:v>
                </c:pt>
                <c:pt idx="3629">
                  <c:v>43808</c:v>
                </c:pt>
                <c:pt idx="3630">
                  <c:v>43809</c:v>
                </c:pt>
                <c:pt idx="3631">
                  <c:v>43810</c:v>
                </c:pt>
                <c:pt idx="3632">
                  <c:v>43811</c:v>
                </c:pt>
                <c:pt idx="3633">
                  <c:v>43812</c:v>
                </c:pt>
                <c:pt idx="3634">
                  <c:v>43815</c:v>
                </c:pt>
                <c:pt idx="3635">
                  <c:v>43816</c:v>
                </c:pt>
                <c:pt idx="3636">
                  <c:v>43817</c:v>
                </c:pt>
                <c:pt idx="3637">
                  <c:v>43818</c:v>
                </c:pt>
                <c:pt idx="3638">
                  <c:v>43819</c:v>
                </c:pt>
                <c:pt idx="3639">
                  <c:v>43822</c:v>
                </c:pt>
                <c:pt idx="3640">
                  <c:v>43823</c:v>
                </c:pt>
                <c:pt idx="3641">
                  <c:v>43824</c:v>
                </c:pt>
                <c:pt idx="3642">
                  <c:v>43825</c:v>
                </c:pt>
                <c:pt idx="3643">
                  <c:v>43826</c:v>
                </c:pt>
                <c:pt idx="3644">
                  <c:v>43829</c:v>
                </c:pt>
                <c:pt idx="3645">
                  <c:v>43830</c:v>
                </c:pt>
                <c:pt idx="3646">
                  <c:v>43832</c:v>
                </c:pt>
                <c:pt idx="3647">
                  <c:v>43833</c:v>
                </c:pt>
                <c:pt idx="3648">
                  <c:v>43836</c:v>
                </c:pt>
                <c:pt idx="3649">
                  <c:v>43837</c:v>
                </c:pt>
                <c:pt idx="3650">
                  <c:v>43838</c:v>
                </c:pt>
                <c:pt idx="3651">
                  <c:v>43839</c:v>
                </c:pt>
                <c:pt idx="3652">
                  <c:v>43840</c:v>
                </c:pt>
                <c:pt idx="3653">
                  <c:v>43843</c:v>
                </c:pt>
                <c:pt idx="3654">
                  <c:v>43844</c:v>
                </c:pt>
                <c:pt idx="3655">
                  <c:v>43845</c:v>
                </c:pt>
                <c:pt idx="3656">
                  <c:v>43846</c:v>
                </c:pt>
                <c:pt idx="3657">
                  <c:v>43847</c:v>
                </c:pt>
                <c:pt idx="3658">
                  <c:v>43850</c:v>
                </c:pt>
                <c:pt idx="3659">
                  <c:v>43851</c:v>
                </c:pt>
                <c:pt idx="3660">
                  <c:v>43852</c:v>
                </c:pt>
                <c:pt idx="3661">
                  <c:v>43853</c:v>
                </c:pt>
                <c:pt idx="3662">
                  <c:v>43864</c:v>
                </c:pt>
                <c:pt idx="3663">
                  <c:v>43865</c:v>
                </c:pt>
                <c:pt idx="3664">
                  <c:v>43866</c:v>
                </c:pt>
                <c:pt idx="3665">
                  <c:v>43867</c:v>
                </c:pt>
                <c:pt idx="3666">
                  <c:v>43868</c:v>
                </c:pt>
                <c:pt idx="3667">
                  <c:v>43871</c:v>
                </c:pt>
                <c:pt idx="3668">
                  <c:v>43872</c:v>
                </c:pt>
                <c:pt idx="3669">
                  <c:v>43873</c:v>
                </c:pt>
                <c:pt idx="3670">
                  <c:v>43874</c:v>
                </c:pt>
                <c:pt idx="3671">
                  <c:v>43875</c:v>
                </c:pt>
                <c:pt idx="3672">
                  <c:v>43878</c:v>
                </c:pt>
                <c:pt idx="3673">
                  <c:v>43879</c:v>
                </c:pt>
                <c:pt idx="3674">
                  <c:v>43880</c:v>
                </c:pt>
                <c:pt idx="3675">
                  <c:v>43881</c:v>
                </c:pt>
                <c:pt idx="3676">
                  <c:v>43882</c:v>
                </c:pt>
                <c:pt idx="3677">
                  <c:v>43885</c:v>
                </c:pt>
                <c:pt idx="3678">
                  <c:v>43886</c:v>
                </c:pt>
                <c:pt idx="3679">
                  <c:v>43887</c:v>
                </c:pt>
                <c:pt idx="3680">
                  <c:v>43888</c:v>
                </c:pt>
                <c:pt idx="3681">
                  <c:v>43889</c:v>
                </c:pt>
                <c:pt idx="3682">
                  <c:v>43892</c:v>
                </c:pt>
                <c:pt idx="3683">
                  <c:v>43893</c:v>
                </c:pt>
                <c:pt idx="3684">
                  <c:v>43894</c:v>
                </c:pt>
                <c:pt idx="3685">
                  <c:v>43895</c:v>
                </c:pt>
                <c:pt idx="3686">
                  <c:v>43896</c:v>
                </c:pt>
                <c:pt idx="3687">
                  <c:v>43899</c:v>
                </c:pt>
                <c:pt idx="3688">
                  <c:v>43900</c:v>
                </c:pt>
                <c:pt idx="3689">
                  <c:v>43901</c:v>
                </c:pt>
                <c:pt idx="3690">
                  <c:v>43902</c:v>
                </c:pt>
                <c:pt idx="3691">
                  <c:v>43903</c:v>
                </c:pt>
                <c:pt idx="3692">
                  <c:v>43906</c:v>
                </c:pt>
                <c:pt idx="3693">
                  <c:v>43907</c:v>
                </c:pt>
                <c:pt idx="3694">
                  <c:v>43908</c:v>
                </c:pt>
                <c:pt idx="3695">
                  <c:v>43909</c:v>
                </c:pt>
                <c:pt idx="3696">
                  <c:v>43910</c:v>
                </c:pt>
                <c:pt idx="3697">
                  <c:v>43913</c:v>
                </c:pt>
                <c:pt idx="3698">
                  <c:v>43914</c:v>
                </c:pt>
                <c:pt idx="3699">
                  <c:v>43915</c:v>
                </c:pt>
                <c:pt idx="3700">
                  <c:v>43916</c:v>
                </c:pt>
                <c:pt idx="3701">
                  <c:v>43917</c:v>
                </c:pt>
                <c:pt idx="3702">
                  <c:v>43920</c:v>
                </c:pt>
                <c:pt idx="3703">
                  <c:v>43921</c:v>
                </c:pt>
                <c:pt idx="3704">
                  <c:v>43922</c:v>
                </c:pt>
                <c:pt idx="3705">
                  <c:v>43923</c:v>
                </c:pt>
                <c:pt idx="3706">
                  <c:v>43924</c:v>
                </c:pt>
                <c:pt idx="3707">
                  <c:v>43928</c:v>
                </c:pt>
                <c:pt idx="3708">
                  <c:v>43929</c:v>
                </c:pt>
                <c:pt idx="3709">
                  <c:v>43930</c:v>
                </c:pt>
                <c:pt idx="3710">
                  <c:v>43931</c:v>
                </c:pt>
                <c:pt idx="3711">
                  <c:v>43934</c:v>
                </c:pt>
                <c:pt idx="3712">
                  <c:v>43935</c:v>
                </c:pt>
                <c:pt idx="3713">
                  <c:v>43936</c:v>
                </c:pt>
                <c:pt idx="3714">
                  <c:v>43937</c:v>
                </c:pt>
                <c:pt idx="3715">
                  <c:v>43938</c:v>
                </c:pt>
                <c:pt idx="3716">
                  <c:v>43941</c:v>
                </c:pt>
                <c:pt idx="3717">
                  <c:v>43942</c:v>
                </c:pt>
                <c:pt idx="3718">
                  <c:v>43943</c:v>
                </c:pt>
                <c:pt idx="3719">
                  <c:v>43944</c:v>
                </c:pt>
                <c:pt idx="3720">
                  <c:v>43945</c:v>
                </c:pt>
                <c:pt idx="3721">
                  <c:v>43948</c:v>
                </c:pt>
                <c:pt idx="3722">
                  <c:v>43949</c:v>
                </c:pt>
                <c:pt idx="3723">
                  <c:v>43950</c:v>
                </c:pt>
                <c:pt idx="3724">
                  <c:v>43951</c:v>
                </c:pt>
                <c:pt idx="3725">
                  <c:v>43957</c:v>
                </c:pt>
                <c:pt idx="3726">
                  <c:v>43958</c:v>
                </c:pt>
                <c:pt idx="3727">
                  <c:v>43959</c:v>
                </c:pt>
                <c:pt idx="3728">
                  <c:v>43962</c:v>
                </c:pt>
                <c:pt idx="3729">
                  <c:v>43963</c:v>
                </c:pt>
                <c:pt idx="3730">
                  <c:v>43964</c:v>
                </c:pt>
                <c:pt idx="3731">
                  <c:v>43965</c:v>
                </c:pt>
                <c:pt idx="3732">
                  <c:v>43966</c:v>
                </c:pt>
                <c:pt idx="3733">
                  <c:v>43969</c:v>
                </c:pt>
                <c:pt idx="3734">
                  <c:v>43970</c:v>
                </c:pt>
                <c:pt idx="3735">
                  <c:v>43971</c:v>
                </c:pt>
                <c:pt idx="3736">
                  <c:v>43972</c:v>
                </c:pt>
                <c:pt idx="3737">
                  <c:v>43973</c:v>
                </c:pt>
                <c:pt idx="3738">
                  <c:v>43976</c:v>
                </c:pt>
                <c:pt idx="3739">
                  <c:v>43977</c:v>
                </c:pt>
                <c:pt idx="3740">
                  <c:v>43978</c:v>
                </c:pt>
                <c:pt idx="3741">
                  <c:v>43979</c:v>
                </c:pt>
                <c:pt idx="3742">
                  <c:v>43980</c:v>
                </c:pt>
                <c:pt idx="3743">
                  <c:v>43983</c:v>
                </c:pt>
                <c:pt idx="3744">
                  <c:v>43984</c:v>
                </c:pt>
                <c:pt idx="3745">
                  <c:v>43985</c:v>
                </c:pt>
                <c:pt idx="3746">
                  <c:v>43986</c:v>
                </c:pt>
                <c:pt idx="3747">
                  <c:v>43987</c:v>
                </c:pt>
                <c:pt idx="3748">
                  <c:v>43990</c:v>
                </c:pt>
                <c:pt idx="3749">
                  <c:v>43991</c:v>
                </c:pt>
                <c:pt idx="3750">
                  <c:v>43992</c:v>
                </c:pt>
                <c:pt idx="3751">
                  <c:v>43993</c:v>
                </c:pt>
                <c:pt idx="3752">
                  <c:v>43994</c:v>
                </c:pt>
                <c:pt idx="3753">
                  <c:v>43997</c:v>
                </c:pt>
                <c:pt idx="3754">
                  <c:v>43998</c:v>
                </c:pt>
                <c:pt idx="3755">
                  <c:v>43999</c:v>
                </c:pt>
                <c:pt idx="3756">
                  <c:v>44000</c:v>
                </c:pt>
                <c:pt idx="3757">
                  <c:v>44001</c:v>
                </c:pt>
                <c:pt idx="3758">
                  <c:v>44004</c:v>
                </c:pt>
                <c:pt idx="3759">
                  <c:v>44005</c:v>
                </c:pt>
                <c:pt idx="3760">
                  <c:v>44006</c:v>
                </c:pt>
                <c:pt idx="3761">
                  <c:v>44011</c:v>
                </c:pt>
                <c:pt idx="3762">
                  <c:v>44012</c:v>
                </c:pt>
                <c:pt idx="3763">
                  <c:v>44013</c:v>
                </c:pt>
                <c:pt idx="3764">
                  <c:v>44014</c:v>
                </c:pt>
                <c:pt idx="3765">
                  <c:v>44015</c:v>
                </c:pt>
                <c:pt idx="3766">
                  <c:v>44018</c:v>
                </c:pt>
                <c:pt idx="3767">
                  <c:v>44019</c:v>
                </c:pt>
                <c:pt idx="3768">
                  <c:v>44020</c:v>
                </c:pt>
                <c:pt idx="3769">
                  <c:v>44021</c:v>
                </c:pt>
                <c:pt idx="3770">
                  <c:v>44022</c:v>
                </c:pt>
                <c:pt idx="3771">
                  <c:v>44025</c:v>
                </c:pt>
                <c:pt idx="3772">
                  <c:v>44026</c:v>
                </c:pt>
                <c:pt idx="3773">
                  <c:v>44027</c:v>
                </c:pt>
                <c:pt idx="3774">
                  <c:v>44028</c:v>
                </c:pt>
                <c:pt idx="3775">
                  <c:v>44029</c:v>
                </c:pt>
                <c:pt idx="3776">
                  <c:v>44032</c:v>
                </c:pt>
                <c:pt idx="3777">
                  <c:v>44033</c:v>
                </c:pt>
                <c:pt idx="3778">
                  <c:v>44034</c:v>
                </c:pt>
                <c:pt idx="3779">
                  <c:v>44035</c:v>
                </c:pt>
                <c:pt idx="3780">
                  <c:v>44036</c:v>
                </c:pt>
                <c:pt idx="3781">
                  <c:v>44039</c:v>
                </c:pt>
                <c:pt idx="3782">
                  <c:v>44040</c:v>
                </c:pt>
                <c:pt idx="3783">
                  <c:v>44041</c:v>
                </c:pt>
                <c:pt idx="3784">
                  <c:v>44042</c:v>
                </c:pt>
                <c:pt idx="3785">
                  <c:v>44043</c:v>
                </c:pt>
                <c:pt idx="3786">
                  <c:v>44046</c:v>
                </c:pt>
                <c:pt idx="3787">
                  <c:v>44047</c:v>
                </c:pt>
                <c:pt idx="3788">
                  <c:v>44048</c:v>
                </c:pt>
                <c:pt idx="3789">
                  <c:v>44049</c:v>
                </c:pt>
                <c:pt idx="3790">
                  <c:v>44050</c:v>
                </c:pt>
                <c:pt idx="3791">
                  <c:v>44053</c:v>
                </c:pt>
                <c:pt idx="3792">
                  <c:v>44054</c:v>
                </c:pt>
                <c:pt idx="3793">
                  <c:v>44055</c:v>
                </c:pt>
                <c:pt idx="3794">
                  <c:v>44056</c:v>
                </c:pt>
                <c:pt idx="3795">
                  <c:v>44057</c:v>
                </c:pt>
                <c:pt idx="3796">
                  <c:v>44060</c:v>
                </c:pt>
                <c:pt idx="3797">
                  <c:v>44061</c:v>
                </c:pt>
                <c:pt idx="3798">
                  <c:v>44062</c:v>
                </c:pt>
                <c:pt idx="3799">
                  <c:v>44063</c:v>
                </c:pt>
                <c:pt idx="3800">
                  <c:v>44064</c:v>
                </c:pt>
                <c:pt idx="3801">
                  <c:v>44067</c:v>
                </c:pt>
                <c:pt idx="3802">
                  <c:v>44068</c:v>
                </c:pt>
                <c:pt idx="3803">
                  <c:v>44069</c:v>
                </c:pt>
                <c:pt idx="3804">
                  <c:v>44070</c:v>
                </c:pt>
                <c:pt idx="3805">
                  <c:v>44071</c:v>
                </c:pt>
                <c:pt idx="3806">
                  <c:v>44074</c:v>
                </c:pt>
                <c:pt idx="3807">
                  <c:v>44075</c:v>
                </c:pt>
                <c:pt idx="3808">
                  <c:v>44076</c:v>
                </c:pt>
                <c:pt idx="3809">
                  <c:v>44077</c:v>
                </c:pt>
                <c:pt idx="3810">
                  <c:v>44078</c:v>
                </c:pt>
                <c:pt idx="3811">
                  <c:v>44081</c:v>
                </c:pt>
                <c:pt idx="3812">
                  <c:v>44082</c:v>
                </c:pt>
                <c:pt idx="3813">
                  <c:v>44083</c:v>
                </c:pt>
                <c:pt idx="3814">
                  <c:v>44084</c:v>
                </c:pt>
                <c:pt idx="3815">
                  <c:v>44085</c:v>
                </c:pt>
                <c:pt idx="3816">
                  <c:v>44088</c:v>
                </c:pt>
                <c:pt idx="3817">
                  <c:v>44089</c:v>
                </c:pt>
                <c:pt idx="3818">
                  <c:v>44090</c:v>
                </c:pt>
                <c:pt idx="3819">
                  <c:v>44091</c:v>
                </c:pt>
                <c:pt idx="3820">
                  <c:v>44092</c:v>
                </c:pt>
                <c:pt idx="3821">
                  <c:v>44095</c:v>
                </c:pt>
                <c:pt idx="3822">
                  <c:v>44096</c:v>
                </c:pt>
                <c:pt idx="3823">
                  <c:v>44097</c:v>
                </c:pt>
                <c:pt idx="3824">
                  <c:v>44098</c:v>
                </c:pt>
                <c:pt idx="3825">
                  <c:v>44099</c:v>
                </c:pt>
                <c:pt idx="3826">
                  <c:v>44102</c:v>
                </c:pt>
                <c:pt idx="3827">
                  <c:v>44103</c:v>
                </c:pt>
                <c:pt idx="3828">
                  <c:v>44104</c:v>
                </c:pt>
                <c:pt idx="3829">
                  <c:v>44113</c:v>
                </c:pt>
                <c:pt idx="3830">
                  <c:v>44116</c:v>
                </c:pt>
                <c:pt idx="3831">
                  <c:v>44117</c:v>
                </c:pt>
                <c:pt idx="3832">
                  <c:v>44118</c:v>
                </c:pt>
                <c:pt idx="3833">
                  <c:v>44119</c:v>
                </c:pt>
                <c:pt idx="3834">
                  <c:v>44120</c:v>
                </c:pt>
                <c:pt idx="3835">
                  <c:v>44123</c:v>
                </c:pt>
                <c:pt idx="3836">
                  <c:v>44124</c:v>
                </c:pt>
                <c:pt idx="3837">
                  <c:v>44125</c:v>
                </c:pt>
                <c:pt idx="3838">
                  <c:v>44126</c:v>
                </c:pt>
                <c:pt idx="3839">
                  <c:v>44127</c:v>
                </c:pt>
                <c:pt idx="3840">
                  <c:v>44130</c:v>
                </c:pt>
                <c:pt idx="3841">
                  <c:v>44131</c:v>
                </c:pt>
                <c:pt idx="3842">
                  <c:v>44132</c:v>
                </c:pt>
                <c:pt idx="3843">
                  <c:v>44133</c:v>
                </c:pt>
                <c:pt idx="3844">
                  <c:v>44134</c:v>
                </c:pt>
                <c:pt idx="3845">
                  <c:v>44137</c:v>
                </c:pt>
                <c:pt idx="3846">
                  <c:v>44138</c:v>
                </c:pt>
                <c:pt idx="3847">
                  <c:v>44139</c:v>
                </c:pt>
                <c:pt idx="3848">
                  <c:v>44140</c:v>
                </c:pt>
                <c:pt idx="3849">
                  <c:v>44141</c:v>
                </c:pt>
                <c:pt idx="3850">
                  <c:v>44144</c:v>
                </c:pt>
                <c:pt idx="3851">
                  <c:v>44145</c:v>
                </c:pt>
                <c:pt idx="3852">
                  <c:v>44146</c:v>
                </c:pt>
                <c:pt idx="3853">
                  <c:v>44147</c:v>
                </c:pt>
                <c:pt idx="3854">
                  <c:v>44148</c:v>
                </c:pt>
                <c:pt idx="3855">
                  <c:v>44151</c:v>
                </c:pt>
                <c:pt idx="3856">
                  <c:v>44152</c:v>
                </c:pt>
                <c:pt idx="3857">
                  <c:v>44153</c:v>
                </c:pt>
                <c:pt idx="3858">
                  <c:v>44154</c:v>
                </c:pt>
                <c:pt idx="3859">
                  <c:v>44155</c:v>
                </c:pt>
                <c:pt idx="3860">
                  <c:v>44158</c:v>
                </c:pt>
                <c:pt idx="3861">
                  <c:v>44159</c:v>
                </c:pt>
                <c:pt idx="3862">
                  <c:v>44160</c:v>
                </c:pt>
                <c:pt idx="3863">
                  <c:v>44161</c:v>
                </c:pt>
                <c:pt idx="3864">
                  <c:v>44162</c:v>
                </c:pt>
                <c:pt idx="3865">
                  <c:v>44165</c:v>
                </c:pt>
                <c:pt idx="3866">
                  <c:v>44166</c:v>
                </c:pt>
                <c:pt idx="3867">
                  <c:v>44167</c:v>
                </c:pt>
                <c:pt idx="3868">
                  <c:v>44168</c:v>
                </c:pt>
                <c:pt idx="3869">
                  <c:v>44169</c:v>
                </c:pt>
                <c:pt idx="3870">
                  <c:v>44172</c:v>
                </c:pt>
                <c:pt idx="3871">
                  <c:v>44173</c:v>
                </c:pt>
                <c:pt idx="3872">
                  <c:v>44174</c:v>
                </c:pt>
                <c:pt idx="3873">
                  <c:v>44175</c:v>
                </c:pt>
                <c:pt idx="3874">
                  <c:v>44176</c:v>
                </c:pt>
                <c:pt idx="3875">
                  <c:v>44179</c:v>
                </c:pt>
                <c:pt idx="3876">
                  <c:v>44180</c:v>
                </c:pt>
                <c:pt idx="3877">
                  <c:v>44181</c:v>
                </c:pt>
                <c:pt idx="3878">
                  <c:v>44182</c:v>
                </c:pt>
                <c:pt idx="3879">
                  <c:v>44183</c:v>
                </c:pt>
                <c:pt idx="3880">
                  <c:v>44186</c:v>
                </c:pt>
                <c:pt idx="3881">
                  <c:v>44187</c:v>
                </c:pt>
                <c:pt idx="3882">
                  <c:v>44188</c:v>
                </c:pt>
                <c:pt idx="3883">
                  <c:v>44189</c:v>
                </c:pt>
                <c:pt idx="3884">
                  <c:v>44190</c:v>
                </c:pt>
                <c:pt idx="3885">
                  <c:v>44193</c:v>
                </c:pt>
                <c:pt idx="3886">
                  <c:v>44194</c:v>
                </c:pt>
                <c:pt idx="3887">
                  <c:v>44195</c:v>
                </c:pt>
                <c:pt idx="3888">
                  <c:v>44196</c:v>
                </c:pt>
                <c:pt idx="3889">
                  <c:v>44200</c:v>
                </c:pt>
                <c:pt idx="3890">
                  <c:v>44201</c:v>
                </c:pt>
                <c:pt idx="3891">
                  <c:v>44202</c:v>
                </c:pt>
                <c:pt idx="3892">
                  <c:v>44203</c:v>
                </c:pt>
                <c:pt idx="3893">
                  <c:v>44204</c:v>
                </c:pt>
                <c:pt idx="3894">
                  <c:v>44207</c:v>
                </c:pt>
                <c:pt idx="3895">
                  <c:v>44208</c:v>
                </c:pt>
                <c:pt idx="3896">
                  <c:v>44209</c:v>
                </c:pt>
                <c:pt idx="3897">
                  <c:v>44210</c:v>
                </c:pt>
                <c:pt idx="3898">
                  <c:v>44211</c:v>
                </c:pt>
                <c:pt idx="3899">
                  <c:v>44214</c:v>
                </c:pt>
                <c:pt idx="3900">
                  <c:v>44215</c:v>
                </c:pt>
                <c:pt idx="3901">
                  <c:v>44216</c:v>
                </c:pt>
                <c:pt idx="3902">
                  <c:v>44217</c:v>
                </c:pt>
                <c:pt idx="3903">
                  <c:v>44218</c:v>
                </c:pt>
                <c:pt idx="3904">
                  <c:v>44221</c:v>
                </c:pt>
                <c:pt idx="3905">
                  <c:v>44222</c:v>
                </c:pt>
                <c:pt idx="3906">
                  <c:v>44223</c:v>
                </c:pt>
                <c:pt idx="3907">
                  <c:v>44224</c:v>
                </c:pt>
                <c:pt idx="3908">
                  <c:v>44225</c:v>
                </c:pt>
                <c:pt idx="3909">
                  <c:v>44228</c:v>
                </c:pt>
                <c:pt idx="3910">
                  <c:v>44229</c:v>
                </c:pt>
                <c:pt idx="3911">
                  <c:v>44230</c:v>
                </c:pt>
                <c:pt idx="3912">
                  <c:v>44231</c:v>
                </c:pt>
                <c:pt idx="3913">
                  <c:v>44232</c:v>
                </c:pt>
                <c:pt idx="3914">
                  <c:v>44235</c:v>
                </c:pt>
                <c:pt idx="3915">
                  <c:v>44236</c:v>
                </c:pt>
                <c:pt idx="3916">
                  <c:v>44237</c:v>
                </c:pt>
                <c:pt idx="3917">
                  <c:v>44245</c:v>
                </c:pt>
                <c:pt idx="3918">
                  <c:v>44246</c:v>
                </c:pt>
                <c:pt idx="3919">
                  <c:v>44249</c:v>
                </c:pt>
                <c:pt idx="3920">
                  <c:v>44250</c:v>
                </c:pt>
                <c:pt idx="3921">
                  <c:v>44251</c:v>
                </c:pt>
                <c:pt idx="3922">
                  <c:v>44252</c:v>
                </c:pt>
                <c:pt idx="3923">
                  <c:v>44253</c:v>
                </c:pt>
                <c:pt idx="3924">
                  <c:v>44256</c:v>
                </c:pt>
                <c:pt idx="3925">
                  <c:v>44257</c:v>
                </c:pt>
                <c:pt idx="3926">
                  <c:v>44258</c:v>
                </c:pt>
                <c:pt idx="3927">
                  <c:v>44259</c:v>
                </c:pt>
                <c:pt idx="3928">
                  <c:v>44260</c:v>
                </c:pt>
                <c:pt idx="3929">
                  <c:v>44263</c:v>
                </c:pt>
                <c:pt idx="3930">
                  <c:v>44264</c:v>
                </c:pt>
                <c:pt idx="3931">
                  <c:v>44265</c:v>
                </c:pt>
                <c:pt idx="3932">
                  <c:v>44266</c:v>
                </c:pt>
                <c:pt idx="3933">
                  <c:v>44267</c:v>
                </c:pt>
                <c:pt idx="3934">
                  <c:v>44270</c:v>
                </c:pt>
                <c:pt idx="3935">
                  <c:v>44271</c:v>
                </c:pt>
                <c:pt idx="3936">
                  <c:v>44272</c:v>
                </c:pt>
                <c:pt idx="3937">
                  <c:v>44273</c:v>
                </c:pt>
                <c:pt idx="3938">
                  <c:v>44274</c:v>
                </c:pt>
                <c:pt idx="3939">
                  <c:v>44277</c:v>
                </c:pt>
                <c:pt idx="3940">
                  <c:v>44278</c:v>
                </c:pt>
                <c:pt idx="3941">
                  <c:v>44279</c:v>
                </c:pt>
                <c:pt idx="3942">
                  <c:v>44280</c:v>
                </c:pt>
                <c:pt idx="3943">
                  <c:v>44281</c:v>
                </c:pt>
                <c:pt idx="3944">
                  <c:v>44284</c:v>
                </c:pt>
                <c:pt idx="3945">
                  <c:v>44285</c:v>
                </c:pt>
                <c:pt idx="3946">
                  <c:v>44286</c:v>
                </c:pt>
                <c:pt idx="3947">
                  <c:v>44287</c:v>
                </c:pt>
                <c:pt idx="3948">
                  <c:v>44288</c:v>
                </c:pt>
                <c:pt idx="3949">
                  <c:v>44292</c:v>
                </c:pt>
                <c:pt idx="3950">
                  <c:v>44293</c:v>
                </c:pt>
                <c:pt idx="3951">
                  <c:v>44294</c:v>
                </c:pt>
                <c:pt idx="3952">
                  <c:v>44295</c:v>
                </c:pt>
                <c:pt idx="3953">
                  <c:v>44298</c:v>
                </c:pt>
                <c:pt idx="3954">
                  <c:v>44299</c:v>
                </c:pt>
                <c:pt idx="3955">
                  <c:v>44300</c:v>
                </c:pt>
                <c:pt idx="3956">
                  <c:v>44301</c:v>
                </c:pt>
                <c:pt idx="3957">
                  <c:v>44302</c:v>
                </c:pt>
                <c:pt idx="3958">
                  <c:v>44305</c:v>
                </c:pt>
                <c:pt idx="3959">
                  <c:v>44306</c:v>
                </c:pt>
                <c:pt idx="3960">
                  <c:v>44307</c:v>
                </c:pt>
                <c:pt idx="3961">
                  <c:v>44308</c:v>
                </c:pt>
                <c:pt idx="3962">
                  <c:v>44309</c:v>
                </c:pt>
                <c:pt idx="3963">
                  <c:v>44312</c:v>
                </c:pt>
                <c:pt idx="3964">
                  <c:v>44313</c:v>
                </c:pt>
                <c:pt idx="3965">
                  <c:v>44314</c:v>
                </c:pt>
                <c:pt idx="3966">
                  <c:v>44315</c:v>
                </c:pt>
                <c:pt idx="3967">
                  <c:v>44316</c:v>
                </c:pt>
                <c:pt idx="3968">
                  <c:v>44322</c:v>
                </c:pt>
                <c:pt idx="3969">
                  <c:v>44323</c:v>
                </c:pt>
                <c:pt idx="3970">
                  <c:v>44326</c:v>
                </c:pt>
                <c:pt idx="3971">
                  <c:v>44327</c:v>
                </c:pt>
                <c:pt idx="3972">
                  <c:v>44328</c:v>
                </c:pt>
                <c:pt idx="3973">
                  <c:v>44329</c:v>
                </c:pt>
                <c:pt idx="3974">
                  <c:v>44330</c:v>
                </c:pt>
                <c:pt idx="3975">
                  <c:v>44333</c:v>
                </c:pt>
                <c:pt idx="3976">
                  <c:v>44334</c:v>
                </c:pt>
                <c:pt idx="3977">
                  <c:v>44335</c:v>
                </c:pt>
                <c:pt idx="3978">
                  <c:v>44336</c:v>
                </c:pt>
                <c:pt idx="3979">
                  <c:v>44337</c:v>
                </c:pt>
                <c:pt idx="3980">
                  <c:v>44340</c:v>
                </c:pt>
                <c:pt idx="3981">
                  <c:v>44341</c:v>
                </c:pt>
                <c:pt idx="3982">
                  <c:v>44342</c:v>
                </c:pt>
                <c:pt idx="3983">
                  <c:v>44343</c:v>
                </c:pt>
                <c:pt idx="3984">
                  <c:v>44344</c:v>
                </c:pt>
                <c:pt idx="3985">
                  <c:v>44347</c:v>
                </c:pt>
                <c:pt idx="3986">
                  <c:v>44348</c:v>
                </c:pt>
                <c:pt idx="3987">
                  <c:v>44349</c:v>
                </c:pt>
                <c:pt idx="3988">
                  <c:v>44350</c:v>
                </c:pt>
                <c:pt idx="3989">
                  <c:v>44351</c:v>
                </c:pt>
                <c:pt idx="3990">
                  <c:v>44354</c:v>
                </c:pt>
                <c:pt idx="3991">
                  <c:v>44355</c:v>
                </c:pt>
                <c:pt idx="3992">
                  <c:v>44356</c:v>
                </c:pt>
                <c:pt idx="3993">
                  <c:v>44357</c:v>
                </c:pt>
                <c:pt idx="3994">
                  <c:v>44358</c:v>
                </c:pt>
                <c:pt idx="3995">
                  <c:v>44362</c:v>
                </c:pt>
                <c:pt idx="3996">
                  <c:v>44363</c:v>
                </c:pt>
                <c:pt idx="3997">
                  <c:v>44364</c:v>
                </c:pt>
                <c:pt idx="3998">
                  <c:v>44365</c:v>
                </c:pt>
                <c:pt idx="3999">
                  <c:v>44368</c:v>
                </c:pt>
                <c:pt idx="4000">
                  <c:v>44369</c:v>
                </c:pt>
                <c:pt idx="4001">
                  <c:v>44370</c:v>
                </c:pt>
                <c:pt idx="4002">
                  <c:v>44371</c:v>
                </c:pt>
                <c:pt idx="4003">
                  <c:v>44372</c:v>
                </c:pt>
                <c:pt idx="4004">
                  <c:v>44375</c:v>
                </c:pt>
                <c:pt idx="4005">
                  <c:v>44376</c:v>
                </c:pt>
                <c:pt idx="4006">
                  <c:v>44377</c:v>
                </c:pt>
                <c:pt idx="4007">
                  <c:v>44378</c:v>
                </c:pt>
                <c:pt idx="4008">
                  <c:v>44379</c:v>
                </c:pt>
                <c:pt idx="4009">
                  <c:v>44382</c:v>
                </c:pt>
                <c:pt idx="4010">
                  <c:v>44383</c:v>
                </c:pt>
                <c:pt idx="4011">
                  <c:v>44384</c:v>
                </c:pt>
                <c:pt idx="4012">
                  <c:v>44385</c:v>
                </c:pt>
                <c:pt idx="4013">
                  <c:v>44386</c:v>
                </c:pt>
                <c:pt idx="4014">
                  <c:v>44389</c:v>
                </c:pt>
                <c:pt idx="4015">
                  <c:v>44390</c:v>
                </c:pt>
                <c:pt idx="4016">
                  <c:v>44391</c:v>
                </c:pt>
                <c:pt idx="4017">
                  <c:v>44392</c:v>
                </c:pt>
                <c:pt idx="4018">
                  <c:v>44393</c:v>
                </c:pt>
                <c:pt idx="4019">
                  <c:v>44396</c:v>
                </c:pt>
                <c:pt idx="4020">
                  <c:v>44397</c:v>
                </c:pt>
                <c:pt idx="4021">
                  <c:v>44398</c:v>
                </c:pt>
                <c:pt idx="4022">
                  <c:v>44399</c:v>
                </c:pt>
                <c:pt idx="4023">
                  <c:v>44400</c:v>
                </c:pt>
                <c:pt idx="4024">
                  <c:v>44403</c:v>
                </c:pt>
                <c:pt idx="4025">
                  <c:v>44404</c:v>
                </c:pt>
                <c:pt idx="4026">
                  <c:v>44405</c:v>
                </c:pt>
                <c:pt idx="4027">
                  <c:v>44406</c:v>
                </c:pt>
                <c:pt idx="4028">
                  <c:v>44407</c:v>
                </c:pt>
                <c:pt idx="4029">
                  <c:v>44410</c:v>
                </c:pt>
                <c:pt idx="4030">
                  <c:v>44411</c:v>
                </c:pt>
                <c:pt idx="4031">
                  <c:v>44412</c:v>
                </c:pt>
                <c:pt idx="4032">
                  <c:v>44413</c:v>
                </c:pt>
                <c:pt idx="4033">
                  <c:v>44414</c:v>
                </c:pt>
                <c:pt idx="4034">
                  <c:v>44417</c:v>
                </c:pt>
                <c:pt idx="4035">
                  <c:v>44418</c:v>
                </c:pt>
                <c:pt idx="4036">
                  <c:v>44419</c:v>
                </c:pt>
                <c:pt idx="4037">
                  <c:v>44420</c:v>
                </c:pt>
                <c:pt idx="4038">
                  <c:v>44421</c:v>
                </c:pt>
                <c:pt idx="4039">
                  <c:v>44424</c:v>
                </c:pt>
                <c:pt idx="4040">
                  <c:v>44425</c:v>
                </c:pt>
                <c:pt idx="4041">
                  <c:v>44426</c:v>
                </c:pt>
                <c:pt idx="4042">
                  <c:v>44427</c:v>
                </c:pt>
                <c:pt idx="4043">
                  <c:v>44428</c:v>
                </c:pt>
                <c:pt idx="4044">
                  <c:v>44431</c:v>
                </c:pt>
                <c:pt idx="4045">
                  <c:v>44432</c:v>
                </c:pt>
                <c:pt idx="4046">
                  <c:v>44433</c:v>
                </c:pt>
                <c:pt idx="4047">
                  <c:v>44434</c:v>
                </c:pt>
                <c:pt idx="4048">
                  <c:v>44435</c:v>
                </c:pt>
                <c:pt idx="4049">
                  <c:v>44438</c:v>
                </c:pt>
                <c:pt idx="4050">
                  <c:v>44439</c:v>
                </c:pt>
                <c:pt idx="4051">
                  <c:v>44440</c:v>
                </c:pt>
                <c:pt idx="4052">
                  <c:v>44441</c:v>
                </c:pt>
                <c:pt idx="4053">
                  <c:v>44442</c:v>
                </c:pt>
                <c:pt idx="4054">
                  <c:v>44445</c:v>
                </c:pt>
                <c:pt idx="4055">
                  <c:v>44446</c:v>
                </c:pt>
                <c:pt idx="4056">
                  <c:v>44447</c:v>
                </c:pt>
                <c:pt idx="4057">
                  <c:v>44448</c:v>
                </c:pt>
                <c:pt idx="4058">
                  <c:v>44449</c:v>
                </c:pt>
                <c:pt idx="4059">
                  <c:v>44452</c:v>
                </c:pt>
                <c:pt idx="4060">
                  <c:v>44453</c:v>
                </c:pt>
                <c:pt idx="4061">
                  <c:v>44454</c:v>
                </c:pt>
                <c:pt idx="4062">
                  <c:v>44455</c:v>
                </c:pt>
                <c:pt idx="4063">
                  <c:v>44456</c:v>
                </c:pt>
                <c:pt idx="4064">
                  <c:v>44461</c:v>
                </c:pt>
                <c:pt idx="4065">
                  <c:v>44462</c:v>
                </c:pt>
                <c:pt idx="4066">
                  <c:v>44463</c:v>
                </c:pt>
                <c:pt idx="4067">
                  <c:v>44466</c:v>
                </c:pt>
                <c:pt idx="4068">
                  <c:v>44467</c:v>
                </c:pt>
                <c:pt idx="4069">
                  <c:v>44468</c:v>
                </c:pt>
                <c:pt idx="4070">
                  <c:v>44469</c:v>
                </c:pt>
                <c:pt idx="4071">
                  <c:v>44477</c:v>
                </c:pt>
                <c:pt idx="4072">
                  <c:v>44480</c:v>
                </c:pt>
                <c:pt idx="4073">
                  <c:v>44481</c:v>
                </c:pt>
                <c:pt idx="4074">
                  <c:v>44482</c:v>
                </c:pt>
                <c:pt idx="4075">
                  <c:v>44483</c:v>
                </c:pt>
                <c:pt idx="4076">
                  <c:v>44484</c:v>
                </c:pt>
                <c:pt idx="4077">
                  <c:v>44487</c:v>
                </c:pt>
                <c:pt idx="4078">
                  <c:v>44488</c:v>
                </c:pt>
                <c:pt idx="4079">
                  <c:v>44489</c:v>
                </c:pt>
                <c:pt idx="4080">
                  <c:v>44490</c:v>
                </c:pt>
                <c:pt idx="4081">
                  <c:v>44491</c:v>
                </c:pt>
                <c:pt idx="4082">
                  <c:v>44494</c:v>
                </c:pt>
                <c:pt idx="4083">
                  <c:v>44495</c:v>
                </c:pt>
                <c:pt idx="4084">
                  <c:v>44496</c:v>
                </c:pt>
                <c:pt idx="4085">
                  <c:v>44497</c:v>
                </c:pt>
                <c:pt idx="4086">
                  <c:v>44498</c:v>
                </c:pt>
                <c:pt idx="4087">
                  <c:v>44501</c:v>
                </c:pt>
                <c:pt idx="4088">
                  <c:v>44502</c:v>
                </c:pt>
                <c:pt idx="4089">
                  <c:v>44503</c:v>
                </c:pt>
                <c:pt idx="4090">
                  <c:v>44504</c:v>
                </c:pt>
                <c:pt idx="4091">
                  <c:v>44505</c:v>
                </c:pt>
                <c:pt idx="4092">
                  <c:v>44508</c:v>
                </c:pt>
                <c:pt idx="4093">
                  <c:v>44509</c:v>
                </c:pt>
                <c:pt idx="4094">
                  <c:v>44510</c:v>
                </c:pt>
                <c:pt idx="4095">
                  <c:v>44511</c:v>
                </c:pt>
                <c:pt idx="4096">
                  <c:v>44512</c:v>
                </c:pt>
                <c:pt idx="4097">
                  <c:v>44515</c:v>
                </c:pt>
                <c:pt idx="4098">
                  <c:v>44516</c:v>
                </c:pt>
                <c:pt idx="4099">
                  <c:v>44517</c:v>
                </c:pt>
                <c:pt idx="4100">
                  <c:v>44518</c:v>
                </c:pt>
                <c:pt idx="4101">
                  <c:v>44519</c:v>
                </c:pt>
                <c:pt idx="4102">
                  <c:v>44522</c:v>
                </c:pt>
                <c:pt idx="4103">
                  <c:v>44523</c:v>
                </c:pt>
                <c:pt idx="4104">
                  <c:v>44524</c:v>
                </c:pt>
                <c:pt idx="4105">
                  <c:v>44525</c:v>
                </c:pt>
                <c:pt idx="4106">
                  <c:v>44526</c:v>
                </c:pt>
                <c:pt idx="4107">
                  <c:v>44529</c:v>
                </c:pt>
                <c:pt idx="4108">
                  <c:v>44530</c:v>
                </c:pt>
                <c:pt idx="4109">
                  <c:v>44531</c:v>
                </c:pt>
                <c:pt idx="4110">
                  <c:v>44532</c:v>
                </c:pt>
                <c:pt idx="4111">
                  <c:v>44533</c:v>
                </c:pt>
                <c:pt idx="4112">
                  <c:v>44536</c:v>
                </c:pt>
                <c:pt idx="4113">
                  <c:v>44537</c:v>
                </c:pt>
                <c:pt idx="4114">
                  <c:v>44538</c:v>
                </c:pt>
                <c:pt idx="4115">
                  <c:v>44539</c:v>
                </c:pt>
                <c:pt idx="4116">
                  <c:v>44540</c:v>
                </c:pt>
                <c:pt idx="4117">
                  <c:v>44543</c:v>
                </c:pt>
                <c:pt idx="4118">
                  <c:v>44544</c:v>
                </c:pt>
                <c:pt idx="4119">
                  <c:v>44545</c:v>
                </c:pt>
                <c:pt idx="4120">
                  <c:v>44546</c:v>
                </c:pt>
                <c:pt idx="4121">
                  <c:v>44547</c:v>
                </c:pt>
                <c:pt idx="4122">
                  <c:v>44550</c:v>
                </c:pt>
                <c:pt idx="4123">
                  <c:v>44551</c:v>
                </c:pt>
                <c:pt idx="4124">
                  <c:v>44552</c:v>
                </c:pt>
                <c:pt idx="4125">
                  <c:v>44553</c:v>
                </c:pt>
                <c:pt idx="4126">
                  <c:v>44554</c:v>
                </c:pt>
                <c:pt idx="4127">
                  <c:v>44557</c:v>
                </c:pt>
                <c:pt idx="4128">
                  <c:v>44558</c:v>
                </c:pt>
                <c:pt idx="4129">
                  <c:v>44559</c:v>
                </c:pt>
                <c:pt idx="4130">
                  <c:v>44560</c:v>
                </c:pt>
                <c:pt idx="4131">
                  <c:v>44561</c:v>
                </c:pt>
                <c:pt idx="4132">
                  <c:v>44565</c:v>
                </c:pt>
                <c:pt idx="4133">
                  <c:v>44566</c:v>
                </c:pt>
                <c:pt idx="4134">
                  <c:v>44567</c:v>
                </c:pt>
                <c:pt idx="4135">
                  <c:v>44568</c:v>
                </c:pt>
                <c:pt idx="4136">
                  <c:v>44571</c:v>
                </c:pt>
                <c:pt idx="4137">
                  <c:v>44572</c:v>
                </c:pt>
                <c:pt idx="4138">
                  <c:v>44573</c:v>
                </c:pt>
                <c:pt idx="4139">
                  <c:v>44574</c:v>
                </c:pt>
                <c:pt idx="4140">
                  <c:v>44575</c:v>
                </c:pt>
                <c:pt idx="4141">
                  <c:v>44578</c:v>
                </c:pt>
                <c:pt idx="4142">
                  <c:v>44579</c:v>
                </c:pt>
                <c:pt idx="4143">
                  <c:v>44580</c:v>
                </c:pt>
                <c:pt idx="4144">
                  <c:v>44581</c:v>
                </c:pt>
                <c:pt idx="4145">
                  <c:v>44582</c:v>
                </c:pt>
                <c:pt idx="4146">
                  <c:v>44585</c:v>
                </c:pt>
                <c:pt idx="4147">
                  <c:v>44586</c:v>
                </c:pt>
                <c:pt idx="4148">
                  <c:v>44587</c:v>
                </c:pt>
                <c:pt idx="4149">
                  <c:v>44588</c:v>
                </c:pt>
                <c:pt idx="4150">
                  <c:v>44589</c:v>
                </c:pt>
                <c:pt idx="4151">
                  <c:v>44599</c:v>
                </c:pt>
                <c:pt idx="4152">
                  <c:v>44600</c:v>
                </c:pt>
                <c:pt idx="4153">
                  <c:v>44601</c:v>
                </c:pt>
                <c:pt idx="4154">
                  <c:v>44602</c:v>
                </c:pt>
                <c:pt idx="4155">
                  <c:v>44603</c:v>
                </c:pt>
                <c:pt idx="4156">
                  <c:v>44606</c:v>
                </c:pt>
                <c:pt idx="4157">
                  <c:v>44607</c:v>
                </c:pt>
                <c:pt idx="4158">
                  <c:v>44608</c:v>
                </c:pt>
                <c:pt idx="4159">
                  <c:v>44609</c:v>
                </c:pt>
                <c:pt idx="4160">
                  <c:v>44610</c:v>
                </c:pt>
                <c:pt idx="4161">
                  <c:v>44613</c:v>
                </c:pt>
                <c:pt idx="4162">
                  <c:v>44614</c:v>
                </c:pt>
                <c:pt idx="4163">
                  <c:v>44615</c:v>
                </c:pt>
                <c:pt idx="4164">
                  <c:v>44616</c:v>
                </c:pt>
                <c:pt idx="4165">
                  <c:v>44617</c:v>
                </c:pt>
                <c:pt idx="4166">
                  <c:v>44620</c:v>
                </c:pt>
                <c:pt idx="4167">
                  <c:v>44621</c:v>
                </c:pt>
                <c:pt idx="4168">
                  <c:v>44622</c:v>
                </c:pt>
                <c:pt idx="4169">
                  <c:v>44623</c:v>
                </c:pt>
                <c:pt idx="4170">
                  <c:v>44624</c:v>
                </c:pt>
                <c:pt idx="4171">
                  <c:v>44627</c:v>
                </c:pt>
                <c:pt idx="4172">
                  <c:v>44628</c:v>
                </c:pt>
                <c:pt idx="4173">
                  <c:v>44629</c:v>
                </c:pt>
                <c:pt idx="4174">
                  <c:v>44630</c:v>
                </c:pt>
                <c:pt idx="4175">
                  <c:v>44631</c:v>
                </c:pt>
                <c:pt idx="4176">
                  <c:v>44634</c:v>
                </c:pt>
                <c:pt idx="4177">
                  <c:v>44635</c:v>
                </c:pt>
                <c:pt idx="4178">
                  <c:v>44636</c:v>
                </c:pt>
                <c:pt idx="4179">
                  <c:v>44637</c:v>
                </c:pt>
                <c:pt idx="4180">
                  <c:v>44638</c:v>
                </c:pt>
                <c:pt idx="4181">
                  <c:v>44641</c:v>
                </c:pt>
                <c:pt idx="4182">
                  <c:v>44642</c:v>
                </c:pt>
                <c:pt idx="4183">
                  <c:v>44643</c:v>
                </c:pt>
                <c:pt idx="4184">
                  <c:v>44644</c:v>
                </c:pt>
                <c:pt idx="4185">
                  <c:v>44645</c:v>
                </c:pt>
                <c:pt idx="4186">
                  <c:v>44648</c:v>
                </c:pt>
                <c:pt idx="4187">
                  <c:v>44649</c:v>
                </c:pt>
                <c:pt idx="4188">
                  <c:v>44650</c:v>
                </c:pt>
                <c:pt idx="4189">
                  <c:v>44651</c:v>
                </c:pt>
                <c:pt idx="4190">
                  <c:v>44652</c:v>
                </c:pt>
                <c:pt idx="4191">
                  <c:v>44657</c:v>
                </c:pt>
                <c:pt idx="4192">
                  <c:v>44658</c:v>
                </c:pt>
                <c:pt idx="4193">
                  <c:v>44659</c:v>
                </c:pt>
                <c:pt idx="4194">
                  <c:v>44662</c:v>
                </c:pt>
                <c:pt idx="4195">
                  <c:v>44663</c:v>
                </c:pt>
                <c:pt idx="4196">
                  <c:v>44664</c:v>
                </c:pt>
                <c:pt idx="4197">
                  <c:v>44665</c:v>
                </c:pt>
                <c:pt idx="4198">
                  <c:v>44666</c:v>
                </c:pt>
                <c:pt idx="4199">
                  <c:v>44669</c:v>
                </c:pt>
              </c:numCache>
            </c:numRef>
          </c:cat>
          <c:val>
            <c:numRef>
              <c:f>turnover!$B$2:$B$4201</c:f>
              <c:numCache>
                <c:formatCode>General</c:formatCode>
                <c:ptCount val="4200"/>
                <c:pt idx="0">
                  <c:v>6.89414E-3</c:v>
                </c:pt>
                <c:pt idx="1">
                  <c:v>6.8603550000000003E-3</c:v>
                </c:pt>
                <c:pt idx="2">
                  <c:v>6.2965319999999997E-3</c:v>
                </c:pt>
                <c:pt idx="3">
                  <c:v>6.0874620000000001E-3</c:v>
                </c:pt>
                <c:pt idx="4">
                  <c:v>5.2631370000000002E-3</c:v>
                </c:pt>
                <c:pt idx="5">
                  <c:v>4.7908899999999999E-3</c:v>
                </c:pt>
                <c:pt idx="6">
                  <c:v>3.9435479999999998E-3</c:v>
                </c:pt>
                <c:pt idx="7">
                  <c:v>5.327666E-3</c:v>
                </c:pt>
                <c:pt idx="8">
                  <c:v>9.2718430000000001E-3</c:v>
                </c:pt>
                <c:pt idx="9">
                  <c:v>7.8935849999999998E-3</c:v>
                </c:pt>
                <c:pt idx="10">
                  <c:v>8.915905E-3</c:v>
                </c:pt>
                <c:pt idx="11">
                  <c:v>8.2673829999999997E-3</c:v>
                </c:pt>
                <c:pt idx="12">
                  <c:v>9.1011400000000006E-3</c:v>
                </c:pt>
                <c:pt idx="13">
                  <c:v>1.7351489000000001E-2</c:v>
                </c:pt>
                <c:pt idx="14">
                  <c:v>1.5821157999999998E-2</c:v>
                </c:pt>
                <c:pt idx="15">
                  <c:v>9.7384670000000007E-3</c:v>
                </c:pt>
                <c:pt idx="16">
                  <c:v>7.9358299999999996E-3</c:v>
                </c:pt>
                <c:pt idx="17">
                  <c:v>7.7114330000000002E-3</c:v>
                </c:pt>
                <c:pt idx="18">
                  <c:v>5.6159920000000002E-3</c:v>
                </c:pt>
                <c:pt idx="19">
                  <c:v>6.4268240000000003E-3</c:v>
                </c:pt>
                <c:pt idx="20">
                  <c:v>6.0245639999999996E-3</c:v>
                </c:pt>
                <c:pt idx="21">
                  <c:v>1.7662562E-2</c:v>
                </c:pt>
                <c:pt idx="22">
                  <c:v>1.7296414999999999E-2</c:v>
                </c:pt>
                <c:pt idx="23">
                  <c:v>1.7658145E-2</c:v>
                </c:pt>
                <c:pt idx="24">
                  <c:v>1.1915474000000001E-2</c:v>
                </c:pt>
                <c:pt idx="25">
                  <c:v>8.7497849999999995E-3</c:v>
                </c:pt>
                <c:pt idx="26">
                  <c:v>7.7422120000000001E-3</c:v>
                </c:pt>
                <c:pt idx="27">
                  <c:v>1.0057557999999999E-2</c:v>
                </c:pt>
                <c:pt idx="28">
                  <c:v>1.6599468999999999E-2</c:v>
                </c:pt>
                <c:pt idx="29">
                  <c:v>1.626795E-2</c:v>
                </c:pt>
                <c:pt idx="30">
                  <c:v>1.2272533E-2</c:v>
                </c:pt>
                <c:pt idx="31">
                  <c:v>1.559746E-2</c:v>
                </c:pt>
                <c:pt idx="32">
                  <c:v>1.3148254E-2</c:v>
                </c:pt>
                <c:pt idx="33">
                  <c:v>8.3072830000000004E-3</c:v>
                </c:pt>
                <c:pt idx="34">
                  <c:v>1.2548703E-2</c:v>
                </c:pt>
                <c:pt idx="35">
                  <c:v>7.4322499999999996E-3</c:v>
                </c:pt>
                <c:pt idx="36">
                  <c:v>7.3717210000000003E-3</c:v>
                </c:pt>
                <c:pt idx="37">
                  <c:v>7.287829E-3</c:v>
                </c:pt>
                <c:pt idx="38">
                  <c:v>1.307346E-2</c:v>
                </c:pt>
                <c:pt idx="39">
                  <c:v>1.7609673999999999E-2</c:v>
                </c:pt>
                <c:pt idx="40">
                  <c:v>1.4841214E-2</c:v>
                </c:pt>
                <c:pt idx="41">
                  <c:v>1.0252048999999999E-2</c:v>
                </c:pt>
                <c:pt idx="42">
                  <c:v>1.3714148000000001E-2</c:v>
                </c:pt>
                <c:pt idx="43">
                  <c:v>1.1104329E-2</c:v>
                </c:pt>
                <c:pt idx="44">
                  <c:v>9.0336119999999999E-3</c:v>
                </c:pt>
                <c:pt idx="45">
                  <c:v>9.0866230000000003E-3</c:v>
                </c:pt>
                <c:pt idx="46">
                  <c:v>7.8608910000000001E-3</c:v>
                </c:pt>
                <c:pt idx="47">
                  <c:v>6.1126540000000004E-3</c:v>
                </c:pt>
                <c:pt idx="48">
                  <c:v>1.0343556E-2</c:v>
                </c:pt>
                <c:pt idx="49">
                  <c:v>9.7274059999999992E-3</c:v>
                </c:pt>
                <c:pt idx="50">
                  <c:v>8.6002849999999992E-3</c:v>
                </c:pt>
                <c:pt idx="51">
                  <c:v>6.276266E-3</c:v>
                </c:pt>
                <c:pt idx="52">
                  <c:v>5.2644270000000003E-3</c:v>
                </c:pt>
                <c:pt idx="53">
                  <c:v>5.5656330000000004E-3</c:v>
                </c:pt>
                <c:pt idx="54">
                  <c:v>7.6696029999999997E-3</c:v>
                </c:pt>
                <c:pt idx="55">
                  <c:v>7.1511099999999996E-3</c:v>
                </c:pt>
                <c:pt idx="56">
                  <c:v>1.5554350999999999E-2</c:v>
                </c:pt>
                <c:pt idx="57">
                  <c:v>9.742522E-3</c:v>
                </c:pt>
                <c:pt idx="58">
                  <c:v>8.1303769999999994E-3</c:v>
                </c:pt>
                <c:pt idx="59">
                  <c:v>1.1587523000000001E-2</c:v>
                </c:pt>
                <c:pt idx="60">
                  <c:v>1.8885144E-2</c:v>
                </c:pt>
                <c:pt idx="61">
                  <c:v>1.2756884E-2</c:v>
                </c:pt>
                <c:pt idx="62">
                  <c:v>1.4670887000000001E-2</c:v>
                </c:pt>
                <c:pt idx="63">
                  <c:v>8.6528579999999994E-3</c:v>
                </c:pt>
                <c:pt idx="64">
                  <c:v>1.4084473E-2</c:v>
                </c:pt>
                <c:pt idx="65">
                  <c:v>1.1267077E-2</c:v>
                </c:pt>
                <c:pt idx="66">
                  <c:v>9.4512169999999996E-3</c:v>
                </c:pt>
                <c:pt idx="67">
                  <c:v>8.2306700000000007E-3</c:v>
                </c:pt>
                <c:pt idx="68">
                  <c:v>9.8518519999999995E-3</c:v>
                </c:pt>
                <c:pt idx="69">
                  <c:v>7.4896019999999997E-3</c:v>
                </c:pt>
                <c:pt idx="70">
                  <c:v>8.3951549999999996E-3</c:v>
                </c:pt>
                <c:pt idx="71">
                  <c:v>9.4385440000000001E-3</c:v>
                </c:pt>
                <c:pt idx="72">
                  <c:v>1.0065248000000001E-2</c:v>
                </c:pt>
                <c:pt idx="73">
                  <c:v>9.8408130000000003E-3</c:v>
                </c:pt>
                <c:pt idx="74">
                  <c:v>1.0615128999999999E-2</c:v>
                </c:pt>
                <c:pt idx="75">
                  <c:v>1.3882413999999999E-2</c:v>
                </c:pt>
                <c:pt idx="76">
                  <c:v>1.0990394000000001E-2</c:v>
                </c:pt>
                <c:pt idx="77">
                  <c:v>7.6656040000000003E-3</c:v>
                </c:pt>
                <c:pt idx="78">
                  <c:v>9.9358329999999998E-3</c:v>
                </c:pt>
                <c:pt idx="79">
                  <c:v>7.5287740000000002E-3</c:v>
                </c:pt>
                <c:pt idx="80">
                  <c:v>1.0328086E-2</c:v>
                </c:pt>
                <c:pt idx="81">
                  <c:v>9.4976339999999996E-3</c:v>
                </c:pt>
                <c:pt idx="82">
                  <c:v>6.550976E-3</c:v>
                </c:pt>
                <c:pt idx="83">
                  <c:v>7.9804869999999997E-3</c:v>
                </c:pt>
                <c:pt idx="84">
                  <c:v>7.3680560000000004E-3</c:v>
                </c:pt>
                <c:pt idx="85">
                  <c:v>7.7224650000000004E-3</c:v>
                </c:pt>
                <c:pt idx="86">
                  <c:v>6.0882489999999996E-3</c:v>
                </c:pt>
                <c:pt idx="87">
                  <c:v>6.1982900000000004E-3</c:v>
                </c:pt>
                <c:pt idx="88">
                  <c:v>8.335772E-3</c:v>
                </c:pt>
                <c:pt idx="89">
                  <c:v>6.6563890000000004E-3</c:v>
                </c:pt>
                <c:pt idx="90">
                  <c:v>5.4299810000000004E-3</c:v>
                </c:pt>
                <c:pt idx="91">
                  <c:v>7.639453E-3</c:v>
                </c:pt>
                <c:pt idx="92">
                  <c:v>5.7965270000000001E-3</c:v>
                </c:pt>
                <c:pt idx="93">
                  <c:v>6.9560560000000004E-3</c:v>
                </c:pt>
                <c:pt idx="94">
                  <c:v>6.4345339999999996E-3</c:v>
                </c:pt>
                <c:pt idx="95">
                  <c:v>9.1939269999999993E-3</c:v>
                </c:pt>
                <c:pt idx="96">
                  <c:v>7.9843910000000004E-3</c:v>
                </c:pt>
                <c:pt idx="97">
                  <c:v>8.2557410000000005E-3</c:v>
                </c:pt>
                <c:pt idx="98">
                  <c:v>1.0841442999999999E-2</c:v>
                </c:pt>
                <c:pt idx="99">
                  <c:v>3.1452807999999999E-2</c:v>
                </c:pt>
                <c:pt idx="100">
                  <c:v>2.833521E-2</c:v>
                </c:pt>
                <c:pt idx="101">
                  <c:v>2.2530834999999999E-2</c:v>
                </c:pt>
                <c:pt idx="102">
                  <c:v>1.5049907E-2</c:v>
                </c:pt>
                <c:pt idx="103">
                  <c:v>1.4161843E-2</c:v>
                </c:pt>
                <c:pt idx="104">
                  <c:v>1.0196462999999999E-2</c:v>
                </c:pt>
                <c:pt idx="105">
                  <c:v>1.1332978E-2</c:v>
                </c:pt>
                <c:pt idx="106">
                  <c:v>1.3215596E-2</c:v>
                </c:pt>
                <c:pt idx="107">
                  <c:v>1.7636190999999999E-2</c:v>
                </c:pt>
                <c:pt idx="108">
                  <c:v>1.1050628999999999E-2</c:v>
                </c:pt>
                <c:pt idx="109">
                  <c:v>9.3145980000000003E-3</c:v>
                </c:pt>
                <c:pt idx="110">
                  <c:v>7.7939960000000001E-3</c:v>
                </c:pt>
                <c:pt idx="111">
                  <c:v>8.9937950000000006E-3</c:v>
                </c:pt>
                <c:pt idx="112">
                  <c:v>1.4990755999999999E-2</c:v>
                </c:pt>
                <c:pt idx="113">
                  <c:v>9.4022180000000004E-3</c:v>
                </c:pt>
                <c:pt idx="114">
                  <c:v>1.211014E-2</c:v>
                </c:pt>
                <c:pt idx="115">
                  <c:v>9.4553120000000004E-3</c:v>
                </c:pt>
                <c:pt idx="116">
                  <c:v>8.6693959999999994E-3</c:v>
                </c:pt>
                <c:pt idx="117">
                  <c:v>8.0346010000000006E-3</c:v>
                </c:pt>
                <c:pt idx="118">
                  <c:v>8.8337420000000003E-3</c:v>
                </c:pt>
                <c:pt idx="119">
                  <c:v>6.7780430000000001E-3</c:v>
                </c:pt>
                <c:pt idx="120">
                  <c:v>6.0484099999999997E-3</c:v>
                </c:pt>
                <c:pt idx="121">
                  <c:v>6.7251059999999998E-3</c:v>
                </c:pt>
                <c:pt idx="122">
                  <c:v>7.8730680000000004E-3</c:v>
                </c:pt>
                <c:pt idx="123">
                  <c:v>1.6289764000000002E-2</c:v>
                </c:pt>
                <c:pt idx="124">
                  <c:v>9.0704199999999992E-3</c:v>
                </c:pt>
                <c:pt idx="125">
                  <c:v>9.1040789999999993E-3</c:v>
                </c:pt>
                <c:pt idx="126">
                  <c:v>7.953501E-3</c:v>
                </c:pt>
                <c:pt idx="127">
                  <c:v>7.1506449999999997E-3</c:v>
                </c:pt>
                <c:pt idx="128">
                  <c:v>6.9898670000000003E-3</c:v>
                </c:pt>
                <c:pt idx="129">
                  <c:v>8.7266099999999992E-3</c:v>
                </c:pt>
                <c:pt idx="130">
                  <c:v>7.5116769999999996E-3</c:v>
                </c:pt>
                <c:pt idx="131">
                  <c:v>2.357213E-2</c:v>
                </c:pt>
                <c:pt idx="132">
                  <c:v>1.0847051E-2</c:v>
                </c:pt>
                <c:pt idx="133">
                  <c:v>2.1811268000000002E-2</c:v>
                </c:pt>
                <c:pt idx="134">
                  <c:v>1.5871923999999999E-2</c:v>
                </c:pt>
                <c:pt idx="135">
                  <c:v>1.6359775999999999E-2</c:v>
                </c:pt>
                <c:pt idx="136">
                  <c:v>1.0205807000000001E-2</c:v>
                </c:pt>
                <c:pt idx="137">
                  <c:v>9.5283529999999998E-3</c:v>
                </c:pt>
                <c:pt idx="138">
                  <c:v>1.0188974999999999E-2</c:v>
                </c:pt>
                <c:pt idx="139">
                  <c:v>1.8302536000000001E-2</c:v>
                </c:pt>
                <c:pt idx="140">
                  <c:v>1.0661001999999999E-2</c:v>
                </c:pt>
                <c:pt idx="141">
                  <c:v>1.6777340000000002E-2</c:v>
                </c:pt>
                <c:pt idx="142">
                  <c:v>1.6518044999999999E-2</c:v>
                </c:pt>
                <c:pt idx="143">
                  <c:v>1.5009489000000001E-2</c:v>
                </c:pt>
                <c:pt idx="144">
                  <c:v>1.8306981E-2</c:v>
                </c:pt>
                <c:pt idx="145">
                  <c:v>2.2670009000000001E-2</c:v>
                </c:pt>
                <c:pt idx="146">
                  <c:v>2.5495641999999999E-2</c:v>
                </c:pt>
                <c:pt idx="147">
                  <c:v>2.4240780999999999E-2</c:v>
                </c:pt>
                <c:pt idx="148">
                  <c:v>1.9737284000000001E-2</c:v>
                </c:pt>
                <c:pt idx="149">
                  <c:v>1.6887577000000001E-2</c:v>
                </c:pt>
                <c:pt idx="150">
                  <c:v>3.3281448999999998E-2</c:v>
                </c:pt>
                <c:pt idx="151">
                  <c:v>1.8666131999999998E-2</c:v>
                </c:pt>
                <c:pt idx="152">
                  <c:v>1.4131194E-2</c:v>
                </c:pt>
                <c:pt idx="153">
                  <c:v>1.3059741999999999E-2</c:v>
                </c:pt>
                <c:pt idx="154">
                  <c:v>1.4165931E-2</c:v>
                </c:pt>
                <c:pt idx="155">
                  <c:v>1.2185229000000001E-2</c:v>
                </c:pt>
                <c:pt idx="156">
                  <c:v>1.3322367E-2</c:v>
                </c:pt>
                <c:pt idx="157">
                  <c:v>1.3263415000000001E-2</c:v>
                </c:pt>
                <c:pt idx="158">
                  <c:v>9.9373120000000002E-3</c:v>
                </c:pt>
                <c:pt idx="159">
                  <c:v>1.1170978999999999E-2</c:v>
                </c:pt>
                <c:pt idx="160">
                  <c:v>1.6947558000000001E-2</c:v>
                </c:pt>
                <c:pt idx="161">
                  <c:v>1.4095229000000001E-2</c:v>
                </c:pt>
                <c:pt idx="162">
                  <c:v>1.4213664000000001E-2</c:v>
                </c:pt>
                <c:pt idx="163">
                  <c:v>1.4943191999999999E-2</c:v>
                </c:pt>
                <c:pt idx="164">
                  <c:v>1.4640784E-2</c:v>
                </c:pt>
                <c:pt idx="165">
                  <c:v>1.6477076E-2</c:v>
                </c:pt>
                <c:pt idx="166">
                  <c:v>1.2954814E-2</c:v>
                </c:pt>
                <c:pt idx="167">
                  <c:v>8.9351499999999993E-3</c:v>
                </c:pt>
                <c:pt idx="168">
                  <c:v>1.2611638E-2</c:v>
                </c:pt>
                <c:pt idx="169">
                  <c:v>1.4437238E-2</c:v>
                </c:pt>
                <c:pt idx="170">
                  <c:v>1.0669952E-2</c:v>
                </c:pt>
                <c:pt idx="171">
                  <c:v>9.724814E-3</c:v>
                </c:pt>
                <c:pt idx="172">
                  <c:v>1.0019264E-2</c:v>
                </c:pt>
                <c:pt idx="173">
                  <c:v>1.3091959E-2</c:v>
                </c:pt>
                <c:pt idx="174">
                  <c:v>1.6017400000000001E-2</c:v>
                </c:pt>
                <c:pt idx="175">
                  <c:v>1.4866188000000001E-2</c:v>
                </c:pt>
                <c:pt idx="176">
                  <c:v>9.2548030000000007E-3</c:v>
                </c:pt>
                <c:pt idx="177">
                  <c:v>8.4081529999999998E-3</c:v>
                </c:pt>
                <c:pt idx="178">
                  <c:v>9.7447239999999997E-3</c:v>
                </c:pt>
                <c:pt idx="179">
                  <c:v>7.244009E-3</c:v>
                </c:pt>
                <c:pt idx="180">
                  <c:v>1.0626137000000001E-2</c:v>
                </c:pt>
                <c:pt idx="181">
                  <c:v>7.2229700000000004E-3</c:v>
                </c:pt>
                <c:pt idx="182">
                  <c:v>5.7512479999999996E-3</c:v>
                </c:pt>
                <c:pt idx="183">
                  <c:v>5.7135600000000003E-3</c:v>
                </c:pt>
                <c:pt idx="184">
                  <c:v>9.0753559999999997E-3</c:v>
                </c:pt>
                <c:pt idx="185">
                  <c:v>7.9450839999999998E-3</c:v>
                </c:pt>
                <c:pt idx="186">
                  <c:v>7.4165309999999996E-3</c:v>
                </c:pt>
                <c:pt idx="187">
                  <c:v>8.1144000000000008E-3</c:v>
                </c:pt>
                <c:pt idx="188">
                  <c:v>8.0124310000000004E-3</c:v>
                </c:pt>
                <c:pt idx="189">
                  <c:v>8.7223130000000006E-3</c:v>
                </c:pt>
                <c:pt idx="190">
                  <c:v>1.2748374999999999E-2</c:v>
                </c:pt>
                <c:pt idx="191">
                  <c:v>1.0689437E-2</c:v>
                </c:pt>
                <c:pt idx="192">
                  <c:v>1.2770503000000001E-2</c:v>
                </c:pt>
                <c:pt idx="193">
                  <c:v>9.8730959999999996E-3</c:v>
                </c:pt>
                <c:pt idx="194">
                  <c:v>1.2758998000000001E-2</c:v>
                </c:pt>
                <c:pt idx="195">
                  <c:v>1.1843608E-2</c:v>
                </c:pt>
                <c:pt idx="196">
                  <c:v>1.1419329000000001E-2</c:v>
                </c:pt>
                <c:pt idx="197">
                  <c:v>9.5747569999999997E-3</c:v>
                </c:pt>
                <c:pt idx="198">
                  <c:v>8.2383969999999997E-3</c:v>
                </c:pt>
                <c:pt idx="199">
                  <c:v>1.0171232000000001E-2</c:v>
                </c:pt>
                <c:pt idx="200">
                  <c:v>8.8285180000000005E-3</c:v>
                </c:pt>
                <c:pt idx="201">
                  <c:v>8.0241099999999992E-3</c:v>
                </c:pt>
                <c:pt idx="202">
                  <c:v>6.0508389999999997E-3</c:v>
                </c:pt>
                <c:pt idx="203">
                  <c:v>7.5727939999999999E-3</c:v>
                </c:pt>
                <c:pt idx="204">
                  <c:v>9.5349130000000008E-3</c:v>
                </c:pt>
                <c:pt idx="205">
                  <c:v>8.745793E-3</c:v>
                </c:pt>
                <c:pt idx="206">
                  <c:v>7.0426450000000002E-3</c:v>
                </c:pt>
                <c:pt idx="207">
                  <c:v>4.7934229999999998E-3</c:v>
                </c:pt>
                <c:pt idx="208">
                  <c:v>6.4009829999999998E-3</c:v>
                </c:pt>
                <c:pt idx="209">
                  <c:v>6.6837959999999997E-3</c:v>
                </c:pt>
                <c:pt idx="210">
                  <c:v>6.6854210000000004E-3</c:v>
                </c:pt>
                <c:pt idx="211">
                  <c:v>1.3570264E-2</c:v>
                </c:pt>
                <c:pt idx="212">
                  <c:v>6.5699110000000003E-3</c:v>
                </c:pt>
                <c:pt idx="213">
                  <c:v>7.0480889999999996E-3</c:v>
                </c:pt>
                <c:pt idx="214">
                  <c:v>5.5773669999999997E-3</c:v>
                </c:pt>
                <c:pt idx="215">
                  <c:v>9.6600829999999999E-3</c:v>
                </c:pt>
                <c:pt idx="216">
                  <c:v>7.5337340000000003E-3</c:v>
                </c:pt>
                <c:pt idx="217">
                  <c:v>7.2577329999999997E-3</c:v>
                </c:pt>
                <c:pt idx="218">
                  <c:v>5.7093810000000004E-3</c:v>
                </c:pt>
                <c:pt idx="219">
                  <c:v>7.2300760000000002E-3</c:v>
                </c:pt>
                <c:pt idx="220">
                  <c:v>6.8593109999999999E-3</c:v>
                </c:pt>
                <c:pt idx="221">
                  <c:v>8.660371E-3</c:v>
                </c:pt>
                <c:pt idx="222">
                  <c:v>8.3930940000000002E-3</c:v>
                </c:pt>
                <c:pt idx="223">
                  <c:v>1.0547871E-2</c:v>
                </c:pt>
                <c:pt idx="224">
                  <c:v>9.4449489999999994E-3</c:v>
                </c:pt>
                <c:pt idx="225">
                  <c:v>8.1836489999999994E-3</c:v>
                </c:pt>
                <c:pt idx="226">
                  <c:v>1.2004046000000001E-2</c:v>
                </c:pt>
                <c:pt idx="227">
                  <c:v>8.3915029999999998E-3</c:v>
                </c:pt>
                <c:pt idx="228">
                  <c:v>8.3147169999999992E-3</c:v>
                </c:pt>
                <c:pt idx="229">
                  <c:v>1.1630883999999999E-2</c:v>
                </c:pt>
                <c:pt idx="230">
                  <c:v>1.4457083000000001E-2</c:v>
                </c:pt>
                <c:pt idx="231">
                  <c:v>9.8791950000000003E-3</c:v>
                </c:pt>
                <c:pt idx="232">
                  <c:v>8.3025440000000002E-3</c:v>
                </c:pt>
                <c:pt idx="233">
                  <c:v>7.9302209999999995E-3</c:v>
                </c:pt>
                <c:pt idx="234">
                  <c:v>8.3826709999999995E-3</c:v>
                </c:pt>
                <c:pt idx="235">
                  <c:v>6.5521729999999997E-3</c:v>
                </c:pt>
                <c:pt idx="236">
                  <c:v>9.1885260000000007E-3</c:v>
                </c:pt>
                <c:pt idx="237">
                  <c:v>1.2399663999999999E-2</c:v>
                </c:pt>
                <c:pt idx="238">
                  <c:v>9.2063000000000006E-3</c:v>
                </c:pt>
                <c:pt idx="239">
                  <c:v>1.1009751E-2</c:v>
                </c:pt>
                <c:pt idx="240">
                  <c:v>1.5455204E-2</c:v>
                </c:pt>
                <c:pt idx="241">
                  <c:v>1.4061301E-2</c:v>
                </c:pt>
                <c:pt idx="242">
                  <c:v>1.9836522999999998E-2</c:v>
                </c:pt>
                <c:pt idx="243">
                  <c:v>2.3213034E-2</c:v>
                </c:pt>
                <c:pt idx="244">
                  <c:v>2.5038134E-2</c:v>
                </c:pt>
                <c:pt idx="245">
                  <c:v>1.9218913000000001E-2</c:v>
                </c:pt>
                <c:pt idx="246">
                  <c:v>1.8576637E-2</c:v>
                </c:pt>
                <c:pt idx="247">
                  <c:v>2.0114225999999999E-2</c:v>
                </c:pt>
                <c:pt idx="248">
                  <c:v>1.4743691E-2</c:v>
                </c:pt>
                <c:pt idx="249">
                  <c:v>1.5196919E-2</c:v>
                </c:pt>
                <c:pt idx="250">
                  <c:v>1.638156E-2</c:v>
                </c:pt>
                <c:pt idx="251">
                  <c:v>1.3145379E-2</c:v>
                </c:pt>
                <c:pt idx="252">
                  <c:v>1.6840173E-2</c:v>
                </c:pt>
                <c:pt idx="253">
                  <c:v>1.9400077000000002E-2</c:v>
                </c:pt>
                <c:pt idx="254">
                  <c:v>1.8533747E-2</c:v>
                </c:pt>
                <c:pt idx="255">
                  <c:v>1.5503911E-2</c:v>
                </c:pt>
                <c:pt idx="256">
                  <c:v>1.6190992000000001E-2</c:v>
                </c:pt>
                <c:pt idx="257">
                  <c:v>1.4781674999999999E-2</c:v>
                </c:pt>
                <c:pt idx="258">
                  <c:v>1.7810093999999999E-2</c:v>
                </c:pt>
                <c:pt idx="259">
                  <c:v>2.4121759999999999E-2</c:v>
                </c:pt>
                <c:pt idx="260">
                  <c:v>2.0251662E-2</c:v>
                </c:pt>
                <c:pt idx="261">
                  <c:v>1.6198047E-2</c:v>
                </c:pt>
                <c:pt idx="262">
                  <c:v>1.2797994E-2</c:v>
                </c:pt>
                <c:pt idx="263">
                  <c:v>1.3754905E-2</c:v>
                </c:pt>
                <c:pt idx="264">
                  <c:v>1.1284502E-2</c:v>
                </c:pt>
                <c:pt idx="265">
                  <c:v>2.0224183999999999E-2</c:v>
                </c:pt>
                <c:pt idx="266">
                  <c:v>1.7477439000000001E-2</c:v>
                </c:pt>
                <c:pt idx="267">
                  <c:v>1.3340873E-2</c:v>
                </c:pt>
                <c:pt idx="268">
                  <c:v>1.2981612E-2</c:v>
                </c:pt>
                <c:pt idx="269">
                  <c:v>1.8097586999999998E-2</c:v>
                </c:pt>
                <c:pt idx="270">
                  <c:v>1.9556245E-2</c:v>
                </c:pt>
                <c:pt idx="271">
                  <c:v>1.4098443E-2</c:v>
                </c:pt>
                <c:pt idx="272">
                  <c:v>1.3570595E-2</c:v>
                </c:pt>
                <c:pt idx="273">
                  <c:v>2.1773236000000001E-2</c:v>
                </c:pt>
                <c:pt idx="274">
                  <c:v>1.4916076E-2</c:v>
                </c:pt>
                <c:pt idx="275">
                  <c:v>1.3734580999999999E-2</c:v>
                </c:pt>
                <c:pt idx="276">
                  <c:v>1.9411134E-2</c:v>
                </c:pt>
                <c:pt idx="277">
                  <c:v>1.7102261000000001E-2</c:v>
                </c:pt>
                <c:pt idx="278">
                  <c:v>1.2849744E-2</c:v>
                </c:pt>
                <c:pt idx="279">
                  <c:v>1.4171293999999999E-2</c:v>
                </c:pt>
                <c:pt idx="280">
                  <c:v>1.3035873E-2</c:v>
                </c:pt>
                <c:pt idx="281">
                  <c:v>1.0603312E-2</c:v>
                </c:pt>
                <c:pt idx="282">
                  <c:v>7.9001729999999999E-3</c:v>
                </c:pt>
                <c:pt idx="283">
                  <c:v>8.6879709999999992E-3</c:v>
                </c:pt>
                <c:pt idx="284">
                  <c:v>9.2256119999999994E-3</c:v>
                </c:pt>
                <c:pt idx="285">
                  <c:v>1.0961319000000001E-2</c:v>
                </c:pt>
                <c:pt idx="286">
                  <c:v>1.1418011E-2</c:v>
                </c:pt>
                <c:pt idx="287">
                  <c:v>1.1316543E-2</c:v>
                </c:pt>
                <c:pt idx="288">
                  <c:v>1.1782612E-2</c:v>
                </c:pt>
                <c:pt idx="289">
                  <c:v>1.3475291E-2</c:v>
                </c:pt>
                <c:pt idx="290">
                  <c:v>1.2130976999999999E-2</c:v>
                </c:pt>
                <c:pt idx="291">
                  <c:v>1.3074679000000001E-2</c:v>
                </c:pt>
                <c:pt idx="292">
                  <c:v>1.3309029E-2</c:v>
                </c:pt>
                <c:pt idx="293">
                  <c:v>1.0899582999999999E-2</c:v>
                </c:pt>
                <c:pt idx="294">
                  <c:v>1.7495444999999998E-2</c:v>
                </c:pt>
                <c:pt idx="295">
                  <c:v>2.4262957000000002E-2</c:v>
                </c:pt>
                <c:pt idx="296">
                  <c:v>1.6817947999999999E-2</c:v>
                </c:pt>
                <c:pt idx="297">
                  <c:v>1.6275360999999999E-2</c:v>
                </c:pt>
                <c:pt idx="298">
                  <c:v>1.7994189000000001E-2</c:v>
                </c:pt>
                <c:pt idx="299">
                  <c:v>1.8089468000000001E-2</c:v>
                </c:pt>
                <c:pt idx="300">
                  <c:v>1.7678611E-2</c:v>
                </c:pt>
                <c:pt idx="301">
                  <c:v>1.9923567E-2</c:v>
                </c:pt>
                <c:pt idx="302">
                  <c:v>1.7940297000000001E-2</c:v>
                </c:pt>
                <c:pt idx="303">
                  <c:v>1.7825618000000001E-2</c:v>
                </c:pt>
                <c:pt idx="304">
                  <c:v>2.2453463999999999E-2</c:v>
                </c:pt>
                <c:pt idx="305">
                  <c:v>1.6606592999999999E-2</c:v>
                </c:pt>
                <c:pt idx="306">
                  <c:v>1.8180182999999999E-2</c:v>
                </c:pt>
                <c:pt idx="307">
                  <c:v>2.1485035999999999E-2</c:v>
                </c:pt>
                <c:pt idx="308">
                  <c:v>2.8487924000000001E-2</c:v>
                </c:pt>
                <c:pt idx="309">
                  <c:v>2.1712716999999999E-2</c:v>
                </c:pt>
                <c:pt idx="310">
                  <c:v>2.4627586E-2</c:v>
                </c:pt>
                <c:pt idx="311">
                  <c:v>2.5600326999999999E-2</c:v>
                </c:pt>
                <c:pt idx="312">
                  <c:v>2.5447141999999999E-2</c:v>
                </c:pt>
                <c:pt idx="313">
                  <c:v>2.9062729999999998E-2</c:v>
                </c:pt>
                <c:pt idx="314">
                  <c:v>2.0269631999999999E-2</c:v>
                </c:pt>
                <c:pt idx="315">
                  <c:v>2.3824186000000001E-2</c:v>
                </c:pt>
                <c:pt idx="316">
                  <c:v>1.7313234E-2</c:v>
                </c:pt>
                <c:pt idx="317">
                  <c:v>3.0600483000000001E-2</c:v>
                </c:pt>
                <c:pt idx="318">
                  <c:v>3.0177468999999998E-2</c:v>
                </c:pt>
                <c:pt idx="319">
                  <c:v>3.2259501000000003E-2</c:v>
                </c:pt>
                <c:pt idx="320">
                  <c:v>2.8992367000000002E-2</c:v>
                </c:pt>
                <c:pt idx="321">
                  <c:v>3.5458947999999997E-2</c:v>
                </c:pt>
                <c:pt idx="322">
                  <c:v>3.4547784999999998E-2</c:v>
                </c:pt>
                <c:pt idx="323">
                  <c:v>4.6655680999999997E-2</c:v>
                </c:pt>
                <c:pt idx="324">
                  <c:v>4.4486475999999997E-2</c:v>
                </c:pt>
                <c:pt idx="325">
                  <c:v>3.5330549000000003E-2</c:v>
                </c:pt>
                <c:pt idx="326">
                  <c:v>3.1412436000000002E-2</c:v>
                </c:pt>
                <c:pt idx="327">
                  <c:v>5.4046470999999999E-2</c:v>
                </c:pt>
                <c:pt idx="328">
                  <c:v>4.2615147999999999E-2</c:v>
                </c:pt>
                <c:pt idx="329">
                  <c:v>3.7767066000000002E-2</c:v>
                </c:pt>
                <c:pt idx="330">
                  <c:v>3.0018414E-2</c:v>
                </c:pt>
                <c:pt idx="331">
                  <c:v>2.3145769E-2</c:v>
                </c:pt>
                <c:pt idx="332">
                  <c:v>2.5062460000000002E-2</c:v>
                </c:pt>
                <c:pt idx="333">
                  <c:v>2.4557329999999999E-2</c:v>
                </c:pt>
                <c:pt idx="334">
                  <c:v>2.556336E-2</c:v>
                </c:pt>
                <c:pt idx="335">
                  <c:v>2.7299212999999999E-2</c:v>
                </c:pt>
                <c:pt idx="336">
                  <c:v>3.2054032000000003E-2</c:v>
                </c:pt>
                <c:pt idx="337">
                  <c:v>3.7720972999999998E-2</c:v>
                </c:pt>
                <c:pt idx="338">
                  <c:v>3.6257975999999997E-2</c:v>
                </c:pt>
                <c:pt idx="339">
                  <c:v>2.8580227E-2</c:v>
                </c:pt>
                <c:pt idx="340">
                  <c:v>3.2084845000000001E-2</c:v>
                </c:pt>
                <c:pt idx="341">
                  <c:v>2.6827481E-2</c:v>
                </c:pt>
                <c:pt idx="342">
                  <c:v>2.1318088999999998E-2</c:v>
                </c:pt>
                <c:pt idx="343">
                  <c:v>1.6304952000000001E-2</c:v>
                </c:pt>
                <c:pt idx="344">
                  <c:v>1.7856416999999999E-2</c:v>
                </c:pt>
                <c:pt idx="345">
                  <c:v>1.8213468E-2</c:v>
                </c:pt>
                <c:pt idx="346">
                  <c:v>1.337936E-2</c:v>
                </c:pt>
                <c:pt idx="347">
                  <c:v>1.7497881999999999E-2</c:v>
                </c:pt>
                <c:pt idx="348">
                  <c:v>1.8540898E-2</c:v>
                </c:pt>
                <c:pt idx="349">
                  <c:v>1.7246346999999999E-2</c:v>
                </c:pt>
                <c:pt idx="350">
                  <c:v>2.0106954E-2</c:v>
                </c:pt>
                <c:pt idx="351">
                  <c:v>1.6418628000000001E-2</c:v>
                </c:pt>
                <c:pt idx="352">
                  <c:v>1.5278406E-2</c:v>
                </c:pt>
                <c:pt idx="353">
                  <c:v>1.8940351000000001E-2</c:v>
                </c:pt>
                <c:pt idx="354">
                  <c:v>1.5187535E-2</c:v>
                </c:pt>
                <c:pt idx="355">
                  <c:v>1.3934983E-2</c:v>
                </c:pt>
                <c:pt idx="356">
                  <c:v>2.5699090000000001E-2</c:v>
                </c:pt>
                <c:pt idx="357">
                  <c:v>2.3712435E-2</c:v>
                </c:pt>
                <c:pt idx="358">
                  <c:v>2.6694542000000002E-2</c:v>
                </c:pt>
                <c:pt idx="359">
                  <c:v>2.3985514999999999E-2</c:v>
                </c:pt>
                <c:pt idx="360">
                  <c:v>4.7406796000000001E-2</c:v>
                </c:pt>
                <c:pt idx="361">
                  <c:v>2.2801510000000001E-2</c:v>
                </c:pt>
                <c:pt idx="362">
                  <c:v>2.1287699E-2</c:v>
                </c:pt>
                <c:pt idx="363">
                  <c:v>1.5721036000000001E-2</c:v>
                </c:pt>
                <c:pt idx="364">
                  <c:v>1.8156869999999999E-2</c:v>
                </c:pt>
                <c:pt idx="365">
                  <c:v>2.1264841999999999E-2</c:v>
                </c:pt>
                <c:pt idx="366">
                  <c:v>3.1371755000000001E-2</c:v>
                </c:pt>
                <c:pt idx="367">
                  <c:v>2.0784924E-2</c:v>
                </c:pt>
                <c:pt idx="368">
                  <c:v>1.332381E-2</c:v>
                </c:pt>
                <c:pt idx="369">
                  <c:v>1.2242935E-2</c:v>
                </c:pt>
                <c:pt idx="370">
                  <c:v>1.4528027000000001E-2</c:v>
                </c:pt>
                <c:pt idx="371">
                  <c:v>1.1013790000000001E-2</c:v>
                </c:pt>
                <c:pt idx="372">
                  <c:v>1.1522922E-2</c:v>
                </c:pt>
                <c:pt idx="373">
                  <c:v>1.1470108E-2</c:v>
                </c:pt>
                <c:pt idx="374">
                  <c:v>1.2515905000000001E-2</c:v>
                </c:pt>
                <c:pt idx="375">
                  <c:v>1.1137297000000001E-2</c:v>
                </c:pt>
                <c:pt idx="376">
                  <c:v>1.426761E-2</c:v>
                </c:pt>
                <c:pt idx="377">
                  <c:v>1.1535518E-2</c:v>
                </c:pt>
                <c:pt idx="378">
                  <c:v>1.5449347E-2</c:v>
                </c:pt>
                <c:pt idx="379">
                  <c:v>2.0238230999999999E-2</c:v>
                </c:pt>
                <c:pt idx="380">
                  <c:v>1.4302933E-2</c:v>
                </c:pt>
                <c:pt idx="381">
                  <c:v>1.0063413E-2</c:v>
                </c:pt>
                <c:pt idx="382">
                  <c:v>1.0887030000000001E-2</c:v>
                </c:pt>
                <c:pt idx="383">
                  <c:v>1.1474501999999999E-2</c:v>
                </c:pt>
                <c:pt idx="384">
                  <c:v>8.9236039999999999E-3</c:v>
                </c:pt>
                <c:pt idx="385">
                  <c:v>8.5012939999999995E-3</c:v>
                </c:pt>
                <c:pt idx="386">
                  <c:v>1.3263888999999999E-2</c:v>
                </c:pt>
                <c:pt idx="387">
                  <c:v>9.3901130000000003E-3</c:v>
                </c:pt>
                <c:pt idx="388">
                  <c:v>1.0664097000000001E-2</c:v>
                </c:pt>
                <c:pt idx="389">
                  <c:v>9.4386439999999995E-3</c:v>
                </c:pt>
                <c:pt idx="390">
                  <c:v>1.3683363E-2</c:v>
                </c:pt>
                <c:pt idx="391">
                  <c:v>9.0857209999999997E-3</c:v>
                </c:pt>
                <c:pt idx="392">
                  <c:v>1.3338121E-2</c:v>
                </c:pt>
                <c:pt idx="393">
                  <c:v>8.5834450000000003E-3</c:v>
                </c:pt>
                <c:pt idx="394">
                  <c:v>9.7389139999999996E-3</c:v>
                </c:pt>
                <c:pt idx="395">
                  <c:v>1.2127509E-2</c:v>
                </c:pt>
                <c:pt idx="396">
                  <c:v>1.0220876E-2</c:v>
                </c:pt>
                <c:pt idx="397">
                  <c:v>1.144824E-2</c:v>
                </c:pt>
                <c:pt idx="398">
                  <c:v>1.5735784999999999E-2</c:v>
                </c:pt>
                <c:pt idx="399">
                  <c:v>1.7537078000000001E-2</c:v>
                </c:pt>
                <c:pt idx="400">
                  <c:v>1.0766527E-2</c:v>
                </c:pt>
                <c:pt idx="401">
                  <c:v>1.2308271000000001E-2</c:v>
                </c:pt>
                <c:pt idx="402">
                  <c:v>1.3469200000000001E-2</c:v>
                </c:pt>
                <c:pt idx="403">
                  <c:v>1.2334276999999999E-2</c:v>
                </c:pt>
                <c:pt idx="404">
                  <c:v>1.6464340000000001E-2</c:v>
                </c:pt>
                <c:pt idx="405">
                  <c:v>1.2504805000000001E-2</c:v>
                </c:pt>
                <c:pt idx="406">
                  <c:v>1.4032210999999999E-2</c:v>
                </c:pt>
                <c:pt idx="407">
                  <c:v>1.0723102999999999E-2</c:v>
                </c:pt>
                <c:pt idx="408">
                  <c:v>1.4235106000000001E-2</c:v>
                </c:pt>
                <c:pt idx="409">
                  <c:v>2.2432135999999998E-2</c:v>
                </c:pt>
                <c:pt idx="410">
                  <c:v>2.5981467000000001E-2</c:v>
                </c:pt>
                <c:pt idx="411">
                  <c:v>1.5990267999999998E-2</c:v>
                </c:pt>
                <c:pt idx="412">
                  <c:v>2.8895682999999998E-2</c:v>
                </c:pt>
                <c:pt idx="413">
                  <c:v>2.0816188999999999E-2</c:v>
                </c:pt>
                <c:pt idx="414">
                  <c:v>1.5968186999999998E-2</c:v>
                </c:pt>
                <c:pt idx="415">
                  <c:v>1.5585241E-2</c:v>
                </c:pt>
                <c:pt idx="416">
                  <c:v>1.7470441999999999E-2</c:v>
                </c:pt>
                <c:pt idx="417">
                  <c:v>1.9325879000000001E-2</c:v>
                </c:pt>
                <c:pt idx="418">
                  <c:v>1.5542619000000001E-2</c:v>
                </c:pt>
                <c:pt idx="419">
                  <c:v>1.2649812E-2</c:v>
                </c:pt>
                <c:pt idx="420">
                  <c:v>1.0601177999999999E-2</c:v>
                </c:pt>
                <c:pt idx="421">
                  <c:v>1.3664322E-2</c:v>
                </c:pt>
                <c:pt idx="422">
                  <c:v>1.7934306000000001E-2</c:v>
                </c:pt>
                <c:pt idx="423">
                  <c:v>3.1404252000000001E-2</c:v>
                </c:pt>
                <c:pt idx="424">
                  <c:v>2.5791817000000002E-2</c:v>
                </c:pt>
                <c:pt idx="425">
                  <c:v>1.9999703000000001E-2</c:v>
                </c:pt>
                <c:pt idx="426">
                  <c:v>2.0735472000000001E-2</c:v>
                </c:pt>
                <c:pt idx="427">
                  <c:v>1.8531163E-2</c:v>
                </c:pt>
                <c:pt idx="428">
                  <c:v>1.5772270000000001E-2</c:v>
                </c:pt>
                <c:pt idx="429">
                  <c:v>1.4511985E-2</c:v>
                </c:pt>
                <c:pt idx="430">
                  <c:v>1.368199E-2</c:v>
                </c:pt>
                <c:pt idx="431">
                  <c:v>1.3889116999999999E-2</c:v>
                </c:pt>
                <c:pt idx="432">
                  <c:v>1.5995413999999999E-2</c:v>
                </c:pt>
                <c:pt idx="433">
                  <c:v>1.8122355999999999E-2</c:v>
                </c:pt>
                <c:pt idx="434">
                  <c:v>1.7482002E-2</c:v>
                </c:pt>
                <c:pt idx="435">
                  <c:v>2.1620305999999999E-2</c:v>
                </c:pt>
                <c:pt idx="436">
                  <c:v>3.1502387E-2</c:v>
                </c:pt>
                <c:pt idx="437">
                  <c:v>5.6952052000000003E-2</c:v>
                </c:pt>
                <c:pt idx="438">
                  <c:v>2.2259225000000001E-2</c:v>
                </c:pt>
                <c:pt idx="439">
                  <c:v>2.4326908000000001E-2</c:v>
                </c:pt>
                <c:pt idx="440">
                  <c:v>2.3312781000000001E-2</c:v>
                </c:pt>
                <c:pt idx="441">
                  <c:v>2.6269698000000001E-2</c:v>
                </c:pt>
                <c:pt idx="442">
                  <c:v>2.8476299E-2</c:v>
                </c:pt>
                <c:pt idx="443">
                  <c:v>2.5676350000000001E-2</c:v>
                </c:pt>
                <c:pt idx="444">
                  <c:v>2.6129975999999999E-2</c:v>
                </c:pt>
                <c:pt idx="445">
                  <c:v>1.771327E-2</c:v>
                </c:pt>
                <c:pt idx="446">
                  <c:v>2.3894215999999999E-2</c:v>
                </c:pt>
                <c:pt idx="447">
                  <c:v>4.0493831000000001E-2</c:v>
                </c:pt>
                <c:pt idx="448">
                  <c:v>2.9157578999999999E-2</c:v>
                </c:pt>
                <c:pt idx="449">
                  <c:v>2.5548820999999999E-2</c:v>
                </c:pt>
                <c:pt idx="450">
                  <c:v>2.6751670000000002E-2</c:v>
                </c:pt>
                <c:pt idx="451">
                  <c:v>4.3830215999999998E-2</c:v>
                </c:pt>
                <c:pt idx="452">
                  <c:v>2.7586721000000002E-2</c:v>
                </c:pt>
                <c:pt idx="453">
                  <c:v>3.3157375000000003E-2</c:v>
                </c:pt>
                <c:pt idx="454">
                  <c:v>2.8440004000000001E-2</c:v>
                </c:pt>
                <c:pt idx="455">
                  <c:v>3.5025852000000003E-2</c:v>
                </c:pt>
                <c:pt idx="456">
                  <c:v>3.2889938000000001E-2</c:v>
                </c:pt>
                <c:pt idx="457">
                  <c:v>2.9085356E-2</c:v>
                </c:pt>
                <c:pt idx="458">
                  <c:v>2.7879845E-2</c:v>
                </c:pt>
                <c:pt idx="459">
                  <c:v>2.6636941000000001E-2</c:v>
                </c:pt>
                <c:pt idx="460">
                  <c:v>2.5218754999999999E-2</c:v>
                </c:pt>
                <c:pt idx="461">
                  <c:v>3.1042131000000001E-2</c:v>
                </c:pt>
                <c:pt idx="462">
                  <c:v>2.7646264E-2</c:v>
                </c:pt>
                <c:pt idx="463">
                  <c:v>4.1493307E-2</c:v>
                </c:pt>
                <c:pt idx="464">
                  <c:v>3.6767161E-2</c:v>
                </c:pt>
                <c:pt idx="465">
                  <c:v>4.6035023000000001E-2</c:v>
                </c:pt>
                <c:pt idx="466">
                  <c:v>5.0001733E-2</c:v>
                </c:pt>
                <c:pt idx="467">
                  <c:v>4.1146439999999999E-2</c:v>
                </c:pt>
                <c:pt idx="468">
                  <c:v>3.1529662E-2</c:v>
                </c:pt>
                <c:pt idx="469">
                  <c:v>4.0393905000000001E-2</c:v>
                </c:pt>
                <c:pt idx="470">
                  <c:v>3.1945668000000003E-2</c:v>
                </c:pt>
                <c:pt idx="471">
                  <c:v>2.4910188E-2</c:v>
                </c:pt>
                <c:pt idx="472">
                  <c:v>2.5172093999999999E-2</c:v>
                </c:pt>
                <c:pt idx="473">
                  <c:v>3.5668928000000003E-2</c:v>
                </c:pt>
                <c:pt idx="474">
                  <c:v>3.9738378999999997E-2</c:v>
                </c:pt>
                <c:pt idx="475">
                  <c:v>2.6803304999999999E-2</c:v>
                </c:pt>
                <c:pt idx="476">
                  <c:v>2.8836846999999999E-2</c:v>
                </c:pt>
                <c:pt idx="477">
                  <c:v>2.3448310999999999E-2</c:v>
                </c:pt>
                <c:pt idx="478">
                  <c:v>3.6891238E-2</c:v>
                </c:pt>
                <c:pt idx="479">
                  <c:v>3.6610392999999998E-2</c:v>
                </c:pt>
                <c:pt idx="480">
                  <c:v>3.726144E-2</c:v>
                </c:pt>
                <c:pt idx="481">
                  <c:v>4.2287926000000003E-2</c:v>
                </c:pt>
                <c:pt idx="482">
                  <c:v>4.8307447000000003E-2</c:v>
                </c:pt>
                <c:pt idx="483">
                  <c:v>6.8941174999999993E-2</c:v>
                </c:pt>
                <c:pt idx="484">
                  <c:v>5.7753693000000002E-2</c:v>
                </c:pt>
                <c:pt idx="485">
                  <c:v>4.7182417999999997E-2</c:v>
                </c:pt>
                <c:pt idx="486">
                  <c:v>5.0697319999999997E-2</c:v>
                </c:pt>
                <c:pt idx="487">
                  <c:v>4.7848887E-2</c:v>
                </c:pt>
                <c:pt idx="488">
                  <c:v>4.5262875000000001E-2</c:v>
                </c:pt>
                <c:pt idx="489">
                  <c:v>4.1500871000000002E-2</c:v>
                </c:pt>
                <c:pt idx="490">
                  <c:v>3.7387103999999997E-2</c:v>
                </c:pt>
                <c:pt idx="491">
                  <c:v>4.2631382000000002E-2</c:v>
                </c:pt>
                <c:pt idx="492">
                  <c:v>4.6920426000000001E-2</c:v>
                </c:pt>
                <c:pt idx="493">
                  <c:v>4.4064645E-2</c:v>
                </c:pt>
                <c:pt idx="494">
                  <c:v>3.9593182999999997E-2</c:v>
                </c:pt>
                <c:pt idx="495">
                  <c:v>4.9643505999999997E-2</c:v>
                </c:pt>
                <c:pt idx="496">
                  <c:v>5.6068426999999997E-2</c:v>
                </c:pt>
                <c:pt idx="497">
                  <c:v>4.6574913000000003E-2</c:v>
                </c:pt>
                <c:pt idx="498">
                  <c:v>4.3433335000000003E-2</c:v>
                </c:pt>
                <c:pt idx="499">
                  <c:v>4.2313216000000001E-2</c:v>
                </c:pt>
                <c:pt idx="500">
                  <c:v>4.8027400999999997E-2</c:v>
                </c:pt>
                <c:pt idx="501">
                  <c:v>4.4769950000000003E-2</c:v>
                </c:pt>
                <c:pt idx="502">
                  <c:v>4.7236556999999998E-2</c:v>
                </c:pt>
                <c:pt idx="503">
                  <c:v>3.5986090999999998E-2</c:v>
                </c:pt>
                <c:pt idx="504">
                  <c:v>3.2633441999999999E-2</c:v>
                </c:pt>
                <c:pt idx="505">
                  <c:v>2.8754108E-2</c:v>
                </c:pt>
                <c:pt idx="506">
                  <c:v>4.2307577999999998E-2</c:v>
                </c:pt>
                <c:pt idx="507">
                  <c:v>4.0740953000000003E-2</c:v>
                </c:pt>
                <c:pt idx="508">
                  <c:v>2.9409281999999998E-2</c:v>
                </c:pt>
                <c:pt idx="509">
                  <c:v>2.7400759E-2</c:v>
                </c:pt>
                <c:pt idx="510">
                  <c:v>2.9015964000000002E-2</c:v>
                </c:pt>
                <c:pt idx="511">
                  <c:v>2.4934405E-2</c:v>
                </c:pt>
                <c:pt idx="512">
                  <c:v>3.1162655000000001E-2</c:v>
                </c:pt>
                <c:pt idx="513">
                  <c:v>3.5893400999999998E-2</c:v>
                </c:pt>
                <c:pt idx="514">
                  <c:v>3.7849800000000003E-2</c:v>
                </c:pt>
                <c:pt idx="515">
                  <c:v>4.0375337999999997E-2</c:v>
                </c:pt>
                <c:pt idx="516">
                  <c:v>5.2524253E-2</c:v>
                </c:pt>
                <c:pt idx="517">
                  <c:v>4.0122334000000003E-2</c:v>
                </c:pt>
                <c:pt idx="518">
                  <c:v>3.8886012999999997E-2</c:v>
                </c:pt>
                <c:pt idx="519">
                  <c:v>2.9784458999999999E-2</c:v>
                </c:pt>
                <c:pt idx="520">
                  <c:v>3.5607235000000001E-2</c:v>
                </c:pt>
                <c:pt idx="521">
                  <c:v>2.9225405999999999E-2</c:v>
                </c:pt>
                <c:pt idx="522">
                  <c:v>3.0027984000000001E-2</c:v>
                </c:pt>
                <c:pt idx="523">
                  <c:v>2.4545582999999999E-2</c:v>
                </c:pt>
                <c:pt idx="524">
                  <c:v>3.6973414000000003E-2</c:v>
                </c:pt>
                <c:pt idx="525">
                  <c:v>3.0410151999999999E-2</c:v>
                </c:pt>
                <c:pt idx="526">
                  <c:v>2.9940776999999998E-2</c:v>
                </c:pt>
                <c:pt idx="527">
                  <c:v>2.9937340999999999E-2</c:v>
                </c:pt>
                <c:pt idx="528">
                  <c:v>2.6891126000000001E-2</c:v>
                </c:pt>
                <c:pt idx="529">
                  <c:v>3.3873408000000001E-2</c:v>
                </c:pt>
                <c:pt idx="530">
                  <c:v>4.1593817999999998E-2</c:v>
                </c:pt>
                <c:pt idx="531">
                  <c:v>2.9551174999999999E-2</c:v>
                </c:pt>
                <c:pt idx="532">
                  <c:v>2.9580483000000001E-2</c:v>
                </c:pt>
                <c:pt idx="533">
                  <c:v>4.0704403E-2</c:v>
                </c:pt>
                <c:pt idx="534">
                  <c:v>3.5890610000000003E-2</c:v>
                </c:pt>
                <c:pt idx="535">
                  <c:v>3.9641227000000001E-2</c:v>
                </c:pt>
                <c:pt idx="536">
                  <c:v>4.1767477999999997E-2</c:v>
                </c:pt>
                <c:pt idx="537">
                  <c:v>6.4474320000000002E-2</c:v>
                </c:pt>
                <c:pt idx="538">
                  <c:v>6.8907021999999998E-2</c:v>
                </c:pt>
                <c:pt idx="539">
                  <c:v>3.3759277999999997E-2</c:v>
                </c:pt>
                <c:pt idx="540">
                  <c:v>3.3817909E-2</c:v>
                </c:pt>
                <c:pt idx="541">
                  <c:v>3.6838112999999999E-2</c:v>
                </c:pt>
                <c:pt idx="542">
                  <c:v>3.8259399999999999E-2</c:v>
                </c:pt>
                <c:pt idx="543">
                  <c:v>3.7359613999999999E-2</c:v>
                </c:pt>
                <c:pt idx="544">
                  <c:v>3.4934792999999999E-2</c:v>
                </c:pt>
                <c:pt idx="545">
                  <c:v>4.2210727000000003E-2</c:v>
                </c:pt>
                <c:pt idx="546">
                  <c:v>5.0506866999999997E-2</c:v>
                </c:pt>
                <c:pt idx="547">
                  <c:v>5.1999708999999998E-2</c:v>
                </c:pt>
                <c:pt idx="548">
                  <c:v>4.3159788999999997E-2</c:v>
                </c:pt>
                <c:pt idx="549">
                  <c:v>4.6772464999999999E-2</c:v>
                </c:pt>
                <c:pt idx="550">
                  <c:v>4.1231121000000003E-2</c:v>
                </c:pt>
                <c:pt idx="551">
                  <c:v>4.6924360999999998E-2</c:v>
                </c:pt>
                <c:pt idx="552">
                  <c:v>4.6049384999999998E-2</c:v>
                </c:pt>
                <c:pt idx="553">
                  <c:v>5.2047217E-2</c:v>
                </c:pt>
                <c:pt idx="554">
                  <c:v>4.3300890000000002E-2</c:v>
                </c:pt>
                <c:pt idx="555">
                  <c:v>5.5852266999999997E-2</c:v>
                </c:pt>
                <c:pt idx="556">
                  <c:v>5.1181253000000003E-2</c:v>
                </c:pt>
                <c:pt idx="557">
                  <c:v>4.9892339000000001E-2</c:v>
                </c:pt>
                <c:pt idx="558">
                  <c:v>3.6646030000000003E-2</c:v>
                </c:pt>
                <c:pt idx="559">
                  <c:v>4.3370425999999997E-2</c:v>
                </c:pt>
                <c:pt idx="560">
                  <c:v>4.2262616000000003E-2</c:v>
                </c:pt>
                <c:pt idx="561">
                  <c:v>5.0513098999999999E-2</c:v>
                </c:pt>
                <c:pt idx="562">
                  <c:v>7.4228192999999998E-2</c:v>
                </c:pt>
                <c:pt idx="563">
                  <c:v>6.0205661000000001E-2</c:v>
                </c:pt>
                <c:pt idx="564">
                  <c:v>4.297695E-2</c:v>
                </c:pt>
                <c:pt idx="565">
                  <c:v>4.4094858000000001E-2</c:v>
                </c:pt>
                <c:pt idx="566">
                  <c:v>5.1305149000000001E-2</c:v>
                </c:pt>
                <c:pt idx="567">
                  <c:v>3.8464695E-2</c:v>
                </c:pt>
                <c:pt idx="568">
                  <c:v>3.7950075E-2</c:v>
                </c:pt>
                <c:pt idx="569">
                  <c:v>3.4997206000000003E-2</c:v>
                </c:pt>
                <c:pt idx="570">
                  <c:v>4.5050870999999999E-2</c:v>
                </c:pt>
                <c:pt idx="571">
                  <c:v>4.2122295999999997E-2</c:v>
                </c:pt>
                <c:pt idx="572">
                  <c:v>3.9148354000000003E-2</c:v>
                </c:pt>
                <c:pt idx="573">
                  <c:v>4.9141733999999999E-2</c:v>
                </c:pt>
                <c:pt idx="574">
                  <c:v>3.8564309999999997E-2</c:v>
                </c:pt>
                <c:pt idx="575">
                  <c:v>4.5342492999999998E-2</c:v>
                </c:pt>
                <c:pt idx="576">
                  <c:v>4.7643194999999999E-2</c:v>
                </c:pt>
                <c:pt idx="577">
                  <c:v>5.9443449000000002E-2</c:v>
                </c:pt>
                <c:pt idx="578">
                  <c:v>5.6927713999999997E-2</c:v>
                </c:pt>
                <c:pt idx="579">
                  <c:v>5.1664688E-2</c:v>
                </c:pt>
                <c:pt idx="580">
                  <c:v>3.9561249E-2</c:v>
                </c:pt>
                <c:pt idx="581">
                  <c:v>4.3201469999999999E-2</c:v>
                </c:pt>
                <c:pt idx="582">
                  <c:v>3.6372940999999999E-2</c:v>
                </c:pt>
                <c:pt idx="583">
                  <c:v>3.6377398999999998E-2</c:v>
                </c:pt>
                <c:pt idx="584">
                  <c:v>3.3434420999999999E-2</c:v>
                </c:pt>
                <c:pt idx="585">
                  <c:v>3.6172621000000002E-2</c:v>
                </c:pt>
                <c:pt idx="586">
                  <c:v>3.5168195999999999E-2</c:v>
                </c:pt>
                <c:pt idx="587">
                  <c:v>4.2903592999999997E-2</c:v>
                </c:pt>
                <c:pt idx="588">
                  <c:v>3.0835082999999999E-2</c:v>
                </c:pt>
                <c:pt idx="589">
                  <c:v>2.5720087999999999E-2</c:v>
                </c:pt>
                <c:pt idx="590">
                  <c:v>3.6581623000000001E-2</c:v>
                </c:pt>
                <c:pt idx="591">
                  <c:v>3.1626201999999999E-2</c:v>
                </c:pt>
                <c:pt idx="592">
                  <c:v>2.9407160000000002E-2</c:v>
                </c:pt>
                <c:pt idx="593">
                  <c:v>2.7516955999999999E-2</c:v>
                </c:pt>
                <c:pt idx="594">
                  <c:v>2.9071026E-2</c:v>
                </c:pt>
                <c:pt idx="595">
                  <c:v>2.7039528E-2</c:v>
                </c:pt>
                <c:pt idx="596">
                  <c:v>2.5224236000000001E-2</c:v>
                </c:pt>
                <c:pt idx="597">
                  <c:v>2.7278085000000001E-2</c:v>
                </c:pt>
                <c:pt idx="598">
                  <c:v>2.9064256E-2</c:v>
                </c:pt>
                <c:pt idx="599">
                  <c:v>2.4612057E-2</c:v>
                </c:pt>
                <c:pt idx="600">
                  <c:v>2.2730778E-2</c:v>
                </c:pt>
                <c:pt idx="601">
                  <c:v>2.1011539999999999E-2</c:v>
                </c:pt>
                <c:pt idx="602">
                  <c:v>1.6349097E-2</c:v>
                </c:pt>
                <c:pt idx="603">
                  <c:v>1.7654403999999999E-2</c:v>
                </c:pt>
                <c:pt idx="604">
                  <c:v>1.9554839000000001E-2</c:v>
                </c:pt>
                <c:pt idx="605">
                  <c:v>2.2463536999999999E-2</c:v>
                </c:pt>
                <c:pt idx="606">
                  <c:v>2.4443030000000001E-2</c:v>
                </c:pt>
                <c:pt idx="607">
                  <c:v>1.4616259E-2</c:v>
                </c:pt>
                <c:pt idx="608">
                  <c:v>1.379823E-2</c:v>
                </c:pt>
                <c:pt idx="609">
                  <c:v>1.1970681E-2</c:v>
                </c:pt>
                <c:pt idx="610">
                  <c:v>1.2136512E-2</c:v>
                </c:pt>
                <c:pt idx="611">
                  <c:v>1.5279564000000001E-2</c:v>
                </c:pt>
                <c:pt idx="612">
                  <c:v>2.3857023000000002E-2</c:v>
                </c:pt>
                <c:pt idx="613">
                  <c:v>1.9076833000000001E-2</c:v>
                </c:pt>
                <c:pt idx="614">
                  <c:v>2.8592640999999999E-2</c:v>
                </c:pt>
                <c:pt idx="615">
                  <c:v>4.2410916E-2</c:v>
                </c:pt>
                <c:pt idx="616">
                  <c:v>3.1390721000000003E-2</c:v>
                </c:pt>
                <c:pt idx="617">
                  <c:v>2.8572634999999999E-2</c:v>
                </c:pt>
                <c:pt idx="618">
                  <c:v>2.7201495999999999E-2</c:v>
                </c:pt>
                <c:pt idx="619">
                  <c:v>2.6063614999999998E-2</c:v>
                </c:pt>
                <c:pt idx="620">
                  <c:v>3.1454448000000003E-2</c:v>
                </c:pt>
                <c:pt idx="621">
                  <c:v>2.7629331E-2</c:v>
                </c:pt>
                <c:pt idx="622">
                  <c:v>3.3919655999999999E-2</c:v>
                </c:pt>
                <c:pt idx="623">
                  <c:v>2.6478106000000001E-2</c:v>
                </c:pt>
                <c:pt idx="624">
                  <c:v>3.8044334999999999E-2</c:v>
                </c:pt>
                <c:pt idx="625">
                  <c:v>3.2292574999999997E-2</c:v>
                </c:pt>
                <c:pt idx="626">
                  <c:v>3.3984240999999998E-2</c:v>
                </c:pt>
                <c:pt idx="627">
                  <c:v>4.7874106E-2</c:v>
                </c:pt>
                <c:pt idx="628">
                  <c:v>3.776322E-2</c:v>
                </c:pt>
                <c:pt idx="629">
                  <c:v>3.4462936E-2</c:v>
                </c:pt>
                <c:pt idx="630">
                  <c:v>4.5257118999999998E-2</c:v>
                </c:pt>
                <c:pt idx="631">
                  <c:v>2.6879453000000001E-2</c:v>
                </c:pt>
                <c:pt idx="632">
                  <c:v>2.8360086999999999E-2</c:v>
                </c:pt>
                <c:pt idx="633">
                  <c:v>3.0192191E-2</c:v>
                </c:pt>
                <c:pt idx="634">
                  <c:v>3.1065513999999999E-2</c:v>
                </c:pt>
                <c:pt idx="635">
                  <c:v>2.8744051E-2</c:v>
                </c:pt>
                <c:pt idx="636">
                  <c:v>3.1990427000000002E-2</c:v>
                </c:pt>
                <c:pt idx="637">
                  <c:v>2.8902869000000001E-2</c:v>
                </c:pt>
                <c:pt idx="638">
                  <c:v>2.6664677000000001E-2</c:v>
                </c:pt>
                <c:pt idx="639">
                  <c:v>2.8916387000000002E-2</c:v>
                </c:pt>
                <c:pt idx="640">
                  <c:v>3.3722588999999997E-2</c:v>
                </c:pt>
                <c:pt idx="641">
                  <c:v>2.9779554999999999E-2</c:v>
                </c:pt>
                <c:pt idx="642">
                  <c:v>2.6301585999999998E-2</c:v>
                </c:pt>
                <c:pt idx="643">
                  <c:v>2.188555E-2</c:v>
                </c:pt>
                <c:pt idx="644">
                  <c:v>2.4091693000000001E-2</c:v>
                </c:pt>
                <c:pt idx="645">
                  <c:v>3.1614741000000002E-2</c:v>
                </c:pt>
                <c:pt idx="646">
                  <c:v>3.4514533E-2</c:v>
                </c:pt>
                <c:pt idx="647">
                  <c:v>2.7443082000000001E-2</c:v>
                </c:pt>
                <c:pt idx="648">
                  <c:v>3.1192283000000001E-2</c:v>
                </c:pt>
                <c:pt idx="649">
                  <c:v>3.3377408999999997E-2</c:v>
                </c:pt>
                <c:pt idx="650">
                  <c:v>2.6353356000000001E-2</c:v>
                </c:pt>
                <c:pt idx="651">
                  <c:v>2.8660001000000001E-2</c:v>
                </c:pt>
                <c:pt idx="652">
                  <c:v>2.4830874999999999E-2</c:v>
                </c:pt>
                <c:pt idx="653">
                  <c:v>2.3544107000000002E-2</c:v>
                </c:pt>
                <c:pt idx="654">
                  <c:v>2.4303212000000001E-2</c:v>
                </c:pt>
                <c:pt idx="655">
                  <c:v>2.6940410000000001E-2</c:v>
                </c:pt>
                <c:pt idx="656">
                  <c:v>2.7880438E-2</c:v>
                </c:pt>
                <c:pt idx="657">
                  <c:v>2.4920613000000001E-2</c:v>
                </c:pt>
                <c:pt idx="658">
                  <c:v>2.1721351E-2</c:v>
                </c:pt>
                <c:pt idx="659">
                  <c:v>2.4971849000000001E-2</c:v>
                </c:pt>
                <c:pt idx="660">
                  <c:v>2.2066894E-2</c:v>
                </c:pt>
                <c:pt idx="661">
                  <c:v>4.0159267999999998E-2</c:v>
                </c:pt>
                <c:pt idx="662">
                  <c:v>1.8685423E-2</c:v>
                </c:pt>
                <c:pt idx="663">
                  <c:v>1.8701931000000001E-2</c:v>
                </c:pt>
                <c:pt idx="664">
                  <c:v>2.5541521000000001E-2</c:v>
                </c:pt>
                <c:pt idx="665">
                  <c:v>3.8508153000000003E-2</c:v>
                </c:pt>
                <c:pt idx="666">
                  <c:v>3.0984418999999999E-2</c:v>
                </c:pt>
                <c:pt idx="667">
                  <c:v>3.3352412999999997E-2</c:v>
                </c:pt>
                <c:pt idx="668">
                  <c:v>3.5899695000000002E-2</c:v>
                </c:pt>
                <c:pt idx="669">
                  <c:v>3.8626571999999998E-2</c:v>
                </c:pt>
                <c:pt idx="670">
                  <c:v>3.4893110999999997E-2</c:v>
                </c:pt>
                <c:pt idx="671">
                  <c:v>3.5540196000000003E-2</c:v>
                </c:pt>
                <c:pt idx="672">
                  <c:v>2.2551149999999999E-2</c:v>
                </c:pt>
                <c:pt idx="673">
                  <c:v>2.3068313E-2</c:v>
                </c:pt>
                <c:pt idx="674">
                  <c:v>1.7399695999999999E-2</c:v>
                </c:pt>
                <c:pt idx="675">
                  <c:v>1.5857069000000001E-2</c:v>
                </c:pt>
                <c:pt idx="676">
                  <c:v>1.9802203000000001E-2</c:v>
                </c:pt>
                <c:pt idx="677">
                  <c:v>2.2809494999999999E-2</c:v>
                </c:pt>
                <c:pt idx="678">
                  <c:v>2.3211405000000001E-2</c:v>
                </c:pt>
                <c:pt idx="679">
                  <c:v>1.5788908000000001E-2</c:v>
                </c:pt>
                <c:pt idx="680">
                  <c:v>1.7072475E-2</c:v>
                </c:pt>
                <c:pt idx="681">
                  <c:v>1.8476373000000001E-2</c:v>
                </c:pt>
                <c:pt idx="682">
                  <c:v>2.2414439000000001E-2</c:v>
                </c:pt>
                <c:pt idx="683">
                  <c:v>2.2166676E-2</c:v>
                </c:pt>
                <c:pt idx="684">
                  <c:v>2.0226737000000002E-2</c:v>
                </c:pt>
                <c:pt idx="685">
                  <c:v>2.7920100999999999E-2</c:v>
                </c:pt>
                <c:pt idx="686">
                  <c:v>1.5373464E-2</c:v>
                </c:pt>
                <c:pt idx="687">
                  <c:v>1.4029727000000001E-2</c:v>
                </c:pt>
                <c:pt idx="688">
                  <c:v>1.5866847E-2</c:v>
                </c:pt>
                <c:pt idx="689">
                  <c:v>1.6344445999999999E-2</c:v>
                </c:pt>
                <c:pt idx="690">
                  <c:v>1.8653988999999999E-2</c:v>
                </c:pt>
                <c:pt idx="691">
                  <c:v>1.7200132E-2</c:v>
                </c:pt>
                <c:pt idx="692">
                  <c:v>1.5765159000000001E-2</c:v>
                </c:pt>
                <c:pt idx="693">
                  <c:v>1.3626558E-2</c:v>
                </c:pt>
                <c:pt idx="694">
                  <c:v>9.6354270000000002E-3</c:v>
                </c:pt>
                <c:pt idx="695">
                  <c:v>1.0602626E-2</c:v>
                </c:pt>
                <c:pt idx="696">
                  <c:v>1.29102E-2</c:v>
                </c:pt>
                <c:pt idx="697">
                  <c:v>9.6670349999999992E-3</c:v>
                </c:pt>
                <c:pt idx="698">
                  <c:v>1.0905570999999999E-2</c:v>
                </c:pt>
                <c:pt idx="699">
                  <c:v>8.6988610000000004E-3</c:v>
                </c:pt>
                <c:pt idx="700">
                  <c:v>9.6090629999999993E-3</c:v>
                </c:pt>
                <c:pt idx="701">
                  <c:v>8.6702150000000002E-3</c:v>
                </c:pt>
                <c:pt idx="702">
                  <c:v>1.0269311999999999E-2</c:v>
                </c:pt>
                <c:pt idx="703">
                  <c:v>1.6955220999999999E-2</c:v>
                </c:pt>
                <c:pt idx="704">
                  <c:v>1.275631E-2</c:v>
                </c:pt>
                <c:pt idx="705">
                  <c:v>2.3119766E-2</c:v>
                </c:pt>
                <c:pt idx="706">
                  <c:v>1.4982123999999999E-2</c:v>
                </c:pt>
                <c:pt idx="707">
                  <c:v>1.7394864999999999E-2</c:v>
                </c:pt>
                <c:pt idx="708">
                  <c:v>1.1381917E-2</c:v>
                </c:pt>
                <c:pt idx="709">
                  <c:v>1.2105807999999999E-2</c:v>
                </c:pt>
                <c:pt idx="710">
                  <c:v>1.7374463999999999E-2</c:v>
                </c:pt>
                <c:pt idx="711">
                  <c:v>1.549975E-2</c:v>
                </c:pt>
                <c:pt idx="712">
                  <c:v>1.6955429000000001E-2</c:v>
                </c:pt>
                <c:pt idx="713">
                  <c:v>1.6370203999999999E-2</c:v>
                </c:pt>
                <c:pt idx="714">
                  <c:v>1.3391699E-2</c:v>
                </c:pt>
                <c:pt idx="715">
                  <c:v>1.5267182000000001E-2</c:v>
                </c:pt>
                <c:pt idx="716">
                  <c:v>9.3877349999999995E-3</c:v>
                </c:pt>
                <c:pt idx="717">
                  <c:v>1.2651766E-2</c:v>
                </c:pt>
                <c:pt idx="718">
                  <c:v>1.3033036E-2</c:v>
                </c:pt>
                <c:pt idx="719">
                  <c:v>1.5331350000000001E-2</c:v>
                </c:pt>
                <c:pt idx="720">
                  <c:v>2.0377266000000002E-2</c:v>
                </c:pt>
                <c:pt idx="721">
                  <c:v>1.8534749999999999E-2</c:v>
                </c:pt>
                <c:pt idx="722">
                  <c:v>1.7621342000000002E-2</c:v>
                </c:pt>
                <c:pt idx="723">
                  <c:v>2.3683003000000001E-2</c:v>
                </c:pt>
                <c:pt idx="724">
                  <c:v>2.0664512999999999E-2</c:v>
                </c:pt>
                <c:pt idx="725">
                  <c:v>1.8015653999999999E-2</c:v>
                </c:pt>
                <c:pt idx="726">
                  <c:v>2.4968246999999999E-2</c:v>
                </c:pt>
                <c:pt idx="727">
                  <c:v>1.9997063999999998E-2</c:v>
                </c:pt>
                <c:pt idx="728">
                  <c:v>2.3449475000000001E-2</c:v>
                </c:pt>
                <c:pt idx="729">
                  <c:v>2.6756872000000001E-2</c:v>
                </c:pt>
                <c:pt idx="730">
                  <c:v>1.7920780000000001E-2</c:v>
                </c:pt>
                <c:pt idx="731">
                  <c:v>2.4286071999999999E-2</c:v>
                </c:pt>
                <c:pt idx="732">
                  <c:v>2.5025123E-2</c:v>
                </c:pt>
                <c:pt idx="733">
                  <c:v>1.7612019999999999E-2</c:v>
                </c:pt>
                <c:pt idx="734">
                  <c:v>2.0438689999999999E-2</c:v>
                </c:pt>
                <c:pt idx="735">
                  <c:v>2.1949456999999999E-2</c:v>
                </c:pt>
                <c:pt idx="736">
                  <c:v>2.3825621000000002E-2</c:v>
                </c:pt>
                <c:pt idx="737">
                  <c:v>1.5993321000000001E-2</c:v>
                </c:pt>
                <c:pt idx="738">
                  <c:v>1.7414926000000001E-2</c:v>
                </c:pt>
                <c:pt idx="739">
                  <c:v>2.4056294999999998E-2</c:v>
                </c:pt>
                <c:pt idx="740">
                  <c:v>2.1205417000000001E-2</c:v>
                </c:pt>
                <c:pt idx="741">
                  <c:v>2.0631001999999999E-2</c:v>
                </c:pt>
                <c:pt idx="742">
                  <c:v>1.6813982000000002E-2</c:v>
                </c:pt>
                <c:pt idx="743">
                  <c:v>1.4912247E-2</c:v>
                </c:pt>
                <c:pt idx="744">
                  <c:v>1.0481739E-2</c:v>
                </c:pt>
                <c:pt idx="745">
                  <c:v>1.3581853E-2</c:v>
                </c:pt>
                <c:pt idx="746">
                  <c:v>1.2822066999999999E-2</c:v>
                </c:pt>
                <c:pt idx="747">
                  <c:v>1.8492801999999999E-2</c:v>
                </c:pt>
                <c:pt idx="748">
                  <c:v>2.0395678E-2</c:v>
                </c:pt>
                <c:pt idx="749">
                  <c:v>1.4883311999999999E-2</c:v>
                </c:pt>
                <c:pt idx="750">
                  <c:v>9.3994850000000008E-3</c:v>
                </c:pt>
                <c:pt idx="751">
                  <c:v>8.2263000000000006E-3</c:v>
                </c:pt>
                <c:pt idx="752">
                  <c:v>1.0008326E-2</c:v>
                </c:pt>
                <c:pt idx="753">
                  <c:v>1.1872109E-2</c:v>
                </c:pt>
                <c:pt idx="754">
                  <c:v>1.3362201000000001E-2</c:v>
                </c:pt>
                <c:pt idx="755">
                  <c:v>1.5496675999999999E-2</c:v>
                </c:pt>
                <c:pt idx="756">
                  <c:v>1.3435188000000001E-2</c:v>
                </c:pt>
                <c:pt idx="757">
                  <c:v>1.6039779000000001E-2</c:v>
                </c:pt>
                <c:pt idx="758">
                  <c:v>1.4283295E-2</c:v>
                </c:pt>
                <c:pt idx="759">
                  <c:v>1.4209655E-2</c:v>
                </c:pt>
                <c:pt idx="760">
                  <c:v>1.1698696E-2</c:v>
                </c:pt>
                <c:pt idx="761">
                  <c:v>8.0825429999999993E-3</c:v>
                </c:pt>
                <c:pt idx="762">
                  <c:v>7.8370039999999998E-3</c:v>
                </c:pt>
                <c:pt idx="763">
                  <c:v>1.5167521E-2</c:v>
                </c:pt>
                <c:pt idx="764">
                  <c:v>1.5865536E-2</c:v>
                </c:pt>
                <c:pt idx="765">
                  <c:v>1.2903260999999999E-2</c:v>
                </c:pt>
                <c:pt idx="766">
                  <c:v>1.4161038000000001E-2</c:v>
                </c:pt>
                <c:pt idx="767">
                  <c:v>9.6776840000000006E-3</c:v>
                </c:pt>
                <c:pt idx="768">
                  <c:v>1.9473331E-2</c:v>
                </c:pt>
                <c:pt idx="769">
                  <c:v>1.2567759E-2</c:v>
                </c:pt>
                <c:pt idx="770">
                  <c:v>1.2573084E-2</c:v>
                </c:pt>
                <c:pt idx="771">
                  <c:v>1.6142507E-2</c:v>
                </c:pt>
                <c:pt idx="772">
                  <c:v>1.1034257E-2</c:v>
                </c:pt>
                <c:pt idx="773">
                  <c:v>1.114595E-2</c:v>
                </c:pt>
                <c:pt idx="774">
                  <c:v>1.4053207E-2</c:v>
                </c:pt>
                <c:pt idx="775">
                  <c:v>1.4953113000000001E-2</c:v>
                </c:pt>
                <c:pt idx="776">
                  <c:v>1.7816749999999999E-2</c:v>
                </c:pt>
                <c:pt idx="777">
                  <c:v>1.4419616E-2</c:v>
                </c:pt>
                <c:pt idx="778">
                  <c:v>1.2773969E-2</c:v>
                </c:pt>
                <c:pt idx="779">
                  <c:v>1.2283831E-2</c:v>
                </c:pt>
                <c:pt idx="780">
                  <c:v>1.1373332E-2</c:v>
                </c:pt>
                <c:pt idx="781">
                  <c:v>1.3831881000000001E-2</c:v>
                </c:pt>
                <c:pt idx="782">
                  <c:v>1.8873831000000001E-2</c:v>
                </c:pt>
                <c:pt idx="783">
                  <c:v>1.3108349E-2</c:v>
                </c:pt>
                <c:pt idx="784">
                  <c:v>1.4789027999999999E-2</c:v>
                </c:pt>
                <c:pt idx="785">
                  <c:v>2.056229E-2</c:v>
                </c:pt>
                <c:pt idx="786">
                  <c:v>1.4150986000000001E-2</c:v>
                </c:pt>
                <c:pt idx="787">
                  <c:v>1.6559560000000001E-2</c:v>
                </c:pt>
                <c:pt idx="788">
                  <c:v>1.5919545E-2</c:v>
                </c:pt>
                <c:pt idx="789">
                  <c:v>1.4223537E-2</c:v>
                </c:pt>
                <c:pt idx="790">
                  <c:v>9.6866090000000005E-3</c:v>
                </c:pt>
                <c:pt idx="791">
                  <c:v>8.6491869999999992E-3</c:v>
                </c:pt>
                <c:pt idx="792">
                  <c:v>1.2410256E-2</c:v>
                </c:pt>
                <c:pt idx="793">
                  <c:v>1.1141249000000001E-2</c:v>
                </c:pt>
                <c:pt idx="794">
                  <c:v>9.3153850000000007E-3</c:v>
                </c:pt>
                <c:pt idx="795">
                  <c:v>1.0407095E-2</c:v>
                </c:pt>
                <c:pt idx="796">
                  <c:v>1.0681741E-2</c:v>
                </c:pt>
                <c:pt idx="797">
                  <c:v>1.5607987E-2</c:v>
                </c:pt>
                <c:pt idx="798">
                  <c:v>1.2570992E-2</c:v>
                </c:pt>
                <c:pt idx="799">
                  <c:v>1.8946520000000001E-2</c:v>
                </c:pt>
                <c:pt idx="800">
                  <c:v>4.0684812000000001E-2</c:v>
                </c:pt>
                <c:pt idx="801">
                  <c:v>3.7458918000000001E-2</c:v>
                </c:pt>
                <c:pt idx="802">
                  <c:v>1.7401565000000001E-2</c:v>
                </c:pt>
                <c:pt idx="803">
                  <c:v>1.5106252000000001E-2</c:v>
                </c:pt>
                <c:pt idx="804">
                  <c:v>2.9612814000000001E-2</c:v>
                </c:pt>
                <c:pt idx="805">
                  <c:v>2.3444381E-2</c:v>
                </c:pt>
                <c:pt idx="806">
                  <c:v>2.2589270000000002E-2</c:v>
                </c:pt>
                <c:pt idx="807">
                  <c:v>1.9968731E-2</c:v>
                </c:pt>
                <c:pt idx="808">
                  <c:v>1.6062344999999999E-2</c:v>
                </c:pt>
                <c:pt idx="809">
                  <c:v>1.8751262000000001E-2</c:v>
                </c:pt>
                <c:pt idx="810">
                  <c:v>1.4682515E-2</c:v>
                </c:pt>
                <c:pt idx="811">
                  <c:v>1.5395865E-2</c:v>
                </c:pt>
                <c:pt idx="812">
                  <c:v>1.5525581E-2</c:v>
                </c:pt>
                <c:pt idx="813">
                  <c:v>1.4966101000000001E-2</c:v>
                </c:pt>
                <c:pt idx="814">
                  <c:v>1.0631497E-2</c:v>
                </c:pt>
                <c:pt idx="815">
                  <c:v>7.9646070000000003E-3</c:v>
                </c:pt>
                <c:pt idx="816">
                  <c:v>1.1631404E-2</c:v>
                </c:pt>
                <c:pt idx="817">
                  <c:v>1.2551167E-2</c:v>
                </c:pt>
                <c:pt idx="818">
                  <c:v>1.1897847E-2</c:v>
                </c:pt>
                <c:pt idx="819">
                  <c:v>1.0668313E-2</c:v>
                </c:pt>
                <c:pt idx="820">
                  <c:v>8.5907540000000008E-3</c:v>
                </c:pt>
                <c:pt idx="821">
                  <c:v>7.0215290000000003E-3</c:v>
                </c:pt>
                <c:pt idx="822">
                  <c:v>8.9419660000000008E-3</c:v>
                </c:pt>
                <c:pt idx="823">
                  <c:v>8.6138789999999996E-3</c:v>
                </c:pt>
                <c:pt idx="824">
                  <c:v>8.0780560000000001E-3</c:v>
                </c:pt>
                <c:pt idx="825">
                  <c:v>8.5106650000000006E-3</c:v>
                </c:pt>
                <c:pt idx="826">
                  <c:v>1.2436048999999999E-2</c:v>
                </c:pt>
                <c:pt idx="827">
                  <c:v>9.5751350000000002E-3</c:v>
                </c:pt>
                <c:pt idx="828">
                  <c:v>6.7452839999999998E-3</c:v>
                </c:pt>
                <c:pt idx="829">
                  <c:v>6.3461910000000002E-3</c:v>
                </c:pt>
                <c:pt idx="830">
                  <c:v>1.1620989999999999E-2</c:v>
                </c:pt>
                <c:pt idx="831">
                  <c:v>8.8402189999999999E-3</c:v>
                </c:pt>
                <c:pt idx="832">
                  <c:v>9.4431759999999993E-3</c:v>
                </c:pt>
                <c:pt idx="833">
                  <c:v>7.4768359999999997E-3</c:v>
                </c:pt>
                <c:pt idx="834">
                  <c:v>8.0835939999999995E-3</c:v>
                </c:pt>
                <c:pt idx="835">
                  <c:v>7.8915649999999997E-3</c:v>
                </c:pt>
                <c:pt idx="836">
                  <c:v>1.2768979999999999E-2</c:v>
                </c:pt>
                <c:pt idx="837">
                  <c:v>1.0341967000000001E-2</c:v>
                </c:pt>
                <c:pt idx="838">
                  <c:v>1.4907123E-2</c:v>
                </c:pt>
                <c:pt idx="839">
                  <c:v>7.4117860000000001E-3</c:v>
                </c:pt>
                <c:pt idx="840">
                  <c:v>9.1456609999999994E-3</c:v>
                </c:pt>
                <c:pt idx="841">
                  <c:v>1.1595049E-2</c:v>
                </c:pt>
                <c:pt idx="842">
                  <c:v>1.1341262E-2</c:v>
                </c:pt>
                <c:pt idx="843">
                  <c:v>1.1379353E-2</c:v>
                </c:pt>
                <c:pt idx="844">
                  <c:v>7.3641410000000003E-3</c:v>
                </c:pt>
                <c:pt idx="845">
                  <c:v>7.9531480000000002E-3</c:v>
                </c:pt>
                <c:pt idx="846">
                  <c:v>7.5006220000000002E-3</c:v>
                </c:pt>
                <c:pt idx="847">
                  <c:v>1.1819692999999999E-2</c:v>
                </c:pt>
                <c:pt idx="848">
                  <c:v>9.2435360000000001E-3</c:v>
                </c:pt>
                <c:pt idx="849">
                  <c:v>1.4067935E-2</c:v>
                </c:pt>
                <c:pt idx="850">
                  <c:v>1.3854132E-2</c:v>
                </c:pt>
                <c:pt idx="851">
                  <c:v>1.9259148E-2</c:v>
                </c:pt>
                <c:pt idx="852">
                  <c:v>1.5858977999999999E-2</c:v>
                </c:pt>
                <c:pt idx="853">
                  <c:v>1.0778932999999999E-2</c:v>
                </c:pt>
                <c:pt idx="854">
                  <c:v>8.6065889999999996E-3</c:v>
                </c:pt>
                <c:pt idx="855">
                  <c:v>1.1916084E-2</c:v>
                </c:pt>
                <c:pt idx="856">
                  <c:v>9.8473099999999997E-3</c:v>
                </c:pt>
                <c:pt idx="857">
                  <c:v>8.2038000000000007E-3</c:v>
                </c:pt>
                <c:pt idx="858">
                  <c:v>1.2024337E-2</c:v>
                </c:pt>
                <c:pt idx="859">
                  <c:v>1.2768831E-2</c:v>
                </c:pt>
                <c:pt idx="860">
                  <c:v>9.5106970000000002E-3</c:v>
                </c:pt>
                <c:pt idx="861">
                  <c:v>1.0006177999999999E-2</c:v>
                </c:pt>
                <c:pt idx="862">
                  <c:v>1.3840531E-2</c:v>
                </c:pt>
                <c:pt idx="863">
                  <c:v>1.1807990000000001E-2</c:v>
                </c:pt>
                <c:pt idx="864">
                  <c:v>1.0886262000000001E-2</c:v>
                </c:pt>
                <c:pt idx="865">
                  <c:v>9.1707309999999997E-3</c:v>
                </c:pt>
                <c:pt idx="866">
                  <c:v>7.6462850000000001E-3</c:v>
                </c:pt>
                <c:pt idx="867">
                  <c:v>6.8513869999999996E-3</c:v>
                </c:pt>
                <c:pt idx="868">
                  <c:v>8.8022810000000003E-3</c:v>
                </c:pt>
                <c:pt idx="869">
                  <c:v>6.0303919999999999E-3</c:v>
                </c:pt>
                <c:pt idx="870">
                  <c:v>7.6035590000000002E-3</c:v>
                </c:pt>
                <c:pt idx="871">
                  <c:v>7.2540319999999997E-3</c:v>
                </c:pt>
                <c:pt idx="872">
                  <c:v>6.4506249999999998E-3</c:v>
                </c:pt>
                <c:pt idx="873">
                  <c:v>7.9327180000000001E-3</c:v>
                </c:pt>
                <c:pt idx="874">
                  <c:v>8.6790819999999994E-3</c:v>
                </c:pt>
                <c:pt idx="875">
                  <c:v>5.961315E-3</c:v>
                </c:pt>
                <c:pt idx="876">
                  <c:v>6.8276049999999996E-3</c:v>
                </c:pt>
                <c:pt idx="877">
                  <c:v>4.8558610000000004E-3</c:v>
                </c:pt>
                <c:pt idx="878">
                  <c:v>4.8894009999999998E-3</c:v>
                </c:pt>
                <c:pt idx="879">
                  <c:v>1.4508773000000001E-2</c:v>
                </c:pt>
                <c:pt idx="880">
                  <c:v>7.7272809999999999E-3</c:v>
                </c:pt>
                <c:pt idx="881">
                  <c:v>1.4741874E-2</c:v>
                </c:pt>
                <c:pt idx="882">
                  <c:v>1.0881859000000001E-2</c:v>
                </c:pt>
                <c:pt idx="883">
                  <c:v>8.0605620000000003E-3</c:v>
                </c:pt>
                <c:pt idx="884">
                  <c:v>5.551627E-3</c:v>
                </c:pt>
                <c:pt idx="885">
                  <c:v>6.2431079999999998E-3</c:v>
                </c:pt>
                <c:pt idx="886">
                  <c:v>6.9601899999999998E-3</c:v>
                </c:pt>
                <c:pt idx="887">
                  <c:v>6.1716519999999997E-3</c:v>
                </c:pt>
                <c:pt idx="888">
                  <c:v>8.2081559999999994E-3</c:v>
                </c:pt>
                <c:pt idx="889">
                  <c:v>5.6148509999999997E-3</c:v>
                </c:pt>
                <c:pt idx="890">
                  <c:v>5.1047949999999996E-3</c:v>
                </c:pt>
                <c:pt idx="891">
                  <c:v>6.4405540000000002E-3</c:v>
                </c:pt>
                <c:pt idx="892">
                  <c:v>5.1056929999999997E-3</c:v>
                </c:pt>
                <c:pt idx="893">
                  <c:v>5.5852779999999999E-3</c:v>
                </c:pt>
                <c:pt idx="894">
                  <c:v>5.8616299999999996E-3</c:v>
                </c:pt>
                <c:pt idx="895">
                  <c:v>4.5895900000000002E-3</c:v>
                </c:pt>
                <c:pt idx="896">
                  <c:v>6.2252849999999997E-3</c:v>
                </c:pt>
                <c:pt idx="897">
                  <c:v>6.5820979999999998E-3</c:v>
                </c:pt>
                <c:pt idx="898">
                  <c:v>5.1436440000000002E-3</c:v>
                </c:pt>
                <c:pt idx="899">
                  <c:v>9.9766160000000007E-3</c:v>
                </c:pt>
                <c:pt idx="900">
                  <c:v>1.0125965000000001E-2</c:v>
                </c:pt>
                <c:pt idx="901">
                  <c:v>1.4453496999999999E-2</c:v>
                </c:pt>
                <c:pt idx="902">
                  <c:v>1.0276631E-2</c:v>
                </c:pt>
                <c:pt idx="903">
                  <c:v>2.9262752999999999E-2</c:v>
                </c:pt>
                <c:pt idx="904">
                  <c:v>2.4729259999999999E-2</c:v>
                </c:pt>
                <c:pt idx="905">
                  <c:v>1.3729056E-2</c:v>
                </c:pt>
                <c:pt idx="906">
                  <c:v>2.0782595000000001E-2</c:v>
                </c:pt>
                <c:pt idx="907">
                  <c:v>1.5887221E-2</c:v>
                </c:pt>
                <c:pt idx="908">
                  <c:v>1.2303957000000001E-2</c:v>
                </c:pt>
                <c:pt idx="909">
                  <c:v>1.2353546999999999E-2</c:v>
                </c:pt>
                <c:pt idx="910">
                  <c:v>1.1014359E-2</c:v>
                </c:pt>
                <c:pt idx="911">
                  <c:v>1.0030017E-2</c:v>
                </c:pt>
                <c:pt idx="912">
                  <c:v>1.1435684E-2</c:v>
                </c:pt>
                <c:pt idx="913">
                  <c:v>1.3219860999999999E-2</c:v>
                </c:pt>
                <c:pt idx="914">
                  <c:v>1.6104053E-2</c:v>
                </c:pt>
                <c:pt idx="915">
                  <c:v>9.1127840000000005E-3</c:v>
                </c:pt>
                <c:pt idx="916">
                  <c:v>1.1180373E-2</c:v>
                </c:pt>
                <c:pt idx="917">
                  <c:v>8.0815100000000001E-3</c:v>
                </c:pt>
                <c:pt idx="918">
                  <c:v>9.2105940000000008E-3</c:v>
                </c:pt>
                <c:pt idx="919">
                  <c:v>1.048991E-2</c:v>
                </c:pt>
                <c:pt idx="920">
                  <c:v>1.0616782E-2</c:v>
                </c:pt>
                <c:pt idx="921">
                  <c:v>1.1168376000000001E-2</c:v>
                </c:pt>
                <c:pt idx="922">
                  <c:v>1.0043921000000001E-2</c:v>
                </c:pt>
                <c:pt idx="923">
                  <c:v>9.9086030000000002E-3</c:v>
                </c:pt>
                <c:pt idx="924">
                  <c:v>1.3607197E-2</c:v>
                </c:pt>
                <c:pt idx="925">
                  <c:v>1.1041764000000001E-2</c:v>
                </c:pt>
                <c:pt idx="926">
                  <c:v>1.1801809E-2</c:v>
                </c:pt>
                <c:pt idx="927">
                  <c:v>7.3378209999999996E-3</c:v>
                </c:pt>
                <c:pt idx="928">
                  <c:v>6.8669270000000001E-3</c:v>
                </c:pt>
                <c:pt idx="929">
                  <c:v>7.1977109999999999E-3</c:v>
                </c:pt>
                <c:pt idx="930">
                  <c:v>1.2252689000000001E-2</c:v>
                </c:pt>
                <c:pt idx="931">
                  <c:v>7.8705649999999995E-3</c:v>
                </c:pt>
                <c:pt idx="932">
                  <c:v>8.4778219999999994E-3</c:v>
                </c:pt>
                <c:pt idx="933">
                  <c:v>1.8363986999999998E-2</c:v>
                </c:pt>
                <c:pt idx="934">
                  <c:v>1.6181015999999999E-2</c:v>
                </c:pt>
                <c:pt idx="935">
                  <c:v>1.1023041000000001E-2</c:v>
                </c:pt>
                <c:pt idx="936">
                  <c:v>2.2020537999999999E-2</c:v>
                </c:pt>
                <c:pt idx="937">
                  <c:v>2.1742898E-2</c:v>
                </c:pt>
                <c:pt idx="938">
                  <c:v>2.4623763999999999E-2</c:v>
                </c:pt>
                <c:pt idx="939">
                  <c:v>2.8686012E-2</c:v>
                </c:pt>
                <c:pt idx="940">
                  <c:v>2.2943603E-2</c:v>
                </c:pt>
                <c:pt idx="941">
                  <c:v>2.2650217E-2</c:v>
                </c:pt>
                <c:pt idx="942">
                  <c:v>2.2347170999999999E-2</c:v>
                </c:pt>
                <c:pt idx="943">
                  <c:v>1.4162272E-2</c:v>
                </c:pt>
                <c:pt idx="944">
                  <c:v>1.1412563000000001E-2</c:v>
                </c:pt>
                <c:pt idx="945">
                  <c:v>1.1823119E-2</c:v>
                </c:pt>
                <c:pt idx="946">
                  <c:v>2.3881017000000001E-2</c:v>
                </c:pt>
                <c:pt idx="947">
                  <c:v>1.3535902000000001E-2</c:v>
                </c:pt>
                <c:pt idx="948">
                  <c:v>1.1599943E-2</c:v>
                </c:pt>
                <c:pt idx="949">
                  <c:v>1.4743740999999999E-2</c:v>
                </c:pt>
                <c:pt idx="950">
                  <c:v>2.1204375000000001E-2</c:v>
                </c:pt>
                <c:pt idx="951">
                  <c:v>3.0010914E-2</c:v>
                </c:pt>
                <c:pt idx="952">
                  <c:v>1.7127379000000002E-2</c:v>
                </c:pt>
                <c:pt idx="953">
                  <c:v>2.6603460999999998E-2</c:v>
                </c:pt>
                <c:pt idx="954">
                  <c:v>2.1132531E-2</c:v>
                </c:pt>
                <c:pt idx="955">
                  <c:v>2.017147E-2</c:v>
                </c:pt>
                <c:pt idx="956">
                  <c:v>1.7691905000000001E-2</c:v>
                </c:pt>
                <c:pt idx="957">
                  <c:v>1.7015359000000001E-2</c:v>
                </c:pt>
                <c:pt idx="958">
                  <c:v>1.2716584E-2</c:v>
                </c:pt>
                <c:pt idx="959">
                  <c:v>1.2227699E-2</c:v>
                </c:pt>
                <c:pt idx="960">
                  <c:v>1.4078851999999999E-2</c:v>
                </c:pt>
                <c:pt idx="961">
                  <c:v>1.5092141E-2</c:v>
                </c:pt>
                <c:pt idx="962">
                  <c:v>1.5782319999999999E-2</c:v>
                </c:pt>
                <c:pt idx="963">
                  <c:v>1.3365587999999999E-2</c:v>
                </c:pt>
                <c:pt idx="964">
                  <c:v>1.5347602E-2</c:v>
                </c:pt>
                <c:pt idx="965">
                  <c:v>1.0244609E-2</c:v>
                </c:pt>
                <c:pt idx="966">
                  <c:v>9.3368410000000002E-3</c:v>
                </c:pt>
                <c:pt idx="967">
                  <c:v>8.5686419999999996E-3</c:v>
                </c:pt>
                <c:pt idx="968">
                  <c:v>9.857022E-3</c:v>
                </c:pt>
                <c:pt idx="969">
                  <c:v>9.4260509999999995E-3</c:v>
                </c:pt>
                <c:pt idx="970">
                  <c:v>9.5015949999999998E-3</c:v>
                </c:pt>
                <c:pt idx="971">
                  <c:v>1.3302830999999999E-2</c:v>
                </c:pt>
                <c:pt idx="972">
                  <c:v>1.9063713999999999E-2</c:v>
                </c:pt>
                <c:pt idx="973">
                  <c:v>1.5252336E-2</c:v>
                </c:pt>
                <c:pt idx="974">
                  <c:v>1.4101267000000001E-2</c:v>
                </c:pt>
                <c:pt idx="975">
                  <c:v>1.1500458999999999E-2</c:v>
                </c:pt>
                <c:pt idx="976">
                  <c:v>1.2886953E-2</c:v>
                </c:pt>
                <c:pt idx="977">
                  <c:v>1.2461939E-2</c:v>
                </c:pt>
                <c:pt idx="978">
                  <c:v>1.5054315E-2</c:v>
                </c:pt>
                <c:pt idx="979">
                  <c:v>2.0479536999999999E-2</c:v>
                </c:pt>
                <c:pt idx="980">
                  <c:v>2.6690183999999999E-2</c:v>
                </c:pt>
                <c:pt idx="981">
                  <c:v>2.3676876999999999E-2</c:v>
                </c:pt>
                <c:pt idx="982">
                  <c:v>1.3965208E-2</c:v>
                </c:pt>
                <c:pt idx="983">
                  <c:v>1.7734762000000001E-2</c:v>
                </c:pt>
                <c:pt idx="984">
                  <c:v>1.4794821999999999E-2</c:v>
                </c:pt>
                <c:pt idx="985">
                  <c:v>1.4979629E-2</c:v>
                </c:pt>
                <c:pt idx="986">
                  <c:v>1.2251417000000001E-2</c:v>
                </c:pt>
                <c:pt idx="987">
                  <c:v>2.3290129999999999E-2</c:v>
                </c:pt>
                <c:pt idx="988">
                  <c:v>2.6850842E-2</c:v>
                </c:pt>
                <c:pt idx="989">
                  <c:v>2.9276000999999999E-2</c:v>
                </c:pt>
                <c:pt idx="990">
                  <c:v>2.6782659E-2</c:v>
                </c:pt>
                <c:pt idx="991">
                  <c:v>3.1818060000000002E-2</c:v>
                </c:pt>
                <c:pt idx="992">
                  <c:v>2.8220540999999998E-2</c:v>
                </c:pt>
                <c:pt idx="993">
                  <c:v>3.7742124000000002E-2</c:v>
                </c:pt>
                <c:pt idx="994">
                  <c:v>2.8497896000000002E-2</c:v>
                </c:pt>
                <c:pt idx="995">
                  <c:v>3.6640053999999998E-2</c:v>
                </c:pt>
                <c:pt idx="996">
                  <c:v>3.8370398999999999E-2</c:v>
                </c:pt>
                <c:pt idx="997">
                  <c:v>3.4530945E-2</c:v>
                </c:pt>
                <c:pt idx="998">
                  <c:v>2.9375076999999999E-2</c:v>
                </c:pt>
                <c:pt idx="999">
                  <c:v>2.2488248999999998E-2</c:v>
                </c:pt>
                <c:pt idx="1000">
                  <c:v>2.1179838999999999E-2</c:v>
                </c:pt>
                <c:pt idx="1001">
                  <c:v>2.9020039000000001E-2</c:v>
                </c:pt>
                <c:pt idx="1002">
                  <c:v>3.2336508999999999E-2</c:v>
                </c:pt>
                <c:pt idx="1003">
                  <c:v>2.7967287E-2</c:v>
                </c:pt>
                <c:pt idx="1004">
                  <c:v>2.7201297999999999E-2</c:v>
                </c:pt>
                <c:pt idx="1005">
                  <c:v>2.2512259999999999E-2</c:v>
                </c:pt>
                <c:pt idx="1006">
                  <c:v>1.6347055999999999E-2</c:v>
                </c:pt>
                <c:pt idx="1007">
                  <c:v>1.6126332E-2</c:v>
                </c:pt>
                <c:pt idx="1008">
                  <c:v>3.1083609000000002E-2</c:v>
                </c:pt>
                <c:pt idx="1009">
                  <c:v>3.7231868000000001E-2</c:v>
                </c:pt>
                <c:pt idx="1010">
                  <c:v>2.2472125999999999E-2</c:v>
                </c:pt>
                <c:pt idx="1011">
                  <c:v>2.3262801E-2</c:v>
                </c:pt>
                <c:pt idx="1012">
                  <c:v>1.4642820000000001E-2</c:v>
                </c:pt>
                <c:pt idx="1013">
                  <c:v>1.7767435000000002E-2</c:v>
                </c:pt>
                <c:pt idx="1014">
                  <c:v>1.3870878999999999E-2</c:v>
                </c:pt>
                <c:pt idx="1015">
                  <c:v>1.3883810999999999E-2</c:v>
                </c:pt>
                <c:pt idx="1016">
                  <c:v>1.2944265999999999E-2</c:v>
                </c:pt>
                <c:pt idx="1017">
                  <c:v>2.3344001E-2</c:v>
                </c:pt>
                <c:pt idx="1018">
                  <c:v>2.3157002999999999E-2</c:v>
                </c:pt>
                <c:pt idx="1019">
                  <c:v>2.2139651999999999E-2</c:v>
                </c:pt>
                <c:pt idx="1020">
                  <c:v>2.4021928000000001E-2</c:v>
                </c:pt>
                <c:pt idx="1021">
                  <c:v>2.5792274E-2</c:v>
                </c:pt>
                <c:pt idx="1022">
                  <c:v>2.7246909E-2</c:v>
                </c:pt>
                <c:pt idx="1023">
                  <c:v>2.2593546999999999E-2</c:v>
                </c:pt>
                <c:pt idx="1024">
                  <c:v>2.8080498999999998E-2</c:v>
                </c:pt>
                <c:pt idx="1025">
                  <c:v>3.2009070000000001E-2</c:v>
                </c:pt>
                <c:pt idx="1026">
                  <c:v>2.2696183000000002E-2</c:v>
                </c:pt>
                <c:pt idx="1027">
                  <c:v>2.235531E-2</c:v>
                </c:pt>
                <c:pt idx="1028">
                  <c:v>2.9280539000000001E-2</c:v>
                </c:pt>
                <c:pt idx="1029">
                  <c:v>3.3041596999999999E-2</c:v>
                </c:pt>
                <c:pt idx="1030">
                  <c:v>3.1417002999999999E-2</c:v>
                </c:pt>
                <c:pt idx="1031">
                  <c:v>2.0655117000000001E-2</c:v>
                </c:pt>
                <c:pt idx="1032">
                  <c:v>2.4114211999999999E-2</c:v>
                </c:pt>
                <c:pt idx="1033">
                  <c:v>1.7670419999999999E-2</c:v>
                </c:pt>
                <c:pt idx="1034">
                  <c:v>2.3599274E-2</c:v>
                </c:pt>
                <c:pt idx="1035">
                  <c:v>3.2493725000000001E-2</c:v>
                </c:pt>
                <c:pt idx="1036">
                  <c:v>2.6835008E-2</c:v>
                </c:pt>
                <c:pt idx="1037">
                  <c:v>2.5173477E-2</c:v>
                </c:pt>
                <c:pt idx="1038">
                  <c:v>2.6497653999999999E-2</c:v>
                </c:pt>
                <c:pt idx="1039">
                  <c:v>2.2830435E-2</c:v>
                </c:pt>
                <c:pt idx="1040">
                  <c:v>2.2638427999999999E-2</c:v>
                </c:pt>
                <c:pt idx="1041">
                  <c:v>2.4920880999999999E-2</c:v>
                </c:pt>
                <c:pt idx="1042">
                  <c:v>3.0806027999999999E-2</c:v>
                </c:pt>
                <c:pt idx="1043">
                  <c:v>1.9580199E-2</c:v>
                </c:pt>
                <c:pt idx="1044">
                  <c:v>1.8228164000000002E-2</c:v>
                </c:pt>
                <c:pt idx="1045">
                  <c:v>1.8844568999999999E-2</c:v>
                </c:pt>
                <c:pt idx="1046">
                  <c:v>1.5547725E-2</c:v>
                </c:pt>
                <c:pt idx="1047">
                  <c:v>2.2244369E-2</c:v>
                </c:pt>
                <c:pt idx="1048">
                  <c:v>2.1820150999999999E-2</c:v>
                </c:pt>
                <c:pt idx="1049">
                  <c:v>2.6345766E-2</c:v>
                </c:pt>
                <c:pt idx="1050">
                  <c:v>2.4658868E-2</c:v>
                </c:pt>
                <c:pt idx="1051">
                  <c:v>2.5471288000000002E-2</c:v>
                </c:pt>
                <c:pt idx="1052">
                  <c:v>2.9103517999999998E-2</c:v>
                </c:pt>
                <c:pt idx="1053">
                  <c:v>2.6863847999999999E-2</c:v>
                </c:pt>
                <c:pt idx="1054">
                  <c:v>3.3051338999999999E-2</c:v>
                </c:pt>
                <c:pt idx="1055">
                  <c:v>2.1012617000000001E-2</c:v>
                </c:pt>
                <c:pt idx="1056">
                  <c:v>2.5810333000000001E-2</c:v>
                </c:pt>
                <c:pt idx="1057">
                  <c:v>1.9683941E-2</c:v>
                </c:pt>
                <c:pt idx="1058">
                  <c:v>1.4907177000000001E-2</c:v>
                </c:pt>
                <c:pt idx="1059">
                  <c:v>1.8377220999999999E-2</c:v>
                </c:pt>
                <c:pt idx="1060">
                  <c:v>2.0642902000000001E-2</c:v>
                </c:pt>
                <c:pt idx="1061">
                  <c:v>1.8858280000000002E-2</c:v>
                </c:pt>
                <c:pt idx="1062">
                  <c:v>1.9687049000000002E-2</c:v>
                </c:pt>
                <c:pt idx="1063">
                  <c:v>1.2551124E-2</c:v>
                </c:pt>
                <c:pt idx="1064">
                  <c:v>1.5722357999999999E-2</c:v>
                </c:pt>
                <c:pt idx="1065">
                  <c:v>1.3796876E-2</c:v>
                </c:pt>
                <c:pt idx="1066">
                  <c:v>1.6202248999999998E-2</c:v>
                </c:pt>
                <c:pt idx="1067">
                  <c:v>2.6632007999999999E-2</c:v>
                </c:pt>
                <c:pt idx="1068">
                  <c:v>2.4731791999999999E-2</c:v>
                </c:pt>
                <c:pt idx="1069">
                  <c:v>2.5852447000000001E-2</c:v>
                </c:pt>
                <c:pt idx="1070">
                  <c:v>2.9301613000000001E-2</c:v>
                </c:pt>
                <c:pt idx="1071">
                  <c:v>2.3021106999999999E-2</c:v>
                </c:pt>
                <c:pt idx="1072">
                  <c:v>2.3282579000000001E-2</c:v>
                </c:pt>
                <c:pt idx="1073">
                  <c:v>2.1650655000000001E-2</c:v>
                </c:pt>
                <c:pt idx="1074">
                  <c:v>2.3714710999999999E-2</c:v>
                </c:pt>
                <c:pt idx="1075">
                  <c:v>1.9103130999999999E-2</c:v>
                </c:pt>
                <c:pt idx="1076">
                  <c:v>1.7758947000000001E-2</c:v>
                </c:pt>
                <c:pt idx="1077">
                  <c:v>1.8065537E-2</c:v>
                </c:pt>
                <c:pt idx="1078">
                  <c:v>1.7111629E-2</c:v>
                </c:pt>
                <c:pt idx="1079">
                  <c:v>1.7685200000000002E-2</c:v>
                </c:pt>
                <c:pt idx="1080">
                  <c:v>2.2703843000000001E-2</c:v>
                </c:pt>
                <c:pt idx="1081">
                  <c:v>2.3651877000000002E-2</c:v>
                </c:pt>
                <c:pt idx="1082">
                  <c:v>2.4306108E-2</c:v>
                </c:pt>
                <c:pt idx="1083">
                  <c:v>2.5969745999999998E-2</c:v>
                </c:pt>
                <c:pt idx="1084">
                  <c:v>2.3781587E-2</c:v>
                </c:pt>
                <c:pt idx="1085">
                  <c:v>1.8302595000000001E-2</c:v>
                </c:pt>
                <c:pt idx="1086">
                  <c:v>1.5012536E-2</c:v>
                </c:pt>
                <c:pt idx="1087">
                  <c:v>1.7214295000000001E-2</c:v>
                </c:pt>
                <c:pt idx="1088">
                  <c:v>2.0359023E-2</c:v>
                </c:pt>
                <c:pt idx="1089">
                  <c:v>2.1836596999999999E-2</c:v>
                </c:pt>
                <c:pt idx="1090">
                  <c:v>2.5308127E-2</c:v>
                </c:pt>
                <c:pt idx="1091">
                  <c:v>2.1669330000000001E-2</c:v>
                </c:pt>
                <c:pt idx="1092">
                  <c:v>1.6867505000000001E-2</c:v>
                </c:pt>
                <c:pt idx="1093">
                  <c:v>1.6469451E-2</c:v>
                </c:pt>
                <c:pt idx="1094">
                  <c:v>1.5743393000000001E-2</c:v>
                </c:pt>
                <c:pt idx="1095">
                  <c:v>1.4030664E-2</c:v>
                </c:pt>
                <c:pt idx="1096">
                  <c:v>1.3037661000000001E-2</c:v>
                </c:pt>
                <c:pt idx="1097">
                  <c:v>1.2442338000000001E-2</c:v>
                </c:pt>
                <c:pt idx="1098">
                  <c:v>1.3270563000000001E-2</c:v>
                </c:pt>
                <c:pt idx="1099">
                  <c:v>1.5666748000000001E-2</c:v>
                </c:pt>
                <c:pt idx="1100">
                  <c:v>1.6407479999999999E-2</c:v>
                </c:pt>
                <c:pt idx="1101">
                  <c:v>1.3121212E-2</c:v>
                </c:pt>
                <c:pt idx="1102">
                  <c:v>1.7174451E-2</c:v>
                </c:pt>
                <c:pt idx="1103">
                  <c:v>1.6463128E-2</c:v>
                </c:pt>
                <c:pt idx="1104">
                  <c:v>1.4437017999999999E-2</c:v>
                </c:pt>
                <c:pt idx="1105">
                  <c:v>1.5466214000000001E-2</c:v>
                </c:pt>
                <c:pt idx="1106">
                  <c:v>1.6536808E-2</c:v>
                </c:pt>
                <c:pt idx="1107">
                  <c:v>1.7608467999999999E-2</c:v>
                </c:pt>
                <c:pt idx="1108">
                  <c:v>1.7718385E-2</c:v>
                </c:pt>
                <c:pt idx="1109">
                  <c:v>3.2011253000000003E-2</c:v>
                </c:pt>
                <c:pt idx="1110">
                  <c:v>2.3331517E-2</c:v>
                </c:pt>
                <c:pt idx="1111">
                  <c:v>1.9422302999999998E-2</c:v>
                </c:pt>
                <c:pt idx="1112">
                  <c:v>1.7863041999999999E-2</c:v>
                </c:pt>
                <c:pt idx="1113">
                  <c:v>1.8336893E-2</c:v>
                </c:pt>
                <c:pt idx="1114">
                  <c:v>1.7093725000000001E-2</c:v>
                </c:pt>
                <c:pt idx="1115">
                  <c:v>1.5032854E-2</c:v>
                </c:pt>
                <c:pt idx="1116">
                  <c:v>1.2587653000000001E-2</c:v>
                </c:pt>
                <c:pt idx="1117">
                  <c:v>1.1021827E-2</c:v>
                </c:pt>
                <c:pt idx="1118">
                  <c:v>8.822603E-3</c:v>
                </c:pt>
                <c:pt idx="1119">
                  <c:v>1.2562787000000001E-2</c:v>
                </c:pt>
                <c:pt idx="1120">
                  <c:v>1.1561920999999999E-2</c:v>
                </c:pt>
                <c:pt idx="1121">
                  <c:v>1.1578608000000001E-2</c:v>
                </c:pt>
                <c:pt idx="1122">
                  <c:v>1.2315484999999999E-2</c:v>
                </c:pt>
                <c:pt idx="1123">
                  <c:v>1.0251101E-2</c:v>
                </c:pt>
                <c:pt idx="1124">
                  <c:v>1.0848712999999999E-2</c:v>
                </c:pt>
                <c:pt idx="1125">
                  <c:v>1.0338834E-2</c:v>
                </c:pt>
                <c:pt idx="1126">
                  <c:v>1.0747203E-2</c:v>
                </c:pt>
                <c:pt idx="1127">
                  <c:v>9.9027649999999991E-3</c:v>
                </c:pt>
                <c:pt idx="1128">
                  <c:v>1.2598355E-2</c:v>
                </c:pt>
                <c:pt idx="1129">
                  <c:v>1.052908E-2</c:v>
                </c:pt>
                <c:pt idx="1130">
                  <c:v>1.0418261E-2</c:v>
                </c:pt>
                <c:pt idx="1131">
                  <c:v>1.1030286E-2</c:v>
                </c:pt>
                <c:pt idx="1132">
                  <c:v>1.110626E-2</c:v>
                </c:pt>
                <c:pt idx="1133">
                  <c:v>9.5313429999999994E-3</c:v>
                </c:pt>
                <c:pt idx="1134">
                  <c:v>8.1811780000000008E-3</c:v>
                </c:pt>
                <c:pt idx="1135">
                  <c:v>1.2408944999999999E-2</c:v>
                </c:pt>
                <c:pt idx="1136">
                  <c:v>1.0704287999999999E-2</c:v>
                </c:pt>
                <c:pt idx="1137">
                  <c:v>1.0321978000000001E-2</c:v>
                </c:pt>
                <c:pt idx="1138">
                  <c:v>1.0366208E-2</c:v>
                </c:pt>
                <c:pt idx="1139">
                  <c:v>1.0702622E-2</c:v>
                </c:pt>
                <c:pt idx="1140">
                  <c:v>7.9557359999999997E-3</c:v>
                </c:pt>
                <c:pt idx="1141">
                  <c:v>1.0436009E-2</c:v>
                </c:pt>
                <c:pt idx="1142">
                  <c:v>1.0146812E-2</c:v>
                </c:pt>
                <c:pt idx="1143">
                  <c:v>9.5874500000000008E-3</c:v>
                </c:pt>
                <c:pt idx="1144">
                  <c:v>1.0454335E-2</c:v>
                </c:pt>
                <c:pt idx="1145">
                  <c:v>1.0932931E-2</c:v>
                </c:pt>
                <c:pt idx="1146">
                  <c:v>1.2624951000000001E-2</c:v>
                </c:pt>
                <c:pt idx="1147">
                  <c:v>1.2225557E-2</c:v>
                </c:pt>
                <c:pt idx="1148">
                  <c:v>1.0516485000000001E-2</c:v>
                </c:pt>
                <c:pt idx="1149">
                  <c:v>9.0781409999999996E-3</c:v>
                </c:pt>
                <c:pt idx="1150">
                  <c:v>9.5370090000000008E-3</c:v>
                </c:pt>
                <c:pt idx="1151">
                  <c:v>6.5977529999999996E-3</c:v>
                </c:pt>
                <c:pt idx="1152">
                  <c:v>5.9410879999999998E-3</c:v>
                </c:pt>
                <c:pt idx="1153">
                  <c:v>6.4943550000000003E-3</c:v>
                </c:pt>
                <c:pt idx="1154">
                  <c:v>1.0586389999999999E-2</c:v>
                </c:pt>
                <c:pt idx="1155">
                  <c:v>1.3085736000000001E-2</c:v>
                </c:pt>
                <c:pt idx="1156">
                  <c:v>1.3504779E-2</c:v>
                </c:pt>
                <c:pt idx="1157">
                  <c:v>1.0221836E-2</c:v>
                </c:pt>
                <c:pt idx="1158">
                  <c:v>2.0195813999999999E-2</c:v>
                </c:pt>
                <c:pt idx="1159">
                  <c:v>1.4300271999999999E-2</c:v>
                </c:pt>
                <c:pt idx="1160">
                  <c:v>9.9099679999999999E-3</c:v>
                </c:pt>
                <c:pt idx="1161">
                  <c:v>1.3298750999999999E-2</c:v>
                </c:pt>
                <c:pt idx="1162">
                  <c:v>1.6371757000000001E-2</c:v>
                </c:pt>
                <c:pt idx="1163">
                  <c:v>1.4636913999999999E-2</c:v>
                </c:pt>
                <c:pt idx="1164">
                  <c:v>1.0252928999999999E-2</c:v>
                </c:pt>
                <c:pt idx="1165">
                  <c:v>1.4540040000000001E-2</c:v>
                </c:pt>
                <c:pt idx="1166">
                  <c:v>1.1233636999999999E-2</c:v>
                </c:pt>
                <c:pt idx="1167">
                  <c:v>7.6671159999999999E-3</c:v>
                </c:pt>
                <c:pt idx="1168">
                  <c:v>6.2570430000000003E-3</c:v>
                </c:pt>
                <c:pt idx="1169">
                  <c:v>8.5931459999999994E-3</c:v>
                </c:pt>
                <c:pt idx="1170">
                  <c:v>6.7534650000000002E-3</c:v>
                </c:pt>
                <c:pt idx="1171">
                  <c:v>9.1013469999999992E-3</c:v>
                </c:pt>
                <c:pt idx="1172">
                  <c:v>8.2765359999999993E-3</c:v>
                </c:pt>
                <c:pt idx="1173">
                  <c:v>8.3367110000000001E-3</c:v>
                </c:pt>
                <c:pt idx="1174">
                  <c:v>8.0894810000000008E-3</c:v>
                </c:pt>
                <c:pt idx="1175">
                  <c:v>8.4906170000000006E-3</c:v>
                </c:pt>
                <c:pt idx="1176">
                  <c:v>7.1996530000000003E-3</c:v>
                </c:pt>
                <c:pt idx="1177">
                  <c:v>7.8061570000000002E-3</c:v>
                </c:pt>
                <c:pt idx="1178">
                  <c:v>6.8182290000000003E-3</c:v>
                </c:pt>
                <c:pt idx="1179">
                  <c:v>7.443051E-3</c:v>
                </c:pt>
                <c:pt idx="1180">
                  <c:v>8.5618989999999996E-3</c:v>
                </c:pt>
                <c:pt idx="1181">
                  <c:v>1.1584512E-2</c:v>
                </c:pt>
                <c:pt idx="1182">
                  <c:v>9.4095800000000007E-3</c:v>
                </c:pt>
                <c:pt idx="1183">
                  <c:v>8.8010250000000005E-3</c:v>
                </c:pt>
                <c:pt idx="1184">
                  <c:v>9.8775779999999997E-3</c:v>
                </c:pt>
                <c:pt idx="1185">
                  <c:v>9.1325529999999999E-3</c:v>
                </c:pt>
                <c:pt idx="1186">
                  <c:v>8.397547E-3</c:v>
                </c:pt>
                <c:pt idx="1187">
                  <c:v>1.4384239E-2</c:v>
                </c:pt>
                <c:pt idx="1188">
                  <c:v>1.1993269000000001E-2</c:v>
                </c:pt>
                <c:pt idx="1189">
                  <c:v>1.3313528999999999E-2</c:v>
                </c:pt>
                <c:pt idx="1190">
                  <c:v>9.2525109999999997E-3</c:v>
                </c:pt>
                <c:pt idx="1191">
                  <c:v>8.7284660000000007E-3</c:v>
                </c:pt>
                <c:pt idx="1192">
                  <c:v>1.0133280999999999E-2</c:v>
                </c:pt>
                <c:pt idx="1193">
                  <c:v>9.7698679999999993E-3</c:v>
                </c:pt>
                <c:pt idx="1194">
                  <c:v>8.399307E-3</c:v>
                </c:pt>
                <c:pt idx="1195">
                  <c:v>1.5295084E-2</c:v>
                </c:pt>
                <c:pt idx="1196">
                  <c:v>9.8679409999999999E-3</c:v>
                </c:pt>
                <c:pt idx="1197">
                  <c:v>8.9709739999999996E-3</c:v>
                </c:pt>
                <c:pt idx="1198">
                  <c:v>7.048014E-3</c:v>
                </c:pt>
                <c:pt idx="1199">
                  <c:v>5.8961400000000002E-3</c:v>
                </c:pt>
                <c:pt idx="1200">
                  <c:v>4.9116089999999999E-3</c:v>
                </c:pt>
                <c:pt idx="1201">
                  <c:v>9.2118329999999991E-3</c:v>
                </c:pt>
                <c:pt idx="1202">
                  <c:v>7.2292090000000003E-3</c:v>
                </c:pt>
                <c:pt idx="1203">
                  <c:v>7.552507E-3</c:v>
                </c:pt>
                <c:pt idx="1204">
                  <c:v>7.5368170000000003E-3</c:v>
                </c:pt>
                <c:pt idx="1205">
                  <c:v>7.805022E-3</c:v>
                </c:pt>
                <c:pt idx="1206">
                  <c:v>5.6281600000000001E-3</c:v>
                </c:pt>
                <c:pt idx="1207">
                  <c:v>6.2271030000000003E-3</c:v>
                </c:pt>
                <c:pt idx="1208">
                  <c:v>6.4999690000000004E-3</c:v>
                </c:pt>
                <c:pt idx="1209">
                  <c:v>7.457651E-3</c:v>
                </c:pt>
                <c:pt idx="1210">
                  <c:v>5.2605669999999998E-3</c:v>
                </c:pt>
                <c:pt idx="1211">
                  <c:v>6.3090259999999997E-3</c:v>
                </c:pt>
                <c:pt idx="1212">
                  <c:v>6.595109E-3</c:v>
                </c:pt>
                <c:pt idx="1213">
                  <c:v>1.0996128000000001E-2</c:v>
                </c:pt>
                <c:pt idx="1214">
                  <c:v>1.9030994999999998E-2</c:v>
                </c:pt>
                <c:pt idx="1215">
                  <c:v>1.5615842E-2</c:v>
                </c:pt>
                <c:pt idx="1216">
                  <c:v>2.0089189E-2</c:v>
                </c:pt>
                <c:pt idx="1217">
                  <c:v>1.7845003000000002E-2</c:v>
                </c:pt>
                <c:pt idx="1218">
                  <c:v>1.8233333000000001E-2</c:v>
                </c:pt>
                <c:pt idx="1219">
                  <c:v>1.3483451E-2</c:v>
                </c:pt>
                <c:pt idx="1220">
                  <c:v>2.2705712999999999E-2</c:v>
                </c:pt>
                <c:pt idx="1221">
                  <c:v>2.0560591E-2</c:v>
                </c:pt>
                <c:pt idx="1222">
                  <c:v>2.5621706000000001E-2</c:v>
                </c:pt>
                <c:pt idx="1223">
                  <c:v>1.9064144000000002E-2</c:v>
                </c:pt>
                <c:pt idx="1224">
                  <c:v>1.5627436000000001E-2</c:v>
                </c:pt>
                <c:pt idx="1225">
                  <c:v>1.7205333999999999E-2</c:v>
                </c:pt>
                <c:pt idx="1226">
                  <c:v>1.5536599999999999E-2</c:v>
                </c:pt>
                <c:pt idx="1227">
                  <c:v>1.9426279000000001E-2</c:v>
                </c:pt>
                <c:pt idx="1228">
                  <c:v>1.5385421E-2</c:v>
                </c:pt>
                <c:pt idx="1229">
                  <c:v>2.1050570000000001E-2</c:v>
                </c:pt>
                <c:pt idx="1230">
                  <c:v>1.1347863E-2</c:v>
                </c:pt>
                <c:pt idx="1231">
                  <c:v>1.4250702000000001E-2</c:v>
                </c:pt>
                <c:pt idx="1232">
                  <c:v>1.2262507000000001E-2</c:v>
                </c:pt>
                <c:pt idx="1233">
                  <c:v>1.0615016999999999E-2</c:v>
                </c:pt>
                <c:pt idx="1234">
                  <c:v>1.099266E-2</c:v>
                </c:pt>
                <c:pt idx="1235">
                  <c:v>1.2690549000000001E-2</c:v>
                </c:pt>
                <c:pt idx="1236">
                  <c:v>1.1329685000000001E-2</c:v>
                </c:pt>
                <c:pt idx="1237">
                  <c:v>1.3929027E-2</c:v>
                </c:pt>
                <c:pt idx="1238">
                  <c:v>1.0570283999999999E-2</c:v>
                </c:pt>
                <c:pt idx="1239">
                  <c:v>1.0388707E-2</c:v>
                </c:pt>
                <c:pt idx="1240">
                  <c:v>7.110547E-3</c:v>
                </c:pt>
                <c:pt idx="1241">
                  <c:v>6.5321939999999998E-3</c:v>
                </c:pt>
                <c:pt idx="1242">
                  <c:v>6.7251020000000002E-3</c:v>
                </c:pt>
                <c:pt idx="1243">
                  <c:v>7.0677190000000001E-3</c:v>
                </c:pt>
                <c:pt idx="1244">
                  <c:v>7.1876939999999997E-3</c:v>
                </c:pt>
                <c:pt idx="1245">
                  <c:v>7.554524E-3</c:v>
                </c:pt>
                <c:pt idx="1246">
                  <c:v>8.7169510000000006E-3</c:v>
                </c:pt>
                <c:pt idx="1247">
                  <c:v>9.8842170000000007E-3</c:v>
                </c:pt>
                <c:pt idx="1248">
                  <c:v>1.373687E-2</c:v>
                </c:pt>
                <c:pt idx="1249">
                  <c:v>1.0731842E-2</c:v>
                </c:pt>
                <c:pt idx="1250">
                  <c:v>1.124346E-2</c:v>
                </c:pt>
                <c:pt idx="1251">
                  <c:v>9.9172800000000005E-3</c:v>
                </c:pt>
                <c:pt idx="1252">
                  <c:v>1.0251361000000001E-2</c:v>
                </c:pt>
                <c:pt idx="1253">
                  <c:v>1.2030984E-2</c:v>
                </c:pt>
                <c:pt idx="1254">
                  <c:v>8.7761109999999996E-3</c:v>
                </c:pt>
                <c:pt idx="1255">
                  <c:v>7.9194230000000001E-3</c:v>
                </c:pt>
                <c:pt idx="1256">
                  <c:v>1.1301154000000001E-2</c:v>
                </c:pt>
                <c:pt idx="1257">
                  <c:v>9.6625930000000006E-3</c:v>
                </c:pt>
                <c:pt idx="1258">
                  <c:v>9.9639450000000001E-3</c:v>
                </c:pt>
                <c:pt idx="1259">
                  <c:v>8.3002790000000007E-3</c:v>
                </c:pt>
                <c:pt idx="1260">
                  <c:v>7.9337869999999994E-3</c:v>
                </c:pt>
                <c:pt idx="1261">
                  <c:v>7.2927720000000003E-3</c:v>
                </c:pt>
                <c:pt idx="1262">
                  <c:v>1.0105312999999999E-2</c:v>
                </c:pt>
                <c:pt idx="1263">
                  <c:v>1.053575E-2</c:v>
                </c:pt>
                <c:pt idx="1264">
                  <c:v>9.6303220000000002E-3</c:v>
                </c:pt>
                <c:pt idx="1265">
                  <c:v>1.1529929E-2</c:v>
                </c:pt>
                <c:pt idx="1266">
                  <c:v>9.6063060000000002E-3</c:v>
                </c:pt>
                <c:pt idx="1267">
                  <c:v>9.4530570000000008E-3</c:v>
                </c:pt>
                <c:pt idx="1268">
                  <c:v>9.2758709999999998E-3</c:v>
                </c:pt>
                <c:pt idx="1269">
                  <c:v>1.0708283000000001E-2</c:v>
                </c:pt>
                <c:pt idx="1270">
                  <c:v>2.0307799000000001E-2</c:v>
                </c:pt>
                <c:pt idx="1271">
                  <c:v>1.1909005E-2</c:v>
                </c:pt>
                <c:pt idx="1272">
                  <c:v>1.1805701E-2</c:v>
                </c:pt>
                <c:pt idx="1273">
                  <c:v>1.4304503E-2</c:v>
                </c:pt>
                <c:pt idx="1274">
                  <c:v>1.3729574E-2</c:v>
                </c:pt>
                <c:pt idx="1275">
                  <c:v>1.2911862E-2</c:v>
                </c:pt>
                <c:pt idx="1276">
                  <c:v>1.1270608E-2</c:v>
                </c:pt>
                <c:pt idx="1277">
                  <c:v>1.3308594999999999E-2</c:v>
                </c:pt>
                <c:pt idx="1278">
                  <c:v>1.0713132E-2</c:v>
                </c:pt>
                <c:pt idx="1279">
                  <c:v>1.6146918999999999E-2</c:v>
                </c:pt>
                <c:pt idx="1280">
                  <c:v>1.7522723E-2</c:v>
                </c:pt>
                <c:pt idx="1281">
                  <c:v>1.2280694999999999E-2</c:v>
                </c:pt>
                <c:pt idx="1282">
                  <c:v>1.2478728E-2</c:v>
                </c:pt>
                <c:pt idx="1283">
                  <c:v>9.8751949999999998E-3</c:v>
                </c:pt>
                <c:pt idx="1284">
                  <c:v>1.9779122999999999E-2</c:v>
                </c:pt>
                <c:pt idx="1285">
                  <c:v>1.4028776E-2</c:v>
                </c:pt>
                <c:pt idx="1286">
                  <c:v>1.4499737E-2</c:v>
                </c:pt>
                <c:pt idx="1287">
                  <c:v>1.5880951000000001E-2</c:v>
                </c:pt>
                <c:pt idx="1288">
                  <c:v>1.3521722999999999E-2</c:v>
                </c:pt>
                <c:pt idx="1289">
                  <c:v>1.0962468E-2</c:v>
                </c:pt>
                <c:pt idx="1290">
                  <c:v>1.4602753E-2</c:v>
                </c:pt>
                <c:pt idx="1291">
                  <c:v>8.9062269999999992E-3</c:v>
                </c:pt>
                <c:pt idx="1292">
                  <c:v>9.2579859999999993E-3</c:v>
                </c:pt>
                <c:pt idx="1293">
                  <c:v>1.1234539E-2</c:v>
                </c:pt>
                <c:pt idx="1294">
                  <c:v>8.3644359999999994E-3</c:v>
                </c:pt>
                <c:pt idx="1295">
                  <c:v>1.2933827E-2</c:v>
                </c:pt>
                <c:pt idx="1296">
                  <c:v>1.1449503999999999E-2</c:v>
                </c:pt>
                <c:pt idx="1297">
                  <c:v>1.1699779E-2</c:v>
                </c:pt>
                <c:pt idx="1298">
                  <c:v>9.4463580000000002E-3</c:v>
                </c:pt>
                <c:pt idx="1299">
                  <c:v>1.1438118000000001E-2</c:v>
                </c:pt>
                <c:pt idx="1300">
                  <c:v>1.0824685000000001E-2</c:v>
                </c:pt>
                <c:pt idx="1301">
                  <c:v>1.1494620000000001E-2</c:v>
                </c:pt>
                <c:pt idx="1302">
                  <c:v>7.9927109999999996E-3</c:v>
                </c:pt>
                <c:pt idx="1303">
                  <c:v>9.6454269999999998E-3</c:v>
                </c:pt>
                <c:pt idx="1304">
                  <c:v>1.0142211E-2</c:v>
                </c:pt>
                <c:pt idx="1305">
                  <c:v>8.7716760000000008E-3</c:v>
                </c:pt>
                <c:pt idx="1306">
                  <c:v>8.0972709999999996E-3</c:v>
                </c:pt>
                <c:pt idx="1307">
                  <c:v>1.0269738E-2</c:v>
                </c:pt>
                <c:pt idx="1308">
                  <c:v>1.4090007E-2</c:v>
                </c:pt>
                <c:pt idx="1309">
                  <c:v>1.0108357E-2</c:v>
                </c:pt>
                <c:pt idx="1310">
                  <c:v>7.5224899999999997E-3</c:v>
                </c:pt>
                <c:pt idx="1311">
                  <c:v>9.7120799999999997E-3</c:v>
                </c:pt>
                <c:pt idx="1312">
                  <c:v>9.6312940000000003E-3</c:v>
                </c:pt>
                <c:pt idx="1313">
                  <c:v>8.9407489999999996E-3</c:v>
                </c:pt>
                <c:pt idx="1314">
                  <c:v>8.8143330000000006E-3</c:v>
                </c:pt>
                <c:pt idx="1315">
                  <c:v>8.120815E-3</c:v>
                </c:pt>
                <c:pt idx="1316">
                  <c:v>7.9117849999999993E-3</c:v>
                </c:pt>
                <c:pt idx="1317">
                  <c:v>6.8681200000000001E-3</c:v>
                </c:pt>
                <c:pt idx="1318">
                  <c:v>8.1331189999999994E-3</c:v>
                </c:pt>
                <c:pt idx="1319">
                  <c:v>6.8466730000000002E-3</c:v>
                </c:pt>
                <c:pt idx="1320">
                  <c:v>1.2402819000000001E-2</c:v>
                </c:pt>
                <c:pt idx="1321">
                  <c:v>1.1032741E-2</c:v>
                </c:pt>
                <c:pt idx="1322">
                  <c:v>8.6504979999999995E-3</c:v>
                </c:pt>
                <c:pt idx="1323">
                  <c:v>6.5978349999999998E-3</c:v>
                </c:pt>
                <c:pt idx="1324">
                  <c:v>8.3749150000000001E-3</c:v>
                </c:pt>
                <c:pt idx="1325">
                  <c:v>1.1477879E-2</c:v>
                </c:pt>
                <c:pt idx="1326">
                  <c:v>7.4080029999999998E-3</c:v>
                </c:pt>
                <c:pt idx="1327">
                  <c:v>6.8365559999999997E-3</c:v>
                </c:pt>
                <c:pt idx="1328">
                  <c:v>5.7285160000000003E-3</c:v>
                </c:pt>
                <c:pt idx="1329">
                  <c:v>6.4454330000000004E-3</c:v>
                </c:pt>
                <c:pt idx="1330">
                  <c:v>5.7856979999999997E-3</c:v>
                </c:pt>
                <c:pt idx="1331">
                  <c:v>1.0266523E-2</c:v>
                </c:pt>
                <c:pt idx="1332">
                  <c:v>8.384875E-3</c:v>
                </c:pt>
                <c:pt idx="1333">
                  <c:v>6.8948619999999999E-3</c:v>
                </c:pt>
                <c:pt idx="1334">
                  <c:v>9.5466049999999997E-3</c:v>
                </c:pt>
                <c:pt idx="1335">
                  <c:v>6.7435469999999999E-3</c:v>
                </c:pt>
                <c:pt idx="1336">
                  <c:v>8.2159369999999995E-3</c:v>
                </c:pt>
                <c:pt idx="1337">
                  <c:v>7.1172910000000004E-3</c:v>
                </c:pt>
                <c:pt idx="1338">
                  <c:v>6.6303209999999998E-3</c:v>
                </c:pt>
                <c:pt idx="1339">
                  <c:v>1.1090564000000001E-2</c:v>
                </c:pt>
                <c:pt idx="1340">
                  <c:v>1.1181352E-2</c:v>
                </c:pt>
                <c:pt idx="1341">
                  <c:v>8.1066750000000007E-3</c:v>
                </c:pt>
                <c:pt idx="1342">
                  <c:v>9.0950730000000004E-3</c:v>
                </c:pt>
                <c:pt idx="1343">
                  <c:v>2.1371069999999999E-2</c:v>
                </c:pt>
                <c:pt idx="1344">
                  <c:v>1.1907900000000001E-2</c:v>
                </c:pt>
                <c:pt idx="1345">
                  <c:v>1.3901350999999999E-2</c:v>
                </c:pt>
                <c:pt idx="1346">
                  <c:v>1.7081168000000001E-2</c:v>
                </c:pt>
                <c:pt idx="1347">
                  <c:v>1.4179336000000001E-2</c:v>
                </c:pt>
                <c:pt idx="1348">
                  <c:v>1.4459092999999999E-2</c:v>
                </c:pt>
                <c:pt idx="1349">
                  <c:v>1.7989740000000001E-2</c:v>
                </c:pt>
                <c:pt idx="1350">
                  <c:v>1.1673961E-2</c:v>
                </c:pt>
                <c:pt idx="1351">
                  <c:v>9.6353199999999993E-3</c:v>
                </c:pt>
                <c:pt idx="1352">
                  <c:v>1.7883415999999999E-2</c:v>
                </c:pt>
                <c:pt idx="1353">
                  <c:v>1.8508533000000001E-2</c:v>
                </c:pt>
                <c:pt idx="1354">
                  <c:v>1.1478166E-2</c:v>
                </c:pt>
                <c:pt idx="1355">
                  <c:v>1.3304445999999999E-2</c:v>
                </c:pt>
                <c:pt idx="1356">
                  <c:v>1.4895736E-2</c:v>
                </c:pt>
                <c:pt idx="1357">
                  <c:v>1.3148234E-2</c:v>
                </c:pt>
                <c:pt idx="1358">
                  <c:v>1.2866916000000001E-2</c:v>
                </c:pt>
                <c:pt idx="1359">
                  <c:v>1.3180848E-2</c:v>
                </c:pt>
                <c:pt idx="1360">
                  <c:v>1.3338910000000001E-2</c:v>
                </c:pt>
                <c:pt idx="1361">
                  <c:v>1.4880816999999999E-2</c:v>
                </c:pt>
                <c:pt idx="1362">
                  <c:v>1.1150278E-2</c:v>
                </c:pt>
                <c:pt idx="1363">
                  <c:v>1.1429932E-2</c:v>
                </c:pt>
                <c:pt idx="1364">
                  <c:v>1.1816412E-2</c:v>
                </c:pt>
                <c:pt idx="1365">
                  <c:v>1.4901767E-2</c:v>
                </c:pt>
                <c:pt idx="1366">
                  <c:v>1.3538816E-2</c:v>
                </c:pt>
                <c:pt idx="1367">
                  <c:v>1.9739544000000001E-2</c:v>
                </c:pt>
                <c:pt idx="1368">
                  <c:v>1.6677864000000001E-2</c:v>
                </c:pt>
                <c:pt idx="1369">
                  <c:v>1.4173145999999999E-2</c:v>
                </c:pt>
                <c:pt idx="1370">
                  <c:v>1.0146881999999999E-2</c:v>
                </c:pt>
                <c:pt idx="1371">
                  <c:v>1.1485528E-2</c:v>
                </c:pt>
                <c:pt idx="1372">
                  <c:v>1.1969133E-2</c:v>
                </c:pt>
                <c:pt idx="1373">
                  <c:v>9.678285E-3</c:v>
                </c:pt>
                <c:pt idx="1374">
                  <c:v>8.0858309999999999E-3</c:v>
                </c:pt>
                <c:pt idx="1375">
                  <c:v>1.3358383E-2</c:v>
                </c:pt>
                <c:pt idx="1376">
                  <c:v>1.3286348E-2</c:v>
                </c:pt>
                <c:pt idx="1377">
                  <c:v>1.5724789999999999E-2</c:v>
                </c:pt>
                <c:pt idx="1378">
                  <c:v>1.3421353E-2</c:v>
                </c:pt>
                <c:pt idx="1379">
                  <c:v>1.4116675E-2</c:v>
                </c:pt>
                <c:pt idx="1380">
                  <c:v>1.6892483999999999E-2</c:v>
                </c:pt>
                <c:pt idx="1381">
                  <c:v>1.2170441000000001E-2</c:v>
                </c:pt>
                <c:pt idx="1382">
                  <c:v>1.3473927E-2</c:v>
                </c:pt>
                <c:pt idx="1383">
                  <c:v>1.4968261E-2</c:v>
                </c:pt>
                <c:pt idx="1384">
                  <c:v>1.1769005000000001E-2</c:v>
                </c:pt>
                <c:pt idx="1385">
                  <c:v>1.2684773E-2</c:v>
                </c:pt>
                <c:pt idx="1386">
                  <c:v>1.3141142E-2</c:v>
                </c:pt>
                <c:pt idx="1387">
                  <c:v>1.2202864000000001E-2</c:v>
                </c:pt>
                <c:pt idx="1388">
                  <c:v>1.3933095E-2</c:v>
                </c:pt>
                <c:pt idx="1389">
                  <c:v>1.0032759E-2</c:v>
                </c:pt>
                <c:pt idx="1390">
                  <c:v>1.0153176999999999E-2</c:v>
                </c:pt>
                <c:pt idx="1391">
                  <c:v>6.9524419999999997E-3</c:v>
                </c:pt>
                <c:pt idx="1392">
                  <c:v>9.7876360000000006E-3</c:v>
                </c:pt>
                <c:pt idx="1393">
                  <c:v>1.1959101999999999E-2</c:v>
                </c:pt>
                <c:pt idx="1394">
                  <c:v>1.1145021999999999E-2</c:v>
                </c:pt>
                <c:pt idx="1395">
                  <c:v>1.2699182999999999E-2</c:v>
                </c:pt>
                <c:pt idx="1396">
                  <c:v>1.8658422000000001E-2</c:v>
                </c:pt>
                <c:pt idx="1397">
                  <c:v>3.0852563E-2</c:v>
                </c:pt>
                <c:pt idx="1398">
                  <c:v>2.3506544000000001E-2</c:v>
                </c:pt>
                <c:pt idx="1399">
                  <c:v>2.8054877999999998E-2</c:v>
                </c:pt>
                <c:pt idx="1400">
                  <c:v>3.8680540999999999E-2</c:v>
                </c:pt>
                <c:pt idx="1401">
                  <c:v>4.0393360000000003E-2</c:v>
                </c:pt>
                <c:pt idx="1402">
                  <c:v>4.2700500000000002E-2</c:v>
                </c:pt>
                <c:pt idx="1403">
                  <c:v>2.5095653999999998E-2</c:v>
                </c:pt>
                <c:pt idx="1404">
                  <c:v>3.2222024000000002E-2</c:v>
                </c:pt>
                <c:pt idx="1405">
                  <c:v>2.3701496999999998E-2</c:v>
                </c:pt>
                <c:pt idx="1406">
                  <c:v>2.1323511999999999E-2</c:v>
                </c:pt>
                <c:pt idx="1407">
                  <c:v>2.7010537000000001E-2</c:v>
                </c:pt>
                <c:pt idx="1408">
                  <c:v>2.6647497999999999E-2</c:v>
                </c:pt>
                <c:pt idx="1409">
                  <c:v>2.2773919E-2</c:v>
                </c:pt>
                <c:pt idx="1410">
                  <c:v>1.8284272000000001E-2</c:v>
                </c:pt>
                <c:pt idx="1411">
                  <c:v>1.8239518E-2</c:v>
                </c:pt>
                <c:pt idx="1412">
                  <c:v>2.1793184E-2</c:v>
                </c:pt>
                <c:pt idx="1413">
                  <c:v>2.5222695999999999E-2</c:v>
                </c:pt>
                <c:pt idx="1414">
                  <c:v>2.3835500999999999E-2</c:v>
                </c:pt>
                <c:pt idx="1415">
                  <c:v>2.1688319000000001E-2</c:v>
                </c:pt>
                <c:pt idx="1416">
                  <c:v>2.5106100999999999E-2</c:v>
                </c:pt>
                <c:pt idx="1417">
                  <c:v>2.2100458999999999E-2</c:v>
                </c:pt>
                <c:pt idx="1418">
                  <c:v>2.2043565000000001E-2</c:v>
                </c:pt>
                <c:pt idx="1419">
                  <c:v>2.170683E-2</c:v>
                </c:pt>
                <c:pt idx="1420">
                  <c:v>2.4931200000000001E-2</c:v>
                </c:pt>
                <c:pt idx="1421">
                  <c:v>2.9315559000000001E-2</c:v>
                </c:pt>
                <c:pt idx="1422">
                  <c:v>1.9717188E-2</c:v>
                </c:pt>
                <c:pt idx="1423">
                  <c:v>1.8908192000000001E-2</c:v>
                </c:pt>
                <c:pt idx="1424">
                  <c:v>1.5000588E-2</c:v>
                </c:pt>
                <c:pt idx="1425">
                  <c:v>1.3156352E-2</c:v>
                </c:pt>
                <c:pt idx="1426">
                  <c:v>1.5627122E-2</c:v>
                </c:pt>
                <c:pt idx="1427">
                  <c:v>1.4614966E-2</c:v>
                </c:pt>
                <c:pt idx="1428">
                  <c:v>1.3823709999999999E-2</c:v>
                </c:pt>
                <c:pt idx="1429">
                  <c:v>1.4310799000000001E-2</c:v>
                </c:pt>
                <c:pt idx="1430">
                  <c:v>1.5863380999999999E-2</c:v>
                </c:pt>
                <c:pt idx="1431">
                  <c:v>1.1275673E-2</c:v>
                </c:pt>
                <c:pt idx="1432">
                  <c:v>1.0656265999999999E-2</c:v>
                </c:pt>
                <c:pt idx="1433">
                  <c:v>1.5729834000000002E-2</c:v>
                </c:pt>
                <c:pt idx="1434">
                  <c:v>8.9620680000000001E-3</c:v>
                </c:pt>
                <c:pt idx="1435">
                  <c:v>1.1362779999999999E-2</c:v>
                </c:pt>
                <c:pt idx="1436">
                  <c:v>8.5385259999999994E-3</c:v>
                </c:pt>
                <c:pt idx="1437">
                  <c:v>1.1322588E-2</c:v>
                </c:pt>
                <c:pt idx="1438">
                  <c:v>1.0793686E-2</c:v>
                </c:pt>
                <c:pt idx="1439">
                  <c:v>1.0733582E-2</c:v>
                </c:pt>
                <c:pt idx="1440">
                  <c:v>7.7265629999999997E-3</c:v>
                </c:pt>
                <c:pt idx="1441">
                  <c:v>6.7719219999999997E-3</c:v>
                </c:pt>
                <c:pt idx="1442">
                  <c:v>1.1418961E-2</c:v>
                </c:pt>
                <c:pt idx="1443">
                  <c:v>9.6570059999999992E-3</c:v>
                </c:pt>
                <c:pt idx="1444">
                  <c:v>8.2065750000000007E-3</c:v>
                </c:pt>
                <c:pt idx="1445">
                  <c:v>6.6137799999999997E-3</c:v>
                </c:pt>
                <c:pt idx="1446">
                  <c:v>4.9430050000000003E-3</c:v>
                </c:pt>
                <c:pt idx="1447">
                  <c:v>8.2835619999999995E-3</c:v>
                </c:pt>
                <c:pt idx="1448">
                  <c:v>9.1834140000000009E-3</c:v>
                </c:pt>
                <c:pt idx="1449">
                  <c:v>7.6495080000000002E-3</c:v>
                </c:pt>
                <c:pt idx="1450">
                  <c:v>7.3842669999999999E-3</c:v>
                </c:pt>
                <c:pt idx="1451">
                  <c:v>6.9951060000000001E-3</c:v>
                </c:pt>
                <c:pt idx="1452">
                  <c:v>8.7021249999999998E-3</c:v>
                </c:pt>
                <c:pt idx="1453">
                  <c:v>6.9069750000000001E-3</c:v>
                </c:pt>
                <c:pt idx="1454">
                  <c:v>5.6366890000000003E-3</c:v>
                </c:pt>
                <c:pt idx="1455">
                  <c:v>6.6808709999999997E-3</c:v>
                </c:pt>
                <c:pt idx="1456">
                  <c:v>1.1192221E-2</c:v>
                </c:pt>
                <c:pt idx="1457">
                  <c:v>1.4522899000000001E-2</c:v>
                </c:pt>
                <c:pt idx="1458">
                  <c:v>1.4271522E-2</c:v>
                </c:pt>
                <c:pt idx="1459">
                  <c:v>1.0474644999999999E-2</c:v>
                </c:pt>
                <c:pt idx="1460">
                  <c:v>1.649511E-2</c:v>
                </c:pt>
                <c:pt idx="1461">
                  <c:v>1.2438713000000001E-2</c:v>
                </c:pt>
                <c:pt idx="1462">
                  <c:v>1.0964267999999999E-2</c:v>
                </c:pt>
                <c:pt idx="1463">
                  <c:v>1.1156387E-2</c:v>
                </c:pt>
                <c:pt idx="1464">
                  <c:v>9.8523329999999996E-3</c:v>
                </c:pt>
                <c:pt idx="1465">
                  <c:v>9.4617769999999993E-3</c:v>
                </c:pt>
                <c:pt idx="1466">
                  <c:v>1.2331887999999999E-2</c:v>
                </c:pt>
                <c:pt idx="1467">
                  <c:v>7.8608229999999994E-3</c:v>
                </c:pt>
                <c:pt idx="1468">
                  <c:v>9.6575800000000007E-3</c:v>
                </c:pt>
                <c:pt idx="1469">
                  <c:v>1.0438067000000001E-2</c:v>
                </c:pt>
                <c:pt idx="1470">
                  <c:v>1.2928709E-2</c:v>
                </c:pt>
                <c:pt idx="1471">
                  <c:v>1.1633101E-2</c:v>
                </c:pt>
                <c:pt idx="1472">
                  <c:v>8.4598030000000001E-3</c:v>
                </c:pt>
                <c:pt idx="1473">
                  <c:v>6.9206600000000004E-3</c:v>
                </c:pt>
                <c:pt idx="1474">
                  <c:v>1.3699149000000001E-2</c:v>
                </c:pt>
                <c:pt idx="1475">
                  <c:v>1.0841445999999999E-2</c:v>
                </c:pt>
                <c:pt idx="1476">
                  <c:v>1.069139E-2</c:v>
                </c:pt>
                <c:pt idx="1477">
                  <c:v>7.9354560000000005E-3</c:v>
                </c:pt>
                <c:pt idx="1478">
                  <c:v>9.1618700000000008E-3</c:v>
                </c:pt>
                <c:pt idx="1479">
                  <c:v>1.0367316999999999E-2</c:v>
                </c:pt>
                <c:pt idx="1480">
                  <c:v>1.2453295E-2</c:v>
                </c:pt>
                <c:pt idx="1481">
                  <c:v>2.1468477E-2</c:v>
                </c:pt>
                <c:pt idx="1482">
                  <c:v>1.8996526E-2</c:v>
                </c:pt>
                <c:pt idx="1483">
                  <c:v>1.5704767000000001E-2</c:v>
                </c:pt>
                <c:pt idx="1484">
                  <c:v>1.4393114E-2</c:v>
                </c:pt>
                <c:pt idx="1485">
                  <c:v>1.2332851000000001E-2</c:v>
                </c:pt>
                <c:pt idx="1486">
                  <c:v>1.3276668E-2</c:v>
                </c:pt>
                <c:pt idx="1487">
                  <c:v>1.7930436000000001E-2</c:v>
                </c:pt>
                <c:pt idx="1488">
                  <c:v>1.2020696000000001E-2</c:v>
                </c:pt>
                <c:pt idx="1489">
                  <c:v>1.0758159999999999E-2</c:v>
                </c:pt>
                <c:pt idx="1490">
                  <c:v>9.7764159999999996E-3</c:v>
                </c:pt>
                <c:pt idx="1491">
                  <c:v>1.2488084999999999E-2</c:v>
                </c:pt>
                <c:pt idx="1492">
                  <c:v>1.5244287E-2</c:v>
                </c:pt>
                <c:pt idx="1493">
                  <c:v>1.4720825999999999E-2</c:v>
                </c:pt>
                <c:pt idx="1494">
                  <c:v>1.9902867000000001E-2</c:v>
                </c:pt>
                <c:pt idx="1495">
                  <c:v>1.3761997999999999E-2</c:v>
                </c:pt>
                <c:pt idx="1496">
                  <c:v>2.0037196E-2</c:v>
                </c:pt>
                <c:pt idx="1497">
                  <c:v>1.4269238E-2</c:v>
                </c:pt>
                <c:pt idx="1498">
                  <c:v>1.3089194E-2</c:v>
                </c:pt>
                <c:pt idx="1499">
                  <c:v>1.3516683999999999E-2</c:v>
                </c:pt>
                <c:pt idx="1500">
                  <c:v>1.1122382E-2</c:v>
                </c:pt>
                <c:pt idx="1501">
                  <c:v>1.0466125999999999E-2</c:v>
                </c:pt>
                <c:pt idx="1502">
                  <c:v>1.6196888999999999E-2</c:v>
                </c:pt>
                <c:pt idx="1503">
                  <c:v>1.2695925E-2</c:v>
                </c:pt>
                <c:pt idx="1504">
                  <c:v>1.3856703999999999E-2</c:v>
                </c:pt>
                <c:pt idx="1505">
                  <c:v>1.0705964E-2</c:v>
                </c:pt>
                <c:pt idx="1506">
                  <c:v>9.9414289999999999E-3</c:v>
                </c:pt>
                <c:pt idx="1507">
                  <c:v>9.9983929999999995E-3</c:v>
                </c:pt>
                <c:pt idx="1508">
                  <c:v>1.2037852E-2</c:v>
                </c:pt>
                <c:pt idx="1509">
                  <c:v>9.4404729999999996E-3</c:v>
                </c:pt>
                <c:pt idx="1510">
                  <c:v>1.4854254000000001E-2</c:v>
                </c:pt>
                <c:pt idx="1511">
                  <c:v>1.6605937000000001E-2</c:v>
                </c:pt>
                <c:pt idx="1512">
                  <c:v>1.8030905E-2</c:v>
                </c:pt>
                <c:pt idx="1513">
                  <c:v>1.3606366999999999E-2</c:v>
                </c:pt>
                <c:pt idx="1514">
                  <c:v>1.1067950999999999E-2</c:v>
                </c:pt>
                <c:pt idx="1515">
                  <c:v>1.1477853999999999E-2</c:v>
                </c:pt>
                <c:pt idx="1516">
                  <c:v>2.1006627999999999E-2</c:v>
                </c:pt>
                <c:pt idx="1517">
                  <c:v>1.5245735E-2</c:v>
                </c:pt>
                <c:pt idx="1518">
                  <c:v>1.2481907E-2</c:v>
                </c:pt>
                <c:pt idx="1519">
                  <c:v>1.7285994999999998E-2</c:v>
                </c:pt>
                <c:pt idx="1520">
                  <c:v>1.6540571E-2</c:v>
                </c:pt>
                <c:pt idx="1521">
                  <c:v>1.4732289000000001E-2</c:v>
                </c:pt>
                <c:pt idx="1522">
                  <c:v>1.6051216E-2</c:v>
                </c:pt>
                <c:pt idx="1523">
                  <c:v>1.3065001E-2</c:v>
                </c:pt>
                <c:pt idx="1524">
                  <c:v>1.4620163E-2</c:v>
                </c:pt>
                <c:pt idx="1525">
                  <c:v>1.4211292E-2</c:v>
                </c:pt>
                <c:pt idx="1526">
                  <c:v>1.2289453000000001E-2</c:v>
                </c:pt>
                <c:pt idx="1527">
                  <c:v>1.1587335000000001E-2</c:v>
                </c:pt>
                <c:pt idx="1528">
                  <c:v>1.1087668E-2</c:v>
                </c:pt>
                <c:pt idx="1529">
                  <c:v>1.3036892E-2</c:v>
                </c:pt>
                <c:pt idx="1530">
                  <c:v>1.0643009E-2</c:v>
                </c:pt>
                <c:pt idx="1531">
                  <c:v>1.1497653E-2</c:v>
                </c:pt>
                <c:pt idx="1532">
                  <c:v>1.2175698E-2</c:v>
                </c:pt>
                <c:pt idx="1533">
                  <c:v>1.035203E-2</c:v>
                </c:pt>
                <c:pt idx="1534">
                  <c:v>9.3398639999999998E-3</c:v>
                </c:pt>
                <c:pt idx="1535">
                  <c:v>1.137314E-2</c:v>
                </c:pt>
                <c:pt idx="1536">
                  <c:v>9.1035669999999999E-3</c:v>
                </c:pt>
                <c:pt idx="1537">
                  <c:v>9.8807010000000004E-3</c:v>
                </c:pt>
                <c:pt idx="1538">
                  <c:v>8.0052360000000006E-3</c:v>
                </c:pt>
                <c:pt idx="1539">
                  <c:v>6.6331760000000002E-3</c:v>
                </c:pt>
                <c:pt idx="1540">
                  <c:v>8.0236950000000008E-3</c:v>
                </c:pt>
                <c:pt idx="1541">
                  <c:v>7.5928339999999997E-3</c:v>
                </c:pt>
                <c:pt idx="1542">
                  <c:v>8.0740399999999993E-3</c:v>
                </c:pt>
                <c:pt idx="1543">
                  <c:v>7.1896979999999996E-3</c:v>
                </c:pt>
                <c:pt idx="1544">
                  <c:v>7.9250520000000001E-3</c:v>
                </c:pt>
                <c:pt idx="1545">
                  <c:v>6.5164910000000001E-3</c:v>
                </c:pt>
                <c:pt idx="1546">
                  <c:v>7.5899050000000001E-3</c:v>
                </c:pt>
                <c:pt idx="1547">
                  <c:v>6.7111510000000003E-3</c:v>
                </c:pt>
                <c:pt idx="1548">
                  <c:v>9.6737679999999993E-3</c:v>
                </c:pt>
                <c:pt idx="1549">
                  <c:v>7.2944129999999996E-3</c:v>
                </c:pt>
                <c:pt idx="1550">
                  <c:v>6.8398840000000001E-3</c:v>
                </c:pt>
                <c:pt idx="1551">
                  <c:v>6.3038979999999996E-3</c:v>
                </c:pt>
                <c:pt idx="1552">
                  <c:v>7.2401610000000002E-3</c:v>
                </c:pt>
                <c:pt idx="1553">
                  <c:v>5.8327090000000002E-3</c:v>
                </c:pt>
                <c:pt idx="1554">
                  <c:v>6.6851619999999997E-3</c:v>
                </c:pt>
                <c:pt idx="1555">
                  <c:v>6.5485769999999999E-3</c:v>
                </c:pt>
                <c:pt idx="1556">
                  <c:v>1.0129284000000001E-2</c:v>
                </c:pt>
                <c:pt idx="1557">
                  <c:v>6.8022849999999999E-3</c:v>
                </c:pt>
                <c:pt idx="1558">
                  <c:v>6.4788170000000004E-3</c:v>
                </c:pt>
                <c:pt idx="1559">
                  <c:v>7.3357680000000003E-3</c:v>
                </c:pt>
                <c:pt idx="1560">
                  <c:v>8.6185959999999992E-3</c:v>
                </c:pt>
                <c:pt idx="1561">
                  <c:v>7.766701E-3</c:v>
                </c:pt>
                <c:pt idx="1562">
                  <c:v>7.02267E-3</c:v>
                </c:pt>
                <c:pt idx="1563">
                  <c:v>1.0038774E-2</c:v>
                </c:pt>
                <c:pt idx="1564">
                  <c:v>7.7046279999999998E-3</c:v>
                </c:pt>
                <c:pt idx="1565">
                  <c:v>7.1485200000000002E-3</c:v>
                </c:pt>
                <c:pt idx="1566">
                  <c:v>7.691687E-3</c:v>
                </c:pt>
                <c:pt idx="1567">
                  <c:v>6.7764920000000003E-3</c:v>
                </c:pt>
                <c:pt idx="1568">
                  <c:v>7.5237350000000001E-3</c:v>
                </c:pt>
                <c:pt idx="1569">
                  <c:v>6.6911990000000001E-3</c:v>
                </c:pt>
                <c:pt idx="1570">
                  <c:v>7.9643609999999997E-3</c:v>
                </c:pt>
                <c:pt idx="1571">
                  <c:v>1.5125632999999999E-2</c:v>
                </c:pt>
                <c:pt idx="1572">
                  <c:v>1.0802387E-2</c:v>
                </c:pt>
                <c:pt idx="1573">
                  <c:v>9.0462460000000008E-3</c:v>
                </c:pt>
                <c:pt idx="1574">
                  <c:v>9.3202200000000006E-3</c:v>
                </c:pt>
                <c:pt idx="1575">
                  <c:v>1.0981591000000001E-2</c:v>
                </c:pt>
                <c:pt idx="1576">
                  <c:v>9.3011340000000008E-3</c:v>
                </c:pt>
                <c:pt idx="1577">
                  <c:v>1.3366904000000001E-2</c:v>
                </c:pt>
                <c:pt idx="1578">
                  <c:v>1.1666441E-2</c:v>
                </c:pt>
                <c:pt idx="1579">
                  <c:v>1.0789521999999999E-2</c:v>
                </c:pt>
                <c:pt idx="1580">
                  <c:v>1.2532344000000001E-2</c:v>
                </c:pt>
                <c:pt idx="1581">
                  <c:v>8.9859180000000007E-3</c:v>
                </c:pt>
                <c:pt idx="1582">
                  <c:v>7.8334140000000003E-3</c:v>
                </c:pt>
                <c:pt idx="1583">
                  <c:v>9.3440499999999996E-3</c:v>
                </c:pt>
                <c:pt idx="1584">
                  <c:v>9.2832469999999997E-3</c:v>
                </c:pt>
                <c:pt idx="1585">
                  <c:v>9.8503189999999997E-3</c:v>
                </c:pt>
                <c:pt idx="1586">
                  <c:v>1.0312962E-2</c:v>
                </c:pt>
                <c:pt idx="1587">
                  <c:v>9.773693E-3</c:v>
                </c:pt>
                <c:pt idx="1588">
                  <c:v>8.8312849999999995E-3</c:v>
                </c:pt>
                <c:pt idx="1589">
                  <c:v>7.4394470000000001E-3</c:v>
                </c:pt>
                <c:pt idx="1590">
                  <c:v>7.4136260000000004E-3</c:v>
                </c:pt>
                <c:pt idx="1591">
                  <c:v>6.168364E-3</c:v>
                </c:pt>
                <c:pt idx="1592">
                  <c:v>1.1240297999999999E-2</c:v>
                </c:pt>
                <c:pt idx="1593">
                  <c:v>7.5987379999999998E-3</c:v>
                </c:pt>
                <c:pt idx="1594">
                  <c:v>8.2066450000000003E-3</c:v>
                </c:pt>
                <c:pt idx="1595">
                  <c:v>7.8765620000000001E-3</c:v>
                </c:pt>
                <c:pt idx="1596">
                  <c:v>8.3593220000000006E-3</c:v>
                </c:pt>
                <c:pt idx="1597">
                  <c:v>5.6369389999999997E-3</c:v>
                </c:pt>
                <c:pt idx="1598">
                  <c:v>6.0055689999999997E-3</c:v>
                </c:pt>
                <c:pt idx="1599">
                  <c:v>6.0989240000000004E-3</c:v>
                </c:pt>
                <c:pt idx="1600">
                  <c:v>5.4514530000000002E-3</c:v>
                </c:pt>
                <c:pt idx="1601">
                  <c:v>8.5002259999999996E-3</c:v>
                </c:pt>
                <c:pt idx="1602">
                  <c:v>1.2791532E-2</c:v>
                </c:pt>
                <c:pt idx="1603">
                  <c:v>1.2571126E-2</c:v>
                </c:pt>
                <c:pt idx="1604">
                  <c:v>1.2116180000000001E-2</c:v>
                </c:pt>
                <c:pt idx="1605">
                  <c:v>1.1907094999999999E-2</c:v>
                </c:pt>
                <c:pt idx="1606">
                  <c:v>1.1021550999999999E-2</c:v>
                </c:pt>
                <c:pt idx="1607">
                  <c:v>1.1730947E-2</c:v>
                </c:pt>
                <c:pt idx="1608">
                  <c:v>9.3952099999999993E-3</c:v>
                </c:pt>
                <c:pt idx="1609">
                  <c:v>7.558927E-3</c:v>
                </c:pt>
                <c:pt idx="1610">
                  <c:v>7.1436260000000001E-3</c:v>
                </c:pt>
                <c:pt idx="1611">
                  <c:v>7.7482699999999998E-3</c:v>
                </c:pt>
                <c:pt idx="1612">
                  <c:v>6.3535589999999999E-3</c:v>
                </c:pt>
                <c:pt idx="1613">
                  <c:v>6.2655940000000002E-3</c:v>
                </c:pt>
                <c:pt idx="1614">
                  <c:v>6.2569410000000002E-3</c:v>
                </c:pt>
                <c:pt idx="1615">
                  <c:v>1.3952463999999999E-2</c:v>
                </c:pt>
                <c:pt idx="1616">
                  <c:v>8.5193600000000001E-3</c:v>
                </c:pt>
                <c:pt idx="1617">
                  <c:v>8.254061E-3</c:v>
                </c:pt>
                <c:pt idx="1618">
                  <c:v>8.0762500000000001E-3</c:v>
                </c:pt>
                <c:pt idx="1619">
                  <c:v>5.8013450000000003E-3</c:v>
                </c:pt>
                <c:pt idx="1620">
                  <c:v>5.6242760000000001E-3</c:v>
                </c:pt>
                <c:pt idx="1621">
                  <c:v>5.397537E-3</c:v>
                </c:pt>
                <c:pt idx="1622">
                  <c:v>5.6174509999999999E-3</c:v>
                </c:pt>
                <c:pt idx="1623">
                  <c:v>5.4666130000000004E-3</c:v>
                </c:pt>
                <c:pt idx="1624">
                  <c:v>6.2000709999999997E-3</c:v>
                </c:pt>
                <c:pt idx="1625">
                  <c:v>4.634867E-3</c:v>
                </c:pt>
                <c:pt idx="1626">
                  <c:v>5.4083530000000003E-3</c:v>
                </c:pt>
                <c:pt idx="1627">
                  <c:v>5.1101280000000002E-3</c:v>
                </c:pt>
                <c:pt idx="1628">
                  <c:v>6.0854079999999996E-3</c:v>
                </c:pt>
                <c:pt idx="1629">
                  <c:v>6.2213490000000001E-3</c:v>
                </c:pt>
                <c:pt idx="1630">
                  <c:v>5.2744280000000003E-3</c:v>
                </c:pt>
                <c:pt idx="1631">
                  <c:v>5.4030950000000001E-3</c:v>
                </c:pt>
                <c:pt idx="1632">
                  <c:v>4.8734370000000004E-3</c:v>
                </c:pt>
                <c:pt idx="1633">
                  <c:v>9.7591589999999999E-3</c:v>
                </c:pt>
                <c:pt idx="1634">
                  <c:v>7.9864419999999998E-3</c:v>
                </c:pt>
                <c:pt idx="1635">
                  <c:v>7.4341379999999999E-3</c:v>
                </c:pt>
                <c:pt idx="1636">
                  <c:v>7.127642E-3</c:v>
                </c:pt>
                <c:pt idx="1637">
                  <c:v>6.2538009999999998E-3</c:v>
                </c:pt>
                <c:pt idx="1638">
                  <c:v>5.8445750000000003E-3</c:v>
                </c:pt>
                <c:pt idx="1639">
                  <c:v>6.0128229999999996E-3</c:v>
                </c:pt>
                <c:pt idx="1640">
                  <c:v>4.94568E-3</c:v>
                </c:pt>
                <c:pt idx="1641">
                  <c:v>4.4633190000000003E-3</c:v>
                </c:pt>
                <c:pt idx="1642">
                  <c:v>7.073111E-3</c:v>
                </c:pt>
                <c:pt idx="1643">
                  <c:v>1.0404485999999999E-2</c:v>
                </c:pt>
                <c:pt idx="1644">
                  <c:v>9.0481529999999998E-3</c:v>
                </c:pt>
                <c:pt idx="1645">
                  <c:v>5.6893789999999996E-3</c:v>
                </c:pt>
                <c:pt idx="1646">
                  <c:v>5.5107749999999999E-3</c:v>
                </c:pt>
                <c:pt idx="1647">
                  <c:v>9.1718640000000001E-3</c:v>
                </c:pt>
                <c:pt idx="1648">
                  <c:v>6.3454779999999999E-3</c:v>
                </c:pt>
                <c:pt idx="1649">
                  <c:v>6.7898869999999997E-3</c:v>
                </c:pt>
                <c:pt idx="1650">
                  <c:v>5.1154629999999998E-3</c:v>
                </c:pt>
                <c:pt idx="1651">
                  <c:v>8.0491030000000002E-3</c:v>
                </c:pt>
                <c:pt idx="1652">
                  <c:v>9.5683799999999996E-3</c:v>
                </c:pt>
                <c:pt idx="1653">
                  <c:v>1.1013567E-2</c:v>
                </c:pt>
                <c:pt idx="1654">
                  <c:v>7.4320180000000003E-3</c:v>
                </c:pt>
                <c:pt idx="1655">
                  <c:v>1.1237943E-2</c:v>
                </c:pt>
                <c:pt idx="1656">
                  <c:v>8.0228929999999997E-3</c:v>
                </c:pt>
                <c:pt idx="1657">
                  <c:v>8.7138370000000003E-3</c:v>
                </c:pt>
                <c:pt idx="1658">
                  <c:v>9.8931820000000004E-3</c:v>
                </c:pt>
                <c:pt idx="1659">
                  <c:v>1.2580238000000001E-2</c:v>
                </c:pt>
                <c:pt idx="1660">
                  <c:v>8.4918519999999994E-3</c:v>
                </c:pt>
                <c:pt idx="1661">
                  <c:v>6.4245789999999997E-3</c:v>
                </c:pt>
                <c:pt idx="1662">
                  <c:v>6.7920619999999998E-3</c:v>
                </c:pt>
                <c:pt idx="1663">
                  <c:v>6.7894959999999999E-3</c:v>
                </c:pt>
                <c:pt idx="1664">
                  <c:v>8.2828399999999996E-3</c:v>
                </c:pt>
                <c:pt idx="1665">
                  <c:v>5.4444899999999997E-3</c:v>
                </c:pt>
                <c:pt idx="1666">
                  <c:v>6.9196809999999996E-3</c:v>
                </c:pt>
                <c:pt idx="1667">
                  <c:v>5.7935340000000004E-3</c:v>
                </c:pt>
                <c:pt idx="1668">
                  <c:v>8.2257560000000007E-3</c:v>
                </c:pt>
                <c:pt idx="1669">
                  <c:v>5.0728759999999996E-3</c:v>
                </c:pt>
                <c:pt idx="1670">
                  <c:v>6.0622990000000002E-3</c:v>
                </c:pt>
                <c:pt idx="1671">
                  <c:v>4.3036719999999997E-3</c:v>
                </c:pt>
                <c:pt idx="1672">
                  <c:v>4.5253630000000001E-3</c:v>
                </c:pt>
                <c:pt idx="1673">
                  <c:v>4.5502049999999999E-3</c:v>
                </c:pt>
                <c:pt idx="1674">
                  <c:v>4.3349529999999999E-3</c:v>
                </c:pt>
                <c:pt idx="1675">
                  <c:v>3.4664679999999999E-3</c:v>
                </c:pt>
                <c:pt idx="1676">
                  <c:v>3.7688130000000002E-3</c:v>
                </c:pt>
                <c:pt idx="1677">
                  <c:v>4.3782730000000002E-3</c:v>
                </c:pt>
                <c:pt idx="1678">
                  <c:v>6.2737540000000003E-3</c:v>
                </c:pt>
                <c:pt idx="1679">
                  <c:v>1.0139878E-2</c:v>
                </c:pt>
                <c:pt idx="1680">
                  <c:v>4.9298409999999999E-3</c:v>
                </c:pt>
                <c:pt idx="1681">
                  <c:v>5.1027199999999998E-3</c:v>
                </c:pt>
                <c:pt idx="1682">
                  <c:v>4.0507690000000001E-3</c:v>
                </c:pt>
                <c:pt idx="1683">
                  <c:v>3.6289949999999999E-3</c:v>
                </c:pt>
                <c:pt idx="1684">
                  <c:v>4.2729129999999997E-3</c:v>
                </c:pt>
                <c:pt idx="1685">
                  <c:v>3.5468840000000001E-3</c:v>
                </c:pt>
                <c:pt idx="1686">
                  <c:v>3.3229700000000002E-3</c:v>
                </c:pt>
                <c:pt idx="1687">
                  <c:v>5.47629E-3</c:v>
                </c:pt>
                <c:pt idx="1688">
                  <c:v>3.8063720000000001E-3</c:v>
                </c:pt>
                <c:pt idx="1689">
                  <c:v>5.3035110000000003E-3</c:v>
                </c:pt>
                <c:pt idx="1690">
                  <c:v>5.6340239999999996E-3</c:v>
                </c:pt>
                <c:pt idx="1691">
                  <c:v>5.9434570000000001E-3</c:v>
                </c:pt>
                <c:pt idx="1692">
                  <c:v>4.9921640000000003E-3</c:v>
                </c:pt>
                <c:pt idx="1693">
                  <c:v>4.7870669999999999E-3</c:v>
                </c:pt>
                <c:pt idx="1694">
                  <c:v>5.5723539999999998E-3</c:v>
                </c:pt>
                <c:pt idx="1695">
                  <c:v>4.9507270000000003E-3</c:v>
                </c:pt>
                <c:pt idx="1696">
                  <c:v>4.2683069999999998E-3</c:v>
                </c:pt>
                <c:pt idx="1697">
                  <c:v>4.459401E-3</c:v>
                </c:pt>
                <c:pt idx="1698">
                  <c:v>5.2074690000000002E-3</c:v>
                </c:pt>
                <c:pt idx="1699">
                  <c:v>4.4717849999999998E-3</c:v>
                </c:pt>
                <c:pt idx="1700">
                  <c:v>5.4359270000000001E-3</c:v>
                </c:pt>
                <c:pt idx="1701">
                  <c:v>5.1970230000000003E-3</c:v>
                </c:pt>
                <c:pt idx="1702">
                  <c:v>7.16156E-3</c:v>
                </c:pt>
                <c:pt idx="1703">
                  <c:v>5.6402609999999997E-3</c:v>
                </c:pt>
                <c:pt idx="1704">
                  <c:v>9.841186E-3</c:v>
                </c:pt>
                <c:pt idx="1705">
                  <c:v>1.4304122000000001E-2</c:v>
                </c:pt>
                <c:pt idx="1706">
                  <c:v>9.8894150000000004E-3</c:v>
                </c:pt>
                <c:pt idx="1707">
                  <c:v>8.1480760000000006E-3</c:v>
                </c:pt>
                <c:pt idx="1708">
                  <c:v>7.7465449999999996E-3</c:v>
                </c:pt>
                <c:pt idx="1709">
                  <c:v>5.1811449999999998E-3</c:v>
                </c:pt>
                <c:pt idx="1710">
                  <c:v>1.0904412E-2</c:v>
                </c:pt>
                <c:pt idx="1711">
                  <c:v>1.0480092999999999E-2</c:v>
                </c:pt>
                <c:pt idx="1712">
                  <c:v>9.8805070000000002E-3</c:v>
                </c:pt>
                <c:pt idx="1713">
                  <c:v>1.0117691999999999E-2</c:v>
                </c:pt>
                <c:pt idx="1714">
                  <c:v>8.2630440000000006E-3</c:v>
                </c:pt>
                <c:pt idx="1715">
                  <c:v>5.6972100000000003E-3</c:v>
                </c:pt>
                <c:pt idx="1716">
                  <c:v>6.2472889999999996E-3</c:v>
                </c:pt>
                <c:pt idx="1717">
                  <c:v>7.6342110000000001E-3</c:v>
                </c:pt>
                <c:pt idx="1718">
                  <c:v>9.016352E-3</c:v>
                </c:pt>
                <c:pt idx="1719">
                  <c:v>7.8322059999999995E-3</c:v>
                </c:pt>
                <c:pt idx="1720">
                  <c:v>7.1119260000000002E-3</c:v>
                </c:pt>
                <c:pt idx="1721">
                  <c:v>9.3117010000000004E-3</c:v>
                </c:pt>
                <c:pt idx="1722">
                  <c:v>9.4075549999999997E-3</c:v>
                </c:pt>
                <c:pt idx="1723">
                  <c:v>1.0708554E-2</c:v>
                </c:pt>
                <c:pt idx="1724">
                  <c:v>8.784221E-3</c:v>
                </c:pt>
                <c:pt idx="1725">
                  <c:v>6.5966779999999999E-3</c:v>
                </c:pt>
                <c:pt idx="1726">
                  <c:v>9.6592099999999997E-3</c:v>
                </c:pt>
                <c:pt idx="1727">
                  <c:v>8.7283229999999996E-3</c:v>
                </c:pt>
                <c:pt idx="1728">
                  <c:v>6.3516900000000001E-3</c:v>
                </c:pt>
                <c:pt idx="1729">
                  <c:v>9.8918649999999997E-3</c:v>
                </c:pt>
                <c:pt idx="1730">
                  <c:v>8.016469E-3</c:v>
                </c:pt>
                <c:pt idx="1731">
                  <c:v>1.3392405E-2</c:v>
                </c:pt>
                <c:pt idx="1732">
                  <c:v>1.1784865E-2</c:v>
                </c:pt>
                <c:pt idx="1733">
                  <c:v>1.4865246E-2</c:v>
                </c:pt>
                <c:pt idx="1734">
                  <c:v>1.7485389E-2</c:v>
                </c:pt>
                <c:pt idx="1735">
                  <c:v>1.324323E-2</c:v>
                </c:pt>
                <c:pt idx="1736">
                  <c:v>1.0150868E-2</c:v>
                </c:pt>
                <c:pt idx="1737">
                  <c:v>7.584393E-3</c:v>
                </c:pt>
                <c:pt idx="1738">
                  <c:v>1.1611768999999999E-2</c:v>
                </c:pt>
                <c:pt idx="1739">
                  <c:v>1.2741172E-2</c:v>
                </c:pt>
                <c:pt idx="1740">
                  <c:v>1.1115774E-2</c:v>
                </c:pt>
                <c:pt idx="1741">
                  <c:v>1.013906E-2</c:v>
                </c:pt>
                <c:pt idx="1742">
                  <c:v>1.0176176E-2</c:v>
                </c:pt>
                <c:pt idx="1743">
                  <c:v>1.0943715999999999E-2</c:v>
                </c:pt>
                <c:pt idx="1744">
                  <c:v>1.1015990999999999E-2</c:v>
                </c:pt>
                <c:pt idx="1745">
                  <c:v>9.2857640000000002E-3</c:v>
                </c:pt>
                <c:pt idx="1746">
                  <c:v>1.8344045999999999E-2</c:v>
                </c:pt>
                <c:pt idx="1747">
                  <c:v>1.2561874000000001E-2</c:v>
                </c:pt>
                <c:pt idx="1748">
                  <c:v>1.0356742E-2</c:v>
                </c:pt>
                <c:pt idx="1749">
                  <c:v>9.5854270000000005E-3</c:v>
                </c:pt>
                <c:pt idx="1750">
                  <c:v>9.629805E-3</c:v>
                </c:pt>
                <c:pt idx="1751">
                  <c:v>9.116865E-3</c:v>
                </c:pt>
                <c:pt idx="1752">
                  <c:v>7.7023329999999996E-3</c:v>
                </c:pt>
                <c:pt idx="1753">
                  <c:v>7.3853909999999998E-3</c:v>
                </c:pt>
                <c:pt idx="1754">
                  <c:v>5.3568019999999999E-3</c:v>
                </c:pt>
                <c:pt idx="1755">
                  <c:v>5.9181110000000002E-3</c:v>
                </c:pt>
                <c:pt idx="1756">
                  <c:v>8.5237520000000008E-3</c:v>
                </c:pt>
                <c:pt idx="1757">
                  <c:v>8.724954E-3</c:v>
                </c:pt>
                <c:pt idx="1758">
                  <c:v>7.0658709999999996E-3</c:v>
                </c:pt>
                <c:pt idx="1759">
                  <c:v>1.0147655E-2</c:v>
                </c:pt>
                <c:pt idx="1760">
                  <c:v>7.4810079999999999E-3</c:v>
                </c:pt>
                <c:pt idx="1761">
                  <c:v>5.4726979999999998E-3</c:v>
                </c:pt>
                <c:pt idx="1762">
                  <c:v>6.9670540000000003E-3</c:v>
                </c:pt>
                <c:pt idx="1763">
                  <c:v>7.7583010000000004E-3</c:v>
                </c:pt>
                <c:pt idx="1764">
                  <c:v>1.0129288E-2</c:v>
                </c:pt>
                <c:pt idx="1765">
                  <c:v>8.858823E-3</c:v>
                </c:pt>
                <c:pt idx="1766">
                  <c:v>7.0482490000000004E-3</c:v>
                </c:pt>
                <c:pt idx="1767">
                  <c:v>6.60146E-3</c:v>
                </c:pt>
                <c:pt idx="1768">
                  <c:v>1.0574755E-2</c:v>
                </c:pt>
                <c:pt idx="1769">
                  <c:v>8.7824489999999995E-3</c:v>
                </c:pt>
                <c:pt idx="1770">
                  <c:v>1.1854200000000001E-2</c:v>
                </c:pt>
                <c:pt idx="1771">
                  <c:v>1.1129217E-2</c:v>
                </c:pt>
                <c:pt idx="1772">
                  <c:v>1.3734079E-2</c:v>
                </c:pt>
                <c:pt idx="1773">
                  <c:v>1.0994715E-2</c:v>
                </c:pt>
                <c:pt idx="1774">
                  <c:v>8.7408120000000006E-3</c:v>
                </c:pt>
                <c:pt idx="1775">
                  <c:v>8.3975760000000003E-3</c:v>
                </c:pt>
                <c:pt idx="1776">
                  <c:v>1.3704589E-2</c:v>
                </c:pt>
                <c:pt idx="1777">
                  <c:v>9.881941E-3</c:v>
                </c:pt>
                <c:pt idx="1778">
                  <c:v>1.0524980999999999E-2</c:v>
                </c:pt>
                <c:pt idx="1779">
                  <c:v>1.1296868999999999E-2</c:v>
                </c:pt>
                <c:pt idx="1780">
                  <c:v>1.0718320999999999E-2</c:v>
                </c:pt>
                <c:pt idx="1781">
                  <c:v>9.4801710000000008E-3</c:v>
                </c:pt>
                <c:pt idx="1782">
                  <c:v>8.3061509999999995E-3</c:v>
                </c:pt>
                <c:pt idx="1783">
                  <c:v>6.8657199999999996E-3</c:v>
                </c:pt>
                <c:pt idx="1784">
                  <c:v>8.8662350000000001E-3</c:v>
                </c:pt>
                <c:pt idx="1785">
                  <c:v>7.9035779999999996E-3</c:v>
                </c:pt>
                <c:pt idx="1786">
                  <c:v>8.0939559999999994E-3</c:v>
                </c:pt>
                <c:pt idx="1787">
                  <c:v>8.2729610000000006E-3</c:v>
                </c:pt>
                <c:pt idx="1788">
                  <c:v>7.3621210000000001E-3</c:v>
                </c:pt>
                <c:pt idx="1789">
                  <c:v>6.4045339999999999E-3</c:v>
                </c:pt>
                <c:pt idx="1790">
                  <c:v>7.3726590000000002E-3</c:v>
                </c:pt>
                <c:pt idx="1791">
                  <c:v>7.8701729999999994E-3</c:v>
                </c:pt>
                <c:pt idx="1792">
                  <c:v>7.6333249999999998E-3</c:v>
                </c:pt>
                <c:pt idx="1793">
                  <c:v>6.8081790000000001E-3</c:v>
                </c:pt>
                <c:pt idx="1794">
                  <c:v>9.3777970000000002E-3</c:v>
                </c:pt>
                <c:pt idx="1795">
                  <c:v>1.1540454E-2</c:v>
                </c:pt>
                <c:pt idx="1796">
                  <c:v>7.8427410000000003E-3</c:v>
                </c:pt>
                <c:pt idx="1797">
                  <c:v>7.2295079999999999E-3</c:v>
                </c:pt>
                <c:pt idx="1798">
                  <c:v>7.6698299999999999E-3</c:v>
                </c:pt>
                <c:pt idx="1799">
                  <c:v>9.3741209999999991E-3</c:v>
                </c:pt>
                <c:pt idx="1800">
                  <c:v>6.7533389999999997E-3</c:v>
                </c:pt>
                <c:pt idx="1801">
                  <c:v>6.1593890000000004E-3</c:v>
                </c:pt>
                <c:pt idx="1802">
                  <c:v>6.0331630000000002E-3</c:v>
                </c:pt>
                <c:pt idx="1803">
                  <c:v>8.5025499999999993E-3</c:v>
                </c:pt>
                <c:pt idx="1804">
                  <c:v>7.4874110000000002E-3</c:v>
                </c:pt>
                <c:pt idx="1805">
                  <c:v>7.1782970000000001E-3</c:v>
                </c:pt>
                <c:pt idx="1806">
                  <c:v>8.5047479999999995E-3</c:v>
                </c:pt>
                <c:pt idx="1807">
                  <c:v>7.2171450000000003E-3</c:v>
                </c:pt>
                <c:pt idx="1808">
                  <c:v>7.9728160000000006E-3</c:v>
                </c:pt>
                <c:pt idx="1809">
                  <c:v>6.4314000000000003E-3</c:v>
                </c:pt>
                <c:pt idx="1810">
                  <c:v>5.9476119999999997E-3</c:v>
                </c:pt>
                <c:pt idx="1811">
                  <c:v>5.338827E-3</c:v>
                </c:pt>
                <c:pt idx="1812">
                  <c:v>6.3480819999999997E-3</c:v>
                </c:pt>
                <c:pt idx="1813">
                  <c:v>6.936149E-3</c:v>
                </c:pt>
                <c:pt idx="1814">
                  <c:v>5.3799340000000003E-3</c:v>
                </c:pt>
                <c:pt idx="1815">
                  <c:v>5.3043270000000002E-3</c:v>
                </c:pt>
                <c:pt idx="1816">
                  <c:v>5.2030460000000002E-3</c:v>
                </c:pt>
                <c:pt idx="1817">
                  <c:v>7.0112910000000002E-3</c:v>
                </c:pt>
                <c:pt idx="1818">
                  <c:v>6.8963499999999999E-3</c:v>
                </c:pt>
                <c:pt idx="1819">
                  <c:v>6.6058380000000002E-3</c:v>
                </c:pt>
                <c:pt idx="1820">
                  <c:v>5.6233150000000003E-3</c:v>
                </c:pt>
                <c:pt idx="1821">
                  <c:v>5.7665920000000001E-3</c:v>
                </c:pt>
                <c:pt idx="1822">
                  <c:v>8.6474129999999996E-3</c:v>
                </c:pt>
                <c:pt idx="1823">
                  <c:v>8.6528239999999999E-3</c:v>
                </c:pt>
                <c:pt idx="1824">
                  <c:v>6.1125060000000002E-3</c:v>
                </c:pt>
                <c:pt idx="1825">
                  <c:v>6.2376009999999997E-3</c:v>
                </c:pt>
                <c:pt idx="1826">
                  <c:v>9.3509330000000005E-3</c:v>
                </c:pt>
                <c:pt idx="1827">
                  <c:v>5.9850930000000004E-3</c:v>
                </c:pt>
                <c:pt idx="1828">
                  <c:v>7.1577280000000004E-3</c:v>
                </c:pt>
                <c:pt idx="1829">
                  <c:v>5.5714470000000002E-3</c:v>
                </c:pt>
                <c:pt idx="1830">
                  <c:v>6.9869169999999996E-3</c:v>
                </c:pt>
                <c:pt idx="1831">
                  <c:v>7.5884280000000004E-3</c:v>
                </c:pt>
                <c:pt idx="1832">
                  <c:v>6.4419000000000004E-3</c:v>
                </c:pt>
                <c:pt idx="1833">
                  <c:v>5.31008E-3</c:v>
                </c:pt>
                <c:pt idx="1834">
                  <c:v>5.2048260000000001E-3</c:v>
                </c:pt>
                <c:pt idx="1835">
                  <c:v>4.2228839999999997E-3</c:v>
                </c:pt>
                <c:pt idx="1836">
                  <c:v>5.4770879999999997E-3</c:v>
                </c:pt>
                <c:pt idx="1837">
                  <c:v>5.53106E-3</c:v>
                </c:pt>
                <c:pt idx="1838">
                  <c:v>5.3391389999999997E-3</c:v>
                </c:pt>
                <c:pt idx="1839">
                  <c:v>5.6187850000000003E-3</c:v>
                </c:pt>
                <c:pt idx="1840">
                  <c:v>5.4632359999999998E-3</c:v>
                </c:pt>
                <c:pt idx="1841">
                  <c:v>5.4202139999999996E-3</c:v>
                </c:pt>
                <c:pt idx="1842">
                  <c:v>4.9984850000000004E-3</c:v>
                </c:pt>
                <c:pt idx="1843">
                  <c:v>6.8446469999999997E-3</c:v>
                </c:pt>
                <c:pt idx="1844">
                  <c:v>6.3367689999999999E-3</c:v>
                </c:pt>
                <c:pt idx="1845">
                  <c:v>5.9462009999999999E-3</c:v>
                </c:pt>
                <c:pt idx="1846">
                  <c:v>5.5014640000000002E-3</c:v>
                </c:pt>
                <c:pt idx="1847">
                  <c:v>5.6792639999999998E-3</c:v>
                </c:pt>
                <c:pt idx="1848">
                  <c:v>7.2961709999999997E-3</c:v>
                </c:pt>
                <c:pt idx="1849">
                  <c:v>6.4547340000000002E-3</c:v>
                </c:pt>
                <c:pt idx="1850">
                  <c:v>5.2418170000000002E-3</c:v>
                </c:pt>
                <c:pt idx="1851">
                  <c:v>4.0873319999999999E-3</c:v>
                </c:pt>
                <c:pt idx="1852">
                  <c:v>4.3520959999999997E-3</c:v>
                </c:pt>
                <c:pt idx="1853">
                  <c:v>4.454398E-3</c:v>
                </c:pt>
                <c:pt idx="1854">
                  <c:v>5.6415700000000003E-3</c:v>
                </c:pt>
                <c:pt idx="1855">
                  <c:v>5.1597429999999996E-3</c:v>
                </c:pt>
                <c:pt idx="1856">
                  <c:v>5.3682479999999999E-3</c:v>
                </c:pt>
                <c:pt idx="1857">
                  <c:v>5.0821290000000003E-3</c:v>
                </c:pt>
                <c:pt idx="1858">
                  <c:v>6.1430679999999998E-3</c:v>
                </c:pt>
                <c:pt idx="1859">
                  <c:v>6.0446659999999998E-3</c:v>
                </c:pt>
                <c:pt idx="1860">
                  <c:v>5.2647670000000001E-3</c:v>
                </c:pt>
                <c:pt idx="1861">
                  <c:v>6.5121049999999998E-3</c:v>
                </c:pt>
                <c:pt idx="1862">
                  <c:v>4.7379919999999999E-3</c:v>
                </c:pt>
                <c:pt idx="1863">
                  <c:v>6.9507550000000003E-3</c:v>
                </c:pt>
                <c:pt idx="1864">
                  <c:v>6.1848470000000003E-3</c:v>
                </c:pt>
                <c:pt idx="1865">
                  <c:v>6.230485E-3</c:v>
                </c:pt>
                <c:pt idx="1866">
                  <c:v>5.5181680000000004E-3</c:v>
                </c:pt>
                <c:pt idx="1867">
                  <c:v>1.5659003000000001E-2</c:v>
                </c:pt>
                <c:pt idx="1868">
                  <c:v>1.0010773000000001E-2</c:v>
                </c:pt>
                <c:pt idx="1869">
                  <c:v>7.0854070000000002E-3</c:v>
                </c:pt>
                <c:pt idx="1870">
                  <c:v>7.2453780000000002E-3</c:v>
                </c:pt>
                <c:pt idx="1871">
                  <c:v>6.4639169999999996E-3</c:v>
                </c:pt>
                <c:pt idx="1872">
                  <c:v>9.9795790000000006E-3</c:v>
                </c:pt>
                <c:pt idx="1873">
                  <c:v>8.1749700000000002E-3</c:v>
                </c:pt>
                <c:pt idx="1874">
                  <c:v>5.4088549999999997E-3</c:v>
                </c:pt>
                <c:pt idx="1875">
                  <c:v>5.9360899999999998E-3</c:v>
                </c:pt>
                <c:pt idx="1876">
                  <c:v>7.2845419999999998E-3</c:v>
                </c:pt>
                <c:pt idx="1877">
                  <c:v>6.6524560000000002E-3</c:v>
                </c:pt>
                <c:pt idx="1878">
                  <c:v>5.9648360000000003E-3</c:v>
                </c:pt>
                <c:pt idx="1879">
                  <c:v>4.3871800000000001E-3</c:v>
                </c:pt>
                <c:pt idx="1880">
                  <c:v>4.3010419999999997E-3</c:v>
                </c:pt>
                <c:pt idx="1881">
                  <c:v>8.5676559999999999E-3</c:v>
                </c:pt>
                <c:pt idx="1882">
                  <c:v>9.4277370000000003E-3</c:v>
                </c:pt>
                <c:pt idx="1883">
                  <c:v>3.4554759999999999E-3</c:v>
                </c:pt>
                <c:pt idx="1884">
                  <c:v>5.3465190000000001E-3</c:v>
                </c:pt>
                <c:pt idx="1885">
                  <c:v>7.0391680000000002E-3</c:v>
                </c:pt>
                <c:pt idx="1886">
                  <c:v>6.5734950000000004E-3</c:v>
                </c:pt>
                <c:pt idx="1887">
                  <c:v>6.2590930000000003E-3</c:v>
                </c:pt>
                <c:pt idx="1888">
                  <c:v>5.0172519999999998E-3</c:v>
                </c:pt>
                <c:pt idx="1889">
                  <c:v>5.2277249999999999E-3</c:v>
                </c:pt>
                <c:pt idx="1890">
                  <c:v>5.8046310000000002E-3</c:v>
                </c:pt>
                <c:pt idx="1891">
                  <c:v>8.5671949999999997E-3</c:v>
                </c:pt>
                <c:pt idx="1892">
                  <c:v>5.9382749999999998E-3</c:v>
                </c:pt>
                <c:pt idx="1893">
                  <c:v>5.7658969999999999E-3</c:v>
                </c:pt>
                <c:pt idx="1894">
                  <c:v>6.0450770000000003E-3</c:v>
                </c:pt>
                <c:pt idx="1895">
                  <c:v>6.1072690000000002E-3</c:v>
                </c:pt>
                <c:pt idx="1896">
                  <c:v>7.0440540000000001E-3</c:v>
                </c:pt>
                <c:pt idx="1897">
                  <c:v>6.6025220000000004E-3</c:v>
                </c:pt>
                <c:pt idx="1898">
                  <c:v>4.696352E-3</c:v>
                </c:pt>
                <c:pt idx="1899">
                  <c:v>5.8484330000000001E-3</c:v>
                </c:pt>
                <c:pt idx="1900">
                  <c:v>6.5755639999999999E-3</c:v>
                </c:pt>
                <c:pt idx="1901">
                  <c:v>8.9336169999999996E-3</c:v>
                </c:pt>
                <c:pt idx="1902">
                  <c:v>7.1365300000000003E-3</c:v>
                </c:pt>
                <c:pt idx="1903">
                  <c:v>7.0054380000000001E-3</c:v>
                </c:pt>
                <c:pt idx="1904">
                  <c:v>6.8740299999999997E-3</c:v>
                </c:pt>
                <c:pt idx="1905">
                  <c:v>5.9865439999999999E-3</c:v>
                </c:pt>
                <c:pt idx="1906">
                  <c:v>5.9394510000000001E-3</c:v>
                </c:pt>
                <c:pt idx="1907">
                  <c:v>5.1844839999999996E-3</c:v>
                </c:pt>
                <c:pt idx="1908">
                  <c:v>6.258446E-3</c:v>
                </c:pt>
                <c:pt idx="1909">
                  <c:v>5.9268489999999997E-3</c:v>
                </c:pt>
                <c:pt idx="1910">
                  <c:v>4.6212600000000003E-3</c:v>
                </c:pt>
                <c:pt idx="1911">
                  <c:v>4.9186509999999996E-3</c:v>
                </c:pt>
                <c:pt idx="1912">
                  <c:v>5.1815780000000001E-3</c:v>
                </c:pt>
                <c:pt idx="1913">
                  <c:v>4.8410930000000003E-3</c:v>
                </c:pt>
                <c:pt idx="1914">
                  <c:v>4.1439140000000003E-3</c:v>
                </c:pt>
                <c:pt idx="1915">
                  <c:v>5.17733E-3</c:v>
                </c:pt>
                <c:pt idx="1916">
                  <c:v>3.8491900000000002E-3</c:v>
                </c:pt>
                <c:pt idx="1917">
                  <c:v>4.9422770000000001E-3</c:v>
                </c:pt>
                <c:pt idx="1918">
                  <c:v>4.1812189999999999E-3</c:v>
                </c:pt>
                <c:pt idx="1919">
                  <c:v>5.1267769999999999E-3</c:v>
                </c:pt>
                <c:pt idx="1920">
                  <c:v>5.041851E-3</c:v>
                </c:pt>
                <c:pt idx="1921">
                  <c:v>5.0594730000000001E-3</c:v>
                </c:pt>
                <c:pt idx="1922">
                  <c:v>6.2017699999999997E-3</c:v>
                </c:pt>
                <c:pt idx="1923">
                  <c:v>7.3389520000000001E-3</c:v>
                </c:pt>
                <c:pt idx="1924">
                  <c:v>6.21939E-3</c:v>
                </c:pt>
                <c:pt idx="1925">
                  <c:v>1.4800723999999999E-2</c:v>
                </c:pt>
                <c:pt idx="1926">
                  <c:v>8.3745309999999993E-3</c:v>
                </c:pt>
                <c:pt idx="1927">
                  <c:v>1.2915161E-2</c:v>
                </c:pt>
                <c:pt idx="1928">
                  <c:v>1.2286871E-2</c:v>
                </c:pt>
                <c:pt idx="1929">
                  <c:v>8.3125170000000002E-3</c:v>
                </c:pt>
                <c:pt idx="1930">
                  <c:v>7.6932980000000003E-3</c:v>
                </c:pt>
                <c:pt idx="1931">
                  <c:v>7.1251149999999996E-3</c:v>
                </c:pt>
                <c:pt idx="1932">
                  <c:v>1.8940947E-2</c:v>
                </c:pt>
                <c:pt idx="1933">
                  <c:v>1.5869177000000002E-2</c:v>
                </c:pt>
                <c:pt idx="1934">
                  <c:v>1.41529E-2</c:v>
                </c:pt>
                <c:pt idx="1935">
                  <c:v>1.0729761000000001E-2</c:v>
                </c:pt>
                <c:pt idx="1936">
                  <c:v>1.0593247E-2</c:v>
                </c:pt>
                <c:pt idx="1937">
                  <c:v>1.068937E-2</c:v>
                </c:pt>
                <c:pt idx="1938">
                  <c:v>8.8655560000000001E-3</c:v>
                </c:pt>
                <c:pt idx="1939">
                  <c:v>1.5479745E-2</c:v>
                </c:pt>
                <c:pt idx="1940">
                  <c:v>1.1164111000000001E-2</c:v>
                </c:pt>
                <c:pt idx="1941">
                  <c:v>1.1115849000000001E-2</c:v>
                </c:pt>
                <c:pt idx="1942">
                  <c:v>1.0649980999999999E-2</c:v>
                </c:pt>
                <c:pt idx="1943">
                  <c:v>1.3536210999999999E-2</c:v>
                </c:pt>
                <c:pt idx="1944">
                  <c:v>1.6093652999999999E-2</c:v>
                </c:pt>
                <c:pt idx="1945">
                  <c:v>1.2776188000000001E-2</c:v>
                </c:pt>
                <c:pt idx="1946">
                  <c:v>1.1821541E-2</c:v>
                </c:pt>
                <c:pt idx="1947">
                  <c:v>1.123181E-2</c:v>
                </c:pt>
                <c:pt idx="1948">
                  <c:v>1.1230344999999999E-2</c:v>
                </c:pt>
                <c:pt idx="1949">
                  <c:v>1.2132535999999999E-2</c:v>
                </c:pt>
                <c:pt idx="1950">
                  <c:v>1.5838199000000001E-2</c:v>
                </c:pt>
                <c:pt idx="1951">
                  <c:v>1.5256036000000001E-2</c:v>
                </c:pt>
                <c:pt idx="1952">
                  <c:v>1.4680842E-2</c:v>
                </c:pt>
                <c:pt idx="1953">
                  <c:v>1.1281444E-2</c:v>
                </c:pt>
                <c:pt idx="1954">
                  <c:v>1.2678689E-2</c:v>
                </c:pt>
                <c:pt idx="1955">
                  <c:v>1.3970546E-2</c:v>
                </c:pt>
                <c:pt idx="1956">
                  <c:v>1.863277E-2</c:v>
                </c:pt>
                <c:pt idx="1957">
                  <c:v>1.2720881999999999E-2</c:v>
                </c:pt>
                <c:pt idx="1958">
                  <c:v>1.9265567000000001E-2</c:v>
                </c:pt>
                <c:pt idx="1959">
                  <c:v>9.7557159999999993E-3</c:v>
                </c:pt>
                <c:pt idx="1960">
                  <c:v>1.6546846E-2</c:v>
                </c:pt>
                <c:pt idx="1961">
                  <c:v>1.7789307000000001E-2</c:v>
                </c:pt>
                <c:pt idx="1962">
                  <c:v>1.7444265E-2</c:v>
                </c:pt>
                <c:pt idx="1963">
                  <c:v>1.6169747000000002E-2</c:v>
                </c:pt>
                <c:pt idx="1964">
                  <c:v>1.7849700999999999E-2</c:v>
                </c:pt>
                <c:pt idx="1965">
                  <c:v>2.1672765E-2</c:v>
                </c:pt>
                <c:pt idx="1966">
                  <c:v>1.9650628E-2</c:v>
                </c:pt>
                <c:pt idx="1967">
                  <c:v>1.4115475000000001E-2</c:v>
                </c:pt>
                <c:pt idx="1968">
                  <c:v>1.6530445000000001E-2</c:v>
                </c:pt>
                <c:pt idx="1969">
                  <c:v>1.3750782E-2</c:v>
                </c:pt>
                <c:pt idx="1970">
                  <c:v>1.3227811000000001E-2</c:v>
                </c:pt>
                <c:pt idx="1971">
                  <c:v>1.3295135E-2</c:v>
                </c:pt>
                <c:pt idx="1972">
                  <c:v>1.2316664E-2</c:v>
                </c:pt>
                <c:pt idx="1973">
                  <c:v>1.7590636999999999E-2</c:v>
                </c:pt>
                <c:pt idx="1974">
                  <c:v>1.0406622000000001E-2</c:v>
                </c:pt>
                <c:pt idx="1975">
                  <c:v>9.3208160000000009E-3</c:v>
                </c:pt>
                <c:pt idx="1976">
                  <c:v>1.4522088000000001E-2</c:v>
                </c:pt>
                <c:pt idx="1977">
                  <c:v>1.1778347E-2</c:v>
                </c:pt>
                <c:pt idx="1978">
                  <c:v>1.6061368999999999E-2</c:v>
                </c:pt>
                <c:pt idx="1979">
                  <c:v>1.3311356999999999E-2</c:v>
                </c:pt>
                <c:pt idx="1980">
                  <c:v>1.9776417000000001E-2</c:v>
                </c:pt>
                <c:pt idx="1981">
                  <c:v>1.616532E-2</c:v>
                </c:pt>
                <c:pt idx="1982">
                  <c:v>1.7272659999999999E-2</c:v>
                </c:pt>
                <c:pt idx="1983">
                  <c:v>1.6223219000000001E-2</c:v>
                </c:pt>
                <c:pt idx="1984">
                  <c:v>1.0247981999999999E-2</c:v>
                </c:pt>
                <c:pt idx="1985">
                  <c:v>8.9429569999999996E-3</c:v>
                </c:pt>
                <c:pt idx="1986">
                  <c:v>1.2598999E-2</c:v>
                </c:pt>
                <c:pt idx="1987">
                  <c:v>9.7075059999999994E-3</c:v>
                </c:pt>
                <c:pt idx="1988">
                  <c:v>8.2740650000000006E-3</c:v>
                </c:pt>
                <c:pt idx="1989">
                  <c:v>1.4809177999999999E-2</c:v>
                </c:pt>
                <c:pt idx="1990">
                  <c:v>1.0502737999999999E-2</c:v>
                </c:pt>
                <c:pt idx="1991">
                  <c:v>9.5500410000000004E-3</c:v>
                </c:pt>
                <c:pt idx="1992">
                  <c:v>1.6631863E-2</c:v>
                </c:pt>
                <c:pt idx="1993">
                  <c:v>1.195919E-2</c:v>
                </c:pt>
                <c:pt idx="1994">
                  <c:v>9.3957039999999995E-3</c:v>
                </c:pt>
                <c:pt idx="1995">
                  <c:v>9.8005239999999997E-3</c:v>
                </c:pt>
                <c:pt idx="1996">
                  <c:v>1.1436754E-2</c:v>
                </c:pt>
                <c:pt idx="1997">
                  <c:v>1.0325447E-2</c:v>
                </c:pt>
                <c:pt idx="1998">
                  <c:v>1.6496884999999999E-2</c:v>
                </c:pt>
                <c:pt idx="1999">
                  <c:v>9.7418709999999992E-3</c:v>
                </c:pt>
                <c:pt idx="2000">
                  <c:v>8.1473420000000001E-3</c:v>
                </c:pt>
                <c:pt idx="2001">
                  <c:v>9.7197180000000005E-3</c:v>
                </c:pt>
                <c:pt idx="2002">
                  <c:v>8.1060760000000003E-3</c:v>
                </c:pt>
                <c:pt idx="2003">
                  <c:v>8.8226780000000005E-3</c:v>
                </c:pt>
                <c:pt idx="2004">
                  <c:v>8.5576550000000008E-3</c:v>
                </c:pt>
                <c:pt idx="2005">
                  <c:v>7.7922620000000003E-3</c:v>
                </c:pt>
                <c:pt idx="2006">
                  <c:v>6.85689E-3</c:v>
                </c:pt>
                <c:pt idx="2007">
                  <c:v>6.7541470000000003E-3</c:v>
                </c:pt>
                <c:pt idx="2008">
                  <c:v>7.8255549999999997E-3</c:v>
                </c:pt>
                <c:pt idx="2009">
                  <c:v>9.5886159999999995E-3</c:v>
                </c:pt>
                <c:pt idx="2010">
                  <c:v>7.7311230000000003E-3</c:v>
                </c:pt>
                <c:pt idx="2011">
                  <c:v>7.5297740000000004E-3</c:v>
                </c:pt>
                <c:pt idx="2012">
                  <c:v>1.3519687000000001E-2</c:v>
                </c:pt>
                <c:pt idx="2013">
                  <c:v>1.0373072000000001E-2</c:v>
                </c:pt>
                <c:pt idx="2014">
                  <c:v>1.0426120000000001E-2</c:v>
                </c:pt>
                <c:pt idx="2015">
                  <c:v>1.0796068000000001E-2</c:v>
                </c:pt>
                <c:pt idx="2016">
                  <c:v>9.9729220000000004E-3</c:v>
                </c:pt>
                <c:pt idx="2017">
                  <c:v>7.8190199999999994E-3</c:v>
                </c:pt>
                <c:pt idx="2018">
                  <c:v>8.0560909999999996E-3</c:v>
                </c:pt>
                <c:pt idx="2019">
                  <c:v>1.0689234000000001E-2</c:v>
                </c:pt>
                <c:pt idx="2020">
                  <c:v>1.0075805E-2</c:v>
                </c:pt>
                <c:pt idx="2021">
                  <c:v>8.9570489999999999E-3</c:v>
                </c:pt>
                <c:pt idx="2022">
                  <c:v>1.0074710000000001E-2</c:v>
                </c:pt>
                <c:pt idx="2023">
                  <c:v>9.5074900000000004E-3</c:v>
                </c:pt>
                <c:pt idx="2024">
                  <c:v>7.9483320000000007E-3</c:v>
                </c:pt>
                <c:pt idx="2025">
                  <c:v>9.0181029999999995E-3</c:v>
                </c:pt>
                <c:pt idx="2026">
                  <c:v>9.1336609999999995E-3</c:v>
                </c:pt>
                <c:pt idx="2027">
                  <c:v>6.9887680000000002E-3</c:v>
                </c:pt>
                <c:pt idx="2028">
                  <c:v>1.1396710000000001E-2</c:v>
                </c:pt>
                <c:pt idx="2029">
                  <c:v>1.2868218000000001E-2</c:v>
                </c:pt>
                <c:pt idx="2030">
                  <c:v>1.4254711E-2</c:v>
                </c:pt>
                <c:pt idx="2031">
                  <c:v>1.1465260999999999E-2</c:v>
                </c:pt>
                <c:pt idx="2032">
                  <c:v>1.1469768999999999E-2</c:v>
                </c:pt>
                <c:pt idx="2033">
                  <c:v>1.3699337000000001E-2</c:v>
                </c:pt>
                <c:pt idx="2034">
                  <c:v>9.3254630000000008E-3</c:v>
                </c:pt>
                <c:pt idx="2035">
                  <c:v>1.0105038E-2</c:v>
                </c:pt>
                <c:pt idx="2036">
                  <c:v>1.3815061999999999E-2</c:v>
                </c:pt>
                <c:pt idx="2037">
                  <c:v>1.2517604E-2</c:v>
                </c:pt>
                <c:pt idx="2038">
                  <c:v>1.1167318000000001E-2</c:v>
                </c:pt>
                <c:pt idx="2039">
                  <c:v>9.2764419999999993E-3</c:v>
                </c:pt>
                <c:pt idx="2040">
                  <c:v>8.9227569999999999E-3</c:v>
                </c:pt>
                <c:pt idx="2041">
                  <c:v>1.0564197000000001E-2</c:v>
                </c:pt>
                <c:pt idx="2042">
                  <c:v>7.0417819999999999E-3</c:v>
                </c:pt>
                <c:pt idx="2043">
                  <c:v>7.7951239999999996E-3</c:v>
                </c:pt>
                <c:pt idx="2044">
                  <c:v>9.5693700000000007E-3</c:v>
                </c:pt>
                <c:pt idx="2045">
                  <c:v>1.1478723999999999E-2</c:v>
                </c:pt>
                <c:pt idx="2046">
                  <c:v>8.8329640000000004E-3</c:v>
                </c:pt>
                <c:pt idx="2047">
                  <c:v>7.5527349999999997E-3</c:v>
                </c:pt>
                <c:pt idx="2048">
                  <c:v>7.4250289999999997E-3</c:v>
                </c:pt>
                <c:pt idx="2049">
                  <c:v>7.9231500000000003E-3</c:v>
                </c:pt>
                <c:pt idx="2050">
                  <c:v>9.0212929999999997E-3</c:v>
                </c:pt>
                <c:pt idx="2051">
                  <c:v>9.8302819999999992E-3</c:v>
                </c:pt>
                <c:pt idx="2052">
                  <c:v>1.4831982E-2</c:v>
                </c:pt>
                <c:pt idx="2053">
                  <c:v>1.7954945E-2</c:v>
                </c:pt>
                <c:pt idx="2054">
                  <c:v>1.3191033E-2</c:v>
                </c:pt>
                <c:pt idx="2055">
                  <c:v>1.216771E-2</c:v>
                </c:pt>
                <c:pt idx="2056">
                  <c:v>1.2833855999999999E-2</c:v>
                </c:pt>
                <c:pt idx="2057">
                  <c:v>9.5828619999999993E-3</c:v>
                </c:pt>
                <c:pt idx="2058">
                  <c:v>1.0307925000000001E-2</c:v>
                </c:pt>
                <c:pt idx="2059">
                  <c:v>1.0799982E-2</c:v>
                </c:pt>
                <c:pt idx="2060">
                  <c:v>1.0769727E-2</c:v>
                </c:pt>
                <c:pt idx="2061">
                  <c:v>9.2618460000000007E-3</c:v>
                </c:pt>
                <c:pt idx="2062">
                  <c:v>8.9084990000000003E-3</c:v>
                </c:pt>
                <c:pt idx="2063">
                  <c:v>6.8875940000000004E-3</c:v>
                </c:pt>
                <c:pt idx="2064">
                  <c:v>9.8915419999999997E-3</c:v>
                </c:pt>
                <c:pt idx="2065">
                  <c:v>2.1170267E-2</c:v>
                </c:pt>
                <c:pt idx="2066">
                  <c:v>1.4643448999999999E-2</c:v>
                </c:pt>
                <c:pt idx="2067">
                  <c:v>1.2077235E-2</c:v>
                </c:pt>
                <c:pt idx="2068">
                  <c:v>1.0669435999999999E-2</c:v>
                </c:pt>
                <c:pt idx="2069">
                  <c:v>1.0580162000000001E-2</c:v>
                </c:pt>
                <c:pt idx="2070">
                  <c:v>9.1776129999999994E-3</c:v>
                </c:pt>
                <c:pt idx="2071">
                  <c:v>1.1187457E-2</c:v>
                </c:pt>
                <c:pt idx="2072">
                  <c:v>8.6248360000000003E-3</c:v>
                </c:pt>
                <c:pt idx="2073">
                  <c:v>1.1801159E-2</c:v>
                </c:pt>
                <c:pt idx="2074">
                  <c:v>1.0933717000000001E-2</c:v>
                </c:pt>
                <c:pt idx="2075">
                  <c:v>1.0316271E-2</c:v>
                </c:pt>
                <c:pt idx="2076">
                  <c:v>7.7126629999999998E-3</c:v>
                </c:pt>
                <c:pt idx="2077">
                  <c:v>8.5940770000000003E-3</c:v>
                </c:pt>
                <c:pt idx="2078">
                  <c:v>8.8467200000000006E-3</c:v>
                </c:pt>
                <c:pt idx="2079">
                  <c:v>7.7569869999999999E-3</c:v>
                </c:pt>
                <c:pt idx="2080">
                  <c:v>9.3732920000000001E-3</c:v>
                </c:pt>
                <c:pt idx="2081">
                  <c:v>9.1232599999999994E-3</c:v>
                </c:pt>
                <c:pt idx="2082">
                  <c:v>8.0947120000000004E-3</c:v>
                </c:pt>
                <c:pt idx="2083">
                  <c:v>1.1110184E-2</c:v>
                </c:pt>
                <c:pt idx="2084">
                  <c:v>1.096799E-2</c:v>
                </c:pt>
                <c:pt idx="2085">
                  <c:v>7.9663140000000004E-3</c:v>
                </c:pt>
                <c:pt idx="2086">
                  <c:v>9.7404689999999999E-3</c:v>
                </c:pt>
                <c:pt idx="2087">
                  <c:v>1.5104289E-2</c:v>
                </c:pt>
                <c:pt idx="2088">
                  <c:v>1.1665150000000001E-2</c:v>
                </c:pt>
                <c:pt idx="2089">
                  <c:v>1.1412324999999999E-2</c:v>
                </c:pt>
                <c:pt idx="2090">
                  <c:v>9.0204090000000001E-3</c:v>
                </c:pt>
                <c:pt idx="2091">
                  <c:v>2.0310842999999999E-2</c:v>
                </c:pt>
                <c:pt idx="2092">
                  <c:v>1.1604167E-2</c:v>
                </c:pt>
                <c:pt idx="2093">
                  <c:v>1.2186799999999999E-2</c:v>
                </c:pt>
                <c:pt idx="2094">
                  <c:v>9.1986580000000002E-3</c:v>
                </c:pt>
                <c:pt idx="2095">
                  <c:v>8.7113529999999998E-3</c:v>
                </c:pt>
                <c:pt idx="2096">
                  <c:v>1.0819015E-2</c:v>
                </c:pt>
                <c:pt idx="2097">
                  <c:v>1.1233088E-2</c:v>
                </c:pt>
                <c:pt idx="2098">
                  <c:v>1.0220831999999999E-2</c:v>
                </c:pt>
                <c:pt idx="2099">
                  <c:v>1.3037890999999999E-2</c:v>
                </c:pt>
                <c:pt idx="2100">
                  <c:v>9.553789E-3</c:v>
                </c:pt>
                <c:pt idx="2101">
                  <c:v>1.1799021999999999E-2</c:v>
                </c:pt>
                <c:pt idx="2102">
                  <c:v>1.2796412E-2</c:v>
                </c:pt>
                <c:pt idx="2103">
                  <c:v>1.2330565E-2</c:v>
                </c:pt>
                <c:pt idx="2104">
                  <c:v>1.1576708999999999E-2</c:v>
                </c:pt>
                <c:pt idx="2105">
                  <c:v>9.4255869999999992E-3</c:v>
                </c:pt>
                <c:pt idx="2106">
                  <c:v>1.1287412E-2</c:v>
                </c:pt>
                <c:pt idx="2107">
                  <c:v>2.6489690999999999E-2</c:v>
                </c:pt>
                <c:pt idx="2108">
                  <c:v>2.5315078000000001E-2</c:v>
                </c:pt>
                <c:pt idx="2109">
                  <c:v>2.5865853000000001E-2</c:v>
                </c:pt>
                <c:pt idx="2110">
                  <c:v>2.4101457999999999E-2</c:v>
                </c:pt>
                <c:pt idx="2111">
                  <c:v>1.6919848000000001E-2</c:v>
                </c:pt>
                <c:pt idx="2112">
                  <c:v>1.7794719000000001E-2</c:v>
                </c:pt>
                <c:pt idx="2113">
                  <c:v>1.6600757000000001E-2</c:v>
                </c:pt>
                <c:pt idx="2114">
                  <c:v>1.2271148000000001E-2</c:v>
                </c:pt>
                <c:pt idx="2115">
                  <c:v>1.2988611000000001E-2</c:v>
                </c:pt>
                <c:pt idx="2116">
                  <c:v>1.6208726999999999E-2</c:v>
                </c:pt>
                <c:pt idx="2117">
                  <c:v>1.4578962000000001E-2</c:v>
                </c:pt>
                <c:pt idx="2118">
                  <c:v>1.3698435E-2</c:v>
                </c:pt>
                <c:pt idx="2119">
                  <c:v>1.0436671E-2</c:v>
                </c:pt>
                <c:pt idx="2120">
                  <c:v>8.7323320000000006E-3</c:v>
                </c:pt>
                <c:pt idx="2121">
                  <c:v>1.3175954E-2</c:v>
                </c:pt>
                <c:pt idx="2122">
                  <c:v>1.1414989E-2</c:v>
                </c:pt>
                <c:pt idx="2123">
                  <c:v>1.3478687E-2</c:v>
                </c:pt>
                <c:pt idx="2124">
                  <c:v>1.4382343000000001E-2</c:v>
                </c:pt>
                <c:pt idx="2125">
                  <c:v>1.4658930000000001E-2</c:v>
                </c:pt>
                <c:pt idx="2126">
                  <c:v>1.2199398E-2</c:v>
                </c:pt>
                <c:pt idx="2127">
                  <c:v>1.2752128999999999E-2</c:v>
                </c:pt>
                <c:pt idx="2128">
                  <c:v>9.7484979999999995E-3</c:v>
                </c:pt>
                <c:pt idx="2129">
                  <c:v>8.8368649999999993E-3</c:v>
                </c:pt>
                <c:pt idx="2130">
                  <c:v>1.2214308E-2</c:v>
                </c:pt>
                <c:pt idx="2131">
                  <c:v>1.2358655E-2</c:v>
                </c:pt>
                <c:pt idx="2132">
                  <c:v>1.3108420000000001E-2</c:v>
                </c:pt>
                <c:pt idx="2133">
                  <c:v>9.9079770000000001E-3</c:v>
                </c:pt>
                <c:pt idx="2134">
                  <c:v>1.1911633E-2</c:v>
                </c:pt>
                <c:pt idx="2135">
                  <c:v>9.1685710000000004E-3</c:v>
                </c:pt>
                <c:pt idx="2136">
                  <c:v>1.7670042E-2</c:v>
                </c:pt>
                <c:pt idx="2137">
                  <c:v>1.4946243E-2</c:v>
                </c:pt>
                <c:pt idx="2138">
                  <c:v>1.3299782E-2</c:v>
                </c:pt>
                <c:pt idx="2139">
                  <c:v>1.0263593E-2</c:v>
                </c:pt>
                <c:pt idx="2140">
                  <c:v>8.1996039999999992E-3</c:v>
                </c:pt>
                <c:pt idx="2141">
                  <c:v>9.5810389999999995E-3</c:v>
                </c:pt>
                <c:pt idx="2142">
                  <c:v>9.4061709999999996E-3</c:v>
                </c:pt>
                <c:pt idx="2143">
                  <c:v>7.9354200000000003E-3</c:v>
                </c:pt>
                <c:pt idx="2144">
                  <c:v>8.1104790000000003E-3</c:v>
                </c:pt>
                <c:pt idx="2145">
                  <c:v>6.927201E-3</c:v>
                </c:pt>
                <c:pt idx="2146">
                  <c:v>7.7590389999999997E-3</c:v>
                </c:pt>
                <c:pt idx="2147">
                  <c:v>8.9633720000000007E-3</c:v>
                </c:pt>
                <c:pt idx="2148">
                  <c:v>8.3653870000000002E-3</c:v>
                </c:pt>
                <c:pt idx="2149">
                  <c:v>1.3001683E-2</c:v>
                </c:pt>
                <c:pt idx="2150">
                  <c:v>1.7672132E-2</c:v>
                </c:pt>
                <c:pt idx="2151">
                  <c:v>1.2209186E-2</c:v>
                </c:pt>
                <c:pt idx="2152">
                  <c:v>1.0602505999999999E-2</c:v>
                </c:pt>
                <c:pt idx="2153">
                  <c:v>1.2723683E-2</c:v>
                </c:pt>
                <c:pt idx="2154">
                  <c:v>1.1398023E-2</c:v>
                </c:pt>
                <c:pt idx="2155">
                  <c:v>1.0073367E-2</c:v>
                </c:pt>
                <c:pt idx="2156">
                  <c:v>8.2500660000000003E-3</c:v>
                </c:pt>
                <c:pt idx="2157">
                  <c:v>1.0867343E-2</c:v>
                </c:pt>
                <c:pt idx="2158">
                  <c:v>1.2844715E-2</c:v>
                </c:pt>
                <c:pt idx="2159">
                  <c:v>9.2943750000000006E-3</c:v>
                </c:pt>
                <c:pt idx="2160">
                  <c:v>1.9384120000000001E-2</c:v>
                </c:pt>
                <c:pt idx="2161">
                  <c:v>1.1527684999999999E-2</c:v>
                </c:pt>
                <c:pt idx="2162">
                  <c:v>1.5856361999999999E-2</c:v>
                </c:pt>
                <c:pt idx="2163">
                  <c:v>1.2230646E-2</c:v>
                </c:pt>
                <c:pt idx="2164">
                  <c:v>1.0157721999999999E-2</c:v>
                </c:pt>
                <c:pt idx="2165">
                  <c:v>8.6055760000000002E-3</c:v>
                </c:pt>
                <c:pt idx="2166">
                  <c:v>1.0019943999999999E-2</c:v>
                </c:pt>
                <c:pt idx="2167">
                  <c:v>1.0462513E-2</c:v>
                </c:pt>
                <c:pt idx="2168">
                  <c:v>7.580308E-3</c:v>
                </c:pt>
                <c:pt idx="2169">
                  <c:v>7.630515E-3</c:v>
                </c:pt>
                <c:pt idx="2170">
                  <c:v>9.2703530000000003E-3</c:v>
                </c:pt>
                <c:pt idx="2171">
                  <c:v>6.9574789999999999E-3</c:v>
                </c:pt>
                <c:pt idx="2172">
                  <c:v>5.9409170000000004E-3</c:v>
                </c:pt>
                <c:pt idx="2173">
                  <c:v>7.4808879999999998E-3</c:v>
                </c:pt>
                <c:pt idx="2174">
                  <c:v>1.0684081999999999E-2</c:v>
                </c:pt>
                <c:pt idx="2175">
                  <c:v>7.0128020000000003E-3</c:v>
                </c:pt>
                <c:pt idx="2176">
                  <c:v>6.8879600000000003E-3</c:v>
                </c:pt>
                <c:pt idx="2177">
                  <c:v>6.9769419999999999E-3</c:v>
                </c:pt>
                <c:pt idx="2178">
                  <c:v>7.7403300000000001E-3</c:v>
                </c:pt>
                <c:pt idx="2179">
                  <c:v>8.5394119999999997E-3</c:v>
                </c:pt>
                <c:pt idx="2180">
                  <c:v>8.0134890000000004E-3</c:v>
                </c:pt>
                <c:pt idx="2181">
                  <c:v>9.2025570000000001E-3</c:v>
                </c:pt>
                <c:pt idx="2182">
                  <c:v>7.0049070000000003E-3</c:v>
                </c:pt>
                <c:pt idx="2183">
                  <c:v>9.2898570000000003E-3</c:v>
                </c:pt>
                <c:pt idx="2184">
                  <c:v>1.0537236E-2</c:v>
                </c:pt>
                <c:pt idx="2185">
                  <c:v>6.8415380000000003E-3</c:v>
                </c:pt>
                <c:pt idx="2186">
                  <c:v>8.0370270000000004E-3</c:v>
                </c:pt>
                <c:pt idx="2187">
                  <c:v>8.1804849999999995E-3</c:v>
                </c:pt>
                <c:pt idx="2188">
                  <c:v>7.6972339999999998E-3</c:v>
                </c:pt>
                <c:pt idx="2189">
                  <c:v>7.5924360000000001E-3</c:v>
                </c:pt>
                <c:pt idx="2190">
                  <c:v>7.8636450000000007E-3</c:v>
                </c:pt>
                <c:pt idx="2191">
                  <c:v>7.3763079999999998E-3</c:v>
                </c:pt>
                <c:pt idx="2192">
                  <c:v>7.754871E-3</c:v>
                </c:pt>
                <c:pt idx="2193">
                  <c:v>7.6557229999999997E-3</c:v>
                </c:pt>
                <c:pt idx="2194">
                  <c:v>5.9223970000000003E-3</c:v>
                </c:pt>
                <c:pt idx="2195">
                  <c:v>6.0605379999999999E-3</c:v>
                </c:pt>
                <c:pt idx="2196">
                  <c:v>1.06654E-2</c:v>
                </c:pt>
                <c:pt idx="2197">
                  <c:v>8.3287080000000006E-3</c:v>
                </c:pt>
                <c:pt idx="2198">
                  <c:v>8.9923030000000001E-3</c:v>
                </c:pt>
                <c:pt idx="2199">
                  <c:v>1.1472039E-2</c:v>
                </c:pt>
                <c:pt idx="2200">
                  <c:v>8.8070349999999995E-3</c:v>
                </c:pt>
                <c:pt idx="2201">
                  <c:v>8.303431E-3</c:v>
                </c:pt>
                <c:pt idx="2202">
                  <c:v>6.8042329999999998E-3</c:v>
                </c:pt>
                <c:pt idx="2203">
                  <c:v>7.7016799999999998E-3</c:v>
                </c:pt>
                <c:pt idx="2204">
                  <c:v>1.2298682E-2</c:v>
                </c:pt>
                <c:pt idx="2205">
                  <c:v>1.5405412E-2</c:v>
                </c:pt>
                <c:pt idx="2206">
                  <c:v>1.1525433E-2</c:v>
                </c:pt>
                <c:pt idx="2207">
                  <c:v>1.520526E-2</c:v>
                </c:pt>
                <c:pt idx="2208">
                  <c:v>9.8342220000000001E-3</c:v>
                </c:pt>
                <c:pt idx="2209">
                  <c:v>1.3016069999999999E-2</c:v>
                </c:pt>
                <c:pt idx="2210">
                  <c:v>1.2607222E-2</c:v>
                </c:pt>
                <c:pt idx="2211">
                  <c:v>1.5719263000000001E-2</c:v>
                </c:pt>
                <c:pt idx="2212">
                  <c:v>1.6704864E-2</c:v>
                </c:pt>
                <c:pt idx="2213">
                  <c:v>1.1456638999999999E-2</c:v>
                </c:pt>
                <c:pt idx="2214">
                  <c:v>1.4198453999999999E-2</c:v>
                </c:pt>
                <c:pt idx="2215">
                  <c:v>1.4656394999999999E-2</c:v>
                </c:pt>
                <c:pt idx="2216">
                  <c:v>1.266422E-2</c:v>
                </c:pt>
                <c:pt idx="2217">
                  <c:v>1.4102234E-2</c:v>
                </c:pt>
                <c:pt idx="2218">
                  <c:v>1.171026E-2</c:v>
                </c:pt>
                <c:pt idx="2219">
                  <c:v>1.2801889E-2</c:v>
                </c:pt>
                <c:pt idx="2220">
                  <c:v>1.1691162E-2</c:v>
                </c:pt>
                <c:pt idx="2221">
                  <c:v>9.3241169999999998E-3</c:v>
                </c:pt>
                <c:pt idx="2222">
                  <c:v>1.0952808E-2</c:v>
                </c:pt>
                <c:pt idx="2223">
                  <c:v>9.9312570000000006E-3</c:v>
                </c:pt>
                <c:pt idx="2224">
                  <c:v>1.1361869E-2</c:v>
                </c:pt>
                <c:pt idx="2225">
                  <c:v>9.3054839999999993E-3</c:v>
                </c:pt>
                <c:pt idx="2226">
                  <c:v>1.1062789E-2</c:v>
                </c:pt>
                <c:pt idx="2227">
                  <c:v>1.1588179000000001E-2</c:v>
                </c:pt>
                <c:pt idx="2228">
                  <c:v>9.3023600000000008E-3</c:v>
                </c:pt>
                <c:pt idx="2229">
                  <c:v>8.0785140000000002E-3</c:v>
                </c:pt>
                <c:pt idx="2230">
                  <c:v>8.4586599999999998E-3</c:v>
                </c:pt>
                <c:pt idx="2231">
                  <c:v>8.6952399999999999E-3</c:v>
                </c:pt>
                <c:pt idx="2232">
                  <c:v>9.4825050000000004E-3</c:v>
                </c:pt>
                <c:pt idx="2233">
                  <c:v>1.6463805000000001E-2</c:v>
                </c:pt>
                <c:pt idx="2234">
                  <c:v>1.5589489999999999E-2</c:v>
                </c:pt>
                <c:pt idx="2235">
                  <c:v>1.2031942E-2</c:v>
                </c:pt>
                <c:pt idx="2236">
                  <c:v>8.4692970000000006E-3</c:v>
                </c:pt>
                <c:pt idx="2237">
                  <c:v>1.1213684E-2</c:v>
                </c:pt>
                <c:pt idx="2238">
                  <c:v>1.1099466000000001E-2</c:v>
                </c:pt>
                <c:pt idx="2239">
                  <c:v>8.6804929999999992E-3</c:v>
                </c:pt>
                <c:pt idx="2240">
                  <c:v>7.4548160000000004E-3</c:v>
                </c:pt>
                <c:pt idx="2241">
                  <c:v>9.6904910000000007E-3</c:v>
                </c:pt>
                <c:pt idx="2242">
                  <c:v>1.0966042E-2</c:v>
                </c:pt>
                <c:pt idx="2243">
                  <c:v>7.3554420000000002E-3</c:v>
                </c:pt>
                <c:pt idx="2244">
                  <c:v>1.6155583000000001E-2</c:v>
                </c:pt>
                <c:pt idx="2245">
                  <c:v>1.0041955999999999E-2</c:v>
                </c:pt>
                <c:pt idx="2246">
                  <c:v>1.9323539000000001E-2</c:v>
                </c:pt>
                <c:pt idx="2247">
                  <c:v>1.5328358E-2</c:v>
                </c:pt>
                <c:pt idx="2248">
                  <c:v>9.2168130000000008E-3</c:v>
                </c:pt>
                <c:pt idx="2249">
                  <c:v>1.0672954E-2</c:v>
                </c:pt>
                <c:pt idx="2250">
                  <c:v>7.7174909999999999E-3</c:v>
                </c:pt>
                <c:pt idx="2251">
                  <c:v>7.0683480000000003E-3</c:v>
                </c:pt>
                <c:pt idx="2252">
                  <c:v>7.4102819999999998E-3</c:v>
                </c:pt>
                <c:pt idx="2253">
                  <c:v>8.2857480000000008E-3</c:v>
                </c:pt>
                <c:pt idx="2254">
                  <c:v>8.8114000000000005E-3</c:v>
                </c:pt>
                <c:pt idx="2255">
                  <c:v>7.6649730000000003E-3</c:v>
                </c:pt>
                <c:pt idx="2256">
                  <c:v>6.9935869999999999E-3</c:v>
                </c:pt>
                <c:pt idx="2257">
                  <c:v>9.1770840000000003E-3</c:v>
                </c:pt>
                <c:pt idx="2258">
                  <c:v>8.8877839999999993E-3</c:v>
                </c:pt>
                <c:pt idx="2259">
                  <c:v>7.5896669999999996E-3</c:v>
                </c:pt>
                <c:pt idx="2260">
                  <c:v>7.299715E-3</c:v>
                </c:pt>
                <c:pt idx="2261">
                  <c:v>7.8294160000000005E-3</c:v>
                </c:pt>
                <c:pt idx="2262">
                  <c:v>7.2104309999999998E-3</c:v>
                </c:pt>
                <c:pt idx="2263">
                  <c:v>6.7298130000000003E-3</c:v>
                </c:pt>
                <c:pt idx="2264">
                  <c:v>7.2831709999999997E-3</c:v>
                </c:pt>
                <c:pt idx="2265">
                  <c:v>6.9558019999999996E-3</c:v>
                </c:pt>
                <c:pt idx="2266">
                  <c:v>1.1798276E-2</c:v>
                </c:pt>
                <c:pt idx="2267">
                  <c:v>8.8089899999999992E-3</c:v>
                </c:pt>
                <c:pt idx="2268">
                  <c:v>6.7324359999999996E-3</c:v>
                </c:pt>
                <c:pt idx="2269">
                  <c:v>6.8409050000000004E-3</c:v>
                </c:pt>
                <c:pt idx="2270">
                  <c:v>6.4763049999999999E-3</c:v>
                </c:pt>
                <c:pt idx="2271">
                  <c:v>6.4606439999999998E-3</c:v>
                </c:pt>
                <c:pt idx="2272">
                  <c:v>5.7293739999999998E-3</c:v>
                </c:pt>
                <c:pt idx="2273">
                  <c:v>5.85091E-3</c:v>
                </c:pt>
                <c:pt idx="2274">
                  <c:v>6.9934560000000003E-3</c:v>
                </c:pt>
                <c:pt idx="2275">
                  <c:v>5.7041649999999998E-3</c:v>
                </c:pt>
                <c:pt idx="2276">
                  <c:v>6.103687E-3</c:v>
                </c:pt>
                <c:pt idx="2277">
                  <c:v>5.6125430000000002E-3</c:v>
                </c:pt>
                <c:pt idx="2278">
                  <c:v>7.9851399999999999E-3</c:v>
                </c:pt>
                <c:pt idx="2279">
                  <c:v>7.1666560000000004E-3</c:v>
                </c:pt>
                <c:pt idx="2280">
                  <c:v>6.8430929999999997E-3</c:v>
                </c:pt>
                <c:pt idx="2281">
                  <c:v>6.4681089999999997E-3</c:v>
                </c:pt>
                <c:pt idx="2282">
                  <c:v>6.4629209999999999E-3</c:v>
                </c:pt>
                <c:pt idx="2283">
                  <c:v>5.8067489999999999E-3</c:v>
                </c:pt>
                <c:pt idx="2284">
                  <c:v>5.8608599999999999E-3</c:v>
                </c:pt>
                <c:pt idx="2285">
                  <c:v>6.5792170000000001E-3</c:v>
                </c:pt>
                <c:pt idx="2286">
                  <c:v>8.5108179999999999E-3</c:v>
                </c:pt>
                <c:pt idx="2287">
                  <c:v>6.6784169999999999E-3</c:v>
                </c:pt>
                <c:pt idx="2288">
                  <c:v>6.7736819999999996E-3</c:v>
                </c:pt>
                <c:pt idx="2289">
                  <c:v>9.8389989999999993E-3</c:v>
                </c:pt>
                <c:pt idx="2290">
                  <c:v>1.0620819E-2</c:v>
                </c:pt>
                <c:pt idx="2291">
                  <c:v>7.62892E-3</c:v>
                </c:pt>
                <c:pt idx="2292">
                  <c:v>7.3736189999999997E-3</c:v>
                </c:pt>
                <c:pt idx="2293">
                  <c:v>7.8556630000000006E-3</c:v>
                </c:pt>
                <c:pt idx="2294">
                  <c:v>6.7774480000000002E-3</c:v>
                </c:pt>
                <c:pt idx="2295">
                  <c:v>6.0180640000000001E-3</c:v>
                </c:pt>
                <c:pt idx="2296">
                  <c:v>5.6855270000000001E-3</c:v>
                </c:pt>
                <c:pt idx="2297">
                  <c:v>5.260748E-3</c:v>
                </c:pt>
                <c:pt idx="2298">
                  <c:v>6.2336680000000004E-3</c:v>
                </c:pt>
                <c:pt idx="2299">
                  <c:v>7.4587890000000004E-3</c:v>
                </c:pt>
                <c:pt idx="2300">
                  <c:v>7.91182E-3</c:v>
                </c:pt>
                <c:pt idx="2301">
                  <c:v>7.1972950000000003E-3</c:v>
                </c:pt>
                <c:pt idx="2302">
                  <c:v>8.1914069999999995E-3</c:v>
                </c:pt>
                <c:pt idx="2303">
                  <c:v>8.5354109999999997E-3</c:v>
                </c:pt>
                <c:pt idx="2304">
                  <c:v>7.1061199999999996E-3</c:v>
                </c:pt>
                <c:pt idx="2305">
                  <c:v>6.9515250000000001E-3</c:v>
                </c:pt>
                <c:pt idx="2306">
                  <c:v>7.3230760000000004E-3</c:v>
                </c:pt>
                <c:pt idx="2307">
                  <c:v>8.8779219999999999E-3</c:v>
                </c:pt>
                <c:pt idx="2308">
                  <c:v>8.3272869999999992E-3</c:v>
                </c:pt>
                <c:pt idx="2309">
                  <c:v>8.6559949999999997E-3</c:v>
                </c:pt>
                <c:pt idx="2310">
                  <c:v>9.1068269999999996E-3</c:v>
                </c:pt>
                <c:pt idx="2311">
                  <c:v>1.0207106000000001E-2</c:v>
                </c:pt>
                <c:pt idx="2312">
                  <c:v>1.1510062E-2</c:v>
                </c:pt>
                <c:pt idx="2313">
                  <c:v>7.6656110000000001E-3</c:v>
                </c:pt>
                <c:pt idx="2314">
                  <c:v>9.0105710000000002E-3</c:v>
                </c:pt>
                <c:pt idx="2315">
                  <c:v>7.6040509999999997E-3</c:v>
                </c:pt>
                <c:pt idx="2316">
                  <c:v>1.0577019E-2</c:v>
                </c:pt>
                <c:pt idx="2317">
                  <c:v>1.1475872999999999E-2</c:v>
                </c:pt>
                <c:pt idx="2318">
                  <c:v>1.7618821E-2</c:v>
                </c:pt>
                <c:pt idx="2319">
                  <c:v>1.3356368E-2</c:v>
                </c:pt>
                <c:pt idx="2320">
                  <c:v>2.5919899E-2</c:v>
                </c:pt>
                <c:pt idx="2321">
                  <c:v>1.9158175999999999E-2</c:v>
                </c:pt>
                <c:pt idx="2322">
                  <c:v>1.7469688000000001E-2</c:v>
                </c:pt>
                <c:pt idx="2323">
                  <c:v>1.4844753E-2</c:v>
                </c:pt>
                <c:pt idx="2324">
                  <c:v>1.797137E-2</c:v>
                </c:pt>
                <c:pt idx="2325">
                  <c:v>1.7022860000000001E-2</c:v>
                </c:pt>
                <c:pt idx="2326">
                  <c:v>1.4194653E-2</c:v>
                </c:pt>
                <c:pt idx="2327">
                  <c:v>1.5136019000000001E-2</c:v>
                </c:pt>
                <c:pt idx="2328">
                  <c:v>1.5348858E-2</c:v>
                </c:pt>
                <c:pt idx="2329">
                  <c:v>1.2386655999999999E-2</c:v>
                </c:pt>
                <c:pt idx="2330">
                  <c:v>1.2230115E-2</c:v>
                </c:pt>
                <c:pt idx="2331">
                  <c:v>1.1554912000000001E-2</c:v>
                </c:pt>
                <c:pt idx="2332">
                  <c:v>1.3005123E-2</c:v>
                </c:pt>
                <c:pt idx="2333">
                  <c:v>1.2307993999999999E-2</c:v>
                </c:pt>
                <c:pt idx="2334">
                  <c:v>1.2589141999999999E-2</c:v>
                </c:pt>
                <c:pt idx="2335">
                  <c:v>1.3706105E-2</c:v>
                </c:pt>
                <c:pt idx="2336">
                  <c:v>1.3014002E-2</c:v>
                </c:pt>
                <c:pt idx="2337">
                  <c:v>1.154234E-2</c:v>
                </c:pt>
                <c:pt idx="2338">
                  <c:v>1.2373200000000001E-2</c:v>
                </c:pt>
                <c:pt idx="2339">
                  <c:v>1.0685963999999999E-2</c:v>
                </c:pt>
                <c:pt idx="2340">
                  <c:v>1.2446364999999999E-2</c:v>
                </c:pt>
                <c:pt idx="2341">
                  <c:v>1.1443859000000001E-2</c:v>
                </c:pt>
                <c:pt idx="2342">
                  <c:v>8.0587290000000006E-3</c:v>
                </c:pt>
                <c:pt idx="2343">
                  <c:v>9.2582649999999999E-3</c:v>
                </c:pt>
                <c:pt idx="2344">
                  <c:v>8.2520479999999997E-3</c:v>
                </c:pt>
                <c:pt idx="2345">
                  <c:v>1.0261114999999999E-2</c:v>
                </c:pt>
                <c:pt idx="2346">
                  <c:v>1.4937255999999999E-2</c:v>
                </c:pt>
                <c:pt idx="2347">
                  <c:v>1.6261409000000001E-2</c:v>
                </c:pt>
                <c:pt idx="2348">
                  <c:v>1.4418942000000001E-2</c:v>
                </c:pt>
                <c:pt idx="2349">
                  <c:v>1.7730671E-2</c:v>
                </c:pt>
                <c:pt idx="2350">
                  <c:v>1.4242436000000001E-2</c:v>
                </c:pt>
                <c:pt idx="2351">
                  <c:v>1.285215E-2</c:v>
                </c:pt>
                <c:pt idx="2352">
                  <c:v>1.6248433E-2</c:v>
                </c:pt>
                <c:pt idx="2353">
                  <c:v>1.4316656000000001E-2</c:v>
                </c:pt>
                <c:pt idx="2354">
                  <c:v>1.6007515999999999E-2</c:v>
                </c:pt>
                <c:pt idx="2355">
                  <c:v>2.5929454000000001E-2</c:v>
                </c:pt>
                <c:pt idx="2356">
                  <c:v>1.7582411999999999E-2</c:v>
                </c:pt>
                <c:pt idx="2357">
                  <c:v>1.6288693E-2</c:v>
                </c:pt>
                <c:pt idx="2358">
                  <c:v>1.4437475E-2</c:v>
                </c:pt>
                <c:pt idx="2359">
                  <c:v>1.4561465000000001E-2</c:v>
                </c:pt>
                <c:pt idx="2360">
                  <c:v>1.1659598E-2</c:v>
                </c:pt>
                <c:pt idx="2361">
                  <c:v>2.0208935000000001E-2</c:v>
                </c:pt>
                <c:pt idx="2362">
                  <c:v>1.9251265E-2</c:v>
                </c:pt>
                <c:pt idx="2363">
                  <c:v>1.2674035E-2</c:v>
                </c:pt>
                <c:pt idx="2364">
                  <c:v>1.7072051000000001E-2</c:v>
                </c:pt>
                <c:pt idx="2365">
                  <c:v>1.4597353E-2</c:v>
                </c:pt>
                <c:pt idx="2366">
                  <c:v>1.6683842000000001E-2</c:v>
                </c:pt>
                <c:pt idx="2367">
                  <c:v>1.9130435000000001E-2</c:v>
                </c:pt>
                <c:pt idx="2368">
                  <c:v>2.0909698000000001E-2</c:v>
                </c:pt>
                <c:pt idx="2369">
                  <c:v>1.8855387000000001E-2</c:v>
                </c:pt>
                <c:pt idx="2370">
                  <c:v>1.7166078000000001E-2</c:v>
                </c:pt>
                <c:pt idx="2371">
                  <c:v>1.8826140000000002E-2</c:v>
                </c:pt>
                <c:pt idx="2372">
                  <c:v>2.4162201000000001E-2</c:v>
                </c:pt>
                <c:pt idx="2373">
                  <c:v>1.9295966000000001E-2</c:v>
                </c:pt>
                <c:pt idx="2374">
                  <c:v>1.3582149E-2</c:v>
                </c:pt>
                <c:pt idx="2375">
                  <c:v>1.3736931000000001E-2</c:v>
                </c:pt>
                <c:pt idx="2376">
                  <c:v>1.2665722000000001E-2</c:v>
                </c:pt>
                <c:pt idx="2377">
                  <c:v>1.4475808999999999E-2</c:v>
                </c:pt>
                <c:pt idx="2378">
                  <c:v>1.0496576000000001E-2</c:v>
                </c:pt>
                <c:pt idx="2379">
                  <c:v>1.146166E-2</c:v>
                </c:pt>
                <c:pt idx="2380">
                  <c:v>1.5039432E-2</c:v>
                </c:pt>
                <c:pt idx="2381">
                  <c:v>2.2941764999999999E-2</c:v>
                </c:pt>
                <c:pt idx="2382">
                  <c:v>2.7729030000000002E-2</c:v>
                </c:pt>
                <c:pt idx="2383">
                  <c:v>3.7486796000000003E-2</c:v>
                </c:pt>
                <c:pt idx="2384">
                  <c:v>3.0561952E-2</c:v>
                </c:pt>
                <c:pt idx="2385">
                  <c:v>3.0868541999999999E-2</c:v>
                </c:pt>
                <c:pt idx="2386">
                  <c:v>2.5822964E-2</c:v>
                </c:pt>
                <c:pt idx="2387">
                  <c:v>2.0596405000000002E-2</c:v>
                </c:pt>
                <c:pt idx="2388">
                  <c:v>3.1168484999999999E-2</c:v>
                </c:pt>
                <c:pt idx="2389">
                  <c:v>3.6210860999999997E-2</c:v>
                </c:pt>
                <c:pt idx="2390">
                  <c:v>5.1773621999999998E-2</c:v>
                </c:pt>
                <c:pt idx="2391">
                  <c:v>2.8020033999999999E-2</c:v>
                </c:pt>
                <c:pt idx="2392">
                  <c:v>3.2134906999999997E-2</c:v>
                </c:pt>
                <c:pt idx="2393">
                  <c:v>2.4810581000000002E-2</c:v>
                </c:pt>
                <c:pt idx="2394">
                  <c:v>2.3556145000000001E-2</c:v>
                </c:pt>
                <c:pt idx="2395">
                  <c:v>2.1680212000000001E-2</c:v>
                </c:pt>
                <c:pt idx="2396">
                  <c:v>1.7123189E-2</c:v>
                </c:pt>
                <c:pt idx="2397">
                  <c:v>1.4795559E-2</c:v>
                </c:pt>
                <c:pt idx="2398">
                  <c:v>2.1966341E-2</c:v>
                </c:pt>
                <c:pt idx="2399">
                  <c:v>4.2288118E-2</c:v>
                </c:pt>
                <c:pt idx="2400">
                  <c:v>3.2243513000000001E-2</c:v>
                </c:pt>
                <c:pt idx="2401">
                  <c:v>3.6711535000000003E-2</c:v>
                </c:pt>
                <c:pt idx="2402">
                  <c:v>4.0507621000000001E-2</c:v>
                </c:pt>
                <c:pt idx="2403">
                  <c:v>4.2830563000000002E-2</c:v>
                </c:pt>
                <c:pt idx="2404">
                  <c:v>4.126519E-2</c:v>
                </c:pt>
                <c:pt idx="2405">
                  <c:v>4.1599522E-2</c:v>
                </c:pt>
                <c:pt idx="2406">
                  <c:v>5.2118537E-2</c:v>
                </c:pt>
                <c:pt idx="2407">
                  <c:v>4.6858126999999999E-2</c:v>
                </c:pt>
                <c:pt idx="2408">
                  <c:v>6.0911708000000002E-2</c:v>
                </c:pt>
                <c:pt idx="2409">
                  <c:v>5.6804027999999999E-2</c:v>
                </c:pt>
                <c:pt idx="2410">
                  <c:v>7.2443547999999997E-2</c:v>
                </c:pt>
                <c:pt idx="2411">
                  <c:v>4.9700204999999997E-2</c:v>
                </c:pt>
                <c:pt idx="2412">
                  <c:v>3.9740950999999997E-2</c:v>
                </c:pt>
                <c:pt idx="2413">
                  <c:v>3.2015372E-2</c:v>
                </c:pt>
                <c:pt idx="2414">
                  <c:v>3.1101858E-2</c:v>
                </c:pt>
                <c:pt idx="2415">
                  <c:v>4.0745138E-2</c:v>
                </c:pt>
                <c:pt idx="2416">
                  <c:v>5.3797996000000001E-2</c:v>
                </c:pt>
                <c:pt idx="2417">
                  <c:v>4.2147326999999998E-2</c:v>
                </c:pt>
                <c:pt idx="2418">
                  <c:v>4.6263934999999999E-2</c:v>
                </c:pt>
                <c:pt idx="2419">
                  <c:v>6.4294195999999998E-2</c:v>
                </c:pt>
                <c:pt idx="2420">
                  <c:v>4.4897637999999997E-2</c:v>
                </c:pt>
                <c:pt idx="2421">
                  <c:v>3.7751418000000002E-2</c:v>
                </c:pt>
                <c:pt idx="2422">
                  <c:v>3.7008991999999998E-2</c:v>
                </c:pt>
                <c:pt idx="2423">
                  <c:v>4.6198474000000003E-2</c:v>
                </c:pt>
                <c:pt idx="2424">
                  <c:v>5.1350105E-2</c:v>
                </c:pt>
                <c:pt idx="2425">
                  <c:v>3.9420557000000002E-2</c:v>
                </c:pt>
                <c:pt idx="2426">
                  <c:v>4.9126540000000003E-2</c:v>
                </c:pt>
                <c:pt idx="2427">
                  <c:v>6.1299075000000001E-2</c:v>
                </c:pt>
                <c:pt idx="2428">
                  <c:v>5.6472029E-2</c:v>
                </c:pt>
                <c:pt idx="2429">
                  <c:v>4.2824043999999999E-2</c:v>
                </c:pt>
                <c:pt idx="2430">
                  <c:v>3.9245816000000003E-2</c:v>
                </c:pt>
                <c:pt idx="2431">
                  <c:v>4.8583329000000001E-2</c:v>
                </c:pt>
                <c:pt idx="2432">
                  <c:v>3.5563596000000003E-2</c:v>
                </c:pt>
                <c:pt idx="2433">
                  <c:v>2.4484242E-2</c:v>
                </c:pt>
                <c:pt idx="2434">
                  <c:v>2.7657992999999999E-2</c:v>
                </c:pt>
                <c:pt idx="2435">
                  <c:v>3.4592688000000003E-2</c:v>
                </c:pt>
                <c:pt idx="2436">
                  <c:v>3.9449321000000002E-2</c:v>
                </c:pt>
                <c:pt idx="2437">
                  <c:v>4.4622007999999998E-2</c:v>
                </c:pt>
                <c:pt idx="2438">
                  <c:v>4.1064258999999999E-2</c:v>
                </c:pt>
                <c:pt idx="2439">
                  <c:v>4.5955469999999998E-2</c:v>
                </c:pt>
                <c:pt idx="2440">
                  <c:v>3.5465871000000003E-2</c:v>
                </c:pt>
                <c:pt idx="2441">
                  <c:v>3.7390495000000003E-2</c:v>
                </c:pt>
                <c:pt idx="2442">
                  <c:v>3.1552200000000002E-2</c:v>
                </c:pt>
                <c:pt idx="2443">
                  <c:v>3.8328963000000001E-2</c:v>
                </c:pt>
                <c:pt idx="2444">
                  <c:v>2.7520349E-2</c:v>
                </c:pt>
                <c:pt idx="2445">
                  <c:v>2.6555634000000002E-2</c:v>
                </c:pt>
                <c:pt idx="2446">
                  <c:v>2.4387967E-2</c:v>
                </c:pt>
                <c:pt idx="2447">
                  <c:v>2.9508531000000001E-2</c:v>
                </c:pt>
                <c:pt idx="2448">
                  <c:v>2.9974862000000001E-2</c:v>
                </c:pt>
                <c:pt idx="2449">
                  <c:v>2.8941715E-2</c:v>
                </c:pt>
                <c:pt idx="2450">
                  <c:v>3.9078889999999998E-2</c:v>
                </c:pt>
                <c:pt idx="2451">
                  <c:v>2.9439824E-2</c:v>
                </c:pt>
                <c:pt idx="2452">
                  <c:v>2.7227288999999998E-2</c:v>
                </c:pt>
                <c:pt idx="2453">
                  <c:v>2.4908191E-2</c:v>
                </c:pt>
                <c:pt idx="2454">
                  <c:v>2.1325053E-2</c:v>
                </c:pt>
                <c:pt idx="2455">
                  <c:v>2.329968E-2</c:v>
                </c:pt>
                <c:pt idx="2456">
                  <c:v>2.9869369E-2</c:v>
                </c:pt>
                <c:pt idx="2457">
                  <c:v>2.3081534000000001E-2</c:v>
                </c:pt>
                <c:pt idx="2458">
                  <c:v>2.2823310999999999E-2</c:v>
                </c:pt>
                <c:pt idx="2459">
                  <c:v>2.4007911E-2</c:v>
                </c:pt>
                <c:pt idx="2460">
                  <c:v>3.4873144000000002E-2</c:v>
                </c:pt>
                <c:pt idx="2461">
                  <c:v>3.3278902999999999E-2</c:v>
                </c:pt>
                <c:pt idx="2462">
                  <c:v>3.5081461000000001E-2</c:v>
                </c:pt>
                <c:pt idx="2463">
                  <c:v>3.6417178000000001E-2</c:v>
                </c:pt>
                <c:pt idx="2464">
                  <c:v>2.697944E-2</c:v>
                </c:pt>
                <c:pt idx="2465">
                  <c:v>3.0886845E-2</c:v>
                </c:pt>
                <c:pt idx="2466">
                  <c:v>2.4326955000000001E-2</c:v>
                </c:pt>
                <c:pt idx="2467">
                  <c:v>3.6659975999999997E-2</c:v>
                </c:pt>
                <c:pt idx="2468">
                  <c:v>2.7917941000000002E-2</c:v>
                </c:pt>
                <c:pt idx="2469">
                  <c:v>2.7364724E-2</c:v>
                </c:pt>
                <c:pt idx="2470">
                  <c:v>4.1801051999999998E-2</c:v>
                </c:pt>
                <c:pt idx="2471">
                  <c:v>3.7337321999999999E-2</c:v>
                </c:pt>
                <c:pt idx="2472">
                  <c:v>3.9288565999999997E-2</c:v>
                </c:pt>
                <c:pt idx="2473">
                  <c:v>5.4178245E-2</c:v>
                </c:pt>
                <c:pt idx="2474">
                  <c:v>6.0154548000000002E-2</c:v>
                </c:pt>
                <c:pt idx="2475">
                  <c:v>5.4951241999999997E-2</c:v>
                </c:pt>
                <c:pt idx="2476">
                  <c:v>5.9650543E-2</c:v>
                </c:pt>
                <c:pt idx="2477">
                  <c:v>5.5752824999999999E-2</c:v>
                </c:pt>
                <c:pt idx="2478">
                  <c:v>6.5503133000000005E-2</c:v>
                </c:pt>
                <c:pt idx="2479">
                  <c:v>5.4266731999999998E-2</c:v>
                </c:pt>
                <c:pt idx="2480">
                  <c:v>4.9560104000000001E-2</c:v>
                </c:pt>
                <c:pt idx="2481">
                  <c:v>4.3917406999999999E-2</c:v>
                </c:pt>
                <c:pt idx="2482">
                  <c:v>6.6720867000000003E-2</c:v>
                </c:pt>
                <c:pt idx="2483">
                  <c:v>6.6435614000000004E-2</c:v>
                </c:pt>
                <c:pt idx="2484">
                  <c:v>4.8703731E-2</c:v>
                </c:pt>
                <c:pt idx="2485">
                  <c:v>4.8193690999999997E-2</c:v>
                </c:pt>
                <c:pt idx="2486">
                  <c:v>4.5061452000000002E-2</c:v>
                </c:pt>
                <c:pt idx="2487">
                  <c:v>6.1536167000000003E-2</c:v>
                </c:pt>
                <c:pt idx="2488">
                  <c:v>6.9556256999999996E-2</c:v>
                </c:pt>
                <c:pt idx="2489">
                  <c:v>6.6217841E-2</c:v>
                </c:pt>
                <c:pt idx="2490">
                  <c:v>5.1496132999999999E-2</c:v>
                </c:pt>
                <c:pt idx="2491">
                  <c:v>6.6108160999999999E-2</c:v>
                </c:pt>
                <c:pt idx="2492">
                  <c:v>6.4409833999999999E-2</c:v>
                </c:pt>
                <c:pt idx="2493">
                  <c:v>7.0475012000000004E-2</c:v>
                </c:pt>
                <c:pt idx="2494">
                  <c:v>6.023825E-2</c:v>
                </c:pt>
                <c:pt idx="2495">
                  <c:v>7.8928072000000002E-2</c:v>
                </c:pt>
                <c:pt idx="2496">
                  <c:v>9.6693063999999995E-2</c:v>
                </c:pt>
                <c:pt idx="2497">
                  <c:v>7.0229838000000003E-2</c:v>
                </c:pt>
                <c:pt idx="2498">
                  <c:v>7.2431175E-2</c:v>
                </c:pt>
                <c:pt idx="2499">
                  <c:v>6.7294202999999997E-2</c:v>
                </c:pt>
                <c:pt idx="2500">
                  <c:v>6.5649200000000005E-2</c:v>
                </c:pt>
                <c:pt idx="2501">
                  <c:v>7.1969185000000005E-2</c:v>
                </c:pt>
                <c:pt idx="2502">
                  <c:v>9.0468780999999998E-2</c:v>
                </c:pt>
                <c:pt idx="2503">
                  <c:v>5.7407633E-2</c:v>
                </c:pt>
                <c:pt idx="2504">
                  <c:v>5.6824433000000001E-2</c:v>
                </c:pt>
                <c:pt idx="2505">
                  <c:v>5.3448957999999998E-2</c:v>
                </c:pt>
                <c:pt idx="2506">
                  <c:v>6.5413233000000001E-2</c:v>
                </c:pt>
                <c:pt idx="2507">
                  <c:v>5.3960337999999997E-2</c:v>
                </c:pt>
                <c:pt idx="2508">
                  <c:v>4.2291510999999997E-2</c:v>
                </c:pt>
                <c:pt idx="2509">
                  <c:v>4.3131389999999999E-2</c:v>
                </c:pt>
                <c:pt idx="2510">
                  <c:v>5.2683774000000003E-2</c:v>
                </c:pt>
                <c:pt idx="2511">
                  <c:v>5.2428354000000003E-2</c:v>
                </c:pt>
                <c:pt idx="2512">
                  <c:v>4.9711630999999999E-2</c:v>
                </c:pt>
                <c:pt idx="2513">
                  <c:v>4.6262259E-2</c:v>
                </c:pt>
                <c:pt idx="2514">
                  <c:v>4.5214770000000001E-2</c:v>
                </c:pt>
                <c:pt idx="2515">
                  <c:v>3.5750667999999999E-2</c:v>
                </c:pt>
                <c:pt idx="2516">
                  <c:v>4.3052051000000001E-2</c:v>
                </c:pt>
                <c:pt idx="2517">
                  <c:v>4.8344445E-2</c:v>
                </c:pt>
                <c:pt idx="2518">
                  <c:v>3.8855547999999997E-2</c:v>
                </c:pt>
                <c:pt idx="2519">
                  <c:v>6.0965722999999999E-2</c:v>
                </c:pt>
                <c:pt idx="2520">
                  <c:v>6.2951242000000004E-2</c:v>
                </c:pt>
                <c:pt idx="2521">
                  <c:v>6.5610595999999993E-2</c:v>
                </c:pt>
                <c:pt idx="2522">
                  <c:v>6.1855975000000001E-2</c:v>
                </c:pt>
                <c:pt idx="2523">
                  <c:v>7.7991164000000002E-2</c:v>
                </c:pt>
                <c:pt idx="2524">
                  <c:v>5.9056179E-2</c:v>
                </c:pt>
                <c:pt idx="2525">
                  <c:v>5.8777950000000002E-2</c:v>
                </c:pt>
                <c:pt idx="2526">
                  <c:v>5.5171810000000002E-2</c:v>
                </c:pt>
                <c:pt idx="2527">
                  <c:v>5.4408443000000001E-2</c:v>
                </c:pt>
                <c:pt idx="2528">
                  <c:v>6.5894485000000003E-2</c:v>
                </c:pt>
                <c:pt idx="2529">
                  <c:v>7.0574118000000005E-2</c:v>
                </c:pt>
                <c:pt idx="2530">
                  <c:v>8.8942747000000003E-2</c:v>
                </c:pt>
                <c:pt idx="2531">
                  <c:v>7.9119386E-2</c:v>
                </c:pt>
                <c:pt idx="2532">
                  <c:v>5.6418384000000002E-2</c:v>
                </c:pt>
                <c:pt idx="2533">
                  <c:v>4.9526670000000002E-2</c:v>
                </c:pt>
                <c:pt idx="2534">
                  <c:v>5.4231580000000001E-2</c:v>
                </c:pt>
                <c:pt idx="2535">
                  <c:v>5.7811851999999997E-2</c:v>
                </c:pt>
                <c:pt idx="2536">
                  <c:v>5.0511501E-2</c:v>
                </c:pt>
                <c:pt idx="2537">
                  <c:v>5.0070989000000003E-2</c:v>
                </c:pt>
                <c:pt idx="2538">
                  <c:v>4.3557694000000001E-2</c:v>
                </c:pt>
                <c:pt idx="2539">
                  <c:v>4.5558792000000001E-2</c:v>
                </c:pt>
                <c:pt idx="2540">
                  <c:v>4.5390002999999998E-2</c:v>
                </c:pt>
                <c:pt idx="2541">
                  <c:v>5.2044905000000002E-2</c:v>
                </c:pt>
                <c:pt idx="2542">
                  <c:v>5.3942799999999999E-2</c:v>
                </c:pt>
                <c:pt idx="2543">
                  <c:v>5.8984854000000003E-2</c:v>
                </c:pt>
                <c:pt idx="2544">
                  <c:v>6.9068335999999994E-2</c:v>
                </c:pt>
                <c:pt idx="2545">
                  <c:v>7.0349290999999994E-2</c:v>
                </c:pt>
                <c:pt idx="2546">
                  <c:v>5.4911540000000002E-2</c:v>
                </c:pt>
                <c:pt idx="2547">
                  <c:v>6.0346036999999998E-2</c:v>
                </c:pt>
                <c:pt idx="2548">
                  <c:v>5.4344534999999999E-2</c:v>
                </c:pt>
                <c:pt idx="2549">
                  <c:v>8.7988516000000003E-2</c:v>
                </c:pt>
                <c:pt idx="2550">
                  <c:v>9.0105911999999996E-2</c:v>
                </c:pt>
                <c:pt idx="2551">
                  <c:v>8.5382188999999997E-2</c:v>
                </c:pt>
                <c:pt idx="2552">
                  <c:v>7.0676892000000005E-2</c:v>
                </c:pt>
                <c:pt idx="2553">
                  <c:v>7.2589616999999995E-2</c:v>
                </c:pt>
                <c:pt idx="2554">
                  <c:v>6.7359973000000004E-2</c:v>
                </c:pt>
                <c:pt idx="2555">
                  <c:v>5.8301100000000002E-2</c:v>
                </c:pt>
                <c:pt idx="2556">
                  <c:v>5.2678353999999997E-2</c:v>
                </c:pt>
                <c:pt idx="2557">
                  <c:v>4.0929053999999999E-2</c:v>
                </c:pt>
                <c:pt idx="2558">
                  <c:v>4.0651188999999997E-2</c:v>
                </c:pt>
                <c:pt idx="2559">
                  <c:v>4.2253682000000001E-2</c:v>
                </c:pt>
                <c:pt idx="2560">
                  <c:v>3.8601152E-2</c:v>
                </c:pt>
                <c:pt idx="2561">
                  <c:v>3.6924057000000003E-2</c:v>
                </c:pt>
                <c:pt idx="2562">
                  <c:v>4.0057118000000003E-2</c:v>
                </c:pt>
                <c:pt idx="2563">
                  <c:v>4.4242732E-2</c:v>
                </c:pt>
                <c:pt idx="2564">
                  <c:v>4.2965099999999999E-2</c:v>
                </c:pt>
                <c:pt idx="2565">
                  <c:v>4.5595109000000002E-2</c:v>
                </c:pt>
                <c:pt idx="2566">
                  <c:v>3.1562211E-2</c:v>
                </c:pt>
                <c:pt idx="2567">
                  <c:v>3.0075536E-2</c:v>
                </c:pt>
                <c:pt idx="2568">
                  <c:v>2.5158979000000001E-2</c:v>
                </c:pt>
                <c:pt idx="2569">
                  <c:v>2.8177745000000001E-2</c:v>
                </c:pt>
                <c:pt idx="2570">
                  <c:v>2.4199604999999999E-2</c:v>
                </c:pt>
                <c:pt idx="2571">
                  <c:v>2.2480202000000001E-2</c:v>
                </c:pt>
                <c:pt idx="2572">
                  <c:v>1.6637297999999998E-2</c:v>
                </c:pt>
                <c:pt idx="2573">
                  <c:v>2.0965069999999999E-2</c:v>
                </c:pt>
                <c:pt idx="2574">
                  <c:v>3.5907931999999997E-2</c:v>
                </c:pt>
                <c:pt idx="2575">
                  <c:v>3.7788996999999998E-2</c:v>
                </c:pt>
                <c:pt idx="2576">
                  <c:v>2.9563941E-2</c:v>
                </c:pt>
                <c:pt idx="2577">
                  <c:v>2.7958519000000001E-2</c:v>
                </c:pt>
                <c:pt idx="2578">
                  <c:v>2.80521E-2</c:v>
                </c:pt>
                <c:pt idx="2579">
                  <c:v>2.8777430999999999E-2</c:v>
                </c:pt>
                <c:pt idx="2580">
                  <c:v>3.7160994000000003E-2</c:v>
                </c:pt>
                <c:pt idx="2581">
                  <c:v>3.0987991999999999E-2</c:v>
                </c:pt>
                <c:pt idx="2582">
                  <c:v>2.3334157000000001E-2</c:v>
                </c:pt>
                <c:pt idx="2583">
                  <c:v>2.5021163999999999E-2</c:v>
                </c:pt>
                <c:pt idx="2584">
                  <c:v>3.3407744000000003E-2</c:v>
                </c:pt>
                <c:pt idx="2585">
                  <c:v>3.4693832000000001E-2</c:v>
                </c:pt>
                <c:pt idx="2586">
                  <c:v>3.7481064000000001E-2</c:v>
                </c:pt>
                <c:pt idx="2587">
                  <c:v>3.3373495000000003E-2</c:v>
                </c:pt>
                <c:pt idx="2588">
                  <c:v>3.5180494999999999E-2</c:v>
                </c:pt>
                <c:pt idx="2589">
                  <c:v>3.3115970000000002E-2</c:v>
                </c:pt>
                <c:pt idx="2590">
                  <c:v>4.3034879999999998E-2</c:v>
                </c:pt>
                <c:pt idx="2591">
                  <c:v>4.3814114000000001E-2</c:v>
                </c:pt>
                <c:pt idx="2592">
                  <c:v>2.5209835E-2</c:v>
                </c:pt>
                <c:pt idx="2593">
                  <c:v>1.9025127999999999E-2</c:v>
                </c:pt>
                <c:pt idx="2594">
                  <c:v>2.6271025E-2</c:v>
                </c:pt>
                <c:pt idx="2595">
                  <c:v>1.7132814E-2</c:v>
                </c:pt>
                <c:pt idx="2596">
                  <c:v>1.2562581E-2</c:v>
                </c:pt>
                <c:pt idx="2597">
                  <c:v>2.4937456E-2</c:v>
                </c:pt>
                <c:pt idx="2598">
                  <c:v>1.7335868000000001E-2</c:v>
                </c:pt>
                <c:pt idx="2599">
                  <c:v>1.9003498000000001E-2</c:v>
                </c:pt>
                <c:pt idx="2600">
                  <c:v>1.9814327E-2</c:v>
                </c:pt>
                <c:pt idx="2601">
                  <c:v>1.2592594E-2</c:v>
                </c:pt>
                <c:pt idx="2602">
                  <c:v>1.3808341999999999E-2</c:v>
                </c:pt>
                <c:pt idx="2603">
                  <c:v>1.6326163000000001E-2</c:v>
                </c:pt>
                <c:pt idx="2604">
                  <c:v>1.4014986E-2</c:v>
                </c:pt>
                <c:pt idx="2605">
                  <c:v>1.1652782E-2</c:v>
                </c:pt>
                <c:pt idx="2606">
                  <c:v>1.3749918E-2</c:v>
                </c:pt>
                <c:pt idx="2607">
                  <c:v>8.3176280000000005E-3</c:v>
                </c:pt>
                <c:pt idx="2608">
                  <c:v>9.7606410000000005E-3</c:v>
                </c:pt>
                <c:pt idx="2609">
                  <c:v>9.7648860000000004E-3</c:v>
                </c:pt>
                <c:pt idx="2610">
                  <c:v>1.5888576000000001E-2</c:v>
                </c:pt>
                <c:pt idx="2611">
                  <c:v>1.4354626000000001E-2</c:v>
                </c:pt>
                <c:pt idx="2612">
                  <c:v>2.6382329999999999E-2</c:v>
                </c:pt>
                <c:pt idx="2613">
                  <c:v>1.6855242999999999E-2</c:v>
                </c:pt>
                <c:pt idx="2614">
                  <c:v>1.7704825E-2</c:v>
                </c:pt>
                <c:pt idx="2615">
                  <c:v>1.9424351999999999E-2</c:v>
                </c:pt>
                <c:pt idx="2616">
                  <c:v>2.3700467999999999E-2</c:v>
                </c:pt>
                <c:pt idx="2617">
                  <c:v>2.2812045999999999E-2</c:v>
                </c:pt>
                <c:pt idx="2618">
                  <c:v>2.0256920000000001E-2</c:v>
                </c:pt>
                <c:pt idx="2619">
                  <c:v>3.4303256999999997E-2</c:v>
                </c:pt>
                <c:pt idx="2620">
                  <c:v>2.1983889E-2</c:v>
                </c:pt>
                <c:pt idx="2621">
                  <c:v>2.1777916000000001E-2</c:v>
                </c:pt>
                <c:pt idx="2622">
                  <c:v>2.2845422000000001E-2</c:v>
                </c:pt>
                <c:pt idx="2623">
                  <c:v>1.9094848000000001E-2</c:v>
                </c:pt>
                <c:pt idx="2624">
                  <c:v>1.7370005000000001E-2</c:v>
                </c:pt>
                <c:pt idx="2625">
                  <c:v>1.3179323999999999E-2</c:v>
                </c:pt>
                <c:pt idx="2626">
                  <c:v>1.4985824999999999E-2</c:v>
                </c:pt>
                <c:pt idx="2627">
                  <c:v>1.4426483E-2</c:v>
                </c:pt>
                <c:pt idx="2628">
                  <c:v>1.1320113999999999E-2</c:v>
                </c:pt>
                <c:pt idx="2629">
                  <c:v>2.4011996000000001E-2</c:v>
                </c:pt>
                <c:pt idx="2630">
                  <c:v>4.8856953000000002E-2</c:v>
                </c:pt>
                <c:pt idx="2631">
                  <c:v>3.5743037999999998E-2</c:v>
                </c:pt>
                <c:pt idx="2632">
                  <c:v>4.357515E-2</c:v>
                </c:pt>
                <c:pt idx="2633">
                  <c:v>3.2451734000000003E-2</c:v>
                </c:pt>
                <c:pt idx="2634">
                  <c:v>2.5988692000000001E-2</c:v>
                </c:pt>
                <c:pt idx="2635">
                  <c:v>2.4057441999999998E-2</c:v>
                </c:pt>
                <c:pt idx="2636">
                  <c:v>2.2427587999999998E-2</c:v>
                </c:pt>
                <c:pt idx="2637">
                  <c:v>1.8502144000000002E-2</c:v>
                </c:pt>
                <c:pt idx="2638">
                  <c:v>2.7549283000000001E-2</c:v>
                </c:pt>
                <c:pt idx="2639">
                  <c:v>2.2154284E-2</c:v>
                </c:pt>
                <c:pt idx="2640">
                  <c:v>1.8317297E-2</c:v>
                </c:pt>
                <c:pt idx="2641">
                  <c:v>2.0839383E-2</c:v>
                </c:pt>
                <c:pt idx="2642">
                  <c:v>1.9658490000000001E-2</c:v>
                </c:pt>
                <c:pt idx="2643">
                  <c:v>1.6573015E-2</c:v>
                </c:pt>
                <c:pt idx="2644">
                  <c:v>1.7437780999999999E-2</c:v>
                </c:pt>
                <c:pt idx="2645">
                  <c:v>1.8735627000000001E-2</c:v>
                </c:pt>
                <c:pt idx="2646">
                  <c:v>1.6510977999999999E-2</c:v>
                </c:pt>
                <c:pt idx="2647">
                  <c:v>1.415512E-2</c:v>
                </c:pt>
                <c:pt idx="2648">
                  <c:v>1.1135938999999999E-2</c:v>
                </c:pt>
                <c:pt idx="2649">
                  <c:v>1.9408549000000001E-2</c:v>
                </c:pt>
                <c:pt idx="2650">
                  <c:v>1.8237554E-2</c:v>
                </c:pt>
                <c:pt idx="2651">
                  <c:v>1.2570091E-2</c:v>
                </c:pt>
                <c:pt idx="2652">
                  <c:v>9.1694380000000002E-3</c:v>
                </c:pt>
                <c:pt idx="2653">
                  <c:v>1.0107672E-2</c:v>
                </c:pt>
                <c:pt idx="2654">
                  <c:v>9.4660379999999995E-3</c:v>
                </c:pt>
                <c:pt idx="2655">
                  <c:v>1.0025391E-2</c:v>
                </c:pt>
                <c:pt idx="2656">
                  <c:v>8.9129740000000006E-3</c:v>
                </c:pt>
                <c:pt idx="2657">
                  <c:v>1.2192839E-2</c:v>
                </c:pt>
                <c:pt idx="2658">
                  <c:v>9.8757319999999999E-3</c:v>
                </c:pt>
                <c:pt idx="2659">
                  <c:v>8.421184E-3</c:v>
                </c:pt>
                <c:pt idx="2660">
                  <c:v>1.3196685999999999E-2</c:v>
                </c:pt>
                <c:pt idx="2661">
                  <c:v>1.3999701E-2</c:v>
                </c:pt>
                <c:pt idx="2662">
                  <c:v>1.7841164999999999E-2</c:v>
                </c:pt>
                <c:pt idx="2663">
                  <c:v>1.380543E-2</c:v>
                </c:pt>
                <c:pt idx="2664">
                  <c:v>1.64686E-2</c:v>
                </c:pt>
                <c:pt idx="2665">
                  <c:v>1.1916089E-2</c:v>
                </c:pt>
                <c:pt idx="2666">
                  <c:v>8.7635449999999993E-3</c:v>
                </c:pt>
                <c:pt idx="2667">
                  <c:v>1.2291685E-2</c:v>
                </c:pt>
                <c:pt idx="2668">
                  <c:v>1.1085012E-2</c:v>
                </c:pt>
                <c:pt idx="2669">
                  <c:v>1.2085268999999999E-2</c:v>
                </c:pt>
                <c:pt idx="2670">
                  <c:v>1.1702774000000001E-2</c:v>
                </c:pt>
                <c:pt idx="2671">
                  <c:v>1.2977648E-2</c:v>
                </c:pt>
                <c:pt idx="2672">
                  <c:v>1.8198493999999999E-2</c:v>
                </c:pt>
                <c:pt idx="2673">
                  <c:v>1.5379858E-2</c:v>
                </c:pt>
                <c:pt idx="2674">
                  <c:v>4.5465849999999997E-3</c:v>
                </c:pt>
                <c:pt idx="2675">
                  <c:v>1.9887503000000001E-2</c:v>
                </c:pt>
                <c:pt idx="2676">
                  <c:v>1.8545599999999999E-2</c:v>
                </c:pt>
                <c:pt idx="2677">
                  <c:v>1.377343E-2</c:v>
                </c:pt>
                <c:pt idx="2678">
                  <c:v>1.2378134000000001E-2</c:v>
                </c:pt>
                <c:pt idx="2679">
                  <c:v>1.4262670999999999E-2</c:v>
                </c:pt>
                <c:pt idx="2680">
                  <c:v>1.3307149000000001E-2</c:v>
                </c:pt>
                <c:pt idx="2681">
                  <c:v>1.0812914E-2</c:v>
                </c:pt>
                <c:pt idx="2682">
                  <c:v>1.4010009E-2</c:v>
                </c:pt>
                <c:pt idx="2683">
                  <c:v>1.4500806999999999E-2</c:v>
                </c:pt>
                <c:pt idx="2684">
                  <c:v>1.2634575E-2</c:v>
                </c:pt>
                <c:pt idx="2685">
                  <c:v>9.9533569999999995E-3</c:v>
                </c:pt>
                <c:pt idx="2686">
                  <c:v>8.5031250000000003E-3</c:v>
                </c:pt>
                <c:pt idx="2687">
                  <c:v>1.3818277E-2</c:v>
                </c:pt>
                <c:pt idx="2688">
                  <c:v>1.4337865E-2</c:v>
                </c:pt>
                <c:pt idx="2689">
                  <c:v>1.0758218999999999E-2</c:v>
                </c:pt>
                <c:pt idx="2690">
                  <c:v>1.2791639E-2</c:v>
                </c:pt>
                <c:pt idx="2691">
                  <c:v>9.6890550000000002E-3</c:v>
                </c:pt>
                <c:pt idx="2692">
                  <c:v>9.7201800000000001E-3</c:v>
                </c:pt>
                <c:pt idx="2693">
                  <c:v>8.6067950000000004E-3</c:v>
                </c:pt>
                <c:pt idx="2694">
                  <c:v>9.79878E-3</c:v>
                </c:pt>
                <c:pt idx="2695">
                  <c:v>8.0746800000000007E-3</c:v>
                </c:pt>
                <c:pt idx="2696">
                  <c:v>8.0518800000000008E-3</c:v>
                </c:pt>
                <c:pt idx="2697">
                  <c:v>1.2284651000000001E-2</c:v>
                </c:pt>
                <c:pt idx="2698">
                  <c:v>1.4163693999999999E-2</c:v>
                </c:pt>
                <c:pt idx="2699">
                  <c:v>1.3351306E-2</c:v>
                </c:pt>
                <c:pt idx="2700">
                  <c:v>9.4154170000000006E-3</c:v>
                </c:pt>
                <c:pt idx="2701">
                  <c:v>1.4424856999999999E-2</c:v>
                </c:pt>
                <c:pt idx="2702">
                  <c:v>1.1203296999999999E-2</c:v>
                </c:pt>
                <c:pt idx="2703">
                  <c:v>1.1488470000000001E-2</c:v>
                </c:pt>
                <c:pt idx="2704">
                  <c:v>1.6216121E-2</c:v>
                </c:pt>
                <c:pt idx="2705">
                  <c:v>1.0674118999999999E-2</c:v>
                </c:pt>
                <c:pt idx="2706">
                  <c:v>1.3657292999999999E-2</c:v>
                </c:pt>
                <c:pt idx="2707">
                  <c:v>1.1898729E-2</c:v>
                </c:pt>
                <c:pt idx="2708">
                  <c:v>1.8285184999999999E-2</c:v>
                </c:pt>
                <c:pt idx="2709">
                  <c:v>1.7379483000000001E-2</c:v>
                </c:pt>
                <c:pt idx="2710">
                  <c:v>2.5777126000000001E-2</c:v>
                </c:pt>
                <c:pt idx="2711">
                  <c:v>1.4345488E-2</c:v>
                </c:pt>
                <c:pt idx="2712">
                  <c:v>1.4181483E-2</c:v>
                </c:pt>
                <c:pt idx="2713">
                  <c:v>1.1975645E-2</c:v>
                </c:pt>
                <c:pt idx="2714">
                  <c:v>8.1239580000000006E-3</c:v>
                </c:pt>
                <c:pt idx="2715">
                  <c:v>8.4382610000000007E-3</c:v>
                </c:pt>
                <c:pt idx="2716">
                  <c:v>1.267736E-2</c:v>
                </c:pt>
                <c:pt idx="2717">
                  <c:v>1.1087029999999999E-2</c:v>
                </c:pt>
                <c:pt idx="2718">
                  <c:v>1.5509491E-2</c:v>
                </c:pt>
                <c:pt idx="2719">
                  <c:v>1.3296326000000001E-2</c:v>
                </c:pt>
                <c:pt idx="2720">
                  <c:v>2.1144981E-2</c:v>
                </c:pt>
                <c:pt idx="2721">
                  <c:v>2.556201E-2</c:v>
                </c:pt>
                <c:pt idx="2722">
                  <c:v>1.7177319E-2</c:v>
                </c:pt>
                <c:pt idx="2723">
                  <c:v>1.3146529000000001E-2</c:v>
                </c:pt>
                <c:pt idx="2724">
                  <c:v>1.3120957000000001E-2</c:v>
                </c:pt>
                <c:pt idx="2725">
                  <c:v>9.6133339999999994E-3</c:v>
                </c:pt>
                <c:pt idx="2726">
                  <c:v>1.0604236E-2</c:v>
                </c:pt>
                <c:pt idx="2727">
                  <c:v>9.7642860000000005E-3</c:v>
                </c:pt>
                <c:pt idx="2728">
                  <c:v>1.2465745E-2</c:v>
                </c:pt>
                <c:pt idx="2729">
                  <c:v>1.2221971999999999E-2</c:v>
                </c:pt>
                <c:pt idx="2730">
                  <c:v>1.1884731000000001E-2</c:v>
                </c:pt>
                <c:pt idx="2731">
                  <c:v>1.4803350999999999E-2</c:v>
                </c:pt>
                <c:pt idx="2732">
                  <c:v>1.1067479E-2</c:v>
                </c:pt>
                <c:pt idx="2733">
                  <c:v>1.0750833E-2</c:v>
                </c:pt>
                <c:pt idx="2734">
                  <c:v>1.0059064E-2</c:v>
                </c:pt>
                <c:pt idx="2735">
                  <c:v>1.3029982000000001E-2</c:v>
                </c:pt>
                <c:pt idx="2736">
                  <c:v>9.0106960000000003E-3</c:v>
                </c:pt>
                <c:pt idx="2737">
                  <c:v>1.9459701999999999E-2</c:v>
                </c:pt>
                <c:pt idx="2738">
                  <c:v>1.0746947E-2</c:v>
                </c:pt>
                <c:pt idx="2739">
                  <c:v>9.9779259999999998E-3</c:v>
                </c:pt>
                <c:pt idx="2740">
                  <c:v>9.9185530000000001E-3</c:v>
                </c:pt>
                <c:pt idx="2741">
                  <c:v>7.8961090000000001E-3</c:v>
                </c:pt>
                <c:pt idx="2742">
                  <c:v>1.7448509000000001E-2</c:v>
                </c:pt>
                <c:pt idx="2743">
                  <c:v>1.0777790000000001E-2</c:v>
                </c:pt>
                <c:pt idx="2744">
                  <c:v>8.2658809999999992E-3</c:v>
                </c:pt>
                <c:pt idx="2745">
                  <c:v>7.0787580000000001E-3</c:v>
                </c:pt>
                <c:pt idx="2746">
                  <c:v>6.129303E-3</c:v>
                </c:pt>
                <c:pt idx="2747">
                  <c:v>6.3744759999999996E-3</c:v>
                </c:pt>
                <c:pt idx="2748">
                  <c:v>7.581183E-3</c:v>
                </c:pt>
                <c:pt idx="2749">
                  <c:v>6.7643030000000002E-3</c:v>
                </c:pt>
                <c:pt idx="2750">
                  <c:v>1.0782442E-2</c:v>
                </c:pt>
                <c:pt idx="2751">
                  <c:v>9.2289810000000007E-3</c:v>
                </c:pt>
                <c:pt idx="2752">
                  <c:v>7.7532490000000003E-3</c:v>
                </c:pt>
                <c:pt idx="2753">
                  <c:v>1.1369397E-2</c:v>
                </c:pt>
                <c:pt idx="2754">
                  <c:v>1.0184878E-2</c:v>
                </c:pt>
                <c:pt idx="2755">
                  <c:v>7.2842239999999997E-3</c:v>
                </c:pt>
                <c:pt idx="2756">
                  <c:v>8.4241290000000007E-3</c:v>
                </c:pt>
                <c:pt idx="2757">
                  <c:v>8.1602299999999992E-3</c:v>
                </c:pt>
                <c:pt idx="2758">
                  <c:v>7.0038899999999996E-3</c:v>
                </c:pt>
                <c:pt idx="2759">
                  <c:v>6.5393880000000001E-3</c:v>
                </c:pt>
                <c:pt idx="2760">
                  <c:v>7.0477170000000002E-3</c:v>
                </c:pt>
                <c:pt idx="2761">
                  <c:v>8.9121340000000004E-3</c:v>
                </c:pt>
                <c:pt idx="2762">
                  <c:v>6.3560099999999996E-3</c:v>
                </c:pt>
                <c:pt idx="2763">
                  <c:v>6.0194059999999997E-3</c:v>
                </c:pt>
                <c:pt idx="2764">
                  <c:v>6.3873569999999998E-3</c:v>
                </c:pt>
                <c:pt idx="2765">
                  <c:v>5.7478809999999998E-3</c:v>
                </c:pt>
                <c:pt idx="2766">
                  <c:v>5.5997599999999996E-3</c:v>
                </c:pt>
                <c:pt idx="2767">
                  <c:v>6.192304E-3</c:v>
                </c:pt>
                <c:pt idx="2768">
                  <c:v>6.7337289999999999E-3</c:v>
                </c:pt>
                <c:pt idx="2769">
                  <c:v>6.8928770000000004E-3</c:v>
                </c:pt>
                <c:pt idx="2770">
                  <c:v>1.5093461000000001E-2</c:v>
                </c:pt>
                <c:pt idx="2771">
                  <c:v>1.1497667E-2</c:v>
                </c:pt>
                <c:pt idx="2772">
                  <c:v>8.8968980000000003E-3</c:v>
                </c:pt>
                <c:pt idx="2773">
                  <c:v>1.0915315E-2</c:v>
                </c:pt>
                <c:pt idx="2774">
                  <c:v>8.3584699999999998E-3</c:v>
                </c:pt>
                <c:pt idx="2775">
                  <c:v>7.4326310000000003E-3</c:v>
                </c:pt>
                <c:pt idx="2776">
                  <c:v>7.9640590000000008E-3</c:v>
                </c:pt>
                <c:pt idx="2777">
                  <c:v>9.6843569999999993E-3</c:v>
                </c:pt>
                <c:pt idx="2778">
                  <c:v>7.104043E-3</c:v>
                </c:pt>
                <c:pt idx="2779">
                  <c:v>9.4110879999999997E-3</c:v>
                </c:pt>
                <c:pt idx="2780">
                  <c:v>9.5154999999999997E-3</c:v>
                </c:pt>
                <c:pt idx="2781">
                  <c:v>9.1388630000000005E-3</c:v>
                </c:pt>
                <c:pt idx="2782">
                  <c:v>6.9477389999999997E-3</c:v>
                </c:pt>
                <c:pt idx="2783">
                  <c:v>9.4260690000000005E-3</c:v>
                </c:pt>
                <c:pt idx="2784">
                  <c:v>7.0492849999999998E-3</c:v>
                </c:pt>
                <c:pt idx="2785">
                  <c:v>7.2602700000000001E-3</c:v>
                </c:pt>
                <c:pt idx="2786">
                  <c:v>1.1317489999999999E-2</c:v>
                </c:pt>
                <c:pt idx="2787">
                  <c:v>8.6943950000000006E-3</c:v>
                </c:pt>
                <c:pt idx="2788">
                  <c:v>9.3114770000000003E-3</c:v>
                </c:pt>
                <c:pt idx="2789">
                  <c:v>1.1042956E-2</c:v>
                </c:pt>
                <c:pt idx="2790">
                  <c:v>8.6238310000000002E-3</c:v>
                </c:pt>
                <c:pt idx="2791">
                  <c:v>7.8895749999999994E-3</c:v>
                </c:pt>
                <c:pt idx="2792">
                  <c:v>1.4050028000000001E-2</c:v>
                </c:pt>
                <c:pt idx="2793">
                  <c:v>1.3214623999999999E-2</c:v>
                </c:pt>
                <c:pt idx="2794">
                  <c:v>1.4033439999999999E-2</c:v>
                </c:pt>
                <c:pt idx="2795">
                  <c:v>1.3013502E-2</c:v>
                </c:pt>
                <c:pt idx="2796">
                  <c:v>9.6294769999999991E-3</c:v>
                </c:pt>
                <c:pt idx="2797">
                  <c:v>1.534115E-2</c:v>
                </c:pt>
                <c:pt idx="2798">
                  <c:v>1.7746064999999998E-2</c:v>
                </c:pt>
                <c:pt idx="2799">
                  <c:v>1.7217514999999999E-2</c:v>
                </c:pt>
                <c:pt idx="2800">
                  <c:v>1.0452848000000001E-2</c:v>
                </c:pt>
                <c:pt idx="2801">
                  <c:v>1.0327805000000001E-2</c:v>
                </c:pt>
                <c:pt idx="2802">
                  <c:v>1.1417813000000001E-2</c:v>
                </c:pt>
                <c:pt idx="2803">
                  <c:v>9.4995119999999999E-3</c:v>
                </c:pt>
                <c:pt idx="2804">
                  <c:v>7.5387350000000004E-3</c:v>
                </c:pt>
                <c:pt idx="2805">
                  <c:v>8.9959770000000005E-3</c:v>
                </c:pt>
                <c:pt idx="2806">
                  <c:v>8.8277349999999997E-3</c:v>
                </c:pt>
                <c:pt idx="2807">
                  <c:v>7.682393E-3</c:v>
                </c:pt>
                <c:pt idx="2808">
                  <c:v>8.4359029999999998E-3</c:v>
                </c:pt>
                <c:pt idx="2809">
                  <c:v>1.6064502000000001E-2</c:v>
                </c:pt>
                <c:pt idx="2810">
                  <c:v>1.1646794E-2</c:v>
                </c:pt>
                <c:pt idx="2811">
                  <c:v>9.1409500000000001E-3</c:v>
                </c:pt>
                <c:pt idx="2812">
                  <c:v>9.0377630000000007E-3</c:v>
                </c:pt>
                <c:pt idx="2813">
                  <c:v>5.9925289999999999E-3</c:v>
                </c:pt>
                <c:pt idx="2814">
                  <c:v>7.0310950000000002E-3</c:v>
                </c:pt>
                <c:pt idx="2815">
                  <c:v>7.3329989999999998E-3</c:v>
                </c:pt>
                <c:pt idx="2816">
                  <c:v>8.6324839999999993E-3</c:v>
                </c:pt>
                <c:pt idx="2817">
                  <c:v>9.3499670000000007E-3</c:v>
                </c:pt>
                <c:pt idx="2818">
                  <c:v>9.6535830000000003E-3</c:v>
                </c:pt>
                <c:pt idx="2819">
                  <c:v>8.9024380000000004E-3</c:v>
                </c:pt>
                <c:pt idx="2820">
                  <c:v>1.0396976E-2</c:v>
                </c:pt>
                <c:pt idx="2821">
                  <c:v>1.2773259E-2</c:v>
                </c:pt>
                <c:pt idx="2822">
                  <c:v>2.2450628E-2</c:v>
                </c:pt>
                <c:pt idx="2823">
                  <c:v>2.0962463000000001E-2</c:v>
                </c:pt>
                <c:pt idx="2824">
                  <c:v>1.3330926999999999E-2</c:v>
                </c:pt>
                <c:pt idx="2825">
                  <c:v>1.3581908E-2</c:v>
                </c:pt>
                <c:pt idx="2826">
                  <c:v>1.0869165E-2</c:v>
                </c:pt>
                <c:pt idx="2827">
                  <c:v>1.0109475E-2</c:v>
                </c:pt>
                <c:pt idx="2828">
                  <c:v>9.3841029999999995E-3</c:v>
                </c:pt>
                <c:pt idx="2829">
                  <c:v>8.3468550000000002E-3</c:v>
                </c:pt>
                <c:pt idx="2830">
                  <c:v>9.6236780000000001E-3</c:v>
                </c:pt>
                <c:pt idx="2831">
                  <c:v>8.0443010000000002E-3</c:v>
                </c:pt>
                <c:pt idx="2832">
                  <c:v>7.7485080000000003E-3</c:v>
                </c:pt>
                <c:pt idx="2833">
                  <c:v>7.6030469999999999E-3</c:v>
                </c:pt>
                <c:pt idx="2834">
                  <c:v>7.9840099999999997E-3</c:v>
                </c:pt>
                <c:pt idx="2835">
                  <c:v>8.245947E-3</c:v>
                </c:pt>
                <c:pt idx="2836">
                  <c:v>8.1244809999999994E-3</c:v>
                </c:pt>
                <c:pt idx="2837">
                  <c:v>7.5753879999999997E-3</c:v>
                </c:pt>
                <c:pt idx="2838">
                  <c:v>9.6523119999999997E-3</c:v>
                </c:pt>
                <c:pt idx="2839">
                  <c:v>9.8723679999999994E-3</c:v>
                </c:pt>
                <c:pt idx="2840">
                  <c:v>6.8670609999999998E-3</c:v>
                </c:pt>
                <c:pt idx="2841">
                  <c:v>8.1309510000000008E-3</c:v>
                </c:pt>
                <c:pt idx="2842">
                  <c:v>1.2879049E-2</c:v>
                </c:pt>
                <c:pt idx="2843">
                  <c:v>6.6958829999999997E-3</c:v>
                </c:pt>
                <c:pt idx="2844">
                  <c:v>7.5078790000000003E-3</c:v>
                </c:pt>
                <c:pt idx="2845">
                  <c:v>6.1944599999999997E-3</c:v>
                </c:pt>
                <c:pt idx="2846">
                  <c:v>5.3316079999999998E-3</c:v>
                </c:pt>
                <c:pt idx="2847">
                  <c:v>5.8037610000000002E-3</c:v>
                </c:pt>
                <c:pt idx="2848">
                  <c:v>8.0143650000000007E-3</c:v>
                </c:pt>
                <c:pt idx="2849">
                  <c:v>5.8452690000000002E-3</c:v>
                </c:pt>
                <c:pt idx="2850">
                  <c:v>7.2495349999999997E-3</c:v>
                </c:pt>
                <c:pt idx="2851">
                  <c:v>5.8444830000000001E-3</c:v>
                </c:pt>
                <c:pt idx="2852">
                  <c:v>4.5372090000000004E-3</c:v>
                </c:pt>
                <c:pt idx="2853">
                  <c:v>5.3638619999999996E-3</c:v>
                </c:pt>
                <c:pt idx="2854">
                  <c:v>4.5299820000000001E-3</c:v>
                </c:pt>
                <c:pt idx="2855">
                  <c:v>8.6944180000000006E-3</c:v>
                </c:pt>
                <c:pt idx="2856">
                  <c:v>9.1198330000000008E-3</c:v>
                </c:pt>
                <c:pt idx="2857">
                  <c:v>6.8061160000000001E-3</c:v>
                </c:pt>
                <c:pt idx="2858">
                  <c:v>8.0495600000000007E-3</c:v>
                </c:pt>
                <c:pt idx="2859">
                  <c:v>8.2742189999999993E-3</c:v>
                </c:pt>
                <c:pt idx="2860">
                  <c:v>8.7609550000000008E-3</c:v>
                </c:pt>
                <c:pt idx="2861">
                  <c:v>1.0672901E-2</c:v>
                </c:pt>
                <c:pt idx="2862">
                  <c:v>1.0327797E-2</c:v>
                </c:pt>
                <c:pt idx="2863">
                  <c:v>7.7767569999999996E-3</c:v>
                </c:pt>
                <c:pt idx="2864">
                  <c:v>1.1450909E-2</c:v>
                </c:pt>
                <c:pt idx="2865">
                  <c:v>1.5657546000000001E-2</c:v>
                </c:pt>
                <c:pt idx="2866">
                  <c:v>1.1591044E-2</c:v>
                </c:pt>
                <c:pt idx="2867">
                  <c:v>1.025709E-2</c:v>
                </c:pt>
                <c:pt idx="2868">
                  <c:v>8.0669009999999996E-3</c:v>
                </c:pt>
                <c:pt idx="2869">
                  <c:v>9.7505360000000006E-3</c:v>
                </c:pt>
                <c:pt idx="2870">
                  <c:v>7.5701140000000002E-3</c:v>
                </c:pt>
                <c:pt idx="2871">
                  <c:v>8.2970660000000005E-3</c:v>
                </c:pt>
                <c:pt idx="2872">
                  <c:v>9.7890470000000004E-3</c:v>
                </c:pt>
                <c:pt idx="2873">
                  <c:v>1.3191570999999999E-2</c:v>
                </c:pt>
                <c:pt idx="2874">
                  <c:v>1.1263122E-2</c:v>
                </c:pt>
                <c:pt idx="2875">
                  <c:v>1.0779593000000001E-2</c:v>
                </c:pt>
                <c:pt idx="2876">
                  <c:v>1.1129441E-2</c:v>
                </c:pt>
                <c:pt idx="2877">
                  <c:v>1.5633853999999999E-2</c:v>
                </c:pt>
                <c:pt idx="2878">
                  <c:v>1.3993749E-2</c:v>
                </c:pt>
                <c:pt idx="2879">
                  <c:v>2.0197377999999998E-2</c:v>
                </c:pt>
                <c:pt idx="2880">
                  <c:v>2.1957128999999999E-2</c:v>
                </c:pt>
                <c:pt idx="2881">
                  <c:v>1.3103969E-2</c:v>
                </c:pt>
                <c:pt idx="2882">
                  <c:v>1.2227847999999999E-2</c:v>
                </c:pt>
                <c:pt idx="2883">
                  <c:v>1.1861797E-2</c:v>
                </c:pt>
                <c:pt idx="2884">
                  <c:v>1.2229219E-2</c:v>
                </c:pt>
                <c:pt idx="2885">
                  <c:v>1.6133148999999999E-2</c:v>
                </c:pt>
                <c:pt idx="2886">
                  <c:v>1.8479381E-2</c:v>
                </c:pt>
                <c:pt idx="2887">
                  <c:v>1.7974495E-2</c:v>
                </c:pt>
                <c:pt idx="2888">
                  <c:v>1.5166892E-2</c:v>
                </c:pt>
                <c:pt idx="2889">
                  <c:v>1.5842957000000001E-2</c:v>
                </c:pt>
                <c:pt idx="2890">
                  <c:v>2.3534132999999999E-2</c:v>
                </c:pt>
                <c:pt idx="2891">
                  <c:v>2.5978751000000001E-2</c:v>
                </c:pt>
                <c:pt idx="2892">
                  <c:v>1.9006855999999999E-2</c:v>
                </c:pt>
                <c:pt idx="2893">
                  <c:v>2.0120616000000001E-2</c:v>
                </c:pt>
                <c:pt idx="2894">
                  <c:v>2.1511820000000001E-2</c:v>
                </c:pt>
                <c:pt idx="2895">
                  <c:v>2.0412375E-2</c:v>
                </c:pt>
                <c:pt idx="2896">
                  <c:v>1.2706275E-2</c:v>
                </c:pt>
                <c:pt idx="2897">
                  <c:v>1.1655972000000001E-2</c:v>
                </c:pt>
                <c:pt idx="2898">
                  <c:v>1.2655026E-2</c:v>
                </c:pt>
                <c:pt idx="2899">
                  <c:v>1.7613709000000002E-2</c:v>
                </c:pt>
                <c:pt idx="2900">
                  <c:v>2.0737675000000001E-2</c:v>
                </c:pt>
                <c:pt idx="2901">
                  <c:v>1.3227266999999999E-2</c:v>
                </c:pt>
                <c:pt idx="2902">
                  <c:v>1.386416E-2</c:v>
                </c:pt>
                <c:pt idx="2903">
                  <c:v>1.3337168E-2</c:v>
                </c:pt>
                <c:pt idx="2904">
                  <c:v>1.0147674000000001E-2</c:v>
                </c:pt>
                <c:pt idx="2905">
                  <c:v>8.8469099999999995E-3</c:v>
                </c:pt>
                <c:pt idx="2906">
                  <c:v>1.0036652E-2</c:v>
                </c:pt>
                <c:pt idx="2907">
                  <c:v>1.20062E-2</c:v>
                </c:pt>
                <c:pt idx="2908">
                  <c:v>9.8059370000000007E-3</c:v>
                </c:pt>
                <c:pt idx="2909">
                  <c:v>1.0183075999999999E-2</c:v>
                </c:pt>
                <c:pt idx="2910">
                  <c:v>9.4927620000000001E-3</c:v>
                </c:pt>
                <c:pt idx="2911">
                  <c:v>8.2192470000000007E-3</c:v>
                </c:pt>
                <c:pt idx="2912">
                  <c:v>7.3683309999999997E-3</c:v>
                </c:pt>
                <c:pt idx="2913">
                  <c:v>7.4421970000000002E-3</c:v>
                </c:pt>
                <c:pt idx="2914">
                  <c:v>8.0168800000000005E-3</c:v>
                </c:pt>
                <c:pt idx="2915">
                  <c:v>1.0189235E-2</c:v>
                </c:pt>
                <c:pt idx="2916">
                  <c:v>9.8793820000000008E-3</c:v>
                </c:pt>
                <c:pt idx="2917">
                  <c:v>9.6711139999999998E-3</c:v>
                </c:pt>
                <c:pt idx="2918">
                  <c:v>9.37202E-3</c:v>
                </c:pt>
                <c:pt idx="2919">
                  <c:v>9.4559269999999994E-3</c:v>
                </c:pt>
                <c:pt idx="2920">
                  <c:v>9.0935630000000007E-3</c:v>
                </c:pt>
                <c:pt idx="2921">
                  <c:v>1.0220661000000001E-2</c:v>
                </c:pt>
                <c:pt idx="2922">
                  <c:v>9.4109169999999995E-3</c:v>
                </c:pt>
                <c:pt idx="2923">
                  <c:v>9.9471420000000008E-3</c:v>
                </c:pt>
                <c:pt idx="2924">
                  <c:v>1.8357170999999999E-2</c:v>
                </c:pt>
                <c:pt idx="2925">
                  <c:v>7.5972770000000004E-3</c:v>
                </c:pt>
                <c:pt idx="2926">
                  <c:v>8.0020060000000007E-3</c:v>
                </c:pt>
                <c:pt idx="2927">
                  <c:v>7.7613550000000002E-3</c:v>
                </c:pt>
                <c:pt idx="2928">
                  <c:v>7.1231430000000002E-3</c:v>
                </c:pt>
                <c:pt idx="2929">
                  <c:v>8.3213430000000001E-3</c:v>
                </c:pt>
                <c:pt idx="2930">
                  <c:v>7.4479979999999999E-3</c:v>
                </c:pt>
                <c:pt idx="2931">
                  <c:v>6.5577789999999997E-3</c:v>
                </c:pt>
                <c:pt idx="2932">
                  <c:v>7.6798029999999998E-3</c:v>
                </c:pt>
                <c:pt idx="2933">
                  <c:v>6.7676200000000002E-3</c:v>
                </c:pt>
                <c:pt idx="2934">
                  <c:v>8.100421E-3</c:v>
                </c:pt>
                <c:pt idx="2935">
                  <c:v>7.4568400000000002E-3</c:v>
                </c:pt>
                <c:pt idx="2936">
                  <c:v>9.0870489999999998E-3</c:v>
                </c:pt>
                <c:pt idx="2937">
                  <c:v>1.1278053999999999E-2</c:v>
                </c:pt>
                <c:pt idx="2938">
                  <c:v>1.4208215E-2</c:v>
                </c:pt>
                <c:pt idx="2939">
                  <c:v>1.4115597000000001E-2</c:v>
                </c:pt>
                <c:pt idx="2940">
                  <c:v>1.0592575E-2</c:v>
                </c:pt>
                <c:pt idx="2941">
                  <c:v>1.4536116E-2</c:v>
                </c:pt>
                <c:pt idx="2942">
                  <c:v>1.2824756E-2</c:v>
                </c:pt>
                <c:pt idx="2943">
                  <c:v>1.2295321999999999E-2</c:v>
                </c:pt>
                <c:pt idx="2944">
                  <c:v>1.5615225999999999E-2</c:v>
                </c:pt>
                <c:pt idx="2945">
                  <c:v>1.3117952E-2</c:v>
                </c:pt>
                <c:pt idx="2946">
                  <c:v>1.1525034E-2</c:v>
                </c:pt>
                <c:pt idx="2947">
                  <c:v>1.1070735999999999E-2</c:v>
                </c:pt>
                <c:pt idx="2948">
                  <c:v>1.0879966E-2</c:v>
                </c:pt>
                <c:pt idx="2949">
                  <c:v>1.1450999999999999E-2</c:v>
                </c:pt>
                <c:pt idx="2950">
                  <c:v>8.7777299999999992E-3</c:v>
                </c:pt>
                <c:pt idx="2951">
                  <c:v>1.2010837999999999E-2</c:v>
                </c:pt>
                <c:pt idx="2952">
                  <c:v>1.0559696E-2</c:v>
                </c:pt>
                <c:pt idx="2953">
                  <c:v>9.4440440000000004E-3</c:v>
                </c:pt>
                <c:pt idx="2954">
                  <c:v>9.9163589999999996E-3</c:v>
                </c:pt>
                <c:pt idx="2955">
                  <c:v>9.1604149999999999E-3</c:v>
                </c:pt>
                <c:pt idx="2956">
                  <c:v>9.2004370000000005E-3</c:v>
                </c:pt>
                <c:pt idx="2957">
                  <c:v>9.8406829999999994E-3</c:v>
                </c:pt>
                <c:pt idx="2958">
                  <c:v>7.8436300000000007E-3</c:v>
                </c:pt>
                <c:pt idx="2959">
                  <c:v>1.0809957E-2</c:v>
                </c:pt>
                <c:pt idx="2960">
                  <c:v>8.610889E-3</c:v>
                </c:pt>
                <c:pt idx="2961">
                  <c:v>8.8658060000000004E-3</c:v>
                </c:pt>
                <c:pt idx="2962">
                  <c:v>1.1816913E-2</c:v>
                </c:pt>
                <c:pt idx="2963">
                  <c:v>1.2089694E-2</c:v>
                </c:pt>
                <c:pt idx="2964">
                  <c:v>1.0078230000000001E-2</c:v>
                </c:pt>
                <c:pt idx="2965">
                  <c:v>1.0311811000000001E-2</c:v>
                </c:pt>
                <c:pt idx="2966">
                  <c:v>1.2180065E-2</c:v>
                </c:pt>
                <c:pt idx="2967">
                  <c:v>1.0823019E-2</c:v>
                </c:pt>
                <c:pt idx="2968">
                  <c:v>1.4963966E-2</c:v>
                </c:pt>
                <c:pt idx="2969">
                  <c:v>1.3103699999999999E-2</c:v>
                </c:pt>
                <c:pt idx="2970">
                  <c:v>9.6760149999999996E-3</c:v>
                </c:pt>
                <c:pt idx="2971">
                  <c:v>1.1073214E-2</c:v>
                </c:pt>
                <c:pt idx="2972">
                  <c:v>1.2782985E-2</c:v>
                </c:pt>
                <c:pt idx="2973">
                  <c:v>1.0861582E-2</c:v>
                </c:pt>
                <c:pt idx="2974">
                  <c:v>1.7259534999999999E-2</c:v>
                </c:pt>
                <c:pt idx="2975">
                  <c:v>1.4501148E-2</c:v>
                </c:pt>
                <c:pt idx="2976">
                  <c:v>1.4117922999999999E-2</c:v>
                </c:pt>
                <c:pt idx="2977">
                  <c:v>1.3730632E-2</c:v>
                </c:pt>
                <c:pt idx="2978">
                  <c:v>1.6727283999999999E-2</c:v>
                </c:pt>
                <c:pt idx="2979">
                  <c:v>1.4241198E-2</c:v>
                </c:pt>
                <c:pt idx="2980">
                  <c:v>9.9789869999999999E-3</c:v>
                </c:pt>
                <c:pt idx="2981">
                  <c:v>1.1435756E-2</c:v>
                </c:pt>
                <c:pt idx="2982">
                  <c:v>1.0650069999999999E-2</c:v>
                </c:pt>
                <c:pt idx="2983">
                  <c:v>1.0167453999999999E-2</c:v>
                </c:pt>
                <c:pt idx="2984">
                  <c:v>1.1688429E-2</c:v>
                </c:pt>
                <c:pt idx="2985">
                  <c:v>1.0645487E-2</c:v>
                </c:pt>
                <c:pt idx="2986">
                  <c:v>1.0376477E-2</c:v>
                </c:pt>
                <c:pt idx="2987">
                  <c:v>1.1936748E-2</c:v>
                </c:pt>
                <c:pt idx="2988">
                  <c:v>8.7150990000000005E-3</c:v>
                </c:pt>
                <c:pt idx="2989">
                  <c:v>1.0665693E-2</c:v>
                </c:pt>
                <c:pt idx="2990">
                  <c:v>1.1401E-2</c:v>
                </c:pt>
                <c:pt idx="2991">
                  <c:v>8.8022110000000008E-3</c:v>
                </c:pt>
                <c:pt idx="2992">
                  <c:v>7.9279079999999991E-3</c:v>
                </c:pt>
                <c:pt idx="2993">
                  <c:v>8.6448879999999999E-3</c:v>
                </c:pt>
                <c:pt idx="2994">
                  <c:v>9.0781200000000003E-3</c:v>
                </c:pt>
                <c:pt idx="2995">
                  <c:v>1.0700928E-2</c:v>
                </c:pt>
                <c:pt idx="2996">
                  <c:v>1.291905E-2</c:v>
                </c:pt>
                <c:pt idx="2997">
                  <c:v>8.0623829999999994E-3</c:v>
                </c:pt>
                <c:pt idx="2998">
                  <c:v>9.4016389999999998E-3</c:v>
                </c:pt>
                <c:pt idx="2999">
                  <c:v>1.1093066E-2</c:v>
                </c:pt>
                <c:pt idx="3000">
                  <c:v>9.4758389999999998E-3</c:v>
                </c:pt>
                <c:pt idx="3001">
                  <c:v>8.4958629999999993E-3</c:v>
                </c:pt>
                <c:pt idx="3002">
                  <c:v>1.0498433E-2</c:v>
                </c:pt>
                <c:pt idx="3003">
                  <c:v>9.4581149999999996E-3</c:v>
                </c:pt>
                <c:pt idx="3004">
                  <c:v>7.7649650000000004E-3</c:v>
                </c:pt>
                <c:pt idx="3005">
                  <c:v>6.6440839999999998E-3</c:v>
                </c:pt>
                <c:pt idx="3006">
                  <c:v>9.216218E-3</c:v>
                </c:pt>
                <c:pt idx="3007">
                  <c:v>1.2376666999999999E-2</c:v>
                </c:pt>
                <c:pt idx="3008">
                  <c:v>8.5622059999999993E-3</c:v>
                </c:pt>
                <c:pt idx="3009">
                  <c:v>1.4681214E-2</c:v>
                </c:pt>
                <c:pt idx="3010">
                  <c:v>1.0625938E-2</c:v>
                </c:pt>
                <c:pt idx="3011">
                  <c:v>1.1745004E-2</c:v>
                </c:pt>
                <c:pt idx="3012">
                  <c:v>1.1261782E-2</c:v>
                </c:pt>
                <c:pt idx="3013">
                  <c:v>9.1852199999999991E-3</c:v>
                </c:pt>
                <c:pt idx="3014">
                  <c:v>9.1040589999999994E-3</c:v>
                </c:pt>
                <c:pt idx="3015">
                  <c:v>7.078913E-3</c:v>
                </c:pt>
                <c:pt idx="3016">
                  <c:v>1.0666386999999999E-2</c:v>
                </c:pt>
                <c:pt idx="3017">
                  <c:v>9.6232020000000008E-3</c:v>
                </c:pt>
                <c:pt idx="3018">
                  <c:v>1.1363494999999999E-2</c:v>
                </c:pt>
                <c:pt idx="3019">
                  <c:v>1.0074846E-2</c:v>
                </c:pt>
                <c:pt idx="3020">
                  <c:v>8.339239E-3</c:v>
                </c:pt>
                <c:pt idx="3021">
                  <c:v>9.3154080000000007E-3</c:v>
                </c:pt>
                <c:pt idx="3022">
                  <c:v>8.3383980000000003E-3</c:v>
                </c:pt>
                <c:pt idx="3023">
                  <c:v>8.1181889999999996E-3</c:v>
                </c:pt>
                <c:pt idx="3024">
                  <c:v>8.6639530000000003E-3</c:v>
                </c:pt>
                <c:pt idx="3025">
                  <c:v>8.4262710000000008E-3</c:v>
                </c:pt>
                <c:pt idx="3026">
                  <c:v>8.7594300000000003E-3</c:v>
                </c:pt>
                <c:pt idx="3027">
                  <c:v>1.4791956E-2</c:v>
                </c:pt>
                <c:pt idx="3028">
                  <c:v>1.0897899000000001E-2</c:v>
                </c:pt>
                <c:pt idx="3029">
                  <c:v>1.5375257999999999E-2</c:v>
                </c:pt>
                <c:pt idx="3030">
                  <c:v>1.0858489000000001E-2</c:v>
                </c:pt>
                <c:pt idx="3031">
                  <c:v>1.0677414E-2</c:v>
                </c:pt>
                <c:pt idx="3032">
                  <c:v>9.4614269999999997E-3</c:v>
                </c:pt>
                <c:pt idx="3033">
                  <c:v>8.9429179999999994E-3</c:v>
                </c:pt>
                <c:pt idx="3034">
                  <c:v>9.5556819999999994E-3</c:v>
                </c:pt>
                <c:pt idx="3035">
                  <c:v>1.0574073999999999E-2</c:v>
                </c:pt>
                <c:pt idx="3036">
                  <c:v>9.6167230000000006E-3</c:v>
                </c:pt>
                <c:pt idx="3037">
                  <c:v>1.1144961E-2</c:v>
                </c:pt>
                <c:pt idx="3038">
                  <c:v>1.0974671E-2</c:v>
                </c:pt>
                <c:pt idx="3039">
                  <c:v>1.2352408E-2</c:v>
                </c:pt>
                <c:pt idx="3040">
                  <c:v>1.3341240000000001E-2</c:v>
                </c:pt>
                <c:pt idx="3041">
                  <c:v>1.4125894999999999E-2</c:v>
                </c:pt>
                <c:pt idx="3042">
                  <c:v>1.4531089000000001E-2</c:v>
                </c:pt>
                <c:pt idx="3043">
                  <c:v>1.2053316E-2</c:v>
                </c:pt>
                <c:pt idx="3044">
                  <c:v>2.029893E-2</c:v>
                </c:pt>
                <c:pt idx="3045">
                  <c:v>1.4311123E-2</c:v>
                </c:pt>
                <c:pt idx="3046">
                  <c:v>1.9768495000000001E-2</c:v>
                </c:pt>
                <c:pt idx="3047">
                  <c:v>1.5287225999999999E-2</c:v>
                </c:pt>
                <c:pt idx="3048">
                  <c:v>1.2386302E-2</c:v>
                </c:pt>
                <c:pt idx="3049">
                  <c:v>1.4316285E-2</c:v>
                </c:pt>
                <c:pt idx="3050">
                  <c:v>1.2721015E-2</c:v>
                </c:pt>
                <c:pt idx="3051">
                  <c:v>1.4506992999999999E-2</c:v>
                </c:pt>
                <c:pt idx="3052">
                  <c:v>1.3924271E-2</c:v>
                </c:pt>
                <c:pt idx="3053">
                  <c:v>1.0618781000000001E-2</c:v>
                </c:pt>
                <c:pt idx="3054">
                  <c:v>1.5114954999999999E-2</c:v>
                </c:pt>
                <c:pt idx="3055">
                  <c:v>1.5423453E-2</c:v>
                </c:pt>
                <c:pt idx="3056">
                  <c:v>1.6701613000000001E-2</c:v>
                </c:pt>
                <c:pt idx="3057">
                  <c:v>1.4469826E-2</c:v>
                </c:pt>
                <c:pt idx="3058">
                  <c:v>1.5204883000000001E-2</c:v>
                </c:pt>
                <c:pt idx="3059">
                  <c:v>1.2825039999999999E-2</c:v>
                </c:pt>
                <c:pt idx="3060">
                  <c:v>1.3757168E-2</c:v>
                </c:pt>
                <c:pt idx="3061">
                  <c:v>1.3070658000000001E-2</c:v>
                </c:pt>
                <c:pt idx="3062">
                  <c:v>1.363671E-2</c:v>
                </c:pt>
                <c:pt idx="3063">
                  <c:v>1.5978592999999999E-2</c:v>
                </c:pt>
                <c:pt idx="3064">
                  <c:v>1.2851269E-2</c:v>
                </c:pt>
                <c:pt idx="3065">
                  <c:v>1.1739563999999999E-2</c:v>
                </c:pt>
                <c:pt idx="3066">
                  <c:v>1.1062966E-2</c:v>
                </c:pt>
                <c:pt idx="3067">
                  <c:v>1.1456460999999999E-2</c:v>
                </c:pt>
                <c:pt idx="3068">
                  <c:v>9.8229570000000002E-3</c:v>
                </c:pt>
                <c:pt idx="3069">
                  <c:v>1.0368946E-2</c:v>
                </c:pt>
                <c:pt idx="3070">
                  <c:v>1.1345071E-2</c:v>
                </c:pt>
                <c:pt idx="3071">
                  <c:v>1.1967093E-2</c:v>
                </c:pt>
                <c:pt idx="3072">
                  <c:v>1.0114939E-2</c:v>
                </c:pt>
                <c:pt idx="3073">
                  <c:v>1.5081410999999999E-2</c:v>
                </c:pt>
                <c:pt idx="3074">
                  <c:v>1.9860942999999999E-2</c:v>
                </c:pt>
                <c:pt idx="3075">
                  <c:v>1.3719983E-2</c:v>
                </c:pt>
                <c:pt idx="3076">
                  <c:v>1.5525369000000001E-2</c:v>
                </c:pt>
                <c:pt idx="3077">
                  <c:v>1.4623825E-2</c:v>
                </c:pt>
                <c:pt idx="3078">
                  <c:v>1.7443516999999999E-2</c:v>
                </c:pt>
                <c:pt idx="3079">
                  <c:v>1.6658991000000001E-2</c:v>
                </c:pt>
                <c:pt idx="3080">
                  <c:v>1.4109236000000001E-2</c:v>
                </c:pt>
                <c:pt idx="3081">
                  <c:v>1.4280685E-2</c:v>
                </c:pt>
                <c:pt idx="3082">
                  <c:v>1.2918888E-2</c:v>
                </c:pt>
                <c:pt idx="3083">
                  <c:v>1.1505578000000001E-2</c:v>
                </c:pt>
                <c:pt idx="3084">
                  <c:v>1.3941929E-2</c:v>
                </c:pt>
                <c:pt idx="3085">
                  <c:v>1.5312578E-2</c:v>
                </c:pt>
                <c:pt idx="3086">
                  <c:v>1.0130859000000001E-2</c:v>
                </c:pt>
                <c:pt idx="3087">
                  <c:v>1.1741560999999999E-2</c:v>
                </c:pt>
                <c:pt idx="3088">
                  <c:v>1.2075337E-2</c:v>
                </c:pt>
                <c:pt idx="3089">
                  <c:v>1.2432489E-2</c:v>
                </c:pt>
                <c:pt idx="3090">
                  <c:v>1.1612635E-2</c:v>
                </c:pt>
                <c:pt idx="3091">
                  <c:v>1.0591145E-2</c:v>
                </c:pt>
                <c:pt idx="3092">
                  <c:v>1.1572377999999999E-2</c:v>
                </c:pt>
                <c:pt idx="3093">
                  <c:v>1.0398787E-2</c:v>
                </c:pt>
                <c:pt idx="3094">
                  <c:v>1.1139656E-2</c:v>
                </c:pt>
                <c:pt idx="3095">
                  <c:v>9.1056799999999997E-3</c:v>
                </c:pt>
                <c:pt idx="3096">
                  <c:v>9.5243910000000001E-3</c:v>
                </c:pt>
                <c:pt idx="3097">
                  <c:v>1.0414308000000001E-2</c:v>
                </c:pt>
                <c:pt idx="3098">
                  <c:v>1.0776157E-2</c:v>
                </c:pt>
                <c:pt idx="3099">
                  <c:v>1.5573642E-2</c:v>
                </c:pt>
                <c:pt idx="3100">
                  <c:v>1.2320141999999999E-2</c:v>
                </c:pt>
                <c:pt idx="3101">
                  <c:v>1.1112098000000001E-2</c:v>
                </c:pt>
                <c:pt idx="3102">
                  <c:v>1.0707407E-2</c:v>
                </c:pt>
                <c:pt idx="3103">
                  <c:v>1.0303806E-2</c:v>
                </c:pt>
                <c:pt idx="3104">
                  <c:v>1.3301113E-2</c:v>
                </c:pt>
                <c:pt idx="3105">
                  <c:v>9.2048579999999998E-3</c:v>
                </c:pt>
                <c:pt idx="3106">
                  <c:v>1.1878537E-2</c:v>
                </c:pt>
                <c:pt idx="3107">
                  <c:v>1.1895233999999999E-2</c:v>
                </c:pt>
                <c:pt idx="3108">
                  <c:v>8.2469970000000007E-3</c:v>
                </c:pt>
                <c:pt idx="3109">
                  <c:v>9.3359250000000001E-3</c:v>
                </c:pt>
                <c:pt idx="3110">
                  <c:v>1.0248617999999999E-2</c:v>
                </c:pt>
                <c:pt idx="3111">
                  <c:v>1.0444817E-2</c:v>
                </c:pt>
                <c:pt idx="3112">
                  <c:v>1.5436551E-2</c:v>
                </c:pt>
                <c:pt idx="3113">
                  <c:v>1.4944485E-2</c:v>
                </c:pt>
                <c:pt idx="3114">
                  <c:v>1.8473731E-2</c:v>
                </c:pt>
                <c:pt idx="3115">
                  <c:v>1.3209182E-2</c:v>
                </c:pt>
                <c:pt idx="3116">
                  <c:v>1.5612686000000001E-2</c:v>
                </c:pt>
                <c:pt idx="3117">
                  <c:v>1.495757E-2</c:v>
                </c:pt>
                <c:pt idx="3118">
                  <c:v>1.4814452000000001E-2</c:v>
                </c:pt>
                <c:pt idx="3119">
                  <c:v>1.5096039E-2</c:v>
                </c:pt>
                <c:pt idx="3120">
                  <c:v>1.8104200000000001E-2</c:v>
                </c:pt>
                <c:pt idx="3121">
                  <c:v>1.7626255E-2</c:v>
                </c:pt>
                <c:pt idx="3122">
                  <c:v>1.4290607E-2</c:v>
                </c:pt>
                <c:pt idx="3123">
                  <c:v>1.6963443000000002E-2</c:v>
                </c:pt>
                <c:pt idx="3124">
                  <c:v>1.8309902999999999E-2</c:v>
                </c:pt>
                <c:pt idx="3125">
                  <c:v>1.6913154E-2</c:v>
                </c:pt>
                <c:pt idx="3126">
                  <c:v>1.4161088E-2</c:v>
                </c:pt>
                <c:pt idx="3127">
                  <c:v>1.4793091E-2</c:v>
                </c:pt>
                <c:pt idx="3128">
                  <c:v>2.2424788000000001E-2</c:v>
                </c:pt>
                <c:pt idx="3129">
                  <c:v>1.6674050999999999E-2</c:v>
                </c:pt>
                <c:pt idx="3130">
                  <c:v>2.2192114999999998E-2</c:v>
                </c:pt>
                <c:pt idx="3131">
                  <c:v>2.3303022E-2</c:v>
                </c:pt>
                <c:pt idx="3132">
                  <c:v>2.1925109000000002E-2</c:v>
                </c:pt>
                <c:pt idx="3133">
                  <c:v>1.6263712E-2</c:v>
                </c:pt>
                <c:pt idx="3134">
                  <c:v>1.7890344999999998E-2</c:v>
                </c:pt>
                <c:pt idx="3135">
                  <c:v>1.2523161E-2</c:v>
                </c:pt>
                <c:pt idx="3136">
                  <c:v>1.4761262000000001E-2</c:v>
                </c:pt>
                <c:pt idx="3137">
                  <c:v>1.3039747000000001E-2</c:v>
                </c:pt>
                <c:pt idx="3138">
                  <c:v>1.2250156E-2</c:v>
                </c:pt>
                <c:pt idx="3139">
                  <c:v>1.2495536E-2</c:v>
                </c:pt>
                <c:pt idx="3140">
                  <c:v>1.8683182E-2</c:v>
                </c:pt>
                <c:pt idx="3141">
                  <c:v>1.3205415999999999E-2</c:v>
                </c:pt>
                <c:pt idx="3142">
                  <c:v>1.0491917999999999E-2</c:v>
                </c:pt>
                <c:pt idx="3143">
                  <c:v>1.0996631999999999E-2</c:v>
                </c:pt>
                <c:pt idx="3144">
                  <c:v>1.2148548E-2</c:v>
                </c:pt>
                <c:pt idx="3145">
                  <c:v>1.0582391E-2</c:v>
                </c:pt>
                <c:pt idx="3146">
                  <c:v>9.6419169999999998E-3</c:v>
                </c:pt>
                <c:pt idx="3147">
                  <c:v>1.0114260999999999E-2</c:v>
                </c:pt>
                <c:pt idx="3148">
                  <c:v>1.1252732E-2</c:v>
                </c:pt>
                <c:pt idx="3149">
                  <c:v>9.6618469999999994E-3</c:v>
                </c:pt>
                <c:pt idx="3150">
                  <c:v>9.8795050000000002E-3</c:v>
                </c:pt>
                <c:pt idx="3151">
                  <c:v>1.1097050000000001E-2</c:v>
                </c:pt>
                <c:pt idx="3152">
                  <c:v>1.3048333000000001E-2</c:v>
                </c:pt>
                <c:pt idx="3153">
                  <c:v>9.860387E-3</c:v>
                </c:pt>
                <c:pt idx="3154">
                  <c:v>1.2522630999999999E-2</c:v>
                </c:pt>
                <c:pt idx="3155">
                  <c:v>1.2139417E-2</c:v>
                </c:pt>
                <c:pt idx="3156">
                  <c:v>1.3605562999999999E-2</c:v>
                </c:pt>
                <c:pt idx="3157">
                  <c:v>1.4210288E-2</c:v>
                </c:pt>
                <c:pt idx="3158">
                  <c:v>1.1470500999999999E-2</c:v>
                </c:pt>
                <c:pt idx="3159">
                  <c:v>1.8074449999999999E-2</c:v>
                </c:pt>
                <c:pt idx="3160">
                  <c:v>1.7675492000000001E-2</c:v>
                </c:pt>
                <c:pt idx="3161">
                  <c:v>1.5577664E-2</c:v>
                </c:pt>
                <c:pt idx="3162">
                  <c:v>1.7040291999999999E-2</c:v>
                </c:pt>
                <c:pt idx="3163">
                  <c:v>1.9919559E-2</c:v>
                </c:pt>
                <c:pt idx="3164">
                  <c:v>1.6548567E-2</c:v>
                </c:pt>
                <c:pt idx="3165">
                  <c:v>1.846718E-2</c:v>
                </c:pt>
                <c:pt idx="3166">
                  <c:v>1.443877E-2</c:v>
                </c:pt>
                <c:pt idx="3167">
                  <c:v>1.3262491E-2</c:v>
                </c:pt>
                <c:pt idx="3168">
                  <c:v>2.0799880999999999E-2</c:v>
                </c:pt>
                <c:pt idx="3169">
                  <c:v>1.9955512000000002E-2</c:v>
                </c:pt>
                <c:pt idx="3170">
                  <c:v>2.6273972E-2</c:v>
                </c:pt>
                <c:pt idx="3171">
                  <c:v>2.1267330000000001E-2</c:v>
                </c:pt>
                <c:pt idx="3172">
                  <c:v>2.4565764E-2</c:v>
                </c:pt>
                <c:pt idx="3173">
                  <c:v>2.0556837000000001E-2</c:v>
                </c:pt>
                <c:pt idx="3174">
                  <c:v>2.4334363000000001E-2</c:v>
                </c:pt>
                <c:pt idx="3175">
                  <c:v>2.5475946999999999E-2</c:v>
                </c:pt>
                <c:pt idx="3176">
                  <c:v>2.2192147999999998E-2</c:v>
                </c:pt>
                <c:pt idx="3177">
                  <c:v>2.0711536999999999E-2</c:v>
                </c:pt>
                <c:pt idx="3178">
                  <c:v>2.186109E-2</c:v>
                </c:pt>
                <c:pt idx="3179">
                  <c:v>1.5520038999999999E-2</c:v>
                </c:pt>
                <c:pt idx="3180">
                  <c:v>1.6247122999999999E-2</c:v>
                </c:pt>
                <c:pt idx="3181">
                  <c:v>2.1521241E-2</c:v>
                </c:pt>
                <c:pt idx="3182">
                  <c:v>1.5929419E-2</c:v>
                </c:pt>
                <c:pt idx="3183">
                  <c:v>1.8881538E-2</c:v>
                </c:pt>
                <c:pt idx="3184">
                  <c:v>2.5342586E-2</c:v>
                </c:pt>
                <c:pt idx="3185">
                  <c:v>2.3996608999999999E-2</c:v>
                </c:pt>
                <c:pt idx="3186">
                  <c:v>1.8879877E-2</c:v>
                </c:pt>
                <c:pt idx="3187">
                  <c:v>2.4250498999999998E-2</c:v>
                </c:pt>
                <c:pt idx="3188">
                  <c:v>1.3814075E-2</c:v>
                </c:pt>
                <c:pt idx="3189">
                  <c:v>1.3646006E-2</c:v>
                </c:pt>
                <c:pt idx="3190">
                  <c:v>8.2715779999999999E-3</c:v>
                </c:pt>
                <c:pt idx="3191">
                  <c:v>1.2059281E-2</c:v>
                </c:pt>
                <c:pt idx="3192">
                  <c:v>1.1152156E-2</c:v>
                </c:pt>
                <c:pt idx="3193">
                  <c:v>1.6133409000000001E-2</c:v>
                </c:pt>
                <c:pt idx="3194">
                  <c:v>1.4677924E-2</c:v>
                </c:pt>
                <c:pt idx="3195">
                  <c:v>1.2608553E-2</c:v>
                </c:pt>
                <c:pt idx="3196">
                  <c:v>1.299993E-2</c:v>
                </c:pt>
                <c:pt idx="3197">
                  <c:v>1.1300605999999999E-2</c:v>
                </c:pt>
                <c:pt idx="3198">
                  <c:v>1.0640795999999999E-2</c:v>
                </c:pt>
                <c:pt idx="3199">
                  <c:v>1.6598318000000001E-2</c:v>
                </c:pt>
                <c:pt idx="3200">
                  <c:v>1.2767746E-2</c:v>
                </c:pt>
                <c:pt idx="3201">
                  <c:v>1.0743112000000001E-2</c:v>
                </c:pt>
                <c:pt idx="3202">
                  <c:v>1.2798009000000001E-2</c:v>
                </c:pt>
                <c:pt idx="3203">
                  <c:v>1.6326367000000001E-2</c:v>
                </c:pt>
                <c:pt idx="3204">
                  <c:v>1.2947625000000001E-2</c:v>
                </c:pt>
                <c:pt idx="3205">
                  <c:v>1.136357E-2</c:v>
                </c:pt>
                <c:pt idx="3206">
                  <c:v>1.0184116E-2</c:v>
                </c:pt>
                <c:pt idx="3207">
                  <c:v>9.8512300000000007E-3</c:v>
                </c:pt>
                <c:pt idx="3208">
                  <c:v>9.6297459999999998E-3</c:v>
                </c:pt>
                <c:pt idx="3209">
                  <c:v>9.5150900000000004E-3</c:v>
                </c:pt>
                <c:pt idx="3210">
                  <c:v>1.1260528000000001E-2</c:v>
                </c:pt>
                <c:pt idx="3211">
                  <c:v>1.0404339E-2</c:v>
                </c:pt>
                <c:pt idx="3212">
                  <c:v>2.0595433999999999E-2</c:v>
                </c:pt>
                <c:pt idx="3213">
                  <c:v>1.3918474E-2</c:v>
                </c:pt>
                <c:pt idx="3214">
                  <c:v>1.3933353000000001E-2</c:v>
                </c:pt>
                <c:pt idx="3215">
                  <c:v>1.2200767E-2</c:v>
                </c:pt>
                <c:pt idx="3216">
                  <c:v>1.3747987999999999E-2</c:v>
                </c:pt>
                <c:pt idx="3217">
                  <c:v>1.1402785E-2</c:v>
                </c:pt>
                <c:pt idx="3218">
                  <c:v>1.3111552E-2</c:v>
                </c:pt>
                <c:pt idx="3219">
                  <c:v>1.1435203999999999E-2</c:v>
                </c:pt>
                <c:pt idx="3220">
                  <c:v>1.0634958E-2</c:v>
                </c:pt>
                <c:pt idx="3221">
                  <c:v>9.9600590000000003E-3</c:v>
                </c:pt>
                <c:pt idx="3222">
                  <c:v>1.2579310999999999E-2</c:v>
                </c:pt>
                <c:pt idx="3223">
                  <c:v>1.2805818E-2</c:v>
                </c:pt>
                <c:pt idx="3224">
                  <c:v>9.3100030000000007E-3</c:v>
                </c:pt>
                <c:pt idx="3225">
                  <c:v>8.2669279999999998E-3</c:v>
                </c:pt>
                <c:pt idx="3226">
                  <c:v>1.1935611E-2</c:v>
                </c:pt>
                <c:pt idx="3227">
                  <c:v>1.0656083E-2</c:v>
                </c:pt>
                <c:pt idx="3228">
                  <c:v>1.309809E-2</c:v>
                </c:pt>
                <c:pt idx="3229">
                  <c:v>1.1915512E-2</c:v>
                </c:pt>
                <c:pt idx="3230">
                  <c:v>1.1451934E-2</c:v>
                </c:pt>
                <c:pt idx="3231">
                  <c:v>1.0774205E-2</c:v>
                </c:pt>
                <c:pt idx="3232">
                  <c:v>1.3803070000000001E-2</c:v>
                </c:pt>
                <c:pt idx="3233">
                  <c:v>9.2154119999999992E-3</c:v>
                </c:pt>
                <c:pt idx="3234">
                  <c:v>1.0107201999999999E-2</c:v>
                </c:pt>
                <c:pt idx="3235">
                  <c:v>1.0587411999999999E-2</c:v>
                </c:pt>
                <c:pt idx="3236">
                  <c:v>9.8320060000000008E-3</c:v>
                </c:pt>
                <c:pt idx="3237">
                  <c:v>1.1071763E-2</c:v>
                </c:pt>
                <c:pt idx="3238">
                  <c:v>8.2777489999999992E-3</c:v>
                </c:pt>
                <c:pt idx="3239">
                  <c:v>1.0101097999999999E-2</c:v>
                </c:pt>
                <c:pt idx="3240">
                  <c:v>1.1451322E-2</c:v>
                </c:pt>
                <c:pt idx="3241">
                  <c:v>7.7394330000000004E-3</c:v>
                </c:pt>
                <c:pt idx="3242">
                  <c:v>8.2013929999999995E-3</c:v>
                </c:pt>
                <c:pt idx="3243">
                  <c:v>8.7490620000000002E-3</c:v>
                </c:pt>
                <c:pt idx="3244">
                  <c:v>1.0018320000000001E-2</c:v>
                </c:pt>
                <c:pt idx="3245">
                  <c:v>9.0902559999999997E-3</c:v>
                </c:pt>
                <c:pt idx="3246">
                  <c:v>8.4184159999999997E-3</c:v>
                </c:pt>
                <c:pt idx="3247">
                  <c:v>6.8196760000000002E-3</c:v>
                </c:pt>
                <c:pt idx="3248">
                  <c:v>8.4033779999999995E-3</c:v>
                </c:pt>
                <c:pt idx="3249">
                  <c:v>1.0329191E-2</c:v>
                </c:pt>
                <c:pt idx="3250">
                  <c:v>8.4978310000000008E-3</c:v>
                </c:pt>
                <c:pt idx="3251">
                  <c:v>9.6762010000000006E-3</c:v>
                </c:pt>
                <c:pt idx="3252">
                  <c:v>7.8843669999999998E-3</c:v>
                </c:pt>
                <c:pt idx="3253">
                  <c:v>8.4567779999999999E-3</c:v>
                </c:pt>
                <c:pt idx="3254">
                  <c:v>8.2930090000000005E-3</c:v>
                </c:pt>
                <c:pt idx="3255">
                  <c:v>9.3494819999999992E-3</c:v>
                </c:pt>
                <c:pt idx="3256">
                  <c:v>9.9625719999999994E-3</c:v>
                </c:pt>
                <c:pt idx="3257">
                  <c:v>1.1003147E-2</c:v>
                </c:pt>
                <c:pt idx="3258">
                  <c:v>8.6896230000000005E-3</c:v>
                </c:pt>
                <c:pt idx="3259">
                  <c:v>9.0221320000000004E-3</c:v>
                </c:pt>
                <c:pt idx="3260">
                  <c:v>9.3759220000000001E-3</c:v>
                </c:pt>
                <c:pt idx="3261">
                  <c:v>9.2314920000000009E-3</c:v>
                </c:pt>
                <c:pt idx="3262">
                  <c:v>9.3172120000000001E-3</c:v>
                </c:pt>
                <c:pt idx="3263">
                  <c:v>9.4852359999999993E-3</c:v>
                </c:pt>
                <c:pt idx="3264">
                  <c:v>7.8776650000000007E-3</c:v>
                </c:pt>
                <c:pt idx="3265">
                  <c:v>8.7904239999999998E-3</c:v>
                </c:pt>
                <c:pt idx="3266">
                  <c:v>8.597515E-3</c:v>
                </c:pt>
                <c:pt idx="3267">
                  <c:v>8.0332900000000002E-3</c:v>
                </c:pt>
                <c:pt idx="3268">
                  <c:v>9.7225349999999992E-3</c:v>
                </c:pt>
                <c:pt idx="3269">
                  <c:v>1.8411503999999999E-2</c:v>
                </c:pt>
                <c:pt idx="3270">
                  <c:v>1.0106369E-2</c:v>
                </c:pt>
                <c:pt idx="3271">
                  <c:v>1.0687476E-2</c:v>
                </c:pt>
                <c:pt idx="3272">
                  <c:v>8.749003E-3</c:v>
                </c:pt>
                <c:pt idx="3273">
                  <c:v>9.8605989999999994E-3</c:v>
                </c:pt>
                <c:pt idx="3274">
                  <c:v>1.0388019E-2</c:v>
                </c:pt>
                <c:pt idx="3275">
                  <c:v>1.0467662000000001E-2</c:v>
                </c:pt>
                <c:pt idx="3276">
                  <c:v>9.4368200000000003E-3</c:v>
                </c:pt>
                <c:pt idx="3277">
                  <c:v>9.5918870000000003E-3</c:v>
                </c:pt>
                <c:pt idx="3278">
                  <c:v>1.0357697000000001E-2</c:v>
                </c:pt>
                <c:pt idx="3279">
                  <c:v>1.1431998000000001E-2</c:v>
                </c:pt>
                <c:pt idx="3280">
                  <c:v>9.0646330000000008E-3</c:v>
                </c:pt>
                <c:pt idx="3281">
                  <c:v>9.7377179999999994E-3</c:v>
                </c:pt>
                <c:pt idx="3282">
                  <c:v>1.0369249000000001E-2</c:v>
                </c:pt>
                <c:pt idx="3283">
                  <c:v>9.3198039999999992E-3</c:v>
                </c:pt>
                <c:pt idx="3284">
                  <c:v>8.3591719999999998E-3</c:v>
                </c:pt>
                <c:pt idx="3285">
                  <c:v>8.7775460000000007E-3</c:v>
                </c:pt>
                <c:pt idx="3286">
                  <c:v>1.1685153E-2</c:v>
                </c:pt>
                <c:pt idx="3287">
                  <c:v>9.0786029999999993E-3</c:v>
                </c:pt>
                <c:pt idx="3288">
                  <c:v>8.3228580000000007E-3</c:v>
                </c:pt>
                <c:pt idx="3289">
                  <c:v>7.3270660000000001E-3</c:v>
                </c:pt>
                <c:pt idx="3290">
                  <c:v>7.9614809999999994E-3</c:v>
                </c:pt>
                <c:pt idx="3291">
                  <c:v>7.8912319999999998E-3</c:v>
                </c:pt>
                <c:pt idx="3292">
                  <c:v>1.2040205E-2</c:v>
                </c:pt>
                <c:pt idx="3293">
                  <c:v>1.3507211999999999E-2</c:v>
                </c:pt>
                <c:pt idx="3294">
                  <c:v>1.7547353000000002E-2</c:v>
                </c:pt>
                <c:pt idx="3295">
                  <c:v>1.0877589999999999E-2</c:v>
                </c:pt>
                <c:pt idx="3296">
                  <c:v>9.8788039999999997E-3</c:v>
                </c:pt>
                <c:pt idx="3297">
                  <c:v>7.5465269999999999E-3</c:v>
                </c:pt>
                <c:pt idx="3298">
                  <c:v>8.9200730000000006E-3</c:v>
                </c:pt>
                <c:pt idx="3299">
                  <c:v>7.5757159999999997E-3</c:v>
                </c:pt>
                <c:pt idx="3300">
                  <c:v>9.7507129999999994E-3</c:v>
                </c:pt>
                <c:pt idx="3301">
                  <c:v>1.1050313000000001E-2</c:v>
                </c:pt>
                <c:pt idx="3302">
                  <c:v>8.0606959999999991E-3</c:v>
                </c:pt>
                <c:pt idx="3303">
                  <c:v>8.8780600000000001E-3</c:v>
                </c:pt>
                <c:pt idx="3304">
                  <c:v>1.0329504999999999E-2</c:v>
                </c:pt>
                <c:pt idx="3305">
                  <c:v>8.6887679999999995E-3</c:v>
                </c:pt>
                <c:pt idx="3306">
                  <c:v>1.0482198999999999E-2</c:v>
                </c:pt>
                <c:pt idx="3307">
                  <c:v>7.7187389999999996E-3</c:v>
                </c:pt>
                <c:pt idx="3308">
                  <c:v>8.7230580000000005E-3</c:v>
                </c:pt>
                <c:pt idx="3309">
                  <c:v>6.72852E-3</c:v>
                </c:pt>
                <c:pt idx="3310">
                  <c:v>7.5865469999999999E-3</c:v>
                </c:pt>
                <c:pt idx="3311">
                  <c:v>8.4549829999999992E-3</c:v>
                </c:pt>
                <c:pt idx="3312">
                  <c:v>7.5572399999999998E-3</c:v>
                </c:pt>
                <c:pt idx="3313">
                  <c:v>7.9887469999999992E-3</c:v>
                </c:pt>
                <c:pt idx="3314">
                  <c:v>8.5372020000000007E-3</c:v>
                </c:pt>
                <c:pt idx="3315">
                  <c:v>5.9018350000000002E-3</c:v>
                </c:pt>
                <c:pt idx="3316">
                  <c:v>7.0987660000000003E-3</c:v>
                </c:pt>
                <c:pt idx="3317">
                  <c:v>7.2816590000000002E-3</c:v>
                </c:pt>
                <c:pt idx="3318">
                  <c:v>1.0774687999999999E-2</c:v>
                </c:pt>
                <c:pt idx="3319">
                  <c:v>8.3782660000000005E-3</c:v>
                </c:pt>
                <c:pt idx="3320">
                  <c:v>7.5145430000000003E-3</c:v>
                </c:pt>
                <c:pt idx="3321">
                  <c:v>7.5940160000000003E-3</c:v>
                </c:pt>
                <c:pt idx="3322">
                  <c:v>8.3951410000000001E-3</c:v>
                </c:pt>
                <c:pt idx="3323">
                  <c:v>7.0930020000000002E-3</c:v>
                </c:pt>
                <c:pt idx="3324">
                  <c:v>7.343942E-3</c:v>
                </c:pt>
                <c:pt idx="3325">
                  <c:v>7.0298340000000004E-3</c:v>
                </c:pt>
                <c:pt idx="3326">
                  <c:v>7.1077270000000003E-3</c:v>
                </c:pt>
                <c:pt idx="3327">
                  <c:v>7.3976049999999998E-3</c:v>
                </c:pt>
                <c:pt idx="3328">
                  <c:v>7.1726769999999997E-3</c:v>
                </c:pt>
                <c:pt idx="3329">
                  <c:v>6.3796269999999997E-3</c:v>
                </c:pt>
                <c:pt idx="3330">
                  <c:v>6.0712739999999998E-3</c:v>
                </c:pt>
                <c:pt idx="3331">
                  <c:v>7.6519429999999996E-3</c:v>
                </c:pt>
                <c:pt idx="3332">
                  <c:v>6.6937309999999996E-3</c:v>
                </c:pt>
                <c:pt idx="3333">
                  <c:v>5.6992459999999998E-3</c:v>
                </c:pt>
                <c:pt idx="3334">
                  <c:v>7.8172320000000003E-3</c:v>
                </c:pt>
                <c:pt idx="3335">
                  <c:v>9.8372400000000006E-3</c:v>
                </c:pt>
                <c:pt idx="3336">
                  <c:v>7.2250530000000004E-3</c:v>
                </c:pt>
                <c:pt idx="3337">
                  <c:v>1.2365956000000001E-2</c:v>
                </c:pt>
                <c:pt idx="3338">
                  <c:v>7.7214029999999999E-3</c:v>
                </c:pt>
                <c:pt idx="3339">
                  <c:v>1.0406031E-2</c:v>
                </c:pt>
                <c:pt idx="3340">
                  <c:v>7.6497869999999999E-3</c:v>
                </c:pt>
                <c:pt idx="3341">
                  <c:v>9.4423679999999996E-3</c:v>
                </c:pt>
                <c:pt idx="3342">
                  <c:v>1.1081921999999999E-2</c:v>
                </c:pt>
                <c:pt idx="3343">
                  <c:v>7.5364000000000004E-3</c:v>
                </c:pt>
                <c:pt idx="3344">
                  <c:v>7.3671839999999997E-3</c:v>
                </c:pt>
                <c:pt idx="3345">
                  <c:v>1.3044887E-2</c:v>
                </c:pt>
                <c:pt idx="3346">
                  <c:v>1.048963E-2</c:v>
                </c:pt>
                <c:pt idx="3347">
                  <c:v>7.6413640000000003E-3</c:v>
                </c:pt>
                <c:pt idx="3348">
                  <c:v>7.412447E-3</c:v>
                </c:pt>
                <c:pt idx="3349">
                  <c:v>8.3617250000000004E-3</c:v>
                </c:pt>
                <c:pt idx="3350">
                  <c:v>7.9825759999999999E-3</c:v>
                </c:pt>
                <c:pt idx="3351">
                  <c:v>1.0963288E-2</c:v>
                </c:pt>
                <c:pt idx="3352">
                  <c:v>1.5370862000000001E-2</c:v>
                </c:pt>
                <c:pt idx="3353">
                  <c:v>1.2588993999999999E-2</c:v>
                </c:pt>
                <c:pt idx="3354">
                  <c:v>1.1765279E-2</c:v>
                </c:pt>
                <c:pt idx="3355">
                  <c:v>1.0923843000000001E-2</c:v>
                </c:pt>
                <c:pt idx="3356">
                  <c:v>9.987882E-3</c:v>
                </c:pt>
                <c:pt idx="3357">
                  <c:v>9.5161550000000001E-3</c:v>
                </c:pt>
                <c:pt idx="3358">
                  <c:v>1.1723508000000001E-2</c:v>
                </c:pt>
                <c:pt idx="3359">
                  <c:v>1.156009E-2</c:v>
                </c:pt>
                <c:pt idx="3360">
                  <c:v>1.3701468E-2</c:v>
                </c:pt>
                <c:pt idx="3361">
                  <c:v>1.6429421E-2</c:v>
                </c:pt>
                <c:pt idx="3362">
                  <c:v>1.1254625000000001E-2</c:v>
                </c:pt>
                <c:pt idx="3363">
                  <c:v>9.2467090000000005E-3</c:v>
                </c:pt>
                <c:pt idx="3364">
                  <c:v>1.0081256E-2</c:v>
                </c:pt>
                <c:pt idx="3365">
                  <c:v>8.3385720000000007E-3</c:v>
                </c:pt>
                <c:pt idx="3366">
                  <c:v>9.0752490000000005E-3</c:v>
                </c:pt>
                <c:pt idx="3367">
                  <c:v>9.4104180000000003E-3</c:v>
                </c:pt>
                <c:pt idx="3368">
                  <c:v>1.2321436999999999E-2</c:v>
                </c:pt>
                <c:pt idx="3369">
                  <c:v>1.0905402999999999E-2</c:v>
                </c:pt>
                <c:pt idx="3370">
                  <c:v>9.7510140000000006E-3</c:v>
                </c:pt>
                <c:pt idx="3371">
                  <c:v>1.2130965E-2</c:v>
                </c:pt>
                <c:pt idx="3372">
                  <c:v>1.1000370000000001E-2</c:v>
                </c:pt>
                <c:pt idx="3373">
                  <c:v>1.074749E-2</c:v>
                </c:pt>
                <c:pt idx="3374">
                  <c:v>8.7243219999999996E-3</c:v>
                </c:pt>
                <c:pt idx="3375">
                  <c:v>6.713063E-3</c:v>
                </c:pt>
                <c:pt idx="3376">
                  <c:v>9.308663E-3</c:v>
                </c:pt>
                <c:pt idx="3377">
                  <c:v>6.5465460000000003E-3</c:v>
                </c:pt>
                <c:pt idx="3378">
                  <c:v>6.0894349999999998E-3</c:v>
                </c:pt>
                <c:pt idx="3379">
                  <c:v>7.7136679999999999E-3</c:v>
                </c:pt>
                <c:pt idx="3380">
                  <c:v>8.2372460000000002E-3</c:v>
                </c:pt>
                <c:pt idx="3381">
                  <c:v>7.6002070000000003E-3</c:v>
                </c:pt>
                <c:pt idx="3382">
                  <c:v>1.3117630999999999E-2</c:v>
                </c:pt>
                <c:pt idx="3383">
                  <c:v>8.4856789999999994E-3</c:v>
                </c:pt>
                <c:pt idx="3384">
                  <c:v>7.9489139999999996E-3</c:v>
                </c:pt>
                <c:pt idx="3385">
                  <c:v>8.3015099999999998E-3</c:v>
                </c:pt>
                <c:pt idx="3386">
                  <c:v>5.6482779999999996E-3</c:v>
                </c:pt>
                <c:pt idx="3387">
                  <c:v>6.655195E-3</c:v>
                </c:pt>
                <c:pt idx="3388">
                  <c:v>5.1977610000000004E-3</c:v>
                </c:pt>
                <c:pt idx="3389">
                  <c:v>5.3877869999999998E-3</c:v>
                </c:pt>
                <c:pt idx="3390">
                  <c:v>9.295378E-3</c:v>
                </c:pt>
                <c:pt idx="3391">
                  <c:v>8.5035149999999997E-3</c:v>
                </c:pt>
                <c:pt idx="3392">
                  <c:v>6.9212249999999996E-3</c:v>
                </c:pt>
                <c:pt idx="3393">
                  <c:v>6.6613189999999997E-3</c:v>
                </c:pt>
                <c:pt idx="3394">
                  <c:v>6.0127929999999998E-3</c:v>
                </c:pt>
                <c:pt idx="3395">
                  <c:v>7.7011789999999998E-3</c:v>
                </c:pt>
                <c:pt idx="3396">
                  <c:v>8.5741580000000001E-3</c:v>
                </c:pt>
                <c:pt idx="3397">
                  <c:v>6.3613109999999997E-3</c:v>
                </c:pt>
                <c:pt idx="3398">
                  <c:v>8.4034120000000007E-3</c:v>
                </c:pt>
                <c:pt idx="3399">
                  <c:v>5.983927E-3</c:v>
                </c:pt>
                <c:pt idx="3400">
                  <c:v>8.4657129999999997E-3</c:v>
                </c:pt>
                <c:pt idx="3401">
                  <c:v>7.6503789999999997E-3</c:v>
                </c:pt>
                <c:pt idx="3402">
                  <c:v>7.3582170000000002E-3</c:v>
                </c:pt>
                <c:pt idx="3403">
                  <c:v>7.4690609999999999E-3</c:v>
                </c:pt>
                <c:pt idx="3404">
                  <c:v>1.0444824E-2</c:v>
                </c:pt>
                <c:pt idx="3405">
                  <c:v>1.0115432000000001E-2</c:v>
                </c:pt>
                <c:pt idx="3406">
                  <c:v>8.5536450000000003E-3</c:v>
                </c:pt>
                <c:pt idx="3407">
                  <c:v>1.1172512000000001E-2</c:v>
                </c:pt>
                <c:pt idx="3408">
                  <c:v>8.4234029999999994E-3</c:v>
                </c:pt>
                <c:pt idx="3409">
                  <c:v>7.0773570000000003E-3</c:v>
                </c:pt>
                <c:pt idx="3410">
                  <c:v>6.7433199999999997E-3</c:v>
                </c:pt>
                <c:pt idx="3411">
                  <c:v>8.7928859999999998E-3</c:v>
                </c:pt>
                <c:pt idx="3412">
                  <c:v>7.4898810000000003E-3</c:v>
                </c:pt>
                <c:pt idx="3413">
                  <c:v>7.510994E-3</c:v>
                </c:pt>
                <c:pt idx="3414">
                  <c:v>9.4484019999999998E-3</c:v>
                </c:pt>
                <c:pt idx="3415">
                  <c:v>9.005351E-3</c:v>
                </c:pt>
                <c:pt idx="3416">
                  <c:v>6.8537759999999998E-3</c:v>
                </c:pt>
                <c:pt idx="3417">
                  <c:v>5.6451519999999996E-3</c:v>
                </c:pt>
                <c:pt idx="3418">
                  <c:v>7.598034E-3</c:v>
                </c:pt>
                <c:pt idx="3419">
                  <c:v>8.7712390000000001E-3</c:v>
                </c:pt>
                <c:pt idx="3420">
                  <c:v>8.3939349999999999E-3</c:v>
                </c:pt>
                <c:pt idx="3421">
                  <c:v>8.1508789999999998E-3</c:v>
                </c:pt>
                <c:pt idx="3422">
                  <c:v>6.6592650000000001E-3</c:v>
                </c:pt>
                <c:pt idx="3423">
                  <c:v>9.1270410000000007E-3</c:v>
                </c:pt>
                <c:pt idx="3424">
                  <c:v>8.3043270000000002E-3</c:v>
                </c:pt>
                <c:pt idx="3425">
                  <c:v>1.0169199E-2</c:v>
                </c:pt>
                <c:pt idx="3426">
                  <c:v>1.2690748999999999E-2</c:v>
                </c:pt>
                <c:pt idx="3427">
                  <c:v>1.6638901000000001E-2</c:v>
                </c:pt>
                <c:pt idx="3428">
                  <c:v>1.6105812000000001E-2</c:v>
                </c:pt>
                <c:pt idx="3429">
                  <c:v>1.4792E-2</c:v>
                </c:pt>
                <c:pt idx="3430">
                  <c:v>1.9050661999999999E-2</c:v>
                </c:pt>
                <c:pt idx="3431">
                  <c:v>1.8558792000000001E-2</c:v>
                </c:pt>
                <c:pt idx="3432">
                  <c:v>1.5012566999999999E-2</c:v>
                </c:pt>
                <c:pt idx="3433">
                  <c:v>1.7915472000000002E-2</c:v>
                </c:pt>
                <c:pt idx="3434">
                  <c:v>1.8933353E-2</c:v>
                </c:pt>
                <c:pt idx="3435">
                  <c:v>3.4741388999999998E-2</c:v>
                </c:pt>
                <c:pt idx="3436">
                  <c:v>3.6387751000000003E-2</c:v>
                </c:pt>
                <c:pt idx="3437">
                  <c:v>2.9618531999999999E-2</c:v>
                </c:pt>
                <c:pt idx="3438">
                  <c:v>1.9126763000000001E-2</c:v>
                </c:pt>
                <c:pt idx="3439">
                  <c:v>2.1122513999999998E-2</c:v>
                </c:pt>
                <c:pt idx="3440">
                  <c:v>3.2803232000000002E-2</c:v>
                </c:pt>
                <c:pt idx="3441">
                  <c:v>2.3550425999999999E-2</c:v>
                </c:pt>
                <c:pt idx="3442">
                  <c:v>3.0969908000000001E-2</c:v>
                </c:pt>
                <c:pt idx="3443">
                  <c:v>3.0392121000000001E-2</c:v>
                </c:pt>
                <c:pt idx="3444">
                  <c:v>3.0455705E-2</c:v>
                </c:pt>
                <c:pt idx="3445">
                  <c:v>2.3173316999999999E-2</c:v>
                </c:pt>
                <c:pt idx="3446">
                  <c:v>2.6059833000000001E-2</c:v>
                </c:pt>
                <c:pt idx="3447">
                  <c:v>2.2626265999999999E-2</c:v>
                </c:pt>
                <c:pt idx="3448">
                  <c:v>1.8948441999999999E-2</c:v>
                </c:pt>
                <c:pt idx="3449">
                  <c:v>1.7552102999999999E-2</c:v>
                </c:pt>
                <c:pt idx="3450">
                  <c:v>2.2240445000000001E-2</c:v>
                </c:pt>
                <c:pt idx="3451">
                  <c:v>1.7751973000000001E-2</c:v>
                </c:pt>
                <c:pt idx="3452">
                  <c:v>1.7464922000000001E-2</c:v>
                </c:pt>
                <c:pt idx="3453">
                  <c:v>1.8772436999999999E-2</c:v>
                </c:pt>
                <c:pt idx="3454">
                  <c:v>1.6791404999999999E-2</c:v>
                </c:pt>
                <c:pt idx="3455">
                  <c:v>1.9916604000000001E-2</c:v>
                </c:pt>
                <c:pt idx="3456">
                  <c:v>1.7353248000000002E-2</c:v>
                </c:pt>
                <c:pt idx="3457">
                  <c:v>1.4053456000000001E-2</c:v>
                </c:pt>
                <c:pt idx="3458">
                  <c:v>1.3238048000000001E-2</c:v>
                </c:pt>
                <c:pt idx="3459">
                  <c:v>2.2379030000000001E-2</c:v>
                </c:pt>
                <c:pt idx="3460">
                  <c:v>2.7263887000000001E-2</c:v>
                </c:pt>
                <c:pt idx="3461">
                  <c:v>2.2128668000000001E-2</c:v>
                </c:pt>
                <c:pt idx="3462">
                  <c:v>2.222967E-2</c:v>
                </c:pt>
                <c:pt idx="3463">
                  <c:v>2.5043487E-2</c:v>
                </c:pt>
                <c:pt idx="3464">
                  <c:v>2.6223270999999999E-2</c:v>
                </c:pt>
                <c:pt idx="3465">
                  <c:v>1.7698543000000001E-2</c:v>
                </c:pt>
                <c:pt idx="3466">
                  <c:v>1.8674805999999999E-2</c:v>
                </c:pt>
                <c:pt idx="3467">
                  <c:v>1.6897677999999999E-2</c:v>
                </c:pt>
                <c:pt idx="3468">
                  <c:v>1.3102341999999999E-2</c:v>
                </c:pt>
                <c:pt idx="3469">
                  <c:v>1.8170606999999998E-2</c:v>
                </c:pt>
                <c:pt idx="3470">
                  <c:v>2.0269532E-2</c:v>
                </c:pt>
                <c:pt idx="3471">
                  <c:v>1.7846231000000001E-2</c:v>
                </c:pt>
                <c:pt idx="3472">
                  <c:v>1.3959971E-2</c:v>
                </c:pt>
                <c:pt idx="3473">
                  <c:v>1.3521470000000001E-2</c:v>
                </c:pt>
                <c:pt idx="3474">
                  <c:v>1.7795223999999998E-2</c:v>
                </c:pt>
                <c:pt idx="3475">
                  <c:v>1.4959775E-2</c:v>
                </c:pt>
                <c:pt idx="3476">
                  <c:v>1.4733721E-2</c:v>
                </c:pt>
                <c:pt idx="3477">
                  <c:v>1.5978112999999999E-2</c:v>
                </c:pt>
                <c:pt idx="3478">
                  <c:v>1.4354815999999999E-2</c:v>
                </c:pt>
                <c:pt idx="3479">
                  <c:v>1.5488047E-2</c:v>
                </c:pt>
                <c:pt idx="3480">
                  <c:v>1.1871372E-2</c:v>
                </c:pt>
                <c:pt idx="3481">
                  <c:v>2.0281641999999999E-2</c:v>
                </c:pt>
                <c:pt idx="3482">
                  <c:v>1.3863657E-2</c:v>
                </c:pt>
                <c:pt idx="3483">
                  <c:v>1.2012632000000001E-2</c:v>
                </c:pt>
                <c:pt idx="3484">
                  <c:v>1.0986957E-2</c:v>
                </c:pt>
                <c:pt idx="3485">
                  <c:v>1.5119631999999999E-2</c:v>
                </c:pt>
                <c:pt idx="3486">
                  <c:v>1.0361138000000001E-2</c:v>
                </c:pt>
                <c:pt idx="3487">
                  <c:v>1.0331547E-2</c:v>
                </c:pt>
                <c:pt idx="3488">
                  <c:v>1.1078678999999999E-2</c:v>
                </c:pt>
                <c:pt idx="3489">
                  <c:v>1.139305E-2</c:v>
                </c:pt>
                <c:pt idx="3490">
                  <c:v>1.2837342999999999E-2</c:v>
                </c:pt>
                <c:pt idx="3491">
                  <c:v>1.1576787999999999E-2</c:v>
                </c:pt>
                <c:pt idx="3492">
                  <c:v>1.2156052000000001E-2</c:v>
                </c:pt>
                <c:pt idx="3493">
                  <c:v>1.0729759E-2</c:v>
                </c:pt>
                <c:pt idx="3494">
                  <c:v>1.0905817E-2</c:v>
                </c:pt>
                <c:pt idx="3495">
                  <c:v>8.9772380000000002E-3</c:v>
                </c:pt>
                <c:pt idx="3496">
                  <c:v>1.1892939E-2</c:v>
                </c:pt>
                <c:pt idx="3497">
                  <c:v>1.2921936E-2</c:v>
                </c:pt>
                <c:pt idx="3498">
                  <c:v>1.0352365000000001E-2</c:v>
                </c:pt>
                <c:pt idx="3499">
                  <c:v>1.0200608E-2</c:v>
                </c:pt>
                <c:pt idx="3500">
                  <c:v>9.7737180000000007E-3</c:v>
                </c:pt>
                <c:pt idx="3501">
                  <c:v>1.0905959E-2</c:v>
                </c:pt>
                <c:pt idx="3502">
                  <c:v>9.2480010000000005E-3</c:v>
                </c:pt>
                <c:pt idx="3503">
                  <c:v>9.3999050000000001E-3</c:v>
                </c:pt>
                <c:pt idx="3504">
                  <c:v>8.8118099999999998E-3</c:v>
                </c:pt>
                <c:pt idx="3505">
                  <c:v>9.6351030000000008E-3</c:v>
                </c:pt>
                <c:pt idx="3506">
                  <c:v>1.5224348E-2</c:v>
                </c:pt>
                <c:pt idx="3507">
                  <c:v>1.2429414E-2</c:v>
                </c:pt>
                <c:pt idx="3508">
                  <c:v>9.8940989999999999E-3</c:v>
                </c:pt>
                <c:pt idx="3509">
                  <c:v>1.0497618E-2</c:v>
                </c:pt>
                <c:pt idx="3510">
                  <c:v>7.716746E-3</c:v>
                </c:pt>
                <c:pt idx="3511">
                  <c:v>7.5527090000000003E-3</c:v>
                </c:pt>
                <c:pt idx="3512">
                  <c:v>1.3378727999999999E-2</c:v>
                </c:pt>
                <c:pt idx="3513">
                  <c:v>1.7639789999999999E-2</c:v>
                </c:pt>
                <c:pt idx="3514">
                  <c:v>1.6180547E-2</c:v>
                </c:pt>
                <c:pt idx="3515">
                  <c:v>1.0626187E-2</c:v>
                </c:pt>
                <c:pt idx="3516">
                  <c:v>1.3088906000000001E-2</c:v>
                </c:pt>
                <c:pt idx="3517">
                  <c:v>8.7116969999999991E-3</c:v>
                </c:pt>
                <c:pt idx="3518">
                  <c:v>1.1281025E-2</c:v>
                </c:pt>
                <c:pt idx="3519">
                  <c:v>9.0657610000000003E-3</c:v>
                </c:pt>
                <c:pt idx="3520">
                  <c:v>1.7028449000000001E-2</c:v>
                </c:pt>
                <c:pt idx="3521">
                  <c:v>1.4093374000000001E-2</c:v>
                </c:pt>
                <c:pt idx="3522">
                  <c:v>1.1989477E-2</c:v>
                </c:pt>
                <c:pt idx="3523">
                  <c:v>1.0715295E-2</c:v>
                </c:pt>
                <c:pt idx="3524">
                  <c:v>8.2517140000000003E-3</c:v>
                </c:pt>
                <c:pt idx="3525">
                  <c:v>1.1496941E-2</c:v>
                </c:pt>
                <c:pt idx="3526">
                  <c:v>8.0427499999999996E-3</c:v>
                </c:pt>
                <c:pt idx="3527">
                  <c:v>7.7657569999999999E-3</c:v>
                </c:pt>
                <c:pt idx="3528">
                  <c:v>8.1238419999999992E-3</c:v>
                </c:pt>
                <c:pt idx="3529">
                  <c:v>8.3849749999999994E-3</c:v>
                </c:pt>
                <c:pt idx="3530">
                  <c:v>1.0934769E-2</c:v>
                </c:pt>
                <c:pt idx="3531">
                  <c:v>8.9109670000000005E-3</c:v>
                </c:pt>
                <c:pt idx="3532">
                  <c:v>1.0895396999999999E-2</c:v>
                </c:pt>
                <c:pt idx="3533">
                  <c:v>1.0011749E-2</c:v>
                </c:pt>
                <c:pt idx="3534">
                  <c:v>9.6565209999999995E-3</c:v>
                </c:pt>
                <c:pt idx="3535">
                  <c:v>1.1560920000000001E-2</c:v>
                </c:pt>
                <c:pt idx="3536">
                  <c:v>8.7199310000000002E-3</c:v>
                </c:pt>
                <c:pt idx="3537">
                  <c:v>1.0498542E-2</c:v>
                </c:pt>
                <c:pt idx="3538">
                  <c:v>1.1366156000000001E-2</c:v>
                </c:pt>
                <c:pt idx="3539">
                  <c:v>9.7979409999999992E-3</c:v>
                </c:pt>
                <c:pt idx="3540">
                  <c:v>9.5997600000000006E-3</c:v>
                </c:pt>
                <c:pt idx="3541">
                  <c:v>1.0619706E-2</c:v>
                </c:pt>
                <c:pt idx="3542">
                  <c:v>9.4457880000000001E-3</c:v>
                </c:pt>
                <c:pt idx="3543">
                  <c:v>9.5972460000000002E-3</c:v>
                </c:pt>
                <c:pt idx="3544">
                  <c:v>1.2778014000000001E-2</c:v>
                </c:pt>
                <c:pt idx="3545">
                  <c:v>1.1968444E-2</c:v>
                </c:pt>
                <c:pt idx="3546">
                  <c:v>1.4834511999999999E-2</c:v>
                </c:pt>
                <c:pt idx="3547">
                  <c:v>1.013115E-2</c:v>
                </c:pt>
                <c:pt idx="3548">
                  <c:v>1.0445434E-2</c:v>
                </c:pt>
                <c:pt idx="3549">
                  <c:v>1.001151E-2</c:v>
                </c:pt>
                <c:pt idx="3550">
                  <c:v>9.5343600000000004E-3</c:v>
                </c:pt>
                <c:pt idx="3551">
                  <c:v>8.6303820000000007E-3</c:v>
                </c:pt>
                <c:pt idx="3552">
                  <c:v>1.0415614E-2</c:v>
                </c:pt>
                <c:pt idx="3553">
                  <c:v>1.0248344E-2</c:v>
                </c:pt>
                <c:pt idx="3554">
                  <c:v>1.0412678E-2</c:v>
                </c:pt>
                <c:pt idx="3555">
                  <c:v>1.6016368E-2</c:v>
                </c:pt>
                <c:pt idx="3556">
                  <c:v>1.2046568000000001E-2</c:v>
                </c:pt>
                <c:pt idx="3557">
                  <c:v>9.5928420000000007E-3</c:v>
                </c:pt>
                <c:pt idx="3558">
                  <c:v>1.0085274E-2</c:v>
                </c:pt>
                <c:pt idx="3559">
                  <c:v>1.0138962E-2</c:v>
                </c:pt>
                <c:pt idx="3560">
                  <c:v>1.0914437000000001E-2</c:v>
                </c:pt>
                <c:pt idx="3561">
                  <c:v>1.4163510000000001E-2</c:v>
                </c:pt>
                <c:pt idx="3562">
                  <c:v>1.0340751E-2</c:v>
                </c:pt>
                <c:pt idx="3563">
                  <c:v>1.0166026E-2</c:v>
                </c:pt>
                <c:pt idx="3564">
                  <c:v>1.2884562E-2</c:v>
                </c:pt>
                <c:pt idx="3565">
                  <c:v>1.3286164E-2</c:v>
                </c:pt>
                <c:pt idx="3566">
                  <c:v>1.2205815E-2</c:v>
                </c:pt>
                <c:pt idx="3567">
                  <c:v>1.4543454000000001E-2</c:v>
                </c:pt>
                <c:pt idx="3568">
                  <c:v>2.0161242999999999E-2</c:v>
                </c:pt>
                <c:pt idx="3569">
                  <c:v>1.3909714E-2</c:v>
                </c:pt>
                <c:pt idx="3570">
                  <c:v>1.6270375E-2</c:v>
                </c:pt>
                <c:pt idx="3571">
                  <c:v>1.4357271E-2</c:v>
                </c:pt>
                <c:pt idx="3572">
                  <c:v>1.491547E-2</c:v>
                </c:pt>
                <c:pt idx="3573">
                  <c:v>1.1956039999999999E-2</c:v>
                </c:pt>
                <c:pt idx="3574">
                  <c:v>1.2016983E-2</c:v>
                </c:pt>
                <c:pt idx="3575">
                  <c:v>1.2412467E-2</c:v>
                </c:pt>
                <c:pt idx="3576">
                  <c:v>9.3894619999999995E-3</c:v>
                </c:pt>
                <c:pt idx="3577">
                  <c:v>9.3314269999999998E-3</c:v>
                </c:pt>
                <c:pt idx="3578">
                  <c:v>1.1357288E-2</c:v>
                </c:pt>
                <c:pt idx="3579">
                  <c:v>1.0365986000000001E-2</c:v>
                </c:pt>
                <c:pt idx="3580">
                  <c:v>1.0319847E-2</c:v>
                </c:pt>
                <c:pt idx="3581">
                  <c:v>1.0223718999999999E-2</c:v>
                </c:pt>
                <c:pt idx="3582">
                  <c:v>1.1730343000000001E-2</c:v>
                </c:pt>
                <c:pt idx="3583">
                  <c:v>8.3780120000000007E-3</c:v>
                </c:pt>
                <c:pt idx="3584">
                  <c:v>7.1172600000000003E-3</c:v>
                </c:pt>
                <c:pt idx="3585">
                  <c:v>8.1940299999999997E-3</c:v>
                </c:pt>
                <c:pt idx="3586">
                  <c:v>8.2367699999999992E-3</c:v>
                </c:pt>
                <c:pt idx="3587">
                  <c:v>8.57255E-3</c:v>
                </c:pt>
                <c:pt idx="3588">
                  <c:v>1.0055523E-2</c:v>
                </c:pt>
                <c:pt idx="3589">
                  <c:v>1.2961075000000001E-2</c:v>
                </c:pt>
                <c:pt idx="3590">
                  <c:v>8.9922690000000007E-3</c:v>
                </c:pt>
                <c:pt idx="3591">
                  <c:v>8.7944770000000002E-3</c:v>
                </c:pt>
                <c:pt idx="3592">
                  <c:v>6.989828E-3</c:v>
                </c:pt>
                <c:pt idx="3593">
                  <c:v>8.6016660000000009E-3</c:v>
                </c:pt>
                <c:pt idx="3594">
                  <c:v>7.9857690000000002E-3</c:v>
                </c:pt>
                <c:pt idx="3595">
                  <c:v>7.2486979999999996E-3</c:v>
                </c:pt>
                <c:pt idx="3596">
                  <c:v>7.7745130000000003E-3</c:v>
                </c:pt>
                <c:pt idx="3597">
                  <c:v>7.7376600000000004E-3</c:v>
                </c:pt>
                <c:pt idx="3598">
                  <c:v>8.4589569999999996E-3</c:v>
                </c:pt>
                <c:pt idx="3599">
                  <c:v>1.0315658E-2</c:v>
                </c:pt>
                <c:pt idx="3600">
                  <c:v>9.1105079999999998E-3</c:v>
                </c:pt>
                <c:pt idx="3601">
                  <c:v>8.5837799999999992E-3</c:v>
                </c:pt>
                <c:pt idx="3602">
                  <c:v>9.6007780000000008E-3</c:v>
                </c:pt>
                <c:pt idx="3603">
                  <c:v>1.0083224999999999E-2</c:v>
                </c:pt>
                <c:pt idx="3604">
                  <c:v>1.0671013999999999E-2</c:v>
                </c:pt>
                <c:pt idx="3605">
                  <c:v>1.1858517000000001E-2</c:v>
                </c:pt>
                <c:pt idx="3606">
                  <c:v>1.0330026000000001E-2</c:v>
                </c:pt>
                <c:pt idx="3607">
                  <c:v>8.9908590000000004E-3</c:v>
                </c:pt>
                <c:pt idx="3608">
                  <c:v>1.0120235999999999E-2</c:v>
                </c:pt>
                <c:pt idx="3609">
                  <c:v>9.8967770000000007E-3</c:v>
                </c:pt>
                <c:pt idx="3610">
                  <c:v>8.1319470000000005E-3</c:v>
                </c:pt>
                <c:pt idx="3611">
                  <c:v>7.9263010000000002E-3</c:v>
                </c:pt>
                <c:pt idx="3612">
                  <c:v>9.0212969999999993E-3</c:v>
                </c:pt>
                <c:pt idx="3613">
                  <c:v>8.8923800000000001E-3</c:v>
                </c:pt>
                <c:pt idx="3614">
                  <c:v>8.1677290000000003E-3</c:v>
                </c:pt>
                <c:pt idx="3615">
                  <c:v>8.6820930000000001E-3</c:v>
                </c:pt>
                <c:pt idx="3616">
                  <c:v>8.2880109999999996E-3</c:v>
                </c:pt>
                <c:pt idx="3617">
                  <c:v>7.532698E-3</c:v>
                </c:pt>
                <c:pt idx="3618">
                  <c:v>1.0095742E-2</c:v>
                </c:pt>
                <c:pt idx="3619">
                  <c:v>1.1094936999999999E-2</c:v>
                </c:pt>
                <c:pt idx="3620">
                  <c:v>1.2888336E-2</c:v>
                </c:pt>
                <c:pt idx="3621">
                  <c:v>8.7258490000000008E-3</c:v>
                </c:pt>
                <c:pt idx="3622">
                  <c:v>7.156674E-3</c:v>
                </c:pt>
                <c:pt idx="3623">
                  <c:v>8.1495509999999997E-3</c:v>
                </c:pt>
                <c:pt idx="3624">
                  <c:v>8.3507949999999994E-3</c:v>
                </c:pt>
                <c:pt idx="3625">
                  <c:v>7.8583539999999997E-3</c:v>
                </c:pt>
                <c:pt idx="3626">
                  <c:v>8.8869420000000001E-3</c:v>
                </c:pt>
                <c:pt idx="3627">
                  <c:v>9.5595790000000003E-3</c:v>
                </c:pt>
                <c:pt idx="3628">
                  <c:v>8.4705149999999996E-3</c:v>
                </c:pt>
                <c:pt idx="3629">
                  <c:v>1.0349591E-2</c:v>
                </c:pt>
                <c:pt idx="3630">
                  <c:v>1.1016896E-2</c:v>
                </c:pt>
                <c:pt idx="3631">
                  <c:v>1.1049702999999999E-2</c:v>
                </c:pt>
                <c:pt idx="3632">
                  <c:v>8.8513419999999999E-3</c:v>
                </c:pt>
                <c:pt idx="3633">
                  <c:v>1.5033863E-2</c:v>
                </c:pt>
                <c:pt idx="3634">
                  <c:v>1.5492931E-2</c:v>
                </c:pt>
                <c:pt idx="3635">
                  <c:v>2.1164639999999998E-2</c:v>
                </c:pt>
                <c:pt idx="3636">
                  <c:v>1.555934E-2</c:v>
                </c:pt>
                <c:pt idx="3637">
                  <c:v>1.2600589000000001E-2</c:v>
                </c:pt>
                <c:pt idx="3638">
                  <c:v>1.2731166E-2</c:v>
                </c:pt>
                <c:pt idx="3639">
                  <c:v>1.3093189E-2</c:v>
                </c:pt>
                <c:pt idx="3640">
                  <c:v>9.9837899999999993E-3</c:v>
                </c:pt>
                <c:pt idx="3641">
                  <c:v>1.0508162E-2</c:v>
                </c:pt>
                <c:pt idx="3642">
                  <c:v>1.130405E-2</c:v>
                </c:pt>
                <c:pt idx="3643">
                  <c:v>1.5372940999999999E-2</c:v>
                </c:pt>
                <c:pt idx="3644">
                  <c:v>1.6164588000000001E-2</c:v>
                </c:pt>
                <c:pt idx="3645">
                  <c:v>1.2287754E-2</c:v>
                </c:pt>
                <c:pt idx="3646">
                  <c:v>1.8165770000000001E-2</c:v>
                </c:pt>
                <c:pt idx="3647">
                  <c:v>1.4296781999999999E-2</c:v>
                </c:pt>
                <c:pt idx="3648">
                  <c:v>1.7407339000000001E-2</c:v>
                </c:pt>
                <c:pt idx="3649">
                  <c:v>1.3377638000000001E-2</c:v>
                </c:pt>
                <c:pt idx="3650">
                  <c:v>1.6646877000000001E-2</c:v>
                </c:pt>
                <c:pt idx="3651">
                  <c:v>1.3533992999999999E-2</c:v>
                </c:pt>
                <c:pt idx="3652">
                  <c:v>1.1312877000000001E-2</c:v>
                </c:pt>
                <c:pt idx="3653">
                  <c:v>1.198952E-2</c:v>
                </c:pt>
                <c:pt idx="3654">
                  <c:v>1.2546063E-2</c:v>
                </c:pt>
                <c:pt idx="3655">
                  <c:v>1.0303235000000001E-2</c:v>
                </c:pt>
                <c:pt idx="3656">
                  <c:v>1.1873065E-2</c:v>
                </c:pt>
                <c:pt idx="3657">
                  <c:v>1.0658953000000001E-2</c:v>
                </c:pt>
                <c:pt idx="3658">
                  <c:v>1.291203E-2</c:v>
                </c:pt>
                <c:pt idx="3659">
                  <c:v>1.3959358E-2</c:v>
                </c:pt>
                <c:pt idx="3660">
                  <c:v>1.3525788E-2</c:v>
                </c:pt>
                <c:pt idx="3661">
                  <c:v>1.6828919000000001E-2</c:v>
                </c:pt>
                <c:pt idx="3662">
                  <c:v>1.686294E-2</c:v>
                </c:pt>
                <c:pt idx="3663">
                  <c:v>2.1858855999999999E-2</c:v>
                </c:pt>
                <c:pt idx="3664">
                  <c:v>1.8258765E-2</c:v>
                </c:pt>
                <c:pt idx="3665">
                  <c:v>1.8396340000000001E-2</c:v>
                </c:pt>
                <c:pt idx="3666">
                  <c:v>1.6278918999999999E-2</c:v>
                </c:pt>
                <c:pt idx="3667">
                  <c:v>1.5773037E-2</c:v>
                </c:pt>
                <c:pt idx="3668">
                  <c:v>1.48913E-2</c:v>
                </c:pt>
                <c:pt idx="3669">
                  <c:v>1.3437741E-2</c:v>
                </c:pt>
                <c:pt idx="3670">
                  <c:v>1.5038757E-2</c:v>
                </c:pt>
                <c:pt idx="3671">
                  <c:v>1.4687531E-2</c:v>
                </c:pt>
                <c:pt idx="3672">
                  <c:v>1.8249820999999999E-2</c:v>
                </c:pt>
                <c:pt idx="3673">
                  <c:v>1.6863330999999999E-2</c:v>
                </c:pt>
                <c:pt idx="3674">
                  <c:v>1.6822354000000001E-2</c:v>
                </c:pt>
                <c:pt idx="3675">
                  <c:v>2.1073055E-2</c:v>
                </c:pt>
                <c:pt idx="3676">
                  <c:v>2.1292761E-2</c:v>
                </c:pt>
                <c:pt idx="3677">
                  <c:v>2.0900612999999998E-2</c:v>
                </c:pt>
                <c:pt idx="3678">
                  <c:v>2.3418048E-2</c:v>
                </c:pt>
                <c:pt idx="3679">
                  <c:v>2.4806526999999998E-2</c:v>
                </c:pt>
                <c:pt idx="3680">
                  <c:v>1.7989960999999999E-2</c:v>
                </c:pt>
                <c:pt idx="3681">
                  <c:v>2.2947070999999999E-2</c:v>
                </c:pt>
                <c:pt idx="3682">
                  <c:v>2.1448179000000001E-2</c:v>
                </c:pt>
                <c:pt idx="3683">
                  <c:v>2.1291278E-2</c:v>
                </c:pt>
                <c:pt idx="3684">
                  <c:v>1.8008952000000002E-2</c:v>
                </c:pt>
                <c:pt idx="3685">
                  <c:v>2.2593621000000001E-2</c:v>
                </c:pt>
                <c:pt idx="3686">
                  <c:v>1.7257868999999999E-2</c:v>
                </c:pt>
                <c:pt idx="3687">
                  <c:v>2.0853933000000002E-2</c:v>
                </c:pt>
                <c:pt idx="3688">
                  <c:v>1.9486277E-2</c:v>
                </c:pt>
                <c:pt idx="3689">
                  <c:v>1.4985169E-2</c:v>
                </c:pt>
                <c:pt idx="3690">
                  <c:v>1.5116057E-2</c:v>
                </c:pt>
                <c:pt idx="3691">
                  <c:v>1.8363434000000001E-2</c:v>
                </c:pt>
                <c:pt idx="3692">
                  <c:v>1.8447928999999998E-2</c:v>
                </c:pt>
                <c:pt idx="3693">
                  <c:v>1.6478789000000001E-2</c:v>
                </c:pt>
                <c:pt idx="3694">
                  <c:v>1.5386571E-2</c:v>
                </c:pt>
                <c:pt idx="3695">
                  <c:v>1.8257143999999999E-2</c:v>
                </c:pt>
                <c:pt idx="3696">
                  <c:v>1.3875027999999999E-2</c:v>
                </c:pt>
                <c:pt idx="3697">
                  <c:v>1.3761748000000001E-2</c:v>
                </c:pt>
                <c:pt idx="3698">
                  <c:v>1.4383651000000001E-2</c:v>
                </c:pt>
                <c:pt idx="3699">
                  <c:v>1.5489152000000001E-2</c:v>
                </c:pt>
                <c:pt idx="3700">
                  <c:v>1.1265521000000001E-2</c:v>
                </c:pt>
                <c:pt idx="3701">
                  <c:v>1.2240905999999999E-2</c:v>
                </c:pt>
                <c:pt idx="3702">
                  <c:v>1.2543273000000001E-2</c:v>
                </c:pt>
                <c:pt idx="3703">
                  <c:v>1.0941365999999999E-2</c:v>
                </c:pt>
                <c:pt idx="3704">
                  <c:v>1.1989194999999999E-2</c:v>
                </c:pt>
                <c:pt idx="3705">
                  <c:v>1.1547488E-2</c:v>
                </c:pt>
                <c:pt idx="3706">
                  <c:v>9.984995E-3</c:v>
                </c:pt>
                <c:pt idx="3707">
                  <c:v>1.4333055000000001E-2</c:v>
                </c:pt>
                <c:pt idx="3708">
                  <c:v>1.1010387E-2</c:v>
                </c:pt>
                <c:pt idx="3709">
                  <c:v>9.8968359999999991E-3</c:v>
                </c:pt>
                <c:pt idx="3710">
                  <c:v>1.0396677999999999E-2</c:v>
                </c:pt>
                <c:pt idx="3711">
                  <c:v>8.3714189999999997E-3</c:v>
                </c:pt>
                <c:pt idx="3712">
                  <c:v>1.1441824999999999E-2</c:v>
                </c:pt>
                <c:pt idx="3713">
                  <c:v>1.0952929E-2</c:v>
                </c:pt>
                <c:pt idx="3714">
                  <c:v>9.5164700000000008E-3</c:v>
                </c:pt>
                <c:pt idx="3715">
                  <c:v>1.3536624000000001E-2</c:v>
                </c:pt>
                <c:pt idx="3716">
                  <c:v>1.0361617E-2</c:v>
                </c:pt>
                <c:pt idx="3717">
                  <c:v>1.0285618E-2</c:v>
                </c:pt>
                <c:pt idx="3718">
                  <c:v>8.6395759999999995E-3</c:v>
                </c:pt>
                <c:pt idx="3719">
                  <c:v>9.4927450000000003E-3</c:v>
                </c:pt>
                <c:pt idx="3720">
                  <c:v>9.1113270000000007E-3</c:v>
                </c:pt>
                <c:pt idx="3721">
                  <c:v>9.2304840000000006E-3</c:v>
                </c:pt>
                <c:pt idx="3722">
                  <c:v>1.2183273999999999E-2</c:v>
                </c:pt>
                <c:pt idx="3723">
                  <c:v>9.9301890000000007E-3</c:v>
                </c:pt>
                <c:pt idx="3724">
                  <c:v>1.3797164000000001E-2</c:v>
                </c:pt>
                <c:pt idx="3725">
                  <c:v>1.4493700999999999E-2</c:v>
                </c:pt>
                <c:pt idx="3726">
                  <c:v>1.1049556E-2</c:v>
                </c:pt>
                <c:pt idx="3727">
                  <c:v>1.2026080999999999E-2</c:v>
                </c:pt>
                <c:pt idx="3728">
                  <c:v>1.2164005E-2</c:v>
                </c:pt>
                <c:pt idx="3729">
                  <c:v>9.8610220000000005E-3</c:v>
                </c:pt>
                <c:pt idx="3730">
                  <c:v>8.9882039999999996E-3</c:v>
                </c:pt>
                <c:pt idx="3731">
                  <c:v>9.1409379999999995E-3</c:v>
                </c:pt>
                <c:pt idx="3732">
                  <c:v>9.7136930000000007E-3</c:v>
                </c:pt>
                <c:pt idx="3733">
                  <c:v>1.1770139000000001E-2</c:v>
                </c:pt>
                <c:pt idx="3734">
                  <c:v>9.9490789999999996E-3</c:v>
                </c:pt>
                <c:pt idx="3735">
                  <c:v>1.0538387E-2</c:v>
                </c:pt>
                <c:pt idx="3736">
                  <c:v>9.5809989999999998E-3</c:v>
                </c:pt>
                <c:pt idx="3737">
                  <c:v>1.054209E-2</c:v>
                </c:pt>
                <c:pt idx="3738">
                  <c:v>7.9519980000000001E-3</c:v>
                </c:pt>
                <c:pt idx="3739">
                  <c:v>8.3346819999999995E-3</c:v>
                </c:pt>
                <c:pt idx="3740">
                  <c:v>8.6730920000000003E-3</c:v>
                </c:pt>
                <c:pt idx="3741">
                  <c:v>9.5329760000000003E-3</c:v>
                </c:pt>
                <c:pt idx="3742">
                  <c:v>9.3926840000000001E-3</c:v>
                </c:pt>
                <c:pt idx="3743">
                  <c:v>1.3500241E-2</c:v>
                </c:pt>
                <c:pt idx="3744">
                  <c:v>1.4451253000000001E-2</c:v>
                </c:pt>
                <c:pt idx="3745">
                  <c:v>1.3771178E-2</c:v>
                </c:pt>
                <c:pt idx="3746">
                  <c:v>1.0662954000000001E-2</c:v>
                </c:pt>
                <c:pt idx="3747">
                  <c:v>1.0241847E-2</c:v>
                </c:pt>
                <c:pt idx="3748">
                  <c:v>1.3996738E-2</c:v>
                </c:pt>
                <c:pt idx="3749">
                  <c:v>1.1457093999999999E-2</c:v>
                </c:pt>
                <c:pt idx="3750">
                  <c:v>1.1793003999999999E-2</c:v>
                </c:pt>
                <c:pt idx="3751">
                  <c:v>1.2994802999999999E-2</c:v>
                </c:pt>
                <c:pt idx="3752">
                  <c:v>1.3446513E-2</c:v>
                </c:pt>
                <c:pt idx="3753">
                  <c:v>1.3207386E-2</c:v>
                </c:pt>
                <c:pt idx="3754">
                  <c:v>1.1514721E-2</c:v>
                </c:pt>
                <c:pt idx="3755">
                  <c:v>1.0822646999999999E-2</c:v>
                </c:pt>
                <c:pt idx="3756">
                  <c:v>1.3897335E-2</c:v>
                </c:pt>
                <c:pt idx="3757">
                  <c:v>1.5462284E-2</c:v>
                </c:pt>
                <c:pt idx="3758">
                  <c:v>1.6129514000000001E-2</c:v>
                </c:pt>
                <c:pt idx="3759">
                  <c:v>1.3216241E-2</c:v>
                </c:pt>
                <c:pt idx="3760">
                  <c:v>1.2598905000000001E-2</c:v>
                </c:pt>
                <c:pt idx="3761">
                  <c:v>1.3514234E-2</c:v>
                </c:pt>
                <c:pt idx="3762">
                  <c:v>1.2785223E-2</c:v>
                </c:pt>
                <c:pt idx="3763">
                  <c:v>1.6858543E-2</c:v>
                </c:pt>
                <c:pt idx="3764">
                  <c:v>2.4704792999999999E-2</c:v>
                </c:pt>
                <c:pt idx="3765">
                  <c:v>2.7777044000000001E-2</c:v>
                </c:pt>
                <c:pt idx="3766">
                  <c:v>3.8118568999999998E-2</c:v>
                </c:pt>
                <c:pt idx="3767">
                  <c:v>3.8856018999999999E-2</c:v>
                </c:pt>
                <c:pt idx="3768">
                  <c:v>3.2967037999999997E-2</c:v>
                </c:pt>
                <c:pt idx="3769">
                  <c:v>3.3008558E-2</c:v>
                </c:pt>
                <c:pt idx="3770">
                  <c:v>2.9992689999999999E-2</c:v>
                </c:pt>
                <c:pt idx="3771">
                  <c:v>3.0569538E-2</c:v>
                </c:pt>
                <c:pt idx="3772">
                  <c:v>2.8506916E-2</c:v>
                </c:pt>
                <c:pt idx="3773">
                  <c:v>2.6552861000000001E-2</c:v>
                </c:pt>
                <c:pt idx="3774">
                  <c:v>2.7662889E-2</c:v>
                </c:pt>
                <c:pt idx="3775">
                  <c:v>2.0227252000000001E-2</c:v>
                </c:pt>
                <c:pt idx="3776">
                  <c:v>2.3464681000000001E-2</c:v>
                </c:pt>
                <c:pt idx="3777">
                  <c:v>1.8832108E-2</c:v>
                </c:pt>
                <c:pt idx="3778">
                  <c:v>2.0861125000000001E-2</c:v>
                </c:pt>
                <c:pt idx="3779">
                  <c:v>2.2388841999999999E-2</c:v>
                </c:pt>
                <c:pt idx="3780">
                  <c:v>2.3666907000000001E-2</c:v>
                </c:pt>
                <c:pt idx="3781">
                  <c:v>1.6557402999999998E-2</c:v>
                </c:pt>
                <c:pt idx="3782">
                  <c:v>1.5589693999999999E-2</c:v>
                </c:pt>
                <c:pt idx="3783">
                  <c:v>1.8147234000000002E-2</c:v>
                </c:pt>
                <c:pt idx="3784">
                  <c:v>1.5896571000000002E-2</c:v>
                </c:pt>
                <c:pt idx="3785">
                  <c:v>1.791276E-2</c:v>
                </c:pt>
                <c:pt idx="3786">
                  <c:v>2.0585022000000001E-2</c:v>
                </c:pt>
                <c:pt idx="3787">
                  <c:v>2.2812865000000002E-2</c:v>
                </c:pt>
                <c:pt idx="3788">
                  <c:v>1.8866639000000001E-2</c:v>
                </c:pt>
                <c:pt idx="3789">
                  <c:v>2.1683536999999999E-2</c:v>
                </c:pt>
                <c:pt idx="3790">
                  <c:v>2.0367099E-2</c:v>
                </c:pt>
                <c:pt idx="3791">
                  <c:v>1.9681420000000002E-2</c:v>
                </c:pt>
                <c:pt idx="3792">
                  <c:v>1.9674558000000002E-2</c:v>
                </c:pt>
                <c:pt idx="3793">
                  <c:v>1.952634E-2</c:v>
                </c:pt>
                <c:pt idx="3794">
                  <c:v>1.4607201E-2</c:v>
                </c:pt>
                <c:pt idx="3795">
                  <c:v>1.4116551E-2</c:v>
                </c:pt>
                <c:pt idx="3796">
                  <c:v>2.5254124999999999E-2</c:v>
                </c:pt>
                <c:pt idx="3797">
                  <c:v>1.7594056E-2</c:v>
                </c:pt>
                <c:pt idx="3798">
                  <c:v>1.805176E-2</c:v>
                </c:pt>
                <c:pt idx="3799">
                  <c:v>1.4677228E-2</c:v>
                </c:pt>
                <c:pt idx="3800">
                  <c:v>1.3313306E-2</c:v>
                </c:pt>
                <c:pt idx="3801">
                  <c:v>1.4760954999999999E-2</c:v>
                </c:pt>
                <c:pt idx="3802">
                  <c:v>1.3565213E-2</c:v>
                </c:pt>
                <c:pt idx="3803">
                  <c:v>1.4494487E-2</c:v>
                </c:pt>
                <c:pt idx="3804">
                  <c:v>1.1439565E-2</c:v>
                </c:pt>
                <c:pt idx="3805">
                  <c:v>1.5401397000000001E-2</c:v>
                </c:pt>
                <c:pt idx="3806">
                  <c:v>1.9247506000000001E-2</c:v>
                </c:pt>
                <c:pt idx="3807">
                  <c:v>1.2878440999999999E-2</c:v>
                </c:pt>
                <c:pt idx="3808">
                  <c:v>1.499549E-2</c:v>
                </c:pt>
                <c:pt idx="3809">
                  <c:v>1.391566E-2</c:v>
                </c:pt>
                <c:pt idx="3810">
                  <c:v>1.1493483000000001E-2</c:v>
                </c:pt>
                <c:pt idx="3811">
                  <c:v>1.4373491E-2</c:v>
                </c:pt>
                <c:pt idx="3812">
                  <c:v>1.3202059E-2</c:v>
                </c:pt>
                <c:pt idx="3813">
                  <c:v>1.4534078000000001E-2</c:v>
                </c:pt>
                <c:pt idx="3814">
                  <c:v>1.351283E-2</c:v>
                </c:pt>
                <c:pt idx="3815">
                  <c:v>1.0494869E-2</c:v>
                </c:pt>
                <c:pt idx="3816">
                  <c:v>1.0216853E-2</c:v>
                </c:pt>
                <c:pt idx="3817">
                  <c:v>9.6880049999999995E-3</c:v>
                </c:pt>
                <c:pt idx="3818">
                  <c:v>9.9945780000000005E-3</c:v>
                </c:pt>
                <c:pt idx="3819">
                  <c:v>1.0253972E-2</c:v>
                </c:pt>
                <c:pt idx="3820">
                  <c:v>1.5122185999999999E-2</c:v>
                </c:pt>
                <c:pt idx="3821">
                  <c:v>1.1632927E-2</c:v>
                </c:pt>
                <c:pt idx="3822">
                  <c:v>1.0942812E-2</c:v>
                </c:pt>
                <c:pt idx="3823">
                  <c:v>9.0567779999999997E-3</c:v>
                </c:pt>
                <c:pt idx="3824">
                  <c:v>1.0557632000000001E-2</c:v>
                </c:pt>
                <c:pt idx="3825">
                  <c:v>8.6739350000000007E-3</c:v>
                </c:pt>
                <c:pt idx="3826">
                  <c:v>8.2099889999999991E-3</c:v>
                </c:pt>
                <c:pt idx="3827">
                  <c:v>8.3496060000000007E-3</c:v>
                </c:pt>
                <c:pt idx="3828">
                  <c:v>8.583172E-3</c:v>
                </c:pt>
                <c:pt idx="3829">
                  <c:v>1.0838194000000001E-2</c:v>
                </c:pt>
                <c:pt idx="3830">
                  <c:v>1.5074069000000001E-2</c:v>
                </c:pt>
                <c:pt idx="3831">
                  <c:v>1.1408695999999999E-2</c:v>
                </c:pt>
                <c:pt idx="3832">
                  <c:v>1.1131591999999999E-2</c:v>
                </c:pt>
                <c:pt idx="3833">
                  <c:v>1.1094359E-2</c:v>
                </c:pt>
                <c:pt idx="3834">
                  <c:v>1.155261E-2</c:v>
                </c:pt>
                <c:pt idx="3835">
                  <c:v>1.2666587E-2</c:v>
                </c:pt>
                <c:pt idx="3836">
                  <c:v>9.8329390000000006E-3</c:v>
                </c:pt>
                <c:pt idx="3837">
                  <c:v>1.0082425000000001E-2</c:v>
                </c:pt>
                <c:pt idx="3838">
                  <c:v>9.7661699999999994E-3</c:v>
                </c:pt>
                <c:pt idx="3839">
                  <c:v>1.0490510999999999E-2</c:v>
                </c:pt>
                <c:pt idx="3840">
                  <c:v>1.0581132E-2</c:v>
                </c:pt>
                <c:pt idx="3841">
                  <c:v>9.1008440000000003E-3</c:v>
                </c:pt>
                <c:pt idx="3842">
                  <c:v>1.0648151E-2</c:v>
                </c:pt>
                <c:pt idx="3843">
                  <c:v>1.1586117999999999E-2</c:v>
                </c:pt>
                <c:pt idx="3844">
                  <c:v>1.3250282E-2</c:v>
                </c:pt>
                <c:pt idx="3845">
                  <c:v>1.4174058E-2</c:v>
                </c:pt>
                <c:pt idx="3846">
                  <c:v>1.3427863E-2</c:v>
                </c:pt>
                <c:pt idx="3847">
                  <c:v>1.1374817000000001E-2</c:v>
                </c:pt>
                <c:pt idx="3848">
                  <c:v>1.3605621E-2</c:v>
                </c:pt>
                <c:pt idx="3849">
                  <c:v>1.5163493E-2</c:v>
                </c:pt>
                <c:pt idx="3850">
                  <c:v>1.8996486999999999E-2</c:v>
                </c:pt>
                <c:pt idx="3851">
                  <c:v>1.7325778999999999E-2</c:v>
                </c:pt>
                <c:pt idx="3852">
                  <c:v>1.6112195999999999E-2</c:v>
                </c:pt>
                <c:pt idx="3853">
                  <c:v>1.1755026999999999E-2</c:v>
                </c:pt>
                <c:pt idx="3854">
                  <c:v>1.3007273E-2</c:v>
                </c:pt>
                <c:pt idx="3855">
                  <c:v>1.4029808E-2</c:v>
                </c:pt>
                <c:pt idx="3856">
                  <c:v>1.4375625E-2</c:v>
                </c:pt>
                <c:pt idx="3857">
                  <c:v>1.5647439999999999E-2</c:v>
                </c:pt>
                <c:pt idx="3858">
                  <c:v>1.2690554999999999E-2</c:v>
                </c:pt>
                <c:pt idx="3859">
                  <c:v>1.2116732999999999E-2</c:v>
                </c:pt>
                <c:pt idx="3860">
                  <c:v>1.9073362999999999E-2</c:v>
                </c:pt>
                <c:pt idx="3861">
                  <c:v>1.4737926E-2</c:v>
                </c:pt>
                <c:pt idx="3862">
                  <c:v>1.5957631E-2</c:v>
                </c:pt>
                <c:pt idx="3863">
                  <c:v>1.2982268E-2</c:v>
                </c:pt>
                <c:pt idx="3864">
                  <c:v>1.5533303E-2</c:v>
                </c:pt>
                <c:pt idx="3865">
                  <c:v>2.5370766999999999E-2</c:v>
                </c:pt>
                <c:pt idx="3866">
                  <c:v>1.9289456E-2</c:v>
                </c:pt>
                <c:pt idx="3867">
                  <c:v>1.8541321999999999E-2</c:v>
                </c:pt>
                <c:pt idx="3868">
                  <c:v>1.6502401E-2</c:v>
                </c:pt>
                <c:pt idx="3869">
                  <c:v>1.3672629E-2</c:v>
                </c:pt>
                <c:pt idx="3870">
                  <c:v>1.3335952E-2</c:v>
                </c:pt>
                <c:pt idx="3871">
                  <c:v>1.1731291E-2</c:v>
                </c:pt>
                <c:pt idx="3872">
                  <c:v>1.2842743E-2</c:v>
                </c:pt>
                <c:pt idx="3873">
                  <c:v>1.1661764999999999E-2</c:v>
                </c:pt>
                <c:pt idx="3874">
                  <c:v>1.4644568E-2</c:v>
                </c:pt>
                <c:pt idx="3875">
                  <c:v>1.1915821E-2</c:v>
                </c:pt>
                <c:pt idx="3876">
                  <c:v>1.1878099E-2</c:v>
                </c:pt>
                <c:pt idx="3877">
                  <c:v>1.0677837000000001E-2</c:v>
                </c:pt>
                <c:pt idx="3878">
                  <c:v>1.3050921E-2</c:v>
                </c:pt>
                <c:pt idx="3879">
                  <c:v>1.2661924E-2</c:v>
                </c:pt>
                <c:pt idx="3880">
                  <c:v>1.3937935E-2</c:v>
                </c:pt>
                <c:pt idx="3881">
                  <c:v>1.5935543E-2</c:v>
                </c:pt>
                <c:pt idx="3882">
                  <c:v>1.3865288999999999E-2</c:v>
                </c:pt>
                <c:pt idx="3883">
                  <c:v>1.1135203999999999E-2</c:v>
                </c:pt>
                <c:pt idx="3884">
                  <c:v>1.1703962E-2</c:v>
                </c:pt>
                <c:pt idx="3885">
                  <c:v>1.3336143E-2</c:v>
                </c:pt>
                <c:pt idx="3886">
                  <c:v>1.3840718E-2</c:v>
                </c:pt>
                <c:pt idx="3887">
                  <c:v>1.4625752000000001E-2</c:v>
                </c:pt>
                <c:pt idx="3888">
                  <c:v>1.6543867E-2</c:v>
                </c:pt>
                <c:pt idx="3889">
                  <c:v>2.0347311999999999E-2</c:v>
                </c:pt>
                <c:pt idx="3890">
                  <c:v>2.1687372999999999E-2</c:v>
                </c:pt>
                <c:pt idx="3891">
                  <c:v>1.8833280000000001E-2</c:v>
                </c:pt>
                <c:pt idx="3892">
                  <c:v>2.1338484000000001E-2</c:v>
                </c:pt>
                <c:pt idx="3893">
                  <c:v>1.9814963000000001E-2</c:v>
                </c:pt>
                <c:pt idx="3894">
                  <c:v>2.2501765999999999E-2</c:v>
                </c:pt>
                <c:pt idx="3895">
                  <c:v>2.1841739999999998E-2</c:v>
                </c:pt>
                <c:pt idx="3896">
                  <c:v>2.5311843000000001E-2</c:v>
                </c:pt>
                <c:pt idx="3897">
                  <c:v>2.3650628E-2</c:v>
                </c:pt>
                <c:pt idx="3898">
                  <c:v>2.3609103999999999E-2</c:v>
                </c:pt>
                <c:pt idx="3899">
                  <c:v>2.0504241999999999E-2</c:v>
                </c:pt>
                <c:pt idx="3900">
                  <c:v>2.0638444999999998E-2</c:v>
                </c:pt>
                <c:pt idx="3901">
                  <c:v>1.6932889E-2</c:v>
                </c:pt>
                <c:pt idx="3902">
                  <c:v>1.9893527000000001E-2</c:v>
                </c:pt>
                <c:pt idx="3903">
                  <c:v>1.8849213E-2</c:v>
                </c:pt>
                <c:pt idx="3904">
                  <c:v>1.8876091000000001E-2</c:v>
                </c:pt>
                <c:pt idx="3905">
                  <c:v>1.6370645E-2</c:v>
                </c:pt>
                <c:pt idx="3906">
                  <c:v>1.5288271000000001E-2</c:v>
                </c:pt>
                <c:pt idx="3907">
                  <c:v>1.6141723E-2</c:v>
                </c:pt>
                <c:pt idx="3908">
                  <c:v>1.7281761999999999E-2</c:v>
                </c:pt>
                <c:pt idx="3909">
                  <c:v>1.5641912000000001E-2</c:v>
                </c:pt>
                <c:pt idx="3910">
                  <c:v>1.5473125000000001E-2</c:v>
                </c:pt>
                <c:pt idx="3911">
                  <c:v>1.7853616999999999E-2</c:v>
                </c:pt>
                <c:pt idx="3912">
                  <c:v>1.6914176999999999E-2</c:v>
                </c:pt>
                <c:pt idx="3913">
                  <c:v>1.7881577999999999E-2</c:v>
                </c:pt>
                <c:pt idx="3914">
                  <c:v>1.5530474000000001E-2</c:v>
                </c:pt>
                <c:pt idx="3915">
                  <c:v>1.5404671999999999E-2</c:v>
                </c:pt>
                <c:pt idx="3916">
                  <c:v>1.5968889E-2</c:v>
                </c:pt>
                <c:pt idx="3917">
                  <c:v>2.0402294000000001E-2</c:v>
                </c:pt>
                <c:pt idx="3918">
                  <c:v>1.9998728E-2</c:v>
                </c:pt>
                <c:pt idx="3919">
                  <c:v>2.6280643999999999E-2</c:v>
                </c:pt>
                <c:pt idx="3920">
                  <c:v>2.1876091E-2</c:v>
                </c:pt>
                <c:pt idx="3921">
                  <c:v>2.1162464999999998E-2</c:v>
                </c:pt>
                <c:pt idx="3922">
                  <c:v>2.1351358000000001E-2</c:v>
                </c:pt>
                <c:pt idx="3923">
                  <c:v>1.9694426000000001E-2</c:v>
                </c:pt>
                <c:pt idx="3924">
                  <c:v>1.6579824999999999E-2</c:v>
                </c:pt>
                <c:pt idx="3925">
                  <c:v>1.8684895E-2</c:v>
                </c:pt>
                <c:pt idx="3926">
                  <c:v>1.8309296999999999E-2</c:v>
                </c:pt>
                <c:pt idx="3927">
                  <c:v>2.0166862000000001E-2</c:v>
                </c:pt>
                <c:pt idx="3928">
                  <c:v>1.9087269E-2</c:v>
                </c:pt>
                <c:pt idx="3929">
                  <c:v>2.1705707000000001E-2</c:v>
                </c:pt>
                <c:pt idx="3930">
                  <c:v>2.1688178999999998E-2</c:v>
                </c:pt>
                <c:pt idx="3931">
                  <c:v>1.6012114000000001E-2</c:v>
                </c:pt>
                <c:pt idx="3932">
                  <c:v>1.7979742999999999E-2</c:v>
                </c:pt>
                <c:pt idx="3933">
                  <c:v>1.8958926000000001E-2</c:v>
                </c:pt>
                <c:pt idx="3934">
                  <c:v>1.9291532E-2</c:v>
                </c:pt>
                <c:pt idx="3935">
                  <c:v>1.4891465E-2</c:v>
                </c:pt>
                <c:pt idx="3936">
                  <c:v>1.3780159E-2</c:v>
                </c:pt>
                <c:pt idx="3937">
                  <c:v>1.3301215E-2</c:v>
                </c:pt>
                <c:pt idx="3938">
                  <c:v>1.5381097E-2</c:v>
                </c:pt>
                <c:pt idx="3939">
                  <c:v>1.5454546E-2</c:v>
                </c:pt>
                <c:pt idx="3940">
                  <c:v>1.4731473E-2</c:v>
                </c:pt>
                <c:pt idx="3941">
                  <c:v>1.4830098999999999E-2</c:v>
                </c:pt>
                <c:pt idx="3942">
                  <c:v>1.2540861E-2</c:v>
                </c:pt>
                <c:pt idx="3943">
                  <c:v>1.3746314000000001E-2</c:v>
                </c:pt>
                <c:pt idx="3944">
                  <c:v>1.3504466999999999E-2</c:v>
                </c:pt>
                <c:pt idx="3945">
                  <c:v>1.314632E-2</c:v>
                </c:pt>
                <c:pt idx="3946">
                  <c:v>1.3010534000000001E-2</c:v>
                </c:pt>
                <c:pt idx="3947">
                  <c:v>1.1085810999999999E-2</c:v>
                </c:pt>
                <c:pt idx="3948">
                  <c:v>1.1745027E-2</c:v>
                </c:pt>
                <c:pt idx="3949">
                  <c:v>1.0051736E-2</c:v>
                </c:pt>
                <c:pt idx="3950">
                  <c:v>1.3024325E-2</c:v>
                </c:pt>
                <c:pt idx="3951">
                  <c:v>1.2685238999999999E-2</c:v>
                </c:pt>
                <c:pt idx="3952">
                  <c:v>1.172601E-2</c:v>
                </c:pt>
                <c:pt idx="3953">
                  <c:v>1.392941E-2</c:v>
                </c:pt>
                <c:pt idx="3954">
                  <c:v>1.2151568E-2</c:v>
                </c:pt>
                <c:pt idx="3955">
                  <c:v>1.1286426E-2</c:v>
                </c:pt>
                <c:pt idx="3956">
                  <c:v>1.0084266E-2</c:v>
                </c:pt>
                <c:pt idx="3957">
                  <c:v>1.0137658000000001E-2</c:v>
                </c:pt>
                <c:pt idx="3958">
                  <c:v>1.398748E-2</c:v>
                </c:pt>
                <c:pt idx="3959">
                  <c:v>1.2503721000000001E-2</c:v>
                </c:pt>
                <c:pt idx="3960">
                  <c:v>1.1616733000000001E-2</c:v>
                </c:pt>
                <c:pt idx="3961">
                  <c:v>1.1304955E-2</c:v>
                </c:pt>
                <c:pt idx="3962">
                  <c:v>1.1484851000000001E-2</c:v>
                </c:pt>
                <c:pt idx="3963">
                  <c:v>1.429855E-2</c:v>
                </c:pt>
                <c:pt idx="3964">
                  <c:v>1.1548879999999999E-2</c:v>
                </c:pt>
                <c:pt idx="3965">
                  <c:v>1.1317242999999999E-2</c:v>
                </c:pt>
                <c:pt idx="3966">
                  <c:v>1.3133107E-2</c:v>
                </c:pt>
                <c:pt idx="3967">
                  <c:v>1.4960541000000001E-2</c:v>
                </c:pt>
                <c:pt idx="3968">
                  <c:v>1.5040894000000001E-2</c:v>
                </c:pt>
                <c:pt idx="3969">
                  <c:v>1.6273262E-2</c:v>
                </c:pt>
                <c:pt idx="3970">
                  <c:v>1.6061188000000001E-2</c:v>
                </c:pt>
                <c:pt idx="3971">
                  <c:v>1.4229578E-2</c:v>
                </c:pt>
                <c:pt idx="3972">
                  <c:v>1.1958358000000001E-2</c:v>
                </c:pt>
                <c:pt idx="3973">
                  <c:v>1.2608522E-2</c:v>
                </c:pt>
                <c:pt idx="3974">
                  <c:v>1.4881656E-2</c:v>
                </c:pt>
                <c:pt idx="3975">
                  <c:v>1.4478789000000001E-2</c:v>
                </c:pt>
                <c:pt idx="3976">
                  <c:v>1.1103675E-2</c:v>
                </c:pt>
                <c:pt idx="3977">
                  <c:v>1.1200976E-2</c:v>
                </c:pt>
                <c:pt idx="3978">
                  <c:v>1.2975326000000001E-2</c:v>
                </c:pt>
                <c:pt idx="3979">
                  <c:v>1.1727886999999999E-2</c:v>
                </c:pt>
                <c:pt idx="3980">
                  <c:v>1.2039407E-2</c:v>
                </c:pt>
                <c:pt idx="3981">
                  <c:v>1.6860145999999999E-2</c:v>
                </c:pt>
                <c:pt idx="3982">
                  <c:v>1.5679017999999999E-2</c:v>
                </c:pt>
                <c:pt idx="3983">
                  <c:v>1.3803407E-2</c:v>
                </c:pt>
                <c:pt idx="3984">
                  <c:v>1.5232717E-2</c:v>
                </c:pt>
                <c:pt idx="3985">
                  <c:v>1.3392902E-2</c:v>
                </c:pt>
                <c:pt idx="3986">
                  <c:v>1.3133905E-2</c:v>
                </c:pt>
                <c:pt idx="3987">
                  <c:v>1.2667309999999999E-2</c:v>
                </c:pt>
                <c:pt idx="3988">
                  <c:v>1.3047803E-2</c:v>
                </c:pt>
                <c:pt idx="3989">
                  <c:v>1.3036956000000001E-2</c:v>
                </c:pt>
                <c:pt idx="3990">
                  <c:v>1.1459812E-2</c:v>
                </c:pt>
                <c:pt idx="3991">
                  <c:v>1.1699101E-2</c:v>
                </c:pt>
                <c:pt idx="3992">
                  <c:v>1.0999577999999999E-2</c:v>
                </c:pt>
                <c:pt idx="3993">
                  <c:v>1.2808613E-2</c:v>
                </c:pt>
                <c:pt idx="3994">
                  <c:v>1.6157371E-2</c:v>
                </c:pt>
                <c:pt idx="3995">
                  <c:v>1.6841755E-2</c:v>
                </c:pt>
                <c:pt idx="3996">
                  <c:v>1.4786112000000001E-2</c:v>
                </c:pt>
                <c:pt idx="3997">
                  <c:v>1.2349985000000001E-2</c:v>
                </c:pt>
                <c:pt idx="3998">
                  <c:v>1.4358358E-2</c:v>
                </c:pt>
                <c:pt idx="3999">
                  <c:v>1.2464644E-2</c:v>
                </c:pt>
                <c:pt idx="4000">
                  <c:v>1.2211338E-2</c:v>
                </c:pt>
                <c:pt idx="4001">
                  <c:v>1.2620133E-2</c:v>
                </c:pt>
                <c:pt idx="4002">
                  <c:v>1.5001008999999999E-2</c:v>
                </c:pt>
                <c:pt idx="4003">
                  <c:v>1.6450189E-2</c:v>
                </c:pt>
                <c:pt idx="4004">
                  <c:v>1.4224262E-2</c:v>
                </c:pt>
                <c:pt idx="4005">
                  <c:v>1.3552675E-2</c:v>
                </c:pt>
                <c:pt idx="4006">
                  <c:v>1.1135844000000001E-2</c:v>
                </c:pt>
                <c:pt idx="4007">
                  <c:v>1.3158384E-2</c:v>
                </c:pt>
                <c:pt idx="4008">
                  <c:v>1.3644338000000001E-2</c:v>
                </c:pt>
                <c:pt idx="4009">
                  <c:v>1.3636215E-2</c:v>
                </c:pt>
                <c:pt idx="4010">
                  <c:v>1.5136426E-2</c:v>
                </c:pt>
                <c:pt idx="4011">
                  <c:v>1.589753E-2</c:v>
                </c:pt>
                <c:pt idx="4012">
                  <c:v>1.8205235E-2</c:v>
                </c:pt>
                <c:pt idx="4013">
                  <c:v>1.6931659000000002E-2</c:v>
                </c:pt>
                <c:pt idx="4014">
                  <c:v>2.1022405000000001E-2</c:v>
                </c:pt>
                <c:pt idx="4015">
                  <c:v>1.7262013999999999E-2</c:v>
                </c:pt>
                <c:pt idx="4016">
                  <c:v>1.9329233000000001E-2</c:v>
                </c:pt>
                <c:pt idx="4017">
                  <c:v>1.8400027999999999E-2</c:v>
                </c:pt>
                <c:pt idx="4018">
                  <c:v>1.7354602E-2</c:v>
                </c:pt>
                <c:pt idx="4019">
                  <c:v>1.5569237E-2</c:v>
                </c:pt>
                <c:pt idx="4020">
                  <c:v>1.2881073999999999E-2</c:v>
                </c:pt>
                <c:pt idx="4021">
                  <c:v>1.6569422E-2</c:v>
                </c:pt>
                <c:pt idx="4022">
                  <c:v>1.8336650999999999E-2</c:v>
                </c:pt>
                <c:pt idx="4023">
                  <c:v>2.1388745000000001E-2</c:v>
                </c:pt>
                <c:pt idx="4024">
                  <c:v>2.2014260000000001E-2</c:v>
                </c:pt>
                <c:pt idx="4025">
                  <c:v>2.3601569999999999E-2</c:v>
                </c:pt>
                <c:pt idx="4026">
                  <c:v>1.8893098000000001E-2</c:v>
                </c:pt>
                <c:pt idx="4027">
                  <c:v>1.6965125000000001E-2</c:v>
                </c:pt>
                <c:pt idx="4028">
                  <c:v>1.7968266E-2</c:v>
                </c:pt>
                <c:pt idx="4029">
                  <c:v>2.2114265000000001E-2</c:v>
                </c:pt>
                <c:pt idx="4030">
                  <c:v>1.9901291000000002E-2</c:v>
                </c:pt>
                <c:pt idx="4031">
                  <c:v>1.7321247000000001E-2</c:v>
                </c:pt>
                <c:pt idx="4032">
                  <c:v>1.6407594000000001E-2</c:v>
                </c:pt>
                <c:pt idx="4033">
                  <c:v>1.510304E-2</c:v>
                </c:pt>
                <c:pt idx="4034">
                  <c:v>1.7645878E-2</c:v>
                </c:pt>
                <c:pt idx="4035">
                  <c:v>1.6033611E-2</c:v>
                </c:pt>
                <c:pt idx="4036">
                  <c:v>1.7503444999999999E-2</c:v>
                </c:pt>
                <c:pt idx="4037">
                  <c:v>1.5957215E-2</c:v>
                </c:pt>
                <c:pt idx="4038">
                  <c:v>1.5006445E-2</c:v>
                </c:pt>
                <c:pt idx="4039">
                  <c:v>1.5954796E-2</c:v>
                </c:pt>
                <c:pt idx="4040">
                  <c:v>1.7597026000000002E-2</c:v>
                </c:pt>
                <c:pt idx="4041">
                  <c:v>1.8161106999999999E-2</c:v>
                </c:pt>
                <c:pt idx="4042">
                  <c:v>1.8709165E-2</c:v>
                </c:pt>
                <c:pt idx="4043">
                  <c:v>2.0233646000000001E-2</c:v>
                </c:pt>
                <c:pt idx="4044">
                  <c:v>1.5907236000000002E-2</c:v>
                </c:pt>
                <c:pt idx="4045">
                  <c:v>1.9065142E-2</c:v>
                </c:pt>
                <c:pt idx="4046">
                  <c:v>2.0080777000000001E-2</c:v>
                </c:pt>
                <c:pt idx="4047">
                  <c:v>2.0158351000000001E-2</c:v>
                </c:pt>
                <c:pt idx="4048">
                  <c:v>1.8211815999999999E-2</c:v>
                </c:pt>
                <c:pt idx="4049">
                  <c:v>2.1809275999999999E-2</c:v>
                </c:pt>
                <c:pt idx="4050">
                  <c:v>2.2874709E-2</c:v>
                </c:pt>
                <c:pt idx="4051">
                  <c:v>3.1246137E-2</c:v>
                </c:pt>
                <c:pt idx="4052">
                  <c:v>2.6464240999999999E-2</c:v>
                </c:pt>
                <c:pt idx="4053">
                  <c:v>2.6910262000000001E-2</c:v>
                </c:pt>
                <c:pt idx="4054">
                  <c:v>2.3981361E-2</c:v>
                </c:pt>
                <c:pt idx="4055">
                  <c:v>2.4098417E-2</c:v>
                </c:pt>
                <c:pt idx="4056">
                  <c:v>2.5990071E-2</c:v>
                </c:pt>
                <c:pt idx="4057">
                  <c:v>2.5058391999999999E-2</c:v>
                </c:pt>
                <c:pt idx="4058">
                  <c:v>2.7597791E-2</c:v>
                </c:pt>
                <c:pt idx="4059">
                  <c:v>2.4105349000000002E-2</c:v>
                </c:pt>
                <c:pt idx="4060">
                  <c:v>2.3487979999999999E-2</c:v>
                </c:pt>
                <c:pt idx="4061">
                  <c:v>1.8029480000000001E-2</c:v>
                </c:pt>
                <c:pt idx="4062">
                  <c:v>2.0929327000000001E-2</c:v>
                </c:pt>
                <c:pt idx="4063">
                  <c:v>2.0837423000000001E-2</c:v>
                </c:pt>
                <c:pt idx="4064">
                  <c:v>1.9688806999999999E-2</c:v>
                </c:pt>
                <c:pt idx="4065">
                  <c:v>2.2697269999999999E-2</c:v>
                </c:pt>
                <c:pt idx="4066">
                  <c:v>2.0645574E-2</c:v>
                </c:pt>
                <c:pt idx="4067">
                  <c:v>2.1170934999999998E-2</c:v>
                </c:pt>
                <c:pt idx="4068">
                  <c:v>1.9504226999999999E-2</c:v>
                </c:pt>
                <c:pt idx="4069">
                  <c:v>1.920022E-2</c:v>
                </c:pt>
                <c:pt idx="4070">
                  <c:v>1.7694215999999999E-2</c:v>
                </c:pt>
                <c:pt idx="4071">
                  <c:v>1.8107527000000002E-2</c:v>
                </c:pt>
                <c:pt idx="4072">
                  <c:v>1.7169134999999999E-2</c:v>
                </c:pt>
                <c:pt idx="4073">
                  <c:v>1.7690032000000001E-2</c:v>
                </c:pt>
                <c:pt idx="4074">
                  <c:v>1.3636437E-2</c:v>
                </c:pt>
                <c:pt idx="4075">
                  <c:v>1.2329586E-2</c:v>
                </c:pt>
                <c:pt idx="4076">
                  <c:v>1.4216688E-2</c:v>
                </c:pt>
                <c:pt idx="4077">
                  <c:v>1.4467977E-2</c:v>
                </c:pt>
                <c:pt idx="4078">
                  <c:v>1.3672299000000001E-2</c:v>
                </c:pt>
                <c:pt idx="4079">
                  <c:v>1.4685367E-2</c:v>
                </c:pt>
                <c:pt idx="4080">
                  <c:v>1.5008418000000001E-2</c:v>
                </c:pt>
                <c:pt idx="4081">
                  <c:v>1.4486825E-2</c:v>
                </c:pt>
                <c:pt idx="4082">
                  <c:v>1.4267722E-2</c:v>
                </c:pt>
                <c:pt idx="4083">
                  <c:v>1.4436535E-2</c:v>
                </c:pt>
                <c:pt idx="4084">
                  <c:v>1.5186933999999999E-2</c:v>
                </c:pt>
                <c:pt idx="4085">
                  <c:v>1.6430231E-2</c:v>
                </c:pt>
                <c:pt idx="4086">
                  <c:v>1.6238022000000001E-2</c:v>
                </c:pt>
                <c:pt idx="4087">
                  <c:v>1.7669701999999999E-2</c:v>
                </c:pt>
                <c:pt idx="4088">
                  <c:v>1.8600208999999999E-2</c:v>
                </c:pt>
                <c:pt idx="4089">
                  <c:v>1.3603334E-2</c:v>
                </c:pt>
                <c:pt idx="4090">
                  <c:v>1.3015339000000001E-2</c:v>
                </c:pt>
                <c:pt idx="4091">
                  <c:v>1.4561212E-2</c:v>
                </c:pt>
                <c:pt idx="4092">
                  <c:v>1.3243328E-2</c:v>
                </c:pt>
                <c:pt idx="4093">
                  <c:v>1.1722209000000001E-2</c:v>
                </c:pt>
                <c:pt idx="4094">
                  <c:v>1.2992495E-2</c:v>
                </c:pt>
                <c:pt idx="4095">
                  <c:v>1.5044643999999999E-2</c:v>
                </c:pt>
                <c:pt idx="4096">
                  <c:v>1.2405265E-2</c:v>
                </c:pt>
                <c:pt idx="4097">
                  <c:v>1.1701857E-2</c:v>
                </c:pt>
                <c:pt idx="4098">
                  <c:v>1.1829717999999999E-2</c:v>
                </c:pt>
                <c:pt idx="4099">
                  <c:v>1.0191822999999999E-2</c:v>
                </c:pt>
                <c:pt idx="4100">
                  <c:v>1.0842175000000001E-2</c:v>
                </c:pt>
                <c:pt idx="4101">
                  <c:v>1.1679258E-2</c:v>
                </c:pt>
                <c:pt idx="4102">
                  <c:v>1.2861592999999999E-2</c:v>
                </c:pt>
                <c:pt idx="4103">
                  <c:v>1.4164245000000001E-2</c:v>
                </c:pt>
                <c:pt idx="4104">
                  <c:v>1.2813010999999999E-2</c:v>
                </c:pt>
                <c:pt idx="4105">
                  <c:v>1.1019536E-2</c:v>
                </c:pt>
                <c:pt idx="4106">
                  <c:v>1.1277428000000001E-2</c:v>
                </c:pt>
                <c:pt idx="4107">
                  <c:v>1.2847559E-2</c:v>
                </c:pt>
                <c:pt idx="4108">
                  <c:v>1.3574843E-2</c:v>
                </c:pt>
                <c:pt idx="4109">
                  <c:v>1.2237250999999999E-2</c:v>
                </c:pt>
                <c:pt idx="4110">
                  <c:v>1.4567256000000001E-2</c:v>
                </c:pt>
                <c:pt idx="4111">
                  <c:v>1.5072301999999999E-2</c:v>
                </c:pt>
                <c:pt idx="4112">
                  <c:v>1.7808480000000002E-2</c:v>
                </c:pt>
                <c:pt idx="4113">
                  <c:v>1.7370568999999999E-2</c:v>
                </c:pt>
                <c:pt idx="4114">
                  <c:v>1.5137266999999999E-2</c:v>
                </c:pt>
                <c:pt idx="4115">
                  <c:v>2.086996E-2</c:v>
                </c:pt>
                <c:pt idx="4116">
                  <c:v>1.8621809999999999E-2</c:v>
                </c:pt>
                <c:pt idx="4117">
                  <c:v>1.9516503000000001E-2</c:v>
                </c:pt>
                <c:pt idx="4118">
                  <c:v>1.4660790999999999E-2</c:v>
                </c:pt>
                <c:pt idx="4119">
                  <c:v>1.3870347999999999E-2</c:v>
                </c:pt>
                <c:pt idx="4120">
                  <c:v>1.3273636E-2</c:v>
                </c:pt>
                <c:pt idx="4121">
                  <c:v>1.3725141E-2</c:v>
                </c:pt>
                <c:pt idx="4122">
                  <c:v>1.5628426000000001E-2</c:v>
                </c:pt>
                <c:pt idx="4123">
                  <c:v>1.3202385000000001E-2</c:v>
                </c:pt>
                <c:pt idx="4124">
                  <c:v>1.2273584000000001E-2</c:v>
                </c:pt>
                <c:pt idx="4125">
                  <c:v>1.2853547999999999E-2</c:v>
                </c:pt>
                <c:pt idx="4126">
                  <c:v>1.3137474999999999E-2</c:v>
                </c:pt>
                <c:pt idx="4127">
                  <c:v>1.1427260999999999E-2</c:v>
                </c:pt>
                <c:pt idx="4128">
                  <c:v>1.2013749000000001E-2</c:v>
                </c:pt>
                <c:pt idx="4129">
                  <c:v>1.0460135000000001E-2</c:v>
                </c:pt>
                <c:pt idx="4130">
                  <c:v>1.1199618999999999E-2</c:v>
                </c:pt>
                <c:pt idx="4131">
                  <c:v>1.1492174000000001E-2</c:v>
                </c:pt>
                <c:pt idx="4132">
                  <c:v>1.4354132E-2</c:v>
                </c:pt>
                <c:pt idx="4133">
                  <c:v>1.6938175999999999E-2</c:v>
                </c:pt>
                <c:pt idx="4134">
                  <c:v>1.4934156000000001E-2</c:v>
                </c:pt>
                <c:pt idx="4135">
                  <c:v>1.7726024999999999E-2</c:v>
                </c:pt>
                <c:pt idx="4136">
                  <c:v>1.4796205E-2</c:v>
                </c:pt>
                <c:pt idx="4137">
                  <c:v>1.391686E-2</c:v>
                </c:pt>
                <c:pt idx="4138">
                  <c:v>1.3557392E-2</c:v>
                </c:pt>
                <c:pt idx="4139">
                  <c:v>1.3490986E-2</c:v>
                </c:pt>
                <c:pt idx="4140">
                  <c:v>1.3902361E-2</c:v>
                </c:pt>
                <c:pt idx="4141">
                  <c:v>1.0910635E-2</c:v>
                </c:pt>
                <c:pt idx="4142">
                  <c:v>1.4277164E-2</c:v>
                </c:pt>
                <c:pt idx="4143">
                  <c:v>1.2670058E-2</c:v>
                </c:pt>
                <c:pt idx="4144">
                  <c:v>1.5606445E-2</c:v>
                </c:pt>
                <c:pt idx="4145">
                  <c:v>1.3143098000000001E-2</c:v>
                </c:pt>
                <c:pt idx="4146">
                  <c:v>1.0826143E-2</c:v>
                </c:pt>
                <c:pt idx="4147">
                  <c:v>1.2642428000000001E-2</c:v>
                </c:pt>
                <c:pt idx="4148">
                  <c:v>1.0126820999999999E-2</c:v>
                </c:pt>
                <c:pt idx="4149">
                  <c:v>1.1456688E-2</c:v>
                </c:pt>
                <c:pt idx="4150">
                  <c:v>1.1948133E-2</c:v>
                </c:pt>
                <c:pt idx="4151">
                  <c:v>1.3678327000000001E-2</c:v>
                </c:pt>
                <c:pt idx="4152">
                  <c:v>1.4715274E-2</c:v>
                </c:pt>
                <c:pt idx="4153">
                  <c:v>1.4007164000000001E-2</c:v>
                </c:pt>
                <c:pt idx="4154">
                  <c:v>1.4293307E-2</c:v>
                </c:pt>
                <c:pt idx="4155">
                  <c:v>1.4706748E-2</c:v>
                </c:pt>
                <c:pt idx="4156">
                  <c:v>1.3541954E-2</c:v>
                </c:pt>
                <c:pt idx="4157">
                  <c:v>1.0837665999999999E-2</c:v>
                </c:pt>
                <c:pt idx="4158">
                  <c:v>1.0105888E-2</c:v>
                </c:pt>
                <c:pt idx="4159">
                  <c:v>1.0365355E-2</c:v>
                </c:pt>
                <c:pt idx="4160">
                  <c:v>9.8472090000000009E-3</c:v>
                </c:pt>
                <c:pt idx="4161">
                  <c:v>1.055853E-2</c:v>
                </c:pt>
                <c:pt idx="4162">
                  <c:v>1.1572023000000001E-2</c:v>
                </c:pt>
                <c:pt idx="4163">
                  <c:v>1.1537831E-2</c:v>
                </c:pt>
                <c:pt idx="4164">
                  <c:v>1.7303788000000001E-2</c:v>
                </c:pt>
                <c:pt idx="4165">
                  <c:v>1.4049483E-2</c:v>
                </c:pt>
                <c:pt idx="4166">
                  <c:v>1.2698337000000001E-2</c:v>
                </c:pt>
                <c:pt idx="4167">
                  <c:v>1.1547630999999999E-2</c:v>
                </c:pt>
                <c:pt idx="4168">
                  <c:v>1.0624863E-2</c:v>
                </c:pt>
                <c:pt idx="4169">
                  <c:v>1.2968077E-2</c:v>
                </c:pt>
                <c:pt idx="4170">
                  <c:v>1.1934587999999999E-2</c:v>
                </c:pt>
                <c:pt idx="4171">
                  <c:v>1.5210324000000001E-2</c:v>
                </c:pt>
                <c:pt idx="4172">
                  <c:v>1.5728882999999999E-2</c:v>
                </c:pt>
                <c:pt idx="4173">
                  <c:v>1.8199737000000001E-2</c:v>
                </c:pt>
                <c:pt idx="4174">
                  <c:v>1.3611542000000001E-2</c:v>
                </c:pt>
                <c:pt idx="4175">
                  <c:v>1.4279699E-2</c:v>
                </c:pt>
                <c:pt idx="4176">
                  <c:v>1.2198066E-2</c:v>
                </c:pt>
                <c:pt idx="4177">
                  <c:v>1.8975478E-2</c:v>
                </c:pt>
                <c:pt idx="4178">
                  <c:v>1.8365932000000001E-2</c:v>
                </c:pt>
                <c:pt idx="4179">
                  <c:v>1.6809956000000001E-2</c:v>
                </c:pt>
                <c:pt idx="4180">
                  <c:v>1.4002710999999999E-2</c:v>
                </c:pt>
                <c:pt idx="4181">
                  <c:v>1.1903331E-2</c:v>
                </c:pt>
                <c:pt idx="4182">
                  <c:v>1.1839076E-2</c:v>
                </c:pt>
                <c:pt idx="4183">
                  <c:v>1.0967786E-2</c:v>
                </c:pt>
                <c:pt idx="4184">
                  <c:v>1.02024E-2</c:v>
                </c:pt>
                <c:pt idx="4185">
                  <c:v>1.0192046E-2</c:v>
                </c:pt>
                <c:pt idx="4186">
                  <c:v>1.1094308000000001E-2</c:v>
                </c:pt>
                <c:pt idx="4187">
                  <c:v>9.3900709999999998E-3</c:v>
                </c:pt>
                <c:pt idx="4188">
                  <c:v>1.2954736999999999E-2</c:v>
                </c:pt>
                <c:pt idx="4189">
                  <c:v>1.2552769E-2</c:v>
                </c:pt>
                <c:pt idx="4190">
                  <c:v>1.2531531E-2</c:v>
                </c:pt>
                <c:pt idx="4191">
                  <c:v>1.4900461E-2</c:v>
                </c:pt>
                <c:pt idx="4192">
                  <c:v>1.2632567000000001E-2</c:v>
                </c:pt>
                <c:pt idx="4193">
                  <c:v>1.3378216E-2</c:v>
                </c:pt>
                <c:pt idx="4194">
                  <c:v>1.3876896999999999E-2</c:v>
                </c:pt>
                <c:pt idx="4195">
                  <c:v>1.3501143E-2</c:v>
                </c:pt>
                <c:pt idx="4196">
                  <c:v>1.1705659E-2</c:v>
                </c:pt>
                <c:pt idx="4197">
                  <c:v>1.1676944E-2</c:v>
                </c:pt>
                <c:pt idx="4198">
                  <c:v>1.1674225E-2</c:v>
                </c:pt>
                <c:pt idx="4199">
                  <c:v>0</c:v>
                </c:pt>
              </c:numCache>
            </c:numRef>
          </c:val>
          <c:smooth val="0"/>
          <c:extLst>
            <c:ext xmlns:c16="http://schemas.microsoft.com/office/drawing/2014/chart" uri="{C3380CC4-5D6E-409C-BE32-E72D297353CC}">
              <c16:uniqueId val="{00000001-DFB4-4CAF-B9FD-3369932EE519}"/>
            </c:ext>
          </c:extLst>
        </c:ser>
        <c:dLbls>
          <c:showLegendKey val="0"/>
          <c:showVal val="0"/>
          <c:showCatName val="0"/>
          <c:showSerName val="0"/>
          <c:showPercent val="0"/>
          <c:showBubbleSize val="0"/>
        </c:dLbls>
        <c:marker val="1"/>
        <c:smooth val="0"/>
        <c:axId val="671019576"/>
        <c:axId val="671014456"/>
      </c:lineChart>
      <c:dateAx>
        <c:axId val="652179984"/>
        <c:scaling>
          <c:orientation val="minMax"/>
        </c:scaling>
        <c:delete val="0"/>
        <c:axPos val="b"/>
        <c:numFmt formatCode="yyyy/m/d;@"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zh-CN"/>
          </a:p>
        </c:txPr>
        <c:crossAx val="652186064"/>
        <c:crosses val="autoZero"/>
        <c:auto val="1"/>
        <c:lblOffset val="100"/>
        <c:baseTimeUnit val="days"/>
      </c:dateAx>
      <c:valAx>
        <c:axId val="652186064"/>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zh-CN"/>
          </a:p>
        </c:txPr>
        <c:crossAx val="652179984"/>
        <c:crosses val="autoZero"/>
        <c:crossBetween val="between"/>
      </c:valAx>
      <c:valAx>
        <c:axId val="671014456"/>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zh-CN"/>
          </a:p>
        </c:txPr>
        <c:crossAx val="671019576"/>
        <c:crosses val="max"/>
        <c:crossBetween val="between"/>
      </c:valAx>
      <c:dateAx>
        <c:axId val="671019576"/>
        <c:scaling>
          <c:orientation val="minMax"/>
        </c:scaling>
        <c:delete val="1"/>
        <c:axPos val="b"/>
        <c:numFmt formatCode="yyyy/m/d;@" sourceLinked="1"/>
        <c:majorTickMark val="out"/>
        <c:minorTickMark val="none"/>
        <c:tickLblPos val="nextTo"/>
        <c:crossAx val="671014456"/>
        <c:crosses val="autoZero"/>
        <c:auto val="1"/>
        <c:lblOffset val="100"/>
        <c:baseTimeUnit val="days"/>
        <c:majorUnit val="1"/>
        <c:minorUnit val="1"/>
      </c:date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pPr>
      <a:endParaRPr lang="zh-CN"/>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4"/>
          <c:order val="4"/>
          <c:tx>
            <c:strRef>
              <c:f>tr_60!$F$1</c:f>
              <c:strCache>
                <c:ptCount val="1"/>
                <c:pt idx="0">
                  <c:v>close price</c:v>
                </c:pt>
              </c:strCache>
            </c:strRef>
          </c:tx>
          <c:spPr>
            <a:solidFill>
              <a:schemeClr val="bg2">
                <a:lumMod val="75000"/>
              </a:schemeClr>
            </a:solidFill>
            <a:ln>
              <a:noFill/>
            </a:ln>
            <a:effectLst/>
          </c:spPr>
          <c:invertIfNegative val="0"/>
          <c:cat>
            <c:numRef>
              <c:f>tr_60!$A$2:$A$4201</c:f>
              <c:numCache>
                <c:formatCode>m/d/yyyy</c:formatCode>
                <c:ptCount val="4200"/>
                <c:pt idx="0">
                  <c:v>38356</c:v>
                </c:pt>
                <c:pt idx="1">
                  <c:v>38357</c:v>
                </c:pt>
                <c:pt idx="2">
                  <c:v>38358</c:v>
                </c:pt>
                <c:pt idx="3">
                  <c:v>38359</c:v>
                </c:pt>
                <c:pt idx="4">
                  <c:v>38362</c:v>
                </c:pt>
                <c:pt idx="5">
                  <c:v>38363</c:v>
                </c:pt>
                <c:pt idx="6">
                  <c:v>38364</c:v>
                </c:pt>
                <c:pt idx="7">
                  <c:v>38365</c:v>
                </c:pt>
                <c:pt idx="8">
                  <c:v>38366</c:v>
                </c:pt>
                <c:pt idx="9">
                  <c:v>38369</c:v>
                </c:pt>
                <c:pt idx="10">
                  <c:v>38370</c:v>
                </c:pt>
                <c:pt idx="11">
                  <c:v>38371</c:v>
                </c:pt>
                <c:pt idx="12">
                  <c:v>38372</c:v>
                </c:pt>
                <c:pt idx="13">
                  <c:v>38373</c:v>
                </c:pt>
                <c:pt idx="14">
                  <c:v>38376</c:v>
                </c:pt>
                <c:pt idx="15">
                  <c:v>38377</c:v>
                </c:pt>
                <c:pt idx="16">
                  <c:v>38378</c:v>
                </c:pt>
                <c:pt idx="17">
                  <c:v>38379</c:v>
                </c:pt>
                <c:pt idx="18">
                  <c:v>38380</c:v>
                </c:pt>
                <c:pt idx="19">
                  <c:v>38383</c:v>
                </c:pt>
                <c:pt idx="20">
                  <c:v>38384</c:v>
                </c:pt>
                <c:pt idx="21">
                  <c:v>38385</c:v>
                </c:pt>
                <c:pt idx="22">
                  <c:v>38386</c:v>
                </c:pt>
                <c:pt idx="23">
                  <c:v>38387</c:v>
                </c:pt>
                <c:pt idx="24">
                  <c:v>38399</c:v>
                </c:pt>
                <c:pt idx="25">
                  <c:v>38400</c:v>
                </c:pt>
                <c:pt idx="26">
                  <c:v>38401</c:v>
                </c:pt>
                <c:pt idx="27">
                  <c:v>38404</c:v>
                </c:pt>
                <c:pt idx="28">
                  <c:v>38405</c:v>
                </c:pt>
                <c:pt idx="29">
                  <c:v>38406</c:v>
                </c:pt>
                <c:pt idx="30">
                  <c:v>38407</c:v>
                </c:pt>
                <c:pt idx="31">
                  <c:v>38408</c:v>
                </c:pt>
                <c:pt idx="32">
                  <c:v>38411</c:v>
                </c:pt>
                <c:pt idx="33">
                  <c:v>38412</c:v>
                </c:pt>
                <c:pt idx="34">
                  <c:v>38413</c:v>
                </c:pt>
                <c:pt idx="35">
                  <c:v>38414</c:v>
                </c:pt>
                <c:pt idx="36">
                  <c:v>38415</c:v>
                </c:pt>
                <c:pt idx="37">
                  <c:v>38418</c:v>
                </c:pt>
                <c:pt idx="38">
                  <c:v>38419</c:v>
                </c:pt>
                <c:pt idx="39">
                  <c:v>38420</c:v>
                </c:pt>
                <c:pt idx="40">
                  <c:v>38421</c:v>
                </c:pt>
                <c:pt idx="41">
                  <c:v>38422</c:v>
                </c:pt>
                <c:pt idx="42">
                  <c:v>38425</c:v>
                </c:pt>
                <c:pt idx="43">
                  <c:v>38426</c:v>
                </c:pt>
                <c:pt idx="44">
                  <c:v>38427</c:v>
                </c:pt>
                <c:pt idx="45">
                  <c:v>38428</c:v>
                </c:pt>
                <c:pt idx="46">
                  <c:v>38429</c:v>
                </c:pt>
                <c:pt idx="47">
                  <c:v>38432</c:v>
                </c:pt>
                <c:pt idx="48">
                  <c:v>38433</c:v>
                </c:pt>
                <c:pt idx="49">
                  <c:v>38434</c:v>
                </c:pt>
                <c:pt idx="50">
                  <c:v>38435</c:v>
                </c:pt>
                <c:pt idx="51">
                  <c:v>38436</c:v>
                </c:pt>
                <c:pt idx="52">
                  <c:v>38439</c:v>
                </c:pt>
                <c:pt idx="53">
                  <c:v>38440</c:v>
                </c:pt>
                <c:pt idx="54">
                  <c:v>38441</c:v>
                </c:pt>
                <c:pt idx="55">
                  <c:v>38442</c:v>
                </c:pt>
                <c:pt idx="56">
                  <c:v>38443</c:v>
                </c:pt>
                <c:pt idx="57">
                  <c:v>38446</c:v>
                </c:pt>
                <c:pt idx="58">
                  <c:v>38447</c:v>
                </c:pt>
                <c:pt idx="59">
                  <c:v>38448</c:v>
                </c:pt>
                <c:pt idx="60">
                  <c:v>38449</c:v>
                </c:pt>
                <c:pt idx="61">
                  <c:v>38450</c:v>
                </c:pt>
                <c:pt idx="62">
                  <c:v>38453</c:v>
                </c:pt>
                <c:pt idx="63">
                  <c:v>38454</c:v>
                </c:pt>
                <c:pt idx="64">
                  <c:v>38455</c:v>
                </c:pt>
                <c:pt idx="65">
                  <c:v>38456</c:v>
                </c:pt>
                <c:pt idx="66">
                  <c:v>38457</c:v>
                </c:pt>
                <c:pt idx="67">
                  <c:v>38460</c:v>
                </c:pt>
                <c:pt idx="68">
                  <c:v>38461</c:v>
                </c:pt>
                <c:pt idx="69">
                  <c:v>38462</c:v>
                </c:pt>
                <c:pt idx="70">
                  <c:v>38463</c:v>
                </c:pt>
                <c:pt idx="71">
                  <c:v>38464</c:v>
                </c:pt>
                <c:pt idx="72">
                  <c:v>38467</c:v>
                </c:pt>
                <c:pt idx="73">
                  <c:v>38468</c:v>
                </c:pt>
                <c:pt idx="74">
                  <c:v>38469</c:v>
                </c:pt>
                <c:pt idx="75">
                  <c:v>38470</c:v>
                </c:pt>
                <c:pt idx="76">
                  <c:v>38471</c:v>
                </c:pt>
                <c:pt idx="77">
                  <c:v>38481</c:v>
                </c:pt>
                <c:pt idx="78">
                  <c:v>38482</c:v>
                </c:pt>
                <c:pt idx="79">
                  <c:v>38483</c:v>
                </c:pt>
                <c:pt idx="80">
                  <c:v>38484</c:v>
                </c:pt>
                <c:pt idx="81">
                  <c:v>38485</c:v>
                </c:pt>
                <c:pt idx="82">
                  <c:v>38488</c:v>
                </c:pt>
                <c:pt idx="83">
                  <c:v>38489</c:v>
                </c:pt>
                <c:pt idx="84">
                  <c:v>38490</c:v>
                </c:pt>
                <c:pt idx="85">
                  <c:v>38491</c:v>
                </c:pt>
                <c:pt idx="86">
                  <c:v>38492</c:v>
                </c:pt>
                <c:pt idx="87">
                  <c:v>38495</c:v>
                </c:pt>
                <c:pt idx="88">
                  <c:v>38496</c:v>
                </c:pt>
                <c:pt idx="89">
                  <c:v>38497</c:v>
                </c:pt>
                <c:pt idx="90">
                  <c:v>38498</c:v>
                </c:pt>
                <c:pt idx="91">
                  <c:v>38499</c:v>
                </c:pt>
                <c:pt idx="92">
                  <c:v>38502</c:v>
                </c:pt>
                <c:pt idx="93">
                  <c:v>38503</c:v>
                </c:pt>
                <c:pt idx="94">
                  <c:v>38504</c:v>
                </c:pt>
                <c:pt idx="95">
                  <c:v>38505</c:v>
                </c:pt>
                <c:pt idx="96">
                  <c:v>38506</c:v>
                </c:pt>
                <c:pt idx="97">
                  <c:v>38509</c:v>
                </c:pt>
                <c:pt idx="98">
                  <c:v>38510</c:v>
                </c:pt>
                <c:pt idx="99">
                  <c:v>38511</c:v>
                </c:pt>
                <c:pt idx="100">
                  <c:v>38512</c:v>
                </c:pt>
                <c:pt idx="101">
                  <c:v>38513</c:v>
                </c:pt>
                <c:pt idx="102">
                  <c:v>38516</c:v>
                </c:pt>
                <c:pt idx="103">
                  <c:v>38517</c:v>
                </c:pt>
                <c:pt idx="104">
                  <c:v>38518</c:v>
                </c:pt>
                <c:pt idx="105">
                  <c:v>38519</c:v>
                </c:pt>
                <c:pt idx="106">
                  <c:v>38520</c:v>
                </c:pt>
                <c:pt idx="107">
                  <c:v>38523</c:v>
                </c:pt>
                <c:pt idx="108">
                  <c:v>38524</c:v>
                </c:pt>
                <c:pt idx="109">
                  <c:v>38525</c:v>
                </c:pt>
                <c:pt idx="110">
                  <c:v>38526</c:v>
                </c:pt>
                <c:pt idx="111">
                  <c:v>38527</c:v>
                </c:pt>
                <c:pt idx="112">
                  <c:v>38530</c:v>
                </c:pt>
                <c:pt idx="113">
                  <c:v>38531</c:v>
                </c:pt>
                <c:pt idx="114">
                  <c:v>38532</c:v>
                </c:pt>
                <c:pt idx="115">
                  <c:v>38533</c:v>
                </c:pt>
                <c:pt idx="116">
                  <c:v>38534</c:v>
                </c:pt>
                <c:pt idx="117">
                  <c:v>38537</c:v>
                </c:pt>
                <c:pt idx="118">
                  <c:v>38538</c:v>
                </c:pt>
                <c:pt idx="119">
                  <c:v>38539</c:v>
                </c:pt>
                <c:pt idx="120">
                  <c:v>38540</c:v>
                </c:pt>
                <c:pt idx="121">
                  <c:v>38541</c:v>
                </c:pt>
                <c:pt idx="122">
                  <c:v>38544</c:v>
                </c:pt>
                <c:pt idx="123">
                  <c:v>38545</c:v>
                </c:pt>
                <c:pt idx="124">
                  <c:v>38546</c:v>
                </c:pt>
                <c:pt idx="125">
                  <c:v>38547</c:v>
                </c:pt>
                <c:pt idx="126">
                  <c:v>38548</c:v>
                </c:pt>
                <c:pt idx="127">
                  <c:v>38551</c:v>
                </c:pt>
                <c:pt idx="128">
                  <c:v>38552</c:v>
                </c:pt>
                <c:pt idx="129">
                  <c:v>38553</c:v>
                </c:pt>
                <c:pt idx="130">
                  <c:v>38554</c:v>
                </c:pt>
                <c:pt idx="131">
                  <c:v>38555</c:v>
                </c:pt>
                <c:pt idx="132">
                  <c:v>38558</c:v>
                </c:pt>
                <c:pt idx="133">
                  <c:v>38559</c:v>
                </c:pt>
                <c:pt idx="134">
                  <c:v>38560</c:v>
                </c:pt>
                <c:pt idx="135">
                  <c:v>38561</c:v>
                </c:pt>
                <c:pt idx="136">
                  <c:v>38562</c:v>
                </c:pt>
                <c:pt idx="137">
                  <c:v>38565</c:v>
                </c:pt>
                <c:pt idx="138">
                  <c:v>38566</c:v>
                </c:pt>
                <c:pt idx="139">
                  <c:v>38567</c:v>
                </c:pt>
                <c:pt idx="140">
                  <c:v>38568</c:v>
                </c:pt>
                <c:pt idx="141">
                  <c:v>38569</c:v>
                </c:pt>
                <c:pt idx="142">
                  <c:v>38572</c:v>
                </c:pt>
                <c:pt idx="143">
                  <c:v>38573</c:v>
                </c:pt>
                <c:pt idx="144">
                  <c:v>38574</c:v>
                </c:pt>
                <c:pt idx="145">
                  <c:v>38575</c:v>
                </c:pt>
                <c:pt idx="146">
                  <c:v>38576</c:v>
                </c:pt>
                <c:pt idx="147">
                  <c:v>38579</c:v>
                </c:pt>
                <c:pt idx="148">
                  <c:v>38580</c:v>
                </c:pt>
                <c:pt idx="149">
                  <c:v>38581</c:v>
                </c:pt>
                <c:pt idx="150">
                  <c:v>38582</c:v>
                </c:pt>
                <c:pt idx="151">
                  <c:v>38583</c:v>
                </c:pt>
                <c:pt idx="152">
                  <c:v>38586</c:v>
                </c:pt>
                <c:pt idx="153">
                  <c:v>38587</c:v>
                </c:pt>
                <c:pt idx="154">
                  <c:v>38588</c:v>
                </c:pt>
                <c:pt idx="155">
                  <c:v>38589</c:v>
                </c:pt>
                <c:pt idx="156">
                  <c:v>38590</c:v>
                </c:pt>
                <c:pt idx="157">
                  <c:v>38593</c:v>
                </c:pt>
                <c:pt idx="158">
                  <c:v>38594</c:v>
                </c:pt>
                <c:pt idx="159">
                  <c:v>38595</c:v>
                </c:pt>
                <c:pt idx="160">
                  <c:v>38596</c:v>
                </c:pt>
                <c:pt idx="161">
                  <c:v>38597</c:v>
                </c:pt>
                <c:pt idx="162">
                  <c:v>38600</c:v>
                </c:pt>
                <c:pt idx="163">
                  <c:v>38601</c:v>
                </c:pt>
                <c:pt idx="164">
                  <c:v>38602</c:v>
                </c:pt>
                <c:pt idx="165">
                  <c:v>38603</c:v>
                </c:pt>
                <c:pt idx="166">
                  <c:v>38604</c:v>
                </c:pt>
                <c:pt idx="167">
                  <c:v>38607</c:v>
                </c:pt>
                <c:pt idx="168">
                  <c:v>38608</c:v>
                </c:pt>
                <c:pt idx="169">
                  <c:v>38609</c:v>
                </c:pt>
                <c:pt idx="170">
                  <c:v>38610</c:v>
                </c:pt>
                <c:pt idx="171">
                  <c:v>38611</c:v>
                </c:pt>
                <c:pt idx="172">
                  <c:v>38614</c:v>
                </c:pt>
                <c:pt idx="173">
                  <c:v>38615</c:v>
                </c:pt>
                <c:pt idx="174">
                  <c:v>38616</c:v>
                </c:pt>
                <c:pt idx="175">
                  <c:v>38617</c:v>
                </c:pt>
                <c:pt idx="176">
                  <c:v>38618</c:v>
                </c:pt>
                <c:pt idx="177">
                  <c:v>38621</c:v>
                </c:pt>
                <c:pt idx="178">
                  <c:v>38622</c:v>
                </c:pt>
                <c:pt idx="179">
                  <c:v>38623</c:v>
                </c:pt>
                <c:pt idx="180">
                  <c:v>38624</c:v>
                </c:pt>
                <c:pt idx="181">
                  <c:v>38625</c:v>
                </c:pt>
                <c:pt idx="182">
                  <c:v>38635</c:v>
                </c:pt>
                <c:pt idx="183">
                  <c:v>38636</c:v>
                </c:pt>
                <c:pt idx="184">
                  <c:v>38637</c:v>
                </c:pt>
                <c:pt idx="185">
                  <c:v>38638</c:v>
                </c:pt>
                <c:pt idx="186">
                  <c:v>38639</c:v>
                </c:pt>
                <c:pt idx="187">
                  <c:v>38642</c:v>
                </c:pt>
                <c:pt idx="188">
                  <c:v>38643</c:v>
                </c:pt>
                <c:pt idx="189">
                  <c:v>38644</c:v>
                </c:pt>
                <c:pt idx="190">
                  <c:v>38645</c:v>
                </c:pt>
                <c:pt idx="191">
                  <c:v>38646</c:v>
                </c:pt>
                <c:pt idx="192">
                  <c:v>38649</c:v>
                </c:pt>
                <c:pt idx="193">
                  <c:v>38650</c:v>
                </c:pt>
                <c:pt idx="194">
                  <c:v>38651</c:v>
                </c:pt>
                <c:pt idx="195">
                  <c:v>38652</c:v>
                </c:pt>
                <c:pt idx="196">
                  <c:v>38653</c:v>
                </c:pt>
                <c:pt idx="197">
                  <c:v>38656</c:v>
                </c:pt>
                <c:pt idx="198">
                  <c:v>38657</c:v>
                </c:pt>
                <c:pt idx="199">
                  <c:v>38658</c:v>
                </c:pt>
                <c:pt idx="200">
                  <c:v>38659</c:v>
                </c:pt>
                <c:pt idx="201">
                  <c:v>38660</c:v>
                </c:pt>
                <c:pt idx="202">
                  <c:v>38663</c:v>
                </c:pt>
                <c:pt idx="203">
                  <c:v>38664</c:v>
                </c:pt>
                <c:pt idx="204">
                  <c:v>38665</c:v>
                </c:pt>
                <c:pt idx="205">
                  <c:v>38666</c:v>
                </c:pt>
                <c:pt idx="206">
                  <c:v>38667</c:v>
                </c:pt>
                <c:pt idx="207">
                  <c:v>38670</c:v>
                </c:pt>
                <c:pt idx="208">
                  <c:v>38671</c:v>
                </c:pt>
                <c:pt idx="209">
                  <c:v>38672</c:v>
                </c:pt>
                <c:pt idx="210">
                  <c:v>38673</c:v>
                </c:pt>
                <c:pt idx="211">
                  <c:v>38674</c:v>
                </c:pt>
                <c:pt idx="212">
                  <c:v>38677</c:v>
                </c:pt>
                <c:pt idx="213">
                  <c:v>38678</c:v>
                </c:pt>
                <c:pt idx="214">
                  <c:v>38679</c:v>
                </c:pt>
                <c:pt idx="215">
                  <c:v>38680</c:v>
                </c:pt>
                <c:pt idx="216">
                  <c:v>38681</c:v>
                </c:pt>
                <c:pt idx="217">
                  <c:v>38684</c:v>
                </c:pt>
                <c:pt idx="218">
                  <c:v>38685</c:v>
                </c:pt>
                <c:pt idx="219">
                  <c:v>38686</c:v>
                </c:pt>
                <c:pt idx="220">
                  <c:v>38687</c:v>
                </c:pt>
                <c:pt idx="221">
                  <c:v>38688</c:v>
                </c:pt>
                <c:pt idx="222">
                  <c:v>38691</c:v>
                </c:pt>
                <c:pt idx="223">
                  <c:v>38692</c:v>
                </c:pt>
                <c:pt idx="224">
                  <c:v>38693</c:v>
                </c:pt>
                <c:pt idx="225">
                  <c:v>38694</c:v>
                </c:pt>
                <c:pt idx="226">
                  <c:v>38695</c:v>
                </c:pt>
                <c:pt idx="227">
                  <c:v>38698</c:v>
                </c:pt>
                <c:pt idx="228">
                  <c:v>38699</c:v>
                </c:pt>
                <c:pt idx="229">
                  <c:v>38700</c:v>
                </c:pt>
                <c:pt idx="230">
                  <c:v>38701</c:v>
                </c:pt>
                <c:pt idx="231">
                  <c:v>38702</c:v>
                </c:pt>
                <c:pt idx="232">
                  <c:v>38705</c:v>
                </c:pt>
                <c:pt idx="233">
                  <c:v>38706</c:v>
                </c:pt>
                <c:pt idx="234">
                  <c:v>38707</c:v>
                </c:pt>
                <c:pt idx="235">
                  <c:v>38708</c:v>
                </c:pt>
                <c:pt idx="236">
                  <c:v>38709</c:v>
                </c:pt>
                <c:pt idx="237">
                  <c:v>38712</c:v>
                </c:pt>
                <c:pt idx="238">
                  <c:v>38713</c:v>
                </c:pt>
                <c:pt idx="239">
                  <c:v>38714</c:v>
                </c:pt>
                <c:pt idx="240">
                  <c:v>38715</c:v>
                </c:pt>
                <c:pt idx="241">
                  <c:v>38716</c:v>
                </c:pt>
                <c:pt idx="242">
                  <c:v>38721</c:v>
                </c:pt>
                <c:pt idx="243">
                  <c:v>38722</c:v>
                </c:pt>
                <c:pt idx="244">
                  <c:v>38723</c:v>
                </c:pt>
                <c:pt idx="245">
                  <c:v>38726</c:v>
                </c:pt>
                <c:pt idx="246">
                  <c:v>38727</c:v>
                </c:pt>
                <c:pt idx="247">
                  <c:v>38728</c:v>
                </c:pt>
                <c:pt idx="248">
                  <c:v>38729</c:v>
                </c:pt>
                <c:pt idx="249">
                  <c:v>38730</c:v>
                </c:pt>
                <c:pt idx="250">
                  <c:v>38733</c:v>
                </c:pt>
                <c:pt idx="251">
                  <c:v>38734</c:v>
                </c:pt>
                <c:pt idx="252">
                  <c:v>38735</c:v>
                </c:pt>
                <c:pt idx="253">
                  <c:v>38736</c:v>
                </c:pt>
                <c:pt idx="254">
                  <c:v>38737</c:v>
                </c:pt>
                <c:pt idx="255">
                  <c:v>38740</c:v>
                </c:pt>
                <c:pt idx="256">
                  <c:v>38741</c:v>
                </c:pt>
                <c:pt idx="257">
                  <c:v>38742</c:v>
                </c:pt>
                <c:pt idx="258">
                  <c:v>38754</c:v>
                </c:pt>
                <c:pt idx="259">
                  <c:v>38755</c:v>
                </c:pt>
                <c:pt idx="260">
                  <c:v>38756</c:v>
                </c:pt>
                <c:pt idx="261">
                  <c:v>38757</c:v>
                </c:pt>
                <c:pt idx="262">
                  <c:v>38758</c:v>
                </c:pt>
                <c:pt idx="263">
                  <c:v>38761</c:v>
                </c:pt>
                <c:pt idx="264">
                  <c:v>38762</c:v>
                </c:pt>
                <c:pt idx="265">
                  <c:v>38763</c:v>
                </c:pt>
                <c:pt idx="266">
                  <c:v>38764</c:v>
                </c:pt>
                <c:pt idx="267">
                  <c:v>38765</c:v>
                </c:pt>
                <c:pt idx="268">
                  <c:v>38768</c:v>
                </c:pt>
                <c:pt idx="269">
                  <c:v>38769</c:v>
                </c:pt>
                <c:pt idx="270">
                  <c:v>38770</c:v>
                </c:pt>
                <c:pt idx="271">
                  <c:v>38771</c:v>
                </c:pt>
                <c:pt idx="272">
                  <c:v>38772</c:v>
                </c:pt>
                <c:pt idx="273">
                  <c:v>38775</c:v>
                </c:pt>
                <c:pt idx="274">
                  <c:v>38776</c:v>
                </c:pt>
                <c:pt idx="275">
                  <c:v>38777</c:v>
                </c:pt>
                <c:pt idx="276">
                  <c:v>38778</c:v>
                </c:pt>
                <c:pt idx="277">
                  <c:v>38779</c:v>
                </c:pt>
                <c:pt idx="278">
                  <c:v>38782</c:v>
                </c:pt>
                <c:pt idx="279">
                  <c:v>38783</c:v>
                </c:pt>
                <c:pt idx="280">
                  <c:v>38784</c:v>
                </c:pt>
                <c:pt idx="281">
                  <c:v>38785</c:v>
                </c:pt>
                <c:pt idx="282">
                  <c:v>38786</c:v>
                </c:pt>
                <c:pt idx="283">
                  <c:v>38789</c:v>
                </c:pt>
                <c:pt idx="284">
                  <c:v>38790</c:v>
                </c:pt>
                <c:pt idx="285">
                  <c:v>38791</c:v>
                </c:pt>
                <c:pt idx="286">
                  <c:v>38792</c:v>
                </c:pt>
                <c:pt idx="287">
                  <c:v>38793</c:v>
                </c:pt>
                <c:pt idx="288">
                  <c:v>38796</c:v>
                </c:pt>
                <c:pt idx="289">
                  <c:v>38797</c:v>
                </c:pt>
                <c:pt idx="290">
                  <c:v>38798</c:v>
                </c:pt>
                <c:pt idx="291">
                  <c:v>38799</c:v>
                </c:pt>
                <c:pt idx="292">
                  <c:v>38800</c:v>
                </c:pt>
                <c:pt idx="293">
                  <c:v>38803</c:v>
                </c:pt>
                <c:pt idx="294">
                  <c:v>38804</c:v>
                </c:pt>
                <c:pt idx="295">
                  <c:v>38805</c:v>
                </c:pt>
                <c:pt idx="296">
                  <c:v>38806</c:v>
                </c:pt>
                <c:pt idx="297">
                  <c:v>38807</c:v>
                </c:pt>
                <c:pt idx="298">
                  <c:v>38810</c:v>
                </c:pt>
                <c:pt idx="299">
                  <c:v>38811</c:v>
                </c:pt>
                <c:pt idx="300">
                  <c:v>38812</c:v>
                </c:pt>
                <c:pt idx="301">
                  <c:v>38813</c:v>
                </c:pt>
                <c:pt idx="302">
                  <c:v>38814</c:v>
                </c:pt>
                <c:pt idx="303">
                  <c:v>38817</c:v>
                </c:pt>
                <c:pt idx="304">
                  <c:v>38818</c:v>
                </c:pt>
                <c:pt idx="305">
                  <c:v>38819</c:v>
                </c:pt>
                <c:pt idx="306">
                  <c:v>38820</c:v>
                </c:pt>
                <c:pt idx="307">
                  <c:v>38821</c:v>
                </c:pt>
                <c:pt idx="308">
                  <c:v>38824</c:v>
                </c:pt>
                <c:pt idx="309">
                  <c:v>38825</c:v>
                </c:pt>
                <c:pt idx="310">
                  <c:v>38826</c:v>
                </c:pt>
                <c:pt idx="311">
                  <c:v>38827</c:v>
                </c:pt>
                <c:pt idx="312">
                  <c:v>38828</c:v>
                </c:pt>
                <c:pt idx="313">
                  <c:v>38831</c:v>
                </c:pt>
                <c:pt idx="314">
                  <c:v>38832</c:v>
                </c:pt>
                <c:pt idx="315">
                  <c:v>38833</c:v>
                </c:pt>
                <c:pt idx="316">
                  <c:v>38834</c:v>
                </c:pt>
                <c:pt idx="317">
                  <c:v>38835</c:v>
                </c:pt>
                <c:pt idx="318">
                  <c:v>38845</c:v>
                </c:pt>
                <c:pt idx="319">
                  <c:v>38846</c:v>
                </c:pt>
                <c:pt idx="320">
                  <c:v>38847</c:v>
                </c:pt>
                <c:pt idx="321">
                  <c:v>38848</c:v>
                </c:pt>
                <c:pt idx="322">
                  <c:v>38849</c:v>
                </c:pt>
                <c:pt idx="323">
                  <c:v>38852</c:v>
                </c:pt>
                <c:pt idx="324">
                  <c:v>38853</c:v>
                </c:pt>
                <c:pt idx="325">
                  <c:v>38854</c:v>
                </c:pt>
                <c:pt idx="326">
                  <c:v>38855</c:v>
                </c:pt>
                <c:pt idx="327">
                  <c:v>38856</c:v>
                </c:pt>
                <c:pt idx="328">
                  <c:v>38859</c:v>
                </c:pt>
                <c:pt idx="329">
                  <c:v>38860</c:v>
                </c:pt>
                <c:pt idx="330">
                  <c:v>38861</c:v>
                </c:pt>
                <c:pt idx="331">
                  <c:v>38862</c:v>
                </c:pt>
                <c:pt idx="332">
                  <c:v>38863</c:v>
                </c:pt>
                <c:pt idx="333">
                  <c:v>38866</c:v>
                </c:pt>
                <c:pt idx="334">
                  <c:v>38867</c:v>
                </c:pt>
                <c:pt idx="335">
                  <c:v>38868</c:v>
                </c:pt>
                <c:pt idx="336">
                  <c:v>38869</c:v>
                </c:pt>
                <c:pt idx="337">
                  <c:v>38870</c:v>
                </c:pt>
                <c:pt idx="338">
                  <c:v>38873</c:v>
                </c:pt>
                <c:pt idx="339">
                  <c:v>38874</c:v>
                </c:pt>
                <c:pt idx="340">
                  <c:v>38875</c:v>
                </c:pt>
                <c:pt idx="341">
                  <c:v>38876</c:v>
                </c:pt>
                <c:pt idx="342">
                  <c:v>38877</c:v>
                </c:pt>
                <c:pt idx="343">
                  <c:v>38880</c:v>
                </c:pt>
                <c:pt idx="344">
                  <c:v>38881</c:v>
                </c:pt>
                <c:pt idx="345">
                  <c:v>38882</c:v>
                </c:pt>
                <c:pt idx="346">
                  <c:v>38883</c:v>
                </c:pt>
                <c:pt idx="347">
                  <c:v>38884</c:v>
                </c:pt>
                <c:pt idx="348">
                  <c:v>38887</c:v>
                </c:pt>
                <c:pt idx="349">
                  <c:v>38888</c:v>
                </c:pt>
                <c:pt idx="350">
                  <c:v>38889</c:v>
                </c:pt>
                <c:pt idx="351">
                  <c:v>38890</c:v>
                </c:pt>
                <c:pt idx="352">
                  <c:v>38891</c:v>
                </c:pt>
                <c:pt idx="353">
                  <c:v>38894</c:v>
                </c:pt>
                <c:pt idx="354">
                  <c:v>38895</c:v>
                </c:pt>
                <c:pt idx="355">
                  <c:v>38896</c:v>
                </c:pt>
                <c:pt idx="356">
                  <c:v>38897</c:v>
                </c:pt>
                <c:pt idx="357">
                  <c:v>38898</c:v>
                </c:pt>
                <c:pt idx="358">
                  <c:v>38901</c:v>
                </c:pt>
                <c:pt idx="359">
                  <c:v>38902</c:v>
                </c:pt>
                <c:pt idx="360">
                  <c:v>38903</c:v>
                </c:pt>
                <c:pt idx="361">
                  <c:v>38904</c:v>
                </c:pt>
                <c:pt idx="362">
                  <c:v>38905</c:v>
                </c:pt>
                <c:pt idx="363">
                  <c:v>38908</c:v>
                </c:pt>
                <c:pt idx="364">
                  <c:v>38909</c:v>
                </c:pt>
                <c:pt idx="365">
                  <c:v>38910</c:v>
                </c:pt>
                <c:pt idx="366">
                  <c:v>38911</c:v>
                </c:pt>
                <c:pt idx="367">
                  <c:v>38912</c:v>
                </c:pt>
                <c:pt idx="368">
                  <c:v>38915</c:v>
                </c:pt>
                <c:pt idx="369">
                  <c:v>38916</c:v>
                </c:pt>
                <c:pt idx="370">
                  <c:v>38917</c:v>
                </c:pt>
                <c:pt idx="371">
                  <c:v>38918</c:v>
                </c:pt>
                <c:pt idx="372">
                  <c:v>38919</c:v>
                </c:pt>
                <c:pt idx="373">
                  <c:v>38922</c:v>
                </c:pt>
                <c:pt idx="374">
                  <c:v>38923</c:v>
                </c:pt>
                <c:pt idx="375">
                  <c:v>38924</c:v>
                </c:pt>
                <c:pt idx="376">
                  <c:v>38925</c:v>
                </c:pt>
                <c:pt idx="377">
                  <c:v>38926</c:v>
                </c:pt>
                <c:pt idx="378">
                  <c:v>38929</c:v>
                </c:pt>
                <c:pt idx="379">
                  <c:v>38930</c:v>
                </c:pt>
                <c:pt idx="380">
                  <c:v>38931</c:v>
                </c:pt>
                <c:pt idx="381">
                  <c:v>38932</c:v>
                </c:pt>
                <c:pt idx="382">
                  <c:v>38933</c:v>
                </c:pt>
                <c:pt idx="383">
                  <c:v>38936</c:v>
                </c:pt>
                <c:pt idx="384">
                  <c:v>38937</c:v>
                </c:pt>
                <c:pt idx="385">
                  <c:v>38938</c:v>
                </c:pt>
                <c:pt idx="386">
                  <c:v>38939</c:v>
                </c:pt>
                <c:pt idx="387">
                  <c:v>38940</c:v>
                </c:pt>
                <c:pt idx="388">
                  <c:v>38943</c:v>
                </c:pt>
                <c:pt idx="389">
                  <c:v>38944</c:v>
                </c:pt>
                <c:pt idx="390">
                  <c:v>38945</c:v>
                </c:pt>
                <c:pt idx="391">
                  <c:v>38946</c:v>
                </c:pt>
                <c:pt idx="392">
                  <c:v>38947</c:v>
                </c:pt>
                <c:pt idx="393">
                  <c:v>38950</c:v>
                </c:pt>
                <c:pt idx="394">
                  <c:v>38951</c:v>
                </c:pt>
                <c:pt idx="395">
                  <c:v>38952</c:v>
                </c:pt>
                <c:pt idx="396">
                  <c:v>38953</c:v>
                </c:pt>
                <c:pt idx="397">
                  <c:v>38954</c:v>
                </c:pt>
                <c:pt idx="398">
                  <c:v>38957</c:v>
                </c:pt>
                <c:pt idx="399">
                  <c:v>38958</c:v>
                </c:pt>
                <c:pt idx="400">
                  <c:v>38959</c:v>
                </c:pt>
                <c:pt idx="401">
                  <c:v>38960</c:v>
                </c:pt>
                <c:pt idx="402">
                  <c:v>38961</c:v>
                </c:pt>
                <c:pt idx="403">
                  <c:v>38964</c:v>
                </c:pt>
                <c:pt idx="404">
                  <c:v>38965</c:v>
                </c:pt>
                <c:pt idx="405">
                  <c:v>38966</c:v>
                </c:pt>
                <c:pt idx="406">
                  <c:v>38967</c:v>
                </c:pt>
                <c:pt idx="407">
                  <c:v>38968</c:v>
                </c:pt>
                <c:pt idx="408">
                  <c:v>38971</c:v>
                </c:pt>
                <c:pt idx="409">
                  <c:v>38972</c:v>
                </c:pt>
                <c:pt idx="410">
                  <c:v>38973</c:v>
                </c:pt>
                <c:pt idx="411">
                  <c:v>38974</c:v>
                </c:pt>
                <c:pt idx="412">
                  <c:v>38975</c:v>
                </c:pt>
                <c:pt idx="413">
                  <c:v>38978</c:v>
                </c:pt>
                <c:pt idx="414">
                  <c:v>38979</c:v>
                </c:pt>
                <c:pt idx="415">
                  <c:v>38980</c:v>
                </c:pt>
                <c:pt idx="416">
                  <c:v>38981</c:v>
                </c:pt>
                <c:pt idx="417">
                  <c:v>38982</c:v>
                </c:pt>
                <c:pt idx="418">
                  <c:v>38985</c:v>
                </c:pt>
                <c:pt idx="419">
                  <c:v>38986</c:v>
                </c:pt>
                <c:pt idx="420">
                  <c:v>38987</c:v>
                </c:pt>
                <c:pt idx="421">
                  <c:v>38988</c:v>
                </c:pt>
                <c:pt idx="422">
                  <c:v>38989</c:v>
                </c:pt>
                <c:pt idx="423">
                  <c:v>38999</c:v>
                </c:pt>
                <c:pt idx="424">
                  <c:v>39000</c:v>
                </c:pt>
                <c:pt idx="425">
                  <c:v>39001</c:v>
                </c:pt>
                <c:pt idx="426">
                  <c:v>39002</c:v>
                </c:pt>
                <c:pt idx="427">
                  <c:v>39003</c:v>
                </c:pt>
                <c:pt idx="428">
                  <c:v>39006</c:v>
                </c:pt>
                <c:pt idx="429">
                  <c:v>39007</c:v>
                </c:pt>
                <c:pt idx="430">
                  <c:v>39008</c:v>
                </c:pt>
                <c:pt idx="431">
                  <c:v>39009</c:v>
                </c:pt>
                <c:pt idx="432">
                  <c:v>39010</c:v>
                </c:pt>
                <c:pt idx="433">
                  <c:v>39013</c:v>
                </c:pt>
                <c:pt idx="434">
                  <c:v>39014</c:v>
                </c:pt>
                <c:pt idx="435">
                  <c:v>39015</c:v>
                </c:pt>
                <c:pt idx="436">
                  <c:v>39016</c:v>
                </c:pt>
                <c:pt idx="437">
                  <c:v>39017</c:v>
                </c:pt>
                <c:pt idx="438">
                  <c:v>39020</c:v>
                </c:pt>
                <c:pt idx="439">
                  <c:v>39021</c:v>
                </c:pt>
                <c:pt idx="440">
                  <c:v>39022</c:v>
                </c:pt>
                <c:pt idx="441">
                  <c:v>39023</c:v>
                </c:pt>
                <c:pt idx="442">
                  <c:v>39024</c:v>
                </c:pt>
                <c:pt idx="443">
                  <c:v>39027</c:v>
                </c:pt>
                <c:pt idx="444">
                  <c:v>39028</c:v>
                </c:pt>
                <c:pt idx="445">
                  <c:v>39029</c:v>
                </c:pt>
                <c:pt idx="446">
                  <c:v>39030</c:v>
                </c:pt>
                <c:pt idx="447">
                  <c:v>39031</c:v>
                </c:pt>
                <c:pt idx="448">
                  <c:v>39034</c:v>
                </c:pt>
                <c:pt idx="449">
                  <c:v>39035</c:v>
                </c:pt>
                <c:pt idx="450">
                  <c:v>39036</c:v>
                </c:pt>
                <c:pt idx="451">
                  <c:v>39037</c:v>
                </c:pt>
                <c:pt idx="452">
                  <c:v>39038</c:v>
                </c:pt>
                <c:pt idx="453">
                  <c:v>39041</c:v>
                </c:pt>
                <c:pt idx="454">
                  <c:v>39042</c:v>
                </c:pt>
                <c:pt idx="455">
                  <c:v>39043</c:v>
                </c:pt>
                <c:pt idx="456">
                  <c:v>39044</c:v>
                </c:pt>
                <c:pt idx="457">
                  <c:v>39045</c:v>
                </c:pt>
                <c:pt idx="458">
                  <c:v>39048</c:v>
                </c:pt>
                <c:pt idx="459">
                  <c:v>39049</c:v>
                </c:pt>
                <c:pt idx="460">
                  <c:v>39050</c:v>
                </c:pt>
                <c:pt idx="461">
                  <c:v>39051</c:v>
                </c:pt>
                <c:pt idx="462">
                  <c:v>39052</c:v>
                </c:pt>
                <c:pt idx="463">
                  <c:v>39055</c:v>
                </c:pt>
                <c:pt idx="464">
                  <c:v>39056</c:v>
                </c:pt>
                <c:pt idx="465">
                  <c:v>39057</c:v>
                </c:pt>
                <c:pt idx="466">
                  <c:v>39058</c:v>
                </c:pt>
                <c:pt idx="467">
                  <c:v>39059</c:v>
                </c:pt>
                <c:pt idx="468">
                  <c:v>39062</c:v>
                </c:pt>
                <c:pt idx="469">
                  <c:v>39063</c:v>
                </c:pt>
                <c:pt idx="470">
                  <c:v>39064</c:v>
                </c:pt>
                <c:pt idx="471">
                  <c:v>39065</c:v>
                </c:pt>
                <c:pt idx="472">
                  <c:v>39066</c:v>
                </c:pt>
                <c:pt idx="473">
                  <c:v>39069</c:v>
                </c:pt>
                <c:pt idx="474">
                  <c:v>39070</c:v>
                </c:pt>
                <c:pt idx="475">
                  <c:v>39071</c:v>
                </c:pt>
                <c:pt idx="476">
                  <c:v>39072</c:v>
                </c:pt>
                <c:pt idx="477">
                  <c:v>39073</c:v>
                </c:pt>
                <c:pt idx="478">
                  <c:v>39076</c:v>
                </c:pt>
                <c:pt idx="479">
                  <c:v>39077</c:v>
                </c:pt>
                <c:pt idx="480">
                  <c:v>39078</c:v>
                </c:pt>
                <c:pt idx="481">
                  <c:v>39079</c:v>
                </c:pt>
                <c:pt idx="482">
                  <c:v>39080</c:v>
                </c:pt>
                <c:pt idx="483">
                  <c:v>39086</c:v>
                </c:pt>
                <c:pt idx="484">
                  <c:v>39087</c:v>
                </c:pt>
                <c:pt idx="485">
                  <c:v>39090</c:v>
                </c:pt>
                <c:pt idx="486">
                  <c:v>39091</c:v>
                </c:pt>
                <c:pt idx="487">
                  <c:v>39092</c:v>
                </c:pt>
                <c:pt idx="488">
                  <c:v>39093</c:v>
                </c:pt>
                <c:pt idx="489">
                  <c:v>39094</c:v>
                </c:pt>
                <c:pt idx="490">
                  <c:v>39097</c:v>
                </c:pt>
                <c:pt idx="491">
                  <c:v>39098</c:v>
                </c:pt>
                <c:pt idx="492">
                  <c:v>39099</c:v>
                </c:pt>
                <c:pt idx="493">
                  <c:v>39100</c:v>
                </c:pt>
                <c:pt idx="494">
                  <c:v>39101</c:v>
                </c:pt>
                <c:pt idx="495">
                  <c:v>39104</c:v>
                </c:pt>
                <c:pt idx="496">
                  <c:v>39105</c:v>
                </c:pt>
                <c:pt idx="497">
                  <c:v>39106</c:v>
                </c:pt>
                <c:pt idx="498">
                  <c:v>39107</c:v>
                </c:pt>
                <c:pt idx="499">
                  <c:v>39108</c:v>
                </c:pt>
                <c:pt idx="500">
                  <c:v>39111</c:v>
                </c:pt>
                <c:pt idx="501">
                  <c:v>39112</c:v>
                </c:pt>
                <c:pt idx="502">
                  <c:v>39113</c:v>
                </c:pt>
                <c:pt idx="503">
                  <c:v>39114</c:v>
                </c:pt>
                <c:pt idx="504">
                  <c:v>39115</c:v>
                </c:pt>
                <c:pt idx="505">
                  <c:v>39118</c:v>
                </c:pt>
                <c:pt idx="506">
                  <c:v>39119</c:v>
                </c:pt>
                <c:pt idx="507">
                  <c:v>39120</c:v>
                </c:pt>
                <c:pt idx="508">
                  <c:v>39121</c:v>
                </c:pt>
                <c:pt idx="509">
                  <c:v>39122</c:v>
                </c:pt>
                <c:pt idx="510">
                  <c:v>39125</c:v>
                </c:pt>
                <c:pt idx="511">
                  <c:v>39126</c:v>
                </c:pt>
                <c:pt idx="512">
                  <c:v>39127</c:v>
                </c:pt>
                <c:pt idx="513">
                  <c:v>39128</c:v>
                </c:pt>
                <c:pt idx="514">
                  <c:v>39129</c:v>
                </c:pt>
                <c:pt idx="515">
                  <c:v>39139</c:v>
                </c:pt>
                <c:pt idx="516">
                  <c:v>39140</c:v>
                </c:pt>
                <c:pt idx="517">
                  <c:v>39141</c:v>
                </c:pt>
                <c:pt idx="518">
                  <c:v>39142</c:v>
                </c:pt>
                <c:pt idx="519">
                  <c:v>39143</c:v>
                </c:pt>
                <c:pt idx="520">
                  <c:v>39146</c:v>
                </c:pt>
                <c:pt idx="521">
                  <c:v>39147</c:v>
                </c:pt>
                <c:pt idx="522">
                  <c:v>39148</c:v>
                </c:pt>
                <c:pt idx="523">
                  <c:v>39149</c:v>
                </c:pt>
                <c:pt idx="524">
                  <c:v>39150</c:v>
                </c:pt>
                <c:pt idx="525">
                  <c:v>39153</c:v>
                </c:pt>
                <c:pt idx="526">
                  <c:v>39154</c:v>
                </c:pt>
                <c:pt idx="527">
                  <c:v>39155</c:v>
                </c:pt>
                <c:pt idx="528">
                  <c:v>39156</c:v>
                </c:pt>
                <c:pt idx="529">
                  <c:v>39157</c:v>
                </c:pt>
                <c:pt idx="530">
                  <c:v>39160</c:v>
                </c:pt>
                <c:pt idx="531">
                  <c:v>39161</c:v>
                </c:pt>
                <c:pt idx="532">
                  <c:v>39162</c:v>
                </c:pt>
                <c:pt idx="533">
                  <c:v>39163</c:v>
                </c:pt>
                <c:pt idx="534">
                  <c:v>39164</c:v>
                </c:pt>
                <c:pt idx="535">
                  <c:v>39167</c:v>
                </c:pt>
                <c:pt idx="536">
                  <c:v>39168</c:v>
                </c:pt>
                <c:pt idx="537">
                  <c:v>39169</c:v>
                </c:pt>
                <c:pt idx="538">
                  <c:v>39170</c:v>
                </c:pt>
                <c:pt idx="539">
                  <c:v>39171</c:v>
                </c:pt>
                <c:pt idx="540">
                  <c:v>39174</c:v>
                </c:pt>
                <c:pt idx="541">
                  <c:v>39175</c:v>
                </c:pt>
                <c:pt idx="542">
                  <c:v>39176</c:v>
                </c:pt>
                <c:pt idx="543">
                  <c:v>39177</c:v>
                </c:pt>
                <c:pt idx="544">
                  <c:v>39178</c:v>
                </c:pt>
                <c:pt idx="545">
                  <c:v>39181</c:v>
                </c:pt>
                <c:pt idx="546">
                  <c:v>39182</c:v>
                </c:pt>
                <c:pt idx="547">
                  <c:v>39183</c:v>
                </c:pt>
                <c:pt idx="548">
                  <c:v>39184</c:v>
                </c:pt>
                <c:pt idx="549">
                  <c:v>39185</c:v>
                </c:pt>
                <c:pt idx="550">
                  <c:v>39188</c:v>
                </c:pt>
                <c:pt idx="551">
                  <c:v>39189</c:v>
                </c:pt>
                <c:pt idx="552">
                  <c:v>39190</c:v>
                </c:pt>
                <c:pt idx="553">
                  <c:v>39191</c:v>
                </c:pt>
                <c:pt idx="554">
                  <c:v>39192</c:v>
                </c:pt>
                <c:pt idx="555">
                  <c:v>39195</c:v>
                </c:pt>
                <c:pt idx="556">
                  <c:v>39196</c:v>
                </c:pt>
                <c:pt idx="557">
                  <c:v>39197</c:v>
                </c:pt>
                <c:pt idx="558">
                  <c:v>39198</c:v>
                </c:pt>
                <c:pt idx="559">
                  <c:v>39199</c:v>
                </c:pt>
                <c:pt idx="560">
                  <c:v>39202</c:v>
                </c:pt>
                <c:pt idx="561">
                  <c:v>39210</c:v>
                </c:pt>
                <c:pt idx="562">
                  <c:v>39211</c:v>
                </c:pt>
                <c:pt idx="563">
                  <c:v>39212</c:v>
                </c:pt>
                <c:pt idx="564">
                  <c:v>39213</c:v>
                </c:pt>
                <c:pt idx="565">
                  <c:v>39216</c:v>
                </c:pt>
                <c:pt idx="566">
                  <c:v>39217</c:v>
                </c:pt>
                <c:pt idx="567">
                  <c:v>39218</c:v>
                </c:pt>
                <c:pt idx="568">
                  <c:v>39219</c:v>
                </c:pt>
                <c:pt idx="569">
                  <c:v>39220</c:v>
                </c:pt>
                <c:pt idx="570">
                  <c:v>39223</c:v>
                </c:pt>
                <c:pt idx="571">
                  <c:v>39224</c:v>
                </c:pt>
                <c:pt idx="572">
                  <c:v>39225</c:v>
                </c:pt>
                <c:pt idx="573">
                  <c:v>39226</c:v>
                </c:pt>
                <c:pt idx="574">
                  <c:v>39227</c:v>
                </c:pt>
                <c:pt idx="575">
                  <c:v>39230</c:v>
                </c:pt>
                <c:pt idx="576">
                  <c:v>39231</c:v>
                </c:pt>
                <c:pt idx="577">
                  <c:v>39232</c:v>
                </c:pt>
                <c:pt idx="578">
                  <c:v>39233</c:v>
                </c:pt>
                <c:pt idx="579">
                  <c:v>39234</c:v>
                </c:pt>
                <c:pt idx="580">
                  <c:v>39237</c:v>
                </c:pt>
                <c:pt idx="581">
                  <c:v>39238</c:v>
                </c:pt>
                <c:pt idx="582">
                  <c:v>39239</c:v>
                </c:pt>
                <c:pt idx="583">
                  <c:v>39240</c:v>
                </c:pt>
                <c:pt idx="584">
                  <c:v>39241</c:v>
                </c:pt>
                <c:pt idx="585">
                  <c:v>39244</c:v>
                </c:pt>
                <c:pt idx="586">
                  <c:v>39245</c:v>
                </c:pt>
                <c:pt idx="587">
                  <c:v>39246</c:v>
                </c:pt>
                <c:pt idx="588">
                  <c:v>39247</c:v>
                </c:pt>
                <c:pt idx="589">
                  <c:v>39248</c:v>
                </c:pt>
                <c:pt idx="590">
                  <c:v>39251</c:v>
                </c:pt>
                <c:pt idx="591">
                  <c:v>39252</c:v>
                </c:pt>
                <c:pt idx="592">
                  <c:v>39253</c:v>
                </c:pt>
                <c:pt idx="593">
                  <c:v>39254</c:v>
                </c:pt>
                <c:pt idx="594">
                  <c:v>39255</c:v>
                </c:pt>
                <c:pt idx="595">
                  <c:v>39258</c:v>
                </c:pt>
                <c:pt idx="596">
                  <c:v>39259</c:v>
                </c:pt>
                <c:pt idx="597">
                  <c:v>39260</c:v>
                </c:pt>
                <c:pt idx="598">
                  <c:v>39261</c:v>
                </c:pt>
                <c:pt idx="599">
                  <c:v>39262</c:v>
                </c:pt>
                <c:pt idx="600">
                  <c:v>39265</c:v>
                </c:pt>
                <c:pt idx="601">
                  <c:v>39266</c:v>
                </c:pt>
                <c:pt idx="602">
                  <c:v>39267</c:v>
                </c:pt>
                <c:pt idx="603">
                  <c:v>39268</c:v>
                </c:pt>
                <c:pt idx="604">
                  <c:v>39269</c:v>
                </c:pt>
                <c:pt idx="605">
                  <c:v>39272</c:v>
                </c:pt>
                <c:pt idx="606">
                  <c:v>39273</c:v>
                </c:pt>
                <c:pt idx="607">
                  <c:v>39274</c:v>
                </c:pt>
                <c:pt idx="608">
                  <c:v>39275</c:v>
                </c:pt>
                <c:pt idx="609">
                  <c:v>39276</c:v>
                </c:pt>
                <c:pt idx="610">
                  <c:v>39279</c:v>
                </c:pt>
                <c:pt idx="611">
                  <c:v>39280</c:v>
                </c:pt>
                <c:pt idx="612">
                  <c:v>39281</c:v>
                </c:pt>
                <c:pt idx="613">
                  <c:v>39282</c:v>
                </c:pt>
                <c:pt idx="614">
                  <c:v>39283</c:v>
                </c:pt>
                <c:pt idx="615">
                  <c:v>39286</c:v>
                </c:pt>
                <c:pt idx="616">
                  <c:v>39287</c:v>
                </c:pt>
                <c:pt idx="617">
                  <c:v>39288</c:v>
                </c:pt>
                <c:pt idx="618">
                  <c:v>39289</c:v>
                </c:pt>
                <c:pt idx="619">
                  <c:v>39290</c:v>
                </c:pt>
                <c:pt idx="620">
                  <c:v>39293</c:v>
                </c:pt>
                <c:pt idx="621">
                  <c:v>39294</c:v>
                </c:pt>
                <c:pt idx="622">
                  <c:v>39295</c:v>
                </c:pt>
                <c:pt idx="623">
                  <c:v>39296</c:v>
                </c:pt>
                <c:pt idx="624">
                  <c:v>39297</c:v>
                </c:pt>
                <c:pt idx="625">
                  <c:v>39300</c:v>
                </c:pt>
                <c:pt idx="626">
                  <c:v>39301</c:v>
                </c:pt>
                <c:pt idx="627">
                  <c:v>39302</c:v>
                </c:pt>
                <c:pt idx="628">
                  <c:v>39303</c:v>
                </c:pt>
                <c:pt idx="629">
                  <c:v>39304</c:v>
                </c:pt>
                <c:pt idx="630">
                  <c:v>39307</c:v>
                </c:pt>
                <c:pt idx="631">
                  <c:v>39308</c:v>
                </c:pt>
                <c:pt idx="632">
                  <c:v>39309</c:v>
                </c:pt>
                <c:pt idx="633">
                  <c:v>39310</c:v>
                </c:pt>
                <c:pt idx="634">
                  <c:v>39311</c:v>
                </c:pt>
                <c:pt idx="635">
                  <c:v>39314</c:v>
                </c:pt>
                <c:pt idx="636">
                  <c:v>39315</c:v>
                </c:pt>
                <c:pt idx="637">
                  <c:v>39316</c:v>
                </c:pt>
                <c:pt idx="638">
                  <c:v>39317</c:v>
                </c:pt>
                <c:pt idx="639">
                  <c:v>39318</c:v>
                </c:pt>
                <c:pt idx="640">
                  <c:v>39321</c:v>
                </c:pt>
                <c:pt idx="641">
                  <c:v>39322</c:v>
                </c:pt>
                <c:pt idx="642">
                  <c:v>39323</c:v>
                </c:pt>
                <c:pt idx="643">
                  <c:v>39324</c:v>
                </c:pt>
                <c:pt idx="644">
                  <c:v>39325</c:v>
                </c:pt>
                <c:pt idx="645">
                  <c:v>39328</c:v>
                </c:pt>
                <c:pt idx="646">
                  <c:v>39329</c:v>
                </c:pt>
                <c:pt idx="647">
                  <c:v>39330</c:v>
                </c:pt>
                <c:pt idx="648">
                  <c:v>39331</c:v>
                </c:pt>
                <c:pt idx="649">
                  <c:v>39332</c:v>
                </c:pt>
                <c:pt idx="650">
                  <c:v>39335</c:v>
                </c:pt>
                <c:pt idx="651">
                  <c:v>39336</c:v>
                </c:pt>
                <c:pt idx="652">
                  <c:v>39337</c:v>
                </c:pt>
                <c:pt idx="653">
                  <c:v>39338</c:v>
                </c:pt>
                <c:pt idx="654">
                  <c:v>39339</c:v>
                </c:pt>
                <c:pt idx="655">
                  <c:v>39342</c:v>
                </c:pt>
                <c:pt idx="656">
                  <c:v>39343</c:v>
                </c:pt>
                <c:pt idx="657">
                  <c:v>39344</c:v>
                </c:pt>
                <c:pt idx="658">
                  <c:v>39345</c:v>
                </c:pt>
                <c:pt idx="659">
                  <c:v>39346</c:v>
                </c:pt>
                <c:pt idx="660">
                  <c:v>39349</c:v>
                </c:pt>
                <c:pt idx="661">
                  <c:v>39350</c:v>
                </c:pt>
                <c:pt idx="662">
                  <c:v>39351</c:v>
                </c:pt>
                <c:pt idx="663">
                  <c:v>39352</c:v>
                </c:pt>
                <c:pt idx="664">
                  <c:v>39353</c:v>
                </c:pt>
                <c:pt idx="665">
                  <c:v>39363</c:v>
                </c:pt>
                <c:pt idx="666">
                  <c:v>39364</c:v>
                </c:pt>
                <c:pt idx="667">
                  <c:v>39365</c:v>
                </c:pt>
                <c:pt idx="668">
                  <c:v>39366</c:v>
                </c:pt>
                <c:pt idx="669">
                  <c:v>39367</c:v>
                </c:pt>
                <c:pt idx="670">
                  <c:v>39370</c:v>
                </c:pt>
                <c:pt idx="671">
                  <c:v>39371</c:v>
                </c:pt>
                <c:pt idx="672">
                  <c:v>39372</c:v>
                </c:pt>
                <c:pt idx="673">
                  <c:v>39373</c:v>
                </c:pt>
                <c:pt idx="674">
                  <c:v>39374</c:v>
                </c:pt>
                <c:pt idx="675">
                  <c:v>39377</c:v>
                </c:pt>
                <c:pt idx="676">
                  <c:v>39378</c:v>
                </c:pt>
                <c:pt idx="677">
                  <c:v>39379</c:v>
                </c:pt>
                <c:pt idx="678">
                  <c:v>39380</c:v>
                </c:pt>
                <c:pt idx="679">
                  <c:v>39381</c:v>
                </c:pt>
                <c:pt idx="680">
                  <c:v>39384</c:v>
                </c:pt>
                <c:pt idx="681">
                  <c:v>39385</c:v>
                </c:pt>
                <c:pt idx="682">
                  <c:v>39386</c:v>
                </c:pt>
                <c:pt idx="683">
                  <c:v>39387</c:v>
                </c:pt>
                <c:pt idx="684">
                  <c:v>39388</c:v>
                </c:pt>
                <c:pt idx="685">
                  <c:v>39391</c:v>
                </c:pt>
                <c:pt idx="686">
                  <c:v>39392</c:v>
                </c:pt>
                <c:pt idx="687">
                  <c:v>39393</c:v>
                </c:pt>
                <c:pt idx="688">
                  <c:v>39394</c:v>
                </c:pt>
                <c:pt idx="689">
                  <c:v>39395</c:v>
                </c:pt>
                <c:pt idx="690">
                  <c:v>39398</c:v>
                </c:pt>
                <c:pt idx="691">
                  <c:v>39399</c:v>
                </c:pt>
                <c:pt idx="692">
                  <c:v>39400</c:v>
                </c:pt>
                <c:pt idx="693">
                  <c:v>39401</c:v>
                </c:pt>
                <c:pt idx="694">
                  <c:v>39402</c:v>
                </c:pt>
                <c:pt idx="695">
                  <c:v>39405</c:v>
                </c:pt>
                <c:pt idx="696">
                  <c:v>39406</c:v>
                </c:pt>
                <c:pt idx="697">
                  <c:v>39407</c:v>
                </c:pt>
                <c:pt idx="698">
                  <c:v>39408</c:v>
                </c:pt>
                <c:pt idx="699">
                  <c:v>39409</c:v>
                </c:pt>
                <c:pt idx="700">
                  <c:v>39412</c:v>
                </c:pt>
                <c:pt idx="701">
                  <c:v>39413</c:v>
                </c:pt>
                <c:pt idx="702">
                  <c:v>39414</c:v>
                </c:pt>
                <c:pt idx="703">
                  <c:v>39415</c:v>
                </c:pt>
                <c:pt idx="704">
                  <c:v>39416</c:v>
                </c:pt>
                <c:pt idx="705">
                  <c:v>39419</c:v>
                </c:pt>
                <c:pt idx="706">
                  <c:v>39420</c:v>
                </c:pt>
                <c:pt idx="707">
                  <c:v>39421</c:v>
                </c:pt>
                <c:pt idx="708">
                  <c:v>39422</c:v>
                </c:pt>
                <c:pt idx="709">
                  <c:v>39423</c:v>
                </c:pt>
                <c:pt idx="710">
                  <c:v>39426</c:v>
                </c:pt>
                <c:pt idx="711">
                  <c:v>39427</c:v>
                </c:pt>
                <c:pt idx="712">
                  <c:v>39428</c:v>
                </c:pt>
                <c:pt idx="713">
                  <c:v>39429</c:v>
                </c:pt>
                <c:pt idx="714">
                  <c:v>39430</c:v>
                </c:pt>
                <c:pt idx="715">
                  <c:v>39433</c:v>
                </c:pt>
                <c:pt idx="716">
                  <c:v>39434</c:v>
                </c:pt>
                <c:pt idx="717">
                  <c:v>39435</c:v>
                </c:pt>
                <c:pt idx="718">
                  <c:v>39436</c:v>
                </c:pt>
                <c:pt idx="719">
                  <c:v>39437</c:v>
                </c:pt>
                <c:pt idx="720">
                  <c:v>39440</c:v>
                </c:pt>
                <c:pt idx="721">
                  <c:v>39441</c:v>
                </c:pt>
                <c:pt idx="722">
                  <c:v>39442</c:v>
                </c:pt>
                <c:pt idx="723">
                  <c:v>39443</c:v>
                </c:pt>
                <c:pt idx="724">
                  <c:v>39444</c:v>
                </c:pt>
                <c:pt idx="725">
                  <c:v>39449</c:v>
                </c:pt>
                <c:pt idx="726">
                  <c:v>39450</c:v>
                </c:pt>
                <c:pt idx="727">
                  <c:v>39451</c:v>
                </c:pt>
                <c:pt idx="728">
                  <c:v>39454</c:v>
                </c:pt>
                <c:pt idx="729">
                  <c:v>39455</c:v>
                </c:pt>
                <c:pt idx="730">
                  <c:v>39456</c:v>
                </c:pt>
                <c:pt idx="731">
                  <c:v>39457</c:v>
                </c:pt>
                <c:pt idx="732">
                  <c:v>39458</c:v>
                </c:pt>
                <c:pt idx="733">
                  <c:v>39461</c:v>
                </c:pt>
                <c:pt idx="734">
                  <c:v>39462</c:v>
                </c:pt>
                <c:pt idx="735">
                  <c:v>39463</c:v>
                </c:pt>
                <c:pt idx="736">
                  <c:v>39464</c:v>
                </c:pt>
                <c:pt idx="737">
                  <c:v>39465</c:v>
                </c:pt>
                <c:pt idx="738">
                  <c:v>39468</c:v>
                </c:pt>
                <c:pt idx="739">
                  <c:v>39469</c:v>
                </c:pt>
                <c:pt idx="740">
                  <c:v>39470</c:v>
                </c:pt>
                <c:pt idx="741">
                  <c:v>39471</c:v>
                </c:pt>
                <c:pt idx="742">
                  <c:v>39472</c:v>
                </c:pt>
                <c:pt idx="743">
                  <c:v>39475</c:v>
                </c:pt>
                <c:pt idx="744">
                  <c:v>39476</c:v>
                </c:pt>
                <c:pt idx="745">
                  <c:v>39477</c:v>
                </c:pt>
                <c:pt idx="746">
                  <c:v>39478</c:v>
                </c:pt>
                <c:pt idx="747">
                  <c:v>39479</c:v>
                </c:pt>
                <c:pt idx="748">
                  <c:v>39482</c:v>
                </c:pt>
                <c:pt idx="749">
                  <c:v>39483</c:v>
                </c:pt>
                <c:pt idx="750">
                  <c:v>39491</c:v>
                </c:pt>
                <c:pt idx="751">
                  <c:v>39492</c:v>
                </c:pt>
                <c:pt idx="752">
                  <c:v>39493</c:v>
                </c:pt>
                <c:pt idx="753">
                  <c:v>39496</c:v>
                </c:pt>
                <c:pt idx="754">
                  <c:v>39497</c:v>
                </c:pt>
                <c:pt idx="755">
                  <c:v>39498</c:v>
                </c:pt>
                <c:pt idx="756">
                  <c:v>39499</c:v>
                </c:pt>
                <c:pt idx="757">
                  <c:v>39500</c:v>
                </c:pt>
                <c:pt idx="758">
                  <c:v>39503</c:v>
                </c:pt>
                <c:pt idx="759">
                  <c:v>39504</c:v>
                </c:pt>
                <c:pt idx="760">
                  <c:v>39505</c:v>
                </c:pt>
                <c:pt idx="761">
                  <c:v>39506</c:v>
                </c:pt>
                <c:pt idx="762">
                  <c:v>39507</c:v>
                </c:pt>
                <c:pt idx="763">
                  <c:v>39510</c:v>
                </c:pt>
                <c:pt idx="764">
                  <c:v>39511</c:v>
                </c:pt>
                <c:pt idx="765">
                  <c:v>39512</c:v>
                </c:pt>
                <c:pt idx="766">
                  <c:v>39513</c:v>
                </c:pt>
                <c:pt idx="767">
                  <c:v>39514</c:v>
                </c:pt>
                <c:pt idx="768">
                  <c:v>39517</c:v>
                </c:pt>
                <c:pt idx="769">
                  <c:v>39518</c:v>
                </c:pt>
                <c:pt idx="770">
                  <c:v>39519</c:v>
                </c:pt>
                <c:pt idx="771">
                  <c:v>39520</c:v>
                </c:pt>
                <c:pt idx="772">
                  <c:v>39521</c:v>
                </c:pt>
                <c:pt idx="773">
                  <c:v>39524</c:v>
                </c:pt>
                <c:pt idx="774">
                  <c:v>39525</c:v>
                </c:pt>
                <c:pt idx="775">
                  <c:v>39526</c:v>
                </c:pt>
                <c:pt idx="776">
                  <c:v>39527</c:v>
                </c:pt>
                <c:pt idx="777">
                  <c:v>39528</c:v>
                </c:pt>
                <c:pt idx="778">
                  <c:v>39531</c:v>
                </c:pt>
                <c:pt idx="779">
                  <c:v>39532</c:v>
                </c:pt>
                <c:pt idx="780">
                  <c:v>39533</c:v>
                </c:pt>
                <c:pt idx="781">
                  <c:v>39534</c:v>
                </c:pt>
                <c:pt idx="782">
                  <c:v>39535</c:v>
                </c:pt>
                <c:pt idx="783">
                  <c:v>39538</c:v>
                </c:pt>
                <c:pt idx="784">
                  <c:v>39539</c:v>
                </c:pt>
                <c:pt idx="785">
                  <c:v>39540</c:v>
                </c:pt>
                <c:pt idx="786">
                  <c:v>39541</c:v>
                </c:pt>
                <c:pt idx="787">
                  <c:v>39545</c:v>
                </c:pt>
                <c:pt idx="788">
                  <c:v>39546</c:v>
                </c:pt>
                <c:pt idx="789">
                  <c:v>39547</c:v>
                </c:pt>
                <c:pt idx="790">
                  <c:v>39548</c:v>
                </c:pt>
                <c:pt idx="791">
                  <c:v>39549</c:v>
                </c:pt>
                <c:pt idx="792">
                  <c:v>39552</c:v>
                </c:pt>
                <c:pt idx="793">
                  <c:v>39553</c:v>
                </c:pt>
                <c:pt idx="794">
                  <c:v>39554</c:v>
                </c:pt>
                <c:pt idx="795">
                  <c:v>39555</c:v>
                </c:pt>
                <c:pt idx="796">
                  <c:v>39556</c:v>
                </c:pt>
                <c:pt idx="797">
                  <c:v>39559</c:v>
                </c:pt>
                <c:pt idx="798">
                  <c:v>39560</c:v>
                </c:pt>
                <c:pt idx="799">
                  <c:v>39561</c:v>
                </c:pt>
                <c:pt idx="800">
                  <c:v>39562</c:v>
                </c:pt>
                <c:pt idx="801">
                  <c:v>39563</c:v>
                </c:pt>
                <c:pt idx="802">
                  <c:v>39566</c:v>
                </c:pt>
                <c:pt idx="803">
                  <c:v>39567</c:v>
                </c:pt>
                <c:pt idx="804">
                  <c:v>39568</c:v>
                </c:pt>
                <c:pt idx="805">
                  <c:v>39573</c:v>
                </c:pt>
                <c:pt idx="806">
                  <c:v>39574</c:v>
                </c:pt>
                <c:pt idx="807">
                  <c:v>39575</c:v>
                </c:pt>
                <c:pt idx="808">
                  <c:v>39576</c:v>
                </c:pt>
                <c:pt idx="809">
                  <c:v>39577</c:v>
                </c:pt>
                <c:pt idx="810">
                  <c:v>39580</c:v>
                </c:pt>
                <c:pt idx="811">
                  <c:v>39581</c:v>
                </c:pt>
                <c:pt idx="812">
                  <c:v>39582</c:v>
                </c:pt>
                <c:pt idx="813">
                  <c:v>39583</c:v>
                </c:pt>
                <c:pt idx="814">
                  <c:v>39584</c:v>
                </c:pt>
                <c:pt idx="815">
                  <c:v>39587</c:v>
                </c:pt>
                <c:pt idx="816">
                  <c:v>39588</c:v>
                </c:pt>
                <c:pt idx="817">
                  <c:v>39589</c:v>
                </c:pt>
                <c:pt idx="818">
                  <c:v>39590</c:v>
                </c:pt>
                <c:pt idx="819">
                  <c:v>39591</c:v>
                </c:pt>
                <c:pt idx="820">
                  <c:v>39594</c:v>
                </c:pt>
                <c:pt idx="821">
                  <c:v>39595</c:v>
                </c:pt>
                <c:pt idx="822">
                  <c:v>39596</c:v>
                </c:pt>
                <c:pt idx="823">
                  <c:v>39597</c:v>
                </c:pt>
                <c:pt idx="824">
                  <c:v>39598</c:v>
                </c:pt>
                <c:pt idx="825">
                  <c:v>39601</c:v>
                </c:pt>
                <c:pt idx="826">
                  <c:v>39602</c:v>
                </c:pt>
                <c:pt idx="827">
                  <c:v>39603</c:v>
                </c:pt>
                <c:pt idx="828">
                  <c:v>39604</c:v>
                </c:pt>
                <c:pt idx="829">
                  <c:v>39605</c:v>
                </c:pt>
                <c:pt idx="830">
                  <c:v>39609</c:v>
                </c:pt>
                <c:pt idx="831">
                  <c:v>39610</c:v>
                </c:pt>
                <c:pt idx="832">
                  <c:v>39611</c:v>
                </c:pt>
                <c:pt idx="833">
                  <c:v>39612</c:v>
                </c:pt>
                <c:pt idx="834">
                  <c:v>39615</c:v>
                </c:pt>
                <c:pt idx="835">
                  <c:v>39616</c:v>
                </c:pt>
                <c:pt idx="836">
                  <c:v>39617</c:v>
                </c:pt>
                <c:pt idx="837">
                  <c:v>39618</c:v>
                </c:pt>
                <c:pt idx="838">
                  <c:v>39619</c:v>
                </c:pt>
                <c:pt idx="839">
                  <c:v>39622</c:v>
                </c:pt>
                <c:pt idx="840">
                  <c:v>39623</c:v>
                </c:pt>
                <c:pt idx="841">
                  <c:v>39624</c:v>
                </c:pt>
                <c:pt idx="842">
                  <c:v>39625</c:v>
                </c:pt>
                <c:pt idx="843">
                  <c:v>39626</c:v>
                </c:pt>
                <c:pt idx="844">
                  <c:v>39629</c:v>
                </c:pt>
                <c:pt idx="845">
                  <c:v>39630</c:v>
                </c:pt>
                <c:pt idx="846">
                  <c:v>39631</c:v>
                </c:pt>
                <c:pt idx="847">
                  <c:v>39632</c:v>
                </c:pt>
                <c:pt idx="848">
                  <c:v>39633</c:v>
                </c:pt>
                <c:pt idx="849">
                  <c:v>39636</c:v>
                </c:pt>
                <c:pt idx="850">
                  <c:v>39637</c:v>
                </c:pt>
                <c:pt idx="851">
                  <c:v>39638</c:v>
                </c:pt>
                <c:pt idx="852">
                  <c:v>39639</c:v>
                </c:pt>
                <c:pt idx="853">
                  <c:v>39640</c:v>
                </c:pt>
                <c:pt idx="854">
                  <c:v>39643</c:v>
                </c:pt>
                <c:pt idx="855">
                  <c:v>39644</c:v>
                </c:pt>
                <c:pt idx="856">
                  <c:v>39645</c:v>
                </c:pt>
                <c:pt idx="857">
                  <c:v>39646</c:v>
                </c:pt>
                <c:pt idx="858">
                  <c:v>39647</c:v>
                </c:pt>
                <c:pt idx="859">
                  <c:v>39650</c:v>
                </c:pt>
                <c:pt idx="860">
                  <c:v>39651</c:v>
                </c:pt>
                <c:pt idx="861">
                  <c:v>39652</c:v>
                </c:pt>
                <c:pt idx="862">
                  <c:v>39653</c:v>
                </c:pt>
                <c:pt idx="863">
                  <c:v>39654</c:v>
                </c:pt>
                <c:pt idx="864">
                  <c:v>39657</c:v>
                </c:pt>
                <c:pt idx="865">
                  <c:v>39658</c:v>
                </c:pt>
                <c:pt idx="866">
                  <c:v>39659</c:v>
                </c:pt>
                <c:pt idx="867">
                  <c:v>39660</c:v>
                </c:pt>
                <c:pt idx="868">
                  <c:v>39661</c:v>
                </c:pt>
                <c:pt idx="869">
                  <c:v>39664</c:v>
                </c:pt>
                <c:pt idx="870">
                  <c:v>39665</c:v>
                </c:pt>
                <c:pt idx="871">
                  <c:v>39666</c:v>
                </c:pt>
                <c:pt idx="872">
                  <c:v>39667</c:v>
                </c:pt>
                <c:pt idx="873">
                  <c:v>39668</c:v>
                </c:pt>
                <c:pt idx="874">
                  <c:v>39671</c:v>
                </c:pt>
                <c:pt idx="875">
                  <c:v>39672</c:v>
                </c:pt>
                <c:pt idx="876">
                  <c:v>39673</c:v>
                </c:pt>
                <c:pt idx="877">
                  <c:v>39674</c:v>
                </c:pt>
                <c:pt idx="878">
                  <c:v>39675</c:v>
                </c:pt>
                <c:pt idx="879">
                  <c:v>39678</c:v>
                </c:pt>
                <c:pt idx="880">
                  <c:v>39679</c:v>
                </c:pt>
                <c:pt idx="881">
                  <c:v>39680</c:v>
                </c:pt>
                <c:pt idx="882">
                  <c:v>39681</c:v>
                </c:pt>
                <c:pt idx="883">
                  <c:v>39682</c:v>
                </c:pt>
                <c:pt idx="884">
                  <c:v>39685</c:v>
                </c:pt>
                <c:pt idx="885">
                  <c:v>39686</c:v>
                </c:pt>
                <c:pt idx="886">
                  <c:v>39687</c:v>
                </c:pt>
                <c:pt idx="887">
                  <c:v>39688</c:v>
                </c:pt>
                <c:pt idx="888">
                  <c:v>39689</c:v>
                </c:pt>
                <c:pt idx="889">
                  <c:v>39692</c:v>
                </c:pt>
                <c:pt idx="890">
                  <c:v>39693</c:v>
                </c:pt>
                <c:pt idx="891">
                  <c:v>39694</c:v>
                </c:pt>
                <c:pt idx="892">
                  <c:v>39695</c:v>
                </c:pt>
                <c:pt idx="893">
                  <c:v>39696</c:v>
                </c:pt>
                <c:pt idx="894">
                  <c:v>39699</c:v>
                </c:pt>
                <c:pt idx="895">
                  <c:v>39700</c:v>
                </c:pt>
                <c:pt idx="896">
                  <c:v>39701</c:v>
                </c:pt>
                <c:pt idx="897">
                  <c:v>39702</c:v>
                </c:pt>
                <c:pt idx="898">
                  <c:v>39703</c:v>
                </c:pt>
                <c:pt idx="899">
                  <c:v>39707</c:v>
                </c:pt>
                <c:pt idx="900">
                  <c:v>39708</c:v>
                </c:pt>
                <c:pt idx="901">
                  <c:v>39709</c:v>
                </c:pt>
                <c:pt idx="902">
                  <c:v>39710</c:v>
                </c:pt>
                <c:pt idx="903">
                  <c:v>39713</c:v>
                </c:pt>
                <c:pt idx="904">
                  <c:v>39714</c:v>
                </c:pt>
                <c:pt idx="905">
                  <c:v>39715</c:v>
                </c:pt>
                <c:pt idx="906">
                  <c:v>39716</c:v>
                </c:pt>
                <c:pt idx="907">
                  <c:v>39717</c:v>
                </c:pt>
                <c:pt idx="908">
                  <c:v>39727</c:v>
                </c:pt>
                <c:pt idx="909">
                  <c:v>39728</c:v>
                </c:pt>
                <c:pt idx="910">
                  <c:v>39729</c:v>
                </c:pt>
                <c:pt idx="911">
                  <c:v>39730</c:v>
                </c:pt>
                <c:pt idx="912">
                  <c:v>39731</c:v>
                </c:pt>
                <c:pt idx="913">
                  <c:v>39734</c:v>
                </c:pt>
                <c:pt idx="914">
                  <c:v>39735</c:v>
                </c:pt>
                <c:pt idx="915">
                  <c:v>39736</c:v>
                </c:pt>
                <c:pt idx="916">
                  <c:v>39737</c:v>
                </c:pt>
                <c:pt idx="917">
                  <c:v>39738</c:v>
                </c:pt>
                <c:pt idx="918">
                  <c:v>39741</c:v>
                </c:pt>
                <c:pt idx="919">
                  <c:v>39742</c:v>
                </c:pt>
                <c:pt idx="920">
                  <c:v>39743</c:v>
                </c:pt>
                <c:pt idx="921">
                  <c:v>39744</c:v>
                </c:pt>
                <c:pt idx="922">
                  <c:v>39745</c:v>
                </c:pt>
                <c:pt idx="923">
                  <c:v>39748</c:v>
                </c:pt>
                <c:pt idx="924">
                  <c:v>39749</c:v>
                </c:pt>
                <c:pt idx="925">
                  <c:v>39750</c:v>
                </c:pt>
                <c:pt idx="926">
                  <c:v>39751</c:v>
                </c:pt>
                <c:pt idx="927">
                  <c:v>39752</c:v>
                </c:pt>
                <c:pt idx="928">
                  <c:v>39755</c:v>
                </c:pt>
                <c:pt idx="929">
                  <c:v>39756</c:v>
                </c:pt>
                <c:pt idx="930">
                  <c:v>39757</c:v>
                </c:pt>
                <c:pt idx="931">
                  <c:v>39758</c:v>
                </c:pt>
                <c:pt idx="932">
                  <c:v>39759</c:v>
                </c:pt>
                <c:pt idx="933">
                  <c:v>39762</c:v>
                </c:pt>
                <c:pt idx="934">
                  <c:v>39763</c:v>
                </c:pt>
                <c:pt idx="935">
                  <c:v>39764</c:v>
                </c:pt>
                <c:pt idx="936">
                  <c:v>39765</c:v>
                </c:pt>
                <c:pt idx="937">
                  <c:v>39766</c:v>
                </c:pt>
                <c:pt idx="938">
                  <c:v>39769</c:v>
                </c:pt>
                <c:pt idx="939">
                  <c:v>39770</c:v>
                </c:pt>
                <c:pt idx="940">
                  <c:v>39771</c:v>
                </c:pt>
                <c:pt idx="941">
                  <c:v>39772</c:v>
                </c:pt>
                <c:pt idx="942">
                  <c:v>39773</c:v>
                </c:pt>
                <c:pt idx="943">
                  <c:v>39776</c:v>
                </c:pt>
                <c:pt idx="944">
                  <c:v>39777</c:v>
                </c:pt>
                <c:pt idx="945">
                  <c:v>39778</c:v>
                </c:pt>
                <c:pt idx="946">
                  <c:v>39779</c:v>
                </c:pt>
                <c:pt idx="947">
                  <c:v>39780</c:v>
                </c:pt>
                <c:pt idx="948">
                  <c:v>39783</c:v>
                </c:pt>
                <c:pt idx="949">
                  <c:v>39784</c:v>
                </c:pt>
                <c:pt idx="950">
                  <c:v>39785</c:v>
                </c:pt>
                <c:pt idx="951">
                  <c:v>39786</c:v>
                </c:pt>
                <c:pt idx="952">
                  <c:v>39787</c:v>
                </c:pt>
                <c:pt idx="953">
                  <c:v>39790</c:v>
                </c:pt>
                <c:pt idx="954">
                  <c:v>39791</c:v>
                </c:pt>
                <c:pt idx="955">
                  <c:v>39792</c:v>
                </c:pt>
                <c:pt idx="956">
                  <c:v>39793</c:v>
                </c:pt>
                <c:pt idx="957">
                  <c:v>39794</c:v>
                </c:pt>
                <c:pt idx="958">
                  <c:v>39797</c:v>
                </c:pt>
                <c:pt idx="959">
                  <c:v>39798</c:v>
                </c:pt>
                <c:pt idx="960">
                  <c:v>39799</c:v>
                </c:pt>
                <c:pt idx="961">
                  <c:v>39800</c:v>
                </c:pt>
                <c:pt idx="962">
                  <c:v>39801</c:v>
                </c:pt>
                <c:pt idx="963">
                  <c:v>39804</c:v>
                </c:pt>
                <c:pt idx="964">
                  <c:v>39805</c:v>
                </c:pt>
                <c:pt idx="965">
                  <c:v>39806</c:v>
                </c:pt>
                <c:pt idx="966">
                  <c:v>39807</c:v>
                </c:pt>
                <c:pt idx="967">
                  <c:v>39808</c:v>
                </c:pt>
                <c:pt idx="968">
                  <c:v>39811</c:v>
                </c:pt>
                <c:pt idx="969">
                  <c:v>39812</c:v>
                </c:pt>
                <c:pt idx="970">
                  <c:v>39813</c:v>
                </c:pt>
                <c:pt idx="971">
                  <c:v>39818</c:v>
                </c:pt>
                <c:pt idx="972">
                  <c:v>39819</c:v>
                </c:pt>
                <c:pt idx="973">
                  <c:v>39820</c:v>
                </c:pt>
                <c:pt idx="974">
                  <c:v>39821</c:v>
                </c:pt>
                <c:pt idx="975">
                  <c:v>39822</c:v>
                </c:pt>
                <c:pt idx="976">
                  <c:v>39825</c:v>
                </c:pt>
                <c:pt idx="977">
                  <c:v>39826</c:v>
                </c:pt>
                <c:pt idx="978">
                  <c:v>39827</c:v>
                </c:pt>
                <c:pt idx="979">
                  <c:v>39828</c:v>
                </c:pt>
                <c:pt idx="980">
                  <c:v>39829</c:v>
                </c:pt>
                <c:pt idx="981">
                  <c:v>39832</c:v>
                </c:pt>
                <c:pt idx="982">
                  <c:v>39833</c:v>
                </c:pt>
                <c:pt idx="983">
                  <c:v>39834</c:v>
                </c:pt>
                <c:pt idx="984">
                  <c:v>39835</c:v>
                </c:pt>
                <c:pt idx="985">
                  <c:v>39836</c:v>
                </c:pt>
                <c:pt idx="986">
                  <c:v>39846</c:v>
                </c:pt>
                <c:pt idx="987">
                  <c:v>39847</c:v>
                </c:pt>
                <c:pt idx="988">
                  <c:v>39848</c:v>
                </c:pt>
                <c:pt idx="989">
                  <c:v>39849</c:v>
                </c:pt>
                <c:pt idx="990">
                  <c:v>39850</c:v>
                </c:pt>
                <c:pt idx="991">
                  <c:v>39853</c:v>
                </c:pt>
                <c:pt idx="992">
                  <c:v>39854</c:v>
                </c:pt>
                <c:pt idx="993">
                  <c:v>39855</c:v>
                </c:pt>
                <c:pt idx="994">
                  <c:v>39856</c:v>
                </c:pt>
                <c:pt idx="995">
                  <c:v>39857</c:v>
                </c:pt>
                <c:pt idx="996">
                  <c:v>39860</c:v>
                </c:pt>
                <c:pt idx="997">
                  <c:v>39861</c:v>
                </c:pt>
                <c:pt idx="998">
                  <c:v>39862</c:v>
                </c:pt>
                <c:pt idx="999">
                  <c:v>39863</c:v>
                </c:pt>
                <c:pt idx="1000">
                  <c:v>39864</c:v>
                </c:pt>
                <c:pt idx="1001">
                  <c:v>39867</c:v>
                </c:pt>
                <c:pt idx="1002">
                  <c:v>39868</c:v>
                </c:pt>
                <c:pt idx="1003">
                  <c:v>39869</c:v>
                </c:pt>
                <c:pt idx="1004">
                  <c:v>39870</c:v>
                </c:pt>
                <c:pt idx="1005">
                  <c:v>39871</c:v>
                </c:pt>
                <c:pt idx="1006">
                  <c:v>39874</c:v>
                </c:pt>
                <c:pt idx="1007">
                  <c:v>39875</c:v>
                </c:pt>
                <c:pt idx="1008">
                  <c:v>39876</c:v>
                </c:pt>
                <c:pt idx="1009">
                  <c:v>39877</c:v>
                </c:pt>
                <c:pt idx="1010">
                  <c:v>39878</c:v>
                </c:pt>
                <c:pt idx="1011">
                  <c:v>39881</c:v>
                </c:pt>
                <c:pt idx="1012">
                  <c:v>39882</c:v>
                </c:pt>
                <c:pt idx="1013">
                  <c:v>39883</c:v>
                </c:pt>
                <c:pt idx="1014">
                  <c:v>39884</c:v>
                </c:pt>
                <c:pt idx="1015">
                  <c:v>39885</c:v>
                </c:pt>
                <c:pt idx="1016">
                  <c:v>39888</c:v>
                </c:pt>
                <c:pt idx="1017">
                  <c:v>39889</c:v>
                </c:pt>
                <c:pt idx="1018">
                  <c:v>39890</c:v>
                </c:pt>
                <c:pt idx="1019">
                  <c:v>39891</c:v>
                </c:pt>
                <c:pt idx="1020">
                  <c:v>39892</c:v>
                </c:pt>
                <c:pt idx="1021">
                  <c:v>39895</c:v>
                </c:pt>
                <c:pt idx="1022">
                  <c:v>39896</c:v>
                </c:pt>
                <c:pt idx="1023">
                  <c:v>39897</c:v>
                </c:pt>
                <c:pt idx="1024">
                  <c:v>39898</c:v>
                </c:pt>
                <c:pt idx="1025">
                  <c:v>39899</c:v>
                </c:pt>
                <c:pt idx="1026">
                  <c:v>39902</c:v>
                </c:pt>
                <c:pt idx="1027">
                  <c:v>39903</c:v>
                </c:pt>
                <c:pt idx="1028">
                  <c:v>39904</c:v>
                </c:pt>
                <c:pt idx="1029">
                  <c:v>39905</c:v>
                </c:pt>
                <c:pt idx="1030">
                  <c:v>39906</c:v>
                </c:pt>
                <c:pt idx="1031">
                  <c:v>39910</c:v>
                </c:pt>
                <c:pt idx="1032">
                  <c:v>39911</c:v>
                </c:pt>
                <c:pt idx="1033">
                  <c:v>39912</c:v>
                </c:pt>
                <c:pt idx="1034">
                  <c:v>39913</c:v>
                </c:pt>
                <c:pt idx="1035">
                  <c:v>39916</c:v>
                </c:pt>
                <c:pt idx="1036">
                  <c:v>39917</c:v>
                </c:pt>
                <c:pt idx="1037">
                  <c:v>39918</c:v>
                </c:pt>
                <c:pt idx="1038">
                  <c:v>39919</c:v>
                </c:pt>
                <c:pt idx="1039">
                  <c:v>39920</c:v>
                </c:pt>
                <c:pt idx="1040">
                  <c:v>39923</c:v>
                </c:pt>
                <c:pt idx="1041">
                  <c:v>39924</c:v>
                </c:pt>
                <c:pt idx="1042">
                  <c:v>39925</c:v>
                </c:pt>
                <c:pt idx="1043">
                  <c:v>39926</c:v>
                </c:pt>
                <c:pt idx="1044">
                  <c:v>39927</c:v>
                </c:pt>
                <c:pt idx="1045">
                  <c:v>39930</c:v>
                </c:pt>
                <c:pt idx="1046">
                  <c:v>39931</c:v>
                </c:pt>
                <c:pt idx="1047">
                  <c:v>39932</c:v>
                </c:pt>
                <c:pt idx="1048">
                  <c:v>39933</c:v>
                </c:pt>
                <c:pt idx="1049">
                  <c:v>39937</c:v>
                </c:pt>
                <c:pt idx="1050">
                  <c:v>39938</c:v>
                </c:pt>
                <c:pt idx="1051">
                  <c:v>39939</c:v>
                </c:pt>
                <c:pt idx="1052">
                  <c:v>39940</c:v>
                </c:pt>
                <c:pt idx="1053">
                  <c:v>39941</c:v>
                </c:pt>
                <c:pt idx="1054">
                  <c:v>39944</c:v>
                </c:pt>
                <c:pt idx="1055">
                  <c:v>39945</c:v>
                </c:pt>
                <c:pt idx="1056">
                  <c:v>39946</c:v>
                </c:pt>
                <c:pt idx="1057">
                  <c:v>39947</c:v>
                </c:pt>
                <c:pt idx="1058">
                  <c:v>39948</c:v>
                </c:pt>
                <c:pt idx="1059">
                  <c:v>39951</c:v>
                </c:pt>
                <c:pt idx="1060">
                  <c:v>39952</c:v>
                </c:pt>
                <c:pt idx="1061">
                  <c:v>39953</c:v>
                </c:pt>
                <c:pt idx="1062">
                  <c:v>39954</c:v>
                </c:pt>
                <c:pt idx="1063">
                  <c:v>39955</c:v>
                </c:pt>
                <c:pt idx="1064">
                  <c:v>39958</c:v>
                </c:pt>
                <c:pt idx="1065">
                  <c:v>39959</c:v>
                </c:pt>
                <c:pt idx="1066">
                  <c:v>39960</c:v>
                </c:pt>
                <c:pt idx="1067">
                  <c:v>39965</c:v>
                </c:pt>
                <c:pt idx="1068">
                  <c:v>39966</c:v>
                </c:pt>
                <c:pt idx="1069">
                  <c:v>39967</c:v>
                </c:pt>
                <c:pt idx="1070">
                  <c:v>39968</c:v>
                </c:pt>
                <c:pt idx="1071">
                  <c:v>39969</c:v>
                </c:pt>
                <c:pt idx="1072">
                  <c:v>39972</c:v>
                </c:pt>
                <c:pt idx="1073">
                  <c:v>39973</c:v>
                </c:pt>
                <c:pt idx="1074">
                  <c:v>39974</c:v>
                </c:pt>
                <c:pt idx="1075">
                  <c:v>39975</c:v>
                </c:pt>
                <c:pt idx="1076">
                  <c:v>39976</c:v>
                </c:pt>
                <c:pt idx="1077">
                  <c:v>39979</c:v>
                </c:pt>
                <c:pt idx="1078">
                  <c:v>39980</c:v>
                </c:pt>
                <c:pt idx="1079">
                  <c:v>39981</c:v>
                </c:pt>
                <c:pt idx="1080">
                  <c:v>39982</c:v>
                </c:pt>
                <c:pt idx="1081">
                  <c:v>39983</c:v>
                </c:pt>
                <c:pt idx="1082">
                  <c:v>39986</c:v>
                </c:pt>
                <c:pt idx="1083">
                  <c:v>39987</c:v>
                </c:pt>
                <c:pt idx="1084">
                  <c:v>39988</c:v>
                </c:pt>
                <c:pt idx="1085">
                  <c:v>39989</c:v>
                </c:pt>
                <c:pt idx="1086">
                  <c:v>39990</c:v>
                </c:pt>
                <c:pt idx="1087">
                  <c:v>39993</c:v>
                </c:pt>
                <c:pt idx="1088">
                  <c:v>39994</c:v>
                </c:pt>
                <c:pt idx="1089">
                  <c:v>39995</c:v>
                </c:pt>
                <c:pt idx="1090">
                  <c:v>39996</c:v>
                </c:pt>
                <c:pt idx="1091">
                  <c:v>39997</c:v>
                </c:pt>
                <c:pt idx="1092">
                  <c:v>40000</c:v>
                </c:pt>
                <c:pt idx="1093">
                  <c:v>40001</c:v>
                </c:pt>
                <c:pt idx="1094">
                  <c:v>40002</c:v>
                </c:pt>
                <c:pt idx="1095">
                  <c:v>40003</c:v>
                </c:pt>
                <c:pt idx="1096">
                  <c:v>40004</c:v>
                </c:pt>
                <c:pt idx="1097">
                  <c:v>40007</c:v>
                </c:pt>
                <c:pt idx="1098">
                  <c:v>40008</c:v>
                </c:pt>
                <c:pt idx="1099">
                  <c:v>40009</c:v>
                </c:pt>
                <c:pt idx="1100">
                  <c:v>40010</c:v>
                </c:pt>
                <c:pt idx="1101">
                  <c:v>40011</c:v>
                </c:pt>
                <c:pt idx="1102">
                  <c:v>40014</c:v>
                </c:pt>
                <c:pt idx="1103">
                  <c:v>40015</c:v>
                </c:pt>
                <c:pt idx="1104">
                  <c:v>40016</c:v>
                </c:pt>
                <c:pt idx="1105">
                  <c:v>40017</c:v>
                </c:pt>
                <c:pt idx="1106">
                  <c:v>40018</c:v>
                </c:pt>
                <c:pt idx="1107">
                  <c:v>40021</c:v>
                </c:pt>
                <c:pt idx="1108">
                  <c:v>40022</c:v>
                </c:pt>
                <c:pt idx="1109">
                  <c:v>40023</c:v>
                </c:pt>
                <c:pt idx="1110">
                  <c:v>40024</c:v>
                </c:pt>
                <c:pt idx="1111">
                  <c:v>40025</c:v>
                </c:pt>
                <c:pt idx="1112">
                  <c:v>40028</c:v>
                </c:pt>
                <c:pt idx="1113">
                  <c:v>40029</c:v>
                </c:pt>
                <c:pt idx="1114">
                  <c:v>40030</c:v>
                </c:pt>
                <c:pt idx="1115">
                  <c:v>40031</c:v>
                </c:pt>
                <c:pt idx="1116">
                  <c:v>40032</c:v>
                </c:pt>
                <c:pt idx="1117">
                  <c:v>40035</c:v>
                </c:pt>
                <c:pt idx="1118">
                  <c:v>40036</c:v>
                </c:pt>
                <c:pt idx="1119">
                  <c:v>40037</c:v>
                </c:pt>
                <c:pt idx="1120">
                  <c:v>40038</c:v>
                </c:pt>
                <c:pt idx="1121">
                  <c:v>40039</c:v>
                </c:pt>
                <c:pt idx="1122">
                  <c:v>40042</c:v>
                </c:pt>
                <c:pt idx="1123">
                  <c:v>40043</c:v>
                </c:pt>
                <c:pt idx="1124">
                  <c:v>40044</c:v>
                </c:pt>
                <c:pt idx="1125">
                  <c:v>40045</c:v>
                </c:pt>
                <c:pt idx="1126">
                  <c:v>40046</c:v>
                </c:pt>
                <c:pt idx="1127">
                  <c:v>40049</c:v>
                </c:pt>
                <c:pt idx="1128">
                  <c:v>40050</c:v>
                </c:pt>
                <c:pt idx="1129">
                  <c:v>40051</c:v>
                </c:pt>
                <c:pt idx="1130">
                  <c:v>40052</c:v>
                </c:pt>
                <c:pt idx="1131">
                  <c:v>40053</c:v>
                </c:pt>
                <c:pt idx="1132">
                  <c:v>40056</c:v>
                </c:pt>
                <c:pt idx="1133">
                  <c:v>40057</c:v>
                </c:pt>
                <c:pt idx="1134">
                  <c:v>40058</c:v>
                </c:pt>
                <c:pt idx="1135">
                  <c:v>40059</c:v>
                </c:pt>
                <c:pt idx="1136">
                  <c:v>40060</c:v>
                </c:pt>
                <c:pt idx="1137">
                  <c:v>40063</c:v>
                </c:pt>
                <c:pt idx="1138">
                  <c:v>40064</c:v>
                </c:pt>
                <c:pt idx="1139">
                  <c:v>40065</c:v>
                </c:pt>
                <c:pt idx="1140">
                  <c:v>40066</c:v>
                </c:pt>
                <c:pt idx="1141">
                  <c:v>40067</c:v>
                </c:pt>
                <c:pt idx="1142">
                  <c:v>40070</c:v>
                </c:pt>
                <c:pt idx="1143">
                  <c:v>40071</c:v>
                </c:pt>
                <c:pt idx="1144">
                  <c:v>40072</c:v>
                </c:pt>
                <c:pt idx="1145">
                  <c:v>40073</c:v>
                </c:pt>
                <c:pt idx="1146">
                  <c:v>40074</c:v>
                </c:pt>
                <c:pt idx="1147">
                  <c:v>40077</c:v>
                </c:pt>
                <c:pt idx="1148">
                  <c:v>40078</c:v>
                </c:pt>
                <c:pt idx="1149">
                  <c:v>40079</c:v>
                </c:pt>
                <c:pt idx="1150">
                  <c:v>40080</c:v>
                </c:pt>
                <c:pt idx="1151">
                  <c:v>40081</c:v>
                </c:pt>
                <c:pt idx="1152">
                  <c:v>40084</c:v>
                </c:pt>
                <c:pt idx="1153">
                  <c:v>40085</c:v>
                </c:pt>
                <c:pt idx="1154">
                  <c:v>40086</c:v>
                </c:pt>
                <c:pt idx="1155">
                  <c:v>40095</c:v>
                </c:pt>
                <c:pt idx="1156">
                  <c:v>40098</c:v>
                </c:pt>
                <c:pt idx="1157">
                  <c:v>40099</c:v>
                </c:pt>
                <c:pt idx="1158">
                  <c:v>40100</c:v>
                </c:pt>
                <c:pt idx="1159">
                  <c:v>40101</c:v>
                </c:pt>
                <c:pt idx="1160">
                  <c:v>40102</c:v>
                </c:pt>
                <c:pt idx="1161">
                  <c:v>40105</c:v>
                </c:pt>
                <c:pt idx="1162">
                  <c:v>40106</c:v>
                </c:pt>
                <c:pt idx="1163">
                  <c:v>40107</c:v>
                </c:pt>
                <c:pt idx="1164">
                  <c:v>40108</c:v>
                </c:pt>
                <c:pt idx="1165">
                  <c:v>40109</c:v>
                </c:pt>
                <c:pt idx="1166">
                  <c:v>40112</c:v>
                </c:pt>
                <c:pt idx="1167">
                  <c:v>40113</c:v>
                </c:pt>
                <c:pt idx="1168">
                  <c:v>40114</c:v>
                </c:pt>
                <c:pt idx="1169">
                  <c:v>40115</c:v>
                </c:pt>
                <c:pt idx="1170">
                  <c:v>40116</c:v>
                </c:pt>
                <c:pt idx="1171">
                  <c:v>40119</c:v>
                </c:pt>
                <c:pt idx="1172">
                  <c:v>40120</c:v>
                </c:pt>
                <c:pt idx="1173">
                  <c:v>40121</c:v>
                </c:pt>
                <c:pt idx="1174">
                  <c:v>40122</c:v>
                </c:pt>
                <c:pt idx="1175">
                  <c:v>40123</c:v>
                </c:pt>
                <c:pt idx="1176">
                  <c:v>40126</c:v>
                </c:pt>
                <c:pt idx="1177">
                  <c:v>40127</c:v>
                </c:pt>
                <c:pt idx="1178">
                  <c:v>40128</c:v>
                </c:pt>
                <c:pt idx="1179">
                  <c:v>40129</c:v>
                </c:pt>
                <c:pt idx="1180">
                  <c:v>40130</c:v>
                </c:pt>
                <c:pt idx="1181">
                  <c:v>40133</c:v>
                </c:pt>
                <c:pt idx="1182">
                  <c:v>40134</c:v>
                </c:pt>
                <c:pt idx="1183">
                  <c:v>40135</c:v>
                </c:pt>
                <c:pt idx="1184">
                  <c:v>40136</c:v>
                </c:pt>
                <c:pt idx="1185">
                  <c:v>40137</c:v>
                </c:pt>
                <c:pt idx="1186">
                  <c:v>40140</c:v>
                </c:pt>
                <c:pt idx="1187">
                  <c:v>40141</c:v>
                </c:pt>
                <c:pt idx="1188">
                  <c:v>40142</c:v>
                </c:pt>
                <c:pt idx="1189">
                  <c:v>40143</c:v>
                </c:pt>
                <c:pt idx="1190">
                  <c:v>40144</c:v>
                </c:pt>
                <c:pt idx="1191">
                  <c:v>40147</c:v>
                </c:pt>
                <c:pt idx="1192">
                  <c:v>40148</c:v>
                </c:pt>
                <c:pt idx="1193">
                  <c:v>40149</c:v>
                </c:pt>
                <c:pt idx="1194">
                  <c:v>40150</c:v>
                </c:pt>
                <c:pt idx="1195">
                  <c:v>40151</c:v>
                </c:pt>
                <c:pt idx="1196">
                  <c:v>40154</c:v>
                </c:pt>
                <c:pt idx="1197">
                  <c:v>40155</c:v>
                </c:pt>
                <c:pt idx="1198">
                  <c:v>40156</c:v>
                </c:pt>
                <c:pt idx="1199">
                  <c:v>40157</c:v>
                </c:pt>
                <c:pt idx="1200">
                  <c:v>40158</c:v>
                </c:pt>
                <c:pt idx="1201">
                  <c:v>40161</c:v>
                </c:pt>
                <c:pt idx="1202">
                  <c:v>40162</c:v>
                </c:pt>
                <c:pt idx="1203">
                  <c:v>40163</c:v>
                </c:pt>
                <c:pt idx="1204">
                  <c:v>40164</c:v>
                </c:pt>
                <c:pt idx="1205">
                  <c:v>40165</c:v>
                </c:pt>
                <c:pt idx="1206">
                  <c:v>40168</c:v>
                </c:pt>
                <c:pt idx="1207">
                  <c:v>40169</c:v>
                </c:pt>
                <c:pt idx="1208">
                  <c:v>40170</c:v>
                </c:pt>
                <c:pt idx="1209">
                  <c:v>40171</c:v>
                </c:pt>
                <c:pt idx="1210">
                  <c:v>40172</c:v>
                </c:pt>
                <c:pt idx="1211">
                  <c:v>40175</c:v>
                </c:pt>
                <c:pt idx="1212">
                  <c:v>40176</c:v>
                </c:pt>
                <c:pt idx="1213">
                  <c:v>40177</c:v>
                </c:pt>
                <c:pt idx="1214">
                  <c:v>40178</c:v>
                </c:pt>
                <c:pt idx="1215">
                  <c:v>40182</c:v>
                </c:pt>
                <c:pt idx="1216">
                  <c:v>40183</c:v>
                </c:pt>
                <c:pt idx="1217">
                  <c:v>40184</c:v>
                </c:pt>
                <c:pt idx="1218">
                  <c:v>40185</c:v>
                </c:pt>
                <c:pt idx="1219">
                  <c:v>40186</c:v>
                </c:pt>
                <c:pt idx="1220">
                  <c:v>40189</c:v>
                </c:pt>
                <c:pt idx="1221">
                  <c:v>40190</c:v>
                </c:pt>
                <c:pt idx="1222">
                  <c:v>40191</c:v>
                </c:pt>
                <c:pt idx="1223">
                  <c:v>40192</c:v>
                </c:pt>
                <c:pt idx="1224">
                  <c:v>40193</c:v>
                </c:pt>
                <c:pt idx="1225">
                  <c:v>40196</c:v>
                </c:pt>
                <c:pt idx="1226">
                  <c:v>40197</c:v>
                </c:pt>
                <c:pt idx="1227">
                  <c:v>40198</c:v>
                </c:pt>
                <c:pt idx="1228">
                  <c:v>40199</c:v>
                </c:pt>
                <c:pt idx="1229">
                  <c:v>40200</c:v>
                </c:pt>
                <c:pt idx="1230">
                  <c:v>40203</c:v>
                </c:pt>
                <c:pt idx="1231">
                  <c:v>40204</c:v>
                </c:pt>
                <c:pt idx="1232">
                  <c:v>40205</c:v>
                </c:pt>
                <c:pt idx="1233">
                  <c:v>40206</c:v>
                </c:pt>
                <c:pt idx="1234">
                  <c:v>40207</c:v>
                </c:pt>
                <c:pt idx="1235">
                  <c:v>40210</c:v>
                </c:pt>
                <c:pt idx="1236">
                  <c:v>40211</c:v>
                </c:pt>
                <c:pt idx="1237">
                  <c:v>40212</c:v>
                </c:pt>
                <c:pt idx="1238">
                  <c:v>40213</c:v>
                </c:pt>
                <c:pt idx="1239">
                  <c:v>40214</c:v>
                </c:pt>
                <c:pt idx="1240">
                  <c:v>40217</c:v>
                </c:pt>
                <c:pt idx="1241">
                  <c:v>40218</c:v>
                </c:pt>
                <c:pt idx="1242">
                  <c:v>40219</c:v>
                </c:pt>
                <c:pt idx="1243">
                  <c:v>40220</c:v>
                </c:pt>
                <c:pt idx="1244">
                  <c:v>40221</c:v>
                </c:pt>
                <c:pt idx="1245">
                  <c:v>40231</c:v>
                </c:pt>
                <c:pt idx="1246">
                  <c:v>40232</c:v>
                </c:pt>
                <c:pt idx="1247">
                  <c:v>40233</c:v>
                </c:pt>
                <c:pt idx="1248">
                  <c:v>40234</c:v>
                </c:pt>
                <c:pt idx="1249">
                  <c:v>40235</c:v>
                </c:pt>
                <c:pt idx="1250">
                  <c:v>40238</c:v>
                </c:pt>
                <c:pt idx="1251">
                  <c:v>40239</c:v>
                </c:pt>
                <c:pt idx="1252">
                  <c:v>40240</c:v>
                </c:pt>
                <c:pt idx="1253">
                  <c:v>40241</c:v>
                </c:pt>
                <c:pt idx="1254">
                  <c:v>40242</c:v>
                </c:pt>
                <c:pt idx="1255">
                  <c:v>40245</c:v>
                </c:pt>
                <c:pt idx="1256">
                  <c:v>40246</c:v>
                </c:pt>
                <c:pt idx="1257">
                  <c:v>40247</c:v>
                </c:pt>
                <c:pt idx="1258">
                  <c:v>40248</c:v>
                </c:pt>
                <c:pt idx="1259">
                  <c:v>40249</c:v>
                </c:pt>
                <c:pt idx="1260">
                  <c:v>40252</c:v>
                </c:pt>
                <c:pt idx="1261">
                  <c:v>40253</c:v>
                </c:pt>
                <c:pt idx="1262">
                  <c:v>40254</c:v>
                </c:pt>
                <c:pt idx="1263">
                  <c:v>40255</c:v>
                </c:pt>
                <c:pt idx="1264">
                  <c:v>40256</c:v>
                </c:pt>
                <c:pt idx="1265">
                  <c:v>40259</c:v>
                </c:pt>
                <c:pt idx="1266">
                  <c:v>40260</c:v>
                </c:pt>
                <c:pt idx="1267">
                  <c:v>40261</c:v>
                </c:pt>
                <c:pt idx="1268">
                  <c:v>40262</c:v>
                </c:pt>
                <c:pt idx="1269">
                  <c:v>40263</c:v>
                </c:pt>
                <c:pt idx="1270">
                  <c:v>40266</c:v>
                </c:pt>
                <c:pt idx="1271">
                  <c:v>40267</c:v>
                </c:pt>
                <c:pt idx="1272">
                  <c:v>40268</c:v>
                </c:pt>
                <c:pt idx="1273">
                  <c:v>40269</c:v>
                </c:pt>
                <c:pt idx="1274">
                  <c:v>40270</c:v>
                </c:pt>
                <c:pt idx="1275">
                  <c:v>40274</c:v>
                </c:pt>
                <c:pt idx="1276">
                  <c:v>40275</c:v>
                </c:pt>
                <c:pt idx="1277">
                  <c:v>40276</c:v>
                </c:pt>
                <c:pt idx="1278">
                  <c:v>40277</c:v>
                </c:pt>
                <c:pt idx="1279">
                  <c:v>40280</c:v>
                </c:pt>
                <c:pt idx="1280">
                  <c:v>40281</c:v>
                </c:pt>
                <c:pt idx="1281">
                  <c:v>40282</c:v>
                </c:pt>
                <c:pt idx="1282">
                  <c:v>40283</c:v>
                </c:pt>
                <c:pt idx="1283">
                  <c:v>40284</c:v>
                </c:pt>
                <c:pt idx="1284">
                  <c:v>40287</c:v>
                </c:pt>
                <c:pt idx="1285">
                  <c:v>40288</c:v>
                </c:pt>
                <c:pt idx="1286">
                  <c:v>40289</c:v>
                </c:pt>
                <c:pt idx="1287">
                  <c:v>40290</c:v>
                </c:pt>
                <c:pt idx="1288">
                  <c:v>40291</c:v>
                </c:pt>
                <c:pt idx="1289">
                  <c:v>40294</c:v>
                </c:pt>
                <c:pt idx="1290">
                  <c:v>40295</c:v>
                </c:pt>
                <c:pt idx="1291">
                  <c:v>40296</c:v>
                </c:pt>
                <c:pt idx="1292">
                  <c:v>40297</c:v>
                </c:pt>
                <c:pt idx="1293">
                  <c:v>40298</c:v>
                </c:pt>
                <c:pt idx="1294">
                  <c:v>40302</c:v>
                </c:pt>
                <c:pt idx="1295">
                  <c:v>40303</c:v>
                </c:pt>
                <c:pt idx="1296">
                  <c:v>40304</c:v>
                </c:pt>
                <c:pt idx="1297">
                  <c:v>40305</c:v>
                </c:pt>
                <c:pt idx="1298">
                  <c:v>40308</c:v>
                </c:pt>
                <c:pt idx="1299">
                  <c:v>40309</c:v>
                </c:pt>
                <c:pt idx="1300">
                  <c:v>40310</c:v>
                </c:pt>
                <c:pt idx="1301">
                  <c:v>40311</c:v>
                </c:pt>
                <c:pt idx="1302">
                  <c:v>40312</c:v>
                </c:pt>
                <c:pt idx="1303">
                  <c:v>40315</c:v>
                </c:pt>
                <c:pt idx="1304">
                  <c:v>40316</c:v>
                </c:pt>
                <c:pt idx="1305">
                  <c:v>40317</c:v>
                </c:pt>
                <c:pt idx="1306">
                  <c:v>40318</c:v>
                </c:pt>
                <c:pt idx="1307">
                  <c:v>40319</c:v>
                </c:pt>
                <c:pt idx="1308">
                  <c:v>40322</c:v>
                </c:pt>
                <c:pt idx="1309">
                  <c:v>40323</c:v>
                </c:pt>
                <c:pt idx="1310">
                  <c:v>40324</c:v>
                </c:pt>
                <c:pt idx="1311">
                  <c:v>40325</c:v>
                </c:pt>
                <c:pt idx="1312">
                  <c:v>40326</c:v>
                </c:pt>
                <c:pt idx="1313">
                  <c:v>40329</c:v>
                </c:pt>
                <c:pt idx="1314">
                  <c:v>40330</c:v>
                </c:pt>
                <c:pt idx="1315">
                  <c:v>40331</c:v>
                </c:pt>
                <c:pt idx="1316">
                  <c:v>40332</c:v>
                </c:pt>
                <c:pt idx="1317">
                  <c:v>40333</c:v>
                </c:pt>
                <c:pt idx="1318">
                  <c:v>40336</c:v>
                </c:pt>
                <c:pt idx="1319">
                  <c:v>40337</c:v>
                </c:pt>
                <c:pt idx="1320">
                  <c:v>40338</c:v>
                </c:pt>
                <c:pt idx="1321">
                  <c:v>40339</c:v>
                </c:pt>
                <c:pt idx="1322">
                  <c:v>40340</c:v>
                </c:pt>
                <c:pt idx="1323">
                  <c:v>40346</c:v>
                </c:pt>
                <c:pt idx="1324">
                  <c:v>40347</c:v>
                </c:pt>
                <c:pt idx="1325">
                  <c:v>40350</c:v>
                </c:pt>
                <c:pt idx="1326">
                  <c:v>40351</c:v>
                </c:pt>
                <c:pt idx="1327">
                  <c:v>40352</c:v>
                </c:pt>
                <c:pt idx="1328">
                  <c:v>40353</c:v>
                </c:pt>
                <c:pt idx="1329">
                  <c:v>40354</c:v>
                </c:pt>
                <c:pt idx="1330">
                  <c:v>40357</c:v>
                </c:pt>
                <c:pt idx="1331">
                  <c:v>40358</c:v>
                </c:pt>
                <c:pt idx="1332">
                  <c:v>40359</c:v>
                </c:pt>
                <c:pt idx="1333">
                  <c:v>40360</c:v>
                </c:pt>
                <c:pt idx="1334">
                  <c:v>40361</c:v>
                </c:pt>
                <c:pt idx="1335">
                  <c:v>40364</c:v>
                </c:pt>
                <c:pt idx="1336">
                  <c:v>40365</c:v>
                </c:pt>
                <c:pt idx="1337">
                  <c:v>40366</c:v>
                </c:pt>
                <c:pt idx="1338">
                  <c:v>40367</c:v>
                </c:pt>
                <c:pt idx="1339">
                  <c:v>40368</c:v>
                </c:pt>
                <c:pt idx="1340">
                  <c:v>40371</c:v>
                </c:pt>
                <c:pt idx="1341">
                  <c:v>40372</c:v>
                </c:pt>
                <c:pt idx="1342">
                  <c:v>40373</c:v>
                </c:pt>
                <c:pt idx="1343">
                  <c:v>40374</c:v>
                </c:pt>
                <c:pt idx="1344">
                  <c:v>40375</c:v>
                </c:pt>
                <c:pt idx="1345">
                  <c:v>40378</c:v>
                </c:pt>
                <c:pt idx="1346">
                  <c:v>40379</c:v>
                </c:pt>
                <c:pt idx="1347">
                  <c:v>40380</c:v>
                </c:pt>
                <c:pt idx="1348">
                  <c:v>40381</c:v>
                </c:pt>
                <c:pt idx="1349">
                  <c:v>40382</c:v>
                </c:pt>
                <c:pt idx="1350">
                  <c:v>40385</c:v>
                </c:pt>
                <c:pt idx="1351">
                  <c:v>40386</c:v>
                </c:pt>
                <c:pt idx="1352">
                  <c:v>40387</c:v>
                </c:pt>
                <c:pt idx="1353">
                  <c:v>40388</c:v>
                </c:pt>
                <c:pt idx="1354">
                  <c:v>40389</c:v>
                </c:pt>
                <c:pt idx="1355">
                  <c:v>40392</c:v>
                </c:pt>
                <c:pt idx="1356">
                  <c:v>40393</c:v>
                </c:pt>
                <c:pt idx="1357">
                  <c:v>40394</c:v>
                </c:pt>
                <c:pt idx="1358">
                  <c:v>40395</c:v>
                </c:pt>
                <c:pt idx="1359">
                  <c:v>40396</c:v>
                </c:pt>
                <c:pt idx="1360">
                  <c:v>40399</c:v>
                </c:pt>
                <c:pt idx="1361">
                  <c:v>40400</c:v>
                </c:pt>
                <c:pt idx="1362">
                  <c:v>40401</c:v>
                </c:pt>
                <c:pt idx="1363">
                  <c:v>40402</c:v>
                </c:pt>
                <c:pt idx="1364">
                  <c:v>40403</c:v>
                </c:pt>
                <c:pt idx="1365">
                  <c:v>40406</c:v>
                </c:pt>
                <c:pt idx="1366">
                  <c:v>40407</c:v>
                </c:pt>
                <c:pt idx="1367">
                  <c:v>40408</c:v>
                </c:pt>
                <c:pt idx="1368">
                  <c:v>40409</c:v>
                </c:pt>
                <c:pt idx="1369">
                  <c:v>40410</c:v>
                </c:pt>
                <c:pt idx="1370">
                  <c:v>40413</c:v>
                </c:pt>
                <c:pt idx="1371">
                  <c:v>40414</c:v>
                </c:pt>
                <c:pt idx="1372">
                  <c:v>40415</c:v>
                </c:pt>
                <c:pt idx="1373">
                  <c:v>40416</c:v>
                </c:pt>
                <c:pt idx="1374">
                  <c:v>40417</c:v>
                </c:pt>
                <c:pt idx="1375">
                  <c:v>40420</c:v>
                </c:pt>
                <c:pt idx="1376">
                  <c:v>40421</c:v>
                </c:pt>
                <c:pt idx="1377">
                  <c:v>40422</c:v>
                </c:pt>
                <c:pt idx="1378">
                  <c:v>40423</c:v>
                </c:pt>
                <c:pt idx="1379">
                  <c:v>40424</c:v>
                </c:pt>
                <c:pt idx="1380">
                  <c:v>40427</c:v>
                </c:pt>
                <c:pt idx="1381">
                  <c:v>40428</c:v>
                </c:pt>
                <c:pt idx="1382">
                  <c:v>40429</c:v>
                </c:pt>
                <c:pt idx="1383">
                  <c:v>40430</c:v>
                </c:pt>
                <c:pt idx="1384">
                  <c:v>40431</c:v>
                </c:pt>
                <c:pt idx="1385">
                  <c:v>40434</c:v>
                </c:pt>
                <c:pt idx="1386">
                  <c:v>40435</c:v>
                </c:pt>
                <c:pt idx="1387">
                  <c:v>40436</c:v>
                </c:pt>
                <c:pt idx="1388">
                  <c:v>40437</c:v>
                </c:pt>
                <c:pt idx="1389">
                  <c:v>40438</c:v>
                </c:pt>
                <c:pt idx="1390">
                  <c:v>40441</c:v>
                </c:pt>
                <c:pt idx="1391">
                  <c:v>40442</c:v>
                </c:pt>
                <c:pt idx="1392">
                  <c:v>40448</c:v>
                </c:pt>
                <c:pt idx="1393">
                  <c:v>40449</c:v>
                </c:pt>
                <c:pt idx="1394">
                  <c:v>40450</c:v>
                </c:pt>
                <c:pt idx="1395">
                  <c:v>40451</c:v>
                </c:pt>
                <c:pt idx="1396">
                  <c:v>40459</c:v>
                </c:pt>
                <c:pt idx="1397">
                  <c:v>40462</c:v>
                </c:pt>
                <c:pt idx="1398">
                  <c:v>40463</c:v>
                </c:pt>
                <c:pt idx="1399">
                  <c:v>40464</c:v>
                </c:pt>
                <c:pt idx="1400">
                  <c:v>40465</c:v>
                </c:pt>
                <c:pt idx="1401">
                  <c:v>40466</c:v>
                </c:pt>
                <c:pt idx="1402">
                  <c:v>40469</c:v>
                </c:pt>
                <c:pt idx="1403">
                  <c:v>40470</c:v>
                </c:pt>
                <c:pt idx="1404">
                  <c:v>40471</c:v>
                </c:pt>
                <c:pt idx="1405">
                  <c:v>40472</c:v>
                </c:pt>
                <c:pt idx="1406">
                  <c:v>40473</c:v>
                </c:pt>
                <c:pt idx="1407">
                  <c:v>40476</c:v>
                </c:pt>
                <c:pt idx="1408">
                  <c:v>40477</c:v>
                </c:pt>
                <c:pt idx="1409">
                  <c:v>40478</c:v>
                </c:pt>
                <c:pt idx="1410">
                  <c:v>40479</c:v>
                </c:pt>
                <c:pt idx="1411">
                  <c:v>40480</c:v>
                </c:pt>
                <c:pt idx="1412">
                  <c:v>40483</c:v>
                </c:pt>
                <c:pt idx="1413">
                  <c:v>40484</c:v>
                </c:pt>
                <c:pt idx="1414">
                  <c:v>40485</c:v>
                </c:pt>
                <c:pt idx="1415">
                  <c:v>40486</c:v>
                </c:pt>
                <c:pt idx="1416">
                  <c:v>40487</c:v>
                </c:pt>
                <c:pt idx="1417">
                  <c:v>40490</c:v>
                </c:pt>
                <c:pt idx="1418">
                  <c:v>40491</c:v>
                </c:pt>
                <c:pt idx="1419">
                  <c:v>40492</c:v>
                </c:pt>
                <c:pt idx="1420">
                  <c:v>40493</c:v>
                </c:pt>
                <c:pt idx="1421">
                  <c:v>40494</c:v>
                </c:pt>
                <c:pt idx="1422">
                  <c:v>40497</c:v>
                </c:pt>
                <c:pt idx="1423">
                  <c:v>40498</c:v>
                </c:pt>
                <c:pt idx="1424">
                  <c:v>40499</c:v>
                </c:pt>
                <c:pt idx="1425">
                  <c:v>40500</c:v>
                </c:pt>
                <c:pt idx="1426">
                  <c:v>40501</c:v>
                </c:pt>
                <c:pt idx="1427">
                  <c:v>40504</c:v>
                </c:pt>
                <c:pt idx="1428">
                  <c:v>40505</c:v>
                </c:pt>
                <c:pt idx="1429">
                  <c:v>40506</c:v>
                </c:pt>
                <c:pt idx="1430">
                  <c:v>40507</c:v>
                </c:pt>
                <c:pt idx="1431">
                  <c:v>40508</c:v>
                </c:pt>
                <c:pt idx="1432">
                  <c:v>40511</c:v>
                </c:pt>
                <c:pt idx="1433">
                  <c:v>40512</c:v>
                </c:pt>
                <c:pt idx="1434">
                  <c:v>40513</c:v>
                </c:pt>
                <c:pt idx="1435">
                  <c:v>40514</c:v>
                </c:pt>
                <c:pt idx="1436">
                  <c:v>40515</c:v>
                </c:pt>
                <c:pt idx="1437">
                  <c:v>40518</c:v>
                </c:pt>
                <c:pt idx="1438">
                  <c:v>40519</c:v>
                </c:pt>
                <c:pt idx="1439">
                  <c:v>40520</c:v>
                </c:pt>
                <c:pt idx="1440">
                  <c:v>40521</c:v>
                </c:pt>
                <c:pt idx="1441">
                  <c:v>40522</c:v>
                </c:pt>
                <c:pt idx="1442">
                  <c:v>40525</c:v>
                </c:pt>
                <c:pt idx="1443">
                  <c:v>40526</c:v>
                </c:pt>
                <c:pt idx="1444">
                  <c:v>40527</c:v>
                </c:pt>
                <c:pt idx="1445">
                  <c:v>40528</c:v>
                </c:pt>
                <c:pt idx="1446">
                  <c:v>40529</c:v>
                </c:pt>
                <c:pt idx="1447">
                  <c:v>40532</c:v>
                </c:pt>
                <c:pt idx="1448">
                  <c:v>40533</c:v>
                </c:pt>
                <c:pt idx="1449">
                  <c:v>40534</c:v>
                </c:pt>
                <c:pt idx="1450">
                  <c:v>40535</c:v>
                </c:pt>
                <c:pt idx="1451">
                  <c:v>40536</c:v>
                </c:pt>
                <c:pt idx="1452">
                  <c:v>40539</c:v>
                </c:pt>
                <c:pt idx="1453">
                  <c:v>40540</c:v>
                </c:pt>
                <c:pt idx="1454">
                  <c:v>40541</c:v>
                </c:pt>
                <c:pt idx="1455">
                  <c:v>40542</c:v>
                </c:pt>
                <c:pt idx="1456">
                  <c:v>40543</c:v>
                </c:pt>
                <c:pt idx="1457">
                  <c:v>40547</c:v>
                </c:pt>
                <c:pt idx="1458">
                  <c:v>40548</c:v>
                </c:pt>
                <c:pt idx="1459">
                  <c:v>40549</c:v>
                </c:pt>
                <c:pt idx="1460">
                  <c:v>40550</c:v>
                </c:pt>
                <c:pt idx="1461">
                  <c:v>40553</c:v>
                </c:pt>
                <c:pt idx="1462">
                  <c:v>40554</c:v>
                </c:pt>
                <c:pt idx="1463">
                  <c:v>40555</c:v>
                </c:pt>
                <c:pt idx="1464">
                  <c:v>40556</c:v>
                </c:pt>
                <c:pt idx="1465">
                  <c:v>40557</c:v>
                </c:pt>
                <c:pt idx="1466">
                  <c:v>40560</c:v>
                </c:pt>
                <c:pt idx="1467">
                  <c:v>40561</c:v>
                </c:pt>
                <c:pt idx="1468">
                  <c:v>40562</c:v>
                </c:pt>
                <c:pt idx="1469">
                  <c:v>40563</c:v>
                </c:pt>
                <c:pt idx="1470">
                  <c:v>40564</c:v>
                </c:pt>
                <c:pt idx="1471">
                  <c:v>40567</c:v>
                </c:pt>
                <c:pt idx="1472">
                  <c:v>40568</c:v>
                </c:pt>
                <c:pt idx="1473">
                  <c:v>40569</c:v>
                </c:pt>
                <c:pt idx="1474">
                  <c:v>40570</c:v>
                </c:pt>
                <c:pt idx="1475">
                  <c:v>40571</c:v>
                </c:pt>
                <c:pt idx="1476">
                  <c:v>40574</c:v>
                </c:pt>
                <c:pt idx="1477">
                  <c:v>40575</c:v>
                </c:pt>
                <c:pt idx="1478">
                  <c:v>40583</c:v>
                </c:pt>
                <c:pt idx="1479">
                  <c:v>40584</c:v>
                </c:pt>
                <c:pt idx="1480">
                  <c:v>40585</c:v>
                </c:pt>
                <c:pt idx="1481">
                  <c:v>40588</c:v>
                </c:pt>
                <c:pt idx="1482">
                  <c:v>40589</c:v>
                </c:pt>
                <c:pt idx="1483">
                  <c:v>40590</c:v>
                </c:pt>
                <c:pt idx="1484">
                  <c:v>40591</c:v>
                </c:pt>
                <c:pt idx="1485">
                  <c:v>40592</c:v>
                </c:pt>
                <c:pt idx="1486">
                  <c:v>40595</c:v>
                </c:pt>
                <c:pt idx="1487">
                  <c:v>40596</c:v>
                </c:pt>
                <c:pt idx="1488">
                  <c:v>40597</c:v>
                </c:pt>
                <c:pt idx="1489">
                  <c:v>40598</c:v>
                </c:pt>
                <c:pt idx="1490">
                  <c:v>40599</c:v>
                </c:pt>
                <c:pt idx="1491">
                  <c:v>40602</c:v>
                </c:pt>
                <c:pt idx="1492">
                  <c:v>40603</c:v>
                </c:pt>
                <c:pt idx="1493">
                  <c:v>40604</c:v>
                </c:pt>
                <c:pt idx="1494">
                  <c:v>40605</c:v>
                </c:pt>
                <c:pt idx="1495">
                  <c:v>40606</c:v>
                </c:pt>
                <c:pt idx="1496">
                  <c:v>40609</c:v>
                </c:pt>
                <c:pt idx="1497">
                  <c:v>40610</c:v>
                </c:pt>
                <c:pt idx="1498">
                  <c:v>40611</c:v>
                </c:pt>
                <c:pt idx="1499">
                  <c:v>40612</c:v>
                </c:pt>
                <c:pt idx="1500">
                  <c:v>40613</c:v>
                </c:pt>
                <c:pt idx="1501">
                  <c:v>40616</c:v>
                </c:pt>
                <c:pt idx="1502">
                  <c:v>40617</c:v>
                </c:pt>
                <c:pt idx="1503">
                  <c:v>40618</c:v>
                </c:pt>
                <c:pt idx="1504">
                  <c:v>40619</c:v>
                </c:pt>
                <c:pt idx="1505">
                  <c:v>40620</c:v>
                </c:pt>
                <c:pt idx="1506">
                  <c:v>40623</c:v>
                </c:pt>
                <c:pt idx="1507">
                  <c:v>40624</c:v>
                </c:pt>
                <c:pt idx="1508">
                  <c:v>40625</c:v>
                </c:pt>
                <c:pt idx="1509">
                  <c:v>40626</c:v>
                </c:pt>
                <c:pt idx="1510">
                  <c:v>40627</c:v>
                </c:pt>
                <c:pt idx="1511">
                  <c:v>40630</c:v>
                </c:pt>
                <c:pt idx="1512">
                  <c:v>40631</c:v>
                </c:pt>
                <c:pt idx="1513">
                  <c:v>40632</c:v>
                </c:pt>
                <c:pt idx="1514">
                  <c:v>40633</c:v>
                </c:pt>
                <c:pt idx="1515">
                  <c:v>40634</c:v>
                </c:pt>
                <c:pt idx="1516">
                  <c:v>40639</c:v>
                </c:pt>
                <c:pt idx="1517">
                  <c:v>40640</c:v>
                </c:pt>
                <c:pt idx="1518">
                  <c:v>40641</c:v>
                </c:pt>
                <c:pt idx="1519">
                  <c:v>40644</c:v>
                </c:pt>
                <c:pt idx="1520">
                  <c:v>40645</c:v>
                </c:pt>
                <c:pt idx="1521">
                  <c:v>40646</c:v>
                </c:pt>
                <c:pt idx="1522">
                  <c:v>40647</c:v>
                </c:pt>
                <c:pt idx="1523">
                  <c:v>40648</c:v>
                </c:pt>
                <c:pt idx="1524">
                  <c:v>40651</c:v>
                </c:pt>
                <c:pt idx="1525">
                  <c:v>40652</c:v>
                </c:pt>
                <c:pt idx="1526">
                  <c:v>40653</c:v>
                </c:pt>
                <c:pt idx="1527">
                  <c:v>40654</c:v>
                </c:pt>
                <c:pt idx="1528">
                  <c:v>40655</c:v>
                </c:pt>
                <c:pt idx="1529">
                  <c:v>40658</c:v>
                </c:pt>
                <c:pt idx="1530">
                  <c:v>40659</c:v>
                </c:pt>
                <c:pt idx="1531">
                  <c:v>40660</c:v>
                </c:pt>
                <c:pt idx="1532">
                  <c:v>40661</c:v>
                </c:pt>
                <c:pt idx="1533">
                  <c:v>40662</c:v>
                </c:pt>
                <c:pt idx="1534">
                  <c:v>40666</c:v>
                </c:pt>
                <c:pt idx="1535">
                  <c:v>40667</c:v>
                </c:pt>
                <c:pt idx="1536">
                  <c:v>40668</c:v>
                </c:pt>
                <c:pt idx="1537">
                  <c:v>40669</c:v>
                </c:pt>
                <c:pt idx="1538">
                  <c:v>40672</c:v>
                </c:pt>
                <c:pt idx="1539">
                  <c:v>40673</c:v>
                </c:pt>
                <c:pt idx="1540">
                  <c:v>40674</c:v>
                </c:pt>
                <c:pt idx="1541">
                  <c:v>40675</c:v>
                </c:pt>
                <c:pt idx="1542">
                  <c:v>40676</c:v>
                </c:pt>
                <c:pt idx="1543">
                  <c:v>40679</c:v>
                </c:pt>
                <c:pt idx="1544">
                  <c:v>40680</c:v>
                </c:pt>
                <c:pt idx="1545">
                  <c:v>40681</c:v>
                </c:pt>
                <c:pt idx="1546">
                  <c:v>40682</c:v>
                </c:pt>
                <c:pt idx="1547">
                  <c:v>40683</c:v>
                </c:pt>
                <c:pt idx="1548">
                  <c:v>40686</c:v>
                </c:pt>
                <c:pt idx="1549">
                  <c:v>40687</c:v>
                </c:pt>
                <c:pt idx="1550">
                  <c:v>40688</c:v>
                </c:pt>
                <c:pt idx="1551">
                  <c:v>40689</c:v>
                </c:pt>
                <c:pt idx="1552">
                  <c:v>40690</c:v>
                </c:pt>
                <c:pt idx="1553">
                  <c:v>40693</c:v>
                </c:pt>
                <c:pt idx="1554">
                  <c:v>40694</c:v>
                </c:pt>
                <c:pt idx="1555">
                  <c:v>40695</c:v>
                </c:pt>
                <c:pt idx="1556">
                  <c:v>40696</c:v>
                </c:pt>
                <c:pt idx="1557">
                  <c:v>40697</c:v>
                </c:pt>
                <c:pt idx="1558">
                  <c:v>40701</c:v>
                </c:pt>
                <c:pt idx="1559">
                  <c:v>40702</c:v>
                </c:pt>
                <c:pt idx="1560">
                  <c:v>40703</c:v>
                </c:pt>
                <c:pt idx="1561">
                  <c:v>40704</c:v>
                </c:pt>
                <c:pt idx="1562">
                  <c:v>40707</c:v>
                </c:pt>
                <c:pt idx="1563">
                  <c:v>40708</c:v>
                </c:pt>
                <c:pt idx="1564">
                  <c:v>40709</c:v>
                </c:pt>
                <c:pt idx="1565">
                  <c:v>40710</c:v>
                </c:pt>
                <c:pt idx="1566">
                  <c:v>40711</c:v>
                </c:pt>
                <c:pt idx="1567">
                  <c:v>40714</c:v>
                </c:pt>
                <c:pt idx="1568">
                  <c:v>40715</c:v>
                </c:pt>
                <c:pt idx="1569">
                  <c:v>40716</c:v>
                </c:pt>
                <c:pt idx="1570">
                  <c:v>40717</c:v>
                </c:pt>
                <c:pt idx="1571">
                  <c:v>40718</c:v>
                </c:pt>
                <c:pt idx="1572">
                  <c:v>40721</c:v>
                </c:pt>
                <c:pt idx="1573">
                  <c:v>40722</c:v>
                </c:pt>
                <c:pt idx="1574">
                  <c:v>40723</c:v>
                </c:pt>
                <c:pt idx="1575">
                  <c:v>40724</c:v>
                </c:pt>
                <c:pt idx="1576">
                  <c:v>40725</c:v>
                </c:pt>
                <c:pt idx="1577">
                  <c:v>40728</c:v>
                </c:pt>
                <c:pt idx="1578">
                  <c:v>40729</c:v>
                </c:pt>
                <c:pt idx="1579">
                  <c:v>40730</c:v>
                </c:pt>
                <c:pt idx="1580">
                  <c:v>40731</c:v>
                </c:pt>
                <c:pt idx="1581">
                  <c:v>40732</c:v>
                </c:pt>
                <c:pt idx="1582">
                  <c:v>40735</c:v>
                </c:pt>
                <c:pt idx="1583">
                  <c:v>40736</c:v>
                </c:pt>
                <c:pt idx="1584">
                  <c:v>40737</c:v>
                </c:pt>
                <c:pt idx="1585">
                  <c:v>40738</c:v>
                </c:pt>
                <c:pt idx="1586">
                  <c:v>40739</c:v>
                </c:pt>
                <c:pt idx="1587">
                  <c:v>40742</c:v>
                </c:pt>
                <c:pt idx="1588">
                  <c:v>40743</c:v>
                </c:pt>
                <c:pt idx="1589">
                  <c:v>40744</c:v>
                </c:pt>
                <c:pt idx="1590">
                  <c:v>40745</c:v>
                </c:pt>
                <c:pt idx="1591">
                  <c:v>40746</c:v>
                </c:pt>
                <c:pt idx="1592">
                  <c:v>40749</c:v>
                </c:pt>
                <c:pt idx="1593">
                  <c:v>40750</c:v>
                </c:pt>
                <c:pt idx="1594">
                  <c:v>40751</c:v>
                </c:pt>
                <c:pt idx="1595">
                  <c:v>40752</c:v>
                </c:pt>
                <c:pt idx="1596">
                  <c:v>40753</c:v>
                </c:pt>
                <c:pt idx="1597">
                  <c:v>40756</c:v>
                </c:pt>
                <c:pt idx="1598">
                  <c:v>40757</c:v>
                </c:pt>
                <c:pt idx="1599">
                  <c:v>40758</c:v>
                </c:pt>
                <c:pt idx="1600">
                  <c:v>40759</c:v>
                </c:pt>
                <c:pt idx="1601">
                  <c:v>40760</c:v>
                </c:pt>
                <c:pt idx="1602">
                  <c:v>40763</c:v>
                </c:pt>
                <c:pt idx="1603">
                  <c:v>40764</c:v>
                </c:pt>
                <c:pt idx="1604">
                  <c:v>40765</c:v>
                </c:pt>
                <c:pt idx="1605">
                  <c:v>40766</c:v>
                </c:pt>
                <c:pt idx="1606">
                  <c:v>40767</c:v>
                </c:pt>
                <c:pt idx="1607">
                  <c:v>40770</c:v>
                </c:pt>
                <c:pt idx="1608">
                  <c:v>40771</c:v>
                </c:pt>
                <c:pt idx="1609">
                  <c:v>40772</c:v>
                </c:pt>
                <c:pt idx="1610">
                  <c:v>40773</c:v>
                </c:pt>
                <c:pt idx="1611">
                  <c:v>40774</c:v>
                </c:pt>
                <c:pt idx="1612">
                  <c:v>40777</c:v>
                </c:pt>
                <c:pt idx="1613">
                  <c:v>40778</c:v>
                </c:pt>
                <c:pt idx="1614">
                  <c:v>40779</c:v>
                </c:pt>
                <c:pt idx="1615">
                  <c:v>40780</c:v>
                </c:pt>
                <c:pt idx="1616">
                  <c:v>40781</c:v>
                </c:pt>
                <c:pt idx="1617">
                  <c:v>40784</c:v>
                </c:pt>
                <c:pt idx="1618">
                  <c:v>40785</c:v>
                </c:pt>
                <c:pt idx="1619">
                  <c:v>40786</c:v>
                </c:pt>
                <c:pt idx="1620">
                  <c:v>40787</c:v>
                </c:pt>
                <c:pt idx="1621">
                  <c:v>40788</c:v>
                </c:pt>
                <c:pt idx="1622">
                  <c:v>40791</c:v>
                </c:pt>
                <c:pt idx="1623">
                  <c:v>40792</c:v>
                </c:pt>
                <c:pt idx="1624">
                  <c:v>40793</c:v>
                </c:pt>
                <c:pt idx="1625">
                  <c:v>40794</c:v>
                </c:pt>
                <c:pt idx="1626">
                  <c:v>40795</c:v>
                </c:pt>
                <c:pt idx="1627">
                  <c:v>40799</c:v>
                </c:pt>
                <c:pt idx="1628">
                  <c:v>40800</c:v>
                </c:pt>
                <c:pt idx="1629">
                  <c:v>40801</c:v>
                </c:pt>
                <c:pt idx="1630">
                  <c:v>40802</c:v>
                </c:pt>
                <c:pt idx="1631">
                  <c:v>40805</c:v>
                </c:pt>
                <c:pt idx="1632">
                  <c:v>40806</c:v>
                </c:pt>
                <c:pt idx="1633">
                  <c:v>40807</c:v>
                </c:pt>
                <c:pt idx="1634">
                  <c:v>40808</c:v>
                </c:pt>
                <c:pt idx="1635">
                  <c:v>40809</c:v>
                </c:pt>
                <c:pt idx="1636">
                  <c:v>40812</c:v>
                </c:pt>
                <c:pt idx="1637">
                  <c:v>40813</c:v>
                </c:pt>
                <c:pt idx="1638">
                  <c:v>40814</c:v>
                </c:pt>
                <c:pt idx="1639">
                  <c:v>40815</c:v>
                </c:pt>
                <c:pt idx="1640">
                  <c:v>40816</c:v>
                </c:pt>
                <c:pt idx="1641">
                  <c:v>40826</c:v>
                </c:pt>
                <c:pt idx="1642">
                  <c:v>40827</c:v>
                </c:pt>
                <c:pt idx="1643">
                  <c:v>40828</c:v>
                </c:pt>
                <c:pt idx="1644">
                  <c:v>40829</c:v>
                </c:pt>
                <c:pt idx="1645">
                  <c:v>40830</c:v>
                </c:pt>
                <c:pt idx="1646">
                  <c:v>40833</c:v>
                </c:pt>
                <c:pt idx="1647">
                  <c:v>40834</c:v>
                </c:pt>
                <c:pt idx="1648">
                  <c:v>40835</c:v>
                </c:pt>
                <c:pt idx="1649">
                  <c:v>40836</c:v>
                </c:pt>
                <c:pt idx="1650">
                  <c:v>40837</c:v>
                </c:pt>
                <c:pt idx="1651">
                  <c:v>40840</c:v>
                </c:pt>
                <c:pt idx="1652">
                  <c:v>40841</c:v>
                </c:pt>
                <c:pt idx="1653">
                  <c:v>40842</c:v>
                </c:pt>
                <c:pt idx="1654">
                  <c:v>40843</c:v>
                </c:pt>
                <c:pt idx="1655">
                  <c:v>40844</c:v>
                </c:pt>
                <c:pt idx="1656">
                  <c:v>40847</c:v>
                </c:pt>
                <c:pt idx="1657">
                  <c:v>40848</c:v>
                </c:pt>
                <c:pt idx="1658">
                  <c:v>40849</c:v>
                </c:pt>
                <c:pt idx="1659">
                  <c:v>40850</c:v>
                </c:pt>
                <c:pt idx="1660">
                  <c:v>40851</c:v>
                </c:pt>
                <c:pt idx="1661">
                  <c:v>40854</c:v>
                </c:pt>
                <c:pt idx="1662">
                  <c:v>40855</c:v>
                </c:pt>
                <c:pt idx="1663">
                  <c:v>40856</c:v>
                </c:pt>
                <c:pt idx="1664">
                  <c:v>40857</c:v>
                </c:pt>
                <c:pt idx="1665">
                  <c:v>40858</c:v>
                </c:pt>
                <c:pt idx="1666">
                  <c:v>40861</c:v>
                </c:pt>
                <c:pt idx="1667">
                  <c:v>40862</c:v>
                </c:pt>
                <c:pt idx="1668">
                  <c:v>40863</c:v>
                </c:pt>
                <c:pt idx="1669">
                  <c:v>40864</c:v>
                </c:pt>
                <c:pt idx="1670">
                  <c:v>40865</c:v>
                </c:pt>
                <c:pt idx="1671">
                  <c:v>40868</c:v>
                </c:pt>
                <c:pt idx="1672">
                  <c:v>40869</c:v>
                </c:pt>
                <c:pt idx="1673">
                  <c:v>40870</c:v>
                </c:pt>
                <c:pt idx="1674">
                  <c:v>40871</c:v>
                </c:pt>
                <c:pt idx="1675">
                  <c:v>40872</c:v>
                </c:pt>
                <c:pt idx="1676">
                  <c:v>40875</c:v>
                </c:pt>
                <c:pt idx="1677">
                  <c:v>40876</c:v>
                </c:pt>
                <c:pt idx="1678">
                  <c:v>40877</c:v>
                </c:pt>
                <c:pt idx="1679">
                  <c:v>40878</c:v>
                </c:pt>
                <c:pt idx="1680">
                  <c:v>40879</c:v>
                </c:pt>
                <c:pt idx="1681">
                  <c:v>40882</c:v>
                </c:pt>
                <c:pt idx="1682">
                  <c:v>40883</c:v>
                </c:pt>
                <c:pt idx="1683">
                  <c:v>40884</c:v>
                </c:pt>
                <c:pt idx="1684">
                  <c:v>40885</c:v>
                </c:pt>
                <c:pt idx="1685">
                  <c:v>40886</c:v>
                </c:pt>
                <c:pt idx="1686">
                  <c:v>40889</c:v>
                </c:pt>
                <c:pt idx="1687">
                  <c:v>40890</c:v>
                </c:pt>
                <c:pt idx="1688">
                  <c:v>40891</c:v>
                </c:pt>
                <c:pt idx="1689">
                  <c:v>40892</c:v>
                </c:pt>
                <c:pt idx="1690">
                  <c:v>40893</c:v>
                </c:pt>
                <c:pt idx="1691">
                  <c:v>40896</c:v>
                </c:pt>
                <c:pt idx="1692">
                  <c:v>40897</c:v>
                </c:pt>
                <c:pt idx="1693">
                  <c:v>40898</c:v>
                </c:pt>
                <c:pt idx="1694">
                  <c:v>40899</c:v>
                </c:pt>
                <c:pt idx="1695">
                  <c:v>40900</c:v>
                </c:pt>
                <c:pt idx="1696">
                  <c:v>40903</c:v>
                </c:pt>
                <c:pt idx="1697">
                  <c:v>40904</c:v>
                </c:pt>
                <c:pt idx="1698">
                  <c:v>40905</c:v>
                </c:pt>
                <c:pt idx="1699">
                  <c:v>40906</c:v>
                </c:pt>
                <c:pt idx="1700">
                  <c:v>40907</c:v>
                </c:pt>
                <c:pt idx="1701">
                  <c:v>40912</c:v>
                </c:pt>
                <c:pt idx="1702">
                  <c:v>40913</c:v>
                </c:pt>
                <c:pt idx="1703">
                  <c:v>40914</c:v>
                </c:pt>
                <c:pt idx="1704">
                  <c:v>40917</c:v>
                </c:pt>
                <c:pt idx="1705">
                  <c:v>40918</c:v>
                </c:pt>
                <c:pt idx="1706">
                  <c:v>40919</c:v>
                </c:pt>
                <c:pt idx="1707">
                  <c:v>40920</c:v>
                </c:pt>
                <c:pt idx="1708">
                  <c:v>40921</c:v>
                </c:pt>
                <c:pt idx="1709">
                  <c:v>40924</c:v>
                </c:pt>
                <c:pt idx="1710">
                  <c:v>40925</c:v>
                </c:pt>
                <c:pt idx="1711">
                  <c:v>40926</c:v>
                </c:pt>
                <c:pt idx="1712">
                  <c:v>40927</c:v>
                </c:pt>
                <c:pt idx="1713">
                  <c:v>40928</c:v>
                </c:pt>
                <c:pt idx="1714">
                  <c:v>40938</c:v>
                </c:pt>
                <c:pt idx="1715">
                  <c:v>40939</c:v>
                </c:pt>
                <c:pt idx="1716">
                  <c:v>40940</c:v>
                </c:pt>
                <c:pt idx="1717">
                  <c:v>40941</c:v>
                </c:pt>
                <c:pt idx="1718">
                  <c:v>40942</c:v>
                </c:pt>
                <c:pt idx="1719">
                  <c:v>40945</c:v>
                </c:pt>
                <c:pt idx="1720">
                  <c:v>40946</c:v>
                </c:pt>
                <c:pt idx="1721">
                  <c:v>40947</c:v>
                </c:pt>
                <c:pt idx="1722">
                  <c:v>40948</c:v>
                </c:pt>
                <c:pt idx="1723">
                  <c:v>40949</c:v>
                </c:pt>
                <c:pt idx="1724">
                  <c:v>40952</c:v>
                </c:pt>
                <c:pt idx="1725">
                  <c:v>40953</c:v>
                </c:pt>
                <c:pt idx="1726">
                  <c:v>40954</c:v>
                </c:pt>
                <c:pt idx="1727">
                  <c:v>40955</c:v>
                </c:pt>
                <c:pt idx="1728">
                  <c:v>40956</c:v>
                </c:pt>
                <c:pt idx="1729">
                  <c:v>40959</c:v>
                </c:pt>
                <c:pt idx="1730">
                  <c:v>40960</c:v>
                </c:pt>
                <c:pt idx="1731">
                  <c:v>40961</c:v>
                </c:pt>
                <c:pt idx="1732">
                  <c:v>40962</c:v>
                </c:pt>
                <c:pt idx="1733">
                  <c:v>40963</c:v>
                </c:pt>
                <c:pt idx="1734">
                  <c:v>40966</c:v>
                </c:pt>
                <c:pt idx="1735">
                  <c:v>40967</c:v>
                </c:pt>
                <c:pt idx="1736">
                  <c:v>40968</c:v>
                </c:pt>
                <c:pt idx="1737">
                  <c:v>40969</c:v>
                </c:pt>
                <c:pt idx="1738">
                  <c:v>40970</c:v>
                </c:pt>
                <c:pt idx="1739">
                  <c:v>40973</c:v>
                </c:pt>
                <c:pt idx="1740">
                  <c:v>40974</c:v>
                </c:pt>
                <c:pt idx="1741">
                  <c:v>40975</c:v>
                </c:pt>
                <c:pt idx="1742">
                  <c:v>40976</c:v>
                </c:pt>
                <c:pt idx="1743">
                  <c:v>40977</c:v>
                </c:pt>
                <c:pt idx="1744">
                  <c:v>40980</c:v>
                </c:pt>
                <c:pt idx="1745">
                  <c:v>40981</c:v>
                </c:pt>
                <c:pt idx="1746">
                  <c:v>40982</c:v>
                </c:pt>
                <c:pt idx="1747">
                  <c:v>40983</c:v>
                </c:pt>
                <c:pt idx="1748">
                  <c:v>40984</c:v>
                </c:pt>
                <c:pt idx="1749">
                  <c:v>40987</c:v>
                </c:pt>
                <c:pt idx="1750">
                  <c:v>40988</c:v>
                </c:pt>
                <c:pt idx="1751">
                  <c:v>40989</c:v>
                </c:pt>
                <c:pt idx="1752">
                  <c:v>40990</c:v>
                </c:pt>
                <c:pt idx="1753">
                  <c:v>40991</c:v>
                </c:pt>
                <c:pt idx="1754">
                  <c:v>40994</c:v>
                </c:pt>
                <c:pt idx="1755">
                  <c:v>40995</c:v>
                </c:pt>
                <c:pt idx="1756">
                  <c:v>40996</c:v>
                </c:pt>
                <c:pt idx="1757">
                  <c:v>40997</c:v>
                </c:pt>
                <c:pt idx="1758">
                  <c:v>40998</c:v>
                </c:pt>
                <c:pt idx="1759">
                  <c:v>41004</c:v>
                </c:pt>
                <c:pt idx="1760">
                  <c:v>41005</c:v>
                </c:pt>
                <c:pt idx="1761">
                  <c:v>41008</c:v>
                </c:pt>
                <c:pt idx="1762">
                  <c:v>41009</c:v>
                </c:pt>
                <c:pt idx="1763">
                  <c:v>41010</c:v>
                </c:pt>
                <c:pt idx="1764">
                  <c:v>41011</c:v>
                </c:pt>
                <c:pt idx="1765">
                  <c:v>41012</c:v>
                </c:pt>
                <c:pt idx="1766">
                  <c:v>41015</c:v>
                </c:pt>
                <c:pt idx="1767">
                  <c:v>41016</c:v>
                </c:pt>
                <c:pt idx="1768">
                  <c:v>41017</c:v>
                </c:pt>
                <c:pt idx="1769">
                  <c:v>41018</c:v>
                </c:pt>
                <c:pt idx="1770">
                  <c:v>41019</c:v>
                </c:pt>
                <c:pt idx="1771">
                  <c:v>41022</c:v>
                </c:pt>
                <c:pt idx="1772">
                  <c:v>41023</c:v>
                </c:pt>
                <c:pt idx="1773">
                  <c:v>41024</c:v>
                </c:pt>
                <c:pt idx="1774">
                  <c:v>41025</c:v>
                </c:pt>
                <c:pt idx="1775">
                  <c:v>41026</c:v>
                </c:pt>
                <c:pt idx="1776">
                  <c:v>41031</c:v>
                </c:pt>
                <c:pt idx="1777">
                  <c:v>41032</c:v>
                </c:pt>
                <c:pt idx="1778">
                  <c:v>41033</c:v>
                </c:pt>
                <c:pt idx="1779">
                  <c:v>41036</c:v>
                </c:pt>
                <c:pt idx="1780">
                  <c:v>41037</c:v>
                </c:pt>
                <c:pt idx="1781">
                  <c:v>41038</c:v>
                </c:pt>
                <c:pt idx="1782">
                  <c:v>41039</c:v>
                </c:pt>
                <c:pt idx="1783">
                  <c:v>41040</c:v>
                </c:pt>
                <c:pt idx="1784">
                  <c:v>41043</c:v>
                </c:pt>
                <c:pt idx="1785">
                  <c:v>41044</c:v>
                </c:pt>
                <c:pt idx="1786">
                  <c:v>41045</c:v>
                </c:pt>
                <c:pt idx="1787">
                  <c:v>41046</c:v>
                </c:pt>
                <c:pt idx="1788">
                  <c:v>41047</c:v>
                </c:pt>
                <c:pt idx="1789">
                  <c:v>41050</c:v>
                </c:pt>
                <c:pt idx="1790">
                  <c:v>41051</c:v>
                </c:pt>
                <c:pt idx="1791">
                  <c:v>41052</c:v>
                </c:pt>
                <c:pt idx="1792">
                  <c:v>41053</c:v>
                </c:pt>
                <c:pt idx="1793">
                  <c:v>41054</c:v>
                </c:pt>
                <c:pt idx="1794">
                  <c:v>41057</c:v>
                </c:pt>
                <c:pt idx="1795">
                  <c:v>41058</c:v>
                </c:pt>
                <c:pt idx="1796">
                  <c:v>41059</c:v>
                </c:pt>
                <c:pt idx="1797">
                  <c:v>41060</c:v>
                </c:pt>
                <c:pt idx="1798">
                  <c:v>41061</c:v>
                </c:pt>
                <c:pt idx="1799">
                  <c:v>41064</c:v>
                </c:pt>
                <c:pt idx="1800">
                  <c:v>41065</c:v>
                </c:pt>
                <c:pt idx="1801">
                  <c:v>41066</c:v>
                </c:pt>
                <c:pt idx="1802">
                  <c:v>41067</c:v>
                </c:pt>
                <c:pt idx="1803">
                  <c:v>41068</c:v>
                </c:pt>
                <c:pt idx="1804">
                  <c:v>41071</c:v>
                </c:pt>
                <c:pt idx="1805">
                  <c:v>41072</c:v>
                </c:pt>
                <c:pt idx="1806">
                  <c:v>41073</c:v>
                </c:pt>
                <c:pt idx="1807">
                  <c:v>41074</c:v>
                </c:pt>
                <c:pt idx="1808">
                  <c:v>41075</c:v>
                </c:pt>
                <c:pt idx="1809">
                  <c:v>41078</c:v>
                </c:pt>
                <c:pt idx="1810">
                  <c:v>41079</c:v>
                </c:pt>
                <c:pt idx="1811">
                  <c:v>41080</c:v>
                </c:pt>
                <c:pt idx="1812">
                  <c:v>41081</c:v>
                </c:pt>
                <c:pt idx="1813">
                  <c:v>41085</c:v>
                </c:pt>
                <c:pt idx="1814">
                  <c:v>41086</c:v>
                </c:pt>
                <c:pt idx="1815">
                  <c:v>41087</c:v>
                </c:pt>
                <c:pt idx="1816">
                  <c:v>41088</c:v>
                </c:pt>
                <c:pt idx="1817">
                  <c:v>41089</c:v>
                </c:pt>
                <c:pt idx="1818">
                  <c:v>41092</c:v>
                </c:pt>
                <c:pt idx="1819">
                  <c:v>41093</c:v>
                </c:pt>
                <c:pt idx="1820">
                  <c:v>41094</c:v>
                </c:pt>
                <c:pt idx="1821">
                  <c:v>41095</c:v>
                </c:pt>
                <c:pt idx="1822">
                  <c:v>41096</c:v>
                </c:pt>
                <c:pt idx="1823">
                  <c:v>41099</c:v>
                </c:pt>
                <c:pt idx="1824">
                  <c:v>41100</c:v>
                </c:pt>
                <c:pt idx="1825">
                  <c:v>41101</c:v>
                </c:pt>
                <c:pt idx="1826">
                  <c:v>41102</c:v>
                </c:pt>
                <c:pt idx="1827">
                  <c:v>41103</c:v>
                </c:pt>
                <c:pt idx="1828">
                  <c:v>41106</c:v>
                </c:pt>
                <c:pt idx="1829">
                  <c:v>41107</c:v>
                </c:pt>
                <c:pt idx="1830">
                  <c:v>41108</c:v>
                </c:pt>
                <c:pt idx="1831">
                  <c:v>41109</c:v>
                </c:pt>
                <c:pt idx="1832">
                  <c:v>41110</c:v>
                </c:pt>
                <c:pt idx="1833">
                  <c:v>41113</c:v>
                </c:pt>
                <c:pt idx="1834">
                  <c:v>41114</c:v>
                </c:pt>
                <c:pt idx="1835">
                  <c:v>41115</c:v>
                </c:pt>
                <c:pt idx="1836">
                  <c:v>41116</c:v>
                </c:pt>
                <c:pt idx="1837">
                  <c:v>41117</c:v>
                </c:pt>
                <c:pt idx="1838">
                  <c:v>41120</c:v>
                </c:pt>
                <c:pt idx="1839">
                  <c:v>41121</c:v>
                </c:pt>
                <c:pt idx="1840">
                  <c:v>41122</c:v>
                </c:pt>
                <c:pt idx="1841">
                  <c:v>41123</c:v>
                </c:pt>
                <c:pt idx="1842">
                  <c:v>41124</c:v>
                </c:pt>
                <c:pt idx="1843">
                  <c:v>41127</c:v>
                </c:pt>
                <c:pt idx="1844">
                  <c:v>41128</c:v>
                </c:pt>
                <c:pt idx="1845">
                  <c:v>41129</c:v>
                </c:pt>
                <c:pt idx="1846">
                  <c:v>41130</c:v>
                </c:pt>
                <c:pt idx="1847">
                  <c:v>41131</c:v>
                </c:pt>
                <c:pt idx="1848">
                  <c:v>41134</c:v>
                </c:pt>
                <c:pt idx="1849">
                  <c:v>41135</c:v>
                </c:pt>
                <c:pt idx="1850">
                  <c:v>41136</c:v>
                </c:pt>
                <c:pt idx="1851">
                  <c:v>41137</c:v>
                </c:pt>
                <c:pt idx="1852">
                  <c:v>41138</c:v>
                </c:pt>
                <c:pt idx="1853">
                  <c:v>41141</c:v>
                </c:pt>
                <c:pt idx="1854">
                  <c:v>41142</c:v>
                </c:pt>
                <c:pt idx="1855">
                  <c:v>41143</c:v>
                </c:pt>
                <c:pt idx="1856">
                  <c:v>41144</c:v>
                </c:pt>
                <c:pt idx="1857">
                  <c:v>41145</c:v>
                </c:pt>
                <c:pt idx="1858">
                  <c:v>41148</c:v>
                </c:pt>
                <c:pt idx="1859">
                  <c:v>41149</c:v>
                </c:pt>
                <c:pt idx="1860">
                  <c:v>41150</c:v>
                </c:pt>
                <c:pt idx="1861">
                  <c:v>41151</c:v>
                </c:pt>
                <c:pt idx="1862">
                  <c:v>41152</c:v>
                </c:pt>
                <c:pt idx="1863">
                  <c:v>41155</c:v>
                </c:pt>
                <c:pt idx="1864">
                  <c:v>41156</c:v>
                </c:pt>
                <c:pt idx="1865">
                  <c:v>41157</c:v>
                </c:pt>
                <c:pt idx="1866">
                  <c:v>41158</c:v>
                </c:pt>
                <c:pt idx="1867">
                  <c:v>41159</c:v>
                </c:pt>
                <c:pt idx="1868">
                  <c:v>41162</c:v>
                </c:pt>
                <c:pt idx="1869">
                  <c:v>41163</c:v>
                </c:pt>
                <c:pt idx="1870">
                  <c:v>41164</c:v>
                </c:pt>
                <c:pt idx="1871">
                  <c:v>41165</c:v>
                </c:pt>
                <c:pt idx="1872">
                  <c:v>41166</c:v>
                </c:pt>
                <c:pt idx="1873">
                  <c:v>41169</c:v>
                </c:pt>
                <c:pt idx="1874">
                  <c:v>41170</c:v>
                </c:pt>
                <c:pt idx="1875">
                  <c:v>41171</c:v>
                </c:pt>
                <c:pt idx="1876">
                  <c:v>41172</c:v>
                </c:pt>
                <c:pt idx="1877">
                  <c:v>41173</c:v>
                </c:pt>
                <c:pt idx="1878">
                  <c:v>41176</c:v>
                </c:pt>
                <c:pt idx="1879">
                  <c:v>41177</c:v>
                </c:pt>
                <c:pt idx="1880">
                  <c:v>41178</c:v>
                </c:pt>
                <c:pt idx="1881">
                  <c:v>41179</c:v>
                </c:pt>
                <c:pt idx="1882">
                  <c:v>41180</c:v>
                </c:pt>
                <c:pt idx="1883">
                  <c:v>41190</c:v>
                </c:pt>
                <c:pt idx="1884">
                  <c:v>41191</c:v>
                </c:pt>
                <c:pt idx="1885">
                  <c:v>41192</c:v>
                </c:pt>
                <c:pt idx="1886">
                  <c:v>41193</c:v>
                </c:pt>
                <c:pt idx="1887">
                  <c:v>41194</c:v>
                </c:pt>
                <c:pt idx="1888">
                  <c:v>41197</c:v>
                </c:pt>
                <c:pt idx="1889">
                  <c:v>41198</c:v>
                </c:pt>
                <c:pt idx="1890">
                  <c:v>41199</c:v>
                </c:pt>
                <c:pt idx="1891">
                  <c:v>41200</c:v>
                </c:pt>
                <c:pt idx="1892">
                  <c:v>41201</c:v>
                </c:pt>
                <c:pt idx="1893">
                  <c:v>41204</c:v>
                </c:pt>
                <c:pt idx="1894">
                  <c:v>41205</c:v>
                </c:pt>
                <c:pt idx="1895">
                  <c:v>41206</c:v>
                </c:pt>
                <c:pt idx="1896">
                  <c:v>41207</c:v>
                </c:pt>
                <c:pt idx="1897">
                  <c:v>41208</c:v>
                </c:pt>
                <c:pt idx="1898">
                  <c:v>41211</c:v>
                </c:pt>
                <c:pt idx="1899">
                  <c:v>41212</c:v>
                </c:pt>
                <c:pt idx="1900">
                  <c:v>41213</c:v>
                </c:pt>
                <c:pt idx="1901">
                  <c:v>41214</c:v>
                </c:pt>
                <c:pt idx="1902">
                  <c:v>41215</c:v>
                </c:pt>
                <c:pt idx="1903">
                  <c:v>41218</c:v>
                </c:pt>
                <c:pt idx="1904">
                  <c:v>41219</c:v>
                </c:pt>
                <c:pt idx="1905">
                  <c:v>41220</c:v>
                </c:pt>
                <c:pt idx="1906">
                  <c:v>41221</c:v>
                </c:pt>
                <c:pt idx="1907">
                  <c:v>41222</c:v>
                </c:pt>
                <c:pt idx="1908">
                  <c:v>41225</c:v>
                </c:pt>
                <c:pt idx="1909">
                  <c:v>41226</c:v>
                </c:pt>
                <c:pt idx="1910">
                  <c:v>41227</c:v>
                </c:pt>
                <c:pt idx="1911">
                  <c:v>41228</c:v>
                </c:pt>
                <c:pt idx="1912">
                  <c:v>41229</c:v>
                </c:pt>
                <c:pt idx="1913">
                  <c:v>41232</c:v>
                </c:pt>
                <c:pt idx="1914">
                  <c:v>41233</c:v>
                </c:pt>
                <c:pt idx="1915">
                  <c:v>41234</c:v>
                </c:pt>
                <c:pt idx="1916">
                  <c:v>41235</c:v>
                </c:pt>
                <c:pt idx="1917">
                  <c:v>41236</c:v>
                </c:pt>
                <c:pt idx="1918">
                  <c:v>41239</c:v>
                </c:pt>
                <c:pt idx="1919">
                  <c:v>41240</c:v>
                </c:pt>
                <c:pt idx="1920">
                  <c:v>41241</c:v>
                </c:pt>
                <c:pt idx="1921">
                  <c:v>41242</c:v>
                </c:pt>
                <c:pt idx="1922">
                  <c:v>41243</c:v>
                </c:pt>
                <c:pt idx="1923">
                  <c:v>41246</c:v>
                </c:pt>
                <c:pt idx="1924">
                  <c:v>41247</c:v>
                </c:pt>
                <c:pt idx="1925">
                  <c:v>41248</c:v>
                </c:pt>
                <c:pt idx="1926">
                  <c:v>41249</c:v>
                </c:pt>
                <c:pt idx="1927">
                  <c:v>41250</c:v>
                </c:pt>
                <c:pt idx="1928">
                  <c:v>41253</c:v>
                </c:pt>
                <c:pt idx="1929">
                  <c:v>41254</c:v>
                </c:pt>
                <c:pt idx="1930">
                  <c:v>41255</c:v>
                </c:pt>
                <c:pt idx="1931">
                  <c:v>41256</c:v>
                </c:pt>
                <c:pt idx="1932">
                  <c:v>41257</c:v>
                </c:pt>
                <c:pt idx="1933">
                  <c:v>41260</c:v>
                </c:pt>
                <c:pt idx="1934">
                  <c:v>41261</c:v>
                </c:pt>
                <c:pt idx="1935">
                  <c:v>41262</c:v>
                </c:pt>
                <c:pt idx="1936">
                  <c:v>41263</c:v>
                </c:pt>
                <c:pt idx="1937">
                  <c:v>41264</c:v>
                </c:pt>
                <c:pt idx="1938">
                  <c:v>41267</c:v>
                </c:pt>
                <c:pt idx="1939">
                  <c:v>41268</c:v>
                </c:pt>
                <c:pt idx="1940">
                  <c:v>41269</c:v>
                </c:pt>
                <c:pt idx="1941">
                  <c:v>41270</c:v>
                </c:pt>
                <c:pt idx="1942">
                  <c:v>41271</c:v>
                </c:pt>
                <c:pt idx="1943">
                  <c:v>41274</c:v>
                </c:pt>
                <c:pt idx="1944">
                  <c:v>41278</c:v>
                </c:pt>
                <c:pt idx="1945">
                  <c:v>41281</c:v>
                </c:pt>
                <c:pt idx="1946">
                  <c:v>41282</c:v>
                </c:pt>
                <c:pt idx="1947">
                  <c:v>41283</c:v>
                </c:pt>
                <c:pt idx="1948">
                  <c:v>41284</c:v>
                </c:pt>
                <c:pt idx="1949">
                  <c:v>41285</c:v>
                </c:pt>
                <c:pt idx="1950">
                  <c:v>41288</c:v>
                </c:pt>
                <c:pt idx="1951">
                  <c:v>41289</c:v>
                </c:pt>
                <c:pt idx="1952">
                  <c:v>41290</c:v>
                </c:pt>
                <c:pt idx="1953">
                  <c:v>41291</c:v>
                </c:pt>
                <c:pt idx="1954">
                  <c:v>41292</c:v>
                </c:pt>
                <c:pt idx="1955">
                  <c:v>41295</c:v>
                </c:pt>
                <c:pt idx="1956">
                  <c:v>41296</c:v>
                </c:pt>
                <c:pt idx="1957">
                  <c:v>41297</c:v>
                </c:pt>
                <c:pt idx="1958">
                  <c:v>41298</c:v>
                </c:pt>
                <c:pt idx="1959">
                  <c:v>41299</c:v>
                </c:pt>
                <c:pt idx="1960">
                  <c:v>41302</c:v>
                </c:pt>
                <c:pt idx="1961">
                  <c:v>41303</c:v>
                </c:pt>
                <c:pt idx="1962">
                  <c:v>41304</c:v>
                </c:pt>
                <c:pt idx="1963">
                  <c:v>41305</c:v>
                </c:pt>
                <c:pt idx="1964">
                  <c:v>41306</c:v>
                </c:pt>
                <c:pt idx="1965">
                  <c:v>41309</c:v>
                </c:pt>
                <c:pt idx="1966">
                  <c:v>41310</c:v>
                </c:pt>
                <c:pt idx="1967">
                  <c:v>41311</c:v>
                </c:pt>
                <c:pt idx="1968">
                  <c:v>41312</c:v>
                </c:pt>
                <c:pt idx="1969">
                  <c:v>41313</c:v>
                </c:pt>
                <c:pt idx="1970">
                  <c:v>41323</c:v>
                </c:pt>
                <c:pt idx="1971">
                  <c:v>41324</c:v>
                </c:pt>
                <c:pt idx="1972">
                  <c:v>41325</c:v>
                </c:pt>
                <c:pt idx="1973">
                  <c:v>41326</c:v>
                </c:pt>
                <c:pt idx="1974">
                  <c:v>41327</c:v>
                </c:pt>
                <c:pt idx="1975">
                  <c:v>41330</c:v>
                </c:pt>
                <c:pt idx="1976">
                  <c:v>41331</c:v>
                </c:pt>
                <c:pt idx="1977">
                  <c:v>41332</c:v>
                </c:pt>
                <c:pt idx="1978">
                  <c:v>41333</c:v>
                </c:pt>
                <c:pt idx="1979">
                  <c:v>41334</c:v>
                </c:pt>
                <c:pt idx="1980">
                  <c:v>41337</c:v>
                </c:pt>
                <c:pt idx="1981">
                  <c:v>41338</c:v>
                </c:pt>
                <c:pt idx="1982">
                  <c:v>41339</c:v>
                </c:pt>
                <c:pt idx="1983">
                  <c:v>41340</c:v>
                </c:pt>
                <c:pt idx="1984">
                  <c:v>41341</c:v>
                </c:pt>
                <c:pt idx="1985">
                  <c:v>41344</c:v>
                </c:pt>
                <c:pt idx="1986">
                  <c:v>41345</c:v>
                </c:pt>
                <c:pt idx="1987">
                  <c:v>41346</c:v>
                </c:pt>
                <c:pt idx="1988">
                  <c:v>41347</c:v>
                </c:pt>
                <c:pt idx="1989">
                  <c:v>41348</c:v>
                </c:pt>
                <c:pt idx="1990">
                  <c:v>41351</c:v>
                </c:pt>
                <c:pt idx="1991">
                  <c:v>41352</c:v>
                </c:pt>
                <c:pt idx="1992">
                  <c:v>41353</c:v>
                </c:pt>
                <c:pt idx="1993">
                  <c:v>41354</c:v>
                </c:pt>
                <c:pt idx="1994">
                  <c:v>41355</c:v>
                </c:pt>
                <c:pt idx="1995">
                  <c:v>41358</c:v>
                </c:pt>
                <c:pt idx="1996">
                  <c:v>41359</c:v>
                </c:pt>
                <c:pt idx="1997">
                  <c:v>41360</c:v>
                </c:pt>
                <c:pt idx="1998">
                  <c:v>41361</c:v>
                </c:pt>
                <c:pt idx="1999">
                  <c:v>41362</c:v>
                </c:pt>
                <c:pt idx="2000">
                  <c:v>41365</c:v>
                </c:pt>
                <c:pt idx="2001">
                  <c:v>41366</c:v>
                </c:pt>
                <c:pt idx="2002">
                  <c:v>41367</c:v>
                </c:pt>
                <c:pt idx="2003">
                  <c:v>41372</c:v>
                </c:pt>
                <c:pt idx="2004">
                  <c:v>41373</c:v>
                </c:pt>
                <c:pt idx="2005">
                  <c:v>41374</c:v>
                </c:pt>
                <c:pt idx="2006">
                  <c:v>41375</c:v>
                </c:pt>
                <c:pt idx="2007">
                  <c:v>41376</c:v>
                </c:pt>
                <c:pt idx="2008">
                  <c:v>41379</c:v>
                </c:pt>
                <c:pt idx="2009">
                  <c:v>41380</c:v>
                </c:pt>
                <c:pt idx="2010">
                  <c:v>41381</c:v>
                </c:pt>
                <c:pt idx="2011">
                  <c:v>41382</c:v>
                </c:pt>
                <c:pt idx="2012">
                  <c:v>41383</c:v>
                </c:pt>
                <c:pt idx="2013">
                  <c:v>41386</c:v>
                </c:pt>
                <c:pt idx="2014">
                  <c:v>41387</c:v>
                </c:pt>
                <c:pt idx="2015">
                  <c:v>41388</c:v>
                </c:pt>
                <c:pt idx="2016">
                  <c:v>41389</c:v>
                </c:pt>
                <c:pt idx="2017">
                  <c:v>41390</c:v>
                </c:pt>
                <c:pt idx="2018">
                  <c:v>41396</c:v>
                </c:pt>
                <c:pt idx="2019">
                  <c:v>41397</c:v>
                </c:pt>
                <c:pt idx="2020">
                  <c:v>41400</c:v>
                </c:pt>
                <c:pt idx="2021">
                  <c:v>41401</c:v>
                </c:pt>
                <c:pt idx="2022">
                  <c:v>41402</c:v>
                </c:pt>
                <c:pt idx="2023">
                  <c:v>41403</c:v>
                </c:pt>
                <c:pt idx="2024">
                  <c:v>41404</c:v>
                </c:pt>
                <c:pt idx="2025">
                  <c:v>41407</c:v>
                </c:pt>
                <c:pt idx="2026">
                  <c:v>41408</c:v>
                </c:pt>
                <c:pt idx="2027">
                  <c:v>41409</c:v>
                </c:pt>
                <c:pt idx="2028">
                  <c:v>41410</c:v>
                </c:pt>
                <c:pt idx="2029">
                  <c:v>41411</c:v>
                </c:pt>
                <c:pt idx="2030">
                  <c:v>41414</c:v>
                </c:pt>
                <c:pt idx="2031">
                  <c:v>41415</c:v>
                </c:pt>
                <c:pt idx="2032">
                  <c:v>41416</c:v>
                </c:pt>
                <c:pt idx="2033">
                  <c:v>41417</c:v>
                </c:pt>
                <c:pt idx="2034">
                  <c:v>41418</c:v>
                </c:pt>
                <c:pt idx="2035">
                  <c:v>41421</c:v>
                </c:pt>
                <c:pt idx="2036">
                  <c:v>41422</c:v>
                </c:pt>
                <c:pt idx="2037">
                  <c:v>41423</c:v>
                </c:pt>
                <c:pt idx="2038">
                  <c:v>41424</c:v>
                </c:pt>
                <c:pt idx="2039">
                  <c:v>41425</c:v>
                </c:pt>
                <c:pt idx="2040">
                  <c:v>41428</c:v>
                </c:pt>
                <c:pt idx="2041">
                  <c:v>41429</c:v>
                </c:pt>
                <c:pt idx="2042">
                  <c:v>41430</c:v>
                </c:pt>
                <c:pt idx="2043">
                  <c:v>41431</c:v>
                </c:pt>
                <c:pt idx="2044">
                  <c:v>41432</c:v>
                </c:pt>
                <c:pt idx="2045">
                  <c:v>41438</c:v>
                </c:pt>
                <c:pt idx="2046">
                  <c:v>41439</c:v>
                </c:pt>
                <c:pt idx="2047">
                  <c:v>41442</c:v>
                </c:pt>
                <c:pt idx="2048">
                  <c:v>41443</c:v>
                </c:pt>
                <c:pt idx="2049">
                  <c:v>41444</c:v>
                </c:pt>
                <c:pt idx="2050">
                  <c:v>41445</c:v>
                </c:pt>
                <c:pt idx="2051">
                  <c:v>41446</c:v>
                </c:pt>
                <c:pt idx="2052">
                  <c:v>41449</c:v>
                </c:pt>
                <c:pt idx="2053">
                  <c:v>41450</c:v>
                </c:pt>
                <c:pt idx="2054">
                  <c:v>41451</c:v>
                </c:pt>
                <c:pt idx="2055">
                  <c:v>41452</c:v>
                </c:pt>
                <c:pt idx="2056">
                  <c:v>41453</c:v>
                </c:pt>
                <c:pt idx="2057">
                  <c:v>41456</c:v>
                </c:pt>
                <c:pt idx="2058">
                  <c:v>41457</c:v>
                </c:pt>
                <c:pt idx="2059">
                  <c:v>41458</c:v>
                </c:pt>
                <c:pt idx="2060">
                  <c:v>41459</c:v>
                </c:pt>
                <c:pt idx="2061">
                  <c:v>41460</c:v>
                </c:pt>
                <c:pt idx="2062">
                  <c:v>41463</c:v>
                </c:pt>
                <c:pt idx="2063">
                  <c:v>41464</c:v>
                </c:pt>
                <c:pt idx="2064">
                  <c:v>41465</c:v>
                </c:pt>
                <c:pt idx="2065">
                  <c:v>41466</c:v>
                </c:pt>
                <c:pt idx="2066">
                  <c:v>41467</c:v>
                </c:pt>
                <c:pt idx="2067">
                  <c:v>41470</c:v>
                </c:pt>
                <c:pt idx="2068">
                  <c:v>41471</c:v>
                </c:pt>
                <c:pt idx="2069">
                  <c:v>41472</c:v>
                </c:pt>
                <c:pt idx="2070">
                  <c:v>41473</c:v>
                </c:pt>
                <c:pt idx="2071">
                  <c:v>41474</c:v>
                </c:pt>
                <c:pt idx="2072">
                  <c:v>41477</c:v>
                </c:pt>
                <c:pt idx="2073">
                  <c:v>41478</c:v>
                </c:pt>
                <c:pt idx="2074">
                  <c:v>41479</c:v>
                </c:pt>
                <c:pt idx="2075">
                  <c:v>41480</c:v>
                </c:pt>
                <c:pt idx="2076">
                  <c:v>41481</c:v>
                </c:pt>
                <c:pt idx="2077">
                  <c:v>41484</c:v>
                </c:pt>
                <c:pt idx="2078">
                  <c:v>41485</c:v>
                </c:pt>
                <c:pt idx="2079">
                  <c:v>41486</c:v>
                </c:pt>
                <c:pt idx="2080">
                  <c:v>41487</c:v>
                </c:pt>
                <c:pt idx="2081">
                  <c:v>41488</c:v>
                </c:pt>
                <c:pt idx="2082">
                  <c:v>41491</c:v>
                </c:pt>
                <c:pt idx="2083">
                  <c:v>41492</c:v>
                </c:pt>
                <c:pt idx="2084">
                  <c:v>41493</c:v>
                </c:pt>
                <c:pt idx="2085">
                  <c:v>41494</c:v>
                </c:pt>
                <c:pt idx="2086">
                  <c:v>41495</c:v>
                </c:pt>
                <c:pt idx="2087">
                  <c:v>41498</c:v>
                </c:pt>
                <c:pt idx="2088">
                  <c:v>41499</c:v>
                </c:pt>
                <c:pt idx="2089">
                  <c:v>41500</c:v>
                </c:pt>
                <c:pt idx="2090">
                  <c:v>41501</c:v>
                </c:pt>
                <c:pt idx="2091">
                  <c:v>41502</c:v>
                </c:pt>
                <c:pt idx="2092">
                  <c:v>41505</c:v>
                </c:pt>
                <c:pt idx="2093">
                  <c:v>41506</c:v>
                </c:pt>
                <c:pt idx="2094">
                  <c:v>41507</c:v>
                </c:pt>
                <c:pt idx="2095">
                  <c:v>41508</c:v>
                </c:pt>
                <c:pt idx="2096">
                  <c:v>41509</c:v>
                </c:pt>
                <c:pt idx="2097">
                  <c:v>41512</c:v>
                </c:pt>
                <c:pt idx="2098">
                  <c:v>41513</c:v>
                </c:pt>
                <c:pt idx="2099">
                  <c:v>41514</c:v>
                </c:pt>
                <c:pt idx="2100">
                  <c:v>41515</c:v>
                </c:pt>
                <c:pt idx="2101">
                  <c:v>41516</c:v>
                </c:pt>
                <c:pt idx="2102">
                  <c:v>41519</c:v>
                </c:pt>
                <c:pt idx="2103">
                  <c:v>41520</c:v>
                </c:pt>
                <c:pt idx="2104">
                  <c:v>41521</c:v>
                </c:pt>
                <c:pt idx="2105">
                  <c:v>41522</c:v>
                </c:pt>
                <c:pt idx="2106">
                  <c:v>41523</c:v>
                </c:pt>
                <c:pt idx="2107">
                  <c:v>41526</c:v>
                </c:pt>
                <c:pt idx="2108">
                  <c:v>41527</c:v>
                </c:pt>
                <c:pt idx="2109">
                  <c:v>41528</c:v>
                </c:pt>
                <c:pt idx="2110">
                  <c:v>41529</c:v>
                </c:pt>
                <c:pt idx="2111">
                  <c:v>41530</c:v>
                </c:pt>
                <c:pt idx="2112">
                  <c:v>41533</c:v>
                </c:pt>
                <c:pt idx="2113">
                  <c:v>41534</c:v>
                </c:pt>
                <c:pt idx="2114">
                  <c:v>41535</c:v>
                </c:pt>
                <c:pt idx="2115">
                  <c:v>41540</c:v>
                </c:pt>
                <c:pt idx="2116">
                  <c:v>41541</c:v>
                </c:pt>
                <c:pt idx="2117">
                  <c:v>41542</c:v>
                </c:pt>
                <c:pt idx="2118">
                  <c:v>41543</c:v>
                </c:pt>
                <c:pt idx="2119">
                  <c:v>41544</c:v>
                </c:pt>
                <c:pt idx="2120">
                  <c:v>41547</c:v>
                </c:pt>
                <c:pt idx="2121">
                  <c:v>41555</c:v>
                </c:pt>
                <c:pt idx="2122">
                  <c:v>41556</c:v>
                </c:pt>
                <c:pt idx="2123">
                  <c:v>41557</c:v>
                </c:pt>
                <c:pt idx="2124">
                  <c:v>41558</c:v>
                </c:pt>
                <c:pt idx="2125">
                  <c:v>41561</c:v>
                </c:pt>
                <c:pt idx="2126">
                  <c:v>41562</c:v>
                </c:pt>
                <c:pt idx="2127">
                  <c:v>41563</c:v>
                </c:pt>
                <c:pt idx="2128">
                  <c:v>41564</c:v>
                </c:pt>
                <c:pt idx="2129">
                  <c:v>41565</c:v>
                </c:pt>
                <c:pt idx="2130">
                  <c:v>41568</c:v>
                </c:pt>
                <c:pt idx="2131">
                  <c:v>41569</c:v>
                </c:pt>
                <c:pt idx="2132">
                  <c:v>41570</c:v>
                </c:pt>
                <c:pt idx="2133">
                  <c:v>41571</c:v>
                </c:pt>
                <c:pt idx="2134">
                  <c:v>41572</c:v>
                </c:pt>
                <c:pt idx="2135">
                  <c:v>41575</c:v>
                </c:pt>
                <c:pt idx="2136">
                  <c:v>41576</c:v>
                </c:pt>
                <c:pt idx="2137">
                  <c:v>41577</c:v>
                </c:pt>
                <c:pt idx="2138">
                  <c:v>41578</c:v>
                </c:pt>
                <c:pt idx="2139">
                  <c:v>41579</c:v>
                </c:pt>
                <c:pt idx="2140">
                  <c:v>41582</c:v>
                </c:pt>
                <c:pt idx="2141">
                  <c:v>41583</c:v>
                </c:pt>
                <c:pt idx="2142">
                  <c:v>41584</c:v>
                </c:pt>
                <c:pt idx="2143">
                  <c:v>41585</c:v>
                </c:pt>
                <c:pt idx="2144">
                  <c:v>41586</c:v>
                </c:pt>
                <c:pt idx="2145">
                  <c:v>41589</c:v>
                </c:pt>
                <c:pt idx="2146">
                  <c:v>41590</c:v>
                </c:pt>
                <c:pt idx="2147">
                  <c:v>41591</c:v>
                </c:pt>
                <c:pt idx="2148">
                  <c:v>41592</c:v>
                </c:pt>
                <c:pt idx="2149">
                  <c:v>41593</c:v>
                </c:pt>
                <c:pt idx="2150">
                  <c:v>41596</c:v>
                </c:pt>
                <c:pt idx="2151">
                  <c:v>41597</c:v>
                </c:pt>
                <c:pt idx="2152">
                  <c:v>41598</c:v>
                </c:pt>
                <c:pt idx="2153">
                  <c:v>41599</c:v>
                </c:pt>
                <c:pt idx="2154">
                  <c:v>41600</c:v>
                </c:pt>
                <c:pt idx="2155">
                  <c:v>41603</c:v>
                </c:pt>
                <c:pt idx="2156">
                  <c:v>41604</c:v>
                </c:pt>
                <c:pt idx="2157">
                  <c:v>41605</c:v>
                </c:pt>
                <c:pt idx="2158">
                  <c:v>41606</c:v>
                </c:pt>
                <c:pt idx="2159">
                  <c:v>41607</c:v>
                </c:pt>
                <c:pt idx="2160">
                  <c:v>41610</c:v>
                </c:pt>
                <c:pt idx="2161">
                  <c:v>41611</c:v>
                </c:pt>
                <c:pt idx="2162">
                  <c:v>41612</c:v>
                </c:pt>
                <c:pt idx="2163">
                  <c:v>41613</c:v>
                </c:pt>
                <c:pt idx="2164">
                  <c:v>41614</c:v>
                </c:pt>
                <c:pt idx="2165">
                  <c:v>41617</c:v>
                </c:pt>
                <c:pt idx="2166">
                  <c:v>41618</c:v>
                </c:pt>
                <c:pt idx="2167">
                  <c:v>41619</c:v>
                </c:pt>
                <c:pt idx="2168">
                  <c:v>41620</c:v>
                </c:pt>
                <c:pt idx="2169">
                  <c:v>41621</c:v>
                </c:pt>
                <c:pt idx="2170">
                  <c:v>41624</c:v>
                </c:pt>
                <c:pt idx="2171">
                  <c:v>41625</c:v>
                </c:pt>
                <c:pt idx="2172">
                  <c:v>41626</c:v>
                </c:pt>
                <c:pt idx="2173">
                  <c:v>41627</c:v>
                </c:pt>
                <c:pt idx="2174">
                  <c:v>41628</c:v>
                </c:pt>
                <c:pt idx="2175">
                  <c:v>41631</c:v>
                </c:pt>
                <c:pt idx="2176">
                  <c:v>41632</c:v>
                </c:pt>
                <c:pt idx="2177">
                  <c:v>41633</c:v>
                </c:pt>
                <c:pt idx="2178">
                  <c:v>41634</c:v>
                </c:pt>
                <c:pt idx="2179">
                  <c:v>41635</c:v>
                </c:pt>
                <c:pt idx="2180">
                  <c:v>41638</c:v>
                </c:pt>
                <c:pt idx="2181">
                  <c:v>41639</c:v>
                </c:pt>
                <c:pt idx="2182">
                  <c:v>41641</c:v>
                </c:pt>
                <c:pt idx="2183">
                  <c:v>41642</c:v>
                </c:pt>
                <c:pt idx="2184">
                  <c:v>41645</c:v>
                </c:pt>
                <c:pt idx="2185">
                  <c:v>41646</c:v>
                </c:pt>
                <c:pt idx="2186">
                  <c:v>41647</c:v>
                </c:pt>
                <c:pt idx="2187">
                  <c:v>41648</c:v>
                </c:pt>
                <c:pt idx="2188">
                  <c:v>41649</c:v>
                </c:pt>
                <c:pt idx="2189">
                  <c:v>41652</c:v>
                </c:pt>
                <c:pt idx="2190">
                  <c:v>41653</c:v>
                </c:pt>
                <c:pt idx="2191">
                  <c:v>41654</c:v>
                </c:pt>
                <c:pt idx="2192">
                  <c:v>41655</c:v>
                </c:pt>
                <c:pt idx="2193">
                  <c:v>41656</c:v>
                </c:pt>
                <c:pt idx="2194">
                  <c:v>41659</c:v>
                </c:pt>
                <c:pt idx="2195">
                  <c:v>41660</c:v>
                </c:pt>
                <c:pt idx="2196">
                  <c:v>41661</c:v>
                </c:pt>
                <c:pt idx="2197">
                  <c:v>41662</c:v>
                </c:pt>
                <c:pt idx="2198">
                  <c:v>41663</c:v>
                </c:pt>
                <c:pt idx="2199">
                  <c:v>41666</c:v>
                </c:pt>
                <c:pt idx="2200">
                  <c:v>41667</c:v>
                </c:pt>
                <c:pt idx="2201">
                  <c:v>41668</c:v>
                </c:pt>
                <c:pt idx="2202">
                  <c:v>41669</c:v>
                </c:pt>
                <c:pt idx="2203">
                  <c:v>41677</c:v>
                </c:pt>
                <c:pt idx="2204">
                  <c:v>41680</c:v>
                </c:pt>
                <c:pt idx="2205">
                  <c:v>41681</c:v>
                </c:pt>
                <c:pt idx="2206">
                  <c:v>41682</c:v>
                </c:pt>
                <c:pt idx="2207">
                  <c:v>41683</c:v>
                </c:pt>
                <c:pt idx="2208">
                  <c:v>41684</c:v>
                </c:pt>
                <c:pt idx="2209">
                  <c:v>41687</c:v>
                </c:pt>
                <c:pt idx="2210">
                  <c:v>41688</c:v>
                </c:pt>
                <c:pt idx="2211">
                  <c:v>41689</c:v>
                </c:pt>
                <c:pt idx="2212">
                  <c:v>41690</c:v>
                </c:pt>
                <c:pt idx="2213">
                  <c:v>41691</c:v>
                </c:pt>
                <c:pt idx="2214">
                  <c:v>41694</c:v>
                </c:pt>
                <c:pt idx="2215">
                  <c:v>41695</c:v>
                </c:pt>
                <c:pt idx="2216">
                  <c:v>41696</c:v>
                </c:pt>
                <c:pt idx="2217">
                  <c:v>41697</c:v>
                </c:pt>
                <c:pt idx="2218">
                  <c:v>41698</c:v>
                </c:pt>
                <c:pt idx="2219">
                  <c:v>41701</c:v>
                </c:pt>
                <c:pt idx="2220">
                  <c:v>41702</c:v>
                </c:pt>
                <c:pt idx="2221">
                  <c:v>41703</c:v>
                </c:pt>
                <c:pt idx="2222">
                  <c:v>41704</c:v>
                </c:pt>
                <c:pt idx="2223">
                  <c:v>41705</c:v>
                </c:pt>
                <c:pt idx="2224">
                  <c:v>41708</c:v>
                </c:pt>
                <c:pt idx="2225">
                  <c:v>41709</c:v>
                </c:pt>
                <c:pt idx="2226">
                  <c:v>41710</c:v>
                </c:pt>
                <c:pt idx="2227">
                  <c:v>41711</c:v>
                </c:pt>
                <c:pt idx="2228">
                  <c:v>41712</c:v>
                </c:pt>
                <c:pt idx="2229">
                  <c:v>41715</c:v>
                </c:pt>
                <c:pt idx="2230">
                  <c:v>41716</c:v>
                </c:pt>
                <c:pt idx="2231">
                  <c:v>41717</c:v>
                </c:pt>
                <c:pt idx="2232">
                  <c:v>41718</c:v>
                </c:pt>
                <c:pt idx="2233">
                  <c:v>41719</c:v>
                </c:pt>
                <c:pt idx="2234">
                  <c:v>41722</c:v>
                </c:pt>
                <c:pt idx="2235">
                  <c:v>41723</c:v>
                </c:pt>
                <c:pt idx="2236">
                  <c:v>41724</c:v>
                </c:pt>
                <c:pt idx="2237">
                  <c:v>41725</c:v>
                </c:pt>
                <c:pt idx="2238">
                  <c:v>41726</c:v>
                </c:pt>
                <c:pt idx="2239">
                  <c:v>41729</c:v>
                </c:pt>
                <c:pt idx="2240">
                  <c:v>41730</c:v>
                </c:pt>
                <c:pt idx="2241">
                  <c:v>41731</c:v>
                </c:pt>
                <c:pt idx="2242">
                  <c:v>41732</c:v>
                </c:pt>
                <c:pt idx="2243">
                  <c:v>41733</c:v>
                </c:pt>
                <c:pt idx="2244">
                  <c:v>41737</c:v>
                </c:pt>
                <c:pt idx="2245">
                  <c:v>41738</c:v>
                </c:pt>
                <c:pt idx="2246">
                  <c:v>41739</c:v>
                </c:pt>
                <c:pt idx="2247">
                  <c:v>41740</c:v>
                </c:pt>
                <c:pt idx="2248">
                  <c:v>41743</c:v>
                </c:pt>
                <c:pt idx="2249">
                  <c:v>41744</c:v>
                </c:pt>
                <c:pt idx="2250">
                  <c:v>41745</c:v>
                </c:pt>
                <c:pt idx="2251">
                  <c:v>41746</c:v>
                </c:pt>
                <c:pt idx="2252">
                  <c:v>41747</c:v>
                </c:pt>
                <c:pt idx="2253">
                  <c:v>41750</c:v>
                </c:pt>
                <c:pt idx="2254">
                  <c:v>41751</c:v>
                </c:pt>
                <c:pt idx="2255">
                  <c:v>41752</c:v>
                </c:pt>
                <c:pt idx="2256">
                  <c:v>41753</c:v>
                </c:pt>
                <c:pt idx="2257">
                  <c:v>41754</c:v>
                </c:pt>
                <c:pt idx="2258">
                  <c:v>41757</c:v>
                </c:pt>
                <c:pt idx="2259">
                  <c:v>41758</c:v>
                </c:pt>
                <c:pt idx="2260">
                  <c:v>41759</c:v>
                </c:pt>
                <c:pt idx="2261">
                  <c:v>41764</c:v>
                </c:pt>
                <c:pt idx="2262">
                  <c:v>41765</c:v>
                </c:pt>
                <c:pt idx="2263">
                  <c:v>41766</c:v>
                </c:pt>
                <c:pt idx="2264">
                  <c:v>41767</c:v>
                </c:pt>
                <c:pt idx="2265">
                  <c:v>41768</c:v>
                </c:pt>
                <c:pt idx="2266">
                  <c:v>41771</c:v>
                </c:pt>
                <c:pt idx="2267">
                  <c:v>41772</c:v>
                </c:pt>
                <c:pt idx="2268">
                  <c:v>41773</c:v>
                </c:pt>
                <c:pt idx="2269">
                  <c:v>41774</c:v>
                </c:pt>
                <c:pt idx="2270">
                  <c:v>41775</c:v>
                </c:pt>
                <c:pt idx="2271">
                  <c:v>41778</c:v>
                </c:pt>
                <c:pt idx="2272">
                  <c:v>41779</c:v>
                </c:pt>
                <c:pt idx="2273">
                  <c:v>41780</c:v>
                </c:pt>
                <c:pt idx="2274">
                  <c:v>41781</c:v>
                </c:pt>
                <c:pt idx="2275">
                  <c:v>41782</c:v>
                </c:pt>
                <c:pt idx="2276">
                  <c:v>41785</c:v>
                </c:pt>
                <c:pt idx="2277">
                  <c:v>41786</c:v>
                </c:pt>
                <c:pt idx="2278">
                  <c:v>41787</c:v>
                </c:pt>
                <c:pt idx="2279">
                  <c:v>41788</c:v>
                </c:pt>
                <c:pt idx="2280">
                  <c:v>41789</c:v>
                </c:pt>
                <c:pt idx="2281">
                  <c:v>41793</c:v>
                </c:pt>
                <c:pt idx="2282">
                  <c:v>41794</c:v>
                </c:pt>
                <c:pt idx="2283">
                  <c:v>41795</c:v>
                </c:pt>
                <c:pt idx="2284">
                  <c:v>41796</c:v>
                </c:pt>
                <c:pt idx="2285">
                  <c:v>41799</c:v>
                </c:pt>
                <c:pt idx="2286">
                  <c:v>41800</c:v>
                </c:pt>
                <c:pt idx="2287">
                  <c:v>41801</c:v>
                </c:pt>
                <c:pt idx="2288">
                  <c:v>41802</c:v>
                </c:pt>
                <c:pt idx="2289">
                  <c:v>41803</c:v>
                </c:pt>
                <c:pt idx="2290">
                  <c:v>41806</c:v>
                </c:pt>
                <c:pt idx="2291">
                  <c:v>41807</c:v>
                </c:pt>
                <c:pt idx="2292">
                  <c:v>41808</c:v>
                </c:pt>
                <c:pt idx="2293">
                  <c:v>41809</c:v>
                </c:pt>
                <c:pt idx="2294">
                  <c:v>41810</c:v>
                </c:pt>
                <c:pt idx="2295">
                  <c:v>41813</c:v>
                </c:pt>
                <c:pt idx="2296">
                  <c:v>41814</c:v>
                </c:pt>
                <c:pt idx="2297">
                  <c:v>41815</c:v>
                </c:pt>
                <c:pt idx="2298">
                  <c:v>41816</c:v>
                </c:pt>
                <c:pt idx="2299">
                  <c:v>41817</c:v>
                </c:pt>
                <c:pt idx="2300">
                  <c:v>41820</c:v>
                </c:pt>
                <c:pt idx="2301">
                  <c:v>41821</c:v>
                </c:pt>
                <c:pt idx="2302">
                  <c:v>41822</c:v>
                </c:pt>
                <c:pt idx="2303">
                  <c:v>41823</c:v>
                </c:pt>
                <c:pt idx="2304">
                  <c:v>41824</c:v>
                </c:pt>
                <c:pt idx="2305">
                  <c:v>41827</c:v>
                </c:pt>
                <c:pt idx="2306">
                  <c:v>41828</c:v>
                </c:pt>
                <c:pt idx="2307">
                  <c:v>41829</c:v>
                </c:pt>
                <c:pt idx="2308">
                  <c:v>41830</c:v>
                </c:pt>
                <c:pt idx="2309">
                  <c:v>41831</c:v>
                </c:pt>
                <c:pt idx="2310">
                  <c:v>41834</c:v>
                </c:pt>
                <c:pt idx="2311">
                  <c:v>41835</c:v>
                </c:pt>
                <c:pt idx="2312">
                  <c:v>41836</c:v>
                </c:pt>
                <c:pt idx="2313">
                  <c:v>41837</c:v>
                </c:pt>
                <c:pt idx="2314">
                  <c:v>41838</c:v>
                </c:pt>
                <c:pt idx="2315">
                  <c:v>41841</c:v>
                </c:pt>
                <c:pt idx="2316">
                  <c:v>41842</c:v>
                </c:pt>
                <c:pt idx="2317">
                  <c:v>41843</c:v>
                </c:pt>
                <c:pt idx="2318">
                  <c:v>41844</c:v>
                </c:pt>
                <c:pt idx="2319">
                  <c:v>41845</c:v>
                </c:pt>
                <c:pt idx="2320">
                  <c:v>41848</c:v>
                </c:pt>
                <c:pt idx="2321">
                  <c:v>41849</c:v>
                </c:pt>
                <c:pt idx="2322">
                  <c:v>41850</c:v>
                </c:pt>
                <c:pt idx="2323">
                  <c:v>41851</c:v>
                </c:pt>
                <c:pt idx="2324">
                  <c:v>41852</c:v>
                </c:pt>
                <c:pt idx="2325">
                  <c:v>41855</c:v>
                </c:pt>
                <c:pt idx="2326">
                  <c:v>41856</c:v>
                </c:pt>
                <c:pt idx="2327">
                  <c:v>41857</c:v>
                </c:pt>
                <c:pt idx="2328">
                  <c:v>41858</c:v>
                </c:pt>
                <c:pt idx="2329">
                  <c:v>41859</c:v>
                </c:pt>
                <c:pt idx="2330">
                  <c:v>41862</c:v>
                </c:pt>
                <c:pt idx="2331">
                  <c:v>41863</c:v>
                </c:pt>
                <c:pt idx="2332">
                  <c:v>41864</c:v>
                </c:pt>
                <c:pt idx="2333">
                  <c:v>41865</c:v>
                </c:pt>
                <c:pt idx="2334">
                  <c:v>41866</c:v>
                </c:pt>
                <c:pt idx="2335">
                  <c:v>41869</c:v>
                </c:pt>
                <c:pt idx="2336">
                  <c:v>41870</c:v>
                </c:pt>
                <c:pt idx="2337">
                  <c:v>41871</c:v>
                </c:pt>
                <c:pt idx="2338">
                  <c:v>41872</c:v>
                </c:pt>
                <c:pt idx="2339">
                  <c:v>41873</c:v>
                </c:pt>
                <c:pt idx="2340">
                  <c:v>41876</c:v>
                </c:pt>
                <c:pt idx="2341">
                  <c:v>41877</c:v>
                </c:pt>
                <c:pt idx="2342">
                  <c:v>41878</c:v>
                </c:pt>
                <c:pt idx="2343">
                  <c:v>41879</c:v>
                </c:pt>
                <c:pt idx="2344">
                  <c:v>41880</c:v>
                </c:pt>
                <c:pt idx="2345">
                  <c:v>41883</c:v>
                </c:pt>
                <c:pt idx="2346">
                  <c:v>41884</c:v>
                </c:pt>
                <c:pt idx="2347">
                  <c:v>41885</c:v>
                </c:pt>
                <c:pt idx="2348">
                  <c:v>41886</c:v>
                </c:pt>
                <c:pt idx="2349">
                  <c:v>41887</c:v>
                </c:pt>
                <c:pt idx="2350">
                  <c:v>41891</c:v>
                </c:pt>
                <c:pt idx="2351">
                  <c:v>41892</c:v>
                </c:pt>
                <c:pt idx="2352">
                  <c:v>41893</c:v>
                </c:pt>
                <c:pt idx="2353">
                  <c:v>41894</c:v>
                </c:pt>
                <c:pt idx="2354">
                  <c:v>41897</c:v>
                </c:pt>
                <c:pt idx="2355">
                  <c:v>41898</c:v>
                </c:pt>
                <c:pt idx="2356">
                  <c:v>41899</c:v>
                </c:pt>
                <c:pt idx="2357">
                  <c:v>41900</c:v>
                </c:pt>
                <c:pt idx="2358">
                  <c:v>41901</c:v>
                </c:pt>
                <c:pt idx="2359">
                  <c:v>41904</c:v>
                </c:pt>
                <c:pt idx="2360">
                  <c:v>41905</c:v>
                </c:pt>
                <c:pt idx="2361">
                  <c:v>41906</c:v>
                </c:pt>
                <c:pt idx="2362">
                  <c:v>41907</c:v>
                </c:pt>
                <c:pt idx="2363">
                  <c:v>41908</c:v>
                </c:pt>
                <c:pt idx="2364">
                  <c:v>41911</c:v>
                </c:pt>
                <c:pt idx="2365">
                  <c:v>41912</c:v>
                </c:pt>
                <c:pt idx="2366">
                  <c:v>41920</c:v>
                </c:pt>
                <c:pt idx="2367">
                  <c:v>41921</c:v>
                </c:pt>
                <c:pt idx="2368">
                  <c:v>41922</c:v>
                </c:pt>
                <c:pt idx="2369">
                  <c:v>41925</c:v>
                </c:pt>
                <c:pt idx="2370">
                  <c:v>41926</c:v>
                </c:pt>
                <c:pt idx="2371">
                  <c:v>41927</c:v>
                </c:pt>
                <c:pt idx="2372">
                  <c:v>41928</c:v>
                </c:pt>
                <c:pt idx="2373">
                  <c:v>41929</c:v>
                </c:pt>
                <c:pt idx="2374">
                  <c:v>41932</c:v>
                </c:pt>
                <c:pt idx="2375">
                  <c:v>41933</c:v>
                </c:pt>
                <c:pt idx="2376">
                  <c:v>41934</c:v>
                </c:pt>
                <c:pt idx="2377">
                  <c:v>41935</c:v>
                </c:pt>
                <c:pt idx="2378">
                  <c:v>41936</c:v>
                </c:pt>
                <c:pt idx="2379">
                  <c:v>41939</c:v>
                </c:pt>
                <c:pt idx="2380">
                  <c:v>41940</c:v>
                </c:pt>
                <c:pt idx="2381">
                  <c:v>41941</c:v>
                </c:pt>
                <c:pt idx="2382">
                  <c:v>41942</c:v>
                </c:pt>
                <c:pt idx="2383">
                  <c:v>41943</c:v>
                </c:pt>
                <c:pt idx="2384">
                  <c:v>41946</c:v>
                </c:pt>
                <c:pt idx="2385">
                  <c:v>41947</c:v>
                </c:pt>
                <c:pt idx="2386">
                  <c:v>41948</c:v>
                </c:pt>
                <c:pt idx="2387">
                  <c:v>41949</c:v>
                </c:pt>
                <c:pt idx="2388">
                  <c:v>41950</c:v>
                </c:pt>
                <c:pt idx="2389">
                  <c:v>41953</c:v>
                </c:pt>
                <c:pt idx="2390">
                  <c:v>41954</c:v>
                </c:pt>
                <c:pt idx="2391">
                  <c:v>41955</c:v>
                </c:pt>
                <c:pt idx="2392">
                  <c:v>41956</c:v>
                </c:pt>
                <c:pt idx="2393">
                  <c:v>41957</c:v>
                </c:pt>
                <c:pt idx="2394">
                  <c:v>41960</c:v>
                </c:pt>
                <c:pt idx="2395">
                  <c:v>41961</c:v>
                </c:pt>
                <c:pt idx="2396">
                  <c:v>41962</c:v>
                </c:pt>
                <c:pt idx="2397">
                  <c:v>41963</c:v>
                </c:pt>
                <c:pt idx="2398">
                  <c:v>41964</c:v>
                </c:pt>
                <c:pt idx="2399">
                  <c:v>41967</c:v>
                </c:pt>
                <c:pt idx="2400">
                  <c:v>41968</c:v>
                </c:pt>
                <c:pt idx="2401">
                  <c:v>41969</c:v>
                </c:pt>
                <c:pt idx="2402">
                  <c:v>41970</c:v>
                </c:pt>
                <c:pt idx="2403">
                  <c:v>41971</c:v>
                </c:pt>
                <c:pt idx="2404">
                  <c:v>41974</c:v>
                </c:pt>
                <c:pt idx="2405">
                  <c:v>41975</c:v>
                </c:pt>
                <c:pt idx="2406">
                  <c:v>41976</c:v>
                </c:pt>
                <c:pt idx="2407">
                  <c:v>41977</c:v>
                </c:pt>
                <c:pt idx="2408">
                  <c:v>41978</c:v>
                </c:pt>
                <c:pt idx="2409">
                  <c:v>41981</c:v>
                </c:pt>
                <c:pt idx="2410">
                  <c:v>41982</c:v>
                </c:pt>
                <c:pt idx="2411">
                  <c:v>41983</c:v>
                </c:pt>
                <c:pt idx="2412">
                  <c:v>41984</c:v>
                </c:pt>
                <c:pt idx="2413">
                  <c:v>41985</c:v>
                </c:pt>
                <c:pt idx="2414">
                  <c:v>41988</c:v>
                </c:pt>
                <c:pt idx="2415">
                  <c:v>41989</c:v>
                </c:pt>
                <c:pt idx="2416">
                  <c:v>41990</c:v>
                </c:pt>
                <c:pt idx="2417">
                  <c:v>41991</c:v>
                </c:pt>
                <c:pt idx="2418">
                  <c:v>41992</c:v>
                </c:pt>
                <c:pt idx="2419">
                  <c:v>41995</c:v>
                </c:pt>
                <c:pt idx="2420">
                  <c:v>41996</c:v>
                </c:pt>
                <c:pt idx="2421">
                  <c:v>41997</c:v>
                </c:pt>
                <c:pt idx="2422">
                  <c:v>41998</c:v>
                </c:pt>
                <c:pt idx="2423">
                  <c:v>41999</c:v>
                </c:pt>
                <c:pt idx="2424">
                  <c:v>42002</c:v>
                </c:pt>
                <c:pt idx="2425">
                  <c:v>42003</c:v>
                </c:pt>
                <c:pt idx="2426">
                  <c:v>42004</c:v>
                </c:pt>
                <c:pt idx="2427">
                  <c:v>42009</c:v>
                </c:pt>
                <c:pt idx="2428">
                  <c:v>42010</c:v>
                </c:pt>
                <c:pt idx="2429">
                  <c:v>42011</c:v>
                </c:pt>
                <c:pt idx="2430">
                  <c:v>42012</c:v>
                </c:pt>
                <c:pt idx="2431">
                  <c:v>42013</c:v>
                </c:pt>
                <c:pt idx="2432">
                  <c:v>42016</c:v>
                </c:pt>
                <c:pt idx="2433">
                  <c:v>42017</c:v>
                </c:pt>
                <c:pt idx="2434">
                  <c:v>42018</c:v>
                </c:pt>
                <c:pt idx="2435">
                  <c:v>42019</c:v>
                </c:pt>
                <c:pt idx="2436">
                  <c:v>42020</c:v>
                </c:pt>
                <c:pt idx="2437">
                  <c:v>42023</c:v>
                </c:pt>
                <c:pt idx="2438">
                  <c:v>42024</c:v>
                </c:pt>
                <c:pt idx="2439">
                  <c:v>42025</c:v>
                </c:pt>
                <c:pt idx="2440">
                  <c:v>42026</c:v>
                </c:pt>
                <c:pt idx="2441">
                  <c:v>42027</c:v>
                </c:pt>
                <c:pt idx="2442">
                  <c:v>42030</c:v>
                </c:pt>
                <c:pt idx="2443">
                  <c:v>42031</c:v>
                </c:pt>
                <c:pt idx="2444">
                  <c:v>42032</c:v>
                </c:pt>
                <c:pt idx="2445">
                  <c:v>42033</c:v>
                </c:pt>
                <c:pt idx="2446">
                  <c:v>42034</c:v>
                </c:pt>
                <c:pt idx="2447">
                  <c:v>42037</c:v>
                </c:pt>
                <c:pt idx="2448">
                  <c:v>42038</c:v>
                </c:pt>
                <c:pt idx="2449">
                  <c:v>42039</c:v>
                </c:pt>
                <c:pt idx="2450">
                  <c:v>42040</c:v>
                </c:pt>
                <c:pt idx="2451">
                  <c:v>42041</c:v>
                </c:pt>
                <c:pt idx="2452">
                  <c:v>42044</c:v>
                </c:pt>
                <c:pt idx="2453">
                  <c:v>42045</c:v>
                </c:pt>
                <c:pt idx="2454">
                  <c:v>42046</c:v>
                </c:pt>
                <c:pt idx="2455">
                  <c:v>42047</c:v>
                </c:pt>
                <c:pt idx="2456">
                  <c:v>42048</c:v>
                </c:pt>
                <c:pt idx="2457">
                  <c:v>42051</c:v>
                </c:pt>
                <c:pt idx="2458">
                  <c:v>42052</c:v>
                </c:pt>
                <c:pt idx="2459">
                  <c:v>42060</c:v>
                </c:pt>
                <c:pt idx="2460">
                  <c:v>42061</c:v>
                </c:pt>
                <c:pt idx="2461">
                  <c:v>42062</c:v>
                </c:pt>
                <c:pt idx="2462">
                  <c:v>42065</c:v>
                </c:pt>
                <c:pt idx="2463">
                  <c:v>42066</c:v>
                </c:pt>
                <c:pt idx="2464">
                  <c:v>42067</c:v>
                </c:pt>
                <c:pt idx="2465">
                  <c:v>42068</c:v>
                </c:pt>
                <c:pt idx="2466">
                  <c:v>42069</c:v>
                </c:pt>
                <c:pt idx="2467">
                  <c:v>42072</c:v>
                </c:pt>
                <c:pt idx="2468">
                  <c:v>42073</c:v>
                </c:pt>
                <c:pt idx="2469">
                  <c:v>42074</c:v>
                </c:pt>
                <c:pt idx="2470">
                  <c:v>42075</c:v>
                </c:pt>
                <c:pt idx="2471">
                  <c:v>42076</c:v>
                </c:pt>
                <c:pt idx="2472">
                  <c:v>42079</c:v>
                </c:pt>
                <c:pt idx="2473">
                  <c:v>42080</c:v>
                </c:pt>
                <c:pt idx="2474">
                  <c:v>42081</c:v>
                </c:pt>
                <c:pt idx="2475">
                  <c:v>42082</c:v>
                </c:pt>
                <c:pt idx="2476">
                  <c:v>42083</c:v>
                </c:pt>
                <c:pt idx="2477">
                  <c:v>42086</c:v>
                </c:pt>
                <c:pt idx="2478">
                  <c:v>42087</c:v>
                </c:pt>
                <c:pt idx="2479">
                  <c:v>42088</c:v>
                </c:pt>
                <c:pt idx="2480">
                  <c:v>42089</c:v>
                </c:pt>
                <c:pt idx="2481">
                  <c:v>42090</c:v>
                </c:pt>
                <c:pt idx="2482">
                  <c:v>42093</c:v>
                </c:pt>
                <c:pt idx="2483">
                  <c:v>42094</c:v>
                </c:pt>
                <c:pt idx="2484">
                  <c:v>42095</c:v>
                </c:pt>
                <c:pt idx="2485">
                  <c:v>42096</c:v>
                </c:pt>
                <c:pt idx="2486">
                  <c:v>42097</c:v>
                </c:pt>
                <c:pt idx="2487">
                  <c:v>42101</c:v>
                </c:pt>
                <c:pt idx="2488">
                  <c:v>42102</c:v>
                </c:pt>
                <c:pt idx="2489">
                  <c:v>42103</c:v>
                </c:pt>
                <c:pt idx="2490">
                  <c:v>42104</c:v>
                </c:pt>
                <c:pt idx="2491">
                  <c:v>42107</c:v>
                </c:pt>
                <c:pt idx="2492">
                  <c:v>42108</c:v>
                </c:pt>
                <c:pt idx="2493">
                  <c:v>42109</c:v>
                </c:pt>
                <c:pt idx="2494">
                  <c:v>42110</c:v>
                </c:pt>
                <c:pt idx="2495">
                  <c:v>42111</c:v>
                </c:pt>
                <c:pt idx="2496">
                  <c:v>42114</c:v>
                </c:pt>
                <c:pt idx="2497">
                  <c:v>42115</c:v>
                </c:pt>
                <c:pt idx="2498">
                  <c:v>42116</c:v>
                </c:pt>
                <c:pt idx="2499">
                  <c:v>42117</c:v>
                </c:pt>
                <c:pt idx="2500">
                  <c:v>42118</c:v>
                </c:pt>
                <c:pt idx="2501">
                  <c:v>42121</c:v>
                </c:pt>
                <c:pt idx="2502">
                  <c:v>42122</c:v>
                </c:pt>
                <c:pt idx="2503">
                  <c:v>42123</c:v>
                </c:pt>
                <c:pt idx="2504">
                  <c:v>42124</c:v>
                </c:pt>
                <c:pt idx="2505">
                  <c:v>42128</c:v>
                </c:pt>
                <c:pt idx="2506">
                  <c:v>42129</c:v>
                </c:pt>
                <c:pt idx="2507">
                  <c:v>42130</c:v>
                </c:pt>
                <c:pt idx="2508">
                  <c:v>42131</c:v>
                </c:pt>
                <c:pt idx="2509">
                  <c:v>42132</c:v>
                </c:pt>
                <c:pt idx="2510">
                  <c:v>42135</c:v>
                </c:pt>
                <c:pt idx="2511">
                  <c:v>42136</c:v>
                </c:pt>
                <c:pt idx="2512">
                  <c:v>42137</c:v>
                </c:pt>
                <c:pt idx="2513">
                  <c:v>42138</c:v>
                </c:pt>
                <c:pt idx="2514">
                  <c:v>42139</c:v>
                </c:pt>
                <c:pt idx="2515">
                  <c:v>42142</c:v>
                </c:pt>
                <c:pt idx="2516">
                  <c:v>42143</c:v>
                </c:pt>
                <c:pt idx="2517">
                  <c:v>42144</c:v>
                </c:pt>
                <c:pt idx="2518">
                  <c:v>42145</c:v>
                </c:pt>
                <c:pt idx="2519">
                  <c:v>42146</c:v>
                </c:pt>
                <c:pt idx="2520">
                  <c:v>42149</c:v>
                </c:pt>
                <c:pt idx="2521">
                  <c:v>42150</c:v>
                </c:pt>
                <c:pt idx="2522">
                  <c:v>42151</c:v>
                </c:pt>
                <c:pt idx="2523">
                  <c:v>42152</c:v>
                </c:pt>
                <c:pt idx="2524">
                  <c:v>42153</c:v>
                </c:pt>
                <c:pt idx="2525">
                  <c:v>42156</c:v>
                </c:pt>
                <c:pt idx="2526">
                  <c:v>42157</c:v>
                </c:pt>
                <c:pt idx="2527">
                  <c:v>42158</c:v>
                </c:pt>
                <c:pt idx="2528">
                  <c:v>42159</c:v>
                </c:pt>
                <c:pt idx="2529">
                  <c:v>42160</c:v>
                </c:pt>
                <c:pt idx="2530">
                  <c:v>42163</c:v>
                </c:pt>
                <c:pt idx="2531">
                  <c:v>42164</c:v>
                </c:pt>
                <c:pt idx="2532">
                  <c:v>42165</c:v>
                </c:pt>
                <c:pt idx="2533">
                  <c:v>42166</c:v>
                </c:pt>
                <c:pt idx="2534">
                  <c:v>42167</c:v>
                </c:pt>
                <c:pt idx="2535">
                  <c:v>42170</c:v>
                </c:pt>
                <c:pt idx="2536">
                  <c:v>42171</c:v>
                </c:pt>
                <c:pt idx="2537">
                  <c:v>42172</c:v>
                </c:pt>
                <c:pt idx="2538">
                  <c:v>42173</c:v>
                </c:pt>
                <c:pt idx="2539">
                  <c:v>42174</c:v>
                </c:pt>
                <c:pt idx="2540">
                  <c:v>42178</c:v>
                </c:pt>
                <c:pt idx="2541">
                  <c:v>42179</c:v>
                </c:pt>
                <c:pt idx="2542">
                  <c:v>42180</c:v>
                </c:pt>
                <c:pt idx="2543">
                  <c:v>42181</c:v>
                </c:pt>
                <c:pt idx="2544">
                  <c:v>42184</c:v>
                </c:pt>
                <c:pt idx="2545">
                  <c:v>42185</c:v>
                </c:pt>
                <c:pt idx="2546">
                  <c:v>42186</c:v>
                </c:pt>
                <c:pt idx="2547">
                  <c:v>42187</c:v>
                </c:pt>
                <c:pt idx="2548">
                  <c:v>42188</c:v>
                </c:pt>
                <c:pt idx="2549">
                  <c:v>42191</c:v>
                </c:pt>
                <c:pt idx="2550">
                  <c:v>42192</c:v>
                </c:pt>
                <c:pt idx="2551">
                  <c:v>42193</c:v>
                </c:pt>
                <c:pt idx="2552">
                  <c:v>42194</c:v>
                </c:pt>
                <c:pt idx="2553">
                  <c:v>42195</c:v>
                </c:pt>
                <c:pt idx="2554">
                  <c:v>42198</c:v>
                </c:pt>
                <c:pt idx="2555">
                  <c:v>42199</c:v>
                </c:pt>
                <c:pt idx="2556">
                  <c:v>42200</c:v>
                </c:pt>
                <c:pt idx="2557">
                  <c:v>42201</c:v>
                </c:pt>
                <c:pt idx="2558">
                  <c:v>42202</c:v>
                </c:pt>
                <c:pt idx="2559">
                  <c:v>42205</c:v>
                </c:pt>
                <c:pt idx="2560">
                  <c:v>42206</c:v>
                </c:pt>
                <c:pt idx="2561">
                  <c:v>42207</c:v>
                </c:pt>
                <c:pt idx="2562">
                  <c:v>42208</c:v>
                </c:pt>
                <c:pt idx="2563">
                  <c:v>42209</c:v>
                </c:pt>
                <c:pt idx="2564">
                  <c:v>42212</c:v>
                </c:pt>
                <c:pt idx="2565">
                  <c:v>42213</c:v>
                </c:pt>
                <c:pt idx="2566">
                  <c:v>42214</c:v>
                </c:pt>
                <c:pt idx="2567">
                  <c:v>42215</c:v>
                </c:pt>
                <c:pt idx="2568">
                  <c:v>42216</c:v>
                </c:pt>
                <c:pt idx="2569">
                  <c:v>42219</c:v>
                </c:pt>
                <c:pt idx="2570">
                  <c:v>42220</c:v>
                </c:pt>
                <c:pt idx="2571">
                  <c:v>42221</c:v>
                </c:pt>
                <c:pt idx="2572">
                  <c:v>42222</c:v>
                </c:pt>
                <c:pt idx="2573">
                  <c:v>42223</c:v>
                </c:pt>
                <c:pt idx="2574">
                  <c:v>42226</c:v>
                </c:pt>
                <c:pt idx="2575">
                  <c:v>42227</c:v>
                </c:pt>
                <c:pt idx="2576">
                  <c:v>42228</c:v>
                </c:pt>
                <c:pt idx="2577">
                  <c:v>42229</c:v>
                </c:pt>
                <c:pt idx="2578">
                  <c:v>42230</c:v>
                </c:pt>
                <c:pt idx="2579">
                  <c:v>42233</c:v>
                </c:pt>
                <c:pt idx="2580">
                  <c:v>42234</c:v>
                </c:pt>
                <c:pt idx="2581">
                  <c:v>42235</c:v>
                </c:pt>
                <c:pt idx="2582">
                  <c:v>42236</c:v>
                </c:pt>
                <c:pt idx="2583">
                  <c:v>42237</c:v>
                </c:pt>
                <c:pt idx="2584">
                  <c:v>42240</c:v>
                </c:pt>
                <c:pt idx="2585">
                  <c:v>42241</c:v>
                </c:pt>
                <c:pt idx="2586">
                  <c:v>42242</c:v>
                </c:pt>
                <c:pt idx="2587">
                  <c:v>42243</c:v>
                </c:pt>
                <c:pt idx="2588">
                  <c:v>42244</c:v>
                </c:pt>
                <c:pt idx="2589">
                  <c:v>42247</c:v>
                </c:pt>
                <c:pt idx="2590">
                  <c:v>42248</c:v>
                </c:pt>
                <c:pt idx="2591">
                  <c:v>42249</c:v>
                </c:pt>
                <c:pt idx="2592">
                  <c:v>42254</c:v>
                </c:pt>
                <c:pt idx="2593">
                  <c:v>42255</c:v>
                </c:pt>
                <c:pt idx="2594">
                  <c:v>42256</c:v>
                </c:pt>
                <c:pt idx="2595">
                  <c:v>42257</c:v>
                </c:pt>
                <c:pt idx="2596">
                  <c:v>42258</c:v>
                </c:pt>
                <c:pt idx="2597">
                  <c:v>42261</c:v>
                </c:pt>
                <c:pt idx="2598">
                  <c:v>42262</c:v>
                </c:pt>
                <c:pt idx="2599">
                  <c:v>42263</c:v>
                </c:pt>
                <c:pt idx="2600">
                  <c:v>42264</c:v>
                </c:pt>
                <c:pt idx="2601">
                  <c:v>42265</c:v>
                </c:pt>
                <c:pt idx="2602">
                  <c:v>42268</c:v>
                </c:pt>
                <c:pt idx="2603">
                  <c:v>42269</c:v>
                </c:pt>
                <c:pt idx="2604">
                  <c:v>42270</c:v>
                </c:pt>
                <c:pt idx="2605">
                  <c:v>42271</c:v>
                </c:pt>
                <c:pt idx="2606">
                  <c:v>42272</c:v>
                </c:pt>
                <c:pt idx="2607">
                  <c:v>42275</c:v>
                </c:pt>
                <c:pt idx="2608">
                  <c:v>42276</c:v>
                </c:pt>
                <c:pt idx="2609">
                  <c:v>42277</c:v>
                </c:pt>
                <c:pt idx="2610">
                  <c:v>42285</c:v>
                </c:pt>
                <c:pt idx="2611">
                  <c:v>42286</c:v>
                </c:pt>
                <c:pt idx="2612">
                  <c:v>42289</c:v>
                </c:pt>
                <c:pt idx="2613">
                  <c:v>42290</c:v>
                </c:pt>
                <c:pt idx="2614">
                  <c:v>42291</c:v>
                </c:pt>
                <c:pt idx="2615">
                  <c:v>42292</c:v>
                </c:pt>
                <c:pt idx="2616">
                  <c:v>42293</c:v>
                </c:pt>
                <c:pt idx="2617">
                  <c:v>42296</c:v>
                </c:pt>
                <c:pt idx="2618">
                  <c:v>42297</c:v>
                </c:pt>
                <c:pt idx="2619">
                  <c:v>42298</c:v>
                </c:pt>
                <c:pt idx="2620">
                  <c:v>42299</c:v>
                </c:pt>
                <c:pt idx="2621">
                  <c:v>42300</c:v>
                </c:pt>
                <c:pt idx="2622">
                  <c:v>42303</c:v>
                </c:pt>
                <c:pt idx="2623">
                  <c:v>42304</c:v>
                </c:pt>
                <c:pt idx="2624">
                  <c:v>42305</c:v>
                </c:pt>
                <c:pt idx="2625">
                  <c:v>42306</c:v>
                </c:pt>
                <c:pt idx="2626">
                  <c:v>42307</c:v>
                </c:pt>
                <c:pt idx="2627">
                  <c:v>42310</c:v>
                </c:pt>
                <c:pt idx="2628">
                  <c:v>42311</c:v>
                </c:pt>
                <c:pt idx="2629">
                  <c:v>42312</c:v>
                </c:pt>
                <c:pt idx="2630">
                  <c:v>42313</c:v>
                </c:pt>
                <c:pt idx="2631">
                  <c:v>42314</c:v>
                </c:pt>
                <c:pt idx="2632">
                  <c:v>42317</c:v>
                </c:pt>
                <c:pt idx="2633">
                  <c:v>42318</c:v>
                </c:pt>
                <c:pt idx="2634">
                  <c:v>42319</c:v>
                </c:pt>
                <c:pt idx="2635">
                  <c:v>42320</c:v>
                </c:pt>
                <c:pt idx="2636">
                  <c:v>42321</c:v>
                </c:pt>
                <c:pt idx="2637">
                  <c:v>42324</c:v>
                </c:pt>
                <c:pt idx="2638">
                  <c:v>42325</c:v>
                </c:pt>
                <c:pt idx="2639">
                  <c:v>42326</c:v>
                </c:pt>
                <c:pt idx="2640">
                  <c:v>42327</c:v>
                </c:pt>
                <c:pt idx="2641">
                  <c:v>42328</c:v>
                </c:pt>
                <c:pt idx="2642">
                  <c:v>42331</c:v>
                </c:pt>
                <c:pt idx="2643">
                  <c:v>42332</c:v>
                </c:pt>
                <c:pt idx="2644">
                  <c:v>42333</c:v>
                </c:pt>
                <c:pt idx="2645">
                  <c:v>42334</c:v>
                </c:pt>
                <c:pt idx="2646">
                  <c:v>42335</c:v>
                </c:pt>
                <c:pt idx="2647">
                  <c:v>42338</c:v>
                </c:pt>
                <c:pt idx="2648">
                  <c:v>42339</c:v>
                </c:pt>
                <c:pt idx="2649">
                  <c:v>42340</c:v>
                </c:pt>
                <c:pt idx="2650">
                  <c:v>42341</c:v>
                </c:pt>
                <c:pt idx="2651">
                  <c:v>42342</c:v>
                </c:pt>
                <c:pt idx="2652">
                  <c:v>42345</c:v>
                </c:pt>
                <c:pt idx="2653">
                  <c:v>42346</c:v>
                </c:pt>
                <c:pt idx="2654">
                  <c:v>42347</c:v>
                </c:pt>
                <c:pt idx="2655">
                  <c:v>42348</c:v>
                </c:pt>
                <c:pt idx="2656">
                  <c:v>42349</c:v>
                </c:pt>
                <c:pt idx="2657">
                  <c:v>42352</c:v>
                </c:pt>
                <c:pt idx="2658">
                  <c:v>42353</c:v>
                </c:pt>
                <c:pt idx="2659">
                  <c:v>42354</c:v>
                </c:pt>
                <c:pt idx="2660">
                  <c:v>42355</c:v>
                </c:pt>
                <c:pt idx="2661">
                  <c:v>42356</c:v>
                </c:pt>
                <c:pt idx="2662">
                  <c:v>42359</c:v>
                </c:pt>
                <c:pt idx="2663">
                  <c:v>42360</c:v>
                </c:pt>
                <c:pt idx="2664">
                  <c:v>42361</c:v>
                </c:pt>
                <c:pt idx="2665">
                  <c:v>42362</c:v>
                </c:pt>
                <c:pt idx="2666">
                  <c:v>42363</c:v>
                </c:pt>
                <c:pt idx="2667">
                  <c:v>42366</c:v>
                </c:pt>
                <c:pt idx="2668">
                  <c:v>42367</c:v>
                </c:pt>
                <c:pt idx="2669">
                  <c:v>42368</c:v>
                </c:pt>
                <c:pt idx="2670">
                  <c:v>42369</c:v>
                </c:pt>
                <c:pt idx="2671">
                  <c:v>42373</c:v>
                </c:pt>
                <c:pt idx="2672">
                  <c:v>42374</c:v>
                </c:pt>
                <c:pt idx="2673">
                  <c:v>42375</c:v>
                </c:pt>
                <c:pt idx="2674">
                  <c:v>42376</c:v>
                </c:pt>
                <c:pt idx="2675">
                  <c:v>42377</c:v>
                </c:pt>
                <c:pt idx="2676">
                  <c:v>42380</c:v>
                </c:pt>
                <c:pt idx="2677">
                  <c:v>42381</c:v>
                </c:pt>
                <c:pt idx="2678">
                  <c:v>42382</c:v>
                </c:pt>
                <c:pt idx="2679">
                  <c:v>42383</c:v>
                </c:pt>
                <c:pt idx="2680">
                  <c:v>42384</c:v>
                </c:pt>
                <c:pt idx="2681">
                  <c:v>42387</c:v>
                </c:pt>
                <c:pt idx="2682">
                  <c:v>42388</c:v>
                </c:pt>
                <c:pt idx="2683">
                  <c:v>42389</c:v>
                </c:pt>
                <c:pt idx="2684">
                  <c:v>42390</c:v>
                </c:pt>
                <c:pt idx="2685">
                  <c:v>42391</c:v>
                </c:pt>
                <c:pt idx="2686">
                  <c:v>42394</c:v>
                </c:pt>
                <c:pt idx="2687">
                  <c:v>42395</c:v>
                </c:pt>
                <c:pt idx="2688">
                  <c:v>42396</c:v>
                </c:pt>
                <c:pt idx="2689">
                  <c:v>42397</c:v>
                </c:pt>
                <c:pt idx="2690">
                  <c:v>42398</c:v>
                </c:pt>
                <c:pt idx="2691">
                  <c:v>42401</c:v>
                </c:pt>
                <c:pt idx="2692">
                  <c:v>42402</c:v>
                </c:pt>
                <c:pt idx="2693">
                  <c:v>42403</c:v>
                </c:pt>
                <c:pt idx="2694">
                  <c:v>42404</c:v>
                </c:pt>
                <c:pt idx="2695">
                  <c:v>42405</c:v>
                </c:pt>
                <c:pt idx="2696">
                  <c:v>42415</c:v>
                </c:pt>
                <c:pt idx="2697">
                  <c:v>42416</c:v>
                </c:pt>
                <c:pt idx="2698">
                  <c:v>42417</c:v>
                </c:pt>
                <c:pt idx="2699">
                  <c:v>42418</c:v>
                </c:pt>
                <c:pt idx="2700">
                  <c:v>42419</c:v>
                </c:pt>
                <c:pt idx="2701">
                  <c:v>42422</c:v>
                </c:pt>
                <c:pt idx="2702">
                  <c:v>42423</c:v>
                </c:pt>
                <c:pt idx="2703">
                  <c:v>42424</c:v>
                </c:pt>
                <c:pt idx="2704">
                  <c:v>42425</c:v>
                </c:pt>
                <c:pt idx="2705">
                  <c:v>42426</c:v>
                </c:pt>
                <c:pt idx="2706">
                  <c:v>42429</c:v>
                </c:pt>
                <c:pt idx="2707">
                  <c:v>42430</c:v>
                </c:pt>
                <c:pt idx="2708">
                  <c:v>42431</c:v>
                </c:pt>
                <c:pt idx="2709">
                  <c:v>42432</c:v>
                </c:pt>
                <c:pt idx="2710">
                  <c:v>42433</c:v>
                </c:pt>
                <c:pt idx="2711">
                  <c:v>42436</c:v>
                </c:pt>
                <c:pt idx="2712">
                  <c:v>42437</c:v>
                </c:pt>
                <c:pt idx="2713">
                  <c:v>42438</c:v>
                </c:pt>
                <c:pt idx="2714">
                  <c:v>42439</c:v>
                </c:pt>
                <c:pt idx="2715">
                  <c:v>42440</c:v>
                </c:pt>
                <c:pt idx="2716">
                  <c:v>42443</c:v>
                </c:pt>
                <c:pt idx="2717">
                  <c:v>42444</c:v>
                </c:pt>
                <c:pt idx="2718">
                  <c:v>42445</c:v>
                </c:pt>
                <c:pt idx="2719">
                  <c:v>42446</c:v>
                </c:pt>
                <c:pt idx="2720">
                  <c:v>42447</c:v>
                </c:pt>
                <c:pt idx="2721">
                  <c:v>42450</c:v>
                </c:pt>
                <c:pt idx="2722">
                  <c:v>42451</c:v>
                </c:pt>
                <c:pt idx="2723">
                  <c:v>42452</c:v>
                </c:pt>
                <c:pt idx="2724">
                  <c:v>42453</c:v>
                </c:pt>
                <c:pt idx="2725">
                  <c:v>42454</c:v>
                </c:pt>
                <c:pt idx="2726">
                  <c:v>42457</c:v>
                </c:pt>
                <c:pt idx="2727">
                  <c:v>42458</c:v>
                </c:pt>
                <c:pt idx="2728">
                  <c:v>42459</c:v>
                </c:pt>
                <c:pt idx="2729">
                  <c:v>42460</c:v>
                </c:pt>
                <c:pt idx="2730">
                  <c:v>42461</c:v>
                </c:pt>
                <c:pt idx="2731">
                  <c:v>42465</c:v>
                </c:pt>
                <c:pt idx="2732">
                  <c:v>42466</c:v>
                </c:pt>
                <c:pt idx="2733">
                  <c:v>42467</c:v>
                </c:pt>
                <c:pt idx="2734">
                  <c:v>42468</c:v>
                </c:pt>
                <c:pt idx="2735">
                  <c:v>42471</c:v>
                </c:pt>
                <c:pt idx="2736">
                  <c:v>42472</c:v>
                </c:pt>
                <c:pt idx="2737">
                  <c:v>42473</c:v>
                </c:pt>
                <c:pt idx="2738">
                  <c:v>42474</c:v>
                </c:pt>
                <c:pt idx="2739">
                  <c:v>42475</c:v>
                </c:pt>
                <c:pt idx="2740">
                  <c:v>42478</c:v>
                </c:pt>
                <c:pt idx="2741">
                  <c:v>42479</c:v>
                </c:pt>
                <c:pt idx="2742">
                  <c:v>42480</c:v>
                </c:pt>
                <c:pt idx="2743">
                  <c:v>42481</c:v>
                </c:pt>
                <c:pt idx="2744">
                  <c:v>42482</c:v>
                </c:pt>
                <c:pt idx="2745">
                  <c:v>42485</c:v>
                </c:pt>
                <c:pt idx="2746">
                  <c:v>42486</c:v>
                </c:pt>
                <c:pt idx="2747">
                  <c:v>42487</c:v>
                </c:pt>
                <c:pt idx="2748">
                  <c:v>42488</c:v>
                </c:pt>
                <c:pt idx="2749">
                  <c:v>42489</c:v>
                </c:pt>
                <c:pt idx="2750">
                  <c:v>42493</c:v>
                </c:pt>
                <c:pt idx="2751">
                  <c:v>42494</c:v>
                </c:pt>
                <c:pt idx="2752">
                  <c:v>42495</c:v>
                </c:pt>
                <c:pt idx="2753">
                  <c:v>42496</c:v>
                </c:pt>
                <c:pt idx="2754">
                  <c:v>42499</c:v>
                </c:pt>
                <c:pt idx="2755">
                  <c:v>42500</c:v>
                </c:pt>
                <c:pt idx="2756">
                  <c:v>42501</c:v>
                </c:pt>
                <c:pt idx="2757">
                  <c:v>42502</c:v>
                </c:pt>
                <c:pt idx="2758">
                  <c:v>42503</c:v>
                </c:pt>
                <c:pt idx="2759">
                  <c:v>42506</c:v>
                </c:pt>
                <c:pt idx="2760">
                  <c:v>42507</c:v>
                </c:pt>
                <c:pt idx="2761">
                  <c:v>42508</c:v>
                </c:pt>
                <c:pt idx="2762">
                  <c:v>42509</c:v>
                </c:pt>
                <c:pt idx="2763">
                  <c:v>42510</c:v>
                </c:pt>
                <c:pt idx="2764">
                  <c:v>42513</c:v>
                </c:pt>
                <c:pt idx="2765">
                  <c:v>42514</c:v>
                </c:pt>
                <c:pt idx="2766">
                  <c:v>42515</c:v>
                </c:pt>
                <c:pt idx="2767">
                  <c:v>42516</c:v>
                </c:pt>
                <c:pt idx="2768">
                  <c:v>42517</c:v>
                </c:pt>
                <c:pt idx="2769">
                  <c:v>42520</c:v>
                </c:pt>
                <c:pt idx="2770">
                  <c:v>42521</c:v>
                </c:pt>
                <c:pt idx="2771">
                  <c:v>42522</c:v>
                </c:pt>
                <c:pt idx="2772">
                  <c:v>42523</c:v>
                </c:pt>
                <c:pt idx="2773">
                  <c:v>42524</c:v>
                </c:pt>
                <c:pt idx="2774">
                  <c:v>42527</c:v>
                </c:pt>
                <c:pt idx="2775">
                  <c:v>42528</c:v>
                </c:pt>
                <c:pt idx="2776">
                  <c:v>42529</c:v>
                </c:pt>
                <c:pt idx="2777">
                  <c:v>42534</c:v>
                </c:pt>
                <c:pt idx="2778">
                  <c:v>42535</c:v>
                </c:pt>
                <c:pt idx="2779">
                  <c:v>42536</c:v>
                </c:pt>
                <c:pt idx="2780">
                  <c:v>42537</c:v>
                </c:pt>
                <c:pt idx="2781">
                  <c:v>42538</c:v>
                </c:pt>
                <c:pt idx="2782">
                  <c:v>42541</c:v>
                </c:pt>
                <c:pt idx="2783">
                  <c:v>42542</c:v>
                </c:pt>
                <c:pt idx="2784">
                  <c:v>42543</c:v>
                </c:pt>
                <c:pt idx="2785">
                  <c:v>42544</c:v>
                </c:pt>
                <c:pt idx="2786">
                  <c:v>42545</c:v>
                </c:pt>
                <c:pt idx="2787">
                  <c:v>42548</c:v>
                </c:pt>
                <c:pt idx="2788">
                  <c:v>42549</c:v>
                </c:pt>
                <c:pt idx="2789">
                  <c:v>42550</c:v>
                </c:pt>
                <c:pt idx="2790">
                  <c:v>42551</c:v>
                </c:pt>
                <c:pt idx="2791">
                  <c:v>42552</c:v>
                </c:pt>
                <c:pt idx="2792">
                  <c:v>42555</c:v>
                </c:pt>
                <c:pt idx="2793">
                  <c:v>42556</c:v>
                </c:pt>
                <c:pt idx="2794">
                  <c:v>42557</c:v>
                </c:pt>
                <c:pt idx="2795">
                  <c:v>42558</c:v>
                </c:pt>
                <c:pt idx="2796">
                  <c:v>42559</c:v>
                </c:pt>
                <c:pt idx="2797">
                  <c:v>42562</c:v>
                </c:pt>
                <c:pt idx="2798">
                  <c:v>42563</c:v>
                </c:pt>
                <c:pt idx="2799">
                  <c:v>42564</c:v>
                </c:pt>
                <c:pt idx="2800">
                  <c:v>42565</c:v>
                </c:pt>
                <c:pt idx="2801">
                  <c:v>42566</c:v>
                </c:pt>
                <c:pt idx="2802">
                  <c:v>42569</c:v>
                </c:pt>
                <c:pt idx="2803">
                  <c:v>42570</c:v>
                </c:pt>
                <c:pt idx="2804">
                  <c:v>42571</c:v>
                </c:pt>
                <c:pt idx="2805">
                  <c:v>42572</c:v>
                </c:pt>
                <c:pt idx="2806">
                  <c:v>42573</c:v>
                </c:pt>
                <c:pt idx="2807">
                  <c:v>42576</c:v>
                </c:pt>
                <c:pt idx="2808">
                  <c:v>42577</c:v>
                </c:pt>
                <c:pt idx="2809">
                  <c:v>42578</c:v>
                </c:pt>
                <c:pt idx="2810">
                  <c:v>42579</c:v>
                </c:pt>
                <c:pt idx="2811">
                  <c:v>42580</c:v>
                </c:pt>
                <c:pt idx="2812">
                  <c:v>42583</c:v>
                </c:pt>
                <c:pt idx="2813">
                  <c:v>42584</c:v>
                </c:pt>
                <c:pt idx="2814">
                  <c:v>42585</c:v>
                </c:pt>
                <c:pt idx="2815">
                  <c:v>42586</c:v>
                </c:pt>
                <c:pt idx="2816">
                  <c:v>42587</c:v>
                </c:pt>
                <c:pt idx="2817">
                  <c:v>42590</c:v>
                </c:pt>
                <c:pt idx="2818">
                  <c:v>42591</c:v>
                </c:pt>
                <c:pt idx="2819">
                  <c:v>42592</c:v>
                </c:pt>
                <c:pt idx="2820">
                  <c:v>42593</c:v>
                </c:pt>
                <c:pt idx="2821">
                  <c:v>42594</c:v>
                </c:pt>
                <c:pt idx="2822">
                  <c:v>42597</c:v>
                </c:pt>
                <c:pt idx="2823">
                  <c:v>42598</c:v>
                </c:pt>
                <c:pt idx="2824">
                  <c:v>42599</c:v>
                </c:pt>
                <c:pt idx="2825">
                  <c:v>42600</c:v>
                </c:pt>
                <c:pt idx="2826">
                  <c:v>42601</c:v>
                </c:pt>
                <c:pt idx="2827">
                  <c:v>42604</c:v>
                </c:pt>
                <c:pt idx="2828">
                  <c:v>42605</c:v>
                </c:pt>
                <c:pt idx="2829">
                  <c:v>42606</c:v>
                </c:pt>
                <c:pt idx="2830">
                  <c:v>42607</c:v>
                </c:pt>
                <c:pt idx="2831">
                  <c:v>42608</c:v>
                </c:pt>
                <c:pt idx="2832">
                  <c:v>42611</c:v>
                </c:pt>
                <c:pt idx="2833">
                  <c:v>42612</c:v>
                </c:pt>
                <c:pt idx="2834">
                  <c:v>42613</c:v>
                </c:pt>
                <c:pt idx="2835">
                  <c:v>42614</c:v>
                </c:pt>
                <c:pt idx="2836">
                  <c:v>42615</c:v>
                </c:pt>
                <c:pt idx="2837">
                  <c:v>42618</c:v>
                </c:pt>
                <c:pt idx="2838">
                  <c:v>42619</c:v>
                </c:pt>
                <c:pt idx="2839">
                  <c:v>42620</c:v>
                </c:pt>
                <c:pt idx="2840">
                  <c:v>42621</c:v>
                </c:pt>
                <c:pt idx="2841">
                  <c:v>42622</c:v>
                </c:pt>
                <c:pt idx="2842">
                  <c:v>42625</c:v>
                </c:pt>
                <c:pt idx="2843">
                  <c:v>42626</c:v>
                </c:pt>
                <c:pt idx="2844">
                  <c:v>42627</c:v>
                </c:pt>
                <c:pt idx="2845">
                  <c:v>42632</c:v>
                </c:pt>
                <c:pt idx="2846">
                  <c:v>42633</c:v>
                </c:pt>
                <c:pt idx="2847">
                  <c:v>42634</c:v>
                </c:pt>
                <c:pt idx="2848">
                  <c:v>42635</c:v>
                </c:pt>
                <c:pt idx="2849">
                  <c:v>42636</c:v>
                </c:pt>
                <c:pt idx="2850">
                  <c:v>42639</c:v>
                </c:pt>
                <c:pt idx="2851">
                  <c:v>42640</c:v>
                </c:pt>
                <c:pt idx="2852">
                  <c:v>42641</c:v>
                </c:pt>
                <c:pt idx="2853">
                  <c:v>42642</c:v>
                </c:pt>
                <c:pt idx="2854">
                  <c:v>42643</c:v>
                </c:pt>
                <c:pt idx="2855">
                  <c:v>42653</c:v>
                </c:pt>
                <c:pt idx="2856">
                  <c:v>42654</c:v>
                </c:pt>
                <c:pt idx="2857">
                  <c:v>42655</c:v>
                </c:pt>
                <c:pt idx="2858">
                  <c:v>42656</c:v>
                </c:pt>
                <c:pt idx="2859">
                  <c:v>42657</c:v>
                </c:pt>
                <c:pt idx="2860">
                  <c:v>42660</c:v>
                </c:pt>
                <c:pt idx="2861">
                  <c:v>42661</c:v>
                </c:pt>
                <c:pt idx="2862">
                  <c:v>42662</c:v>
                </c:pt>
                <c:pt idx="2863">
                  <c:v>42663</c:v>
                </c:pt>
                <c:pt idx="2864">
                  <c:v>42664</c:v>
                </c:pt>
                <c:pt idx="2865">
                  <c:v>42667</c:v>
                </c:pt>
                <c:pt idx="2866">
                  <c:v>42668</c:v>
                </c:pt>
                <c:pt idx="2867">
                  <c:v>42669</c:v>
                </c:pt>
                <c:pt idx="2868">
                  <c:v>42670</c:v>
                </c:pt>
                <c:pt idx="2869">
                  <c:v>42671</c:v>
                </c:pt>
                <c:pt idx="2870">
                  <c:v>42674</c:v>
                </c:pt>
                <c:pt idx="2871">
                  <c:v>42675</c:v>
                </c:pt>
                <c:pt idx="2872">
                  <c:v>42676</c:v>
                </c:pt>
                <c:pt idx="2873">
                  <c:v>42677</c:v>
                </c:pt>
                <c:pt idx="2874">
                  <c:v>42678</c:v>
                </c:pt>
                <c:pt idx="2875">
                  <c:v>42681</c:v>
                </c:pt>
                <c:pt idx="2876">
                  <c:v>42682</c:v>
                </c:pt>
                <c:pt idx="2877">
                  <c:v>42683</c:v>
                </c:pt>
                <c:pt idx="2878">
                  <c:v>42684</c:v>
                </c:pt>
                <c:pt idx="2879">
                  <c:v>42685</c:v>
                </c:pt>
                <c:pt idx="2880">
                  <c:v>42688</c:v>
                </c:pt>
                <c:pt idx="2881">
                  <c:v>42689</c:v>
                </c:pt>
                <c:pt idx="2882">
                  <c:v>42690</c:v>
                </c:pt>
                <c:pt idx="2883">
                  <c:v>42691</c:v>
                </c:pt>
                <c:pt idx="2884">
                  <c:v>42692</c:v>
                </c:pt>
                <c:pt idx="2885">
                  <c:v>42695</c:v>
                </c:pt>
                <c:pt idx="2886">
                  <c:v>42696</c:v>
                </c:pt>
                <c:pt idx="2887">
                  <c:v>42697</c:v>
                </c:pt>
                <c:pt idx="2888">
                  <c:v>42698</c:v>
                </c:pt>
                <c:pt idx="2889">
                  <c:v>42699</c:v>
                </c:pt>
                <c:pt idx="2890">
                  <c:v>42702</c:v>
                </c:pt>
                <c:pt idx="2891">
                  <c:v>42703</c:v>
                </c:pt>
                <c:pt idx="2892">
                  <c:v>42704</c:v>
                </c:pt>
                <c:pt idx="2893">
                  <c:v>42705</c:v>
                </c:pt>
                <c:pt idx="2894">
                  <c:v>42706</c:v>
                </c:pt>
                <c:pt idx="2895">
                  <c:v>42709</c:v>
                </c:pt>
                <c:pt idx="2896">
                  <c:v>42710</c:v>
                </c:pt>
                <c:pt idx="2897">
                  <c:v>42711</c:v>
                </c:pt>
                <c:pt idx="2898">
                  <c:v>42712</c:v>
                </c:pt>
                <c:pt idx="2899">
                  <c:v>42713</c:v>
                </c:pt>
                <c:pt idx="2900">
                  <c:v>42716</c:v>
                </c:pt>
                <c:pt idx="2901">
                  <c:v>42717</c:v>
                </c:pt>
                <c:pt idx="2902">
                  <c:v>42718</c:v>
                </c:pt>
                <c:pt idx="2903">
                  <c:v>42719</c:v>
                </c:pt>
                <c:pt idx="2904">
                  <c:v>42720</c:v>
                </c:pt>
                <c:pt idx="2905">
                  <c:v>42723</c:v>
                </c:pt>
                <c:pt idx="2906">
                  <c:v>42724</c:v>
                </c:pt>
                <c:pt idx="2907">
                  <c:v>42725</c:v>
                </c:pt>
                <c:pt idx="2908">
                  <c:v>42726</c:v>
                </c:pt>
                <c:pt idx="2909">
                  <c:v>42727</c:v>
                </c:pt>
                <c:pt idx="2910">
                  <c:v>42730</c:v>
                </c:pt>
                <c:pt idx="2911">
                  <c:v>42731</c:v>
                </c:pt>
                <c:pt idx="2912">
                  <c:v>42732</c:v>
                </c:pt>
                <c:pt idx="2913">
                  <c:v>42733</c:v>
                </c:pt>
                <c:pt idx="2914">
                  <c:v>42734</c:v>
                </c:pt>
                <c:pt idx="2915">
                  <c:v>42738</c:v>
                </c:pt>
                <c:pt idx="2916">
                  <c:v>42739</c:v>
                </c:pt>
                <c:pt idx="2917">
                  <c:v>42740</c:v>
                </c:pt>
                <c:pt idx="2918">
                  <c:v>42741</c:v>
                </c:pt>
                <c:pt idx="2919">
                  <c:v>42744</c:v>
                </c:pt>
                <c:pt idx="2920">
                  <c:v>42745</c:v>
                </c:pt>
                <c:pt idx="2921">
                  <c:v>42746</c:v>
                </c:pt>
                <c:pt idx="2922">
                  <c:v>42747</c:v>
                </c:pt>
                <c:pt idx="2923">
                  <c:v>42748</c:v>
                </c:pt>
                <c:pt idx="2924">
                  <c:v>42751</c:v>
                </c:pt>
                <c:pt idx="2925">
                  <c:v>42752</c:v>
                </c:pt>
                <c:pt idx="2926">
                  <c:v>42753</c:v>
                </c:pt>
                <c:pt idx="2927">
                  <c:v>42754</c:v>
                </c:pt>
                <c:pt idx="2928">
                  <c:v>42755</c:v>
                </c:pt>
                <c:pt idx="2929">
                  <c:v>42758</c:v>
                </c:pt>
                <c:pt idx="2930">
                  <c:v>42759</c:v>
                </c:pt>
                <c:pt idx="2931">
                  <c:v>42760</c:v>
                </c:pt>
                <c:pt idx="2932">
                  <c:v>42761</c:v>
                </c:pt>
                <c:pt idx="2933">
                  <c:v>42769</c:v>
                </c:pt>
                <c:pt idx="2934">
                  <c:v>42772</c:v>
                </c:pt>
                <c:pt idx="2935">
                  <c:v>42773</c:v>
                </c:pt>
                <c:pt idx="2936">
                  <c:v>42774</c:v>
                </c:pt>
                <c:pt idx="2937">
                  <c:v>42775</c:v>
                </c:pt>
                <c:pt idx="2938">
                  <c:v>42776</c:v>
                </c:pt>
                <c:pt idx="2939">
                  <c:v>42779</c:v>
                </c:pt>
                <c:pt idx="2940">
                  <c:v>42780</c:v>
                </c:pt>
                <c:pt idx="2941">
                  <c:v>42781</c:v>
                </c:pt>
                <c:pt idx="2942">
                  <c:v>42782</c:v>
                </c:pt>
                <c:pt idx="2943">
                  <c:v>42783</c:v>
                </c:pt>
                <c:pt idx="2944">
                  <c:v>42786</c:v>
                </c:pt>
                <c:pt idx="2945">
                  <c:v>42787</c:v>
                </c:pt>
                <c:pt idx="2946">
                  <c:v>42788</c:v>
                </c:pt>
                <c:pt idx="2947">
                  <c:v>42789</c:v>
                </c:pt>
                <c:pt idx="2948">
                  <c:v>42790</c:v>
                </c:pt>
                <c:pt idx="2949">
                  <c:v>42793</c:v>
                </c:pt>
                <c:pt idx="2950">
                  <c:v>42794</c:v>
                </c:pt>
                <c:pt idx="2951">
                  <c:v>42795</c:v>
                </c:pt>
                <c:pt idx="2952">
                  <c:v>42796</c:v>
                </c:pt>
                <c:pt idx="2953">
                  <c:v>42797</c:v>
                </c:pt>
                <c:pt idx="2954">
                  <c:v>42800</c:v>
                </c:pt>
                <c:pt idx="2955">
                  <c:v>42801</c:v>
                </c:pt>
                <c:pt idx="2956">
                  <c:v>42802</c:v>
                </c:pt>
                <c:pt idx="2957">
                  <c:v>42803</c:v>
                </c:pt>
                <c:pt idx="2958">
                  <c:v>42804</c:v>
                </c:pt>
                <c:pt idx="2959">
                  <c:v>42807</c:v>
                </c:pt>
                <c:pt idx="2960">
                  <c:v>42808</c:v>
                </c:pt>
                <c:pt idx="2961">
                  <c:v>42809</c:v>
                </c:pt>
                <c:pt idx="2962">
                  <c:v>42810</c:v>
                </c:pt>
                <c:pt idx="2963">
                  <c:v>42811</c:v>
                </c:pt>
                <c:pt idx="2964">
                  <c:v>42814</c:v>
                </c:pt>
                <c:pt idx="2965">
                  <c:v>42815</c:v>
                </c:pt>
                <c:pt idx="2966">
                  <c:v>42816</c:v>
                </c:pt>
                <c:pt idx="2967">
                  <c:v>42817</c:v>
                </c:pt>
                <c:pt idx="2968">
                  <c:v>42818</c:v>
                </c:pt>
                <c:pt idx="2969">
                  <c:v>42821</c:v>
                </c:pt>
                <c:pt idx="2970">
                  <c:v>42822</c:v>
                </c:pt>
                <c:pt idx="2971">
                  <c:v>42823</c:v>
                </c:pt>
                <c:pt idx="2972">
                  <c:v>42824</c:v>
                </c:pt>
                <c:pt idx="2973">
                  <c:v>42825</c:v>
                </c:pt>
                <c:pt idx="2974">
                  <c:v>42830</c:v>
                </c:pt>
                <c:pt idx="2975">
                  <c:v>42831</c:v>
                </c:pt>
                <c:pt idx="2976">
                  <c:v>42832</c:v>
                </c:pt>
                <c:pt idx="2977">
                  <c:v>42835</c:v>
                </c:pt>
                <c:pt idx="2978">
                  <c:v>42836</c:v>
                </c:pt>
                <c:pt idx="2979">
                  <c:v>42837</c:v>
                </c:pt>
                <c:pt idx="2980">
                  <c:v>42838</c:v>
                </c:pt>
                <c:pt idx="2981">
                  <c:v>42839</c:v>
                </c:pt>
                <c:pt idx="2982">
                  <c:v>42842</c:v>
                </c:pt>
                <c:pt idx="2983">
                  <c:v>42843</c:v>
                </c:pt>
                <c:pt idx="2984">
                  <c:v>42844</c:v>
                </c:pt>
                <c:pt idx="2985">
                  <c:v>42845</c:v>
                </c:pt>
                <c:pt idx="2986">
                  <c:v>42846</c:v>
                </c:pt>
                <c:pt idx="2987">
                  <c:v>42849</c:v>
                </c:pt>
                <c:pt idx="2988">
                  <c:v>42850</c:v>
                </c:pt>
                <c:pt idx="2989">
                  <c:v>42851</c:v>
                </c:pt>
                <c:pt idx="2990">
                  <c:v>42852</c:v>
                </c:pt>
                <c:pt idx="2991">
                  <c:v>42853</c:v>
                </c:pt>
                <c:pt idx="2992">
                  <c:v>42857</c:v>
                </c:pt>
                <c:pt idx="2993">
                  <c:v>42858</c:v>
                </c:pt>
                <c:pt idx="2994">
                  <c:v>42859</c:v>
                </c:pt>
                <c:pt idx="2995">
                  <c:v>42860</c:v>
                </c:pt>
                <c:pt idx="2996">
                  <c:v>42863</c:v>
                </c:pt>
                <c:pt idx="2997">
                  <c:v>42864</c:v>
                </c:pt>
                <c:pt idx="2998">
                  <c:v>42865</c:v>
                </c:pt>
                <c:pt idx="2999">
                  <c:v>42866</c:v>
                </c:pt>
                <c:pt idx="3000">
                  <c:v>42867</c:v>
                </c:pt>
                <c:pt idx="3001">
                  <c:v>42870</c:v>
                </c:pt>
                <c:pt idx="3002">
                  <c:v>42871</c:v>
                </c:pt>
                <c:pt idx="3003">
                  <c:v>42872</c:v>
                </c:pt>
                <c:pt idx="3004">
                  <c:v>42873</c:v>
                </c:pt>
                <c:pt idx="3005">
                  <c:v>42874</c:v>
                </c:pt>
                <c:pt idx="3006">
                  <c:v>42877</c:v>
                </c:pt>
                <c:pt idx="3007">
                  <c:v>42878</c:v>
                </c:pt>
                <c:pt idx="3008">
                  <c:v>42879</c:v>
                </c:pt>
                <c:pt idx="3009">
                  <c:v>42880</c:v>
                </c:pt>
                <c:pt idx="3010">
                  <c:v>42881</c:v>
                </c:pt>
                <c:pt idx="3011">
                  <c:v>42886</c:v>
                </c:pt>
                <c:pt idx="3012">
                  <c:v>42887</c:v>
                </c:pt>
                <c:pt idx="3013">
                  <c:v>42888</c:v>
                </c:pt>
                <c:pt idx="3014">
                  <c:v>42891</c:v>
                </c:pt>
                <c:pt idx="3015">
                  <c:v>42892</c:v>
                </c:pt>
                <c:pt idx="3016">
                  <c:v>42893</c:v>
                </c:pt>
                <c:pt idx="3017">
                  <c:v>42894</c:v>
                </c:pt>
                <c:pt idx="3018">
                  <c:v>42895</c:v>
                </c:pt>
                <c:pt idx="3019">
                  <c:v>42898</c:v>
                </c:pt>
                <c:pt idx="3020">
                  <c:v>42899</c:v>
                </c:pt>
                <c:pt idx="3021">
                  <c:v>42900</c:v>
                </c:pt>
                <c:pt idx="3022">
                  <c:v>42901</c:v>
                </c:pt>
                <c:pt idx="3023">
                  <c:v>42902</c:v>
                </c:pt>
                <c:pt idx="3024">
                  <c:v>42905</c:v>
                </c:pt>
                <c:pt idx="3025">
                  <c:v>42906</c:v>
                </c:pt>
                <c:pt idx="3026">
                  <c:v>42907</c:v>
                </c:pt>
                <c:pt idx="3027">
                  <c:v>42908</c:v>
                </c:pt>
                <c:pt idx="3028">
                  <c:v>42909</c:v>
                </c:pt>
                <c:pt idx="3029">
                  <c:v>42912</c:v>
                </c:pt>
                <c:pt idx="3030">
                  <c:v>42913</c:v>
                </c:pt>
                <c:pt idx="3031">
                  <c:v>42914</c:v>
                </c:pt>
                <c:pt idx="3032">
                  <c:v>42915</c:v>
                </c:pt>
                <c:pt idx="3033">
                  <c:v>42916</c:v>
                </c:pt>
                <c:pt idx="3034">
                  <c:v>42919</c:v>
                </c:pt>
                <c:pt idx="3035">
                  <c:v>42920</c:v>
                </c:pt>
                <c:pt idx="3036">
                  <c:v>42921</c:v>
                </c:pt>
                <c:pt idx="3037">
                  <c:v>42922</c:v>
                </c:pt>
                <c:pt idx="3038">
                  <c:v>42923</c:v>
                </c:pt>
                <c:pt idx="3039">
                  <c:v>42926</c:v>
                </c:pt>
                <c:pt idx="3040">
                  <c:v>42927</c:v>
                </c:pt>
                <c:pt idx="3041">
                  <c:v>42928</c:v>
                </c:pt>
                <c:pt idx="3042">
                  <c:v>42929</c:v>
                </c:pt>
                <c:pt idx="3043">
                  <c:v>42930</c:v>
                </c:pt>
                <c:pt idx="3044">
                  <c:v>42933</c:v>
                </c:pt>
                <c:pt idx="3045">
                  <c:v>42934</c:v>
                </c:pt>
                <c:pt idx="3046">
                  <c:v>42935</c:v>
                </c:pt>
                <c:pt idx="3047">
                  <c:v>42936</c:v>
                </c:pt>
                <c:pt idx="3048">
                  <c:v>42937</c:v>
                </c:pt>
                <c:pt idx="3049">
                  <c:v>42940</c:v>
                </c:pt>
                <c:pt idx="3050">
                  <c:v>42941</c:v>
                </c:pt>
                <c:pt idx="3051">
                  <c:v>42942</c:v>
                </c:pt>
                <c:pt idx="3052">
                  <c:v>42943</c:v>
                </c:pt>
                <c:pt idx="3053">
                  <c:v>42944</c:v>
                </c:pt>
                <c:pt idx="3054">
                  <c:v>42947</c:v>
                </c:pt>
                <c:pt idx="3055">
                  <c:v>42948</c:v>
                </c:pt>
                <c:pt idx="3056">
                  <c:v>42949</c:v>
                </c:pt>
                <c:pt idx="3057">
                  <c:v>42950</c:v>
                </c:pt>
                <c:pt idx="3058">
                  <c:v>42951</c:v>
                </c:pt>
                <c:pt idx="3059">
                  <c:v>42954</c:v>
                </c:pt>
                <c:pt idx="3060">
                  <c:v>42955</c:v>
                </c:pt>
                <c:pt idx="3061">
                  <c:v>42956</c:v>
                </c:pt>
                <c:pt idx="3062">
                  <c:v>42957</c:v>
                </c:pt>
                <c:pt idx="3063">
                  <c:v>42958</c:v>
                </c:pt>
                <c:pt idx="3064">
                  <c:v>42961</c:v>
                </c:pt>
                <c:pt idx="3065">
                  <c:v>42962</c:v>
                </c:pt>
                <c:pt idx="3066">
                  <c:v>42963</c:v>
                </c:pt>
                <c:pt idx="3067">
                  <c:v>42964</c:v>
                </c:pt>
                <c:pt idx="3068">
                  <c:v>42965</c:v>
                </c:pt>
                <c:pt idx="3069">
                  <c:v>42968</c:v>
                </c:pt>
                <c:pt idx="3070">
                  <c:v>42969</c:v>
                </c:pt>
                <c:pt idx="3071">
                  <c:v>42970</c:v>
                </c:pt>
                <c:pt idx="3072">
                  <c:v>42971</c:v>
                </c:pt>
                <c:pt idx="3073">
                  <c:v>42972</c:v>
                </c:pt>
                <c:pt idx="3074">
                  <c:v>42975</c:v>
                </c:pt>
                <c:pt idx="3075">
                  <c:v>42976</c:v>
                </c:pt>
                <c:pt idx="3076">
                  <c:v>42977</c:v>
                </c:pt>
                <c:pt idx="3077">
                  <c:v>42978</c:v>
                </c:pt>
                <c:pt idx="3078">
                  <c:v>42979</c:v>
                </c:pt>
                <c:pt idx="3079">
                  <c:v>42982</c:v>
                </c:pt>
                <c:pt idx="3080">
                  <c:v>42983</c:v>
                </c:pt>
                <c:pt idx="3081">
                  <c:v>42984</c:v>
                </c:pt>
                <c:pt idx="3082">
                  <c:v>42985</c:v>
                </c:pt>
                <c:pt idx="3083">
                  <c:v>42986</c:v>
                </c:pt>
                <c:pt idx="3084">
                  <c:v>42989</c:v>
                </c:pt>
                <c:pt idx="3085">
                  <c:v>42990</c:v>
                </c:pt>
                <c:pt idx="3086">
                  <c:v>42991</c:v>
                </c:pt>
                <c:pt idx="3087">
                  <c:v>42992</c:v>
                </c:pt>
                <c:pt idx="3088">
                  <c:v>42993</c:v>
                </c:pt>
                <c:pt idx="3089">
                  <c:v>42996</c:v>
                </c:pt>
                <c:pt idx="3090">
                  <c:v>42997</c:v>
                </c:pt>
                <c:pt idx="3091">
                  <c:v>42998</c:v>
                </c:pt>
                <c:pt idx="3092">
                  <c:v>42999</c:v>
                </c:pt>
                <c:pt idx="3093">
                  <c:v>43000</c:v>
                </c:pt>
                <c:pt idx="3094">
                  <c:v>43003</c:v>
                </c:pt>
                <c:pt idx="3095">
                  <c:v>43004</c:v>
                </c:pt>
                <c:pt idx="3096">
                  <c:v>43005</c:v>
                </c:pt>
                <c:pt idx="3097">
                  <c:v>43006</c:v>
                </c:pt>
                <c:pt idx="3098">
                  <c:v>43007</c:v>
                </c:pt>
                <c:pt idx="3099">
                  <c:v>43017</c:v>
                </c:pt>
                <c:pt idx="3100">
                  <c:v>43018</c:v>
                </c:pt>
                <c:pt idx="3101">
                  <c:v>43019</c:v>
                </c:pt>
                <c:pt idx="3102">
                  <c:v>43020</c:v>
                </c:pt>
                <c:pt idx="3103">
                  <c:v>43021</c:v>
                </c:pt>
                <c:pt idx="3104">
                  <c:v>43024</c:v>
                </c:pt>
                <c:pt idx="3105">
                  <c:v>43025</c:v>
                </c:pt>
                <c:pt idx="3106">
                  <c:v>43026</c:v>
                </c:pt>
                <c:pt idx="3107">
                  <c:v>43027</c:v>
                </c:pt>
                <c:pt idx="3108">
                  <c:v>43028</c:v>
                </c:pt>
                <c:pt idx="3109">
                  <c:v>43031</c:v>
                </c:pt>
                <c:pt idx="3110">
                  <c:v>43032</c:v>
                </c:pt>
                <c:pt idx="3111">
                  <c:v>43033</c:v>
                </c:pt>
                <c:pt idx="3112">
                  <c:v>43034</c:v>
                </c:pt>
                <c:pt idx="3113">
                  <c:v>43035</c:v>
                </c:pt>
                <c:pt idx="3114">
                  <c:v>43038</c:v>
                </c:pt>
                <c:pt idx="3115">
                  <c:v>43039</c:v>
                </c:pt>
                <c:pt idx="3116">
                  <c:v>43040</c:v>
                </c:pt>
                <c:pt idx="3117">
                  <c:v>43041</c:v>
                </c:pt>
                <c:pt idx="3118">
                  <c:v>43042</c:v>
                </c:pt>
                <c:pt idx="3119">
                  <c:v>43045</c:v>
                </c:pt>
                <c:pt idx="3120">
                  <c:v>43046</c:v>
                </c:pt>
                <c:pt idx="3121">
                  <c:v>43047</c:v>
                </c:pt>
                <c:pt idx="3122">
                  <c:v>43048</c:v>
                </c:pt>
                <c:pt idx="3123">
                  <c:v>43049</c:v>
                </c:pt>
                <c:pt idx="3124">
                  <c:v>43052</c:v>
                </c:pt>
                <c:pt idx="3125">
                  <c:v>43053</c:v>
                </c:pt>
                <c:pt idx="3126">
                  <c:v>43054</c:v>
                </c:pt>
                <c:pt idx="3127">
                  <c:v>43055</c:v>
                </c:pt>
                <c:pt idx="3128">
                  <c:v>43056</c:v>
                </c:pt>
                <c:pt idx="3129">
                  <c:v>43059</c:v>
                </c:pt>
                <c:pt idx="3130">
                  <c:v>43060</c:v>
                </c:pt>
                <c:pt idx="3131">
                  <c:v>43061</c:v>
                </c:pt>
                <c:pt idx="3132">
                  <c:v>43062</c:v>
                </c:pt>
                <c:pt idx="3133">
                  <c:v>43063</c:v>
                </c:pt>
                <c:pt idx="3134">
                  <c:v>43066</c:v>
                </c:pt>
                <c:pt idx="3135">
                  <c:v>43067</c:v>
                </c:pt>
                <c:pt idx="3136">
                  <c:v>43068</c:v>
                </c:pt>
                <c:pt idx="3137">
                  <c:v>43069</c:v>
                </c:pt>
                <c:pt idx="3138">
                  <c:v>43070</c:v>
                </c:pt>
                <c:pt idx="3139">
                  <c:v>43073</c:v>
                </c:pt>
                <c:pt idx="3140">
                  <c:v>43074</c:v>
                </c:pt>
                <c:pt idx="3141">
                  <c:v>43075</c:v>
                </c:pt>
                <c:pt idx="3142">
                  <c:v>43076</c:v>
                </c:pt>
                <c:pt idx="3143">
                  <c:v>43077</c:v>
                </c:pt>
                <c:pt idx="3144">
                  <c:v>43080</c:v>
                </c:pt>
                <c:pt idx="3145">
                  <c:v>43081</c:v>
                </c:pt>
                <c:pt idx="3146">
                  <c:v>43082</c:v>
                </c:pt>
                <c:pt idx="3147">
                  <c:v>43083</c:v>
                </c:pt>
                <c:pt idx="3148">
                  <c:v>43084</c:v>
                </c:pt>
                <c:pt idx="3149">
                  <c:v>43087</c:v>
                </c:pt>
                <c:pt idx="3150">
                  <c:v>43088</c:v>
                </c:pt>
                <c:pt idx="3151">
                  <c:v>43089</c:v>
                </c:pt>
                <c:pt idx="3152">
                  <c:v>43090</c:v>
                </c:pt>
                <c:pt idx="3153">
                  <c:v>43091</c:v>
                </c:pt>
                <c:pt idx="3154">
                  <c:v>43094</c:v>
                </c:pt>
                <c:pt idx="3155">
                  <c:v>43095</c:v>
                </c:pt>
                <c:pt idx="3156">
                  <c:v>43096</c:v>
                </c:pt>
                <c:pt idx="3157">
                  <c:v>43097</c:v>
                </c:pt>
                <c:pt idx="3158">
                  <c:v>43098</c:v>
                </c:pt>
                <c:pt idx="3159">
                  <c:v>43102</c:v>
                </c:pt>
                <c:pt idx="3160">
                  <c:v>43103</c:v>
                </c:pt>
                <c:pt idx="3161">
                  <c:v>43104</c:v>
                </c:pt>
                <c:pt idx="3162">
                  <c:v>43105</c:v>
                </c:pt>
                <c:pt idx="3163">
                  <c:v>43108</c:v>
                </c:pt>
                <c:pt idx="3164">
                  <c:v>43109</c:v>
                </c:pt>
                <c:pt idx="3165">
                  <c:v>43110</c:v>
                </c:pt>
                <c:pt idx="3166">
                  <c:v>43111</c:v>
                </c:pt>
                <c:pt idx="3167">
                  <c:v>43112</c:v>
                </c:pt>
                <c:pt idx="3168">
                  <c:v>43115</c:v>
                </c:pt>
                <c:pt idx="3169">
                  <c:v>43116</c:v>
                </c:pt>
                <c:pt idx="3170">
                  <c:v>43117</c:v>
                </c:pt>
                <c:pt idx="3171">
                  <c:v>43118</c:v>
                </c:pt>
                <c:pt idx="3172">
                  <c:v>43119</c:v>
                </c:pt>
                <c:pt idx="3173">
                  <c:v>43122</c:v>
                </c:pt>
                <c:pt idx="3174">
                  <c:v>43123</c:v>
                </c:pt>
                <c:pt idx="3175">
                  <c:v>43124</c:v>
                </c:pt>
                <c:pt idx="3176">
                  <c:v>43125</c:v>
                </c:pt>
                <c:pt idx="3177">
                  <c:v>43126</c:v>
                </c:pt>
                <c:pt idx="3178">
                  <c:v>43129</c:v>
                </c:pt>
                <c:pt idx="3179">
                  <c:v>43130</c:v>
                </c:pt>
                <c:pt idx="3180">
                  <c:v>43131</c:v>
                </c:pt>
                <c:pt idx="3181">
                  <c:v>43132</c:v>
                </c:pt>
                <c:pt idx="3182">
                  <c:v>43133</c:v>
                </c:pt>
                <c:pt idx="3183">
                  <c:v>43136</c:v>
                </c:pt>
                <c:pt idx="3184">
                  <c:v>43137</c:v>
                </c:pt>
                <c:pt idx="3185">
                  <c:v>43138</c:v>
                </c:pt>
                <c:pt idx="3186">
                  <c:v>43139</c:v>
                </c:pt>
                <c:pt idx="3187">
                  <c:v>43140</c:v>
                </c:pt>
                <c:pt idx="3188">
                  <c:v>43143</c:v>
                </c:pt>
                <c:pt idx="3189">
                  <c:v>43144</c:v>
                </c:pt>
                <c:pt idx="3190">
                  <c:v>43145</c:v>
                </c:pt>
                <c:pt idx="3191">
                  <c:v>43153</c:v>
                </c:pt>
                <c:pt idx="3192">
                  <c:v>43154</c:v>
                </c:pt>
                <c:pt idx="3193">
                  <c:v>43157</c:v>
                </c:pt>
                <c:pt idx="3194">
                  <c:v>43158</c:v>
                </c:pt>
                <c:pt idx="3195">
                  <c:v>43159</c:v>
                </c:pt>
                <c:pt idx="3196">
                  <c:v>43160</c:v>
                </c:pt>
                <c:pt idx="3197">
                  <c:v>43161</c:v>
                </c:pt>
                <c:pt idx="3198">
                  <c:v>43164</c:v>
                </c:pt>
                <c:pt idx="3199">
                  <c:v>43165</c:v>
                </c:pt>
                <c:pt idx="3200">
                  <c:v>43166</c:v>
                </c:pt>
                <c:pt idx="3201">
                  <c:v>43167</c:v>
                </c:pt>
                <c:pt idx="3202">
                  <c:v>43168</c:v>
                </c:pt>
                <c:pt idx="3203">
                  <c:v>43171</c:v>
                </c:pt>
                <c:pt idx="3204">
                  <c:v>43172</c:v>
                </c:pt>
                <c:pt idx="3205">
                  <c:v>43173</c:v>
                </c:pt>
                <c:pt idx="3206">
                  <c:v>43174</c:v>
                </c:pt>
                <c:pt idx="3207">
                  <c:v>43175</c:v>
                </c:pt>
                <c:pt idx="3208">
                  <c:v>43178</c:v>
                </c:pt>
                <c:pt idx="3209">
                  <c:v>43179</c:v>
                </c:pt>
                <c:pt idx="3210">
                  <c:v>43180</c:v>
                </c:pt>
                <c:pt idx="3211">
                  <c:v>43181</c:v>
                </c:pt>
                <c:pt idx="3212">
                  <c:v>43182</c:v>
                </c:pt>
                <c:pt idx="3213">
                  <c:v>43185</c:v>
                </c:pt>
                <c:pt idx="3214">
                  <c:v>43186</c:v>
                </c:pt>
                <c:pt idx="3215">
                  <c:v>43187</c:v>
                </c:pt>
                <c:pt idx="3216">
                  <c:v>43188</c:v>
                </c:pt>
                <c:pt idx="3217">
                  <c:v>43189</c:v>
                </c:pt>
                <c:pt idx="3218">
                  <c:v>43192</c:v>
                </c:pt>
                <c:pt idx="3219">
                  <c:v>43193</c:v>
                </c:pt>
                <c:pt idx="3220">
                  <c:v>43194</c:v>
                </c:pt>
                <c:pt idx="3221">
                  <c:v>43199</c:v>
                </c:pt>
                <c:pt idx="3222">
                  <c:v>43200</c:v>
                </c:pt>
                <c:pt idx="3223">
                  <c:v>43201</c:v>
                </c:pt>
                <c:pt idx="3224">
                  <c:v>43202</c:v>
                </c:pt>
                <c:pt idx="3225">
                  <c:v>43203</c:v>
                </c:pt>
                <c:pt idx="3226">
                  <c:v>43206</c:v>
                </c:pt>
                <c:pt idx="3227">
                  <c:v>43207</c:v>
                </c:pt>
                <c:pt idx="3228">
                  <c:v>43208</c:v>
                </c:pt>
                <c:pt idx="3229">
                  <c:v>43209</c:v>
                </c:pt>
                <c:pt idx="3230">
                  <c:v>43210</c:v>
                </c:pt>
                <c:pt idx="3231">
                  <c:v>43213</c:v>
                </c:pt>
                <c:pt idx="3232">
                  <c:v>43214</c:v>
                </c:pt>
                <c:pt idx="3233">
                  <c:v>43215</c:v>
                </c:pt>
                <c:pt idx="3234">
                  <c:v>43216</c:v>
                </c:pt>
                <c:pt idx="3235">
                  <c:v>43217</c:v>
                </c:pt>
                <c:pt idx="3236">
                  <c:v>43222</c:v>
                </c:pt>
                <c:pt idx="3237">
                  <c:v>43223</c:v>
                </c:pt>
                <c:pt idx="3238">
                  <c:v>43224</c:v>
                </c:pt>
                <c:pt idx="3239">
                  <c:v>43227</c:v>
                </c:pt>
                <c:pt idx="3240">
                  <c:v>43228</c:v>
                </c:pt>
                <c:pt idx="3241">
                  <c:v>43229</c:v>
                </c:pt>
                <c:pt idx="3242">
                  <c:v>43230</c:v>
                </c:pt>
                <c:pt idx="3243">
                  <c:v>43231</c:v>
                </c:pt>
                <c:pt idx="3244">
                  <c:v>43234</c:v>
                </c:pt>
                <c:pt idx="3245">
                  <c:v>43235</c:v>
                </c:pt>
                <c:pt idx="3246">
                  <c:v>43236</c:v>
                </c:pt>
                <c:pt idx="3247">
                  <c:v>43237</c:v>
                </c:pt>
                <c:pt idx="3248">
                  <c:v>43238</c:v>
                </c:pt>
                <c:pt idx="3249">
                  <c:v>43241</c:v>
                </c:pt>
                <c:pt idx="3250">
                  <c:v>43242</c:v>
                </c:pt>
                <c:pt idx="3251">
                  <c:v>43243</c:v>
                </c:pt>
                <c:pt idx="3252">
                  <c:v>43244</c:v>
                </c:pt>
                <c:pt idx="3253">
                  <c:v>43245</c:v>
                </c:pt>
                <c:pt idx="3254">
                  <c:v>43248</c:v>
                </c:pt>
                <c:pt idx="3255">
                  <c:v>43249</c:v>
                </c:pt>
                <c:pt idx="3256">
                  <c:v>43250</c:v>
                </c:pt>
                <c:pt idx="3257">
                  <c:v>43251</c:v>
                </c:pt>
                <c:pt idx="3258">
                  <c:v>43252</c:v>
                </c:pt>
                <c:pt idx="3259">
                  <c:v>43255</c:v>
                </c:pt>
                <c:pt idx="3260">
                  <c:v>43256</c:v>
                </c:pt>
                <c:pt idx="3261">
                  <c:v>43257</c:v>
                </c:pt>
                <c:pt idx="3262">
                  <c:v>43258</c:v>
                </c:pt>
                <c:pt idx="3263">
                  <c:v>43259</c:v>
                </c:pt>
                <c:pt idx="3264">
                  <c:v>43262</c:v>
                </c:pt>
                <c:pt idx="3265">
                  <c:v>43263</c:v>
                </c:pt>
                <c:pt idx="3266">
                  <c:v>43264</c:v>
                </c:pt>
                <c:pt idx="3267">
                  <c:v>43265</c:v>
                </c:pt>
                <c:pt idx="3268">
                  <c:v>43266</c:v>
                </c:pt>
                <c:pt idx="3269">
                  <c:v>43270</c:v>
                </c:pt>
                <c:pt idx="3270">
                  <c:v>43271</c:v>
                </c:pt>
                <c:pt idx="3271">
                  <c:v>43272</c:v>
                </c:pt>
                <c:pt idx="3272">
                  <c:v>43273</c:v>
                </c:pt>
                <c:pt idx="3273">
                  <c:v>43276</c:v>
                </c:pt>
                <c:pt idx="3274">
                  <c:v>43277</c:v>
                </c:pt>
                <c:pt idx="3275">
                  <c:v>43278</c:v>
                </c:pt>
                <c:pt idx="3276">
                  <c:v>43279</c:v>
                </c:pt>
                <c:pt idx="3277">
                  <c:v>43280</c:v>
                </c:pt>
                <c:pt idx="3278">
                  <c:v>43283</c:v>
                </c:pt>
                <c:pt idx="3279">
                  <c:v>43284</c:v>
                </c:pt>
                <c:pt idx="3280">
                  <c:v>43285</c:v>
                </c:pt>
                <c:pt idx="3281">
                  <c:v>43286</c:v>
                </c:pt>
                <c:pt idx="3282">
                  <c:v>43287</c:v>
                </c:pt>
                <c:pt idx="3283">
                  <c:v>43290</c:v>
                </c:pt>
                <c:pt idx="3284">
                  <c:v>43291</c:v>
                </c:pt>
                <c:pt idx="3285">
                  <c:v>43292</c:v>
                </c:pt>
                <c:pt idx="3286">
                  <c:v>43293</c:v>
                </c:pt>
                <c:pt idx="3287">
                  <c:v>43294</c:v>
                </c:pt>
                <c:pt idx="3288">
                  <c:v>43297</c:v>
                </c:pt>
                <c:pt idx="3289">
                  <c:v>43298</c:v>
                </c:pt>
                <c:pt idx="3290">
                  <c:v>43299</c:v>
                </c:pt>
                <c:pt idx="3291">
                  <c:v>43300</c:v>
                </c:pt>
                <c:pt idx="3292">
                  <c:v>43301</c:v>
                </c:pt>
                <c:pt idx="3293">
                  <c:v>43304</c:v>
                </c:pt>
                <c:pt idx="3294">
                  <c:v>43305</c:v>
                </c:pt>
                <c:pt idx="3295">
                  <c:v>43306</c:v>
                </c:pt>
                <c:pt idx="3296">
                  <c:v>43307</c:v>
                </c:pt>
                <c:pt idx="3297">
                  <c:v>43308</c:v>
                </c:pt>
                <c:pt idx="3298">
                  <c:v>43311</c:v>
                </c:pt>
                <c:pt idx="3299">
                  <c:v>43312</c:v>
                </c:pt>
                <c:pt idx="3300">
                  <c:v>43313</c:v>
                </c:pt>
                <c:pt idx="3301">
                  <c:v>43314</c:v>
                </c:pt>
                <c:pt idx="3302">
                  <c:v>43315</c:v>
                </c:pt>
                <c:pt idx="3303">
                  <c:v>43318</c:v>
                </c:pt>
                <c:pt idx="3304">
                  <c:v>43319</c:v>
                </c:pt>
                <c:pt idx="3305">
                  <c:v>43320</c:v>
                </c:pt>
                <c:pt idx="3306">
                  <c:v>43321</c:v>
                </c:pt>
                <c:pt idx="3307">
                  <c:v>43322</c:v>
                </c:pt>
                <c:pt idx="3308">
                  <c:v>43325</c:v>
                </c:pt>
                <c:pt idx="3309">
                  <c:v>43326</c:v>
                </c:pt>
                <c:pt idx="3310">
                  <c:v>43327</c:v>
                </c:pt>
                <c:pt idx="3311">
                  <c:v>43328</c:v>
                </c:pt>
                <c:pt idx="3312">
                  <c:v>43329</c:v>
                </c:pt>
                <c:pt idx="3313">
                  <c:v>43332</c:v>
                </c:pt>
                <c:pt idx="3314">
                  <c:v>43333</c:v>
                </c:pt>
                <c:pt idx="3315">
                  <c:v>43334</c:v>
                </c:pt>
                <c:pt idx="3316">
                  <c:v>43335</c:v>
                </c:pt>
                <c:pt idx="3317">
                  <c:v>43336</c:v>
                </c:pt>
                <c:pt idx="3318">
                  <c:v>43339</c:v>
                </c:pt>
                <c:pt idx="3319">
                  <c:v>43340</c:v>
                </c:pt>
                <c:pt idx="3320">
                  <c:v>43341</c:v>
                </c:pt>
                <c:pt idx="3321">
                  <c:v>43342</c:v>
                </c:pt>
                <c:pt idx="3322">
                  <c:v>43343</c:v>
                </c:pt>
                <c:pt idx="3323">
                  <c:v>43346</c:v>
                </c:pt>
                <c:pt idx="3324">
                  <c:v>43347</c:v>
                </c:pt>
                <c:pt idx="3325">
                  <c:v>43348</c:v>
                </c:pt>
                <c:pt idx="3326">
                  <c:v>43349</c:v>
                </c:pt>
                <c:pt idx="3327">
                  <c:v>43350</c:v>
                </c:pt>
                <c:pt idx="3328">
                  <c:v>43353</c:v>
                </c:pt>
                <c:pt idx="3329">
                  <c:v>43354</c:v>
                </c:pt>
                <c:pt idx="3330">
                  <c:v>43355</c:v>
                </c:pt>
                <c:pt idx="3331">
                  <c:v>43356</c:v>
                </c:pt>
                <c:pt idx="3332">
                  <c:v>43357</c:v>
                </c:pt>
                <c:pt idx="3333">
                  <c:v>43360</c:v>
                </c:pt>
                <c:pt idx="3334">
                  <c:v>43361</c:v>
                </c:pt>
                <c:pt idx="3335">
                  <c:v>43362</c:v>
                </c:pt>
                <c:pt idx="3336">
                  <c:v>43363</c:v>
                </c:pt>
                <c:pt idx="3337">
                  <c:v>43364</c:v>
                </c:pt>
                <c:pt idx="3338">
                  <c:v>43368</c:v>
                </c:pt>
                <c:pt idx="3339">
                  <c:v>43369</c:v>
                </c:pt>
                <c:pt idx="3340">
                  <c:v>43370</c:v>
                </c:pt>
                <c:pt idx="3341">
                  <c:v>43371</c:v>
                </c:pt>
                <c:pt idx="3342">
                  <c:v>43381</c:v>
                </c:pt>
                <c:pt idx="3343">
                  <c:v>43382</c:v>
                </c:pt>
                <c:pt idx="3344">
                  <c:v>43383</c:v>
                </c:pt>
                <c:pt idx="3345">
                  <c:v>43384</c:v>
                </c:pt>
                <c:pt idx="3346">
                  <c:v>43385</c:v>
                </c:pt>
                <c:pt idx="3347">
                  <c:v>43388</c:v>
                </c:pt>
                <c:pt idx="3348">
                  <c:v>43389</c:v>
                </c:pt>
                <c:pt idx="3349">
                  <c:v>43390</c:v>
                </c:pt>
                <c:pt idx="3350">
                  <c:v>43391</c:v>
                </c:pt>
                <c:pt idx="3351">
                  <c:v>43392</c:v>
                </c:pt>
                <c:pt idx="3352">
                  <c:v>43395</c:v>
                </c:pt>
                <c:pt idx="3353">
                  <c:v>43396</c:v>
                </c:pt>
                <c:pt idx="3354">
                  <c:v>43397</c:v>
                </c:pt>
                <c:pt idx="3355">
                  <c:v>43398</c:v>
                </c:pt>
                <c:pt idx="3356">
                  <c:v>43399</c:v>
                </c:pt>
                <c:pt idx="3357">
                  <c:v>43402</c:v>
                </c:pt>
                <c:pt idx="3358">
                  <c:v>43403</c:v>
                </c:pt>
                <c:pt idx="3359">
                  <c:v>43404</c:v>
                </c:pt>
                <c:pt idx="3360">
                  <c:v>43405</c:v>
                </c:pt>
                <c:pt idx="3361">
                  <c:v>43406</c:v>
                </c:pt>
                <c:pt idx="3362">
                  <c:v>43409</c:v>
                </c:pt>
                <c:pt idx="3363">
                  <c:v>43410</c:v>
                </c:pt>
                <c:pt idx="3364">
                  <c:v>43411</c:v>
                </c:pt>
                <c:pt idx="3365">
                  <c:v>43412</c:v>
                </c:pt>
                <c:pt idx="3366">
                  <c:v>43413</c:v>
                </c:pt>
                <c:pt idx="3367">
                  <c:v>43416</c:v>
                </c:pt>
                <c:pt idx="3368">
                  <c:v>43417</c:v>
                </c:pt>
                <c:pt idx="3369">
                  <c:v>43418</c:v>
                </c:pt>
                <c:pt idx="3370">
                  <c:v>43419</c:v>
                </c:pt>
                <c:pt idx="3371">
                  <c:v>43420</c:v>
                </c:pt>
                <c:pt idx="3372">
                  <c:v>43423</c:v>
                </c:pt>
                <c:pt idx="3373">
                  <c:v>43424</c:v>
                </c:pt>
                <c:pt idx="3374">
                  <c:v>43425</c:v>
                </c:pt>
                <c:pt idx="3375">
                  <c:v>43426</c:v>
                </c:pt>
                <c:pt idx="3376">
                  <c:v>43427</c:v>
                </c:pt>
                <c:pt idx="3377">
                  <c:v>43430</c:v>
                </c:pt>
                <c:pt idx="3378">
                  <c:v>43431</c:v>
                </c:pt>
                <c:pt idx="3379">
                  <c:v>43432</c:v>
                </c:pt>
                <c:pt idx="3380">
                  <c:v>43433</c:v>
                </c:pt>
                <c:pt idx="3381">
                  <c:v>43434</c:v>
                </c:pt>
                <c:pt idx="3382">
                  <c:v>43437</c:v>
                </c:pt>
                <c:pt idx="3383">
                  <c:v>43438</c:v>
                </c:pt>
                <c:pt idx="3384">
                  <c:v>43439</c:v>
                </c:pt>
                <c:pt idx="3385">
                  <c:v>43440</c:v>
                </c:pt>
                <c:pt idx="3386">
                  <c:v>43441</c:v>
                </c:pt>
                <c:pt idx="3387">
                  <c:v>43444</c:v>
                </c:pt>
                <c:pt idx="3388">
                  <c:v>43445</c:v>
                </c:pt>
                <c:pt idx="3389">
                  <c:v>43446</c:v>
                </c:pt>
                <c:pt idx="3390">
                  <c:v>43447</c:v>
                </c:pt>
                <c:pt idx="3391">
                  <c:v>43448</c:v>
                </c:pt>
                <c:pt idx="3392">
                  <c:v>43451</c:v>
                </c:pt>
                <c:pt idx="3393">
                  <c:v>43452</c:v>
                </c:pt>
                <c:pt idx="3394">
                  <c:v>43453</c:v>
                </c:pt>
                <c:pt idx="3395">
                  <c:v>43454</c:v>
                </c:pt>
                <c:pt idx="3396">
                  <c:v>43455</c:v>
                </c:pt>
                <c:pt idx="3397">
                  <c:v>43458</c:v>
                </c:pt>
                <c:pt idx="3398">
                  <c:v>43459</c:v>
                </c:pt>
                <c:pt idx="3399">
                  <c:v>43460</c:v>
                </c:pt>
                <c:pt idx="3400">
                  <c:v>43461</c:v>
                </c:pt>
                <c:pt idx="3401">
                  <c:v>43462</c:v>
                </c:pt>
                <c:pt idx="3402">
                  <c:v>43467</c:v>
                </c:pt>
                <c:pt idx="3403">
                  <c:v>43468</c:v>
                </c:pt>
                <c:pt idx="3404">
                  <c:v>43469</c:v>
                </c:pt>
                <c:pt idx="3405">
                  <c:v>43472</c:v>
                </c:pt>
                <c:pt idx="3406">
                  <c:v>43473</c:v>
                </c:pt>
                <c:pt idx="3407">
                  <c:v>43474</c:v>
                </c:pt>
                <c:pt idx="3408">
                  <c:v>43475</c:v>
                </c:pt>
                <c:pt idx="3409">
                  <c:v>43476</c:v>
                </c:pt>
                <c:pt idx="3410">
                  <c:v>43479</c:v>
                </c:pt>
                <c:pt idx="3411">
                  <c:v>43480</c:v>
                </c:pt>
                <c:pt idx="3412">
                  <c:v>43481</c:v>
                </c:pt>
                <c:pt idx="3413">
                  <c:v>43482</c:v>
                </c:pt>
                <c:pt idx="3414">
                  <c:v>43483</c:v>
                </c:pt>
                <c:pt idx="3415">
                  <c:v>43486</c:v>
                </c:pt>
                <c:pt idx="3416">
                  <c:v>43487</c:v>
                </c:pt>
                <c:pt idx="3417">
                  <c:v>43488</c:v>
                </c:pt>
                <c:pt idx="3418">
                  <c:v>43489</c:v>
                </c:pt>
                <c:pt idx="3419">
                  <c:v>43490</c:v>
                </c:pt>
                <c:pt idx="3420">
                  <c:v>43493</c:v>
                </c:pt>
                <c:pt idx="3421">
                  <c:v>43494</c:v>
                </c:pt>
                <c:pt idx="3422">
                  <c:v>43495</c:v>
                </c:pt>
                <c:pt idx="3423">
                  <c:v>43496</c:v>
                </c:pt>
                <c:pt idx="3424">
                  <c:v>43497</c:v>
                </c:pt>
                <c:pt idx="3425">
                  <c:v>43507</c:v>
                </c:pt>
                <c:pt idx="3426">
                  <c:v>43508</c:v>
                </c:pt>
                <c:pt idx="3427">
                  <c:v>43509</c:v>
                </c:pt>
                <c:pt idx="3428">
                  <c:v>43510</c:v>
                </c:pt>
                <c:pt idx="3429">
                  <c:v>43511</c:v>
                </c:pt>
                <c:pt idx="3430">
                  <c:v>43514</c:v>
                </c:pt>
                <c:pt idx="3431">
                  <c:v>43515</c:v>
                </c:pt>
                <c:pt idx="3432">
                  <c:v>43516</c:v>
                </c:pt>
                <c:pt idx="3433">
                  <c:v>43517</c:v>
                </c:pt>
                <c:pt idx="3434">
                  <c:v>43518</c:v>
                </c:pt>
                <c:pt idx="3435">
                  <c:v>43521</c:v>
                </c:pt>
                <c:pt idx="3436">
                  <c:v>43522</c:v>
                </c:pt>
                <c:pt idx="3437">
                  <c:v>43523</c:v>
                </c:pt>
                <c:pt idx="3438">
                  <c:v>43524</c:v>
                </c:pt>
                <c:pt idx="3439">
                  <c:v>43525</c:v>
                </c:pt>
                <c:pt idx="3440">
                  <c:v>43528</c:v>
                </c:pt>
                <c:pt idx="3441">
                  <c:v>43529</c:v>
                </c:pt>
                <c:pt idx="3442">
                  <c:v>43530</c:v>
                </c:pt>
                <c:pt idx="3443">
                  <c:v>43531</c:v>
                </c:pt>
                <c:pt idx="3444">
                  <c:v>43532</c:v>
                </c:pt>
                <c:pt idx="3445">
                  <c:v>43535</c:v>
                </c:pt>
                <c:pt idx="3446">
                  <c:v>43536</c:v>
                </c:pt>
                <c:pt idx="3447">
                  <c:v>43537</c:v>
                </c:pt>
                <c:pt idx="3448">
                  <c:v>43538</c:v>
                </c:pt>
                <c:pt idx="3449">
                  <c:v>43539</c:v>
                </c:pt>
                <c:pt idx="3450">
                  <c:v>43542</c:v>
                </c:pt>
                <c:pt idx="3451">
                  <c:v>43543</c:v>
                </c:pt>
                <c:pt idx="3452">
                  <c:v>43544</c:v>
                </c:pt>
                <c:pt idx="3453">
                  <c:v>43545</c:v>
                </c:pt>
                <c:pt idx="3454">
                  <c:v>43546</c:v>
                </c:pt>
                <c:pt idx="3455">
                  <c:v>43549</c:v>
                </c:pt>
                <c:pt idx="3456">
                  <c:v>43550</c:v>
                </c:pt>
                <c:pt idx="3457">
                  <c:v>43551</c:v>
                </c:pt>
                <c:pt idx="3458">
                  <c:v>43552</c:v>
                </c:pt>
                <c:pt idx="3459">
                  <c:v>43553</c:v>
                </c:pt>
                <c:pt idx="3460">
                  <c:v>43556</c:v>
                </c:pt>
                <c:pt idx="3461">
                  <c:v>43557</c:v>
                </c:pt>
                <c:pt idx="3462">
                  <c:v>43558</c:v>
                </c:pt>
                <c:pt idx="3463">
                  <c:v>43559</c:v>
                </c:pt>
                <c:pt idx="3464">
                  <c:v>43563</c:v>
                </c:pt>
                <c:pt idx="3465">
                  <c:v>43564</c:v>
                </c:pt>
                <c:pt idx="3466">
                  <c:v>43565</c:v>
                </c:pt>
                <c:pt idx="3467">
                  <c:v>43566</c:v>
                </c:pt>
                <c:pt idx="3468">
                  <c:v>43567</c:v>
                </c:pt>
                <c:pt idx="3469">
                  <c:v>43570</c:v>
                </c:pt>
                <c:pt idx="3470">
                  <c:v>43571</c:v>
                </c:pt>
                <c:pt idx="3471">
                  <c:v>43572</c:v>
                </c:pt>
                <c:pt idx="3472">
                  <c:v>43573</c:v>
                </c:pt>
                <c:pt idx="3473">
                  <c:v>43574</c:v>
                </c:pt>
                <c:pt idx="3474">
                  <c:v>43577</c:v>
                </c:pt>
                <c:pt idx="3475">
                  <c:v>43578</c:v>
                </c:pt>
                <c:pt idx="3476">
                  <c:v>43579</c:v>
                </c:pt>
                <c:pt idx="3477">
                  <c:v>43580</c:v>
                </c:pt>
                <c:pt idx="3478">
                  <c:v>43581</c:v>
                </c:pt>
                <c:pt idx="3479">
                  <c:v>43584</c:v>
                </c:pt>
                <c:pt idx="3480">
                  <c:v>43585</c:v>
                </c:pt>
                <c:pt idx="3481">
                  <c:v>43591</c:v>
                </c:pt>
                <c:pt idx="3482">
                  <c:v>43592</c:v>
                </c:pt>
                <c:pt idx="3483">
                  <c:v>43593</c:v>
                </c:pt>
                <c:pt idx="3484">
                  <c:v>43594</c:v>
                </c:pt>
                <c:pt idx="3485">
                  <c:v>43595</c:v>
                </c:pt>
                <c:pt idx="3486">
                  <c:v>43598</c:v>
                </c:pt>
                <c:pt idx="3487">
                  <c:v>43599</c:v>
                </c:pt>
                <c:pt idx="3488">
                  <c:v>43600</c:v>
                </c:pt>
                <c:pt idx="3489">
                  <c:v>43601</c:v>
                </c:pt>
                <c:pt idx="3490">
                  <c:v>43602</c:v>
                </c:pt>
                <c:pt idx="3491">
                  <c:v>43605</c:v>
                </c:pt>
                <c:pt idx="3492">
                  <c:v>43606</c:v>
                </c:pt>
                <c:pt idx="3493">
                  <c:v>43607</c:v>
                </c:pt>
                <c:pt idx="3494">
                  <c:v>43608</c:v>
                </c:pt>
                <c:pt idx="3495">
                  <c:v>43609</c:v>
                </c:pt>
                <c:pt idx="3496">
                  <c:v>43612</c:v>
                </c:pt>
                <c:pt idx="3497">
                  <c:v>43613</c:v>
                </c:pt>
                <c:pt idx="3498">
                  <c:v>43614</c:v>
                </c:pt>
                <c:pt idx="3499">
                  <c:v>43615</c:v>
                </c:pt>
                <c:pt idx="3500">
                  <c:v>43616</c:v>
                </c:pt>
                <c:pt idx="3501">
                  <c:v>43619</c:v>
                </c:pt>
                <c:pt idx="3502">
                  <c:v>43620</c:v>
                </c:pt>
                <c:pt idx="3503">
                  <c:v>43621</c:v>
                </c:pt>
                <c:pt idx="3504">
                  <c:v>43622</c:v>
                </c:pt>
                <c:pt idx="3505">
                  <c:v>43626</c:v>
                </c:pt>
                <c:pt idx="3506">
                  <c:v>43627</c:v>
                </c:pt>
                <c:pt idx="3507">
                  <c:v>43628</c:v>
                </c:pt>
                <c:pt idx="3508">
                  <c:v>43629</c:v>
                </c:pt>
                <c:pt idx="3509">
                  <c:v>43630</c:v>
                </c:pt>
                <c:pt idx="3510">
                  <c:v>43633</c:v>
                </c:pt>
                <c:pt idx="3511">
                  <c:v>43634</c:v>
                </c:pt>
                <c:pt idx="3512">
                  <c:v>43635</c:v>
                </c:pt>
                <c:pt idx="3513">
                  <c:v>43636</c:v>
                </c:pt>
                <c:pt idx="3514">
                  <c:v>43637</c:v>
                </c:pt>
                <c:pt idx="3515">
                  <c:v>43640</c:v>
                </c:pt>
                <c:pt idx="3516">
                  <c:v>43641</c:v>
                </c:pt>
                <c:pt idx="3517">
                  <c:v>43642</c:v>
                </c:pt>
                <c:pt idx="3518">
                  <c:v>43643</c:v>
                </c:pt>
                <c:pt idx="3519">
                  <c:v>43644</c:v>
                </c:pt>
                <c:pt idx="3520">
                  <c:v>43647</c:v>
                </c:pt>
                <c:pt idx="3521">
                  <c:v>43648</c:v>
                </c:pt>
                <c:pt idx="3522">
                  <c:v>43649</c:v>
                </c:pt>
                <c:pt idx="3523">
                  <c:v>43650</c:v>
                </c:pt>
                <c:pt idx="3524">
                  <c:v>43651</c:v>
                </c:pt>
                <c:pt idx="3525">
                  <c:v>43654</c:v>
                </c:pt>
                <c:pt idx="3526">
                  <c:v>43655</c:v>
                </c:pt>
                <c:pt idx="3527">
                  <c:v>43656</c:v>
                </c:pt>
                <c:pt idx="3528">
                  <c:v>43657</c:v>
                </c:pt>
                <c:pt idx="3529">
                  <c:v>43658</c:v>
                </c:pt>
                <c:pt idx="3530">
                  <c:v>43661</c:v>
                </c:pt>
                <c:pt idx="3531">
                  <c:v>43662</c:v>
                </c:pt>
                <c:pt idx="3532">
                  <c:v>43663</c:v>
                </c:pt>
                <c:pt idx="3533">
                  <c:v>43664</c:v>
                </c:pt>
                <c:pt idx="3534">
                  <c:v>43665</c:v>
                </c:pt>
                <c:pt idx="3535">
                  <c:v>43668</c:v>
                </c:pt>
                <c:pt idx="3536">
                  <c:v>43669</c:v>
                </c:pt>
                <c:pt idx="3537">
                  <c:v>43670</c:v>
                </c:pt>
                <c:pt idx="3538">
                  <c:v>43671</c:v>
                </c:pt>
                <c:pt idx="3539">
                  <c:v>43672</c:v>
                </c:pt>
                <c:pt idx="3540">
                  <c:v>43675</c:v>
                </c:pt>
                <c:pt idx="3541">
                  <c:v>43676</c:v>
                </c:pt>
                <c:pt idx="3542">
                  <c:v>43677</c:v>
                </c:pt>
                <c:pt idx="3543">
                  <c:v>43678</c:v>
                </c:pt>
                <c:pt idx="3544">
                  <c:v>43679</c:v>
                </c:pt>
                <c:pt idx="3545">
                  <c:v>43682</c:v>
                </c:pt>
                <c:pt idx="3546">
                  <c:v>43683</c:v>
                </c:pt>
                <c:pt idx="3547">
                  <c:v>43684</c:v>
                </c:pt>
                <c:pt idx="3548">
                  <c:v>43685</c:v>
                </c:pt>
                <c:pt idx="3549">
                  <c:v>43686</c:v>
                </c:pt>
                <c:pt idx="3550">
                  <c:v>43689</c:v>
                </c:pt>
                <c:pt idx="3551">
                  <c:v>43690</c:v>
                </c:pt>
                <c:pt idx="3552">
                  <c:v>43691</c:v>
                </c:pt>
                <c:pt idx="3553">
                  <c:v>43692</c:v>
                </c:pt>
                <c:pt idx="3554">
                  <c:v>43693</c:v>
                </c:pt>
                <c:pt idx="3555">
                  <c:v>43696</c:v>
                </c:pt>
                <c:pt idx="3556">
                  <c:v>43697</c:v>
                </c:pt>
                <c:pt idx="3557">
                  <c:v>43698</c:v>
                </c:pt>
                <c:pt idx="3558">
                  <c:v>43699</c:v>
                </c:pt>
                <c:pt idx="3559">
                  <c:v>43700</c:v>
                </c:pt>
                <c:pt idx="3560">
                  <c:v>43703</c:v>
                </c:pt>
                <c:pt idx="3561">
                  <c:v>43704</c:v>
                </c:pt>
                <c:pt idx="3562">
                  <c:v>43705</c:v>
                </c:pt>
                <c:pt idx="3563">
                  <c:v>43706</c:v>
                </c:pt>
                <c:pt idx="3564">
                  <c:v>43707</c:v>
                </c:pt>
                <c:pt idx="3565">
                  <c:v>43710</c:v>
                </c:pt>
                <c:pt idx="3566">
                  <c:v>43711</c:v>
                </c:pt>
                <c:pt idx="3567">
                  <c:v>43712</c:v>
                </c:pt>
                <c:pt idx="3568">
                  <c:v>43713</c:v>
                </c:pt>
                <c:pt idx="3569">
                  <c:v>43714</c:v>
                </c:pt>
                <c:pt idx="3570">
                  <c:v>43717</c:v>
                </c:pt>
                <c:pt idx="3571">
                  <c:v>43718</c:v>
                </c:pt>
                <c:pt idx="3572">
                  <c:v>43719</c:v>
                </c:pt>
                <c:pt idx="3573">
                  <c:v>43720</c:v>
                </c:pt>
                <c:pt idx="3574">
                  <c:v>43724</c:v>
                </c:pt>
                <c:pt idx="3575">
                  <c:v>43725</c:v>
                </c:pt>
                <c:pt idx="3576">
                  <c:v>43726</c:v>
                </c:pt>
                <c:pt idx="3577">
                  <c:v>43727</c:v>
                </c:pt>
                <c:pt idx="3578">
                  <c:v>43728</c:v>
                </c:pt>
                <c:pt idx="3579">
                  <c:v>43731</c:v>
                </c:pt>
                <c:pt idx="3580">
                  <c:v>43732</c:v>
                </c:pt>
                <c:pt idx="3581">
                  <c:v>43733</c:v>
                </c:pt>
                <c:pt idx="3582">
                  <c:v>43734</c:v>
                </c:pt>
                <c:pt idx="3583">
                  <c:v>43735</c:v>
                </c:pt>
                <c:pt idx="3584">
                  <c:v>43738</c:v>
                </c:pt>
                <c:pt idx="3585">
                  <c:v>43746</c:v>
                </c:pt>
                <c:pt idx="3586">
                  <c:v>43747</c:v>
                </c:pt>
                <c:pt idx="3587">
                  <c:v>43748</c:v>
                </c:pt>
                <c:pt idx="3588">
                  <c:v>43749</c:v>
                </c:pt>
                <c:pt idx="3589">
                  <c:v>43752</c:v>
                </c:pt>
                <c:pt idx="3590">
                  <c:v>43753</c:v>
                </c:pt>
                <c:pt idx="3591">
                  <c:v>43754</c:v>
                </c:pt>
                <c:pt idx="3592">
                  <c:v>43755</c:v>
                </c:pt>
                <c:pt idx="3593">
                  <c:v>43756</c:v>
                </c:pt>
                <c:pt idx="3594">
                  <c:v>43759</c:v>
                </c:pt>
                <c:pt idx="3595">
                  <c:v>43760</c:v>
                </c:pt>
                <c:pt idx="3596">
                  <c:v>43761</c:v>
                </c:pt>
                <c:pt idx="3597">
                  <c:v>43762</c:v>
                </c:pt>
                <c:pt idx="3598">
                  <c:v>43763</c:v>
                </c:pt>
                <c:pt idx="3599">
                  <c:v>43766</c:v>
                </c:pt>
                <c:pt idx="3600">
                  <c:v>43767</c:v>
                </c:pt>
                <c:pt idx="3601">
                  <c:v>43768</c:v>
                </c:pt>
                <c:pt idx="3602">
                  <c:v>43769</c:v>
                </c:pt>
                <c:pt idx="3603">
                  <c:v>43770</c:v>
                </c:pt>
                <c:pt idx="3604">
                  <c:v>43773</c:v>
                </c:pt>
                <c:pt idx="3605">
                  <c:v>43774</c:v>
                </c:pt>
                <c:pt idx="3606">
                  <c:v>43775</c:v>
                </c:pt>
                <c:pt idx="3607">
                  <c:v>43776</c:v>
                </c:pt>
                <c:pt idx="3608">
                  <c:v>43777</c:v>
                </c:pt>
                <c:pt idx="3609">
                  <c:v>43780</c:v>
                </c:pt>
                <c:pt idx="3610">
                  <c:v>43781</c:v>
                </c:pt>
                <c:pt idx="3611">
                  <c:v>43782</c:v>
                </c:pt>
                <c:pt idx="3612">
                  <c:v>43783</c:v>
                </c:pt>
                <c:pt idx="3613">
                  <c:v>43784</c:v>
                </c:pt>
                <c:pt idx="3614">
                  <c:v>43787</c:v>
                </c:pt>
                <c:pt idx="3615">
                  <c:v>43788</c:v>
                </c:pt>
                <c:pt idx="3616">
                  <c:v>43789</c:v>
                </c:pt>
                <c:pt idx="3617">
                  <c:v>43790</c:v>
                </c:pt>
                <c:pt idx="3618">
                  <c:v>43791</c:v>
                </c:pt>
                <c:pt idx="3619">
                  <c:v>43794</c:v>
                </c:pt>
                <c:pt idx="3620">
                  <c:v>43795</c:v>
                </c:pt>
                <c:pt idx="3621">
                  <c:v>43796</c:v>
                </c:pt>
                <c:pt idx="3622">
                  <c:v>43797</c:v>
                </c:pt>
                <c:pt idx="3623">
                  <c:v>43798</c:v>
                </c:pt>
                <c:pt idx="3624">
                  <c:v>43801</c:v>
                </c:pt>
                <c:pt idx="3625">
                  <c:v>43802</c:v>
                </c:pt>
                <c:pt idx="3626">
                  <c:v>43803</c:v>
                </c:pt>
                <c:pt idx="3627">
                  <c:v>43804</c:v>
                </c:pt>
                <c:pt idx="3628">
                  <c:v>43805</c:v>
                </c:pt>
                <c:pt idx="3629">
                  <c:v>43808</c:v>
                </c:pt>
                <c:pt idx="3630">
                  <c:v>43809</c:v>
                </c:pt>
                <c:pt idx="3631">
                  <c:v>43810</c:v>
                </c:pt>
                <c:pt idx="3632">
                  <c:v>43811</c:v>
                </c:pt>
                <c:pt idx="3633">
                  <c:v>43812</c:v>
                </c:pt>
                <c:pt idx="3634">
                  <c:v>43815</c:v>
                </c:pt>
                <c:pt idx="3635">
                  <c:v>43816</c:v>
                </c:pt>
                <c:pt idx="3636">
                  <c:v>43817</c:v>
                </c:pt>
                <c:pt idx="3637">
                  <c:v>43818</c:v>
                </c:pt>
                <c:pt idx="3638">
                  <c:v>43819</c:v>
                </c:pt>
                <c:pt idx="3639">
                  <c:v>43822</c:v>
                </c:pt>
                <c:pt idx="3640">
                  <c:v>43823</c:v>
                </c:pt>
                <c:pt idx="3641">
                  <c:v>43824</c:v>
                </c:pt>
                <c:pt idx="3642">
                  <c:v>43825</c:v>
                </c:pt>
                <c:pt idx="3643">
                  <c:v>43826</c:v>
                </c:pt>
                <c:pt idx="3644">
                  <c:v>43829</c:v>
                </c:pt>
                <c:pt idx="3645">
                  <c:v>43830</c:v>
                </c:pt>
                <c:pt idx="3646">
                  <c:v>43832</c:v>
                </c:pt>
                <c:pt idx="3647">
                  <c:v>43833</c:v>
                </c:pt>
                <c:pt idx="3648">
                  <c:v>43836</c:v>
                </c:pt>
                <c:pt idx="3649">
                  <c:v>43837</c:v>
                </c:pt>
                <c:pt idx="3650">
                  <c:v>43838</c:v>
                </c:pt>
                <c:pt idx="3651">
                  <c:v>43839</c:v>
                </c:pt>
                <c:pt idx="3652">
                  <c:v>43840</c:v>
                </c:pt>
                <c:pt idx="3653">
                  <c:v>43843</c:v>
                </c:pt>
                <c:pt idx="3654">
                  <c:v>43844</c:v>
                </c:pt>
                <c:pt idx="3655">
                  <c:v>43845</c:v>
                </c:pt>
                <c:pt idx="3656">
                  <c:v>43846</c:v>
                </c:pt>
                <c:pt idx="3657">
                  <c:v>43847</c:v>
                </c:pt>
                <c:pt idx="3658">
                  <c:v>43850</c:v>
                </c:pt>
                <c:pt idx="3659">
                  <c:v>43851</c:v>
                </c:pt>
                <c:pt idx="3660">
                  <c:v>43852</c:v>
                </c:pt>
                <c:pt idx="3661">
                  <c:v>43853</c:v>
                </c:pt>
                <c:pt idx="3662">
                  <c:v>43864</c:v>
                </c:pt>
                <c:pt idx="3663">
                  <c:v>43865</c:v>
                </c:pt>
                <c:pt idx="3664">
                  <c:v>43866</c:v>
                </c:pt>
                <c:pt idx="3665">
                  <c:v>43867</c:v>
                </c:pt>
                <c:pt idx="3666">
                  <c:v>43868</c:v>
                </c:pt>
                <c:pt idx="3667">
                  <c:v>43871</c:v>
                </c:pt>
                <c:pt idx="3668">
                  <c:v>43872</c:v>
                </c:pt>
                <c:pt idx="3669">
                  <c:v>43873</c:v>
                </c:pt>
                <c:pt idx="3670">
                  <c:v>43874</c:v>
                </c:pt>
                <c:pt idx="3671">
                  <c:v>43875</c:v>
                </c:pt>
                <c:pt idx="3672">
                  <c:v>43878</c:v>
                </c:pt>
                <c:pt idx="3673">
                  <c:v>43879</c:v>
                </c:pt>
                <c:pt idx="3674">
                  <c:v>43880</c:v>
                </c:pt>
                <c:pt idx="3675">
                  <c:v>43881</c:v>
                </c:pt>
                <c:pt idx="3676">
                  <c:v>43882</c:v>
                </c:pt>
                <c:pt idx="3677">
                  <c:v>43885</c:v>
                </c:pt>
                <c:pt idx="3678">
                  <c:v>43886</c:v>
                </c:pt>
                <c:pt idx="3679">
                  <c:v>43887</c:v>
                </c:pt>
                <c:pt idx="3680">
                  <c:v>43888</c:v>
                </c:pt>
                <c:pt idx="3681">
                  <c:v>43889</c:v>
                </c:pt>
                <c:pt idx="3682">
                  <c:v>43892</c:v>
                </c:pt>
                <c:pt idx="3683">
                  <c:v>43893</c:v>
                </c:pt>
                <c:pt idx="3684">
                  <c:v>43894</c:v>
                </c:pt>
                <c:pt idx="3685">
                  <c:v>43895</c:v>
                </c:pt>
                <c:pt idx="3686">
                  <c:v>43896</c:v>
                </c:pt>
                <c:pt idx="3687">
                  <c:v>43899</c:v>
                </c:pt>
                <c:pt idx="3688">
                  <c:v>43900</c:v>
                </c:pt>
                <c:pt idx="3689">
                  <c:v>43901</c:v>
                </c:pt>
                <c:pt idx="3690">
                  <c:v>43902</c:v>
                </c:pt>
                <c:pt idx="3691">
                  <c:v>43903</c:v>
                </c:pt>
                <c:pt idx="3692">
                  <c:v>43906</c:v>
                </c:pt>
                <c:pt idx="3693">
                  <c:v>43907</c:v>
                </c:pt>
                <c:pt idx="3694">
                  <c:v>43908</c:v>
                </c:pt>
                <c:pt idx="3695">
                  <c:v>43909</c:v>
                </c:pt>
                <c:pt idx="3696">
                  <c:v>43910</c:v>
                </c:pt>
                <c:pt idx="3697">
                  <c:v>43913</c:v>
                </c:pt>
                <c:pt idx="3698">
                  <c:v>43914</c:v>
                </c:pt>
                <c:pt idx="3699">
                  <c:v>43915</c:v>
                </c:pt>
                <c:pt idx="3700">
                  <c:v>43916</c:v>
                </c:pt>
                <c:pt idx="3701">
                  <c:v>43917</c:v>
                </c:pt>
                <c:pt idx="3702">
                  <c:v>43920</c:v>
                </c:pt>
                <c:pt idx="3703">
                  <c:v>43921</c:v>
                </c:pt>
                <c:pt idx="3704">
                  <c:v>43922</c:v>
                </c:pt>
                <c:pt idx="3705">
                  <c:v>43923</c:v>
                </c:pt>
                <c:pt idx="3706">
                  <c:v>43924</c:v>
                </c:pt>
                <c:pt idx="3707">
                  <c:v>43928</c:v>
                </c:pt>
                <c:pt idx="3708">
                  <c:v>43929</c:v>
                </c:pt>
                <c:pt idx="3709">
                  <c:v>43930</c:v>
                </c:pt>
                <c:pt idx="3710">
                  <c:v>43931</c:v>
                </c:pt>
                <c:pt idx="3711">
                  <c:v>43934</c:v>
                </c:pt>
                <c:pt idx="3712">
                  <c:v>43935</c:v>
                </c:pt>
                <c:pt idx="3713">
                  <c:v>43936</c:v>
                </c:pt>
                <c:pt idx="3714">
                  <c:v>43937</c:v>
                </c:pt>
                <c:pt idx="3715">
                  <c:v>43938</c:v>
                </c:pt>
                <c:pt idx="3716">
                  <c:v>43941</c:v>
                </c:pt>
                <c:pt idx="3717">
                  <c:v>43942</c:v>
                </c:pt>
                <c:pt idx="3718">
                  <c:v>43943</c:v>
                </c:pt>
                <c:pt idx="3719">
                  <c:v>43944</c:v>
                </c:pt>
                <c:pt idx="3720">
                  <c:v>43945</c:v>
                </c:pt>
                <c:pt idx="3721">
                  <c:v>43948</c:v>
                </c:pt>
                <c:pt idx="3722">
                  <c:v>43949</c:v>
                </c:pt>
                <c:pt idx="3723">
                  <c:v>43950</c:v>
                </c:pt>
                <c:pt idx="3724">
                  <c:v>43951</c:v>
                </c:pt>
                <c:pt idx="3725">
                  <c:v>43957</c:v>
                </c:pt>
                <c:pt idx="3726">
                  <c:v>43958</c:v>
                </c:pt>
                <c:pt idx="3727">
                  <c:v>43959</c:v>
                </c:pt>
                <c:pt idx="3728">
                  <c:v>43962</c:v>
                </c:pt>
                <c:pt idx="3729">
                  <c:v>43963</c:v>
                </c:pt>
                <c:pt idx="3730">
                  <c:v>43964</c:v>
                </c:pt>
                <c:pt idx="3731">
                  <c:v>43965</c:v>
                </c:pt>
                <c:pt idx="3732">
                  <c:v>43966</c:v>
                </c:pt>
                <c:pt idx="3733">
                  <c:v>43969</c:v>
                </c:pt>
                <c:pt idx="3734">
                  <c:v>43970</c:v>
                </c:pt>
                <c:pt idx="3735">
                  <c:v>43971</c:v>
                </c:pt>
                <c:pt idx="3736">
                  <c:v>43972</c:v>
                </c:pt>
                <c:pt idx="3737">
                  <c:v>43973</c:v>
                </c:pt>
                <c:pt idx="3738">
                  <c:v>43976</c:v>
                </c:pt>
                <c:pt idx="3739">
                  <c:v>43977</c:v>
                </c:pt>
                <c:pt idx="3740">
                  <c:v>43978</c:v>
                </c:pt>
                <c:pt idx="3741">
                  <c:v>43979</c:v>
                </c:pt>
                <c:pt idx="3742">
                  <c:v>43980</c:v>
                </c:pt>
                <c:pt idx="3743">
                  <c:v>43983</c:v>
                </c:pt>
                <c:pt idx="3744">
                  <c:v>43984</c:v>
                </c:pt>
                <c:pt idx="3745">
                  <c:v>43985</c:v>
                </c:pt>
                <c:pt idx="3746">
                  <c:v>43986</c:v>
                </c:pt>
                <c:pt idx="3747">
                  <c:v>43987</c:v>
                </c:pt>
                <c:pt idx="3748">
                  <c:v>43990</c:v>
                </c:pt>
                <c:pt idx="3749">
                  <c:v>43991</c:v>
                </c:pt>
                <c:pt idx="3750">
                  <c:v>43992</c:v>
                </c:pt>
                <c:pt idx="3751">
                  <c:v>43993</c:v>
                </c:pt>
                <c:pt idx="3752">
                  <c:v>43994</c:v>
                </c:pt>
                <c:pt idx="3753">
                  <c:v>43997</c:v>
                </c:pt>
                <c:pt idx="3754">
                  <c:v>43998</c:v>
                </c:pt>
                <c:pt idx="3755">
                  <c:v>43999</c:v>
                </c:pt>
                <c:pt idx="3756">
                  <c:v>44000</c:v>
                </c:pt>
                <c:pt idx="3757">
                  <c:v>44001</c:v>
                </c:pt>
                <c:pt idx="3758">
                  <c:v>44004</c:v>
                </c:pt>
                <c:pt idx="3759">
                  <c:v>44005</c:v>
                </c:pt>
                <c:pt idx="3760">
                  <c:v>44006</c:v>
                </c:pt>
                <c:pt idx="3761">
                  <c:v>44011</c:v>
                </c:pt>
                <c:pt idx="3762">
                  <c:v>44012</c:v>
                </c:pt>
                <c:pt idx="3763">
                  <c:v>44013</c:v>
                </c:pt>
                <c:pt idx="3764">
                  <c:v>44014</c:v>
                </c:pt>
                <c:pt idx="3765">
                  <c:v>44015</c:v>
                </c:pt>
                <c:pt idx="3766">
                  <c:v>44018</c:v>
                </c:pt>
                <c:pt idx="3767">
                  <c:v>44019</c:v>
                </c:pt>
                <c:pt idx="3768">
                  <c:v>44020</c:v>
                </c:pt>
                <c:pt idx="3769">
                  <c:v>44021</c:v>
                </c:pt>
                <c:pt idx="3770">
                  <c:v>44022</c:v>
                </c:pt>
                <c:pt idx="3771">
                  <c:v>44025</c:v>
                </c:pt>
                <c:pt idx="3772">
                  <c:v>44026</c:v>
                </c:pt>
                <c:pt idx="3773">
                  <c:v>44027</c:v>
                </c:pt>
                <c:pt idx="3774">
                  <c:v>44028</c:v>
                </c:pt>
                <c:pt idx="3775">
                  <c:v>44029</c:v>
                </c:pt>
                <c:pt idx="3776">
                  <c:v>44032</c:v>
                </c:pt>
                <c:pt idx="3777">
                  <c:v>44033</c:v>
                </c:pt>
                <c:pt idx="3778">
                  <c:v>44034</c:v>
                </c:pt>
                <c:pt idx="3779">
                  <c:v>44035</c:v>
                </c:pt>
                <c:pt idx="3780">
                  <c:v>44036</c:v>
                </c:pt>
                <c:pt idx="3781">
                  <c:v>44039</c:v>
                </c:pt>
                <c:pt idx="3782">
                  <c:v>44040</c:v>
                </c:pt>
                <c:pt idx="3783">
                  <c:v>44041</c:v>
                </c:pt>
                <c:pt idx="3784">
                  <c:v>44042</c:v>
                </c:pt>
                <c:pt idx="3785">
                  <c:v>44043</c:v>
                </c:pt>
                <c:pt idx="3786">
                  <c:v>44046</c:v>
                </c:pt>
                <c:pt idx="3787">
                  <c:v>44047</c:v>
                </c:pt>
                <c:pt idx="3788">
                  <c:v>44048</c:v>
                </c:pt>
                <c:pt idx="3789">
                  <c:v>44049</c:v>
                </c:pt>
                <c:pt idx="3790">
                  <c:v>44050</c:v>
                </c:pt>
                <c:pt idx="3791">
                  <c:v>44053</c:v>
                </c:pt>
                <c:pt idx="3792">
                  <c:v>44054</c:v>
                </c:pt>
                <c:pt idx="3793">
                  <c:v>44055</c:v>
                </c:pt>
                <c:pt idx="3794">
                  <c:v>44056</c:v>
                </c:pt>
                <c:pt idx="3795">
                  <c:v>44057</c:v>
                </c:pt>
                <c:pt idx="3796">
                  <c:v>44060</c:v>
                </c:pt>
                <c:pt idx="3797">
                  <c:v>44061</c:v>
                </c:pt>
                <c:pt idx="3798">
                  <c:v>44062</c:v>
                </c:pt>
                <c:pt idx="3799">
                  <c:v>44063</c:v>
                </c:pt>
                <c:pt idx="3800">
                  <c:v>44064</c:v>
                </c:pt>
                <c:pt idx="3801">
                  <c:v>44067</c:v>
                </c:pt>
                <c:pt idx="3802">
                  <c:v>44068</c:v>
                </c:pt>
                <c:pt idx="3803">
                  <c:v>44069</c:v>
                </c:pt>
                <c:pt idx="3804">
                  <c:v>44070</c:v>
                </c:pt>
                <c:pt idx="3805">
                  <c:v>44071</c:v>
                </c:pt>
                <c:pt idx="3806">
                  <c:v>44074</c:v>
                </c:pt>
                <c:pt idx="3807">
                  <c:v>44075</c:v>
                </c:pt>
                <c:pt idx="3808">
                  <c:v>44076</c:v>
                </c:pt>
                <c:pt idx="3809">
                  <c:v>44077</c:v>
                </c:pt>
                <c:pt idx="3810">
                  <c:v>44078</c:v>
                </c:pt>
                <c:pt idx="3811">
                  <c:v>44081</c:v>
                </c:pt>
                <c:pt idx="3812">
                  <c:v>44082</c:v>
                </c:pt>
                <c:pt idx="3813">
                  <c:v>44083</c:v>
                </c:pt>
                <c:pt idx="3814">
                  <c:v>44084</c:v>
                </c:pt>
                <c:pt idx="3815">
                  <c:v>44085</c:v>
                </c:pt>
                <c:pt idx="3816">
                  <c:v>44088</c:v>
                </c:pt>
                <c:pt idx="3817">
                  <c:v>44089</c:v>
                </c:pt>
                <c:pt idx="3818">
                  <c:v>44090</c:v>
                </c:pt>
                <c:pt idx="3819">
                  <c:v>44091</c:v>
                </c:pt>
                <c:pt idx="3820">
                  <c:v>44092</c:v>
                </c:pt>
                <c:pt idx="3821">
                  <c:v>44095</c:v>
                </c:pt>
                <c:pt idx="3822">
                  <c:v>44096</c:v>
                </c:pt>
                <c:pt idx="3823">
                  <c:v>44097</c:v>
                </c:pt>
                <c:pt idx="3824">
                  <c:v>44098</c:v>
                </c:pt>
                <c:pt idx="3825">
                  <c:v>44099</c:v>
                </c:pt>
                <c:pt idx="3826">
                  <c:v>44102</c:v>
                </c:pt>
                <c:pt idx="3827">
                  <c:v>44103</c:v>
                </c:pt>
                <c:pt idx="3828">
                  <c:v>44104</c:v>
                </c:pt>
                <c:pt idx="3829">
                  <c:v>44113</c:v>
                </c:pt>
                <c:pt idx="3830">
                  <c:v>44116</c:v>
                </c:pt>
                <c:pt idx="3831">
                  <c:v>44117</c:v>
                </c:pt>
                <c:pt idx="3832">
                  <c:v>44118</c:v>
                </c:pt>
                <c:pt idx="3833">
                  <c:v>44119</c:v>
                </c:pt>
                <c:pt idx="3834">
                  <c:v>44120</c:v>
                </c:pt>
                <c:pt idx="3835">
                  <c:v>44123</c:v>
                </c:pt>
                <c:pt idx="3836">
                  <c:v>44124</c:v>
                </c:pt>
                <c:pt idx="3837">
                  <c:v>44125</c:v>
                </c:pt>
                <c:pt idx="3838">
                  <c:v>44126</c:v>
                </c:pt>
                <c:pt idx="3839">
                  <c:v>44127</c:v>
                </c:pt>
                <c:pt idx="3840">
                  <c:v>44130</c:v>
                </c:pt>
                <c:pt idx="3841">
                  <c:v>44131</c:v>
                </c:pt>
                <c:pt idx="3842">
                  <c:v>44132</c:v>
                </c:pt>
                <c:pt idx="3843">
                  <c:v>44133</c:v>
                </c:pt>
                <c:pt idx="3844">
                  <c:v>44134</c:v>
                </c:pt>
                <c:pt idx="3845">
                  <c:v>44137</c:v>
                </c:pt>
                <c:pt idx="3846">
                  <c:v>44138</c:v>
                </c:pt>
                <c:pt idx="3847">
                  <c:v>44139</c:v>
                </c:pt>
                <c:pt idx="3848">
                  <c:v>44140</c:v>
                </c:pt>
                <c:pt idx="3849">
                  <c:v>44141</c:v>
                </c:pt>
                <c:pt idx="3850">
                  <c:v>44144</c:v>
                </c:pt>
                <c:pt idx="3851">
                  <c:v>44145</c:v>
                </c:pt>
                <c:pt idx="3852">
                  <c:v>44146</c:v>
                </c:pt>
                <c:pt idx="3853">
                  <c:v>44147</c:v>
                </c:pt>
                <c:pt idx="3854">
                  <c:v>44148</c:v>
                </c:pt>
                <c:pt idx="3855">
                  <c:v>44151</c:v>
                </c:pt>
                <c:pt idx="3856">
                  <c:v>44152</c:v>
                </c:pt>
                <c:pt idx="3857">
                  <c:v>44153</c:v>
                </c:pt>
                <c:pt idx="3858">
                  <c:v>44154</c:v>
                </c:pt>
                <c:pt idx="3859">
                  <c:v>44155</c:v>
                </c:pt>
                <c:pt idx="3860">
                  <c:v>44158</c:v>
                </c:pt>
                <c:pt idx="3861">
                  <c:v>44159</c:v>
                </c:pt>
                <c:pt idx="3862">
                  <c:v>44160</c:v>
                </c:pt>
                <c:pt idx="3863">
                  <c:v>44161</c:v>
                </c:pt>
                <c:pt idx="3864">
                  <c:v>44162</c:v>
                </c:pt>
                <c:pt idx="3865">
                  <c:v>44165</c:v>
                </c:pt>
                <c:pt idx="3866">
                  <c:v>44166</c:v>
                </c:pt>
                <c:pt idx="3867">
                  <c:v>44167</c:v>
                </c:pt>
                <c:pt idx="3868">
                  <c:v>44168</c:v>
                </c:pt>
                <c:pt idx="3869">
                  <c:v>44169</c:v>
                </c:pt>
                <c:pt idx="3870">
                  <c:v>44172</c:v>
                </c:pt>
                <c:pt idx="3871">
                  <c:v>44173</c:v>
                </c:pt>
                <c:pt idx="3872">
                  <c:v>44174</c:v>
                </c:pt>
                <c:pt idx="3873">
                  <c:v>44175</c:v>
                </c:pt>
                <c:pt idx="3874">
                  <c:v>44176</c:v>
                </c:pt>
                <c:pt idx="3875">
                  <c:v>44179</c:v>
                </c:pt>
                <c:pt idx="3876">
                  <c:v>44180</c:v>
                </c:pt>
                <c:pt idx="3877">
                  <c:v>44181</c:v>
                </c:pt>
                <c:pt idx="3878">
                  <c:v>44182</c:v>
                </c:pt>
                <c:pt idx="3879">
                  <c:v>44183</c:v>
                </c:pt>
                <c:pt idx="3880">
                  <c:v>44186</c:v>
                </c:pt>
                <c:pt idx="3881">
                  <c:v>44187</c:v>
                </c:pt>
                <c:pt idx="3882">
                  <c:v>44188</c:v>
                </c:pt>
                <c:pt idx="3883">
                  <c:v>44189</c:v>
                </c:pt>
                <c:pt idx="3884">
                  <c:v>44190</c:v>
                </c:pt>
                <c:pt idx="3885">
                  <c:v>44193</c:v>
                </c:pt>
                <c:pt idx="3886">
                  <c:v>44194</c:v>
                </c:pt>
                <c:pt idx="3887">
                  <c:v>44195</c:v>
                </c:pt>
                <c:pt idx="3888">
                  <c:v>44196</c:v>
                </c:pt>
                <c:pt idx="3889">
                  <c:v>44200</c:v>
                </c:pt>
                <c:pt idx="3890">
                  <c:v>44201</c:v>
                </c:pt>
                <c:pt idx="3891">
                  <c:v>44202</c:v>
                </c:pt>
                <c:pt idx="3892">
                  <c:v>44203</c:v>
                </c:pt>
                <c:pt idx="3893">
                  <c:v>44204</c:v>
                </c:pt>
                <c:pt idx="3894">
                  <c:v>44207</c:v>
                </c:pt>
                <c:pt idx="3895">
                  <c:v>44208</c:v>
                </c:pt>
                <c:pt idx="3896">
                  <c:v>44209</c:v>
                </c:pt>
                <c:pt idx="3897">
                  <c:v>44210</c:v>
                </c:pt>
                <c:pt idx="3898">
                  <c:v>44211</c:v>
                </c:pt>
                <c:pt idx="3899">
                  <c:v>44214</c:v>
                </c:pt>
                <c:pt idx="3900">
                  <c:v>44215</c:v>
                </c:pt>
                <c:pt idx="3901">
                  <c:v>44216</c:v>
                </c:pt>
                <c:pt idx="3902">
                  <c:v>44217</c:v>
                </c:pt>
                <c:pt idx="3903">
                  <c:v>44218</c:v>
                </c:pt>
                <c:pt idx="3904">
                  <c:v>44221</c:v>
                </c:pt>
                <c:pt idx="3905">
                  <c:v>44222</c:v>
                </c:pt>
                <c:pt idx="3906">
                  <c:v>44223</c:v>
                </c:pt>
                <c:pt idx="3907">
                  <c:v>44224</c:v>
                </c:pt>
                <c:pt idx="3908">
                  <c:v>44225</c:v>
                </c:pt>
                <c:pt idx="3909">
                  <c:v>44228</c:v>
                </c:pt>
                <c:pt idx="3910">
                  <c:v>44229</c:v>
                </c:pt>
                <c:pt idx="3911">
                  <c:v>44230</c:v>
                </c:pt>
                <c:pt idx="3912">
                  <c:v>44231</c:v>
                </c:pt>
                <c:pt idx="3913">
                  <c:v>44232</c:v>
                </c:pt>
                <c:pt idx="3914">
                  <c:v>44235</c:v>
                </c:pt>
                <c:pt idx="3915">
                  <c:v>44236</c:v>
                </c:pt>
                <c:pt idx="3916">
                  <c:v>44237</c:v>
                </c:pt>
                <c:pt idx="3917">
                  <c:v>44245</c:v>
                </c:pt>
                <c:pt idx="3918">
                  <c:v>44246</c:v>
                </c:pt>
                <c:pt idx="3919">
                  <c:v>44249</c:v>
                </c:pt>
                <c:pt idx="3920">
                  <c:v>44250</c:v>
                </c:pt>
                <c:pt idx="3921">
                  <c:v>44251</c:v>
                </c:pt>
                <c:pt idx="3922">
                  <c:v>44252</c:v>
                </c:pt>
                <c:pt idx="3923">
                  <c:v>44253</c:v>
                </c:pt>
                <c:pt idx="3924">
                  <c:v>44256</c:v>
                </c:pt>
                <c:pt idx="3925">
                  <c:v>44257</c:v>
                </c:pt>
                <c:pt idx="3926">
                  <c:v>44258</c:v>
                </c:pt>
                <c:pt idx="3927">
                  <c:v>44259</c:v>
                </c:pt>
                <c:pt idx="3928">
                  <c:v>44260</c:v>
                </c:pt>
                <c:pt idx="3929">
                  <c:v>44263</c:v>
                </c:pt>
                <c:pt idx="3930">
                  <c:v>44264</c:v>
                </c:pt>
                <c:pt idx="3931">
                  <c:v>44265</c:v>
                </c:pt>
                <c:pt idx="3932">
                  <c:v>44266</c:v>
                </c:pt>
                <c:pt idx="3933">
                  <c:v>44267</c:v>
                </c:pt>
                <c:pt idx="3934">
                  <c:v>44270</c:v>
                </c:pt>
                <c:pt idx="3935">
                  <c:v>44271</c:v>
                </c:pt>
                <c:pt idx="3936">
                  <c:v>44272</c:v>
                </c:pt>
                <c:pt idx="3937">
                  <c:v>44273</c:v>
                </c:pt>
                <c:pt idx="3938">
                  <c:v>44274</c:v>
                </c:pt>
                <c:pt idx="3939">
                  <c:v>44277</c:v>
                </c:pt>
                <c:pt idx="3940">
                  <c:v>44278</c:v>
                </c:pt>
                <c:pt idx="3941">
                  <c:v>44279</c:v>
                </c:pt>
                <c:pt idx="3942">
                  <c:v>44280</c:v>
                </c:pt>
                <c:pt idx="3943">
                  <c:v>44281</c:v>
                </c:pt>
                <c:pt idx="3944">
                  <c:v>44284</c:v>
                </c:pt>
                <c:pt idx="3945">
                  <c:v>44285</c:v>
                </c:pt>
                <c:pt idx="3946">
                  <c:v>44286</c:v>
                </c:pt>
                <c:pt idx="3947">
                  <c:v>44287</c:v>
                </c:pt>
                <c:pt idx="3948">
                  <c:v>44288</c:v>
                </c:pt>
                <c:pt idx="3949">
                  <c:v>44292</c:v>
                </c:pt>
                <c:pt idx="3950">
                  <c:v>44293</c:v>
                </c:pt>
                <c:pt idx="3951">
                  <c:v>44294</c:v>
                </c:pt>
                <c:pt idx="3952">
                  <c:v>44295</c:v>
                </c:pt>
                <c:pt idx="3953">
                  <c:v>44298</c:v>
                </c:pt>
                <c:pt idx="3954">
                  <c:v>44299</c:v>
                </c:pt>
                <c:pt idx="3955">
                  <c:v>44300</c:v>
                </c:pt>
                <c:pt idx="3956">
                  <c:v>44301</c:v>
                </c:pt>
                <c:pt idx="3957">
                  <c:v>44302</c:v>
                </c:pt>
                <c:pt idx="3958">
                  <c:v>44305</c:v>
                </c:pt>
                <c:pt idx="3959">
                  <c:v>44306</c:v>
                </c:pt>
                <c:pt idx="3960">
                  <c:v>44307</c:v>
                </c:pt>
                <c:pt idx="3961">
                  <c:v>44308</c:v>
                </c:pt>
                <c:pt idx="3962">
                  <c:v>44309</c:v>
                </c:pt>
                <c:pt idx="3963">
                  <c:v>44312</c:v>
                </c:pt>
                <c:pt idx="3964">
                  <c:v>44313</c:v>
                </c:pt>
                <c:pt idx="3965">
                  <c:v>44314</c:v>
                </c:pt>
                <c:pt idx="3966">
                  <c:v>44315</c:v>
                </c:pt>
                <c:pt idx="3967">
                  <c:v>44316</c:v>
                </c:pt>
                <c:pt idx="3968">
                  <c:v>44322</c:v>
                </c:pt>
                <c:pt idx="3969">
                  <c:v>44323</c:v>
                </c:pt>
                <c:pt idx="3970">
                  <c:v>44326</c:v>
                </c:pt>
                <c:pt idx="3971">
                  <c:v>44327</c:v>
                </c:pt>
                <c:pt idx="3972">
                  <c:v>44328</c:v>
                </c:pt>
                <c:pt idx="3973">
                  <c:v>44329</c:v>
                </c:pt>
                <c:pt idx="3974">
                  <c:v>44330</c:v>
                </c:pt>
                <c:pt idx="3975">
                  <c:v>44333</c:v>
                </c:pt>
                <c:pt idx="3976">
                  <c:v>44334</c:v>
                </c:pt>
                <c:pt idx="3977">
                  <c:v>44335</c:v>
                </c:pt>
                <c:pt idx="3978">
                  <c:v>44336</c:v>
                </c:pt>
                <c:pt idx="3979">
                  <c:v>44337</c:v>
                </c:pt>
                <c:pt idx="3980">
                  <c:v>44340</c:v>
                </c:pt>
                <c:pt idx="3981">
                  <c:v>44341</c:v>
                </c:pt>
                <c:pt idx="3982">
                  <c:v>44342</c:v>
                </c:pt>
                <c:pt idx="3983">
                  <c:v>44343</c:v>
                </c:pt>
                <c:pt idx="3984">
                  <c:v>44344</c:v>
                </c:pt>
                <c:pt idx="3985">
                  <c:v>44347</c:v>
                </c:pt>
                <c:pt idx="3986">
                  <c:v>44348</c:v>
                </c:pt>
                <c:pt idx="3987">
                  <c:v>44349</c:v>
                </c:pt>
                <c:pt idx="3988">
                  <c:v>44350</c:v>
                </c:pt>
                <c:pt idx="3989">
                  <c:v>44351</c:v>
                </c:pt>
                <c:pt idx="3990">
                  <c:v>44354</c:v>
                </c:pt>
                <c:pt idx="3991">
                  <c:v>44355</c:v>
                </c:pt>
                <c:pt idx="3992">
                  <c:v>44356</c:v>
                </c:pt>
                <c:pt idx="3993">
                  <c:v>44357</c:v>
                </c:pt>
                <c:pt idx="3994">
                  <c:v>44358</c:v>
                </c:pt>
                <c:pt idx="3995">
                  <c:v>44362</c:v>
                </c:pt>
                <c:pt idx="3996">
                  <c:v>44363</c:v>
                </c:pt>
                <c:pt idx="3997">
                  <c:v>44364</c:v>
                </c:pt>
                <c:pt idx="3998">
                  <c:v>44365</c:v>
                </c:pt>
                <c:pt idx="3999">
                  <c:v>44368</c:v>
                </c:pt>
                <c:pt idx="4000">
                  <c:v>44369</c:v>
                </c:pt>
                <c:pt idx="4001">
                  <c:v>44370</c:v>
                </c:pt>
                <c:pt idx="4002">
                  <c:v>44371</c:v>
                </c:pt>
                <c:pt idx="4003">
                  <c:v>44372</c:v>
                </c:pt>
                <c:pt idx="4004">
                  <c:v>44375</c:v>
                </c:pt>
                <c:pt idx="4005">
                  <c:v>44376</c:v>
                </c:pt>
                <c:pt idx="4006">
                  <c:v>44377</c:v>
                </c:pt>
                <c:pt idx="4007">
                  <c:v>44378</c:v>
                </c:pt>
                <c:pt idx="4008">
                  <c:v>44379</c:v>
                </c:pt>
                <c:pt idx="4009">
                  <c:v>44382</c:v>
                </c:pt>
                <c:pt idx="4010">
                  <c:v>44383</c:v>
                </c:pt>
                <c:pt idx="4011">
                  <c:v>44384</c:v>
                </c:pt>
                <c:pt idx="4012">
                  <c:v>44385</c:v>
                </c:pt>
                <c:pt idx="4013">
                  <c:v>44386</c:v>
                </c:pt>
                <c:pt idx="4014">
                  <c:v>44389</c:v>
                </c:pt>
                <c:pt idx="4015">
                  <c:v>44390</c:v>
                </c:pt>
                <c:pt idx="4016">
                  <c:v>44391</c:v>
                </c:pt>
                <c:pt idx="4017">
                  <c:v>44392</c:v>
                </c:pt>
                <c:pt idx="4018">
                  <c:v>44393</c:v>
                </c:pt>
                <c:pt idx="4019">
                  <c:v>44396</c:v>
                </c:pt>
                <c:pt idx="4020">
                  <c:v>44397</c:v>
                </c:pt>
                <c:pt idx="4021">
                  <c:v>44398</c:v>
                </c:pt>
                <c:pt idx="4022">
                  <c:v>44399</c:v>
                </c:pt>
                <c:pt idx="4023">
                  <c:v>44400</c:v>
                </c:pt>
                <c:pt idx="4024">
                  <c:v>44403</c:v>
                </c:pt>
                <c:pt idx="4025">
                  <c:v>44404</c:v>
                </c:pt>
                <c:pt idx="4026">
                  <c:v>44405</c:v>
                </c:pt>
                <c:pt idx="4027">
                  <c:v>44406</c:v>
                </c:pt>
                <c:pt idx="4028">
                  <c:v>44407</c:v>
                </c:pt>
                <c:pt idx="4029">
                  <c:v>44410</c:v>
                </c:pt>
                <c:pt idx="4030">
                  <c:v>44411</c:v>
                </c:pt>
                <c:pt idx="4031">
                  <c:v>44412</c:v>
                </c:pt>
                <c:pt idx="4032">
                  <c:v>44413</c:v>
                </c:pt>
                <c:pt idx="4033">
                  <c:v>44414</c:v>
                </c:pt>
                <c:pt idx="4034">
                  <c:v>44417</c:v>
                </c:pt>
                <c:pt idx="4035">
                  <c:v>44418</c:v>
                </c:pt>
                <c:pt idx="4036">
                  <c:v>44419</c:v>
                </c:pt>
                <c:pt idx="4037">
                  <c:v>44420</c:v>
                </c:pt>
                <c:pt idx="4038">
                  <c:v>44421</c:v>
                </c:pt>
                <c:pt idx="4039">
                  <c:v>44424</c:v>
                </c:pt>
                <c:pt idx="4040">
                  <c:v>44425</c:v>
                </c:pt>
                <c:pt idx="4041">
                  <c:v>44426</c:v>
                </c:pt>
                <c:pt idx="4042">
                  <c:v>44427</c:v>
                </c:pt>
                <c:pt idx="4043">
                  <c:v>44428</c:v>
                </c:pt>
                <c:pt idx="4044">
                  <c:v>44431</c:v>
                </c:pt>
                <c:pt idx="4045">
                  <c:v>44432</c:v>
                </c:pt>
                <c:pt idx="4046">
                  <c:v>44433</c:v>
                </c:pt>
                <c:pt idx="4047">
                  <c:v>44434</c:v>
                </c:pt>
                <c:pt idx="4048">
                  <c:v>44435</c:v>
                </c:pt>
                <c:pt idx="4049">
                  <c:v>44438</c:v>
                </c:pt>
                <c:pt idx="4050">
                  <c:v>44439</c:v>
                </c:pt>
                <c:pt idx="4051">
                  <c:v>44440</c:v>
                </c:pt>
                <c:pt idx="4052">
                  <c:v>44441</c:v>
                </c:pt>
                <c:pt idx="4053">
                  <c:v>44442</c:v>
                </c:pt>
                <c:pt idx="4054">
                  <c:v>44445</c:v>
                </c:pt>
                <c:pt idx="4055">
                  <c:v>44446</c:v>
                </c:pt>
                <c:pt idx="4056">
                  <c:v>44447</c:v>
                </c:pt>
                <c:pt idx="4057">
                  <c:v>44448</c:v>
                </c:pt>
                <c:pt idx="4058">
                  <c:v>44449</c:v>
                </c:pt>
                <c:pt idx="4059">
                  <c:v>44452</c:v>
                </c:pt>
                <c:pt idx="4060">
                  <c:v>44453</c:v>
                </c:pt>
                <c:pt idx="4061">
                  <c:v>44454</c:v>
                </c:pt>
                <c:pt idx="4062">
                  <c:v>44455</c:v>
                </c:pt>
                <c:pt idx="4063">
                  <c:v>44456</c:v>
                </c:pt>
                <c:pt idx="4064">
                  <c:v>44461</c:v>
                </c:pt>
                <c:pt idx="4065">
                  <c:v>44462</c:v>
                </c:pt>
                <c:pt idx="4066">
                  <c:v>44463</c:v>
                </c:pt>
                <c:pt idx="4067">
                  <c:v>44466</c:v>
                </c:pt>
                <c:pt idx="4068">
                  <c:v>44467</c:v>
                </c:pt>
                <c:pt idx="4069">
                  <c:v>44468</c:v>
                </c:pt>
                <c:pt idx="4070">
                  <c:v>44469</c:v>
                </c:pt>
                <c:pt idx="4071">
                  <c:v>44477</c:v>
                </c:pt>
                <c:pt idx="4072">
                  <c:v>44480</c:v>
                </c:pt>
                <c:pt idx="4073">
                  <c:v>44481</c:v>
                </c:pt>
                <c:pt idx="4074">
                  <c:v>44482</c:v>
                </c:pt>
                <c:pt idx="4075">
                  <c:v>44483</c:v>
                </c:pt>
                <c:pt idx="4076">
                  <c:v>44484</c:v>
                </c:pt>
                <c:pt idx="4077">
                  <c:v>44487</c:v>
                </c:pt>
                <c:pt idx="4078">
                  <c:v>44488</c:v>
                </c:pt>
                <c:pt idx="4079">
                  <c:v>44489</c:v>
                </c:pt>
                <c:pt idx="4080">
                  <c:v>44490</c:v>
                </c:pt>
                <c:pt idx="4081">
                  <c:v>44491</c:v>
                </c:pt>
                <c:pt idx="4082">
                  <c:v>44494</c:v>
                </c:pt>
                <c:pt idx="4083">
                  <c:v>44495</c:v>
                </c:pt>
                <c:pt idx="4084">
                  <c:v>44496</c:v>
                </c:pt>
                <c:pt idx="4085">
                  <c:v>44497</c:v>
                </c:pt>
                <c:pt idx="4086">
                  <c:v>44498</c:v>
                </c:pt>
                <c:pt idx="4087">
                  <c:v>44501</c:v>
                </c:pt>
                <c:pt idx="4088">
                  <c:v>44502</c:v>
                </c:pt>
                <c:pt idx="4089">
                  <c:v>44503</c:v>
                </c:pt>
                <c:pt idx="4090">
                  <c:v>44504</c:v>
                </c:pt>
                <c:pt idx="4091">
                  <c:v>44505</c:v>
                </c:pt>
                <c:pt idx="4092">
                  <c:v>44508</c:v>
                </c:pt>
                <c:pt idx="4093">
                  <c:v>44509</c:v>
                </c:pt>
                <c:pt idx="4094">
                  <c:v>44510</c:v>
                </c:pt>
                <c:pt idx="4095">
                  <c:v>44511</c:v>
                </c:pt>
                <c:pt idx="4096">
                  <c:v>44512</c:v>
                </c:pt>
                <c:pt idx="4097">
                  <c:v>44515</c:v>
                </c:pt>
                <c:pt idx="4098">
                  <c:v>44516</c:v>
                </c:pt>
                <c:pt idx="4099">
                  <c:v>44517</c:v>
                </c:pt>
                <c:pt idx="4100">
                  <c:v>44518</c:v>
                </c:pt>
                <c:pt idx="4101">
                  <c:v>44519</c:v>
                </c:pt>
                <c:pt idx="4102">
                  <c:v>44522</c:v>
                </c:pt>
                <c:pt idx="4103">
                  <c:v>44523</c:v>
                </c:pt>
                <c:pt idx="4104">
                  <c:v>44524</c:v>
                </c:pt>
                <c:pt idx="4105">
                  <c:v>44525</c:v>
                </c:pt>
                <c:pt idx="4106">
                  <c:v>44526</c:v>
                </c:pt>
                <c:pt idx="4107">
                  <c:v>44529</c:v>
                </c:pt>
                <c:pt idx="4108">
                  <c:v>44530</c:v>
                </c:pt>
                <c:pt idx="4109">
                  <c:v>44531</c:v>
                </c:pt>
                <c:pt idx="4110">
                  <c:v>44532</c:v>
                </c:pt>
                <c:pt idx="4111">
                  <c:v>44533</c:v>
                </c:pt>
                <c:pt idx="4112">
                  <c:v>44536</c:v>
                </c:pt>
                <c:pt idx="4113">
                  <c:v>44537</c:v>
                </c:pt>
                <c:pt idx="4114">
                  <c:v>44538</c:v>
                </c:pt>
                <c:pt idx="4115">
                  <c:v>44539</c:v>
                </c:pt>
                <c:pt idx="4116">
                  <c:v>44540</c:v>
                </c:pt>
                <c:pt idx="4117">
                  <c:v>44543</c:v>
                </c:pt>
                <c:pt idx="4118">
                  <c:v>44544</c:v>
                </c:pt>
                <c:pt idx="4119">
                  <c:v>44545</c:v>
                </c:pt>
                <c:pt idx="4120">
                  <c:v>44546</c:v>
                </c:pt>
                <c:pt idx="4121">
                  <c:v>44547</c:v>
                </c:pt>
                <c:pt idx="4122">
                  <c:v>44550</c:v>
                </c:pt>
                <c:pt idx="4123">
                  <c:v>44551</c:v>
                </c:pt>
                <c:pt idx="4124">
                  <c:v>44552</c:v>
                </c:pt>
                <c:pt idx="4125">
                  <c:v>44553</c:v>
                </c:pt>
                <c:pt idx="4126">
                  <c:v>44554</c:v>
                </c:pt>
                <c:pt idx="4127">
                  <c:v>44557</c:v>
                </c:pt>
                <c:pt idx="4128">
                  <c:v>44558</c:v>
                </c:pt>
                <c:pt idx="4129">
                  <c:v>44559</c:v>
                </c:pt>
                <c:pt idx="4130">
                  <c:v>44560</c:v>
                </c:pt>
                <c:pt idx="4131">
                  <c:v>44561</c:v>
                </c:pt>
                <c:pt idx="4132">
                  <c:v>44565</c:v>
                </c:pt>
                <c:pt idx="4133">
                  <c:v>44566</c:v>
                </c:pt>
                <c:pt idx="4134">
                  <c:v>44567</c:v>
                </c:pt>
                <c:pt idx="4135">
                  <c:v>44568</c:v>
                </c:pt>
                <c:pt idx="4136">
                  <c:v>44571</c:v>
                </c:pt>
                <c:pt idx="4137">
                  <c:v>44572</c:v>
                </c:pt>
                <c:pt idx="4138">
                  <c:v>44573</c:v>
                </c:pt>
                <c:pt idx="4139">
                  <c:v>44574</c:v>
                </c:pt>
                <c:pt idx="4140">
                  <c:v>44575</c:v>
                </c:pt>
                <c:pt idx="4141">
                  <c:v>44578</c:v>
                </c:pt>
                <c:pt idx="4142">
                  <c:v>44579</c:v>
                </c:pt>
                <c:pt idx="4143">
                  <c:v>44580</c:v>
                </c:pt>
                <c:pt idx="4144">
                  <c:v>44581</c:v>
                </c:pt>
                <c:pt idx="4145">
                  <c:v>44582</c:v>
                </c:pt>
                <c:pt idx="4146">
                  <c:v>44585</c:v>
                </c:pt>
                <c:pt idx="4147">
                  <c:v>44586</c:v>
                </c:pt>
                <c:pt idx="4148">
                  <c:v>44587</c:v>
                </c:pt>
                <c:pt idx="4149">
                  <c:v>44588</c:v>
                </c:pt>
                <c:pt idx="4150">
                  <c:v>44589</c:v>
                </c:pt>
                <c:pt idx="4151">
                  <c:v>44599</c:v>
                </c:pt>
                <c:pt idx="4152">
                  <c:v>44600</c:v>
                </c:pt>
                <c:pt idx="4153">
                  <c:v>44601</c:v>
                </c:pt>
                <c:pt idx="4154">
                  <c:v>44602</c:v>
                </c:pt>
                <c:pt idx="4155">
                  <c:v>44603</c:v>
                </c:pt>
                <c:pt idx="4156">
                  <c:v>44606</c:v>
                </c:pt>
                <c:pt idx="4157">
                  <c:v>44607</c:v>
                </c:pt>
                <c:pt idx="4158">
                  <c:v>44608</c:v>
                </c:pt>
                <c:pt idx="4159">
                  <c:v>44609</c:v>
                </c:pt>
                <c:pt idx="4160">
                  <c:v>44610</c:v>
                </c:pt>
                <c:pt idx="4161">
                  <c:v>44613</c:v>
                </c:pt>
                <c:pt idx="4162">
                  <c:v>44614</c:v>
                </c:pt>
                <c:pt idx="4163">
                  <c:v>44615</c:v>
                </c:pt>
                <c:pt idx="4164">
                  <c:v>44616</c:v>
                </c:pt>
                <c:pt idx="4165">
                  <c:v>44617</c:v>
                </c:pt>
                <c:pt idx="4166">
                  <c:v>44620</c:v>
                </c:pt>
                <c:pt idx="4167">
                  <c:v>44621</c:v>
                </c:pt>
                <c:pt idx="4168">
                  <c:v>44622</c:v>
                </c:pt>
                <c:pt idx="4169">
                  <c:v>44623</c:v>
                </c:pt>
                <c:pt idx="4170">
                  <c:v>44624</c:v>
                </c:pt>
                <c:pt idx="4171">
                  <c:v>44627</c:v>
                </c:pt>
                <c:pt idx="4172">
                  <c:v>44628</c:v>
                </c:pt>
                <c:pt idx="4173">
                  <c:v>44629</c:v>
                </c:pt>
                <c:pt idx="4174">
                  <c:v>44630</c:v>
                </c:pt>
                <c:pt idx="4175">
                  <c:v>44631</c:v>
                </c:pt>
                <c:pt idx="4176">
                  <c:v>44634</c:v>
                </c:pt>
                <c:pt idx="4177">
                  <c:v>44635</c:v>
                </c:pt>
                <c:pt idx="4178">
                  <c:v>44636</c:v>
                </c:pt>
                <c:pt idx="4179">
                  <c:v>44637</c:v>
                </c:pt>
                <c:pt idx="4180">
                  <c:v>44638</c:v>
                </c:pt>
                <c:pt idx="4181">
                  <c:v>44641</c:v>
                </c:pt>
                <c:pt idx="4182">
                  <c:v>44642</c:v>
                </c:pt>
                <c:pt idx="4183">
                  <c:v>44643</c:v>
                </c:pt>
                <c:pt idx="4184">
                  <c:v>44644</c:v>
                </c:pt>
                <c:pt idx="4185">
                  <c:v>44645</c:v>
                </c:pt>
                <c:pt idx="4186">
                  <c:v>44648</c:v>
                </c:pt>
                <c:pt idx="4187">
                  <c:v>44649</c:v>
                </c:pt>
                <c:pt idx="4188">
                  <c:v>44650</c:v>
                </c:pt>
                <c:pt idx="4189">
                  <c:v>44651</c:v>
                </c:pt>
                <c:pt idx="4190">
                  <c:v>44652</c:v>
                </c:pt>
                <c:pt idx="4191">
                  <c:v>44657</c:v>
                </c:pt>
                <c:pt idx="4192">
                  <c:v>44658</c:v>
                </c:pt>
                <c:pt idx="4193">
                  <c:v>44659</c:v>
                </c:pt>
                <c:pt idx="4194">
                  <c:v>44662</c:v>
                </c:pt>
                <c:pt idx="4195">
                  <c:v>44663</c:v>
                </c:pt>
                <c:pt idx="4196">
                  <c:v>44664</c:v>
                </c:pt>
                <c:pt idx="4197">
                  <c:v>44665</c:v>
                </c:pt>
                <c:pt idx="4198">
                  <c:v>44666</c:v>
                </c:pt>
                <c:pt idx="4199">
                  <c:v>44669</c:v>
                </c:pt>
              </c:numCache>
            </c:numRef>
          </c:cat>
          <c:val>
            <c:numRef>
              <c:f>tr_60!$F$2:$F$4201</c:f>
              <c:numCache>
                <c:formatCode>General</c:formatCode>
                <c:ptCount val="4200"/>
                <c:pt idx="0">
                  <c:v>982.79</c:v>
                </c:pt>
                <c:pt idx="1">
                  <c:v>992.56</c:v>
                </c:pt>
                <c:pt idx="2">
                  <c:v>983.17</c:v>
                </c:pt>
                <c:pt idx="3">
                  <c:v>983.96</c:v>
                </c:pt>
                <c:pt idx="4">
                  <c:v>993.88</c:v>
                </c:pt>
                <c:pt idx="5">
                  <c:v>997.14</c:v>
                </c:pt>
                <c:pt idx="6">
                  <c:v>996.75</c:v>
                </c:pt>
                <c:pt idx="7">
                  <c:v>996.88</c:v>
                </c:pt>
                <c:pt idx="8">
                  <c:v>988.31</c:v>
                </c:pt>
                <c:pt idx="9">
                  <c:v>967.45</c:v>
                </c:pt>
                <c:pt idx="10">
                  <c:v>974.69</c:v>
                </c:pt>
                <c:pt idx="11">
                  <c:v>967.21</c:v>
                </c:pt>
                <c:pt idx="12">
                  <c:v>956.25</c:v>
                </c:pt>
                <c:pt idx="13">
                  <c:v>982.6</c:v>
                </c:pt>
                <c:pt idx="14">
                  <c:v>998.13</c:v>
                </c:pt>
                <c:pt idx="15">
                  <c:v>997.78</c:v>
                </c:pt>
                <c:pt idx="16">
                  <c:v>989.93</c:v>
                </c:pt>
                <c:pt idx="17">
                  <c:v>974.63</c:v>
                </c:pt>
                <c:pt idx="18">
                  <c:v>969.21</c:v>
                </c:pt>
                <c:pt idx="19">
                  <c:v>954.88</c:v>
                </c:pt>
                <c:pt idx="20">
                  <c:v>955.95</c:v>
                </c:pt>
                <c:pt idx="21">
                  <c:v>1006.91</c:v>
                </c:pt>
                <c:pt idx="22">
                  <c:v>993.22</c:v>
                </c:pt>
                <c:pt idx="23">
                  <c:v>1016.86</c:v>
                </c:pt>
                <c:pt idx="24">
                  <c:v>1023.58</c:v>
                </c:pt>
                <c:pt idx="25">
                  <c:v>1020.61</c:v>
                </c:pt>
                <c:pt idx="26">
                  <c:v>1006.06</c:v>
                </c:pt>
                <c:pt idx="27">
                  <c:v>1025.6300000000001</c:v>
                </c:pt>
                <c:pt idx="28">
                  <c:v>1046.74</c:v>
                </c:pt>
                <c:pt idx="29">
                  <c:v>1043.94</c:v>
                </c:pt>
                <c:pt idx="30">
                  <c:v>1045.46</c:v>
                </c:pt>
                <c:pt idx="31">
                  <c:v>1046.76</c:v>
                </c:pt>
                <c:pt idx="32">
                  <c:v>1039.99</c:v>
                </c:pt>
                <c:pt idx="33">
                  <c:v>1035.93</c:v>
                </c:pt>
                <c:pt idx="34">
                  <c:v>1021.32</c:v>
                </c:pt>
                <c:pt idx="35">
                  <c:v>1027.71</c:v>
                </c:pt>
                <c:pt idx="36">
                  <c:v>1023.67</c:v>
                </c:pt>
                <c:pt idx="37">
                  <c:v>1029.8699999999999</c:v>
                </c:pt>
                <c:pt idx="38">
                  <c:v>1048.99</c:v>
                </c:pt>
                <c:pt idx="39">
                  <c:v>1046.54</c:v>
                </c:pt>
                <c:pt idx="40">
                  <c:v>1022.41</c:v>
                </c:pt>
                <c:pt idx="41">
                  <c:v>1027.43</c:v>
                </c:pt>
                <c:pt idx="42">
                  <c:v>1031.03</c:v>
                </c:pt>
                <c:pt idx="43">
                  <c:v>1013.52</c:v>
                </c:pt>
                <c:pt idx="44">
                  <c:v>1003.07</c:v>
                </c:pt>
                <c:pt idx="45">
                  <c:v>992.86</c:v>
                </c:pt>
                <c:pt idx="46">
                  <c:v>978.67</c:v>
                </c:pt>
                <c:pt idx="47">
                  <c:v>981.89</c:v>
                </c:pt>
                <c:pt idx="48">
                  <c:v>964.02</c:v>
                </c:pt>
                <c:pt idx="49">
                  <c:v>959.01</c:v>
                </c:pt>
                <c:pt idx="50">
                  <c:v>964.8</c:v>
                </c:pt>
                <c:pt idx="51">
                  <c:v>962.96</c:v>
                </c:pt>
                <c:pt idx="52">
                  <c:v>960.7</c:v>
                </c:pt>
                <c:pt idx="53">
                  <c:v>955.19</c:v>
                </c:pt>
                <c:pt idx="54">
                  <c:v>937.03</c:v>
                </c:pt>
                <c:pt idx="55">
                  <c:v>942.2</c:v>
                </c:pt>
                <c:pt idx="56">
                  <c:v>978.15</c:v>
                </c:pt>
                <c:pt idx="57">
                  <c:v>962.17</c:v>
                </c:pt>
                <c:pt idx="58">
                  <c:v>955.6</c:v>
                </c:pt>
                <c:pt idx="59">
                  <c:v>973.67</c:v>
                </c:pt>
                <c:pt idx="60">
                  <c:v>984.73</c:v>
                </c:pt>
                <c:pt idx="61">
                  <c:v>1003.45</c:v>
                </c:pt>
                <c:pt idx="62">
                  <c:v>995.42</c:v>
                </c:pt>
                <c:pt idx="63">
                  <c:v>978.7</c:v>
                </c:pt>
                <c:pt idx="64">
                  <c:v>1000.9</c:v>
                </c:pt>
                <c:pt idx="65">
                  <c:v>986.98</c:v>
                </c:pt>
                <c:pt idx="66">
                  <c:v>974.08</c:v>
                </c:pt>
                <c:pt idx="67">
                  <c:v>963.77</c:v>
                </c:pt>
                <c:pt idx="68">
                  <c:v>965.89</c:v>
                </c:pt>
                <c:pt idx="69">
                  <c:v>950.87</c:v>
                </c:pt>
                <c:pt idx="70">
                  <c:v>943.98</c:v>
                </c:pt>
                <c:pt idx="71">
                  <c:v>939.1</c:v>
                </c:pt>
                <c:pt idx="72">
                  <c:v>930.07</c:v>
                </c:pt>
                <c:pt idx="73">
                  <c:v>937.08</c:v>
                </c:pt>
                <c:pt idx="74">
                  <c:v>926.6</c:v>
                </c:pt>
                <c:pt idx="75">
                  <c:v>942.07</c:v>
                </c:pt>
                <c:pt idx="76">
                  <c:v>932.4</c:v>
                </c:pt>
                <c:pt idx="77">
                  <c:v>909.17</c:v>
                </c:pt>
                <c:pt idx="78">
                  <c:v>913.08</c:v>
                </c:pt>
                <c:pt idx="79">
                  <c:v>901.85</c:v>
                </c:pt>
                <c:pt idx="80">
                  <c:v>885.82</c:v>
                </c:pt>
                <c:pt idx="81">
                  <c:v>887.54</c:v>
                </c:pt>
                <c:pt idx="82">
                  <c:v>875.27</c:v>
                </c:pt>
                <c:pt idx="83">
                  <c:v>881.46</c:v>
                </c:pt>
                <c:pt idx="84">
                  <c:v>883.2</c:v>
                </c:pt>
                <c:pt idx="85">
                  <c:v>884.17</c:v>
                </c:pt>
                <c:pt idx="86">
                  <c:v>882.76</c:v>
                </c:pt>
                <c:pt idx="87">
                  <c:v>863.34</c:v>
                </c:pt>
                <c:pt idx="88">
                  <c:v>868.46</c:v>
                </c:pt>
                <c:pt idx="89">
                  <c:v>868.45</c:v>
                </c:pt>
                <c:pt idx="90">
                  <c:v>857.33</c:v>
                </c:pt>
                <c:pt idx="91">
                  <c:v>849.51</c:v>
                </c:pt>
                <c:pt idx="92">
                  <c:v>855.61</c:v>
                </c:pt>
                <c:pt idx="93">
                  <c:v>855.95</c:v>
                </c:pt>
                <c:pt idx="94">
                  <c:v>837.53</c:v>
                </c:pt>
                <c:pt idx="95">
                  <c:v>818.38</c:v>
                </c:pt>
                <c:pt idx="96">
                  <c:v>818.03</c:v>
                </c:pt>
                <c:pt idx="97">
                  <c:v>839</c:v>
                </c:pt>
                <c:pt idx="98">
                  <c:v>837.28</c:v>
                </c:pt>
                <c:pt idx="99">
                  <c:v>905.77</c:v>
                </c:pt>
                <c:pt idx="100">
                  <c:v>912.6</c:v>
                </c:pt>
                <c:pt idx="101">
                  <c:v>894.56</c:v>
                </c:pt>
                <c:pt idx="102">
                  <c:v>892.96</c:v>
                </c:pt>
                <c:pt idx="103">
                  <c:v>883.54</c:v>
                </c:pt>
                <c:pt idx="104">
                  <c:v>866.83</c:v>
                </c:pt>
                <c:pt idx="105">
                  <c:v>879.24</c:v>
                </c:pt>
                <c:pt idx="106">
                  <c:v>880.35</c:v>
                </c:pt>
                <c:pt idx="107">
                  <c:v>906.26</c:v>
                </c:pt>
                <c:pt idx="108">
                  <c:v>896.17</c:v>
                </c:pt>
                <c:pt idx="109">
                  <c:v>900.65</c:v>
                </c:pt>
                <c:pt idx="110">
                  <c:v>893.57</c:v>
                </c:pt>
                <c:pt idx="111">
                  <c:v>898.3</c:v>
                </c:pt>
                <c:pt idx="112">
                  <c:v>916.04</c:v>
                </c:pt>
                <c:pt idx="113">
                  <c:v>903.72</c:v>
                </c:pt>
                <c:pt idx="114">
                  <c:v>898.9</c:v>
                </c:pt>
                <c:pt idx="115">
                  <c:v>878.69</c:v>
                </c:pt>
                <c:pt idx="116">
                  <c:v>859.49</c:v>
                </c:pt>
                <c:pt idx="117">
                  <c:v>855.93</c:v>
                </c:pt>
                <c:pt idx="118">
                  <c:v>849.68</c:v>
                </c:pt>
                <c:pt idx="119">
                  <c:v>842.56</c:v>
                </c:pt>
                <c:pt idx="120">
                  <c:v>844.73</c:v>
                </c:pt>
                <c:pt idx="121">
                  <c:v>829.49</c:v>
                </c:pt>
                <c:pt idx="122">
                  <c:v>824.1</c:v>
                </c:pt>
                <c:pt idx="123">
                  <c:v>851.82</c:v>
                </c:pt>
                <c:pt idx="124">
                  <c:v>846.23</c:v>
                </c:pt>
                <c:pt idx="125">
                  <c:v>849.59</c:v>
                </c:pt>
                <c:pt idx="126">
                  <c:v>841</c:v>
                </c:pt>
                <c:pt idx="127">
                  <c:v>833</c:v>
                </c:pt>
                <c:pt idx="128">
                  <c:v>835.61</c:v>
                </c:pt>
                <c:pt idx="129">
                  <c:v>842.64</c:v>
                </c:pt>
                <c:pt idx="130">
                  <c:v>843.99</c:v>
                </c:pt>
                <c:pt idx="131">
                  <c:v>859.69</c:v>
                </c:pt>
                <c:pt idx="132">
                  <c:v>856.86</c:v>
                </c:pt>
                <c:pt idx="133">
                  <c:v>876.48</c:v>
                </c:pt>
                <c:pt idx="134">
                  <c:v>894.01</c:v>
                </c:pt>
                <c:pt idx="135">
                  <c:v>890.89</c:v>
                </c:pt>
                <c:pt idx="136">
                  <c:v>888.16</c:v>
                </c:pt>
                <c:pt idx="137">
                  <c:v>891.61</c:v>
                </c:pt>
                <c:pt idx="138">
                  <c:v>903.6</c:v>
                </c:pt>
                <c:pt idx="139">
                  <c:v>909.57</c:v>
                </c:pt>
                <c:pt idx="140">
                  <c:v>904.15</c:v>
                </c:pt>
                <c:pt idx="141">
                  <c:v>923.8</c:v>
                </c:pt>
                <c:pt idx="142">
                  <c:v>927.47</c:v>
                </c:pt>
                <c:pt idx="143">
                  <c:v>933.09</c:v>
                </c:pt>
                <c:pt idx="144">
                  <c:v>940.37</c:v>
                </c:pt>
                <c:pt idx="145">
                  <c:v>953.99</c:v>
                </c:pt>
                <c:pt idx="146">
                  <c:v>938.32</c:v>
                </c:pt>
                <c:pt idx="147">
                  <c:v>954.5</c:v>
                </c:pt>
                <c:pt idx="148">
                  <c:v>945.06</c:v>
                </c:pt>
                <c:pt idx="149">
                  <c:v>953.01</c:v>
                </c:pt>
                <c:pt idx="150">
                  <c:v>920.67</c:v>
                </c:pt>
                <c:pt idx="151">
                  <c:v>923.04</c:v>
                </c:pt>
                <c:pt idx="152">
                  <c:v>931.67</c:v>
                </c:pt>
                <c:pt idx="153">
                  <c:v>923.41</c:v>
                </c:pt>
                <c:pt idx="154">
                  <c:v>930.65</c:v>
                </c:pt>
                <c:pt idx="155">
                  <c:v>930.12</c:v>
                </c:pt>
                <c:pt idx="156">
                  <c:v>928.26</c:v>
                </c:pt>
                <c:pt idx="157">
                  <c:v>917.37</c:v>
                </c:pt>
                <c:pt idx="158">
                  <c:v>914.88</c:v>
                </c:pt>
                <c:pt idx="159">
                  <c:v>927.92</c:v>
                </c:pt>
                <c:pt idx="160">
                  <c:v>944.56</c:v>
                </c:pt>
                <c:pt idx="161">
                  <c:v>947.87</c:v>
                </c:pt>
                <c:pt idx="162">
                  <c:v>952.72</c:v>
                </c:pt>
                <c:pt idx="163">
                  <c:v>936.61</c:v>
                </c:pt>
                <c:pt idx="164">
                  <c:v>952.76</c:v>
                </c:pt>
                <c:pt idx="165">
                  <c:v>955.28</c:v>
                </c:pt>
                <c:pt idx="166">
                  <c:v>949.07</c:v>
                </c:pt>
                <c:pt idx="167">
                  <c:v>949.51</c:v>
                </c:pt>
                <c:pt idx="168">
                  <c:v>963.77</c:v>
                </c:pt>
                <c:pt idx="169">
                  <c:v>970.19</c:v>
                </c:pt>
                <c:pt idx="170">
                  <c:v>969.6</c:v>
                </c:pt>
                <c:pt idx="171">
                  <c:v>967.5</c:v>
                </c:pt>
                <c:pt idx="172">
                  <c:v>971.14</c:v>
                </c:pt>
                <c:pt idx="173">
                  <c:v>961.92</c:v>
                </c:pt>
                <c:pt idx="174">
                  <c:v>944.41</c:v>
                </c:pt>
                <c:pt idx="175">
                  <c:v>923.27</c:v>
                </c:pt>
                <c:pt idx="176">
                  <c:v>916.15</c:v>
                </c:pt>
                <c:pt idx="177">
                  <c:v>918.49</c:v>
                </c:pt>
                <c:pt idx="178">
                  <c:v>904.21</c:v>
                </c:pt>
                <c:pt idx="179">
                  <c:v>903.72</c:v>
                </c:pt>
                <c:pt idx="180">
                  <c:v>915.98</c:v>
                </c:pt>
                <c:pt idx="181">
                  <c:v>917.39</c:v>
                </c:pt>
                <c:pt idx="182">
                  <c:v>907.32</c:v>
                </c:pt>
                <c:pt idx="183">
                  <c:v>919.72</c:v>
                </c:pt>
                <c:pt idx="184">
                  <c:v>923.49</c:v>
                </c:pt>
                <c:pt idx="185">
                  <c:v>916.5</c:v>
                </c:pt>
                <c:pt idx="186">
                  <c:v>904.83</c:v>
                </c:pt>
                <c:pt idx="187">
                  <c:v>897.62</c:v>
                </c:pt>
                <c:pt idx="188">
                  <c:v>902.37</c:v>
                </c:pt>
                <c:pt idx="189">
                  <c:v>898.74</c:v>
                </c:pt>
                <c:pt idx="190">
                  <c:v>899.92</c:v>
                </c:pt>
                <c:pt idx="191">
                  <c:v>904.41</c:v>
                </c:pt>
                <c:pt idx="192">
                  <c:v>906.65</c:v>
                </c:pt>
                <c:pt idx="193">
                  <c:v>894.27</c:v>
                </c:pt>
                <c:pt idx="194">
                  <c:v>875.82</c:v>
                </c:pt>
                <c:pt idx="195">
                  <c:v>875.85</c:v>
                </c:pt>
                <c:pt idx="196">
                  <c:v>867.73</c:v>
                </c:pt>
                <c:pt idx="197">
                  <c:v>876.28</c:v>
                </c:pt>
                <c:pt idx="198">
                  <c:v>872.87</c:v>
                </c:pt>
                <c:pt idx="199">
                  <c:v>882.48</c:v>
                </c:pt>
                <c:pt idx="200">
                  <c:v>874.58</c:v>
                </c:pt>
                <c:pt idx="201">
                  <c:v>878.36</c:v>
                </c:pt>
                <c:pt idx="202">
                  <c:v>877.28</c:v>
                </c:pt>
                <c:pt idx="203">
                  <c:v>881.52</c:v>
                </c:pt>
                <c:pt idx="204">
                  <c:v>879.25</c:v>
                </c:pt>
                <c:pt idx="205">
                  <c:v>862.97</c:v>
                </c:pt>
                <c:pt idx="206">
                  <c:v>864.79</c:v>
                </c:pt>
                <c:pt idx="207">
                  <c:v>862.15</c:v>
                </c:pt>
                <c:pt idx="208">
                  <c:v>856.64</c:v>
                </c:pt>
                <c:pt idx="209">
                  <c:v>863.12</c:v>
                </c:pt>
                <c:pt idx="210">
                  <c:v>862.66</c:v>
                </c:pt>
                <c:pt idx="211">
                  <c:v>882.24</c:v>
                </c:pt>
                <c:pt idx="212">
                  <c:v>883.87</c:v>
                </c:pt>
                <c:pt idx="213">
                  <c:v>869.62</c:v>
                </c:pt>
                <c:pt idx="214">
                  <c:v>876.23</c:v>
                </c:pt>
                <c:pt idx="215">
                  <c:v>881.49</c:v>
                </c:pt>
                <c:pt idx="216">
                  <c:v>884.11</c:v>
                </c:pt>
                <c:pt idx="217">
                  <c:v>880.17</c:v>
                </c:pt>
                <c:pt idx="218">
                  <c:v>871.31</c:v>
                </c:pt>
                <c:pt idx="219">
                  <c:v>873.83</c:v>
                </c:pt>
                <c:pt idx="220">
                  <c:v>873.07</c:v>
                </c:pt>
                <c:pt idx="221">
                  <c:v>869.94</c:v>
                </c:pt>
                <c:pt idx="222">
                  <c:v>859.61</c:v>
                </c:pt>
                <c:pt idx="223">
                  <c:v>866.08</c:v>
                </c:pt>
                <c:pt idx="224">
                  <c:v>873.84</c:v>
                </c:pt>
                <c:pt idx="225">
                  <c:v>874.06</c:v>
                </c:pt>
                <c:pt idx="226">
                  <c:v>887.36</c:v>
                </c:pt>
                <c:pt idx="227">
                  <c:v>888.52</c:v>
                </c:pt>
                <c:pt idx="228">
                  <c:v>889.1</c:v>
                </c:pt>
                <c:pt idx="229">
                  <c:v>898.15</c:v>
                </c:pt>
                <c:pt idx="230">
                  <c:v>896.43</c:v>
                </c:pt>
                <c:pt idx="231">
                  <c:v>902.56</c:v>
                </c:pt>
                <c:pt idx="232">
                  <c:v>902.91</c:v>
                </c:pt>
                <c:pt idx="233">
                  <c:v>907.32</c:v>
                </c:pt>
                <c:pt idx="234">
                  <c:v>903.14</c:v>
                </c:pt>
                <c:pt idx="235">
                  <c:v>908.75</c:v>
                </c:pt>
                <c:pt idx="236">
                  <c:v>915.89</c:v>
                </c:pt>
                <c:pt idx="237">
                  <c:v>922.38</c:v>
                </c:pt>
                <c:pt idx="238">
                  <c:v>919.36</c:v>
                </c:pt>
                <c:pt idx="239">
                  <c:v>920.92</c:v>
                </c:pt>
                <c:pt idx="240">
                  <c:v>932.03</c:v>
                </c:pt>
                <c:pt idx="241">
                  <c:v>923.45</c:v>
                </c:pt>
                <c:pt idx="242">
                  <c:v>941.43</c:v>
                </c:pt>
                <c:pt idx="243">
                  <c:v>959.13</c:v>
                </c:pt>
                <c:pt idx="244">
                  <c:v>970.03</c:v>
                </c:pt>
                <c:pt idx="245">
                  <c:v>975.25</c:v>
                </c:pt>
                <c:pt idx="246">
                  <c:v>978.15</c:v>
                </c:pt>
                <c:pt idx="247">
                  <c:v>973.48</c:v>
                </c:pt>
                <c:pt idx="248">
                  <c:v>983.72</c:v>
                </c:pt>
                <c:pt idx="249">
                  <c:v>978.81</c:v>
                </c:pt>
                <c:pt idx="250">
                  <c:v>961.44</c:v>
                </c:pt>
                <c:pt idx="251">
                  <c:v>964.29</c:v>
                </c:pt>
                <c:pt idx="252">
                  <c:v>983.62</c:v>
                </c:pt>
                <c:pt idx="253">
                  <c:v>991.22</c:v>
                </c:pt>
                <c:pt idx="254">
                  <c:v>993.34</c:v>
                </c:pt>
                <c:pt idx="255">
                  <c:v>996.16</c:v>
                </c:pt>
                <c:pt idx="256">
                  <c:v>999.09</c:v>
                </c:pt>
                <c:pt idx="257">
                  <c:v>1009.6</c:v>
                </c:pt>
                <c:pt idx="258">
                  <c:v>1033.23</c:v>
                </c:pt>
                <c:pt idx="259">
                  <c:v>1029.94</c:v>
                </c:pt>
                <c:pt idx="260">
                  <c:v>1033.07</c:v>
                </c:pt>
                <c:pt idx="261">
                  <c:v>1019.6</c:v>
                </c:pt>
                <c:pt idx="262">
                  <c:v>1032.3399999999999</c:v>
                </c:pt>
                <c:pt idx="263">
                  <c:v>1031.6099999999999</c:v>
                </c:pt>
                <c:pt idx="264">
                  <c:v>1038.53</c:v>
                </c:pt>
                <c:pt idx="265">
                  <c:v>1041.6600000000001</c:v>
                </c:pt>
                <c:pt idx="266">
                  <c:v>1020.12</c:v>
                </c:pt>
                <c:pt idx="267">
                  <c:v>1020.37</c:v>
                </c:pt>
                <c:pt idx="268">
                  <c:v>1021.64</c:v>
                </c:pt>
                <c:pt idx="269">
                  <c:v>1038.82</c:v>
                </c:pt>
                <c:pt idx="270">
                  <c:v>1037.8900000000001</c:v>
                </c:pt>
                <c:pt idx="271">
                  <c:v>1041.3699999999999</c:v>
                </c:pt>
                <c:pt idx="272">
                  <c:v>1049.44</c:v>
                </c:pt>
                <c:pt idx="273">
                  <c:v>1047.8499999999999</c:v>
                </c:pt>
                <c:pt idx="274">
                  <c:v>1053.01</c:v>
                </c:pt>
                <c:pt idx="275">
                  <c:v>1056.6199999999999</c:v>
                </c:pt>
                <c:pt idx="276">
                  <c:v>1038.67</c:v>
                </c:pt>
                <c:pt idx="277">
                  <c:v>1041.68</c:v>
                </c:pt>
                <c:pt idx="278">
                  <c:v>1038.8699999999999</c:v>
                </c:pt>
                <c:pt idx="279">
                  <c:v>1014.97</c:v>
                </c:pt>
                <c:pt idx="280">
                  <c:v>1009.27</c:v>
                </c:pt>
                <c:pt idx="281">
                  <c:v>1004.34</c:v>
                </c:pt>
                <c:pt idx="282">
                  <c:v>1008.9</c:v>
                </c:pt>
                <c:pt idx="283">
                  <c:v>1019.86</c:v>
                </c:pt>
                <c:pt idx="284">
                  <c:v>1018.27</c:v>
                </c:pt>
                <c:pt idx="285">
                  <c:v>1028.96</c:v>
                </c:pt>
                <c:pt idx="286">
                  <c:v>1027.6199999999999</c:v>
                </c:pt>
                <c:pt idx="287">
                  <c:v>1024.02</c:v>
                </c:pt>
                <c:pt idx="288">
                  <c:v>1037.6600000000001</c:v>
                </c:pt>
                <c:pt idx="289">
                  <c:v>1040.76</c:v>
                </c:pt>
                <c:pt idx="290">
                  <c:v>1047.67</c:v>
                </c:pt>
                <c:pt idx="291">
                  <c:v>1048.54</c:v>
                </c:pt>
                <c:pt idx="292">
                  <c:v>1042.5999999999999</c:v>
                </c:pt>
                <c:pt idx="293">
                  <c:v>1050.71</c:v>
                </c:pt>
                <c:pt idx="294">
                  <c:v>1055.98</c:v>
                </c:pt>
                <c:pt idx="295">
                  <c:v>1065.29</c:v>
                </c:pt>
                <c:pt idx="296">
                  <c:v>1055.6300000000001</c:v>
                </c:pt>
                <c:pt idx="297">
                  <c:v>1061.0899999999999</c:v>
                </c:pt>
                <c:pt idx="298">
                  <c:v>1079.32</c:v>
                </c:pt>
                <c:pt idx="299">
                  <c:v>1089.3699999999999</c:v>
                </c:pt>
                <c:pt idx="300">
                  <c:v>1099.97</c:v>
                </c:pt>
                <c:pt idx="301">
                  <c:v>1103.24</c:v>
                </c:pt>
                <c:pt idx="302">
                  <c:v>1103.1500000000001</c:v>
                </c:pt>
                <c:pt idx="303">
                  <c:v>1117.9100000000001</c:v>
                </c:pt>
                <c:pt idx="304">
                  <c:v>1123.31</c:v>
                </c:pt>
                <c:pt idx="305">
                  <c:v>1117.07</c:v>
                </c:pt>
                <c:pt idx="306">
                  <c:v>1093.93</c:v>
                </c:pt>
                <c:pt idx="307">
                  <c:v>1118.6099999999999</c:v>
                </c:pt>
                <c:pt idx="308">
                  <c:v>1124.4100000000001</c:v>
                </c:pt>
                <c:pt idx="309">
                  <c:v>1131.28</c:v>
                </c:pt>
                <c:pt idx="310">
                  <c:v>1138.24</c:v>
                </c:pt>
                <c:pt idx="311">
                  <c:v>1134.3800000000001</c:v>
                </c:pt>
                <c:pt idx="312">
                  <c:v>1149.1600000000001</c:v>
                </c:pt>
                <c:pt idx="313">
                  <c:v>1142.7</c:v>
                </c:pt>
                <c:pt idx="314">
                  <c:v>1141.93</c:v>
                </c:pt>
                <c:pt idx="315">
                  <c:v>1155.73</c:v>
                </c:pt>
                <c:pt idx="316">
                  <c:v>1155.27</c:v>
                </c:pt>
                <c:pt idx="317">
                  <c:v>1172.3499999999999</c:v>
                </c:pt>
                <c:pt idx="318">
                  <c:v>1218.45</c:v>
                </c:pt>
                <c:pt idx="319">
                  <c:v>1251.6099999999999</c:v>
                </c:pt>
                <c:pt idx="320">
                  <c:v>1265.93</c:v>
                </c:pt>
                <c:pt idx="321">
                  <c:v>1255.04</c:v>
                </c:pt>
                <c:pt idx="322">
                  <c:v>1296.26</c:v>
                </c:pt>
                <c:pt idx="323">
                  <c:v>1352.16</c:v>
                </c:pt>
                <c:pt idx="324">
                  <c:v>1331.13</c:v>
                </c:pt>
                <c:pt idx="325">
                  <c:v>1335.52</c:v>
                </c:pt>
                <c:pt idx="326">
                  <c:v>1331.2</c:v>
                </c:pt>
                <c:pt idx="327">
                  <c:v>1366.1</c:v>
                </c:pt>
                <c:pt idx="328">
                  <c:v>1373.67</c:v>
                </c:pt>
                <c:pt idx="329">
                  <c:v>1317.65</c:v>
                </c:pt>
                <c:pt idx="330">
                  <c:v>1308.24</c:v>
                </c:pt>
                <c:pt idx="331">
                  <c:v>1307.7</c:v>
                </c:pt>
                <c:pt idx="332">
                  <c:v>1331.02</c:v>
                </c:pt>
                <c:pt idx="333">
                  <c:v>1366.29</c:v>
                </c:pt>
                <c:pt idx="334">
                  <c:v>1378.76</c:v>
                </c:pt>
                <c:pt idx="335">
                  <c:v>1365.45</c:v>
                </c:pt>
                <c:pt idx="336">
                  <c:v>1402.88</c:v>
                </c:pt>
                <c:pt idx="337">
                  <c:v>1390.12</c:v>
                </c:pt>
                <c:pt idx="338">
                  <c:v>1403.16</c:v>
                </c:pt>
                <c:pt idx="339">
                  <c:v>1399.14</c:v>
                </c:pt>
                <c:pt idx="340">
                  <c:v>1320.23</c:v>
                </c:pt>
                <c:pt idx="341">
                  <c:v>1325.98</c:v>
                </c:pt>
                <c:pt idx="342">
                  <c:v>1294.19</c:v>
                </c:pt>
                <c:pt idx="343">
                  <c:v>1297.67</c:v>
                </c:pt>
                <c:pt idx="344">
                  <c:v>1298.28</c:v>
                </c:pt>
                <c:pt idx="345">
                  <c:v>1283.8800000000001</c:v>
                </c:pt>
                <c:pt idx="346">
                  <c:v>1285.3900000000001</c:v>
                </c:pt>
                <c:pt idx="347">
                  <c:v>1318.01</c:v>
                </c:pt>
                <c:pt idx="348">
                  <c:v>1334.89</c:v>
                </c:pt>
                <c:pt idx="349">
                  <c:v>1338.22</c:v>
                </c:pt>
                <c:pt idx="350">
                  <c:v>1333.53</c:v>
                </c:pt>
                <c:pt idx="351">
                  <c:v>1331.55</c:v>
                </c:pt>
                <c:pt idx="352">
                  <c:v>1339.45</c:v>
                </c:pt>
                <c:pt idx="353">
                  <c:v>1363.41</c:v>
                </c:pt>
                <c:pt idx="354">
                  <c:v>1363.9</c:v>
                </c:pt>
                <c:pt idx="355">
                  <c:v>1362.89</c:v>
                </c:pt>
                <c:pt idx="356">
                  <c:v>1395.12</c:v>
                </c:pt>
                <c:pt idx="357">
                  <c:v>1393.96</c:v>
                </c:pt>
                <c:pt idx="358">
                  <c:v>1420.33</c:v>
                </c:pt>
                <c:pt idx="359">
                  <c:v>1411.01</c:v>
                </c:pt>
                <c:pt idx="360">
                  <c:v>1393.01</c:v>
                </c:pt>
                <c:pt idx="361">
                  <c:v>1418.68</c:v>
                </c:pt>
                <c:pt idx="362">
                  <c:v>1410.43</c:v>
                </c:pt>
                <c:pt idx="363">
                  <c:v>1412.12</c:v>
                </c:pt>
                <c:pt idx="364">
                  <c:v>1418.58</c:v>
                </c:pt>
                <c:pt idx="365">
                  <c:v>1419.2</c:v>
                </c:pt>
                <c:pt idx="366">
                  <c:v>1346.09</c:v>
                </c:pt>
                <c:pt idx="367">
                  <c:v>1357.13</c:v>
                </c:pt>
                <c:pt idx="368">
                  <c:v>1372.25</c:v>
                </c:pt>
                <c:pt idx="369">
                  <c:v>1373.42</c:v>
                </c:pt>
                <c:pt idx="370">
                  <c:v>1336.64</c:v>
                </c:pt>
                <c:pt idx="371">
                  <c:v>1345.19</c:v>
                </c:pt>
                <c:pt idx="372">
                  <c:v>1356.03</c:v>
                </c:pt>
                <c:pt idx="373">
                  <c:v>1358.12</c:v>
                </c:pt>
                <c:pt idx="374">
                  <c:v>1374.17</c:v>
                </c:pt>
                <c:pt idx="375">
                  <c:v>1371.3</c:v>
                </c:pt>
                <c:pt idx="376">
                  <c:v>1355.55</c:v>
                </c:pt>
                <c:pt idx="377">
                  <c:v>1341.39</c:v>
                </c:pt>
                <c:pt idx="378">
                  <c:v>1294.33</c:v>
                </c:pt>
                <c:pt idx="379">
                  <c:v>1282.06</c:v>
                </c:pt>
                <c:pt idx="380">
                  <c:v>1275.0899999999999</c:v>
                </c:pt>
                <c:pt idx="381">
                  <c:v>1271.74</c:v>
                </c:pt>
                <c:pt idx="382">
                  <c:v>1241.9100000000001</c:v>
                </c:pt>
                <c:pt idx="383">
                  <c:v>1224.0999999999999</c:v>
                </c:pt>
                <c:pt idx="384">
                  <c:v>1252.3900000000001</c:v>
                </c:pt>
                <c:pt idx="385">
                  <c:v>1251.3</c:v>
                </c:pt>
                <c:pt idx="386">
                  <c:v>1271.47</c:v>
                </c:pt>
                <c:pt idx="387">
                  <c:v>1275.6500000000001</c:v>
                </c:pt>
                <c:pt idx="388">
                  <c:v>1245.72</c:v>
                </c:pt>
                <c:pt idx="389">
                  <c:v>1265.8599999999999</c:v>
                </c:pt>
                <c:pt idx="390">
                  <c:v>1283.57</c:v>
                </c:pt>
                <c:pt idx="391">
                  <c:v>1271.6300000000001</c:v>
                </c:pt>
                <c:pt idx="392">
                  <c:v>1267.8699999999999</c:v>
                </c:pt>
                <c:pt idx="393">
                  <c:v>1270.56</c:v>
                </c:pt>
                <c:pt idx="394">
                  <c:v>1285.27</c:v>
                </c:pt>
                <c:pt idx="395">
                  <c:v>1285.68</c:v>
                </c:pt>
                <c:pt idx="396">
                  <c:v>1292.4000000000001</c:v>
                </c:pt>
                <c:pt idx="397">
                  <c:v>1295.44</c:v>
                </c:pt>
                <c:pt idx="398">
                  <c:v>1325.89</c:v>
                </c:pt>
                <c:pt idx="399">
                  <c:v>1330.16</c:v>
                </c:pt>
                <c:pt idx="400">
                  <c:v>1334.67</c:v>
                </c:pt>
                <c:pt idx="401">
                  <c:v>1338.69</c:v>
                </c:pt>
                <c:pt idx="402">
                  <c:v>1318.1</c:v>
                </c:pt>
                <c:pt idx="403">
                  <c:v>1337.24</c:v>
                </c:pt>
                <c:pt idx="404">
                  <c:v>1340.68</c:v>
                </c:pt>
                <c:pt idx="405">
                  <c:v>1346.37</c:v>
                </c:pt>
                <c:pt idx="406">
                  <c:v>1328.38</c:v>
                </c:pt>
                <c:pt idx="407">
                  <c:v>1332.15</c:v>
                </c:pt>
                <c:pt idx="408">
                  <c:v>1338.76</c:v>
                </c:pt>
                <c:pt idx="409">
                  <c:v>1347.64</c:v>
                </c:pt>
                <c:pt idx="410">
                  <c:v>1338.39</c:v>
                </c:pt>
                <c:pt idx="411">
                  <c:v>1338.28</c:v>
                </c:pt>
                <c:pt idx="412">
                  <c:v>1362.32</c:v>
                </c:pt>
                <c:pt idx="413">
                  <c:v>1375.56</c:v>
                </c:pt>
                <c:pt idx="414">
                  <c:v>1378.31</c:v>
                </c:pt>
                <c:pt idx="415">
                  <c:v>1378.46</c:v>
                </c:pt>
                <c:pt idx="416">
                  <c:v>1387.37</c:v>
                </c:pt>
                <c:pt idx="417">
                  <c:v>1374.85</c:v>
                </c:pt>
                <c:pt idx="418">
                  <c:v>1372.4</c:v>
                </c:pt>
                <c:pt idx="419">
                  <c:v>1357.65</c:v>
                </c:pt>
                <c:pt idx="420">
                  <c:v>1371.12</c:v>
                </c:pt>
                <c:pt idx="421">
                  <c:v>1387</c:v>
                </c:pt>
                <c:pt idx="422">
                  <c:v>1403.27</c:v>
                </c:pt>
                <c:pt idx="423">
                  <c:v>1436.07</c:v>
                </c:pt>
                <c:pt idx="424">
                  <c:v>1437.25</c:v>
                </c:pt>
                <c:pt idx="425">
                  <c:v>1435.91</c:v>
                </c:pt>
                <c:pt idx="426">
                  <c:v>1426.5</c:v>
                </c:pt>
                <c:pt idx="427">
                  <c:v>1430.88</c:v>
                </c:pt>
                <c:pt idx="428">
                  <c:v>1418.52</c:v>
                </c:pt>
                <c:pt idx="429">
                  <c:v>1414.45</c:v>
                </c:pt>
                <c:pt idx="430">
                  <c:v>1437.59</c:v>
                </c:pt>
                <c:pt idx="431">
                  <c:v>1439.38</c:v>
                </c:pt>
                <c:pt idx="432">
                  <c:v>1440.18</c:v>
                </c:pt>
                <c:pt idx="433">
                  <c:v>1408.72</c:v>
                </c:pt>
                <c:pt idx="434">
                  <c:v>1440.05</c:v>
                </c:pt>
                <c:pt idx="435">
                  <c:v>1446.83</c:v>
                </c:pt>
                <c:pt idx="436">
                  <c:v>1456.1</c:v>
                </c:pt>
                <c:pt idx="437">
                  <c:v>1439.05</c:v>
                </c:pt>
                <c:pt idx="438">
                  <c:v>1446.24</c:v>
                </c:pt>
                <c:pt idx="439">
                  <c:v>1464.47</c:v>
                </c:pt>
                <c:pt idx="440">
                  <c:v>1479.41</c:v>
                </c:pt>
                <c:pt idx="441">
                  <c:v>1479.66</c:v>
                </c:pt>
                <c:pt idx="442">
                  <c:v>1488.29</c:v>
                </c:pt>
                <c:pt idx="443">
                  <c:v>1507.89</c:v>
                </c:pt>
                <c:pt idx="444">
                  <c:v>1516.1</c:v>
                </c:pt>
                <c:pt idx="445">
                  <c:v>1498.17</c:v>
                </c:pt>
                <c:pt idx="446">
                  <c:v>1524.71</c:v>
                </c:pt>
                <c:pt idx="447">
                  <c:v>1504.06</c:v>
                </c:pt>
                <c:pt idx="448">
                  <c:v>1475.78</c:v>
                </c:pt>
                <c:pt idx="449">
                  <c:v>1493.78</c:v>
                </c:pt>
                <c:pt idx="450">
                  <c:v>1534.76</c:v>
                </c:pt>
                <c:pt idx="451">
                  <c:v>1533.29</c:v>
                </c:pt>
                <c:pt idx="452">
                  <c:v>1562.08</c:v>
                </c:pt>
                <c:pt idx="453">
                  <c:v>1593.16</c:v>
                </c:pt>
                <c:pt idx="454">
                  <c:v>1612.25</c:v>
                </c:pt>
                <c:pt idx="455">
                  <c:v>1624.03</c:v>
                </c:pt>
                <c:pt idx="456">
                  <c:v>1634.91</c:v>
                </c:pt>
                <c:pt idx="457">
                  <c:v>1636.58</c:v>
                </c:pt>
                <c:pt idx="458">
                  <c:v>1651.8</c:v>
                </c:pt>
                <c:pt idx="459">
                  <c:v>1644.01</c:v>
                </c:pt>
                <c:pt idx="460">
                  <c:v>1667.14</c:v>
                </c:pt>
                <c:pt idx="461">
                  <c:v>1714.36</c:v>
                </c:pt>
                <c:pt idx="462">
                  <c:v>1729.22</c:v>
                </c:pt>
                <c:pt idx="463">
                  <c:v>1780.74</c:v>
                </c:pt>
                <c:pt idx="464">
                  <c:v>1794.23</c:v>
                </c:pt>
                <c:pt idx="465">
                  <c:v>1779.41</c:v>
                </c:pt>
                <c:pt idx="466">
                  <c:v>1775.71</c:v>
                </c:pt>
                <c:pt idx="467">
                  <c:v>1711.58</c:v>
                </c:pt>
                <c:pt idx="468">
                  <c:v>1789.92</c:v>
                </c:pt>
                <c:pt idx="469">
                  <c:v>1802.79</c:v>
                </c:pt>
                <c:pt idx="470">
                  <c:v>1803.86</c:v>
                </c:pt>
                <c:pt idx="471">
                  <c:v>1836.14</c:v>
                </c:pt>
                <c:pt idx="472">
                  <c:v>1867.64</c:v>
                </c:pt>
                <c:pt idx="473">
                  <c:v>1916.11</c:v>
                </c:pt>
                <c:pt idx="474">
                  <c:v>1921.44</c:v>
                </c:pt>
                <c:pt idx="475">
                  <c:v>1936.55</c:v>
                </c:pt>
                <c:pt idx="476">
                  <c:v>1908.99</c:v>
                </c:pt>
                <c:pt idx="477">
                  <c:v>1895.64</c:v>
                </c:pt>
                <c:pt idx="478">
                  <c:v>1939.1</c:v>
                </c:pt>
                <c:pt idx="479">
                  <c:v>1938.24</c:v>
                </c:pt>
                <c:pt idx="480">
                  <c:v>1982.88</c:v>
                </c:pt>
                <c:pt idx="481">
                  <c:v>1979.93</c:v>
                </c:pt>
                <c:pt idx="482">
                  <c:v>2041.05</c:v>
                </c:pt>
                <c:pt idx="483">
                  <c:v>2067.09</c:v>
                </c:pt>
                <c:pt idx="484">
                  <c:v>2072.88</c:v>
                </c:pt>
                <c:pt idx="485">
                  <c:v>2131.56</c:v>
                </c:pt>
                <c:pt idx="486">
                  <c:v>2200.09</c:v>
                </c:pt>
                <c:pt idx="487">
                  <c:v>2255.9699999999998</c:v>
                </c:pt>
                <c:pt idx="488">
                  <c:v>2231.63</c:v>
                </c:pt>
                <c:pt idx="489">
                  <c:v>2173.75</c:v>
                </c:pt>
                <c:pt idx="490">
                  <c:v>2287.34</c:v>
                </c:pt>
                <c:pt idx="491">
                  <c:v>2353.87</c:v>
                </c:pt>
                <c:pt idx="492">
                  <c:v>2308.9299999999998</c:v>
                </c:pt>
                <c:pt idx="493">
                  <c:v>2317.09</c:v>
                </c:pt>
                <c:pt idx="494">
                  <c:v>2396.09</c:v>
                </c:pt>
                <c:pt idx="495">
                  <c:v>2491.31</c:v>
                </c:pt>
                <c:pt idx="496">
                  <c:v>2508.13</c:v>
                </c:pt>
                <c:pt idx="497">
                  <c:v>2536.4299999999998</c:v>
                </c:pt>
                <c:pt idx="498">
                  <c:v>2452.83</c:v>
                </c:pt>
                <c:pt idx="499">
                  <c:v>2512.92</c:v>
                </c:pt>
                <c:pt idx="500">
                  <c:v>2576.92</c:v>
                </c:pt>
                <c:pt idx="501">
                  <c:v>2551.88</c:v>
                </c:pt>
                <c:pt idx="502">
                  <c:v>2385.34</c:v>
                </c:pt>
                <c:pt idx="503">
                  <c:v>2395.17</c:v>
                </c:pt>
                <c:pt idx="504">
                  <c:v>2298</c:v>
                </c:pt>
                <c:pt idx="505">
                  <c:v>2271.8000000000002</c:v>
                </c:pt>
                <c:pt idx="506">
                  <c:v>2316.04</c:v>
                </c:pt>
                <c:pt idx="507">
                  <c:v>2369.79</c:v>
                </c:pt>
                <c:pt idx="508">
                  <c:v>2410.6</c:v>
                </c:pt>
                <c:pt idx="509">
                  <c:v>2397.25</c:v>
                </c:pt>
                <c:pt idx="510">
                  <c:v>2485.39</c:v>
                </c:pt>
                <c:pt idx="511">
                  <c:v>2522.63</c:v>
                </c:pt>
                <c:pt idx="512">
                  <c:v>2588.35</c:v>
                </c:pt>
                <c:pt idx="513">
                  <c:v>2668.63</c:v>
                </c:pt>
                <c:pt idx="514">
                  <c:v>2676.74</c:v>
                </c:pt>
                <c:pt idx="515">
                  <c:v>2707.68</c:v>
                </c:pt>
                <c:pt idx="516">
                  <c:v>2457.4899999999998</c:v>
                </c:pt>
                <c:pt idx="517">
                  <c:v>2544.5700000000002</c:v>
                </c:pt>
                <c:pt idx="518">
                  <c:v>2473.54</c:v>
                </c:pt>
                <c:pt idx="519">
                  <c:v>2508.73</c:v>
                </c:pt>
                <c:pt idx="520">
                  <c:v>2475.61</c:v>
                </c:pt>
                <c:pt idx="521">
                  <c:v>2520.29</c:v>
                </c:pt>
                <c:pt idx="522">
                  <c:v>2589.44</c:v>
                </c:pt>
                <c:pt idx="523">
                  <c:v>2627.63</c:v>
                </c:pt>
                <c:pt idx="524">
                  <c:v>2611.39</c:v>
                </c:pt>
                <c:pt idx="525">
                  <c:v>2616.17</c:v>
                </c:pt>
                <c:pt idx="526">
                  <c:v>2640.17</c:v>
                </c:pt>
                <c:pt idx="527">
                  <c:v>2597.36</c:v>
                </c:pt>
                <c:pt idx="528">
                  <c:v>2645.55</c:v>
                </c:pt>
                <c:pt idx="529">
                  <c:v>2604.23</c:v>
                </c:pt>
                <c:pt idx="530">
                  <c:v>2659.41</c:v>
                </c:pt>
                <c:pt idx="531">
                  <c:v>2672.77</c:v>
                </c:pt>
                <c:pt idx="532">
                  <c:v>2702.6</c:v>
                </c:pt>
                <c:pt idx="533">
                  <c:v>2711.32</c:v>
                </c:pt>
                <c:pt idx="534">
                  <c:v>2716.27</c:v>
                </c:pt>
                <c:pt idx="535">
                  <c:v>2764.03</c:v>
                </c:pt>
                <c:pt idx="536">
                  <c:v>2784.02</c:v>
                </c:pt>
                <c:pt idx="537">
                  <c:v>2797.65</c:v>
                </c:pt>
                <c:pt idx="538">
                  <c:v>2783.31</c:v>
                </c:pt>
                <c:pt idx="539">
                  <c:v>2781.78</c:v>
                </c:pt>
                <c:pt idx="540">
                  <c:v>2850.11</c:v>
                </c:pt>
                <c:pt idx="541">
                  <c:v>2888.12</c:v>
                </c:pt>
                <c:pt idx="542">
                  <c:v>2911.82</c:v>
                </c:pt>
                <c:pt idx="543">
                  <c:v>2945.05</c:v>
                </c:pt>
                <c:pt idx="544">
                  <c:v>2972.01</c:v>
                </c:pt>
                <c:pt idx="545">
                  <c:v>3038.17</c:v>
                </c:pt>
                <c:pt idx="546">
                  <c:v>3081.57</c:v>
                </c:pt>
                <c:pt idx="547">
                  <c:v>3121.32</c:v>
                </c:pt>
                <c:pt idx="548">
                  <c:v>3176.44</c:v>
                </c:pt>
                <c:pt idx="549">
                  <c:v>3169.23</c:v>
                </c:pt>
                <c:pt idx="550">
                  <c:v>3256</c:v>
                </c:pt>
                <c:pt idx="551">
                  <c:v>3283.6</c:v>
                </c:pt>
                <c:pt idx="552">
                  <c:v>3304.5</c:v>
                </c:pt>
                <c:pt idx="553">
                  <c:v>3150.3</c:v>
                </c:pt>
                <c:pt idx="554">
                  <c:v>3289.28</c:v>
                </c:pt>
                <c:pt idx="555">
                  <c:v>3431.32</c:v>
                </c:pt>
                <c:pt idx="556">
                  <c:v>3445.2</c:v>
                </c:pt>
                <c:pt idx="557">
                  <c:v>3448.28</c:v>
                </c:pt>
                <c:pt idx="558">
                  <c:v>3493.58</c:v>
                </c:pt>
                <c:pt idx="559">
                  <c:v>3470.52</c:v>
                </c:pt>
                <c:pt idx="560">
                  <c:v>3558.71</c:v>
                </c:pt>
                <c:pt idx="561">
                  <c:v>3686.03</c:v>
                </c:pt>
                <c:pt idx="562">
                  <c:v>3701.28</c:v>
                </c:pt>
                <c:pt idx="563">
                  <c:v>3724.51</c:v>
                </c:pt>
                <c:pt idx="564">
                  <c:v>3702.61</c:v>
                </c:pt>
                <c:pt idx="565">
                  <c:v>3734.42</c:v>
                </c:pt>
                <c:pt idx="566">
                  <c:v>3604.64</c:v>
                </c:pt>
                <c:pt idx="567">
                  <c:v>3700.29</c:v>
                </c:pt>
                <c:pt idx="568">
                  <c:v>3778.61</c:v>
                </c:pt>
                <c:pt idx="569">
                  <c:v>3776.63</c:v>
                </c:pt>
                <c:pt idx="570">
                  <c:v>3831.44</c:v>
                </c:pt>
                <c:pt idx="571">
                  <c:v>3870.49</c:v>
                </c:pt>
                <c:pt idx="572">
                  <c:v>3938.95</c:v>
                </c:pt>
                <c:pt idx="573">
                  <c:v>3919.75</c:v>
                </c:pt>
                <c:pt idx="574">
                  <c:v>3985.25</c:v>
                </c:pt>
                <c:pt idx="575">
                  <c:v>4072.58</c:v>
                </c:pt>
                <c:pt idx="576">
                  <c:v>4168.29</c:v>
                </c:pt>
                <c:pt idx="577">
                  <c:v>3886.46</c:v>
                </c:pt>
                <c:pt idx="578">
                  <c:v>3927.95</c:v>
                </c:pt>
                <c:pt idx="579">
                  <c:v>3803.95</c:v>
                </c:pt>
                <c:pt idx="580">
                  <c:v>3511.43</c:v>
                </c:pt>
                <c:pt idx="581">
                  <c:v>3634.63</c:v>
                </c:pt>
                <c:pt idx="582">
                  <c:v>3677.58</c:v>
                </c:pt>
                <c:pt idx="583">
                  <c:v>3802.3</c:v>
                </c:pt>
                <c:pt idx="584">
                  <c:v>3837.87</c:v>
                </c:pt>
                <c:pt idx="585">
                  <c:v>3931.86</c:v>
                </c:pt>
                <c:pt idx="586">
                  <c:v>4036.11</c:v>
                </c:pt>
                <c:pt idx="587">
                  <c:v>4118.2700000000004</c:v>
                </c:pt>
                <c:pt idx="588">
                  <c:v>4075.82</c:v>
                </c:pt>
                <c:pt idx="589">
                  <c:v>4099.38</c:v>
                </c:pt>
                <c:pt idx="590">
                  <c:v>4227.57</c:v>
                </c:pt>
                <c:pt idx="591">
                  <c:v>4253</c:v>
                </c:pt>
                <c:pt idx="592">
                  <c:v>4157.6000000000004</c:v>
                </c:pt>
                <c:pt idx="593">
                  <c:v>4197.28</c:v>
                </c:pt>
                <c:pt idx="594">
                  <c:v>4051.43</c:v>
                </c:pt>
                <c:pt idx="595">
                  <c:v>3877.59</c:v>
                </c:pt>
                <c:pt idx="596">
                  <c:v>3928.21</c:v>
                </c:pt>
                <c:pt idx="597">
                  <c:v>4040.48</c:v>
                </c:pt>
                <c:pt idx="598">
                  <c:v>3858.52</c:v>
                </c:pt>
                <c:pt idx="599">
                  <c:v>3764.08</c:v>
                </c:pt>
                <c:pt idx="600">
                  <c:v>3757.66</c:v>
                </c:pt>
                <c:pt idx="601">
                  <c:v>3832.23</c:v>
                </c:pt>
                <c:pt idx="602">
                  <c:v>3743.58</c:v>
                </c:pt>
                <c:pt idx="603">
                  <c:v>3537.44</c:v>
                </c:pt>
                <c:pt idx="604">
                  <c:v>3710.28</c:v>
                </c:pt>
                <c:pt idx="605">
                  <c:v>3821.3</c:v>
                </c:pt>
                <c:pt idx="606">
                  <c:v>3775.62</c:v>
                </c:pt>
                <c:pt idx="607">
                  <c:v>3789.87</c:v>
                </c:pt>
                <c:pt idx="608">
                  <c:v>3816.92</c:v>
                </c:pt>
                <c:pt idx="609">
                  <c:v>3820.12</c:v>
                </c:pt>
                <c:pt idx="610">
                  <c:v>3697.97</c:v>
                </c:pt>
                <c:pt idx="611">
                  <c:v>3789.65</c:v>
                </c:pt>
                <c:pt idx="612">
                  <c:v>3807.57</c:v>
                </c:pt>
                <c:pt idx="613">
                  <c:v>3807</c:v>
                </c:pt>
                <c:pt idx="614">
                  <c:v>3971.88</c:v>
                </c:pt>
                <c:pt idx="615">
                  <c:v>4156.72</c:v>
                </c:pt>
                <c:pt idx="616">
                  <c:v>4161.3500000000004</c:v>
                </c:pt>
                <c:pt idx="617">
                  <c:v>4255.46</c:v>
                </c:pt>
                <c:pt idx="618">
                  <c:v>4303.1899999999996</c:v>
                </c:pt>
                <c:pt idx="619">
                  <c:v>4307.1400000000003</c:v>
                </c:pt>
                <c:pt idx="620">
                  <c:v>4410.3</c:v>
                </c:pt>
                <c:pt idx="621">
                  <c:v>4460.5600000000004</c:v>
                </c:pt>
                <c:pt idx="622">
                  <c:v>4290.4799999999996</c:v>
                </c:pt>
                <c:pt idx="623">
                  <c:v>4436.1899999999996</c:v>
                </c:pt>
                <c:pt idx="624">
                  <c:v>4598.38</c:v>
                </c:pt>
                <c:pt idx="625">
                  <c:v>4703.9799999999996</c:v>
                </c:pt>
                <c:pt idx="626">
                  <c:v>4724.55</c:v>
                </c:pt>
                <c:pt idx="627">
                  <c:v>4668.09</c:v>
                </c:pt>
                <c:pt idx="628">
                  <c:v>4777.29</c:v>
                </c:pt>
                <c:pt idx="629">
                  <c:v>4726.68</c:v>
                </c:pt>
                <c:pt idx="630">
                  <c:v>4721.1899999999996</c:v>
                </c:pt>
                <c:pt idx="631">
                  <c:v>4795.57</c:v>
                </c:pt>
                <c:pt idx="632">
                  <c:v>4798.75</c:v>
                </c:pt>
                <c:pt idx="633">
                  <c:v>4721.9399999999996</c:v>
                </c:pt>
                <c:pt idx="634">
                  <c:v>4626.58</c:v>
                </c:pt>
                <c:pt idx="635">
                  <c:v>4885.43</c:v>
                </c:pt>
                <c:pt idx="636">
                  <c:v>4972.71</c:v>
                </c:pt>
                <c:pt idx="637">
                  <c:v>5051.6899999999996</c:v>
                </c:pt>
                <c:pt idx="638">
                  <c:v>5135.93</c:v>
                </c:pt>
                <c:pt idx="639">
                  <c:v>5217.58</c:v>
                </c:pt>
                <c:pt idx="640">
                  <c:v>5243.15</c:v>
                </c:pt>
                <c:pt idx="641">
                  <c:v>5251.77</c:v>
                </c:pt>
                <c:pt idx="642">
                  <c:v>5171.82</c:v>
                </c:pt>
                <c:pt idx="643">
                  <c:v>5241.2299999999996</c:v>
                </c:pt>
                <c:pt idx="644">
                  <c:v>5296.81</c:v>
                </c:pt>
                <c:pt idx="645">
                  <c:v>5419.17</c:v>
                </c:pt>
                <c:pt idx="646">
                  <c:v>5360.33</c:v>
                </c:pt>
                <c:pt idx="647">
                  <c:v>5363.25</c:v>
                </c:pt>
                <c:pt idx="648">
                  <c:v>5412.04</c:v>
                </c:pt>
                <c:pt idx="649">
                  <c:v>5294.8</c:v>
                </c:pt>
                <c:pt idx="650">
                  <c:v>5377.22</c:v>
                </c:pt>
                <c:pt idx="651">
                  <c:v>5124.09</c:v>
                </c:pt>
                <c:pt idx="652">
                  <c:v>5202.8599999999997</c:v>
                </c:pt>
                <c:pt idx="653">
                  <c:v>5349.97</c:v>
                </c:pt>
                <c:pt idx="654">
                  <c:v>5397.28</c:v>
                </c:pt>
                <c:pt idx="655">
                  <c:v>5498.91</c:v>
                </c:pt>
                <c:pt idx="656">
                  <c:v>5476.84</c:v>
                </c:pt>
                <c:pt idx="657">
                  <c:v>5419.27</c:v>
                </c:pt>
                <c:pt idx="658">
                  <c:v>5494.92</c:v>
                </c:pt>
                <c:pt idx="659">
                  <c:v>5468.1</c:v>
                </c:pt>
                <c:pt idx="660">
                  <c:v>5513.9</c:v>
                </c:pt>
                <c:pt idx="661">
                  <c:v>5454.62</c:v>
                </c:pt>
                <c:pt idx="662">
                  <c:v>5361.02</c:v>
                </c:pt>
                <c:pt idx="663">
                  <c:v>5427.66</c:v>
                </c:pt>
                <c:pt idx="664">
                  <c:v>5580.81</c:v>
                </c:pt>
                <c:pt idx="665">
                  <c:v>5653.14</c:v>
                </c:pt>
                <c:pt idx="666">
                  <c:v>5675.93</c:v>
                </c:pt>
                <c:pt idx="667">
                  <c:v>5685.76</c:v>
                </c:pt>
                <c:pt idx="668">
                  <c:v>5760.08</c:v>
                </c:pt>
                <c:pt idx="669">
                  <c:v>5737.22</c:v>
                </c:pt>
                <c:pt idx="670">
                  <c:v>5821.45</c:v>
                </c:pt>
                <c:pt idx="671">
                  <c:v>5877.2</c:v>
                </c:pt>
                <c:pt idx="672">
                  <c:v>5824.12</c:v>
                </c:pt>
                <c:pt idx="673">
                  <c:v>5615.75</c:v>
                </c:pt>
                <c:pt idx="674">
                  <c:v>5614.06</c:v>
                </c:pt>
                <c:pt idx="675">
                  <c:v>5472.68</c:v>
                </c:pt>
                <c:pt idx="676">
                  <c:v>5540.09</c:v>
                </c:pt>
                <c:pt idx="677">
                  <c:v>5588.01</c:v>
                </c:pt>
                <c:pt idx="678">
                  <c:v>5333.79</c:v>
                </c:pt>
                <c:pt idx="679">
                  <c:v>5394.81</c:v>
                </c:pt>
                <c:pt idx="680">
                  <c:v>5508.36</c:v>
                </c:pt>
                <c:pt idx="681">
                  <c:v>5596.07</c:v>
                </c:pt>
                <c:pt idx="682">
                  <c:v>5688.54</c:v>
                </c:pt>
                <c:pt idx="683">
                  <c:v>5605.23</c:v>
                </c:pt>
                <c:pt idx="684">
                  <c:v>5472.93</c:v>
                </c:pt>
                <c:pt idx="685">
                  <c:v>5360.31</c:v>
                </c:pt>
                <c:pt idx="686">
                  <c:v>5317.55</c:v>
                </c:pt>
                <c:pt idx="687">
                  <c:v>5350.63</c:v>
                </c:pt>
                <c:pt idx="688">
                  <c:v>5093.67</c:v>
                </c:pt>
                <c:pt idx="689">
                  <c:v>5040.5200000000004</c:v>
                </c:pt>
                <c:pt idx="690">
                  <c:v>4978.25</c:v>
                </c:pt>
                <c:pt idx="691">
                  <c:v>4939.24</c:v>
                </c:pt>
                <c:pt idx="692">
                  <c:v>5145.8900000000003</c:v>
                </c:pt>
                <c:pt idx="693">
                  <c:v>5081.1099999999997</c:v>
                </c:pt>
                <c:pt idx="694">
                  <c:v>5007.66</c:v>
                </c:pt>
                <c:pt idx="695">
                  <c:v>4994.42</c:v>
                </c:pt>
                <c:pt idx="696">
                  <c:v>5069.38</c:v>
                </c:pt>
                <c:pt idx="697">
                  <c:v>4997.62</c:v>
                </c:pt>
                <c:pt idx="698">
                  <c:v>4772.62</c:v>
                </c:pt>
                <c:pt idx="699">
                  <c:v>4856.16</c:v>
                </c:pt>
                <c:pt idx="700">
                  <c:v>4800.08</c:v>
                </c:pt>
                <c:pt idx="701">
                  <c:v>4711.1499999999996</c:v>
                </c:pt>
                <c:pt idx="702">
                  <c:v>4648.75</c:v>
                </c:pt>
                <c:pt idx="703">
                  <c:v>4842.07</c:v>
                </c:pt>
                <c:pt idx="704">
                  <c:v>4737.41</c:v>
                </c:pt>
                <c:pt idx="705">
                  <c:v>4772.67</c:v>
                </c:pt>
                <c:pt idx="706">
                  <c:v>4829.21</c:v>
                </c:pt>
                <c:pt idx="707">
                  <c:v>4965.95</c:v>
                </c:pt>
                <c:pt idx="708">
                  <c:v>4971.0600000000004</c:v>
                </c:pt>
                <c:pt idx="709">
                  <c:v>5041.3500000000004</c:v>
                </c:pt>
                <c:pt idx="710">
                  <c:v>5133.5600000000004</c:v>
                </c:pt>
                <c:pt idx="711">
                  <c:v>5140</c:v>
                </c:pt>
                <c:pt idx="712">
                  <c:v>5077.3900000000003</c:v>
                </c:pt>
                <c:pt idx="713">
                  <c:v>4884.3</c:v>
                </c:pt>
                <c:pt idx="714">
                  <c:v>4977.6499999999996</c:v>
                </c:pt>
                <c:pt idx="715">
                  <c:v>4857.29</c:v>
                </c:pt>
                <c:pt idx="716">
                  <c:v>4829.91</c:v>
                </c:pt>
                <c:pt idx="717">
                  <c:v>4946.29</c:v>
                </c:pt>
                <c:pt idx="718">
                  <c:v>5037.2</c:v>
                </c:pt>
                <c:pt idx="719">
                  <c:v>5101.8500000000004</c:v>
                </c:pt>
                <c:pt idx="720">
                  <c:v>5207.13</c:v>
                </c:pt>
                <c:pt idx="721">
                  <c:v>5216.8100000000004</c:v>
                </c:pt>
                <c:pt idx="722">
                  <c:v>5265.03</c:v>
                </c:pt>
                <c:pt idx="723">
                  <c:v>5367.53</c:v>
                </c:pt>
                <c:pt idx="724">
                  <c:v>5338.28</c:v>
                </c:pt>
                <c:pt idx="725">
                  <c:v>5385.1</c:v>
                </c:pt>
                <c:pt idx="726">
                  <c:v>5422.03</c:v>
                </c:pt>
                <c:pt idx="727">
                  <c:v>5483.65</c:v>
                </c:pt>
                <c:pt idx="728">
                  <c:v>5556.59</c:v>
                </c:pt>
                <c:pt idx="729">
                  <c:v>5528.05</c:v>
                </c:pt>
                <c:pt idx="730">
                  <c:v>5613.76</c:v>
                </c:pt>
                <c:pt idx="731">
                  <c:v>5672.15</c:v>
                </c:pt>
                <c:pt idx="732">
                  <c:v>5699.15</c:v>
                </c:pt>
                <c:pt idx="733">
                  <c:v>5731.76</c:v>
                </c:pt>
                <c:pt idx="734">
                  <c:v>5696.45</c:v>
                </c:pt>
                <c:pt idx="735">
                  <c:v>5505.72</c:v>
                </c:pt>
                <c:pt idx="736">
                  <c:v>5365.62</c:v>
                </c:pt>
                <c:pt idx="737">
                  <c:v>5414.47</c:v>
                </c:pt>
                <c:pt idx="738">
                  <c:v>5145.7299999999996</c:v>
                </c:pt>
                <c:pt idx="739">
                  <c:v>4753.87</c:v>
                </c:pt>
                <c:pt idx="740">
                  <c:v>4975.1099999999997</c:v>
                </c:pt>
                <c:pt idx="741">
                  <c:v>5027.21</c:v>
                </c:pt>
                <c:pt idx="742">
                  <c:v>5077.43</c:v>
                </c:pt>
                <c:pt idx="743">
                  <c:v>4731.88</c:v>
                </c:pt>
                <c:pt idx="744">
                  <c:v>4762.08</c:v>
                </c:pt>
                <c:pt idx="745">
                  <c:v>4710.6499999999996</c:v>
                </c:pt>
                <c:pt idx="746">
                  <c:v>4620.3999999999996</c:v>
                </c:pt>
                <c:pt idx="747">
                  <c:v>4571.95</c:v>
                </c:pt>
                <c:pt idx="748">
                  <c:v>4950.12</c:v>
                </c:pt>
                <c:pt idx="749">
                  <c:v>4921.83</c:v>
                </c:pt>
                <c:pt idx="750">
                  <c:v>4816.08</c:v>
                </c:pt>
                <c:pt idx="751">
                  <c:v>4880.25</c:v>
                </c:pt>
                <c:pt idx="752">
                  <c:v>4813.3100000000004</c:v>
                </c:pt>
                <c:pt idx="753">
                  <c:v>4910.99</c:v>
                </c:pt>
                <c:pt idx="754">
                  <c:v>5020.75</c:v>
                </c:pt>
                <c:pt idx="755">
                  <c:v>4908.72</c:v>
                </c:pt>
                <c:pt idx="756">
                  <c:v>4876.03</c:v>
                </c:pt>
                <c:pt idx="757">
                  <c:v>4702.24</c:v>
                </c:pt>
                <c:pt idx="758">
                  <c:v>4519.78</c:v>
                </c:pt>
                <c:pt idx="759">
                  <c:v>4515.53</c:v>
                </c:pt>
                <c:pt idx="760">
                  <c:v>4639.7700000000004</c:v>
                </c:pt>
                <c:pt idx="761">
                  <c:v>4622.0600000000004</c:v>
                </c:pt>
                <c:pt idx="762">
                  <c:v>4674.55</c:v>
                </c:pt>
                <c:pt idx="763">
                  <c:v>4790.74</c:v>
                </c:pt>
                <c:pt idx="764">
                  <c:v>4671.1499999999996</c:v>
                </c:pt>
                <c:pt idx="765">
                  <c:v>4628.72</c:v>
                </c:pt>
                <c:pt idx="766">
                  <c:v>4685.03</c:v>
                </c:pt>
                <c:pt idx="767">
                  <c:v>4621.6899999999996</c:v>
                </c:pt>
                <c:pt idx="768">
                  <c:v>4431.59</c:v>
                </c:pt>
                <c:pt idx="769">
                  <c:v>4441.18</c:v>
                </c:pt>
                <c:pt idx="770">
                  <c:v>4309.6499999999996</c:v>
                </c:pt>
                <c:pt idx="771">
                  <c:v>4198.96</c:v>
                </c:pt>
                <c:pt idx="772">
                  <c:v>4157.87</c:v>
                </c:pt>
                <c:pt idx="773">
                  <c:v>3965.28</c:v>
                </c:pt>
                <c:pt idx="774">
                  <c:v>3763.95</c:v>
                </c:pt>
                <c:pt idx="775">
                  <c:v>3888.86</c:v>
                </c:pt>
                <c:pt idx="776">
                  <c:v>4001.83</c:v>
                </c:pt>
                <c:pt idx="777">
                  <c:v>4037.83</c:v>
                </c:pt>
                <c:pt idx="778">
                  <c:v>3857.09</c:v>
                </c:pt>
                <c:pt idx="779">
                  <c:v>3905.77</c:v>
                </c:pt>
                <c:pt idx="780">
                  <c:v>3914.37</c:v>
                </c:pt>
                <c:pt idx="781">
                  <c:v>3748.92</c:v>
                </c:pt>
                <c:pt idx="782">
                  <c:v>3918.16</c:v>
                </c:pt>
                <c:pt idx="783">
                  <c:v>3790.53</c:v>
                </c:pt>
                <c:pt idx="784">
                  <c:v>3582.86</c:v>
                </c:pt>
                <c:pt idx="785">
                  <c:v>3547.98</c:v>
                </c:pt>
                <c:pt idx="786">
                  <c:v>3650.7</c:v>
                </c:pt>
                <c:pt idx="787">
                  <c:v>3845.82</c:v>
                </c:pt>
                <c:pt idx="788">
                  <c:v>3891.06</c:v>
                </c:pt>
                <c:pt idx="789">
                  <c:v>3688.13</c:v>
                </c:pt>
                <c:pt idx="790">
                  <c:v>3754.72</c:v>
                </c:pt>
                <c:pt idx="791">
                  <c:v>3783.73</c:v>
                </c:pt>
                <c:pt idx="792">
                  <c:v>3536.33</c:v>
                </c:pt>
                <c:pt idx="793">
                  <c:v>3583.3</c:v>
                </c:pt>
                <c:pt idx="794">
                  <c:v>3494.02</c:v>
                </c:pt>
                <c:pt idx="795">
                  <c:v>3386.63</c:v>
                </c:pt>
                <c:pt idx="796">
                  <c:v>3272.5</c:v>
                </c:pt>
                <c:pt idx="797">
                  <c:v>3267.55</c:v>
                </c:pt>
                <c:pt idx="798">
                  <c:v>3296.28</c:v>
                </c:pt>
                <c:pt idx="799">
                  <c:v>3453.73</c:v>
                </c:pt>
                <c:pt idx="800">
                  <c:v>3774.5</c:v>
                </c:pt>
                <c:pt idx="801">
                  <c:v>3803.07</c:v>
                </c:pt>
                <c:pt idx="802">
                  <c:v>3729.15</c:v>
                </c:pt>
                <c:pt idx="803">
                  <c:v>3776.94</c:v>
                </c:pt>
                <c:pt idx="804">
                  <c:v>3959.12</c:v>
                </c:pt>
                <c:pt idx="805">
                  <c:v>4055.78</c:v>
                </c:pt>
                <c:pt idx="806">
                  <c:v>4010.89</c:v>
                </c:pt>
                <c:pt idx="807">
                  <c:v>3821.32</c:v>
                </c:pt>
                <c:pt idx="808">
                  <c:v>3925.04</c:v>
                </c:pt>
                <c:pt idx="809">
                  <c:v>3878.92</c:v>
                </c:pt>
                <c:pt idx="810">
                  <c:v>3904.92</c:v>
                </c:pt>
                <c:pt idx="811">
                  <c:v>3851.69</c:v>
                </c:pt>
                <c:pt idx="812">
                  <c:v>3975.78</c:v>
                </c:pt>
                <c:pt idx="813">
                  <c:v>3948.09</c:v>
                </c:pt>
                <c:pt idx="814">
                  <c:v>3936.12</c:v>
                </c:pt>
                <c:pt idx="815">
                  <c:v>3914.07</c:v>
                </c:pt>
                <c:pt idx="816">
                  <c:v>3710.82</c:v>
                </c:pt>
                <c:pt idx="817">
                  <c:v>3783.05</c:v>
                </c:pt>
                <c:pt idx="818">
                  <c:v>3711.44</c:v>
                </c:pt>
                <c:pt idx="819">
                  <c:v>3675.15</c:v>
                </c:pt>
                <c:pt idx="820">
                  <c:v>3559.22</c:v>
                </c:pt>
                <c:pt idx="821">
                  <c:v>3576.2</c:v>
                </c:pt>
                <c:pt idx="822">
                  <c:v>3676.23</c:v>
                </c:pt>
                <c:pt idx="823">
                  <c:v>3580.87</c:v>
                </c:pt>
                <c:pt idx="824">
                  <c:v>3611.33</c:v>
                </c:pt>
                <c:pt idx="825">
                  <c:v>3625.83</c:v>
                </c:pt>
                <c:pt idx="826">
                  <c:v>3614.11</c:v>
                </c:pt>
                <c:pt idx="827">
                  <c:v>3546.92</c:v>
                </c:pt>
                <c:pt idx="828">
                  <c:v>3512.14</c:v>
                </c:pt>
                <c:pt idx="829">
                  <c:v>3489.5</c:v>
                </c:pt>
                <c:pt idx="830">
                  <c:v>3206.56</c:v>
                </c:pt>
                <c:pt idx="831">
                  <c:v>3140.3</c:v>
                </c:pt>
                <c:pt idx="832">
                  <c:v>3084.63</c:v>
                </c:pt>
                <c:pt idx="833">
                  <c:v>2979.12</c:v>
                </c:pt>
                <c:pt idx="834">
                  <c:v>2952.24</c:v>
                </c:pt>
                <c:pt idx="835">
                  <c:v>2842.68</c:v>
                </c:pt>
                <c:pt idx="836">
                  <c:v>2991.27</c:v>
                </c:pt>
                <c:pt idx="837">
                  <c:v>2773.08</c:v>
                </c:pt>
                <c:pt idx="838">
                  <c:v>2849.67</c:v>
                </c:pt>
                <c:pt idx="839">
                  <c:v>2789.94</c:v>
                </c:pt>
                <c:pt idx="840">
                  <c:v>2851.92</c:v>
                </c:pt>
                <c:pt idx="841">
                  <c:v>2969.54</c:v>
                </c:pt>
                <c:pt idx="842">
                  <c:v>2980.91</c:v>
                </c:pt>
                <c:pt idx="843">
                  <c:v>2816.02</c:v>
                </c:pt>
                <c:pt idx="844">
                  <c:v>2791.82</c:v>
                </c:pt>
                <c:pt idx="845">
                  <c:v>2698.35</c:v>
                </c:pt>
                <c:pt idx="846">
                  <c:v>2699.6</c:v>
                </c:pt>
                <c:pt idx="847">
                  <c:v>2760.61</c:v>
                </c:pt>
                <c:pt idx="848">
                  <c:v>2741.85</c:v>
                </c:pt>
                <c:pt idx="849">
                  <c:v>2882.76</c:v>
                </c:pt>
                <c:pt idx="850">
                  <c:v>2901.84</c:v>
                </c:pt>
                <c:pt idx="851">
                  <c:v>3015.13</c:v>
                </c:pt>
                <c:pt idx="852">
                  <c:v>2973.73</c:v>
                </c:pt>
                <c:pt idx="853">
                  <c:v>2953.5</c:v>
                </c:pt>
                <c:pt idx="854">
                  <c:v>2975.87</c:v>
                </c:pt>
                <c:pt idx="855">
                  <c:v>2852.98</c:v>
                </c:pt>
                <c:pt idx="856">
                  <c:v>2745.6</c:v>
                </c:pt>
                <c:pt idx="857">
                  <c:v>2718.07</c:v>
                </c:pt>
                <c:pt idx="858">
                  <c:v>2815.46</c:v>
                </c:pt>
                <c:pt idx="859">
                  <c:v>2911.05</c:v>
                </c:pt>
                <c:pt idx="860">
                  <c:v>2904.74</c:v>
                </c:pt>
                <c:pt idx="861">
                  <c:v>2883.32</c:v>
                </c:pt>
                <c:pt idx="862">
                  <c:v>2977.36</c:v>
                </c:pt>
                <c:pt idx="863">
                  <c:v>2939.2</c:v>
                </c:pt>
                <c:pt idx="864">
                  <c:v>2960.85</c:v>
                </c:pt>
                <c:pt idx="865">
                  <c:v>2905.63</c:v>
                </c:pt>
                <c:pt idx="866">
                  <c:v>2884.38</c:v>
                </c:pt>
                <c:pt idx="867">
                  <c:v>2805.21</c:v>
                </c:pt>
                <c:pt idx="868">
                  <c:v>2840.79</c:v>
                </c:pt>
                <c:pt idx="869">
                  <c:v>2773.15</c:v>
                </c:pt>
                <c:pt idx="870">
                  <c:v>2703.08</c:v>
                </c:pt>
                <c:pt idx="871">
                  <c:v>2721.69</c:v>
                </c:pt>
                <c:pt idx="872">
                  <c:v>2720.44</c:v>
                </c:pt>
                <c:pt idx="873">
                  <c:v>2591.46</c:v>
                </c:pt>
                <c:pt idx="874">
                  <c:v>2456.81</c:v>
                </c:pt>
                <c:pt idx="875">
                  <c:v>2444.16</c:v>
                </c:pt>
                <c:pt idx="876">
                  <c:v>2444.67</c:v>
                </c:pt>
                <c:pt idx="877">
                  <c:v>2443.5100000000002</c:v>
                </c:pt>
                <c:pt idx="878">
                  <c:v>2447.61</c:v>
                </c:pt>
                <c:pt idx="879">
                  <c:v>2313.4</c:v>
                </c:pt>
                <c:pt idx="880">
                  <c:v>2348.4699999999998</c:v>
                </c:pt>
                <c:pt idx="881">
                  <c:v>2532.94</c:v>
                </c:pt>
                <c:pt idx="882">
                  <c:v>2443.98</c:v>
                </c:pt>
                <c:pt idx="883">
                  <c:v>2404.9299999999998</c:v>
                </c:pt>
                <c:pt idx="884">
                  <c:v>2400.5500000000002</c:v>
                </c:pt>
                <c:pt idx="885">
                  <c:v>2331.5300000000002</c:v>
                </c:pt>
                <c:pt idx="886">
                  <c:v>2325.29</c:v>
                </c:pt>
                <c:pt idx="887">
                  <c:v>2335.86</c:v>
                </c:pt>
                <c:pt idx="888">
                  <c:v>2391.64</c:v>
                </c:pt>
                <c:pt idx="889">
                  <c:v>2309.17</c:v>
                </c:pt>
                <c:pt idx="890">
                  <c:v>2285.41</c:v>
                </c:pt>
                <c:pt idx="891">
                  <c:v>2245.96</c:v>
                </c:pt>
                <c:pt idx="892">
                  <c:v>2251.15</c:v>
                </c:pt>
                <c:pt idx="893">
                  <c:v>2183.4299999999998</c:v>
                </c:pt>
                <c:pt idx="894">
                  <c:v>2126.52</c:v>
                </c:pt>
                <c:pt idx="895">
                  <c:v>2139.15</c:v>
                </c:pt>
                <c:pt idx="896">
                  <c:v>2143.1799999999998</c:v>
                </c:pt>
                <c:pt idx="897">
                  <c:v>2072.13</c:v>
                </c:pt>
                <c:pt idx="898">
                  <c:v>2077.85</c:v>
                </c:pt>
                <c:pt idx="899">
                  <c:v>2000.65</c:v>
                </c:pt>
                <c:pt idx="900">
                  <c:v>1929.14</c:v>
                </c:pt>
                <c:pt idx="901">
                  <c:v>1895.99</c:v>
                </c:pt>
                <c:pt idx="902">
                  <c:v>2073.11</c:v>
                </c:pt>
                <c:pt idx="903">
                  <c:v>2207.61</c:v>
                </c:pt>
                <c:pt idx="904">
                  <c:v>2123.48</c:v>
                </c:pt>
                <c:pt idx="905">
                  <c:v>2138.85</c:v>
                </c:pt>
                <c:pt idx="906">
                  <c:v>2223.5300000000002</c:v>
                </c:pt>
                <c:pt idx="907">
                  <c:v>2243.66</c:v>
                </c:pt>
                <c:pt idx="908">
                  <c:v>2128.6999999999998</c:v>
                </c:pt>
                <c:pt idx="909">
                  <c:v>2102.4499999999998</c:v>
                </c:pt>
                <c:pt idx="910">
                  <c:v>2022.88</c:v>
                </c:pt>
                <c:pt idx="911">
                  <c:v>1995.3</c:v>
                </c:pt>
                <c:pt idx="912">
                  <c:v>1906.96</c:v>
                </c:pt>
                <c:pt idx="913">
                  <c:v>1985.49</c:v>
                </c:pt>
                <c:pt idx="914">
                  <c:v>1934.62</c:v>
                </c:pt>
                <c:pt idx="915">
                  <c:v>1914.36</c:v>
                </c:pt>
                <c:pt idx="916">
                  <c:v>1820.9</c:v>
                </c:pt>
                <c:pt idx="917">
                  <c:v>1833.26</c:v>
                </c:pt>
                <c:pt idx="918">
                  <c:v>1896.73</c:v>
                </c:pt>
                <c:pt idx="919">
                  <c:v>1881.41</c:v>
                </c:pt>
                <c:pt idx="920">
                  <c:v>1833.32</c:v>
                </c:pt>
                <c:pt idx="921">
                  <c:v>1834.78</c:v>
                </c:pt>
                <c:pt idx="922">
                  <c:v>1781.6</c:v>
                </c:pt>
                <c:pt idx="923">
                  <c:v>1654.67</c:v>
                </c:pt>
                <c:pt idx="924">
                  <c:v>1705.82</c:v>
                </c:pt>
                <c:pt idx="925">
                  <c:v>1658.22</c:v>
                </c:pt>
                <c:pt idx="926">
                  <c:v>1697.66</c:v>
                </c:pt>
                <c:pt idx="927">
                  <c:v>1663.66</c:v>
                </c:pt>
                <c:pt idx="928">
                  <c:v>1653.54</c:v>
                </c:pt>
                <c:pt idx="929">
                  <c:v>1627.76</c:v>
                </c:pt>
                <c:pt idx="930">
                  <c:v>1691.42</c:v>
                </c:pt>
                <c:pt idx="931">
                  <c:v>1649.78</c:v>
                </c:pt>
                <c:pt idx="932">
                  <c:v>1677.83</c:v>
                </c:pt>
                <c:pt idx="933">
                  <c:v>1801.67</c:v>
                </c:pt>
                <c:pt idx="934">
                  <c:v>1781.36</c:v>
                </c:pt>
                <c:pt idx="935">
                  <c:v>1801.82</c:v>
                </c:pt>
                <c:pt idx="936">
                  <c:v>1874.08</c:v>
                </c:pt>
                <c:pt idx="937">
                  <c:v>1943.65</c:v>
                </c:pt>
                <c:pt idx="938">
                  <c:v>1987.23</c:v>
                </c:pt>
                <c:pt idx="939">
                  <c:v>1839.82</c:v>
                </c:pt>
                <c:pt idx="940">
                  <c:v>1953.16</c:v>
                </c:pt>
                <c:pt idx="941">
                  <c:v>1932.43</c:v>
                </c:pt>
                <c:pt idx="942">
                  <c:v>1920.74</c:v>
                </c:pt>
                <c:pt idx="943">
                  <c:v>1837.64</c:v>
                </c:pt>
                <c:pt idx="944">
                  <c:v>1834.29</c:v>
                </c:pt>
                <c:pt idx="945">
                  <c:v>1843.5</c:v>
                </c:pt>
                <c:pt idx="946">
                  <c:v>1870.47</c:v>
                </c:pt>
                <c:pt idx="947">
                  <c:v>1829.92</c:v>
                </c:pt>
                <c:pt idx="948">
                  <c:v>1864.21</c:v>
                </c:pt>
                <c:pt idx="949">
                  <c:v>1868.63</c:v>
                </c:pt>
                <c:pt idx="950">
                  <c:v>1952.67</c:v>
                </c:pt>
                <c:pt idx="951">
                  <c:v>1982.93</c:v>
                </c:pt>
                <c:pt idx="952">
                  <c:v>2013.18</c:v>
                </c:pt>
                <c:pt idx="953">
                  <c:v>2095.04</c:v>
                </c:pt>
                <c:pt idx="954">
                  <c:v>2040.85</c:v>
                </c:pt>
                <c:pt idx="955">
                  <c:v>2096.39</c:v>
                </c:pt>
                <c:pt idx="956">
                  <c:v>2046.34</c:v>
                </c:pt>
                <c:pt idx="957">
                  <c:v>1960.38</c:v>
                </c:pt>
                <c:pt idx="958">
                  <c:v>1975.03</c:v>
                </c:pt>
                <c:pt idx="959">
                  <c:v>1994.45</c:v>
                </c:pt>
                <c:pt idx="960">
                  <c:v>2001.42</c:v>
                </c:pt>
                <c:pt idx="961">
                  <c:v>2045.1</c:v>
                </c:pt>
                <c:pt idx="962">
                  <c:v>2052.11</c:v>
                </c:pt>
                <c:pt idx="963">
                  <c:v>2017.55</c:v>
                </c:pt>
                <c:pt idx="964">
                  <c:v>1918.96</c:v>
                </c:pt>
                <c:pt idx="965">
                  <c:v>1887.08</c:v>
                </c:pt>
                <c:pt idx="966">
                  <c:v>1870.77</c:v>
                </c:pt>
                <c:pt idx="967">
                  <c:v>1862.1</c:v>
                </c:pt>
                <c:pt idx="968">
                  <c:v>1854.76</c:v>
                </c:pt>
                <c:pt idx="969">
                  <c:v>1833.44</c:v>
                </c:pt>
                <c:pt idx="970">
                  <c:v>1817.72</c:v>
                </c:pt>
                <c:pt idx="971">
                  <c:v>1882.96</c:v>
                </c:pt>
                <c:pt idx="972">
                  <c:v>1942.8</c:v>
                </c:pt>
                <c:pt idx="973">
                  <c:v>1931.18</c:v>
                </c:pt>
                <c:pt idx="974">
                  <c:v>1887.99</c:v>
                </c:pt>
                <c:pt idx="975">
                  <c:v>1918.37</c:v>
                </c:pt>
                <c:pt idx="976">
                  <c:v>1920.69</c:v>
                </c:pt>
                <c:pt idx="977">
                  <c:v>1876.19</c:v>
                </c:pt>
                <c:pt idx="978">
                  <c:v>1955.24</c:v>
                </c:pt>
                <c:pt idx="979">
                  <c:v>1954.87</c:v>
                </c:pt>
                <c:pt idx="980">
                  <c:v>1990.21</c:v>
                </c:pt>
                <c:pt idx="981">
                  <c:v>2012.47</c:v>
                </c:pt>
                <c:pt idx="982">
                  <c:v>2025.19</c:v>
                </c:pt>
                <c:pt idx="983">
                  <c:v>2021.71</c:v>
                </c:pt>
                <c:pt idx="984">
                  <c:v>2044.55</c:v>
                </c:pt>
                <c:pt idx="985">
                  <c:v>2032.68</c:v>
                </c:pt>
                <c:pt idx="986">
                  <c:v>2057.06</c:v>
                </c:pt>
                <c:pt idx="987">
                  <c:v>2108.91</c:v>
                </c:pt>
                <c:pt idx="988">
                  <c:v>2166.41</c:v>
                </c:pt>
                <c:pt idx="989">
                  <c:v>2150.9699999999998</c:v>
                </c:pt>
                <c:pt idx="990">
                  <c:v>2237.2800000000002</c:v>
                </c:pt>
                <c:pt idx="991">
                  <c:v>2296.67</c:v>
                </c:pt>
                <c:pt idx="992">
                  <c:v>2326.7600000000002</c:v>
                </c:pt>
                <c:pt idx="993">
                  <c:v>2331.14</c:v>
                </c:pt>
                <c:pt idx="994">
                  <c:v>2318.34</c:v>
                </c:pt>
                <c:pt idx="995">
                  <c:v>2399.0700000000002</c:v>
                </c:pt>
                <c:pt idx="996">
                  <c:v>2462.25</c:v>
                </c:pt>
                <c:pt idx="997">
                  <c:v>2385.29</c:v>
                </c:pt>
                <c:pt idx="998">
                  <c:v>2275.84</c:v>
                </c:pt>
                <c:pt idx="999">
                  <c:v>2298.41</c:v>
                </c:pt>
                <c:pt idx="1000">
                  <c:v>2344.3200000000002</c:v>
                </c:pt>
                <c:pt idx="1001">
                  <c:v>2410.48</c:v>
                </c:pt>
                <c:pt idx="1002">
                  <c:v>2301.85</c:v>
                </c:pt>
                <c:pt idx="1003">
                  <c:v>2304.25</c:v>
                </c:pt>
                <c:pt idx="1004">
                  <c:v>2190.19</c:v>
                </c:pt>
                <c:pt idx="1005">
                  <c:v>2140.4899999999998</c:v>
                </c:pt>
                <c:pt idx="1006">
                  <c:v>2164.67</c:v>
                </c:pt>
                <c:pt idx="1007">
                  <c:v>2142.15</c:v>
                </c:pt>
                <c:pt idx="1008">
                  <c:v>2285.15</c:v>
                </c:pt>
                <c:pt idx="1009">
                  <c:v>2304.92</c:v>
                </c:pt>
                <c:pt idx="1010">
                  <c:v>2286.58</c:v>
                </c:pt>
                <c:pt idx="1011">
                  <c:v>2202.5300000000002</c:v>
                </c:pt>
                <c:pt idx="1012">
                  <c:v>2240.7800000000002</c:v>
                </c:pt>
                <c:pt idx="1013">
                  <c:v>2220.38</c:v>
                </c:pt>
                <c:pt idx="1014">
                  <c:v>2215.6999999999998</c:v>
                </c:pt>
                <c:pt idx="1015">
                  <c:v>2205.42</c:v>
                </c:pt>
                <c:pt idx="1016">
                  <c:v>2241.61</c:v>
                </c:pt>
                <c:pt idx="1017">
                  <c:v>2322.4</c:v>
                </c:pt>
                <c:pt idx="1018">
                  <c:v>2332.65</c:v>
                </c:pt>
                <c:pt idx="1019">
                  <c:v>2382.56</c:v>
                </c:pt>
                <c:pt idx="1020">
                  <c:v>2379.84</c:v>
                </c:pt>
                <c:pt idx="1021">
                  <c:v>2439.4</c:v>
                </c:pt>
                <c:pt idx="1022">
                  <c:v>2451.7800000000002</c:v>
                </c:pt>
                <c:pt idx="1023">
                  <c:v>2401.33</c:v>
                </c:pt>
                <c:pt idx="1024">
                  <c:v>2479.79</c:v>
                </c:pt>
                <c:pt idx="1025">
                  <c:v>2498.9299999999998</c:v>
                </c:pt>
                <c:pt idx="1026">
                  <c:v>2484.4899999999998</c:v>
                </c:pt>
                <c:pt idx="1027">
                  <c:v>2507.79</c:v>
                </c:pt>
                <c:pt idx="1028">
                  <c:v>2548.2199999999998</c:v>
                </c:pt>
                <c:pt idx="1029">
                  <c:v>2576.4</c:v>
                </c:pt>
                <c:pt idx="1030">
                  <c:v>2570.5</c:v>
                </c:pt>
                <c:pt idx="1031">
                  <c:v>2576.9499999999998</c:v>
                </c:pt>
                <c:pt idx="1032">
                  <c:v>2479.35</c:v>
                </c:pt>
                <c:pt idx="1033">
                  <c:v>2517.67</c:v>
                </c:pt>
                <c:pt idx="1034">
                  <c:v>2595.5300000000002</c:v>
                </c:pt>
                <c:pt idx="1035">
                  <c:v>2656.52</c:v>
                </c:pt>
                <c:pt idx="1036">
                  <c:v>2676.87</c:v>
                </c:pt>
                <c:pt idx="1037">
                  <c:v>2686.99</c:v>
                </c:pt>
                <c:pt idx="1038">
                  <c:v>2687.11</c:v>
                </c:pt>
                <c:pt idx="1039">
                  <c:v>2650.69</c:v>
                </c:pt>
                <c:pt idx="1040">
                  <c:v>2707.67</c:v>
                </c:pt>
                <c:pt idx="1041">
                  <c:v>2675.44</c:v>
                </c:pt>
                <c:pt idx="1042">
                  <c:v>2576.2800000000002</c:v>
                </c:pt>
                <c:pt idx="1043">
                  <c:v>2593.56</c:v>
                </c:pt>
                <c:pt idx="1044">
                  <c:v>2572.89</c:v>
                </c:pt>
                <c:pt idx="1045">
                  <c:v>2513.29</c:v>
                </c:pt>
                <c:pt idx="1046">
                  <c:v>2518.5300000000002</c:v>
                </c:pt>
                <c:pt idx="1047">
                  <c:v>2605.37</c:v>
                </c:pt>
                <c:pt idx="1048">
                  <c:v>2622.93</c:v>
                </c:pt>
                <c:pt idx="1049">
                  <c:v>2714.3</c:v>
                </c:pt>
                <c:pt idx="1050">
                  <c:v>2727.01</c:v>
                </c:pt>
                <c:pt idx="1051">
                  <c:v>2764.98</c:v>
                </c:pt>
                <c:pt idx="1052">
                  <c:v>2767.08</c:v>
                </c:pt>
                <c:pt idx="1053">
                  <c:v>2789.22</c:v>
                </c:pt>
                <c:pt idx="1054">
                  <c:v>2725.32</c:v>
                </c:pt>
                <c:pt idx="1055">
                  <c:v>2788.56</c:v>
                </c:pt>
                <c:pt idx="1056">
                  <c:v>2814.01</c:v>
                </c:pt>
                <c:pt idx="1057">
                  <c:v>2792.6</c:v>
                </c:pt>
                <c:pt idx="1058">
                  <c:v>2796.12</c:v>
                </c:pt>
                <c:pt idx="1059">
                  <c:v>2810.57</c:v>
                </c:pt>
                <c:pt idx="1060">
                  <c:v>2840.08</c:v>
                </c:pt>
                <c:pt idx="1061">
                  <c:v>2812.87</c:v>
                </c:pt>
                <c:pt idx="1062">
                  <c:v>2750.01</c:v>
                </c:pt>
                <c:pt idx="1063">
                  <c:v>2740.68</c:v>
                </c:pt>
                <c:pt idx="1064">
                  <c:v>2752.72</c:v>
                </c:pt>
                <c:pt idx="1065">
                  <c:v>2719.76</c:v>
                </c:pt>
                <c:pt idx="1066">
                  <c:v>2759.71</c:v>
                </c:pt>
                <c:pt idx="1067">
                  <c:v>2858.34</c:v>
                </c:pt>
                <c:pt idx="1068">
                  <c:v>2865.1</c:v>
                </c:pt>
                <c:pt idx="1069">
                  <c:v>2939.39</c:v>
                </c:pt>
                <c:pt idx="1070">
                  <c:v>2953.75</c:v>
                </c:pt>
                <c:pt idx="1071">
                  <c:v>2939.31</c:v>
                </c:pt>
                <c:pt idx="1072">
                  <c:v>2948.48</c:v>
                </c:pt>
                <c:pt idx="1073">
                  <c:v>2960.56</c:v>
                </c:pt>
                <c:pt idx="1074">
                  <c:v>2989.6</c:v>
                </c:pt>
                <c:pt idx="1075">
                  <c:v>2961.63</c:v>
                </c:pt>
                <c:pt idx="1076">
                  <c:v>2906.29</c:v>
                </c:pt>
                <c:pt idx="1077">
                  <c:v>2966.19</c:v>
                </c:pt>
                <c:pt idx="1078">
                  <c:v>2961.22</c:v>
                </c:pt>
                <c:pt idx="1079">
                  <c:v>3010.59</c:v>
                </c:pt>
                <c:pt idx="1080">
                  <c:v>3057.43</c:v>
                </c:pt>
                <c:pt idx="1081">
                  <c:v>3080</c:v>
                </c:pt>
                <c:pt idx="1082">
                  <c:v>3082.56</c:v>
                </c:pt>
                <c:pt idx="1083">
                  <c:v>3083.9</c:v>
                </c:pt>
                <c:pt idx="1084">
                  <c:v>3120.73</c:v>
                </c:pt>
                <c:pt idx="1085">
                  <c:v>3117.92</c:v>
                </c:pt>
                <c:pt idx="1086">
                  <c:v>3128.42</c:v>
                </c:pt>
                <c:pt idx="1087">
                  <c:v>3179.97</c:v>
                </c:pt>
                <c:pt idx="1088">
                  <c:v>3166.47</c:v>
                </c:pt>
                <c:pt idx="1089">
                  <c:v>3237.9</c:v>
                </c:pt>
                <c:pt idx="1090">
                  <c:v>3282.36</c:v>
                </c:pt>
                <c:pt idx="1091">
                  <c:v>3327.14</c:v>
                </c:pt>
                <c:pt idx="1092">
                  <c:v>3374.75</c:v>
                </c:pt>
                <c:pt idx="1093">
                  <c:v>3340.49</c:v>
                </c:pt>
                <c:pt idx="1094">
                  <c:v>3352.27</c:v>
                </c:pt>
                <c:pt idx="1095">
                  <c:v>3396.3</c:v>
                </c:pt>
                <c:pt idx="1096">
                  <c:v>3398.31</c:v>
                </c:pt>
                <c:pt idx="1097">
                  <c:v>3361.01</c:v>
                </c:pt>
                <c:pt idx="1098">
                  <c:v>3454.75</c:v>
                </c:pt>
                <c:pt idx="1099">
                  <c:v>3493.31</c:v>
                </c:pt>
                <c:pt idx="1100">
                  <c:v>3501.24</c:v>
                </c:pt>
                <c:pt idx="1101">
                  <c:v>3519.81</c:v>
                </c:pt>
                <c:pt idx="1102">
                  <c:v>3591.12</c:v>
                </c:pt>
                <c:pt idx="1103">
                  <c:v>3539.83</c:v>
                </c:pt>
                <c:pt idx="1104">
                  <c:v>3606.92</c:v>
                </c:pt>
                <c:pt idx="1105">
                  <c:v>3651.97</c:v>
                </c:pt>
                <c:pt idx="1106">
                  <c:v>3667.56</c:v>
                </c:pt>
                <c:pt idx="1107">
                  <c:v>3743.63</c:v>
                </c:pt>
                <c:pt idx="1108">
                  <c:v>3755.82</c:v>
                </c:pt>
                <c:pt idx="1109">
                  <c:v>3558.51</c:v>
                </c:pt>
                <c:pt idx="1110">
                  <c:v>3634.82</c:v>
                </c:pt>
                <c:pt idx="1111">
                  <c:v>3734.62</c:v>
                </c:pt>
                <c:pt idx="1112">
                  <c:v>3787.03</c:v>
                </c:pt>
                <c:pt idx="1113">
                  <c:v>3786.62</c:v>
                </c:pt>
                <c:pt idx="1114">
                  <c:v>3740.94</c:v>
                </c:pt>
                <c:pt idx="1115">
                  <c:v>3663.12</c:v>
                </c:pt>
                <c:pt idx="1116">
                  <c:v>3555.1</c:v>
                </c:pt>
                <c:pt idx="1117">
                  <c:v>3544.54</c:v>
                </c:pt>
                <c:pt idx="1118">
                  <c:v>3556.38</c:v>
                </c:pt>
                <c:pt idx="1119">
                  <c:v>3397.4</c:v>
                </c:pt>
                <c:pt idx="1120">
                  <c:v>3440.82</c:v>
                </c:pt>
                <c:pt idx="1121">
                  <c:v>3344.46</c:v>
                </c:pt>
                <c:pt idx="1122">
                  <c:v>3140.27</c:v>
                </c:pt>
                <c:pt idx="1123">
                  <c:v>3171.99</c:v>
                </c:pt>
                <c:pt idx="1124">
                  <c:v>3014.57</c:v>
                </c:pt>
                <c:pt idx="1125">
                  <c:v>3144.39</c:v>
                </c:pt>
                <c:pt idx="1126">
                  <c:v>3203.62</c:v>
                </c:pt>
                <c:pt idx="1127">
                  <c:v>3229.6</c:v>
                </c:pt>
                <c:pt idx="1128">
                  <c:v>3109.83</c:v>
                </c:pt>
                <c:pt idx="1129">
                  <c:v>3172.39</c:v>
                </c:pt>
                <c:pt idx="1130">
                  <c:v>3156.3</c:v>
                </c:pt>
                <c:pt idx="1131">
                  <c:v>3046.78</c:v>
                </c:pt>
                <c:pt idx="1132">
                  <c:v>2830.27</c:v>
                </c:pt>
                <c:pt idx="1133">
                  <c:v>2843.7</c:v>
                </c:pt>
                <c:pt idx="1134">
                  <c:v>2890.93</c:v>
                </c:pt>
                <c:pt idx="1135">
                  <c:v>3051.96</c:v>
                </c:pt>
                <c:pt idx="1136">
                  <c:v>3077.14</c:v>
                </c:pt>
                <c:pt idx="1137">
                  <c:v>3104.21</c:v>
                </c:pt>
                <c:pt idx="1138">
                  <c:v>3170.97</c:v>
                </c:pt>
                <c:pt idx="1139">
                  <c:v>3194.91</c:v>
                </c:pt>
                <c:pt idx="1140">
                  <c:v>3162.91</c:v>
                </c:pt>
                <c:pt idx="1141">
                  <c:v>3238.13</c:v>
                </c:pt>
                <c:pt idx="1142">
                  <c:v>3293.39</c:v>
                </c:pt>
                <c:pt idx="1143">
                  <c:v>3302.64</c:v>
                </c:pt>
                <c:pt idx="1144">
                  <c:v>3258.24</c:v>
                </c:pt>
                <c:pt idx="1145">
                  <c:v>3320.1</c:v>
                </c:pt>
                <c:pt idx="1146">
                  <c:v>3199.69</c:v>
                </c:pt>
                <c:pt idx="1147">
                  <c:v>3208.6</c:v>
                </c:pt>
                <c:pt idx="1148">
                  <c:v>3131.03</c:v>
                </c:pt>
                <c:pt idx="1149">
                  <c:v>3060.07</c:v>
                </c:pt>
                <c:pt idx="1150">
                  <c:v>3080.93</c:v>
                </c:pt>
                <c:pt idx="1151">
                  <c:v>3058.53</c:v>
                </c:pt>
                <c:pt idx="1152">
                  <c:v>2972.64</c:v>
                </c:pt>
                <c:pt idx="1153">
                  <c:v>2972.29</c:v>
                </c:pt>
                <c:pt idx="1154">
                  <c:v>3004.81</c:v>
                </c:pt>
                <c:pt idx="1155">
                  <c:v>3163.71</c:v>
                </c:pt>
                <c:pt idx="1156">
                  <c:v>3151.63</c:v>
                </c:pt>
                <c:pt idx="1157">
                  <c:v>3198.52</c:v>
                </c:pt>
                <c:pt idx="1158">
                  <c:v>3227.4</c:v>
                </c:pt>
                <c:pt idx="1159">
                  <c:v>3239.64</c:v>
                </c:pt>
                <c:pt idx="1160">
                  <c:v>3241.71</c:v>
                </c:pt>
                <c:pt idx="1161">
                  <c:v>3329.16</c:v>
                </c:pt>
                <c:pt idx="1162">
                  <c:v>3377.57</c:v>
                </c:pt>
                <c:pt idx="1163">
                  <c:v>3369.29</c:v>
                </c:pt>
                <c:pt idx="1164">
                  <c:v>3347.32</c:v>
                </c:pt>
                <c:pt idx="1165">
                  <c:v>3413.25</c:v>
                </c:pt>
                <c:pt idx="1166">
                  <c:v>3414.24</c:v>
                </c:pt>
                <c:pt idx="1167">
                  <c:v>3314.72</c:v>
                </c:pt>
                <c:pt idx="1168">
                  <c:v>3329.33</c:v>
                </c:pt>
                <c:pt idx="1169">
                  <c:v>3247.05</c:v>
                </c:pt>
                <c:pt idx="1170">
                  <c:v>3280.37</c:v>
                </c:pt>
                <c:pt idx="1171">
                  <c:v>3392.8</c:v>
                </c:pt>
                <c:pt idx="1172">
                  <c:v>3435.43</c:v>
                </c:pt>
                <c:pt idx="1173">
                  <c:v>3453.89</c:v>
                </c:pt>
                <c:pt idx="1174">
                  <c:v>3464.32</c:v>
                </c:pt>
                <c:pt idx="1175">
                  <c:v>3483.02</c:v>
                </c:pt>
                <c:pt idx="1176">
                  <c:v>3495.79</c:v>
                </c:pt>
                <c:pt idx="1177">
                  <c:v>3503.78</c:v>
                </c:pt>
                <c:pt idx="1178">
                  <c:v>3495.67</c:v>
                </c:pt>
                <c:pt idx="1179">
                  <c:v>3499.99</c:v>
                </c:pt>
                <c:pt idx="1180">
                  <c:v>3518.72</c:v>
                </c:pt>
                <c:pt idx="1181">
                  <c:v>3625.8</c:v>
                </c:pt>
                <c:pt idx="1182">
                  <c:v>3628.35</c:v>
                </c:pt>
                <c:pt idx="1183">
                  <c:v>3630.23</c:v>
                </c:pt>
                <c:pt idx="1184">
                  <c:v>3642.44</c:v>
                </c:pt>
                <c:pt idx="1185">
                  <c:v>3631.01</c:v>
                </c:pt>
                <c:pt idx="1186">
                  <c:v>3665.51</c:v>
                </c:pt>
                <c:pt idx="1187">
                  <c:v>3548.08</c:v>
                </c:pt>
                <c:pt idx="1188">
                  <c:v>3629.63</c:v>
                </c:pt>
                <c:pt idx="1189">
                  <c:v>3485.77</c:v>
                </c:pt>
                <c:pt idx="1190">
                  <c:v>3382.51</c:v>
                </c:pt>
                <c:pt idx="1191">
                  <c:v>3511.67</c:v>
                </c:pt>
                <c:pt idx="1192">
                  <c:v>3560.83</c:v>
                </c:pt>
                <c:pt idx="1193">
                  <c:v>3597.33</c:v>
                </c:pt>
                <c:pt idx="1194">
                  <c:v>3590.88</c:v>
                </c:pt>
                <c:pt idx="1195">
                  <c:v>3643.49</c:v>
                </c:pt>
                <c:pt idx="1196">
                  <c:v>3668.83</c:v>
                </c:pt>
                <c:pt idx="1197">
                  <c:v>3624.02</c:v>
                </c:pt>
                <c:pt idx="1198">
                  <c:v>3554.48</c:v>
                </c:pt>
                <c:pt idx="1199">
                  <c:v>3577.24</c:v>
                </c:pt>
                <c:pt idx="1200">
                  <c:v>3575.02</c:v>
                </c:pt>
                <c:pt idx="1201">
                  <c:v>3612.75</c:v>
                </c:pt>
                <c:pt idx="1202">
                  <c:v>3583.34</c:v>
                </c:pt>
                <c:pt idx="1203">
                  <c:v>3560.72</c:v>
                </c:pt>
                <c:pt idx="1204">
                  <c:v>3480.15</c:v>
                </c:pt>
                <c:pt idx="1205">
                  <c:v>3391.74</c:v>
                </c:pt>
                <c:pt idx="1206">
                  <c:v>3396.62</c:v>
                </c:pt>
                <c:pt idx="1207">
                  <c:v>3305.54</c:v>
                </c:pt>
                <c:pt idx="1208">
                  <c:v>3336.48</c:v>
                </c:pt>
                <c:pt idx="1209">
                  <c:v>3438.82</c:v>
                </c:pt>
                <c:pt idx="1210">
                  <c:v>3424.78</c:v>
                </c:pt>
                <c:pt idx="1211">
                  <c:v>3478.43</c:v>
                </c:pt>
                <c:pt idx="1212">
                  <c:v>3500.74</c:v>
                </c:pt>
                <c:pt idx="1213">
                  <c:v>3558.86</c:v>
                </c:pt>
                <c:pt idx="1214">
                  <c:v>3575.68</c:v>
                </c:pt>
                <c:pt idx="1215">
                  <c:v>3535.23</c:v>
                </c:pt>
                <c:pt idx="1216">
                  <c:v>3564.04</c:v>
                </c:pt>
                <c:pt idx="1217">
                  <c:v>3541.73</c:v>
                </c:pt>
                <c:pt idx="1218">
                  <c:v>3471.46</c:v>
                </c:pt>
                <c:pt idx="1219">
                  <c:v>3480.13</c:v>
                </c:pt>
                <c:pt idx="1220">
                  <c:v>3482.05</c:v>
                </c:pt>
                <c:pt idx="1221">
                  <c:v>3534.92</c:v>
                </c:pt>
                <c:pt idx="1222">
                  <c:v>3421.14</c:v>
                </c:pt>
                <c:pt idx="1223">
                  <c:v>3469.05</c:v>
                </c:pt>
                <c:pt idx="1224">
                  <c:v>3482.74</c:v>
                </c:pt>
                <c:pt idx="1225">
                  <c:v>3500.68</c:v>
                </c:pt>
                <c:pt idx="1226">
                  <c:v>3507.48</c:v>
                </c:pt>
                <c:pt idx="1227">
                  <c:v>3394.43</c:v>
                </c:pt>
                <c:pt idx="1228">
                  <c:v>3408.57</c:v>
                </c:pt>
                <c:pt idx="1229">
                  <c:v>3366.2</c:v>
                </c:pt>
                <c:pt idx="1230">
                  <c:v>3328.01</c:v>
                </c:pt>
                <c:pt idx="1231">
                  <c:v>3242.8</c:v>
                </c:pt>
                <c:pt idx="1232">
                  <c:v>3198.57</c:v>
                </c:pt>
                <c:pt idx="1233">
                  <c:v>3206.57</c:v>
                </c:pt>
                <c:pt idx="1234">
                  <c:v>3204.16</c:v>
                </c:pt>
                <c:pt idx="1235">
                  <c:v>3152.71</c:v>
                </c:pt>
                <c:pt idx="1236">
                  <c:v>3146.19</c:v>
                </c:pt>
                <c:pt idx="1237">
                  <c:v>3230.72</c:v>
                </c:pt>
                <c:pt idx="1238">
                  <c:v>3218.8</c:v>
                </c:pt>
                <c:pt idx="1239">
                  <c:v>3153.09</c:v>
                </c:pt>
                <c:pt idx="1240">
                  <c:v>3150.99</c:v>
                </c:pt>
                <c:pt idx="1241">
                  <c:v>3169.19</c:v>
                </c:pt>
                <c:pt idx="1242">
                  <c:v>3214.13</c:v>
                </c:pt>
                <c:pt idx="1243">
                  <c:v>3220.4</c:v>
                </c:pt>
                <c:pt idx="1244">
                  <c:v>3251.28</c:v>
                </c:pt>
                <c:pt idx="1245">
                  <c:v>3233.35</c:v>
                </c:pt>
                <c:pt idx="1246">
                  <c:v>3198.63</c:v>
                </c:pt>
                <c:pt idx="1247">
                  <c:v>3244.48</c:v>
                </c:pt>
                <c:pt idx="1248">
                  <c:v>3292.13</c:v>
                </c:pt>
                <c:pt idx="1249">
                  <c:v>3281.67</c:v>
                </c:pt>
                <c:pt idx="1250">
                  <c:v>3324.42</c:v>
                </c:pt>
                <c:pt idx="1251">
                  <c:v>3311.24</c:v>
                </c:pt>
                <c:pt idx="1252">
                  <c:v>3335.08</c:v>
                </c:pt>
                <c:pt idx="1253">
                  <c:v>3250.57</c:v>
                </c:pt>
                <c:pt idx="1254">
                  <c:v>3259.76</c:v>
                </c:pt>
                <c:pt idx="1255">
                  <c:v>3286.18</c:v>
                </c:pt>
                <c:pt idx="1256">
                  <c:v>3305.86</c:v>
                </c:pt>
                <c:pt idx="1257">
                  <c:v>3279.69</c:v>
                </c:pt>
                <c:pt idx="1258">
                  <c:v>3276.71</c:v>
                </c:pt>
                <c:pt idx="1259">
                  <c:v>3233.13</c:v>
                </c:pt>
                <c:pt idx="1260">
                  <c:v>3183.18</c:v>
                </c:pt>
                <c:pt idx="1261">
                  <c:v>3203.97</c:v>
                </c:pt>
                <c:pt idx="1262">
                  <c:v>3273.92</c:v>
                </c:pt>
                <c:pt idx="1263">
                  <c:v>3267.56</c:v>
                </c:pt>
                <c:pt idx="1264">
                  <c:v>3293.87</c:v>
                </c:pt>
                <c:pt idx="1265">
                  <c:v>3302.63</c:v>
                </c:pt>
                <c:pt idx="1266">
                  <c:v>3275.57</c:v>
                </c:pt>
                <c:pt idx="1267">
                  <c:v>3276.67</c:v>
                </c:pt>
                <c:pt idx="1268">
                  <c:v>3229.13</c:v>
                </c:pt>
                <c:pt idx="1269">
                  <c:v>3275</c:v>
                </c:pt>
                <c:pt idx="1270">
                  <c:v>3358.54</c:v>
                </c:pt>
                <c:pt idx="1271">
                  <c:v>3366.71</c:v>
                </c:pt>
                <c:pt idx="1272">
                  <c:v>3345.61</c:v>
                </c:pt>
                <c:pt idx="1273">
                  <c:v>3391.94</c:v>
                </c:pt>
                <c:pt idx="1274">
                  <c:v>3407.35</c:v>
                </c:pt>
                <c:pt idx="1275">
                  <c:v>3405.15</c:v>
                </c:pt>
                <c:pt idx="1276">
                  <c:v>3386.95</c:v>
                </c:pt>
                <c:pt idx="1277">
                  <c:v>3346.74</c:v>
                </c:pt>
                <c:pt idx="1278">
                  <c:v>3379.17</c:v>
                </c:pt>
                <c:pt idx="1279">
                  <c:v>3351.48</c:v>
                </c:pt>
                <c:pt idx="1280">
                  <c:v>3391.72</c:v>
                </c:pt>
                <c:pt idx="1281">
                  <c:v>3403.71</c:v>
                </c:pt>
                <c:pt idx="1282">
                  <c:v>3394.57</c:v>
                </c:pt>
                <c:pt idx="1283">
                  <c:v>3356.33</c:v>
                </c:pt>
                <c:pt idx="1284">
                  <c:v>3176.42</c:v>
                </c:pt>
                <c:pt idx="1285">
                  <c:v>3173.37</c:v>
                </c:pt>
                <c:pt idx="1286">
                  <c:v>3236.68</c:v>
                </c:pt>
                <c:pt idx="1287">
                  <c:v>3201.54</c:v>
                </c:pt>
                <c:pt idx="1288">
                  <c:v>3190</c:v>
                </c:pt>
                <c:pt idx="1289">
                  <c:v>3172</c:v>
                </c:pt>
                <c:pt idx="1290">
                  <c:v>3108.41</c:v>
                </c:pt>
                <c:pt idx="1291">
                  <c:v>3097.35</c:v>
                </c:pt>
                <c:pt idx="1292">
                  <c:v>3060.06</c:v>
                </c:pt>
                <c:pt idx="1293">
                  <c:v>3067.37</c:v>
                </c:pt>
                <c:pt idx="1294">
                  <c:v>3019.45</c:v>
                </c:pt>
                <c:pt idx="1295">
                  <c:v>3036.39</c:v>
                </c:pt>
                <c:pt idx="1296">
                  <c:v>2896.86</c:v>
                </c:pt>
                <c:pt idx="1297">
                  <c:v>2836.79</c:v>
                </c:pt>
                <c:pt idx="1298">
                  <c:v>2858.23</c:v>
                </c:pt>
                <c:pt idx="1299">
                  <c:v>2800.82</c:v>
                </c:pt>
                <c:pt idx="1300">
                  <c:v>2818.16</c:v>
                </c:pt>
                <c:pt idx="1301">
                  <c:v>2886.91</c:v>
                </c:pt>
                <c:pt idx="1302">
                  <c:v>2868.02</c:v>
                </c:pt>
                <c:pt idx="1303">
                  <c:v>2714.72</c:v>
                </c:pt>
                <c:pt idx="1304">
                  <c:v>2771.35</c:v>
                </c:pt>
                <c:pt idx="1305">
                  <c:v>2762.17</c:v>
                </c:pt>
                <c:pt idx="1306">
                  <c:v>2726.02</c:v>
                </c:pt>
                <c:pt idx="1307">
                  <c:v>2768.79</c:v>
                </c:pt>
                <c:pt idx="1308">
                  <c:v>2873.47</c:v>
                </c:pt>
                <c:pt idx="1309">
                  <c:v>2813.94</c:v>
                </c:pt>
                <c:pt idx="1310">
                  <c:v>2813.94</c:v>
                </c:pt>
                <c:pt idx="1311">
                  <c:v>2859.98</c:v>
                </c:pt>
                <c:pt idx="1312">
                  <c:v>2850.3</c:v>
                </c:pt>
                <c:pt idx="1313">
                  <c:v>2773.26</c:v>
                </c:pt>
                <c:pt idx="1314">
                  <c:v>2744.16</c:v>
                </c:pt>
                <c:pt idx="1315">
                  <c:v>2757.53</c:v>
                </c:pt>
                <c:pt idx="1316">
                  <c:v>2736.08</c:v>
                </c:pt>
                <c:pt idx="1317">
                  <c:v>2744.39</c:v>
                </c:pt>
                <c:pt idx="1318">
                  <c:v>2695.72</c:v>
                </c:pt>
                <c:pt idx="1319">
                  <c:v>2699.34</c:v>
                </c:pt>
                <c:pt idx="1320">
                  <c:v>2782.13</c:v>
                </c:pt>
                <c:pt idx="1321">
                  <c:v>2750.02</c:v>
                </c:pt>
                <c:pt idx="1322">
                  <c:v>2758.87</c:v>
                </c:pt>
                <c:pt idx="1323">
                  <c:v>2742.73</c:v>
                </c:pt>
                <c:pt idx="1324">
                  <c:v>2696.17</c:v>
                </c:pt>
                <c:pt idx="1325">
                  <c:v>2780.66</c:v>
                </c:pt>
                <c:pt idx="1326">
                  <c:v>2783.72</c:v>
                </c:pt>
                <c:pt idx="1327">
                  <c:v>2758.5</c:v>
                </c:pt>
                <c:pt idx="1328">
                  <c:v>2757.5</c:v>
                </c:pt>
                <c:pt idx="1329">
                  <c:v>2736.29</c:v>
                </c:pt>
                <c:pt idx="1330">
                  <c:v>2716.78</c:v>
                </c:pt>
                <c:pt idx="1331">
                  <c:v>2592.02</c:v>
                </c:pt>
                <c:pt idx="1332">
                  <c:v>2563.0700000000002</c:v>
                </c:pt>
                <c:pt idx="1333">
                  <c:v>2526.0700000000002</c:v>
                </c:pt>
                <c:pt idx="1334">
                  <c:v>2534.11</c:v>
                </c:pt>
                <c:pt idx="1335">
                  <c:v>2512.65</c:v>
                </c:pt>
                <c:pt idx="1336">
                  <c:v>2562.9</c:v>
                </c:pt>
                <c:pt idx="1337">
                  <c:v>2580.48</c:v>
                </c:pt>
                <c:pt idx="1338">
                  <c:v>2575.92</c:v>
                </c:pt>
                <c:pt idx="1339">
                  <c:v>2647.1</c:v>
                </c:pt>
                <c:pt idx="1340">
                  <c:v>2676.22</c:v>
                </c:pt>
                <c:pt idx="1341">
                  <c:v>2634.59</c:v>
                </c:pt>
                <c:pt idx="1342">
                  <c:v>2653.61</c:v>
                </c:pt>
                <c:pt idx="1343">
                  <c:v>2608.52</c:v>
                </c:pt>
                <c:pt idx="1344">
                  <c:v>2616.13</c:v>
                </c:pt>
                <c:pt idx="1345">
                  <c:v>2682.47</c:v>
                </c:pt>
                <c:pt idx="1346">
                  <c:v>2741.5</c:v>
                </c:pt>
                <c:pt idx="1347">
                  <c:v>2747.34</c:v>
                </c:pt>
                <c:pt idx="1348">
                  <c:v>2781.29</c:v>
                </c:pt>
                <c:pt idx="1349">
                  <c:v>2793.08</c:v>
                </c:pt>
                <c:pt idx="1350">
                  <c:v>2811.06</c:v>
                </c:pt>
                <c:pt idx="1351">
                  <c:v>2795.72</c:v>
                </c:pt>
                <c:pt idx="1352">
                  <c:v>2863.72</c:v>
                </c:pt>
                <c:pt idx="1353">
                  <c:v>2877.98</c:v>
                </c:pt>
                <c:pt idx="1354">
                  <c:v>2868.85</c:v>
                </c:pt>
                <c:pt idx="1355">
                  <c:v>2917.28</c:v>
                </c:pt>
                <c:pt idx="1356">
                  <c:v>2865.97</c:v>
                </c:pt>
                <c:pt idx="1357">
                  <c:v>2876.43</c:v>
                </c:pt>
                <c:pt idx="1358">
                  <c:v>2850.83</c:v>
                </c:pt>
                <c:pt idx="1359">
                  <c:v>2897.66</c:v>
                </c:pt>
                <c:pt idx="1360">
                  <c:v>2918.24</c:v>
                </c:pt>
                <c:pt idx="1361">
                  <c:v>2832.64</c:v>
                </c:pt>
                <c:pt idx="1362">
                  <c:v>2850.21</c:v>
                </c:pt>
                <c:pt idx="1363">
                  <c:v>2816.39</c:v>
                </c:pt>
                <c:pt idx="1364">
                  <c:v>2855.55</c:v>
                </c:pt>
                <c:pt idx="1365">
                  <c:v>2922.08</c:v>
                </c:pt>
                <c:pt idx="1366">
                  <c:v>2942.29</c:v>
                </c:pt>
                <c:pt idx="1367">
                  <c:v>2937.36</c:v>
                </c:pt>
                <c:pt idx="1368">
                  <c:v>2955.4</c:v>
                </c:pt>
                <c:pt idx="1369">
                  <c:v>2898.33</c:v>
                </c:pt>
                <c:pt idx="1370">
                  <c:v>2896.19</c:v>
                </c:pt>
                <c:pt idx="1371">
                  <c:v>2911.83</c:v>
                </c:pt>
                <c:pt idx="1372">
                  <c:v>2843.02</c:v>
                </c:pt>
                <c:pt idx="1373">
                  <c:v>2850.09</c:v>
                </c:pt>
                <c:pt idx="1374">
                  <c:v>2858.57</c:v>
                </c:pt>
                <c:pt idx="1375">
                  <c:v>2915.01</c:v>
                </c:pt>
                <c:pt idx="1376">
                  <c:v>2903.19</c:v>
                </c:pt>
                <c:pt idx="1377">
                  <c:v>2884.04</c:v>
                </c:pt>
                <c:pt idx="1378">
                  <c:v>2921.39</c:v>
                </c:pt>
                <c:pt idx="1379">
                  <c:v>2920.21</c:v>
                </c:pt>
                <c:pt idx="1380">
                  <c:v>2975.09</c:v>
                </c:pt>
                <c:pt idx="1381">
                  <c:v>2983.11</c:v>
                </c:pt>
                <c:pt idx="1382">
                  <c:v>2980.97</c:v>
                </c:pt>
                <c:pt idx="1383">
                  <c:v>2926.46</c:v>
                </c:pt>
                <c:pt idx="1384">
                  <c:v>2932.55</c:v>
                </c:pt>
                <c:pt idx="1385">
                  <c:v>2962.32</c:v>
                </c:pt>
                <c:pt idx="1386">
                  <c:v>2965.01</c:v>
                </c:pt>
                <c:pt idx="1387">
                  <c:v>2913.19</c:v>
                </c:pt>
                <c:pt idx="1388">
                  <c:v>2857.79</c:v>
                </c:pt>
                <c:pt idx="1389">
                  <c:v>2861.37</c:v>
                </c:pt>
                <c:pt idx="1390">
                  <c:v>2849.83</c:v>
                </c:pt>
                <c:pt idx="1391">
                  <c:v>2857.48</c:v>
                </c:pt>
                <c:pt idx="1392">
                  <c:v>2905.03</c:v>
                </c:pt>
                <c:pt idx="1393">
                  <c:v>2880.91</c:v>
                </c:pt>
                <c:pt idx="1394">
                  <c:v>2874.81</c:v>
                </c:pt>
                <c:pt idx="1395">
                  <c:v>2935.57</c:v>
                </c:pt>
                <c:pt idx="1396">
                  <c:v>3044.23</c:v>
                </c:pt>
                <c:pt idx="1397">
                  <c:v>3132.9</c:v>
                </c:pt>
                <c:pt idx="1398">
                  <c:v>3172.73</c:v>
                </c:pt>
                <c:pt idx="1399">
                  <c:v>3217.58</c:v>
                </c:pt>
                <c:pt idx="1400">
                  <c:v>3224.14</c:v>
                </c:pt>
                <c:pt idx="1401">
                  <c:v>3327.68</c:v>
                </c:pt>
                <c:pt idx="1402">
                  <c:v>3306.16</c:v>
                </c:pt>
                <c:pt idx="1403">
                  <c:v>3375.67</c:v>
                </c:pt>
                <c:pt idx="1404">
                  <c:v>3396.88</c:v>
                </c:pt>
                <c:pt idx="1405">
                  <c:v>3374.69</c:v>
                </c:pt>
                <c:pt idx="1406">
                  <c:v>3378.66</c:v>
                </c:pt>
                <c:pt idx="1407">
                  <c:v>3481.08</c:v>
                </c:pt>
                <c:pt idx="1408">
                  <c:v>3466.08</c:v>
                </c:pt>
                <c:pt idx="1409">
                  <c:v>3403.87</c:v>
                </c:pt>
                <c:pt idx="1410">
                  <c:v>3397.69</c:v>
                </c:pt>
                <c:pt idx="1411">
                  <c:v>3379.98</c:v>
                </c:pt>
                <c:pt idx="1412">
                  <c:v>3473</c:v>
                </c:pt>
                <c:pt idx="1413">
                  <c:v>3463.13</c:v>
                </c:pt>
                <c:pt idx="1414">
                  <c:v>3420.34</c:v>
                </c:pt>
                <c:pt idx="1415">
                  <c:v>3480.51</c:v>
                </c:pt>
                <c:pt idx="1416">
                  <c:v>3520.8</c:v>
                </c:pt>
                <c:pt idx="1417">
                  <c:v>3548.57</c:v>
                </c:pt>
                <c:pt idx="1418">
                  <c:v>3523.95</c:v>
                </c:pt>
                <c:pt idx="1419">
                  <c:v>3499.11</c:v>
                </c:pt>
                <c:pt idx="1420">
                  <c:v>3509.98</c:v>
                </c:pt>
                <c:pt idx="1421">
                  <c:v>3291.83</c:v>
                </c:pt>
                <c:pt idx="1422">
                  <c:v>3314.89</c:v>
                </c:pt>
                <c:pt idx="1423">
                  <c:v>3169.54</c:v>
                </c:pt>
                <c:pt idx="1424">
                  <c:v>3103.91</c:v>
                </c:pt>
                <c:pt idx="1425">
                  <c:v>3147.96</c:v>
                </c:pt>
                <c:pt idx="1426">
                  <c:v>3178.85</c:v>
                </c:pt>
                <c:pt idx="1427">
                  <c:v>3171.94</c:v>
                </c:pt>
                <c:pt idx="1428">
                  <c:v>3107.18</c:v>
                </c:pt>
                <c:pt idx="1429">
                  <c:v>3177.04</c:v>
                </c:pt>
                <c:pt idx="1430">
                  <c:v>3223.48</c:v>
                </c:pt>
                <c:pt idx="1431">
                  <c:v>3194.85</c:v>
                </c:pt>
                <c:pt idx="1432">
                  <c:v>3190.05</c:v>
                </c:pt>
                <c:pt idx="1433">
                  <c:v>3136.99</c:v>
                </c:pt>
                <c:pt idx="1434">
                  <c:v>3136.02</c:v>
                </c:pt>
                <c:pt idx="1435">
                  <c:v>3155.06</c:v>
                </c:pt>
                <c:pt idx="1436">
                  <c:v>3158.16</c:v>
                </c:pt>
                <c:pt idx="1437">
                  <c:v>3165.57</c:v>
                </c:pt>
                <c:pt idx="1438">
                  <c:v>3200.34</c:v>
                </c:pt>
                <c:pt idx="1439">
                  <c:v>3171.88</c:v>
                </c:pt>
                <c:pt idx="1440">
                  <c:v>3123.37</c:v>
                </c:pt>
                <c:pt idx="1441">
                  <c:v>3161.98</c:v>
                </c:pt>
                <c:pt idx="1442">
                  <c:v>3261.06</c:v>
                </c:pt>
                <c:pt idx="1443">
                  <c:v>3269.47</c:v>
                </c:pt>
                <c:pt idx="1444">
                  <c:v>3247.64</c:v>
                </c:pt>
                <c:pt idx="1445">
                  <c:v>3230.67</c:v>
                </c:pt>
                <c:pt idx="1446">
                  <c:v>3225.66</c:v>
                </c:pt>
                <c:pt idx="1447">
                  <c:v>3178.66</c:v>
                </c:pt>
                <c:pt idx="1448">
                  <c:v>3249.51</c:v>
                </c:pt>
                <c:pt idx="1449">
                  <c:v>3215.45</c:v>
                </c:pt>
                <c:pt idx="1450">
                  <c:v>3188.61</c:v>
                </c:pt>
                <c:pt idx="1451">
                  <c:v>3162.96</c:v>
                </c:pt>
                <c:pt idx="1452">
                  <c:v>3099.71</c:v>
                </c:pt>
                <c:pt idx="1453">
                  <c:v>3044.93</c:v>
                </c:pt>
                <c:pt idx="1454">
                  <c:v>3061.83</c:v>
                </c:pt>
                <c:pt idx="1455">
                  <c:v>3064.1</c:v>
                </c:pt>
                <c:pt idx="1456">
                  <c:v>3128.26</c:v>
                </c:pt>
                <c:pt idx="1457">
                  <c:v>3189.68</c:v>
                </c:pt>
                <c:pt idx="1458">
                  <c:v>3175.66</c:v>
                </c:pt>
                <c:pt idx="1459">
                  <c:v>3159.64</c:v>
                </c:pt>
                <c:pt idx="1460">
                  <c:v>3166.62</c:v>
                </c:pt>
                <c:pt idx="1461">
                  <c:v>3108.19</c:v>
                </c:pt>
                <c:pt idx="1462">
                  <c:v>3124.92</c:v>
                </c:pt>
                <c:pt idx="1463">
                  <c:v>3142.34</c:v>
                </c:pt>
                <c:pt idx="1464">
                  <c:v>3141.28</c:v>
                </c:pt>
                <c:pt idx="1465">
                  <c:v>3091.86</c:v>
                </c:pt>
                <c:pt idx="1466">
                  <c:v>2974.35</c:v>
                </c:pt>
                <c:pt idx="1467">
                  <c:v>2977.65</c:v>
                </c:pt>
                <c:pt idx="1468">
                  <c:v>3044.85</c:v>
                </c:pt>
                <c:pt idx="1469">
                  <c:v>2944.71</c:v>
                </c:pt>
                <c:pt idx="1470">
                  <c:v>2983.46</c:v>
                </c:pt>
                <c:pt idx="1471">
                  <c:v>2954.23</c:v>
                </c:pt>
                <c:pt idx="1472">
                  <c:v>2938.65</c:v>
                </c:pt>
                <c:pt idx="1473">
                  <c:v>2978.43</c:v>
                </c:pt>
                <c:pt idx="1474">
                  <c:v>3026.47</c:v>
                </c:pt>
                <c:pt idx="1475">
                  <c:v>3036.74</c:v>
                </c:pt>
                <c:pt idx="1476">
                  <c:v>3076.51</c:v>
                </c:pt>
                <c:pt idx="1477">
                  <c:v>3077.28</c:v>
                </c:pt>
                <c:pt idx="1478">
                  <c:v>3040.95</c:v>
                </c:pt>
                <c:pt idx="1479">
                  <c:v>3104.16</c:v>
                </c:pt>
                <c:pt idx="1480">
                  <c:v>3120.96</c:v>
                </c:pt>
                <c:pt idx="1481">
                  <c:v>3219.14</c:v>
                </c:pt>
                <c:pt idx="1482">
                  <c:v>3217.67</c:v>
                </c:pt>
                <c:pt idx="1483">
                  <c:v>3248.53</c:v>
                </c:pt>
                <c:pt idx="1484">
                  <c:v>3245.91</c:v>
                </c:pt>
                <c:pt idx="1485">
                  <c:v>3211.88</c:v>
                </c:pt>
                <c:pt idx="1486">
                  <c:v>3257.91</c:v>
                </c:pt>
                <c:pt idx="1487">
                  <c:v>3163.58</c:v>
                </c:pt>
                <c:pt idx="1488">
                  <c:v>3174.74</c:v>
                </c:pt>
                <c:pt idx="1489">
                  <c:v>3190.94</c:v>
                </c:pt>
                <c:pt idx="1490">
                  <c:v>3197.62</c:v>
                </c:pt>
                <c:pt idx="1491">
                  <c:v>3239.56</c:v>
                </c:pt>
                <c:pt idx="1492">
                  <c:v>3254.89</c:v>
                </c:pt>
                <c:pt idx="1493">
                  <c:v>3243.3</c:v>
                </c:pt>
                <c:pt idx="1494">
                  <c:v>3221.72</c:v>
                </c:pt>
                <c:pt idx="1495">
                  <c:v>3270.67</c:v>
                </c:pt>
                <c:pt idx="1496">
                  <c:v>3334.51</c:v>
                </c:pt>
                <c:pt idx="1497">
                  <c:v>3337.46</c:v>
                </c:pt>
                <c:pt idx="1498">
                  <c:v>3338.86</c:v>
                </c:pt>
                <c:pt idx="1499">
                  <c:v>3280.26</c:v>
                </c:pt>
                <c:pt idx="1500">
                  <c:v>3247.38</c:v>
                </c:pt>
                <c:pt idx="1501">
                  <c:v>3262.92</c:v>
                </c:pt>
                <c:pt idx="1502">
                  <c:v>3203.96</c:v>
                </c:pt>
                <c:pt idx="1503">
                  <c:v>3248.2</c:v>
                </c:pt>
                <c:pt idx="1504">
                  <c:v>3197.1</c:v>
                </c:pt>
                <c:pt idx="1505">
                  <c:v>3215.69</c:v>
                </c:pt>
                <c:pt idx="1506">
                  <c:v>3207.11</c:v>
                </c:pt>
                <c:pt idx="1507">
                  <c:v>3222.96</c:v>
                </c:pt>
                <c:pt idx="1508">
                  <c:v>3264.93</c:v>
                </c:pt>
                <c:pt idx="1509">
                  <c:v>3251.36</c:v>
                </c:pt>
                <c:pt idx="1510">
                  <c:v>3294.48</c:v>
                </c:pt>
                <c:pt idx="1511">
                  <c:v>3290.57</c:v>
                </c:pt>
                <c:pt idx="1512">
                  <c:v>3257.98</c:v>
                </c:pt>
                <c:pt idx="1513">
                  <c:v>3256.08</c:v>
                </c:pt>
                <c:pt idx="1514">
                  <c:v>3223.29</c:v>
                </c:pt>
                <c:pt idx="1515">
                  <c:v>3272.73</c:v>
                </c:pt>
                <c:pt idx="1516">
                  <c:v>3311.07</c:v>
                </c:pt>
                <c:pt idx="1517">
                  <c:v>3324.42</c:v>
                </c:pt>
                <c:pt idx="1518">
                  <c:v>3353.36</c:v>
                </c:pt>
                <c:pt idx="1519">
                  <c:v>3333.43</c:v>
                </c:pt>
                <c:pt idx="1520">
                  <c:v>3326.77</c:v>
                </c:pt>
                <c:pt idx="1521">
                  <c:v>3372.03</c:v>
                </c:pt>
                <c:pt idx="1522">
                  <c:v>3353.56</c:v>
                </c:pt>
                <c:pt idx="1523">
                  <c:v>3358.94</c:v>
                </c:pt>
                <c:pt idx="1524">
                  <c:v>3359.44</c:v>
                </c:pt>
                <c:pt idx="1525">
                  <c:v>3295.81</c:v>
                </c:pt>
                <c:pt idx="1526">
                  <c:v>3295.76</c:v>
                </c:pt>
                <c:pt idx="1527">
                  <c:v>3317.37</c:v>
                </c:pt>
                <c:pt idx="1528">
                  <c:v>3299.94</c:v>
                </c:pt>
                <c:pt idx="1529">
                  <c:v>3249.57</c:v>
                </c:pt>
                <c:pt idx="1530">
                  <c:v>3230.96</c:v>
                </c:pt>
                <c:pt idx="1531">
                  <c:v>3209.5</c:v>
                </c:pt>
                <c:pt idx="1532">
                  <c:v>3161.78</c:v>
                </c:pt>
                <c:pt idx="1533">
                  <c:v>3192.72</c:v>
                </c:pt>
                <c:pt idx="1534">
                  <c:v>3211.13</c:v>
                </c:pt>
                <c:pt idx="1535">
                  <c:v>3129.03</c:v>
                </c:pt>
                <c:pt idx="1536">
                  <c:v>3126.12</c:v>
                </c:pt>
                <c:pt idx="1537">
                  <c:v>3121.4</c:v>
                </c:pt>
                <c:pt idx="1538">
                  <c:v>3129.76</c:v>
                </c:pt>
                <c:pt idx="1539">
                  <c:v>3153.22</c:v>
                </c:pt>
                <c:pt idx="1540">
                  <c:v>3145.09</c:v>
                </c:pt>
                <c:pt idx="1541">
                  <c:v>3101.6</c:v>
                </c:pt>
                <c:pt idx="1542">
                  <c:v>3128.09</c:v>
                </c:pt>
                <c:pt idx="1543">
                  <c:v>3100.46</c:v>
                </c:pt>
                <c:pt idx="1544">
                  <c:v>3116.03</c:v>
                </c:pt>
                <c:pt idx="1545">
                  <c:v>3139.38</c:v>
                </c:pt>
                <c:pt idx="1546">
                  <c:v>3120.64</c:v>
                </c:pt>
                <c:pt idx="1547">
                  <c:v>3121.6</c:v>
                </c:pt>
                <c:pt idx="1548">
                  <c:v>3022.98</c:v>
                </c:pt>
                <c:pt idx="1549">
                  <c:v>3026.22</c:v>
                </c:pt>
                <c:pt idx="1550">
                  <c:v>2990.34</c:v>
                </c:pt>
                <c:pt idx="1551">
                  <c:v>2978.38</c:v>
                </c:pt>
                <c:pt idx="1552">
                  <c:v>2963.31</c:v>
                </c:pt>
                <c:pt idx="1553">
                  <c:v>2954.51</c:v>
                </c:pt>
                <c:pt idx="1554">
                  <c:v>3001.56</c:v>
                </c:pt>
                <c:pt idx="1555">
                  <c:v>3004.17</c:v>
                </c:pt>
                <c:pt idx="1556">
                  <c:v>2955.71</c:v>
                </c:pt>
                <c:pt idx="1557">
                  <c:v>2986.35</c:v>
                </c:pt>
                <c:pt idx="1558">
                  <c:v>3004.26</c:v>
                </c:pt>
                <c:pt idx="1559">
                  <c:v>3008.65</c:v>
                </c:pt>
                <c:pt idx="1560">
                  <c:v>2951.89</c:v>
                </c:pt>
                <c:pt idx="1561">
                  <c:v>2961.93</c:v>
                </c:pt>
                <c:pt idx="1562">
                  <c:v>2950.35</c:v>
                </c:pt>
                <c:pt idx="1563">
                  <c:v>2993.56</c:v>
                </c:pt>
                <c:pt idx="1564">
                  <c:v>2963.12</c:v>
                </c:pt>
                <c:pt idx="1565">
                  <c:v>2917.58</c:v>
                </c:pt>
                <c:pt idx="1566">
                  <c:v>2892.16</c:v>
                </c:pt>
                <c:pt idx="1567">
                  <c:v>2874.9</c:v>
                </c:pt>
                <c:pt idx="1568">
                  <c:v>2909.07</c:v>
                </c:pt>
                <c:pt idx="1569">
                  <c:v>2908.58</c:v>
                </c:pt>
                <c:pt idx="1570">
                  <c:v>2957.63</c:v>
                </c:pt>
                <c:pt idx="1571">
                  <c:v>3027.47</c:v>
                </c:pt>
                <c:pt idx="1572">
                  <c:v>3036.49</c:v>
                </c:pt>
                <c:pt idx="1573">
                  <c:v>3041.73</c:v>
                </c:pt>
                <c:pt idx="1574">
                  <c:v>3000.17</c:v>
                </c:pt>
                <c:pt idx="1575">
                  <c:v>3044.09</c:v>
                </c:pt>
                <c:pt idx="1576">
                  <c:v>3049.75</c:v>
                </c:pt>
                <c:pt idx="1577">
                  <c:v>3121.98</c:v>
                </c:pt>
                <c:pt idx="1578">
                  <c:v>3122.5</c:v>
                </c:pt>
                <c:pt idx="1579">
                  <c:v>3113.71</c:v>
                </c:pt>
                <c:pt idx="1580">
                  <c:v>3101.68</c:v>
                </c:pt>
                <c:pt idx="1581">
                  <c:v>3109.18</c:v>
                </c:pt>
                <c:pt idx="1582">
                  <c:v>3113.21</c:v>
                </c:pt>
                <c:pt idx="1583">
                  <c:v>3056.91</c:v>
                </c:pt>
                <c:pt idx="1584">
                  <c:v>3106.25</c:v>
                </c:pt>
                <c:pt idx="1585">
                  <c:v>3115.75</c:v>
                </c:pt>
                <c:pt idx="1586">
                  <c:v>3128.89</c:v>
                </c:pt>
                <c:pt idx="1587">
                  <c:v>3122.6</c:v>
                </c:pt>
                <c:pt idx="1588">
                  <c:v>3095.13</c:v>
                </c:pt>
                <c:pt idx="1589">
                  <c:v>3091.57</c:v>
                </c:pt>
                <c:pt idx="1590">
                  <c:v>3059.14</c:v>
                </c:pt>
                <c:pt idx="1591">
                  <c:v>3067.99</c:v>
                </c:pt>
                <c:pt idx="1592">
                  <c:v>2968.29</c:v>
                </c:pt>
                <c:pt idx="1593">
                  <c:v>2977.77</c:v>
                </c:pt>
                <c:pt idx="1594">
                  <c:v>3000.05</c:v>
                </c:pt>
                <c:pt idx="1595">
                  <c:v>2981</c:v>
                </c:pt>
                <c:pt idx="1596">
                  <c:v>2972.08</c:v>
                </c:pt>
                <c:pt idx="1597">
                  <c:v>2977.72</c:v>
                </c:pt>
                <c:pt idx="1598">
                  <c:v>2956.38</c:v>
                </c:pt>
                <c:pt idx="1599">
                  <c:v>2954.87</c:v>
                </c:pt>
                <c:pt idx="1600">
                  <c:v>2960.31</c:v>
                </c:pt>
                <c:pt idx="1601">
                  <c:v>2897.42</c:v>
                </c:pt>
                <c:pt idx="1602">
                  <c:v>2793.9</c:v>
                </c:pt>
                <c:pt idx="1603">
                  <c:v>2798.19</c:v>
                </c:pt>
                <c:pt idx="1604">
                  <c:v>2824.12</c:v>
                </c:pt>
                <c:pt idx="1605">
                  <c:v>2866.92</c:v>
                </c:pt>
                <c:pt idx="1606">
                  <c:v>2875.37</c:v>
                </c:pt>
                <c:pt idx="1607">
                  <c:v>2917.88</c:v>
                </c:pt>
                <c:pt idx="1608">
                  <c:v>2897.58</c:v>
                </c:pt>
                <c:pt idx="1609">
                  <c:v>2886.01</c:v>
                </c:pt>
                <c:pt idx="1610">
                  <c:v>2834.25</c:v>
                </c:pt>
                <c:pt idx="1611">
                  <c:v>2807.66</c:v>
                </c:pt>
                <c:pt idx="1612">
                  <c:v>2777.79</c:v>
                </c:pt>
                <c:pt idx="1613">
                  <c:v>2821</c:v>
                </c:pt>
                <c:pt idx="1614">
                  <c:v>2810.02</c:v>
                </c:pt>
                <c:pt idx="1615">
                  <c:v>2903.84</c:v>
                </c:pt>
                <c:pt idx="1616">
                  <c:v>2901.22</c:v>
                </c:pt>
                <c:pt idx="1617">
                  <c:v>2852.81</c:v>
                </c:pt>
                <c:pt idx="1618">
                  <c:v>2841.74</c:v>
                </c:pt>
                <c:pt idx="1619">
                  <c:v>2846.78</c:v>
                </c:pt>
                <c:pt idx="1620">
                  <c:v>2834.54</c:v>
                </c:pt>
                <c:pt idx="1621">
                  <c:v>2803.85</c:v>
                </c:pt>
                <c:pt idx="1622">
                  <c:v>2743.82</c:v>
                </c:pt>
                <c:pt idx="1623">
                  <c:v>2723.3</c:v>
                </c:pt>
                <c:pt idx="1624">
                  <c:v>2779.09</c:v>
                </c:pt>
                <c:pt idx="1625">
                  <c:v>2756.11</c:v>
                </c:pt>
                <c:pt idx="1626">
                  <c:v>2751.1</c:v>
                </c:pt>
                <c:pt idx="1627">
                  <c:v>2720.28</c:v>
                </c:pt>
                <c:pt idx="1628">
                  <c:v>2733.11</c:v>
                </c:pt>
                <c:pt idx="1629">
                  <c:v>2729.05</c:v>
                </c:pt>
                <c:pt idx="1630">
                  <c:v>2733.99</c:v>
                </c:pt>
                <c:pt idx="1631">
                  <c:v>2679.27</c:v>
                </c:pt>
                <c:pt idx="1632">
                  <c:v>2689.85</c:v>
                </c:pt>
                <c:pt idx="1633">
                  <c:v>2771.01</c:v>
                </c:pt>
                <c:pt idx="1634">
                  <c:v>2685.69</c:v>
                </c:pt>
                <c:pt idx="1635">
                  <c:v>2669.48</c:v>
                </c:pt>
                <c:pt idx="1636">
                  <c:v>2610.92</c:v>
                </c:pt>
                <c:pt idx="1637">
                  <c:v>2637.88</c:v>
                </c:pt>
                <c:pt idx="1638">
                  <c:v>2610.59</c:v>
                </c:pt>
                <c:pt idx="1639">
                  <c:v>2588.19</c:v>
                </c:pt>
                <c:pt idx="1640">
                  <c:v>2581.35</c:v>
                </c:pt>
                <c:pt idx="1641">
                  <c:v>2557.08</c:v>
                </c:pt>
                <c:pt idx="1642">
                  <c:v>2551.9899999999998</c:v>
                </c:pt>
                <c:pt idx="1643">
                  <c:v>2644.76</c:v>
                </c:pt>
                <c:pt idx="1644">
                  <c:v>2662.6</c:v>
                </c:pt>
                <c:pt idx="1645">
                  <c:v>2653.78</c:v>
                </c:pt>
                <c:pt idx="1646">
                  <c:v>2666.95</c:v>
                </c:pt>
                <c:pt idx="1647">
                  <c:v>2592.21</c:v>
                </c:pt>
                <c:pt idx="1648">
                  <c:v>2583.08</c:v>
                </c:pt>
                <c:pt idx="1649">
                  <c:v>2520.5300000000002</c:v>
                </c:pt>
                <c:pt idx="1650">
                  <c:v>2507.88</c:v>
                </c:pt>
                <c:pt idx="1651">
                  <c:v>2576.67</c:v>
                </c:pt>
                <c:pt idx="1652">
                  <c:v>2625.43</c:v>
                </c:pt>
                <c:pt idx="1653">
                  <c:v>2651.65</c:v>
                </c:pt>
                <c:pt idx="1654">
                  <c:v>2657.48</c:v>
                </c:pt>
                <c:pt idx="1655">
                  <c:v>2709.02</c:v>
                </c:pt>
                <c:pt idx="1656">
                  <c:v>2695.31</c:v>
                </c:pt>
                <c:pt idx="1657">
                  <c:v>2697.53</c:v>
                </c:pt>
                <c:pt idx="1658">
                  <c:v>2742.39</c:v>
                </c:pt>
                <c:pt idx="1659">
                  <c:v>2744.3</c:v>
                </c:pt>
                <c:pt idx="1660">
                  <c:v>2763.75</c:v>
                </c:pt>
                <c:pt idx="1661">
                  <c:v>2736.25</c:v>
                </c:pt>
                <c:pt idx="1662">
                  <c:v>2727.71</c:v>
                </c:pt>
                <c:pt idx="1663">
                  <c:v>2751.65</c:v>
                </c:pt>
                <c:pt idx="1664">
                  <c:v>2699.59</c:v>
                </c:pt>
                <c:pt idx="1665">
                  <c:v>2695</c:v>
                </c:pt>
                <c:pt idx="1666">
                  <c:v>2750.2</c:v>
                </c:pt>
                <c:pt idx="1667">
                  <c:v>2744.68</c:v>
                </c:pt>
                <c:pt idx="1668">
                  <c:v>2670.12</c:v>
                </c:pt>
                <c:pt idx="1669">
                  <c:v>2662.02</c:v>
                </c:pt>
                <c:pt idx="1670">
                  <c:v>2606.5</c:v>
                </c:pt>
                <c:pt idx="1671">
                  <c:v>2609.69</c:v>
                </c:pt>
                <c:pt idx="1672">
                  <c:v>2609.48</c:v>
                </c:pt>
                <c:pt idx="1673">
                  <c:v>2584.0100000000002</c:v>
                </c:pt>
                <c:pt idx="1674">
                  <c:v>2588.92</c:v>
                </c:pt>
                <c:pt idx="1675">
                  <c:v>2569.9699999999998</c:v>
                </c:pt>
                <c:pt idx="1676">
                  <c:v>2573.3200000000002</c:v>
                </c:pt>
                <c:pt idx="1677">
                  <c:v>2608.5700000000002</c:v>
                </c:pt>
                <c:pt idx="1678">
                  <c:v>2521.52</c:v>
                </c:pt>
                <c:pt idx="1679">
                  <c:v>2583.61</c:v>
                </c:pt>
                <c:pt idx="1680">
                  <c:v>2557.31</c:v>
                </c:pt>
                <c:pt idx="1681">
                  <c:v>2521.39</c:v>
                </c:pt>
                <c:pt idx="1682">
                  <c:v>2516.34</c:v>
                </c:pt>
                <c:pt idx="1683">
                  <c:v>2528.23</c:v>
                </c:pt>
                <c:pt idx="1684">
                  <c:v>2525</c:v>
                </c:pt>
                <c:pt idx="1685">
                  <c:v>2503.46</c:v>
                </c:pt>
                <c:pt idx="1686">
                  <c:v>2477.69</c:v>
                </c:pt>
                <c:pt idx="1687">
                  <c:v>2421.9299999999998</c:v>
                </c:pt>
                <c:pt idx="1688">
                  <c:v>2397.48</c:v>
                </c:pt>
                <c:pt idx="1689">
                  <c:v>2340.79</c:v>
                </c:pt>
                <c:pt idx="1690">
                  <c:v>2390.13</c:v>
                </c:pt>
                <c:pt idx="1691">
                  <c:v>2384.41</c:v>
                </c:pt>
                <c:pt idx="1692">
                  <c:v>2377.0700000000002</c:v>
                </c:pt>
                <c:pt idx="1693">
                  <c:v>2339.11</c:v>
                </c:pt>
                <c:pt idx="1694">
                  <c:v>2341.34</c:v>
                </c:pt>
                <c:pt idx="1695">
                  <c:v>2359.16</c:v>
                </c:pt>
                <c:pt idx="1696">
                  <c:v>2335.6999999999998</c:v>
                </c:pt>
                <c:pt idx="1697">
                  <c:v>2305.04</c:v>
                </c:pt>
                <c:pt idx="1698">
                  <c:v>2307.9299999999998</c:v>
                </c:pt>
                <c:pt idx="1699">
                  <c:v>2311.36</c:v>
                </c:pt>
                <c:pt idx="1700">
                  <c:v>2345.7399999999998</c:v>
                </c:pt>
                <c:pt idx="1701">
                  <c:v>2298.75</c:v>
                </c:pt>
                <c:pt idx="1702">
                  <c:v>2276.39</c:v>
                </c:pt>
                <c:pt idx="1703">
                  <c:v>2290.6</c:v>
                </c:pt>
                <c:pt idx="1704">
                  <c:v>2368.5700000000002</c:v>
                </c:pt>
                <c:pt idx="1705">
                  <c:v>2447.35</c:v>
                </c:pt>
                <c:pt idx="1706">
                  <c:v>2435.61</c:v>
                </c:pt>
                <c:pt idx="1707">
                  <c:v>2435.2199999999998</c:v>
                </c:pt>
                <c:pt idx="1708">
                  <c:v>2394.33</c:v>
                </c:pt>
                <c:pt idx="1709">
                  <c:v>2345.65</c:v>
                </c:pt>
                <c:pt idx="1710">
                  <c:v>2460.6</c:v>
                </c:pt>
                <c:pt idx="1711">
                  <c:v>2422.19</c:v>
                </c:pt>
                <c:pt idx="1712">
                  <c:v>2468.35</c:v>
                </c:pt>
                <c:pt idx="1713">
                  <c:v>2504.09</c:v>
                </c:pt>
                <c:pt idx="1714">
                  <c:v>2460.7199999999998</c:v>
                </c:pt>
                <c:pt idx="1715">
                  <c:v>2464.2600000000002</c:v>
                </c:pt>
                <c:pt idx="1716">
                  <c:v>2428.9899999999998</c:v>
                </c:pt>
                <c:pt idx="1717">
                  <c:v>2486.2399999999998</c:v>
                </c:pt>
                <c:pt idx="1718">
                  <c:v>2506.09</c:v>
                </c:pt>
                <c:pt idx="1719">
                  <c:v>2504.3200000000002</c:v>
                </c:pt>
                <c:pt idx="1720">
                  <c:v>2457.9499999999998</c:v>
                </c:pt>
                <c:pt idx="1721">
                  <c:v>2528.2399999999998</c:v>
                </c:pt>
                <c:pt idx="1722">
                  <c:v>2529.23</c:v>
                </c:pt>
                <c:pt idx="1723">
                  <c:v>2533.62</c:v>
                </c:pt>
                <c:pt idx="1724">
                  <c:v>2531.98</c:v>
                </c:pt>
                <c:pt idx="1725">
                  <c:v>2522.11</c:v>
                </c:pt>
                <c:pt idx="1726">
                  <c:v>2549.61</c:v>
                </c:pt>
                <c:pt idx="1727">
                  <c:v>2536.0700000000002</c:v>
                </c:pt>
                <c:pt idx="1728">
                  <c:v>2537.09</c:v>
                </c:pt>
                <c:pt idx="1729">
                  <c:v>2540.71</c:v>
                </c:pt>
                <c:pt idx="1730">
                  <c:v>2562.4499999999998</c:v>
                </c:pt>
                <c:pt idx="1731">
                  <c:v>2597.48</c:v>
                </c:pt>
                <c:pt idx="1732">
                  <c:v>2606.2600000000002</c:v>
                </c:pt>
                <c:pt idx="1733">
                  <c:v>2648.02</c:v>
                </c:pt>
                <c:pt idx="1734">
                  <c:v>2656.57</c:v>
                </c:pt>
                <c:pt idx="1735">
                  <c:v>2662.46</c:v>
                </c:pt>
                <c:pt idx="1736">
                  <c:v>2634.14</c:v>
                </c:pt>
                <c:pt idx="1737">
                  <c:v>2633.35</c:v>
                </c:pt>
                <c:pt idx="1738">
                  <c:v>2679.93</c:v>
                </c:pt>
                <c:pt idx="1739">
                  <c:v>2662.7</c:v>
                </c:pt>
                <c:pt idx="1740">
                  <c:v>2621.0500000000002</c:v>
                </c:pt>
                <c:pt idx="1741">
                  <c:v>2603.0100000000002</c:v>
                </c:pt>
                <c:pt idx="1742">
                  <c:v>2635.79</c:v>
                </c:pt>
                <c:pt idx="1743">
                  <c:v>2664.3</c:v>
                </c:pt>
                <c:pt idx="1744">
                  <c:v>2654.4</c:v>
                </c:pt>
                <c:pt idx="1745">
                  <c:v>2681.07</c:v>
                </c:pt>
                <c:pt idx="1746">
                  <c:v>2605.11</c:v>
                </c:pt>
                <c:pt idx="1747">
                  <c:v>2585.5500000000002</c:v>
                </c:pt>
                <c:pt idx="1748">
                  <c:v>2623.52</c:v>
                </c:pt>
                <c:pt idx="1749">
                  <c:v>2630.01</c:v>
                </c:pt>
                <c:pt idx="1750">
                  <c:v>2584.4499999999998</c:v>
                </c:pt>
                <c:pt idx="1751">
                  <c:v>2587.79</c:v>
                </c:pt>
                <c:pt idx="1752">
                  <c:v>2583.75</c:v>
                </c:pt>
                <c:pt idx="1753">
                  <c:v>2552.94</c:v>
                </c:pt>
                <c:pt idx="1754">
                  <c:v>2555.44</c:v>
                </c:pt>
                <c:pt idx="1755">
                  <c:v>2547.14</c:v>
                </c:pt>
                <c:pt idx="1756">
                  <c:v>2474.9</c:v>
                </c:pt>
                <c:pt idx="1757">
                  <c:v>2443.12</c:v>
                </c:pt>
                <c:pt idx="1758">
                  <c:v>2454.9</c:v>
                </c:pt>
                <c:pt idx="1759">
                  <c:v>2512.83</c:v>
                </c:pt>
                <c:pt idx="1760">
                  <c:v>2519.83</c:v>
                </c:pt>
                <c:pt idx="1761">
                  <c:v>2495.15</c:v>
                </c:pt>
                <c:pt idx="1762">
                  <c:v>2519.79</c:v>
                </c:pt>
                <c:pt idx="1763">
                  <c:v>2520.04</c:v>
                </c:pt>
                <c:pt idx="1764">
                  <c:v>2570.44</c:v>
                </c:pt>
                <c:pt idx="1765">
                  <c:v>2580.4499999999998</c:v>
                </c:pt>
                <c:pt idx="1766">
                  <c:v>2574.04</c:v>
                </c:pt>
                <c:pt idx="1767">
                  <c:v>2541.88</c:v>
                </c:pt>
                <c:pt idx="1768">
                  <c:v>2599.91</c:v>
                </c:pt>
                <c:pt idx="1769">
                  <c:v>2596.06</c:v>
                </c:pt>
                <c:pt idx="1770">
                  <c:v>2626.84</c:v>
                </c:pt>
                <c:pt idx="1771">
                  <c:v>2606.04</c:v>
                </c:pt>
                <c:pt idx="1772">
                  <c:v>2604.87</c:v>
                </c:pt>
                <c:pt idx="1773">
                  <c:v>2625.99</c:v>
                </c:pt>
                <c:pt idx="1774">
                  <c:v>2631.49</c:v>
                </c:pt>
                <c:pt idx="1775">
                  <c:v>2626.16</c:v>
                </c:pt>
                <c:pt idx="1776">
                  <c:v>2683.49</c:v>
                </c:pt>
                <c:pt idx="1777">
                  <c:v>2691.52</c:v>
                </c:pt>
                <c:pt idx="1778">
                  <c:v>2715.88</c:v>
                </c:pt>
                <c:pt idx="1779">
                  <c:v>2717.78</c:v>
                </c:pt>
                <c:pt idx="1780">
                  <c:v>2709.12</c:v>
                </c:pt>
                <c:pt idx="1781">
                  <c:v>2657.51</c:v>
                </c:pt>
                <c:pt idx="1782">
                  <c:v>2657.21</c:v>
                </c:pt>
                <c:pt idx="1783">
                  <c:v>2636.92</c:v>
                </c:pt>
                <c:pt idx="1784">
                  <c:v>2615.5300000000002</c:v>
                </c:pt>
                <c:pt idx="1785">
                  <c:v>2617.37</c:v>
                </c:pt>
                <c:pt idx="1786">
                  <c:v>2574.65</c:v>
                </c:pt>
                <c:pt idx="1787">
                  <c:v>2613.94</c:v>
                </c:pt>
                <c:pt idx="1788">
                  <c:v>2573.98</c:v>
                </c:pt>
                <c:pt idx="1789">
                  <c:v>2587.23</c:v>
                </c:pt>
                <c:pt idx="1790">
                  <c:v>2627.53</c:v>
                </c:pt>
                <c:pt idx="1791">
                  <c:v>2616.87</c:v>
                </c:pt>
                <c:pt idx="1792">
                  <c:v>2595.2600000000002</c:v>
                </c:pt>
                <c:pt idx="1793">
                  <c:v>2573.1</c:v>
                </c:pt>
                <c:pt idx="1794">
                  <c:v>2614.69</c:v>
                </c:pt>
                <c:pt idx="1795">
                  <c:v>2650.85</c:v>
                </c:pt>
                <c:pt idx="1796">
                  <c:v>2642.26</c:v>
                </c:pt>
                <c:pt idx="1797">
                  <c:v>2632.04</c:v>
                </c:pt>
                <c:pt idx="1798">
                  <c:v>2633</c:v>
                </c:pt>
                <c:pt idx="1799">
                  <c:v>2559.0300000000002</c:v>
                </c:pt>
                <c:pt idx="1800">
                  <c:v>2558.84</c:v>
                </c:pt>
                <c:pt idx="1801">
                  <c:v>2557.4</c:v>
                </c:pt>
                <c:pt idx="1802">
                  <c:v>2542.1799999999998</c:v>
                </c:pt>
                <c:pt idx="1803">
                  <c:v>2524.33</c:v>
                </c:pt>
                <c:pt idx="1804">
                  <c:v>2558.27</c:v>
                </c:pt>
                <c:pt idx="1805">
                  <c:v>2540.1799999999998</c:v>
                </c:pt>
                <c:pt idx="1806">
                  <c:v>2580.64</c:v>
                </c:pt>
                <c:pt idx="1807">
                  <c:v>2560.42</c:v>
                </c:pt>
                <c:pt idx="1808">
                  <c:v>2568.0500000000002</c:v>
                </c:pt>
                <c:pt idx="1809">
                  <c:v>2581.21</c:v>
                </c:pt>
                <c:pt idx="1810">
                  <c:v>2558.62</c:v>
                </c:pt>
                <c:pt idx="1811">
                  <c:v>2552.61</c:v>
                </c:pt>
                <c:pt idx="1812">
                  <c:v>2512.19</c:v>
                </c:pt>
                <c:pt idx="1813">
                  <c:v>2456.52</c:v>
                </c:pt>
                <c:pt idx="1814">
                  <c:v>2454.92</c:v>
                </c:pt>
                <c:pt idx="1815">
                  <c:v>2447.1999999999998</c:v>
                </c:pt>
                <c:pt idx="1816">
                  <c:v>2425.73</c:v>
                </c:pt>
                <c:pt idx="1817">
                  <c:v>2461.61</c:v>
                </c:pt>
                <c:pt idx="1818">
                  <c:v>2465.2399999999998</c:v>
                </c:pt>
                <c:pt idx="1819">
                  <c:v>2468.7199999999998</c:v>
                </c:pt>
                <c:pt idx="1820">
                  <c:v>2464.92</c:v>
                </c:pt>
                <c:pt idx="1821">
                  <c:v>2430.37</c:v>
                </c:pt>
                <c:pt idx="1822">
                  <c:v>2472.61</c:v>
                </c:pt>
                <c:pt idx="1823">
                  <c:v>2416.04</c:v>
                </c:pt>
                <c:pt idx="1824">
                  <c:v>2406.71</c:v>
                </c:pt>
                <c:pt idx="1825">
                  <c:v>2425.5700000000002</c:v>
                </c:pt>
                <c:pt idx="1826">
                  <c:v>2449.1799999999998</c:v>
                </c:pt>
                <c:pt idx="1827">
                  <c:v>2450.63</c:v>
                </c:pt>
                <c:pt idx="1828">
                  <c:v>2399.73</c:v>
                </c:pt>
                <c:pt idx="1829">
                  <c:v>2414.1999999999998</c:v>
                </c:pt>
                <c:pt idx="1830">
                  <c:v>2414.34</c:v>
                </c:pt>
                <c:pt idx="1831">
                  <c:v>2424.3200000000002</c:v>
                </c:pt>
                <c:pt idx="1832">
                  <c:v>2398.46</c:v>
                </c:pt>
                <c:pt idx="1833">
                  <c:v>2365.4299999999998</c:v>
                </c:pt>
                <c:pt idx="1834">
                  <c:v>2375.9899999999998</c:v>
                </c:pt>
                <c:pt idx="1835">
                  <c:v>2360.08</c:v>
                </c:pt>
                <c:pt idx="1836">
                  <c:v>2347.4899999999998</c:v>
                </c:pt>
                <c:pt idx="1837">
                  <c:v>2349.11</c:v>
                </c:pt>
                <c:pt idx="1838">
                  <c:v>2335.79</c:v>
                </c:pt>
                <c:pt idx="1839">
                  <c:v>2332.92</c:v>
                </c:pt>
                <c:pt idx="1840">
                  <c:v>2358.65</c:v>
                </c:pt>
                <c:pt idx="1841">
                  <c:v>2334.88</c:v>
                </c:pt>
                <c:pt idx="1842">
                  <c:v>2353.7399999999998</c:v>
                </c:pt>
                <c:pt idx="1843">
                  <c:v>2385.61</c:v>
                </c:pt>
                <c:pt idx="1844">
                  <c:v>2388.87</c:v>
                </c:pt>
                <c:pt idx="1845">
                  <c:v>2389.8000000000002</c:v>
                </c:pt>
                <c:pt idx="1846">
                  <c:v>2411.6999999999998</c:v>
                </c:pt>
                <c:pt idx="1847">
                  <c:v>2399.75</c:v>
                </c:pt>
                <c:pt idx="1848">
                  <c:v>2351.9299999999998</c:v>
                </c:pt>
                <c:pt idx="1849">
                  <c:v>2357.02</c:v>
                </c:pt>
                <c:pt idx="1850">
                  <c:v>2331.61</c:v>
                </c:pt>
                <c:pt idx="1851">
                  <c:v>2319.67</c:v>
                </c:pt>
                <c:pt idx="1852">
                  <c:v>2313.48</c:v>
                </c:pt>
                <c:pt idx="1853">
                  <c:v>2301.79</c:v>
                </c:pt>
                <c:pt idx="1854">
                  <c:v>2313.6999999999998</c:v>
                </c:pt>
                <c:pt idx="1855">
                  <c:v>2295.59</c:v>
                </c:pt>
                <c:pt idx="1856">
                  <c:v>2302.1999999999998</c:v>
                </c:pt>
                <c:pt idx="1857">
                  <c:v>2275.6799999999998</c:v>
                </c:pt>
                <c:pt idx="1858">
                  <c:v>2228.1999999999998</c:v>
                </c:pt>
                <c:pt idx="1859">
                  <c:v>2238.41</c:v>
                </c:pt>
                <c:pt idx="1860">
                  <c:v>2214.81</c:v>
                </c:pt>
                <c:pt idx="1861">
                  <c:v>2211.37</c:v>
                </c:pt>
                <c:pt idx="1862">
                  <c:v>2204.87</c:v>
                </c:pt>
                <c:pt idx="1863">
                  <c:v>2228.37</c:v>
                </c:pt>
                <c:pt idx="1864">
                  <c:v>2204.41</c:v>
                </c:pt>
                <c:pt idx="1865">
                  <c:v>2199.88</c:v>
                </c:pt>
                <c:pt idx="1866">
                  <c:v>2217.8200000000002</c:v>
                </c:pt>
                <c:pt idx="1867">
                  <c:v>2317.1799999999998</c:v>
                </c:pt>
                <c:pt idx="1868">
                  <c:v>2326.67</c:v>
                </c:pt>
                <c:pt idx="1869">
                  <c:v>2311.89</c:v>
                </c:pt>
                <c:pt idx="1870">
                  <c:v>2320.0700000000002</c:v>
                </c:pt>
                <c:pt idx="1871">
                  <c:v>2298.46</c:v>
                </c:pt>
                <c:pt idx="1872">
                  <c:v>2315.54</c:v>
                </c:pt>
                <c:pt idx="1873">
                  <c:v>2258.71</c:v>
                </c:pt>
                <c:pt idx="1874">
                  <c:v>2235.2399999999998</c:v>
                </c:pt>
                <c:pt idx="1875">
                  <c:v>2246.2399999999998</c:v>
                </c:pt>
                <c:pt idx="1876">
                  <c:v>2195.9499999999998</c:v>
                </c:pt>
                <c:pt idx="1877">
                  <c:v>2199.06</c:v>
                </c:pt>
                <c:pt idx="1878">
                  <c:v>2215.52</c:v>
                </c:pt>
                <c:pt idx="1879">
                  <c:v>2210.15</c:v>
                </c:pt>
                <c:pt idx="1880">
                  <c:v>2184.89</c:v>
                </c:pt>
                <c:pt idx="1881">
                  <c:v>2251.7199999999998</c:v>
                </c:pt>
                <c:pt idx="1882">
                  <c:v>2293.11</c:v>
                </c:pt>
                <c:pt idx="1883">
                  <c:v>2270.0500000000002</c:v>
                </c:pt>
                <c:pt idx="1884">
                  <c:v>2320.16</c:v>
                </c:pt>
                <c:pt idx="1885">
                  <c:v>2324.12</c:v>
                </c:pt>
                <c:pt idx="1886">
                  <c:v>2302.5300000000002</c:v>
                </c:pt>
                <c:pt idx="1887">
                  <c:v>2304.5300000000002</c:v>
                </c:pt>
                <c:pt idx="1888">
                  <c:v>2294.86</c:v>
                </c:pt>
                <c:pt idx="1889">
                  <c:v>2298.16</c:v>
                </c:pt>
                <c:pt idx="1890">
                  <c:v>2300.8000000000002</c:v>
                </c:pt>
                <c:pt idx="1891">
                  <c:v>2336.08</c:v>
                </c:pt>
                <c:pt idx="1892">
                  <c:v>2332.4699999999998</c:v>
                </c:pt>
                <c:pt idx="1893">
                  <c:v>2341.59</c:v>
                </c:pt>
                <c:pt idx="1894">
                  <c:v>2312.08</c:v>
                </c:pt>
                <c:pt idx="1895">
                  <c:v>2307.7800000000002</c:v>
                </c:pt>
                <c:pt idx="1896">
                  <c:v>2291.2399999999998</c:v>
                </c:pt>
                <c:pt idx="1897">
                  <c:v>2247.91</c:v>
                </c:pt>
                <c:pt idx="1898">
                  <c:v>2235.85</c:v>
                </c:pt>
                <c:pt idx="1899">
                  <c:v>2239.88</c:v>
                </c:pt>
                <c:pt idx="1900">
                  <c:v>2254.8200000000002</c:v>
                </c:pt>
                <c:pt idx="1901">
                  <c:v>2297.88</c:v>
                </c:pt>
                <c:pt idx="1902">
                  <c:v>2306.77</c:v>
                </c:pt>
                <c:pt idx="1903">
                  <c:v>2301.88</c:v>
                </c:pt>
                <c:pt idx="1904">
                  <c:v>2292.21</c:v>
                </c:pt>
                <c:pt idx="1905">
                  <c:v>2287.5100000000002</c:v>
                </c:pt>
                <c:pt idx="1906">
                  <c:v>2245.41</c:v>
                </c:pt>
                <c:pt idx="1907">
                  <c:v>2240.92</c:v>
                </c:pt>
                <c:pt idx="1908">
                  <c:v>2251.85</c:v>
                </c:pt>
                <c:pt idx="1909">
                  <c:v>2212.44</c:v>
                </c:pt>
                <c:pt idx="1910">
                  <c:v>2223.11</c:v>
                </c:pt>
                <c:pt idx="1911">
                  <c:v>2193.62</c:v>
                </c:pt>
                <c:pt idx="1912">
                  <c:v>2177.2399999999998</c:v>
                </c:pt>
                <c:pt idx="1913">
                  <c:v>2174.9899999999998</c:v>
                </c:pt>
                <c:pt idx="1914">
                  <c:v>2164.88</c:v>
                </c:pt>
                <c:pt idx="1915">
                  <c:v>2194.9</c:v>
                </c:pt>
                <c:pt idx="1916">
                  <c:v>2177.5500000000002</c:v>
                </c:pt>
                <c:pt idx="1917">
                  <c:v>2192.6799999999998</c:v>
                </c:pt>
                <c:pt idx="1918">
                  <c:v>2175.6</c:v>
                </c:pt>
                <c:pt idx="1919">
                  <c:v>2150.64</c:v>
                </c:pt>
                <c:pt idx="1920">
                  <c:v>2129.16</c:v>
                </c:pt>
                <c:pt idx="1921">
                  <c:v>2115.6799999999998</c:v>
                </c:pt>
                <c:pt idx="1922">
                  <c:v>2139.66</c:v>
                </c:pt>
                <c:pt idx="1923">
                  <c:v>2108.85</c:v>
                </c:pt>
                <c:pt idx="1924">
                  <c:v>2131.4699999999998</c:v>
                </c:pt>
                <c:pt idx="1925">
                  <c:v>2207.88</c:v>
                </c:pt>
                <c:pt idx="1926">
                  <c:v>2203.6</c:v>
                </c:pt>
                <c:pt idx="1927">
                  <c:v>2246.7600000000002</c:v>
                </c:pt>
                <c:pt idx="1928">
                  <c:v>2271.0500000000002</c:v>
                </c:pt>
                <c:pt idx="1929">
                  <c:v>2258.5</c:v>
                </c:pt>
                <c:pt idx="1930">
                  <c:v>2267.77</c:v>
                </c:pt>
                <c:pt idx="1931">
                  <c:v>2242.64</c:v>
                </c:pt>
                <c:pt idx="1932">
                  <c:v>2355.86</c:v>
                </c:pt>
                <c:pt idx="1933">
                  <c:v>2366.6999999999998</c:v>
                </c:pt>
                <c:pt idx="1934">
                  <c:v>2368.12</c:v>
                </c:pt>
                <c:pt idx="1935">
                  <c:v>2371.11</c:v>
                </c:pt>
                <c:pt idx="1936">
                  <c:v>2384.8200000000002</c:v>
                </c:pt>
                <c:pt idx="1937">
                  <c:v>2372</c:v>
                </c:pt>
                <c:pt idx="1938">
                  <c:v>2381.2199999999998</c:v>
                </c:pt>
                <c:pt idx="1939">
                  <c:v>2448.4</c:v>
                </c:pt>
                <c:pt idx="1940">
                  <c:v>2457.62</c:v>
                </c:pt>
                <c:pt idx="1941">
                  <c:v>2444.59</c:v>
                </c:pt>
                <c:pt idx="1942">
                  <c:v>2480.0500000000002</c:v>
                </c:pt>
                <c:pt idx="1943">
                  <c:v>2522.9499999999998</c:v>
                </c:pt>
                <c:pt idx="1944">
                  <c:v>2524.41</c:v>
                </c:pt>
                <c:pt idx="1945">
                  <c:v>2535.9899999999998</c:v>
                </c:pt>
                <c:pt idx="1946">
                  <c:v>2525.33</c:v>
                </c:pt>
                <c:pt idx="1947">
                  <c:v>2526.13</c:v>
                </c:pt>
                <c:pt idx="1948">
                  <c:v>2530.5700000000002</c:v>
                </c:pt>
                <c:pt idx="1949">
                  <c:v>2483.23</c:v>
                </c:pt>
                <c:pt idx="1950">
                  <c:v>2577.73</c:v>
                </c:pt>
                <c:pt idx="1951">
                  <c:v>2595.86</c:v>
                </c:pt>
                <c:pt idx="1952">
                  <c:v>2577.09</c:v>
                </c:pt>
                <c:pt idx="1953">
                  <c:v>2552.7600000000002</c:v>
                </c:pt>
                <c:pt idx="1954">
                  <c:v>2595.44</c:v>
                </c:pt>
                <c:pt idx="1955">
                  <c:v>2610.9</c:v>
                </c:pt>
                <c:pt idx="1956">
                  <c:v>2596.9</c:v>
                </c:pt>
                <c:pt idx="1957">
                  <c:v>2607.46</c:v>
                </c:pt>
                <c:pt idx="1958">
                  <c:v>2582.7600000000002</c:v>
                </c:pt>
                <c:pt idx="1959">
                  <c:v>2571.67</c:v>
                </c:pt>
                <c:pt idx="1960">
                  <c:v>2651.86</c:v>
                </c:pt>
                <c:pt idx="1961">
                  <c:v>2675.87</c:v>
                </c:pt>
                <c:pt idx="1962">
                  <c:v>2688.71</c:v>
                </c:pt>
                <c:pt idx="1963">
                  <c:v>2686.88</c:v>
                </c:pt>
                <c:pt idx="1964">
                  <c:v>2743.32</c:v>
                </c:pt>
                <c:pt idx="1965">
                  <c:v>2748.03</c:v>
                </c:pt>
                <c:pt idx="1966">
                  <c:v>2771.68</c:v>
                </c:pt>
                <c:pt idx="1967">
                  <c:v>2775.84</c:v>
                </c:pt>
                <c:pt idx="1968">
                  <c:v>2759.87</c:v>
                </c:pt>
                <c:pt idx="1969">
                  <c:v>2771.73</c:v>
                </c:pt>
                <c:pt idx="1970">
                  <c:v>2737.47</c:v>
                </c:pt>
                <c:pt idx="1971">
                  <c:v>2685.61</c:v>
                </c:pt>
                <c:pt idx="1972">
                  <c:v>2702.64</c:v>
                </c:pt>
                <c:pt idx="1973">
                  <c:v>2610.5500000000002</c:v>
                </c:pt>
                <c:pt idx="1974">
                  <c:v>2596.6</c:v>
                </c:pt>
                <c:pt idx="1975">
                  <c:v>2604.96</c:v>
                </c:pt>
                <c:pt idx="1976">
                  <c:v>2567.59</c:v>
                </c:pt>
                <c:pt idx="1977">
                  <c:v>2594.6799999999998</c:v>
                </c:pt>
                <c:pt idx="1978">
                  <c:v>2673.33</c:v>
                </c:pt>
                <c:pt idx="1979">
                  <c:v>2668.84</c:v>
                </c:pt>
                <c:pt idx="1980">
                  <c:v>2545.7199999999998</c:v>
                </c:pt>
                <c:pt idx="1981">
                  <c:v>2622.81</c:v>
                </c:pt>
                <c:pt idx="1982">
                  <c:v>2650.2</c:v>
                </c:pt>
                <c:pt idx="1983">
                  <c:v>2619.48</c:v>
                </c:pt>
                <c:pt idx="1984">
                  <c:v>2606.9299999999998</c:v>
                </c:pt>
                <c:pt idx="1985">
                  <c:v>2592.37</c:v>
                </c:pt>
                <c:pt idx="1986">
                  <c:v>2555.61</c:v>
                </c:pt>
                <c:pt idx="1987">
                  <c:v>2527.4899999999998</c:v>
                </c:pt>
                <c:pt idx="1988">
                  <c:v>2534.27</c:v>
                </c:pt>
                <c:pt idx="1989">
                  <c:v>2539.87</c:v>
                </c:pt>
                <c:pt idx="1990">
                  <c:v>2502.4899999999998</c:v>
                </c:pt>
                <c:pt idx="1991">
                  <c:v>2525.1</c:v>
                </c:pt>
                <c:pt idx="1992">
                  <c:v>2610.17</c:v>
                </c:pt>
                <c:pt idx="1993">
                  <c:v>2614.9899999999998</c:v>
                </c:pt>
                <c:pt idx="1994">
                  <c:v>2618.31</c:v>
                </c:pt>
                <c:pt idx="1995">
                  <c:v>2613.1</c:v>
                </c:pt>
                <c:pt idx="1996">
                  <c:v>2575.0500000000002</c:v>
                </c:pt>
                <c:pt idx="1997">
                  <c:v>2583.5300000000002</c:v>
                </c:pt>
                <c:pt idx="1998">
                  <c:v>2499.3000000000002</c:v>
                </c:pt>
                <c:pt idx="1999">
                  <c:v>2495.08</c:v>
                </c:pt>
                <c:pt idx="2000">
                  <c:v>2493.19</c:v>
                </c:pt>
                <c:pt idx="2001">
                  <c:v>2486.39</c:v>
                </c:pt>
                <c:pt idx="2002">
                  <c:v>2483.5500000000002</c:v>
                </c:pt>
                <c:pt idx="2003">
                  <c:v>2472.3000000000002</c:v>
                </c:pt>
                <c:pt idx="2004">
                  <c:v>2489.4299999999998</c:v>
                </c:pt>
                <c:pt idx="2005">
                  <c:v>2485.31</c:v>
                </c:pt>
                <c:pt idx="2006">
                  <c:v>2477.88</c:v>
                </c:pt>
                <c:pt idx="2007">
                  <c:v>2462.11</c:v>
                </c:pt>
                <c:pt idx="2008">
                  <c:v>2436.8200000000002</c:v>
                </c:pt>
                <c:pt idx="2009">
                  <c:v>2459.59</c:v>
                </c:pt>
                <c:pt idx="2010">
                  <c:v>2458.4699999999998</c:v>
                </c:pt>
                <c:pt idx="2011">
                  <c:v>2464.85</c:v>
                </c:pt>
                <c:pt idx="2012">
                  <c:v>2533.83</c:v>
                </c:pt>
                <c:pt idx="2013">
                  <c:v>2530.67</c:v>
                </c:pt>
                <c:pt idx="2014">
                  <c:v>2449.4699999999998</c:v>
                </c:pt>
                <c:pt idx="2015">
                  <c:v>2495.58</c:v>
                </c:pt>
                <c:pt idx="2016">
                  <c:v>2467.88</c:v>
                </c:pt>
                <c:pt idx="2017">
                  <c:v>2447.31</c:v>
                </c:pt>
                <c:pt idx="2018">
                  <c:v>2449.64</c:v>
                </c:pt>
                <c:pt idx="2019">
                  <c:v>2492.91</c:v>
                </c:pt>
                <c:pt idx="2020">
                  <c:v>2525.98</c:v>
                </c:pt>
                <c:pt idx="2021">
                  <c:v>2529.94</c:v>
                </c:pt>
                <c:pt idx="2022">
                  <c:v>2542.8000000000002</c:v>
                </c:pt>
                <c:pt idx="2023">
                  <c:v>2527.79</c:v>
                </c:pt>
                <c:pt idx="2024">
                  <c:v>2540.84</c:v>
                </c:pt>
                <c:pt idx="2025">
                  <c:v>2530.77</c:v>
                </c:pt>
                <c:pt idx="2026">
                  <c:v>2493.34</c:v>
                </c:pt>
                <c:pt idx="2027">
                  <c:v>2506.9299999999998</c:v>
                </c:pt>
                <c:pt idx="2028">
                  <c:v>2552.71</c:v>
                </c:pt>
                <c:pt idx="2029">
                  <c:v>2592.0500000000002</c:v>
                </c:pt>
                <c:pt idx="2030">
                  <c:v>2609.61</c:v>
                </c:pt>
                <c:pt idx="2031">
                  <c:v>2614.85</c:v>
                </c:pt>
                <c:pt idx="2032">
                  <c:v>2618.0300000000002</c:v>
                </c:pt>
                <c:pt idx="2033">
                  <c:v>2582.85</c:v>
                </c:pt>
                <c:pt idx="2034">
                  <c:v>2597.23</c:v>
                </c:pt>
                <c:pt idx="2035">
                  <c:v>2599.59</c:v>
                </c:pt>
                <c:pt idx="2036">
                  <c:v>2644.36</c:v>
                </c:pt>
                <c:pt idx="2037">
                  <c:v>2642.56</c:v>
                </c:pt>
                <c:pt idx="2038">
                  <c:v>2634.32</c:v>
                </c:pt>
                <c:pt idx="2039">
                  <c:v>2606.4299999999998</c:v>
                </c:pt>
                <c:pt idx="2040">
                  <c:v>2602.62</c:v>
                </c:pt>
                <c:pt idx="2041">
                  <c:v>2565.67</c:v>
                </c:pt>
                <c:pt idx="2042">
                  <c:v>2560.54</c:v>
                </c:pt>
                <c:pt idx="2043">
                  <c:v>2527.84</c:v>
                </c:pt>
                <c:pt idx="2044">
                  <c:v>2484.16</c:v>
                </c:pt>
                <c:pt idx="2045">
                  <c:v>2399.94</c:v>
                </c:pt>
                <c:pt idx="2046">
                  <c:v>2416.77</c:v>
                </c:pt>
                <c:pt idx="2047">
                  <c:v>2403.84</c:v>
                </c:pt>
                <c:pt idx="2048">
                  <c:v>2418.75</c:v>
                </c:pt>
                <c:pt idx="2049">
                  <c:v>2400.77</c:v>
                </c:pt>
                <c:pt idx="2050">
                  <c:v>2321.4699999999998</c:v>
                </c:pt>
                <c:pt idx="2051">
                  <c:v>2317.39</c:v>
                </c:pt>
                <c:pt idx="2052">
                  <c:v>2171.21</c:v>
                </c:pt>
                <c:pt idx="2053">
                  <c:v>2165.42</c:v>
                </c:pt>
                <c:pt idx="2054">
                  <c:v>2168.3000000000002</c:v>
                </c:pt>
                <c:pt idx="2055">
                  <c:v>2160.7399999999998</c:v>
                </c:pt>
                <c:pt idx="2056">
                  <c:v>2200.64</c:v>
                </c:pt>
                <c:pt idx="2057">
                  <c:v>2213.3200000000002</c:v>
                </c:pt>
                <c:pt idx="2058">
                  <c:v>2221.98</c:v>
                </c:pt>
                <c:pt idx="2059">
                  <c:v>2203.83</c:v>
                </c:pt>
                <c:pt idx="2060">
                  <c:v>2221.98</c:v>
                </c:pt>
                <c:pt idx="2061">
                  <c:v>2226.85</c:v>
                </c:pt>
                <c:pt idx="2062">
                  <c:v>2163.62</c:v>
                </c:pt>
                <c:pt idx="2063">
                  <c:v>2162.67</c:v>
                </c:pt>
                <c:pt idx="2064">
                  <c:v>2224.0700000000002</c:v>
                </c:pt>
                <c:pt idx="2065">
                  <c:v>2326.69</c:v>
                </c:pt>
                <c:pt idx="2066">
                  <c:v>2275.37</c:v>
                </c:pt>
                <c:pt idx="2067">
                  <c:v>2307.3000000000002</c:v>
                </c:pt>
                <c:pt idx="2068">
                  <c:v>2317.85</c:v>
                </c:pt>
                <c:pt idx="2069">
                  <c:v>2282.84</c:v>
                </c:pt>
                <c:pt idx="2070">
                  <c:v>2245.33</c:v>
                </c:pt>
                <c:pt idx="2071">
                  <c:v>2190.48</c:v>
                </c:pt>
                <c:pt idx="2072">
                  <c:v>2202.19</c:v>
                </c:pt>
                <c:pt idx="2073">
                  <c:v>2265.84</c:v>
                </c:pt>
                <c:pt idx="2074">
                  <c:v>2249.15</c:v>
                </c:pt>
                <c:pt idx="2075">
                  <c:v>2237.6799999999998</c:v>
                </c:pt>
                <c:pt idx="2076">
                  <c:v>2224.0100000000002</c:v>
                </c:pt>
                <c:pt idx="2077">
                  <c:v>2175.9699999999998</c:v>
                </c:pt>
                <c:pt idx="2078">
                  <c:v>2189.39</c:v>
                </c:pt>
                <c:pt idx="2079">
                  <c:v>2193.02</c:v>
                </c:pt>
                <c:pt idx="2080">
                  <c:v>2245.36</c:v>
                </c:pt>
                <c:pt idx="2081">
                  <c:v>2247.2600000000002</c:v>
                </c:pt>
                <c:pt idx="2082">
                  <c:v>2278.33</c:v>
                </c:pt>
                <c:pt idx="2083">
                  <c:v>2293.64</c:v>
                </c:pt>
                <c:pt idx="2084">
                  <c:v>2280.62</c:v>
                </c:pt>
                <c:pt idx="2085">
                  <c:v>2276.7800000000002</c:v>
                </c:pt>
                <c:pt idx="2086">
                  <c:v>2286.0100000000002</c:v>
                </c:pt>
                <c:pt idx="2087">
                  <c:v>2352.79</c:v>
                </c:pt>
                <c:pt idx="2088">
                  <c:v>2359.0700000000002</c:v>
                </c:pt>
                <c:pt idx="2089">
                  <c:v>2349.08</c:v>
                </c:pt>
                <c:pt idx="2090">
                  <c:v>2321.58</c:v>
                </c:pt>
                <c:pt idx="2091">
                  <c:v>2304.14</c:v>
                </c:pt>
                <c:pt idx="2092">
                  <c:v>2331.4299999999998</c:v>
                </c:pt>
                <c:pt idx="2093">
                  <c:v>2312.4699999999998</c:v>
                </c:pt>
                <c:pt idx="2094">
                  <c:v>2308.59</c:v>
                </c:pt>
                <c:pt idx="2095">
                  <c:v>2303.9299999999998</c:v>
                </c:pt>
                <c:pt idx="2096">
                  <c:v>2286.9299999999998</c:v>
                </c:pt>
                <c:pt idx="2097">
                  <c:v>2335.62</c:v>
                </c:pt>
                <c:pt idx="2098">
                  <c:v>2340.88</c:v>
                </c:pt>
                <c:pt idx="2099">
                  <c:v>2328.06</c:v>
                </c:pt>
                <c:pt idx="2100">
                  <c:v>2318.31</c:v>
                </c:pt>
                <c:pt idx="2101">
                  <c:v>2313.91</c:v>
                </c:pt>
                <c:pt idx="2102">
                  <c:v>2320.34</c:v>
                </c:pt>
                <c:pt idx="2103">
                  <c:v>2354.5</c:v>
                </c:pt>
                <c:pt idx="2104">
                  <c:v>2350.6999999999998</c:v>
                </c:pt>
                <c:pt idx="2105">
                  <c:v>2341.7399999999998</c:v>
                </c:pt>
                <c:pt idx="2106">
                  <c:v>2357.7800000000002</c:v>
                </c:pt>
                <c:pt idx="2107">
                  <c:v>2440.61</c:v>
                </c:pt>
                <c:pt idx="2108">
                  <c:v>2474.89</c:v>
                </c:pt>
                <c:pt idx="2109">
                  <c:v>2482.89</c:v>
                </c:pt>
                <c:pt idx="2110">
                  <c:v>2507.46</c:v>
                </c:pt>
                <c:pt idx="2111">
                  <c:v>2488.9</c:v>
                </c:pt>
                <c:pt idx="2112">
                  <c:v>2478.39</c:v>
                </c:pt>
                <c:pt idx="2113">
                  <c:v>2427.3200000000002</c:v>
                </c:pt>
                <c:pt idx="2114">
                  <c:v>2432.5100000000002</c:v>
                </c:pt>
                <c:pt idx="2115">
                  <c:v>2472.29</c:v>
                </c:pt>
                <c:pt idx="2116">
                  <c:v>2443.89</c:v>
                </c:pt>
                <c:pt idx="2117">
                  <c:v>2429.0300000000002</c:v>
                </c:pt>
                <c:pt idx="2118">
                  <c:v>2384.44</c:v>
                </c:pt>
                <c:pt idx="2119">
                  <c:v>2394.9699999999998</c:v>
                </c:pt>
                <c:pt idx="2120">
                  <c:v>2409.04</c:v>
                </c:pt>
                <c:pt idx="2121">
                  <c:v>2441.81</c:v>
                </c:pt>
                <c:pt idx="2122">
                  <c:v>2453.58</c:v>
                </c:pt>
                <c:pt idx="2123">
                  <c:v>2429.3200000000002</c:v>
                </c:pt>
                <c:pt idx="2124">
                  <c:v>2468.5100000000002</c:v>
                </c:pt>
                <c:pt idx="2125">
                  <c:v>2472.54</c:v>
                </c:pt>
                <c:pt idx="2126">
                  <c:v>2467.52</c:v>
                </c:pt>
                <c:pt idx="2127">
                  <c:v>2421.37</c:v>
                </c:pt>
                <c:pt idx="2128">
                  <c:v>2413.33</c:v>
                </c:pt>
                <c:pt idx="2129">
                  <c:v>2426.0500000000002</c:v>
                </c:pt>
                <c:pt idx="2130">
                  <c:v>2471.3200000000002</c:v>
                </c:pt>
                <c:pt idx="2131">
                  <c:v>2445.89</c:v>
                </c:pt>
                <c:pt idx="2132">
                  <c:v>2418.4899999999998</c:v>
                </c:pt>
                <c:pt idx="2133">
                  <c:v>2400.5100000000002</c:v>
                </c:pt>
                <c:pt idx="2134">
                  <c:v>2368.56</c:v>
                </c:pt>
                <c:pt idx="2135">
                  <c:v>2365.9499999999998</c:v>
                </c:pt>
                <c:pt idx="2136">
                  <c:v>2372.0500000000002</c:v>
                </c:pt>
                <c:pt idx="2137">
                  <c:v>2407.4699999999998</c:v>
                </c:pt>
                <c:pt idx="2138">
                  <c:v>2373.7199999999998</c:v>
                </c:pt>
                <c:pt idx="2139">
                  <c:v>2384.96</c:v>
                </c:pt>
                <c:pt idx="2140">
                  <c:v>2380.4499999999998</c:v>
                </c:pt>
                <c:pt idx="2141">
                  <c:v>2383.77</c:v>
                </c:pt>
                <c:pt idx="2142">
                  <c:v>2353.5700000000002</c:v>
                </c:pt>
                <c:pt idx="2143">
                  <c:v>2340.5500000000002</c:v>
                </c:pt>
                <c:pt idx="2144">
                  <c:v>2307.9499999999998</c:v>
                </c:pt>
                <c:pt idx="2145">
                  <c:v>2315.89</c:v>
                </c:pt>
                <c:pt idx="2146">
                  <c:v>2340</c:v>
                </c:pt>
                <c:pt idx="2147">
                  <c:v>2288.12</c:v>
                </c:pt>
                <c:pt idx="2148">
                  <c:v>2304.5</c:v>
                </c:pt>
                <c:pt idx="2149">
                  <c:v>2350.73</c:v>
                </c:pt>
                <c:pt idx="2150">
                  <c:v>2428.9</c:v>
                </c:pt>
                <c:pt idx="2151">
                  <c:v>2412.16</c:v>
                </c:pt>
                <c:pt idx="2152">
                  <c:v>2424.85</c:v>
                </c:pt>
                <c:pt idx="2153">
                  <c:v>2409.9899999999998</c:v>
                </c:pt>
                <c:pt idx="2154">
                  <c:v>2397.96</c:v>
                </c:pt>
                <c:pt idx="2155">
                  <c:v>2388.63</c:v>
                </c:pt>
                <c:pt idx="2156">
                  <c:v>2387.42</c:v>
                </c:pt>
                <c:pt idx="2157">
                  <c:v>2414.48</c:v>
                </c:pt>
                <c:pt idx="2158">
                  <c:v>2439.5300000000002</c:v>
                </c:pt>
                <c:pt idx="2159">
                  <c:v>2438.94</c:v>
                </c:pt>
                <c:pt idx="2160">
                  <c:v>2418.79</c:v>
                </c:pt>
                <c:pt idx="2161">
                  <c:v>2442.7800000000002</c:v>
                </c:pt>
                <c:pt idx="2162">
                  <c:v>2475.14</c:v>
                </c:pt>
                <c:pt idx="2163">
                  <c:v>2468.1999999999998</c:v>
                </c:pt>
                <c:pt idx="2164">
                  <c:v>2452.29</c:v>
                </c:pt>
                <c:pt idx="2165">
                  <c:v>2450.87</c:v>
                </c:pt>
                <c:pt idx="2166">
                  <c:v>2453.3200000000002</c:v>
                </c:pt>
                <c:pt idx="2167">
                  <c:v>2412.7600000000002</c:v>
                </c:pt>
                <c:pt idx="2168">
                  <c:v>2410.02</c:v>
                </c:pt>
                <c:pt idx="2169">
                  <c:v>2406.64</c:v>
                </c:pt>
                <c:pt idx="2170">
                  <c:v>2367.92</c:v>
                </c:pt>
                <c:pt idx="2171">
                  <c:v>2356.38</c:v>
                </c:pt>
                <c:pt idx="2172">
                  <c:v>2357.23</c:v>
                </c:pt>
                <c:pt idx="2173">
                  <c:v>2332.41</c:v>
                </c:pt>
                <c:pt idx="2174">
                  <c:v>2278.14</c:v>
                </c:pt>
                <c:pt idx="2175">
                  <c:v>2284.6</c:v>
                </c:pt>
                <c:pt idx="2176">
                  <c:v>2288.25</c:v>
                </c:pt>
                <c:pt idx="2177">
                  <c:v>2305.11</c:v>
                </c:pt>
                <c:pt idx="2178">
                  <c:v>2265.33</c:v>
                </c:pt>
                <c:pt idx="2179">
                  <c:v>2303.48</c:v>
                </c:pt>
                <c:pt idx="2180">
                  <c:v>2299.46</c:v>
                </c:pt>
                <c:pt idx="2181">
                  <c:v>2330.0300000000002</c:v>
                </c:pt>
                <c:pt idx="2182">
                  <c:v>2321.98</c:v>
                </c:pt>
                <c:pt idx="2183">
                  <c:v>2290.7800000000002</c:v>
                </c:pt>
                <c:pt idx="2184">
                  <c:v>2238.64</c:v>
                </c:pt>
                <c:pt idx="2185">
                  <c:v>2238</c:v>
                </c:pt>
                <c:pt idx="2186">
                  <c:v>2241.91</c:v>
                </c:pt>
                <c:pt idx="2187">
                  <c:v>2222.2199999999998</c:v>
                </c:pt>
                <c:pt idx="2188">
                  <c:v>2204.85</c:v>
                </c:pt>
                <c:pt idx="2189">
                  <c:v>2193.6799999999998</c:v>
                </c:pt>
                <c:pt idx="2190">
                  <c:v>2212.85</c:v>
                </c:pt>
                <c:pt idx="2191">
                  <c:v>2208.94</c:v>
                </c:pt>
                <c:pt idx="2192">
                  <c:v>2211.84</c:v>
                </c:pt>
                <c:pt idx="2193">
                  <c:v>2178.4899999999998</c:v>
                </c:pt>
                <c:pt idx="2194">
                  <c:v>2165.9899999999998</c:v>
                </c:pt>
                <c:pt idx="2195">
                  <c:v>2187.41</c:v>
                </c:pt>
                <c:pt idx="2196">
                  <c:v>2243.8000000000002</c:v>
                </c:pt>
                <c:pt idx="2197">
                  <c:v>2231.89</c:v>
                </c:pt>
                <c:pt idx="2198">
                  <c:v>2245.6799999999998</c:v>
                </c:pt>
                <c:pt idx="2199">
                  <c:v>2215.92</c:v>
                </c:pt>
                <c:pt idx="2200">
                  <c:v>2219.86</c:v>
                </c:pt>
                <c:pt idx="2201">
                  <c:v>2227.7800000000002</c:v>
                </c:pt>
                <c:pt idx="2202">
                  <c:v>2202.4499999999998</c:v>
                </c:pt>
                <c:pt idx="2203">
                  <c:v>2212.48</c:v>
                </c:pt>
                <c:pt idx="2204">
                  <c:v>2267.5300000000002</c:v>
                </c:pt>
                <c:pt idx="2205">
                  <c:v>2285.56</c:v>
                </c:pt>
                <c:pt idx="2206">
                  <c:v>2291.25</c:v>
                </c:pt>
                <c:pt idx="2207">
                  <c:v>2279.5500000000002</c:v>
                </c:pt>
                <c:pt idx="2208">
                  <c:v>2295.5700000000002</c:v>
                </c:pt>
                <c:pt idx="2209">
                  <c:v>2311.65</c:v>
                </c:pt>
                <c:pt idx="2210">
                  <c:v>2282.44</c:v>
                </c:pt>
                <c:pt idx="2211">
                  <c:v>2308.66</c:v>
                </c:pt>
                <c:pt idx="2212">
                  <c:v>2287.44</c:v>
                </c:pt>
                <c:pt idx="2213">
                  <c:v>2264.29</c:v>
                </c:pt>
                <c:pt idx="2214">
                  <c:v>2214.5100000000002</c:v>
                </c:pt>
                <c:pt idx="2215">
                  <c:v>2157.91</c:v>
                </c:pt>
                <c:pt idx="2216">
                  <c:v>2163.41</c:v>
                </c:pt>
                <c:pt idx="2217">
                  <c:v>2154.11</c:v>
                </c:pt>
                <c:pt idx="2218">
                  <c:v>2178.9699999999998</c:v>
                </c:pt>
                <c:pt idx="2219">
                  <c:v>2190.37</c:v>
                </c:pt>
                <c:pt idx="2220">
                  <c:v>2184.27</c:v>
                </c:pt>
                <c:pt idx="2221">
                  <c:v>2163.98</c:v>
                </c:pt>
                <c:pt idx="2222">
                  <c:v>2173.63</c:v>
                </c:pt>
                <c:pt idx="2223">
                  <c:v>2168.36</c:v>
                </c:pt>
                <c:pt idx="2224">
                  <c:v>2097.79</c:v>
                </c:pt>
                <c:pt idx="2225">
                  <c:v>2108.66</c:v>
                </c:pt>
                <c:pt idx="2226">
                  <c:v>2114.13</c:v>
                </c:pt>
                <c:pt idx="2227">
                  <c:v>2140.33</c:v>
                </c:pt>
                <c:pt idx="2228">
                  <c:v>2122.84</c:v>
                </c:pt>
                <c:pt idx="2229">
                  <c:v>2143.04</c:v>
                </c:pt>
                <c:pt idx="2230">
                  <c:v>2138.13</c:v>
                </c:pt>
                <c:pt idx="2231">
                  <c:v>2120.87</c:v>
                </c:pt>
                <c:pt idx="2232">
                  <c:v>2086.9699999999998</c:v>
                </c:pt>
                <c:pt idx="2233">
                  <c:v>2158.8000000000002</c:v>
                </c:pt>
                <c:pt idx="2234">
                  <c:v>2176.5500000000002</c:v>
                </c:pt>
                <c:pt idx="2235">
                  <c:v>2174.44</c:v>
                </c:pt>
                <c:pt idx="2236">
                  <c:v>2171.0500000000002</c:v>
                </c:pt>
                <c:pt idx="2237">
                  <c:v>2155.71</c:v>
                </c:pt>
                <c:pt idx="2238">
                  <c:v>2151.9699999999998</c:v>
                </c:pt>
                <c:pt idx="2239">
                  <c:v>2146.3000000000002</c:v>
                </c:pt>
                <c:pt idx="2240">
                  <c:v>2163.11</c:v>
                </c:pt>
                <c:pt idx="2241">
                  <c:v>2180.73</c:v>
                </c:pt>
                <c:pt idx="2242">
                  <c:v>2165.0100000000002</c:v>
                </c:pt>
                <c:pt idx="2243">
                  <c:v>2185.4699999999998</c:v>
                </c:pt>
                <c:pt idx="2244">
                  <c:v>2237.3200000000002</c:v>
                </c:pt>
                <c:pt idx="2245">
                  <c:v>2238.62</c:v>
                </c:pt>
                <c:pt idx="2246">
                  <c:v>2273.7600000000002</c:v>
                </c:pt>
                <c:pt idx="2247">
                  <c:v>2270.67</c:v>
                </c:pt>
                <c:pt idx="2248">
                  <c:v>2268.61</c:v>
                </c:pt>
                <c:pt idx="2249">
                  <c:v>2229.46</c:v>
                </c:pt>
                <c:pt idx="2250">
                  <c:v>2232.5300000000002</c:v>
                </c:pt>
                <c:pt idx="2251">
                  <c:v>2224.8000000000002</c:v>
                </c:pt>
                <c:pt idx="2252">
                  <c:v>2224.48</c:v>
                </c:pt>
                <c:pt idx="2253">
                  <c:v>2187.25</c:v>
                </c:pt>
                <c:pt idx="2254">
                  <c:v>2196.8000000000002</c:v>
                </c:pt>
                <c:pt idx="2255">
                  <c:v>2194.67</c:v>
                </c:pt>
                <c:pt idx="2256">
                  <c:v>2190.4699999999998</c:v>
                </c:pt>
                <c:pt idx="2257">
                  <c:v>2167.83</c:v>
                </c:pt>
                <c:pt idx="2258">
                  <c:v>2134.9699999999998</c:v>
                </c:pt>
                <c:pt idx="2259">
                  <c:v>2158.4699999999998</c:v>
                </c:pt>
                <c:pt idx="2260">
                  <c:v>2158.66</c:v>
                </c:pt>
                <c:pt idx="2261">
                  <c:v>2156.4699999999998</c:v>
                </c:pt>
                <c:pt idx="2262">
                  <c:v>2157.33</c:v>
                </c:pt>
                <c:pt idx="2263">
                  <c:v>2137.3200000000002</c:v>
                </c:pt>
                <c:pt idx="2264">
                  <c:v>2135.5</c:v>
                </c:pt>
                <c:pt idx="2265">
                  <c:v>2133.91</c:v>
                </c:pt>
                <c:pt idx="2266">
                  <c:v>2180.0500000000002</c:v>
                </c:pt>
                <c:pt idx="2267">
                  <c:v>2174.85</c:v>
                </c:pt>
                <c:pt idx="2268">
                  <c:v>2172.37</c:v>
                </c:pt>
                <c:pt idx="2269">
                  <c:v>2144.08</c:v>
                </c:pt>
                <c:pt idx="2270">
                  <c:v>2145.9499999999998</c:v>
                </c:pt>
                <c:pt idx="2271">
                  <c:v>2115.14</c:v>
                </c:pt>
                <c:pt idx="2272">
                  <c:v>2115.77</c:v>
                </c:pt>
                <c:pt idx="2273">
                  <c:v>2135.91</c:v>
                </c:pt>
                <c:pt idx="2274">
                  <c:v>2130.87</c:v>
                </c:pt>
                <c:pt idx="2275">
                  <c:v>2148.41</c:v>
                </c:pt>
                <c:pt idx="2276">
                  <c:v>2155.98</c:v>
                </c:pt>
                <c:pt idx="2277">
                  <c:v>2147.2800000000002</c:v>
                </c:pt>
                <c:pt idx="2278">
                  <c:v>2169.35</c:v>
                </c:pt>
                <c:pt idx="2279">
                  <c:v>2155.16</c:v>
                </c:pt>
                <c:pt idx="2280">
                  <c:v>2156.46</c:v>
                </c:pt>
                <c:pt idx="2281">
                  <c:v>2149.92</c:v>
                </c:pt>
                <c:pt idx="2282">
                  <c:v>2128.27</c:v>
                </c:pt>
                <c:pt idx="2283">
                  <c:v>2150.6</c:v>
                </c:pt>
                <c:pt idx="2284">
                  <c:v>2134.7199999999998</c:v>
                </c:pt>
                <c:pt idx="2285">
                  <c:v>2134.2800000000002</c:v>
                </c:pt>
                <c:pt idx="2286">
                  <c:v>2161.27</c:v>
                </c:pt>
                <c:pt idx="2287">
                  <c:v>2160.77</c:v>
                </c:pt>
                <c:pt idx="2288">
                  <c:v>2153.41</c:v>
                </c:pt>
                <c:pt idx="2289">
                  <c:v>2176.2399999999998</c:v>
                </c:pt>
                <c:pt idx="2290">
                  <c:v>2191.86</c:v>
                </c:pt>
                <c:pt idx="2291">
                  <c:v>2169.67</c:v>
                </c:pt>
                <c:pt idx="2292">
                  <c:v>2160.2399999999998</c:v>
                </c:pt>
                <c:pt idx="2293">
                  <c:v>2126.91</c:v>
                </c:pt>
                <c:pt idx="2294">
                  <c:v>2136.73</c:v>
                </c:pt>
                <c:pt idx="2295">
                  <c:v>2134.11</c:v>
                </c:pt>
                <c:pt idx="2296">
                  <c:v>2144.8200000000002</c:v>
                </c:pt>
                <c:pt idx="2297">
                  <c:v>2133.37</c:v>
                </c:pt>
                <c:pt idx="2298">
                  <c:v>2149.08</c:v>
                </c:pt>
                <c:pt idx="2299">
                  <c:v>2150.2600000000002</c:v>
                </c:pt>
                <c:pt idx="2300">
                  <c:v>2165.12</c:v>
                </c:pt>
                <c:pt idx="2301">
                  <c:v>2164.56</c:v>
                </c:pt>
                <c:pt idx="2302">
                  <c:v>2170.87</c:v>
                </c:pt>
                <c:pt idx="2303">
                  <c:v>2180.19</c:v>
                </c:pt>
                <c:pt idx="2304">
                  <c:v>2178.6999999999998</c:v>
                </c:pt>
                <c:pt idx="2305">
                  <c:v>2176.29</c:v>
                </c:pt>
                <c:pt idx="2306">
                  <c:v>2180.4699999999998</c:v>
                </c:pt>
                <c:pt idx="2307">
                  <c:v>2148.71</c:v>
                </c:pt>
                <c:pt idx="2308">
                  <c:v>2142.85</c:v>
                </c:pt>
                <c:pt idx="2309">
                  <c:v>2148.0100000000002</c:v>
                </c:pt>
                <c:pt idx="2310">
                  <c:v>2171.7600000000002</c:v>
                </c:pt>
                <c:pt idx="2311">
                  <c:v>2174.98</c:v>
                </c:pt>
                <c:pt idx="2312">
                  <c:v>2170.87</c:v>
                </c:pt>
                <c:pt idx="2313">
                  <c:v>2157.0700000000002</c:v>
                </c:pt>
                <c:pt idx="2314">
                  <c:v>2164.14</c:v>
                </c:pt>
                <c:pt idx="2315">
                  <c:v>2166.3000000000002</c:v>
                </c:pt>
                <c:pt idx="2316">
                  <c:v>2192.6999999999998</c:v>
                </c:pt>
                <c:pt idx="2317">
                  <c:v>2197.83</c:v>
                </c:pt>
                <c:pt idx="2318">
                  <c:v>2237.02</c:v>
                </c:pt>
                <c:pt idx="2319">
                  <c:v>2260.4499999999998</c:v>
                </c:pt>
                <c:pt idx="2320">
                  <c:v>2323.9</c:v>
                </c:pt>
                <c:pt idx="2321">
                  <c:v>2331.37</c:v>
                </c:pt>
                <c:pt idx="2322">
                  <c:v>2322.0100000000002</c:v>
                </c:pt>
                <c:pt idx="2323">
                  <c:v>2350.25</c:v>
                </c:pt>
                <c:pt idx="2324">
                  <c:v>2329.4</c:v>
                </c:pt>
                <c:pt idx="2325">
                  <c:v>2375.62</c:v>
                </c:pt>
                <c:pt idx="2326">
                  <c:v>2369.35</c:v>
                </c:pt>
                <c:pt idx="2327">
                  <c:v>2363.2199999999998</c:v>
                </c:pt>
                <c:pt idx="2328">
                  <c:v>2327.46</c:v>
                </c:pt>
                <c:pt idx="2329">
                  <c:v>2331.13</c:v>
                </c:pt>
                <c:pt idx="2330">
                  <c:v>2365.35</c:v>
                </c:pt>
                <c:pt idx="2331">
                  <c:v>2357.0500000000002</c:v>
                </c:pt>
                <c:pt idx="2332">
                  <c:v>2358.9</c:v>
                </c:pt>
                <c:pt idx="2333">
                  <c:v>2335.9499999999998</c:v>
                </c:pt>
                <c:pt idx="2334">
                  <c:v>2360.64</c:v>
                </c:pt>
                <c:pt idx="2335">
                  <c:v>2374.56</c:v>
                </c:pt>
                <c:pt idx="2336">
                  <c:v>2374.77</c:v>
                </c:pt>
                <c:pt idx="2337">
                  <c:v>2366.14</c:v>
                </c:pt>
                <c:pt idx="2338">
                  <c:v>2354.2399999999998</c:v>
                </c:pt>
                <c:pt idx="2339">
                  <c:v>2365.36</c:v>
                </c:pt>
                <c:pt idx="2340">
                  <c:v>2342.86</c:v>
                </c:pt>
                <c:pt idx="2341">
                  <c:v>2324.09</c:v>
                </c:pt>
                <c:pt idx="2342">
                  <c:v>2327.59</c:v>
                </c:pt>
                <c:pt idx="2343">
                  <c:v>2311.2800000000002</c:v>
                </c:pt>
                <c:pt idx="2344">
                  <c:v>2338.29</c:v>
                </c:pt>
                <c:pt idx="2345">
                  <c:v>2355.3200000000002</c:v>
                </c:pt>
                <c:pt idx="2346">
                  <c:v>2386.46</c:v>
                </c:pt>
                <c:pt idx="2347">
                  <c:v>2408.84</c:v>
                </c:pt>
                <c:pt idx="2348">
                  <c:v>2426.2199999999998</c:v>
                </c:pt>
                <c:pt idx="2349">
                  <c:v>2449.2600000000002</c:v>
                </c:pt>
                <c:pt idx="2350">
                  <c:v>2445.2199999999998</c:v>
                </c:pt>
                <c:pt idx="2351">
                  <c:v>2432.4299999999998</c:v>
                </c:pt>
                <c:pt idx="2352">
                  <c:v>2423.4499999999998</c:v>
                </c:pt>
                <c:pt idx="2353">
                  <c:v>2438.36</c:v>
                </c:pt>
                <c:pt idx="2354">
                  <c:v>2437.19</c:v>
                </c:pt>
                <c:pt idx="2355">
                  <c:v>2388.77</c:v>
                </c:pt>
                <c:pt idx="2356">
                  <c:v>2401.33</c:v>
                </c:pt>
                <c:pt idx="2357">
                  <c:v>2408.66</c:v>
                </c:pt>
                <c:pt idx="2358">
                  <c:v>2425.21</c:v>
                </c:pt>
                <c:pt idx="2359">
                  <c:v>2378.92</c:v>
                </c:pt>
                <c:pt idx="2360">
                  <c:v>2399.46</c:v>
                </c:pt>
                <c:pt idx="2361">
                  <c:v>2441.86</c:v>
                </c:pt>
                <c:pt idx="2362">
                  <c:v>2436.9699999999998</c:v>
                </c:pt>
                <c:pt idx="2363">
                  <c:v>2437.1999999999998</c:v>
                </c:pt>
                <c:pt idx="2364">
                  <c:v>2447.8000000000002</c:v>
                </c:pt>
                <c:pt idx="2365">
                  <c:v>2450.9899999999998</c:v>
                </c:pt>
                <c:pt idx="2366">
                  <c:v>2478.38</c:v>
                </c:pt>
                <c:pt idx="2367">
                  <c:v>2481.96</c:v>
                </c:pt>
                <c:pt idx="2368">
                  <c:v>2466.79</c:v>
                </c:pt>
                <c:pt idx="2369">
                  <c:v>2454.9499999999998</c:v>
                </c:pt>
                <c:pt idx="2370">
                  <c:v>2446.56</c:v>
                </c:pt>
                <c:pt idx="2371">
                  <c:v>2463.87</c:v>
                </c:pt>
                <c:pt idx="2372">
                  <c:v>2444.4</c:v>
                </c:pt>
                <c:pt idx="2373">
                  <c:v>2441.73</c:v>
                </c:pt>
                <c:pt idx="2374">
                  <c:v>2454.71</c:v>
                </c:pt>
                <c:pt idx="2375">
                  <c:v>2433.39</c:v>
                </c:pt>
                <c:pt idx="2376">
                  <c:v>2418.64</c:v>
                </c:pt>
                <c:pt idx="2377">
                  <c:v>2395.94</c:v>
                </c:pt>
                <c:pt idx="2378">
                  <c:v>2390.71</c:v>
                </c:pt>
                <c:pt idx="2379">
                  <c:v>2368.83</c:v>
                </c:pt>
                <c:pt idx="2380">
                  <c:v>2416.65</c:v>
                </c:pt>
                <c:pt idx="2381">
                  <c:v>2451.38</c:v>
                </c:pt>
                <c:pt idx="2382">
                  <c:v>2468.9299999999998</c:v>
                </c:pt>
                <c:pt idx="2383">
                  <c:v>2508.3200000000002</c:v>
                </c:pt>
                <c:pt idx="2384">
                  <c:v>2512.5500000000002</c:v>
                </c:pt>
                <c:pt idx="2385">
                  <c:v>2513.17</c:v>
                </c:pt>
                <c:pt idx="2386">
                  <c:v>2503.4499999999998</c:v>
                </c:pt>
                <c:pt idx="2387">
                  <c:v>2506.0700000000002</c:v>
                </c:pt>
                <c:pt idx="2388">
                  <c:v>2502.15</c:v>
                </c:pt>
                <c:pt idx="2389">
                  <c:v>2565.73</c:v>
                </c:pt>
                <c:pt idx="2390">
                  <c:v>2558.61</c:v>
                </c:pt>
                <c:pt idx="2391">
                  <c:v>2594.3200000000002</c:v>
                </c:pt>
                <c:pt idx="2392">
                  <c:v>2579.75</c:v>
                </c:pt>
                <c:pt idx="2393">
                  <c:v>2581.09</c:v>
                </c:pt>
                <c:pt idx="2394">
                  <c:v>2567.1</c:v>
                </c:pt>
                <c:pt idx="2395">
                  <c:v>2541.42</c:v>
                </c:pt>
                <c:pt idx="2396">
                  <c:v>2537.2199999999998</c:v>
                </c:pt>
                <c:pt idx="2397">
                  <c:v>2537.1</c:v>
                </c:pt>
                <c:pt idx="2398">
                  <c:v>2583.46</c:v>
                </c:pt>
                <c:pt idx="2399">
                  <c:v>2649.26</c:v>
                </c:pt>
                <c:pt idx="2400">
                  <c:v>2685.56</c:v>
                </c:pt>
                <c:pt idx="2401">
                  <c:v>2723.02</c:v>
                </c:pt>
                <c:pt idx="2402">
                  <c:v>2754.49</c:v>
                </c:pt>
                <c:pt idx="2403">
                  <c:v>2808.82</c:v>
                </c:pt>
                <c:pt idx="2404">
                  <c:v>2819.81</c:v>
                </c:pt>
                <c:pt idx="2405">
                  <c:v>2923.94</c:v>
                </c:pt>
                <c:pt idx="2406">
                  <c:v>2967.55</c:v>
                </c:pt>
                <c:pt idx="2407">
                  <c:v>3104.35</c:v>
                </c:pt>
                <c:pt idx="2408">
                  <c:v>3124.89</c:v>
                </c:pt>
                <c:pt idx="2409">
                  <c:v>3252.88</c:v>
                </c:pt>
                <c:pt idx="2410">
                  <c:v>3106.91</c:v>
                </c:pt>
                <c:pt idx="2411">
                  <c:v>3221.55</c:v>
                </c:pt>
                <c:pt idx="2412">
                  <c:v>3183.01</c:v>
                </c:pt>
                <c:pt idx="2413">
                  <c:v>3193.23</c:v>
                </c:pt>
                <c:pt idx="2414">
                  <c:v>3217.23</c:v>
                </c:pt>
                <c:pt idx="2415">
                  <c:v>3303.4</c:v>
                </c:pt>
                <c:pt idx="2416">
                  <c:v>3360.6</c:v>
                </c:pt>
                <c:pt idx="2417">
                  <c:v>3345.93</c:v>
                </c:pt>
                <c:pt idx="2418">
                  <c:v>3383.17</c:v>
                </c:pt>
                <c:pt idx="2419">
                  <c:v>3394.48</c:v>
                </c:pt>
                <c:pt idx="2420">
                  <c:v>3324.92</c:v>
                </c:pt>
                <c:pt idx="2421">
                  <c:v>3230.39</c:v>
                </c:pt>
                <c:pt idx="2422">
                  <c:v>3335.42</c:v>
                </c:pt>
                <c:pt idx="2423">
                  <c:v>3445.84</c:v>
                </c:pt>
                <c:pt idx="2424">
                  <c:v>3455.46</c:v>
                </c:pt>
                <c:pt idx="2425">
                  <c:v>3457.55</c:v>
                </c:pt>
                <c:pt idx="2426">
                  <c:v>3533.71</c:v>
                </c:pt>
                <c:pt idx="2427">
                  <c:v>3641.54</c:v>
                </c:pt>
                <c:pt idx="2428">
                  <c:v>3641.06</c:v>
                </c:pt>
                <c:pt idx="2429">
                  <c:v>3643.79</c:v>
                </c:pt>
                <c:pt idx="2430">
                  <c:v>3559.26</c:v>
                </c:pt>
                <c:pt idx="2431">
                  <c:v>3546.72</c:v>
                </c:pt>
                <c:pt idx="2432">
                  <c:v>3513.58</c:v>
                </c:pt>
                <c:pt idx="2433">
                  <c:v>3514.04</c:v>
                </c:pt>
                <c:pt idx="2434">
                  <c:v>3502.42</c:v>
                </c:pt>
                <c:pt idx="2435">
                  <c:v>3604.12</c:v>
                </c:pt>
                <c:pt idx="2436">
                  <c:v>3635.15</c:v>
                </c:pt>
                <c:pt idx="2437">
                  <c:v>3355.16</c:v>
                </c:pt>
                <c:pt idx="2438">
                  <c:v>3396.22</c:v>
                </c:pt>
                <c:pt idx="2439">
                  <c:v>3548.89</c:v>
                </c:pt>
                <c:pt idx="2440">
                  <c:v>3567.61</c:v>
                </c:pt>
                <c:pt idx="2441">
                  <c:v>3571.73</c:v>
                </c:pt>
                <c:pt idx="2442">
                  <c:v>3607.99</c:v>
                </c:pt>
                <c:pt idx="2443">
                  <c:v>3574.93</c:v>
                </c:pt>
                <c:pt idx="2444">
                  <c:v>3525.32</c:v>
                </c:pt>
                <c:pt idx="2445">
                  <c:v>3481.8</c:v>
                </c:pt>
                <c:pt idx="2446">
                  <c:v>3434.39</c:v>
                </c:pt>
                <c:pt idx="2447">
                  <c:v>3353.96</c:v>
                </c:pt>
                <c:pt idx="2448">
                  <c:v>3437.45</c:v>
                </c:pt>
                <c:pt idx="2449">
                  <c:v>3401.77</c:v>
                </c:pt>
                <c:pt idx="2450">
                  <c:v>3366.95</c:v>
                </c:pt>
                <c:pt idx="2451">
                  <c:v>3312.42</c:v>
                </c:pt>
                <c:pt idx="2452">
                  <c:v>3345.92</c:v>
                </c:pt>
                <c:pt idx="2453">
                  <c:v>3406.94</c:v>
                </c:pt>
                <c:pt idx="2454">
                  <c:v>3434.12</c:v>
                </c:pt>
                <c:pt idx="2455">
                  <c:v>3442.87</c:v>
                </c:pt>
                <c:pt idx="2456">
                  <c:v>3469.83</c:v>
                </c:pt>
                <c:pt idx="2457">
                  <c:v>3499.48</c:v>
                </c:pt>
                <c:pt idx="2458">
                  <c:v>3522.32</c:v>
                </c:pt>
                <c:pt idx="2459">
                  <c:v>3478.73</c:v>
                </c:pt>
                <c:pt idx="2460">
                  <c:v>3566.3</c:v>
                </c:pt>
                <c:pt idx="2461">
                  <c:v>3572.84</c:v>
                </c:pt>
                <c:pt idx="2462">
                  <c:v>3601.27</c:v>
                </c:pt>
                <c:pt idx="2463">
                  <c:v>3507.9</c:v>
                </c:pt>
                <c:pt idx="2464">
                  <c:v>3530.82</c:v>
                </c:pt>
                <c:pt idx="2465">
                  <c:v>3496.34</c:v>
                </c:pt>
                <c:pt idx="2466">
                  <c:v>3478.52</c:v>
                </c:pt>
                <c:pt idx="2467">
                  <c:v>3537.75</c:v>
                </c:pt>
                <c:pt idx="2468">
                  <c:v>3520.61</c:v>
                </c:pt>
                <c:pt idx="2469">
                  <c:v>3524.65</c:v>
                </c:pt>
                <c:pt idx="2470">
                  <c:v>3592.84</c:v>
                </c:pt>
                <c:pt idx="2471">
                  <c:v>3617.66</c:v>
                </c:pt>
                <c:pt idx="2472">
                  <c:v>3705.67</c:v>
                </c:pt>
                <c:pt idx="2473">
                  <c:v>3757.12</c:v>
                </c:pt>
                <c:pt idx="2474">
                  <c:v>3846.06</c:v>
                </c:pt>
                <c:pt idx="2475">
                  <c:v>3839.74</c:v>
                </c:pt>
                <c:pt idx="2476">
                  <c:v>3892.57</c:v>
                </c:pt>
                <c:pt idx="2477">
                  <c:v>3972.06</c:v>
                </c:pt>
                <c:pt idx="2478">
                  <c:v>3973.05</c:v>
                </c:pt>
                <c:pt idx="2479">
                  <c:v>3940.41</c:v>
                </c:pt>
                <c:pt idx="2480">
                  <c:v>3950</c:v>
                </c:pt>
                <c:pt idx="2481">
                  <c:v>3971.7</c:v>
                </c:pt>
                <c:pt idx="2482">
                  <c:v>4088.18</c:v>
                </c:pt>
                <c:pt idx="2483">
                  <c:v>4051.2</c:v>
                </c:pt>
                <c:pt idx="2484">
                  <c:v>4123.8999999999996</c:v>
                </c:pt>
                <c:pt idx="2485">
                  <c:v>4124.78</c:v>
                </c:pt>
                <c:pt idx="2486">
                  <c:v>4170.54</c:v>
                </c:pt>
                <c:pt idx="2487">
                  <c:v>4260.04</c:v>
                </c:pt>
                <c:pt idx="2488">
                  <c:v>4295.8</c:v>
                </c:pt>
                <c:pt idx="2489">
                  <c:v>4262.1400000000003</c:v>
                </c:pt>
                <c:pt idx="2490">
                  <c:v>4344.42</c:v>
                </c:pt>
                <c:pt idx="2491">
                  <c:v>4421.07</c:v>
                </c:pt>
                <c:pt idx="2492">
                  <c:v>4438.18</c:v>
                </c:pt>
                <c:pt idx="2493">
                  <c:v>4380.51</c:v>
                </c:pt>
                <c:pt idx="2494">
                  <c:v>4513.55</c:v>
                </c:pt>
                <c:pt idx="2495">
                  <c:v>4596.1400000000003</c:v>
                </c:pt>
                <c:pt idx="2496">
                  <c:v>4521.92</c:v>
                </c:pt>
                <c:pt idx="2497">
                  <c:v>4619.16</c:v>
                </c:pt>
                <c:pt idx="2498">
                  <c:v>4739.8100000000004</c:v>
                </c:pt>
                <c:pt idx="2499">
                  <c:v>4740.8900000000003</c:v>
                </c:pt>
                <c:pt idx="2500">
                  <c:v>4702.6400000000003</c:v>
                </c:pt>
                <c:pt idx="2501">
                  <c:v>4807.59</c:v>
                </c:pt>
                <c:pt idx="2502">
                  <c:v>4741.8599999999997</c:v>
                </c:pt>
                <c:pt idx="2503">
                  <c:v>4774.33</c:v>
                </c:pt>
                <c:pt idx="2504">
                  <c:v>4749.8900000000003</c:v>
                </c:pt>
                <c:pt idx="2505">
                  <c:v>4787.74</c:v>
                </c:pt>
                <c:pt idx="2506">
                  <c:v>4596.84</c:v>
                </c:pt>
                <c:pt idx="2507">
                  <c:v>4553.33</c:v>
                </c:pt>
                <c:pt idx="2508">
                  <c:v>4470.09</c:v>
                </c:pt>
                <c:pt idx="2509">
                  <c:v>4558.3999999999996</c:v>
                </c:pt>
                <c:pt idx="2510">
                  <c:v>4690.53</c:v>
                </c:pt>
                <c:pt idx="2511">
                  <c:v>4747.42</c:v>
                </c:pt>
                <c:pt idx="2512">
                  <c:v>4718.4399999999996</c:v>
                </c:pt>
                <c:pt idx="2513">
                  <c:v>4700.78</c:v>
                </c:pt>
                <c:pt idx="2514">
                  <c:v>4617.47</c:v>
                </c:pt>
                <c:pt idx="2515">
                  <c:v>4575.1400000000003</c:v>
                </c:pt>
                <c:pt idx="2516">
                  <c:v>4731.22</c:v>
                </c:pt>
                <c:pt idx="2517">
                  <c:v>4754.92</c:v>
                </c:pt>
                <c:pt idx="2518">
                  <c:v>4840.9799999999996</c:v>
                </c:pt>
                <c:pt idx="2519">
                  <c:v>4951.34</c:v>
                </c:pt>
                <c:pt idx="2520">
                  <c:v>5099.5</c:v>
                </c:pt>
                <c:pt idx="2521">
                  <c:v>5198.92</c:v>
                </c:pt>
                <c:pt idx="2522">
                  <c:v>5181.43</c:v>
                </c:pt>
                <c:pt idx="2523">
                  <c:v>4834.01</c:v>
                </c:pt>
                <c:pt idx="2524">
                  <c:v>4840.83</c:v>
                </c:pt>
                <c:pt idx="2525">
                  <c:v>5076.18</c:v>
                </c:pt>
                <c:pt idx="2526">
                  <c:v>5161.87</c:v>
                </c:pt>
                <c:pt idx="2527">
                  <c:v>5143.59</c:v>
                </c:pt>
                <c:pt idx="2528">
                  <c:v>5181.42</c:v>
                </c:pt>
                <c:pt idx="2529">
                  <c:v>5230.55</c:v>
                </c:pt>
                <c:pt idx="2530">
                  <c:v>5353.75</c:v>
                </c:pt>
                <c:pt idx="2531">
                  <c:v>5317.46</c:v>
                </c:pt>
                <c:pt idx="2532">
                  <c:v>5309.11</c:v>
                </c:pt>
                <c:pt idx="2533">
                  <c:v>5306.59</c:v>
                </c:pt>
                <c:pt idx="2534">
                  <c:v>5335.12</c:v>
                </c:pt>
                <c:pt idx="2535">
                  <c:v>5221.17</c:v>
                </c:pt>
                <c:pt idx="2536">
                  <c:v>5064.82</c:v>
                </c:pt>
                <c:pt idx="2537">
                  <c:v>5138.83</c:v>
                </c:pt>
                <c:pt idx="2538">
                  <c:v>4930.55</c:v>
                </c:pt>
                <c:pt idx="2539">
                  <c:v>4637.05</c:v>
                </c:pt>
                <c:pt idx="2540">
                  <c:v>4786.09</c:v>
                </c:pt>
                <c:pt idx="2541">
                  <c:v>4880.13</c:v>
                </c:pt>
                <c:pt idx="2542">
                  <c:v>4706.5200000000004</c:v>
                </c:pt>
                <c:pt idx="2543">
                  <c:v>4336.1899999999996</c:v>
                </c:pt>
                <c:pt idx="2544">
                  <c:v>4191.55</c:v>
                </c:pt>
                <c:pt idx="2545">
                  <c:v>4473</c:v>
                </c:pt>
                <c:pt idx="2546">
                  <c:v>4253.0200000000004</c:v>
                </c:pt>
                <c:pt idx="2547">
                  <c:v>4108</c:v>
                </c:pt>
                <c:pt idx="2548">
                  <c:v>3885.92</c:v>
                </c:pt>
                <c:pt idx="2549">
                  <c:v>3998.54</c:v>
                </c:pt>
                <c:pt idx="2550">
                  <c:v>3928</c:v>
                </c:pt>
                <c:pt idx="2551">
                  <c:v>3663.04</c:v>
                </c:pt>
                <c:pt idx="2552">
                  <c:v>3897.63</c:v>
                </c:pt>
                <c:pt idx="2553">
                  <c:v>4106.5600000000004</c:v>
                </c:pt>
                <c:pt idx="2554">
                  <c:v>4211.8100000000004</c:v>
                </c:pt>
                <c:pt idx="2555">
                  <c:v>4112.1499999999996</c:v>
                </c:pt>
                <c:pt idx="2556">
                  <c:v>3966.76</c:v>
                </c:pt>
                <c:pt idx="2557">
                  <c:v>3997.36</c:v>
                </c:pt>
                <c:pt idx="2558">
                  <c:v>4151.5</c:v>
                </c:pt>
                <c:pt idx="2559">
                  <c:v>4160.6099999999997</c:v>
                </c:pt>
                <c:pt idx="2560">
                  <c:v>4166.01</c:v>
                </c:pt>
                <c:pt idx="2561">
                  <c:v>4157.16</c:v>
                </c:pt>
                <c:pt idx="2562">
                  <c:v>4250.8100000000004</c:v>
                </c:pt>
                <c:pt idx="2563">
                  <c:v>4176.28</c:v>
                </c:pt>
                <c:pt idx="2564">
                  <c:v>3818.73</c:v>
                </c:pt>
                <c:pt idx="2565">
                  <c:v>3811.09</c:v>
                </c:pt>
                <c:pt idx="2566">
                  <c:v>3930.38</c:v>
                </c:pt>
                <c:pt idx="2567">
                  <c:v>3815.41</c:v>
                </c:pt>
                <c:pt idx="2568">
                  <c:v>3816.7</c:v>
                </c:pt>
                <c:pt idx="2569">
                  <c:v>3829.24</c:v>
                </c:pt>
                <c:pt idx="2570">
                  <c:v>3948.16</c:v>
                </c:pt>
                <c:pt idx="2571">
                  <c:v>3866.9</c:v>
                </c:pt>
                <c:pt idx="2572">
                  <c:v>3831.85</c:v>
                </c:pt>
                <c:pt idx="2573">
                  <c:v>3906.94</c:v>
                </c:pt>
                <c:pt idx="2574">
                  <c:v>4084.36</c:v>
                </c:pt>
                <c:pt idx="2575">
                  <c:v>4066.67</c:v>
                </c:pt>
                <c:pt idx="2576">
                  <c:v>4016.13</c:v>
                </c:pt>
                <c:pt idx="2577">
                  <c:v>4075.46</c:v>
                </c:pt>
                <c:pt idx="2578">
                  <c:v>4073.54</c:v>
                </c:pt>
                <c:pt idx="2579">
                  <c:v>4077.87</c:v>
                </c:pt>
                <c:pt idx="2580">
                  <c:v>3825.41</c:v>
                </c:pt>
                <c:pt idx="2581">
                  <c:v>3886.14</c:v>
                </c:pt>
                <c:pt idx="2582">
                  <c:v>3761.45</c:v>
                </c:pt>
                <c:pt idx="2583">
                  <c:v>3589.54</c:v>
                </c:pt>
                <c:pt idx="2584">
                  <c:v>3275.53</c:v>
                </c:pt>
                <c:pt idx="2585">
                  <c:v>3042.93</c:v>
                </c:pt>
                <c:pt idx="2586">
                  <c:v>3025.69</c:v>
                </c:pt>
                <c:pt idx="2587">
                  <c:v>3205.64</c:v>
                </c:pt>
                <c:pt idx="2588">
                  <c:v>3342.29</c:v>
                </c:pt>
                <c:pt idx="2589">
                  <c:v>3366.54</c:v>
                </c:pt>
                <c:pt idx="2590">
                  <c:v>3362.08</c:v>
                </c:pt>
                <c:pt idx="2591">
                  <c:v>3365.83</c:v>
                </c:pt>
                <c:pt idx="2592">
                  <c:v>3250.49</c:v>
                </c:pt>
                <c:pt idx="2593">
                  <c:v>3334.02</c:v>
                </c:pt>
                <c:pt idx="2594">
                  <c:v>3399.31</c:v>
                </c:pt>
                <c:pt idx="2595">
                  <c:v>3357.56</c:v>
                </c:pt>
                <c:pt idx="2596">
                  <c:v>3347.19</c:v>
                </c:pt>
                <c:pt idx="2597">
                  <c:v>3281.13</c:v>
                </c:pt>
                <c:pt idx="2598">
                  <c:v>3152.23</c:v>
                </c:pt>
                <c:pt idx="2599">
                  <c:v>3309.25</c:v>
                </c:pt>
                <c:pt idx="2600">
                  <c:v>3237</c:v>
                </c:pt>
                <c:pt idx="2601">
                  <c:v>3251.27</c:v>
                </c:pt>
                <c:pt idx="2602">
                  <c:v>3308.25</c:v>
                </c:pt>
                <c:pt idx="2603">
                  <c:v>3339.03</c:v>
                </c:pt>
                <c:pt idx="2604">
                  <c:v>3263.03</c:v>
                </c:pt>
                <c:pt idx="2605">
                  <c:v>3285</c:v>
                </c:pt>
                <c:pt idx="2606">
                  <c:v>3231.95</c:v>
                </c:pt>
                <c:pt idx="2607">
                  <c:v>3242.75</c:v>
                </c:pt>
                <c:pt idx="2608">
                  <c:v>3178.85</c:v>
                </c:pt>
                <c:pt idx="2609">
                  <c:v>3202.95</c:v>
                </c:pt>
                <c:pt idx="2610">
                  <c:v>3296.48</c:v>
                </c:pt>
                <c:pt idx="2611">
                  <c:v>3340.12</c:v>
                </c:pt>
                <c:pt idx="2612">
                  <c:v>3447.69</c:v>
                </c:pt>
                <c:pt idx="2613">
                  <c:v>3445.04</c:v>
                </c:pt>
                <c:pt idx="2614">
                  <c:v>3406.11</c:v>
                </c:pt>
                <c:pt idx="2615">
                  <c:v>3486.82</c:v>
                </c:pt>
                <c:pt idx="2616">
                  <c:v>3534.07</c:v>
                </c:pt>
                <c:pt idx="2617">
                  <c:v>3534.18</c:v>
                </c:pt>
                <c:pt idx="2618">
                  <c:v>3577.7</c:v>
                </c:pt>
                <c:pt idx="2619">
                  <c:v>3473.25</c:v>
                </c:pt>
                <c:pt idx="2620">
                  <c:v>3524.53</c:v>
                </c:pt>
                <c:pt idx="2621">
                  <c:v>3571.24</c:v>
                </c:pt>
                <c:pt idx="2622">
                  <c:v>3589.26</c:v>
                </c:pt>
                <c:pt idx="2623">
                  <c:v>3592.88</c:v>
                </c:pt>
                <c:pt idx="2624">
                  <c:v>3524.92</c:v>
                </c:pt>
                <c:pt idx="2625">
                  <c:v>3533.31</c:v>
                </c:pt>
                <c:pt idx="2626">
                  <c:v>3534.08</c:v>
                </c:pt>
                <c:pt idx="2627">
                  <c:v>3475.96</c:v>
                </c:pt>
                <c:pt idx="2628">
                  <c:v>3465.49</c:v>
                </c:pt>
                <c:pt idx="2629">
                  <c:v>3628.54</c:v>
                </c:pt>
                <c:pt idx="2630">
                  <c:v>3705.97</c:v>
                </c:pt>
                <c:pt idx="2631">
                  <c:v>3793.37</c:v>
                </c:pt>
                <c:pt idx="2632">
                  <c:v>3840.35</c:v>
                </c:pt>
                <c:pt idx="2633">
                  <c:v>3833.24</c:v>
                </c:pt>
                <c:pt idx="2634">
                  <c:v>3833.65</c:v>
                </c:pt>
                <c:pt idx="2635">
                  <c:v>3795.32</c:v>
                </c:pt>
                <c:pt idx="2636">
                  <c:v>3746.24</c:v>
                </c:pt>
                <c:pt idx="2637">
                  <c:v>3764.13</c:v>
                </c:pt>
                <c:pt idx="2638">
                  <c:v>3758.39</c:v>
                </c:pt>
                <c:pt idx="2639">
                  <c:v>3715.58</c:v>
                </c:pt>
                <c:pt idx="2640">
                  <c:v>3774.97</c:v>
                </c:pt>
                <c:pt idx="2641">
                  <c:v>3774.38</c:v>
                </c:pt>
                <c:pt idx="2642">
                  <c:v>3753.34</c:v>
                </c:pt>
                <c:pt idx="2643">
                  <c:v>3753.89</c:v>
                </c:pt>
                <c:pt idx="2644">
                  <c:v>3781.61</c:v>
                </c:pt>
                <c:pt idx="2645">
                  <c:v>3759.43</c:v>
                </c:pt>
                <c:pt idx="2646">
                  <c:v>3556.99</c:v>
                </c:pt>
                <c:pt idx="2647">
                  <c:v>3566.41</c:v>
                </c:pt>
                <c:pt idx="2648">
                  <c:v>3591.7</c:v>
                </c:pt>
                <c:pt idx="2649">
                  <c:v>3721.95</c:v>
                </c:pt>
                <c:pt idx="2650">
                  <c:v>3749.3</c:v>
                </c:pt>
                <c:pt idx="2651">
                  <c:v>3677.59</c:v>
                </c:pt>
                <c:pt idx="2652">
                  <c:v>3687.61</c:v>
                </c:pt>
                <c:pt idx="2653">
                  <c:v>3623.02</c:v>
                </c:pt>
                <c:pt idx="2654">
                  <c:v>3635.94</c:v>
                </c:pt>
                <c:pt idx="2655">
                  <c:v>3623.08</c:v>
                </c:pt>
                <c:pt idx="2656">
                  <c:v>3608.06</c:v>
                </c:pt>
                <c:pt idx="2657">
                  <c:v>3711.32</c:v>
                </c:pt>
                <c:pt idx="2658">
                  <c:v>3694.39</c:v>
                </c:pt>
                <c:pt idx="2659">
                  <c:v>3685.44</c:v>
                </c:pt>
                <c:pt idx="2660">
                  <c:v>3755.89</c:v>
                </c:pt>
                <c:pt idx="2661">
                  <c:v>3767.91</c:v>
                </c:pt>
                <c:pt idx="2662">
                  <c:v>3865.97</c:v>
                </c:pt>
                <c:pt idx="2663">
                  <c:v>3876.73</c:v>
                </c:pt>
                <c:pt idx="2664">
                  <c:v>3866.38</c:v>
                </c:pt>
                <c:pt idx="2665">
                  <c:v>3829.4</c:v>
                </c:pt>
                <c:pt idx="2666">
                  <c:v>3838.2</c:v>
                </c:pt>
                <c:pt idx="2667">
                  <c:v>3727.63</c:v>
                </c:pt>
                <c:pt idx="2668">
                  <c:v>3761.87</c:v>
                </c:pt>
                <c:pt idx="2669">
                  <c:v>3765.18</c:v>
                </c:pt>
                <c:pt idx="2670">
                  <c:v>3731</c:v>
                </c:pt>
                <c:pt idx="2671">
                  <c:v>3469.07</c:v>
                </c:pt>
                <c:pt idx="2672">
                  <c:v>3478.78</c:v>
                </c:pt>
                <c:pt idx="2673">
                  <c:v>3539.81</c:v>
                </c:pt>
                <c:pt idx="2674">
                  <c:v>3294.38</c:v>
                </c:pt>
                <c:pt idx="2675">
                  <c:v>3361.56</c:v>
                </c:pt>
                <c:pt idx="2676">
                  <c:v>3192.45</c:v>
                </c:pt>
                <c:pt idx="2677">
                  <c:v>3215.71</c:v>
                </c:pt>
                <c:pt idx="2678">
                  <c:v>3155.88</c:v>
                </c:pt>
                <c:pt idx="2679">
                  <c:v>3221.57</c:v>
                </c:pt>
                <c:pt idx="2680">
                  <c:v>3118.73</c:v>
                </c:pt>
                <c:pt idx="2681">
                  <c:v>3130.73</c:v>
                </c:pt>
                <c:pt idx="2682">
                  <c:v>3223.13</c:v>
                </c:pt>
                <c:pt idx="2683">
                  <c:v>3174.38</c:v>
                </c:pt>
                <c:pt idx="2684">
                  <c:v>3081.35</c:v>
                </c:pt>
                <c:pt idx="2685">
                  <c:v>3113.46</c:v>
                </c:pt>
                <c:pt idx="2686">
                  <c:v>3128.89</c:v>
                </c:pt>
                <c:pt idx="2687">
                  <c:v>2940.51</c:v>
                </c:pt>
                <c:pt idx="2688">
                  <c:v>2930.35</c:v>
                </c:pt>
                <c:pt idx="2689">
                  <c:v>2853.76</c:v>
                </c:pt>
                <c:pt idx="2690">
                  <c:v>2946.09</c:v>
                </c:pt>
                <c:pt idx="2691">
                  <c:v>2901.05</c:v>
                </c:pt>
                <c:pt idx="2692">
                  <c:v>2961.33</c:v>
                </c:pt>
                <c:pt idx="2693">
                  <c:v>2948.64</c:v>
                </c:pt>
                <c:pt idx="2694">
                  <c:v>2984.76</c:v>
                </c:pt>
                <c:pt idx="2695">
                  <c:v>2963.79</c:v>
                </c:pt>
                <c:pt idx="2696">
                  <c:v>2946.71</c:v>
                </c:pt>
                <c:pt idx="2697">
                  <c:v>3037.04</c:v>
                </c:pt>
                <c:pt idx="2698">
                  <c:v>3063.32</c:v>
                </c:pt>
                <c:pt idx="2699">
                  <c:v>3053.7</c:v>
                </c:pt>
                <c:pt idx="2700">
                  <c:v>3051.59</c:v>
                </c:pt>
                <c:pt idx="2701">
                  <c:v>3118.87</c:v>
                </c:pt>
                <c:pt idx="2702">
                  <c:v>3089.36</c:v>
                </c:pt>
                <c:pt idx="2703">
                  <c:v>3109.55</c:v>
                </c:pt>
                <c:pt idx="2704">
                  <c:v>2918.75</c:v>
                </c:pt>
                <c:pt idx="2705">
                  <c:v>2948.03</c:v>
                </c:pt>
                <c:pt idx="2706">
                  <c:v>2877.47</c:v>
                </c:pt>
                <c:pt idx="2707">
                  <c:v>2930.69</c:v>
                </c:pt>
                <c:pt idx="2708">
                  <c:v>3051.33</c:v>
                </c:pt>
                <c:pt idx="2709">
                  <c:v>3058.42</c:v>
                </c:pt>
                <c:pt idx="2710">
                  <c:v>3093.89</c:v>
                </c:pt>
                <c:pt idx="2711">
                  <c:v>3104.84</c:v>
                </c:pt>
                <c:pt idx="2712">
                  <c:v>3107.67</c:v>
                </c:pt>
                <c:pt idx="2713">
                  <c:v>3071.91</c:v>
                </c:pt>
                <c:pt idx="2714">
                  <c:v>3013.15</c:v>
                </c:pt>
                <c:pt idx="2715">
                  <c:v>3018.28</c:v>
                </c:pt>
                <c:pt idx="2716">
                  <c:v>3065.69</c:v>
                </c:pt>
                <c:pt idx="2717">
                  <c:v>3074.78</c:v>
                </c:pt>
                <c:pt idx="2718">
                  <c:v>3090.03</c:v>
                </c:pt>
                <c:pt idx="2719">
                  <c:v>3124.2</c:v>
                </c:pt>
                <c:pt idx="2720">
                  <c:v>3171.96</c:v>
                </c:pt>
                <c:pt idx="2721">
                  <c:v>3249.44</c:v>
                </c:pt>
                <c:pt idx="2722">
                  <c:v>3225.79</c:v>
                </c:pt>
                <c:pt idx="2723">
                  <c:v>3236.09</c:v>
                </c:pt>
                <c:pt idx="2724">
                  <c:v>3181.85</c:v>
                </c:pt>
                <c:pt idx="2725">
                  <c:v>3197.82</c:v>
                </c:pt>
                <c:pt idx="2726">
                  <c:v>3169.73</c:v>
                </c:pt>
                <c:pt idx="2727">
                  <c:v>3135.41</c:v>
                </c:pt>
                <c:pt idx="2728">
                  <c:v>3216.28</c:v>
                </c:pt>
                <c:pt idx="2729">
                  <c:v>3218.09</c:v>
                </c:pt>
                <c:pt idx="2730">
                  <c:v>3221.89</c:v>
                </c:pt>
                <c:pt idx="2731">
                  <c:v>3264.49</c:v>
                </c:pt>
                <c:pt idx="2732">
                  <c:v>3257.53</c:v>
                </c:pt>
                <c:pt idx="2733">
                  <c:v>3209.29</c:v>
                </c:pt>
                <c:pt idx="2734">
                  <c:v>3185.73</c:v>
                </c:pt>
                <c:pt idx="2735">
                  <c:v>3230.1</c:v>
                </c:pt>
                <c:pt idx="2736">
                  <c:v>3218.45</c:v>
                </c:pt>
                <c:pt idx="2737">
                  <c:v>3261.38</c:v>
                </c:pt>
                <c:pt idx="2738">
                  <c:v>3275.83</c:v>
                </c:pt>
                <c:pt idx="2739">
                  <c:v>3272.21</c:v>
                </c:pt>
                <c:pt idx="2740">
                  <c:v>3228.45</c:v>
                </c:pt>
                <c:pt idx="2741">
                  <c:v>3238.3</c:v>
                </c:pt>
                <c:pt idx="2742">
                  <c:v>3181.03</c:v>
                </c:pt>
                <c:pt idx="2743">
                  <c:v>3160.6</c:v>
                </c:pt>
                <c:pt idx="2744">
                  <c:v>3174.9</c:v>
                </c:pt>
                <c:pt idx="2745">
                  <c:v>3162.03</c:v>
                </c:pt>
                <c:pt idx="2746">
                  <c:v>3179.16</c:v>
                </c:pt>
                <c:pt idx="2747">
                  <c:v>3165.92</c:v>
                </c:pt>
                <c:pt idx="2748">
                  <c:v>3160.58</c:v>
                </c:pt>
                <c:pt idx="2749">
                  <c:v>3156.75</c:v>
                </c:pt>
                <c:pt idx="2750">
                  <c:v>3213.54</c:v>
                </c:pt>
                <c:pt idx="2751">
                  <c:v>3209.46</c:v>
                </c:pt>
                <c:pt idx="2752">
                  <c:v>3213.92</c:v>
                </c:pt>
                <c:pt idx="2753">
                  <c:v>3130.35</c:v>
                </c:pt>
                <c:pt idx="2754">
                  <c:v>3065.62</c:v>
                </c:pt>
                <c:pt idx="2755">
                  <c:v>3069.11</c:v>
                </c:pt>
                <c:pt idx="2756">
                  <c:v>3082.81</c:v>
                </c:pt>
                <c:pt idx="2757">
                  <c:v>3090.14</c:v>
                </c:pt>
                <c:pt idx="2758">
                  <c:v>3074.94</c:v>
                </c:pt>
                <c:pt idx="2759">
                  <c:v>3095.31</c:v>
                </c:pt>
                <c:pt idx="2760">
                  <c:v>3086.02</c:v>
                </c:pt>
                <c:pt idx="2761">
                  <c:v>3068.04</c:v>
                </c:pt>
                <c:pt idx="2762">
                  <c:v>3062.5</c:v>
                </c:pt>
                <c:pt idx="2763">
                  <c:v>3078.22</c:v>
                </c:pt>
                <c:pt idx="2764">
                  <c:v>3087.22</c:v>
                </c:pt>
                <c:pt idx="2765">
                  <c:v>3063.56</c:v>
                </c:pt>
                <c:pt idx="2766">
                  <c:v>3059.23</c:v>
                </c:pt>
                <c:pt idx="2767">
                  <c:v>3064.21</c:v>
                </c:pt>
                <c:pt idx="2768">
                  <c:v>3062.5</c:v>
                </c:pt>
                <c:pt idx="2769">
                  <c:v>3066.71</c:v>
                </c:pt>
                <c:pt idx="2770">
                  <c:v>3169.56</c:v>
                </c:pt>
                <c:pt idx="2771">
                  <c:v>3160.55</c:v>
                </c:pt>
                <c:pt idx="2772">
                  <c:v>3167.1</c:v>
                </c:pt>
                <c:pt idx="2773">
                  <c:v>3189.33</c:v>
                </c:pt>
                <c:pt idx="2774">
                  <c:v>3178.79</c:v>
                </c:pt>
                <c:pt idx="2775">
                  <c:v>3177.05</c:v>
                </c:pt>
                <c:pt idx="2776">
                  <c:v>3163.99</c:v>
                </c:pt>
                <c:pt idx="2777">
                  <c:v>3066.34</c:v>
                </c:pt>
                <c:pt idx="2778">
                  <c:v>3075.98</c:v>
                </c:pt>
                <c:pt idx="2779">
                  <c:v>3116.37</c:v>
                </c:pt>
                <c:pt idx="2780">
                  <c:v>3094.67</c:v>
                </c:pt>
                <c:pt idx="2781">
                  <c:v>3110.36</c:v>
                </c:pt>
                <c:pt idx="2782">
                  <c:v>3112.67</c:v>
                </c:pt>
                <c:pt idx="2783">
                  <c:v>3106.32</c:v>
                </c:pt>
                <c:pt idx="2784">
                  <c:v>3133.96</c:v>
                </c:pt>
                <c:pt idx="2785">
                  <c:v>3117.32</c:v>
                </c:pt>
                <c:pt idx="2786">
                  <c:v>3077.16</c:v>
                </c:pt>
                <c:pt idx="2787">
                  <c:v>3120.54</c:v>
                </c:pt>
                <c:pt idx="2788">
                  <c:v>3136.4</c:v>
                </c:pt>
                <c:pt idx="2789">
                  <c:v>3151.39</c:v>
                </c:pt>
                <c:pt idx="2790">
                  <c:v>3153.92</c:v>
                </c:pt>
                <c:pt idx="2791">
                  <c:v>3154.2</c:v>
                </c:pt>
                <c:pt idx="2792">
                  <c:v>3204.7</c:v>
                </c:pt>
                <c:pt idx="2793">
                  <c:v>3207.38</c:v>
                </c:pt>
                <c:pt idx="2794">
                  <c:v>3216.8</c:v>
                </c:pt>
                <c:pt idx="2795">
                  <c:v>3209.95</c:v>
                </c:pt>
                <c:pt idx="2796">
                  <c:v>3192.28</c:v>
                </c:pt>
                <c:pt idx="2797">
                  <c:v>3203.33</c:v>
                </c:pt>
                <c:pt idx="2798">
                  <c:v>3273.18</c:v>
                </c:pt>
                <c:pt idx="2799">
                  <c:v>3282.87</c:v>
                </c:pt>
                <c:pt idx="2800">
                  <c:v>3276.76</c:v>
                </c:pt>
                <c:pt idx="2801">
                  <c:v>3276.28</c:v>
                </c:pt>
                <c:pt idx="2802">
                  <c:v>3262.02</c:v>
                </c:pt>
                <c:pt idx="2803">
                  <c:v>3248.23</c:v>
                </c:pt>
                <c:pt idx="2804">
                  <c:v>3237.61</c:v>
                </c:pt>
                <c:pt idx="2805">
                  <c:v>3252.52</c:v>
                </c:pt>
                <c:pt idx="2806">
                  <c:v>3225.16</c:v>
                </c:pt>
                <c:pt idx="2807">
                  <c:v>3230.89</c:v>
                </c:pt>
                <c:pt idx="2808">
                  <c:v>3269.59</c:v>
                </c:pt>
                <c:pt idx="2809">
                  <c:v>3218.24</c:v>
                </c:pt>
                <c:pt idx="2810">
                  <c:v>3221.14</c:v>
                </c:pt>
                <c:pt idx="2811">
                  <c:v>3203.93</c:v>
                </c:pt>
                <c:pt idx="2812">
                  <c:v>3176.81</c:v>
                </c:pt>
                <c:pt idx="2813">
                  <c:v>3189.05</c:v>
                </c:pt>
                <c:pt idx="2814">
                  <c:v>3193.51</c:v>
                </c:pt>
                <c:pt idx="2815">
                  <c:v>3201.29</c:v>
                </c:pt>
                <c:pt idx="2816">
                  <c:v>3205.11</c:v>
                </c:pt>
                <c:pt idx="2817">
                  <c:v>3234.18</c:v>
                </c:pt>
                <c:pt idx="2818">
                  <c:v>3256.98</c:v>
                </c:pt>
                <c:pt idx="2819">
                  <c:v>3243.34</c:v>
                </c:pt>
                <c:pt idx="2820">
                  <c:v>3233.36</c:v>
                </c:pt>
                <c:pt idx="2821">
                  <c:v>3294.23</c:v>
                </c:pt>
                <c:pt idx="2822">
                  <c:v>3393.42</c:v>
                </c:pt>
                <c:pt idx="2823">
                  <c:v>3378.25</c:v>
                </c:pt>
                <c:pt idx="2824">
                  <c:v>3373.05</c:v>
                </c:pt>
                <c:pt idx="2825">
                  <c:v>3364.49</c:v>
                </c:pt>
                <c:pt idx="2826">
                  <c:v>3365.02</c:v>
                </c:pt>
                <c:pt idx="2827">
                  <c:v>3336.79</c:v>
                </c:pt>
                <c:pt idx="2828">
                  <c:v>3341.83</c:v>
                </c:pt>
                <c:pt idx="2829">
                  <c:v>3329.86</c:v>
                </c:pt>
                <c:pt idx="2830">
                  <c:v>3308.97</c:v>
                </c:pt>
                <c:pt idx="2831">
                  <c:v>3307.09</c:v>
                </c:pt>
                <c:pt idx="2832">
                  <c:v>3307.78</c:v>
                </c:pt>
                <c:pt idx="2833">
                  <c:v>3311.99</c:v>
                </c:pt>
                <c:pt idx="2834">
                  <c:v>3327.79</c:v>
                </c:pt>
                <c:pt idx="2835">
                  <c:v>3301.58</c:v>
                </c:pt>
                <c:pt idx="2836">
                  <c:v>3314.11</c:v>
                </c:pt>
                <c:pt idx="2837">
                  <c:v>3319.68</c:v>
                </c:pt>
                <c:pt idx="2838">
                  <c:v>3342.63</c:v>
                </c:pt>
                <c:pt idx="2839">
                  <c:v>3340.82</c:v>
                </c:pt>
                <c:pt idx="2840">
                  <c:v>3339.56</c:v>
                </c:pt>
                <c:pt idx="2841">
                  <c:v>3318.04</c:v>
                </c:pt>
                <c:pt idx="2842">
                  <c:v>3262.6</c:v>
                </c:pt>
                <c:pt idx="2843">
                  <c:v>3260.33</c:v>
                </c:pt>
                <c:pt idx="2844">
                  <c:v>3238.73</c:v>
                </c:pt>
                <c:pt idx="2845">
                  <c:v>3263.12</c:v>
                </c:pt>
                <c:pt idx="2846">
                  <c:v>3257.4</c:v>
                </c:pt>
                <c:pt idx="2847">
                  <c:v>3266.64</c:v>
                </c:pt>
                <c:pt idx="2848">
                  <c:v>3291.12</c:v>
                </c:pt>
                <c:pt idx="2849">
                  <c:v>3275.67</c:v>
                </c:pt>
                <c:pt idx="2850">
                  <c:v>3220.28</c:v>
                </c:pt>
                <c:pt idx="2851">
                  <c:v>3240.75</c:v>
                </c:pt>
                <c:pt idx="2852">
                  <c:v>3230.89</c:v>
                </c:pt>
                <c:pt idx="2853">
                  <c:v>3244.39</c:v>
                </c:pt>
                <c:pt idx="2854">
                  <c:v>3253.28</c:v>
                </c:pt>
                <c:pt idx="2855">
                  <c:v>3293.87</c:v>
                </c:pt>
                <c:pt idx="2856">
                  <c:v>3306.56</c:v>
                </c:pt>
                <c:pt idx="2857">
                  <c:v>3300.01</c:v>
                </c:pt>
                <c:pt idx="2858">
                  <c:v>3302.65</c:v>
                </c:pt>
                <c:pt idx="2859">
                  <c:v>3305.85</c:v>
                </c:pt>
                <c:pt idx="2860">
                  <c:v>3277.88</c:v>
                </c:pt>
                <c:pt idx="2861">
                  <c:v>3321.33</c:v>
                </c:pt>
                <c:pt idx="2862">
                  <c:v>3316.24</c:v>
                </c:pt>
                <c:pt idx="2863">
                  <c:v>3318.6</c:v>
                </c:pt>
                <c:pt idx="2864">
                  <c:v>3327.74</c:v>
                </c:pt>
                <c:pt idx="2865">
                  <c:v>3367.58</c:v>
                </c:pt>
                <c:pt idx="2866">
                  <c:v>3367.45</c:v>
                </c:pt>
                <c:pt idx="2867">
                  <c:v>3354.8</c:v>
                </c:pt>
                <c:pt idx="2868">
                  <c:v>3345.7</c:v>
                </c:pt>
                <c:pt idx="2869">
                  <c:v>3340.13</c:v>
                </c:pt>
                <c:pt idx="2870">
                  <c:v>3336.28</c:v>
                </c:pt>
                <c:pt idx="2871">
                  <c:v>3359.05</c:v>
                </c:pt>
                <c:pt idx="2872">
                  <c:v>3333.35</c:v>
                </c:pt>
                <c:pt idx="2873">
                  <c:v>3365.09</c:v>
                </c:pt>
                <c:pt idx="2874">
                  <c:v>3354.17</c:v>
                </c:pt>
                <c:pt idx="2875">
                  <c:v>3356.59</c:v>
                </c:pt>
                <c:pt idx="2876">
                  <c:v>3371.12</c:v>
                </c:pt>
                <c:pt idx="2877">
                  <c:v>3353.05</c:v>
                </c:pt>
                <c:pt idx="2878">
                  <c:v>3390.61</c:v>
                </c:pt>
                <c:pt idx="2879">
                  <c:v>3417.22</c:v>
                </c:pt>
                <c:pt idx="2880">
                  <c:v>3430.25</c:v>
                </c:pt>
                <c:pt idx="2881">
                  <c:v>3429.87</c:v>
                </c:pt>
                <c:pt idx="2882">
                  <c:v>3429.59</c:v>
                </c:pt>
                <c:pt idx="2883">
                  <c:v>3436.54</c:v>
                </c:pt>
                <c:pt idx="2884">
                  <c:v>3417.46</c:v>
                </c:pt>
                <c:pt idx="2885">
                  <c:v>3441.11</c:v>
                </c:pt>
                <c:pt idx="2886">
                  <c:v>3468.36</c:v>
                </c:pt>
                <c:pt idx="2887">
                  <c:v>3474.73</c:v>
                </c:pt>
                <c:pt idx="2888">
                  <c:v>3488.74</c:v>
                </c:pt>
                <c:pt idx="2889">
                  <c:v>3521.3</c:v>
                </c:pt>
                <c:pt idx="2890">
                  <c:v>3535.08</c:v>
                </c:pt>
                <c:pt idx="2891">
                  <c:v>3564.04</c:v>
                </c:pt>
                <c:pt idx="2892">
                  <c:v>3538</c:v>
                </c:pt>
                <c:pt idx="2893">
                  <c:v>3565.04</c:v>
                </c:pt>
                <c:pt idx="2894">
                  <c:v>3528.95</c:v>
                </c:pt>
                <c:pt idx="2895">
                  <c:v>3469.41</c:v>
                </c:pt>
                <c:pt idx="2896">
                  <c:v>3459.15</c:v>
                </c:pt>
                <c:pt idx="2897">
                  <c:v>3475.75</c:v>
                </c:pt>
                <c:pt idx="2898">
                  <c:v>3470.14</c:v>
                </c:pt>
                <c:pt idx="2899">
                  <c:v>3493.7</c:v>
                </c:pt>
                <c:pt idx="2900">
                  <c:v>3409.18</c:v>
                </c:pt>
                <c:pt idx="2901">
                  <c:v>3405.04</c:v>
                </c:pt>
                <c:pt idx="2902">
                  <c:v>3378.95</c:v>
                </c:pt>
                <c:pt idx="2903">
                  <c:v>3340.43</c:v>
                </c:pt>
                <c:pt idx="2904">
                  <c:v>3346.03</c:v>
                </c:pt>
                <c:pt idx="2905">
                  <c:v>3328.98</c:v>
                </c:pt>
                <c:pt idx="2906">
                  <c:v>3309.06</c:v>
                </c:pt>
                <c:pt idx="2907">
                  <c:v>3338.54</c:v>
                </c:pt>
                <c:pt idx="2908">
                  <c:v>3335.67</c:v>
                </c:pt>
                <c:pt idx="2909">
                  <c:v>3307.6</c:v>
                </c:pt>
                <c:pt idx="2910">
                  <c:v>3322.4</c:v>
                </c:pt>
                <c:pt idx="2911">
                  <c:v>3316.39</c:v>
                </c:pt>
                <c:pt idx="2912">
                  <c:v>3301.89</c:v>
                </c:pt>
                <c:pt idx="2913">
                  <c:v>3297.76</c:v>
                </c:pt>
                <c:pt idx="2914">
                  <c:v>3310.08</c:v>
                </c:pt>
                <c:pt idx="2915">
                  <c:v>3342.23</c:v>
                </c:pt>
                <c:pt idx="2916">
                  <c:v>3368.31</c:v>
                </c:pt>
                <c:pt idx="2917">
                  <c:v>3367.79</c:v>
                </c:pt>
                <c:pt idx="2918">
                  <c:v>3347.67</c:v>
                </c:pt>
                <c:pt idx="2919">
                  <c:v>3363.9</c:v>
                </c:pt>
                <c:pt idx="2920">
                  <c:v>3358.27</c:v>
                </c:pt>
                <c:pt idx="2921">
                  <c:v>3334.5</c:v>
                </c:pt>
                <c:pt idx="2922">
                  <c:v>3317.62</c:v>
                </c:pt>
                <c:pt idx="2923">
                  <c:v>3319.91</c:v>
                </c:pt>
                <c:pt idx="2924">
                  <c:v>3319.45</c:v>
                </c:pt>
                <c:pt idx="2925">
                  <c:v>3326.36</c:v>
                </c:pt>
                <c:pt idx="2926">
                  <c:v>3339.37</c:v>
                </c:pt>
                <c:pt idx="2927">
                  <c:v>3329.29</c:v>
                </c:pt>
                <c:pt idx="2928">
                  <c:v>3354.89</c:v>
                </c:pt>
                <c:pt idx="2929">
                  <c:v>3364.08</c:v>
                </c:pt>
                <c:pt idx="2930">
                  <c:v>3364.45</c:v>
                </c:pt>
                <c:pt idx="2931">
                  <c:v>3375.9</c:v>
                </c:pt>
                <c:pt idx="2932">
                  <c:v>3387.96</c:v>
                </c:pt>
                <c:pt idx="2933">
                  <c:v>3364.49</c:v>
                </c:pt>
                <c:pt idx="2934">
                  <c:v>3373.21</c:v>
                </c:pt>
                <c:pt idx="2935">
                  <c:v>3365.68</c:v>
                </c:pt>
                <c:pt idx="2936">
                  <c:v>3383.29</c:v>
                </c:pt>
                <c:pt idx="2937">
                  <c:v>3396.29</c:v>
                </c:pt>
                <c:pt idx="2938">
                  <c:v>3413.49</c:v>
                </c:pt>
                <c:pt idx="2939">
                  <c:v>3436.28</c:v>
                </c:pt>
                <c:pt idx="2940">
                  <c:v>3435.8</c:v>
                </c:pt>
                <c:pt idx="2941">
                  <c:v>3421.71</c:v>
                </c:pt>
                <c:pt idx="2942">
                  <c:v>3440.93</c:v>
                </c:pt>
                <c:pt idx="2943">
                  <c:v>3421.44</c:v>
                </c:pt>
                <c:pt idx="2944">
                  <c:v>3471.39</c:v>
                </c:pt>
                <c:pt idx="2945">
                  <c:v>3482.82</c:v>
                </c:pt>
                <c:pt idx="2946">
                  <c:v>3489.76</c:v>
                </c:pt>
                <c:pt idx="2947">
                  <c:v>3473.32</c:v>
                </c:pt>
                <c:pt idx="2948">
                  <c:v>3473.85</c:v>
                </c:pt>
                <c:pt idx="2949">
                  <c:v>3446.22</c:v>
                </c:pt>
                <c:pt idx="2950">
                  <c:v>3452.81</c:v>
                </c:pt>
                <c:pt idx="2951">
                  <c:v>3458.44</c:v>
                </c:pt>
                <c:pt idx="2952">
                  <c:v>3435.1</c:v>
                </c:pt>
                <c:pt idx="2953">
                  <c:v>3427.86</c:v>
                </c:pt>
                <c:pt idx="2954">
                  <c:v>3446.48</c:v>
                </c:pt>
                <c:pt idx="2955">
                  <c:v>3453.96</c:v>
                </c:pt>
                <c:pt idx="2956">
                  <c:v>3448.73</c:v>
                </c:pt>
                <c:pt idx="2957">
                  <c:v>3426.94</c:v>
                </c:pt>
                <c:pt idx="2958">
                  <c:v>3427.89</c:v>
                </c:pt>
                <c:pt idx="2959">
                  <c:v>3458.1</c:v>
                </c:pt>
                <c:pt idx="2960">
                  <c:v>3456.69</c:v>
                </c:pt>
                <c:pt idx="2961">
                  <c:v>3463.64</c:v>
                </c:pt>
                <c:pt idx="2962">
                  <c:v>3481.51</c:v>
                </c:pt>
                <c:pt idx="2963">
                  <c:v>3445.81</c:v>
                </c:pt>
                <c:pt idx="2964">
                  <c:v>3449.61</c:v>
                </c:pt>
                <c:pt idx="2965">
                  <c:v>3466.35</c:v>
                </c:pt>
                <c:pt idx="2966">
                  <c:v>3450.05</c:v>
                </c:pt>
                <c:pt idx="2967">
                  <c:v>3461.98</c:v>
                </c:pt>
                <c:pt idx="2968">
                  <c:v>3489.6</c:v>
                </c:pt>
                <c:pt idx="2969">
                  <c:v>3478.04</c:v>
                </c:pt>
                <c:pt idx="2970">
                  <c:v>3469.81</c:v>
                </c:pt>
                <c:pt idx="2971">
                  <c:v>3465.19</c:v>
                </c:pt>
                <c:pt idx="2972">
                  <c:v>3436.76</c:v>
                </c:pt>
                <c:pt idx="2973">
                  <c:v>3456.05</c:v>
                </c:pt>
                <c:pt idx="2974">
                  <c:v>3503.89</c:v>
                </c:pt>
                <c:pt idx="2975">
                  <c:v>3514.05</c:v>
                </c:pt>
                <c:pt idx="2976">
                  <c:v>3517.46</c:v>
                </c:pt>
                <c:pt idx="2977">
                  <c:v>3505.14</c:v>
                </c:pt>
                <c:pt idx="2978">
                  <c:v>3517.33</c:v>
                </c:pt>
                <c:pt idx="2979">
                  <c:v>3509.44</c:v>
                </c:pt>
                <c:pt idx="2980">
                  <c:v>3514.57</c:v>
                </c:pt>
                <c:pt idx="2981">
                  <c:v>3486.5</c:v>
                </c:pt>
                <c:pt idx="2982">
                  <c:v>3479.94</c:v>
                </c:pt>
                <c:pt idx="2983">
                  <c:v>3462.74</c:v>
                </c:pt>
                <c:pt idx="2984">
                  <c:v>3445.88</c:v>
                </c:pt>
                <c:pt idx="2985">
                  <c:v>3461.55</c:v>
                </c:pt>
                <c:pt idx="2986">
                  <c:v>3466.79</c:v>
                </c:pt>
                <c:pt idx="2987">
                  <c:v>3431.26</c:v>
                </c:pt>
                <c:pt idx="2988">
                  <c:v>3440.97</c:v>
                </c:pt>
                <c:pt idx="2989">
                  <c:v>3445.18</c:v>
                </c:pt>
                <c:pt idx="2990">
                  <c:v>3446.72</c:v>
                </c:pt>
                <c:pt idx="2991">
                  <c:v>3439.75</c:v>
                </c:pt>
                <c:pt idx="2992">
                  <c:v>3426.58</c:v>
                </c:pt>
                <c:pt idx="2993">
                  <c:v>3413.13</c:v>
                </c:pt>
                <c:pt idx="2994">
                  <c:v>3404.39</c:v>
                </c:pt>
                <c:pt idx="2995">
                  <c:v>3382.55</c:v>
                </c:pt>
                <c:pt idx="2996">
                  <c:v>3358.81</c:v>
                </c:pt>
                <c:pt idx="2997">
                  <c:v>3352.53</c:v>
                </c:pt>
                <c:pt idx="2998">
                  <c:v>3337.7</c:v>
                </c:pt>
                <c:pt idx="2999">
                  <c:v>3356.65</c:v>
                </c:pt>
                <c:pt idx="3000">
                  <c:v>3385.38</c:v>
                </c:pt>
                <c:pt idx="3001">
                  <c:v>3399.19</c:v>
                </c:pt>
                <c:pt idx="3002">
                  <c:v>3428.65</c:v>
                </c:pt>
                <c:pt idx="3003">
                  <c:v>3409.97</c:v>
                </c:pt>
                <c:pt idx="3004">
                  <c:v>3398.11</c:v>
                </c:pt>
                <c:pt idx="3005">
                  <c:v>3403.85</c:v>
                </c:pt>
                <c:pt idx="3006">
                  <c:v>3411.24</c:v>
                </c:pt>
                <c:pt idx="3007">
                  <c:v>3424.19</c:v>
                </c:pt>
                <c:pt idx="3008">
                  <c:v>3424.17</c:v>
                </c:pt>
                <c:pt idx="3009">
                  <c:v>3485.66</c:v>
                </c:pt>
                <c:pt idx="3010">
                  <c:v>3480.43</c:v>
                </c:pt>
                <c:pt idx="3011">
                  <c:v>3492.88</c:v>
                </c:pt>
                <c:pt idx="3012">
                  <c:v>3497.74</c:v>
                </c:pt>
                <c:pt idx="3013">
                  <c:v>3486.51</c:v>
                </c:pt>
                <c:pt idx="3014">
                  <c:v>3468.75</c:v>
                </c:pt>
                <c:pt idx="3015">
                  <c:v>3492.88</c:v>
                </c:pt>
                <c:pt idx="3016">
                  <c:v>3533.87</c:v>
                </c:pt>
                <c:pt idx="3017">
                  <c:v>3560.98</c:v>
                </c:pt>
                <c:pt idx="3018">
                  <c:v>3576.17</c:v>
                </c:pt>
                <c:pt idx="3019">
                  <c:v>3574.39</c:v>
                </c:pt>
                <c:pt idx="3020">
                  <c:v>3582.27</c:v>
                </c:pt>
                <c:pt idx="3021">
                  <c:v>3535.3</c:v>
                </c:pt>
                <c:pt idx="3022">
                  <c:v>3528.79</c:v>
                </c:pt>
                <c:pt idx="3023">
                  <c:v>3518.76</c:v>
                </c:pt>
                <c:pt idx="3024">
                  <c:v>3553.67</c:v>
                </c:pt>
                <c:pt idx="3025">
                  <c:v>3546.49</c:v>
                </c:pt>
                <c:pt idx="3026">
                  <c:v>3587.96</c:v>
                </c:pt>
                <c:pt idx="3027">
                  <c:v>3590.34</c:v>
                </c:pt>
                <c:pt idx="3028">
                  <c:v>3622.88</c:v>
                </c:pt>
                <c:pt idx="3029">
                  <c:v>3668.09</c:v>
                </c:pt>
                <c:pt idx="3030">
                  <c:v>3674.72</c:v>
                </c:pt>
                <c:pt idx="3031">
                  <c:v>3646.17</c:v>
                </c:pt>
                <c:pt idx="3032">
                  <c:v>3668.83</c:v>
                </c:pt>
                <c:pt idx="3033">
                  <c:v>3666.8</c:v>
                </c:pt>
                <c:pt idx="3034">
                  <c:v>3650.85</c:v>
                </c:pt>
                <c:pt idx="3035">
                  <c:v>3619.98</c:v>
                </c:pt>
                <c:pt idx="3036">
                  <c:v>3659.68</c:v>
                </c:pt>
                <c:pt idx="3037">
                  <c:v>3660.1</c:v>
                </c:pt>
                <c:pt idx="3038">
                  <c:v>3655.93</c:v>
                </c:pt>
                <c:pt idx="3039">
                  <c:v>3653.69</c:v>
                </c:pt>
                <c:pt idx="3040">
                  <c:v>3670.81</c:v>
                </c:pt>
                <c:pt idx="3041">
                  <c:v>3658.82</c:v>
                </c:pt>
                <c:pt idx="3042">
                  <c:v>3686.92</c:v>
                </c:pt>
                <c:pt idx="3043">
                  <c:v>3703.09</c:v>
                </c:pt>
                <c:pt idx="3044">
                  <c:v>3663.56</c:v>
                </c:pt>
                <c:pt idx="3045">
                  <c:v>3667.18</c:v>
                </c:pt>
                <c:pt idx="3046">
                  <c:v>3729.75</c:v>
                </c:pt>
                <c:pt idx="3047">
                  <c:v>3747.88</c:v>
                </c:pt>
                <c:pt idx="3048">
                  <c:v>3728.6</c:v>
                </c:pt>
                <c:pt idx="3049">
                  <c:v>3743.47</c:v>
                </c:pt>
                <c:pt idx="3050">
                  <c:v>3719.56</c:v>
                </c:pt>
                <c:pt idx="3051">
                  <c:v>3705.39</c:v>
                </c:pt>
                <c:pt idx="3052">
                  <c:v>3712.19</c:v>
                </c:pt>
                <c:pt idx="3053">
                  <c:v>3721.89</c:v>
                </c:pt>
                <c:pt idx="3054">
                  <c:v>3737.87</c:v>
                </c:pt>
                <c:pt idx="3055">
                  <c:v>3770.38</c:v>
                </c:pt>
                <c:pt idx="3056">
                  <c:v>3760.85</c:v>
                </c:pt>
                <c:pt idx="3057">
                  <c:v>3727.83</c:v>
                </c:pt>
                <c:pt idx="3058">
                  <c:v>3707.58</c:v>
                </c:pt>
                <c:pt idx="3059">
                  <c:v>3726.79</c:v>
                </c:pt>
                <c:pt idx="3060">
                  <c:v>3732.21</c:v>
                </c:pt>
                <c:pt idx="3061">
                  <c:v>3731.04</c:v>
                </c:pt>
                <c:pt idx="3062">
                  <c:v>3715.92</c:v>
                </c:pt>
                <c:pt idx="3063">
                  <c:v>3647.35</c:v>
                </c:pt>
                <c:pt idx="3064">
                  <c:v>3694.68</c:v>
                </c:pt>
                <c:pt idx="3065">
                  <c:v>3706.06</c:v>
                </c:pt>
                <c:pt idx="3066">
                  <c:v>3701.42</c:v>
                </c:pt>
                <c:pt idx="3067">
                  <c:v>3721.28</c:v>
                </c:pt>
                <c:pt idx="3068">
                  <c:v>3724.67</c:v>
                </c:pt>
                <c:pt idx="3069">
                  <c:v>3740.99</c:v>
                </c:pt>
                <c:pt idx="3070">
                  <c:v>3752.3</c:v>
                </c:pt>
                <c:pt idx="3071">
                  <c:v>3756.09</c:v>
                </c:pt>
                <c:pt idx="3072">
                  <c:v>3734.65</c:v>
                </c:pt>
                <c:pt idx="3073">
                  <c:v>3795.75</c:v>
                </c:pt>
                <c:pt idx="3074">
                  <c:v>3842.71</c:v>
                </c:pt>
                <c:pt idx="3075">
                  <c:v>3834.54</c:v>
                </c:pt>
                <c:pt idx="3076">
                  <c:v>3834.3</c:v>
                </c:pt>
                <c:pt idx="3077">
                  <c:v>3822.09</c:v>
                </c:pt>
                <c:pt idx="3078">
                  <c:v>3830.54</c:v>
                </c:pt>
                <c:pt idx="3079">
                  <c:v>3845.62</c:v>
                </c:pt>
                <c:pt idx="3080">
                  <c:v>3857.05</c:v>
                </c:pt>
                <c:pt idx="3081">
                  <c:v>3849.45</c:v>
                </c:pt>
                <c:pt idx="3082">
                  <c:v>3829.87</c:v>
                </c:pt>
                <c:pt idx="3083">
                  <c:v>3825.99</c:v>
                </c:pt>
                <c:pt idx="3084">
                  <c:v>3825.65</c:v>
                </c:pt>
                <c:pt idx="3085">
                  <c:v>3837.93</c:v>
                </c:pt>
                <c:pt idx="3086">
                  <c:v>3842.61</c:v>
                </c:pt>
                <c:pt idx="3087">
                  <c:v>3829.96</c:v>
                </c:pt>
                <c:pt idx="3088">
                  <c:v>3831.3</c:v>
                </c:pt>
                <c:pt idx="3089">
                  <c:v>3843.14</c:v>
                </c:pt>
                <c:pt idx="3090">
                  <c:v>3832.12</c:v>
                </c:pt>
                <c:pt idx="3091">
                  <c:v>3842.44</c:v>
                </c:pt>
                <c:pt idx="3092">
                  <c:v>3837.82</c:v>
                </c:pt>
                <c:pt idx="3093">
                  <c:v>3837.73</c:v>
                </c:pt>
                <c:pt idx="3094">
                  <c:v>3817.79</c:v>
                </c:pt>
                <c:pt idx="3095">
                  <c:v>3820.78</c:v>
                </c:pt>
                <c:pt idx="3096">
                  <c:v>3821.2</c:v>
                </c:pt>
                <c:pt idx="3097">
                  <c:v>3822.54</c:v>
                </c:pt>
                <c:pt idx="3098">
                  <c:v>3836.5</c:v>
                </c:pt>
                <c:pt idx="3099">
                  <c:v>3882.21</c:v>
                </c:pt>
                <c:pt idx="3100">
                  <c:v>3889.86</c:v>
                </c:pt>
                <c:pt idx="3101">
                  <c:v>3902.69</c:v>
                </c:pt>
                <c:pt idx="3102">
                  <c:v>3912.95</c:v>
                </c:pt>
                <c:pt idx="3103">
                  <c:v>3921</c:v>
                </c:pt>
                <c:pt idx="3104">
                  <c:v>3913.45</c:v>
                </c:pt>
                <c:pt idx="3105">
                  <c:v>3913.07</c:v>
                </c:pt>
                <c:pt idx="3106">
                  <c:v>3944.16</c:v>
                </c:pt>
                <c:pt idx="3107">
                  <c:v>3931.25</c:v>
                </c:pt>
                <c:pt idx="3108">
                  <c:v>3926.85</c:v>
                </c:pt>
                <c:pt idx="3109">
                  <c:v>3930.8</c:v>
                </c:pt>
                <c:pt idx="3110">
                  <c:v>3959.4</c:v>
                </c:pt>
                <c:pt idx="3111">
                  <c:v>3976.95</c:v>
                </c:pt>
                <c:pt idx="3112">
                  <c:v>3993.58</c:v>
                </c:pt>
                <c:pt idx="3113">
                  <c:v>4021.97</c:v>
                </c:pt>
                <c:pt idx="3114">
                  <c:v>4009.72</c:v>
                </c:pt>
                <c:pt idx="3115">
                  <c:v>4006.72</c:v>
                </c:pt>
                <c:pt idx="3116">
                  <c:v>3996.62</c:v>
                </c:pt>
                <c:pt idx="3117">
                  <c:v>3997.13</c:v>
                </c:pt>
                <c:pt idx="3118">
                  <c:v>3992.7</c:v>
                </c:pt>
                <c:pt idx="3119">
                  <c:v>4020.89</c:v>
                </c:pt>
                <c:pt idx="3120">
                  <c:v>4054.25</c:v>
                </c:pt>
                <c:pt idx="3121">
                  <c:v>4048.01</c:v>
                </c:pt>
                <c:pt idx="3122">
                  <c:v>4075.9</c:v>
                </c:pt>
                <c:pt idx="3123">
                  <c:v>4111.91</c:v>
                </c:pt>
                <c:pt idx="3124">
                  <c:v>4128.07</c:v>
                </c:pt>
                <c:pt idx="3125">
                  <c:v>4099.3500000000004</c:v>
                </c:pt>
                <c:pt idx="3126">
                  <c:v>4073.67</c:v>
                </c:pt>
                <c:pt idx="3127">
                  <c:v>4105.01</c:v>
                </c:pt>
                <c:pt idx="3128">
                  <c:v>4120.8500000000004</c:v>
                </c:pt>
                <c:pt idx="3129">
                  <c:v>4143.83</c:v>
                </c:pt>
                <c:pt idx="3130">
                  <c:v>4217.7</c:v>
                </c:pt>
                <c:pt idx="3131">
                  <c:v>4227.57</c:v>
                </c:pt>
                <c:pt idx="3132">
                  <c:v>4102.3999999999996</c:v>
                </c:pt>
                <c:pt idx="3133">
                  <c:v>4104.2</c:v>
                </c:pt>
                <c:pt idx="3134">
                  <c:v>4049.95</c:v>
                </c:pt>
                <c:pt idx="3135">
                  <c:v>4055.82</c:v>
                </c:pt>
                <c:pt idx="3136">
                  <c:v>4053.75</c:v>
                </c:pt>
                <c:pt idx="3137">
                  <c:v>4006.1</c:v>
                </c:pt>
                <c:pt idx="3138">
                  <c:v>3998.14</c:v>
                </c:pt>
                <c:pt idx="3139">
                  <c:v>4018.86</c:v>
                </c:pt>
                <c:pt idx="3140">
                  <c:v>4040.17</c:v>
                </c:pt>
                <c:pt idx="3141">
                  <c:v>4015.82</c:v>
                </c:pt>
                <c:pt idx="3142">
                  <c:v>3971.06</c:v>
                </c:pt>
                <c:pt idx="3143">
                  <c:v>4003.38</c:v>
                </c:pt>
                <c:pt idx="3144">
                  <c:v>4069.5</c:v>
                </c:pt>
                <c:pt idx="3145">
                  <c:v>4016.02</c:v>
                </c:pt>
                <c:pt idx="3146">
                  <c:v>4050.09</c:v>
                </c:pt>
                <c:pt idx="3147">
                  <c:v>4026.15</c:v>
                </c:pt>
                <c:pt idx="3148">
                  <c:v>3980.86</c:v>
                </c:pt>
                <c:pt idx="3149">
                  <c:v>3985.29</c:v>
                </c:pt>
                <c:pt idx="3150">
                  <c:v>4035.33</c:v>
                </c:pt>
                <c:pt idx="3151">
                  <c:v>4030.49</c:v>
                </c:pt>
                <c:pt idx="3152">
                  <c:v>4067.85</c:v>
                </c:pt>
                <c:pt idx="3153">
                  <c:v>4054.6</c:v>
                </c:pt>
                <c:pt idx="3154">
                  <c:v>4041.54</c:v>
                </c:pt>
                <c:pt idx="3155">
                  <c:v>4053.62</c:v>
                </c:pt>
                <c:pt idx="3156">
                  <c:v>3991.21</c:v>
                </c:pt>
                <c:pt idx="3157">
                  <c:v>4018.9</c:v>
                </c:pt>
                <c:pt idx="3158">
                  <c:v>4030.85</c:v>
                </c:pt>
                <c:pt idx="3159">
                  <c:v>4087.4</c:v>
                </c:pt>
                <c:pt idx="3160">
                  <c:v>4111.3900000000003</c:v>
                </c:pt>
                <c:pt idx="3161">
                  <c:v>4128.8100000000004</c:v>
                </c:pt>
                <c:pt idx="3162">
                  <c:v>4138.75</c:v>
                </c:pt>
                <c:pt idx="3163">
                  <c:v>4160.16</c:v>
                </c:pt>
                <c:pt idx="3164">
                  <c:v>4189.3</c:v>
                </c:pt>
                <c:pt idx="3165">
                  <c:v>4207.8100000000004</c:v>
                </c:pt>
                <c:pt idx="3166">
                  <c:v>4205.59</c:v>
                </c:pt>
                <c:pt idx="3167">
                  <c:v>4225</c:v>
                </c:pt>
                <c:pt idx="3168">
                  <c:v>4225.24</c:v>
                </c:pt>
                <c:pt idx="3169">
                  <c:v>4258.47</c:v>
                </c:pt>
                <c:pt idx="3170">
                  <c:v>4248.12</c:v>
                </c:pt>
                <c:pt idx="3171">
                  <c:v>4271.42</c:v>
                </c:pt>
                <c:pt idx="3172">
                  <c:v>4285.3999999999996</c:v>
                </c:pt>
                <c:pt idx="3173">
                  <c:v>4336.6000000000004</c:v>
                </c:pt>
                <c:pt idx="3174">
                  <c:v>4382.6099999999997</c:v>
                </c:pt>
                <c:pt idx="3175">
                  <c:v>4389.8900000000003</c:v>
                </c:pt>
                <c:pt idx="3176">
                  <c:v>4365.08</c:v>
                </c:pt>
                <c:pt idx="3177">
                  <c:v>4381.3</c:v>
                </c:pt>
                <c:pt idx="3178">
                  <c:v>4302.0200000000004</c:v>
                </c:pt>
                <c:pt idx="3179">
                  <c:v>4256.1000000000004</c:v>
                </c:pt>
                <c:pt idx="3180">
                  <c:v>4275.8999999999996</c:v>
                </c:pt>
                <c:pt idx="3181">
                  <c:v>4245.8999999999996</c:v>
                </c:pt>
                <c:pt idx="3182">
                  <c:v>4271.2299999999996</c:v>
                </c:pt>
                <c:pt idx="3183">
                  <c:v>4274.1499999999996</c:v>
                </c:pt>
                <c:pt idx="3184">
                  <c:v>4148.8900000000003</c:v>
                </c:pt>
                <c:pt idx="3185">
                  <c:v>4050.5</c:v>
                </c:pt>
                <c:pt idx="3186">
                  <c:v>4012.05</c:v>
                </c:pt>
                <c:pt idx="3187">
                  <c:v>3840.65</c:v>
                </c:pt>
                <c:pt idx="3188">
                  <c:v>3890.1</c:v>
                </c:pt>
                <c:pt idx="3189">
                  <c:v>3935.63</c:v>
                </c:pt>
                <c:pt idx="3190">
                  <c:v>3966.96</c:v>
                </c:pt>
                <c:pt idx="3191">
                  <c:v>4052.73</c:v>
                </c:pt>
                <c:pt idx="3192">
                  <c:v>4071.09</c:v>
                </c:pt>
                <c:pt idx="3193">
                  <c:v>4118.42</c:v>
                </c:pt>
                <c:pt idx="3194">
                  <c:v>4058.98</c:v>
                </c:pt>
                <c:pt idx="3195">
                  <c:v>4023.64</c:v>
                </c:pt>
                <c:pt idx="3196">
                  <c:v>4049.09</c:v>
                </c:pt>
                <c:pt idx="3197">
                  <c:v>4016.46</c:v>
                </c:pt>
                <c:pt idx="3198">
                  <c:v>4018.1</c:v>
                </c:pt>
                <c:pt idx="3199">
                  <c:v>4066.56</c:v>
                </c:pt>
                <c:pt idx="3200">
                  <c:v>4036.65</c:v>
                </c:pt>
                <c:pt idx="3201">
                  <c:v>4077.6</c:v>
                </c:pt>
                <c:pt idx="3202">
                  <c:v>4108.87</c:v>
                </c:pt>
                <c:pt idx="3203">
                  <c:v>4127.67</c:v>
                </c:pt>
                <c:pt idx="3204">
                  <c:v>4091.25</c:v>
                </c:pt>
                <c:pt idx="3205">
                  <c:v>4073.34</c:v>
                </c:pt>
                <c:pt idx="3206">
                  <c:v>4096.16</c:v>
                </c:pt>
                <c:pt idx="3207">
                  <c:v>4056.42</c:v>
                </c:pt>
                <c:pt idx="3208">
                  <c:v>4074.25</c:v>
                </c:pt>
                <c:pt idx="3209">
                  <c:v>4077.7</c:v>
                </c:pt>
                <c:pt idx="3210">
                  <c:v>4061.05</c:v>
                </c:pt>
                <c:pt idx="3211">
                  <c:v>4020.35</c:v>
                </c:pt>
                <c:pt idx="3212">
                  <c:v>3904.94</c:v>
                </c:pt>
                <c:pt idx="3213">
                  <c:v>3879.89</c:v>
                </c:pt>
                <c:pt idx="3214">
                  <c:v>3913.27</c:v>
                </c:pt>
                <c:pt idx="3215">
                  <c:v>3842.72</c:v>
                </c:pt>
                <c:pt idx="3216">
                  <c:v>3894.05</c:v>
                </c:pt>
                <c:pt idx="3217">
                  <c:v>3898.5</c:v>
                </c:pt>
                <c:pt idx="3218">
                  <c:v>3886.92</c:v>
                </c:pt>
                <c:pt idx="3219">
                  <c:v>3862.48</c:v>
                </c:pt>
                <c:pt idx="3220">
                  <c:v>3854.86</c:v>
                </c:pt>
                <c:pt idx="3221">
                  <c:v>3852.93</c:v>
                </c:pt>
                <c:pt idx="3222">
                  <c:v>3927.17</c:v>
                </c:pt>
                <c:pt idx="3223">
                  <c:v>3938.34</c:v>
                </c:pt>
                <c:pt idx="3224">
                  <c:v>3898.64</c:v>
                </c:pt>
                <c:pt idx="3225">
                  <c:v>3871.14</c:v>
                </c:pt>
                <c:pt idx="3226">
                  <c:v>3808.86</c:v>
                </c:pt>
                <c:pt idx="3227">
                  <c:v>3748.64</c:v>
                </c:pt>
                <c:pt idx="3228">
                  <c:v>3766.28</c:v>
                </c:pt>
                <c:pt idx="3229">
                  <c:v>3811.84</c:v>
                </c:pt>
                <c:pt idx="3230">
                  <c:v>3760.85</c:v>
                </c:pt>
                <c:pt idx="3231">
                  <c:v>3766.33</c:v>
                </c:pt>
                <c:pt idx="3232">
                  <c:v>3843.49</c:v>
                </c:pt>
                <c:pt idx="3233">
                  <c:v>3828.7</c:v>
                </c:pt>
                <c:pt idx="3234">
                  <c:v>3755.49</c:v>
                </c:pt>
                <c:pt idx="3235">
                  <c:v>3756.88</c:v>
                </c:pt>
                <c:pt idx="3236">
                  <c:v>3763.65</c:v>
                </c:pt>
                <c:pt idx="3237">
                  <c:v>3793</c:v>
                </c:pt>
                <c:pt idx="3238">
                  <c:v>3774.6</c:v>
                </c:pt>
                <c:pt idx="3239">
                  <c:v>3834.19</c:v>
                </c:pt>
                <c:pt idx="3240">
                  <c:v>3878.68</c:v>
                </c:pt>
                <c:pt idx="3241">
                  <c:v>3871.62</c:v>
                </c:pt>
                <c:pt idx="3242">
                  <c:v>3893.06</c:v>
                </c:pt>
                <c:pt idx="3243">
                  <c:v>3872.84</c:v>
                </c:pt>
                <c:pt idx="3244">
                  <c:v>3909.29</c:v>
                </c:pt>
                <c:pt idx="3245">
                  <c:v>3924.1</c:v>
                </c:pt>
                <c:pt idx="3246">
                  <c:v>3892.84</c:v>
                </c:pt>
                <c:pt idx="3247">
                  <c:v>3864.05</c:v>
                </c:pt>
                <c:pt idx="3248">
                  <c:v>3903.06</c:v>
                </c:pt>
                <c:pt idx="3249">
                  <c:v>3921.24</c:v>
                </c:pt>
                <c:pt idx="3250">
                  <c:v>3906.21</c:v>
                </c:pt>
                <c:pt idx="3251">
                  <c:v>3854.58</c:v>
                </c:pt>
                <c:pt idx="3252">
                  <c:v>3827.22</c:v>
                </c:pt>
                <c:pt idx="3253">
                  <c:v>3816.5</c:v>
                </c:pt>
                <c:pt idx="3254">
                  <c:v>3833.26</c:v>
                </c:pt>
                <c:pt idx="3255">
                  <c:v>3804.01</c:v>
                </c:pt>
                <c:pt idx="3256">
                  <c:v>3723.37</c:v>
                </c:pt>
                <c:pt idx="3257">
                  <c:v>3802.38</c:v>
                </c:pt>
                <c:pt idx="3258">
                  <c:v>3770.59</c:v>
                </c:pt>
                <c:pt idx="3259">
                  <c:v>3807.58</c:v>
                </c:pt>
                <c:pt idx="3260">
                  <c:v>3845.32</c:v>
                </c:pt>
                <c:pt idx="3261">
                  <c:v>3837.35</c:v>
                </c:pt>
                <c:pt idx="3262">
                  <c:v>3831.01</c:v>
                </c:pt>
                <c:pt idx="3263">
                  <c:v>3779.62</c:v>
                </c:pt>
                <c:pt idx="3264">
                  <c:v>3779.98</c:v>
                </c:pt>
                <c:pt idx="3265">
                  <c:v>3825.95</c:v>
                </c:pt>
                <c:pt idx="3266">
                  <c:v>3788.34</c:v>
                </c:pt>
                <c:pt idx="3267">
                  <c:v>3773.37</c:v>
                </c:pt>
                <c:pt idx="3268">
                  <c:v>3753.43</c:v>
                </c:pt>
                <c:pt idx="3269">
                  <c:v>3621.12</c:v>
                </c:pt>
                <c:pt idx="3270">
                  <c:v>3635.44</c:v>
                </c:pt>
                <c:pt idx="3271">
                  <c:v>3592.97</c:v>
                </c:pt>
                <c:pt idx="3272">
                  <c:v>3608.9</c:v>
                </c:pt>
                <c:pt idx="3273">
                  <c:v>3560.48</c:v>
                </c:pt>
                <c:pt idx="3274">
                  <c:v>3531.11</c:v>
                </c:pt>
                <c:pt idx="3275">
                  <c:v>3459.26</c:v>
                </c:pt>
                <c:pt idx="3276">
                  <c:v>3423.53</c:v>
                </c:pt>
                <c:pt idx="3277">
                  <c:v>3510.98</c:v>
                </c:pt>
                <c:pt idx="3278">
                  <c:v>3407.96</c:v>
                </c:pt>
                <c:pt idx="3279">
                  <c:v>3409.28</c:v>
                </c:pt>
                <c:pt idx="3280">
                  <c:v>3363.75</c:v>
                </c:pt>
                <c:pt idx="3281">
                  <c:v>3342.44</c:v>
                </c:pt>
                <c:pt idx="3282">
                  <c:v>3365.12</c:v>
                </c:pt>
                <c:pt idx="3283">
                  <c:v>3459.18</c:v>
                </c:pt>
                <c:pt idx="3284">
                  <c:v>3467.52</c:v>
                </c:pt>
                <c:pt idx="3285">
                  <c:v>3407.53</c:v>
                </c:pt>
                <c:pt idx="3286">
                  <c:v>3481.06</c:v>
                </c:pt>
                <c:pt idx="3287">
                  <c:v>3492.69</c:v>
                </c:pt>
                <c:pt idx="3288">
                  <c:v>3472.09</c:v>
                </c:pt>
                <c:pt idx="3289">
                  <c:v>3449.38</c:v>
                </c:pt>
                <c:pt idx="3290">
                  <c:v>3431.32</c:v>
                </c:pt>
                <c:pt idx="3291">
                  <c:v>3428.34</c:v>
                </c:pt>
                <c:pt idx="3292">
                  <c:v>3492.89</c:v>
                </c:pt>
                <c:pt idx="3293">
                  <c:v>3525.75</c:v>
                </c:pt>
                <c:pt idx="3294">
                  <c:v>3581.71</c:v>
                </c:pt>
                <c:pt idx="3295">
                  <c:v>3577.75</c:v>
                </c:pt>
                <c:pt idx="3296">
                  <c:v>3536.25</c:v>
                </c:pt>
                <c:pt idx="3297">
                  <c:v>3521.23</c:v>
                </c:pt>
                <c:pt idx="3298">
                  <c:v>3515.08</c:v>
                </c:pt>
                <c:pt idx="3299">
                  <c:v>3517.66</c:v>
                </c:pt>
                <c:pt idx="3300">
                  <c:v>3447.39</c:v>
                </c:pt>
                <c:pt idx="3301">
                  <c:v>3370.96</c:v>
                </c:pt>
                <c:pt idx="3302">
                  <c:v>3315.28</c:v>
                </c:pt>
                <c:pt idx="3303">
                  <c:v>3273.27</c:v>
                </c:pt>
                <c:pt idx="3304">
                  <c:v>3368.87</c:v>
                </c:pt>
                <c:pt idx="3305">
                  <c:v>3314.51</c:v>
                </c:pt>
                <c:pt idx="3306">
                  <c:v>3397.53</c:v>
                </c:pt>
                <c:pt idx="3307">
                  <c:v>3405.02</c:v>
                </c:pt>
                <c:pt idx="3308">
                  <c:v>3390.34</c:v>
                </c:pt>
                <c:pt idx="3309">
                  <c:v>3372.91</c:v>
                </c:pt>
                <c:pt idx="3310">
                  <c:v>3291.98</c:v>
                </c:pt>
                <c:pt idx="3311">
                  <c:v>3276.73</c:v>
                </c:pt>
                <c:pt idx="3312">
                  <c:v>3229.62</c:v>
                </c:pt>
                <c:pt idx="3313">
                  <c:v>3267.25</c:v>
                </c:pt>
                <c:pt idx="3314">
                  <c:v>3326.65</c:v>
                </c:pt>
                <c:pt idx="3315">
                  <c:v>3307.95</c:v>
                </c:pt>
                <c:pt idx="3316">
                  <c:v>3320.03</c:v>
                </c:pt>
                <c:pt idx="3317">
                  <c:v>3325.33</c:v>
                </c:pt>
                <c:pt idx="3318">
                  <c:v>3406.57</c:v>
                </c:pt>
                <c:pt idx="3319">
                  <c:v>3400.17</c:v>
                </c:pt>
                <c:pt idx="3320">
                  <c:v>3386.57</c:v>
                </c:pt>
                <c:pt idx="3321">
                  <c:v>3351.09</c:v>
                </c:pt>
                <c:pt idx="3322">
                  <c:v>3334.5</c:v>
                </c:pt>
                <c:pt idx="3323">
                  <c:v>3321.82</c:v>
                </c:pt>
                <c:pt idx="3324">
                  <c:v>3363.9</c:v>
                </c:pt>
                <c:pt idx="3325">
                  <c:v>3298.14</c:v>
                </c:pt>
                <c:pt idx="3326">
                  <c:v>3262.88</c:v>
                </c:pt>
                <c:pt idx="3327">
                  <c:v>3277.64</c:v>
                </c:pt>
                <c:pt idx="3328">
                  <c:v>3230.07</c:v>
                </c:pt>
                <c:pt idx="3329">
                  <c:v>3224.21</c:v>
                </c:pt>
                <c:pt idx="3330">
                  <c:v>3202.02</c:v>
                </c:pt>
                <c:pt idx="3331">
                  <c:v>3236.57</c:v>
                </c:pt>
                <c:pt idx="3332">
                  <c:v>3242.09</c:v>
                </c:pt>
                <c:pt idx="3333">
                  <c:v>3204.92</c:v>
                </c:pt>
                <c:pt idx="3334">
                  <c:v>3269.43</c:v>
                </c:pt>
                <c:pt idx="3335">
                  <c:v>3312.48</c:v>
                </c:pt>
                <c:pt idx="3336">
                  <c:v>3310.13</c:v>
                </c:pt>
                <c:pt idx="3337">
                  <c:v>3410.49</c:v>
                </c:pt>
                <c:pt idx="3338">
                  <c:v>3379.8</c:v>
                </c:pt>
                <c:pt idx="3339">
                  <c:v>3417.24</c:v>
                </c:pt>
                <c:pt idx="3340">
                  <c:v>3403.59</c:v>
                </c:pt>
                <c:pt idx="3341">
                  <c:v>3438.86</c:v>
                </c:pt>
                <c:pt idx="3342">
                  <c:v>3290.9</c:v>
                </c:pt>
                <c:pt idx="3343">
                  <c:v>3288.69</c:v>
                </c:pt>
                <c:pt idx="3344">
                  <c:v>3281.6</c:v>
                </c:pt>
                <c:pt idx="3345">
                  <c:v>3124.11</c:v>
                </c:pt>
                <c:pt idx="3346">
                  <c:v>3170.73</c:v>
                </c:pt>
                <c:pt idx="3347">
                  <c:v>3126.45</c:v>
                </c:pt>
                <c:pt idx="3348">
                  <c:v>3100.97</c:v>
                </c:pt>
                <c:pt idx="3349">
                  <c:v>3118.25</c:v>
                </c:pt>
                <c:pt idx="3350">
                  <c:v>3044.39</c:v>
                </c:pt>
                <c:pt idx="3351">
                  <c:v>3134.95</c:v>
                </c:pt>
                <c:pt idx="3352">
                  <c:v>3270.27</c:v>
                </c:pt>
                <c:pt idx="3353">
                  <c:v>3183.43</c:v>
                </c:pt>
                <c:pt idx="3354">
                  <c:v>3188.2</c:v>
                </c:pt>
                <c:pt idx="3355">
                  <c:v>3194.31</c:v>
                </c:pt>
                <c:pt idx="3356">
                  <c:v>3173.64</c:v>
                </c:pt>
                <c:pt idx="3357">
                  <c:v>3076.89</c:v>
                </c:pt>
                <c:pt idx="3358">
                  <c:v>3110.26</c:v>
                </c:pt>
                <c:pt idx="3359">
                  <c:v>3153.82</c:v>
                </c:pt>
                <c:pt idx="3360">
                  <c:v>3177.03</c:v>
                </c:pt>
                <c:pt idx="3361">
                  <c:v>3290.25</c:v>
                </c:pt>
                <c:pt idx="3362">
                  <c:v>3262.84</c:v>
                </c:pt>
                <c:pt idx="3363">
                  <c:v>3243.15</c:v>
                </c:pt>
                <c:pt idx="3364">
                  <c:v>3221.91</c:v>
                </c:pt>
                <c:pt idx="3365">
                  <c:v>3212.77</c:v>
                </c:pt>
                <c:pt idx="3366">
                  <c:v>3167.44</c:v>
                </c:pt>
                <c:pt idx="3367">
                  <c:v>3205.14</c:v>
                </c:pt>
                <c:pt idx="3368">
                  <c:v>3237.38</c:v>
                </c:pt>
                <c:pt idx="3369">
                  <c:v>3204.94</c:v>
                </c:pt>
                <c:pt idx="3370">
                  <c:v>3242.37</c:v>
                </c:pt>
                <c:pt idx="3371">
                  <c:v>3257.67</c:v>
                </c:pt>
                <c:pt idx="3372">
                  <c:v>3294.6</c:v>
                </c:pt>
                <c:pt idx="3373">
                  <c:v>3218.41</c:v>
                </c:pt>
                <c:pt idx="3374">
                  <c:v>3226.49</c:v>
                </c:pt>
                <c:pt idx="3375">
                  <c:v>3214.43</c:v>
                </c:pt>
                <c:pt idx="3376">
                  <c:v>3143.48</c:v>
                </c:pt>
                <c:pt idx="3377">
                  <c:v>3141.24</c:v>
                </c:pt>
                <c:pt idx="3378">
                  <c:v>3137.24</c:v>
                </c:pt>
                <c:pt idx="3379">
                  <c:v>3178.93</c:v>
                </c:pt>
                <c:pt idx="3380">
                  <c:v>3137.65</c:v>
                </c:pt>
                <c:pt idx="3381">
                  <c:v>3172.69</c:v>
                </c:pt>
                <c:pt idx="3382">
                  <c:v>3260.95</c:v>
                </c:pt>
                <c:pt idx="3383">
                  <c:v>3267.71</c:v>
                </c:pt>
                <c:pt idx="3384">
                  <c:v>3252</c:v>
                </c:pt>
                <c:pt idx="3385">
                  <c:v>3181.67</c:v>
                </c:pt>
                <c:pt idx="3386">
                  <c:v>3181.56</c:v>
                </c:pt>
                <c:pt idx="3387">
                  <c:v>3144.76</c:v>
                </c:pt>
                <c:pt idx="3388">
                  <c:v>3159.82</c:v>
                </c:pt>
                <c:pt idx="3389">
                  <c:v>3170.61</c:v>
                </c:pt>
                <c:pt idx="3390">
                  <c:v>3219.69</c:v>
                </c:pt>
                <c:pt idx="3391">
                  <c:v>3165.91</c:v>
                </c:pt>
                <c:pt idx="3392">
                  <c:v>3161.2</c:v>
                </c:pt>
                <c:pt idx="3393">
                  <c:v>3128.43</c:v>
                </c:pt>
                <c:pt idx="3394">
                  <c:v>3091.13</c:v>
                </c:pt>
                <c:pt idx="3395">
                  <c:v>3067.42</c:v>
                </c:pt>
                <c:pt idx="3396">
                  <c:v>3029.4</c:v>
                </c:pt>
                <c:pt idx="3397">
                  <c:v>3038.2</c:v>
                </c:pt>
                <c:pt idx="3398">
                  <c:v>3017.28</c:v>
                </c:pt>
                <c:pt idx="3399">
                  <c:v>3002.03</c:v>
                </c:pt>
                <c:pt idx="3400">
                  <c:v>2990.51</c:v>
                </c:pt>
                <c:pt idx="3401">
                  <c:v>3010.65</c:v>
                </c:pt>
                <c:pt idx="3402">
                  <c:v>2969.54</c:v>
                </c:pt>
                <c:pt idx="3403">
                  <c:v>2964.84</c:v>
                </c:pt>
                <c:pt idx="3404">
                  <c:v>3035.87</c:v>
                </c:pt>
                <c:pt idx="3405">
                  <c:v>3054.3</c:v>
                </c:pt>
                <c:pt idx="3406">
                  <c:v>3047.7</c:v>
                </c:pt>
                <c:pt idx="3407">
                  <c:v>3078.48</c:v>
                </c:pt>
                <c:pt idx="3408">
                  <c:v>3072.69</c:v>
                </c:pt>
                <c:pt idx="3409">
                  <c:v>3094.78</c:v>
                </c:pt>
                <c:pt idx="3410">
                  <c:v>3067.78</c:v>
                </c:pt>
                <c:pt idx="3411">
                  <c:v>3127.99</c:v>
                </c:pt>
                <c:pt idx="3412">
                  <c:v>3128.65</c:v>
                </c:pt>
                <c:pt idx="3413">
                  <c:v>3111.42</c:v>
                </c:pt>
                <c:pt idx="3414">
                  <c:v>3168.17</c:v>
                </c:pt>
                <c:pt idx="3415">
                  <c:v>3185.64</c:v>
                </c:pt>
                <c:pt idx="3416">
                  <c:v>3143.32</c:v>
                </c:pt>
                <c:pt idx="3417">
                  <c:v>3141.05</c:v>
                </c:pt>
                <c:pt idx="3418">
                  <c:v>3158.78</c:v>
                </c:pt>
                <c:pt idx="3419">
                  <c:v>3184.47</c:v>
                </c:pt>
                <c:pt idx="3420">
                  <c:v>3183.78</c:v>
                </c:pt>
                <c:pt idx="3421">
                  <c:v>3193.97</c:v>
                </c:pt>
                <c:pt idx="3422">
                  <c:v>3168.48</c:v>
                </c:pt>
                <c:pt idx="3423">
                  <c:v>3201.63</c:v>
                </c:pt>
                <c:pt idx="3424">
                  <c:v>3247.4</c:v>
                </c:pt>
                <c:pt idx="3425">
                  <c:v>3306.47</c:v>
                </c:pt>
                <c:pt idx="3426">
                  <c:v>3330.34</c:v>
                </c:pt>
                <c:pt idx="3427">
                  <c:v>3397.03</c:v>
                </c:pt>
                <c:pt idx="3428">
                  <c:v>3402.14</c:v>
                </c:pt>
                <c:pt idx="3429">
                  <c:v>3338.7</c:v>
                </c:pt>
                <c:pt idx="3430">
                  <c:v>3445.74</c:v>
                </c:pt>
                <c:pt idx="3431">
                  <c:v>3439.61</c:v>
                </c:pt>
                <c:pt idx="3432">
                  <c:v>3451.93</c:v>
                </c:pt>
                <c:pt idx="3433">
                  <c:v>3442.71</c:v>
                </c:pt>
                <c:pt idx="3434">
                  <c:v>3520.12</c:v>
                </c:pt>
                <c:pt idx="3435">
                  <c:v>3729.48</c:v>
                </c:pt>
                <c:pt idx="3436">
                  <c:v>3684.69</c:v>
                </c:pt>
                <c:pt idx="3437">
                  <c:v>3678.39</c:v>
                </c:pt>
                <c:pt idx="3438">
                  <c:v>3669.37</c:v>
                </c:pt>
                <c:pt idx="3439">
                  <c:v>3749.71</c:v>
                </c:pt>
                <c:pt idx="3440">
                  <c:v>3794.1</c:v>
                </c:pt>
                <c:pt idx="3441">
                  <c:v>3816.01</c:v>
                </c:pt>
                <c:pt idx="3442">
                  <c:v>3848.09</c:v>
                </c:pt>
                <c:pt idx="3443">
                  <c:v>3808.85</c:v>
                </c:pt>
                <c:pt idx="3444">
                  <c:v>3657.58</c:v>
                </c:pt>
                <c:pt idx="3445">
                  <c:v>3729.95</c:v>
                </c:pt>
                <c:pt idx="3446">
                  <c:v>3755.35</c:v>
                </c:pt>
                <c:pt idx="3447">
                  <c:v>3724.19</c:v>
                </c:pt>
                <c:pt idx="3448">
                  <c:v>3698.49</c:v>
                </c:pt>
                <c:pt idx="3449">
                  <c:v>3745.01</c:v>
                </c:pt>
                <c:pt idx="3450">
                  <c:v>3851.75</c:v>
                </c:pt>
                <c:pt idx="3451">
                  <c:v>3833.96</c:v>
                </c:pt>
                <c:pt idx="3452">
                  <c:v>3835.44</c:v>
                </c:pt>
                <c:pt idx="3453">
                  <c:v>3836.89</c:v>
                </c:pt>
                <c:pt idx="3454">
                  <c:v>3833.8</c:v>
                </c:pt>
                <c:pt idx="3455">
                  <c:v>3742.83</c:v>
                </c:pt>
                <c:pt idx="3456">
                  <c:v>3700.44</c:v>
                </c:pt>
                <c:pt idx="3457">
                  <c:v>3743.39</c:v>
                </c:pt>
                <c:pt idx="3458">
                  <c:v>3728.4</c:v>
                </c:pt>
                <c:pt idx="3459">
                  <c:v>3872.34</c:v>
                </c:pt>
                <c:pt idx="3460">
                  <c:v>3973.93</c:v>
                </c:pt>
                <c:pt idx="3461">
                  <c:v>3971.29</c:v>
                </c:pt>
                <c:pt idx="3462">
                  <c:v>4022.16</c:v>
                </c:pt>
                <c:pt idx="3463">
                  <c:v>4062.23</c:v>
                </c:pt>
                <c:pt idx="3464">
                  <c:v>4057.23</c:v>
                </c:pt>
                <c:pt idx="3465">
                  <c:v>4075.43</c:v>
                </c:pt>
                <c:pt idx="3466">
                  <c:v>4085.85</c:v>
                </c:pt>
                <c:pt idx="3467">
                  <c:v>3997.58</c:v>
                </c:pt>
                <c:pt idx="3468">
                  <c:v>3988.62</c:v>
                </c:pt>
                <c:pt idx="3469">
                  <c:v>3975.52</c:v>
                </c:pt>
                <c:pt idx="3470">
                  <c:v>4085.79</c:v>
                </c:pt>
                <c:pt idx="3471">
                  <c:v>4087.24</c:v>
                </c:pt>
                <c:pt idx="3472">
                  <c:v>4072.08</c:v>
                </c:pt>
                <c:pt idx="3473">
                  <c:v>4120.6099999999997</c:v>
                </c:pt>
                <c:pt idx="3474">
                  <c:v>4025.61</c:v>
                </c:pt>
                <c:pt idx="3475">
                  <c:v>4019.01</c:v>
                </c:pt>
                <c:pt idx="3476">
                  <c:v>4030.09</c:v>
                </c:pt>
                <c:pt idx="3477">
                  <c:v>3941.82</c:v>
                </c:pt>
                <c:pt idx="3478">
                  <c:v>3889.27</c:v>
                </c:pt>
                <c:pt idx="3479">
                  <c:v>3900.33</c:v>
                </c:pt>
                <c:pt idx="3480">
                  <c:v>3913.21</c:v>
                </c:pt>
                <c:pt idx="3481">
                  <c:v>3684.62</c:v>
                </c:pt>
                <c:pt idx="3482">
                  <c:v>3720.67</c:v>
                </c:pt>
                <c:pt idx="3483">
                  <c:v>3667.46</c:v>
                </c:pt>
                <c:pt idx="3484">
                  <c:v>3599.7</c:v>
                </c:pt>
                <c:pt idx="3485">
                  <c:v>3730.45</c:v>
                </c:pt>
                <c:pt idx="3486">
                  <c:v>3668.73</c:v>
                </c:pt>
                <c:pt idx="3487">
                  <c:v>3645.15</c:v>
                </c:pt>
                <c:pt idx="3488">
                  <c:v>3727.09</c:v>
                </c:pt>
                <c:pt idx="3489">
                  <c:v>3743.96</c:v>
                </c:pt>
                <c:pt idx="3490">
                  <c:v>3648.76</c:v>
                </c:pt>
                <c:pt idx="3491">
                  <c:v>3617.79</c:v>
                </c:pt>
                <c:pt idx="3492">
                  <c:v>3666.78</c:v>
                </c:pt>
                <c:pt idx="3493">
                  <c:v>3649.38</c:v>
                </c:pt>
                <c:pt idx="3494">
                  <c:v>3583.96</c:v>
                </c:pt>
                <c:pt idx="3495">
                  <c:v>3593.91</c:v>
                </c:pt>
                <c:pt idx="3496">
                  <c:v>3637.2</c:v>
                </c:pt>
                <c:pt idx="3497">
                  <c:v>3672.26</c:v>
                </c:pt>
                <c:pt idx="3498">
                  <c:v>3663.91</c:v>
                </c:pt>
                <c:pt idx="3499">
                  <c:v>3641.18</c:v>
                </c:pt>
                <c:pt idx="3500">
                  <c:v>3629.79</c:v>
                </c:pt>
                <c:pt idx="3501">
                  <c:v>3632.01</c:v>
                </c:pt>
                <c:pt idx="3502">
                  <c:v>3598.47</c:v>
                </c:pt>
                <c:pt idx="3503">
                  <c:v>3597.11</c:v>
                </c:pt>
                <c:pt idx="3504">
                  <c:v>3564.68</c:v>
                </c:pt>
                <c:pt idx="3505">
                  <c:v>3610.74</c:v>
                </c:pt>
                <c:pt idx="3506">
                  <c:v>3719.28</c:v>
                </c:pt>
                <c:pt idx="3507">
                  <c:v>3691.1</c:v>
                </c:pt>
                <c:pt idx="3508">
                  <c:v>3685.39</c:v>
                </c:pt>
                <c:pt idx="3509">
                  <c:v>3654.88</c:v>
                </c:pt>
                <c:pt idx="3510">
                  <c:v>3654.82</c:v>
                </c:pt>
                <c:pt idx="3511">
                  <c:v>3667.62</c:v>
                </c:pt>
                <c:pt idx="3512">
                  <c:v>3715.94</c:v>
                </c:pt>
                <c:pt idx="3513">
                  <c:v>3828.52</c:v>
                </c:pt>
                <c:pt idx="3514">
                  <c:v>3833.94</c:v>
                </c:pt>
                <c:pt idx="3515">
                  <c:v>3841.27</c:v>
                </c:pt>
                <c:pt idx="3516">
                  <c:v>3801.31</c:v>
                </c:pt>
                <c:pt idx="3517">
                  <c:v>3794.33</c:v>
                </c:pt>
                <c:pt idx="3518">
                  <c:v>3834.82</c:v>
                </c:pt>
                <c:pt idx="3519">
                  <c:v>3825.59</c:v>
                </c:pt>
                <c:pt idx="3520">
                  <c:v>3935.81</c:v>
                </c:pt>
                <c:pt idx="3521">
                  <c:v>3937.17</c:v>
                </c:pt>
                <c:pt idx="3522">
                  <c:v>3893.53</c:v>
                </c:pt>
                <c:pt idx="3523">
                  <c:v>3873.1</c:v>
                </c:pt>
                <c:pt idx="3524">
                  <c:v>3893.2</c:v>
                </c:pt>
                <c:pt idx="3525">
                  <c:v>3802.79</c:v>
                </c:pt>
                <c:pt idx="3526">
                  <c:v>3793.13</c:v>
                </c:pt>
                <c:pt idx="3527">
                  <c:v>3786.74</c:v>
                </c:pt>
                <c:pt idx="3528">
                  <c:v>3785.22</c:v>
                </c:pt>
                <c:pt idx="3529">
                  <c:v>3808.73</c:v>
                </c:pt>
                <c:pt idx="3530">
                  <c:v>3824.19</c:v>
                </c:pt>
                <c:pt idx="3531">
                  <c:v>3806.84</c:v>
                </c:pt>
                <c:pt idx="3532">
                  <c:v>3804.64</c:v>
                </c:pt>
                <c:pt idx="3533">
                  <c:v>3768.4</c:v>
                </c:pt>
                <c:pt idx="3534">
                  <c:v>3807.96</c:v>
                </c:pt>
                <c:pt idx="3535">
                  <c:v>3781.68</c:v>
                </c:pt>
                <c:pt idx="3536">
                  <c:v>3789.91</c:v>
                </c:pt>
                <c:pt idx="3537">
                  <c:v>3819.83</c:v>
                </c:pt>
                <c:pt idx="3538">
                  <c:v>3851.07</c:v>
                </c:pt>
                <c:pt idx="3539">
                  <c:v>3858.57</c:v>
                </c:pt>
                <c:pt idx="3540">
                  <c:v>3854.27</c:v>
                </c:pt>
                <c:pt idx="3541">
                  <c:v>3870.32</c:v>
                </c:pt>
                <c:pt idx="3542">
                  <c:v>3835.36</c:v>
                </c:pt>
                <c:pt idx="3543">
                  <c:v>3803.47</c:v>
                </c:pt>
                <c:pt idx="3544">
                  <c:v>3747.44</c:v>
                </c:pt>
                <c:pt idx="3545">
                  <c:v>3675.69</c:v>
                </c:pt>
                <c:pt idx="3546">
                  <c:v>3636.33</c:v>
                </c:pt>
                <c:pt idx="3547">
                  <c:v>3621.43</c:v>
                </c:pt>
                <c:pt idx="3548">
                  <c:v>3669.29</c:v>
                </c:pt>
                <c:pt idx="3549">
                  <c:v>3633.53</c:v>
                </c:pt>
                <c:pt idx="3550">
                  <c:v>3699.1</c:v>
                </c:pt>
                <c:pt idx="3551">
                  <c:v>3665.75</c:v>
                </c:pt>
                <c:pt idx="3552">
                  <c:v>3682.4</c:v>
                </c:pt>
                <c:pt idx="3553">
                  <c:v>3694</c:v>
                </c:pt>
                <c:pt idx="3554">
                  <c:v>3710.54</c:v>
                </c:pt>
                <c:pt idx="3555">
                  <c:v>3791.09</c:v>
                </c:pt>
                <c:pt idx="3556">
                  <c:v>3787.73</c:v>
                </c:pt>
                <c:pt idx="3557">
                  <c:v>3781.76</c:v>
                </c:pt>
                <c:pt idx="3558">
                  <c:v>3793.51</c:v>
                </c:pt>
                <c:pt idx="3559">
                  <c:v>3820.86</c:v>
                </c:pt>
                <c:pt idx="3560">
                  <c:v>3765.91</c:v>
                </c:pt>
                <c:pt idx="3561">
                  <c:v>3816.95</c:v>
                </c:pt>
                <c:pt idx="3562">
                  <c:v>3802.58</c:v>
                </c:pt>
                <c:pt idx="3563">
                  <c:v>3790.19</c:v>
                </c:pt>
                <c:pt idx="3564">
                  <c:v>3799.59</c:v>
                </c:pt>
                <c:pt idx="3565">
                  <c:v>3848.32</c:v>
                </c:pt>
                <c:pt idx="3566">
                  <c:v>3853.61</c:v>
                </c:pt>
                <c:pt idx="3567">
                  <c:v>3886</c:v>
                </c:pt>
                <c:pt idx="3568">
                  <c:v>3925.32</c:v>
                </c:pt>
                <c:pt idx="3569">
                  <c:v>3948.51</c:v>
                </c:pt>
                <c:pt idx="3570">
                  <c:v>3972.95</c:v>
                </c:pt>
                <c:pt idx="3571">
                  <c:v>3959.27</c:v>
                </c:pt>
                <c:pt idx="3572">
                  <c:v>3930.1</c:v>
                </c:pt>
                <c:pt idx="3573">
                  <c:v>3972.38</c:v>
                </c:pt>
                <c:pt idx="3574">
                  <c:v>3957.72</c:v>
                </c:pt>
                <c:pt idx="3575">
                  <c:v>3891.22</c:v>
                </c:pt>
                <c:pt idx="3576">
                  <c:v>3910.08</c:v>
                </c:pt>
                <c:pt idx="3577">
                  <c:v>3924.38</c:v>
                </c:pt>
                <c:pt idx="3578">
                  <c:v>3935.65</c:v>
                </c:pt>
                <c:pt idx="3579">
                  <c:v>3890.66</c:v>
                </c:pt>
                <c:pt idx="3580">
                  <c:v>3901.08</c:v>
                </c:pt>
                <c:pt idx="3581">
                  <c:v>3870.98</c:v>
                </c:pt>
                <c:pt idx="3582">
                  <c:v>3841.14</c:v>
                </c:pt>
                <c:pt idx="3583">
                  <c:v>3852.65</c:v>
                </c:pt>
                <c:pt idx="3584">
                  <c:v>3814.53</c:v>
                </c:pt>
                <c:pt idx="3585">
                  <c:v>3837.68</c:v>
                </c:pt>
                <c:pt idx="3586">
                  <c:v>3843.24</c:v>
                </c:pt>
                <c:pt idx="3587">
                  <c:v>3874.64</c:v>
                </c:pt>
                <c:pt idx="3588">
                  <c:v>3911.73</c:v>
                </c:pt>
                <c:pt idx="3589">
                  <c:v>3953.24</c:v>
                </c:pt>
                <c:pt idx="3590">
                  <c:v>3936.25</c:v>
                </c:pt>
                <c:pt idx="3591">
                  <c:v>3922.69</c:v>
                </c:pt>
                <c:pt idx="3592">
                  <c:v>3925.22</c:v>
                </c:pt>
                <c:pt idx="3593">
                  <c:v>3869.38</c:v>
                </c:pt>
                <c:pt idx="3594">
                  <c:v>3880.84</c:v>
                </c:pt>
                <c:pt idx="3595">
                  <c:v>3895.88</c:v>
                </c:pt>
                <c:pt idx="3596">
                  <c:v>3871.08</c:v>
                </c:pt>
                <c:pt idx="3597">
                  <c:v>3870.67</c:v>
                </c:pt>
                <c:pt idx="3598">
                  <c:v>3896.79</c:v>
                </c:pt>
                <c:pt idx="3599">
                  <c:v>3926.59</c:v>
                </c:pt>
                <c:pt idx="3600">
                  <c:v>3910.23</c:v>
                </c:pt>
                <c:pt idx="3601">
                  <c:v>3891.23</c:v>
                </c:pt>
                <c:pt idx="3602">
                  <c:v>3886.75</c:v>
                </c:pt>
                <c:pt idx="3603">
                  <c:v>3952.39</c:v>
                </c:pt>
                <c:pt idx="3604">
                  <c:v>3978.12</c:v>
                </c:pt>
                <c:pt idx="3605">
                  <c:v>4002.81</c:v>
                </c:pt>
                <c:pt idx="3606">
                  <c:v>3984.88</c:v>
                </c:pt>
                <c:pt idx="3607">
                  <c:v>3991.87</c:v>
                </c:pt>
                <c:pt idx="3608">
                  <c:v>3973.01</c:v>
                </c:pt>
                <c:pt idx="3609">
                  <c:v>3902.98</c:v>
                </c:pt>
                <c:pt idx="3610">
                  <c:v>3903.69</c:v>
                </c:pt>
                <c:pt idx="3611">
                  <c:v>3899.98</c:v>
                </c:pt>
                <c:pt idx="3612">
                  <c:v>3905.86</c:v>
                </c:pt>
                <c:pt idx="3613">
                  <c:v>3877.09</c:v>
                </c:pt>
                <c:pt idx="3614">
                  <c:v>3907.93</c:v>
                </c:pt>
                <c:pt idx="3615">
                  <c:v>3947.04</c:v>
                </c:pt>
                <c:pt idx="3616">
                  <c:v>3907.86</c:v>
                </c:pt>
                <c:pt idx="3617">
                  <c:v>3889.6</c:v>
                </c:pt>
                <c:pt idx="3618">
                  <c:v>3849.99</c:v>
                </c:pt>
                <c:pt idx="3619">
                  <c:v>3878.21</c:v>
                </c:pt>
                <c:pt idx="3620">
                  <c:v>3891.65</c:v>
                </c:pt>
                <c:pt idx="3621">
                  <c:v>3875.62</c:v>
                </c:pt>
                <c:pt idx="3622">
                  <c:v>3862.3</c:v>
                </c:pt>
                <c:pt idx="3623">
                  <c:v>3828.67</c:v>
                </c:pt>
                <c:pt idx="3624">
                  <c:v>3836.06</c:v>
                </c:pt>
                <c:pt idx="3625">
                  <c:v>3851.09</c:v>
                </c:pt>
                <c:pt idx="3626">
                  <c:v>3849.82</c:v>
                </c:pt>
                <c:pt idx="3627">
                  <c:v>3879.36</c:v>
                </c:pt>
                <c:pt idx="3628">
                  <c:v>3902.39</c:v>
                </c:pt>
                <c:pt idx="3629">
                  <c:v>3895.45</c:v>
                </c:pt>
                <c:pt idx="3630">
                  <c:v>3900.38</c:v>
                </c:pt>
                <c:pt idx="3631">
                  <c:v>3902.75</c:v>
                </c:pt>
                <c:pt idx="3632">
                  <c:v>3891.02</c:v>
                </c:pt>
                <c:pt idx="3633">
                  <c:v>3968.22</c:v>
                </c:pt>
                <c:pt idx="3634">
                  <c:v>3987.55</c:v>
                </c:pt>
                <c:pt idx="3635">
                  <c:v>4041.8</c:v>
                </c:pt>
                <c:pt idx="3636">
                  <c:v>4032.78</c:v>
                </c:pt>
                <c:pt idx="3637">
                  <c:v>4027.15</c:v>
                </c:pt>
                <c:pt idx="3638">
                  <c:v>4017.25</c:v>
                </c:pt>
                <c:pt idx="3639">
                  <c:v>3967.1</c:v>
                </c:pt>
                <c:pt idx="3640">
                  <c:v>3992.96</c:v>
                </c:pt>
                <c:pt idx="3641">
                  <c:v>3990.87</c:v>
                </c:pt>
                <c:pt idx="3642">
                  <c:v>4025.99</c:v>
                </c:pt>
                <c:pt idx="3643">
                  <c:v>4022.03</c:v>
                </c:pt>
                <c:pt idx="3644">
                  <c:v>4081.63</c:v>
                </c:pt>
                <c:pt idx="3645">
                  <c:v>4096.58</c:v>
                </c:pt>
                <c:pt idx="3646">
                  <c:v>4152.24</c:v>
                </c:pt>
                <c:pt idx="3647">
                  <c:v>4144.96</c:v>
                </c:pt>
                <c:pt idx="3648">
                  <c:v>4129.3</c:v>
                </c:pt>
                <c:pt idx="3649">
                  <c:v>4160.2299999999996</c:v>
                </c:pt>
                <c:pt idx="3650">
                  <c:v>4112.32</c:v>
                </c:pt>
                <c:pt idx="3651">
                  <c:v>4164.37</c:v>
                </c:pt>
                <c:pt idx="3652">
                  <c:v>4163.18</c:v>
                </c:pt>
                <c:pt idx="3653">
                  <c:v>4203.99</c:v>
                </c:pt>
                <c:pt idx="3654">
                  <c:v>4189.8900000000003</c:v>
                </c:pt>
                <c:pt idx="3655">
                  <c:v>4166.7299999999996</c:v>
                </c:pt>
                <c:pt idx="3656">
                  <c:v>4149.04</c:v>
                </c:pt>
                <c:pt idx="3657">
                  <c:v>4154.8500000000004</c:v>
                </c:pt>
                <c:pt idx="3658">
                  <c:v>4185.83</c:v>
                </c:pt>
                <c:pt idx="3659">
                  <c:v>4114.3100000000004</c:v>
                </c:pt>
                <c:pt idx="3660">
                  <c:v>4131.93</c:v>
                </c:pt>
                <c:pt idx="3661">
                  <c:v>4003.9</c:v>
                </c:pt>
                <c:pt idx="3662">
                  <c:v>3688.36</c:v>
                </c:pt>
                <c:pt idx="3663">
                  <c:v>3785.64</c:v>
                </c:pt>
                <c:pt idx="3664">
                  <c:v>3828.53</c:v>
                </c:pt>
                <c:pt idx="3665">
                  <c:v>3899.78</c:v>
                </c:pt>
                <c:pt idx="3666">
                  <c:v>3899.87</c:v>
                </c:pt>
                <c:pt idx="3667">
                  <c:v>3916.01</c:v>
                </c:pt>
                <c:pt idx="3668">
                  <c:v>3952.46</c:v>
                </c:pt>
                <c:pt idx="3669">
                  <c:v>3984.43</c:v>
                </c:pt>
                <c:pt idx="3670">
                  <c:v>3959.92</c:v>
                </c:pt>
                <c:pt idx="3671">
                  <c:v>3987.73</c:v>
                </c:pt>
                <c:pt idx="3672">
                  <c:v>4077.42</c:v>
                </c:pt>
                <c:pt idx="3673">
                  <c:v>4057.51</c:v>
                </c:pt>
                <c:pt idx="3674">
                  <c:v>4051.31</c:v>
                </c:pt>
                <c:pt idx="3675">
                  <c:v>4144.66</c:v>
                </c:pt>
                <c:pt idx="3676">
                  <c:v>4149.49</c:v>
                </c:pt>
                <c:pt idx="3677">
                  <c:v>4132.84</c:v>
                </c:pt>
                <c:pt idx="3678">
                  <c:v>4123.8500000000004</c:v>
                </c:pt>
                <c:pt idx="3679">
                  <c:v>4073.02</c:v>
                </c:pt>
                <c:pt idx="3680">
                  <c:v>4084.88</c:v>
                </c:pt>
                <c:pt idx="3681">
                  <c:v>3940.05</c:v>
                </c:pt>
                <c:pt idx="3682">
                  <c:v>4069.67</c:v>
                </c:pt>
                <c:pt idx="3683">
                  <c:v>4091.36</c:v>
                </c:pt>
                <c:pt idx="3684">
                  <c:v>4115.05</c:v>
                </c:pt>
                <c:pt idx="3685">
                  <c:v>4206.7299999999996</c:v>
                </c:pt>
                <c:pt idx="3686">
                  <c:v>4138.51</c:v>
                </c:pt>
                <c:pt idx="3687">
                  <c:v>3997.13</c:v>
                </c:pt>
                <c:pt idx="3688">
                  <c:v>4082.73</c:v>
                </c:pt>
                <c:pt idx="3689">
                  <c:v>4028.43</c:v>
                </c:pt>
                <c:pt idx="3690">
                  <c:v>3950.91</c:v>
                </c:pt>
                <c:pt idx="3691">
                  <c:v>3895.31</c:v>
                </c:pt>
                <c:pt idx="3692">
                  <c:v>3727.84</c:v>
                </c:pt>
                <c:pt idx="3693">
                  <c:v>3709.68</c:v>
                </c:pt>
                <c:pt idx="3694">
                  <c:v>3636.26</c:v>
                </c:pt>
                <c:pt idx="3695">
                  <c:v>3589.09</c:v>
                </c:pt>
                <c:pt idx="3696">
                  <c:v>3653.22</c:v>
                </c:pt>
                <c:pt idx="3697">
                  <c:v>3530.31</c:v>
                </c:pt>
                <c:pt idx="3698">
                  <c:v>3625.11</c:v>
                </c:pt>
                <c:pt idx="3699">
                  <c:v>3722.52</c:v>
                </c:pt>
                <c:pt idx="3700">
                  <c:v>3698.05</c:v>
                </c:pt>
                <c:pt idx="3701">
                  <c:v>3710.06</c:v>
                </c:pt>
                <c:pt idx="3702">
                  <c:v>3674.11</c:v>
                </c:pt>
                <c:pt idx="3703">
                  <c:v>3686.16</c:v>
                </c:pt>
                <c:pt idx="3704">
                  <c:v>3675.08</c:v>
                </c:pt>
                <c:pt idx="3705">
                  <c:v>3734.53</c:v>
                </c:pt>
                <c:pt idx="3706">
                  <c:v>3713.22</c:v>
                </c:pt>
                <c:pt idx="3707">
                  <c:v>3798.02</c:v>
                </c:pt>
                <c:pt idx="3708">
                  <c:v>3780.34</c:v>
                </c:pt>
                <c:pt idx="3709">
                  <c:v>3792.81</c:v>
                </c:pt>
                <c:pt idx="3710">
                  <c:v>3769.18</c:v>
                </c:pt>
                <c:pt idx="3711">
                  <c:v>3753.26</c:v>
                </c:pt>
                <c:pt idx="3712">
                  <c:v>3825.7</c:v>
                </c:pt>
                <c:pt idx="3713">
                  <c:v>3797.36</c:v>
                </c:pt>
                <c:pt idx="3714">
                  <c:v>3802.38</c:v>
                </c:pt>
                <c:pt idx="3715">
                  <c:v>3839.49</c:v>
                </c:pt>
                <c:pt idx="3716">
                  <c:v>3853.46</c:v>
                </c:pt>
                <c:pt idx="3717">
                  <c:v>3808.05</c:v>
                </c:pt>
                <c:pt idx="3718">
                  <c:v>3839.38</c:v>
                </c:pt>
                <c:pt idx="3719">
                  <c:v>3829.75</c:v>
                </c:pt>
                <c:pt idx="3720">
                  <c:v>3796.97</c:v>
                </c:pt>
                <c:pt idx="3721">
                  <c:v>3822.77</c:v>
                </c:pt>
                <c:pt idx="3722">
                  <c:v>3849.15</c:v>
                </c:pt>
                <c:pt idx="3723">
                  <c:v>3867.03</c:v>
                </c:pt>
                <c:pt idx="3724">
                  <c:v>3912.58</c:v>
                </c:pt>
                <c:pt idx="3725">
                  <c:v>3936.25</c:v>
                </c:pt>
                <c:pt idx="3726">
                  <c:v>3924.89</c:v>
                </c:pt>
                <c:pt idx="3727">
                  <c:v>3963.62</c:v>
                </c:pt>
                <c:pt idx="3728">
                  <c:v>3960.18</c:v>
                </c:pt>
                <c:pt idx="3729">
                  <c:v>3960.24</c:v>
                </c:pt>
                <c:pt idx="3730">
                  <c:v>3968.25</c:v>
                </c:pt>
                <c:pt idx="3731">
                  <c:v>3925.22</c:v>
                </c:pt>
                <c:pt idx="3732">
                  <c:v>3912.82</c:v>
                </c:pt>
                <c:pt idx="3733">
                  <c:v>3922.91</c:v>
                </c:pt>
                <c:pt idx="3734">
                  <c:v>3956.25</c:v>
                </c:pt>
                <c:pt idx="3735">
                  <c:v>3935.22</c:v>
                </c:pt>
                <c:pt idx="3736">
                  <c:v>3913.79</c:v>
                </c:pt>
                <c:pt idx="3737">
                  <c:v>3824.06</c:v>
                </c:pt>
                <c:pt idx="3738">
                  <c:v>3829.32</c:v>
                </c:pt>
                <c:pt idx="3739">
                  <c:v>3872.77</c:v>
                </c:pt>
                <c:pt idx="3740">
                  <c:v>3845.61</c:v>
                </c:pt>
                <c:pt idx="3741">
                  <c:v>3856.63</c:v>
                </c:pt>
                <c:pt idx="3742">
                  <c:v>3867.02</c:v>
                </c:pt>
                <c:pt idx="3743">
                  <c:v>3971.34</c:v>
                </c:pt>
                <c:pt idx="3744">
                  <c:v>3983.57</c:v>
                </c:pt>
                <c:pt idx="3745">
                  <c:v>3983.65</c:v>
                </c:pt>
                <c:pt idx="3746">
                  <c:v>3982.19</c:v>
                </c:pt>
                <c:pt idx="3747">
                  <c:v>4001.25</c:v>
                </c:pt>
                <c:pt idx="3748">
                  <c:v>4021.95</c:v>
                </c:pt>
                <c:pt idx="3749">
                  <c:v>4047.03</c:v>
                </c:pt>
                <c:pt idx="3750">
                  <c:v>4039.71</c:v>
                </c:pt>
                <c:pt idx="3751">
                  <c:v>3995.88</c:v>
                </c:pt>
                <c:pt idx="3752">
                  <c:v>4003.08</c:v>
                </c:pt>
                <c:pt idx="3753">
                  <c:v>3954.99</c:v>
                </c:pt>
                <c:pt idx="3754">
                  <c:v>4014.57</c:v>
                </c:pt>
                <c:pt idx="3755">
                  <c:v>4017.59</c:v>
                </c:pt>
                <c:pt idx="3756">
                  <c:v>4044.38</c:v>
                </c:pt>
                <c:pt idx="3757">
                  <c:v>4098.71</c:v>
                </c:pt>
                <c:pt idx="3758">
                  <c:v>4102.05</c:v>
                </c:pt>
                <c:pt idx="3759">
                  <c:v>4121.79</c:v>
                </c:pt>
                <c:pt idx="3760">
                  <c:v>4138.99</c:v>
                </c:pt>
                <c:pt idx="3761">
                  <c:v>4109.72</c:v>
                </c:pt>
                <c:pt idx="3762">
                  <c:v>4163.96</c:v>
                </c:pt>
                <c:pt idx="3763">
                  <c:v>4247.78</c:v>
                </c:pt>
                <c:pt idx="3764">
                  <c:v>4335.84</c:v>
                </c:pt>
                <c:pt idx="3765">
                  <c:v>4419.6000000000004</c:v>
                </c:pt>
                <c:pt idx="3766">
                  <c:v>4670.09</c:v>
                </c:pt>
                <c:pt idx="3767">
                  <c:v>4698.13</c:v>
                </c:pt>
                <c:pt idx="3768">
                  <c:v>4774</c:v>
                </c:pt>
                <c:pt idx="3769">
                  <c:v>4840.7700000000004</c:v>
                </c:pt>
                <c:pt idx="3770">
                  <c:v>4753.13</c:v>
                </c:pt>
                <c:pt idx="3771">
                  <c:v>4852.96</c:v>
                </c:pt>
                <c:pt idx="3772">
                  <c:v>4806.6899999999996</c:v>
                </c:pt>
                <c:pt idx="3773">
                  <c:v>4744.47</c:v>
                </c:pt>
                <c:pt idx="3774">
                  <c:v>4516.25</c:v>
                </c:pt>
                <c:pt idx="3775">
                  <c:v>4544.7</c:v>
                </c:pt>
                <c:pt idx="3776">
                  <c:v>4680.3</c:v>
                </c:pt>
                <c:pt idx="3777">
                  <c:v>4691.04</c:v>
                </c:pt>
                <c:pt idx="3778">
                  <c:v>4714.45</c:v>
                </c:pt>
                <c:pt idx="3779">
                  <c:v>4712.4399999999996</c:v>
                </c:pt>
                <c:pt idx="3780">
                  <c:v>4505.59</c:v>
                </c:pt>
                <c:pt idx="3781">
                  <c:v>4528.45</c:v>
                </c:pt>
                <c:pt idx="3782">
                  <c:v>4568.26</c:v>
                </c:pt>
                <c:pt idx="3783">
                  <c:v>4679.01</c:v>
                </c:pt>
                <c:pt idx="3784">
                  <c:v>4656.1499999999996</c:v>
                </c:pt>
                <c:pt idx="3785">
                  <c:v>4695.05</c:v>
                </c:pt>
                <c:pt idx="3786">
                  <c:v>4771.3100000000004</c:v>
                </c:pt>
                <c:pt idx="3787">
                  <c:v>4775.8</c:v>
                </c:pt>
                <c:pt idx="3788">
                  <c:v>4777.1099999999997</c:v>
                </c:pt>
                <c:pt idx="3789">
                  <c:v>4762.76</c:v>
                </c:pt>
                <c:pt idx="3790">
                  <c:v>4707.93</c:v>
                </c:pt>
                <c:pt idx="3791">
                  <c:v>4724.87</c:v>
                </c:pt>
                <c:pt idx="3792">
                  <c:v>4681.78</c:v>
                </c:pt>
                <c:pt idx="3793">
                  <c:v>4647.6400000000003</c:v>
                </c:pt>
                <c:pt idx="3794">
                  <c:v>4635.71</c:v>
                </c:pt>
                <c:pt idx="3795">
                  <c:v>4704.63</c:v>
                </c:pt>
                <c:pt idx="3796">
                  <c:v>4815.2299999999996</c:v>
                </c:pt>
                <c:pt idx="3797">
                  <c:v>4812.76</c:v>
                </c:pt>
                <c:pt idx="3798">
                  <c:v>4740.68</c:v>
                </c:pt>
                <c:pt idx="3799">
                  <c:v>4679.1499999999996</c:v>
                </c:pt>
                <c:pt idx="3800">
                  <c:v>4718.84</c:v>
                </c:pt>
                <c:pt idx="3801">
                  <c:v>4755.8500000000004</c:v>
                </c:pt>
                <c:pt idx="3802">
                  <c:v>4761.95</c:v>
                </c:pt>
                <c:pt idx="3803">
                  <c:v>4706.13</c:v>
                </c:pt>
                <c:pt idx="3804">
                  <c:v>4731.3500000000004</c:v>
                </c:pt>
                <c:pt idx="3805">
                  <c:v>4844.2700000000004</c:v>
                </c:pt>
                <c:pt idx="3806">
                  <c:v>4816.22</c:v>
                </c:pt>
                <c:pt idx="3807">
                  <c:v>4842.12</c:v>
                </c:pt>
                <c:pt idx="3808">
                  <c:v>4843.8900000000003</c:v>
                </c:pt>
                <c:pt idx="3809">
                  <c:v>4817.1000000000004</c:v>
                </c:pt>
                <c:pt idx="3810">
                  <c:v>4770.22</c:v>
                </c:pt>
                <c:pt idx="3811">
                  <c:v>4669.37</c:v>
                </c:pt>
                <c:pt idx="3812">
                  <c:v>4694.3900000000003</c:v>
                </c:pt>
                <c:pt idx="3813">
                  <c:v>4584.59</c:v>
                </c:pt>
                <c:pt idx="3814">
                  <c:v>4581.9799999999996</c:v>
                </c:pt>
                <c:pt idx="3815">
                  <c:v>4627.28</c:v>
                </c:pt>
                <c:pt idx="3816">
                  <c:v>4651.05</c:v>
                </c:pt>
                <c:pt idx="3817">
                  <c:v>4688.4799999999996</c:v>
                </c:pt>
                <c:pt idx="3818">
                  <c:v>4657.3599999999997</c:v>
                </c:pt>
                <c:pt idx="3819">
                  <c:v>4632.71</c:v>
                </c:pt>
                <c:pt idx="3820">
                  <c:v>4737.09</c:v>
                </c:pt>
                <c:pt idx="3821">
                  <c:v>4691.43</c:v>
                </c:pt>
                <c:pt idx="3822">
                  <c:v>4635.76</c:v>
                </c:pt>
                <c:pt idx="3823">
                  <c:v>4652.33</c:v>
                </c:pt>
                <c:pt idx="3824">
                  <c:v>4563.07</c:v>
                </c:pt>
                <c:pt idx="3825">
                  <c:v>4570.0200000000004</c:v>
                </c:pt>
                <c:pt idx="3826">
                  <c:v>4581.91</c:v>
                </c:pt>
                <c:pt idx="3827">
                  <c:v>4591.8</c:v>
                </c:pt>
                <c:pt idx="3828">
                  <c:v>4587.3999999999996</c:v>
                </c:pt>
                <c:pt idx="3829">
                  <c:v>4681.1400000000003</c:v>
                </c:pt>
                <c:pt idx="3830">
                  <c:v>4823.16</c:v>
                </c:pt>
                <c:pt idx="3831">
                  <c:v>4839.2</c:v>
                </c:pt>
                <c:pt idx="3832">
                  <c:v>4807.1000000000004</c:v>
                </c:pt>
                <c:pt idx="3833">
                  <c:v>4798.74</c:v>
                </c:pt>
                <c:pt idx="3834">
                  <c:v>4791.68</c:v>
                </c:pt>
                <c:pt idx="3835">
                  <c:v>4755.49</c:v>
                </c:pt>
                <c:pt idx="3836">
                  <c:v>4793.47</c:v>
                </c:pt>
                <c:pt idx="3837">
                  <c:v>4792.83</c:v>
                </c:pt>
                <c:pt idx="3838">
                  <c:v>4777.9799999999996</c:v>
                </c:pt>
                <c:pt idx="3839">
                  <c:v>4718.49</c:v>
                </c:pt>
                <c:pt idx="3840">
                  <c:v>4691.24</c:v>
                </c:pt>
                <c:pt idx="3841">
                  <c:v>4699.28</c:v>
                </c:pt>
                <c:pt idx="3842">
                  <c:v>4737.2700000000004</c:v>
                </c:pt>
                <c:pt idx="3843">
                  <c:v>4772.92</c:v>
                </c:pt>
                <c:pt idx="3844">
                  <c:v>4695.33</c:v>
                </c:pt>
                <c:pt idx="3845">
                  <c:v>4720.83</c:v>
                </c:pt>
                <c:pt idx="3846">
                  <c:v>4777.5600000000004</c:v>
                </c:pt>
                <c:pt idx="3847">
                  <c:v>4813.66</c:v>
                </c:pt>
                <c:pt idx="3848">
                  <c:v>4885.1099999999997</c:v>
                </c:pt>
                <c:pt idx="3849">
                  <c:v>4885.72</c:v>
                </c:pt>
                <c:pt idx="3850">
                  <c:v>4981.3500000000004</c:v>
                </c:pt>
                <c:pt idx="3851">
                  <c:v>4953.88</c:v>
                </c:pt>
                <c:pt idx="3852">
                  <c:v>4904.8999999999996</c:v>
                </c:pt>
                <c:pt idx="3853">
                  <c:v>4908.46</c:v>
                </c:pt>
                <c:pt idx="3854">
                  <c:v>4856.8500000000004</c:v>
                </c:pt>
                <c:pt idx="3855">
                  <c:v>4904.17</c:v>
                </c:pt>
                <c:pt idx="3856">
                  <c:v>4894.79</c:v>
                </c:pt>
                <c:pt idx="3857">
                  <c:v>4891.67</c:v>
                </c:pt>
                <c:pt idx="3858">
                  <c:v>4927.99</c:v>
                </c:pt>
                <c:pt idx="3859">
                  <c:v>4943.29</c:v>
                </c:pt>
                <c:pt idx="3860">
                  <c:v>5005.03</c:v>
                </c:pt>
                <c:pt idx="3861">
                  <c:v>4974.29</c:v>
                </c:pt>
                <c:pt idx="3862">
                  <c:v>4910.7</c:v>
                </c:pt>
                <c:pt idx="3863">
                  <c:v>4919.59</c:v>
                </c:pt>
                <c:pt idx="3864">
                  <c:v>4980.7700000000004</c:v>
                </c:pt>
                <c:pt idx="3865">
                  <c:v>4960.25</c:v>
                </c:pt>
                <c:pt idx="3866">
                  <c:v>5067.1000000000004</c:v>
                </c:pt>
                <c:pt idx="3867">
                  <c:v>5067.1400000000003</c:v>
                </c:pt>
                <c:pt idx="3868">
                  <c:v>5057.0600000000004</c:v>
                </c:pt>
                <c:pt idx="3869">
                  <c:v>5065.92</c:v>
                </c:pt>
                <c:pt idx="3870">
                  <c:v>5022.24</c:v>
                </c:pt>
                <c:pt idx="3871">
                  <c:v>5009.88</c:v>
                </c:pt>
                <c:pt idx="3872">
                  <c:v>4942.7</c:v>
                </c:pt>
                <c:pt idx="3873">
                  <c:v>4940.5200000000004</c:v>
                </c:pt>
                <c:pt idx="3874">
                  <c:v>4889.63</c:v>
                </c:pt>
                <c:pt idx="3875">
                  <c:v>4934.84</c:v>
                </c:pt>
                <c:pt idx="3876">
                  <c:v>4945.1000000000004</c:v>
                </c:pt>
                <c:pt idx="3877">
                  <c:v>4953.87</c:v>
                </c:pt>
                <c:pt idx="3878">
                  <c:v>5017.4799999999996</c:v>
                </c:pt>
                <c:pt idx="3879">
                  <c:v>4999.97</c:v>
                </c:pt>
                <c:pt idx="3880">
                  <c:v>5046.84</c:v>
                </c:pt>
                <c:pt idx="3881">
                  <c:v>4964.7700000000004</c:v>
                </c:pt>
                <c:pt idx="3882">
                  <c:v>5007.12</c:v>
                </c:pt>
                <c:pt idx="3883">
                  <c:v>5000.0200000000004</c:v>
                </c:pt>
                <c:pt idx="3884">
                  <c:v>5042.01</c:v>
                </c:pt>
                <c:pt idx="3885">
                  <c:v>5064.41</c:v>
                </c:pt>
                <c:pt idx="3886">
                  <c:v>5042.9399999999996</c:v>
                </c:pt>
                <c:pt idx="3887">
                  <c:v>5113.71</c:v>
                </c:pt>
                <c:pt idx="3888">
                  <c:v>5211.29</c:v>
                </c:pt>
                <c:pt idx="3889">
                  <c:v>5267.72</c:v>
                </c:pt>
                <c:pt idx="3890">
                  <c:v>5368.5</c:v>
                </c:pt>
                <c:pt idx="3891">
                  <c:v>5417.67</c:v>
                </c:pt>
                <c:pt idx="3892">
                  <c:v>5513.66</c:v>
                </c:pt>
                <c:pt idx="3893">
                  <c:v>5495.43</c:v>
                </c:pt>
                <c:pt idx="3894">
                  <c:v>5441.16</c:v>
                </c:pt>
                <c:pt idx="3895">
                  <c:v>5596.35</c:v>
                </c:pt>
                <c:pt idx="3896">
                  <c:v>5577.97</c:v>
                </c:pt>
                <c:pt idx="3897">
                  <c:v>5470.46</c:v>
                </c:pt>
                <c:pt idx="3898">
                  <c:v>5458.08</c:v>
                </c:pt>
                <c:pt idx="3899">
                  <c:v>5518.52</c:v>
                </c:pt>
                <c:pt idx="3900">
                  <c:v>5437.52</c:v>
                </c:pt>
                <c:pt idx="3901">
                  <c:v>5476.43</c:v>
                </c:pt>
                <c:pt idx="3902">
                  <c:v>5564.97</c:v>
                </c:pt>
                <c:pt idx="3903">
                  <c:v>5569.78</c:v>
                </c:pt>
                <c:pt idx="3904">
                  <c:v>5625.92</c:v>
                </c:pt>
                <c:pt idx="3905">
                  <c:v>5512.97</c:v>
                </c:pt>
                <c:pt idx="3906">
                  <c:v>5528</c:v>
                </c:pt>
                <c:pt idx="3907">
                  <c:v>5377.14</c:v>
                </c:pt>
                <c:pt idx="3908">
                  <c:v>5351.96</c:v>
                </c:pt>
                <c:pt idx="3909">
                  <c:v>5417.65</c:v>
                </c:pt>
                <c:pt idx="3910">
                  <c:v>5501.09</c:v>
                </c:pt>
                <c:pt idx="3911">
                  <c:v>5485.2</c:v>
                </c:pt>
                <c:pt idx="3912">
                  <c:v>5473.95</c:v>
                </c:pt>
                <c:pt idx="3913">
                  <c:v>5483.41</c:v>
                </c:pt>
                <c:pt idx="3914">
                  <c:v>5564.56</c:v>
                </c:pt>
                <c:pt idx="3915">
                  <c:v>5686.25</c:v>
                </c:pt>
                <c:pt idx="3916">
                  <c:v>5807.72</c:v>
                </c:pt>
                <c:pt idx="3917">
                  <c:v>5768.38</c:v>
                </c:pt>
                <c:pt idx="3918">
                  <c:v>5778.84</c:v>
                </c:pt>
                <c:pt idx="3919">
                  <c:v>5597.33</c:v>
                </c:pt>
                <c:pt idx="3920">
                  <c:v>5579.67</c:v>
                </c:pt>
                <c:pt idx="3921">
                  <c:v>5437.57</c:v>
                </c:pt>
                <c:pt idx="3922">
                  <c:v>5469.56</c:v>
                </c:pt>
                <c:pt idx="3923">
                  <c:v>5336.76</c:v>
                </c:pt>
                <c:pt idx="3924">
                  <c:v>5418.78</c:v>
                </c:pt>
                <c:pt idx="3925">
                  <c:v>5349.63</c:v>
                </c:pt>
                <c:pt idx="3926">
                  <c:v>5452.21</c:v>
                </c:pt>
                <c:pt idx="3927">
                  <c:v>5280.71</c:v>
                </c:pt>
                <c:pt idx="3928">
                  <c:v>5262.8</c:v>
                </c:pt>
                <c:pt idx="3929">
                  <c:v>5080.0200000000004</c:v>
                </c:pt>
                <c:pt idx="3930">
                  <c:v>4971</c:v>
                </c:pt>
                <c:pt idx="3931">
                  <c:v>5003.6099999999997</c:v>
                </c:pt>
                <c:pt idx="3932">
                  <c:v>5128.22</c:v>
                </c:pt>
                <c:pt idx="3933">
                  <c:v>5146.38</c:v>
                </c:pt>
                <c:pt idx="3934">
                  <c:v>5035.54</c:v>
                </c:pt>
                <c:pt idx="3935">
                  <c:v>5079.3599999999997</c:v>
                </c:pt>
                <c:pt idx="3936">
                  <c:v>5100.8599999999997</c:v>
                </c:pt>
                <c:pt idx="3937">
                  <c:v>5141.7700000000004</c:v>
                </c:pt>
                <c:pt idx="3938">
                  <c:v>5007.09</c:v>
                </c:pt>
                <c:pt idx="3939">
                  <c:v>5057.1499999999996</c:v>
                </c:pt>
                <c:pt idx="3940">
                  <c:v>5009.25</c:v>
                </c:pt>
                <c:pt idx="3941">
                  <c:v>4928.6899999999996</c:v>
                </c:pt>
                <c:pt idx="3942">
                  <c:v>4926.3500000000004</c:v>
                </c:pt>
                <c:pt idx="3943">
                  <c:v>5037.99</c:v>
                </c:pt>
                <c:pt idx="3944">
                  <c:v>5046.88</c:v>
                </c:pt>
                <c:pt idx="3945">
                  <c:v>5094.7299999999996</c:v>
                </c:pt>
                <c:pt idx="3946">
                  <c:v>5048.3599999999997</c:v>
                </c:pt>
                <c:pt idx="3947">
                  <c:v>5110.78</c:v>
                </c:pt>
                <c:pt idx="3948">
                  <c:v>5161.5600000000004</c:v>
                </c:pt>
                <c:pt idx="3949">
                  <c:v>5140.34</c:v>
                </c:pt>
                <c:pt idx="3950">
                  <c:v>5103.74</c:v>
                </c:pt>
                <c:pt idx="3951">
                  <c:v>5112.21</c:v>
                </c:pt>
                <c:pt idx="3952">
                  <c:v>5035.34</c:v>
                </c:pt>
                <c:pt idx="3953">
                  <c:v>4947.75</c:v>
                </c:pt>
                <c:pt idx="3954">
                  <c:v>4939.6400000000003</c:v>
                </c:pt>
                <c:pt idx="3955">
                  <c:v>4980.63</c:v>
                </c:pt>
                <c:pt idx="3956">
                  <c:v>4948.97</c:v>
                </c:pt>
                <c:pt idx="3957">
                  <c:v>4966.18</c:v>
                </c:pt>
                <c:pt idx="3958">
                  <c:v>5087.0200000000004</c:v>
                </c:pt>
                <c:pt idx="3959">
                  <c:v>5083.37</c:v>
                </c:pt>
                <c:pt idx="3960">
                  <c:v>5098.74</c:v>
                </c:pt>
                <c:pt idx="3961">
                  <c:v>5089.24</c:v>
                </c:pt>
                <c:pt idx="3962">
                  <c:v>5135.45</c:v>
                </c:pt>
                <c:pt idx="3963">
                  <c:v>5077.24</c:v>
                </c:pt>
                <c:pt idx="3964">
                  <c:v>5090.5200000000004</c:v>
                </c:pt>
                <c:pt idx="3965">
                  <c:v>5119.24</c:v>
                </c:pt>
                <c:pt idx="3966">
                  <c:v>5164.17</c:v>
                </c:pt>
                <c:pt idx="3967">
                  <c:v>5123.49</c:v>
                </c:pt>
                <c:pt idx="3968">
                  <c:v>5061.12</c:v>
                </c:pt>
                <c:pt idx="3969">
                  <c:v>4996.05</c:v>
                </c:pt>
                <c:pt idx="3970">
                  <c:v>4992.42</c:v>
                </c:pt>
                <c:pt idx="3971">
                  <c:v>5023.0600000000004</c:v>
                </c:pt>
                <c:pt idx="3972">
                  <c:v>5044.55</c:v>
                </c:pt>
                <c:pt idx="3973">
                  <c:v>4992.97</c:v>
                </c:pt>
                <c:pt idx="3974">
                  <c:v>5110.59</c:v>
                </c:pt>
                <c:pt idx="3975">
                  <c:v>5184.99</c:v>
                </c:pt>
                <c:pt idx="3976">
                  <c:v>5187.6000000000004</c:v>
                </c:pt>
                <c:pt idx="3977">
                  <c:v>5172.2700000000004</c:v>
                </c:pt>
                <c:pt idx="3978">
                  <c:v>5186.41</c:v>
                </c:pt>
                <c:pt idx="3979">
                  <c:v>5134.1499999999996</c:v>
                </c:pt>
                <c:pt idx="3980">
                  <c:v>5155.59</c:v>
                </c:pt>
                <c:pt idx="3981">
                  <c:v>5318.48</c:v>
                </c:pt>
                <c:pt idx="3982">
                  <c:v>5320.59</c:v>
                </c:pt>
                <c:pt idx="3983">
                  <c:v>5338.23</c:v>
                </c:pt>
                <c:pt idx="3984">
                  <c:v>5321.09</c:v>
                </c:pt>
                <c:pt idx="3985">
                  <c:v>5331.57</c:v>
                </c:pt>
                <c:pt idx="3986">
                  <c:v>5341.68</c:v>
                </c:pt>
                <c:pt idx="3987">
                  <c:v>5289.97</c:v>
                </c:pt>
                <c:pt idx="3988">
                  <c:v>5255.29</c:v>
                </c:pt>
                <c:pt idx="3989">
                  <c:v>5282.28</c:v>
                </c:pt>
                <c:pt idx="3990">
                  <c:v>5277.63</c:v>
                </c:pt>
                <c:pt idx="3991">
                  <c:v>5232.12</c:v>
                </c:pt>
                <c:pt idx="3992">
                  <c:v>5236.45</c:v>
                </c:pt>
                <c:pt idx="3993">
                  <c:v>5271.47</c:v>
                </c:pt>
                <c:pt idx="3994">
                  <c:v>5224.7</c:v>
                </c:pt>
                <c:pt idx="3995">
                  <c:v>5166.5600000000004</c:v>
                </c:pt>
                <c:pt idx="3996">
                  <c:v>5080.49</c:v>
                </c:pt>
                <c:pt idx="3997">
                  <c:v>5101.8900000000003</c:v>
                </c:pt>
                <c:pt idx="3998">
                  <c:v>5102.47</c:v>
                </c:pt>
                <c:pt idx="3999">
                  <c:v>5090.3900000000003</c:v>
                </c:pt>
                <c:pt idx="4000">
                  <c:v>5122.16</c:v>
                </c:pt>
                <c:pt idx="4001">
                  <c:v>5147.3900000000003</c:v>
                </c:pt>
                <c:pt idx="4002">
                  <c:v>5155.97</c:v>
                </c:pt>
                <c:pt idx="4003">
                  <c:v>5239.97</c:v>
                </c:pt>
                <c:pt idx="4004">
                  <c:v>5251.76</c:v>
                </c:pt>
                <c:pt idx="4005">
                  <c:v>5190.54</c:v>
                </c:pt>
                <c:pt idx="4006">
                  <c:v>5224.04</c:v>
                </c:pt>
                <c:pt idx="4007">
                  <c:v>5229.66</c:v>
                </c:pt>
                <c:pt idx="4008">
                  <c:v>5081.12</c:v>
                </c:pt>
                <c:pt idx="4009">
                  <c:v>5085.79</c:v>
                </c:pt>
                <c:pt idx="4010">
                  <c:v>5083.1000000000004</c:v>
                </c:pt>
                <c:pt idx="4011">
                  <c:v>5140.49</c:v>
                </c:pt>
                <c:pt idx="4012">
                  <c:v>5088.26</c:v>
                </c:pt>
                <c:pt idx="4013">
                  <c:v>5069.4399999999996</c:v>
                </c:pt>
                <c:pt idx="4014">
                  <c:v>5132.71</c:v>
                </c:pt>
                <c:pt idx="4015">
                  <c:v>5142.1000000000004</c:v>
                </c:pt>
                <c:pt idx="4016">
                  <c:v>5083.08</c:v>
                </c:pt>
                <c:pt idx="4017">
                  <c:v>5151.46</c:v>
                </c:pt>
                <c:pt idx="4018">
                  <c:v>5094.7700000000004</c:v>
                </c:pt>
                <c:pt idx="4019">
                  <c:v>5113.49</c:v>
                </c:pt>
                <c:pt idx="4020">
                  <c:v>5108.99</c:v>
                </c:pt>
                <c:pt idx="4021">
                  <c:v>5144.04</c:v>
                </c:pt>
                <c:pt idx="4022">
                  <c:v>5151.75</c:v>
                </c:pt>
                <c:pt idx="4023">
                  <c:v>5089.2299999999996</c:v>
                </c:pt>
                <c:pt idx="4024">
                  <c:v>4925.3</c:v>
                </c:pt>
                <c:pt idx="4025">
                  <c:v>4751.3100000000004</c:v>
                </c:pt>
                <c:pt idx="4026">
                  <c:v>4760.4799999999996</c:v>
                </c:pt>
                <c:pt idx="4027">
                  <c:v>4850.2700000000004</c:v>
                </c:pt>
                <c:pt idx="4028">
                  <c:v>4811.17</c:v>
                </c:pt>
                <c:pt idx="4029">
                  <c:v>4933.74</c:v>
                </c:pt>
                <c:pt idx="4030">
                  <c:v>4934.46</c:v>
                </c:pt>
                <c:pt idx="4031">
                  <c:v>4978.8500000000004</c:v>
                </c:pt>
                <c:pt idx="4032">
                  <c:v>4948.67</c:v>
                </c:pt>
                <c:pt idx="4033">
                  <c:v>4921.5600000000004</c:v>
                </c:pt>
                <c:pt idx="4034">
                  <c:v>4985.5600000000004</c:v>
                </c:pt>
                <c:pt idx="4035">
                  <c:v>5043.1499999999996</c:v>
                </c:pt>
                <c:pt idx="4036">
                  <c:v>5015.34</c:v>
                </c:pt>
                <c:pt idx="4037">
                  <c:v>4973.3500000000004</c:v>
                </c:pt>
                <c:pt idx="4038">
                  <c:v>4945.9799999999996</c:v>
                </c:pt>
                <c:pt idx="4039">
                  <c:v>4941.07</c:v>
                </c:pt>
                <c:pt idx="4040">
                  <c:v>4837.3999999999996</c:v>
                </c:pt>
                <c:pt idx="4041">
                  <c:v>4894.24</c:v>
                </c:pt>
                <c:pt idx="4042">
                  <c:v>4862.1400000000003</c:v>
                </c:pt>
                <c:pt idx="4043">
                  <c:v>4769.2700000000004</c:v>
                </c:pt>
                <c:pt idx="4044">
                  <c:v>4835.88</c:v>
                </c:pt>
                <c:pt idx="4045">
                  <c:v>4888.3900000000003</c:v>
                </c:pt>
                <c:pt idx="4046">
                  <c:v>4898.16</c:v>
                </c:pt>
                <c:pt idx="4047">
                  <c:v>4801.6099999999997</c:v>
                </c:pt>
                <c:pt idx="4048">
                  <c:v>4827.04</c:v>
                </c:pt>
                <c:pt idx="4049">
                  <c:v>4813.2700000000004</c:v>
                </c:pt>
                <c:pt idx="4050">
                  <c:v>4805.6099999999997</c:v>
                </c:pt>
                <c:pt idx="4051">
                  <c:v>4869.46</c:v>
                </c:pt>
                <c:pt idx="4052">
                  <c:v>4869.41</c:v>
                </c:pt>
                <c:pt idx="4053">
                  <c:v>4843.0600000000004</c:v>
                </c:pt>
                <c:pt idx="4054">
                  <c:v>4933.7299999999996</c:v>
                </c:pt>
                <c:pt idx="4055">
                  <c:v>4992.83</c:v>
                </c:pt>
                <c:pt idx="4056">
                  <c:v>4972.13</c:v>
                </c:pt>
                <c:pt idx="4057">
                  <c:v>4970.01</c:v>
                </c:pt>
                <c:pt idx="4058">
                  <c:v>5013.5200000000004</c:v>
                </c:pt>
                <c:pt idx="4059">
                  <c:v>4991.66</c:v>
                </c:pt>
                <c:pt idx="4060">
                  <c:v>4917.16</c:v>
                </c:pt>
                <c:pt idx="4061">
                  <c:v>4867.32</c:v>
                </c:pt>
                <c:pt idx="4062">
                  <c:v>4807.7</c:v>
                </c:pt>
                <c:pt idx="4063">
                  <c:v>4855.9399999999996</c:v>
                </c:pt>
                <c:pt idx="4064">
                  <c:v>4821.7700000000004</c:v>
                </c:pt>
                <c:pt idx="4065">
                  <c:v>4853.2</c:v>
                </c:pt>
                <c:pt idx="4066">
                  <c:v>4849.43</c:v>
                </c:pt>
                <c:pt idx="4067">
                  <c:v>4877.37</c:v>
                </c:pt>
                <c:pt idx="4068">
                  <c:v>4883.83</c:v>
                </c:pt>
                <c:pt idx="4069">
                  <c:v>4833.93</c:v>
                </c:pt>
                <c:pt idx="4070">
                  <c:v>4866.38</c:v>
                </c:pt>
                <c:pt idx="4071">
                  <c:v>4929.9399999999996</c:v>
                </c:pt>
                <c:pt idx="4072">
                  <c:v>4936.1899999999996</c:v>
                </c:pt>
                <c:pt idx="4073">
                  <c:v>4883.84</c:v>
                </c:pt>
                <c:pt idx="4074">
                  <c:v>4940.1099999999997</c:v>
                </c:pt>
                <c:pt idx="4075">
                  <c:v>4913.6099999999997</c:v>
                </c:pt>
                <c:pt idx="4076">
                  <c:v>4932.1099999999997</c:v>
                </c:pt>
                <c:pt idx="4077">
                  <c:v>4874.78</c:v>
                </c:pt>
                <c:pt idx="4078">
                  <c:v>4922.72</c:v>
                </c:pt>
                <c:pt idx="4079">
                  <c:v>4910.18</c:v>
                </c:pt>
                <c:pt idx="4080">
                  <c:v>4928.0200000000004</c:v>
                </c:pt>
                <c:pt idx="4081">
                  <c:v>4959.7299999999996</c:v>
                </c:pt>
                <c:pt idx="4082">
                  <c:v>4979.5200000000004</c:v>
                </c:pt>
                <c:pt idx="4083">
                  <c:v>4963.1000000000004</c:v>
                </c:pt>
                <c:pt idx="4084">
                  <c:v>4898.16</c:v>
                </c:pt>
                <c:pt idx="4085">
                  <c:v>4864.1400000000003</c:v>
                </c:pt>
                <c:pt idx="4086">
                  <c:v>4908.7700000000004</c:v>
                </c:pt>
                <c:pt idx="4087">
                  <c:v>4890.6899999999996</c:v>
                </c:pt>
                <c:pt idx="4088">
                  <c:v>4839.8500000000004</c:v>
                </c:pt>
                <c:pt idx="4089">
                  <c:v>4821.1099999999997</c:v>
                </c:pt>
                <c:pt idx="4090">
                  <c:v>4868.74</c:v>
                </c:pt>
                <c:pt idx="4091">
                  <c:v>4842.3500000000004</c:v>
                </c:pt>
                <c:pt idx="4092">
                  <c:v>4848.18</c:v>
                </c:pt>
                <c:pt idx="4093">
                  <c:v>4846.74</c:v>
                </c:pt>
                <c:pt idx="4094">
                  <c:v>4821.1899999999996</c:v>
                </c:pt>
                <c:pt idx="4095">
                  <c:v>4898.6499999999996</c:v>
                </c:pt>
                <c:pt idx="4096">
                  <c:v>4888.37</c:v>
                </c:pt>
                <c:pt idx="4097">
                  <c:v>4882.38</c:v>
                </c:pt>
                <c:pt idx="4098">
                  <c:v>4883.32</c:v>
                </c:pt>
                <c:pt idx="4099">
                  <c:v>4885.75</c:v>
                </c:pt>
                <c:pt idx="4100">
                  <c:v>4837.62</c:v>
                </c:pt>
                <c:pt idx="4101">
                  <c:v>4890.0600000000004</c:v>
                </c:pt>
                <c:pt idx="4102">
                  <c:v>4912.3999999999996</c:v>
                </c:pt>
                <c:pt idx="4103">
                  <c:v>4913.3500000000004</c:v>
                </c:pt>
                <c:pt idx="4104">
                  <c:v>4916.66</c:v>
                </c:pt>
                <c:pt idx="4105">
                  <c:v>4896.4399999999996</c:v>
                </c:pt>
                <c:pt idx="4106">
                  <c:v>4860.13</c:v>
                </c:pt>
                <c:pt idx="4107">
                  <c:v>4851.42</c:v>
                </c:pt>
                <c:pt idx="4108">
                  <c:v>4832.03</c:v>
                </c:pt>
                <c:pt idx="4109">
                  <c:v>4843.8500000000004</c:v>
                </c:pt>
                <c:pt idx="4110">
                  <c:v>4856.16</c:v>
                </c:pt>
                <c:pt idx="4111">
                  <c:v>4901.0200000000004</c:v>
                </c:pt>
                <c:pt idx="4112">
                  <c:v>4892.62</c:v>
                </c:pt>
                <c:pt idx="4113">
                  <c:v>4922.1000000000004</c:v>
                </c:pt>
                <c:pt idx="4114">
                  <c:v>4995.93</c:v>
                </c:pt>
                <c:pt idx="4115">
                  <c:v>5078.6899999999996</c:v>
                </c:pt>
                <c:pt idx="4116">
                  <c:v>5055.12</c:v>
                </c:pt>
                <c:pt idx="4117">
                  <c:v>5083.8</c:v>
                </c:pt>
                <c:pt idx="4118">
                  <c:v>5049.7</c:v>
                </c:pt>
                <c:pt idx="4119">
                  <c:v>5005.8999999999996</c:v>
                </c:pt>
                <c:pt idx="4120">
                  <c:v>5034.7299999999996</c:v>
                </c:pt>
                <c:pt idx="4121">
                  <c:v>4954.76</c:v>
                </c:pt>
                <c:pt idx="4122">
                  <c:v>4880.42</c:v>
                </c:pt>
                <c:pt idx="4123">
                  <c:v>4913.49</c:v>
                </c:pt>
                <c:pt idx="4124">
                  <c:v>4914.45</c:v>
                </c:pt>
                <c:pt idx="4125">
                  <c:v>4948.74</c:v>
                </c:pt>
                <c:pt idx="4126">
                  <c:v>4921.34</c:v>
                </c:pt>
                <c:pt idx="4127">
                  <c:v>4919.32</c:v>
                </c:pt>
                <c:pt idx="4128">
                  <c:v>4955.96</c:v>
                </c:pt>
                <c:pt idx="4129">
                  <c:v>4883.4799999999996</c:v>
                </c:pt>
                <c:pt idx="4130">
                  <c:v>4921.51</c:v>
                </c:pt>
                <c:pt idx="4131">
                  <c:v>4940.37</c:v>
                </c:pt>
                <c:pt idx="4132">
                  <c:v>4917.7700000000004</c:v>
                </c:pt>
                <c:pt idx="4133">
                  <c:v>4868.12</c:v>
                </c:pt>
                <c:pt idx="4134">
                  <c:v>4818.2299999999996</c:v>
                </c:pt>
                <c:pt idx="4135">
                  <c:v>4822.37</c:v>
                </c:pt>
                <c:pt idx="4136">
                  <c:v>4844.05</c:v>
                </c:pt>
                <c:pt idx="4137">
                  <c:v>4797.7700000000004</c:v>
                </c:pt>
                <c:pt idx="4138">
                  <c:v>4845.58</c:v>
                </c:pt>
                <c:pt idx="4139">
                  <c:v>4765.92</c:v>
                </c:pt>
                <c:pt idx="4140">
                  <c:v>4726.7299999999996</c:v>
                </c:pt>
                <c:pt idx="4141">
                  <c:v>4767.28</c:v>
                </c:pt>
                <c:pt idx="4142">
                  <c:v>4813.3500000000004</c:v>
                </c:pt>
                <c:pt idx="4143">
                  <c:v>4780.38</c:v>
                </c:pt>
                <c:pt idx="4144">
                  <c:v>4823.51</c:v>
                </c:pt>
                <c:pt idx="4145">
                  <c:v>4779.3100000000004</c:v>
                </c:pt>
                <c:pt idx="4146">
                  <c:v>4786.74</c:v>
                </c:pt>
                <c:pt idx="4147">
                  <c:v>4678.45</c:v>
                </c:pt>
                <c:pt idx="4148">
                  <c:v>4712.3100000000004</c:v>
                </c:pt>
                <c:pt idx="4149">
                  <c:v>4619.88</c:v>
                </c:pt>
                <c:pt idx="4150">
                  <c:v>4563.7700000000004</c:v>
                </c:pt>
                <c:pt idx="4151">
                  <c:v>4634.09</c:v>
                </c:pt>
                <c:pt idx="4152">
                  <c:v>4608.7700000000004</c:v>
                </c:pt>
                <c:pt idx="4153">
                  <c:v>4652.0600000000004</c:v>
                </c:pt>
                <c:pt idx="4154">
                  <c:v>4639.8599999999997</c:v>
                </c:pt>
                <c:pt idx="4155">
                  <c:v>4601.3999999999996</c:v>
                </c:pt>
                <c:pt idx="4156">
                  <c:v>4551.6899999999996</c:v>
                </c:pt>
                <c:pt idx="4157">
                  <c:v>4600.1000000000004</c:v>
                </c:pt>
                <c:pt idx="4158">
                  <c:v>4617.99</c:v>
                </c:pt>
                <c:pt idx="4159">
                  <c:v>4629.16</c:v>
                </c:pt>
                <c:pt idx="4160">
                  <c:v>4651.24</c:v>
                </c:pt>
                <c:pt idx="4161">
                  <c:v>4634.3100000000004</c:v>
                </c:pt>
                <c:pt idx="4162">
                  <c:v>4574.1499999999996</c:v>
                </c:pt>
                <c:pt idx="4163">
                  <c:v>4623.05</c:v>
                </c:pt>
                <c:pt idx="4164">
                  <c:v>4529.32</c:v>
                </c:pt>
                <c:pt idx="4165">
                  <c:v>4573.42</c:v>
                </c:pt>
                <c:pt idx="4166">
                  <c:v>4581.6499999999996</c:v>
                </c:pt>
                <c:pt idx="4167">
                  <c:v>4619.6899999999996</c:v>
                </c:pt>
                <c:pt idx="4168">
                  <c:v>4578.6000000000004</c:v>
                </c:pt>
                <c:pt idx="4169">
                  <c:v>4551.63</c:v>
                </c:pt>
                <c:pt idx="4170">
                  <c:v>4496.43</c:v>
                </c:pt>
                <c:pt idx="4171">
                  <c:v>4352.78</c:v>
                </c:pt>
                <c:pt idx="4172">
                  <c:v>4265.3900000000003</c:v>
                </c:pt>
                <c:pt idx="4173">
                  <c:v>4226.3500000000004</c:v>
                </c:pt>
                <c:pt idx="4174">
                  <c:v>4292.84</c:v>
                </c:pt>
                <c:pt idx="4175">
                  <c:v>4306.5200000000004</c:v>
                </c:pt>
                <c:pt idx="4176">
                  <c:v>4174.76</c:v>
                </c:pt>
                <c:pt idx="4177">
                  <c:v>3983.81</c:v>
                </c:pt>
                <c:pt idx="4178">
                  <c:v>4156.08</c:v>
                </c:pt>
                <c:pt idx="4179">
                  <c:v>4237.7</c:v>
                </c:pt>
                <c:pt idx="4180">
                  <c:v>4265.8999999999996</c:v>
                </c:pt>
                <c:pt idx="4181">
                  <c:v>4258.75</c:v>
                </c:pt>
                <c:pt idx="4182">
                  <c:v>4255.3</c:v>
                </c:pt>
                <c:pt idx="4183">
                  <c:v>4276.5200000000004</c:v>
                </c:pt>
                <c:pt idx="4184">
                  <c:v>4251.3100000000004</c:v>
                </c:pt>
                <c:pt idx="4185">
                  <c:v>4174.57</c:v>
                </c:pt>
                <c:pt idx="4186">
                  <c:v>4148.47</c:v>
                </c:pt>
                <c:pt idx="4187">
                  <c:v>4134.1400000000003</c:v>
                </c:pt>
                <c:pt idx="4188">
                  <c:v>4254.1000000000004</c:v>
                </c:pt>
                <c:pt idx="4189">
                  <c:v>4222.6000000000004</c:v>
                </c:pt>
                <c:pt idx="4190">
                  <c:v>4276.16</c:v>
                </c:pt>
                <c:pt idx="4191">
                  <c:v>4263.84</c:v>
                </c:pt>
                <c:pt idx="4192">
                  <c:v>4209.1000000000004</c:v>
                </c:pt>
                <c:pt idx="4193">
                  <c:v>4230.7700000000004</c:v>
                </c:pt>
              </c:numCache>
            </c:numRef>
          </c:val>
          <c:extLst>
            <c:ext xmlns:c16="http://schemas.microsoft.com/office/drawing/2014/chart" uri="{C3380CC4-5D6E-409C-BE32-E72D297353CC}">
              <c16:uniqueId val="{00000000-B7DC-44E8-9D34-858C6F26CBCB}"/>
            </c:ext>
          </c:extLst>
        </c:ser>
        <c:dLbls>
          <c:showLegendKey val="0"/>
          <c:showVal val="0"/>
          <c:showCatName val="0"/>
          <c:showSerName val="0"/>
          <c:showPercent val="0"/>
          <c:showBubbleSize val="0"/>
        </c:dLbls>
        <c:gapWidth val="150"/>
        <c:axId val="652178384"/>
        <c:axId val="652180624"/>
      </c:barChart>
      <c:lineChart>
        <c:grouping val="standard"/>
        <c:varyColors val="0"/>
        <c:ser>
          <c:idx val="0"/>
          <c:order val="0"/>
          <c:tx>
            <c:strRef>
              <c:f>tr_60!$B$1</c:f>
              <c:strCache>
                <c:ptCount val="1"/>
                <c:pt idx="0">
                  <c:v>60 turnover rate</c:v>
                </c:pt>
              </c:strCache>
            </c:strRef>
          </c:tx>
          <c:spPr>
            <a:ln w="28575" cap="rnd">
              <a:solidFill>
                <a:schemeClr val="accent1"/>
              </a:solidFill>
              <a:round/>
            </a:ln>
            <a:effectLst/>
          </c:spPr>
          <c:marker>
            <c:symbol val="none"/>
          </c:marker>
          <c:cat>
            <c:numRef>
              <c:f>tr_60!$A$2:$A$4201</c:f>
              <c:numCache>
                <c:formatCode>m/d/yyyy</c:formatCode>
                <c:ptCount val="4200"/>
                <c:pt idx="0">
                  <c:v>38356</c:v>
                </c:pt>
                <c:pt idx="1">
                  <c:v>38357</c:v>
                </c:pt>
                <c:pt idx="2">
                  <c:v>38358</c:v>
                </c:pt>
                <c:pt idx="3">
                  <c:v>38359</c:v>
                </c:pt>
                <c:pt idx="4">
                  <c:v>38362</c:v>
                </c:pt>
                <c:pt idx="5">
                  <c:v>38363</c:v>
                </c:pt>
                <c:pt idx="6">
                  <c:v>38364</c:v>
                </c:pt>
                <c:pt idx="7">
                  <c:v>38365</c:v>
                </c:pt>
                <c:pt idx="8">
                  <c:v>38366</c:v>
                </c:pt>
                <c:pt idx="9">
                  <c:v>38369</c:v>
                </c:pt>
                <c:pt idx="10">
                  <c:v>38370</c:v>
                </c:pt>
                <c:pt idx="11">
                  <c:v>38371</c:v>
                </c:pt>
                <c:pt idx="12">
                  <c:v>38372</c:v>
                </c:pt>
                <c:pt idx="13">
                  <c:v>38373</c:v>
                </c:pt>
                <c:pt idx="14">
                  <c:v>38376</c:v>
                </c:pt>
                <c:pt idx="15">
                  <c:v>38377</c:v>
                </c:pt>
                <c:pt idx="16">
                  <c:v>38378</c:v>
                </c:pt>
                <c:pt idx="17">
                  <c:v>38379</c:v>
                </c:pt>
                <c:pt idx="18">
                  <c:v>38380</c:v>
                </c:pt>
                <c:pt idx="19">
                  <c:v>38383</c:v>
                </c:pt>
                <c:pt idx="20">
                  <c:v>38384</c:v>
                </c:pt>
                <c:pt idx="21">
                  <c:v>38385</c:v>
                </c:pt>
                <c:pt idx="22">
                  <c:v>38386</c:v>
                </c:pt>
                <c:pt idx="23">
                  <c:v>38387</c:v>
                </c:pt>
                <c:pt idx="24">
                  <c:v>38399</c:v>
                </c:pt>
                <c:pt idx="25">
                  <c:v>38400</c:v>
                </c:pt>
                <c:pt idx="26">
                  <c:v>38401</c:v>
                </c:pt>
                <c:pt idx="27">
                  <c:v>38404</c:v>
                </c:pt>
                <c:pt idx="28">
                  <c:v>38405</c:v>
                </c:pt>
                <c:pt idx="29">
                  <c:v>38406</c:v>
                </c:pt>
                <c:pt idx="30">
                  <c:v>38407</c:v>
                </c:pt>
                <c:pt idx="31">
                  <c:v>38408</c:v>
                </c:pt>
                <c:pt idx="32">
                  <c:v>38411</c:v>
                </c:pt>
                <c:pt idx="33">
                  <c:v>38412</c:v>
                </c:pt>
                <c:pt idx="34">
                  <c:v>38413</c:v>
                </c:pt>
                <c:pt idx="35">
                  <c:v>38414</c:v>
                </c:pt>
                <c:pt idx="36">
                  <c:v>38415</c:v>
                </c:pt>
                <c:pt idx="37">
                  <c:v>38418</c:v>
                </c:pt>
                <c:pt idx="38">
                  <c:v>38419</c:v>
                </c:pt>
                <c:pt idx="39">
                  <c:v>38420</c:v>
                </c:pt>
                <c:pt idx="40">
                  <c:v>38421</c:v>
                </c:pt>
                <c:pt idx="41">
                  <c:v>38422</c:v>
                </c:pt>
                <c:pt idx="42">
                  <c:v>38425</c:v>
                </c:pt>
                <c:pt idx="43">
                  <c:v>38426</c:v>
                </c:pt>
                <c:pt idx="44">
                  <c:v>38427</c:v>
                </c:pt>
                <c:pt idx="45">
                  <c:v>38428</c:v>
                </c:pt>
                <c:pt idx="46">
                  <c:v>38429</c:v>
                </c:pt>
                <c:pt idx="47">
                  <c:v>38432</c:v>
                </c:pt>
                <c:pt idx="48">
                  <c:v>38433</c:v>
                </c:pt>
                <c:pt idx="49">
                  <c:v>38434</c:v>
                </c:pt>
                <c:pt idx="50">
                  <c:v>38435</c:v>
                </c:pt>
                <c:pt idx="51">
                  <c:v>38436</c:v>
                </c:pt>
                <c:pt idx="52">
                  <c:v>38439</c:v>
                </c:pt>
                <c:pt idx="53">
                  <c:v>38440</c:v>
                </c:pt>
                <c:pt idx="54">
                  <c:v>38441</c:v>
                </c:pt>
                <c:pt idx="55">
                  <c:v>38442</c:v>
                </c:pt>
                <c:pt idx="56">
                  <c:v>38443</c:v>
                </c:pt>
                <c:pt idx="57">
                  <c:v>38446</c:v>
                </c:pt>
                <c:pt idx="58">
                  <c:v>38447</c:v>
                </c:pt>
                <c:pt idx="59">
                  <c:v>38448</c:v>
                </c:pt>
                <c:pt idx="60">
                  <c:v>38449</c:v>
                </c:pt>
                <c:pt idx="61">
                  <c:v>38450</c:v>
                </c:pt>
                <c:pt idx="62">
                  <c:v>38453</c:v>
                </c:pt>
                <c:pt idx="63">
                  <c:v>38454</c:v>
                </c:pt>
                <c:pt idx="64">
                  <c:v>38455</c:v>
                </c:pt>
                <c:pt idx="65">
                  <c:v>38456</c:v>
                </c:pt>
                <c:pt idx="66">
                  <c:v>38457</c:v>
                </c:pt>
                <c:pt idx="67">
                  <c:v>38460</c:v>
                </c:pt>
                <c:pt idx="68">
                  <c:v>38461</c:v>
                </c:pt>
                <c:pt idx="69">
                  <c:v>38462</c:v>
                </c:pt>
                <c:pt idx="70">
                  <c:v>38463</c:v>
                </c:pt>
                <c:pt idx="71">
                  <c:v>38464</c:v>
                </c:pt>
                <c:pt idx="72">
                  <c:v>38467</c:v>
                </c:pt>
                <c:pt idx="73">
                  <c:v>38468</c:v>
                </c:pt>
                <c:pt idx="74">
                  <c:v>38469</c:v>
                </c:pt>
                <c:pt idx="75">
                  <c:v>38470</c:v>
                </c:pt>
                <c:pt idx="76">
                  <c:v>38471</c:v>
                </c:pt>
                <c:pt idx="77">
                  <c:v>38481</c:v>
                </c:pt>
                <c:pt idx="78">
                  <c:v>38482</c:v>
                </c:pt>
                <c:pt idx="79">
                  <c:v>38483</c:v>
                </c:pt>
                <c:pt idx="80">
                  <c:v>38484</c:v>
                </c:pt>
                <c:pt idx="81">
                  <c:v>38485</c:v>
                </c:pt>
                <c:pt idx="82">
                  <c:v>38488</c:v>
                </c:pt>
                <c:pt idx="83">
                  <c:v>38489</c:v>
                </c:pt>
                <c:pt idx="84">
                  <c:v>38490</c:v>
                </c:pt>
                <c:pt idx="85">
                  <c:v>38491</c:v>
                </c:pt>
                <c:pt idx="86">
                  <c:v>38492</c:v>
                </c:pt>
                <c:pt idx="87">
                  <c:v>38495</c:v>
                </c:pt>
                <c:pt idx="88">
                  <c:v>38496</c:v>
                </c:pt>
                <c:pt idx="89">
                  <c:v>38497</c:v>
                </c:pt>
                <c:pt idx="90">
                  <c:v>38498</c:v>
                </c:pt>
                <c:pt idx="91">
                  <c:v>38499</c:v>
                </c:pt>
                <c:pt idx="92">
                  <c:v>38502</c:v>
                </c:pt>
                <c:pt idx="93">
                  <c:v>38503</c:v>
                </c:pt>
                <c:pt idx="94">
                  <c:v>38504</c:v>
                </c:pt>
                <c:pt idx="95">
                  <c:v>38505</c:v>
                </c:pt>
                <c:pt idx="96">
                  <c:v>38506</c:v>
                </c:pt>
                <c:pt idx="97">
                  <c:v>38509</c:v>
                </c:pt>
                <c:pt idx="98">
                  <c:v>38510</c:v>
                </c:pt>
                <c:pt idx="99">
                  <c:v>38511</c:v>
                </c:pt>
                <c:pt idx="100">
                  <c:v>38512</c:v>
                </c:pt>
                <c:pt idx="101">
                  <c:v>38513</c:v>
                </c:pt>
                <c:pt idx="102">
                  <c:v>38516</c:v>
                </c:pt>
                <c:pt idx="103">
                  <c:v>38517</c:v>
                </c:pt>
                <c:pt idx="104">
                  <c:v>38518</c:v>
                </c:pt>
                <c:pt idx="105">
                  <c:v>38519</c:v>
                </c:pt>
                <c:pt idx="106">
                  <c:v>38520</c:v>
                </c:pt>
                <c:pt idx="107">
                  <c:v>38523</c:v>
                </c:pt>
                <c:pt idx="108">
                  <c:v>38524</c:v>
                </c:pt>
                <c:pt idx="109">
                  <c:v>38525</c:v>
                </c:pt>
                <c:pt idx="110">
                  <c:v>38526</c:v>
                </c:pt>
                <c:pt idx="111">
                  <c:v>38527</c:v>
                </c:pt>
                <c:pt idx="112">
                  <c:v>38530</c:v>
                </c:pt>
                <c:pt idx="113">
                  <c:v>38531</c:v>
                </c:pt>
                <c:pt idx="114">
                  <c:v>38532</c:v>
                </c:pt>
                <c:pt idx="115">
                  <c:v>38533</c:v>
                </c:pt>
                <c:pt idx="116">
                  <c:v>38534</c:v>
                </c:pt>
                <c:pt idx="117">
                  <c:v>38537</c:v>
                </c:pt>
                <c:pt idx="118">
                  <c:v>38538</c:v>
                </c:pt>
                <c:pt idx="119">
                  <c:v>38539</c:v>
                </c:pt>
                <c:pt idx="120">
                  <c:v>38540</c:v>
                </c:pt>
                <c:pt idx="121">
                  <c:v>38541</c:v>
                </c:pt>
                <c:pt idx="122">
                  <c:v>38544</c:v>
                </c:pt>
                <c:pt idx="123">
                  <c:v>38545</c:v>
                </c:pt>
                <c:pt idx="124">
                  <c:v>38546</c:v>
                </c:pt>
                <c:pt idx="125">
                  <c:v>38547</c:v>
                </c:pt>
                <c:pt idx="126">
                  <c:v>38548</c:v>
                </c:pt>
                <c:pt idx="127">
                  <c:v>38551</c:v>
                </c:pt>
                <c:pt idx="128">
                  <c:v>38552</c:v>
                </c:pt>
                <c:pt idx="129">
                  <c:v>38553</c:v>
                </c:pt>
                <c:pt idx="130">
                  <c:v>38554</c:v>
                </c:pt>
                <c:pt idx="131">
                  <c:v>38555</c:v>
                </c:pt>
                <c:pt idx="132">
                  <c:v>38558</c:v>
                </c:pt>
                <c:pt idx="133">
                  <c:v>38559</c:v>
                </c:pt>
                <c:pt idx="134">
                  <c:v>38560</c:v>
                </c:pt>
                <c:pt idx="135">
                  <c:v>38561</c:v>
                </c:pt>
                <c:pt idx="136">
                  <c:v>38562</c:v>
                </c:pt>
                <c:pt idx="137">
                  <c:v>38565</c:v>
                </c:pt>
                <c:pt idx="138">
                  <c:v>38566</c:v>
                </c:pt>
                <c:pt idx="139">
                  <c:v>38567</c:v>
                </c:pt>
                <c:pt idx="140">
                  <c:v>38568</c:v>
                </c:pt>
                <c:pt idx="141">
                  <c:v>38569</c:v>
                </c:pt>
                <c:pt idx="142">
                  <c:v>38572</c:v>
                </c:pt>
                <c:pt idx="143">
                  <c:v>38573</c:v>
                </c:pt>
                <c:pt idx="144">
                  <c:v>38574</c:v>
                </c:pt>
                <c:pt idx="145">
                  <c:v>38575</c:v>
                </c:pt>
                <c:pt idx="146">
                  <c:v>38576</c:v>
                </c:pt>
                <c:pt idx="147">
                  <c:v>38579</c:v>
                </c:pt>
                <c:pt idx="148">
                  <c:v>38580</c:v>
                </c:pt>
                <c:pt idx="149">
                  <c:v>38581</c:v>
                </c:pt>
                <c:pt idx="150">
                  <c:v>38582</c:v>
                </c:pt>
                <c:pt idx="151">
                  <c:v>38583</c:v>
                </c:pt>
                <c:pt idx="152">
                  <c:v>38586</c:v>
                </c:pt>
                <c:pt idx="153">
                  <c:v>38587</c:v>
                </c:pt>
                <c:pt idx="154">
                  <c:v>38588</c:v>
                </c:pt>
                <c:pt idx="155">
                  <c:v>38589</c:v>
                </c:pt>
                <c:pt idx="156">
                  <c:v>38590</c:v>
                </c:pt>
                <c:pt idx="157">
                  <c:v>38593</c:v>
                </c:pt>
                <c:pt idx="158">
                  <c:v>38594</c:v>
                </c:pt>
                <c:pt idx="159">
                  <c:v>38595</c:v>
                </c:pt>
                <c:pt idx="160">
                  <c:v>38596</c:v>
                </c:pt>
                <c:pt idx="161">
                  <c:v>38597</c:v>
                </c:pt>
                <c:pt idx="162">
                  <c:v>38600</c:v>
                </c:pt>
                <c:pt idx="163">
                  <c:v>38601</c:v>
                </c:pt>
                <c:pt idx="164">
                  <c:v>38602</c:v>
                </c:pt>
                <c:pt idx="165">
                  <c:v>38603</c:v>
                </c:pt>
                <c:pt idx="166">
                  <c:v>38604</c:v>
                </c:pt>
                <c:pt idx="167">
                  <c:v>38607</c:v>
                </c:pt>
                <c:pt idx="168">
                  <c:v>38608</c:v>
                </c:pt>
                <c:pt idx="169">
                  <c:v>38609</c:v>
                </c:pt>
                <c:pt idx="170">
                  <c:v>38610</c:v>
                </c:pt>
                <c:pt idx="171">
                  <c:v>38611</c:v>
                </c:pt>
                <c:pt idx="172">
                  <c:v>38614</c:v>
                </c:pt>
                <c:pt idx="173">
                  <c:v>38615</c:v>
                </c:pt>
                <c:pt idx="174">
                  <c:v>38616</c:v>
                </c:pt>
                <c:pt idx="175">
                  <c:v>38617</c:v>
                </c:pt>
                <c:pt idx="176">
                  <c:v>38618</c:v>
                </c:pt>
                <c:pt idx="177">
                  <c:v>38621</c:v>
                </c:pt>
                <c:pt idx="178">
                  <c:v>38622</c:v>
                </c:pt>
                <c:pt idx="179">
                  <c:v>38623</c:v>
                </c:pt>
                <c:pt idx="180">
                  <c:v>38624</c:v>
                </c:pt>
                <c:pt idx="181">
                  <c:v>38625</c:v>
                </c:pt>
                <c:pt idx="182">
                  <c:v>38635</c:v>
                </c:pt>
                <c:pt idx="183">
                  <c:v>38636</c:v>
                </c:pt>
                <c:pt idx="184">
                  <c:v>38637</c:v>
                </c:pt>
                <c:pt idx="185">
                  <c:v>38638</c:v>
                </c:pt>
                <c:pt idx="186">
                  <c:v>38639</c:v>
                </c:pt>
                <c:pt idx="187">
                  <c:v>38642</c:v>
                </c:pt>
                <c:pt idx="188">
                  <c:v>38643</c:v>
                </c:pt>
                <c:pt idx="189">
                  <c:v>38644</c:v>
                </c:pt>
                <c:pt idx="190">
                  <c:v>38645</c:v>
                </c:pt>
                <c:pt idx="191">
                  <c:v>38646</c:v>
                </c:pt>
                <c:pt idx="192">
                  <c:v>38649</c:v>
                </c:pt>
                <c:pt idx="193">
                  <c:v>38650</c:v>
                </c:pt>
                <c:pt idx="194">
                  <c:v>38651</c:v>
                </c:pt>
                <c:pt idx="195">
                  <c:v>38652</c:v>
                </c:pt>
                <c:pt idx="196">
                  <c:v>38653</c:v>
                </c:pt>
                <c:pt idx="197">
                  <c:v>38656</c:v>
                </c:pt>
                <c:pt idx="198">
                  <c:v>38657</c:v>
                </c:pt>
                <c:pt idx="199">
                  <c:v>38658</c:v>
                </c:pt>
                <c:pt idx="200">
                  <c:v>38659</c:v>
                </c:pt>
                <c:pt idx="201">
                  <c:v>38660</c:v>
                </c:pt>
                <c:pt idx="202">
                  <c:v>38663</c:v>
                </c:pt>
                <c:pt idx="203">
                  <c:v>38664</c:v>
                </c:pt>
                <c:pt idx="204">
                  <c:v>38665</c:v>
                </c:pt>
                <c:pt idx="205">
                  <c:v>38666</c:v>
                </c:pt>
                <c:pt idx="206">
                  <c:v>38667</c:v>
                </c:pt>
                <c:pt idx="207">
                  <c:v>38670</c:v>
                </c:pt>
                <c:pt idx="208">
                  <c:v>38671</c:v>
                </c:pt>
                <c:pt idx="209">
                  <c:v>38672</c:v>
                </c:pt>
                <c:pt idx="210">
                  <c:v>38673</c:v>
                </c:pt>
                <c:pt idx="211">
                  <c:v>38674</c:v>
                </c:pt>
                <c:pt idx="212">
                  <c:v>38677</c:v>
                </c:pt>
                <c:pt idx="213">
                  <c:v>38678</c:v>
                </c:pt>
                <c:pt idx="214">
                  <c:v>38679</c:v>
                </c:pt>
                <c:pt idx="215">
                  <c:v>38680</c:v>
                </c:pt>
                <c:pt idx="216">
                  <c:v>38681</c:v>
                </c:pt>
                <c:pt idx="217">
                  <c:v>38684</c:v>
                </c:pt>
                <c:pt idx="218">
                  <c:v>38685</c:v>
                </c:pt>
                <c:pt idx="219">
                  <c:v>38686</c:v>
                </c:pt>
                <c:pt idx="220">
                  <c:v>38687</c:v>
                </c:pt>
                <c:pt idx="221">
                  <c:v>38688</c:v>
                </c:pt>
                <c:pt idx="222">
                  <c:v>38691</c:v>
                </c:pt>
                <c:pt idx="223">
                  <c:v>38692</c:v>
                </c:pt>
                <c:pt idx="224">
                  <c:v>38693</c:v>
                </c:pt>
                <c:pt idx="225">
                  <c:v>38694</c:v>
                </c:pt>
                <c:pt idx="226">
                  <c:v>38695</c:v>
                </c:pt>
                <c:pt idx="227">
                  <c:v>38698</c:v>
                </c:pt>
                <c:pt idx="228">
                  <c:v>38699</c:v>
                </c:pt>
                <c:pt idx="229">
                  <c:v>38700</c:v>
                </c:pt>
                <c:pt idx="230">
                  <c:v>38701</c:v>
                </c:pt>
                <c:pt idx="231">
                  <c:v>38702</c:v>
                </c:pt>
                <c:pt idx="232">
                  <c:v>38705</c:v>
                </c:pt>
                <c:pt idx="233">
                  <c:v>38706</c:v>
                </c:pt>
                <c:pt idx="234">
                  <c:v>38707</c:v>
                </c:pt>
                <c:pt idx="235">
                  <c:v>38708</c:v>
                </c:pt>
                <c:pt idx="236">
                  <c:v>38709</c:v>
                </c:pt>
                <c:pt idx="237">
                  <c:v>38712</c:v>
                </c:pt>
                <c:pt idx="238">
                  <c:v>38713</c:v>
                </c:pt>
                <c:pt idx="239">
                  <c:v>38714</c:v>
                </c:pt>
                <c:pt idx="240">
                  <c:v>38715</c:v>
                </c:pt>
                <c:pt idx="241">
                  <c:v>38716</c:v>
                </c:pt>
                <c:pt idx="242">
                  <c:v>38721</c:v>
                </c:pt>
                <c:pt idx="243">
                  <c:v>38722</c:v>
                </c:pt>
                <c:pt idx="244">
                  <c:v>38723</c:v>
                </c:pt>
                <c:pt idx="245">
                  <c:v>38726</c:v>
                </c:pt>
                <c:pt idx="246">
                  <c:v>38727</c:v>
                </c:pt>
                <c:pt idx="247">
                  <c:v>38728</c:v>
                </c:pt>
                <c:pt idx="248">
                  <c:v>38729</c:v>
                </c:pt>
                <c:pt idx="249">
                  <c:v>38730</c:v>
                </c:pt>
                <c:pt idx="250">
                  <c:v>38733</c:v>
                </c:pt>
                <c:pt idx="251">
                  <c:v>38734</c:v>
                </c:pt>
                <c:pt idx="252">
                  <c:v>38735</c:v>
                </c:pt>
                <c:pt idx="253">
                  <c:v>38736</c:v>
                </c:pt>
                <c:pt idx="254">
                  <c:v>38737</c:v>
                </c:pt>
                <c:pt idx="255">
                  <c:v>38740</c:v>
                </c:pt>
                <c:pt idx="256">
                  <c:v>38741</c:v>
                </c:pt>
                <c:pt idx="257">
                  <c:v>38742</c:v>
                </c:pt>
                <c:pt idx="258">
                  <c:v>38754</c:v>
                </c:pt>
                <c:pt idx="259">
                  <c:v>38755</c:v>
                </c:pt>
                <c:pt idx="260">
                  <c:v>38756</c:v>
                </c:pt>
                <c:pt idx="261">
                  <c:v>38757</c:v>
                </c:pt>
                <c:pt idx="262">
                  <c:v>38758</c:v>
                </c:pt>
                <c:pt idx="263">
                  <c:v>38761</c:v>
                </c:pt>
                <c:pt idx="264">
                  <c:v>38762</c:v>
                </c:pt>
                <c:pt idx="265">
                  <c:v>38763</c:v>
                </c:pt>
                <c:pt idx="266">
                  <c:v>38764</c:v>
                </c:pt>
                <c:pt idx="267">
                  <c:v>38765</c:v>
                </c:pt>
                <c:pt idx="268">
                  <c:v>38768</c:v>
                </c:pt>
                <c:pt idx="269">
                  <c:v>38769</c:v>
                </c:pt>
                <c:pt idx="270">
                  <c:v>38770</c:v>
                </c:pt>
                <c:pt idx="271">
                  <c:v>38771</c:v>
                </c:pt>
                <c:pt idx="272">
                  <c:v>38772</c:v>
                </c:pt>
                <c:pt idx="273">
                  <c:v>38775</c:v>
                </c:pt>
                <c:pt idx="274">
                  <c:v>38776</c:v>
                </c:pt>
                <c:pt idx="275">
                  <c:v>38777</c:v>
                </c:pt>
                <c:pt idx="276">
                  <c:v>38778</c:v>
                </c:pt>
                <c:pt idx="277">
                  <c:v>38779</c:v>
                </c:pt>
                <c:pt idx="278">
                  <c:v>38782</c:v>
                </c:pt>
                <c:pt idx="279">
                  <c:v>38783</c:v>
                </c:pt>
                <c:pt idx="280">
                  <c:v>38784</c:v>
                </c:pt>
                <c:pt idx="281">
                  <c:v>38785</c:v>
                </c:pt>
                <c:pt idx="282">
                  <c:v>38786</c:v>
                </c:pt>
                <c:pt idx="283">
                  <c:v>38789</c:v>
                </c:pt>
                <c:pt idx="284">
                  <c:v>38790</c:v>
                </c:pt>
                <c:pt idx="285">
                  <c:v>38791</c:v>
                </c:pt>
                <c:pt idx="286">
                  <c:v>38792</c:v>
                </c:pt>
                <c:pt idx="287">
                  <c:v>38793</c:v>
                </c:pt>
                <c:pt idx="288">
                  <c:v>38796</c:v>
                </c:pt>
                <c:pt idx="289">
                  <c:v>38797</c:v>
                </c:pt>
                <c:pt idx="290">
                  <c:v>38798</c:v>
                </c:pt>
                <c:pt idx="291">
                  <c:v>38799</c:v>
                </c:pt>
                <c:pt idx="292">
                  <c:v>38800</c:v>
                </c:pt>
                <c:pt idx="293">
                  <c:v>38803</c:v>
                </c:pt>
                <c:pt idx="294">
                  <c:v>38804</c:v>
                </c:pt>
                <c:pt idx="295">
                  <c:v>38805</c:v>
                </c:pt>
                <c:pt idx="296">
                  <c:v>38806</c:v>
                </c:pt>
                <c:pt idx="297">
                  <c:v>38807</c:v>
                </c:pt>
                <c:pt idx="298">
                  <c:v>38810</c:v>
                </c:pt>
                <c:pt idx="299">
                  <c:v>38811</c:v>
                </c:pt>
                <c:pt idx="300">
                  <c:v>38812</c:v>
                </c:pt>
                <c:pt idx="301">
                  <c:v>38813</c:v>
                </c:pt>
                <c:pt idx="302">
                  <c:v>38814</c:v>
                </c:pt>
                <c:pt idx="303">
                  <c:v>38817</c:v>
                </c:pt>
                <c:pt idx="304">
                  <c:v>38818</c:v>
                </c:pt>
                <c:pt idx="305">
                  <c:v>38819</c:v>
                </c:pt>
                <c:pt idx="306">
                  <c:v>38820</c:v>
                </c:pt>
                <c:pt idx="307">
                  <c:v>38821</c:v>
                </c:pt>
                <c:pt idx="308">
                  <c:v>38824</c:v>
                </c:pt>
                <c:pt idx="309">
                  <c:v>38825</c:v>
                </c:pt>
                <c:pt idx="310">
                  <c:v>38826</c:v>
                </c:pt>
                <c:pt idx="311">
                  <c:v>38827</c:v>
                </c:pt>
                <c:pt idx="312">
                  <c:v>38828</c:v>
                </c:pt>
                <c:pt idx="313">
                  <c:v>38831</c:v>
                </c:pt>
                <c:pt idx="314">
                  <c:v>38832</c:v>
                </c:pt>
                <c:pt idx="315">
                  <c:v>38833</c:v>
                </c:pt>
                <c:pt idx="316">
                  <c:v>38834</c:v>
                </c:pt>
                <c:pt idx="317">
                  <c:v>38835</c:v>
                </c:pt>
                <c:pt idx="318">
                  <c:v>38845</c:v>
                </c:pt>
                <c:pt idx="319">
                  <c:v>38846</c:v>
                </c:pt>
                <c:pt idx="320">
                  <c:v>38847</c:v>
                </c:pt>
                <c:pt idx="321">
                  <c:v>38848</c:v>
                </c:pt>
                <c:pt idx="322">
                  <c:v>38849</c:v>
                </c:pt>
                <c:pt idx="323">
                  <c:v>38852</c:v>
                </c:pt>
                <c:pt idx="324">
                  <c:v>38853</c:v>
                </c:pt>
                <c:pt idx="325">
                  <c:v>38854</c:v>
                </c:pt>
                <c:pt idx="326">
                  <c:v>38855</c:v>
                </c:pt>
                <c:pt idx="327">
                  <c:v>38856</c:v>
                </c:pt>
                <c:pt idx="328">
                  <c:v>38859</c:v>
                </c:pt>
                <c:pt idx="329">
                  <c:v>38860</c:v>
                </c:pt>
                <c:pt idx="330">
                  <c:v>38861</c:v>
                </c:pt>
                <c:pt idx="331">
                  <c:v>38862</c:v>
                </c:pt>
                <c:pt idx="332">
                  <c:v>38863</c:v>
                </c:pt>
                <c:pt idx="333">
                  <c:v>38866</c:v>
                </c:pt>
                <c:pt idx="334">
                  <c:v>38867</c:v>
                </c:pt>
                <c:pt idx="335">
                  <c:v>38868</c:v>
                </c:pt>
                <c:pt idx="336">
                  <c:v>38869</c:v>
                </c:pt>
                <c:pt idx="337">
                  <c:v>38870</c:v>
                </c:pt>
                <c:pt idx="338">
                  <c:v>38873</c:v>
                </c:pt>
                <c:pt idx="339">
                  <c:v>38874</c:v>
                </c:pt>
                <c:pt idx="340">
                  <c:v>38875</c:v>
                </c:pt>
                <c:pt idx="341">
                  <c:v>38876</c:v>
                </c:pt>
                <c:pt idx="342">
                  <c:v>38877</c:v>
                </c:pt>
                <c:pt idx="343">
                  <c:v>38880</c:v>
                </c:pt>
                <c:pt idx="344">
                  <c:v>38881</c:v>
                </c:pt>
                <c:pt idx="345">
                  <c:v>38882</c:v>
                </c:pt>
                <c:pt idx="346">
                  <c:v>38883</c:v>
                </c:pt>
                <c:pt idx="347">
                  <c:v>38884</c:v>
                </c:pt>
                <c:pt idx="348">
                  <c:v>38887</c:v>
                </c:pt>
                <c:pt idx="349">
                  <c:v>38888</c:v>
                </c:pt>
                <c:pt idx="350">
                  <c:v>38889</c:v>
                </c:pt>
                <c:pt idx="351">
                  <c:v>38890</c:v>
                </c:pt>
                <c:pt idx="352">
                  <c:v>38891</c:v>
                </c:pt>
                <c:pt idx="353">
                  <c:v>38894</c:v>
                </c:pt>
                <c:pt idx="354">
                  <c:v>38895</c:v>
                </c:pt>
                <c:pt idx="355">
                  <c:v>38896</c:v>
                </c:pt>
                <c:pt idx="356">
                  <c:v>38897</c:v>
                </c:pt>
                <c:pt idx="357">
                  <c:v>38898</c:v>
                </c:pt>
                <c:pt idx="358">
                  <c:v>38901</c:v>
                </c:pt>
                <c:pt idx="359">
                  <c:v>38902</c:v>
                </c:pt>
                <c:pt idx="360">
                  <c:v>38903</c:v>
                </c:pt>
                <c:pt idx="361">
                  <c:v>38904</c:v>
                </c:pt>
                <c:pt idx="362">
                  <c:v>38905</c:v>
                </c:pt>
                <c:pt idx="363">
                  <c:v>38908</c:v>
                </c:pt>
                <c:pt idx="364">
                  <c:v>38909</c:v>
                </c:pt>
                <c:pt idx="365">
                  <c:v>38910</c:v>
                </c:pt>
                <c:pt idx="366">
                  <c:v>38911</c:v>
                </c:pt>
                <c:pt idx="367">
                  <c:v>38912</c:v>
                </c:pt>
                <c:pt idx="368">
                  <c:v>38915</c:v>
                </c:pt>
                <c:pt idx="369">
                  <c:v>38916</c:v>
                </c:pt>
                <c:pt idx="370">
                  <c:v>38917</c:v>
                </c:pt>
                <c:pt idx="371">
                  <c:v>38918</c:v>
                </c:pt>
                <c:pt idx="372">
                  <c:v>38919</c:v>
                </c:pt>
                <c:pt idx="373">
                  <c:v>38922</c:v>
                </c:pt>
                <c:pt idx="374">
                  <c:v>38923</c:v>
                </c:pt>
                <c:pt idx="375">
                  <c:v>38924</c:v>
                </c:pt>
                <c:pt idx="376">
                  <c:v>38925</c:v>
                </c:pt>
                <c:pt idx="377">
                  <c:v>38926</c:v>
                </c:pt>
                <c:pt idx="378">
                  <c:v>38929</c:v>
                </c:pt>
                <c:pt idx="379">
                  <c:v>38930</c:v>
                </c:pt>
                <c:pt idx="380">
                  <c:v>38931</c:v>
                </c:pt>
                <c:pt idx="381">
                  <c:v>38932</c:v>
                </c:pt>
                <c:pt idx="382">
                  <c:v>38933</c:v>
                </c:pt>
                <c:pt idx="383">
                  <c:v>38936</c:v>
                </c:pt>
                <c:pt idx="384">
                  <c:v>38937</c:v>
                </c:pt>
                <c:pt idx="385">
                  <c:v>38938</c:v>
                </c:pt>
                <c:pt idx="386">
                  <c:v>38939</c:v>
                </c:pt>
                <c:pt idx="387">
                  <c:v>38940</c:v>
                </c:pt>
                <c:pt idx="388">
                  <c:v>38943</c:v>
                </c:pt>
                <c:pt idx="389">
                  <c:v>38944</c:v>
                </c:pt>
                <c:pt idx="390">
                  <c:v>38945</c:v>
                </c:pt>
                <c:pt idx="391">
                  <c:v>38946</c:v>
                </c:pt>
                <c:pt idx="392">
                  <c:v>38947</c:v>
                </c:pt>
                <c:pt idx="393">
                  <c:v>38950</c:v>
                </c:pt>
                <c:pt idx="394">
                  <c:v>38951</c:v>
                </c:pt>
                <c:pt idx="395">
                  <c:v>38952</c:v>
                </c:pt>
                <c:pt idx="396">
                  <c:v>38953</c:v>
                </c:pt>
                <c:pt idx="397">
                  <c:v>38954</c:v>
                </c:pt>
                <c:pt idx="398">
                  <c:v>38957</c:v>
                </c:pt>
                <c:pt idx="399">
                  <c:v>38958</c:v>
                </c:pt>
                <c:pt idx="400">
                  <c:v>38959</c:v>
                </c:pt>
                <c:pt idx="401">
                  <c:v>38960</c:v>
                </c:pt>
                <c:pt idx="402">
                  <c:v>38961</c:v>
                </c:pt>
                <c:pt idx="403">
                  <c:v>38964</c:v>
                </c:pt>
                <c:pt idx="404">
                  <c:v>38965</c:v>
                </c:pt>
                <c:pt idx="405">
                  <c:v>38966</c:v>
                </c:pt>
                <c:pt idx="406">
                  <c:v>38967</c:v>
                </c:pt>
                <c:pt idx="407">
                  <c:v>38968</c:v>
                </c:pt>
                <c:pt idx="408">
                  <c:v>38971</c:v>
                </c:pt>
                <c:pt idx="409">
                  <c:v>38972</c:v>
                </c:pt>
                <c:pt idx="410">
                  <c:v>38973</c:v>
                </c:pt>
                <c:pt idx="411">
                  <c:v>38974</c:v>
                </c:pt>
                <c:pt idx="412">
                  <c:v>38975</c:v>
                </c:pt>
                <c:pt idx="413">
                  <c:v>38978</c:v>
                </c:pt>
                <c:pt idx="414">
                  <c:v>38979</c:v>
                </c:pt>
                <c:pt idx="415">
                  <c:v>38980</c:v>
                </c:pt>
                <c:pt idx="416">
                  <c:v>38981</c:v>
                </c:pt>
                <c:pt idx="417">
                  <c:v>38982</c:v>
                </c:pt>
                <c:pt idx="418">
                  <c:v>38985</c:v>
                </c:pt>
                <c:pt idx="419">
                  <c:v>38986</c:v>
                </c:pt>
                <c:pt idx="420">
                  <c:v>38987</c:v>
                </c:pt>
                <c:pt idx="421">
                  <c:v>38988</c:v>
                </c:pt>
                <c:pt idx="422">
                  <c:v>38989</c:v>
                </c:pt>
                <c:pt idx="423">
                  <c:v>38999</c:v>
                </c:pt>
                <c:pt idx="424">
                  <c:v>39000</c:v>
                </c:pt>
                <c:pt idx="425">
                  <c:v>39001</c:v>
                </c:pt>
                <c:pt idx="426">
                  <c:v>39002</c:v>
                </c:pt>
                <c:pt idx="427">
                  <c:v>39003</c:v>
                </c:pt>
                <c:pt idx="428">
                  <c:v>39006</c:v>
                </c:pt>
                <c:pt idx="429">
                  <c:v>39007</c:v>
                </c:pt>
                <c:pt idx="430">
                  <c:v>39008</c:v>
                </c:pt>
                <c:pt idx="431">
                  <c:v>39009</c:v>
                </c:pt>
                <c:pt idx="432">
                  <c:v>39010</c:v>
                </c:pt>
                <c:pt idx="433">
                  <c:v>39013</c:v>
                </c:pt>
                <c:pt idx="434">
                  <c:v>39014</c:v>
                </c:pt>
                <c:pt idx="435">
                  <c:v>39015</c:v>
                </c:pt>
                <c:pt idx="436">
                  <c:v>39016</c:v>
                </c:pt>
                <c:pt idx="437">
                  <c:v>39017</c:v>
                </c:pt>
                <c:pt idx="438">
                  <c:v>39020</c:v>
                </c:pt>
                <c:pt idx="439">
                  <c:v>39021</c:v>
                </c:pt>
                <c:pt idx="440">
                  <c:v>39022</c:v>
                </c:pt>
                <c:pt idx="441">
                  <c:v>39023</c:v>
                </c:pt>
                <c:pt idx="442">
                  <c:v>39024</c:v>
                </c:pt>
                <c:pt idx="443">
                  <c:v>39027</c:v>
                </c:pt>
                <c:pt idx="444">
                  <c:v>39028</c:v>
                </c:pt>
                <c:pt idx="445">
                  <c:v>39029</c:v>
                </c:pt>
                <c:pt idx="446">
                  <c:v>39030</c:v>
                </c:pt>
                <c:pt idx="447">
                  <c:v>39031</c:v>
                </c:pt>
                <c:pt idx="448">
                  <c:v>39034</c:v>
                </c:pt>
                <c:pt idx="449">
                  <c:v>39035</c:v>
                </c:pt>
                <c:pt idx="450">
                  <c:v>39036</c:v>
                </c:pt>
                <c:pt idx="451">
                  <c:v>39037</c:v>
                </c:pt>
                <c:pt idx="452">
                  <c:v>39038</c:v>
                </c:pt>
                <c:pt idx="453">
                  <c:v>39041</c:v>
                </c:pt>
                <c:pt idx="454">
                  <c:v>39042</c:v>
                </c:pt>
                <c:pt idx="455">
                  <c:v>39043</c:v>
                </c:pt>
                <c:pt idx="456">
                  <c:v>39044</c:v>
                </c:pt>
                <c:pt idx="457">
                  <c:v>39045</c:v>
                </c:pt>
                <c:pt idx="458">
                  <c:v>39048</c:v>
                </c:pt>
                <c:pt idx="459">
                  <c:v>39049</c:v>
                </c:pt>
                <c:pt idx="460">
                  <c:v>39050</c:v>
                </c:pt>
                <c:pt idx="461">
                  <c:v>39051</c:v>
                </c:pt>
                <c:pt idx="462">
                  <c:v>39052</c:v>
                </c:pt>
                <c:pt idx="463">
                  <c:v>39055</c:v>
                </c:pt>
                <c:pt idx="464">
                  <c:v>39056</c:v>
                </c:pt>
                <c:pt idx="465">
                  <c:v>39057</c:v>
                </c:pt>
                <c:pt idx="466">
                  <c:v>39058</c:v>
                </c:pt>
                <c:pt idx="467">
                  <c:v>39059</c:v>
                </c:pt>
                <c:pt idx="468">
                  <c:v>39062</c:v>
                </c:pt>
                <c:pt idx="469">
                  <c:v>39063</c:v>
                </c:pt>
                <c:pt idx="470">
                  <c:v>39064</c:v>
                </c:pt>
                <c:pt idx="471">
                  <c:v>39065</c:v>
                </c:pt>
                <c:pt idx="472">
                  <c:v>39066</c:v>
                </c:pt>
                <c:pt idx="473">
                  <c:v>39069</c:v>
                </c:pt>
                <c:pt idx="474">
                  <c:v>39070</c:v>
                </c:pt>
                <c:pt idx="475">
                  <c:v>39071</c:v>
                </c:pt>
                <c:pt idx="476">
                  <c:v>39072</c:v>
                </c:pt>
                <c:pt idx="477">
                  <c:v>39073</c:v>
                </c:pt>
                <c:pt idx="478">
                  <c:v>39076</c:v>
                </c:pt>
                <c:pt idx="479">
                  <c:v>39077</c:v>
                </c:pt>
                <c:pt idx="480">
                  <c:v>39078</c:v>
                </c:pt>
                <c:pt idx="481">
                  <c:v>39079</c:v>
                </c:pt>
                <c:pt idx="482">
                  <c:v>39080</c:v>
                </c:pt>
                <c:pt idx="483">
                  <c:v>39086</c:v>
                </c:pt>
                <c:pt idx="484">
                  <c:v>39087</c:v>
                </c:pt>
                <c:pt idx="485">
                  <c:v>39090</c:v>
                </c:pt>
                <c:pt idx="486">
                  <c:v>39091</c:v>
                </c:pt>
                <c:pt idx="487">
                  <c:v>39092</c:v>
                </c:pt>
                <c:pt idx="488">
                  <c:v>39093</c:v>
                </c:pt>
                <c:pt idx="489">
                  <c:v>39094</c:v>
                </c:pt>
                <c:pt idx="490">
                  <c:v>39097</c:v>
                </c:pt>
                <c:pt idx="491">
                  <c:v>39098</c:v>
                </c:pt>
                <c:pt idx="492">
                  <c:v>39099</c:v>
                </c:pt>
                <c:pt idx="493">
                  <c:v>39100</c:v>
                </c:pt>
                <c:pt idx="494">
                  <c:v>39101</c:v>
                </c:pt>
                <c:pt idx="495">
                  <c:v>39104</c:v>
                </c:pt>
                <c:pt idx="496">
                  <c:v>39105</c:v>
                </c:pt>
                <c:pt idx="497">
                  <c:v>39106</c:v>
                </c:pt>
                <c:pt idx="498">
                  <c:v>39107</c:v>
                </c:pt>
                <c:pt idx="499">
                  <c:v>39108</c:v>
                </c:pt>
                <c:pt idx="500">
                  <c:v>39111</c:v>
                </c:pt>
                <c:pt idx="501">
                  <c:v>39112</c:v>
                </c:pt>
                <c:pt idx="502">
                  <c:v>39113</c:v>
                </c:pt>
                <c:pt idx="503">
                  <c:v>39114</c:v>
                </c:pt>
                <c:pt idx="504">
                  <c:v>39115</c:v>
                </c:pt>
                <c:pt idx="505">
                  <c:v>39118</c:v>
                </c:pt>
                <c:pt idx="506">
                  <c:v>39119</c:v>
                </c:pt>
                <c:pt idx="507">
                  <c:v>39120</c:v>
                </c:pt>
                <c:pt idx="508">
                  <c:v>39121</c:v>
                </c:pt>
                <c:pt idx="509">
                  <c:v>39122</c:v>
                </c:pt>
                <c:pt idx="510">
                  <c:v>39125</c:v>
                </c:pt>
                <c:pt idx="511">
                  <c:v>39126</c:v>
                </c:pt>
                <c:pt idx="512">
                  <c:v>39127</c:v>
                </c:pt>
                <c:pt idx="513">
                  <c:v>39128</c:v>
                </c:pt>
                <c:pt idx="514">
                  <c:v>39129</c:v>
                </c:pt>
                <c:pt idx="515">
                  <c:v>39139</c:v>
                </c:pt>
                <c:pt idx="516">
                  <c:v>39140</c:v>
                </c:pt>
                <c:pt idx="517">
                  <c:v>39141</c:v>
                </c:pt>
                <c:pt idx="518">
                  <c:v>39142</c:v>
                </c:pt>
                <c:pt idx="519">
                  <c:v>39143</c:v>
                </c:pt>
                <c:pt idx="520">
                  <c:v>39146</c:v>
                </c:pt>
                <c:pt idx="521">
                  <c:v>39147</c:v>
                </c:pt>
                <c:pt idx="522">
                  <c:v>39148</c:v>
                </c:pt>
                <c:pt idx="523">
                  <c:v>39149</c:v>
                </c:pt>
                <c:pt idx="524">
                  <c:v>39150</c:v>
                </c:pt>
                <c:pt idx="525">
                  <c:v>39153</c:v>
                </c:pt>
                <c:pt idx="526">
                  <c:v>39154</c:v>
                </c:pt>
                <c:pt idx="527">
                  <c:v>39155</c:v>
                </c:pt>
                <c:pt idx="528">
                  <c:v>39156</c:v>
                </c:pt>
                <c:pt idx="529">
                  <c:v>39157</c:v>
                </c:pt>
                <c:pt idx="530">
                  <c:v>39160</c:v>
                </c:pt>
                <c:pt idx="531">
                  <c:v>39161</c:v>
                </c:pt>
                <c:pt idx="532">
                  <c:v>39162</c:v>
                </c:pt>
                <c:pt idx="533">
                  <c:v>39163</c:v>
                </c:pt>
                <c:pt idx="534">
                  <c:v>39164</c:v>
                </c:pt>
                <c:pt idx="535">
                  <c:v>39167</c:v>
                </c:pt>
                <c:pt idx="536">
                  <c:v>39168</c:v>
                </c:pt>
                <c:pt idx="537">
                  <c:v>39169</c:v>
                </c:pt>
                <c:pt idx="538">
                  <c:v>39170</c:v>
                </c:pt>
                <c:pt idx="539">
                  <c:v>39171</c:v>
                </c:pt>
                <c:pt idx="540">
                  <c:v>39174</c:v>
                </c:pt>
                <c:pt idx="541">
                  <c:v>39175</c:v>
                </c:pt>
                <c:pt idx="542">
                  <c:v>39176</c:v>
                </c:pt>
                <c:pt idx="543">
                  <c:v>39177</c:v>
                </c:pt>
                <c:pt idx="544">
                  <c:v>39178</c:v>
                </c:pt>
                <c:pt idx="545">
                  <c:v>39181</c:v>
                </c:pt>
                <c:pt idx="546">
                  <c:v>39182</c:v>
                </c:pt>
                <c:pt idx="547">
                  <c:v>39183</c:v>
                </c:pt>
                <c:pt idx="548">
                  <c:v>39184</c:v>
                </c:pt>
                <c:pt idx="549">
                  <c:v>39185</c:v>
                </c:pt>
                <c:pt idx="550">
                  <c:v>39188</c:v>
                </c:pt>
                <c:pt idx="551">
                  <c:v>39189</c:v>
                </c:pt>
                <c:pt idx="552">
                  <c:v>39190</c:v>
                </c:pt>
                <c:pt idx="553">
                  <c:v>39191</c:v>
                </c:pt>
                <c:pt idx="554">
                  <c:v>39192</c:v>
                </c:pt>
                <c:pt idx="555">
                  <c:v>39195</c:v>
                </c:pt>
                <c:pt idx="556">
                  <c:v>39196</c:v>
                </c:pt>
                <c:pt idx="557">
                  <c:v>39197</c:v>
                </c:pt>
                <c:pt idx="558">
                  <c:v>39198</c:v>
                </c:pt>
                <c:pt idx="559">
                  <c:v>39199</c:v>
                </c:pt>
                <c:pt idx="560">
                  <c:v>39202</c:v>
                </c:pt>
                <c:pt idx="561">
                  <c:v>39210</c:v>
                </c:pt>
                <c:pt idx="562">
                  <c:v>39211</c:v>
                </c:pt>
                <c:pt idx="563">
                  <c:v>39212</c:v>
                </c:pt>
                <c:pt idx="564">
                  <c:v>39213</c:v>
                </c:pt>
                <c:pt idx="565">
                  <c:v>39216</c:v>
                </c:pt>
                <c:pt idx="566">
                  <c:v>39217</c:v>
                </c:pt>
                <c:pt idx="567">
                  <c:v>39218</c:v>
                </c:pt>
                <c:pt idx="568">
                  <c:v>39219</c:v>
                </c:pt>
                <c:pt idx="569">
                  <c:v>39220</c:v>
                </c:pt>
                <c:pt idx="570">
                  <c:v>39223</c:v>
                </c:pt>
                <c:pt idx="571">
                  <c:v>39224</c:v>
                </c:pt>
                <c:pt idx="572">
                  <c:v>39225</c:v>
                </c:pt>
                <c:pt idx="573">
                  <c:v>39226</c:v>
                </c:pt>
                <c:pt idx="574">
                  <c:v>39227</c:v>
                </c:pt>
                <c:pt idx="575">
                  <c:v>39230</c:v>
                </c:pt>
                <c:pt idx="576">
                  <c:v>39231</c:v>
                </c:pt>
                <c:pt idx="577">
                  <c:v>39232</c:v>
                </c:pt>
                <c:pt idx="578">
                  <c:v>39233</c:v>
                </c:pt>
                <c:pt idx="579">
                  <c:v>39234</c:v>
                </c:pt>
                <c:pt idx="580">
                  <c:v>39237</c:v>
                </c:pt>
                <c:pt idx="581">
                  <c:v>39238</c:v>
                </c:pt>
                <c:pt idx="582">
                  <c:v>39239</c:v>
                </c:pt>
                <c:pt idx="583">
                  <c:v>39240</c:v>
                </c:pt>
                <c:pt idx="584">
                  <c:v>39241</c:v>
                </c:pt>
                <c:pt idx="585">
                  <c:v>39244</c:v>
                </c:pt>
                <c:pt idx="586">
                  <c:v>39245</c:v>
                </c:pt>
                <c:pt idx="587">
                  <c:v>39246</c:v>
                </c:pt>
                <c:pt idx="588">
                  <c:v>39247</c:v>
                </c:pt>
                <c:pt idx="589">
                  <c:v>39248</c:v>
                </c:pt>
                <c:pt idx="590">
                  <c:v>39251</c:v>
                </c:pt>
                <c:pt idx="591">
                  <c:v>39252</c:v>
                </c:pt>
                <c:pt idx="592">
                  <c:v>39253</c:v>
                </c:pt>
                <c:pt idx="593">
                  <c:v>39254</c:v>
                </c:pt>
                <c:pt idx="594">
                  <c:v>39255</c:v>
                </c:pt>
                <c:pt idx="595">
                  <c:v>39258</c:v>
                </c:pt>
                <c:pt idx="596">
                  <c:v>39259</c:v>
                </c:pt>
                <c:pt idx="597">
                  <c:v>39260</c:v>
                </c:pt>
                <c:pt idx="598">
                  <c:v>39261</c:v>
                </c:pt>
                <c:pt idx="599">
                  <c:v>39262</c:v>
                </c:pt>
                <c:pt idx="600">
                  <c:v>39265</c:v>
                </c:pt>
                <c:pt idx="601">
                  <c:v>39266</c:v>
                </c:pt>
                <c:pt idx="602">
                  <c:v>39267</c:v>
                </c:pt>
                <c:pt idx="603">
                  <c:v>39268</c:v>
                </c:pt>
                <c:pt idx="604">
                  <c:v>39269</c:v>
                </c:pt>
                <c:pt idx="605">
                  <c:v>39272</c:v>
                </c:pt>
                <c:pt idx="606">
                  <c:v>39273</c:v>
                </c:pt>
                <c:pt idx="607">
                  <c:v>39274</c:v>
                </c:pt>
                <c:pt idx="608">
                  <c:v>39275</c:v>
                </c:pt>
                <c:pt idx="609">
                  <c:v>39276</c:v>
                </c:pt>
                <c:pt idx="610">
                  <c:v>39279</c:v>
                </c:pt>
                <c:pt idx="611">
                  <c:v>39280</c:v>
                </c:pt>
                <c:pt idx="612">
                  <c:v>39281</c:v>
                </c:pt>
                <c:pt idx="613">
                  <c:v>39282</c:v>
                </c:pt>
                <c:pt idx="614">
                  <c:v>39283</c:v>
                </c:pt>
                <c:pt idx="615">
                  <c:v>39286</c:v>
                </c:pt>
                <c:pt idx="616">
                  <c:v>39287</c:v>
                </c:pt>
                <c:pt idx="617">
                  <c:v>39288</c:v>
                </c:pt>
                <c:pt idx="618">
                  <c:v>39289</c:v>
                </c:pt>
                <c:pt idx="619">
                  <c:v>39290</c:v>
                </c:pt>
                <c:pt idx="620">
                  <c:v>39293</c:v>
                </c:pt>
                <c:pt idx="621">
                  <c:v>39294</c:v>
                </c:pt>
                <c:pt idx="622">
                  <c:v>39295</c:v>
                </c:pt>
                <c:pt idx="623">
                  <c:v>39296</c:v>
                </c:pt>
                <c:pt idx="624">
                  <c:v>39297</c:v>
                </c:pt>
                <c:pt idx="625">
                  <c:v>39300</c:v>
                </c:pt>
                <c:pt idx="626">
                  <c:v>39301</c:v>
                </c:pt>
                <c:pt idx="627">
                  <c:v>39302</c:v>
                </c:pt>
                <c:pt idx="628">
                  <c:v>39303</c:v>
                </c:pt>
                <c:pt idx="629">
                  <c:v>39304</c:v>
                </c:pt>
                <c:pt idx="630">
                  <c:v>39307</c:v>
                </c:pt>
                <c:pt idx="631">
                  <c:v>39308</c:v>
                </c:pt>
                <c:pt idx="632">
                  <c:v>39309</c:v>
                </c:pt>
                <c:pt idx="633">
                  <c:v>39310</c:v>
                </c:pt>
                <c:pt idx="634">
                  <c:v>39311</c:v>
                </c:pt>
                <c:pt idx="635">
                  <c:v>39314</c:v>
                </c:pt>
                <c:pt idx="636">
                  <c:v>39315</c:v>
                </c:pt>
                <c:pt idx="637">
                  <c:v>39316</c:v>
                </c:pt>
                <c:pt idx="638">
                  <c:v>39317</c:v>
                </c:pt>
                <c:pt idx="639">
                  <c:v>39318</c:v>
                </c:pt>
                <c:pt idx="640">
                  <c:v>39321</c:v>
                </c:pt>
                <c:pt idx="641">
                  <c:v>39322</c:v>
                </c:pt>
                <c:pt idx="642">
                  <c:v>39323</c:v>
                </c:pt>
                <c:pt idx="643">
                  <c:v>39324</c:v>
                </c:pt>
                <c:pt idx="644">
                  <c:v>39325</c:v>
                </c:pt>
                <c:pt idx="645">
                  <c:v>39328</c:v>
                </c:pt>
                <c:pt idx="646">
                  <c:v>39329</c:v>
                </c:pt>
                <c:pt idx="647">
                  <c:v>39330</c:v>
                </c:pt>
                <c:pt idx="648">
                  <c:v>39331</c:v>
                </c:pt>
                <c:pt idx="649">
                  <c:v>39332</c:v>
                </c:pt>
                <c:pt idx="650">
                  <c:v>39335</c:v>
                </c:pt>
                <c:pt idx="651">
                  <c:v>39336</c:v>
                </c:pt>
                <c:pt idx="652">
                  <c:v>39337</c:v>
                </c:pt>
                <c:pt idx="653">
                  <c:v>39338</c:v>
                </c:pt>
                <c:pt idx="654">
                  <c:v>39339</c:v>
                </c:pt>
                <c:pt idx="655">
                  <c:v>39342</c:v>
                </c:pt>
                <c:pt idx="656">
                  <c:v>39343</c:v>
                </c:pt>
                <c:pt idx="657">
                  <c:v>39344</c:v>
                </c:pt>
                <c:pt idx="658">
                  <c:v>39345</c:v>
                </c:pt>
                <c:pt idx="659">
                  <c:v>39346</c:v>
                </c:pt>
                <c:pt idx="660">
                  <c:v>39349</c:v>
                </c:pt>
                <c:pt idx="661">
                  <c:v>39350</c:v>
                </c:pt>
                <c:pt idx="662">
                  <c:v>39351</c:v>
                </c:pt>
                <c:pt idx="663">
                  <c:v>39352</c:v>
                </c:pt>
                <c:pt idx="664">
                  <c:v>39353</c:v>
                </c:pt>
                <c:pt idx="665">
                  <c:v>39363</c:v>
                </c:pt>
                <c:pt idx="666">
                  <c:v>39364</c:v>
                </c:pt>
                <c:pt idx="667">
                  <c:v>39365</c:v>
                </c:pt>
                <c:pt idx="668">
                  <c:v>39366</c:v>
                </c:pt>
                <c:pt idx="669">
                  <c:v>39367</c:v>
                </c:pt>
                <c:pt idx="670">
                  <c:v>39370</c:v>
                </c:pt>
                <c:pt idx="671">
                  <c:v>39371</c:v>
                </c:pt>
                <c:pt idx="672">
                  <c:v>39372</c:v>
                </c:pt>
                <c:pt idx="673">
                  <c:v>39373</c:v>
                </c:pt>
                <c:pt idx="674">
                  <c:v>39374</c:v>
                </c:pt>
                <c:pt idx="675">
                  <c:v>39377</c:v>
                </c:pt>
                <c:pt idx="676">
                  <c:v>39378</c:v>
                </c:pt>
                <c:pt idx="677">
                  <c:v>39379</c:v>
                </c:pt>
                <c:pt idx="678">
                  <c:v>39380</c:v>
                </c:pt>
                <c:pt idx="679">
                  <c:v>39381</c:v>
                </c:pt>
                <c:pt idx="680">
                  <c:v>39384</c:v>
                </c:pt>
                <c:pt idx="681">
                  <c:v>39385</c:v>
                </c:pt>
                <c:pt idx="682">
                  <c:v>39386</c:v>
                </c:pt>
                <c:pt idx="683">
                  <c:v>39387</c:v>
                </c:pt>
                <c:pt idx="684">
                  <c:v>39388</c:v>
                </c:pt>
                <c:pt idx="685">
                  <c:v>39391</c:v>
                </c:pt>
                <c:pt idx="686">
                  <c:v>39392</c:v>
                </c:pt>
                <c:pt idx="687">
                  <c:v>39393</c:v>
                </c:pt>
                <c:pt idx="688">
                  <c:v>39394</c:v>
                </c:pt>
                <c:pt idx="689">
                  <c:v>39395</c:v>
                </c:pt>
                <c:pt idx="690">
                  <c:v>39398</c:v>
                </c:pt>
                <c:pt idx="691">
                  <c:v>39399</c:v>
                </c:pt>
                <c:pt idx="692">
                  <c:v>39400</c:v>
                </c:pt>
                <c:pt idx="693">
                  <c:v>39401</c:v>
                </c:pt>
                <c:pt idx="694">
                  <c:v>39402</c:v>
                </c:pt>
                <c:pt idx="695">
                  <c:v>39405</c:v>
                </c:pt>
                <c:pt idx="696">
                  <c:v>39406</c:v>
                </c:pt>
                <c:pt idx="697">
                  <c:v>39407</c:v>
                </c:pt>
                <c:pt idx="698">
                  <c:v>39408</c:v>
                </c:pt>
                <c:pt idx="699">
                  <c:v>39409</c:v>
                </c:pt>
                <c:pt idx="700">
                  <c:v>39412</c:v>
                </c:pt>
                <c:pt idx="701">
                  <c:v>39413</c:v>
                </c:pt>
                <c:pt idx="702">
                  <c:v>39414</c:v>
                </c:pt>
                <c:pt idx="703">
                  <c:v>39415</c:v>
                </c:pt>
                <c:pt idx="704">
                  <c:v>39416</c:v>
                </c:pt>
                <c:pt idx="705">
                  <c:v>39419</c:v>
                </c:pt>
                <c:pt idx="706">
                  <c:v>39420</c:v>
                </c:pt>
                <c:pt idx="707">
                  <c:v>39421</c:v>
                </c:pt>
                <c:pt idx="708">
                  <c:v>39422</c:v>
                </c:pt>
                <c:pt idx="709">
                  <c:v>39423</c:v>
                </c:pt>
                <c:pt idx="710">
                  <c:v>39426</c:v>
                </c:pt>
                <c:pt idx="711">
                  <c:v>39427</c:v>
                </c:pt>
                <c:pt idx="712">
                  <c:v>39428</c:v>
                </c:pt>
                <c:pt idx="713">
                  <c:v>39429</c:v>
                </c:pt>
                <c:pt idx="714">
                  <c:v>39430</c:v>
                </c:pt>
                <c:pt idx="715">
                  <c:v>39433</c:v>
                </c:pt>
                <c:pt idx="716">
                  <c:v>39434</c:v>
                </c:pt>
                <c:pt idx="717">
                  <c:v>39435</c:v>
                </c:pt>
                <c:pt idx="718">
                  <c:v>39436</c:v>
                </c:pt>
                <c:pt idx="719">
                  <c:v>39437</c:v>
                </c:pt>
                <c:pt idx="720">
                  <c:v>39440</c:v>
                </c:pt>
                <c:pt idx="721">
                  <c:v>39441</c:v>
                </c:pt>
                <c:pt idx="722">
                  <c:v>39442</c:v>
                </c:pt>
                <c:pt idx="723">
                  <c:v>39443</c:v>
                </c:pt>
                <c:pt idx="724">
                  <c:v>39444</c:v>
                </c:pt>
                <c:pt idx="725">
                  <c:v>39449</c:v>
                </c:pt>
                <c:pt idx="726">
                  <c:v>39450</c:v>
                </c:pt>
                <c:pt idx="727">
                  <c:v>39451</c:v>
                </c:pt>
                <c:pt idx="728">
                  <c:v>39454</c:v>
                </c:pt>
                <c:pt idx="729">
                  <c:v>39455</c:v>
                </c:pt>
                <c:pt idx="730">
                  <c:v>39456</c:v>
                </c:pt>
                <c:pt idx="731">
                  <c:v>39457</c:v>
                </c:pt>
                <c:pt idx="732">
                  <c:v>39458</c:v>
                </c:pt>
                <c:pt idx="733">
                  <c:v>39461</c:v>
                </c:pt>
                <c:pt idx="734">
                  <c:v>39462</c:v>
                </c:pt>
                <c:pt idx="735">
                  <c:v>39463</c:v>
                </c:pt>
                <c:pt idx="736">
                  <c:v>39464</c:v>
                </c:pt>
                <c:pt idx="737">
                  <c:v>39465</c:v>
                </c:pt>
                <c:pt idx="738">
                  <c:v>39468</c:v>
                </c:pt>
                <c:pt idx="739">
                  <c:v>39469</c:v>
                </c:pt>
                <c:pt idx="740">
                  <c:v>39470</c:v>
                </c:pt>
                <c:pt idx="741">
                  <c:v>39471</c:v>
                </c:pt>
                <c:pt idx="742">
                  <c:v>39472</c:v>
                </c:pt>
                <c:pt idx="743">
                  <c:v>39475</c:v>
                </c:pt>
                <c:pt idx="744">
                  <c:v>39476</c:v>
                </c:pt>
                <c:pt idx="745">
                  <c:v>39477</c:v>
                </c:pt>
                <c:pt idx="746">
                  <c:v>39478</c:v>
                </c:pt>
                <c:pt idx="747">
                  <c:v>39479</c:v>
                </c:pt>
                <c:pt idx="748">
                  <c:v>39482</c:v>
                </c:pt>
                <c:pt idx="749">
                  <c:v>39483</c:v>
                </c:pt>
                <c:pt idx="750">
                  <c:v>39491</c:v>
                </c:pt>
                <c:pt idx="751">
                  <c:v>39492</c:v>
                </c:pt>
                <c:pt idx="752">
                  <c:v>39493</c:v>
                </c:pt>
                <c:pt idx="753">
                  <c:v>39496</c:v>
                </c:pt>
                <c:pt idx="754">
                  <c:v>39497</c:v>
                </c:pt>
                <c:pt idx="755">
                  <c:v>39498</c:v>
                </c:pt>
                <c:pt idx="756">
                  <c:v>39499</c:v>
                </c:pt>
                <c:pt idx="757">
                  <c:v>39500</c:v>
                </c:pt>
                <c:pt idx="758">
                  <c:v>39503</c:v>
                </c:pt>
                <c:pt idx="759">
                  <c:v>39504</c:v>
                </c:pt>
                <c:pt idx="760">
                  <c:v>39505</c:v>
                </c:pt>
                <c:pt idx="761">
                  <c:v>39506</c:v>
                </c:pt>
                <c:pt idx="762">
                  <c:v>39507</c:v>
                </c:pt>
                <c:pt idx="763">
                  <c:v>39510</c:v>
                </c:pt>
                <c:pt idx="764">
                  <c:v>39511</c:v>
                </c:pt>
                <c:pt idx="765">
                  <c:v>39512</c:v>
                </c:pt>
                <c:pt idx="766">
                  <c:v>39513</c:v>
                </c:pt>
                <c:pt idx="767">
                  <c:v>39514</c:v>
                </c:pt>
                <c:pt idx="768">
                  <c:v>39517</c:v>
                </c:pt>
                <c:pt idx="769">
                  <c:v>39518</c:v>
                </c:pt>
                <c:pt idx="770">
                  <c:v>39519</c:v>
                </c:pt>
                <c:pt idx="771">
                  <c:v>39520</c:v>
                </c:pt>
                <c:pt idx="772">
                  <c:v>39521</c:v>
                </c:pt>
                <c:pt idx="773">
                  <c:v>39524</c:v>
                </c:pt>
                <c:pt idx="774">
                  <c:v>39525</c:v>
                </c:pt>
                <c:pt idx="775">
                  <c:v>39526</c:v>
                </c:pt>
                <c:pt idx="776">
                  <c:v>39527</c:v>
                </c:pt>
                <c:pt idx="777">
                  <c:v>39528</c:v>
                </c:pt>
                <c:pt idx="778">
                  <c:v>39531</c:v>
                </c:pt>
                <c:pt idx="779">
                  <c:v>39532</c:v>
                </c:pt>
                <c:pt idx="780">
                  <c:v>39533</c:v>
                </c:pt>
                <c:pt idx="781">
                  <c:v>39534</c:v>
                </c:pt>
                <c:pt idx="782">
                  <c:v>39535</c:v>
                </c:pt>
                <c:pt idx="783">
                  <c:v>39538</c:v>
                </c:pt>
                <c:pt idx="784">
                  <c:v>39539</c:v>
                </c:pt>
                <c:pt idx="785">
                  <c:v>39540</c:v>
                </c:pt>
                <c:pt idx="786">
                  <c:v>39541</c:v>
                </c:pt>
                <c:pt idx="787">
                  <c:v>39545</c:v>
                </c:pt>
                <c:pt idx="788">
                  <c:v>39546</c:v>
                </c:pt>
                <c:pt idx="789">
                  <c:v>39547</c:v>
                </c:pt>
                <c:pt idx="790">
                  <c:v>39548</c:v>
                </c:pt>
                <c:pt idx="791">
                  <c:v>39549</c:v>
                </c:pt>
                <c:pt idx="792">
                  <c:v>39552</c:v>
                </c:pt>
                <c:pt idx="793">
                  <c:v>39553</c:v>
                </c:pt>
                <c:pt idx="794">
                  <c:v>39554</c:v>
                </c:pt>
                <c:pt idx="795">
                  <c:v>39555</c:v>
                </c:pt>
                <c:pt idx="796">
                  <c:v>39556</c:v>
                </c:pt>
                <c:pt idx="797">
                  <c:v>39559</c:v>
                </c:pt>
                <c:pt idx="798">
                  <c:v>39560</c:v>
                </c:pt>
                <c:pt idx="799">
                  <c:v>39561</c:v>
                </c:pt>
                <c:pt idx="800">
                  <c:v>39562</c:v>
                </c:pt>
                <c:pt idx="801">
                  <c:v>39563</c:v>
                </c:pt>
                <c:pt idx="802">
                  <c:v>39566</c:v>
                </c:pt>
                <c:pt idx="803">
                  <c:v>39567</c:v>
                </c:pt>
                <c:pt idx="804">
                  <c:v>39568</c:v>
                </c:pt>
                <c:pt idx="805">
                  <c:v>39573</c:v>
                </c:pt>
                <c:pt idx="806">
                  <c:v>39574</c:v>
                </c:pt>
                <c:pt idx="807">
                  <c:v>39575</c:v>
                </c:pt>
                <c:pt idx="808">
                  <c:v>39576</c:v>
                </c:pt>
                <c:pt idx="809">
                  <c:v>39577</c:v>
                </c:pt>
                <c:pt idx="810">
                  <c:v>39580</c:v>
                </c:pt>
                <c:pt idx="811">
                  <c:v>39581</c:v>
                </c:pt>
                <c:pt idx="812">
                  <c:v>39582</c:v>
                </c:pt>
                <c:pt idx="813">
                  <c:v>39583</c:v>
                </c:pt>
                <c:pt idx="814">
                  <c:v>39584</c:v>
                </c:pt>
                <c:pt idx="815">
                  <c:v>39587</c:v>
                </c:pt>
                <c:pt idx="816">
                  <c:v>39588</c:v>
                </c:pt>
                <c:pt idx="817">
                  <c:v>39589</c:v>
                </c:pt>
                <c:pt idx="818">
                  <c:v>39590</c:v>
                </c:pt>
                <c:pt idx="819">
                  <c:v>39591</c:v>
                </c:pt>
                <c:pt idx="820">
                  <c:v>39594</c:v>
                </c:pt>
                <c:pt idx="821">
                  <c:v>39595</c:v>
                </c:pt>
                <c:pt idx="822">
                  <c:v>39596</c:v>
                </c:pt>
                <c:pt idx="823">
                  <c:v>39597</c:v>
                </c:pt>
                <c:pt idx="824">
                  <c:v>39598</c:v>
                </c:pt>
                <c:pt idx="825">
                  <c:v>39601</c:v>
                </c:pt>
                <c:pt idx="826">
                  <c:v>39602</c:v>
                </c:pt>
                <c:pt idx="827">
                  <c:v>39603</c:v>
                </c:pt>
                <c:pt idx="828">
                  <c:v>39604</c:v>
                </c:pt>
                <c:pt idx="829">
                  <c:v>39605</c:v>
                </c:pt>
                <c:pt idx="830">
                  <c:v>39609</c:v>
                </c:pt>
                <c:pt idx="831">
                  <c:v>39610</c:v>
                </c:pt>
                <c:pt idx="832">
                  <c:v>39611</c:v>
                </c:pt>
                <c:pt idx="833">
                  <c:v>39612</c:v>
                </c:pt>
                <c:pt idx="834">
                  <c:v>39615</c:v>
                </c:pt>
                <c:pt idx="835">
                  <c:v>39616</c:v>
                </c:pt>
                <c:pt idx="836">
                  <c:v>39617</c:v>
                </c:pt>
                <c:pt idx="837">
                  <c:v>39618</c:v>
                </c:pt>
                <c:pt idx="838">
                  <c:v>39619</c:v>
                </c:pt>
                <c:pt idx="839">
                  <c:v>39622</c:v>
                </c:pt>
                <c:pt idx="840">
                  <c:v>39623</c:v>
                </c:pt>
                <c:pt idx="841">
                  <c:v>39624</c:v>
                </c:pt>
                <c:pt idx="842">
                  <c:v>39625</c:v>
                </c:pt>
                <c:pt idx="843">
                  <c:v>39626</c:v>
                </c:pt>
                <c:pt idx="844">
                  <c:v>39629</c:v>
                </c:pt>
                <c:pt idx="845">
                  <c:v>39630</c:v>
                </c:pt>
                <c:pt idx="846">
                  <c:v>39631</c:v>
                </c:pt>
                <c:pt idx="847">
                  <c:v>39632</c:v>
                </c:pt>
                <c:pt idx="848">
                  <c:v>39633</c:v>
                </c:pt>
                <c:pt idx="849">
                  <c:v>39636</c:v>
                </c:pt>
                <c:pt idx="850">
                  <c:v>39637</c:v>
                </c:pt>
                <c:pt idx="851">
                  <c:v>39638</c:v>
                </c:pt>
                <c:pt idx="852">
                  <c:v>39639</c:v>
                </c:pt>
                <c:pt idx="853">
                  <c:v>39640</c:v>
                </c:pt>
                <c:pt idx="854">
                  <c:v>39643</c:v>
                </c:pt>
                <c:pt idx="855">
                  <c:v>39644</c:v>
                </c:pt>
                <c:pt idx="856">
                  <c:v>39645</c:v>
                </c:pt>
                <c:pt idx="857">
                  <c:v>39646</c:v>
                </c:pt>
                <c:pt idx="858">
                  <c:v>39647</c:v>
                </c:pt>
                <c:pt idx="859">
                  <c:v>39650</c:v>
                </c:pt>
                <c:pt idx="860">
                  <c:v>39651</c:v>
                </c:pt>
                <c:pt idx="861">
                  <c:v>39652</c:v>
                </c:pt>
                <c:pt idx="862">
                  <c:v>39653</c:v>
                </c:pt>
                <c:pt idx="863">
                  <c:v>39654</c:v>
                </c:pt>
                <c:pt idx="864">
                  <c:v>39657</c:v>
                </c:pt>
                <c:pt idx="865">
                  <c:v>39658</c:v>
                </c:pt>
                <c:pt idx="866">
                  <c:v>39659</c:v>
                </c:pt>
                <c:pt idx="867">
                  <c:v>39660</c:v>
                </c:pt>
                <c:pt idx="868">
                  <c:v>39661</c:v>
                </c:pt>
                <c:pt idx="869">
                  <c:v>39664</c:v>
                </c:pt>
                <c:pt idx="870">
                  <c:v>39665</c:v>
                </c:pt>
                <c:pt idx="871">
                  <c:v>39666</c:v>
                </c:pt>
                <c:pt idx="872">
                  <c:v>39667</c:v>
                </c:pt>
                <c:pt idx="873">
                  <c:v>39668</c:v>
                </c:pt>
                <c:pt idx="874">
                  <c:v>39671</c:v>
                </c:pt>
                <c:pt idx="875">
                  <c:v>39672</c:v>
                </c:pt>
                <c:pt idx="876">
                  <c:v>39673</c:v>
                </c:pt>
                <c:pt idx="877">
                  <c:v>39674</c:v>
                </c:pt>
                <c:pt idx="878">
                  <c:v>39675</c:v>
                </c:pt>
                <c:pt idx="879">
                  <c:v>39678</c:v>
                </c:pt>
                <c:pt idx="880">
                  <c:v>39679</c:v>
                </c:pt>
                <c:pt idx="881">
                  <c:v>39680</c:v>
                </c:pt>
                <c:pt idx="882">
                  <c:v>39681</c:v>
                </c:pt>
                <c:pt idx="883">
                  <c:v>39682</c:v>
                </c:pt>
                <c:pt idx="884">
                  <c:v>39685</c:v>
                </c:pt>
                <c:pt idx="885">
                  <c:v>39686</c:v>
                </c:pt>
                <c:pt idx="886">
                  <c:v>39687</c:v>
                </c:pt>
                <c:pt idx="887">
                  <c:v>39688</c:v>
                </c:pt>
                <c:pt idx="888">
                  <c:v>39689</c:v>
                </c:pt>
                <c:pt idx="889">
                  <c:v>39692</c:v>
                </c:pt>
                <c:pt idx="890">
                  <c:v>39693</c:v>
                </c:pt>
                <c:pt idx="891">
                  <c:v>39694</c:v>
                </c:pt>
                <c:pt idx="892">
                  <c:v>39695</c:v>
                </c:pt>
                <c:pt idx="893">
                  <c:v>39696</c:v>
                </c:pt>
                <c:pt idx="894">
                  <c:v>39699</c:v>
                </c:pt>
                <c:pt idx="895">
                  <c:v>39700</c:v>
                </c:pt>
                <c:pt idx="896">
                  <c:v>39701</c:v>
                </c:pt>
                <c:pt idx="897">
                  <c:v>39702</c:v>
                </c:pt>
                <c:pt idx="898">
                  <c:v>39703</c:v>
                </c:pt>
                <c:pt idx="899">
                  <c:v>39707</c:v>
                </c:pt>
                <c:pt idx="900">
                  <c:v>39708</c:v>
                </c:pt>
                <c:pt idx="901">
                  <c:v>39709</c:v>
                </c:pt>
                <c:pt idx="902">
                  <c:v>39710</c:v>
                </c:pt>
                <c:pt idx="903">
                  <c:v>39713</c:v>
                </c:pt>
                <c:pt idx="904">
                  <c:v>39714</c:v>
                </c:pt>
                <c:pt idx="905">
                  <c:v>39715</c:v>
                </c:pt>
                <c:pt idx="906">
                  <c:v>39716</c:v>
                </c:pt>
                <c:pt idx="907">
                  <c:v>39717</c:v>
                </c:pt>
                <c:pt idx="908">
                  <c:v>39727</c:v>
                </c:pt>
                <c:pt idx="909">
                  <c:v>39728</c:v>
                </c:pt>
                <c:pt idx="910">
                  <c:v>39729</c:v>
                </c:pt>
                <c:pt idx="911">
                  <c:v>39730</c:v>
                </c:pt>
                <c:pt idx="912">
                  <c:v>39731</c:v>
                </c:pt>
                <c:pt idx="913">
                  <c:v>39734</c:v>
                </c:pt>
                <c:pt idx="914">
                  <c:v>39735</c:v>
                </c:pt>
                <c:pt idx="915">
                  <c:v>39736</c:v>
                </c:pt>
                <c:pt idx="916">
                  <c:v>39737</c:v>
                </c:pt>
                <c:pt idx="917">
                  <c:v>39738</c:v>
                </c:pt>
                <c:pt idx="918">
                  <c:v>39741</c:v>
                </c:pt>
                <c:pt idx="919">
                  <c:v>39742</c:v>
                </c:pt>
                <c:pt idx="920">
                  <c:v>39743</c:v>
                </c:pt>
                <c:pt idx="921">
                  <c:v>39744</c:v>
                </c:pt>
                <c:pt idx="922">
                  <c:v>39745</c:v>
                </c:pt>
                <c:pt idx="923">
                  <c:v>39748</c:v>
                </c:pt>
                <c:pt idx="924">
                  <c:v>39749</c:v>
                </c:pt>
                <c:pt idx="925">
                  <c:v>39750</c:v>
                </c:pt>
                <c:pt idx="926">
                  <c:v>39751</c:v>
                </c:pt>
                <c:pt idx="927">
                  <c:v>39752</c:v>
                </c:pt>
                <c:pt idx="928">
                  <c:v>39755</c:v>
                </c:pt>
                <c:pt idx="929">
                  <c:v>39756</c:v>
                </c:pt>
                <c:pt idx="930">
                  <c:v>39757</c:v>
                </c:pt>
                <c:pt idx="931">
                  <c:v>39758</c:v>
                </c:pt>
                <c:pt idx="932">
                  <c:v>39759</c:v>
                </c:pt>
                <c:pt idx="933">
                  <c:v>39762</c:v>
                </c:pt>
                <c:pt idx="934">
                  <c:v>39763</c:v>
                </c:pt>
                <c:pt idx="935">
                  <c:v>39764</c:v>
                </c:pt>
                <c:pt idx="936">
                  <c:v>39765</c:v>
                </c:pt>
                <c:pt idx="937">
                  <c:v>39766</c:v>
                </c:pt>
                <c:pt idx="938">
                  <c:v>39769</c:v>
                </c:pt>
                <c:pt idx="939">
                  <c:v>39770</c:v>
                </c:pt>
                <c:pt idx="940">
                  <c:v>39771</c:v>
                </c:pt>
                <c:pt idx="941">
                  <c:v>39772</c:v>
                </c:pt>
                <c:pt idx="942">
                  <c:v>39773</c:v>
                </c:pt>
                <c:pt idx="943">
                  <c:v>39776</c:v>
                </c:pt>
                <c:pt idx="944">
                  <c:v>39777</c:v>
                </c:pt>
                <c:pt idx="945">
                  <c:v>39778</c:v>
                </c:pt>
                <c:pt idx="946">
                  <c:v>39779</c:v>
                </c:pt>
                <c:pt idx="947">
                  <c:v>39780</c:v>
                </c:pt>
                <c:pt idx="948">
                  <c:v>39783</c:v>
                </c:pt>
                <c:pt idx="949">
                  <c:v>39784</c:v>
                </c:pt>
                <c:pt idx="950">
                  <c:v>39785</c:v>
                </c:pt>
                <c:pt idx="951">
                  <c:v>39786</c:v>
                </c:pt>
                <c:pt idx="952">
                  <c:v>39787</c:v>
                </c:pt>
                <c:pt idx="953">
                  <c:v>39790</c:v>
                </c:pt>
                <c:pt idx="954">
                  <c:v>39791</c:v>
                </c:pt>
                <c:pt idx="955">
                  <c:v>39792</c:v>
                </c:pt>
                <c:pt idx="956">
                  <c:v>39793</c:v>
                </c:pt>
                <c:pt idx="957">
                  <c:v>39794</c:v>
                </c:pt>
                <c:pt idx="958">
                  <c:v>39797</c:v>
                </c:pt>
                <c:pt idx="959">
                  <c:v>39798</c:v>
                </c:pt>
                <c:pt idx="960">
                  <c:v>39799</c:v>
                </c:pt>
                <c:pt idx="961">
                  <c:v>39800</c:v>
                </c:pt>
                <c:pt idx="962">
                  <c:v>39801</c:v>
                </c:pt>
                <c:pt idx="963">
                  <c:v>39804</c:v>
                </c:pt>
                <c:pt idx="964">
                  <c:v>39805</c:v>
                </c:pt>
                <c:pt idx="965">
                  <c:v>39806</c:v>
                </c:pt>
                <c:pt idx="966">
                  <c:v>39807</c:v>
                </c:pt>
                <c:pt idx="967">
                  <c:v>39808</c:v>
                </c:pt>
                <c:pt idx="968">
                  <c:v>39811</c:v>
                </c:pt>
                <c:pt idx="969">
                  <c:v>39812</c:v>
                </c:pt>
                <c:pt idx="970">
                  <c:v>39813</c:v>
                </c:pt>
                <c:pt idx="971">
                  <c:v>39818</c:v>
                </c:pt>
                <c:pt idx="972">
                  <c:v>39819</c:v>
                </c:pt>
                <c:pt idx="973">
                  <c:v>39820</c:v>
                </c:pt>
                <c:pt idx="974">
                  <c:v>39821</c:v>
                </c:pt>
                <c:pt idx="975">
                  <c:v>39822</c:v>
                </c:pt>
                <c:pt idx="976">
                  <c:v>39825</c:v>
                </c:pt>
                <c:pt idx="977">
                  <c:v>39826</c:v>
                </c:pt>
                <c:pt idx="978">
                  <c:v>39827</c:v>
                </c:pt>
                <c:pt idx="979">
                  <c:v>39828</c:v>
                </c:pt>
                <c:pt idx="980">
                  <c:v>39829</c:v>
                </c:pt>
                <c:pt idx="981">
                  <c:v>39832</c:v>
                </c:pt>
                <c:pt idx="982">
                  <c:v>39833</c:v>
                </c:pt>
                <c:pt idx="983">
                  <c:v>39834</c:v>
                </c:pt>
                <c:pt idx="984">
                  <c:v>39835</c:v>
                </c:pt>
                <c:pt idx="985">
                  <c:v>39836</c:v>
                </c:pt>
                <c:pt idx="986">
                  <c:v>39846</c:v>
                </c:pt>
                <c:pt idx="987">
                  <c:v>39847</c:v>
                </c:pt>
                <c:pt idx="988">
                  <c:v>39848</c:v>
                </c:pt>
                <c:pt idx="989">
                  <c:v>39849</c:v>
                </c:pt>
                <c:pt idx="990">
                  <c:v>39850</c:v>
                </c:pt>
                <c:pt idx="991">
                  <c:v>39853</c:v>
                </c:pt>
                <c:pt idx="992">
                  <c:v>39854</c:v>
                </c:pt>
                <c:pt idx="993">
                  <c:v>39855</c:v>
                </c:pt>
                <c:pt idx="994">
                  <c:v>39856</c:v>
                </c:pt>
                <c:pt idx="995">
                  <c:v>39857</c:v>
                </c:pt>
                <c:pt idx="996">
                  <c:v>39860</c:v>
                </c:pt>
                <c:pt idx="997">
                  <c:v>39861</c:v>
                </c:pt>
                <c:pt idx="998">
                  <c:v>39862</c:v>
                </c:pt>
                <c:pt idx="999">
                  <c:v>39863</c:v>
                </c:pt>
                <c:pt idx="1000">
                  <c:v>39864</c:v>
                </c:pt>
                <c:pt idx="1001">
                  <c:v>39867</c:v>
                </c:pt>
                <c:pt idx="1002">
                  <c:v>39868</c:v>
                </c:pt>
                <c:pt idx="1003">
                  <c:v>39869</c:v>
                </c:pt>
                <c:pt idx="1004">
                  <c:v>39870</c:v>
                </c:pt>
                <c:pt idx="1005">
                  <c:v>39871</c:v>
                </c:pt>
                <c:pt idx="1006">
                  <c:v>39874</c:v>
                </c:pt>
                <c:pt idx="1007">
                  <c:v>39875</c:v>
                </c:pt>
                <c:pt idx="1008">
                  <c:v>39876</c:v>
                </c:pt>
                <c:pt idx="1009">
                  <c:v>39877</c:v>
                </c:pt>
                <c:pt idx="1010">
                  <c:v>39878</c:v>
                </c:pt>
                <c:pt idx="1011">
                  <c:v>39881</c:v>
                </c:pt>
                <c:pt idx="1012">
                  <c:v>39882</c:v>
                </c:pt>
                <c:pt idx="1013">
                  <c:v>39883</c:v>
                </c:pt>
                <c:pt idx="1014">
                  <c:v>39884</c:v>
                </c:pt>
                <c:pt idx="1015">
                  <c:v>39885</c:v>
                </c:pt>
                <c:pt idx="1016">
                  <c:v>39888</c:v>
                </c:pt>
                <c:pt idx="1017">
                  <c:v>39889</c:v>
                </c:pt>
                <c:pt idx="1018">
                  <c:v>39890</c:v>
                </c:pt>
                <c:pt idx="1019">
                  <c:v>39891</c:v>
                </c:pt>
                <c:pt idx="1020">
                  <c:v>39892</c:v>
                </c:pt>
                <c:pt idx="1021">
                  <c:v>39895</c:v>
                </c:pt>
                <c:pt idx="1022">
                  <c:v>39896</c:v>
                </c:pt>
                <c:pt idx="1023">
                  <c:v>39897</c:v>
                </c:pt>
                <c:pt idx="1024">
                  <c:v>39898</c:v>
                </c:pt>
                <c:pt idx="1025">
                  <c:v>39899</c:v>
                </c:pt>
                <c:pt idx="1026">
                  <c:v>39902</c:v>
                </c:pt>
                <c:pt idx="1027">
                  <c:v>39903</c:v>
                </c:pt>
                <c:pt idx="1028">
                  <c:v>39904</c:v>
                </c:pt>
                <c:pt idx="1029">
                  <c:v>39905</c:v>
                </c:pt>
                <c:pt idx="1030">
                  <c:v>39906</c:v>
                </c:pt>
                <c:pt idx="1031">
                  <c:v>39910</c:v>
                </c:pt>
                <c:pt idx="1032">
                  <c:v>39911</c:v>
                </c:pt>
                <c:pt idx="1033">
                  <c:v>39912</c:v>
                </c:pt>
                <c:pt idx="1034">
                  <c:v>39913</c:v>
                </c:pt>
                <c:pt idx="1035">
                  <c:v>39916</c:v>
                </c:pt>
                <c:pt idx="1036">
                  <c:v>39917</c:v>
                </c:pt>
                <c:pt idx="1037">
                  <c:v>39918</c:v>
                </c:pt>
                <c:pt idx="1038">
                  <c:v>39919</c:v>
                </c:pt>
                <c:pt idx="1039">
                  <c:v>39920</c:v>
                </c:pt>
                <c:pt idx="1040">
                  <c:v>39923</c:v>
                </c:pt>
                <c:pt idx="1041">
                  <c:v>39924</c:v>
                </c:pt>
                <c:pt idx="1042">
                  <c:v>39925</c:v>
                </c:pt>
                <c:pt idx="1043">
                  <c:v>39926</c:v>
                </c:pt>
                <c:pt idx="1044">
                  <c:v>39927</c:v>
                </c:pt>
                <c:pt idx="1045">
                  <c:v>39930</c:v>
                </c:pt>
                <c:pt idx="1046">
                  <c:v>39931</c:v>
                </c:pt>
                <c:pt idx="1047">
                  <c:v>39932</c:v>
                </c:pt>
                <c:pt idx="1048">
                  <c:v>39933</c:v>
                </c:pt>
                <c:pt idx="1049">
                  <c:v>39937</c:v>
                </c:pt>
                <c:pt idx="1050">
                  <c:v>39938</c:v>
                </c:pt>
                <c:pt idx="1051">
                  <c:v>39939</c:v>
                </c:pt>
                <c:pt idx="1052">
                  <c:v>39940</c:v>
                </c:pt>
                <c:pt idx="1053">
                  <c:v>39941</c:v>
                </c:pt>
                <c:pt idx="1054">
                  <c:v>39944</c:v>
                </c:pt>
                <c:pt idx="1055">
                  <c:v>39945</c:v>
                </c:pt>
                <c:pt idx="1056">
                  <c:v>39946</c:v>
                </c:pt>
                <c:pt idx="1057">
                  <c:v>39947</c:v>
                </c:pt>
                <c:pt idx="1058">
                  <c:v>39948</c:v>
                </c:pt>
                <c:pt idx="1059">
                  <c:v>39951</c:v>
                </c:pt>
                <c:pt idx="1060">
                  <c:v>39952</c:v>
                </c:pt>
                <c:pt idx="1061">
                  <c:v>39953</c:v>
                </c:pt>
                <c:pt idx="1062">
                  <c:v>39954</c:v>
                </c:pt>
                <c:pt idx="1063">
                  <c:v>39955</c:v>
                </c:pt>
                <c:pt idx="1064">
                  <c:v>39958</c:v>
                </c:pt>
                <c:pt idx="1065">
                  <c:v>39959</c:v>
                </c:pt>
                <c:pt idx="1066">
                  <c:v>39960</c:v>
                </c:pt>
                <c:pt idx="1067">
                  <c:v>39965</c:v>
                </c:pt>
                <c:pt idx="1068">
                  <c:v>39966</c:v>
                </c:pt>
                <c:pt idx="1069">
                  <c:v>39967</c:v>
                </c:pt>
                <c:pt idx="1070">
                  <c:v>39968</c:v>
                </c:pt>
                <c:pt idx="1071">
                  <c:v>39969</c:v>
                </c:pt>
                <c:pt idx="1072">
                  <c:v>39972</c:v>
                </c:pt>
                <c:pt idx="1073">
                  <c:v>39973</c:v>
                </c:pt>
                <c:pt idx="1074">
                  <c:v>39974</c:v>
                </c:pt>
                <c:pt idx="1075">
                  <c:v>39975</c:v>
                </c:pt>
                <c:pt idx="1076">
                  <c:v>39976</c:v>
                </c:pt>
                <c:pt idx="1077">
                  <c:v>39979</c:v>
                </c:pt>
                <c:pt idx="1078">
                  <c:v>39980</c:v>
                </c:pt>
                <c:pt idx="1079">
                  <c:v>39981</c:v>
                </c:pt>
                <c:pt idx="1080">
                  <c:v>39982</c:v>
                </c:pt>
                <c:pt idx="1081">
                  <c:v>39983</c:v>
                </c:pt>
                <c:pt idx="1082">
                  <c:v>39986</c:v>
                </c:pt>
                <c:pt idx="1083">
                  <c:v>39987</c:v>
                </c:pt>
                <c:pt idx="1084">
                  <c:v>39988</c:v>
                </c:pt>
                <c:pt idx="1085">
                  <c:v>39989</c:v>
                </c:pt>
                <c:pt idx="1086">
                  <c:v>39990</c:v>
                </c:pt>
                <c:pt idx="1087">
                  <c:v>39993</c:v>
                </c:pt>
                <c:pt idx="1088">
                  <c:v>39994</c:v>
                </c:pt>
                <c:pt idx="1089">
                  <c:v>39995</c:v>
                </c:pt>
                <c:pt idx="1090">
                  <c:v>39996</c:v>
                </c:pt>
                <c:pt idx="1091">
                  <c:v>39997</c:v>
                </c:pt>
                <c:pt idx="1092">
                  <c:v>40000</c:v>
                </c:pt>
                <c:pt idx="1093">
                  <c:v>40001</c:v>
                </c:pt>
                <c:pt idx="1094">
                  <c:v>40002</c:v>
                </c:pt>
                <c:pt idx="1095">
                  <c:v>40003</c:v>
                </c:pt>
                <c:pt idx="1096">
                  <c:v>40004</c:v>
                </c:pt>
                <c:pt idx="1097">
                  <c:v>40007</c:v>
                </c:pt>
                <c:pt idx="1098">
                  <c:v>40008</c:v>
                </c:pt>
                <c:pt idx="1099">
                  <c:v>40009</c:v>
                </c:pt>
                <c:pt idx="1100">
                  <c:v>40010</c:v>
                </c:pt>
                <c:pt idx="1101">
                  <c:v>40011</c:v>
                </c:pt>
                <c:pt idx="1102">
                  <c:v>40014</c:v>
                </c:pt>
                <c:pt idx="1103">
                  <c:v>40015</c:v>
                </c:pt>
                <c:pt idx="1104">
                  <c:v>40016</c:v>
                </c:pt>
                <c:pt idx="1105">
                  <c:v>40017</c:v>
                </c:pt>
                <c:pt idx="1106">
                  <c:v>40018</c:v>
                </c:pt>
                <c:pt idx="1107">
                  <c:v>40021</c:v>
                </c:pt>
                <c:pt idx="1108">
                  <c:v>40022</c:v>
                </c:pt>
                <c:pt idx="1109">
                  <c:v>40023</c:v>
                </c:pt>
                <c:pt idx="1110">
                  <c:v>40024</c:v>
                </c:pt>
                <c:pt idx="1111">
                  <c:v>40025</c:v>
                </c:pt>
                <c:pt idx="1112">
                  <c:v>40028</c:v>
                </c:pt>
                <c:pt idx="1113">
                  <c:v>40029</c:v>
                </c:pt>
                <c:pt idx="1114">
                  <c:v>40030</c:v>
                </c:pt>
                <c:pt idx="1115">
                  <c:v>40031</c:v>
                </c:pt>
                <c:pt idx="1116">
                  <c:v>40032</c:v>
                </c:pt>
                <c:pt idx="1117">
                  <c:v>40035</c:v>
                </c:pt>
                <c:pt idx="1118">
                  <c:v>40036</c:v>
                </c:pt>
                <c:pt idx="1119">
                  <c:v>40037</c:v>
                </c:pt>
                <c:pt idx="1120">
                  <c:v>40038</c:v>
                </c:pt>
                <c:pt idx="1121">
                  <c:v>40039</c:v>
                </c:pt>
                <c:pt idx="1122">
                  <c:v>40042</c:v>
                </c:pt>
                <c:pt idx="1123">
                  <c:v>40043</c:v>
                </c:pt>
                <c:pt idx="1124">
                  <c:v>40044</c:v>
                </c:pt>
                <c:pt idx="1125">
                  <c:v>40045</c:v>
                </c:pt>
                <c:pt idx="1126">
                  <c:v>40046</c:v>
                </c:pt>
                <c:pt idx="1127">
                  <c:v>40049</c:v>
                </c:pt>
                <c:pt idx="1128">
                  <c:v>40050</c:v>
                </c:pt>
                <c:pt idx="1129">
                  <c:v>40051</c:v>
                </c:pt>
                <c:pt idx="1130">
                  <c:v>40052</c:v>
                </c:pt>
                <c:pt idx="1131">
                  <c:v>40053</c:v>
                </c:pt>
                <c:pt idx="1132">
                  <c:v>40056</c:v>
                </c:pt>
                <c:pt idx="1133">
                  <c:v>40057</c:v>
                </c:pt>
                <c:pt idx="1134">
                  <c:v>40058</c:v>
                </c:pt>
                <c:pt idx="1135">
                  <c:v>40059</c:v>
                </c:pt>
                <c:pt idx="1136">
                  <c:v>40060</c:v>
                </c:pt>
                <c:pt idx="1137">
                  <c:v>40063</c:v>
                </c:pt>
                <c:pt idx="1138">
                  <c:v>40064</c:v>
                </c:pt>
                <c:pt idx="1139">
                  <c:v>40065</c:v>
                </c:pt>
                <c:pt idx="1140">
                  <c:v>40066</c:v>
                </c:pt>
                <c:pt idx="1141">
                  <c:v>40067</c:v>
                </c:pt>
                <c:pt idx="1142">
                  <c:v>40070</c:v>
                </c:pt>
                <c:pt idx="1143">
                  <c:v>40071</c:v>
                </c:pt>
                <c:pt idx="1144">
                  <c:v>40072</c:v>
                </c:pt>
                <c:pt idx="1145">
                  <c:v>40073</c:v>
                </c:pt>
                <c:pt idx="1146">
                  <c:v>40074</c:v>
                </c:pt>
                <c:pt idx="1147">
                  <c:v>40077</c:v>
                </c:pt>
                <c:pt idx="1148">
                  <c:v>40078</c:v>
                </c:pt>
                <c:pt idx="1149">
                  <c:v>40079</c:v>
                </c:pt>
                <c:pt idx="1150">
                  <c:v>40080</c:v>
                </c:pt>
                <c:pt idx="1151">
                  <c:v>40081</c:v>
                </c:pt>
                <c:pt idx="1152">
                  <c:v>40084</c:v>
                </c:pt>
                <c:pt idx="1153">
                  <c:v>40085</c:v>
                </c:pt>
                <c:pt idx="1154">
                  <c:v>40086</c:v>
                </c:pt>
                <c:pt idx="1155">
                  <c:v>40095</c:v>
                </c:pt>
                <c:pt idx="1156">
                  <c:v>40098</c:v>
                </c:pt>
                <c:pt idx="1157">
                  <c:v>40099</c:v>
                </c:pt>
                <c:pt idx="1158">
                  <c:v>40100</c:v>
                </c:pt>
                <c:pt idx="1159">
                  <c:v>40101</c:v>
                </c:pt>
                <c:pt idx="1160">
                  <c:v>40102</c:v>
                </c:pt>
                <c:pt idx="1161">
                  <c:v>40105</c:v>
                </c:pt>
                <c:pt idx="1162">
                  <c:v>40106</c:v>
                </c:pt>
                <c:pt idx="1163">
                  <c:v>40107</c:v>
                </c:pt>
                <c:pt idx="1164">
                  <c:v>40108</c:v>
                </c:pt>
                <c:pt idx="1165">
                  <c:v>40109</c:v>
                </c:pt>
                <c:pt idx="1166">
                  <c:v>40112</c:v>
                </c:pt>
                <c:pt idx="1167">
                  <c:v>40113</c:v>
                </c:pt>
                <c:pt idx="1168">
                  <c:v>40114</c:v>
                </c:pt>
                <c:pt idx="1169">
                  <c:v>40115</c:v>
                </c:pt>
                <c:pt idx="1170">
                  <c:v>40116</c:v>
                </c:pt>
                <c:pt idx="1171">
                  <c:v>40119</c:v>
                </c:pt>
                <c:pt idx="1172">
                  <c:v>40120</c:v>
                </c:pt>
                <c:pt idx="1173">
                  <c:v>40121</c:v>
                </c:pt>
                <c:pt idx="1174">
                  <c:v>40122</c:v>
                </c:pt>
                <c:pt idx="1175">
                  <c:v>40123</c:v>
                </c:pt>
                <c:pt idx="1176">
                  <c:v>40126</c:v>
                </c:pt>
                <c:pt idx="1177">
                  <c:v>40127</c:v>
                </c:pt>
                <c:pt idx="1178">
                  <c:v>40128</c:v>
                </c:pt>
                <c:pt idx="1179">
                  <c:v>40129</c:v>
                </c:pt>
                <c:pt idx="1180">
                  <c:v>40130</c:v>
                </c:pt>
                <c:pt idx="1181">
                  <c:v>40133</c:v>
                </c:pt>
                <c:pt idx="1182">
                  <c:v>40134</c:v>
                </c:pt>
                <c:pt idx="1183">
                  <c:v>40135</c:v>
                </c:pt>
                <c:pt idx="1184">
                  <c:v>40136</c:v>
                </c:pt>
                <c:pt idx="1185">
                  <c:v>40137</c:v>
                </c:pt>
                <c:pt idx="1186">
                  <c:v>40140</c:v>
                </c:pt>
                <c:pt idx="1187">
                  <c:v>40141</c:v>
                </c:pt>
                <c:pt idx="1188">
                  <c:v>40142</c:v>
                </c:pt>
                <c:pt idx="1189">
                  <c:v>40143</c:v>
                </c:pt>
                <c:pt idx="1190">
                  <c:v>40144</c:v>
                </c:pt>
                <c:pt idx="1191">
                  <c:v>40147</c:v>
                </c:pt>
                <c:pt idx="1192">
                  <c:v>40148</c:v>
                </c:pt>
                <c:pt idx="1193">
                  <c:v>40149</c:v>
                </c:pt>
                <c:pt idx="1194">
                  <c:v>40150</c:v>
                </c:pt>
                <c:pt idx="1195">
                  <c:v>40151</c:v>
                </c:pt>
                <c:pt idx="1196">
                  <c:v>40154</c:v>
                </c:pt>
                <c:pt idx="1197">
                  <c:v>40155</c:v>
                </c:pt>
                <c:pt idx="1198">
                  <c:v>40156</c:v>
                </c:pt>
                <c:pt idx="1199">
                  <c:v>40157</c:v>
                </c:pt>
                <c:pt idx="1200">
                  <c:v>40158</c:v>
                </c:pt>
                <c:pt idx="1201">
                  <c:v>40161</c:v>
                </c:pt>
                <c:pt idx="1202">
                  <c:v>40162</c:v>
                </c:pt>
                <c:pt idx="1203">
                  <c:v>40163</c:v>
                </c:pt>
                <c:pt idx="1204">
                  <c:v>40164</c:v>
                </c:pt>
                <c:pt idx="1205">
                  <c:v>40165</c:v>
                </c:pt>
                <c:pt idx="1206">
                  <c:v>40168</c:v>
                </c:pt>
                <c:pt idx="1207">
                  <c:v>40169</c:v>
                </c:pt>
                <c:pt idx="1208">
                  <c:v>40170</c:v>
                </c:pt>
                <c:pt idx="1209">
                  <c:v>40171</c:v>
                </c:pt>
                <c:pt idx="1210">
                  <c:v>40172</c:v>
                </c:pt>
                <c:pt idx="1211">
                  <c:v>40175</c:v>
                </c:pt>
                <c:pt idx="1212">
                  <c:v>40176</c:v>
                </c:pt>
                <c:pt idx="1213">
                  <c:v>40177</c:v>
                </c:pt>
                <c:pt idx="1214">
                  <c:v>40178</c:v>
                </c:pt>
                <c:pt idx="1215">
                  <c:v>40182</c:v>
                </c:pt>
                <c:pt idx="1216">
                  <c:v>40183</c:v>
                </c:pt>
                <c:pt idx="1217">
                  <c:v>40184</c:v>
                </c:pt>
                <c:pt idx="1218">
                  <c:v>40185</c:v>
                </c:pt>
                <c:pt idx="1219">
                  <c:v>40186</c:v>
                </c:pt>
                <c:pt idx="1220">
                  <c:v>40189</c:v>
                </c:pt>
                <c:pt idx="1221">
                  <c:v>40190</c:v>
                </c:pt>
                <c:pt idx="1222">
                  <c:v>40191</c:v>
                </c:pt>
                <c:pt idx="1223">
                  <c:v>40192</c:v>
                </c:pt>
                <c:pt idx="1224">
                  <c:v>40193</c:v>
                </c:pt>
                <c:pt idx="1225">
                  <c:v>40196</c:v>
                </c:pt>
                <c:pt idx="1226">
                  <c:v>40197</c:v>
                </c:pt>
                <c:pt idx="1227">
                  <c:v>40198</c:v>
                </c:pt>
                <c:pt idx="1228">
                  <c:v>40199</c:v>
                </c:pt>
                <c:pt idx="1229">
                  <c:v>40200</c:v>
                </c:pt>
                <c:pt idx="1230">
                  <c:v>40203</c:v>
                </c:pt>
                <c:pt idx="1231">
                  <c:v>40204</c:v>
                </c:pt>
                <c:pt idx="1232">
                  <c:v>40205</c:v>
                </c:pt>
                <c:pt idx="1233">
                  <c:v>40206</c:v>
                </c:pt>
                <c:pt idx="1234">
                  <c:v>40207</c:v>
                </c:pt>
                <c:pt idx="1235">
                  <c:v>40210</c:v>
                </c:pt>
                <c:pt idx="1236">
                  <c:v>40211</c:v>
                </c:pt>
                <c:pt idx="1237">
                  <c:v>40212</c:v>
                </c:pt>
                <c:pt idx="1238">
                  <c:v>40213</c:v>
                </c:pt>
                <c:pt idx="1239">
                  <c:v>40214</c:v>
                </c:pt>
                <c:pt idx="1240">
                  <c:v>40217</c:v>
                </c:pt>
                <c:pt idx="1241">
                  <c:v>40218</c:v>
                </c:pt>
                <c:pt idx="1242">
                  <c:v>40219</c:v>
                </c:pt>
                <c:pt idx="1243">
                  <c:v>40220</c:v>
                </c:pt>
                <c:pt idx="1244">
                  <c:v>40221</c:v>
                </c:pt>
                <c:pt idx="1245">
                  <c:v>40231</c:v>
                </c:pt>
                <c:pt idx="1246">
                  <c:v>40232</c:v>
                </c:pt>
                <c:pt idx="1247">
                  <c:v>40233</c:v>
                </c:pt>
                <c:pt idx="1248">
                  <c:v>40234</c:v>
                </c:pt>
                <c:pt idx="1249">
                  <c:v>40235</c:v>
                </c:pt>
                <c:pt idx="1250">
                  <c:v>40238</c:v>
                </c:pt>
                <c:pt idx="1251">
                  <c:v>40239</c:v>
                </c:pt>
                <c:pt idx="1252">
                  <c:v>40240</c:v>
                </c:pt>
                <c:pt idx="1253">
                  <c:v>40241</c:v>
                </c:pt>
                <c:pt idx="1254">
                  <c:v>40242</c:v>
                </c:pt>
                <c:pt idx="1255">
                  <c:v>40245</c:v>
                </c:pt>
                <c:pt idx="1256">
                  <c:v>40246</c:v>
                </c:pt>
                <c:pt idx="1257">
                  <c:v>40247</c:v>
                </c:pt>
                <c:pt idx="1258">
                  <c:v>40248</c:v>
                </c:pt>
                <c:pt idx="1259">
                  <c:v>40249</c:v>
                </c:pt>
                <c:pt idx="1260">
                  <c:v>40252</c:v>
                </c:pt>
                <c:pt idx="1261">
                  <c:v>40253</c:v>
                </c:pt>
                <c:pt idx="1262">
                  <c:v>40254</c:v>
                </c:pt>
                <c:pt idx="1263">
                  <c:v>40255</c:v>
                </c:pt>
                <c:pt idx="1264">
                  <c:v>40256</c:v>
                </c:pt>
                <c:pt idx="1265">
                  <c:v>40259</c:v>
                </c:pt>
                <c:pt idx="1266">
                  <c:v>40260</c:v>
                </c:pt>
                <c:pt idx="1267">
                  <c:v>40261</c:v>
                </c:pt>
                <c:pt idx="1268">
                  <c:v>40262</c:v>
                </c:pt>
                <c:pt idx="1269">
                  <c:v>40263</c:v>
                </c:pt>
                <c:pt idx="1270">
                  <c:v>40266</c:v>
                </c:pt>
                <c:pt idx="1271">
                  <c:v>40267</c:v>
                </c:pt>
                <c:pt idx="1272">
                  <c:v>40268</c:v>
                </c:pt>
                <c:pt idx="1273">
                  <c:v>40269</c:v>
                </c:pt>
                <c:pt idx="1274">
                  <c:v>40270</c:v>
                </c:pt>
                <c:pt idx="1275">
                  <c:v>40274</c:v>
                </c:pt>
                <c:pt idx="1276">
                  <c:v>40275</c:v>
                </c:pt>
                <c:pt idx="1277">
                  <c:v>40276</c:v>
                </c:pt>
                <c:pt idx="1278">
                  <c:v>40277</c:v>
                </c:pt>
                <c:pt idx="1279">
                  <c:v>40280</c:v>
                </c:pt>
                <c:pt idx="1280">
                  <c:v>40281</c:v>
                </c:pt>
                <c:pt idx="1281">
                  <c:v>40282</c:v>
                </c:pt>
                <c:pt idx="1282">
                  <c:v>40283</c:v>
                </c:pt>
                <c:pt idx="1283">
                  <c:v>40284</c:v>
                </c:pt>
                <c:pt idx="1284">
                  <c:v>40287</c:v>
                </c:pt>
                <c:pt idx="1285">
                  <c:v>40288</c:v>
                </c:pt>
                <c:pt idx="1286">
                  <c:v>40289</c:v>
                </c:pt>
                <c:pt idx="1287">
                  <c:v>40290</c:v>
                </c:pt>
                <c:pt idx="1288">
                  <c:v>40291</c:v>
                </c:pt>
                <c:pt idx="1289">
                  <c:v>40294</c:v>
                </c:pt>
                <c:pt idx="1290">
                  <c:v>40295</c:v>
                </c:pt>
                <c:pt idx="1291">
                  <c:v>40296</c:v>
                </c:pt>
                <c:pt idx="1292">
                  <c:v>40297</c:v>
                </c:pt>
                <c:pt idx="1293">
                  <c:v>40298</c:v>
                </c:pt>
                <c:pt idx="1294">
                  <c:v>40302</c:v>
                </c:pt>
                <c:pt idx="1295">
                  <c:v>40303</c:v>
                </c:pt>
                <c:pt idx="1296">
                  <c:v>40304</c:v>
                </c:pt>
                <c:pt idx="1297">
                  <c:v>40305</c:v>
                </c:pt>
                <c:pt idx="1298">
                  <c:v>40308</c:v>
                </c:pt>
                <c:pt idx="1299">
                  <c:v>40309</c:v>
                </c:pt>
                <c:pt idx="1300">
                  <c:v>40310</c:v>
                </c:pt>
                <c:pt idx="1301">
                  <c:v>40311</c:v>
                </c:pt>
                <c:pt idx="1302">
                  <c:v>40312</c:v>
                </c:pt>
                <c:pt idx="1303">
                  <c:v>40315</c:v>
                </c:pt>
                <c:pt idx="1304">
                  <c:v>40316</c:v>
                </c:pt>
                <c:pt idx="1305">
                  <c:v>40317</c:v>
                </c:pt>
                <c:pt idx="1306">
                  <c:v>40318</c:v>
                </c:pt>
                <c:pt idx="1307">
                  <c:v>40319</c:v>
                </c:pt>
                <c:pt idx="1308">
                  <c:v>40322</c:v>
                </c:pt>
                <c:pt idx="1309">
                  <c:v>40323</c:v>
                </c:pt>
                <c:pt idx="1310">
                  <c:v>40324</c:v>
                </c:pt>
                <c:pt idx="1311">
                  <c:v>40325</c:v>
                </c:pt>
                <c:pt idx="1312">
                  <c:v>40326</c:v>
                </c:pt>
                <c:pt idx="1313">
                  <c:v>40329</c:v>
                </c:pt>
                <c:pt idx="1314">
                  <c:v>40330</c:v>
                </c:pt>
                <c:pt idx="1315">
                  <c:v>40331</c:v>
                </c:pt>
                <c:pt idx="1316">
                  <c:v>40332</c:v>
                </c:pt>
                <c:pt idx="1317">
                  <c:v>40333</c:v>
                </c:pt>
                <c:pt idx="1318">
                  <c:v>40336</c:v>
                </c:pt>
                <c:pt idx="1319">
                  <c:v>40337</c:v>
                </c:pt>
                <c:pt idx="1320">
                  <c:v>40338</c:v>
                </c:pt>
                <c:pt idx="1321">
                  <c:v>40339</c:v>
                </c:pt>
                <c:pt idx="1322">
                  <c:v>40340</c:v>
                </c:pt>
                <c:pt idx="1323">
                  <c:v>40346</c:v>
                </c:pt>
                <c:pt idx="1324">
                  <c:v>40347</c:v>
                </c:pt>
                <c:pt idx="1325">
                  <c:v>40350</c:v>
                </c:pt>
                <c:pt idx="1326">
                  <c:v>40351</c:v>
                </c:pt>
                <c:pt idx="1327">
                  <c:v>40352</c:v>
                </c:pt>
                <c:pt idx="1328">
                  <c:v>40353</c:v>
                </c:pt>
                <c:pt idx="1329">
                  <c:v>40354</c:v>
                </c:pt>
                <c:pt idx="1330">
                  <c:v>40357</c:v>
                </c:pt>
                <c:pt idx="1331">
                  <c:v>40358</c:v>
                </c:pt>
                <c:pt idx="1332">
                  <c:v>40359</c:v>
                </c:pt>
                <c:pt idx="1333">
                  <c:v>40360</c:v>
                </c:pt>
                <c:pt idx="1334">
                  <c:v>40361</c:v>
                </c:pt>
                <c:pt idx="1335">
                  <c:v>40364</c:v>
                </c:pt>
                <c:pt idx="1336">
                  <c:v>40365</c:v>
                </c:pt>
                <c:pt idx="1337">
                  <c:v>40366</c:v>
                </c:pt>
                <c:pt idx="1338">
                  <c:v>40367</c:v>
                </c:pt>
                <c:pt idx="1339">
                  <c:v>40368</c:v>
                </c:pt>
                <c:pt idx="1340">
                  <c:v>40371</c:v>
                </c:pt>
                <c:pt idx="1341">
                  <c:v>40372</c:v>
                </c:pt>
                <c:pt idx="1342">
                  <c:v>40373</c:v>
                </c:pt>
                <c:pt idx="1343">
                  <c:v>40374</c:v>
                </c:pt>
                <c:pt idx="1344">
                  <c:v>40375</c:v>
                </c:pt>
                <c:pt idx="1345">
                  <c:v>40378</c:v>
                </c:pt>
                <c:pt idx="1346">
                  <c:v>40379</c:v>
                </c:pt>
                <c:pt idx="1347">
                  <c:v>40380</c:v>
                </c:pt>
                <c:pt idx="1348">
                  <c:v>40381</c:v>
                </c:pt>
                <c:pt idx="1349">
                  <c:v>40382</c:v>
                </c:pt>
                <c:pt idx="1350">
                  <c:v>40385</c:v>
                </c:pt>
                <c:pt idx="1351">
                  <c:v>40386</c:v>
                </c:pt>
                <c:pt idx="1352">
                  <c:v>40387</c:v>
                </c:pt>
                <c:pt idx="1353">
                  <c:v>40388</c:v>
                </c:pt>
                <c:pt idx="1354">
                  <c:v>40389</c:v>
                </c:pt>
                <c:pt idx="1355">
                  <c:v>40392</c:v>
                </c:pt>
                <c:pt idx="1356">
                  <c:v>40393</c:v>
                </c:pt>
                <c:pt idx="1357">
                  <c:v>40394</c:v>
                </c:pt>
                <c:pt idx="1358">
                  <c:v>40395</c:v>
                </c:pt>
                <c:pt idx="1359">
                  <c:v>40396</c:v>
                </c:pt>
                <c:pt idx="1360">
                  <c:v>40399</c:v>
                </c:pt>
                <c:pt idx="1361">
                  <c:v>40400</c:v>
                </c:pt>
                <c:pt idx="1362">
                  <c:v>40401</c:v>
                </c:pt>
                <c:pt idx="1363">
                  <c:v>40402</c:v>
                </c:pt>
                <c:pt idx="1364">
                  <c:v>40403</c:v>
                </c:pt>
                <c:pt idx="1365">
                  <c:v>40406</c:v>
                </c:pt>
                <c:pt idx="1366">
                  <c:v>40407</c:v>
                </c:pt>
                <c:pt idx="1367">
                  <c:v>40408</c:v>
                </c:pt>
                <c:pt idx="1368">
                  <c:v>40409</c:v>
                </c:pt>
                <c:pt idx="1369">
                  <c:v>40410</c:v>
                </c:pt>
                <c:pt idx="1370">
                  <c:v>40413</c:v>
                </c:pt>
                <c:pt idx="1371">
                  <c:v>40414</c:v>
                </c:pt>
                <c:pt idx="1372">
                  <c:v>40415</c:v>
                </c:pt>
                <c:pt idx="1373">
                  <c:v>40416</c:v>
                </c:pt>
                <c:pt idx="1374">
                  <c:v>40417</c:v>
                </c:pt>
                <c:pt idx="1375">
                  <c:v>40420</c:v>
                </c:pt>
                <c:pt idx="1376">
                  <c:v>40421</c:v>
                </c:pt>
                <c:pt idx="1377">
                  <c:v>40422</c:v>
                </c:pt>
                <c:pt idx="1378">
                  <c:v>40423</c:v>
                </c:pt>
                <c:pt idx="1379">
                  <c:v>40424</c:v>
                </c:pt>
                <c:pt idx="1380">
                  <c:v>40427</c:v>
                </c:pt>
                <c:pt idx="1381">
                  <c:v>40428</c:v>
                </c:pt>
                <c:pt idx="1382">
                  <c:v>40429</c:v>
                </c:pt>
                <c:pt idx="1383">
                  <c:v>40430</c:v>
                </c:pt>
                <c:pt idx="1384">
                  <c:v>40431</c:v>
                </c:pt>
                <c:pt idx="1385">
                  <c:v>40434</c:v>
                </c:pt>
                <c:pt idx="1386">
                  <c:v>40435</c:v>
                </c:pt>
                <c:pt idx="1387">
                  <c:v>40436</c:v>
                </c:pt>
                <c:pt idx="1388">
                  <c:v>40437</c:v>
                </c:pt>
                <c:pt idx="1389">
                  <c:v>40438</c:v>
                </c:pt>
                <c:pt idx="1390">
                  <c:v>40441</c:v>
                </c:pt>
                <c:pt idx="1391">
                  <c:v>40442</c:v>
                </c:pt>
                <c:pt idx="1392">
                  <c:v>40448</c:v>
                </c:pt>
                <c:pt idx="1393">
                  <c:v>40449</c:v>
                </c:pt>
                <c:pt idx="1394">
                  <c:v>40450</c:v>
                </c:pt>
                <c:pt idx="1395">
                  <c:v>40451</c:v>
                </c:pt>
                <c:pt idx="1396">
                  <c:v>40459</c:v>
                </c:pt>
                <c:pt idx="1397">
                  <c:v>40462</c:v>
                </c:pt>
                <c:pt idx="1398">
                  <c:v>40463</c:v>
                </c:pt>
                <c:pt idx="1399">
                  <c:v>40464</c:v>
                </c:pt>
                <c:pt idx="1400">
                  <c:v>40465</c:v>
                </c:pt>
                <c:pt idx="1401">
                  <c:v>40466</c:v>
                </c:pt>
                <c:pt idx="1402">
                  <c:v>40469</c:v>
                </c:pt>
                <c:pt idx="1403">
                  <c:v>40470</c:v>
                </c:pt>
                <c:pt idx="1404">
                  <c:v>40471</c:v>
                </c:pt>
                <c:pt idx="1405">
                  <c:v>40472</c:v>
                </c:pt>
                <c:pt idx="1406">
                  <c:v>40473</c:v>
                </c:pt>
                <c:pt idx="1407">
                  <c:v>40476</c:v>
                </c:pt>
                <c:pt idx="1408">
                  <c:v>40477</c:v>
                </c:pt>
                <c:pt idx="1409">
                  <c:v>40478</c:v>
                </c:pt>
                <c:pt idx="1410">
                  <c:v>40479</c:v>
                </c:pt>
                <c:pt idx="1411">
                  <c:v>40480</c:v>
                </c:pt>
                <c:pt idx="1412">
                  <c:v>40483</c:v>
                </c:pt>
                <c:pt idx="1413">
                  <c:v>40484</c:v>
                </c:pt>
                <c:pt idx="1414">
                  <c:v>40485</c:v>
                </c:pt>
                <c:pt idx="1415">
                  <c:v>40486</c:v>
                </c:pt>
                <c:pt idx="1416">
                  <c:v>40487</c:v>
                </c:pt>
                <c:pt idx="1417">
                  <c:v>40490</c:v>
                </c:pt>
                <c:pt idx="1418">
                  <c:v>40491</c:v>
                </c:pt>
                <c:pt idx="1419">
                  <c:v>40492</c:v>
                </c:pt>
                <c:pt idx="1420">
                  <c:v>40493</c:v>
                </c:pt>
                <c:pt idx="1421">
                  <c:v>40494</c:v>
                </c:pt>
                <c:pt idx="1422">
                  <c:v>40497</c:v>
                </c:pt>
                <c:pt idx="1423">
                  <c:v>40498</c:v>
                </c:pt>
                <c:pt idx="1424">
                  <c:v>40499</c:v>
                </c:pt>
                <c:pt idx="1425">
                  <c:v>40500</c:v>
                </c:pt>
                <c:pt idx="1426">
                  <c:v>40501</c:v>
                </c:pt>
                <c:pt idx="1427">
                  <c:v>40504</c:v>
                </c:pt>
                <c:pt idx="1428">
                  <c:v>40505</c:v>
                </c:pt>
                <c:pt idx="1429">
                  <c:v>40506</c:v>
                </c:pt>
                <c:pt idx="1430">
                  <c:v>40507</c:v>
                </c:pt>
                <c:pt idx="1431">
                  <c:v>40508</c:v>
                </c:pt>
                <c:pt idx="1432">
                  <c:v>40511</c:v>
                </c:pt>
                <c:pt idx="1433">
                  <c:v>40512</c:v>
                </c:pt>
                <c:pt idx="1434">
                  <c:v>40513</c:v>
                </c:pt>
                <c:pt idx="1435">
                  <c:v>40514</c:v>
                </c:pt>
                <c:pt idx="1436">
                  <c:v>40515</c:v>
                </c:pt>
                <c:pt idx="1437">
                  <c:v>40518</c:v>
                </c:pt>
                <c:pt idx="1438">
                  <c:v>40519</c:v>
                </c:pt>
                <c:pt idx="1439">
                  <c:v>40520</c:v>
                </c:pt>
                <c:pt idx="1440">
                  <c:v>40521</c:v>
                </c:pt>
                <c:pt idx="1441">
                  <c:v>40522</c:v>
                </c:pt>
                <c:pt idx="1442">
                  <c:v>40525</c:v>
                </c:pt>
                <c:pt idx="1443">
                  <c:v>40526</c:v>
                </c:pt>
                <c:pt idx="1444">
                  <c:v>40527</c:v>
                </c:pt>
                <c:pt idx="1445">
                  <c:v>40528</c:v>
                </c:pt>
                <c:pt idx="1446">
                  <c:v>40529</c:v>
                </c:pt>
                <c:pt idx="1447">
                  <c:v>40532</c:v>
                </c:pt>
                <c:pt idx="1448">
                  <c:v>40533</c:v>
                </c:pt>
                <c:pt idx="1449">
                  <c:v>40534</c:v>
                </c:pt>
                <c:pt idx="1450">
                  <c:v>40535</c:v>
                </c:pt>
                <c:pt idx="1451">
                  <c:v>40536</c:v>
                </c:pt>
                <c:pt idx="1452">
                  <c:v>40539</c:v>
                </c:pt>
                <c:pt idx="1453">
                  <c:v>40540</c:v>
                </c:pt>
                <c:pt idx="1454">
                  <c:v>40541</c:v>
                </c:pt>
                <c:pt idx="1455">
                  <c:v>40542</c:v>
                </c:pt>
                <c:pt idx="1456">
                  <c:v>40543</c:v>
                </c:pt>
                <c:pt idx="1457">
                  <c:v>40547</c:v>
                </c:pt>
                <c:pt idx="1458">
                  <c:v>40548</c:v>
                </c:pt>
                <c:pt idx="1459">
                  <c:v>40549</c:v>
                </c:pt>
                <c:pt idx="1460">
                  <c:v>40550</c:v>
                </c:pt>
                <c:pt idx="1461">
                  <c:v>40553</c:v>
                </c:pt>
                <c:pt idx="1462">
                  <c:v>40554</c:v>
                </c:pt>
                <c:pt idx="1463">
                  <c:v>40555</c:v>
                </c:pt>
                <c:pt idx="1464">
                  <c:v>40556</c:v>
                </c:pt>
                <c:pt idx="1465">
                  <c:v>40557</c:v>
                </c:pt>
                <c:pt idx="1466">
                  <c:v>40560</c:v>
                </c:pt>
                <c:pt idx="1467">
                  <c:v>40561</c:v>
                </c:pt>
                <c:pt idx="1468">
                  <c:v>40562</c:v>
                </c:pt>
                <c:pt idx="1469">
                  <c:v>40563</c:v>
                </c:pt>
                <c:pt idx="1470">
                  <c:v>40564</c:v>
                </c:pt>
                <c:pt idx="1471">
                  <c:v>40567</c:v>
                </c:pt>
                <c:pt idx="1472">
                  <c:v>40568</c:v>
                </c:pt>
                <c:pt idx="1473">
                  <c:v>40569</c:v>
                </c:pt>
                <c:pt idx="1474">
                  <c:v>40570</c:v>
                </c:pt>
                <c:pt idx="1475">
                  <c:v>40571</c:v>
                </c:pt>
                <c:pt idx="1476">
                  <c:v>40574</c:v>
                </c:pt>
                <c:pt idx="1477">
                  <c:v>40575</c:v>
                </c:pt>
                <c:pt idx="1478">
                  <c:v>40583</c:v>
                </c:pt>
                <c:pt idx="1479">
                  <c:v>40584</c:v>
                </c:pt>
                <c:pt idx="1480">
                  <c:v>40585</c:v>
                </c:pt>
                <c:pt idx="1481">
                  <c:v>40588</c:v>
                </c:pt>
                <c:pt idx="1482">
                  <c:v>40589</c:v>
                </c:pt>
                <c:pt idx="1483">
                  <c:v>40590</c:v>
                </c:pt>
                <c:pt idx="1484">
                  <c:v>40591</c:v>
                </c:pt>
                <c:pt idx="1485">
                  <c:v>40592</c:v>
                </c:pt>
                <c:pt idx="1486">
                  <c:v>40595</c:v>
                </c:pt>
                <c:pt idx="1487">
                  <c:v>40596</c:v>
                </c:pt>
                <c:pt idx="1488">
                  <c:v>40597</c:v>
                </c:pt>
                <c:pt idx="1489">
                  <c:v>40598</c:v>
                </c:pt>
                <c:pt idx="1490">
                  <c:v>40599</c:v>
                </c:pt>
                <c:pt idx="1491">
                  <c:v>40602</c:v>
                </c:pt>
                <c:pt idx="1492">
                  <c:v>40603</c:v>
                </c:pt>
                <c:pt idx="1493">
                  <c:v>40604</c:v>
                </c:pt>
                <c:pt idx="1494">
                  <c:v>40605</c:v>
                </c:pt>
                <c:pt idx="1495">
                  <c:v>40606</c:v>
                </c:pt>
                <c:pt idx="1496">
                  <c:v>40609</c:v>
                </c:pt>
                <c:pt idx="1497">
                  <c:v>40610</c:v>
                </c:pt>
                <c:pt idx="1498">
                  <c:v>40611</c:v>
                </c:pt>
                <c:pt idx="1499">
                  <c:v>40612</c:v>
                </c:pt>
                <c:pt idx="1500">
                  <c:v>40613</c:v>
                </c:pt>
                <c:pt idx="1501">
                  <c:v>40616</c:v>
                </c:pt>
                <c:pt idx="1502">
                  <c:v>40617</c:v>
                </c:pt>
                <c:pt idx="1503">
                  <c:v>40618</c:v>
                </c:pt>
                <c:pt idx="1504">
                  <c:v>40619</c:v>
                </c:pt>
                <c:pt idx="1505">
                  <c:v>40620</c:v>
                </c:pt>
                <c:pt idx="1506">
                  <c:v>40623</c:v>
                </c:pt>
                <c:pt idx="1507">
                  <c:v>40624</c:v>
                </c:pt>
                <c:pt idx="1508">
                  <c:v>40625</c:v>
                </c:pt>
                <c:pt idx="1509">
                  <c:v>40626</c:v>
                </c:pt>
                <c:pt idx="1510">
                  <c:v>40627</c:v>
                </c:pt>
                <c:pt idx="1511">
                  <c:v>40630</c:v>
                </c:pt>
                <c:pt idx="1512">
                  <c:v>40631</c:v>
                </c:pt>
                <c:pt idx="1513">
                  <c:v>40632</c:v>
                </c:pt>
                <c:pt idx="1514">
                  <c:v>40633</c:v>
                </c:pt>
                <c:pt idx="1515">
                  <c:v>40634</c:v>
                </c:pt>
                <c:pt idx="1516">
                  <c:v>40639</c:v>
                </c:pt>
                <c:pt idx="1517">
                  <c:v>40640</c:v>
                </c:pt>
                <c:pt idx="1518">
                  <c:v>40641</c:v>
                </c:pt>
                <c:pt idx="1519">
                  <c:v>40644</c:v>
                </c:pt>
                <c:pt idx="1520">
                  <c:v>40645</c:v>
                </c:pt>
                <c:pt idx="1521">
                  <c:v>40646</c:v>
                </c:pt>
                <c:pt idx="1522">
                  <c:v>40647</c:v>
                </c:pt>
                <c:pt idx="1523">
                  <c:v>40648</c:v>
                </c:pt>
                <c:pt idx="1524">
                  <c:v>40651</c:v>
                </c:pt>
                <c:pt idx="1525">
                  <c:v>40652</c:v>
                </c:pt>
                <c:pt idx="1526">
                  <c:v>40653</c:v>
                </c:pt>
                <c:pt idx="1527">
                  <c:v>40654</c:v>
                </c:pt>
                <c:pt idx="1528">
                  <c:v>40655</c:v>
                </c:pt>
                <c:pt idx="1529">
                  <c:v>40658</c:v>
                </c:pt>
                <c:pt idx="1530">
                  <c:v>40659</c:v>
                </c:pt>
                <c:pt idx="1531">
                  <c:v>40660</c:v>
                </c:pt>
                <c:pt idx="1532">
                  <c:v>40661</c:v>
                </c:pt>
                <c:pt idx="1533">
                  <c:v>40662</c:v>
                </c:pt>
                <c:pt idx="1534">
                  <c:v>40666</c:v>
                </c:pt>
                <c:pt idx="1535">
                  <c:v>40667</c:v>
                </c:pt>
                <c:pt idx="1536">
                  <c:v>40668</c:v>
                </c:pt>
                <c:pt idx="1537">
                  <c:v>40669</c:v>
                </c:pt>
                <c:pt idx="1538">
                  <c:v>40672</c:v>
                </c:pt>
                <c:pt idx="1539">
                  <c:v>40673</c:v>
                </c:pt>
                <c:pt idx="1540">
                  <c:v>40674</c:v>
                </c:pt>
                <c:pt idx="1541">
                  <c:v>40675</c:v>
                </c:pt>
                <c:pt idx="1542">
                  <c:v>40676</c:v>
                </c:pt>
                <c:pt idx="1543">
                  <c:v>40679</c:v>
                </c:pt>
                <c:pt idx="1544">
                  <c:v>40680</c:v>
                </c:pt>
                <c:pt idx="1545">
                  <c:v>40681</c:v>
                </c:pt>
                <c:pt idx="1546">
                  <c:v>40682</c:v>
                </c:pt>
                <c:pt idx="1547">
                  <c:v>40683</c:v>
                </c:pt>
                <c:pt idx="1548">
                  <c:v>40686</c:v>
                </c:pt>
                <c:pt idx="1549">
                  <c:v>40687</c:v>
                </c:pt>
                <c:pt idx="1550">
                  <c:v>40688</c:v>
                </c:pt>
                <c:pt idx="1551">
                  <c:v>40689</c:v>
                </c:pt>
                <c:pt idx="1552">
                  <c:v>40690</c:v>
                </c:pt>
                <c:pt idx="1553">
                  <c:v>40693</c:v>
                </c:pt>
                <c:pt idx="1554">
                  <c:v>40694</c:v>
                </c:pt>
                <c:pt idx="1555">
                  <c:v>40695</c:v>
                </c:pt>
                <c:pt idx="1556">
                  <c:v>40696</c:v>
                </c:pt>
                <c:pt idx="1557">
                  <c:v>40697</c:v>
                </c:pt>
                <c:pt idx="1558">
                  <c:v>40701</c:v>
                </c:pt>
                <c:pt idx="1559">
                  <c:v>40702</c:v>
                </c:pt>
                <c:pt idx="1560">
                  <c:v>40703</c:v>
                </c:pt>
                <c:pt idx="1561">
                  <c:v>40704</c:v>
                </c:pt>
                <c:pt idx="1562">
                  <c:v>40707</c:v>
                </c:pt>
                <c:pt idx="1563">
                  <c:v>40708</c:v>
                </c:pt>
                <c:pt idx="1564">
                  <c:v>40709</c:v>
                </c:pt>
                <c:pt idx="1565">
                  <c:v>40710</c:v>
                </c:pt>
                <c:pt idx="1566">
                  <c:v>40711</c:v>
                </c:pt>
                <c:pt idx="1567">
                  <c:v>40714</c:v>
                </c:pt>
                <c:pt idx="1568">
                  <c:v>40715</c:v>
                </c:pt>
                <c:pt idx="1569">
                  <c:v>40716</c:v>
                </c:pt>
                <c:pt idx="1570">
                  <c:v>40717</c:v>
                </c:pt>
                <c:pt idx="1571">
                  <c:v>40718</c:v>
                </c:pt>
                <c:pt idx="1572">
                  <c:v>40721</c:v>
                </c:pt>
                <c:pt idx="1573">
                  <c:v>40722</c:v>
                </c:pt>
                <c:pt idx="1574">
                  <c:v>40723</c:v>
                </c:pt>
                <c:pt idx="1575">
                  <c:v>40724</c:v>
                </c:pt>
                <c:pt idx="1576">
                  <c:v>40725</c:v>
                </c:pt>
                <c:pt idx="1577">
                  <c:v>40728</c:v>
                </c:pt>
                <c:pt idx="1578">
                  <c:v>40729</c:v>
                </c:pt>
                <c:pt idx="1579">
                  <c:v>40730</c:v>
                </c:pt>
                <c:pt idx="1580">
                  <c:v>40731</c:v>
                </c:pt>
                <c:pt idx="1581">
                  <c:v>40732</c:v>
                </c:pt>
                <c:pt idx="1582">
                  <c:v>40735</c:v>
                </c:pt>
                <c:pt idx="1583">
                  <c:v>40736</c:v>
                </c:pt>
                <c:pt idx="1584">
                  <c:v>40737</c:v>
                </c:pt>
                <c:pt idx="1585">
                  <c:v>40738</c:v>
                </c:pt>
                <c:pt idx="1586">
                  <c:v>40739</c:v>
                </c:pt>
                <c:pt idx="1587">
                  <c:v>40742</c:v>
                </c:pt>
                <c:pt idx="1588">
                  <c:v>40743</c:v>
                </c:pt>
                <c:pt idx="1589">
                  <c:v>40744</c:v>
                </c:pt>
                <c:pt idx="1590">
                  <c:v>40745</c:v>
                </c:pt>
                <c:pt idx="1591">
                  <c:v>40746</c:v>
                </c:pt>
                <c:pt idx="1592">
                  <c:v>40749</c:v>
                </c:pt>
                <c:pt idx="1593">
                  <c:v>40750</c:v>
                </c:pt>
                <c:pt idx="1594">
                  <c:v>40751</c:v>
                </c:pt>
                <c:pt idx="1595">
                  <c:v>40752</c:v>
                </c:pt>
                <c:pt idx="1596">
                  <c:v>40753</c:v>
                </c:pt>
                <c:pt idx="1597">
                  <c:v>40756</c:v>
                </c:pt>
                <c:pt idx="1598">
                  <c:v>40757</c:v>
                </c:pt>
                <c:pt idx="1599">
                  <c:v>40758</c:v>
                </c:pt>
                <c:pt idx="1600">
                  <c:v>40759</c:v>
                </c:pt>
                <c:pt idx="1601">
                  <c:v>40760</c:v>
                </c:pt>
                <c:pt idx="1602">
                  <c:v>40763</c:v>
                </c:pt>
                <c:pt idx="1603">
                  <c:v>40764</c:v>
                </c:pt>
                <c:pt idx="1604">
                  <c:v>40765</c:v>
                </c:pt>
                <c:pt idx="1605">
                  <c:v>40766</c:v>
                </c:pt>
                <c:pt idx="1606">
                  <c:v>40767</c:v>
                </c:pt>
                <c:pt idx="1607">
                  <c:v>40770</c:v>
                </c:pt>
                <c:pt idx="1608">
                  <c:v>40771</c:v>
                </c:pt>
                <c:pt idx="1609">
                  <c:v>40772</c:v>
                </c:pt>
                <c:pt idx="1610">
                  <c:v>40773</c:v>
                </c:pt>
                <c:pt idx="1611">
                  <c:v>40774</c:v>
                </c:pt>
                <c:pt idx="1612">
                  <c:v>40777</c:v>
                </c:pt>
                <c:pt idx="1613">
                  <c:v>40778</c:v>
                </c:pt>
                <c:pt idx="1614">
                  <c:v>40779</c:v>
                </c:pt>
                <c:pt idx="1615">
                  <c:v>40780</c:v>
                </c:pt>
                <c:pt idx="1616">
                  <c:v>40781</c:v>
                </c:pt>
                <c:pt idx="1617">
                  <c:v>40784</c:v>
                </c:pt>
                <c:pt idx="1618">
                  <c:v>40785</c:v>
                </c:pt>
                <c:pt idx="1619">
                  <c:v>40786</c:v>
                </c:pt>
                <c:pt idx="1620">
                  <c:v>40787</c:v>
                </c:pt>
                <c:pt idx="1621">
                  <c:v>40788</c:v>
                </c:pt>
                <c:pt idx="1622">
                  <c:v>40791</c:v>
                </c:pt>
                <c:pt idx="1623">
                  <c:v>40792</c:v>
                </c:pt>
                <c:pt idx="1624">
                  <c:v>40793</c:v>
                </c:pt>
                <c:pt idx="1625">
                  <c:v>40794</c:v>
                </c:pt>
                <c:pt idx="1626">
                  <c:v>40795</c:v>
                </c:pt>
                <c:pt idx="1627">
                  <c:v>40799</c:v>
                </c:pt>
                <c:pt idx="1628">
                  <c:v>40800</c:v>
                </c:pt>
                <c:pt idx="1629">
                  <c:v>40801</c:v>
                </c:pt>
                <c:pt idx="1630">
                  <c:v>40802</c:v>
                </c:pt>
                <c:pt idx="1631">
                  <c:v>40805</c:v>
                </c:pt>
                <c:pt idx="1632">
                  <c:v>40806</c:v>
                </c:pt>
                <c:pt idx="1633">
                  <c:v>40807</c:v>
                </c:pt>
                <c:pt idx="1634">
                  <c:v>40808</c:v>
                </c:pt>
                <c:pt idx="1635">
                  <c:v>40809</c:v>
                </c:pt>
                <c:pt idx="1636">
                  <c:v>40812</c:v>
                </c:pt>
                <c:pt idx="1637">
                  <c:v>40813</c:v>
                </c:pt>
                <c:pt idx="1638">
                  <c:v>40814</c:v>
                </c:pt>
                <c:pt idx="1639">
                  <c:v>40815</c:v>
                </c:pt>
                <c:pt idx="1640">
                  <c:v>40816</c:v>
                </c:pt>
                <c:pt idx="1641">
                  <c:v>40826</c:v>
                </c:pt>
                <c:pt idx="1642">
                  <c:v>40827</c:v>
                </c:pt>
                <c:pt idx="1643">
                  <c:v>40828</c:v>
                </c:pt>
                <c:pt idx="1644">
                  <c:v>40829</c:v>
                </c:pt>
                <c:pt idx="1645">
                  <c:v>40830</c:v>
                </c:pt>
                <c:pt idx="1646">
                  <c:v>40833</c:v>
                </c:pt>
                <c:pt idx="1647">
                  <c:v>40834</c:v>
                </c:pt>
                <c:pt idx="1648">
                  <c:v>40835</c:v>
                </c:pt>
                <c:pt idx="1649">
                  <c:v>40836</c:v>
                </c:pt>
                <c:pt idx="1650">
                  <c:v>40837</c:v>
                </c:pt>
                <c:pt idx="1651">
                  <c:v>40840</c:v>
                </c:pt>
                <c:pt idx="1652">
                  <c:v>40841</c:v>
                </c:pt>
                <c:pt idx="1653">
                  <c:v>40842</c:v>
                </c:pt>
                <c:pt idx="1654">
                  <c:v>40843</c:v>
                </c:pt>
                <c:pt idx="1655">
                  <c:v>40844</c:v>
                </c:pt>
                <c:pt idx="1656">
                  <c:v>40847</c:v>
                </c:pt>
                <c:pt idx="1657">
                  <c:v>40848</c:v>
                </c:pt>
                <c:pt idx="1658">
                  <c:v>40849</c:v>
                </c:pt>
                <c:pt idx="1659">
                  <c:v>40850</c:v>
                </c:pt>
                <c:pt idx="1660">
                  <c:v>40851</c:v>
                </c:pt>
                <c:pt idx="1661">
                  <c:v>40854</c:v>
                </c:pt>
                <c:pt idx="1662">
                  <c:v>40855</c:v>
                </c:pt>
                <c:pt idx="1663">
                  <c:v>40856</c:v>
                </c:pt>
                <c:pt idx="1664">
                  <c:v>40857</c:v>
                </c:pt>
                <c:pt idx="1665">
                  <c:v>40858</c:v>
                </c:pt>
                <c:pt idx="1666">
                  <c:v>40861</c:v>
                </c:pt>
                <c:pt idx="1667">
                  <c:v>40862</c:v>
                </c:pt>
                <c:pt idx="1668">
                  <c:v>40863</c:v>
                </c:pt>
                <c:pt idx="1669">
                  <c:v>40864</c:v>
                </c:pt>
                <c:pt idx="1670">
                  <c:v>40865</c:v>
                </c:pt>
                <c:pt idx="1671">
                  <c:v>40868</c:v>
                </c:pt>
                <c:pt idx="1672">
                  <c:v>40869</c:v>
                </c:pt>
                <c:pt idx="1673">
                  <c:v>40870</c:v>
                </c:pt>
                <c:pt idx="1674">
                  <c:v>40871</c:v>
                </c:pt>
                <c:pt idx="1675">
                  <c:v>40872</c:v>
                </c:pt>
                <c:pt idx="1676">
                  <c:v>40875</c:v>
                </c:pt>
                <c:pt idx="1677">
                  <c:v>40876</c:v>
                </c:pt>
                <c:pt idx="1678">
                  <c:v>40877</c:v>
                </c:pt>
                <c:pt idx="1679">
                  <c:v>40878</c:v>
                </c:pt>
                <c:pt idx="1680">
                  <c:v>40879</c:v>
                </c:pt>
                <c:pt idx="1681">
                  <c:v>40882</c:v>
                </c:pt>
                <c:pt idx="1682">
                  <c:v>40883</c:v>
                </c:pt>
                <c:pt idx="1683">
                  <c:v>40884</c:v>
                </c:pt>
                <c:pt idx="1684">
                  <c:v>40885</c:v>
                </c:pt>
                <c:pt idx="1685">
                  <c:v>40886</c:v>
                </c:pt>
                <c:pt idx="1686">
                  <c:v>40889</c:v>
                </c:pt>
                <c:pt idx="1687">
                  <c:v>40890</c:v>
                </c:pt>
                <c:pt idx="1688">
                  <c:v>40891</c:v>
                </c:pt>
                <c:pt idx="1689">
                  <c:v>40892</c:v>
                </c:pt>
                <c:pt idx="1690">
                  <c:v>40893</c:v>
                </c:pt>
                <c:pt idx="1691">
                  <c:v>40896</c:v>
                </c:pt>
                <c:pt idx="1692">
                  <c:v>40897</c:v>
                </c:pt>
                <c:pt idx="1693">
                  <c:v>40898</c:v>
                </c:pt>
                <c:pt idx="1694">
                  <c:v>40899</c:v>
                </c:pt>
                <c:pt idx="1695">
                  <c:v>40900</c:v>
                </c:pt>
                <c:pt idx="1696">
                  <c:v>40903</c:v>
                </c:pt>
                <c:pt idx="1697">
                  <c:v>40904</c:v>
                </c:pt>
                <c:pt idx="1698">
                  <c:v>40905</c:v>
                </c:pt>
                <c:pt idx="1699">
                  <c:v>40906</c:v>
                </c:pt>
                <c:pt idx="1700">
                  <c:v>40907</c:v>
                </c:pt>
                <c:pt idx="1701">
                  <c:v>40912</c:v>
                </c:pt>
                <c:pt idx="1702">
                  <c:v>40913</c:v>
                </c:pt>
                <c:pt idx="1703">
                  <c:v>40914</c:v>
                </c:pt>
                <c:pt idx="1704">
                  <c:v>40917</c:v>
                </c:pt>
                <c:pt idx="1705">
                  <c:v>40918</c:v>
                </c:pt>
                <c:pt idx="1706">
                  <c:v>40919</c:v>
                </c:pt>
                <c:pt idx="1707">
                  <c:v>40920</c:v>
                </c:pt>
                <c:pt idx="1708">
                  <c:v>40921</c:v>
                </c:pt>
                <c:pt idx="1709">
                  <c:v>40924</c:v>
                </c:pt>
                <c:pt idx="1710">
                  <c:v>40925</c:v>
                </c:pt>
                <c:pt idx="1711">
                  <c:v>40926</c:v>
                </c:pt>
                <c:pt idx="1712">
                  <c:v>40927</c:v>
                </c:pt>
                <c:pt idx="1713">
                  <c:v>40928</c:v>
                </c:pt>
                <c:pt idx="1714">
                  <c:v>40938</c:v>
                </c:pt>
                <c:pt idx="1715">
                  <c:v>40939</c:v>
                </c:pt>
                <c:pt idx="1716">
                  <c:v>40940</c:v>
                </c:pt>
                <c:pt idx="1717">
                  <c:v>40941</c:v>
                </c:pt>
                <c:pt idx="1718">
                  <c:v>40942</c:v>
                </c:pt>
                <c:pt idx="1719">
                  <c:v>40945</c:v>
                </c:pt>
                <c:pt idx="1720">
                  <c:v>40946</c:v>
                </c:pt>
                <c:pt idx="1721">
                  <c:v>40947</c:v>
                </c:pt>
                <c:pt idx="1722">
                  <c:v>40948</c:v>
                </c:pt>
                <c:pt idx="1723">
                  <c:v>40949</c:v>
                </c:pt>
                <c:pt idx="1724">
                  <c:v>40952</c:v>
                </c:pt>
                <c:pt idx="1725">
                  <c:v>40953</c:v>
                </c:pt>
                <c:pt idx="1726">
                  <c:v>40954</c:v>
                </c:pt>
                <c:pt idx="1727">
                  <c:v>40955</c:v>
                </c:pt>
                <c:pt idx="1728">
                  <c:v>40956</c:v>
                </c:pt>
                <c:pt idx="1729">
                  <c:v>40959</c:v>
                </c:pt>
                <c:pt idx="1730">
                  <c:v>40960</c:v>
                </c:pt>
                <c:pt idx="1731">
                  <c:v>40961</c:v>
                </c:pt>
                <c:pt idx="1732">
                  <c:v>40962</c:v>
                </c:pt>
                <c:pt idx="1733">
                  <c:v>40963</c:v>
                </c:pt>
                <c:pt idx="1734">
                  <c:v>40966</c:v>
                </c:pt>
                <c:pt idx="1735">
                  <c:v>40967</c:v>
                </c:pt>
                <c:pt idx="1736">
                  <c:v>40968</c:v>
                </c:pt>
                <c:pt idx="1737">
                  <c:v>40969</c:v>
                </c:pt>
                <c:pt idx="1738">
                  <c:v>40970</c:v>
                </c:pt>
                <c:pt idx="1739">
                  <c:v>40973</c:v>
                </c:pt>
                <c:pt idx="1740">
                  <c:v>40974</c:v>
                </c:pt>
                <c:pt idx="1741">
                  <c:v>40975</c:v>
                </c:pt>
                <c:pt idx="1742">
                  <c:v>40976</c:v>
                </c:pt>
                <c:pt idx="1743">
                  <c:v>40977</c:v>
                </c:pt>
                <c:pt idx="1744">
                  <c:v>40980</c:v>
                </c:pt>
                <c:pt idx="1745">
                  <c:v>40981</c:v>
                </c:pt>
                <c:pt idx="1746">
                  <c:v>40982</c:v>
                </c:pt>
                <c:pt idx="1747">
                  <c:v>40983</c:v>
                </c:pt>
                <c:pt idx="1748">
                  <c:v>40984</c:v>
                </c:pt>
                <c:pt idx="1749">
                  <c:v>40987</c:v>
                </c:pt>
                <c:pt idx="1750">
                  <c:v>40988</c:v>
                </c:pt>
                <c:pt idx="1751">
                  <c:v>40989</c:v>
                </c:pt>
                <c:pt idx="1752">
                  <c:v>40990</c:v>
                </c:pt>
                <c:pt idx="1753">
                  <c:v>40991</c:v>
                </c:pt>
                <c:pt idx="1754">
                  <c:v>40994</c:v>
                </c:pt>
                <c:pt idx="1755">
                  <c:v>40995</c:v>
                </c:pt>
                <c:pt idx="1756">
                  <c:v>40996</c:v>
                </c:pt>
                <c:pt idx="1757">
                  <c:v>40997</c:v>
                </c:pt>
                <c:pt idx="1758">
                  <c:v>40998</c:v>
                </c:pt>
                <c:pt idx="1759">
                  <c:v>41004</c:v>
                </c:pt>
                <c:pt idx="1760">
                  <c:v>41005</c:v>
                </c:pt>
                <c:pt idx="1761">
                  <c:v>41008</c:v>
                </c:pt>
                <c:pt idx="1762">
                  <c:v>41009</c:v>
                </c:pt>
                <c:pt idx="1763">
                  <c:v>41010</c:v>
                </c:pt>
                <c:pt idx="1764">
                  <c:v>41011</c:v>
                </c:pt>
                <c:pt idx="1765">
                  <c:v>41012</c:v>
                </c:pt>
                <c:pt idx="1766">
                  <c:v>41015</c:v>
                </c:pt>
                <c:pt idx="1767">
                  <c:v>41016</c:v>
                </c:pt>
                <c:pt idx="1768">
                  <c:v>41017</c:v>
                </c:pt>
                <c:pt idx="1769">
                  <c:v>41018</c:v>
                </c:pt>
                <c:pt idx="1770">
                  <c:v>41019</c:v>
                </c:pt>
                <c:pt idx="1771">
                  <c:v>41022</c:v>
                </c:pt>
                <c:pt idx="1772">
                  <c:v>41023</c:v>
                </c:pt>
                <c:pt idx="1773">
                  <c:v>41024</c:v>
                </c:pt>
                <c:pt idx="1774">
                  <c:v>41025</c:v>
                </c:pt>
                <c:pt idx="1775">
                  <c:v>41026</c:v>
                </c:pt>
                <c:pt idx="1776">
                  <c:v>41031</c:v>
                </c:pt>
                <c:pt idx="1777">
                  <c:v>41032</c:v>
                </c:pt>
                <c:pt idx="1778">
                  <c:v>41033</c:v>
                </c:pt>
                <c:pt idx="1779">
                  <c:v>41036</c:v>
                </c:pt>
                <c:pt idx="1780">
                  <c:v>41037</c:v>
                </c:pt>
                <c:pt idx="1781">
                  <c:v>41038</c:v>
                </c:pt>
                <c:pt idx="1782">
                  <c:v>41039</c:v>
                </c:pt>
                <c:pt idx="1783">
                  <c:v>41040</c:v>
                </c:pt>
                <c:pt idx="1784">
                  <c:v>41043</c:v>
                </c:pt>
                <c:pt idx="1785">
                  <c:v>41044</c:v>
                </c:pt>
                <c:pt idx="1786">
                  <c:v>41045</c:v>
                </c:pt>
                <c:pt idx="1787">
                  <c:v>41046</c:v>
                </c:pt>
                <c:pt idx="1788">
                  <c:v>41047</c:v>
                </c:pt>
                <c:pt idx="1789">
                  <c:v>41050</c:v>
                </c:pt>
                <c:pt idx="1790">
                  <c:v>41051</c:v>
                </c:pt>
                <c:pt idx="1791">
                  <c:v>41052</c:v>
                </c:pt>
                <c:pt idx="1792">
                  <c:v>41053</c:v>
                </c:pt>
                <c:pt idx="1793">
                  <c:v>41054</c:v>
                </c:pt>
                <c:pt idx="1794">
                  <c:v>41057</c:v>
                </c:pt>
                <c:pt idx="1795">
                  <c:v>41058</c:v>
                </c:pt>
                <c:pt idx="1796">
                  <c:v>41059</c:v>
                </c:pt>
                <c:pt idx="1797">
                  <c:v>41060</c:v>
                </c:pt>
                <c:pt idx="1798">
                  <c:v>41061</c:v>
                </c:pt>
                <c:pt idx="1799">
                  <c:v>41064</c:v>
                </c:pt>
                <c:pt idx="1800">
                  <c:v>41065</c:v>
                </c:pt>
                <c:pt idx="1801">
                  <c:v>41066</c:v>
                </c:pt>
                <c:pt idx="1802">
                  <c:v>41067</c:v>
                </c:pt>
                <c:pt idx="1803">
                  <c:v>41068</c:v>
                </c:pt>
                <c:pt idx="1804">
                  <c:v>41071</c:v>
                </c:pt>
                <c:pt idx="1805">
                  <c:v>41072</c:v>
                </c:pt>
                <c:pt idx="1806">
                  <c:v>41073</c:v>
                </c:pt>
                <c:pt idx="1807">
                  <c:v>41074</c:v>
                </c:pt>
                <c:pt idx="1808">
                  <c:v>41075</c:v>
                </c:pt>
                <c:pt idx="1809">
                  <c:v>41078</c:v>
                </c:pt>
                <c:pt idx="1810">
                  <c:v>41079</c:v>
                </c:pt>
                <c:pt idx="1811">
                  <c:v>41080</c:v>
                </c:pt>
                <c:pt idx="1812">
                  <c:v>41081</c:v>
                </c:pt>
                <c:pt idx="1813">
                  <c:v>41085</c:v>
                </c:pt>
                <c:pt idx="1814">
                  <c:v>41086</c:v>
                </c:pt>
                <c:pt idx="1815">
                  <c:v>41087</c:v>
                </c:pt>
                <c:pt idx="1816">
                  <c:v>41088</c:v>
                </c:pt>
                <c:pt idx="1817">
                  <c:v>41089</c:v>
                </c:pt>
                <c:pt idx="1818">
                  <c:v>41092</c:v>
                </c:pt>
                <c:pt idx="1819">
                  <c:v>41093</c:v>
                </c:pt>
                <c:pt idx="1820">
                  <c:v>41094</c:v>
                </c:pt>
                <c:pt idx="1821">
                  <c:v>41095</c:v>
                </c:pt>
                <c:pt idx="1822">
                  <c:v>41096</c:v>
                </c:pt>
                <c:pt idx="1823">
                  <c:v>41099</c:v>
                </c:pt>
                <c:pt idx="1824">
                  <c:v>41100</c:v>
                </c:pt>
                <c:pt idx="1825">
                  <c:v>41101</c:v>
                </c:pt>
                <c:pt idx="1826">
                  <c:v>41102</c:v>
                </c:pt>
                <c:pt idx="1827">
                  <c:v>41103</c:v>
                </c:pt>
                <c:pt idx="1828">
                  <c:v>41106</c:v>
                </c:pt>
                <c:pt idx="1829">
                  <c:v>41107</c:v>
                </c:pt>
                <c:pt idx="1830">
                  <c:v>41108</c:v>
                </c:pt>
                <c:pt idx="1831">
                  <c:v>41109</c:v>
                </c:pt>
                <c:pt idx="1832">
                  <c:v>41110</c:v>
                </c:pt>
                <c:pt idx="1833">
                  <c:v>41113</c:v>
                </c:pt>
                <c:pt idx="1834">
                  <c:v>41114</c:v>
                </c:pt>
                <c:pt idx="1835">
                  <c:v>41115</c:v>
                </c:pt>
                <c:pt idx="1836">
                  <c:v>41116</c:v>
                </c:pt>
                <c:pt idx="1837">
                  <c:v>41117</c:v>
                </c:pt>
                <c:pt idx="1838">
                  <c:v>41120</c:v>
                </c:pt>
                <c:pt idx="1839">
                  <c:v>41121</c:v>
                </c:pt>
                <c:pt idx="1840">
                  <c:v>41122</c:v>
                </c:pt>
                <c:pt idx="1841">
                  <c:v>41123</c:v>
                </c:pt>
                <c:pt idx="1842">
                  <c:v>41124</c:v>
                </c:pt>
                <c:pt idx="1843">
                  <c:v>41127</c:v>
                </c:pt>
                <c:pt idx="1844">
                  <c:v>41128</c:v>
                </c:pt>
                <c:pt idx="1845">
                  <c:v>41129</c:v>
                </c:pt>
                <c:pt idx="1846">
                  <c:v>41130</c:v>
                </c:pt>
                <c:pt idx="1847">
                  <c:v>41131</c:v>
                </c:pt>
                <c:pt idx="1848">
                  <c:v>41134</c:v>
                </c:pt>
                <c:pt idx="1849">
                  <c:v>41135</c:v>
                </c:pt>
                <c:pt idx="1850">
                  <c:v>41136</c:v>
                </c:pt>
                <c:pt idx="1851">
                  <c:v>41137</c:v>
                </c:pt>
                <c:pt idx="1852">
                  <c:v>41138</c:v>
                </c:pt>
                <c:pt idx="1853">
                  <c:v>41141</c:v>
                </c:pt>
                <c:pt idx="1854">
                  <c:v>41142</c:v>
                </c:pt>
                <c:pt idx="1855">
                  <c:v>41143</c:v>
                </c:pt>
                <c:pt idx="1856">
                  <c:v>41144</c:v>
                </c:pt>
                <c:pt idx="1857">
                  <c:v>41145</c:v>
                </c:pt>
                <c:pt idx="1858">
                  <c:v>41148</c:v>
                </c:pt>
                <c:pt idx="1859">
                  <c:v>41149</c:v>
                </c:pt>
                <c:pt idx="1860">
                  <c:v>41150</c:v>
                </c:pt>
                <c:pt idx="1861">
                  <c:v>41151</c:v>
                </c:pt>
                <c:pt idx="1862">
                  <c:v>41152</c:v>
                </c:pt>
                <c:pt idx="1863">
                  <c:v>41155</c:v>
                </c:pt>
                <c:pt idx="1864">
                  <c:v>41156</c:v>
                </c:pt>
                <c:pt idx="1865">
                  <c:v>41157</c:v>
                </c:pt>
                <c:pt idx="1866">
                  <c:v>41158</c:v>
                </c:pt>
                <c:pt idx="1867">
                  <c:v>41159</c:v>
                </c:pt>
                <c:pt idx="1868">
                  <c:v>41162</c:v>
                </c:pt>
                <c:pt idx="1869">
                  <c:v>41163</c:v>
                </c:pt>
                <c:pt idx="1870">
                  <c:v>41164</c:v>
                </c:pt>
                <c:pt idx="1871">
                  <c:v>41165</c:v>
                </c:pt>
                <c:pt idx="1872">
                  <c:v>41166</c:v>
                </c:pt>
                <c:pt idx="1873">
                  <c:v>41169</c:v>
                </c:pt>
                <c:pt idx="1874">
                  <c:v>41170</c:v>
                </c:pt>
                <c:pt idx="1875">
                  <c:v>41171</c:v>
                </c:pt>
                <c:pt idx="1876">
                  <c:v>41172</c:v>
                </c:pt>
                <c:pt idx="1877">
                  <c:v>41173</c:v>
                </c:pt>
                <c:pt idx="1878">
                  <c:v>41176</c:v>
                </c:pt>
                <c:pt idx="1879">
                  <c:v>41177</c:v>
                </c:pt>
                <c:pt idx="1880">
                  <c:v>41178</c:v>
                </c:pt>
                <c:pt idx="1881">
                  <c:v>41179</c:v>
                </c:pt>
                <c:pt idx="1882">
                  <c:v>41180</c:v>
                </c:pt>
                <c:pt idx="1883">
                  <c:v>41190</c:v>
                </c:pt>
                <c:pt idx="1884">
                  <c:v>41191</c:v>
                </c:pt>
                <c:pt idx="1885">
                  <c:v>41192</c:v>
                </c:pt>
                <c:pt idx="1886">
                  <c:v>41193</c:v>
                </c:pt>
                <c:pt idx="1887">
                  <c:v>41194</c:v>
                </c:pt>
                <c:pt idx="1888">
                  <c:v>41197</c:v>
                </c:pt>
                <c:pt idx="1889">
                  <c:v>41198</c:v>
                </c:pt>
                <c:pt idx="1890">
                  <c:v>41199</c:v>
                </c:pt>
                <c:pt idx="1891">
                  <c:v>41200</c:v>
                </c:pt>
                <c:pt idx="1892">
                  <c:v>41201</c:v>
                </c:pt>
                <c:pt idx="1893">
                  <c:v>41204</c:v>
                </c:pt>
                <c:pt idx="1894">
                  <c:v>41205</c:v>
                </c:pt>
                <c:pt idx="1895">
                  <c:v>41206</c:v>
                </c:pt>
                <c:pt idx="1896">
                  <c:v>41207</c:v>
                </c:pt>
                <c:pt idx="1897">
                  <c:v>41208</c:v>
                </c:pt>
                <c:pt idx="1898">
                  <c:v>41211</c:v>
                </c:pt>
                <c:pt idx="1899">
                  <c:v>41212</c:v>
                </c:pt>
                <c:pt idx="1900">
                  <c:v>41213</c:v>
                </c:pt>
                <c:pt idx="1901">
                  <c:v>41214</c:v>
                </c:pt>
                <c:pt idx="1902">
                  <c:v>41215</c:v>
                </c:pt>
                <c:pt idx="1903">
                  <c:v>41218</c:v>
                </c:pt>
                <c:pt idx="1904">
                  <c:v>41219</c:v>
                </c:pt>
                <c:pt idx="1905">
                  <c:v>41220</c:v>
                </c:pt>
                <c:pt idx="1906">
                  <c:v>41221</c:v>
                </c:pt>
                <c:pt idx="1907">
                  <c:v>41222</c:v>
                </c:pt>
                <c:pt idx="1908">
                  <c:v>41225</c:v>
                </c:pt>
                <c:pt idx="1909">
                  <c:v>41226</c:v>
                </c:pt>
                <c:pt idx="1910">
                  <c:v>41227</c:v>
                </c:pt>
                <c:pt idx="1911">
                  <c:v>41228</c:v>
                </c:pt>
                <c:pt idx="1912">
                  <c:v>41229</c:v>
                </c:pt>
                <c:pt idx="1913">
                  <c:v>41232</c:v>
                </c:pt>
                <c:pt idx="1914">
                  <c:v>41233</c:v>
                </c:pt>
                <c:pt idx="1915">
                  <c:v>41234</c:v>
                </c:pt>
                <c:pt idx="1916">
                  <c:v>41235</c:v>
                </c:pt>
                <c:pt idx="1917">
                  <c:v>41236</c:v>
                </c:pt>
                <c:pt idx="1918">
                  <c:v>41239</c:v>
                </c:pt>
                <c:pt idx="1919">
                  <c:v>41240</c:v>
                </c:pt>
                <c:pt idx="1920">
                  <c:v>41241</c:v>
                </c:pt>
                <c:pt idx="1921">
                  <c:v>41242</c:v>
                </c:pt>
                <c:pt idx="1922">
                  <c:v>41243</c:v>
                </c:pt>
                <c:pt idx="1923">
                  <c:v>41246</c:v>
                </c:pt>
                <c:pt idx="1924">
                  <c:v>41247</c:v>
                </c:pt>
                <c:pt idx="1925">
                  <c:v>41248</c:v>
                </c:pt>
                <c:pt idx="1926">
                  <c:v>41249</c:v>
                </c:pt>
                <c:pt idx="1927">
                  <c:v>41250</c:v>
                </c:pt>
                <c:pt idx="1928">
                  <c:v>41253</c:v>
                </c:pt>
                <c:pt idx="1929">
                  <c:v>41254</c:v>
                </c:pt>
                <c:pt idx="1930">
                  <c:v>41255</c:v>
                </c:pt>
                <c:pt idx="1931">
                  <c:v>41256</c:v>
                </c:pt>
                <c:pt idx="1932">
                  <c:v>41257</c:v>
                </c:pt>
                <c:pt idx="1933">
                  <c:v>41260</c:v>
                </c:pt>
                <c:pt idx="1934">
                  <c:v>41261</c:v>
                </c:pt>
                <c:pt idx="1935">
                  <c:v>41262</c:v>
                </c:pt>
                <c:pt idx="1936">
                  <c:v>41263</c:v>
                </c:pt>
                <c:pt idx="1937">
                  <c:v>41264</c:v>
                </c:pt>
                <c:pt idx="1938">
                  <c:v>41267</c:v>
                </c:pt>
                <c:pt idx="1939">
                  <c:v>41268</c:v>
                </c:pt>
                <c:pt idx="1940">
                  <c:v>41269</c:v>
                </c:pt>
                <c:pt idx="1941">
                  <c:v>41270</c:v>
                </c:pt>
                <c:pt idx="1942">
                  <c:v>41271</c:v>
                </c:pt>
                <c:pt idx="1943">
                  <c:v>41274</c:v>
                </c:pt>
                <c:pt idx="1944">
                  <c:v>41278</c:v>
                </c:pt>
                <c:pt idx="1945">
                  <c:v>41281</c:v>
                </c:pt>
                <c:pt idx="1946">
                  <c:v>41282</c:v>
                </c:pt>
                <c:pt idx="1947">
                  <c:v>41283</c:v>
                </c:pt>
                <c:pt idx="1948">
                  <c:v>41284</c:v>
                </c:pt>
                <c:pt idx="1949">
                  <c:v>41285</c:v>
                </c:pt>
                <c:pt idx="1950">
                  <c:v>41288</c:v>
                </c:pt>
                <c:pt idx="1951">
                  <c:v>41289</c:v>
                </c:pt>
                <c:pt idx="1952">
                  <c:v>41290</c:v>
                </c:pt>
                <c:pt idx="1953">
                  <c:v>41291</c:v>
                </c:pt>
                <c:pt idx="1954">
                  <c:v>41292</c:v>
                </c:pt>
                <c:pt idx="1955">
                  <c:v>41295</c:v>
                </c:pt>
                <c:pt idx="1956">
                  <c:v>41296</c:v>
                </c:pt>
                <c:pt idx="1957">
                  <c:v>41297</c:v>
                </c:pt>
                <c:pt idx="1958">
                  <c:v>41298</c:v>
                </c:pt>
                <c:pt idx="1959">
                  <c:v>41299</c:v>
                </c:pt>
                <c:pt idx="1960">
                  <c:v>41302</c:v>
                </c:pt>
                <c:pt idx="1961">
                  <c:v>41303</c:v>
                </c:pt>
                <c:pt idx="1962">
                  <c:v>41304</c:v>
                </c:pt>
                <c:pt idx="1963">
                  <c:v>41305</c:v>
                </c:pt>
                <c:pt idx="1964">
                  <c:v>41306</c:v>
                </c:pt>
                <c:pt idx="1965">
                  <c:v>41309</c:v>
                </c:pt>
                <c:pt idx="1966">
                  <c:v>41310</c:v>
                </c:pt>
                <c:pt idx="1967">
                  <c:v>41311</c:v>
                </c:pt>
                <c:pt idx="1968">
                  <c:v>41312</c:v>
                </c:pt>
                <c:pt idx="1969">
                  <c:v>41313</c:v>
                </c:pt>
                <c:pt idx="1970">
                  <c:v>41323</c:v>
                </c:pt>
                <c:pt idx="1971">
                  <c:v>41324</c:v>
                </c:pt>
                <c:pt idx="1972">
                  <c:v>41325</c:v>
                </c:pt>
                <c:pt idx="1973">
                  <c:v>41326</c:v>
                </c:pt>
                <c:pt idx="1974">
                  <c:v>41327</c:v>
                </c:pt>
                <c:pt idx="1975">
                  <c:v>41330</c:v>
                </c:pt>
                <c:pt idx="1976">
                  <c:v>41331</c:v>
                </c:pt>
                <c:pt idx="1977">
                  <c:v>41332</c:v>
                </c:pt>
                <c:pt idx="1978">
                  <c:v>41333</c:v>
                </c:pt>
                <c:pt idx="1979">
                  <c:v>41334</c:v>
                </c:pt>
                <c:pt idx="1980">
                  <c:v>41337</c:v>
                </c:pt>
                <c:pt idx="1981">
                  <c:v>41338</c:v>
                </c:pt>
                <c:pt idx="1982">
                  <c:v>41339</c:v>
                </c:pt>
                <c:pt idx="1983">
                  <c:v>41340</c:v>
                </c:pt>
                <c:pt idx="1984">
                  <c:v>41341</c:v>
                </c:pt>
                <c:pt idx="1985">
                  <c:v>41344</c:v>
                </c:pt>
                <c:pt idx="1986">
                  <c:v>41345</c:v>
                </c:pt>
                <c:pt idx="1987">
                  <c:v>41346</c:v>
                </c:pt>
                <c:pt idx="1988">
                  <c:v>41347</c:v>
                </c:pt>
                <c:pt idx="1989">
                  <c:v>41348</c:v>
                </c:pt>
                <c:pt idx="1990">
                  <c:v>41351</c:v>
                </c:pt>
                <c:pt idx="1991">
                  <c:v>41352</c:v>
                </c:pt>
                <c:pt idx="1992">
                  <c:v>41353</c:v>
                </c:pt>
                <c:pt idx="1993">
                  <c:v>41354</c:v>
                </c:pt>
                <c:pt idx="1994">
                  <c:v>41355</c:v>
                </c:pt>
                <c:pt idx="1995">
                  <c:v>41358</c:v>
                </c:pt>
                <c:pt idx="1996">
                  <c:v>41359</c:v>
                </c:pt>
                <c:pt idx="1997">
                  <c:v>41360</c:v>
                </c:pt>
                <c:pt idx="1998">
                  <c:v>41361</c:v>
                </c:pt>
                <c:pt idx="1999">
                  <c:v>41362</c:v>
                </c:pt>
                <c:pt idx="2000">
                  <c:v>41365</c:v>
                </c:pt>
                <c:pt idx="2001">
                  <c:v>41366</c:v>
                </c:pt>
                <c:pt idx="2002">
                  <c:v>41367</c:v>
                </c:pt>
                <c:pt idx="2003">
                  <c:v>41372</c:v>
                </c:pt>
                <c:pt idx="2004">
                  <c:v>41373</c:v>
                </c:pt>
                <c:pt idx="2005">
                  <c:v>41374</c:v>
                </c:pt>
                <c:pt idx="2006">
                  <c:v>41375</c:v>
                </c:pt>
                <c:pt idx="2007">
                  <c:v>41376</c:v>
                </c:pt>
                <c:pt idx="2008">
                  <c:v>41379</c:v>
                </c:pt>
                <c:pt idx="2009">
                  <c:v>41380</c:v>
                </c:pt>
                <c:pt idx="2010">
                  <c:v>41381</c:v>
                </c:pt>
                <c:pt idx="2011">
                  <c:v>41382</c:v>
                </c:pt>
                <c:pt idx="2012">
                  <c:v>41383</c:v>
                </c:pt>
                <c:pt idx="2013">
                  <c:v>41386</c:v>
                </c:pt>
                <c:pt idx="2014">
                  <c:v>41387</c:v>
                </c:pt>
                <c:pt idx="2015">
                  <c:v>41388</c:v>
                </c:pt>
                <c:pt idx="2016">
                  <c:v>41389</c:v>
                </c:pt>
                <c:pt idx="2017">
                  <c:v>41390</c:v>
                </c:pt>
                <c:pt idx="2018">
                  <c:v>41396</c:v>
                </c:pt>
                <c:pt idx="2019">
                  <c:v>41397</c:v>
                </c:pt>
                <c:pt idx="2020">
                  <c:v>41400</c:v>
                </c:pt>
                <c:pt idx="2021">
                  <c:v>41401</c:v>
                </c:pt>
                <c:pt idx="2022">
                  <c:v>41402</c:v>
                </c:pt>
                <c:pt idx="2023">
                  <c:v>41403</c:v>
                </c:pt>
                <c:pt idx="2024">
                  <c:v>41404</c:v>
                </c:pt>
                <c:pt idx="2025">
                  <c:v>41407</c:v>
                </c:pt>
                <c:pt idx="2026">
                  <c:v>41408</c:v>
                </c:pt>
                <c:pt idx="2027">
                  <c:v>41409</c:v>
                </c:pt>
                <c:pt idx="2028">
                  <c:v>41410</c:v>
                </c:pt>
                <c:pt idx="2029">
                  <c:v>41411</c:v>
                </c:pt>
                <c:pt idx="2030">
                  <c:v>41414</c:v>
                </c:pt>
                <c:pt idx="2031">
                  <c:v>41415</c:v>
                </c:pt>
                <c:pt idx="2032">
                  <c:v>41416</c:v>
                </c:pt>
                <c:pt idx="2033">
                  <c:v>41417</c:v>
                </c:pt>
                <c:pt idx="2034">
                  <c:v>41418</c:v>
                </c:pt>
                <c:pt idx="2035">
                  <c:v>41421</c:v>
                </c:pt>
                <c:pt idx="2036">
                  <c:v>41422</c:v>
                </c:pt>
                <c:pt idx="2037">
                  <c:v>41423</c:v>
                </c:pt>
                <c:pt idx="2038">
                  <c:v>41424</c:v>
                </c:pt>
                <c:pt idx="2039">
                  <c:v>41425</c:v>
                </c:pt>
                <c:pt idx="2040">
                  <c:v>41428</c:v>
                </c:pt>
                <c:pt idx="2041">
                  <c:v>41429</c:v>
                </c:pt>
                <c:pt idx="2042">
                  <c:v>41430</c:v>
                </c:pt>
                <c:pt idx="2043">
                  <c:v>41431</c:v>
                </c:pt>
                <c:pt idx="2044">
                  <c:v>41432</c:v>
                </c:pt>
                <c:pt idx="2045">
                  <c:v>41438</c:v>
                </c:pt>
                <c:pt idx="2046">
                  <c:v>41439</c:v>
                </c:pt>
                <c:pt idx="2047">
                  <c:v>41442</c:v>
                </c:pt>
                <c:pt idx="2048">
                  <c:v>41443</c:v>
                </c:pt>
                <c:pt idx="2049">
                  <c:v>41444</c:v>
                </c:pt>
                <c:pt idx="2050">
                  <c:v>41445</c:v>
                </c:pt>
                <c:pt idx="2051">
                  <c:v>41446</c:v>
                </c:pt>
                <c:pt idx="2052">
                  <c:v>41449</c:v>
                </c:pt>
                <c:pt idx="2053">
                  <c:v>41450</c:v>
                </c:pt>
                <c:pt idx="2054">
                  <c:v>41451</c:v>
                </c:pt>
                <c:pt idx="2055">
                  <c:v>41452</c:v>
                </c:pt>
                <c:pt idx="2056">
                  <c:v>41453</c:v>
                </c:pt>
                <c:pt idx="2057">
                  <c:v>41456</c:v>
                </c:pt>
                <c:pt idx="2058">
                  <c:v>41457</c:v>
                </c:pt>
                <c:pt idx="2059">
                  <c:v>41458</c:v>
                </c:pt>
                <c:pt idx="2060">
                  <c:v>41459</c:v>
                </c:pt>
                <c:pt idx="2061">
                  <c:v>41460</c:v>
                </c:pt>
                <c:pt idx="2062">
                  <c:v>41463</c:v>
                </c:pt>
                <c:pt idx="2063">
                  <c:v>41464</c:v>
                </c:pt>
                <c:pt idx="2064">
                  <c:v>41465</c:v>
                </c:pt>
                <c:pt idx="2065">
                  <c:v>41466</c:v>
                </c:pt>
                <c:pt idx="2066">
                  <c:v>41467</c:v>
                </c:pt>
                <c:pt idx="2067">
                  <c:v>41470</c:v>
                </c:pt>
                <c:pt idx="2068">
                  <c:v>41471</c:v>
                </c:pt>
                <c:pt idx="2069">
                  <c:v>41472</c:v>
                </c:pt>
                <c:pt idx="2070">
                  <c:v>41473</c:v>
                </c:pt>
                <c:pt idx="2071">
                  <c:v>41474</c:v>
                </c:pt>
                <c:pt idx="2072">
                  <c:v>41477</c:v>
                </c:pt>
                <c:pt idx="2073">
                  <c:v>41478</c:v>
                </c:pt>
                <c:pt idx="2074">
                  <c:v>41479</c:v>
                </c:pt>
                <c:pt idx="2075">
                  <c:v>41480</c:v>
                </c:pt>
                <c:pt idx="2076">
                  <c:v>41481</c:v>
                </c:pt>
                <c:pt idx="2077">
                  <c:v>41484</c:v>
                </c:pt>
                <c:pt idx="2078">
                  <c:v>41485</c:v>
                </c:pt>
                <c:pt idx="2079">
                  <c:v>41486</c:v>
                </c:pt>
                <c:pt idx="2080">
                  <c:v>41487</c:v>
                </c:pt>
                <c:pt idx="2081">
                  <c:v>41488</c:v>
                </c:pt>
                <c:pt idx="2082">
                  <c:v>41491</c:v>
                </c:pt>
                <c:pt idx="2083">
                  <c:v>41492</c:v>
                </c:pt>
                <c:pt idx="2084">
                  <c:v>41493</c:v>
                </c:pt>
                <c:pt idx="2085">
                  <c:v>41494</c:v>
                </c:pt>
                <c:pt idx="2086">
                  <c:v>41495</c:v>
                </c:pt>
                <c:pt idx="2087">
                  <c:v>41498</c:v>
                </c:pt>
                <c:pt idx="2088">
                  <c:v>41499</c:v>
                </c:pt>
                <c:pt idx="2089">
                  <c:v>41500</c:v>
                </c:pt>
                <c:pt idx="2090">
                  <c:v>41501</c:v>
                </c:pt>
                <c:pt idx="2091">
                  <c:v>41502</c:v>
                </c:pt>
                <c:pt idx="2092">
                  <c:v>41505</c:v>
                </c:pt>
                <c:pt idx="2093">
                  <c:v>41506</c:v>
                </c:pt>
                <c:pt idx="2094">
                  <c:v>41507</c:v>
                </c:pt>
                <c:pt idx="2095">
                  <c:v>41508</c:v>
                </c:pt>
                <c:pt idx="2096">
                  <c:v>41509</c:v>
                </c:pt>
                <c:pt idx="2097">
                  <c:v>41512</c:v>
                </c:pt>
                <c:pt idx="2098">
                  <c:v>41513</c:v>
                </c:pt>
                <c:pt idx="2099">
                  <c:v>41514</c:v>
                </c:pt>
                <c:pt idx="2100">
                  <c:v>41515</c:v>
                </c:pt>
                <c:pt idx="2101">
                  <c:v>41516</c:v>
                </c:pt>
                <c:pt idx="2102">
                  <c:v>41519</c:v>
                </c:pt>
                <c:pt idx="2103">
                  <c:v>41520</c:v>
                </c:pt>
                <c:pt idx="2104">
                  <c:v>41521</c:v>
                </c:pt>
                <c:pt idx="2105">
                  <c:v>41522</c:v>
                </c:pt>
                <c:pt idx="2106">
                  <c:v>41523</c:v>
                </c:pt>
                <c:pt idx="2107">
                  <c:v>41526</c:v>
                </c:pt>
                <c:pt idx="2108">
                  <c:v>41527</c:v>
                </c:pt>
                <c:pt idx="2109">
                  <c:v>41528</c:v>
                </c:pt>
                <c:pt idx="2110">
                  <c:v>41529</c:v>
                </c:pt>
                <c:pt idx="2111">
                  <c:v>41530</c:v>
                </c:pt>
                <c:pt idx="2112">
                  <c:v>41533</c:v>
                </c:pt>
                <c:pt idx="2113">
                  <c:v>41534</c:v>
                </c:pt>
                <c:pt idx="2114">
                  <c:v>41535</c:v>
                </c:pt>
                <c:pt idx="2115">
                  <c:v>41540</c:v>
                </c:pt>
                <c:pt idx="2116">
                  <c:v>41541</c:v>
                </c:pt>
                <c:pt idx="2117">
                  <c:v>41542</c:v>
                </c:pt>
                <c:pt idx="2118">
                  <c:v>41543</c:v>
                </c:pt>
                <c:pt idx="2119">
                  <c:v>41544</c:v>
                </c:pt>
                <c:pt idx="2120">
                  <c:v>41547</c:v>
                </c:pt>
                <c:pt idx="2121">
                  <c:v>41555</c:v>
                </c:pt>
                <c:pt idx="2122">
                  <c:v>41556</c:v>
                </c:pt>
                <c:pt idx="2123">
                  <c:v>41557</c:v>
                </c:pt>
                <c:pt idx="2124">
                  <c:v>41558</c:v>
                </c:pt>
                <c:pt idx="2125">
                  <c:v>41561</c:v>
                </c:pt>
                <c:pt idx="2126">
                  <c:v>41562</c:v>
                </c:pt>
                <c:pt idx="2127">
                  <c:v>41563</c:v>
                </c:pt>
                <c:pt idx="2128">
                  <c:v>41564</c:v>
                </c:pt>
                <c:pt idx="2129">
                  <c:v>41565</c:v>
                </c:pt>
                <c:pt idx="2130">
                  <c:v>41568</c:v>
                </c:pt>
                <c:pt idx="2131">
                  <c:v>41569</c:v>
                </c:pt>
                <c:pt idx="2132">
                  <c:v>41570</c:v>
                </c:pt>
                <c:pt idx="2133">
                  <c:v>41571</c:v>
                </c:pt>
                <c:pt idx="2134">
                  <c:v>41572</c:v>
                </c:pt>
                <c:pt idx="2135">
                  <c:v>41575</c:v>
                </c:pt>
                <c:pt idx="2136">
                  <c:v>41576</c:v>
                </c:pt>
                <c:pt idx="2137">
                  <c:v>41577</c:v>
                </c:pt>
                <c:pt idx="2138">
                  <c:v>41578</c:v>
                </c:pt>
                <c:pt idx="2139">
                  <c:v>41579</c:v>
                </c:pt>
                <c:pt idx="2140">
                  <c:v>41582</c:v>
                </c:pt>
                <c:pt idx="2141">
                  <c:v>41583</c:v>
                </c:pt>
                <c:pt idx="2142">
                  <c:v>41584</c:v>
                </c:pt>
                <c:pt idx="2143">
                  <c:v>41585</c:v>
                </c:pt>
                <c:pt idx="2144">
                  <c:v>41586</c:v>
                </c:pt>
                <c:pt idx="2145">
                  <c:v>41589</c:v>
                </c:pt>
                <c:pt idx="2146">
                  <c:v>41590</c:v>
                </c:pt>
                <c:pt idx="2147">
                  <c:v>41591</c:v>
                </c:pt>
                <c:pt idx="2148">
                  <c:v>41592</c:v>
                </c:pt>
                <c:pt idx="2149">
                  <c:v>41593</c:v>
                </c:pt>
                <c:pt idx="2150">
                  <c:v>41596</c:v>
                </c:pt>
                <c:pt idx="2151">
                  <c:v>41597</c:v>
                </c:pt>
                <c:pt idx="2152">
                  <c:v>41598</c:v>
                </c:pt>
                <c:pt idx="2153">
                  <c:v>41599</c:v>
                </c:pt>
                <c:pt idx="2154">
                  <c:v>41600</c:v>
                </c:pt>
                <c:pt idx="2155">
                  <c:v>41603</c:v>
                </c:pt>
                <c:pt idx="2156">
                  <c:v>41604</c:v>
                </c:pt>
                <c:pt idx="2157">
                  <c:v>41605</c:v>
                </c:pt>
                <c:pt idx="2158">
                  <c:v>41606</c:v>
                </c:pt>
                <c:pt idx="2159">
                  <c:v>41607</c:v>
                </c:pt>
                <c:pt idx="2160">
                  <c:v>41610</c:v>
                </c:pt>
                <c:pt idx="2161">
                  <c:v>41611</c:v>
                </c:pt>
                <c:pt idx="2162">
                  <c:v>41612</c:v>
                </c:pt>
                <c:pt idx="2163">
                  <c:v>41613</c:v>
                </c:pt>
                <c:pt idx="2164">
                  <c:v>41614</c:v>
                </c:pt>
                <c:pt idx="2165">
                  <c:v>41617</c:v>
                </c:pt>
                <c:pt idx="2166">
                  <c:v>41618</c:v>
                </c:pt>
                <c:pt idx="2167">
                  <c:v>41619</c:v>
                </c:pt>
                <c:pt idx="2168">
                  <c:v>41620</c:v>
                </c:pt>
                <c:pt idx="2169">
                  <c:v>41621</c:v>
                </c:pt>
                <c:pt idx="2170">
                  <c:v>41624</c:v>
                </c:pt>
                <c:pt idx="2171">
                  <c:v>41625</c:v>
                </c:pt>
                <c:pt idx="2172">
                  <c:v>41626</c:v>
                </c:pt>
                <c:pt idx="2173">
                  <c:v>41627</c:v>
                </c:pt>
                <c:pt idx="2174">
                  <c:v>41628</c:v>
                </c:pt>
                <c:pt idx="2175">
                  <c:v>41631</c:v>
                </c:pt>
                <c:pt idx="2176">
                  <c:v>41632</c:v>
                </c:pt>
                <c:pt idx="2177">
                  <c:v>41633</c:v>
                </c:pt>
                <c:pt idx="2178">
                  <c:v>41634</c:v>
                </c:pt>
                <c:pt idx="2179">
                  <c:v>41635</c:v>
                </c:pt>
                <c:pt idx="2180">
                  <c:v>41638</c:v>
                </c:pt>
                <c:pt idx="2181">
                  <c:v>41639</c:v>
                </c:pt>
                <c:pt idx="2182">
                  <c:v>41641</c:v>
                </c:pt>
                <c:pt idx="2183">
                  <c:v>41642</c:v>
                </c:pt>
                <c:pt idx="2184">
                  <c:v>41645</c:v>
                </c:pt>
                <c:pt idx="2185">
                  <c:v>41646</c:v>
                </c:pt>
                <c:pt idx="2186">
                  <c:v>41647</c:v>
                </c:pt>
                <c:pt idx="2187">
                  <c:v>41648</c:v>
                </c:pt>
                <c:pt idx="2188">
                  <c:v>41649</c:v>
                </c:pt>
                <c:pt idx="2189">
                  <c:v>41652</c:v>
                </c:pt>
                <c:pt idx="2190">
                  <c:v>41653</c:v>
                </c:pt>
                <c:pt idx="2191">
                  <c:v>41654</c:v>
                </c:pt>
                <c:pt idx="2192">
                  <c:v>41655</c:v>
                </c:pt>
                <c:pt idx="2193">
                  <c:v>41656</c:v>
                </c:pt>
                <c:pt idx="2194">
                  <c:v>41659</c:v>
                </c:pt>
                <c:pt idx="2195">
                  <c:v>41660</c:v>
                </c:pt>
                <c:pt idx="2196">
                  <c:v>41661</c:v>
                </c:pt>
                <c:pt idx="2197">
                  <c:v>41662</c:v>
                </c:pt>
                <c:pt idx="2198">
                  <c:v>41663</c:v>
                </c:pt>
                <c:pt idx="2199">
                  <c:v>41666</c:v>
                </c:pt>
                <c:pt idx="2200">
                  <c:v>41667</c:v>
                </c:pt>
                <c:pt idx="2201">
                  <c:v>41668</c:v>
                </c:pt>
                <c:pt idx="2202">
                  <c:v>41669</c:v>
                </c:pt>
                <c:pt idx="2203">
                  <c:v>41677</c:v>
                </c:pt>
                <c:pt idx="2204">
                  <c:v>41680</c:v>
                </c:pt>
                <c:pt idx="2205">
                  <c:v>41681</c:v>
                </c:pt>
                <c:pt idx="2206">
                  <c:v>41682</c:v>
                </c:pt>
                <c:pt idx="2207">
                  <c:v>41683</c:v>
                </c:pt>
                <c:pt idx="2208">
                  <c:v>41684</c:v>
                </c:pt>
                <c:pt idx="2209">
                  <c:v>41687</c:v>
                </c:pt>
                <c:pt idx="2210">
                  <c:v>41688</c:v>
                </c:pt>
                <c:pt idx="2211">
                  <c:v>41689</c:v>
                </c:pt>
                <c:pt idx="2212">
                  <c:v>41690</c:v>
                </c:pt>
                <c:pt idx="2213">
                  <c:v>41691</c:v>
                </c:pt>
                <c:pt idx="2214">
                  <c:v>41694</c:v>
                </c:pt>
                <c:pt idx="2215">
                  <c:v>41695</c:v>
                </c:pt>
                <c:pt idx="2216">
                  <c:v>41696</c:v>
                </c:pt>
                <c:pt idx="2217">
                  <c:v>41697</c:v>
                </c:pt>
                <c:pt idx="2218">
                  <c:v>41698</c:v>
                </c:pt>
                <c:pt idx="2219">
                  <c:v>41701</c:v>
                </c:pt>
                <c:pt idx="2220">
                  <c:v>41702</c:v>
                </c:pt>
                <c:pt idx="2221">
                  <c:v>41703</c:v>
                </c:pt>
                <c:pt idx="2222">
                  <c:v>41704</c:v>
                </c:pt>
                <c:pt idx="2223">
                  <c:v>41705</c:v>
                </c:pt>
                <c:pt idx="2224">
                  <c:v>41708</c:v>
                </c:pt>
                <c:pt idx="2225">
                  <c:v>41709</c:v>
                </c:pt>
                <c:pt idx="2226">
                  <c:v>41710</c:v>
                </c:pt>
                <c:pt idx="2227">
                  <c:v>41711</c:v>
                </c:pt>
                <c:pt idx="2228">
                  <c:v>41712</c:v>
                </c:pt>
                <c:pt idx="2229">
                  <c:v>41715</c:v>
                </c:pt>
                <c:pt idx="2230">
                  <c:v>41716</c:v>
                </c:pt>
                <c:pt idx="2231">
                  <c:v>41717</c:v>
                </c:pt>
                <c:pt idx="2232">
                  <c:v>41718</c:v>
                </c:pt>
                <c:pt idx="2233">
                  <c:v>41719</c:v>
                </c:pt>
                <c:pt idx="2234">
                  <c:v>41722</c:v>
                </c:pt>
                <c:pt idx="2235">
                  <c:v>41723</c:v>
                </c:pt>
                <c:pt idx="2236">
                  <c:v>41724</c:v>
                </c:pt>
                <c:pt idx="2237">
                  <c:v>41725</c:v>
                </c:pt>
                <c:pt idx="2238">
                  <c:v>41726</c:v>
                </c:pt>
                <c:pt idx="2239">
                  <c:v>41729</c:v>
                </c:pt>
                <c:pt idx="2240">
                  <c:v>41730</c:v>
                </c:pt>
                <c:pt idx="2241">
                  <c:v>41731</c:v>
                </c:pt>
                <c:pt idx="2242">
                  <c:v>41732</c:v>
                </c:pt>
                <c:pt idx="2243">
                  <c:v>41733</c:v>
                </c:pt>
                <c:pt idx="2244">
                  <c:v>41737</c:v>
                </c:pt>
                <c:pt idx="2245">
                  <c:v>41738</c:v>
                </c:pt>
                <c:pt idx="2246">
                  <c:v>41739</c:v>
                </c:pt>
                <c:pt idx="2247">
                  <c:v>41740</c:v>
                </c:pt>
                <c:pt idx="2248">
                  <c:v>41743</c:v>
                </c:pt>
                <c:pt idx="2249">
                  <c:v>41744</c:v>
                </c:pt>
                <c:pt idx="2250">
                  <c:v>41745</c:v>
                </c:pt>
                <c:pt idx="2251">
                  <c:v>41746</c:v>
                </c:pt>
                <c:pt idx="2252">
                  <c:v>41747</c:v>
                </c:pt>
                <c:pt idx="2253">
                  <c:v>41750</c:v>
                </c:pt>
                <c:pt idx="2254">
                  <c:v>41751</c:v>
                </c:pt>
                <c:pt idx="2255">
                  <c:v>41752</c:v>
                </c:pt>
                <c:pt idx="2256">
                  <c:v>41753</c:v>
                </c:pt>
                <c:pt idx="2257">
                  <c:v>41754</c:v>
                </c:pt>
                <c:pt idx="2258">
                  <c:v>41757</c:v>
                </c:pt>
                <c:pt idx="2259">
                  <c:v>41758</c:v>
                </c:pt>
                <c:pt idx="2260">
                  <c:v>41759</c:v>
                </c:pt>
                <c:pt idx="2261">
                  <c:v>41764</c:v>
                </c:pt>
                <c:pt idx="2262">
                  <c:v>41765</c:v>
                </c:pt>
                <c:pt idx="2263">
                  <c:v>41766</c:v>
                </c:pt>
                <c:pt idx="2264">
                  <c:v>41767</c:v>
                </c:pt>
                <c:pt idx="2265">
                  <c:v>41768</c:v>
                </c:pt>
                <c:pt idx="2266">
                  <c:v>41771</c:v>
                </c:pt>
                <c:pt idx="2267">
                  <c:v>41772</c:v>
                </c:pt>
                <c:pt idx="2268">
                  <c:v>41773</c:v>
                </c:pt>
                <c:pt idx="2269">
                  <c:v>41774</c:v>
                </c:pt>
                <c:pt idx="2270">
                  <c:v>41775</c:v>
                </c:pt>
                <c:pt idx="2271">
                  <c:v>41778</c:v>
                </c:pt>
                <c:pt idx="2272">
                  <c:v>41779</c:v>
                </c:pt>
                <c:pt idx="2273">
                  <c:v>41780</c:v>
                </c:pt>
                <c:pt idx="2274">
                  <c:v>41781</c:v>
                </c:pt>
                <c:pt idx="2275">
                  <c:v>41782</c:v>
                </c:pt>
                <c:pt idx="2276">
                  <c:v>41785</c:v>
                </c:pt>
                <c:pt idx="2277">
                  <c:v>41786</c:v>
                </c:pt>
                <c:pt idx="2278">
                  <c:v>41787</c:v>
                </c:pt>
                <c:pt idx="2279">
                  <c:v>41788</c:v>
                </c:pt>
                <c:pt idx="2280">
                  <c:v>41789</c:v>
                </c:pt>
                <c:pt idx="2281">
                  <c:v>41793</c:v>
                </c:pt>
                <c:pt idx="2282">
                  <c:v>41794</c:v>
                </c:pt>
                <c:pt idx="2283">
                  <c:v>41795</c:v>
                </c:pt>
                <c:pt idx="2284">
                  <c:v>41796</c:v>
                </c:pt>
                <c:pt idx="2285">
                  <c:v>41799</c:v>
                </c:pt>
                <c:pt idx="2286">
                  <c:v>41800</c:v>
                </c:pt>
                <c:pt idx="2287">
                  <c:v>41801</c:v>
                </c:pt>
                <c:pt idx="2288">
                  <c:v>41802</c:v>
                </c:pt>
                <c:pt idx="2289">
                  <c:v>41803</c:v>
                </c:pt>
                <c:pt idx="2290">
                  <c:v>41806</c:v>
                </c:pt>
                <c:pt idx="2291">
                  <c:v>41807</c:v>
                </c:pt>
                <c:pt idx="2292">
                  <c:v>41808</c:v>
                </c:pt>
                <c:pt idx="2293">
                  <c:v>41809</c:v>
                </c:pt>
                <c:pt idx="2294">
                  <c:v>41810</c:v>
                </c:pt>
                <c:pt idx="2295">
                  <c:v>41813</c:v>
                </c:pt>
                <c:pt idx="2296">
                  <c:v>41814</c:v>
                </c:pt>
                <c:pt idx="2297">
                  <c:v>41815</c:v>
                </c:pt>
                <c:pt idx="2298">
                  <c:v>41816</c:v>
                </c:pt>
                <c:pt idx="2299">
                  <c:v>41817</c:v>
                </c:pt>
                <c:pt idx="2300">
                  <c:v>41820</c:v>
                </c:pt>
                <c:pt idx="2301">
                  <c:v>41821</c:v>
                </c:pt>
                <c:pt idx="2302">
                  <c:v>41822</c:v>
                </c:pt>
                <c:pt idx="2303">
                  <c:v>41823</c:v>
                </c:pt>
                <c:pt idx="2304">
                  <c:v>41824</c:v>
                </c:pt>
                <c:pt idx="2305">
                  <c:v>41827</c:v>
                </c:pt>
                <c:pt idx="2306">
                  <c:v>41828</c:v>
                </c:pt>
                <c:pt idx="2307">
                  <c:v>41829</c:v>
                </c:pt>
                <c:pt idx="2308">
                  <c:v>41830</c:v>
                </c:pt>
                <c:pt idx="2309">
                  <c:v>41831</c:v>
                </c:pt>
                <c:pt idx="2310">
                  <c:v>41834</c:v>
                </c:pt>
                <c:pt idx="2311">
                  <c:v>41835</c:v>
                </c:pt>
                <c:pt idx="2312">
                  <c:v>41836</c:v>
                </c:pt>
                <c:pt idx="2313">
                  <c:v>41837</c:v>
                </c:pt>
                <c:pt idx="2314">
                  <c:v>41838</c:v>
                </c:pt>
                <c:pt idx="2315">
                  <c:v>41841</c:v>
                </c:pt>
                <c:pt idx="2316">
                  <c:v>41842</c:v>
                </c:pt>
                <c:pt idx="2317">
                  <c:v>41843</c:v>
                </c:pt>
                <c:pt idx="2318">
                  <c:v>41844</c:v>
                </c:pt>
                <c:pt idx="2319">
                  <c:v>41845</c:v>
                </c:pt>
                <c:pt idx="2320">
                  <c:v>41848</c:v>
                </c:pt>
                <c:pt idx="2321">
                  <c:v>41849</c:v>
                </c:pt>
                <c:pt idx="2322">
                  <c:v>41850</c:v>
                </c:pt>
                <c:pt idx="2323">
                  <c:v>41851</c:v>
                </c:pt>
                <c:pt idx="2324">
                  <c:v>41852</c:v>
                </c:pt>
                <c:pt idx="2325">
                  <c:v>41855</c:v>
                </c:pt>
                <c:pt idx="2326">
                  <c:v>41856</c:v>
                </c:pt>
                <c:pt idx="2327">
                  <c:v>41857</c:v>
                </c:pt>
                <c:pt idx="2328">
                  <c:v>41858</c:v>
                </c:pt>
                <c:pt idx="2329">
                  <c:v>41859</c:v>
                </c:pt>
                <c:pt idx="2330">
                  <c:v>41862</c:v>
                </c:pt>
                <c:pt idx="2331">
                  <c:v>41863</c:v>
                </c:pt>
                <c:pt idx="2332">
                  <c:v>41864</c:v>
                </c:pt>
                <c:pt idx="2333">
                  <c:v>41865</c:v>
                </c:pt>
                <c:pt idx="2334">
                  <c:v>41866</c:v>
                </c:pt>
                <c:pt idx="2335">
                  <c:v>41869</c:v>
                </c:pt>
                <c:pt idx="2336">
                  <c:v>41870</c:v>
                </c:pt>
                <c:pt idx="2337">
                  <c:v>41871</c:v>
                </c:pt>
                <c:pt idx="2338">
                  <c:v>41872</c:v>
                </c:pt>
                <c:pt idx="2339">
                  <c:v>41873</c:v>
                </c:pt>
                <c:pt idx="2340">
                  <c:v>41876</c:v>
                </c:pt>
                <c:pt idx="2341">
                  <c:v>41877</c:v>
                </c:pt>
                <c:pt idx="2342">
                  <c:v>41878</c:v>
                </c:pt>
                <c:pt idx="2343">
                  <c:v>41879</c:v>
                </c:pt>
                <c:pt idx="2344">
                  <c:v>41880</c:v>
                </c:pt>
                <c:pt idx="2345">
                  <c:v>41883</c:v>
                </c:pt>
                <c:pt idx="2346">
                  <c:v>41884</c:v>
                </c:pt>
                <c:pt idx="2347">
                  <c:v>41885</c:v>
                </c:pt>
                <c:pt idx="2348">
                  <c:v>41886</c:v>
                </c:pt>
                <c:pt idx="2349">
                  <c:v>41887</c:v>
                </c:pt>
                <c:pt idx="2350">
                  <c:v>41891</c:v>
                </c:pt>
                <c:pt idx="2351">
                  <c:v>41892</c:v>
                </c:pt>
                <c:pt idx="2352">
                  <c:v>41893</c:v>
                </c:pt>
                <c:pt idx="2353">
                  <c:v>41894</c:v>
                </c:pt>
                <c:pt idx="2354">
                  <c:v>41897</c:v>
                </c:pt>
                <c:pt idx="2355">
                  <c:v>41898</c:v>
                </c:pt>
                <c:pt idx="2356">
                  <c:v>41899</c:v>
                </c:pt>
                <c:pt idx="2357">
                  <c:v>41900</c:v>
                </c:pt>
                <c:pt idx="2358">
                  <c:v>41901</c:v>
                </c:pt>
                <c:pt idx="2359">
                  <c:v>41904</c:v>
                </c:pt>
                <c:pt idx="2360">
                  <c:v>41905</c:v>
                </c:pt>
                <c:pt idx="2361">
                  <c:v>41906</c:v>
                </c:pt>
                <c:pt idx="2362">
                  <c:v>41907</c:v>
                </c:pt>
                <c:pt idx="2363">
                  <c:v>41908</c:v>
                </c:pt>
                <c:pt idx="2364">
                  <c:v>41911</c:v>
                </c:pt>
                <c:pt idx="2365">
                  <c:v>41912</c:v>
                </c:pt>
                <c:pt idx="2366">
                  <c:v>41920</c:v>
                </c:pt>
                <c:pt idx="2367">
                  <c:v>41921</c:v>
                </c:pt>
                <c:pt idx="2368">
                  <c:v>41922</c:v>
                </c:pt>
                <c:pt idx="2369">
                  <c:v>41925</c:v>
                </c:pt>
                <c:pt idx="2370">
                  <c:v>41926</c:v>
                </c:pt>
                <c:pt idx="2371">
                  <c:v>41927</c:v>
                </c:pt>
                <c:pt idx="2372">
                  <c:v>41928</c:v>
                </c:pt>
                <c:pt idx="2373">
                  <c:v>41929</c:v>
                </c:pt>
                <c:pt idx="2374">
                  <c:v>41932</c:v>
                </c:pt>
                <c:pt idx="2375">
                  <c:v>41933</c:v>
                </c:pt>
                <c:pt idx="2376">
                  <c:v>41934</c:v>
                </c:pt>
                <c:pt idx="2377">
                  <c:v>41935</c:v>
                </c:pt>
                <c:pt idx="2378">
                  <c:v>41936</c:v>
                </c:pt>
                <c:pt idx="2379">
                  <c:v>41939</c:v>
                </c:pt>
                <c:pt idx="2380">
                  <c:v>41940</c:v>
                </c:pt>
                <c:pt idx="2381">
                  <c:v>41941</c:v>
                </c:pt>
                <c:pt idx="2382">
                  <c:v>41942</c:v>
                </c:pt>
                <c:pt idx="2383">
                  <c:v>41943</c:v>
                </c:pt>
                <c:pt idx="2384">
                  <c:v>41946</c:v>
                </c:pt>
                <c:pt idx="2385">
                  <c:v>41947</c:v>
                </c:pt>
                <c:pt idx="2386">
                  <c:v>41948</c:v>
                </c:pt>
                <c:pt idx="2387">
                  <c:v>41949</c:v>
                </c:pt>
                <c:pt idx="2388">
                  <c:v>41950</c:v>
                </c:pt>
                <c:pt idx="2389">
                  <c:v>41953</c:v>
                </c:pt>
                <c:pt idx="2390">
                  <c:v>41954</c:v>
                </c:pt>
                <c:pt idx="2391">
                  <c:v>41955</c:v>
                </c:pt>
                <c:pt idx="2392">
                  <c:v>41956</c:v>
                </c:pt>
                <c:pt idx="2393">
                  <c:v>41957</c:v>
                </c:pt>
                <c:pt idx="2394">
                  <c:v>41960</c:v>
                </c:pt>
                <c:pt idx="2395">
                  <c:v>41961</c:v>
                </c:pt>
                <c:pt idx="2396">
                  <c:v>41962</c:v>
                </c:pt>
                <c:pt idx="2397">
                  <c:v>41963</c:v>
                </c:pt>
                <c:pt idx="2398">
                  <c:v>41964</c:v>
                </c:pt>
                <c:pt idx="2399">
                  <c:v>41967</c:v>
                </c:pt>
                <c:pt idx="2400">
                  <c:v>41968</c:v>
                </c:pt>
                <c:pt idx="2401">
                  <c:v>41969</c:v>
                </c:pt>
                <c:pt idx="2402">
                  <c:v>41970</c:v>
                </c:pt>
                <c:pt idx="2403">
                  <c:v>41971</c:v>
                </c:pt>
                <c:pt idx="2404">
                  <c:v>41974</c:v>
                </c:pt>
                <c:pt idx="2405">
                  <c:v>41975</c:v>
                </c:pt>
                <c:pt idx="2406">
                  <c:v>41976</c:v>
                </c:pt>
                <c:pt idx="2407">
                  <c:v>41977</c:v>
                </c:pt>
                <c:pt idx="2408">
                  <c:v>41978</c:v>
                </c:pt>
                <c:pt idx="2409">
                  <c:v>41981</c:v>
                </c:pt>
                <c:pt idx="2410">
                  <c:v>41982</c:v>
                </c:pt>
                <c:pt idx="2411">
                  <c:v>41983</c:v>
                </c:pt>
                <c:pt idx="2412">
                  <c:v>41984</c:v>
                </c:pt>
                <c:pt idx="2413">
                  <c:v>41985</c:v>
                </c:pt>
                <c:pt idx="2414">
                  <c:v>41988</c:v>
                </c:pt>
                <c:pt idx="2415">
                  <c:v>41989</c:v>
                </c:pt>
                <c:pt idx="2416">
                  <c:v>41990</c:v>
                </c:pt>
                <c:pt idx="2417">
                  <c:v>41991</c:v>
                </c:pt>
                <c:pt idx="2418">
                  <c:v>41992</c:v>
                </c:pt>
                <c:pt idx="2419">
                  <c:v>41995</c:v>
                </c:pt>
                <c:pt idx="2420">
                  <c:v>41996</c:v>
                </c:pt>
                <c:pt idx="2421">
                  <c:v>41997</c:v>
                </c:pt>
                <c:pt idx="2422">
                  <c:v>41998</c:v>
                </c:pt>
                <c:pt idx="2423">
                  <c:v>41999</c:v>
                </c:pt>
                <c:pt idx="2424">
                  <c:v>42002</c:v>
                </c:pt>
                <c:pt idx="2425">
                  <c:v>42003</c:v>
                </c:pt>
                <c:pt idx="2426">
                  <c:v>42004</c:v>
                </c:pt>
                <c:pt idx="2427">
                  <c:v>42009</c:v>
                </c:pt>
                <c:pt idx="2428">
                  <c:v>42010</c:v>
                </c:pt>
                <c:pt idx="2429">
                  <c:v>42011</c:v>
                </c:pt>
                <c:pt idx="2430">
                  <c:v>42012</c:v>
                </c:pt>
                <c:pt idx="2431">
                  <c:v>42013</c:v>
                </c:pt>
                <c:pt idx="2432">
                  <c:v>42016</c:v>
                </c:pt>
                <c:pt idx="2433">
                  <c:v>42017</c:v>
                </c:pt>
                <c:pt idx="2434">
                  <c:v>42018</c:v>
                </c:pt>
                <c:pt idx="2435">
                  <c:v>42019</c:v>
                </c:pt>
                <c:pt idx="2436">
                  <c:v>42020</c:v>
                </c:pt>
                <c:pt idx="2437">
                  <c:v>42023</c:v>
                </c:pt>
                <c:pt idx="2438">
                  <c:v>42024</c:v>
                </c:pt>
                <c:pt idx="2439">
                  <c:v>42025</c:v>
                </c:pt>
                <c:pt idx="2440">
                  <c:v>42026</c:v>
                </c:pt>
                <c:pt idx="2441">
                  <c:v>42027</c:v>
                </c:pt>
                <c:pt idx="2442">
                  <c:v>42030</c:v>
                </c:pt>
                <c:pt idx="2443">
                  <c:v>42031</c:v>
                </c:pt>
                <c:pt idx="2444">
                  <c:v>42032</c:v>
                </c:pt>
                <c:pt idx="2445">
                  <c:v>42033</c:v>
                </c:pt>
                <c:pt idx="2446">
                  <c:v>42034</c:v>
                </c:pt>
                <c:pt idx="2447">
                  <c:v>42037</c:v>
                </c:pt>
                <c:pt idx="2448">
                  <c:v>42038</c:v>
                </c:pt>
                <c:pt idx="2449">
                  <c:v>42039</c:v>
                </c:pt>
                <c:pt idx="2450">
                  <c:v>42040</c:v>
                </c:pt>
                <c:pt idx="2451">
                  <c:v>42041</c:v>
                </c:pt>
                <c:pt idx="2452">
                  <c:v>42044</c:v>
                </c:pt>
                <c:pt idx="2453">
                  <c:v>42045</c:v>
                </c:pt>
                <c:pt idx="2454">
                  <c:v>42046</c:v>
                </c:pt>
                <c:pt idx="2455">
                  <c:v>42047</c:v>
                </c:pt>
                <c:pt idx="2456">
                  <c:v>42048</c:v>
                </c:pt>
                <c:pt idx="2457">
                  <c:v>42051</c:v>
                </c:pt>
                <c:pt idx="2458">
                  <c:v>42052</c:v>
                </c:pt>
                <c:pt idx="2459">
                  <c:v>42060</c:v>
                </c:pt>
                <c:pt idx="2460">
                  <c:v>42061</c:v>
                </c:pt>
                <c:pt idx="2461">
                  <c:v>42062</c:v>
                </c:pt>
                <c:pt idx="2462">
                  <c:v>42065</c:v>
                </c:pt>
                <c:pt idx="2463">
                  <c:v>42066</c:v>
                </c:pt>
                <c:pt idx="2464">
                  <c:v>42067</c:v>
                </c:pt>
                <c:pt idx="2465">
                  <c:v>42068</c:v>
                </c:pt>
                <c:pt idx="2466">
                  <c:v>42069</c:v>
                </c:pt>
                <c:pt idx="2467">
                  <c:v>42072</c:v>
                </c:pt>
                <c:pt idx="2468">
                  <c:v>42073</c:v>
                </c:pt>
                <c:pt idx="2469">
                  <c:v>42074</c:v>
                </c:pt>
                <c:pt idx="2470">
                  <c:v>42075</c:v>
                </c:pt>
                <c:pt idx="2471">
                  <c:v>42076</c:v>
                </c:pt>
                <c:pt idx="2472">
                  <c:v>42079</c:v>
                </c:pt>
                <c:pt idx="2473">
                  <c:v>42080</c:v>
                </c:pt>
                <c:pt idx="2474">
                  <c:v>42081</c:v>
                </c:pt>
                <c:pt idx="2475">
                  <c:v>42082</c:v>
                </c:pt>
                <c:pt idx="2476">
                  <c:v>42083</c:v>
                </c:pt>
                <c:pt idx="2477">
                  <c:v>42086</c:v>
                </c:pt>
                <c:pt idx="2478">
                  <c:v>42087</c:v>
                </c:pt>
                <c:pt idx="2479">
                  <c:v>42088</c:v>
                </c:pt>
                <c:pt idx="2480">
                  <c:v>42089</c:v>
                </c:pt>
                <c:pt idx="2481">
                  <c:v>42090</c:v>
                </c:pt>
                <c:pt idx="2482">
                  <c:v>42093</c:v>
                </c:pt>
                <c:pt idx="2483">
                  <c:v>42094</c:v>
                </c:pt>
                <c:pt idx="2484">
                  <c:v>42095</c:v>
                </c:pt>
                <c:pt idx="2485">
                  <c:v>42096</c:v>
                </c:pt>
                <c:pt idx="2486">
                  <c:v>42097</c:v>
                </c:pt>
                <c:pt idx="2487">
                  <c:v>42101</c:v>
                </c:pt>
                <c:pt idx="2488">
                  <c:v>42102</c:v>
                </c:pt>
                <c:pt idx="2489">
                  <c:v>42103</c:v>
                </c:pt>
                <c:pt idx="2490">
                  <c:v>42104</c:v>
                </c:pt>
                <c:pt idx="2491">
                  <c:v>42107</c:v>
                </c:pt>
                <c:pt idx="2492">
                  <c:v>42108</c:v>
                </c:pt>
                <c:pt idx="2493">
                  <c:v>42109</c:v>
                </c:pt>
                <c:pt idx="2494">
                  <c:v>42110</c:v>
                </c:pt>
                <c:pt idx="2495">
                  <c:v>42111</c:v>
                </c:pt>
                <c:pt idx="2496">
                  <c:v>42114</c:v>
                </c:pt>
                <c:pt idx="2497">
                  <c:v>42115</c:v>
                </c:pt>
                <c:pt idx="2498">
                  <c:v>42116</c:v>
                </c:pt>
                <c:pt idx="2499">
                  <c:v>42117</c:v>
                </c:pt>
                <c:pt idx="2500">
                  <c:v>42118</c:v>
                </c:pt>
                <c:pt idx="2501">
                  <c:v>42121</c:v>
                </c:pt>
                <c:pt idx="2502">
                  <c:v>42122</c:v>
                </c:pt>
                <c:pt idx="2503">
                  <c:v>42123</c:v>
                </c:pt>
                <c:pt idx="2504">
                  <c:v>42124</c:v>
                </c:pt>
                <c:pt idx="2505">
                  <c:v>42128</c:v>
                </c:pt>
                <c:pt idx="2506">
                  <c:v>42129</c:v>
                </c:pt>
                <c:pt idx="2507">
                  <c:v>42130</c:v>
                </c:pt>
                <c:pt idx="2508">
                  <c:v>42131</c:v>
                </c:pt>
                <c:pt idx="2509">
                  <c:v>42132</c:v>
                </c:pt>
                <c:pt idx="2510">
                  <c:v>42135</c:v>
                </c:pt>
                <c:pt idx="2511">
                  <c:v>42136</c:v>
                </c:pt>
                <c:pt idx="2512">
                  <c:v>42137</c:v>
                </c:pt>
                <c:pt idx="2513">
                  <c:v>42138</c:v>
                </c:pt>
                <c:pt idx="2514">
                  <c:v>42139</c:v>
                </c:pt>
                <c:pt idx="2515">
                  <c:v>42142</c:v>
                </c:pt>
                <c:pt idx="2516">
                  <c:v>42143</c:v>
                </c:pt>
                <c:pt idx="2517">
                  <c:v>42144</c:v>
                </c:pt>
                <c:pt idx="2518">
                  <c:v>42145</c:v>
                </c:pt>
                <c:pt idx="2519">
                  <c:v>42146</c:v>
                </c:pt>
                <c:pt idx="2520">
                  <c:v>42149</c:v>
                </c:pt>
                <c:pt idx="2521">
                  <c:v>42150</c:v>
                </c:pt>
                <c:pt idx="2522">
                  <c:v>42151</c:v>
                </c:pt>
                <c:pt idx="2523">
                  <c:v>42152</c:v>
                </c:pt>
                <c:pt idx="2524">
                  <c:v>42153</c:v>
                </c:pt>
                <c:pt idx="2525">
                  <c:v>42156</c:v>
                </c:pt>
                <c:pt idx="2526">
                  <c:v>42157</c:v>
                </c:pt>
                <c:pt idx="2527">
                  <c:v>42158</c:v>
                </c:pt>
                <c:pt idx="2528">
                  <c:v>42159</c:v>
                </c:pt>
                <c:pt idx="2529">
                  <c:v>42160</c:v>
                </c:pt>
                <c:pt idx="2530">
                  <c:v>42163</c:v>
                </c:pt>
                <c:pt idx="2531">
                  <c:v>42164</c:v>
                </c:pt>
                <c:pt idx="2532">
                  <c:v>42165</c:v>
                </c:pt>
                <c:pt idx="2533">
                  <c:v>42166</c:v>
                </c:pt>
                <c:pt idx="2534">
                  <c:v>42167</c:v>
                </c:pt>
                <c:pt idx="2535">
                  <c:v>42170</c:v>
                </c:pt>
                <c:pt idx="2536">
                  <c:v>42171</c:v>
                </c:pt>
                <c:pt idx="2537">
                  <c:v>42172</c:v>
                </c:pt>
                <c:pt idx="2538">
                  <c:v>42173</c:v>
                </c:pt>
                <c:pt idx="2539">
                  <c:v>42174</c:v>
                </c:pt>
                <c:pt idx="2540">
                  <c:v>42178</c:v>
                </c:pt>
                <c:pt idx="2541">
                  <c:v>42179</c:v>
                </c:pt>
                <c:pt idx="2542">
                  <c:v>42180</c:v>
                </c:pt>
                <c:pt idx="2543">
                  <c:v>42181</c:v>
                </c:pt>
                <c:pt idx="2544">
                  <c:v>42184</c:v>
                </c:pt>
                <c:pt idx="2545">
                  <c:v>42185</c:v>
                </c:pt>
                <c:pt idx="2546">
                  <c:v>42186</c:v>
                </c:pt>
                <c:pt idx="2547">
                  <c:v>42187</c:v>
                </c:pt>
                <c:pt idx="2548">
                  <c:v>42188</c:v>
                </c:pt>
                <c:pt idx="2549">
                  <c:v>42191</c:v>
                </c:pt>
                <c:pt idx="2550">
                  <c:v>42192</c:v>
                </c:pt>
                <c:pt idx="2551">
                  <c:v>42193</c:v>
                </c:pt>
                <c:pt idx="2552">
                  <c:v>42194</c:v>
                </c:pt>
                <c:pt idx="2553">
                  <c:v>42195</c:v>
                </c:pt>
                <c:pt idx="2554">
                  <c:v>42198</c:v>
                </c:pt>
                <c:pt idx="2555">
                  <c:v>42199</c:v>
                </c:pt>
                <c:pt idx="2556">
                  <c:v>42200</c:v>
                </c:pt>
                <c:pt idx="2557">
                  <c:v>42201</c:v>
                </c:pt>
                <c:pt idx="2558">
                  <c:v>42202</c:v>
                </c:pt>
                <c:pt idx="2559">
                  <c:v>42205</c:v>
                </c:pt>
                <c:pt idx="2560">
                  <c:v>42206</c:v>
                </c:pt>
                <c:pt idx="2561">
                  <c:v>42207</c:v>
                </c:pt>
                <c:pt idx="2562">
                  <c:v>42208</c:v>
                </c:pt>
                <c:pt idx="2563">
                  <c:v>42209</c:v>
                </c:pt>
                <c:pt idx="2564">
                  <c:v>42212</c:v>
                </c:pt>
                <c:pt idx="2565">
                  <c:v>42213</c:v>
                </c:pt>
                <c:pt idx="2566">
                  <c:v>42214</c:v>
                </c:pt>
                <c:pt idx="2567">
                  <c:v>42215</c:v>
                </c:pt>
                <c:pt idx="2568">
                  <c:v>42216</c:v>
                </c:pt>
                <c:pt idx="2569">
                  <c:v>42219</c:v>
                </c:pt>
                <c:pt idx="2570">
                  <c:v>42220</c:v>
                </c:pt>
                <c:pt idx="2571">
                  <c:v>42221</c:v>
                </c:pt>
                <c:pt idx="2572">
                  <c:v>42222</c:v>
                </c:pt>
                <c:pt idx="2573">
                  <c:v>42223</c:v>
                </c:pt>
                <c:pt idx="2574">
                  <c:v>42226</c:v>
                </c:pt>
                <c:pt idx="2575">
                  <c:v>42227</c:v>
                </c:pt>
                <c:pt idx="2576">
                  <c:v>42228</c:v>
                </c:pt>
                <c:pt idx="2577">
                  <c:v>42229</c:v>
                </c:pt>
                <c:pt idx="2578">
                  <c:v>42230</c:v>
                </c:pt>
                <c:pt idx="2579">
                  <c:v>42233</c:v>
                </c:pt>
                <c:pt idx="2580">
                  <c:v>42234</c:v>
                </c:pt>
                <c:pt idx="2581">
                  <c:v>42235</c:v>
                </c:pt>
                <c:pt idx="2582">
                  <c:v>42236</c:v>
                </c:pt>
                <c:pt idx="2583">
                  <c:v>42237</c:v>
                </c:pt>
                <c:pt idx="2584">
                  <c:v>42240</c:v>
                </c:pt>
                <c:pt idx="2585">
                  <c:v>42241</c:v>
                </c:pt>
                <c:pt idx="2586">
                  <c:v>42242</c:v>
                </c:pt>
                <c:pt idx="2587">
                  <c:v>42243</c:v>
                </c:pt>
                <c:pt idx="2588">
                  <c:v>42244</c:v>
                </c:pt>
                <c:pt idx="2589">
                  <c:v>42247</c:v>
                </c:pt>
                <c:pt idx="2590">
                  <c:v>42248</c:v>
                </c:pt>
                <c:pt idx="2591">
                  <c:v>42249</c:v>
                </c:pt>
                <c:pt idx="2592">
                  <c:v>42254</c:v>
                </c:pt>
                <c:pt idx="2593">
                  <c:v>42255</c:v>
                </c:pt>
                <c:pt idx="2594">
                  <c:v>42256</c:v>
                </c:pt>
                <c:pt idx="2595">
                  <c:v>42257</c:v>
                </c:pt>
                <c:pt idx="2596">
                  <c:v>42258</c:v>
                </c:pt>
                <c:pt idx="2597">
                  <c:v>42261</c:v>
                </c:pt>
                <c:pt idx="2598">
                  <c:v>42262</c:v>
                </c:pt>
                <c:pt idx="2599">
                  <c:v>42263</c:v>
                </c:pt>
                <c:pt idx="2600">
                  <c:v>42264</c:v>
                </c:pt>
                <c:pt idx="2601">
                  <c:v>42265</c:v>
                </c:pt>
                <c:pt idx="2602">
                  <c:v>42268</c:v>
                </c:pt>
                <c:pt idx="2603">
                  <c:v>42269</c:v>
                </c:pt>
                <c:pt idx="2604">
                  <c:v>42270</c:v>
                </c:pt>
                <c:pt idx="2605">
                  <c:v>42271</c:v>
                </c:pt>
                <c:pt idx="2606">
                  <c:v>42272</c:v>
                </c:pt>
                <c:pt idx="2607">
                  <c:v>42275</c:v>
                </c:pt>
                <c:pt idx="2608">
                  <c:v>42276</c:v>
                </c:pt>
                <c:pt idx="2609">
                  <c:v>42277</c:v>
                </c:pt>
                <c:pt idx="2610">
                  <c:v>42285</c:v>
                </c:pt>
                <c:pt idx="2611">
                  <c:v>42286</c:v>
                </c:pt>
                <c:pt idx="2612">
                  <c:v>42289</c:v>
                </c:pt>
                <c:pt idx="2613">
                  <c:v>42290</c:v>
                </c:pt>
                <c:pt idx="2614">
                  <c:v>42291</c:v>
                </c:pt>
                <c:pt idx="2615">
                  <c:v>42292</c:v>
                </c:pt>
                <c:pt idx="2616">
                  <c:v>42293</c:v>
                </c:pt>
                <c:pt idx="2617">
                  <c:v>42296</c:v>
                </c:pt>
                <c:pt idx="2618">
                  <c:v>42297</c:v>
                </c:pt>
                <c:pt idx="2619">
                  <c:v>42298</c:v>
                </c:pt>
                <c:pt idx="2620">
                  <c:v>42299</c:v>
                </c:pt>
                <c:pt idx="2621">
                  <c:v>42300</c:v>
                </c:pt>
                <c:pt idx="2622">
                  <c:v>42303</c:v>
                </c:pt>
                <c:pt idx="2623">
                  <c:v>42304</c:v>
                </c:pt>
                <c:pt idx="2624">
                  <c:v>42305</c:v>
                </c:pt>
                <c:pt idx="2625">
                  <c:v>42306</c:v>
                </c:pt>
                <c:pt idx="2626">
                  <c:v>42307</c:v>
                </c:pt>
                <c:pt idx="2627">
                  <c:v>42310</c:v>
                </c:pt>
                <c:pt idx="2628">
                  <c:v>42311</c:v>
                </c:pt>
                <c:pt idx="2629">
                  <c:v>42312</c:v>
                </c:pt>
                <c:pt idx="2630">
                  <c:v>42313</c:v>
                </c:pt>
                <c:pt idx="2631">
                  <c:v>42314</c:v>
                </c:pt>
                <c:pt idx="2632">
                  <c:v>42317</c:v>
                </c:pt>
                <c:pt idx="2633">
                  <c:v>42318</c:v>
                </c:pt>
                <c:pt idx="2634">
                  <c:v>42319</c:v>
                </c:pt>
                <c:pt idx="2635">
                  <c:v>42320</c:v>
                </c:pt>
                <c:pt idx="2636">
                  <c:v>42321</c:v>
                </c:pt>
                <c:pt idx="2637">
                  <c:v>42324</c:v>
                </c:pt>
                <c:pt idx="2638">
                  <c:v>42325</c:v>
                </c:pt>
                <c:pt idx="2639">
                  <c:v>42326</c:v>
                </c:pt>
                <c:pt idx="2640">
                  <c:v>42327</c:v>
                </c:pt>
                <c:pt idx="2641">
                  <c:v>42328</c:v>
                </c:pt>
                <c:pt idx="2642">
                  <c:v>42331</c:v>
                </c:pt>
                <c:pt idx="2643">
                  <c:v>42332</c:v>
                </c:pt>
                <c:pt idx="2644">
                  <c:v>42333</c:v>
                </c:pt>
                <c:pt idx="2645">
                  <c:v>42334</c:v>
                </c:pt>
                <c:pt idx="2646">
                  <c:v>42335</c:v>
                </c:pt>
                <c:pt idx="2647">
                  <c:v>42338</c:v>
                </c:pt>
                <c:pt idx="2648">
                  <c:v>42339</c:v>
                </c:pt>
                <c:pt idx="2649">
                  <c:v>42340</c:v>
                </c:pt>
                <c:pt idx="2650">
                  <c:v>42341</c:v>
                </c:pt>
                <c:pt idx="2651">
                  <c:v>42342</c:v>
                </c:pt>
                <c:pt idx="2652">
                  <c:v>42345</c:v>
                </c:pt>
                <c:pt idx="2653">
                  <c:v>42346</c:v>
                </c:pt>
                <c:pt idx="2654">
                  <c:v>42347</c:v>
                </c:pt>
                <c:pt idx="2655">
                  <c:v>42348</c:v>
                </c:pt>
                <c:pt idx="2656">
                  <c:v>42349</c:v>
                </c:pt>
                <c:pt idx="2657">
                  <c:v>42352</c:v>
                </c:pt>
                <c:pt idx="2658">
                  <c:v>42353</c:v>
                </c:pt>
                <c:pt idx="2659">
                  <c:v>42354</c:v>
                </c:pt>
                <c:pt idx="2660">
                  <c:v>42355</c:v>
                </c:pt>
                <c:pt idx="2661">
                  <c:v>42356</c:v>
                </c:pt>
                <c:pt idx="2662">
                  <c:v>42359</c:v>
                </c:pt>
                <c:pt idx="2663">
                  <c:v>42360</c:v>
                </c:pt>
                <c:pt idx="2664">
                  <c:v>42361</c:v>
                </c:pt>
                <c:pt idx="2665">
                  <c:v>42362</c:v>
                </c:pt>
                <c:pt idx="2666">
                  <c:v>42363</c:v>
                </c:pt>
                <c:pt idx="2667">
                  <c:v>42366</c:v>
                </c:pt>
                <c:pt idx="2668">
                  <c:v>42367</c:v>
                </c:pt>
                <c:pt idx="2669">
                  <c:v>42368</c:v>
                </c:pt>
                <c:pt idx="2670">
                  <c:v>42369</c:v>
                </c:pt>
                <c:pt idx="2671">
                  <c:v>42373</c:v>
                </c:pt>
                <c:pt idx="2672">
                  <c:v>42374</c:v>
                </c:pt>
                <c:pt idx="2673">
                  <c:v>42375</c:v>
                </c:pt>
                <c:pt idx="2674">
                  <c:v>42376</c:v>
                </c:pt>
                <c:pt idx="2675">
                  <c:v>42377</c:v>
                </c:pt>
                <c:pt idx="2676">
                  <c:v>42380</c:v>
                </c:pt>
                <c:pt idx="2677">
                  <c:v>42381</c:v>
                </c:pt>
                <c:pt idx="2678">
                  <c:v>42382</c:v>
                </c:pt>
                <c:pt idx="2679">
                  <c:v>42383</c:v>
                </c:pt>
                <c:pt idx="2680">
                  <c:v>42384</c:v>
                </c:pt>
                <c:pt idx="2681">
                  <c:v>42387</c:v>
                </c:pt>
                <c:pt idx="2682">
                  <c:v>42388</c:v>
                </c:pt>
                <c:pt idx="2683">
                  <c:v>42389</c:v>
                </c:pt>
                <c:pt idx="2684">
                  <c:v>42390</c:v>
                </c:pt>
                <c:pt idx="2685">
                  <c:v>42391</c:v>
                </c:pt>
                <c:pt idx="2686">
                  <c:v>42394</c:v>
                </c:pt>
                <c:pt idx="2687">
                  <c:v>42395</c:v>
                </c:pt>
                <c:pt idx="2688">
                  <c:v>42396</c:v>
                </c:pt>
                <c:pt idx="2689">
                  <c:v>42397</c:v>
                </c:pt>
                <c:pt idx="2690">
                  <c:v>42398</c:v>
                </c:pt>
                <c:pt idx="2691">
                  <c:v>42401</c:v>
                </c:pt>
                <c:pt idx="2692">
                  <c:v>42402</c:v>
                </c:pt>
                <c:pt idx="2693">
                  <c:v>42403</c:v>
                </c:pt>
                <c:pt idx="2694">
                  <c:v>42404</c:v>
                </c:pt>
                <c:pt idx="2695">
                  <c:v>42405</c:v>
                </c:pt>
                <c:pt idx="2696">
                  <c:v>42415</c:v>
                </c:pt>
                <c:pt idx="2697">
                  <c:v>42416</c:v>
                </c:pt>
                <c:pt idx="2698">
                  <c:v>42417</c:v>
                </c:pt>
                <c:pt idx="2699">
                  <c:v>42418</c:v>
                </c:pt>
                <c:pt idx="2700">
                  <c:v>42419</c:v>
                </c:pt>
                <c:pt idx="2701">
                  <c:v>42422</c:v>
                </c:pt>
                <c:pt idx="2702">
                  <c:v>42423</c:v>
                </c:pt>
                <c:pt idx="2703">
                  <c:v>42424</c:v>
                </c:pt>
                <c:pt idx="2704">
                  <c:v>42425</c:v>
                </c:pt>
                <c:pt idx="2705">
                  <c:v>42426</c:v>
                </c:pt>
                <c:pt idx="2706">
                  <c:v>42429</c:v>
                </c:pt>
                <c:pt idx="2707">
                  <c:v>42430</c:v>
                </c:pt>
                <c:pt idx="2708">
                  <c:v>42431</c:v>
                </c:pt>
                <c:pt idx="2709">
                  <c:v>42432</c:v>
                </c:pt>
                <c:pt idx="2710">
                  <c:v>42433</c:v>
                </c:pt>
                <c:pt idx="2711">
                  <c:v>42436</c:v>
                </c:pt>
                <c:pt idx="2712">
                  <c:v>42437</c:v>
                </c:pt>
                <c:pt idx="2713">
                  <c:v>42438</c:v>
                </c:pt>
                <c:pt idx="2714">
                  <c:v>42439</c:v>
                </c:pt>
                <c:pt idx="2715">
                  <c:v>42440</c:v>
                </c:pt>
                <c:pt idx="2716">
                  <c:v>42443</c:v>
                </c:pt>
                <c:pt idx="2717">
                  <c:v>42444</c:v>
                </c:pt>
                <c:pt idx="2718">
                  <c:v>42445</c:v>
                </c:pt>
                <c:pt idx="2719">
                  <c:v>42446</c:v>
                </c:pt>
                <c:pt idx="2720">
                  <c:v>42447</c:v>
                </c:pt>
                <c:pt idx="2721">
                  <c:v>42450</c:v>
                </c:pt>
                <c:pt idx="2722">
                  <c:v>42451</c:v>
                </c:pt>
                <c:pt idx="2723">
                  <c:v>42452</c:v>
                </c:pt>
                <c:pt idx="2724">
                  <c:v>42453</c:v>
                </c:pt>
                <c:pt idx="2725">
                  <c:v>42454</c:v>
                </c:pt>
                <c:pt idx="2726">
                  <c:v>42457</c:v>
                </c:pt>
                <c:pt idx="2727">
                  <c:v>42458</c:v>
                </c:pt>
                <c:pt idx="2728">
                  <c:v>42459</c:v>
                </c:pt>
                <c:pt idx="2729">
                  <c:v>42460</c:v>
                </c:pt>
                <c:pt idx="2730">
                  <c:v>42461</c:v>
                </c:pt>
                <c:pt idx="2731">
                  <c:v>42465</c:v>
                </c:pt>
                <c:pt idx="2732">
                  <c:v>42466</c:v>
                </c:pt>
                <c:pt idx="2733">
                  <c:v>42467</c:v>
                </c:pt>
                <c:pt idx="2734">
                  <c:v>42468</c:v>
                </c:pt>
                <c:pt idx="2735">
                  <c:v>42471</c:v>
                </c:pt>
                <c:pt idx="2736">
                  <c:v>42472</c:v>
                </c:pt>
                <c:pt idx="2737">
                  <c:v>42473</c:v>
                </c:pt>
                <c:pt idx="2738">
                  <c:v>42474</c:v>
                </c:pt>
                <c:pt idx="2739">
                  <c:v>42475</c:v>
                </c:pt>
                <c:pt idx="2740">
                  <c:v>42478</c:v>
                </c:pt>
                <c:pt idx="2741">
                  <c:v>42479</c:v>
                </c:pt>
                <c:pt idx="2742">
                  <c:v>42480</c:v>
                </c:pt>
                <c:pt idx="2743">
                  <c:v>42481</c:v>
                </c:pt>
                <c:pt idx="2744">
                  <c:v>42482</c:v>
                </c:pt>
                <c:pt idx="2745">
                  <c:v>42485</c:v>
                </c:pt>
                <c:pt idx="2746">
                  <c:v>42486</c:v>
                </c:pt>
                <c:pt idx="2747">
                  <c:v>42487</c:v>
                </c:pt>
                <c:pt idx="2748">
                  <c:v>42488</c:v>
                </c:pt>
                <c:pt idx="2749">
                  <c:v>42489</c:v>
                </c:pt>
                <c:pt idx="2750">
                  <c:v>42493</c:v>
                </c:pt>
                <c:pt idx="2751">
                  <c:v>42494</c:v>
                </c:pt>
                <c:pt idx="2752">
                  <c:v>42495</c:v>
                </c:pt>
                <c:pt idx="2753">
                  <c:v>42496</c:v>
                </c:pt>
                <c:pt idx="2754">
                  <c:v>42499</c:v>
                </c:pt>
                <c:pt idx="2755">
                  <c:v>42500</c:v>
                </c:pt>
                <c:pt idx="2756">
                  <c:v>42501</c:v>
                </c:pt>
                <c:pt idx="2757">
                  <c:v>42502</c:v>
                </c:pt>
                <c:pt idx="2758">
                  <c:v>42503</c:v>
                </c:pt>
                <c:pt idx="2759">
                  <c:v>42506</c:v>
                </c:pt>
                <c:pt idx="2760">
                  <c:v>42507</c:v>
                </c:pt>
                <c:pt idx="2761">
                  <c:v>42508</c:v>
                </c:pt>
                <c:pt idx="2762">
                  <c:v>42509</c:v>
                </c:pt>
                <c:pt idx="2763">
                  <c:v>42510</c:v>
                </c:pt>
                <c:pt idx="2764">
                  <c:v>42513</c:v>
                </c:pt>
                <c:pt idx="2765">
                  <c:v>42514</c:v>
                </c:pt>
                <c:pt idx="2766">
                  <c:v>42515</c:v>
                </c:pt>
                <c:pt idx="2767">
                  <c:v>42516</c:v>
                </c:pt>
                <c:pt idx="2768">
                  <c:v>42517</c:v>
                </c:pt>
                <c:pt idx="2769">
                  <c:v>42520</c:v>
                </c:pt>
                <c:pt idx="2770">
                  <c:v>42521</c:v>
                </c:pt>
                <c:pt idx="2771">
                  <c:v>42522</c:v>
                </c:pt>
                <c:pt idx="2772">
                  <c:v>42523</c:v>
                </c:pt>
                <c:pt idx="2773">
                  <c:v>42524</c:v>
                </c:pt>
                <c:pt idx="2774">
                  <c:v>42527</c:v>
                </c:pt>
                <c:pt idx="2775">
                  <c:v>42528</c:v>
                </c:pt>
                <c:pt idx="2776">
                  <c:v>42529</c:v>
                </c:pt>
                <c:pt idx="2777">
                  <c:v>42534</c:v>
                </c:pt>
                <c:pt idx="2778">
                  <c:v>42535</c:v>
                </c:pt>
                <c:pt idx="2779">
                  <c:v>42536</c:v>
                </c:pt>
                <c:pt idx="2780">
                  <c:v>42537</c:v>
                </c:pt>
                <c:pt idx="2781">
                  <c:v>42538</c:v>
                </c:pt>
                <c:pt idx="2782">
                  <c:v>42541</c:v>
                </c:pt>
                <c:pt idx="2783">
                  <c:v>42542</c:v>
                </c:pt>
                <c:pt idx="2784">
                  <c:v>42543</c:v>
                </c:pt>
                <c:pt idx="2785">
                  <c:v>42544</c:v>
                </c:pt>
                <c:pt idx="2786">
                  <c:v>42545</c:v>
                </c:pt>
                <c:pt idx="2787">
                  <c:v>42548</c:v>
                </c:pt>
                <c:pt idx="2788">
                  <c:v>42549</c:v>
                </c:pt>
                <c:pt idx="2789">
                  <c:v>42550</c:v>
                </c:pt>
                <c:pt idx="2790">
                  <c:v>42551</c:v>
                </c:pt>
                <c:pt idx="2791">
                  <c:v>42552</c:v>
                </c:pt>
                <c:pt idx="2792">
                  <c:v>42555</c:v>
                </c:pt>
                <c:pt idx="2793">
                  <c:v>42556</c:v>
                </c:pt>
                <c:pt idx="2794">
                  <c:v>42557</c:v>
                </c:pt>
                <c:pt idx="2795">
                  <c:v>42558</c:v>
                </c:pt>
                <c:pt idx="2796">
                  <c:v>42559</c:v>
                </c:pt>
                <c:pt idx="2797">
                  <c:v>42562</c:v>
                </c:pt>
                <c:pt idx="2798">
                  <c:v>42563</c:v>
                </c:pt>
                <c:pt idx="2799">
                  <c:v>42564</c:v>
                </c:pt>
                <c:pt idx="2800">
                  <c:v>42565</c:v>
                </c:pt>
                <c:pt idx="2801">
                  <c:v>42566</c:v>
                </c:pt>
                <c:pt idx="2802">
                  <c:v>42569</c:v>
                </c:pt>
                <c:pt idx="2803">
                  <c:v>42570</c:v>
                </c:pt>
                <c:pt idx="2804">
                  <c:v>42571</c:v>
                </c:pt>
                <c:pt idx="2805">
                  <c:v>42572</c:v>
                </c:pt>
                <c:pt idx="2806">
                  <c:v>42573</c:v>
                </c:pt>
                <c:pt idx="2807">
                  <c:v>42576</c:v>
                </c:pt>
                <c:pt idx="2808">
                  <c:v>42577</c:v>
                </c:pt>
                <c:pt idx="2809">
                  <c:v>42578</c:v>
                </c:pt>
                <c:pt idx="2810">
                  <c:v>42579</c:v>
                </c:pt>
                <c:pt idx="2811">
                  <c:v>42580</c:v>
                </c:pt>
                <c:pt idx="2812">
                  <c:v>42583</c:v>
                </c:pt>
                <c:pt idx="2813">
                  <c:v>42584</c:v>
                </c:pt>
                <c:pt idx="2814">
                  <c:v>42585</c:v>
                </c:pt>
                <c:pt idx="2815">
                  <c:v>42586</c:v>
                </c:pt>
                <c:pt idx="2816">
                  <c:v>42587</c:v>
                </c:pt>
                <c:pt idx="2817">
                  <c:v>42590</c:v>
                </c:pt>
                <c:pt idx="2818">
                  <c:v>42591</c:v>
                </c:pt>
                <c:pt idx="2819">
                  <c:v>42592</c:v>
                </c:pt>
                <c:pt idx="2820">
                  <c:v>42593</c:v>
                </c:pt>
                <c:pt idx="2821">
                  <c:v>42594</c:v>
                </c:pt>
                <c:pt idx="2822">
                  <c:v>42597</c:v>
                </c:pt>
                <c:pt idx="2823">
                  <c:v>42598</c:v>
                </c:pt>
                <c:pt idx="2824">
                  <c:v>42599</c:v>
                </c:pt>
                <c:pt idx="2825">
                  <c:v>42600</c:v>
                </c:pt>
                <c:pt idx="2826">
                  <c:v>42601</c:v>
                </c:pt>
                <c:pt idx="2827">
                  <c:v>42604</c:v>
                </c:pt>
                <c:pt idx="2828">
                  <c:v>42605</c:v>
                </c:pt>
                <c:pt idx="2829">
                  <c:v>42606</c:v>
                </c:pt>
                <c:pt idx="2830">
                  <c:v>42607</c:v>
                </c:pt>
                <c:pt idx="2831">
                  <c:v>42608</c:v>
                </c:pt>
                <c:pt idx="2832">
                  <c:v>42611</c:v>
                </c:pt>
                <c:pt idx="2833">
                  <c:v>42612</c:v>
                </c:pt>
                <c:pt idx="2834">
                  <c:v>42613</c:v>
                </c:pt>
                <c:pt idx="2835">
                  <c:v>42614</c:v>
                </c:pt>
                <c:pt idx="2836">
                  <c:v>42615</c:v>
                </c:pt>
                <c:pt idx="2837">
                  <c:v>42618</c:v>
                </c:pt>
                <c:pt idx="2838">
                  <c:v>42619</c:v>
                </c:pt>
                <c:pt idx="2839">
                  <c:v>42620</c:v>
                </c:pt>
                <c:pt idx="2840">
                  <c:v>42621</c:v>
                </c:pt>
                <c:pt idx="2841">
                  <c:v>42622</c:v>
                </c:pt>
                <c:pt idx="2842">
                  <c:v>42625</c:v>
                </c:pt>
                <c:pt idx="2843">
                  <c:v>42626</c:v>
                </c:pt>
                <c:pt idx="2844">
                  <c:v>42627</c:v>
                </c:pt>
                <c:pt idx="2845">
                  <c:v>42632</c:v>
                </c:pt>
                <c:pt idx="2846">
                  <c:v>42633</c:v>
                </c:pt>
                <c:pt idx="2847">
                  <c:v>42634</c:v>
                </c:pt>
                <c:pt idx="2848">
                  <c:v>42635</c:v>
                </c:pt>
                <c:pt idx="2849">
                  <c:v>42636</c:v>
                </c:pt>
                <c:pt idx="2850">
                  <c:v>42639</c:v>
                </c:pt>
                <c:pt idx="2851">
                  <c:v>42640</c:v>
                </c:pt>
                <c:pt idx="2852">
                  <c:v>42641</c:v>
                </c:pt>
                <c:pt idx="2853">
                  <c:v>42642</c:v>
                </c:pt>
                <c:pt idx="2854">
                  <c:v>42643</c:v>
                </c:pt>
                <c:pt idx="2855">
                  <c:v>42653</c:v>
                </c:pt>
                <c:pt idx="2856">
                  <c:v>42654</c:v>
                </c:pt>
                <c:pt idx="2857">
                  <c:v>42655</c:v>
                </c:pt>
                <c:pt idx="2858">
                  <c:v>42656</c:v>
                </c:pt>
                <c:pt idx="2859">
                  <c:v>42657</c:v>
                </c:pt>
                <c:pt idx="2860">
                  <c:v>42660</c:v>
                </c:pt>
                <c:pt idx="2861">
                  <c:v>42661</c:v>
                </c:pt>
                <c:pt idx="2862">
                  <c:v>42662</c:v>
                </c:pt>
                <c:pt idx="2863">
                  <c:v>42663</c:v>
                </c:pt>
                <c:pt idx="2864">
                  <c:v>42664</c:v>
                </c:pt>
                <c:pt idx="2865">
                  <c:v>42667</c:v>
                </c:pt>
                <c:pt idx="2866">
                  <c:v>42668</c:v>
                </c:pt>
                <c:pt idx="2867">
                  <c:v>42669</c:v>
                </c:pt>
                <c:pt idx="2868">
                  <c:v>42670</c:v>
                </c:pt>
                <c:pt idx="2869">
                  <c:v>42671</c:v>
                </c:pt>
                <c:pt idx="2870">
                  <c:v>42674</c:v>
                </c:pt>
                <c:pt idx="2871">
                  <c:v>42675</c:v>
                </c:pt>
                <c:pt idx="2872">
                  <c:v>42676</c:v>
                </c:pt>
                <c:pt idx="2873">
                  <c:v>42677</c:v>
                </c:pt>
                <c:pt idx="2874">
                  <c:v>42678</c:v>
                </c:pt>
                <c:pt idx="2875">
                  <c:v>42681</c:v>
                </c:pt>
                <c:pt idx="2876">
                  <c:v>42682</c:v>
                </c:pt>
                <c:pt idx="2877">
                  <c:v>42683</c:v>
                </c:pt>
                <c:pt idx="2878">
                  <c:v>42684</c:v>
                </c:pt>
                <c:pt idx="2879">
                  <c:v>42685</c:v>
                </c:pt>
                <c:pt idx="2880">
                  <c:v>42688</c:v>
                </c:pt>
                <c:pt idx="2881">
                  <c:v>42689</c:v>
                </c:pt>
                <c:pt idx="2882">
                  <c:v>42690</c:v>
                </c:pt>
                <c:pt idx="2883">
                  <c:v>42691</c:v>
                </c:pt>
                <c:pt idx="2884">
                  <c:v>42692</c:v>
                </c:pt>
                <c:pt idx="2885">
                  <c:v>42695</c:v>
                </c:pt>
                <c:pt idx="2886">
                  <c:v>42696</c:v>
                </c:pt>
                <c:pt idx="2887">
                  <c:v>42697</c:v>
                </c:pt>
                <c:pt idx="2888">
                  <c:v>42698</c:v>
                </c:pt>
                <c:pt idx="2889">
                  <c:v>42699</c:v>
                </c:pt>
                <c:pt idx="2890">
                  <c:v>42702</c:v>
                </c:pt>
                <c:pt idx="2891">
                  <c:v>42703</c:v>
                </c:pt>
                <c:pt idx="2892">
                  <c:v>42704</c:v>
                </c:pt>
                <c:pt idx="2893">
                  <c:v>42705</c:v>
                </c:pt>
                <c:pt idx="2894">
                  <c:v>42706</c:v>
                </c:pt>
                <c:pt idx="2895">
                  <c:v>42709</c:v>
                </c:pt>
                <c:pt idx="2896">
                  <c:v>42710</c:v>
                </c:pt>
                <c:pt idx="2897">
                  <c:v>42711</c:v>
                </c:pt>
                <c:pt idx="2898">
                  <c:v>42712</c:v>
                </c:pt>
                <c:pt idx="2899">
                  <c:v>42713</c:v>
                </c:pt>
                <c:pt idx="2900">
                  <c:v>42716</c:v>
                </c:pt>
                <c:pt idx="2901">
                  <c:v>42717</c:v>
                </c:pt>
                <c:pt idx="2902">
                  <c:v>42718</c:v>
                </c:pt>
                <c:pt idx="2903">
                  <c:v>42719</c:v>
                </c:pt>
                <c:pt idx="2904">
                  <c:v>42720</c:v>
                </c:pt>
                <c:pt idx="2905">
                  <c:v>42723</c:v>
                </c:pt>
                <c:pt idx="2906">
                  <c:v>42724</c:v>
                </c:pt>
                <c:pt idx="2907">
                  <c:v>42725</c:v>
                </c:pt>
                <c:pt idx="2908">
                  <c:v>42726</c:v>
                </c:pt>
                <c:pt idx="2909">
                  <c:v>42727</c:v>
                </c:pt>
                <c:pt idx="2910">
                  <c:v>42730</c:v>
                </c:pt>
                <c:pt idx="2911">
                  <c:v>42731</c:v>
                </c:pt>
                <c:pt idx="2912">
                  <c:v>42732</c:v>
                </c:pt>
                <c:pt idx="2913">
                  <c:v>42733</c:v>
                </c:pt>
                <c:pt idx="2914">
                  <c:v>42734</c:v>
                </c:pt>
                <c:pt idx="2915">
                  <c:v>42738</c:v>
                </c:pt>
                <c:pt idx="2916">
                  <c:v>42739</c:v>
                </c:pt>
                <c:pt idx="2917">
                  <c:v>42740</c:v>
                </c:pt>
                <c:pt idx="2918">
                  <c:v>42741</c:v>
                </c:pt>
                <c:pt idx="2919">
                  <c:v>42744</c:v>
                </c:pt>
                <c:pt idx="2920">
                  <c:v>42745</c:v>
                </c:pt>
                <c:pt idx="2921">
                  <c:v>42746</c:v>
                </c:pt>
                <c:pt idx="2922">
                  <c:v>42747</c:v>
                </c:pt>
                <c:pt idx="2923">
                  <c:v>42748</c:v>
                </c:pt>
                <c:pt idx="2924">
                  <c:v>42751</c:v>
                </c:pt>
                <c:pt idx="2925">
                  <c:v>42752</c:v>
                </c:pt>
                <c:pt idx="2926">
                  <c:v>42753</c:v>
                </c:pt>
                <c:pt idx="2927">
                  <c:v>42754</c:v>
                </c:pt>
                <c:pt idx="2928">
                  <c:v>42755</c:v>
                </c:pt>
                <c:pt idx="2929">
                  <c:v>42758</c:v>
                </c:pt>
                <c:pt idx="2930">
                  <c:v>42759</c:v>
                </c:pt>
                <c:pt idx="2931">
                  <c:v>42760</c:v>
                </c:pt>
                <c:pt idx="2932">
                  <c:v>42761</c:v>
                </c:pt>
                <c:pt idx="2933">
                  <c:v>42769</c:v>
                </c:pt>
                <c:pt idx="2934">
                  <c:v>42772</c:v>
                </c:pt>
                <c:pt idx="2935">
                  <c:v>42773</c:v>
                </c:pt>
                <c:pt idx="2936">
                  <c:v>42774</c:v>
                </c:pt>
                <c:pt idx="2937">
                  <c:v>42775</c:v>
                </c:pt>
                <c:pt idx="2938">
                  <c:v>42776</c:v>
                </c:pt>
                <c:pt idx="2939">
                  <c:v>42779</c:v>
                </c:pt>
                <c:pt idx="2940">
                  <c:v>42780</c:v>
                </c:pt>
                <c:pt idx="2941">
                  <c:v>42781</c:v>
                </c:pt>
                <c:pt idx="2942">
                  <c:v>42782</c:v>
                </c:pt>
                <c:pt idx="2943">
                  <c:v>42783</c:v>
                </c:pt>
                <c:pt idx="2944">
                  <c:v>42786</c:v>
                </c:pt>
                <c:pt idx="2945">
                  <c:v>42787</c:v>
                </c:pt>
                <c:pt idx="2946">
                  <c:v>42788</c:v>
                </c:pt>
                <c:pt idx="2947">
                  <c:v>42789</c:v>
                </c:pt>
                <c:pt idx="2948">
                  <c:v>42790</c:v>
                </c:pt>
                <c:pt idx="2949">
                  <c:v>42793</c:v>
                </c:pt>
                <c:pt idx="2950">
                  <c:v>42794</c:v>
                </c:pt>
                <c:pt idx="2951">
                  <c:v>42795</c:v>
                </c:pt>
                <c:pt idx="2952">
                  <c:v>42796</c:v>
                </c:pt>
                <c:pt idx="2953">
                  <c:v>42797</c:v>
                </c:pt>
                <c:pt idx="2954">
                  <c:v>42800</c:v>
                </c:pt>
                <c:pt idx="2955">
                  <c:v>42801</c:v>
                </c:pt>
                <c:pt idx="2956">
                  <c:v>42802</c:v>
                </c:pt>
                <c:pt idx="2957">
                  <c:v>42803</c:v>
                </c:pt>
                <c:pt idx="2958">
                  <c:v>42804</c:v>
                </c:pt>
                <c:pt idx="2959">
                  <c:v>42807</c:v>
                </c:pt>
                <c:pt idx="2960">
                  <c:v>42808</c:v>
                </c:pt>
                <c:pt idx="2961">
                  <c:v>42809</c:v>
                </c:pt>
                <c:pt idx="2962">
                  <c:v>42810</c:v>
                </c:pt>
                <c:pt idx="2963">
                  <c:v>42811</c:v>
                </c:pt>
                <c:pt idx="2964">
                  <c:v>42814</c:v>
                </c:pt>
                <c:pt idx="2965">
                  <c:v>42815</c:v>
                </c:pt>
                <c:pt idx="2966">
                  <c:v>42816</c:v>
                </c:pt>
                <c:pt idx="2967">
                  <c:v>42817</c:v>
                </c:pt>
                <c:pt idx="2968">
                  <c:v>42818</c:v>
                </c:pt>
                <c:pt idx="2969">
                  <c:v>42821</c:v>
                </c:pt>
                <c:pt idx="2970">
                  <c:v>42822</c:v>
                </c:pt>
                <c:pt idx="2971">
                  <c:v>42823</c:v>
                </c:pt>
                <c:pt idx="2972">
                  <c:v>42824</c:v>
                </c:pt>
                <c:pt idx="2973">
                  <c:v>42825</c:v>
                </c:pt>
                <c:pt idx="2974">
                  <c:v>42830</c:v>
                </c:pt>
                <c:pt idx="2975">
                  <c:v>42831</c:v>
                </c:pt>
                <c:pt idx="2976">
                  <c:v>42832</c:v>
                </c:pt>
                <c:pt idx="2977">
                  <c:v>42835</c:v>
                </c:pt>
                <c:pt idx="2978">
                  <c:v>42836</c:v>
                </c:pt>
                <c:pt idx="2979">
                  <c:v>42837</c:v>
                </c:pt>
                <c:pt idx="2980">
                  <c:v>42838</c:v>
                </c:pt>
                <c:pt idx="2981">
                  <c:v>42839</c:v>
                </c:pt>
                <c:pt idx="2982">
                  <c:v>42842</c:v>
                </c:pt>
                <c:pt idx="2983">
                  <c:v>42843</c:v>
                </c:pt>
                <c:pt idx="2984">
                  <c:v>42844</c:v>
                </c:pt>
                <c:pt idx="2985">
                  <c:v>42845</c:v>
                </c:pt>
                <c:pt idx="2986">
                  <c:v>42846</c:v>
                </c:pt>
                <c:pt idx="2987">
                  <c:v>42849</c:v>
                </c:pt>
                <c:pt idx="2988">
                  <c:v>42850</c:v>
                </c:pt>
                <c:pt idx="2989">
                  <c:v>42851</c:v>
                </c:pt>
                <c:pt idx="2990">
                  <c:v>42852</c:v>
                </c:pt>
                <c:pt idx="2991">
                  <c:v>42853</c:v>
                </c:pt>
                <c:pt idx="2992">
                  <c:v>42857</c:v>
                </c:pt>
                <c:pt idx="2993">
                  <c:v>42858</c:v>
                </c:pt>
                <c:pt idx="2994">
                  <c:v>42859</c:v>
                </c:pt>
                <c:pt idx="2995">
                  <c:v>42860</c:v>
                </c:pt>
                <c:pt idx="2996">
                  <c:v>42863</c:v>
                </c:pt>
                <c:pt idx="2997">
                  <c:v>42864</c:v>
                </c:pt>
                <c:pt idx="2998">
                  <c:v>42865</c:v>
                </c:pt>
                <c:pt idx="2999">
                  <c:v>42866</c:v>
                </c:pt>
                <c:pt idx="3000">
                  <c:v>42867</c:v>
                </c:pt>
                <c:pt idx="3001">
                  <c:v>42870</c:v>
                </c:pt>
                <c:pt idx="3002">
                  <c:v>42871</c:v>
                </c:pt>
                <c:pt idx="3003">
                  <c:v>42872</c:v>
                </c:pt>
                <c:pt idx="3004">
                  <c:v>42873</c:v>
                </c:pt>
                <c:pt idx="3005">
                  <c:v>42874</c:v>
                </c:pt>
                <c:pt idx="3006">
                  <c:v>42877</c:v>
                </c:pt>
                <c:pt idx="3007">
                  <c:v>42878</c:v>
                </c:pt>
                <c:pt idx="3008">
                  <c:v>42879</c:v>
                </c:pt>
                <c:pt idx="3009">
                  <c:v>42880</c:v>
                </c:pt>
                <c:pt idx="3010">
                  <c:v>42881</c:v>
                </c:pt>
                <c:pt idx="3011">
                  <c:v>42886</c:v>
                </c:pt>
                <c:pt idx="3012">
                  <c:v>42887</c:v>
                </c:pt>
                <c:pt idx="3013">
                  <c:v>42888</c:v>
                </c:pt>
                <c:pt idx="3014">
                  <c:v>42891</c:v>
                </c:pt>
                <c:pt idx="3015">
                  <c:v>42892</c:v>
                </c:pt>
                <c:pt idx="3016">
                  <c:v>42893</c:v>
                </c:pt>
                <c:pt idx="3017">
                  <c:v>42894</c:v>
                </c:pt>
                <c:pt idx="3018">
                  <c:v>42895</c:v>
                </c:pt>
                <c:pt idx="3019">
                  <c:v>42898</c:v>
                </c:pt>
                <c:pt idx="3020">
                  <c:v>42899</c:v>
                </c:pt>
                <c:pt idx="3021">
                  <c:v>42900</c:v>
                </c:pt>
                <c:pt idx="3022">
                  <c:v>42901</c:v>
                </c:pt>
                <c:pt idx="3023">
                  <c:v>42902</c:v>
                </c:pt>
                <c:pt idx="3024">
                  <c:v>42905</c:v>
                </c:pt>
                <c:pt idx="3025">
                  <c:v>42906</c:v>
                </c:pt>
                <c:pt idx="3026">
                  <c:v>42907</c:v>
                </c:pt>
                <c:pt idx="3027">
                  <c:v>42908</c:v>
                </c:pt>
                <c:pt idx="3028">
                  <c:v>42909</c:v>
                </c:pt>
                <c:pt idx="3029">
                  <c:v>42912</c:v>
                </c:pt>
                <c:pt idx="3030">
                  <c:v>42913</c:v>
                </c:pt>
                <c:pt idx="3031">
                  <c:v>42914</c:v>
                </c:pt>
                <c:pt idx="3032">
                  <c:v>42915</c:v>
                </c:pt>
                <c:pt idx="3033">
                  <c:v>42916</c:v>
                </c:pt>
                <c:pt idx="3034">
                  <c:v>42919</c:v>
                </c:pt>
                <c:pt idx="3035">
                  <c:v>42920</c:v>
                </c:pt>
                <c:pt idx="3036">
                  <c:v>42921</c:v>
                </c:pt>
                <c:pt idx="3037">
                  <c:v>42922</c:v>
                </c:pt>
                <c:pt idx="3038">
                  <c:v>42923</c:v>
                </c:pt>
                <c:pt idx="3039">
                  <c:v>42926</c:v>
                </c:pt>
                <c:pt idx="3040">
                  <c:v>42927</c:v>
                </c:pt>
                <c:pt idx="3041">
                  <c:v>42928</c:v>
                </c:pt>
                <c:pt idx="3042">
                  <c:v>42929</c:v>
                </c:pt>
                <c:pt idx="3043">
                  <c:v>42930</c:v>
                </c:pt>
                <c:pt idx="3044">
                  <c:v>42933</c:v>
                </c:pt>
                <c:pt idx="3045">
                  <c:v>42934</c:v>
                </c:pt>
                <c:pt idx="3046">
                  <c:v>42935</c:v>
                </c:pt>
                <c:pt idx="3047">
                  <c:v>42936</c:v>
                </c:pt>
                <c:pt idx="3048">
                  <c:v>42937</c:v>
                </c:pt>
                <c:pt idx="3049">
                  <c:v>42940</c:v>
                </c:pt>
                <c:pt idx="3050">
                  <c:v>42941</c:v>
                </c:pt>
                <c:pt idx="3051">
                  <c:v>42942</c:v>
                </c:pt>
                <c:pt idx="3052">
                  <c:v>42943</c:v>
                </c:pt>
                <c:pt idx="3053">
                  <c:v>42944</c:v>
                </c:pt>
                <c:pt idx="3054">
                  <c:v>42947</c:v>
                </c:pt>
                <c:pt idx="3055">
                  <c:v>42948</c:v>
                </c:pt>
                <c:pt idx="3056">
                  <c:v>42949</c:v>
                </c:pt>
                <c:pt idx="3057">
                  <c:v>42950</c:v>
                </c:pt>
                <c:pt idx="3058">
                  <c:v>42951</c:v>
                </c:pt>
                <c:pt idx="3059">
                  <c:v>42954</c:v>
                </c:pt>
                <c:pt idx="3060">
                  <c:v>42955</c:v>
                </c:pt>
                <c:pt idx="3061">
                  <c:v>42956</c:v>
                </c:pt>
                <c:pt idx="3062">
                  <c:v>42957</c:v>
                </c:pt>
                <c:pt idx="3063">
                  <c:v>42958</c:v>
                </c:pt>
                <c:pt idx="3064">
                  <c:v>42961</c:v>
                </c:pt>
                <c:pt idx="3065">
                  <c:v>42962</c:v>
                </c:pt>
                <c:pt idx="3066">
                  <c:v>42963</c:v>
                </c:pt>
                <c:pt idx="3067">
                  <c:v>42964</c:v>
                </c:pt>
                <c:pt idx="3068">
                  <c:v>42965</c:v>
                </c:pt>
                <c:pt idx="3069">
                  <c:v>42968</c:v>
                </c:pt>
                <c:pt idx="3070">
                  <c:v>42969</c:v>
                </c:pt>
                <c:pt idx="3071">
                  <c:v>42970</c:v>
                </c:pt>
                <c:pt idx="3072">
                  <c:v>42971</c:v>
                </c:pt>
                <c:pt idx="3073">
                  <c:v>42972</c:v>
                </c:pt>
                <c:pt idx="3074">
                  <c:v>42975</c:v>
                </c:pt>
                <c:pt idx="3075">
                  <c:v>42976</c:v>
                </c:pt>
                <c:pt idx="3076">
                  <c:v>42977</c:v>
                </c:pt>
                <c:pt idx="3077">
                  <c:v>42978</c:v>
                </c:pt>
                <c:pt idx="3078">
                  <c:v>42979</c:v>
                </c:pt>
                <c:pt idx="3079">
                  <c:v>42982</c:v>
                </c:pt>
                <c:pt idx="3080">
                  <c:v>42983</c:v>
                </c:pt>
                <c:pt idx="3081">
                  <c:v>42984</c:v>
                </c:pt>
                <c:pt idx="3082">
                  <c:v>42985</c:v>
                </c:pt>
                <c:pt idx="3083">
                  <c:v>42986</c:v>
                </c:pt>
                <c:pt idx="3084">
                  <c:v>42989</c:v>
                </c:pt>
                <c:pt idx="3085">
                  <c:v>42990</c:v>
                </c:pt>
                <c:pt idx="3086">
                  <c:v>42991</c:v>
                </c:pt>
                <c:pt idx="3087">
                  <c:v>42992</c:v>
                </c:pt>
                <c:pt idx="3088">
                  <c:v>42993</c:v>
                </c:pt>
                <c:pt idx="3089">
                  <c:v>42996</c:v>
                </c:pt>
                <c:pt idx="3090">
                  <c:v>42997</c:v>
                </c:pt>
                <c:pt idx="3091">
                  <c:v>42998</c:v>
                </c:pt>
                <c:pt idx="3092">
                  <c:v>42999</c:v>
                </c:pt>
                <c:pt idx="3093">
                  <c:v>43000</c:v>
                </c:pt>
                <c:pt idx="3094">
                  <c:v>43003</c:v>
                </c:pt>
                <c:pt idx="3095">
                  <c:v>43004</c:v>
                </c:pt>
                <c:pt idx="3096">
                  <c:v>43005</c:v>
                </c:pt>
                <c:pt idx="3097">
                  <c:v>43006</c:v>
                </c:pt>
                <c:pt idx="3098">
                  <c:v>43007</c:v>
                </c:pt>
                <c:pt idx="3099">
                  <c:v>43017</c:v>
                </c:pt>
                <c:pt idx="3100">
                  <c:v>43018</c:v>
                </c:pt>
                <c:pt idx="3101">
                  <c:v>43019</c:v>
                </c:pt>
                <c:pt idx="3102">
                  <c:v>43020</c:v>
                </c:pt>
                <c:pt idx="3103">
                  <c:v>43021</c:v>
                </c:pt>
                <c:pt idx="3104">
                  <c:v>43024</c:v>
                </c:pt>
                <c:pt idx="3105">
                  <c:v>43025</c:v>
                </c:pt>
                <c:pt idx="3106">
                  <c:v>43026</c:v>
                </c:pt>
                <c:pt idx="3107">
                  <c:v>43027</c:v>
                </c:pt>
                <c:pt idx="3108">
                  <c:v>43028</c:v>
                </c:pt>
                <c:pt idx="3109">
                  <c:v>43031</c:v>
                </c:pt>
                <c:pt idx="3110">
                  <c:v>43032</c:v>
                </c:pt>
                <c:pt idx="3111">
                  <c:v>43033</c:v>
                </c:pt>
                <c:pt idx="3112">
                  <c:v>43034</c:v>
                </c:pt>
                <c:pt idx="3113">
                  <c:v>43035</c:v>
                </c:pt>
                <c:pt idx="3114">
                  <c:v>43038</c:v>
                </c:pt>
                <c:pt idx="3115">
                  <c:v>43039</c:v>
                </c:pt>
                <c:pt idx="3116">
                  <c:v>43040</c:v>
                </c:pt>
                <c:pt idx="3117">
                  <c:v>43041</c:v>
                </c:pt>
                <c:pt idx="3118">
                  <c:v>43042</c:v>
                </c:pt>
                <c:pt idx="3119">
                  <c:v>43045</c:v>
                </c:pt>
                <c:pt idx="3120">
                  <c:v>43046</c:v>
                </c:pt>
                <c:pt idx="3121">
                  <c:v>43047</c:v>
                </c:pt>
                <c:pt idx="3122">
                  <c:v>43048</c:v>
                </c:pt>
                <c:pt idx="3123">
                  <c:v>43049</c:v>
                </c:pt>
                <c:pt idx="3124">
                  <c:v>43052</c:v>
                </c:pt>
                <c:pt idx="3125">
                  <c:v>43053</c:v>
                </c:pt>
                <c:pt idx="3126">
                  <c:v>43054</c:v>
                </c:pt>
                <c:pt idx="3127">
                  <c:v>43055</c:v>
                </c:pt>
                <c:pt idx="3128">
                  <c:v>43056</c:v>
                </c:pt>
                <c:pt idx="3129">
                  <c:v>43059</c:v>
                </c:pt>
                <c:pt idx="3130">
                  <c:v>43060</c:v>
                </c:pt>
                <c:pt idx="3131">
                  <c:v>43061</c:v>
                </c:pt>
                <c:pt idx="3132">
                  <c:v>43062</c:v>
                </c:pt>
                <c:pt idx="3133">
                  <c:v>43063</c:v>
                </c:pt>
                <c:pt idx="3134">
                  <c:v>43066</c:v>
                </c:pt>
                <c:pt idx="3135">
                  <c:v>43067</c:v>
                </c:pt>
                <c:pt idx="3136">
                  <c:v>43068</c:v>
                </c:pt>
                <c:pt idx="3137">
                  <c:v>43069</c:v>
                </c:pt>
                <c:pt idx="3138">
                  <c:v>43070</c:v>
                </c:pt>
                <c:pt idx="3139">
                  <c:v>43073</c:v>
                </c:pt>
                <c:pt idx="3140">
                  <c:v>43074</c:v>
                </c:pt>
                <c:pt idx="3141">
                  <c:v>43075</c:v>
                </c:pt>
                <c:pt idx="3142">
                  <c:v>43076</c:v>
                </c:pt>
                <c:pt idx="3143">
                  <c:v>43077</c:v>
                </c:pt>
                <c:pt idx="3144">
                  <c:v>43080</c:v>
                </c:pt>
                <c:pt idx="3145">
                  <c:v>43081</c:v>
                </c:pt>
                <c:pt idx="3146">
                  <c:v>43082</c:v>
                </c:pt>
                <c:pt idx="3147">
                  <c:v>43083</c:v>
                </c:pt>
                <c:pt idx="3148">
                  <c:v>43084</c:v>
                </c:pt>
                <c:pt idx="3149">
                  <c:v>43087</c:v>
                </c:pt>
                <c:pt idx="3150">
                  <c:v>43088</c:v>
                </c:pt>
                <c:pt idx="3151">
                  <c:v>43089</c:v>
                </c:pt>
                <c:pt idx="3152">
                  <c:v>43090</c:v>
                </c:pt>
                <c:pt idx="3153">
                  <c:v>43091</c:v>
                </c:pt>
                <c:pt idx="3154">
                  <c:v>43094</c:v>
                </c:pt>
                <c:pt idx="3155">
                  <c:v>43095</c:v>
                </c:pt>
                <c:pt idx="3156">
                  <c:v>43096</c:v>
                </c:pt>
                <c:pt idx="3157">
                  <c:v>43097</c:v>
                </c:pt>
                <c:pt idx="3158">
                  <c:v>43098</c:v>
                </c:pt>
                <c:pt idx="3159">
                  <c:v>43102</c:v>
                </c:pt>
                <c:pt idx="3160">
                  <c:v>43103</c:v>
                </c:pt>
                <c:pt idx="3161">
                  <c:v>43104</c:v>
                </c:pt>
                <c:pt idx="3162">
                  <c:v>43105</c:v>
                </c:pt>
                <c:pt idx="3163">
                  <c:v>43108</c:v>
                </c:pt>
                <c:pt idx="3164">
                  <c:v>43109</c:v>
                </c:pt>
                <c:pt idx="3165">
                  <c:v>43110</c:v>
                </c:pt>
                <c:pt idx="3166">
                  <c:v>43111</c:v>
                </c:pt>
                <c:pt idx="3167">
                  <c:v>43112</c:v>
                </c:pt>
                <c:pt idx="3168">
                  <c:v>43115</c:v>
                </c:pt>
                <c:pt idx="3169">
                  <c:v>43116</c:v>
                </c:pt>
                <c:pt idx="3170">
                  <c:v>43117</c:v>
                </c:pt>
                <c:pt idx="3171">
                  <c:v>43118</c:v>
                </c:pt>
                <c:pt idx="3172">
                  <c:v>43119</c:v>
                </c:pt>
                <c:pt idx="3173">
                  <c:v>43122</c:v>
                </c:pt>
                <c:pt idx="3174">
                  <c:v>43123</c:v>
                </c:pt>
                <c:pt idx="3175">
                  <c:v>43124</c:v>
                </c:pt>
                <c:pt idx="3176">
                  <c:v>43125</c:v>
                </c:pt>
                <c:pt idx="3177">
                  <c:v>43126</c:v>
                </c:pt>
                <c:pt idx="3178">
                  <c:v>43129</c:v>
                </c:pt>
                <c:pt idx="3179">
                  <c:v>43130</c:v>
                </c:pt>
                <c:pt idx="3180">
                  <c:v>43131</c:v>
                </c:pt>
                <c:pt idx="3181">
                  <c:v>43132</c:v>
                </c:pt>
                <c:pt idx="3182">
                  <c:v>43133</c:v>
                </c:pt>
                <c:pt idx="3183">
                  <c:v>43136</c:v>
                </c:pt>
                <c:pt idx="3184">
                  <c:v>43137</c:v>
                </c:pt>
                <c:pt idx="3185">
                  <c:v>43138</c:v>
                </c:pt>
                <c:pt idx="3186">
                  <c:v>43139</c:v>
                </c:pt>
                <c:pt idx="3187">
                  <c:v>43140</c:v>
                </c:pt>
                <c:pt idx="3188">
                  <c:v>43143</c:v>
                </c:pt>
                <c:pt idx="3189">
                  <c:v>43144</c:v>
                </c:pt>
                <c:pt idx="3190">
                  <c:v>43145</c:v>
                </c:pt>
                <c:pt idx="3191">
                  <c:v>43153</c:v>
                </c:pt>
                <c:pt idx="3192">
                  <c:v>43154</c:v>
                </c:pt>
                <c:pt idx="3193">
                  <c:v>43157</c:v>
                </c:pt>
                <c:pt idx="3194">
                  <c:v>43158</c:v>
                </c:pt>
                <c:pt idx="3195">
                  <c:v>43159</c:v>
                </c:pt>
                <c:pt idx="3196">
                  <c:v>43160</c:v>
                </c:pt>
                <c:pt idx="3197">
                  <c:v>43161</c:v>
                </c:pt>
                <c:pt idx="3198">
                  <c:v>43164</c:v>
                </c:pt>
                <c:pt idx="3199">
                  <c:v>43165</c:v>
                </c:pt>
                <c:pt idx="3200">
                  <c:v>43166</c:v>
                </c:pt>
                <c:pt idx="3201">
                  <c:v>43167</c:v>
                </c:pt>
                <c:pt idx="3202">
                  <c:v>43168</c:v>
                </c:pt>
                <c:pt idx="3203">
                  <c:v>43171</c:v>
                </c:pt>
                <c:pt idx="3204">
                  <c:v>43172</c:v>
                </c:pt>
                <c:pt idx="3205">
                  <c:v>43173</c:v>
                </c:pt>
                <c:pt idx="3206">
                  <c:v>43174</c:v>
                </c:pt>
                <c:pt idx="3207">
                  <c:v>43175</c:v>
                </c:pt>
                <c:pt idx="3208">
                  <c:v>43178</c:v>
                </c:pt>
                <c:pt idx="3209">
                  <c:v>43179</c:v>
                </c:pt>
                <c:pt idx="3210">
                  <c:v>43180</c:v>
                </c:pt>
                <c:pt idx="3211">
                  <c:v>43181</c:v>
                </c:pt>
                <c:pt idx="3212">
                  <c:v>43182</c:v>
                </c:pt>
                <c:pt idx="3213">
                  <c:v>43185</c:v>
                </c:pt>
                <c:pt idx="3214">
                  <c:v>43186</c:v>
                </c:pt>
                <c:pt idx="3215">
                  <c:v>43187</c:v>
                </c:pt>
                <c:pt idx="3216">
                  <c:v>43188</c:v>
                </c:pt>
                <c:pt idx="3217">
                  <c:v>43189</c:v>
                </c:pt>
                <c:pt idx="3218">
                  <c:v>43192</c:v>
                </c:pt>
                <c:pt idx="3219">
                  <c:v>43193</c:v>
                </c:pt>
                <c:pt idx="3220">
                  <c:v>43194</c:v>
                </c:pt>
                <c:pt idx="3221">
                  <c:v>43199</c:v>
                </c:pt>
                <c:pt idx="3222">
                  <c:v>43200</c:v>
                </c:pt>
                <c:pt idx="3223">
                  <c:v>43201</c:v>
                </c:pt>
                <c:pt idx="3224">
                  <c:v>43202</c:v>
                </c:pt>
                <c:pt idx="3225">
                  <c:v>43203</c:v>
                </c:pt>
                <c:pt idx="3226">
                  <c:v>43206</c:v>
                </c:pt>
                <c:pt idx="3227">
                  <c:v>43207</c:v>
                </c:pt>
                <c:pt idx="3228">
                  <c:v>43208</c:v>
                </c:pt>
                <c:pt idx="3229">
                  <c:v>43209</c:v>
                </c:pt>
                <c:pt idx="3230">
                  <c:v>43210</c:v>
                </c:pt>
                <c:pt idx="3231">
                  <c:v>43213</c:v>
                </c:pt>
                <c:pt idx="3232">
                  <c:v>43214</c:v>
                </c:pt>
                <c:pt idx="3233">
                  <c:v>43215</c:v>
                </c:pt>
                <c:pt idx="3234">
                  <c:v>43216</c:v>
                </c:pt>
                <c:pt idx="3235">
                  <c:v>43217</c:v>
                </c:pt>
                <c:pt idx="3236">
                  <c:v>43222</c:v>
                </c:pt>
                <c:pt idx="3237">
                  <c:v>43223</c:v>
                </c:pt>
                <c:pt idx="3238">
                  <c:v>43224</c:v>
                </c:pt>
                <c:pt idx="3239">
                  <c:v>43227</c:v>
                </c:pt>
                <c:pt idx="3240">
                  <c:v>43228</c:v>
                </c:pt>
                <c:pt idx="3241">
                  <c:v>43229</c:v>
                </c:pt>
                <c:pt idx="3242">
                  <c:v>43230</c:v>
                </c:pt>
                <c:pt idx="3243">
                  <c:v>43231</c:v>
                </c:pt>
                <c:pt idx="3244">
                  <c:v>43234</c:v>
                </c:pt>
                <c:pt idx="3245">
                  <c:v>43235</c:v>
                </c:pt>
                <c:pt idx="3246">
                  <c:v>43236</c:v>
                </c:pt>
                <c:pt idx="3247">
                  <c:v>43237</c:v>
                </c:pt>
                <c:pt idx="3248">
                  <c:v>43238</c:v>
                </c:pt>
                <c:pt idx="3249">
                  <c:v>43241</c:v>
                </c:pt>
                <c:pt idx="3250">
                  <c:v>43242</c:v>
                </c:pt>
                <c:pt idx="3251">
                  <c:v>43243</c:v>
                </c:pt>
                <c:pt idx="3252">
                  <c:v>43244</c:v>
                </c:pt>
                <c:pt idx="3253">
                  <c:v>43245</c:v>
                </c:pt>
                <c:pt idx="3254">
                  <c:v>43248</c:v>
                </c:pt>
                <c:pt idx="3255">
                  <c:v>43249</c:v>
                </c:pt>
                <c:pt idx="3256">
                  <c:v>43250</c:v>
                </c:pt>
                <c:pt idx="3257">
                  <c:v>43251</c:v>
                </c:pt>
                <c:pt idx="3258">
                  <c:v>43252</c:v>
                </c:pt>
                <c:pt idx="3259">
                  <c:v>43255</c:v>
                </c:pt>
                <c:pt idx="3260">
                  <c:v>43256</c:v>
                </c:pt>
                <c:pt idx="3261">
                  <c:v>43257</c:v>
                </c:pt>
                <c:pt idx="3262">
                  <c:v>43258</c:v>
                </c:pt>
                <c:pt idx="3263">
                  <c:v>43259</c:v>
                </c:pt>
                <c:pt idx="3264">
                  <c:v>43262</c:v>
                </c:pt>
                <c:pt idx="3265">
                  <c:v>43263</c:v>
                </c:pt>
                <c:pt idx="3266">
                  <c:v>43264</c:v>
                </c:pt>
                <c:pt idx="3267">
                  <c:v>43265</c:v>
                </c:pt>
                <c:pt idx="3268">
                  <c:v>43266</c:v>
                </c:pt>
                <c:pt idx="3269">
                  <c:v>43270</c:v>
                </c:pt>
                <c:pt idx="3270">
                  <c:v>43271</c:v>
                </c:pt>
                <c:pt idx="3271">
                  <c:v>43272</c:v>
                </c:pt>
                <c:pt idx="3272">
                  <c:v>43273</c:v>
                </c:pt>
                <c:pt idx="3273">
                  <c:v>43276</c:v>
                </c:pt>
                <c:pt idx="3274">
                  <c:v>43277</c:v>
                </c:pt>
                <c:pt idx="3275">
                  <c:v>43278</c:v>
                </c:pt>
                <c:pt idx="3276">
                  <c:v>43279</c:v>
                </c:pt>
                <c:pt idx="3277">
                  <c:v>43280</c:v>
                </c:pt>
                <c:pt idx="3278">
                  <c:v>43283</c:v>
                </c:pt>
                <c:pt idx="3279">
                  <c:v>43284</c:v>
                </c:pt>
                <c:pt idx="3280">
                  <c:v>43285</c:v>
                </c:pt>
                <c:pt idx="3281">
                  <c:v>43286</c:v>
                </c:pt>
                <c:pt idx="3282">
                  <c:v>43287</c:v>
                </c:pt>
                <c:pt idx="3283">
                  <c:v>43290</c:v>
                </c:pt>
                <c:pt idx="3284">
                  <c:v>43291</c:v>
                </c:pt>
                <c:pt idx="3285">
                  <c:v>43292</c:v>
                </c:pt>
                <c:pt idx="3286">
                  <c:v>43293</c:v>
                </c:pt>
                <c:pt idx="3287">
                  <c:v>43294</c:v>
                </c:pt>
                <c:pt idx="3288">
                  <c:v>43297</c:v>
                </c:pt>
                <c:pt idx="3289">
                  <c:v>43298</c:v>
                </c:pt>
                <c:pt idx="3290">
                  <c:v>43299</c:v>
                </c:pt>
                <c:pt idx="3291">
                  <c:v>43300</c:v>
                </c:pt>
                <c:pt idx="3292">
                  <c:v>43301</c:v>
                </c:pt>
                <c:pt idx="3293">
                  <c:v>43304</c:v>
                </c:pt>
                <c:pt idx="3294">
                  <c:v>43305</c:v>
                </c:pt>
                <c:pt idx="3295">
                  <c:v>43306</c:v>
                </c:pt>
                <c:pt idx="3296">
                  <c:v>43307</c:v>
                </c:pt>
                <c:pt idx="3297">
                  <c:v>43308</c:v>
                </c:pt>
                <c:pt idx="3298">
                  <c:v>43311</c:v>
                </c:pt>
                <c:pt idx="3299">
                  <c:v>43312</c:v>
                </c:pt>
                <c:pt idx="3300">
                  <c:v>43313</c:v>
                </c:pt>
                <c:pt idx="3301">
                  <c:v>43314</c:v>
                </c:pt>
                <c:pt idx="3302">
                  <c:v>43315</c:v>
                </c:pt>
                <c:pt idx="3303">
                  <c:v>43318</c:v>
                </c:pt>
                <c:pt idx="3304">
                  <c:v>43319</c:v>
                </c:pt>
                <c:pt idx="3305">
                  <c:v>43320</c:v>
                </c:pt>
                <c:pt idx="3306">
                  <c:v>43321</c:v>
                </c:pt>
                <c:pt idx="3307">
                  <c:v>43322</c:v>
                </c:pt>
                <c:pt idx="3308">
                  <c:v>43325</c:v>
                </c:pt>
                <c:pt idx="3309">
                  <c:v>43326</c:v>
                </c:pt>
                <c:pt idx="3310">
                  <c:v>43327</c:v>
                </c:pt>
                <c:pt idx="3311">
                  <c:v>43328</c:v>
                </c:pt>
                <c:pt idx="3312">
                  <c:v>43329</c:v>
                </c:pt>
                <c:pt idx="3313">
                  <c:v>43332</c:v>
                </c:pt>
                <c:pt idx="3314">
                  <c:v>43333</c:v>
                </c:pt>
                <c:pt idx="3315">
                  <c:v>43334</c:v>
                </c:pt>
                <c:pt idx="3316">
                  <c:v>43335</c:v>
                </c:pt>
                <c:pt idx="3317">
                  <c:v>43336</c:v>
                </c:pt>
                <c:pt idx="3318">
                  <c:v>43339</c:v>
                </c:pt>
                <c:pt idx="3319">
                  <c:v>43340</c:v>
                </c:pt>
                <c:pt idx="3320">
                  <c:v>43341</c:v>
                </c:pt>
                <c:pt idx="3321">
                  <c:v>43342</c:v>
                </c:pt>
                <c:pt idx="3322">
                  <c:v>43343</c:v>
                </c:pt>
                <c:pt idx="3323">
                  <c:v>43346</c:v>
                </c:pt>
                <c:pt idx="3324">
                  <c:v>43347</c:v>
                </c:pt>
                <c:pt idx="3325">
                  <c:v>43348</c:v>
                </c:pt>
                <c:pt idx="3326">
                  <c:v>43349</c:v>
                </c:pt>
                <c:pt idx="3327">
                  <c:v>43350</c:v>
                </c:pt>
                <c:pt idx="3328">
                  <c:v>43353</c:v>
                </c:pt>
                <c:pt idx="3329">
                  <c:v>43354</c:v>
                </c:pt>
                <c:pt idx="3330">
                  <c:v>43355</c:v>
                </c:pt>
                <c:pt idx="3331">
                  <c:v>43356</c:v>
                </c:pt>
                <c:pt idx="3332">
                  <c:v>43357</c:v>
                </c:pt>
                <c:pt idx="3333">
                  <c:v>43360</c:v>
                </c:pt>
                <c:pt idx="3334">
                  <c:v>43361</c:v>
                </c:pt>
                <c:pt idx="3335">
                  <c:v>43362</c:v>
                </c:pt>
                <c:pt idx="3336">
                  <c:v>43363</c:v>
                </c:pt>
                <c:pt idx="3337">
                  <c:v>43364</c:v>
                </c:pt>
                <c:pt idx="3338">
                  <c:v>43368</c:v>
                </c:pt>
                <c:pt idx="3339">
                  <c:v>43369</c:v>
                </c:pt>
                <c:pt idx="3340">
                  <c:v>43370</c:v>
                </c:pt>
                <c:pt idx="3341">
                  <c:v>43371</c:v>
                </c:pt>
                <c:pt idx="3342">
                  <c:v>43381</c:v>
                </c:pt>
                <c:pt idx="3343">
                  <c:v>43382</c:v>
                </c:pt>
                <c:pt idx="3344">
                  <c:v>43383</c:v>
                </c:pt>
                <c:pt idx="3345">
                  <c:v>43384</c:v>
                </c:pt>
                <c:pt idx="3346">
                  <c:v>43385</c:v>
                </c:pt>
                <c:pt idx="3347">
                  <c:v>43388</c:v>
                </c:pt>
                <c:pt idx="3348">
                  <c:v>43389</c:v>
                </c:pt>
                <c:pt idx="3349">
                  <c:v>43390</c:v>
                </c:pt>
                <c:pt idx="3350">
                  <c:v>43391</c:v>
                </c:pt>
                <c:pt idx="3351">
                  <c:v>43392</c:v>
                </c:pt>
                <c:pt idx="3352">
                  <c:v>43395</c:v>
                </c:pt>
                <c:pt idx="3353">
                  <c:v>43396</c:v>
                </c:pt>
                <c:pt idx="3354">
                  <c:v>43397</c:v>
                </c:pt>
                <c:pt idx="3355">
                  <c:v>43398</c:v>
                </c:pt>
                <c:pt idx="3356">
                  <c:v>43399</c:v>
                </c:pt>
                <c:pt idx="3357">
                  <c:v>43402</c:v>
                </c:pt>
                <c:pt idx="3358">
                  <c:v>43403</c:v>
                </c:pt>
                <c:pt idx="3359">
                  <c:v>43404</c:v>
                </c:pt>
                <c:pt idx="3360">
                  <c:v>43405</c:v>
                </c:pt>
                <c:pt idx="3361">
                  <c:v>43406</c:v>
                </c:pt>
                <c:pt idx="3362">
                  <c:v>43409</c:v>
                </c:pt>
                <c:pt idx="3363">
                  <c:v>43410</c:v>
                </c:pt>
                <c:pt idx="3364">
                  <c:v>43411</c:v>
                </c:pt>
                <c:pt idx="3365">
                  <c:v>43412</c:v>
                </c:pt>
                <c:pt idx="3366">
                  <c:v>43413</c:v>
                </c:pt>
                <c:pt idx="3367">
                  <c:v>43416</c:v>
                </c:pt>
                <c:pt idx="3368">
                  <c:v>43417</c:v>
                </c:pt>
                <c:pt idx="3369">
                  <c:v>43418</c:v>
                </c:pt>
                <c:pt idx="3370">
                  <c:v>43419</c:v>
                </c:pt>
                <c:pt idx="3371">
                  <c:v>43420</c:v>
                </c:pt>
                <c:pt idx="3372">
                  <c:v>43423</c:v>
                </c:pt>
                <c:pt idx="3373">
                  <c:v>43424</c:v>
                </c:pt>
                <c:pt idx="3374">
                  <c:v>43425</c:v>
                </c:pt>
                <c:pt idx="3375">
                  <c:v>43426</c:v>
                </c:pt>
                <c:pt idx="3376">
                  <c:v>43427</c:v>
                </c:pt>
                <c:pt idx="3377">
                  <c:v>43430</c:v>
                </c:pt>
                <c:pt idx="3378">
                  <c:v>43431</c:v>
                </c:pt>
                <c:pt idx="3379">
                  <c:v>43432</c:v>
                </c:pt>
                <c:pt idx="3380">
                  <c:v>43433</c:v>
                </c:pt>
                <c:pt idx="3381">
                  <c:v>43434</c:v>
                </c:pt>
                <c:pt idx="3382">
                  <c:v>43437</c:v>
                </c:pt>
                <c:pt idx="3383">
                  <c:v>43438</c:v>
                </c:pt>
                <c:pt idx="3384">
                  <c:v>43439</c:v>
                </c:pt>
                <c:pt idx="3385">
                  <c:v>43440</c:v>
                </c:pt>
                <c:pt idx="3386">
                  <c:v>43441</c:v>
                </c:pt>
                <c:pt idx="3387">
                  <c:v>43444</c:v>
                </c:pt>
                <c:pt idx="3388">
                  <c:v>43445</c:v>
                </c:pt>
                <c:pt idx="3389">
                  <c:v>43446</c:v>
                </c:pt>
                <c:pt idx="3390">
                  <c:v>43447</c:v>
                </c:pt>
                <c:pt idx="3391">
                  <c:v>43448</c:v>
                </c:pt>
                <c:pt idx="3392">
                  <c:v>43451</c:v>
                </c:pt>
                <c:pt idx="3393">
                  <c:v>43452</c:v>
                </c:pt>
                <c:pt idx="3394">
                  <c:v>43453</c:v>
                </c:pt>
                <c:pt idx="3395">
                  <c:v>43454</c:v>
                </c:pt>
                <c:pt idx="3396">
                  <c:v>43455</c:v>
                </c:pt>
                <c:pt idx="3397">
                  <c:v>43458</c:v>
                </c:pt>
                <c:pt idx="3398">
                  <c:v>43459</c:v>
                </c:pt>
                <c:pt idx="3399">
                  <c:v>43460</c:v>
                </c:pt>
                <c:pt idx="3400">
                  <c:v>43461</c:v>
                </c:pt>
                <c:pt idx="3401">
                  <c:v>43462</c:v>
                </c:pt>
                <c:pt idx="3402">
                  <c:v>43467</c:v>
                </c:pt>
                <c:pt idx="3403">
                  <c:v>43468</c:v>
                </c:pt>
                <c:pt idx="3404">
                  <c:v>43469</c:v>
                </c:pt>
                <c:pt idx="3405">
                  <c:v>43472</c:v>
                </c:pt>
                <c:pt idx="3406">
                  <c:v>43473</c:v>
                </c:pt>
                <c:pt idx="3407">
                  <c:v>43474</c:v>
                </c:pt>
                <c:pt idx="3408">
                  <c:v>43475</c:v>
                </c:pt>
                <c:pt idx="3409">
                  <c:v>43476</c:v>
                </c:pt>
                <c:pt idx="3410">
                  <c:v>43479</c:v>
                </c:pt>
                <c:pt idx="3411">
                  <c:v>43480</c:v>
                </c:pt>
                <c:pt idx="3412">
                  <c:v>43481</c:v>
                </c:pt>
                <c:pt idx="3413">
                  <c:v>43482</c:v>
                </c:pt>
                <c:pt idx="3414">
                  <c:v>43483</c:v>
                </c:pt>
                <c:pt idx="3415">
                  <c:v>43486</c:v>
                </c:pt>
                <c:pt idx="3416">
                  <c:v>43487</c:v>
                </c:pt>
                <c:pt idx="3417">
                  <c:v>43488</c:v>
                </c:pt>
                <c:pt idx="3418">
                  <c:v>43489</c:v>
                </c:pt>
                <c:pt idx="3419">
                  <c:v>43490</c:v>
                </c:pt>
                <c:pt idx="3420">
                  <c:v>43493</c:v>
                </c:pt>
                <c:pt idx="3421">
                  <c:v>43494</c:v>
                </c:pt>
                <c:pt idx="3422">
                  <c:v>43495</c:v>
                </c:pt>
                <c:pt idx="3423">
                  <c:v>43496</c:v>
                </c:pt>
                <c:pt idx="3424">
                  <c:v>43497</c:v>
                </c:pt>
                <c:pt idx="3425">
                  <c:v>43507</c:v>
                </c:pt>
                <c:pt idx="3426">
                  <c:v>43508</c:v>
                </c:pt>
                <c:pt idx="3427">
                  <c:v>43509</c:v>
                </c:pt>
                <c:pt idx="3428">
                  <c:v>43510</c:v>
                </c:pt>
                <c:pt idx="3429">
                  <c:v>43511</c:v>
                </c:pt>
                <c:pt idx="3430">
                  <c:v>43514</c:v>
                </c:pt>
                <c:pt idx="3431">
                  <c:v>43515</c:v>
                </c:pt>
                <c:pt idx="3432">
                  <c:v>43516</c:v>
                </c:pt>
                <c:pt idx="3433">
                  <c:v>43517</c:v>
                </c:pt>
                <c:pt idx="3434">
                  <c:v>43518</c:v>
                </c:pt>
                <c:pt idx="3435">
                  <c:v>43521</c:v>
                </c:pt>
                <c:pt idx="3436">
                  <c:v>43522</c:v>
                </c:pt>
                <c:pt idx="3437">
                  <c:v>43523</c:v>
                </c:pt>
                <c:pt idx="3438">
                  <c:v>43524</c:v>
                </c:pt>
                <c:pt idx="3439">
                  <c:v>43525</c:v>
                </c:pt>
                <c:pt idx="3440">
                  <c:v>43528</c:v>
                </c:pt>
                <c:pt idx="3441">
                  <c:v>43529</c:v>
                </c:pt>
                <c:pt idx="3442">
                  <c:v>43530</c:v>
                </c:pt>
                <c:pt idx="3443">
                  <c:v>43531</c:v>
                </c:pt>
                <c:pt idx="3444">
                  <c:v>43532</c:v>
                </c:pt>
                <c:pt idx="3445">
                  <c:v>43535</c:v>
                </c:pt>
                <c:pt idx="3446">
                  <c:v>43536</c:v>
                </c:pt>
                <c:pt idx="3447">
                  <c:v>43537</c:v>
                </c:pt>
                <c:pt idx="3448">
                  <c:v>43538</c:v>
                </c:pt>
                <c:pt idx="3449">
                  <c:v>43539</c:v>
                </c:pt>
                <c:pt idx="3450">
                  <c:v>43542</c:v>
                </c:pt>
                <c:pt idx="3451">
                  <c:v>43543</c:v>
                </c:pt>
                <c:pt idx="3452">
                  <c:v>43544</c:v>
                </c:pt>
                <c:pt idx="3453">
                  <c:v>43545</c:v>
                </c:pt>
                <c:pt idx="3454">
                  <c:v>43546</c:v>
                </c:pt>
                <c:pt idx="3455">
                  <c:v>43549</c:v>
                </c:pt>
                <c:pt idx="3456">
                  <c:v>43550</c:v>
                </c:pt>
                <c:pt idx="3457">
                  <c:v>43551</c:v>
                </c:pt>
                <c:pt idx="3458">
                  <c:v>43552</c:v>
                </c:pt>
                <c:pt idx="3459">
                  <c:v>43553</c:v>
                </c:pt>
                <c:pt idx="3460">
                  <c:v>43556</c:v>
                </c:pt>
                <c:pt idx="3461">
                  <c:v>43557</c:v>
                </c:pt>
                <c:pt idx="3462">
                  <c:v>43558</c:v>
                </c:pt>
                <c:pt idx="3463">
                  <c:v>43559</c:v>
                </c:pt>
                <c:pt idx="3464">
                  <c:v>43563</c:v>
                </c:pt>
                <c:pt idx="3465">
                  <c:v>43564</c:v>
                </c:pt>
                <c:pt idx="3466">
                  <c:v>43565</c:v>
                </c:pt>
                <c:pt idx="3467">
                  <c:v>43566</c:v>
                </c:pt>
                <c:pt idx="3468">
                  <c:v>43567</c:v>
                </c:pt>
                <c:pt idx="3469">
                  <c:v>43570</c:v>
                </c:pt>
                <c:pt idx="3470">
                  <c:v>43571</c:v>
                </c:pt>
                <c:pt idx="3471">
                  <c:v>43572</c:v>
                </c:pt>
                <c:pt idx="3472">
                  <c:v>43573</c:v>
                </c:pt>
                <c:pt idx="3473">
                  <c:v>43574</c:v>
                </c:pt>
                <c:pt idx="3474">
                  <c:v>43577</c:v>
                </c:pt>
                <c:pt idx="3475">
                  <c:v>43578</c:v>
                </c:pt>
                <c:pt idx="3476">
                  <c:v>43579</c:v>
                </c:pt>
                <c:pt idx="3477">
                  <c:v>43580</c:v>
                </c:pt>
                <c:pt idx="3478">
                  <c:v>43581</c:v>
                </c:pt>
                <c:pt idx="3479">
                  <c:v>43584</c:v>
                </c:pt>
                <c:pt idx="3480">
                  <c:v>43585</c:v>
                </c:pt>
                <c:pt idx="3481">
                  <c:v>43591</c:v>
                </c:pt>
                <c:pt idx="3482">
                  <c:v>43592</c:v>
                </c:pt>
                <c:pt idx="3483">
                  <c:v>43593</c:v>
                </c:pt>
                <c:pt idx="3484">
                  <c:v>43594</c:v>
                </c:pt>
                <c:pt idx="3485">
                  <c:v>43595</c:v>
                </c:pt>
                <c:pt idx="3486">
                  <c:v>43598</c:v>
                </c:pt>
                <c:pt idx="3487">
                  <c:v>43599</c:v>
                </c:pt>
                <c:pt idx="3488">
                  <c:v>43600</c:v>
                </c:pt>
                <c:pt idx="3489">
                  <c:v>43601</c:v>
                </c:pt>
                <c:pt idx="3490">
                  <c:v>43602</c:v>
                </c:pt>
                <c:pt idx="3491">
                  <c:v>43605</c:v>
                </c:pt>
                <c:pt idx="3492">
                  <c:v>43606</c:v>
                </c:pt>
                <c:pt idx="3493">
                  <c:v>43607</c:v>
                </c:pt>
                <c:pt idx="3494">
                  <c:v>43608</c:v>
                </c:pt>
                <c:pt idx="3495">
                  <c:v>43609</c:v>
                </c:pt>
                <c:pt idx="3496">
                  <c:v>43612</c:v>
                </c:pt>
                <c:pt idx="3497">
                  <c:v>43613</c:v>
                </c:pt>
                <c:pt idx="3498">
                  <c:v>43614</c:v>
                </c:pt>
                <c:pt idx="3499">
                  <c:v>43615</c:v>
                </c:pt>
                <c:pt idx="3500">
                  <c:v>43616</c:v>
                </c:pt>
                <c:pt idx="3501">
                  <c:v>43619</c:v>
                </c:pt>
                <c:pt idx="3502">
                  <c:v>43620</c:v>
                </c:pt>
                <c:pt idx="3503">
                  <c:v>43621</c:v>
                </c:pt>
                <c:pt idx="3504">
                  <c:v>43622</c:v>
                </c:pt>
                <c:pt idx="3505">
                  <c:v>43626</c:v>
                </c:pt>
                <c:pt idx="3506">
                  <c:v>43627</c:v>
                </c:pt>
                <c:pt idx="3507">
                  <c:v>43628</c:v>
                </c:pt>
                <c:pt idx="3508">
                  <c:v>43629</c:v>
                </c:pt>
                <c:pt idx="3509">
                  <c:v>43630</c:v>
                </c:pt>
                <c:pt idx="3510">
                  <c:v>43633</c:v>
                </c:pt>
                <c:pt idx="3511">
                  <c:v>43634</c:v>
                </c:pt>
                <c:pt idx="3512">
                  <c:v>43635</c:v>
                </c:pt>
                <c:pt idx="3513">
                  <c:v>43636</c:v>
                </c:pt>
                <c:pt idx="3514">
                  <c:v>43637</c:v>
                </c:pt>
                <c:pt idx="3515">
                  <c:v>43640</c:v>
                </c:pt>
                <c:pt idx="3516">
                  <c:v>43641</c:v>
                </c:pt>
                <c:pt idx="3517">
                  <c:v>43642</c:v>
                </c:pt>
                <c:pt idx="3518">
                  <c:v>43643</c:v>
                </c:pt>
                <c:pt idx="3519">
                  <c:v>43644</c:v>
                </c:pt>
                <c:pt idx="3520">
                  <c:v>43647</c:v>
                </c:pt>
                <c:pt idx="3521">
                  <c:v>43648</c:v>
                </c:pt>
                <c:pt idx="3522">
                  <c:v>43649</c:v>
                </c:pt>
                <c:pt idx="3523">
                  <c:v>43650</c:v>
                </c:pt>
                <c:pt idx="3524">
                  <c:v>43651</c:v>
                </c:pt>
                <c:pt idx="3525">
                  <c:v>43654</c:v>
                </c:pt>
                <c:pt idx="3526">
                  <c:v>43655</c:v>
                </c:pt>
                <c:pt idx="3527">
                  <c:v>43656</c:v>
                </c:pt>
                <c:pt idx="3528">
                  <c:v>43657</c:v>
                </c:pt>
                <c:pt idx="3529">
                  <c:v>43658</c:v>
                </c:pt>
                <c:pt idx="3530">
                  <c:v>43661</c:v>
                </c:pt>
                <c:pt idx="3531">
                  <c:v>43662</c:v>
                </c:pt>
                <c:pt idx="3532">
                  <c:v>43663</c:v>
                </c:pt>
                <c:pt idx="3533">
                  <c:v>43664</c:v>
                </c:pt>
                <c:pt idx="3534">
                  <c:v>43665</c:v>
                </c:pt>
                <c:pt idx="3535">
                  <c:v>43668</c:v>
                </c:pt>
                <c:pt idx="3536">
                  <c:v>43669</c:v>
                </c:pt>
                <c:pt idx="3537">
                  <c:v>43670</c:v>
                </c:pt>
                <c:pt idx="3538">
                  <c:v>43671</c:v>
                </c:pt>
                <c:pt idx="3539">
                  <c:v>43672</c:v>
                </c:pt>
                <c:pt idx="3540">
                  <c:v>43675</c:v>
                </c:pt>
                <c:pt idx="3541">
                  <c:v>43676</c:v>
                </c:pt>
                <c:pt idx="3542">
                  <c:v>43677</c:v>
                </c:pt>
                <c:pt idx="3543">
                  <c:v>43678</c:v>
                </c:pt>
                <c:pt idx="3544">
                  <c:v>43679</c:v>
                </c:pt>
                <c:pt idx="3545">
                  <c:v>43682</c:v>
                </c:pt>
                <c:pt idx="3546">
                  <c:v>43683</c:v>
                </c:pt>
                <c:pt idx="3547">
                  <c:v>43684</c:v>
                </c:pt>
                <c:pt idx="3548">
                  <c:v>43685</c:v>
                </c:pt>
                <c:pt idx="3549">
                  <c:v>43686</c:v>
                </c:pt>
                <c:pt idx="3550">
                  <c:v>43689</c:v>
                </c:pt>
                <c:pt idx="3551">
                  <c:v>43690</c:v>
                </c:pt>
                <c:pt idx="3552">
                  <c:v>43691</c:v>
                </c:pt>
                <c:pt idx="3553">
                  <c:v>43692</c:v>
                </c:pt>
                <c:pt idx="3554">
                  <c:v>43693</c:v>
                </c:pt>
                <c:pt idx="3555">
                  <c:v>43696</c:v>
                </c:pt>
                <c:pt idx="3556">
                  <c:v>43697</c:v>
                </c:pt>
                <c:pt idx="3557">
                  <c:v>43698</c:v>
                </c:pt>
                <c:pt idx="3558">
                  <c:v>43699</c:v>
                </c:pt>
                <c:pt idx="3559">
                  <c:v>43700</c:v>
                </c:pt>
                <c:pt idx="3560">
                  <c:v>43703</c:v>
                </c:pt>
                <c:pt idx="3561">
                  <c:v>43704</c:v>
                </c:pt>
                <c:pt idx="3562">
                  <c:v>43705</c:v>
                </c:pt>
                <c:pt idx="3563">
                  <c:v>43706</c:v>
                </c:pt>
                <c:pt idx="3564">
                  <c:v>43707</c:v>
                </c:pt>
                <c:pt idx="3565">
                  <c:v>43710</c:v>
                </c:pt>
                <c:pt idx="3566">
                  <c:v>43711</c:v>
                </c:pt>
                <c:pt idx="3567">
                  <c:v>43712</c:v>
                </c:pt>
                <c:pt idx="3568">
                  <c:v>43713</c:v>
                </c:pt>
                <c:pt idx="3569">
                  <c:v>43714</c:v>
                </c:pt>
                <c:pt idx="3570">
                  <c:v>43717</c:v>
                </c:pt>
                <c:pt idx="3571">
                  <c:v>43718</c:v>
                </c:pt>
                <c:pt idx="3572">
                  <c:v>43719</c:v>
                </c:pt>
                <c:pt idx="3573">
                  <c:v>43720</c:v>
                </c:pt>
                <c:pt idx="3574">
                  <c:v>43724</c:v>
                </c:pt>
                <c:pt idx="3575">
                  <c:v>43725</c:v>
                </c:pt>
                <c:pt idx="3576">
                  <c:v>43726</c:v>
                </c:pt>
                <c:pt idx="3577">
                  <c:v>43727</c:v>
                </c:pt>
                <c:pt idx="3578">
                  <c:v>43728</c:v>
                </c:pt>
                <c:pt idx="3579">
                  <c:v>43731</c:v>
                </c:pt>
                <c:pt idx="3580">
                  <c:v>43732</c:v>
                </c:pt>
                <c:pt idx="3581">
                  <c:v>43733</c:v>
                </c:pt>
                <c:pt idx="3582">
                  <c:v>43734</c:v>
                </c:pt>
                <c:pt idx="3583">
                  <c:v>43735</c:v>
                </c:pt>
                <c:pt idx="3584">
                  <c:v>43738</c:v>
                </c:pt>
                <c:pt idx="3585">
                  <c:v>43746</c:v>
                </c:pt>
                <c:pt idx="3586">
                  <c:v>43747</c:v>
                </c:pt>
                <c:pt idx="3587">
                  <c:v>43748</c:v>
                </c:pt>
                <c:pt idx="3588">
                  <c:v>43749</c:v>
                </c:pt>
                <c:pt idx="3589">
                  <c:v>43752</c:v>
                </c:pt>
                <c:pt idx="3590">
                  <c:v>43753</c:v>
                </c:pt>
                <c:pt idx="3591">
                  <c:v>43754</c:v>
                </c:pt>
                <c:pt idx="3592">
                  <c:v>43755</c:v>
                </c:pt>
                <c:pt idx="3593">
                  <c:v>43756</c:v>
                </c:pt>
                <c:pt idx="3594">
                  <c:v>43759</c:v>
                </c:pt>
                <c:pt idx="3595">
                  <c:v>43760</c:v>
                </c:pt>
                <c:pt idx="3596">
                  <c:v>43761</c:v>
                </c:pt>
                <c:pt idx="3597">
                  <c:v>43762</c:v>
                </c:pt>
                <c:pt idx="3598">
                  <c:v>43763</c:v>
                </c:pt>
                <c:pt idx="3599">
                  <c:v>43766</c:v>
                </c:pt>
                <c:pt idx="3600">
                  <c:v>43767</c:v>
                </c:pt>
                <c:pt idx="3601">
                  <c:v>43768</c:v>
                </c:pt>
                <c:pt idx="3602">
                  <c:v>43769</c:v>
                </c:pt>
                <c:pt idx="3603">
                  <c:v>43770</c:v>
                </c:pt>
                <c:pt idx="3604">
                  <c:v>43773</c:v>
                </c:pt>
                <c:pt idx="3605">
                  <c:v>43774</c:v>
                </c:pt>
                <c:pt idx="3606">
                  <c:v>43775</c:v>
                </c:pt>
                <c:pt idx="3607">
                  <c:v>43776</c:v>
                </c:pt>
                <c:pt idx="3608">
                  <c:v>43777</c:v>
                </c:pt>
                <c:pt idx="3609">
                  <c:v>43780</c:v>
                </c:pt>
                <c:pt idx="3610">
                  <c:v>43781</c:v>
                </c:pt>
                <c:pt idx="3611">
                  <c:v>43782</c:v>
                </c:pt>
                <c:pt idx="3612">
                  <c:v>43783</c:v>
                </c:pt>
                <c:pt idx="3613">
                  <c:v>43784</c:v>
                </c:pt>
                <c:pt idx="3614">
                  <c:v>43787</c:v>
                </c:pt>
                <c:pt idx="3615">
                  <c:v>43788</c:v>
                </c:pt>
                <c:pt idx="3616">
                  <c:v>43789</c:v>
                </c:pt>
                <c:pt idx="3617">
                  <c:v>43790</c:v>
                </c:pt>
                <c:pt idx="3618">
                  <c:v>43791</c:v>
                </c:pt>
                <c:pt idx="3619">
                  <c:v>43794</c:v>
                </c:pt>
                <c:pt idx="3620">
                  <c:v>43795</c:v>
                </c:pt>
                <c:pt idx="3621">
                  <c:v>43796</c:v>
                </c:pt>
                <c:pt idx="3622">
                  <c:v>43797</c:v>
                </c:pt>
                <c:pt idx="3623">
                  <c:v>43798</c:v>
                </c:pt>
                <c:pt idx="3624">
                  <c:v>43801</c:v>
                </c:pt>
                <c:pt idx="3625">
                  <c:v>43802</c:v>
                </c:pt>
                <c:pt idx="3626">
                  <c:v>43803</c:v>
                </c:pt>
                <c:pt idx="3627">
                  <c:v>43804</c:v>
                </c:pt>
                <c:pt idx="3628">
                  <c:v>43805</c:v>
                </c:pt>
                <c:pt idx="3629">
                  <c:v>43808</c:v>
                </c:pt>
                <c:pt idx="3630">
                  <c:v>43809</c:v>
                </c:pt>
                <c:pt idx="3631">
                  <c:v>43810</c:v>
                </c:pt>
                <c:pt idx="3632">
                  <c:v>43811</c:v>
                </c:pt>
                <c:pt idx="3633">
                  <c:v>43812</c:v>
                </c:pt>
                <c:pt idx="3634">
                  <c:v>43815</c:v>
                </c:pt>
                <c:pt idx="3635">
                  <c:v>43816</c:v>
                </c:pt>
                <c:pt idx="3636">
                  <c:v>43817</c:v>
                </c:pt>
                <c:pt idx="3637">
                  <c:v>43818</c:v>
                </c:pt>
                <c:pt idx="3638">
                  <c:v>43819</c:v>
                </c:pt>
                <c:pt idx="3639">
                  <c:v>43822</c:v>
                </c:pt>
                <c:pt idx="3640">
                  <c:v>43823</c:v>
                </c:pt>
                <c:pt idx="3641">
                  <c:v>43824</c:v>
                </c:pt>
                <c:pt idx="3642">
                  <c:v>43825</c:v>
                </c:pt>
                <c:pt idx="3643">
                  <c:v>43826</c:v>
                </c:pt>
                <c:pt idx="3644">
                  <c:v>43829</c:v>
                </c:pt>
                <c:pt idx="3645">
                  <c:v>43830</c:v>
                </c:pt>
                <c:pt idx="3646">
                  <c:v>43832</c:v>
                </c:pt>
                <c:pt idx="3647">
                  <c:v>43833</c:v>
                </c:pt>
                <c:pt idx="3648">
                  <c:v>43836</c:v>
                </c:pt>
                <c:pt idx="3649">
                  <c:v>43837</c:v>
                </c:pt>
                <c:pt idx="3650">
                  <c:v>43838</c:v>
                </c:pt>
                <c:pt idx="3651">
                  <c:v>43839</c:v>
                </c:pt>
                <c:pt idx="3652">
                  <c:v>43840</c:v>
                </c:pt>
                <c:pt idx="3653">
                  <c:v>43843</c:v>
                </c:pt>
                <c:pt idx="3654">
                  <c:v>43844</c:v>
                </c:pt>
                <c:pt idx="3655">
                  <c:v>43845</c:v>
                </c:pt>
                <c:pt idx="3656">
                  <c:v>43846</c:v>
                </c:pt>
                <c:pt idx="3657">
                  <c:v>43847</c:v>
                </c:pt>
                <c:pt idx="3658">
                  <c:v>43850</c:v>
                </c:pt>
                <c:pt idx="3659">
                  <c:v>43851</c:v>
                </c:pt>
                <c:pt idx="3660">
                  <c:v>43852</c:v>
                </c:pt>
                <c:pt idx="3661">
                  <c:v>43853</c:v>
                </c:pt>
                <c:pt idx="3662">
                  <c:v>43864</c:v>
                </c:pt>
                <c:pt idx="3663">
                  <c:v>43865</c:v>
                </c:pt>
                <c:pt idx="3664">
                  <c:v>43866</c:v>
                </c:pt>
                <c:pt idx="3665">
                  <c:v>43867</c:v>
                </c:pt>
                <c:pt idx="3666">
                  <c:v>43868</c:v>
                </c:pt>
                <c:pt idx="3667">
                  <c:v>43871</c:v>
                </c:pt>
                <c:pt idx="3668">
                  <c:v>43872</c:v>
                </c:pt>
                <c:pt idx="3669">
                  <c:v>43873</c:v>
                </c:pt>
                <c:pt idx="3670">
                  <c:v>43874</c:v>
                </c:pt>
                <c:pt idx="3671">
                  <c:v>43875</c:v>
                </c:pt>
                <c:pt idx="3672">
                  <c:v>43878</c:v>
                </c:pt>
                <c:pt idx="3673">
                  <c:v>43879</c:v>
                </c:pt>
                <c:pt idx="3674">
                  <c:v>43880</c:v>
                </c:pt>
                <c:pt idx="3675">
                  <c:v>43881</c:v>
                </c:pt>
                <c:pt idx="3676">
                  <c:v>43882</c:v>
                </c:pt>
                <c:pt idx="3677">
                  <c:v>43885</c:v>
                </c:pt>
                <c:pt idx="3678">
                  <c:v>43886</c:v>
                </c:pt>
                <c:pt idx="3679">
                  <c:v>43887</c:v>
                </c:pt>
                <c:pt idx="3680">
                  <c:v>43888</c:v>
                </c:pt>
                <c:pt idx="3681">
                  <c:v>43889</c:v>
                </c:pt>
                <c:pt idx="3682">
                  <c:v>43892</c:v>
                </c:pt>
                <c:pt idx="3683">
                  <c:v>43893</c:v>
                </c:pt>
                <c:pt idx="3684">
                  <c:v>43894</c:v>
                </c:pt>
                <c:pt idx="3685">
                  <c:v>43895</c:v>
                </c:pt>
                <c:pt idx="3686">
                  <c:v>43896</c:v>
                </c:pt>
                <c:pt idx="3687">
                  <c:v>43899</c:v>
                </c:pt>
                <c:pt idx="3688">
                  <c:v>43900</c:v>
                </c:pt>
                <c:pt idx="3689">
                  <c:v>43901</c:v>
                </c:pt>
                <c:pt idx="3690">
                  <c:v>43902</c:v>
                </c:pt>
                <c:pt idx="3691">
                  <c:v>43903</c:v>
                </c:pt>
                <c:pt idx="3692">
                  <c:v>43906</c:v>
                </c:pt>
                <c:pt idx="3693">
                  <c:v>43907</c:v>
                </c:pt>
                <c:pt idx="3694">
                  <c:v>43908</c:v>
                </c:pt>
                <c:pt idx="3695">
                  <c:v>43909</c:v>
                </c:pt>
                <c:pt idx="3696">
                  <c:v>43910</c:v>
                </c:pt>
                <c:pt idx="3697">
                  <c:v>43913</c:v>
                </c:pt>
                <c:pt idx="3698">
                  <c:v>43914</c:v>
                </c:pt>
                <c:pt idx="3699">
                  <c:v>43915</c:v>
                </c:pt>
                <c:pt idx="3700">
                  <c:v>43916</c:v>
                </c:pt>
                <c:pt idx="3701">
                  <c:v>43917</c:v>
                </c:pt>
                <c:pt idx="3702">
                  <c:v>43920</c:v>
                </c:pt>
                <c:pt idx="3703">
                  <c:v>43921</c:v>
                </c:pt>
                <c:pt idx="3704">
                  <c:v>43922</c:v>
                </c:pt>
                <c:pt idx="3705">
                  <c:v>43923</c:v>
                </c:pt>
                <c:pt idx="3706">
                  <c:v>43924</c:v>
                </c:pt>
                <c:pt idx="3707">
                  <c:v>43928</c:v>
                </c:pt>
                <c:pt idx="3708">
                  <c:v>43929</c:v>
                </c:pt>
                <c:pt idx="3709">
                  <c:v>43930</c:v>
                </c:pt>
                <c:pt idx="3710">
                  <c:v>43931</c:v>
                </c:pt>
                <c:pt idx="3711">
                  <c:v>43934</c:v>
                </c:pt>
                <c:pt idx="3712">
                  <c:v>43935</c:v>
                </c:pt>
                <c:pt idx="3713">
                  <c:v>43936</c:v>
                </c:pt>
                <c:pt idx="3714">
                  <c:v>43937</c:v>
                </c:pt>
                <c:pt idx="3715">
                  <c:v>43938</c:v>
                </c:pt>
                <c:pt idx="3716">
                  <c:v>43941</c:v>
                </c:pt>
                <c:pt idx="3717">
                  <c:v>43942</c:v>
                </c:pt>
                <c:pt idx="3718">
                  <c:v>43943</c:v>
                </c:pt>
                <c:pt idx="3719">
                  <c:v>43944</c:v>
                </c:pt>
                <c:pt idx="3720">
                  <c:v>43945</c:v>
                </c:pt>
                <c:pt idx="3721">
                  <c:v>43948</c:v>
                </c:pt>
                <c:pt idx="3722">
                  <c:v>43949</c:v>
                </c:pt>
                <c:pt idx="3723">
                  <c:v>43950</c:v>
                </c:pt>
                <c:pt idx="3724">
                  <c:v>43951</c:v>
                </c:pt>
                <c:pt idx="3725">
                  <c:v>43957</c:v>
                </c:pt>
                <c:pt idx="3726">
                  <c:v>43958</c:v>
                </c:pt>
                <c:pt idx="3727">
                  <c:v>43959</c:v>
                </c:pt>
                <c:pt idx="3728">
                  <c:v>43962</c:v>
                </c:pt>
                <c:pt idx="3729">
                  <c:v>43963</c:v>
                </c:pt>
                <c:pt idx="3730">
                  <c:v>43964</c:v>
                </c:pt>
                <c:pt idx="3731">
                  <c:v>43965</c:v>
                </c:pt>
                <c:pt idx="3732">
                  <c:v>43966</c:v>
                </c:pt>
                <c:pt idx="3733">
                  <c:v>43969</c:v>
                </c:pt>
                <c:pt idx="3734">
                  <c:v>43970</c:v>
                </c:pt>
                <c:pt idx="3735">
                  <c:v>43971</c:v>
                </c:pt>
                <c:pt idx="3736">
                  <c:v>43972</c:v>
                </c:pt>
                <c:pt idx="3737">
                  <c:v>43973</c:v>
                </c:pt>
                <c:pt idx="3738">
                  <c:v>43976</c:v>
                </c:pt>
                <c:pt idx="3739">
                  <c:v>43977</c:v>
                </c:pt>
                <c:pt idx="3740">
                  <c:v>43978</c:v>
                </c:pt>
                <c:pt idx="3741">
                  <c:v>43979</c:v>
                </c:pt>
                <c:pt idx="3742">
                  <c:v>43980</c:v>
                </c:pt>
                <c:pt idx="3743">
                  <c:v>43983</c:v>
                </c:pt>
                <c:pt idx="3744">
                  <c:v>43984</c:v>
                </c:pt>
                <c:pt idx="3745">
                  <c:v>43985</c:v>
                </c:pt>
                <c:pt idx="3746">
                  <c:v>43986</c:v>
                </c:pt>
                <c:pt idx="3747">
                  <c:v>43987</c:v>
                </c:pt>
                <c:pt idx="3748">
                  <c:v>43990</c:v>
                </c:pt>
                <c:pt idx="3749">
                  <c:v>43991</c:v>
                </c:pt>
                <c:pt idx="3750">
                  <c:v>43992</c:v>
                </c:pt>
                <c:pt idx="3751">
                  <c:v>43993</c:v>
                </c:pt>
                <c:pt idx="3752">
                  <c:v>43994</c:v>
                </c:pt>
                <c:pt idx="3753">
                  <c:v>43997</c:v>
                </c:pt>
                <c:pt idx="3754">
                  <c:v>43998</c:v>
                </c:pt>
                <c:pt idx="3755">
                  <c:v>43999</c:v>
                </c:pt>
                <c:pt idx="3756">
                  <c:v>44000</c:v>
                </c:pt>
                <c:pt idx="3757">
                  <c:v>44001</c:v>
                </c:pt>
                <c:pt idx="3758">
                  <c:v>44004</c:v>
                </c:pt>
                <c:pt idx="3759">
                  <c:v>44005</c:v>
                </c:pt>
                <c:pt idx="3760">
                  <c:v>44006</c:v>
                </c:pt>
                <c:pt idx="3761">
                  <c:v>44011</c:v>
                </c:pt>
                <c:pt idx="3762">
                  <c:v>44012</c:v>
                </c:pt>
                <c:pt idx="3763">
                  <c:v>44013</c:v>
                </c:pt>
                <c:pt idx="3764">
                  <c:v>44014</c:v>
                </c:pt>
                <c:pt idx="3765">
                  <c:v>44015</c:v>
                </c:pt>
                <c:pt idx="3766">
                  <c:v>44018</c:v>
                </c:pt>
                <c:pt idx="3767">
                  <c:v>44019</c:v>
                </c:pt>
                <c:pt idx="3768">
                  <c:v>44020</c:v>
                </c:pt>
                <c:pt idx="3769">
                  <c:v>44021</c:v>
                </c:pt>
                <c:pt idx="3770">
                  <c:v>44022</c:v>
                </c:pt>
                <c:pt idx="3771">
                  <c:v>44025</c:v>
                </c:pt>
                <c:pt idx="3772">
                  <c:v>44026</c:v>
                </c:pt>
                <c:pt idx="3773">
                  <c:v>44027</c:v>
                </c:pt>
                <c:pt idx="3774">
                  <c:v>44028</c:v>
                </c:pt>
                <c:pt idx="3775">
                  <c:v>44029</c:v>
                </c:pt>
                <c:pt idx="3776">
                  <c:v>44032</c:v>
                </c:pt>
                <c:pt idx="3777">
                  <c:v>44033</c:v>
                </c:pt>
                <c:pt idx="3778">
                  <c:v>44034</c:v>
                </c:pt>
                <c:pt idx="3779">
                  <c:v>44035</c:v>
                </c:pt>
                <c:pt idx="3780">
                  <c:v>44036</c:v>
                </c:pt>
                <c:pt idx="3781">
                  <c:v>44039</c:v>
                </c:pt>
                <c:pt idx="3782">
                  <c:v>44040</c:v>
                </c:pt>
                <c:pt idx="3783">
                  <c:v>44041</c:v>
                </c:pt>
                <c:pt idx="3784">
                  <c:v>44042</c:v>
                </c:pt>
                <c:pt idx="3785">
                  <c:v>44043</c:v>
                </c:pt>
                <c:pt idx="3786">
                  <c:v>44046</c:v>
                </c:pt>
                <c:pt idx="3787">
                  <c:v>44047</c:v>
                </c:pt>
                <c:pt idx="3788">
                  <c:v>44048</c:v>
                </c:pt>
                <c:pt idx="3789">
                  <c:v>44049</c:v>
                </c:pt>
                <c:pt idx="3790">
                  <c:v>44050</c:v>
                </c:pt>
                <c:pt idx="3791">
                  <c:v>44053</c:v>
                </c:pt>
                <c:pt idx="3792">
                  <c:v>44054</c:v>
                </c:pt>
                <c:pt idx="3793">
                  <c:v>44055</c:v>
                </c:pt>
                <c:pt idx="3794">
                  <c:v>44056</c:v>
                </c:pt>
                <c:pt idx="3795">
                  <c:v>44057</c:v>
                </c:pt>
                <c:pt idx="3796">
                  <c:v>44060</c:v>
                </c:pt>
                <c:pt idx="3797">
                  <c:v>44061</c:v>
                </c:pt>
                <c:pt idx="3798">
                  <c:v>44062</c:v>
                </c:pt>
                <c:pt idx="3799">
                  <c:v>44063</c:v>
                </c:pt>
                <c:pt idx="3800">
                  <c:v>44064</c:v>
                </c:pt>
                <c:pt idx="3801">
                  <c:v>44067</c:v>
                </c:pt>
                <c:pt idx="3802">
                  <c:v>44068</c:v>
                </c:pt>
                <c:pt idx="3803">
                  <c:v>44069</c:v>
                </c:pt>
                <c:pt idx="3804">
                  <c:v>44070</c:v>
                </c:pt>
                <c:pt idx="3805">
                  <c:v>44071</c:v>
                </c:pt>
                <c:pt idx="3806">
                  <c:v>44074</c:v>
                </c:pt>
                <c:pt idx="3807">
                  <c:v>44075</c:v>
                </c:pt>
                <c:pt idx="3808">
                  <c:v>44076</c:v>
                </c:pt>
                <c:pt idx="3809">
                  <c:v>44077</c:v>
                </c:pt>
                <c:pt idx="3810">
                  <c:v>44078</c:v>
                </c:pt>
                <c:pt idx="3811">
                  <c:v>44081</c:v>
                </c:pt>
                <c:pt idx="3812">
                  <c:v>44082</c:v>
                </c:pt>
                <c:pt idx="3813">
                  <c:v>44083</c:v>
                </c:pt>
                <c:pt idx="3814">
                  <c:v>44084</c:v>
                </c:pt>
                <c:pt idx="3815">
                  <c:v>44085</c:v>
                </c:pt>
                <c:pt idx="3816">
                  <c:v>44088</c:v>
                </c:pt>
                <c:pt idx="3817">
                  <c:v>44089</c:v>
                </c:pt>
                <c:pt idx="3818">
                  <c:v>44090</c:v>
                </c:pt>
                <c:pt idx="3819">
                  <c:v>44091</c:v>
                </c:pt>
                <c:pt idx="3820">
                  <c:v>44092</c:v>
                </c:pt>
                <c:pt idx="3821">
                  <c:v>44095</c:v>
                </c:pt>
                <c:pt idx="3822">
                  <c:v>44096</c:v>
                </c:pt>
                <c:pt idx="3823">
                  <c:v>44097</c:v>
                </c:pt>
                <c:pt idx="3824">
                  <c:v>44098</c:v>
                </c:pt>
                <c:pt idx="3825">
                  <c:v>44099</c:v>
                </c:pt>
                <c:pt idx="3826">
                  <c:v>44102</c:v>
                </c:pt>
                <c:pt idx="3827">
                  <c:v>44103</c:v>
                </c:pt>
                <c:pt idx="3828">
                  <c:v>44104</c:v>
                </c:pt>
                <c:pt idx="3829">
                  <c:v>44113</c:v>
                </c:pt>
                <c:pt idx="3830">
                  <c:v>44116</c:v>
                </c:pt>
                <c:pt idx="3831">
                  <c:v>44117</c:v>
                </c:pt>
                <c:pt idx="3832">
                  <c:v>44118</c:v>
                </c:pt>
                <c:pt idx="3833">
                  <c:v>44119</c:v>
                </c:pt>
                <c:pt idx="3834">
                  <c:v>44120</c:v>
                </c:pt>
                <c:pt idx="3835">
                  <c:v>44123</c:v>
                </c:pt>
                <c:pt idx="3836">
                  <c:v>44124</c:v>
                </c:pt>
                <c:pt idx="3837">
                  <c:v>44125</c:v>
                </c:pt>
                <c:pt idx="3838">
                  <c:v>44126</c:v>
                </c:pt>
                <c:pt idx="3839">
                  <c:v>44127</c:v>
                </c:pt>
                <c:pt idx="3840">
                  <c:v>44130</c:v>
                </c:pt>
                <c:pt idx="3841">
                  <c:v>44131</c:v>
                </c:pt>
                <c:pt idx="3842">
                  <c:v>44132</c:v>
                </c:pt>
                <c:pt idx="3843">
                  <c:v>44133</c:v>
                </c:pt>
                <c:pt idx="3844">
                  <c:v>44134</c:v>
                </c:pt>
                <c:pt idx="3845">
                  <c:v>44137</c:v>
                </c:pt>
                <c:pt idx="3846">
                  <c:v>44138</c:v>
                </c:pt>
                <c:pt idx="3847">
                  <c:v>44139</c:v>
                </c:pt>
                <c:pt idx="3848">
                  <c:v>44140</c:v>
                </c:pt>
                <c:pt idx="3849">
                  <c:v>44141</c:v>
                </c:pt>
                <c:pt idx="3850">
                  <c:v>44144</c:v>
                </c:pt>
                <c:pt idx="3851">
                  <c:v>44145</c:v>
                </c:pt>
                <c:pt idx="3852">
                  <c:v>44146</c:v>
                </c:pt>
                <c:pt idx="3853">
                  <c:v>44147</c:v>
                </c:pt>
                <c:pt idx="3854">
                  <c:v>44148</c:v>
                </c:pt>
                <c:pt idx="3855">
                  <c:v>44151</c:v>
                </c:pt>
                <c:pt idx="3856">
                  <c:v>44152</c:v>
                </c:pt>
                <c:pt idx="3857">
                  <c:v>44153</c:v>
                </c:pt>
                <c:pt idx="3858">
                  <c:v>44154</c:v>
                </c:pt>
                <c:pt idx="3859">
                  <c:v>44155</c:v>
                </c:pt>
                <c:pt idx="3860">
                  <c:v>44158</c:v>
                </c:pt>
                <c:pt idx="3861">
                  <c:v>44159</c:v>
                </c:pt>
                <c:pt idx="3862">
                  <c:v>44160</c:v>
                </c:pt>
                <c:pt idx="3863">
                  <c:v>44161</c:v>
                </c:pt>
                <c:pt idx="3864">
                  <c:v>44162</c:v>
                </c:pt>
                <c:pt idx="3865">
                  <c:v>44165</c:v>
                </c:pt>
                <c:pt idx="3866">
                  <c:v>44166</c:v>
                </c:pt>
                <c:pt idx="3867">
                  <c:v>44167</c:v>
                </c:pt>
                <c:pt idx="3868">
                  <c:v>44168</c:v>
                </c:pt>
                <c:pt idx="3869">
                  <c:v>44169</c:v>
                </c:pt>
                <c:pt idx="3870">
                  <c:v>44172</c:v>
                </c:pt>
                <c:pt idx="3871">
                  <c:v>44173</c:v>
                </c:pt>
                <c:pt idx="3872">
                  <c:v>44174</c:v>
                </c:pt>
                <c:pt idx="3873">
                  <c:v>44175</c:v>
                </c:pt>
                <c:pt idx="3874">
                  <c:v>44176</c:v>
                </c:pt>
                <c:pt idx="3875">
                  <c:v>44179</c:v>
                </c:pt>
                <c:pt idx="3876">
                  <c:v>44180</c:v>
                </c:pt>
                <c:pt idx="3877">
                  <c:v>44181</c:v>
                </c:pt>
                <c:pt idx="3878">
                  <c:v>44182</c:v>
                </c:pt>
                <c:pt idx="3879">
                  <c:v>44183</c:v>
                </c:pt>
                <c:pt idx="3880">
                  <c:v>44186</c:v>
                </c:pt>
                <c:pt idx="3881">
                  <c:v>44187</c:v>
                </c:pt>
                <c:pt idx="3882">
                  <c:v>44188</c:v>
                </c:pt>
                <c:pt idx="3883">
                  <c:v>44189</c:v>
                </c:pt>
                <c:pt idx="3884">
                  <c:v>44190</c:v>
                </c:pt>
                <c:pt idx="3885">
                  <c:v>44193</c:v>
                </c:pt>
                <c:pt idx="3886">
                  <c:v>44194</c:v>
                </c:pt>
                <c:pt idx="3887">
                  <c:v>44195</c:v>
                </c:pt>
                <c:pt idx="3888">
                  <c:v>44196</c:v>
                </c:pt>
                <c:pt idx="3889">
                  <c:v>44200</c:v>
                </c:pt>
                <c:pt idx="3890">
                  <c:v>44201</c:v>
                </c:pt>
                <c:pt idx="3891">
                  <c:v>44202</c:v>
                </c:pt>
                <c:pt idx="3892">
                  <c:v>44203</c:v>
                </c:pt>
                <c:pt idx="3893">
                  <c:v>44204</c:v>
                </c:pt>
                <c:pt idx="3894">
                  <c:v>44207</c:v>
                </c:pt>
                <c:pt idx="3895">
                  <c:v>44208</c:v>
                </c:pt>
                <c:pt idx="3896">
                  <c:v>44209</c:v>
                </c:pt>
                <c:pt idx="3897">
                  <c:v>44210</c:v>
                </c:pt>
                <c:pt idx="3898">
                  <c:v>44211</c:v>
                </c:pt>
                <c:pt idx="3899">
                  <c:v>44214</c:v>
                </c:pt>
                <c:pt idx="3900">
                  <c:v>44215</c:v>
                </c:pt>
                <c:pt idx="3901">
                  <c:v>44216</c:v>
                </c:pt>
                <c:pt idx="3902">
                  <c:v>44217</c:v>
                </c:pt>
                <c:pt idx="3903">
                  <c:v>44218</c:v>
                </c:pt>
                <c:pt idx="3904">
                  <c:v>44221</c:v>
                </c:pt>
                <c:pt idx="3905">
                  <c:v>44222</c:v>
                </c:pt>
                <c:pt idx="3906">
                  <c:v>44223</c:v>
                </c:pt>
                <c:pt idx="3907">
                  <c:v>44224</c:v>
                </c:pt>
                <c:pt idx="3908">
                  <c:v>44225</c:v>
                </c:pt>
                <c:pt idx="3909">
                  <c:v>44228</c:v>
                </c:pt>
                <c:pt idx="3910">
                  <c:v>44229</c:v>
                </c:pt>
                <c:pt idx="3911">
                  <c:v>44230</c:v>
                </c:pt>
                <c:pt idx="3912">
                  <c:v>44231</c:v>
                </c:pt>
                <c:pt idx="3913">
                  <c:v>44232</c:v>
                </c:pt>
                <c:pt idx="3914">
                  <c:v>44235</c:v>
                </c:pt>
                <c:pt idx="3915">
                  <c:v>44236</c:v>
                </c:pt>
                <c:pt idx="3916">
                  <c:v>44237</c:v>
                </c:pt>
                <c:pt idx="3917">
                  <c:v>44245</c:v>
                </c:pt>
                <c:pt idx="3918">
                  <c:v>44246</c:v>
                </c:pt>
                <c:pt idx="3919">
                  <c:v>44249</c:v>
                </c:pt>
                <c:pt idx="3920">
                  <c:v>44250</c:v>
                </c:pt>
                <c:pt idx="3921">
                  <c:v>44251</c:v>
                </c:pt>
                <c:pt idx="3922">
                  <c:v>44252</c:v>
                </c:pt>
                <c:pt idx="3923">
                  <c:v>44253</c:v>
                </c:pt>
                <c:pt idx="3924">
                  <c:v>44256</c:v>
                </c:pt>
                <c:pt idx="3925">
                  <c:v>44257</c:v>
                </c:pt>
                <c:pt idx="3926">
                  <c:v>44258</c:v>
                </c:pt>
                <c:pt idx="3927">
                  <c:v>44259</c:v>
                </c:pt>
                <c:pt idx="3928">
                  <c:v>44260</c:v>
                </c:pt>
                <c:pt idx="3929">
                  <c:v>44263</c:v>
                </c:pt>
                <c:pt idx="3930">
                  <c:v>44264</c:v>
                </c:pt>
                <c:pt idx="3931">
                  <c:v>44265</c:v>
                </c:pt>
                <c:pt idx="3932">
                  <c:v>44266</c:v>
                </c:pt>
                <c:pt idx="3933">
                  <c:v>44267</c:v>
                </c:pt>
                <c:pt idx="3934">
                  <c:v>44270</c:v>
                </c:pt>
                <c:pt idx="3935">
                  <c:v>44271</c:v>
                </c:pt>
                <c:pt idx="3936">
                  <c:v>44272</c:v>
                </c:pt>
                <c:pt idx="3937">
                  <c:v>44273</c:v>
                </c:pt>
                <c:pt idx="3938">
                  <c:v>44274</c:v>
                </c:pt>
                <c:pt idx="3939">
                  <c:v>44277</c:v>
                </c:pt>
                <c:pt idx="3940">
                  <c:v>44278</c:v>
                </c:pt>
                <c:pt idx="3941">
                  <c:v>44279</c:v>
                </c:pt>
                <c:pt idx="3942">
                  <c:v>44280</c:v>
                </c:pt>
                <c:pt idx="3943">
                  <c:v>44281</c:v>
                </c:pt>
                <c:pt idx="3944">
                  <c:v>44284</c:v>
                </c:pt>
                <c:pt idx="3945">
                  <c:v>44285</c:v>
                </c:pt>
                <c:pt idx="3946">
                  <c:v>44286</c:v>
                </c:pt>
                <c:pt idx="3947">
                  <c:v>44287</c:v>
                </c:pt>
                <c:pt idx="3948">
                  <c:v>44288</c:v>
                </c:pt>
                <c:pt idx="3949">
                  <c:v>44292</c:v>
                </c:pt>
                <c:pt idx="3950">
                  <c:v>44293</c:v>
                </c:pt>
                <c:pt idx="3951">
                  <c:v>44294</c:v>
                </c:pt>
                <c:pt idx="3952">
                  <c:v>44295</c:v>
                </c:pt>
                <c:pt idx="3953">
                  <c:v>44298</c:v>
                </c:pt>
                <c:pt idx="3954">
                  <c:v>44299</c:v>
                </c:pt>
                <c:pt idx="3955">
                  <c:v>44300</c:v>
                </c:pt>
                <c:pt idx="3956">
                  <c:v>44301</c:v>
                </c:pt>
                <c:pt idx="3957">
                  <c:v>44302</c:v>
                </c:pt>
                <c:pt idx="3958">
                  <c:v>44305</c:v>
                </c:pt>
                <c:pt idx="3959">
                  <c:v>44306</c:v>
                </c:pt>
                <c:pt idx="3960">
                  <c:v>44307</c:v>
                </c:pt>
                <c:pt idx="3961">
                  <c:v>44308</c:v>
                </c:pt>
                <c:pt idx="3962">
                  <c:v>44309</c:v>
                </c:pt>
                <c:pt idx="3963">
                  <c:v>44312</c:v>
                </c:pt>
                <c:pt idx="3964">
                  <c:v>44313</c:v>
                </c:pt>
                <c:pt idx="3965">
                  <c:v>44314</c:v>
                </c:pt>
                <c:pt idx="3966">
                  <c:v>44315</c:v>
                </c:pt>
                <c:pt idx="3967">
                  <c:v>44316</c:v>
                </c:pt>
                <c:pt idx="3968">
                  <c:v>44322</c:v>
                </c:pt>
                <c:pt idx="3969">
                  <c:v>44323</c:v>
                </c:pt>
                <c:pt idx="3970">
                  <c:v>44326</c:v>
                </c:pt>
                <c:pt idx="3971">
                  <c:v>44327</c:v>
                </c:pt>
                <c:pt idx="3972">
                  <c:v>44328</c:v>
                </c:pt>
                <c:pt idx="3973">
                  <c:v>44329</c:v>
                </c:pt>
                <c:pt idx="3974">
                  <c:v>44330</c:v>
                </c:pt>
                <c:pt idx="3975">
                  <c:v>44333</c:v>
                </c:pt>
                <c:pt idx="3976">
                  <c:v>44334</c:v>
                </c:pt>
                <c:pt idx="3977">
                  <c:v>44335</c:v>
                </c:pt>
                <c:pt idx="3978">
                  <c:v>44336</c:v>
                </c:pt>
                <c:pt idx="3979">
                  <c:v>44337</c:v>
                </c:pt>
                <c:pt idx="3980">
                  <c:v>44340</c:v>
                </c:pt>
                <c:pt idx="3981">
                  <c:v>44341</c:v>
                </c:pt>
                <c:pt idx="3982">
                  <c:v>44342</c:v>
                </c:pt>
                <c:pt idx="3983">
                  <c:v>44343</c:v>
                </c:pt>
                <c:pt idx="3984">
                  <c:v>44344</c:v>
                </c:pt>
                <c:pt idx="3985">
                  <c:v>44347</c:v>
                </c:pt>
                <c:pt idx="3986">
                  <c:v>44348</c:v>
                </c:pt>
                <c:pt idx="3987">
                  <c:v>44349</c:v>
                </c:pt>
                <c:pt idx="3988">
                  <c:v>44350</c:v>
                </c:pt>
                <c:pt idx="3989">
                  <c:v>44351</c:v>
                </c:pt>
                <c:pt idx="3990">
                  <c:v>44354</c:v>
                </c:pt>
                <c:pt idx="3991">
                  <c:v>44355</c:v>
                </c:pt>
                <c:pt idx="3992">
                  <c:v>44356</c:v>
                </c:pt>
                <c:pt idx="3993">
                  <c:v>44357</c:v>
                </c:pt>
                <c:pt idx="3994">
                  <c:v>44358</c:v>
                </c:pt>
                <c:pt idx="3995">
                  <c:v>44362</c:v>
                </c:pt>
                <c:pt idx="3996">
                  <c:v>44363</c:v>
                </c:pt>
                <c:pt idx="3997">
                  <c:v>44364</c:v>
                </c:pt>
                <c:pt idx="3998">
                  <c:v>44365</c:v>
                </c:pt>
                <c:pt idx="3999">
                  <c:v>44368</c:v>
                </c:pt>
                <c:pt idx="4000">
                  <c:v>44369</c:v>
                </c:pt>
                <c:pt idx="4001">
                  <c:v>44370</c:v>
                </c:pt>
                <c:pt idx="4002">
                  <c:v>44371</c:v>
                </c:pt>
                <c:pt idx="4003">
                  <c:v>44372</c:v>
                </c:pt>
                <c:pt idx="4004">
                  <c:v>44375</c:v>
                </c:pt>
                <c:pt idx="4005">
                  <c:v>44376</c:v>
                </c:pt>
                <c:pt idx="4006">
                  <c:v>44377</c:v>
                </c:pt>
                <c:pt idx="4007">
                  <c:v>44378</c:v>
                </c:pt>
                <c:pt idx="4008">
                  <c:v>44379</c:v>
                </c:pt>
                <c:pt idx="4009">
                  <c:v>44382</c:v>
                </c:pt>
                <c:pt idx="4010">
                  <c:v>44383</c:v>
                </c:pt>
                <c:pt idx="4011">
                  <c:v>44384</c:v>
                </c:pt>
                <c:pt idx="4012">
                  <c:v>44385</c:v>
                </c:pt>
                <c:pt idx="4013">
                  <c:v>44386</c:v>
                </c:pt>
                <c:pt idx="4014">
                  <c:v>44389</c:v>
                </c:pt>
                <c:pt idx="4015">
                  <c:v>44390</c:v>
                </c:pt>
                <c:pt idx="4016">
                  <c:v>44391</c:v>
                </c:pt>
                <c:pt idx="4017">
                  <c:v>44392</c:v>
                </c:pt>
                <c:pt idx="4018">
                  <c:v>44393</c:v>
                </c:pt>
                <c:pt idx="4019">
                  <c:v>44396</c:v>
                </c:pt>
                <c:pt idx="4020">
                  <c:v>44397</c:v>
                </c:pt>
                <c:pt idx="4021">
                  <c:v>44398</c:v>
                </c:pt>
                <c:pt idx="4022">
                  <c:v>44399</c:v>
                </c:pt>
                <c:pt idx="4023">
                  <c:v>44400</c:v>
                </c:pt>
                <c:pt idx="4024">
                  <c:v>44403</c:v>
                </c:pt>
                <c:pt idx="4025">
                  <c:v>44404</c:v>
                </c:pt>
                <c:pt idx="4026">
                  <c:v>44405</c:v>
                </c:pt>
                <c:pt idx="4027">
                  <c:v>44406</c:v>
                </c:pt>
                <c:pt idx="4028">
                  <c:v>44407</c:v>
                </c:pt>
                <c:pt idx="4029">
                  <c:v>44410</c:v>
                </c:pt>
                <c:pt idx="4030">
                  <c:v>44411</c:v>
                </c:pt>
                <c:pt idx="4031">
                  <c:v>44412</c:v>
                </c:pt>
                <c:pt idx="4032">
                  <c:v>44413</c:v>
                </c:pt>
                <c:pt idx="4033">
                  <c:v>44414</c:v>
                </c:pt>
                <c:pt idx="4034">
                  <c:v>44417</c:v>
                </c:pt>
                <c:pt idx="4035">
                  <c:v>44418</c:v>
                </c:pt>
                <c:pt idx="4036">
                  <c:v>44419</c:v>
                </c:pt>
                <c:pt idx="4037">
                  <c:v>44420</c:v>
                </c:pt>
                <c:pt idx="4038">
                  <c:v>44421</c:v>
                </c:pt>
                <c:pt idx="4039">
                  <c:v>44424</c:v>
                </c:pt>
                <c:pt idx="4040">
                  <c:v>44425</c:v>
                </c:pt>
                <c:pt idx="4041">
                  <c:v>44426</c:v>
                </c:pt>
                <c:pt idx="4042">
                  <c:v>44427</c:v>
                </c:pt>
                <c:pt idx="4043">
                  <c:v>44428</c:v>
                </c:pt>
                <c:pt idx="4044">
                  <c:v>44431</c:v>
                </c:pt>
                <c:pt idx="4045">
                  <c:v>44432</c:v>
                </c:pt>
                <c:pt idx="4046">
                  <c:v>44433</c:v>
                </c:pt>
                <c:pt idx="4047">
                  <c:v>44434</c:v>
                </c:pt>
                <c:pt idx="4048">
                  <c:v>44435</c:v>
                </c:pt>
                <c:pt idx="4049">
                  <c:v>44438</c:v>
                </c:pt>
                <c:pt idx="4050">
                  <c:v>44439</c:v>
                </c:pt>
                <c:pt idx="4051">
                  <c:v>44440</c:v>
                </c:pt>
                <c:pt idx="4052">
                  <c:v>44441</c:v>
                </c:pt>
                <c:pt idx="4053">
                  <c:v>44442</c:v>
                </c:pt>
                <c:pt idx="4054">
                  <c:v>44445</c:v>
                </c:pt>
                <c:pt idx="4055">
                  <c:v>44446</c:v>
                </c:pt>
                <c:pt idx="4056">
                  <c:v>44447</c:v>
                </c:pt>
                <c:pt idx="4057">
                  <c:v>44448</c:v>
                </c:pt>
                <c:pt idx="4058">
                  <c:v>44449</c:v>
                </c:pt>
                <c:pt idx="4059">
                  <c:v>44452</c:v>
                </c:pt>
                <c:pt idx="4060">
                  <c:v>44453</c:v>
                </c:pt>
                <c:pt idx="4061">
                  <c:v>44454</c:v>
                </c:pt>
                <c:pt idx="4062">
                  <c:v>44455</c:v>
                </c:pt>
                <c:pt idx="4063">
                  <c:v>44456</c:v>
                </c:pt>
                <c:pt idx="4064">
                  <c:v>44461</c:v>
                </c:pt>
                <c:pt idx="4065">
                  <c:v>44462</c:v>
                </c:pt>
                <c:pt idx="4066">
                  <c:v>44463</c:v>
                </c:pt>
                <c:pt idx="4067">
                  <c:v>44466</c:v>
                </c:pt>
                <c:pt idx="4068">
                  <c:v>44467</c:v>
                </c:pt>
                <c:pt idx="4069">
                  <c:v>44468</c:v>
                </c:pt>
                <c:pt idx="4070">
                  <c:v>44469</c:v>
                </c:pt>
                <c:pt idx="4071">
                  <c:v>44477</c:v>
                </c:pt>
                <c:pt idx="4072">
                  <c:v>44480</c:v>
                </c:pt>
                <c:pt idx="4073">
                  <c:v>44481</c:v>
                </c:pt>
                <c:pt idx="4074">
                  <c:v>44482</c:v>
                </c:pt>
                <c:pt idx="4075">
                  <c:v>44483</c:v>
                </c:pt>
                <c:pt idx="4076">
                  <c:v>44484</c:v>
                </c:pt>
                <c:pt idx="4077">
                  <c:v>44487</c:v>
                </c:pt>
                <c:pt idx="4078">
                  <c:v>44488</c:v>
                </c:pt>
                <c:pt idx="4079">
                  <c:v>44489</c:v>
                </c:pt>
                <c:pt idx="4080">
                  <c:v>44490</c:v>
                </c:pt>
                <c:pt idx="4081">
                  <c:v>44491</c:v>
                </c:pt>
                <c:pt idx="4082">
                  <c:v>44494</c:v>
                </c:pt>
                <c:pt idx="4083">
                  <c:v>44495</c:v>
                </c:pt>
                <c:pt idx="4084">
                  <c:v>44496</c:v>
                </c:pt>
                <c:pt idx="4085">
                  <c:v>44497</c:v>
                </c:pt>
                <c:pt idx="4086">
                  <c:v>44498</c:v>
                </c:pt>
                <c:pt idx="4087">
                  <c:v>44501</c:v>
                </c:pt>
                <c:pt idx="4088">
                  <c:v>44502</c:v>
                </c:pt>
                <c:pt idx="4089">
                  <c:v>44503</c:v>
                </c:pt>
                <c:pt idx="4090">
                  <c:v>44504</c:v>
                </c:pt>
                <c:pt idx="4091">
                  <c:v>44505</c:v>
                </c:pt>
                <c:pt idx="4092">
                  <c:v>44508</c:v>
                </c:pt>
                <c:pt idx="4093">
                  <c:v>44509</c:v>
                </c:pt>
                <c:pt idx="4094">
                  <c:v>44510</c:v>
                </c:pt>
                <c:pt idx="4095">
                  <c:v>44511</c:v>
                </c:pt>
                <c:pt idx="4096">
                  <c:v>44512</c:v>
                </c:pt>
                <c:pt idx="4097">
                  <c:v>44515</c:v>
                </c:pt>
                <c:pt idx="4098">
                  <c:v>44516</c:v>
                </c:pt>
                <c:pt idx="4099">
                  <c:v>44517</c:v>
                </c:pt>
                <c:pt idx="4100">
                  <c:v>44518</c:v>
                </c:pt>
                <c:pt idx="4101">
                  <c:v>44519</c:v>
                </c:pt>
                <c:pt idx="4102">
                  <c:v>44522</c:v>
                </c:pt>
                <c:pt idx="4103">
                  <c:v>44523</c:v>
                </c:pt>
                <c:pt idx="4104">
                  <c:v>44524</c:v>
                </c:pt>
                <c:pt idx="4105">
                  <c:v>44525</c:v>
                </c:pt>
                <c:pt idx="4106">
                  <c:v>44526</c:v>
                </c:pt>
                <c:pt idx="4107">
                  <c:v>44529</c:v>
                </c:pt>
                <c:pt idx="4108">
                  <c:v>44530</c:v>
                </c:pt>
                <c:pt idx="4109">
                  <c:v>44531</c:v>
                </c:pt>
                <c:pt idx="4110">
                  <c:v>44532</c:v>
                </c:pt>
                <c:pt idx="4111">
                  <c:v>44533</c:v>
                </c:pt>
                <c:pt idx="4112">
                  <c:v>44536</c:v>
                </c:pt>
                <c:pt idx="4113">
                  <c:v>44537</c:v>
                </c:pt>
                <c:pt idx="4114">
                  <c:v>44538</c:v>
                </c:pt>
                <c:pt idx="4115">
                  <c:v>44539</c:v>
                </c:pt>
                <c:pt idx="4116">
                  <c:v>44540</c:v>
                </c:pt>
                <c:pt idx="4117">
                  <c:v>44543</c:v>
                </c:pt>
                <c:pt idx="4118">
                  <c:v>44544</c:v>
                </c:pt>
                <c:pt idx="4119">
                  <c:v>44545</c:v>
                </c:pt>
                <c:pt idx="4120">
                  <c:v>44546</c:v>
                </c:pt>
                <c:pt idx="4121">
                  <c:v>44547</c:v>
                </c:pt>
                <c:pt idx="4122">
                  <c:v>44550</c:v>
                </c:pt>
                <c:pt idx="4123">
                  <c:v>44551</c:v>
                </c:pt>
                <c:pt idx="4124">
                  <c:v>44552</c:v>
                </c:pt>
                <c:pt idx="4125">
                  <c:v>44553</c:v>
                </c:pt>
                <c:pt idx="4126">
                  <c:v>44554</c:v>
                </c:pt>
                <c:pt idx="4127">
                  <c:v>44557</c:v>
                </c:pt>
                <c:pt idx="4128">
                  <c:v>44558</c:v>
                </c:pt>
                <c:pt idx="4129">
                  <c:v>44559</c:v>
                </c:pt>
                <c:pt idx="4130">
                  <c:v>44560</c:v>
                </c:pt>
                <c:pt idx="4131">
                  <c:v>44561</c:v>
                </c:pt>
                <c:pt idx="4132">
                  <c:v>44565</c:v>
                </c:pt>
                <c:pt idx="4133">
                  <c:v>44566</c:v>
                </c:pt>
                <c:pt idx="4134">
                  <c:v>44567</c:v>
                </c:pt>
                <c:pt idx="4135">
                  <c:v>44568</c:v>
                </c:pt>
                <c:pt idx="4136">
                  <c:v>44571</c:v>
                </c:pt>
                <c:pt idx="4137">
                  <c:v>44572</c:v>
                </c:pt>
                <c:pt idx="4138">
                  <c:v>44573</c:v>
                </c:pt>
                <c:pt idx="4139">
                  <c:v>44574</c:v>
                </c:pt>
                <c:pt idx="4140">
                  <c:v>44575</c:v>
                </c:pt>
                <c:pt idx="4141">
                  <c:v>44578</c:v>
                </c:pt>
                <c:pt idx="4142">
                  <c:v>44579</c:v>
                </c:pt>
                <c:pt idx="4143">
                  <c:v>44580</c:v>
                </c:pt>
                <c:pt idx="4144">
                  <c:v>44581</c:v>
                </c:pt>
                <c:pt idx="4145">
                  <c:v>44582</c:v>
                </c:pt>
                <c:pt idx="4146">
                  <c:v>44585</c:v>
                </c:pt>
                <c:pt idx="4147">
                  <c:v>44586</c:v>
                </c:pt>
                <c:pt idx="4148">
                  <c:v>44587</c:v>
                </c:pt>
                <c:pt idx="4149">
                  <c:v>44588</c:v>
                </c:pt>
                <c:pt idx="4150">
                  <c:v>44589</c:v>
                </c:pt>
                <c:pt idx="4151">
                  <c:v>44599</c:v>
                </c:pt>
                <c:pt idx="4152">
                  <c:v>44600</c:v>
                </c:pt>
                <c:pt idx="4153">
                  <c:v>44601</c:v>
                </c:pt>
                <c:pt idx="4154">
                  <c:v>44602</c:v>
                </c:pt>
                <c:pt idx="4155">
                  <c:v>44603</c:v>
                </c:pt>
                <c:pt idx="4156">
                  <c:v>44606</c:v>
                </c:pt>
                <c:pt idx="4157">
                  <c:v>44607</c:v>
                </c:pt>
                <c:pt idx="4158">
                  <c:v>44608</c:v>
                </c:pt>
                <c:pt idx="4159">
                  <c:v>44609</c:v>
                </c:pt>
                <c:pt idx="4160">
                  <c:v>44610</c:v>
                </c:pt>
                <c:pt idx="4161">
                  <c:v>44613</c:v>
                </c:pt>
                <c:pt idx="4162">
                  <c:v>44614</c:v>
                </c:pt>
                <c:pt idx="4163">
                  <c:v>44615</c:v>
                </c:pt>
                <c:pt idx="4164">
                  <c:v>44616</c:v>
                </c:pt>
                <c:pt idx="4165">
                  <c:v>44617</c:v>
                </c:pt>
                <c:pt idx="4166">
                  <c:v>44620</c:v>
                </c:pt>
                <c:pt idx="4167">
                  <c:v>44621</c:v>
                </c:pt>
                <c:pt idx="4168">
                  <c:v>44622</c:v>
                </c:pt>
                <c:pt idx="4169">
                  <c:v>44623</c:v>
                </c:pt>
                <c:pt idx="4170">
                  <c:v>44624</c:v>
                </c:pt>
                <c:pt idx="4171">
                  <c:v>44627</c:v>
                </c:pt>
                <c:pt idx="4172">
                  <c:v>44628</c:v>
                </c:pt>
                <c:pt idx="4173">
                  <c:v>44629</c:v>
                </c:pt>
                <c:pt idx="4174">
                  <c:v>44630</c:v>
                </c:pt>
                <c:pt idx="4175">
                  <c:v>44631</c:v>
                </c:pt>
                <c:pt idx="4176">
                  <c:v>44634</c:v>
                </c:pt>
                <c:pt idx="4177">
                  <c:v>44635</c:v>
                </c:pt>
                <c:pt idx="4178">
                  <c:v>44636</c:v>
                </c:pt>
                <c:pt idx="4179">
                  <c:v>44637</c:v>
                </c:pt>
                <c:pt idx="4180">
                  <c:v>44638</c:v>
                </c:pt>
                <c:pt idx="4181">
                  <c:v>44641</c:v>
                </c:pt>
                <c:pt idx="4182">
                  <c:v>44642</c:v>
                </c:pt>
                <c:pt idx="4183">
                  <c:v>44643</c:v>
                </c:pt>
                <c:pt idx="4184">
                  <c:v>44644</c:v>
                </c:pt>
                <c:pt idx="4185">
                  <c:v>44645</c:v>
                </c:pt>
                <c:pt idx="4186">
                  <c:v>44648</c:v>
                </c:pt>
                <c:pt idx="4187">
                  <c:v>44649</c:v>
                </c:pt>
                <c:pt idx="4188">
                  <c:v>44650</c:v>
                </c:pt>
                <c:pt idx="4189">
                  <c:v>44651</c:v>
                </c:pt>
                <c:pt idx="4190">
                  <c:v>44652</c:v>
                </c:pt>
                <c:pt idx="4191">
                  <c:v>44657</c:v>
                </c:pt>
                <c:pt idx="4192">
                  <c:v>44658</c:v>
                </c:pt>
                <c:pt idx="4193">
                  <c:v>44659</c:v>
                </c:pt>
                <c:pt idx="4194">
                  <c:v>44662</c:v>
                </c:pt>
                <c:pt idx="4195">
                  <c:v>44663</c:v>
                </c:pt>
                <c:pt idx="4196">
                  <c:v>44664</c:v>
                </c:pt>
                <c:pt idx="4197">
                  <c:v>44665</c:v>
                </c:pt>
                <c:pt idx="4198">
                  <c:v>44666</c:v>
                </c:pt>
                <c:pt idx="4199">
                  <c:v>44669</c:v>
                </c:pt>
              </c:numCache>
            </c:numRef>
          </c:cat>
          <c:val>
            <c:numRef>
              <c:f>tr_60!$B$2:$B$4201</c:f>
              <c:numCache>
                <c:formatCode>General</c:formatCode>
                <c:ptCount val="4200"/>
                <c:pt idx="59">
                  <c:v>9.8626110000000003E-3</c:v>
                </c:pt>
                <c:pt idx="60">
                  <c:v>1.0062461E-2</c:v>
                </c:pt>
                <c:pt idx="61">
                  <c:v>1.0160737E-2</c:v>
                </c:pt>
                <c:pt idx="62">
                  <c:v>1.0300309000000001E-2</c:v>
                </c:pt>
                <c:pt idx="63">
                  <c:v>1.0343066E-2</c:v>
                </c:pt>
                <c:pt idx="64">
                  <c:v>1.0490088E-2</c:v>
                </c:pt>
                <c:pt idx="65">
                  <c:v>1.0598023999999999E-2</c:v>
                </c:pt>
                <c:pt idx="66">
                  <c:v>1.0689819E-2</c:v>
                </c:pt>
                <c:pt idx="67">
                  <c:v>1.0738202000000001E-2</c:v>
                </c:pt>
                <c:pt idx="68">
                  <c:v>1.0747869E-2</c:v>
                </c:pt>
                <c:pt idx="69">
                  <c:v>1.0741136E-2</c:v>
                </c:pt>
                <c:pt idx="70">
                  <c:v>1.0732457000000001E-2</c:v>
                </c:pt>
                <c:pt idx="71">
                  <c:v>1.0751976E-2</c:v>
                </c:pt>
                <c:pt idx="72">
                  <c:v>1.0768045E-2</c:v>
                </c:pt>
                <c:pt idx="73">
                  <c:v>1.0642867E-2</c:v>
                </c:pt>
                <c:pt idx="74">
                  <c:v>1.0556100000000001E-2</c:v>
                </c:pt>
                <c:pt idx="75">
                  <c:v>1.0625165000000001E-2</c:v>
                </c:pt>
                <c:pt idx="76">
                  <c:v>1.0676075E-2</c:v>
                </c:pt>
                <c:pt idx="77">
                  <c:v>1.0675311E-2</c:v>
                </c:pt>
                <c:pt idx="78">
                  <c:v>1.0747308000000001E-2</c:v>
                </c:pt>
                <c:pt idx="79">
                  <c:v>1.0765673999999999E-2</c:v>
                </c:pt>
                <c:pt idx="80">
                  <c:v>1.0837400000000001E-2</c:v>
                </c:pt>
                <c:pt idx="81">
                  <c:v>1.0701317E-2</c:v>
                </c:pt>
                <c:pt idx="82">
                  <c:v>1.0522227E-2</c:v>
                </c:pt>
                <c:pt idx="83">
                  <c:v>1.0360932E-2</c:v>
                </c:pt>
                <c:pt idx="84">
                  <c:v>1.0285142000000001E-2</c:v>
                </c:pt>
                <c:pt idx="85">
                  <c:v>1.0268019999999999E-2</c:v>
                </c:pt>
                <c:pt idx="86">
                  <c:v>1.0240454E-2</c:v>
                </c:pt>
                <c:pt idx="87">
                  <c:v>1.0176133E-2</c:v>
                </c:pt>
                <c:pt idx="88">
                  <c:v>1.0038405E-2</c:v>
                </c:pt>
                <c:pt idx="89">
                  <c:v>9.8782120000000008E-3</c:v>
                </c:pt>
                <c:pt idx="90">
                  <c:v>9.7641700000000008E-3</c:v>
                </c:pt>
                <c:pt idx="91">
                  <c:v>9.6315359999999996E-3</c:v>
                </c:pt>
                <c:pt idx="92">
                  <c:v>9.5090069999999999E-3</c:v>
                </c:pt>
                <c:pt idx="93">
                  <c:v>9.486487E-3</c:v>
                </c:pt>
                <c:pt idx="94">
                  <c:v>9.3845839999999996E-3</c:v>
                </c:pt>
                <c:pt idx="95">
                  <c:v>9.413945E-3</c:v>
                </c:pt>
                <c:pt idx="96">
                  <c:v>9.4241559999999995E-3</c:v>
                </c:pt>
                <c:pt idx="97">
                  <c:v>9.4402879999999998E-3</c:v>
                </c:pt>
                <c:pt idx="98">
                  <c:v>9.4030880000000004E-3</c:v>
                </c:pt>
                <c:pt idx="99">
                  <c:v>9.6338069999999994E-3</c:v>
                </c:pt>
                <c:pt idx="100">
                  <c:v>9.8587069999999995E-3</c:v>
                </c:pt>
                <c:pt idx="101">
                  <c:v>1.0063353000000001E-2</c:v>
                </c:pt>
                <c:pt idx="102">
                  <c:v>1.0085616E-2</c:v>
                </c:pt>
                <c:pt idx="103">
                  <c:v>1.0136575E-2</c:v>
                </c:pt>
                <c:pt idx="104">
                  <c:v>1.0155954999999999E-2</c:v>
                </c:pt>
                <c:pt idx="105">
                  <c:v>1.0193394999999999E-2</c:v>
                </c:pt>
                <c:pt idx="106">
                  <c:v>1.0282639999999999E-2</c:v>
                </c:pt>
                <c:pt idx="107">
                  <c:v>1.0474699000000001E-2</c:v>
                </c:pt>
                <c:pt idx="108">
                  <c:v>1.0486483E-2</c:v>
                </c:pt>
                <c:pt idx="109">
                  <c:v>1.0479603000000001E-2</c:v>
                </c:pt>
                <c:pt idx="110">
                  <c:v>1.0466164999999999E-2</c:v>
                </c:pt>
                <c:pt idx="111">
                  <c:v>1.0511457E-2</c:v>
                </c:pt>
                <c:pt idx="112">
                  <c:v>1.0673563E-2</c:v>
                </c:pt>
                <c:pt idx="113">
                  <c:v>1.0737506000000001E-2</c:v>
                </c:pt>
                <c:pt idx="114">
                  <c:v>1.0811515000000001E-2</c:v>
                </c:pt>
                <c:pt idx="115">
                  <c:v>1.0849918E-2</c:v>
                </c:pt>
                <c:pt idx="116">
                  <c:v>1.0735168999999999E-2</c:v>
                </c:pt>
                <c:pt idx="117">
                  <c:v>1.0706703E-2</c:v>
                </c:pt>
                <c:pt idx="118">
                  <c:v>1.0718426E-2</c:v>
                </c:pt>
                <c:pt idx="119">
                  <c:v>1.0638267999999999E-2</c:v>
                </c:pt>
                <c:pt idx="120">
                  <c:v>1.0424322999999999E-2</c:v>
                </c:pt>
                <c:pt idx="121">
                  <c:v>1.0323793E-2</c:v>
                </c:pt>
                <c:pt idx="122">
                  <c:v>1.0210495999999999E-2</c:v>
                </c:pt>
                <c:pt idx="123">
                  <c:v>1.0337778000000001E-2</c:v>
                </c:pt>
                <c:pt idx="124">
                  <c:v>1.025421E-2</c:v>
                </c:pt>
                <c:pt idx="125">
                  <c:v>1.021816E-2</c:v>
                </c:pt>
                <c:pt idx="126">
                  <c:v>1.0193198000000001E-2</c:v>
                </c:pt>
                <c:pt idx="127">
                  <c:v>1.0175198E-2</c:v>
                </c:pt>
                <c:pt idx="128">
                  <c:v>1.0127498E-2</c:v>
                </c:pt>
                <c:pt idx="129">
                  <c:v>1.0148114999999999E-2</c:v>
                </c:pt>
                <c:pt idx="130">
                  <c:v>1.0133390000000001E-2</c:v>
                </c:pt>
                <c:pt idx="131">
                  <c:v>1.036895E-2</c:v>
                </c:pt>
                <c:pt idx="132">
                  <c:v>1.0381980000000001E-2</c:v>
                </c:pt>
                <c:pt idx="133">
                  <c:v>1.0581488E-2</c:v>
                </c:pt>
                <c:pt idx="134">
                  <c:v>1.0669101E-2</c:v>
                </c:pt>
                <c:pt idx="135">
                  <c:v>1.071039E-2</c:v>
                </c:pt>
                <c:pt idx="136">
                  <c:v>1.0697313999999999E-2</c:v>
                </c:pt>
                <c:pt idx="137">
                  <c:v>1.0728359999999999E-2</c:v>
                </c:pt>
                <c:pt idx="138">
                  <c:v>1.0732579000000001E-2</c:v>
                </c:pt>
                <c:pt idx="139">
                  <c:v>1.0912141E-2</c:v>
                </c:pt>
                <c:pt idx="140">
                  <c:v>1.0917690000000001E-2</c:v>
                </c:pt>
                <c:pt idx="141">
                  <c:v>1.1039017999999999E-2</c:v>
                </c:pt>
                <c:pt idx="142">
                  <c:v>1.1205135999999999E-2</c:v>
                </c:pt>
                <c:pt idx="143">
                  <c:v>1.1322286000000001E-2</c:v>
                </c:pt>
                <c:pt idx="144">
                  <c:v>1.1504601999999999E-2</c:v>
                </c:pt>
                <c:pt idx="145">
                  <c:v>1.1753727E-2</c:v>
                </c:pt>
                <c:pt idx="146">
                  <c:v>1.2077183999999999E-2</c:v>
                </c:pt>
                <c:pt idx="147">
                  <c:v>1.2377892E-2</c:v>
                </c:pt>
                <c:pt idx="148">
                  <c:v>1.2567917E-2</c:v>
                </c:pt>
                <c:pt idx="149">
                  <c:v>1.2738437E-2</c:v>
                </c:pt>
                <c:pt idx="150">
                  <c:v>1.3202627999999999E-2</c:v>
                </c:pt>
                <c:pt idx="151">
                  <c:v>1.3386406E-2</c:v>
                </c:pt>
                <c:pt idx="152">
                  <c:v>1.3525317E-2</c:v>
                </c:pt>
                <c:pt idx="153">
                  <c:v>1.3627045000000001E-2</c:v>
                </c:pt>
                <c:pt idx="154">
                  <c:v>1.3755902E-2</c:v>
                </c:pt>
                <c:pt idx="155">
                  <c:v>1.3805757E-2</c:v>
                </c:pt>
                <c:pt idx="156">
                  <c:v>1.3894722999999999E-2</c:v>
                </c:pt>
                <c:pt idx="157">
                  <c:v>1.3978185000000001E-2</c:v>
                </c:pt>
                <c:pt idx="158">
                  <c:v>1.3963115999999999E-2</c:v>
                </c:pt>
                <c:pt idx="159">
                  <c:v>1.3625085E-2</c:v>
                </c:pt>
                <c:pt idx="160">
                  <c:v>1.3435291E-2</c:v>
                </c:pt>
                <c:pt idx="161">
                  <c:v>1.3294698000000001E-2</c:v>
                </c:pt>
                <c:pt idx="162">
                  <c:v>1.3280760000000001E-2</c:v>
                </c:pt>
                <c:pt idx="163">
                  <c:v>1.3293783E-2</c:v>
                </c:pt>
                <c:pt idx="164">
                  <c:v>1.3367855E-2</c:v>
                </c:pt>
                <c:pt idx="165">
                  <c:v>1.345359E-2</c:v>
                </c:pt>
                <c:pt idx="166">
                  <c:v>1.3449243E-2</c:v>
                </c:pt>
                <c:pt idx="167">
                  <c:v>1.3304226000000001E-2</c:v>
                </c:pt>
                <c:pt idx="168">
                  <c:v>1.3330243E-2</c:v>
                </c:pt>
                <c:pt idx="169">
                  <c:v>1.341562E-2</c:v>
                </c:pt>
                <c:pt idx="170">
                  <c:v>1.3463553E-2</c:v>
                </c:pt>
                <c:pt idx="171">
                  <c:v>1.3475736E-2</c:v>
                </c:pt>
                <c:pt idx="172">
                  <c:v>1.3392878E-2</c:v>
                </c:pt>
                <c:pt idx="173">
                  <c:v>1.3454374E-2</c:v>
                </c:pt>
                <c:pt idx="174">
                  <c:v>1.3519494999999999E-2</c:v>
                </c:pt>
                <c:pt idx="175">
                  <c:v>1.3609675999999999E-2</c:v>
                </c:pt>
                <c:pt idx="176">
                  <c:v>1.3619433E-2</c:v>
                </c:pt>
                <c:pt idx="177">
                  <c:v>1.3625659E-2</c:v>
                </c:pt>
                <c:pt idx="178">
                  <c:v>1.3640842E-2</c:v>
                </c:pt>
                <c:pt idx="179">
                  <c:v>1.3648608E-2</c:v>
                </c:pt>
                <c:pt idx="180">
                  <c:v>1.3724903E-2</c:v>
                </c:pt>
                <c:pt idx="181">
                  <c:v>1.3733201E-2</c:v>
                </c:pt>
                <c:pt idx="182">
                  <c:v>1.3697836999999999E-2</c:v>
                </c:pt>
                <c:pt idx="183">
                  <c:v>1.3521567E-2</c:v>
                </c:pt>
                <c:pt idx="184">
                  <c:v>1.352165E-2</c:v>
                </c:pt>
                <c:pt idx="185">
                  <c:v>1.3502333E-2</c:v>
                </c:pt>
                <c:pt idx="186">
                  <c:v>1.3493384000000001E-2</c:v>
                </c:pt>
                <c:pt idx="187">
                  <c:v>1.3509446E-2</c:v>
                </c:pt>
                <c:pt idx="188">
                  <c:v>1.3526488999999999E-2</c:v>
                </c:pt>
                <c:pt idx="189">
                  <c:v>1.3526417000000001E-2</c:v>
                </c:pt>
                <c:pt idx="190">
                  <c:v>1.3613696E-2</c:v>
                </c:pt>
                <c:pt idx="191">
                  <c:v>1.3398983999999999E-2</c:v>
                </c:pt>
                <c:pt idx="192">
                  <c:v>1.3431042000000001E-2</c:v>
                </c:pt>
                <c:pt idx="193">
                  <c:v>1.3232071999999999E-2</c:v>
                </c:pt>
                <c:pt idx="194">
                  <c:v>1.318019E-2</c:v>
                </c:pt>
                <c:pt idx="195">
                  <c:v>1.3104920000000001E-2</c:v>
                </c:pt>
                <c:pt idx="196">
                  <c:v>1.3125146000000001E-2</c:v>
                </c:pt>
                <c:pt idx="197">
                  <c:v>1.3125919E-2</c:v>
                </c:pt>
                <c:pt idx="198">
                  <c:v>1.309341E-2</c:v>
                </c:pt>
                <c:pt idx="199">
                  <c:v>1.2957888000000001E-2</c:v>
                </c:pt>
                <c:pt idx="200">
                  <c:v>1.2927345999999999E-2</c:v>
                </c:pt>
                <c:pt idx="201">
                  <c:v>1.2781459E-2</c:v>
                </c:pt>
                <c:pt idx="202">
                  <c:v>1.2607006E-2</c:v>
                </c:pt>
                <c:pt idx="203">
                  <c:v>1.2483061E-2</c:v>
                </c:pt>
                <c:pt idx="204">
                  <c:v>1.233686E-2</c:v>
                </c:pt>
                <c:pt idx="205">
                  <c:v>1.2104790000000001E-2</c:v>
                </c:pt>
                <c:pt idx="206">
                  <c:v>1.1797240000000001E-2</c:v>
                </c:pt>
                <c:pt idx="207">
                  <c:v>1.1473117E-2</c:v>
                </c:pt>
                <c:pt idx="208">
                  <c:v>1.1250845000000001E-2</c:v>
                </c:pt>
                <c:pt idx="209">
                  <c:v>1.1080782000000001E-2</c:v>
                </c:pt>
                <c:pt idx="210">
                  <c:v>1.0637515E-2</c:v>
                </c:pt>
                <c:pt idx="211">
                  <c:v>1.0552584E-2</c:v>
                </c:pt>
                <c:pt idx="212">
                  <c:v>1.0426563E-2</c:v>
                </c:pt>
                <c:pt idx="213">
                  <c:v>1.0326368000000001E-2</c:v>
                </c:pt>
                <c:pt idx="214">
                  <c:v>1.0183226E-2</c:v>
                </c:pt>
                <c:pt idx="215">
                  <c:v>1.014114E-2</c:v>
                </c:pt>
                <c:pt idx="216">
                  <c:v>1.0044663000000001E-2</c:v>
                </c:pt>
                <c:pt idx="217">
                  <c:v>9.9445680000000009E-3</c:v>
                </c:pt>
                <c:pt idx="218">
                  <c:v>9.8741019999999992E-3</c:v>
                </c:pt>
                <c:pt idx="219">
                  <c:v>9.8084209999999995E-3</c:v>
                </c:pt>
                <c:pt idx="220">
                  <c:v>9.6402829999999995E-3</c:v>
                </c:pt>
                <c:pt idx="221">
                  <c:v>9.5497020000000002E-3</c:v>
                </c:pt>
                <c:pt idx="222">
                  <c:v>9.4526929999999999E-3</c:v>
                </c:pt>
                <c:pt idx="223">
                  <c:v>9.3794369999999991E-3</c:v>
                </c:pt>
                <c:pt idx="224">
                  <c:v>9.2928400000000001E-3</c:v>
                </c:pt>
                <c:pt idx="225">
                  <c:v>9.1546160000000008E-3</c:v>
                </c:pt>
                <c:pt idx="226">
                  <c:v>9.1387699999999992E-3</c:v>
                </c:pt>
                <c:pt idx="227">
                  <c:v>9.1297099999999992E-3</c:v>
                </c:pt>
                <c:pt idx="228">
                  <c:v>9.0580939999999992E-3</c:v>
                </c:pt>
                <c:pt idx="229">
                  <c:v>9.0113220000000004E-3</c:v>
                </c:pt>
                <c:pt idx="230">
                  <c:v>9.0744399999999996E-3</c:v>
                </c:pt>
                <c:pt idx="231">
                  <c:v>9.0770130000000001E-3</c:v>
                </c:pt>
                <c:pt idx="232">
                  <c:v>9.0484009999999993E-3</c:v>
                </c:pt>
                <c:pt idx="233">
                  <c:v>8.9623729999999992E-3</c:v>
                </c:pt>
                <c:pt idx="234">
                  <c:v>8.8351269999999999E-3</c:v>
                </c:pt>
                <c:pt idx="235">
                  <c:v>8.6965600000000007E-3</c:v>
                </c:pt>
                <c:pt idx="236">
                  <c:v>8.6954549999999995E-3</c:v>
                </c:pt>
                <c:pt idx="237">
                  <c:v>8.7619810000000003E-3</c:v>
                </c:pt>
                <c:pt idx="238">
                  <c:v>8.7530070000000001E-3</c:v>
                </c:pt>
                <c:pt idx="239">
                  <c:v>8.8157689999999993E-3</c:v>
                </c:pt>
                <c:pt idx="240">
                  <c:v>8.8962539999999993E-3</c:v>
                </c:pt>
                <c:pt idx="241">
                  <c:v>9.0102259999999997E-3</c:v>
                </c:pt>
                <c:pt idx="242">
                  <c:v>9.2449809999999993E-3</c:v>
                </c:pt>
                <c:pt idx="243">
                  <c:v>9.5366380000000001E-3</c:v>
                </c:pt>
                <c:pt idx="244">
                  <c:v>9.8026850000000002E-3</c:v>
                </c:pt>
                <c:pt idx="245">
                  <c:v>9.9905819999999996E-3</c:v>
                </c:pt>
                <c:pt idx="246">
                  <c:v>1.0176584000000001E-2</c:v>
                </c:pt>
                <c:pt idx="247">
                  <c:v>1.0376580999999999E-2</c:v>
                </c:pt>
                <c:pt idx="248">
                  <c:v>1.0488768000000001E-2</c:v>
                </c:pt>
                <c:pt idx="249">
                  <c:v>1.0596678999999999E-2</c:v>
                </c:pt>
                <c:pt idx="250">
                  <c:v>1.0657232000000001E-2</c:v>
                </c:pt>
                <c:pt idx="251">
                  <c:v>1.0698164E-2</c:v>
                </c:pt>
                <c:pt idx="252">
                  <c:v>1.0765992E-2</c:v>
                </c:pt>
                <c:pt idx="253">
                  <c:v>1.0924774999999999E-2</c:v>
                </c:pt>
                <c:pt idx="254">
                  <c:v>1.1021021000000001E-2</c:v>
                </c:pt>
                <c:pt idx="255">
                  <c:v>1.1082026E-2</c:v>
                </c:pt>
                <c:pt idx="256">
                  <c:v>1.1161552999999999E-2</c:v>
                </c:pt>
                <c:pt idx="257">
                  <c:v>1.1248335E-2</c:v>
                </c:pt>
                <c:pt idx="258">
                  <c:v>1.1407864E-2</c:v>
                </c:pt>
                <c:pt idx="259">
                  <c:v>1.1640372E-2</c:v>
                </c:pt>
                <c:pt idx="260">
                  <c:v>1.1830758E-2</c:v>
                </c:pt>
                <c:pt idx="261">
                  <c:v>1.196699E-2</c:v>
                </c:pt>
                <c:pt idx="262">
                  <c:v>1.2079443E-2</c:v>
                </c:pt>
                <c:pt idx="263">
                  <c:v>1.2182478E-2</c:v>
                </c:pt>
                <c:pt idx="264">
                  <c:v>1.2211638E-2</c:v>
                </c:pt>
                <c:pt idx="265">
                  <c:v>1.2402945E-2</c:v>
                </c:pt>
                <c:pt idx="266">
                  <c:v>1.2576858E-2</c:v>
                </c:pt>
                <c:pt idx="267">
                  <c:v>1.2719315E-2</c:v>
                </c:pt>
                <c:pt idx="268">
                  <c:v>1.2828992000000001E-2</c:v>
                </c:pt>
                <c:pt idx="269">
                  <c:v>1.3019222E-2</c:v>
                </c:pt>
                <c:pt idx="270">
                  <c:v>1.3233735999999999E-2</c:v>
                </c:pt>
                <c:pt idx="271">
                  <c:v>1.3242538999999999E-2</c:v>
                </c:pt>
                <c:pt idx="272">
                  <c:v>1.3359217E-2</c:v>
                </c:pt>
                <c:pt idx="273">
                  <c:v>1.3604636E-2</c:v>
                </c:pt>
                <c:pt idx="274">
                  <c:v>1.3760280999999999E-2</c:v>
                </c:pt>
                <c:pt idx="275">
                  <c:v>1.3828190000000001E-2</c:v>
                </c:pt>
                <c:pt idx="276">
                  <c:v>1.4026146E-2</c:v>
                </c:pt>
                <c:pt idx="277">
                  <c:v>1.4190222000000001E-2</c:v>
                </c:pt>
                <c:pt idx="278">
                  <c:v>1.4309228E-2</c:v>
                </c:pt>
                <c:pt idx="279">
                  <c:v>1.4424915E-2</c:v>
                </c:pt>
                <c:pt idx="280">
                  <c:v>1.4527857E-2</c:v>
                </c:pt>
                <c:pt idx="281">
                  <c:v>1.456024E-2</c:v>
                </c:pt>
                <c:pt idx="282">
                  <c:v>1.4552024E-2</c:v>
                </c:pt>
                <c:pt idx="283">
                  <c:v>1.4521025999999999E-2</c:v>
                </c:pt>
                <c:pt idx="284">
                  <c:v>1.4517370999999999E-2</c:v>
                </c:pt>
                <c:pt idx="285">
                  <c:v>1.4563665E-2</c:v>
                </c:pt>
                <c:pt idx="286">
                  <c:v>1.4553897999999999E-2</c:v>
                </c:pt>
                <c:pt idx="287">
                  <c:v>1.4602647999999999E-2</c:v>
                </c:pt>
                <c:pt idx="288">
                  <c:v>1.4660447E-2</c:v>
                </c:pt>
                <c:pt idx="289">
                  <c:v>1.4691187E-2</c:v>
                </c:pt>
                <c:pt idx="290">
                  <c:v>1.4652418E-2</c:v>
                </c:pt>
                <c:pt idx="291">
                  <c:v>1.4705676000000001E-2</c:v>
                </c:pt>
                <c:pt idx="292">
                  <c:v>1.4789118E-2</c:v>
                </c:pt>
                <c:pt idx="293">
                  <c:v>1.4838607E-2</c:v>
                </c:pt>
                <c:pt idx="294">
                  <c:v>1.4990487E-2</c:v>
                </c:pt>
                <c:pt idx="295">
                  <c:v>1.5285666999999999E-2</c:v>
                </c:pt>
                <c:pt idx="296">
                  <c:v>1.5412824E-2</c:v>
                </c:pt>
                <c:pt idx="297">
                  <c:v>1.5477418999999999E-2</c:v>
                </c:pt>
                <c:pt idx="298">
                  <c:v>1.5623883E-2</c:v>
                </c:pt>
                <c:pt idx="299">
                  <c:v>1.5741879E-2</c:v>
                </c:pt>
                <c:pt idx="300">
                  <c:v>1.5778935000000001E-2</c:v>
                </c:pt>
                <c:pt idx="301">
                  <c:v>1.5876640000000001E-2</c:v>
                </c:pt>
                <c:pt idx="302">
                  <c:v>1.5845036E-2</c:v>
                </c:pt>
                <c:pt idx="303">
                  <c:v>1.5755246000000001E-2</c:v>
                </c:pt>
                <c:pt idx="304">
                  <c:v>1.5712167999999999E-2</c:v>
                </c:pt>
                <c:pt idx="305">
                  <c:v>1.5668629E-2</c:v>
                </c:pt>
                <c:pt idx="306">
                  <c:v>1.5662022000000001E-2</c:v>
                </c:pt>
                <c:pt idx="307">
                  <c:v>1.5684869000000001E-2</c:v>
                </c:pt>
                <c:pt idx="308">
                  <c:v>1.5913938999999998E-2</c:v>
                </c:pt>
                <c:pt idx="309">
                  <c:v>1.6022536E-2</c:v>
                </c:pt>
                <c:pt idx="310">
                  <c:v>1.6159969999999999E-2</c:v>
                </c:pt>
                <c:pt idx="311">
                  <c:v>1.6367552E-2</c:v>
                </c:pt>
                <c:pt idx="312">
                  <c:v>1.6511001000000001E-2</c:v>
                </c:pt>
                <c:pt idx="313">
                  <c:v>1.6672045999999999E-2</c:v>
                </c:pt>
                <c:pt idx="314">
                  <c:v>1.6700976999999999E-2</c:v>
                </c:pt>
                <c:pt idx="315">
                  <c:v>1.6839647999999999E-2</c:v>
                </c:pt>
                <c:pt idx="316">
                  <c:v>1.6858352E-2</c:v>
                </c:pt>
                <c:pt idx="317">
                  <c:v>1.7121998999999999E-2</c:v>
                </c:pt>
                <c:pt idx="318">
                  <c:v>1.7328122000000001E-2</c:v>
                </c:pt>
                <c:pt idx="319">
                  <c:v>1.7463751E-2</c:v>
                </c:pt>
                <c:pt idx="320">
                  <c:v>1.7609429999999999E-2</c:v>
                </c:pt>
                <c:pt idx="321">
                  <c:v>1.7930445E-2</c:v>
                </c:pt>
                <c:pt idx="322">
                  <c:v>1.8292941E-2</c:v>
                </c:pt>
                <c:pt idx="323">
                  <c:v>1.8841287000000002E-2</c:v>
                </c:pt>
                <c:pt idx="324">
                  <c:v>1.9394654000000001E-2</c:v>
                </c:pt>
                <c:pt idx="325">
                  <c:v>1.9646426000000002E-2</c:v>
                </c:pt>
                <c:pt idx="326">
                  <c:v>1.9878676000000001E-2</c:v>
                </c:pt>
                <c:pt idx="327">
                  <c:v>2.0557103E-2</c:v>
                </c:pt>
                <c:pt idx="328">
                  <c:v>2.1050994999999999E-2</c:v>
                </c:pt>
                <c:pt idx="329">
                  <c:v>2.137882E-2</c:v>
                </c:pt>
                <c:pt idx="330">
                  <c:v>2.1553189E-2</c:v>
                </c:pt>
                <c:pt idx="331">
                  <c:v>2.1703977999999999E-2</c:v>
                </c:pt>
                <c:pt idx="332">
                  <c:v>2.1895509E-2</c:v>
                </c:pt>
                <c:pt idx="333">
                  <c:v>2.1941911000000001E-2</c:v>
                </c:pt>
                <c:pt idx="334">
                  <c:v>2.2119364999999998E-2</c:v>
                </c:pt>
                <c:pt idx="335">
                  <c:v>2.2345443E-2</c:v>
                </c:pt>
                <c:pt idx="336">
                  <c:v>2.2556158E-2</c:v>
                </c:pt>
                <c:pt idx="337">
                  <c:v>2.2899803E-2</c:v>
                </c:pt>
                <c:pt idx="338">
                  <c:v>2.3289939999999999E-2</c:v>
                </c:pt>
                <c:pt idx="339">
                  <c:v>2.3530089000000001E-2</c:v>
                </c:pt>
                <c:pt idx="340">
                  <c:v>2.3847572000000001E-2</c:v>
                </c:pt>
                <c:pt idx="341">
                  <c:v>2.4117975E-2</c:v>
                </c:pt>
                <c:pt idx="342">
                  <c:v>2.4341607000000001E-2</c:v>
                </c:pt>
                <c:pt idx="343">
                  <c:v>2.4468555999999999E-2</c:v>
                </c:pt>
                <c:pt idx="344">
                  <c:v>2.4612403000000001E-2</c:v>
                </c:pt>
                <c:pt idx="345">
                  <c:v>2.4733272000000001E-2</c:v>
                </c:pt>
                <c:pt idx="346">
                  <c:v>2.4765961E-2</c:v>
                </c:pt>
                <c:pt idx="347">
                  <c:v>2.4868984E-2</c:v>
                </c:pt>
                <c:pt idx="348">
                  <c:v>2.4981621999999998E-2</c:v>
                </c:pt>
                <c:pt idx="349">
                  <c:v>2.5044473000000001E-2</c:v>
                </c:pt>
                <c:pt idx="350">
                  <c:v>2.5177405999999999E-2</c:v>
                </c:pt>
                <c:pt idx="351">
                  <c:v>2.5233137999999999E-2</c:v>
                </c:pt>
                <c:pt idx="352">
                  <c:v>2.5265961E-2</c:v>
                </c:pt>
                <c:pt idx="353">
                  <c:v>2.5399973999999999E-2</c:v>
                </c:pt>
                <c:pt idx="354">
                  <c:v>2.5361509000000001E-2</c:v>
                </c:pt>
                <c:pt idx="355">
                  <c:v>2.5189375999999999E-2</c:v>
                </c:pt>
                <c:pt idx="356">
                  <c:v>2.5337394999999999E-2</c:v>
                </c:pt>
                <c:pt idx="357">
                  <c:v>2.5461345999999999E-2</c:v>
                </c:pt>
                <c:pt idx="358">
                  <c:v>2.5606351999999999E-2</c:v>
                </c:pt>
                <c:pt idx="359">
                  <c:v>2.5704619000000001E-2</c:v>
                </c:pt>
                <c:pt idx="360">
                  <c:v>2.6200088999999999E-2</c:v>
                </c:pt>
                <c:pt idx="361">
                  <c:v>2.6248054999999999E-2</c:v>
                </c:pt>
                <c:pt idx="362">
                  <c:v>2.6303844999999999E-2</c:v>
                </c:pt>
                <c:pt idx="363">
                  <c:v>2.6268768000000001E-2</c:v>
                </c:pt>
                <c:pt idx="364">
                  <c:v>2.6197159000000001E-2</c:v>
                </c:pt>
                <c:pt idx="365">
                  <c:v>2.6274796E-2</c:v>
                </c:pt>
                <c:pt idx="366">
                  <c:v>2.6494655999999998E-2</c:v>
                </c:pt>
                <c:pt idx="367">
                  <c:v>2.6482987E-2</c:v>
                </c:pt>
                <c:pt idx="368">
                  <c:v>2.6230251999999999E-2</c:v>
                </c:pt>
                <c:pt idx="369">
                  <c:v>2.6072422000000001E-2</c:v>
                </c:pt>
                <c:pt idx="370">
                  <c:v>2.5904096000000001E-2</c:v>
                </c:pt>
                <c:pt idx="371">
                  <c:v>2.5660987E-2</c:v>
                </c:pt>
                <c:pt idx="372">
                  <c:v>2.5428916999999999E-2</c:v>
                </c:pt>
                <c:pt idx="373">
                  <c:v>2.5135706000000001E-2</c:v>
                </c:pt>
                <c:pt idx="374">
                  <c:v>2.5006477999999999E-2</c:v>
                </c:pt>
                <c:pt idx="375">
                  <c:v>2.4795029999999999E-2</c:v>
                </c:pt>
                <c:pt idx="376">
                  <c:v>2.4744268999999999E-2</c:v>
                </c:pt>
                <c:pt idx="377">
                  <c:v>2.442652E-2</c:v>
                </c:pt>
                <c:pt idx="378">
                  <c:v>2.4181050999999999E-2</c:v>
                </c:pt>
                <c:pt idx="379">
                  <c:v>2.3980696999999999E-2</c:v>
                </c:pt>
                <c:pt idx="380">
                  <c:v>2.3735873000000001E-2</c:v>
                </c:pt>
                <c:pt idx="381">
                  <c:v>2.3312613999999999E-2</c:v>
                </c:pt>
                <c:pt idx="382">
                  <c:v>2.2918267999999999E-2</c:v>
                </c:pt>
                <c:pt idx="383">
                  <c:v>2.2331915000000001E-2</c:v>
                </c:pt>
                <c:pt idx="384">
                  <c:v>2.17392E-2</c:v>
                </c:pt>
                <c:pt idx="385">
                  <c:v>2.1292045999999999E-2</c:v>
                </c:pt>
                <c:pt idx="386">
                  <c:v>2.0989569999999999E-2</c:v>
                </c:pt>
                <c:pt idx="387">
                  <c:v>2.0245297999999998E-2</c:v>
                </c:pt>
                <c:pt idx="388">
                  <c:v>1.9712779999999999E-2</c:v>
                </c:pt>
                <c:pt idx="389">
                  <c:v>1.924064E-2</c:v>
                </c:pt>
                <c:pt idx="390">
                  <c:v>1.8968388999999999E-2</c:v>
                </c:pt>
                <c:pt idx="391">
                  <c:v>1.8734054999999999E-2</c:v>
                </c:pt>
                <c:pt idx="392">
                  <c:v>1.8538649000000001E-2</c:v>
                </c:pt>
                <c:pt idx="393">
                  <c:v>1.8272417999999999E-2</c:v>
                </c:pt>
                <c:pt idx="394">
                  <c:v>1.8008677000000001E-2</c:v>
                </c:pt>
                <c:pt idx="395">
                  <c:v>1.7755815000000001E-2</c:v>
                </c:pt>
                <c:pt idx="396">
                  <c:v>1.7391929E-2</c:v>
                </c:pt>
                <c:pt idx="397">
                  <c:v>1.6954049999999998E-2</c:v>
                </c:pt>
                <c:pt idx="398">
                  <c:v>1.6612014000000001E-2</c:v>
                </c:pt>
                <c:pt idx="399">
                  <c:v>1.6427961000000001E-2</c:v>
                </c:pt>
                <c:pt idx="400">
                  <c:v>1.6072656000000001E-2</c:v>
                </c:pt>
                <c:pt idx="401">
                  <c:v>1.5830668999999999E-2</c:v>
                </c:pt>
                <c:pt idx="402">
                  <c:v>1.5699853999999999E-2</c:v>
                </c:pt>
                <c:pt idx="403">
                  <c:v>1.5633675999999999E-2</c:v>
                </c:pt>
                <c:pt idx="404">
                  <c:v>1.5610475E-2</c:v>
                </c:pt>
                <c:pt idx="405">
                  <c:v>1.5515331E-2</c:v>
                </c:pt>
                <c:pt idx="406">
                  <c:v>1.5526211999999999E-2</c:v>
                </c:pt>
                <c:pt idx="407">
                  <c:v>1.5413299E-2</c:v>
                </c:pt>
                <c:pt idx="408">
                  <c:v>1.5341535E-2</c:v>
                </c:pt>
                <c:pt idx="409">
                  <c:v>1.5427965E-2</c:v>
                </c:pt>
                <c:pt idx="410">
                  <c:v>1.5525874E-2</c:v>
                </c:pt>
                <c:pt idx="411">
                  <c:v>1.5518735000000001E-2</c:v>
                </c:pt>
                <c:pt idx="412">
                  <c:v>1.5745689E-2</c:v>
                </c:pt>
                <c:pt idx="413">
                  <c:v>1.5776953E-2</c:v>
                </c:pt>
                <c:pt idx="414">
                  <c:v>1.5789964E-2</c:v>
                </c:pt>
                <c:pt idx="415">
                  <c:v>1.5817468000000001E-2</c:v>
                </c:pt>
                <c:pt idx="416">
                  <c:v>1.5680323999999999E-2</c:v>
                </c:pt>
                <c:pt idx="417">
                  <c:v>1.5607215000000001E-2</c:v>
                </c:pt>
                <c:pt idx="418">
                  <c:v>1.5421349000000001E-2</c:v>
                </c:pt>
                <c:pt idx="419">
                  <c:v>1.5232420999999999E-2</c:v>
                </c:pt>
                <c:pt idx="420">
                  <c:v>1.4618994E-2</c:v>
                </c:pt>
                <c:pt idx="421">
                  <c:v>1.4466708E-2</c:v>
                </c:pt>
                <c:pt idx="422">
                  <c:v>1.4410818000000001E-2</c:v>
                </c:pt>
                <c:pt idx="423">
                  <c:v>1.4672205000000001E-2</c:v>
                </c:pt>
                <c:pt idx="424">
                  <c:v>1.4799454E-2</c:v>
                </c:pt>
                <c:pt idx="425">
                  <c:v>1.4778368E-2</c:v>
                </c:pt>
                <c:pt idx="426">
                  <c:v>1.4601097E-2</c:v>
                </c:pt>
                <c:pt idx="427">
                  <c:v>1.4563534E-2</c:v>
                </c:pt>
                <c:pt idx="428">
                  <c:v>1.4604341999999999E-2</c:v>
                </c:pt>
                <c:pt idx="429">
                  <c:v>1.4642159E-2</c:v>
                </c:pt>
                <c:pt idx="430">
                  <c:v>1.4628059000000001E-2</c:v>
                </c:pt>
                <c:pt idx="431">
                  <c:v>1.4675980999999999E-2</c:v>
                </c:pt>
                <c:pt idx="432">
                  <c:v>1.4750522E-2</c:v>
                </c:pt>
                <c:pt idx="433">
                  <c:v>1.4861393000000001E-2</c:v>
                </c:pt>
                <c:pt idx="434">
                  <c:v>1.4944160999999999E-2</c:v>
                </c:pt>
                <c:pt idx="435">
                  <c:v>1.5118878000000001E-2</c:v>
                </c:pt>
                <c:pt idx="436">
                  <c:v>1.5406125E-2</c:v>
                </c:pt>
                <c:pt idx="437">
                  <c:v>1.6163067E-2</c:v>
                </c:pt>
                <c:pt idx="438">
                  <c:v>1.6276565E-2</c:v>
                </c:pt>
                <c:pt idx="439">
                  <c:v>1.6344708999999999E-2</c:v>
                </c:pt>
                <c:pt idx="440">
                  <c:v>1.6494873E-2</c:v>
                </c:pt>
                <c:pt idx="441">
                  <c:v>1.6764978E-2</c:v>
                </c:pt>
                <c:pt idx="442">
                  <c:v>1.7058133E-2</c:v>
                </c:pt>
                <c:pt idx="443">
                  <c:v>1.7294830000000001E-2</c:v>
                </c:pt>
                <c:pt idx="444">
                  <c:v>1.7581603000000001E-2</c:v>
                </c:pt>
                <c:pt idx="445">
                  <c:v>1.7735135999999999E-2</c:v>
                </c:pt>
                <c:pt idx="446">
                  <c:v>1.7912307999999998E-2</c:v>
                </c:pt>
                <c:pt idx="447">
                  <c:v>1.8430703E-2</c:v>
                </c:pt>
                <c:pt idx="448">
                  <c:v>1.8738927999999998E-2</c:v>
                </c:pt>
                <c:pt idx="449">
                  <c:v>1.9007431000000002E-2</c:v>
                </c:pt>
                <c:pt idx="450">
                  <c:v>1.9225236E-2</c:v>
                </c:pt>
                <c:pt idx="451">
                  <c:v>1.9804311000000002E-2</c:v>
                </c:pt>
                <c:pt idx="452">
                  <c:v>2.0041788000000001E-2</c:v>
                </c:pt>
                <c:pt idx="453">
                  <c:v>2.0451352999999999E-2</c:v>
                </c:pt>
                <c:pt idx="454">
                  <c:v>2.0763038000000001E-2</c:v>
                </c:pt>
                <c:pt idx="455">
                  <c:v>2.1144677000000001E-2</c:v>
                </c:pt>
                <c:pt idx="456">
                  <c:v>2.1522494999999999E-2</c:v>
                </c:pt>
                <c:pt idx="457">
                  <c:v>2.1816446999999999E-2</c:v>
                </c:pt>
                <c:pt idx="458">
                  <c:v>2.2018848000000001E-2</c:v>
                </c:pt>
                <c:pt idx="459">
                  <c:v>2.2170512E-2</c:v>
                </c:pt>
                <c:pt idx="460">
                  <c:v>2.2411383E-2</c:v>
                </c:pt>
                <c:pt idx="461">
                  <c:v>2.2723614E-2</c:v>
                </c:pt>
                <c:pt idx="462">
                  <c:v>2.2959897999999999E-2</c:v>
                </c:pt>
                <c:pt idx="463">
                  <c:v>2.3445882000000001E-2</c:v>
                </c:pt>
                <c:pt idx="464">
                  <c:v>2.3784262E-2</c:v>
                </c:pt>
                <c:pt idx="465">
                  <c:v>2.4343099E-2</c:v>
                </c:pt>
                <c:pt idx="466">
                  <c:v>2.4942591E-2</c:v>
                </c:pt>
                <c:pt idx="467">
                  <c:v>2.5449646999999999E-2</c:v>
                </c:pt>
                <c:pt idx="468">
                  <c:v>2.5737889E-2</c:v>
                </c:pt>
                <c:pt idx="469">
                  <c:v>2.6037252E-2</c:v>
                </c:pt>
                <c:pt idx="470">
                  <c:v>2.6136656000000001E-2</c:v>
                </c:pt>
                <c:pt idx="471">
                  <c:v>2.6285321E-2</c:v>
                </c:pt>
                <c:pt idx="472">
                  <c:v>2.6223261000000001E-2</c:v>
                </c:pt>
                <c:pt idx="473">
                  <c:v>2.6470806999999999E-2</c:v>
                </c:pt>
                <c:pt idx="474">
                  <c:v>2.6866977E-2</c:v>
                </c:pt>
                <c:pt idx="475">
                  <c:v>2.7053944E-2</c:v>
                </c:pt>
                <c:pt idx="476">
                  <c:v>2.7243383999999999E-2</c:v>
                </c:pt>
                <c:pt idx="477">
                  <c:v>2.7312092E-2</c:v>
                </c:pt>
                <c:pt idx="478">
                  <c:v>2.7667902000000001E-2</c:v>
                </c:pt>
                <c:pt idx="479">
                  <c:v>2.8067245000000001E-2</c:v>
                </c:pt>
                <c:pt idx="480">
                  <c:v>2.8511583E-2</c:v>
                </c:pt>
                <c:pt idx="481">
                  <c:v>2.8988643000000001E-2</c:v>
                </c:pt>
                <c:pt idx="482">
                  <c:v>2.9494862E-2</c:v>
                </c:pt>
                <c:pt idx="483">
                  <c:v>3.0120477E-2</c:v>
                </c:pt>
                <c:pt idx="484">
                  <c:v>3.0653175000000001E-2</c:v>
                </c:pt>
                <c:pt idx="485">
                  <c:v>3.110622E-2</c:v>
                </c:pt>
                <c:pt idx="486">
                  <c:v>3.1605583999999999E-2</c:v>
                </c:pt>
                <c:pt idx="487">
                  <c:v>3.2094213000000003E-2</c:v>
                </c:pt>
                <c:pt idx="488">
                  <c:v>3.2585722999999997E-2</c:v>
                </c:pt>
                <c:pt idx="489">
                  <c:v>3.3035538000000003E-2</c:v>
                </c:pt>
                <c:pt idx="490">
                  <c:v>3.3430623E-2</c:v>
                </c:pt>
                <c:pt idx="491">
                  <c:v>3.3909661000000001E-2</c:v>
                </c:pt>
                <c:pt idx="492">
                  <c:v>3.4425077999999998E-2</c:v>
                </c:pt>
                <c:pt idx="493">
                  <c:v>3.4857448999999999E-2</c:v>
                </c:pt>
                <c:pt idx="494">
                  <c:v>3.5225969000000003E-2</c:v>
                </c:pt>
                <c:pt idx="495">
                  <c:v>3.5693021999999998E-2</c:v>
                </c:pt>
                <c:pt idx="496">
                  <c:v>3.6102455999999998E-2</c:v>
                </c:pt>
                <c:pt idx="497">
                  <c:v>3.5929504000000001E-2</c:v>
                </c:pt>
                <c:pt idx="498">
                  <c:v>3.6282406000000003E-2</c:v>
                </c:pt>
                <c:pt idx="499">
                  <c:v>3.6582178E-2</c:v>
                </c:pt>
                <c:pt idx="500">
                  <c:v>3.6994088000000001E-2</c:v>
                </c:pt>
                <c:pt idx="501">
                  <c:v>3.7302426E-2</c:v>
                </c:pt>
                <c:pt idx="502">
                  <c:v>3.7615096000000001E-2</c:v>
                </c:pt>
                <c:pt idx="503">
                  <c:v>3.7786925999999998E-2</c:v>
                </c:pt>
                <c:pt idx="504">
                  <c:v>3.7895316999999998E-2</c:v>
                </c:pt>
                <c:pt idx="505">
                  <c:v>3.8079331000000001E-2</c:v>
                </c:pt>
                <c:pt idx="506">
                  <c:v>3.8386219999999999E-2</c:v>
                </c:pt>
                <c:pt idx="507">
                  <c:v>3.8390339000000002E-2</c:v>
                </c:pt>
                <c:pt idx="508">
                  <c:v>3.8394534000000001E-2</c:v>
                </c:pt>
                <c:pt idx="509">
                  <c:v>3.8425398999999999E-2</c:v>
                </c:pt>
                <c:pt idx="510">
                  <c:v>3.8463138000000001E-2</c:v>
                </c:pt>
                <c:pt idx="511">
                  <c:v>3.8148207000000003E-2</c:v>
                </c:pt>
                <c:pt idx="512">
                  <c:v>3.8207805999999997E-2</c:v>
                </c:pt>
                <c:pt idx="513">
                  <c:v>3.8253407000000003E-2</c:v>
                </c:pt>
                <c:pt idx="514">
                  <c:v>3.8410237E-2</c:v>
                </c:pt>
                <c:pt idx="515">
                  <c:v>3.8499394999999999E-2</c:v>
                </c:pt>
                <c:pt idx="516">
                  <c:v>3.8826632999999999E-2</c:v>
                </c:pt>
                <c:pt idx="517">
                  <c:v>3.9010583000000001E-2</c:v>
                </c:pt>
                <c:pt idx="518">
                  <c:v>3.9194018999999997E-2</c:v>
                </c:pt>
                <c:pt idx="519">
                  <c:v>3.9246478000000001E-2</c:v>
                </c:pt>
                <c:pt idx="520">
                  <c:v>3.9419619000000003E-2</c:v>
                </c:pt>
                <c:pt idx="521">
                  <c:v>3.9389340000000002E-2</c:v>
                </c:pt>
                <c:pt idx="522">
                  <c:v>3.9429036000000001E-2</c:v>
                </c:pt>
                <c:pt idx="523">
                  <c:v>3.9146574000000003E-2</c:v>
                </c:pt>
                <c:pt idx="524">
                  <c:v>3.9150010999999998E-2</c:v>
                </c:pt>
                <c:pt idx="525">
                  <c:v>3.8889596999999998E-2</c:v>
                </c:pt>
                <c:pt idx="526">
                  <c:v>3.8555247000000001E-2</c:v>
                </c:pt>
                <c:pt idx="527">
                  <c:v>3.8368429000000003E-2</c:v>
                </c:pt>
                <c:pt idx="528">
                  <c:v>3.8291119999999998E-2</c:v>
                </c:pt>
                <c:pt idx="529">
                  <c:v>3.8182445000000002E-2</c:v>
                </c:pt>
                <c:pt idx="530">
                  <c:v>3.8343248000000003E-2</c:v>
                </c:pt>
                <c:pt idx="531">
                  <c:v>3.8420597000000001E-2</c:v>
                </c:pt>
                <c:pt idx="532">
                  <c:v>3.8494070999999998E-2</c:v>
                </c:pt>
                <c:pt idx="533">
                  <c:v>3.8577994999999997E-2</c:v>
                </c:pt>
                <c:pt idx="534">
                  <c:v>3.8513866000000001E-2</c:v>
                </c:pt>
                <c:pt idx="535">
                  <c:v>3.8727830999999997E-2</c:v>
                </c:pt>
                <c:pt idx="536">
                  <c:v>3.8943341999999999E-2</c:v>
                </c:pt>
                <c:pt idx="537">
                  <c:v>3.9627108000000001E-2</c:v>
                </c:pt>
                <c:pt idx="538">
                  <c:v>4.0160704999999998E-2</c:v>
                </c:pt>
                <c:pt idx="539">
                  <c:v>4.0113186000000002E-2</c:v>
                </c:pt>
                <c:pt idx="540">
                  <c:v>4.0055793999999999E-2</c:v>
                </c:pt>
                <c:pt idx="541">
                  <c:v>3.9964963999999999E-2</c:v>
                </c:pt>
                <c:pt idx="542">
                  <c:v>3.9797496000000002E-2</c:v>
                </c:pt>
                <c:pt idx="543">
                  <c:v>3.9271136999999998E-2</c:v>
                </c:pt>
                <c:pt idx="544">
                  <c:v>3.8890821999999999E-2</c:v>
                </c:pt>
                <c:pt idx="545">
                  <c:v>3.8807960000000002E-2</c:v>
                </c:pt>
                <c:pt idx="546">
                  <c:v>3.8804786000000001E-2</c:v>
                </c:pt>
                <c:pt idx="547">
                  <c:v>3.8873967000000002E-2</c:v>
                </c:pt>
                <c:pt idx="548">
                  <c:v>3.8838915000000002E-2</c:v>
                </c:pt>
                <c:pt idx="549">
                  <c:v>3.8926774999999997E-2</c:v>
                </c:pt>
                <c:pt idx="550">
                  <c:v>3.8990841999999998E-2</c:v>
                </c:pt>
                <c:pt idx="551">
                  <c:v>3.9062392000000001E-2</c:v>
                </c:pt>
                <c:pt idx="552">
                  <c:v>3.9047874000000003E-2</c:v>
                </c:pt>
                <c:pt idx="553">
                  <c:v>3.9180917000000003E-2</c:v>
                </c:pt>
                <c:pt idx="554">
                  <c:v>3.9242711999999999E-2</c:v>
                </c:pt>
                <c:pt idx="555">
                  <c:v>3.9346192000000002E-2</c:v>
                </c:pt>
                <c:pt idx="556">
                  <c:v>3.9264739E-2</c:v>
                </c:pt>
                <c:pt idx="557">
                  <c:v>3.9320028999999999E-2</c:v>
                </c:pt>
                <c:pt idx="558">
                  <c:v>3.9206906999999999E-2</c:v>
                </c:pt>
                <c:pt idx="559">
                  <c:v>3.9224528000000002E-2</c:v>
                </c:pt>
                <c:pt idx="560">
                  <c:v>3.9128448000000003E-2</c:v>
                </c:pt>
                <c:pt idx="561">
                  <c:v>3.9224166999999997E-2</c:v>
                </c:pt>
                <c:pt idx="562">
                  <c:v>3.9674028E-2</c:v>
                </c:pt>
                <c:pt idx="563">
                  <c:v>4.0077687000000001E-2</c:v>
                </c:pt>
                <c:pt idx="564">
                  <c:v>4.0250079000000001E-2</c:v>
                </c:pt>
                <c:pt idx="565">
                  <c:v>4.0505758000000003E-2</c:v>
                </c:pt>
                <c:pt idx="566">
                  <c:v>4.0655718E-2</c:v>
                </c:pt>
                <c:pt idx="567">
                  <c:v>4.0617779999999999E-2</c:v>
                </c:pt>
                <c:pt idx="568">
                  <c:v>4.0760127E-2</c:v>
                </c:pt>
                <c:pt idx="569">
                  <c:v>4.0886734000000001E-2</c:v>
                </c:pt>
                <c:pt idx="570">
                  <c:v>4.1153981999999999E-2</c:v>
                </c:pt>
                <c:pt idx="571">
                  <c:v>4.1440446999999998E-2</c:v>
                </c:pt>
                <c:pt idx="572">
                  <c:v>4.1573541999999998E-2</c:v>
                </c:pt>
                <c:pt idx="573">
                  <c:v>4.1794348000000002E-2</c:v>
                </c:pt>
                <c:pt idx="574">
                  <c:v>4.1806256E-2</c:v>
                </c:pt>
                <c:pt idx="575">
                  <c:v>4.1889042000000001E-2</c:v>
                </c:pt>
                <c:pt idx="576">
                  <c:v>4.1807691000000001E-2</c:v>
                </c:pt>
                <c:pt idx="577">
                  <c:v>4.2129710000000001E-2</c:v>
                </c:pt>
                <c:pt idx="578">
                  <c:v>4.2430404999999997E-2</c:v>
                </c:pt>
                <c:pt idx="579">
                  <c:v>4.2795075000000002E-2</c:v>
                </c:pt>
                <c:pt idx="580">
                  <c:v>4.2860976000000002E-2</c:v>
                </c:pt>
                <c:pt idx="581">
                  <c:v>4.3093909999999999E-2</c:v>
                </c:pt>
                <c:pt idx="582">
                  <c:v>4.3199659000000001E-2</c:v>
                </c:pt>
                <c:pt idx="583">
                  <c:v>4.3396855999999998E-2</c:v>
                </c:pt>
                <c:pt idx="584">
                  <c:v>4.3337872999999999E-2</c:v>
                </c:pt>
                <c:pt idx="585">
                  <c:v>4.3433913999999997E-2</c:v>
                </c:pt>
                <c:pt idx="586">
                  <c:v>4.3521037999999998E-2</c:v>
                </c:pt>
                <c:pt idx="587">
                  <c:v>4.3737142E-2</c:v>
                </c:pt>
                <c:pt idx="588">
                  <c:v>4.3802874999999998E-2</c:v>
                </c:pt>
                <c:pt idx="589">
                  <c:v>4.3666985999999998E-2</c:v>
                </c:pt>
                <c:pt idx="590">
                  <c:v>4.3583449000000003E-2</c:v>
                </c:pt>
                <c:pt idx="591">
                  <c:v>4.3618033E-2</c:v>
                </c:pt>
                <c:pt idx="592">
                  <c:v>4.3615144000000002E-2</c:v>
                </c:pt>
                <c:pt idx="593">
                  <c:v>4.3395353999999997E-2</c:v>
                </c:pt>
                <c:pt idx="594">
                  <c:v>4.3281694000000002E-2</c:v>
                </c:pt>
                <c:pt idx="595">
                  <c:v>4.3071666000000002E-2</c:v>
                </c:pt>
                <c:pt idx="596">
                  <c:v>4.2795945000000002E-2</c:v>
                </c:pt>
                <c:pt idx="597">
                  <c:v>4.2176008000000001E-2</c:v>
                </c:pt>
                <c:pt idx="598">
                  <c:v>4.1511961999999999E-2</c:v>
                </c:pt>
                <c:pt idx="599">
                  <c:v>4.1359508000000003E-2</c:v>
                </c:pt>
                <c:pt idx="600">
                  <c:v>4.1174721999999997E-2</c:v>
                </c:pt>
                <c:pt idx="601">
                  <c:v>4.0910945999999997E-2</c:v>
                </c:pt>
                <c:pt idx="602">
                  <c:v>4.0545774E-2</c:v>
                </c:pt>
                <c:pt idx="603">
                  <c:v>4.0217353999999997E-2</c:v>
                </c:pt>
                <c:pt idx="604">
                  <c:v>3.9961021999999999E-2</c:v>
                </c:pt>
                <c:pt idx="605">
                  <c:v>3.9631901999999997E-2</c:v>
                </c:pt>
                <c:pt idx="606">
                  <c:v>3.9197505000000001E-2</c:v>
                </c:pt>
                <c:pt idx="607">
                  <c:v>3.8574446999999998E-2</c:v>
                </c:pt>
                <c:pt idx="608">
                  <c:v>3.8085088000000003E-2</c:v>
                </c:pt>
                <c:pt idx="609">
                  <c:v>3.7505058000000001E-2</c:v>
                </c:pt>
                <c:pt idx="610">
                  <c:v>3.7020148000000003E-2</c:v>
                </c:pt>
                <c:pt idx="611">
                  <c:v>3.6492734999999998E-2</c:v>
                </c:pt>
                <c:pt idx="612">
                  <c:v>3.6122861999999999E-2</c:v>
                </c:pt>
                <c:pt idx="613">
                  <c:v>3.5573355000000001E-2</c:v>
                </c:pt>
                <c:pt idx="614">
                  <c:v>3.5328218000000002E-2</c:v>
                </c:pt>
                <c:pt idx="615">
                  <c:v>3.5104194999999998E-2</c:v>
                </c:pt>
                <c:pt idx="616">
                  <c:v>3.4774353000000001E-2</c:v>
                </c:pt>
                <c:pt idx="617">
                  <c:v>3.4419024999999999E-2</c:v>
                </c:pt>
                <c:pt idx="618">
                  <c:v>3.4261616000000002E-2</c:v>
                </c:pt>
                <c:pt idx="619">
                  <c:v>3.3973168999999998E-2</c:v>
                </c:pt>
                <c:pt idx="620">
                  <c:v>3.3793033E-2</c:v>
                </c:pt>
                <c:pt idx="621">
                  <c:v>3.3411637000000001E-2</c:v>
                </c:pt>
                <c:pt idx="622">
                  <c:v>3.2739827999999999E-2</c:v>
                </c:pt>
                <c:pt idx="623">
                  <c:v>3.2177702000000002E-2</c:v>
                </c:pt>
                <c:pt idx="624">
                  <c:v>3.2095492000000003E-2</c:v>
                </c:pt>
                <c:pt idx="625">
                  <c:v>3.1898786999999998E-2</c:v>
                </c:pt>
                <c:pt idx="626">
                  <c:v>3.1610104999999999E-2</c:v>
                </c:pt>
                <c:pt idx="627">
                  <c:v>3.1766928999999999E-2</c:v>
                </c:pt>
                <c:pt idx="628">
                  <c:v>3.1763814000000001E-2</c:v>
                </c:pt>
                <c:pt idx="629">
                  <c:v>3.1754909999999997E-2</c:v>
                </c:pt>
                <c:pt idx="630">
                  <c:v>3.1758346999999999E-2</c:v>
                </c:pt>
                <c:pt idx="631">
                  <c:v>3.1504299999999999E-2</c:v>
                </c:pt>
                <c:pt idx="632">
                  <c:v>3.1324496E-2</c:v>
                </c:pt>
                <c:pt idx="633">
                  <c:v>3.1008669999999999E-2</c:v>
                </c:pt>
                <c:pt idx="634">
                  <c:v>3.0883689999999998E-2</c:v>
                </c:pt>
                <c:pt idx="635">
                  <c:v>3.0607049000000001E-2</c:v>
                </c:pt>
                <c:pt idx="636">
                  <c:v>3.0346169999999999E-2</c:v>
                </c:pt>
                <c:pt idx="637">
                  <c:v>2.9837160000000001E-2</c:v>
                </c:pt>
                <c:pt idx="638">
                  <c:v>2.9332776000000001E-2</c:v>
                </c:pt>
                <c:pt idx="639">
                  <c:v>2.8953638E-2</c:v>
                </c:pt>
                <c:pt idx="640">
                  <c:v>2.8856327000000001E-2</c:v>
                </c:pt>
                <c:pt idx="641">
                  <c:v>2.8632628E-2</c:v>
                </c:pt>
                <c:pt idx="642">
                  <c:v>2.8464771999999999E-2</c:v>
                </c:pt>
                <c:pt idx="643">
                  <c:v>2.8223241999999999E-2</c:v>
                </c:pt>
                <c:pt idx="644">
                  <c:v>2.8067529000000001E-2</c:v>
                </c:pt>
                <c:pt idx="645">
                  <c:v>2.7991565E-2</c:v>
                </c:pt>
                <c:pt idx="646">
                  <c:v>2.7980669999999999E-2</c:v>
                </c:pt>
                <c:pt idx="647">
                  <c:v>2.7722995E-2</c:v>
                </c:pt>
                <c:pt idx="648">
                  <c:v>2.7728948E-2</c:v>
                </c:pt>
                <c:pt idx="649">
                  <c:v>2.7856571E-2</c:v>
                </c:pt>
                <c:pt idx="650">
                  <c:v>2.7686098999999999E-2</c:v>
                </c:pt>
                <c:pt idx="651">
                  <c:v>2.7636662999999999E-2</c:v>
                </c:pt>
                <c:pt idx="652">
                  <c:v>2.7560391E-2</c:v>
                </c:pt>
                <c:pt idx="653">
                  <c:v>2.7494177000000002E-2</c:v>
                </c:pt>
                <c:pt idx="654">
                  <c:v>2.7414714E-2</c:v>
                </c:pt>
                <c:pt idx="655">
                  <c:v>2.7413061999999998E-2</c:v>
                </c:pt>
                <c:pt idx="656">
                  <c:v>2.7457332000000001E-2</c:v>
                </c:pt>
                <c:pt idx="657">
                  <c:v>2.7418040000000001E-2</c:v>
                </c:pt>
                <c:pt idx="658">
                  <c:v>2.7295659E-2</c:v>
                </c:pt>
                <c:pt idx="659">
                  <c:v>2.7301655000000001E-2</c:v>
                </c:pt>
                <c:pt idx="660">
                  <c:v>2.729059E-2</c:v>
                </c:pt>
                <c:pt idx="661">
                  <c:v>2.7609719000000001E-2</c:v>
                </c:pt>
                <c:pt idx="662">
                  <c:v>2.7648658E-2</c:v>
                </c:pt>
                <c:pt idx="663">
                  <c:v>2.7666117E-2</c:v>
                </c:pt>
                <c:pt idx="664">
                  <c:v>2.7765894999999999E-2</c:v>
                </c:pt>
                <c:pt idx="665">
                  <c:v>2.8033305000000001E-2</c:v>
                </c:pt>
                <c:pt idx="666">
                  <c:v>2.8142328000000001E-2</c:v>
                </c:pt>
                <c:pt idx="667">
                  <c:v>2.8454598000000001E-2</c:v>
                </c:pt>
                <c:pt idx="668">
                  <c:v>2.8822955000000001E-2</c:v>
                </c:pt>
                <c:pt idx="669">
                  <c:v>2.926722E-2</c:v>
                </c:pt>
                <c:pt idx="670">
                  <c:v>2.9646497000000001E-2</c:v>
                </c:pt>
                <c:pt idx="671">
                  <c:v>2.9984173999999999E-2</c:v>
                </c:pt>
                <c:pt idx="672">
                  <c:v>2.9962408999999999E-2</c:v>
                </c:pt>
                <c:pt idx="673">
                  <c:v>3.0028934E-2</c:v>
                </c:pt>
                <c:pt idx="674">
                  <c:v>2.9842384999999999E-2</c:v>
                </c:pt>
                <c:pt idx="675">
                  <c:v>2.9399821E-2</c:v>
                </c:pt>
                <c:pt idx="676">
                  <c:v>2.9206678999999999E-2</c:v>
                </c:pt>
                <c:pt idx="677">
                  <c:v>2.9110627E-2</c:v>
                </c:pt>
                <c:pt idx="678">
                  <c:v>2.9044125E-2</c:v>
                </c:pt>
                <c:pt idx="679">
                  <c:v>2.887288E-2</c:v>
                </c:pt>
                <c:pt idx="680">
                  <c:v>2.8633180000000001E-2</c:v>
                </c:pt>
                <c:pt idx="681">
                  <c:v>2.8480630999999999E-2</c:v>
                </c:pt>
                <c:pt idx="682">
                  <c:v>2.8288877E-2</c:v>
                </c:pt>
                <c:pt idx="683">
                  <c:v>2.8217019999999999E-2</c:v>
                </c:pt>
                <c:pt idx="684">
                  <c:v>2.792006E-2</c:v>
                </c:pt>
                <c:pt idx="685">
                  <c:v>2.7847185999999999E-2</c:v>
                </c:pt>
                <c:pt idx="686">
                  <c:v>2.7537005999999999E-2</c:v>
                </c:pt>
                <c:pt idx="687">
                  <c:v>2.6972933000000001E-2</c:v>
                </c:pt>
                <c:pt idx="688">
                  <c:v>2.6607993999999999E-2</c:v>
                </c:pt>
                <c:pt idx="689">
                  <c:v>2.6306019E-2</c:v>
                </c:pt>
                <c:pt idx="690">
                  <c:v>2.5862632999999999E-2</c:v>
                </c:pt>
                <c:pt idx="691">
                  <c:v>2.5701311000000001E-2</c:v>
                </c:pt>
                <c:pt idx="692">
                  <c:v>2.5491395999999999E-2</c:v>
                </c:pt>
                <c:pt idx="693">
                  <c:v>2.5215301999999998E-2</c:v>
                </c:pt>
                <c:pt idx="694">
                  <c:v>2.4858134E-2</c:v>
                </c:pt>
                <c:pt idx="695">
                  <c:v>2.4555777000000001E-2</c:v>
                </c:pt>
                <c:pt idx="696">
                  <c:v>2.4237773000000001E-2</c:v>
                </c:pt>
                <c:pt idx="697">
                  <c:v>2.3917175999999998E-2</c:v>
                </c:pt>
                <c:pt idx="698">
                  <c:v>2.3654524E-2</c:v>
                </c:pt>
                <c:pt idx="699">
                  <c:v>2.3317564999999998E-2</c:v>
                </c:pt>
                <c:pt idx="700">
                  <c:v>2.2915673000000001E-2</c:v>
                </c:pt>
                <c:pt idx="701">
                  <c:v>2.2563850999999999E-2</c:v>
                </c:pt>
                <c:pt idx="702">
                  <c:v>2.2296646E-2</c:v>
                </c:pt>
                <c:pt idx="703">
                  <c:v>2.2214474000000001E-2</c:v>
                </c:pt>
                <c:pt idx="704">
                  <c:v>2.2025551000000001E-2</c:v>
                </c:pt>
                <c:pt idx="705">
                  <c:v>2.1883968E-2</c:v>
                </c:pt>
                <c:pt idx="706">
                  <c:v>2.1558428000000001E-2</c:v>
                </c:pt>
                <c:pt idx="707">
                  <c:v>2.1390958000000002E-2</c:v>
                </c:pt>
                <c:pt idx="708">
                  <c:v>2.1060784999999999E-2</c:v>
                </c:pt>
                <c:pt idx="709">
                  <c:v>2.0706258000000002E-2</c:v>
                </c:pt>
                <c:pt idx="710">
                  <c:v>2.0556609999999999E-2</c:v>
                </c:pt>
                <c:pt idx="711">
                  <c:v>2.0337272E-2</c:v>
                </c:pt>
                <c:pt idx="712">
                  <c:v>2.0206015000000001E-2</c:v>
                </c:pt>
                <c:pt idx="713">
                  <c:v>2.0086449999999999E-2</c:v>
                </c:pt>
                <c:pt idx="714">
                  <c:v>1.9904590999999999E-2</c:v>
                </c:pt>
                <c:pt idx="715">
                  <c:v>1.9710037999999999E-2</c:v>
                </c:pt>
                <c:pt idx="716">
                  <c:v>1.9401826E-2</c:v>
                </c:pt>
                <c:pt idx="717">
                  <c:v>1.9197345000000001E-2</c:v>
                </c:pt>
                <c:pt idx="718">
                  <c:v>1.905254E-2</c:v>
                </c:pt>
                <c:pt idx="719">
                  <c:v>1.8891865000000001E-2</c:v>
                </c:pt>
                <c:pt idx="720">
                  <c:v>1.8863703999999999E-2</c:v>
                </c:pt>
                <c:pt idx="721">
                  <c:v>1.8503295999999999E-2</c:v>
                </c:pt>
                <c:pt idx="722">
                  <c:v>1.8485561000000001E-2</c:v>
                </c:pt>
                <c:pt idx="723">
                  <c:v>1.8568579000000002E-2</c:v>
                </c:pt>
                <c:pt idx="724">
                  <c:v>1.8487296E-2</c:v>
                </c:pt>
                <c:pt idx="725">
                  <c:v>1.8145754E-2</c:v>
                </c:pt>
                <c:pt idx="726">
                  <c:v>1.8045484000000001E-2</c:v>
                </c:pt>
                <c:pt idx="727">
                  <c:v>1.7822894999999998E-2</c:v>
                </c:pt>
                <c:pt idx="728">
                  <c:v>1.7615392000000001E-2</c:v>
                </c:pt>
                <c:pt idx="729">
                  <c:v>1.7417563E-2</c:v>
                </c:pt>
                <c:pt idx="730">
                  <c:v>1.7134691000000001E-2</c:v>
                </c:pt>
                <c:pt idx="731">
                  <c:v>1.6947121999999998E-2</c:v>
                </c:pt>
                <c:pt idx="732">
                  <c:v>1.6988355E-2</c:v>
                </c:pt>
                <c:pt idx="733">
                  <c:v>1.6897417000000001E-2</c:v>
                </c:pt>
                <c:pt idx="734">
                  <c:v>1.6948067000000001E-2</c:v>
                </c:pt>
                <c:pt idx="735">
                  <c:v>1.7049607000000001E-2</c:v>
                </c:pt>
                <c:pt idx="736">
                  <c:v>1.7116664E-2</c:v>
                </c:pt>
                <c:pt idx="737">
                  <c:v>1.7003061E-2</c:v>
                </c:pt>
                <c:pt idx="738">
                  <c:v>1.6906452999999998E-2</c:v>
                </c:pt>
                <c:pt idx="739">
                  <c:v>1.7044242000000001E-2</c:v>
                </c:pt>
                <c:pt idx="740">
                  <c:v>1.7113125E-2</c:v>
                </c:pt>
                <c:pt idx="741">
                  <c:v>1.7149035E-2</c:v>
                </c:pt>
                <c:pt idx="742">
                  <c:v>1.7055694E-2</c:v>
                </c:pt>
                <c:pt idx="743">
                  <c:v>1.6934787E-2</c:v>
                </c:pt>
                <c:pt idx="744">
                  <c:v>1.6772371000000001E-2</c:v>
                </c:pt>
                <c:pt idx="745">
                  <c:v>1.65334E-2</c:v>
                </c:pt>
                <c:pt idx="746">
                  <c:v>1.6490877000000001E-2</c:v>
                </c:pt>
                <c:pt idx="747">
                  <c:v>1.6565261000000001E-2</c:v>
                </c:pt>
                <c:pt idx="748">
                  <c:v>1.6640742E-2</c:v>
                </c:pt>
                <c:pt idx="749">
                  <c:v>1.6616388999999999E-2</c:v>
                </c:pt>
                <c:pt idx="750">
                  <c:v>1.6462147999999999E-2</c:v>
                </c:pt>
                <c:pt idx="751">
                  <c:v>1.6312584000000001E-2</c:v>
                </c:pt>
                <c:pt idx="752">
                  <c:v>1.6216636999999999E-2</c:v>
                </c:pt>
                <c:pt idx="753">
                  <c:v>1.6187396E-2</c:v>
                </c:pt>
                <c:pt idx="754">
                  <c:v>1.6249508999999999E-2</c:v>
                </c:pt>
                <c:pt idx="755">
                  <c:v>1.6331076E-2</c:v>
                </c:pt>
                <c:pt idx="756">
                  <c:v>1.6339825999999998E-2</c:v>
                </c:pt>
                <c:pt idx="757">
                  <c:v>1.6446038E-2</c:v>
                </c:pt>
                <c:pt idx="758">
                  <c:v>1.6502334E-2</c:v>
                </c:pt>
                <c:pt idx="759">
                  <c:v>1.659418E-2</c:v>
                </c:pt>
                <c:pt idx="760">
                  <c:v>1.6629008000000001E-2</c:v>
                </c:pt>
                <c:pt idx="761">
                  <c:v>1.6619213000000001E-2</c:v>
                </c:pt>
                <c:pt idx="762">
                  <c:v>1.6578675000000001E-2</c:v>
                </c:pt>
                <c:pt idx="763">
                  <c:v>1.6548879999999998E-2</c:v>
                </c:pt>
                <c:pt idx="764">
                  <c:v>1.6600699999999999E-2</c:v>
                </c:pt>
                <c:pt idx="765">
                  <c:v>1.6430424999999999E-2</c:v>
                </c:pt>
                <c:pt idx="766">
                  <c:v>1.6416739999999999E-2</c:v>
                </c:pt>
                <c:pt idx="767">
                  <c:v>1.628812E-2</c:v>
                </c:pt>
                <c:pt idx="768">
                  <c:v>1.6422976999999998E-2</c:v>
                </c:pt>
                <c:pt idx="769">
                  <c:v>1.6430677000000001E-2</c:v>
                </c:pt>
                <c:pt idx="770">
                  <c:v>1.6350653999999999E-2</c:v>
                </c:pt>
                <c:pt idx="771">
                  <c:v>1.6361365999999999E-2</c:v>
                </c:pt>
                <c:pt idx="772">
                  <c:v>1.6262680000000002E-2</c:v>
                </c:pt>
                <c:pt idx="773">
                  <c:v>1.6175609000000001E-2</c:v>
                </c:pt>
                <c:pt idx="774">
                  <c:v>1.6186633999999998E-2</c:v>
                </c:pt>
                <c:pt idx="775">
                  <c:v>1.6181399999999999E-2</c:v>
                </c:pt>
                <c:pt idx="776">
                  <c:v>1.6321882999999999E-2</c:v>
                </c:pt>
                <c:pt idx="777">
                  <c:v>1.6351346999999999E-2</c:v>
                </c:pt>
                <c:pt idx="778">
                  <c:v>1.6347029999999999E-2</c:v>
                </c:pt>
                <c:pt idx="779">
                  <c:v>1.6296238000000001E-2</c:v>
                </c:pt>
                <c:pt idx="780">
                  <c:v>1.6146172E-2</c:v>
                </c:pt>
                <c:pt idx="781">
                  <c:v>1.6067791000000001E-2</c:v>
                </c:pt>
                <c:pt idx="782">
                  <c:v>1.6088666000000001E-2</c:v>
                </c:pt>
                <c:pt idx="783">
                  <c:v>1.5912421999999999E-2</c:v>
                </c:pt>
                <c:pt idx="784">
                  <c:v>1.5814497E-2</c:v>
                </c:pt>
                <c:pt idx="785">
                  <c:v>1.5856940999999999E-2</c:v>
                </c:pt>
                <c:pt idx="786">
                  <c:v>1.5676652999999999E-2</c:v>
                </c:pt>
                <c:pt idx="787">
                  <c:v>1.5619361E-2</c:v>
                </c:pt>
                <c:pt idx="788">
                  <c:v>1.5493862000000001E-2</c:v>
                </c:pt>
                <c:pt idx="789">
                  <c:v>1.5284974E-2</c:v>
                </c:pt>
                <c:pt idx="790">
                  <c:v>1.5147737E-2</c:v>
                </c:pt>
                <c:pt idx="791">
                  <c:v>1.4887123E-2</c:v>
                </c:pt>
                <c:pt idx="792">
                  <c:v>1.4676875000000001E-2</c:v>
                </c:pt>
                <c:pt idx="793">
                  <c:v>1.4569029000000001E-2</c:v>
                </c:pt>
                <c:pt idx="794">
                  <c:v>1.438364E-2</c:v>
                </c:pt>
                <c:pt idx="795">
                  <c:v>1.4191268E-2</c:v>
                </c:pt>
                <c:pt idx="796">
                  <c:v>1.3972203000000001E-2</c:v>
                </c:pt>
                <c:pt idx="797">
                  <c:v>1.3965781E-2</c:v>
                </c:pt>
                <c:pt idx="798">
                  <c:v>1.3885048000000001E-2</c:v>
                </c:pt>
                <c:pt idx="799">
                  <c:v>1.3799886000000001E-2</c:v>
                </c:pt>
                <c:pt idx="800">
                  <c:v>1.4124542E-2</c:v>
                </c:pt>
                <c:pt idx="801">
                  <c:v>1.4405006999999999E-2</c:v>
                </c:pt>
                <c:pt idx="802">
                  <c:v>1.44148E-2</c:v>
                </c:pt>
                <c:pt idx="803">
                  <c:v>1.4418034E-2</c:v>
                </c:pt>
                <c:pt idx="804">
                  <c:v>1.4736885E-2</c:v>
                </c:pt>
                <c:pt idx="805">
                  <c:v>1.4901261000000001E-2</c:v>
                </c:pt>
                <c:pt idx="806">
                  <c:v>1.5064047000000001E-2</c:v>
                </c:pt>
                <c:pt idx="807">
                  <c:v>1.5088646000000001E-2</c:v>
                </c:pt>
                <c:pt idx="808">
                  <c:v>1.5016424E-2</c:v>
                </c:pt>
                <c:pt idx="809">
                  <c:v>1.508089E-2</c:v>
                </c:pt>
                <c:pt idx="810">
                  <c:v>1.5168940000000001E-2</c:v>
                </c:pt>
                <c:pt idx="811">
                  <c:v>1.5288433000000001E-2</c:v>
                </c:pt>
                <c:pt idx="812">
                  <c:v>1.5380387000000001E-2</c:v>
                </c:pt>
                <c:pt idx="813">
                  <c:v>1.5431953999999999E-2</c:v>
                </c:pt>
                <c:pt idx="814">
                  <c:v>1.5386442E-2</c:v>
                </c:pt>
                <c:pt idx="815">
                  <c:v>1.5260908E-2</c:v>
                </c:pt>
                <c:pt idx="816">
                  <c:v>1.5230844E-2</c:v>
                </c:pt>
                <c:pt idx="817">
                  <c:v>1.5172701E-2</c:v>
                </c:pt>
                <c:pt idx="818">
                  <c:v>1.5132942999999999E-2</c:v>
                </c:pt>
                <c:pt idx="819">
                  <c:v>1.5073921000000001E-2</c:v>
                </c:pt>
                <c:pt idx="820">
                  <c:v>1.5022122000000001E-2</c:v>
                </c:pt>
                <c:pt idx="821">
                  <c:v>1.5004438E-2</c:v>
                </c:pt>
                <c:pt idx="822">
                  <c:v>1.5022854E-2</c:v>
                </c:pt>
                <c:pt idx="823">
                  <c:v>1.4913627E-2</c:v>
                </c:pt>
                <c:pt idx="824">
                  <c:v>1.4783836E-2</c:v>
                </c:pt>
                <c:pt idx="825">
                  <c:v>1.4710625999999999E-2</c:v>
                </c:pt>
                <c:pt idx="826">
                  <c:v>1.4681876E-2</c:v>
                </c:pt>
                <c:pt idx="827">
                  <c:v>1.4680166999999999E-2</c:v>
                </c:pt>
                <c:pt idx="828">
                  <c:v>1.4468033E-2</c:v>
                </c:pt>
                <c:pt idx="829">
                  <c:v>1.436434E-2</c:v>
                </c:pt>
                <c:pt idx="830">
                  <c:v>1.4348471999999999E-2</c:v>
                </c:pt>
                <c:pt idx="831">
                  <c:v>1.4226767E-2</c:v>
                </c:pt>
                <c:pt idx="832">
                  <c:v>1.4200249E-2</c:v>
                </c:pt>
                <c:pt idx="833">
                  <c:v>1.4139097E-2</c:v>
                </c:pt>
                <c:pt idx="834">
                  <c:v>1.4039602999999999E-2</c:v>
                </c:pt>
                <c:pt idx="835">
                  <c:v>1.3921911E-2</c:v>
                </c:pt>
                <c:pt idx="836">
                  <c:v>1.3837782E-2</c:v>
                </c:pt>
                <c:pt idx="837">
                  <c:v>1.3769821E-2</c:v>
                </c:pt>
                <c:pt idx="838">
                  <c:v>1.3805372999999999E-2</c:v>
                </c:pt>
                <c:pt idx="839">
                  <c:v>1.3724172999999999E-2</c:v>
                </c:pt>
                <c:pt idx="840">
                  <c:v>1.3687045E-2</c:v>
                </c:pt>
                <c:pt idx="841">
                  <c:v>1.3649764E-2</c:v>
                </c:pt>
                <c:pt idx="842">
                  <c:v>1.3524220999999999E-2</c:v>
                </c:pt>
                <c:pt idx="843">
                  <c:v>1.3495405E-2</c:v>
                </c:pt>
                <c:pt idx="844">
                  <c:v>1.3371657E-2</c:v>
                </c:pt>
                <c:pt idx="845">
                  <c:v>1.3161503999999999E-2</c:v>
                </c:pt>
                <c:pt idx="846">
                  <c:v>1.3050664999999999E-2</c:v>
                </c:pt>
                <c:pt idx="847">
                  <c:v>1.2971666999999999E-2</c:v>
                </c:pt>
                <c:pt idx="848">
                  <c:v>1.2860399999999999E-2</c:v>
                </c:pt>
                <c:pt idx="849">
                  <c:v>1.2857807000000001E-2</c:v>
                </c:pt>
                <c:pt idx="850">
                  <c:v>1.2927266E-2</c:v>
                </c:pt>
                <c:pt idx="851">
                  <c:v>1.3104098E-2</c:v>
                </c:pt>
                <c:pt idx="852">
                  <c:v>1.3161577000000001E-2</c:v>
                </c:pt>
                <c:pt idx="853">
                  <c:v>1.3155538E-2</c:v>
                </c:pt>
                <c:pt idx="854">
                  <c:v>1.3143725E-2</c:v>
                </c:pt>
                <c:pt idx="855">
                  <c:v>1.3168875E-2</c:v>
                </c:pt>
                <c:pt idx="856">
                  <c:v>1.3154968E-2</c:v>
                </c:pt>
                <c:pt idx="857">
                  <c:v>1.3031565E-2</c:v>
                </c:pt>
                <c:pt idx="858">
                  <c:v>1.3022453999999999E-2</c:v>
                </c:pt>
                <c:pt idx="859">
                  <c:v>1.2919491999999999E-2</c:v>
                </c:pt>
                <c:pt idx="860">
                  <c:v>1.2399924E-2</c:v>
                </c:pt>
                <c:pt idx="861">
                  <c:v>1.1942378E-2</c:v>
                </c:pt>
                <c:pt idx="862">
                  <c:v>1.1883027000000001E-2</c:v>
                </c:pt>
                <c:pt idx="863">
                  <c:v>1.1828056E-2</c:v>
                </c:pt>
                <c:pt idx="864">
                  <c:v>1.1515947E-2</c:v>
                </c:pt>
                <c:pt idx="865">
                  <c:v>1.1278053E-2</c:v>
                </c:pt>
                <c:pt idx="866">
                  <c:v>1.1029003000000001E-2</c:v>
                </c:pt>
                <c:pt idx="867">
                  <c:v>1.0810381000000001E-2</c:v>
                </c:pt>
                <c:pt idx="868">
                  <c:v>1.068938E-2</c:v>
                </c:pt>
                <c:pt idx="869">
                  <c:v>1.0477365000000001E-2</c:v>
                </c:pt>
                <c:pt idx="870">
                  <c:v>1.0359383E-2</c:v>
                </c:pt>
                <c:pt idx="871">
                  <c:v>1.0223685E-2</c:v>
                </c:pt>
                <c:pt idx="872">
                  <c:v>1.0072436000000001E-2</c:v>
                </c:pt>
                <c:pt idx="873">
                  <c:v>9.9552129999999992E-3</c:v>
                </c:pt>
                <c:pt idx="874">
                  <c:v>9.9226729999999999E-3</c:v>
                </c:pt>
                <c:pt idx="875">
                  <c:v>9.8892849999999994E-3</c:v>
                </c:pt>
                <c:pt idx="876">
                  <c:v>9.8092209999999999E-3</c:v>
                </c:pt>
                <c:pt idx="877">
                  <c:v>9.6809659999999992E-3</c:v>
                </c:pt>
                <c:pt idx="878">
                  <c:v>9.5641589999999992E-3</c:v>
                </c:pt>
                <c:pt idx="879">
                  <c:v>9.628167E-3</c:v>
                </c:pt>
                <c:pt idx="880">
                  <c:v>9.6137749999999998E-3</c:v>
                </c:pt>
                <c:pt idx="881">
                  <c:v>9.7424480000000008E-3</c:v>
                </c:pt>
                <c:pt idx="882">
                  <c:v>9.7747790000000008E-3</c:v>
                </c:pt>
                <c:pt idx="883">
                  <c:v>9.7655569999999994E-3</c:v>
                </c:pt>
                <c:pt idx="884">
                  <c:v>9.7234499999999998E-3</c:v>
                </c:pt>
                <c:pt idx="885">
                  <c:v>9.6856579999999998E-3</c:v>
                </c:pt>
                <c:pt idx="886">
                  <c:v>9.5943929999999997E-3</c:v>
                </c:pt>
                <c:pt idx="887">
                  <c:v>9.5376690000000004E-3</c:v>
                </c:pt>
                <c:pt idx="888">
                  <c:v>9.5620500000000008E-3</c:v>
                </c:pt>
                <c:pt idx="889">
                  <c:v>9.5498609999999998E-3</c:v>
                </c:pt>
                <c:pt idx="890">
                  <c:v>9.4412569999999998E-3</c:v>
                </c:pt>
                <c:pt idx="891">
                  <c:v>9.401263E-3</c:v>
                </c:pt>
                <c:pt idx="892">
                  <c:v>9.3289719999999996E-3</c:v>
                </c:pt>
                <c:pt idx="893">
                  <c:v>9.2974459999999991E-3</c:v>
                </c:pt>
                <c:pt idx="894">
                  <c:v>9.2604130000000003E-3</c:v>
                </c:pt>
                <c:pt idx="895">
                  <c:v>9.2053800000000009E-3</c:v>
                </c:pt>
                <c:pt idx="896">
                  <c:v>9.0963180000000008E-3</c:v>
                </c:pt>
                <c:pt idx="897">
                  <c:v>9.0336540000000003E-3</c:v>
                </c:pt>
                <c:pt idx="898">
                  <c:v>8.8709289999999996E-3</c:v>
                </c:pt>
                <c:pt idx="899">
                  <c:v>8.9136770000000001E-3</c:v>
                </c:pt>
                <c:pt idx="900">
                  <c:v>8.9300149999999995E-3</c:v>
                </c:pt>
                <c:pt idx="901">
                  <c:v>8.9776560000000005E-3</c:v>
                </c:pt>
                <c:pt idx="902">
                  <c:v>8.9599120000000004E-3</c:v>
                </c:pt>
                <c:pt idx="903">
                  <c:v>9.2579689999999996E-3</c:v>
                </c:pt>
                <c:pt idx="904">
                  <c:v>9.5473869999999992E-3</c:v>
                </c:pt>
                <c:pt idx="905">
                  <c:v>9.6436520000000008E-3</c:v>
                </c:pt>
                <c:pt idx="906">
                  <c:v>9.8650189999999992E-3</c:v>
                </c:pt>
                <c:pt idx="907">
                  <c:v>9.9328109999999997E-3</c:v>
                </c:pt>
                <c:pt idx="908">
                  <c:v>9.9838180000000002E-3</c:v>
                </c:pt>
                <c:pt idx="909">
                  <c:v>9.9552449999999997E-3</c:v>
                </c:pt>
                <c:pt idx="910">
                  <c:v>9.9079149999999998E-3</c:v>
                </c:pt>
                <c:pt idx="911">
                  <c:v>9.7540960000000003E-3</c:v>
                </c:pt>
                <c:pt idx="912">
                  <c:v>9.6803749999999997E-3</c:v>
                </c:pt>
                <c:pt idx="913">
                  <c:v>9.721057E-3</c:v>
                </c:pt>
                <c:pt idx="914">
                  <c:v>9.8460140000000002E-3</c:v>
                </c:pt>
                <c:pt idx="915">
                  <c:v>9.7992930000000006E-3</c:v>
                </c:pt>
                <c:pt idx="916">
                  <c:v>9.8215100000000003E-3</c:v>
                </c:pt>
                <c:pt idx="917">
                  <c:v>9.8194719999999992E-3</c:v>
                </c:pt>
                <c:pt idx="918">
                  <c:v>9.7725769999999993E-3</c:v>
                </c:pt>
                <c:pt idx="919">
                  <c:v>9.7345950000000004E-3</c:v>
                </c:pt>
                <c:pt idx="920">
                  <c:v>9.7530289999999999E-3</c:v>
                </c:pt>
                <c:pt idx="921">
                  <c:v>9.7723989999999993E-3</c:v>
                </c:pt>
                <c:pt idx="922">
                  <c:v>9.7091220000000006E-3</c:v>
                </c:pt>
                <c:pt idx="923">
                  <c:v>9.6774659999999992E-3</c:v>
                </c:pt>
                <c:pt idx="924">
                  <c:v>9.7228149999999992E-3</c:v>
                </c:pt>
                <c:pt idx="925">
                  <c:v>9.7539989999999993E-3</c:v>
                </c:pt>
                <c:pt idx="926">
                  <c:v>9.8232579999999996E-3</c:v>
                </c:pt>
                <c:pt idx="927">
                  <c:v>9.8313649999999999E-3</c:v>
                </c:pt>
                <c:pt idx="928">
                  <c:v>9.7991090000000003E-3</c:v>
                </c:pt>
                <c:pt idx="929">
                  <c:v>9.8185640000000001E-3</c:v>
                </c:pt>
                <c:pt idx="930">
                  <c:v>9.89605E-3</c:v>
                </c:pt>
                <c:pt idx="931">
                  <c:v>9.9063250000000005E-3</c:v>
                </c:pt>
                <c:pt idx="932">
                  <c:v>9.9401119999999992E-3</c:v>
                </c:pt>
                <c:pt idx="933">
                  <c:v>1.0113966E-2</c:v>
                </c:pt>
                <c:pt idx="934">
                  <c:v>1.0238999E-2</c:v>
                </c:pt>
                <c:pt idx="935">
                  <c:v>1.0323361E-2</c:v>
                </c:pt>
                <c:pt idx="936">
                  <c:v>1.0576576000000001E-2</c:v>
                </c:pt>
                <c:pt idx="937">
                  <c:v>1.0858026999999999E-2</c:v>
                </c:pt>
                <c:pt idx="938">
                  <c:v>1.1186933E-2</c:v>
                </c:pt>
                <c:pt idx="939">
                  <c:v>1.142322E-2</c:v>
                </c:pt>
                <c:pt idx="940">
                  <c:v>1.1676826E-2</c:v>
                </c:pt>
                <c:pt idx="941">
                  <c:v>1.1808631E-2</c:v>
                </c:pt>
                <c:pt idx="942">
                  <c:v>1.199972E-2</c:v>
                </c:pt>
                <c:pt idx="943">
                  <c:v>1.2101415000000001E-2</c:v>
                </c:pt>
                <c:pt idx="944">
                  <c:v>1.2199097000000001E-2</c:v>
                </c:pt>
                <c:pt idx="945">
                  <c:v>1.2292097E-2</c:v>
                </c:pt>
                <c:pt idx="946">
                  <c:v>1.2574111000000001E-2</c:v>
                </c:pt>
                <c:pt idx="947">
                  <c:v>1.2696849E-2</c:v>
                </c:pt>
                <c:pt idx="948">
                  <c:v>1.2753379E-2</c:v>
                </c:pt>
                <c:pt idx="949">
                  <c:v>1.2905527E-2</c:v>
                </c:pt>
                <c:pt idx="950">
                  <c:v>1.3173852999999999E-2</c:v>
                </c:pt>
                <c:pt idx="951">
                  <c:v>1.3566692E-2</c:v>
                </c:pt>
                <c:pt idx="952">
                  <c:v>1.3767054000000001E-2</c:v>
                </c:pt>
                <c:pt idx="953">
                  <c:v>1.4117357000000001E-2</c:v>
                </c:pt>
                <c:pt idx="954">
                  <c:v>1.4371872000000001E-2</c:v>
                </c:pt>
                <c:pt idx="955">
                  <c:v>1.463157E-2</c:v>
                </c:pt>
                <c:pt idx="956">
                  <c:v>1.482268E-2</c:v>
                </c:pt>
                <c:pt idx="957">
                  <c:v>1.4996568E-2</c:v>
                </c:pt>
                <c:pt idx="958">
                  <c:v>1.5122784E-2</c:v>
                </c:pt>
                <c:pt idx="959">
                  <c:v>1.5160302E-2</c:v>
                </c:pt>
                <c:pt idx="960">
                  <c:v>1.5226183000000001E-2</c:v>
                </c:pt>
                <c:pt idx="961">
                  <c:v>1.5236827E-2</c:v>
                </c:pt>
                <c:pt idx="962">
                  <c:v>1.5328589E-2</c:v>
                </c:pt>
                <c:pt idx="963">
                  <c:v>1.5063636E-2</c:v>
                </c:pt>
                <c:pt idx="964">
                  <c:v>1.4907274999999999E-2</c:v>
                </c:pt>
                <c:pt idx="965">
                  <c:v>1.4849200999999999E-2</c:v>
                </c:pt>
                <c:pt idx="966">
                  <c:v>1.4658437999999999E-2</c:v>
                </c:pt>
                <c:pt idx="967">
                  <c:v>1.4536462E-2</c:v>
                </c:pt>
                <c:pt idx="968">
                  <c:v>1.449568E-2</c:v>
                </c:pt>
                <c:pt idx="969">
                  <c:v>1.4446888E-2</c:v>
                </c:pt>
                <c:pt idx="970">
                  <c:v>1.4421675E-2</c:v>
                </c:pt>
                <c:pt idx="971">
                  <c:v>1.4476222E-2</c:v>
                </c:pt>
                <c:pt idx="972">
                  <c:v>1.4603356E-2</c:v>
                </c:pt>
                <c:pt idx="973">
                  <c:v>1.4637231000000001E-2</c:v>
                </c:pt>
                <c:pt idx="974">
                  <c:v>1.4603850999999999E-2</c:v>
                </c:pt>
                <c:pt idx="975">
                  <c:v>1.4643645E-2</c:v>
                </c:pt>
                <c:pt idx="976">
                  <c:v>1.4672088E-2</c:v>
                </c:pt>
                <c:pt idx="977">
                  <c:v>1.4745095999999999E-2</c:v>
                </c:pt>
                <c:pt idx="978">
                  <c:v>1.4842490999999999E-2</c:v>
                </c:pt>
                <c:pt idx="979">
                  <c:v>1.5008985000000001E-2</c:v>
                </c:pt>
                <c:pt idx="980">
                  <c:v>1.5276875000000001E-2</c:v>
                </c:pt>
                <c:pt idx="981">
                  <c:v>1.548535E-2</c:v>
                </c:pt>
                <c:pt idx="982">
                  <c:v>1.5550705E-2</c:v>
                </c:pt>
                <c:pt idx="983">
                  <c:v>1.5681140999999999E-2</c:v>
                </c:pt>
                <c:pt idx="984">
                  <c:v>1.5700934E-2</c:v>
                </c:pt>
                <c:pt idx="985">
                  <c:v>1.5766565E-2</c:v>
                </c:pt>
                <c:pt idx="986">
                  <c:v>1.5774059E-2</c:v>
                </c:pt>
                <c:pt idx="987">
                  <c:v>1.6039931E-2</c:v>
                </c:pt>
                <c:pt idx="988">
                  <c:v>1.6372996000000001E-2</c:v>
                </c:pt>
                <c:pt idx="989">
                  <c:v>1.6740966999999999E-2</c:v>
                </c:pt>
                <c:pt idx="990">
                  <c:v>1.6983134E-2</c:v>
                </c:pt>
                <c:pt idx="991">
                  <c:v>1.7382258000000001E-2</c:v>
                </c:pt>
                <c:pt idx="992">
                  <c:v>1.7711304000000001E-2</c:v>
                </c:pt>
                <c:pt idx="993">
                  <c:v>1.8034273E-2</c:v>
                </c:pt>
                <c:pt idx="994">
                  <c:v>1.8239554000000002E-2</c:v>
                </c:pt>
                <c:pt idx="995">
                  <c:v>1.8666504E-2</c:v>
                </c:pt>
                <c:pt idx="996">
                  <c:v>1.8939002E-2</c:v>
                </c:pt>
                <c:pt idx="997">
                  <c:v>1.9152136E-2</c:v>
                </c:pt>
                <c:pt idx="998">
                  <c:v>1.9231325000000001E-2</c:v>
                </c:pt>
                <c:pt idx="999">
                  <c:v>1.9128029000000001E-2</c:v>
                </c:pt>
                <c:pt idx="1000">
                  <c:v>1.9098633E-2</c:v>
                </c:pt>
                <c:pt idx="1001">
                  <c:v>1.9204796E-2</c:v>
                </c:pt>
                <c:pt idx="1002">
                  <c:v>1.9371284999999999E-2</c:v>
                </c:pt>
                <c:pt idx="1003">
                  <c:v>1.9601369E-2</c:v>
                </c:pt>
                <c:pt idx="1004">
                  <c:v>1.9864514E-2</c:v>
                </c:pt>
                <c:pt idx="1005">
                  <c:v>2.0042667E-2</c:v>
                </c:pt>
                <c:pt idx="1006">
                  <c:v>1.9917101E-2</c:v>
                </c:pt>
                <c:pt idx="1007">
                  <c:v>1.9960275E-2</c:v>
                </c:pt>
                <c:pt idx="1008">
                  <c:v>2.0285002E-2</c:v>
                </c:pt>
                <c:pt idx="1009">
                  <c:v>2.0659804E-2</c:v>
                </c:pt>
                <c:pt idx="1010">
                  <c:v>2.0680934000000002E-2</c:v>
                </c:pt>
                <c:pt idx="1011">
                  <c:v>2.0568465000000001E-2</c:v>
                </c:pt>
                <c:pt idx="1012">
                  <c:v>2.0527055999999998E-2</c:v>
                </c:pt>
                <c:pt idx="1013">
                  <c:v>2.0379788999999999E-2</c:v>
                </c:pt>
                <c:pt idx="1014">
                  <c:v>2.0258761E-2</c:v>
                </c:pt>
                <c:pt idx="1015">
                  <c:v>2.0153966999999998E-2</c:v>
                </c:pt>
                <c:pt idx="1016">
                  <c:v>2.0074839000000001E-2</c:v>
                </c:pt>
                <c:pt idx="1017">
                  <c:v>2.0180317E-2</c:v>
                </c:pt>
                <c:pt idx="1018">
                  <c:v>2.0354324E-2</c:v>
                </c:pt>
                <c:pt idx="1019">
                  <c:v>2.0519523000000001E-2</c:v>
                </c:pt>
                <c:pt idx="1020">
                  <c:v>2.0685241E-2</c:v>
                </c:pt>
                <c:pt idx="1021">
                  <c:v>2.0863576000000002E-2</c:v>
                </c:pt>
                <c:pt idx="1022">
                  <c:v>2.1054653E-2</c:v>
                </c:pt>
                <c:pt idx="1023">
                  <c:v>2.1208451999999999E-2</c:v>
                </c:pt>
                <c:pt idx="1024">
                  <c:v>2.1420667000000001E-2</c:v>
                </c:pt>
                <c:pt idx="1025">
                  <c:v>2.1783408000000001E-2</c:v>
                </c:pt>
                <c:pt idx="1026">
                  <c:v>2.2006063999999999E-2</c:v>
                </c:pt>
                <c:pt idx="1027">
                  <c:v>2.2235841999999999E-2</c:v>
                </c:pt>
                <c:pt idx="1028">
                  <c:v>2.2559566999999999E-2</c:v>
                </c:pt>
                <c:pt idx="1029">
                  <c:v>2.2953159000000001E-2</c:v>
                </c:pt>
                <c:pt idx="1030">
                  <c:v>2.3318416000000002E-2</c:v>
                </c:pt>
                <c:pt idx="1031">
                  <c:v>2.3440954E-2</c:v>
                </c:pt>
                <c:pt idx="1032">
                  <c:v>2.3525128999999999E-2</c:v>
                </c:pt>
                <c:pt idx="1033">
                  <c:v>2.3565431000000001E-2</c:v>
                </c:pt>
                <c:pt idx="1034">
                  <c:v>2.3723731000000001E-2</c:v>
                </c:pt>
                <c:pt idx="1035">
                  <c:v>2.4073619000000001E-2</c:v>
                </c:pt>
                <c:pt idx="1036">
                  <c:v>2.4306086000000001E-2</c:v>
                </c:pt>
                <c:pt idx="1037">
                  <c:v>2.4517944999999999E-2</c:v>
                </c:pt>
                <c:pt idx="1038">
                  <c:v>2.4708668E-2</c:v>
                </c:pt>
                <c:pt idx="1039">
                  <c:v>2.4747848999999999E-2</c:v>
                </c:pt>
                <c:pt idx="1040">
                  <c:v>2.4680319999999999E-2</c:v>
                </c:pt>
                <c:pt idx="1041">
                  <c:v>2.4701053000000001E-2</c:v>
                </c:pt>
                <c:pt idx="1042">
                  <c:v>2.4981733999999998E-2</c:v>
                </c:pt>
                <c:pt idx="1043">
                  <c:v>2.5012491000000001E-2</c:v>
                </c:pt>
                <c:pt idx="1044">
                  <c:v>2.5069713E-2</c:v>
                </c:pt>
                <c:pt idx="1045">
                  <c:v>2.5134129000000002E-2</c:v>
                </c:pt>
                <c:pt idx="1046">
                  <c:v>2.5189066999999999E-2</c:v>
                </c:pt>
                <c:pt idx="1047">
                  <c:v>2.5171638E-2</c:v>
                </c:pt>
                <c:pt idx="1048">
                  <c:v>2.5087793000000001E-2</c:v>
                </c:pt>
                <c:pt idx="1049">
                  <c:v>2.5038956000000001E-2</c:v>
                </c:pt>
                <c:pt idx="1050">
                  <c:v>2.5003559000000002E-2</c:v>
                </c:pt>
                <c:pt idx="1051">
                  <c:v>2.4897780000000001E-2</c:v>
                </c:pt>
                <c:pt idx="1052">
                  <c:v>2.4912495999999999E-2</c:v>
                </c:pt>
                <c:pt idx="1053">
                  <c:v>2.4731191999999999E-2</c:v>
                </c:pt>
                <c:pt idx="1054">
                  <c:v>2.4807082000000001E-2</c:v>
                </c:pt>
                <c:pt idx="1055">
                  <c:v>2.4546624999999999E-2</c:v>
                </c:pt>
                <c:pt idx="1056">
                  <c:v>2.4337291E-2</c:v>
                </c:pt>
                <c:pt idx="1057">
                  <c:v>2.4089841000000001E-2</c:v>
                </c:pt>
                <c:pt idx="1058">
                  <c:v>2.3848708999999999E-2</c:v>
                </c:pt>
                <c:pt idx="1059">
                  <c:v>2.3780191999999999E-2</c:v>
                </c:pt>
                <c:pt idx="1060">
                  <c:v>2.3771243000000001E-2</c:v>
                </c:pt>
                <c:pt idx="1061">
                  <c:v>2.3601879999999999E-2</c:v>
                </c:pt>
                <c:pt idx="1062">
                  <c:v>2.3391056E-2</c:v>
                </c:pt>
                <c:pt idx="1063">
                  <c:v>2.3134120000000001E-2</c:v>
                </c:pt>
                <c:pt idx="1064">
                  <c:v>2.2942804000000001E-2</c:v>
                </c:pt>
                <c:pt idx="1065">
                  <c:v>2.2797548000000001E-2</c:v>
                </c:pt>
                <c:pt idx="1066">
                  <c:v>2.2795134000000002E-2</c:v>
                </c:pt>
                <c:pt idx="1067">
                  <c:v>2.2970229000000002E-2</c:v>
                </c:pt>
                <c:pt idx="1068">
                  <c:v>2.2864365000000001E-2</c:v>
                </c:pt>
                <c:pt idx="1069">
                  <c:v>2.2674707999999998E-2</c:v>
                </c:pt>
                <c:pt idx="1070">
                  <c:v>2.2788533E-2</c:v>
                </c:pt>
                <c:pt idx="1071">
                  <c:v>2.2784505E-2</c:v>
                </c:pt>
                <c:pt idx="1072">
                  <c:v>2.2928501E-2</c:v>
                </c:pt>
                <c:pt idx="1073">
                  <c:v>2.2993221000000001E-2</c:v>
                </c:pt>
                <c:pt idx="1074">
                  <c:v>2.3157285E-2</c:v>
                </c:pt>
                <c:pt idx="1075">
                  <c:v>2.3244273999999999E-2</c:v>
                </c:pt>
                <c:pt idx="1076">
                  <c:v>2.3324517999999999E-2</c:v>
                </c:pt>
                <c:pt idx="1077">
                  <c:v>2.3236544000000001E-2</c:v>
                </c:pt>
                <c:pt idx="1078">
                  <c:v>2.3135788000000001E-2</c:v>
                </c:pt>
                <c:pt idx="1079">
                  <c:v>2.3061547000000002E-2</c:v>
                </c:pt>
                <c:pt idx="1080">
                  <c:v>2.3039579000000001E-2</c:v>
                </c:pt>
                <c:pt idx="1081">
                  <c:v>2.3003905000000002E-2</c:v>
                </c:pt>
                <c:pt idx="1082">
                  <c:v>2.2954892000000001E-2</c:v>
                </c:pt>
                <c:pt idx="1083">
                  <c:v>2.3011162000000002E-2</c:v>
                </c:pt>
                <c:pt idx="1084">
                  <c:v>2.2939513000000002E-2</c:v>
                </c:pt>
                <c:pt idx="1085">
                  <c:v>2.2711071999999999E-2</c:v>
                </c:pt>
                <c:pt idx="1086">
                  <c:v>2.2583011E-2</c:v>
                </c:pt>
                <c:pt idx="1087">
                  <c:v>2.2497328E-2</c:v>
                </c:pt>
                <c:pt idx="1088">
                  <c:v>2.2348636000000002E-2</c:v>
                </c:pt>
                <c:pt idx="1089">
                  <c:v>2.2161885999999999E-2</c:v>
                </c:pt>
                <c:pt idx="1090">
                  <c:v>2.2060071000000001E-2</c:v>
                </c:pt>
                <c:pt idx="1091">
                  <c:v>2.2076974999999999E-2</c:v>
                </c:pt>
                <c:pt idx="1092">
                  <c:v>2.1956196000000001E-2</c:v>
                </c:pt>
                <c:pt idx="1093">
                  <c:v>2.193618E-2</c:v>
                </c:pt>
                <c:pt idx="1094">
                  <c:v>2.1805248999999999E-2</c:v>
                </c:pt>
                <c:pt idx="1095">
                  <c:v>2.1497531E-2</c:v>
                </c:pt>
                <c:pt idx="1096">
                  <c:v>2.1267575E-2</c:v>
                </c:pt>
                <c:pt idx="1097">
                  <c:v>2.105539E-2</c:v>
                </c:pt>
                <c:pt idx="1098">
                  <c:v>2.0834938000000001E-2</c:v>
                </c:pt>
                <c:pt idx="1099">
                  <c:v>2.0715543999999999E-2</c:v>
                </c:pt>
                <c:pt idx="1100">
                  <c:v>2.0611694E-2</c:v>
                </c:pt>
                <c:pt idx="1101">
                  <c:v>2.0415032999999999E-2</c:v>
                </c:pt>
                <c:pt idx="1102">
                  <c:v>2.0187839999999999E-2</c:v>
                </c:pt>
                <c:pt idx="1103">
                  <c:v>2.0135889000000001E-2</c:v>
                </c:pt>
                <c:pt idx="1104">
                  <c:v>2.0072703000000001E-2</c:v>
                </c:pt>
                <c:pt idx="1105">
                  <c:v>2.0016396999999998E-2</c:v>
                </c:pt>
                <c:pt idx="1106">
                  <c:v>2.0032881999999998E-2</c:v>
                </c:pt>
                <c:pt idx="1107">
                  <c:v>1.9955616999999998E-2</c:v>
                </c:pt>
                <c:pt idx="1108">
                  <c:v>1.9887254E-2</c:v>
                </c:pt>
                <c:pt idx="1109">
                  <c:v>1.9981678999999999E-2</c:v>
                </c:pt>
                <c:pt idx="1110">
                  <c:v>1.9959556999999999E-2</c:v>
                </c:pt>
                <c:pt idx="1111">
                  <c:v>1.985874E-2</c:v>
                </c:pt>
                <c:pt idx="1112">
                  <c:v>1.9671398999999999E-2</c:v>
                </c:pt>
                <c:pt idx="1113">
                  <c:v>1.9529283000000001E-2</c:v>
                </c:pt>
                <c:pt idx="1114">
                  <c:v>1.9263322999999999E-2</c:v>
                </c:pt>
                <c:pt idx="1115">
                  <c:v>1.9163659999999999E-2</c:v>
                </c:pt>
                <c:pt idx="1116">
                  <c:v>1.8943281999999999E-2</c:v>
                </c:pt>
                <c:pt idx="1117">
                  <c:v>1.8798914E-2</c:v>
                </c:pt>
                <c:pt idx="1118">
                  <c:v>1.8697504E-2</c:v>
                </c:pt>
                <c:pt idx="1119">
                  <c:v>1.8600597E-2</c:v>
                </c:pt>
                <c:pt idx="1120">
                  <c:v>1.8449246999999998E-2</c:v>
                </c:pt>
                <c:pt idx="1121">
                  <c:v>1.8327919000000002E-2</c:v>
                </c:pt>
                <c:pt idx="1122">
                  <c:v>1.8205059999999999E-2</c:v>
                </c:pt>
                <c:pt idx="1123">
                  <c:v>1.8166726000000001E-2</c:v>
                </c:pt>
                <c:pt idx="1124">
                  <c:v>1.8085499000000001E-2</c:v>
                </c:pt>
                <c:pt idx="1125">
                  <c:v>1.8027865000000001E-2</c:v>
                </c:pt>
                <c:pt idx="1126">
                  <c:v>1.7936947000000002E-2</c:v>
                </c:pt>
                <c:pt idx="1127">
                  <c:v>1.7658126E-2</c:v>
                </c:pt>
                <c:pt idx="1128">
                  <c:v>1.7455901999999999E-2</c:v>
                </c:pt>
                <c:pt idx="1129">
                  <c:v>1.7200513000000001E-2</c:v>
                </c:pt>
                <c:pt idx="1130">
                  <c:v>1.6885790000000001E-2</c:v>
                </c:pt>
                <c:pt idx="1131">
                  <c:v>1.6685943000000002E-2</c:v>
                </c:pt>
                <c:pt idx="1132">
                  <c:v>1.6483004999999998E-2</c:v>
                </c:pt>
                <c:pt idx="1133">
                  <c:v>1.6281015999999999E-2</c:v>
                </c:pt>
                <c:pt idx="1134">
                  <c:v>1.6022123999999999E-2</c:v>
                </c:pt>
                <c:pt idx="1135">
                  <c:v>1.5910554E-2</c:v>
                </c:pt>
                <c:pt idx="1136">
                  <c:v>1.5792977E-2</c:v>
                </c:pt>
                <c:pt idx="1137">
                  <c:v>1.5663916999999999E-2</c:v>
                </c:pt>
                <c:pt idx="1138">
                  <c:v>1.5551494000000001E-2</c:v>
                </c:pt>
                <c:pt idx="1139">
                  <c:v>1.5435117E-2</c:v>
                </c:pt>
                <c:pt idx="1140">
                  <c:v>1.5189316E-2</c:v>
                </c:pt>
                <c:pt idx="1141">
                  <c:v>1.4969051000000001E-2</c:v>
                </c:pt>
                <c:pt idx="1142">
                  <c:v>1.4733062999999999E-2</c:v>
                </c:pt>
                <c:pt idx="1143">
                  <c:v>1.4460025E-2</c:v>
                </c:pt>
                <c:pt idx="1144">
                  <c:v>1.4237903999999999E-2</c:v>
                </c:pt>
                <c:pt idx="1145">
                  <c:v>1.4115076000000001E-2</c:v>
                </c:pt>
                <c:pt idx="1146">
                  <c:v>1.4075282999999999E-2</c:v>
                </c:pt>
                <c:pt idx="1147">
                  <c:v>1.3992137E-2</c:v>
                </c:pt>
                <c:pt idx="1148">
                  <c:v>1.3828095E-2</c:v>
                </c:pt>
                <c:pt idx="1149">
                  <c:v>1.3615454000000001E-2</c:v>
                </c:pt>
                <c:pt idx="1150">
                  <c:v>1.3352602E-2</c:v>
                </c:pt>
                <c:pt idx="1151">
                  <c:v>1.3101409E-2</c:v>
                </c:pt>
                <c:pt idx="1152">
                  <c:v>1.2919302000000001E-2</c:v>
                </c:pt>
                <c:pt idx="1153">
                  <c:v>1.2753051E-2</c:v>
                </c:pt>
                <c:pt idx="1154">
                  <c:v>1.2667101E-2</c:v>
                </c:pt>
                <c:pt idx="1155">
                  <c:v>1.2651351999999999E-2</c:v>
                </c:pt>
                <c:pt idx="1156">
                  <c:v>1.2659137000000001E-2</c:v>
                </c:pt>
                <c:pt idx="1157">
                  <c:v>1.2622128999999999E-2</c:v>
                </c:pt>
                <c:pt idx="1158">
                  <c:v>1.273755E-2</c:v>
                </c:pt>
                <c:pt idx="1159">
                  <c:v>1.2714774999999999E-2</c:v>
                </c:pt>
                <c:pt idx="1160">
                  <c:v>1.2606483E-2</c:v>
                </c:pt>
                <c:pt idx="1161">
                  <c:v>1.2609442E-2</c:v>
                </c:pt>
                <c:pt idx="1162">
                  <c:v>1.2596064000000001E-2</c:v>
                </c:pt>
                <c:pt idx="1163">
                  <c:v>1.2565626999999999E-2</c:v>
                </c:pt>
                <c:pt idx="1164">
                  <c:v>1.2495892E-2</c:v>
                </c:pt>
                <c:pt idx="1165">
                  <c:v>1.2480455999999999E-2</c:v>
                </c:pt>
                <c:pt idx="1166">
                  <c:v>1.239207E-2</c:v>
                </c:pt>
                <c:pt idx="1167">
                  <c:v>1.222638E-2</c:v>
                </c:pt>
                <c:pt idx="1168">
                  <c:v>1.2035357999999999E-2</c:v>
                </c:pt>
                <c:pt idx="1169">
                  <c:v>1.1645056000000001E-2</c:v>
                </c:pt>
                <c:pt idx="1170">
                  <c:v>1.1368754999999999E-2</c:v>
                </c:pt>
                <c:pt idx="1171">
                  <c:v>1.119674E-2</c:v>
                </c:pt>
                <c:pt idx="1172">
                  <c:v>1.1036964E-2</c:v>
                </c:pt>
                <c:pt idx="1173">
                  <c:v>1.0870295E-2</c:v>
                </c:pt>
                <c:pt idx="1174">
                  <c:v>1.0720224E-2</c:v>
                </c:pt>
                <c:pt idx="1175">
                  <c:v>1.0611186999999999E-2</c:v>
                </c:pt>
                <c:pt idx="1176">
                  <c:v>1.0521387E-2</c:v>
                </c:pt>
                <c:pt idx="1177">
                  <c:v>1.0467792E-2</c:v>
                </c:pt>
                <c:pt idx="1178">
                  <c:v>1.0434386E-2</c:v>
                </c:pt>
                <c:pt idx="1179">
                  <c:v>1.0349057E-2</c:v>
                </c:pt>
                <c:pt idx="1180">
                  <c:v>1.0299057E-2</c:v>
                </c:pt>
                <c:pt idx="1181">
                  <c:v>1.0299155000000001E-2</c:v>
                </c:pt>
                <c:pt idx="1182">
                  <c:v>1.0250723E-2</c:v>
                </c:pt>
                <c:pt idx="1183">
                  <c:v>1.0226555E-2</c:v>
                </c:pt>
                <c:pt idx="1184">
                  <c:v>1.021037E-2</c:v>
                </c:pt>
                <c:pt idx="1185">
                  <c:v>1.0190265E-2</c:v>
                </c:pt>
                <c:pt idx="1186">
                  <c:v>1.0151103999999999E-2</c:v>
                </c:pt>
                <c:pt idx="1187">
                  <c:v>1.0225794999999999E-2</c:v>
                </c:pt>
                <c:pt idx="1188">
                  <c:v>1.0215711000000001E-2</c:v>
                </c:pt>
                <c:pt idx="1189">
                  <c:v>1.0262118000000001E-2</c:v>
                </c:pt>
                <c:pt idx="1190">
                  <c:v>1.0242688999999999E-2</c:v>
                </c:pt>
                <c:pt idx="1191">
                  <c:v>1.0204325E-2</c:v>
                </c:pt>
                <c:pt idx="1192">
                  <c:v>1.0188109000000001E-2</c:v>
                </c:pt>
                <c:pt idx="1193">
                  <c:v>1.0192084000000001E-2</c:v>
                </c:pt>
                <c:pt idx="1194">
                  <c:v>1.019572E-2</c:v>
                </c:pt>
                <c:pt idx="1195">
                  <c:v>1.0243822E-2</c:v>
                </c:pt>
                <c:pt idx="1196">
                  <c:v>1.0229883E-2</c:v>
                </c:pt>
                <c:pt idx="1197">
                  <c:v>1.0207366000000001E-2</c:v>
                </c:pt>
                <c:pt idx="1198">
                  <c:v>1.0152062999999999E-2</c:v>
                </c:pt>
                <c:pt idx="1199">
                  <c:v>1.0071955E-2</c:v>
                </c:pt>
                <c:pt idx="1200">
                  <c:v>1.0021220000000001E-2</c:v>
                </c:pt>
                <c:pt idx="1201">
                  <c:v>1.0000817E-2</c:v>
                </c:pt>
                <c:pt idx="1202">
                  <c:v>9.9521899999999996E-3</c:v>
                </c:pt>
                <c:pt idx="1203">
                  <c:v>9.9182739999999995E-3</c:v>
                </c:pt>
                <c:pt idx="1204">
                  <c:v>9.8696489999999994E-3</c:v>
                </c:pt>
                <c:pt idx="1205">
                  <c:v>9.8175169999999996E-3</c:v>
                </c:pt>
                <c:pt idx="1206">
                  <c:v>9.7009039999999998E-3</c:v>
                </c:pt>
                <c:pt idx="1207">
                  <c:v>9.6009300000000006E-3</c:v>
                </c:pt>
                <c:pt idx="1208">
                  <c:v>9.5339880000000002E-3</c:v>
                </c:pt>
                <c:pt idx="1209">
                  <c:v>9.5069799999999999E-3</c:v>
                </c:pt>
                <c:pt idx="1210">
                  <c:v>9.4357060000000003E-3</c:v>
                </c:pt>
                <c:pt idx="1211">
                  <c:v>9.4308929999999992E-3</c:v>
                </c:pt>
                <c:pt idx="1212">
                  <c:v>9.4417939999999999E-3</c:v>
                </c:pt>
                <c:pt idx="1213">
                  <c:v>9.5168230000000006E-3</c:v>
                </c:pt>
                <c:pt idx="1214">
                  <c:v>9.6575670000000006E-3</c:v>
                </c:pt>
                <c:pt idx="1215">
                  <c:v>9.6997349999999993E-3</c:v>
                </c:pt>
                <c:pt idx="1216">
                  <c:v>9.8094749999999998E-3</c:v>
                </c:pt>
                <c:pt idx="1217">
                  <c:v>9.936528E-3</c:v>
                </c:pt>
                <c:pt idx="1218">
                  <c:v>9.9038200000000007E-3</c:v>
                </c:pt>
                <c:pt idx="1219">
                  <c:v>9.8902060000000003E-3</c:v>
                </c:pt>
                <c:pt idx="1220">
                  <c:v>1.0103469E-2</c:v>
                </c:pt>
                <c:pt idx="1221">
                  <c:v>1.0224499999999999E-2</c:v>
                </c:pt>
                <c:pt idx="1222">
                  <c:v>1.0378665E-2</c:v>
                </c:pt>
                <c:pt idx="1223">
                  <c:v>1.0452453E-2</c:v>
                </c:pt>
                <c:pt idx="1224">
                  <c:v>1.0542028E-2</c:v>
                </c:pt>
                <c:pt idx="1225">
                  <c:v>1.0586449E-2</c:v>
                </c:pt>
                <c:pt idx="1226">
                  <c:v>1.0658165000000001E-2</c:v>
                </c:pt>
                <c:pt idx="1227">
                  <c:v>1.0854150999999999E-2</c:v>
                </c:pt>
                <c:pt idx="1228">
                  <c:v>1.1006291E-2</c:v>
                </c:pt>
                <c:pt idx="1229">
                  <c:v>1.1213915E-2</c:v>
                </c:pt>
                <c:pt idx="1230">
                  <c:v>1.1290488E-2</c:v>
                </c:pt>
                <c:pt idx="1231">
                  <c:v>1.1376311E-2</c:v>
                </c:pt>
                <c:pt idx="1232">
                  <c:v>1.1442743E-2</c:v>
                </c:pt>
                <c:pt idx="1233">
                  <c:v>1.1480715000000001E-2</c:v>
                </c:pt>
                <c:pt idx="1234">
                  <c:v>1.1529101999999999E-2</c:v>
                </c:pt>
                <c:pt idx="1235">
                  <c:v>1.1599099999999999E-2</c:v>
                </c:pt>
                <c:pt idx="1236">
                  <c:v>1.1667934E-2</c:v>
                </c:pt>
                <c:pt idx="1237">
                  <c:v>1.1769982E-2</c:v>
                </c:pt>
                <c:pt idx="1238">
                  <c:v>1.1832516E-2</c:v>
                </c:pt>
                <c:pt idx="1239">
                  <c:v>1.1881611E-2</c:v>
                </c:pt>
                <c:pt idx="1240">
                  <c:v>1.1857421E-2</c:v>
                </c:pt>
                <c:pt idx="1241">
                  <c:v>1.1773216E-2</c:v>
                </c:pt>
                <c:pt idx="1242">
                  <c:v>1.1728475E-2</c:v>
                </c:pt>
                <c:pt idx="1243">
                  <c:v>1.1699586E-2</c:v>
                </c:pt>
                <c:pt idx="1244">
                  <c:v>1.1654754999999999E-2</c:v>
                </c:pt>
                <c:pt idx="1245">
                  <c:v>1.1628454E-2</c:v>
                </c:pt>
                <c:pt idx="1246">
                  <c:v>1.1633777999999999E-2</c:v>
                </c:pt>
                <c:pt idx="1247">
                  <c:v>1.1558778E-2</c:v>
                </c:pt>
                <c:pt idx="1248">
                  <c:v>1.1587838E-2</c:v>
                </c:pt>
                <c:pt idx="1249">
                  <c:v>1.1544809E-2</c:v>
                </c:pt>
                <c:pt idx="1250">
                  <c:v>1.1577992E-2</c:v>
                </c:pt>
                <c:pt idx="1251">
                  <c:v>1.1597804999999999E-2</c:v>
                </c:pt>
                <c:pt idx="1252">
                  <c:v>1.1599773000000001E-2</c:v>
                </c:pt>
                <c:pt idx="1253">
                  <c:v>1.1637458999999999E-2</c:v>
                </c:pt>
                <c:pt idx="1254">
                  <c:v>1.1643739E-2</c:v>
                </c:pt>
                <c:pt idx="1255">
                  <c:v>1.1520811000000001E-2</c:v>
                </c:pt>
                <c:pt idx="1256">
                  <c:v>1.1544698000000001E-2</c:v>
                </c:pt>
                <c:pt idx="1257">
                  <c:v>1.1556225E-2</c:v>
                </c:pt>
                <c:pt idx="1258">
                  <c:v>1.1604824E-2</c:v>
                </c:pt>
                <c:pt idx="1259">
                  <c:v>1.1644893E-2</c:v>
                </c:pt>
                <c:pt idx="1260">
                  <c:v>1.1695262E-2</c:v>
                </c:pt>
                <c:pt idx="1261">
                  <c:v>1.1663277999999999E-2</c:v>
                </c:pt>
                <c:pt idx="1262">
                  <c:v>1.1711213E-2</c:v>
                </c:pt>
                <c:pt idx="1263">
                  <c:v>1.1760934000000001E-2</c:v>
                </c:pt>
                <c:pt idx="1264">
                  <c:v>1.1795826000000001E-2</c:v>
                </c:pt>
                <c:pt idx="1265">
                  <c:v>1.1857907000000001E-2</c:v>
                </c:pt>
                <c:pt idx="1266">
                  <c:v>1.1924209999999999E-2</c:v>
                </c:pt>
                <c:pt idx="1267">
                  <c:v>1.1977976E-2</c:v>
                </c:pt>
                <c:pt idx="1268">
                  <c:v>1.2024241E-2</c:v>
                </c:pt>
                <c:pt idx="1269">
                  <c:v>1.2078418E-2</c:v>
                </c:pt>
                <c:pt idx="1270">
                  <c:v>1.2329204999999999E-2</c:v>
                </c:pt>
                <c:pt idx="1271">
                  <c:v>1.2422538E-2</c:v>
                </c:pt>
                <c:pt idx="1272">
                  <c:v>1.2509381E-2</c:v>
                </c:pt>
                <c:pt idx="1273">
                  <c:v>1.2564521E-2</c:v>
                </c:pt>
                <c:pt idx="1274">
                  <c:v>1.2476164E-2</c:v>
                </c:pt>
                <c:pt idx="1275">
                  <c:v>1.2431098E-2</c:v>
                </c:pt>
                <c:pt idx="1276">
                  <c:v>1.2284121E-2</c:v>
                </c:pt>
                <c:pt idx="1277">
                  <c:v>1.2208514E-2</c:v>
                </c:pt>
                <c:pt idx="1278">
                  <c:v>1.2083178E-2</c:v>
                </c:pt>
                <c:pt idx="1279">
                  <c:v>1.2127569E-2</c:v>
                </c:pt>
                <c:pt idx="1280">
                  <c:v>1.2041186000000001E-2</c:v>
                </c:pt>
                <c:pt idx="1281">
                  <c:v>1.1903187000000001E-2</c:v>
                </c:pt>
                <c:pt idx="1282">
                  <c:v>1.1684138E-2</c:v>
                </c:pt>
                <c:pt idx="1283">
                  <c:v>1.1530989E-2</c:v>
                </c:pt>
                <c:pt idx="1284">
                  <c:v>1.1600183E-2</c:v>
                </c:pt>
                <c:pt idx="1285">
                  <c:v>1.1547241E-2</c:v>
                </c:pt>
                <c:pt idx="1286">
                  <c:v>1.1529960000000001E-2</c:v>
                </c:pt>
                <c:pt idx="1287">
                  <c:v>1.1470871000000001E-2</c:v>
                </c:pt>
                <c:pt idx="1288">
                  <c:v>1.1439809E-2</c:v>
                </c:pt>
                <c:pt idx="1289">
                  <c:v>1.1271674000000001E-2</c:v>
                </c:pt>
                <c:pt idx="1290">
                  <c:v>1.1325922E-2</c:v>
                </c:pt>
                <c:pt idx="1291">
                  <c:v>1.1236848000000001E-2</c:v>
                </c:pt>
                <c:pt idx="1292">
                  <c:v>1.1186773000000001E-2</c:v>
                </c:pt>
                <c:pt idx="1293">
                  <c:v>1.1197098000000001E-2</c:v>
                </c:pt>
                <c:pt idx="1294">
                  <c:v>1.1153293999999999E-2</c:v>
                </c:pt>
                <c:pt idx="1295">
                  <c:v>1.1157349E-2</c:v>
                </c:pt>
                <c:pt idx="1296">
                  <c:v>1.1159346000000001E-2</c:v>
                </c:pt>
                <c:pt idx="1297">
                  <c:v>1.1122191999999999E-2</c:v>
                </c:pt>
                <c:pt idx="1298">
                  <c:v>1.1103460000000001E-2</c:v>
                </c:pt>
                <c:pt idx="1299">
                  <c:v>1.1120949999999999E-2</c:v>
                </c:pt>
                <c:pt idx="1300">
                  <c:v>1.1182852E-2</c:v>
                </c:pt>
                <c:pt idx="1301">
                  <c:v>1.1265559E-2</c:v>
                </c:pt>
                <c:pt idx="1302">
                  <c:v>1.1286686000000001E-2</c:v>
                </c:pt>
                <c:pt idx="1303">
                  <c:v>1.1329647999999999E-2</c:v>
                </c:pt>
                <c:pt idx="1304">
                  <c:v>1.1378889999999999E-2</c:v>
                </c:pt>
                <c:pt idx="1305">
                  <c:v>1.1399176E-2</c:v>
                </c:pt>
                <c:pt idx="1306">
                  <c:v>1.1388848E-2</c:v>
                </c:pt>
                <c:pt idx="1307">
                  <c:v>1.1395272999999999E-2</c:v>
                </c:pt>
                <c:pt idx="1308">
                  <c:v>1.1401158999999999E-2</c:v>
                </c:pt>
                <c:pt idx="1309">
                  <c:v>1.1390767E-2</c:v>
                </c:pt>
                <c:pt idx="1310">
                  <c:v>1.1328751E-2</c:v>
                </c:pt>
                <c:pt idx="1311">
                  <c:v>1.1325330999999999E-2</c:v>
                </c:pt>
                <c:pt idx="1312">
                  <c:v>1.1314997E-2</c:v>
                </c:pt>
                <c:pt idx="1313">
                  <c:v>1.1263492999999999E-2</c:v>
                </c:pt>
                <c:pt idx="1314">
                  <c:v>1.1264130000000001E-2</c:v>
                </c:pt>
                <c:pt idx="1315">
                  <c:v>1.1267486E-2</c:v>
                </c:pt>
                <c:pt idx="1316">
                  <c:v>1.1210997E-2</c:v>
                </c:pt>
                <c:pt idx="1317">
                  <c:v>1.1164422E-2</c:v>
                </c:pt>
                <c:pt idx="1318">
                  <c:v>1.1133908E-2</c:v>
                </c:pt>
                <c:pt idx="1319">
                  <c:v>1.1109681999999999E-2</c:v>
                </c:pt>
                <c:pt idx="1320">
                  <c:v>1.1184164999999999E-2</c:v>
                </c:pt>
                <c:pt idx="1321">
                  <c:v>1.1246498000000001E-2</c:v>
                </c:pt>
                <c:pt idx="1322">
                  <c:v>1.1222251000000001E-2</c:v>
                </c:pt>
                <c:pt idx="1323">
                  <c:v>1.1156619E-2</c:v>
                </c:pt>
                <c:pt idx="1324">
                  <c:v>1.1135696E-2</c:v>
                </c:pt>
                <c:pt idx="1325">
                  <c:v>1.1134827999999999E-2</c:v>
                </c:pt>
                <c:pt idx="1326">
                  <c:v>1.1098190000000001E-2</c:v>
                </c:pt>
                <c:pt idx="1327">
                  <c:v>1.1054582E-2</c:v>
                </c:pt>
                <c:pt idx="1328">
                  <c:v>1.0995459000000001E-2</c:v>
                </c:pt>
                <c:pt idx="1329">
                  <c:v>1.0924412E-2</c:v>
                </c:pt>
                <c:pt idx="1330">
                  <c:v>1.0682377E-2</c:v>
                </c:pt>
                <c:pt idx="1331">
                  <c:v>1.0655002E-2</c:v>
                </c:pt>
                <c:pt idx="1332">
                  <c:v>1.0597987999999999E-2</c:v>
                </c:pt>
                <c:pt idx="1333">
                  <c:v>1.0474494000000001E-2</c:v>
                </c:pt>
                <c:pt idx="1334">
                  <c:v>1.0404778E-2</c:v>
                </c:pt>
                <c:pt idx="1335">
                  <c:v>1.0301973000000001E-2</c:v>
                </c:pt>
                <c:pt idx="1336">
                  <c:v>1.0251062E-2</c:v>
                </c:pt>
                <c:pt idx="1337">
                  <c:v>1.0147873E-2</c:v>
                </c:pt>
                <c:pt idx="1338">
                  <c:v>1.0079826E-2</c:v>
                </c:pt>
                <c:pt idx="1339">
                  <c:v>9.9955540000000002E-3</c:v>
                </c:pt>
                <c:pt idx="1340">
                  <c:v>9.8898639999999999E-3</c:v>
                </c:pt>
                <c:pt idx="1341">
                  <c:v>9.8202970000000004E-3</c:v>
                </c:pt>
                <c:pt idx="1342">
                  <c:v>9.7639030000000009E-3</c:v>
                </c:pt>
                <c:pt idx="1343">
                  <c:v>9.9555010000000003E-3</c:v>
                </c:pt>
                <c:pt idx="1344">
                  <c:v>9.8243140000000007E-3</c:v>
                </c:pt>
                <c:pt idx="1345">
                  <c:v>9.8221899999999997E-3</c:v>
                </c:pt>
                <c:pt idx="1346">
                  <c:v>9.8652140000000006E-3</c:v>
                </c:pt>
                <c:pt idx="1347">
                  <c:v>9.8368540000000008E-3</c:v>
                </c:pt>
                <c:pt idx="1348">
                  <c:v>9.8524770000000001E-3</c:v>
                </c:pt>
                <c:pt idx="1349">
                  <c:v>9.9695979999999997E-3</c:v>
                </c:pt>
                <c:pt idx="1350">
                  <c:v>9.9207849999999997E-3</c:v>
                </c:pt>
                <c:pt idx="1351">
                  <c:v>9.9329359999999998E-3</c:v>
                </c:pt>
                <c:pt idx="1352">
                  <c:v>1.0076692999999999E-2</c:v>
                </c:pt>
                <c:pt idx="1353">
                  <c:v>1.0197926E-2</c:v>
                </c:pt>
                <c:pt idx="1354">
                  <c:v>1.0249822E-2</c:v>
                </c:pt>
                <c:pt idx="1355">
                  <c:v>1.0255999E-2</c:v>
                </c:pt>
                <c:pt idx="1356">
                  <c:v>1.0313436E-2</c:v>
                </c:pt>
                <c:pt idx="1357">
                  <c:v>1.0337577000000001E-2</c:v>
                </c:pt>
                <c:pt idx="1358">
                  <c:v>1.0394586000000001E-2</c:v>
                </c:pt>
                <c:pt idx="1359">
                  <c:v>1.0423632E-2</c:v>
                </c:pt>
                <c:pt idx="1360">
                  <c:v>1.0465535999999999E-2</c:v>
                </c:pt>
                <c:pt idx="1361">
                  <c:v>1.0521971999999999E-2</c:v>
                </c:pt>
                <c:pt idx="1362">
                  <c:v>1.0574597999999999E-2</c:v>
                </c:pt>
                <c:pt idx="1363">
                  <c:v>1.060434E-2</c:v>
                </c:pt>
                <c:pt idx="1364">
                  <c:v>1.0632243E-2</c:v>
                </c:pt>
                <c:pt idx="1365">
                  <c:v>1.0734412E-2</c:v>
                </c:pt>
                <c:pt idx="1366">
                  <c:v>1.0825104E-2</c:v>
                </c:pt>
                <c:pt idx="1367">
                  <c:v>1.0982934E-2</c:v>
                </c:pt>
                <c:pt idx="1368">
                  <c:v>1.1026065E-2</c:v>
                </c:pt>
                <c:pt idx="1369">
                  <c:v>1.1093812E-2</c:v>
                </c:pt>
                <c:pt idx="1370">
                  <c:v>1.1137551000000001E-2</c:v>
                </c:pt>
                <c:pt idx="1371">
                  <c:v>1.1167109E-2</c:v>
                </c:pt>
                <c:pt idx="1372">
                  <c:v>1.1206073E-2</c:v>
                </c:pt>
                <c:pt idx="1373">
                  <c:v>1.1218364999999999E-2</c:v>
                </c:pt>
                <c:pt idx="1374">
                  <c:v>1.1206223E-2</c:v>
                </c:pt>
                <c:pt idx="1375">
                  <c:v>1.1293516E-2</c:v>
                </c:pt>
                <c:pt idx="1376">
                  <c:v>1.1383091999999999E-2</c:v>
                </c:pt>
                <c:pt idx="1377">
                  <c:v>1.1530703E-2</c:v>
                </c:pt>
                <c:pt idx="1378">
                  <c:v>1.1618841E-2</c:v>
                </c:pt>
                <c:pt idx="1379">
                  <c:v>1.1740007E-2</c:v>
                </c:pt>
                <c:pt idx="1380">
                  <c:v>1.1814834999999999E-2</c:v>
                </c:pt>
                <c:pt idx="1381">
                  <c:v>1.1833797E-2</c:v>
                </c:pt>
                <c:pt idx="1382">
                  <c:v>1.1914187E-2</c:v>
                </c:pt>
                <c:pt idx="1383">
                  <c:v>1.2053694E-2</c:v>
                </c:pt>
                <c:pt idx="1384">
                  <c:v>1.2110263E-2</c:v>
                </c:pt>
                <c:pt idx="1385">
                  <c:v>1.2130378000000001E-2</c:v>
                </c:pt>
                <c:pt idx="1386">
                  <c:v>1.2225929999999999E-2</c:v>
                </c:pt>
                <c:pt idx="1387">
                  <c:v>1.2315368E-2</c:v>
                </c:pt>
                <c:pt idx="1388">
                  <c:v>1.2452111E-2</c:v>
                </c:pt>
                <c:pt idx="1389">
                  <c:v>1.2511899999999999E-2</c:v>
                </c:pt>
                <c:pt idx="1390">
                  <c:v>1.2584691E-2</c:v>
                </c:pt>
                <c:pt idx="1391">
                  <c:v>1.2529457000000001E-2</c:v>
                </c:pt>
                <c:pt idx="1392">
                  <c:v>1.2552836E-2</c:v>
                </c:pt>
                <c:pt idx="1393">
                  <c:v>1.2637239999999999E-2</c:v>
                </c:pt>
                <c:pt idx="1394">
                  <c:v>1.2663880000000001E-2</c:v>
                </c:pt>
                <c:pt idx="1395">
                  <c:v>1.2763141E-2</c:v>
                </c:pt>
                <c:pt idx="1396">
                  <c:v>1.2937182E-2</c:v>
                </c:pt>
                <c:pt idx="1397">
                  <c:v>1.3332770000000001E-2</c:v>
                </c:pt>
                <c:pt idx="1398">
                  <c:v>1.3614041E-2</c:v>
                </c:pt>
                <c:pt idx="1399">
                  <c:v>1.3896779E-2</c:v>
                </c:pt>
                <c:pt idx="1400">
                  <c:v>1.4355099E-2</c:v>
                </c:pt>
                <c:pt idx="1401">
                  <c:v>1.489321E-2</c:v>
                </c:pt>
                <c:pt idx="1402">
                  <c:v>1.5453300999999999E-2</c:v>
                </c:pt>
                <c:pt idx="1403">
                  <c:v>1.5515377E-2</c:v>
                </c:pt>
                <c:pt idx="1404">
                  <c:v>1.5853946000000001E-2</c:v>
                </c:pt>
                <c:pt idx="1405">
                  <c:v>1.6017282000000001E-2</c:v>
                </c:pt>
                <c:pt idx="1406">
                  <c:v>1.6087987000000002E-2</c:v>
                </c:pt>
                <c:pt idx="1407">
                  <c:v>1.6301841000000001E-2</c:v>
                </c:pt>
                <c:pt idx="1408">
                  <c:v>1.6504980999999998E-2</c:v>
                </c:pt>
                <c:pt idx="1409">
                  <c:v>1.6584716999999999E-2</c:v>
                </c:pt>
                <c:pt idx="1410">
                  <c:v>1.6694889000000001E-2</c:v>
                </c:pt>
                <c:pt idx="1411">
                  <c:v>1.6838292000000001E-2</c:v>
                </c:pt>
                <c:pt idx="1412">
                  <c:v>1.6903455000000001E-2</c:v>
                </c:pt>
                <c:pt idx="1413">
                  <c:v>1.7015358000000001E-2</c:v>
                </c:pt>
                <c:pt idx="1414">
                  <c:v>1.7221312999999999E-2</c:v>
                </c:pt>
                <c:pt idx="1415">
                  <c:v>1.7361044999999999E-2</c:v>
                </c:pt>
                <c:pt idx="1416">
                  <c:v>1.7531217000000002E-2</c:v>
                </c:pt>
                <c:pt idx="1417">
                  <c:v>1.7680421000000002E-2</c:v>
                </c:pt>
                <c:pt idx="1418">
                  <c:v>1.7833365E-2</c:v>
                </c:pt>
                <c:pt idx="1419">
                  <c:v>1.7975464999999999E-2</c:v>
                </c:pt>
                <c:pt idx="1420">
                  <c:v>1.8168670000000001E-2</c:v>
                </c:pt>
                <c:pt idx="1421">
                  <c:v>1.8409248999999999E-2</c:v>
                </c:pt>
                <c:pt idx="1422">
                  <c:v>1.8552031E-2</c:v>
                </c:pt>
                <c:pt idx="1423">
                  <c:v>1.8676668E-2</c:v>
                </c:pt>
                <c:pt idx="1424">
                  <c:v>1.8729737999999999E-2</c:v>
                </c:pt>
                <c:pt idx="1425">
                  <c:v>1.8700648E-2</c:v>
                </c:pt>
                <c:pt idx="1426">
                  <c:v>1.8735452999999999E-2</c:v>
                </c:pt>
                <c:pt idx="1427">
                  <c:v>1.8650043000000002E-2</c:v>
                </c:pt>
                <c:pt idx="1428">
                  <c:v>1.8602474000000001E-2</c:v>
                </c:pt>
                <c:pt idx="1429">
                  <c:v>1.8604768000000001E-2</c:v>
                </c:pt>
                <c:pt idx="1430">
                  <c:v>1.8700043E-2</c:v>
                </c:pt>
                <c:pt idx="1431">
                  <c:v>1.8696546000000001E-2</c:v>
                </c:pt>
                <c:pt idx="1432">
                  <c:v>1.8674664000000001E-2</c:v>
                </c:pt>
                <c:pt idx="1433">
                  <c:v>1.8775523999999998E-2</c:v>
                </c:pt>
                <c:pt idx="1434">
                  <c:v>1.8790128E-2</c:v>
                </c:pt>
                <c:pt idx="1435">
                  <c:v>1.8756867999999999E-2</c:v>
                </c:pt>
                <c:pt idx="1436">
                  <c:v>1.8677737E-2</c:v>
                </c:pt>
                <c:pt idx="1437">
                  <c:v>1.8604367E-2</c:v>
                </c:pt>
                <c:pt idx="1438">
                  <c:v>1.8560573E-2</c:v>
                </c:pt>
                <c:pt idx="1439">
                  <c:v>1.8504188000000001E-2</c:v>
                </c:pt>
                <c:pt idx="1440">
                  <c:v>1.8351421999999999E-2</c:v>
                </c:pt>
                <c:pt idx="1441">
                  <c:v>1.8261447E-2</c:v>
                </c:pt>
                <c:pt idx="1442">
                  <c:v>1.8227198E-2</c:v>
                </c:pt>
                <c:pt idx="1443">
                  <c:v>1.8138676999999999E-2</c:v>
                </c:pt>
                <c:pt idx="1444">
                  <c:v>1.8079303000000001E-2</c:v>
                </c:pt>
                <c:pt idx="1445">
                  <c:v>1.797812E-2</c:v>
                </c:pt>
                <c:pt idx="1446">
                  <c:v>1.7841484000000001E-2</c:v>
                </c:pt>
                <c:pt idx="1447">
                  <c:v>1.7776162000000002E-2</c:v>
                </c:pt>
                <c:pt idx="1448">
                  <c:v>1.7697001E-2</c:v>
                </c:pt>
                <c:pt idx="1449">
                  <c:v>1.7657280000000001E-2</c:v>
                </c:pt>
                <c:pt idx="1450">
                  <c:v>1.7611132000000002E-2</c:v>
                </c:pt>
                <c:pt idx="1451">
                  <c:v>1.7611842999999999E-2</c:v>
                </c:pt>
                <c:pt idx="1452">
                  <c:v>1.7593751000000001E-2</c:v>
                </c:pt>
                <c:pt idx="1453">
                  <c:v>1.7509548999999999E-2</c:v>
                </c:pt>
                <c:pt idx="1454">
                  <c:v>1.7417742999999999E-2</c:v>
                </c:pt>
                <c:pt idx="1455">
                  <c:v>1.7317438000000001E-2</c:v>
                </c:pt>
                <c:pt idx="1456">
                  <c:v>1.7193000999999999E-2</c:v>
                </c:pt>
                <c:pt idx="1457">
                  <c:v>1.6920839999999999E-2</c:v>
                </c:pt>
                <c:pt idx="1458">
                  <c:v>1.6766923E-2</c:v>
                </c:pt>
                <c:pt idx="1459">
                  <c:v>1.6473919E-2</c:v>
                </c:pt>
                <c:pt idx="1460">
                  <c:v>1.6104162000000002E-2</c:v>
                </c:pt>
                <c:pt idx="1461">
                  <c:v>1.5638250999999999E-2</c:v>
                </c:pt>
                <c:pt idx="1462">
                  <c:v>1.5109314E-2</c:v>
                </c:pt>
                <c:pt idx="1463">
                  <c:v>1.4876993E-2</c:v>
                </c:pt>
                <c:pt idx="1464">
                  <c:v>1.4504164999999999E-2</c:v>
                </c:pt>
                <c:pt idx="1465">
                  <c:v>1.4266836E-2</c:v>
                </c:pt>
                <c:pt idx="1466">
                  <c:v>1.4116976E-2</c:v>
                </c:pt>
                <c:pt idx="1467">
                  <c:v>1.3797814E-2</c:v>
                </c:pt>
                <c:pt idx="1468">
                  <c:v>1.3514649E-2</c:v>
                </c:pt>
                <c:pt idx="1469">
                  <c:v>1.3309051000000001E-2</c:v>
                </c:pt>
                <c:pt idx="1470">
                  <c:v>1.3219791999999999E-2</c:v>
                </c:pt>
                <c:pt idx="1471">
                  <c:v>1.3109684999999999E-2</c:v>
                </c:pt>
                <c:pt idx="1472">
                  <c:v>1.2887462000000001E-2</c:v>
                </c:pt>
                <c:pt idx="1473">
                  <c:v>1.2582428E-2</c:v>
                </c:pt>
                <c:pt idx="1474">
                  <c:v>1.2413489E-2</c:v>
                </c:pt>
                <c:pt idx="1475">
                  <c:v>1.2232707000000001E-2</c:v>
                </c:pt>
                <c:pt idx="1476">
                  <c:v>1.1992462000000001E-2</c:v>
                </c:pt>
                <c:pt idx="1477">
                  <c:v>1.1756379000000001E-2</c:v>
                </c:pt>
                <c:pt idx="1478">
                  <c:v>1.1541684E-2</c:v>
                </c:pt>
                <c:pt idx="1479">
                  <c:v>1.1352691999999999E-2</c:v>
                </c:pt>
                <c:pt idx="1480">
                  <c:v>1.1144727E-2</c:v>
                </c:pt>
                <c:pt idx="1481">
                  <c:v>1.1013942000000001E-2</c:v>
                </c:pt>
                <c:pt idx="1482">
                  <c:v>1.1001931E-2</c:v>
                </c:pt>
                <c:pt idx="1483">
                  <c:v>1.0948540999999999E-2</c:v>
                </c:pt>
                <c:pt idx="1484">
                  <c:v>1.0938415999999999E-2</c:v>
                </c:pt>
                <c:pt idx="1485">
                  <c:v>1.0924691E-2</c:v>
                </c:pt>
                <c:pt idx="1486">
                  <c:v>1.0885517000000001E-2</c:v>
                </c:pt>
                <c:pt idx="1487">
                  <c:v>1.0940775E-2</c:v>
                </c:pt>
                <c:pt idx="1488">
                  <c:v>1.0910725E-2</c:v>
                </c:pt>
                <c:pt idx="1489">
                  <c:v>1.0851514E-2</c:v>
                </c:pt>
                <c:pt idx="1490">
                  <c:v>1.0750065E-2</c:v>
                </c:pt>
                <c:pt idx="1491">
                  <c:v>1.0770271E-2</c:v>
                </c:pt>
                <c:pt idx="1492">
                  <c:v>1.0846738E-2</c:v>
                </c:pt>
                <c:pt idx="1493">
                  <c:v>1.0829922000000001E-2</c:v>
                </c:pt>
                <c:pt idx="1494">
                  <c:v>1.1012268E-2</c:v>
                </c:pt>
                <c:pt idx="1495">
                  <c:v>1.1052255E-2</c:v>
                </c:pt>
                <c:pt idx="1496">
                  <c:v>1.1243899999999999E-2</c:v>
                </c:pt>
                <c:pt idx="1497">
                  <c:v>1.1293011E-2</c:v>
                </c:pt>
                <c:pt idx="1498">
                  <c:v>1.1331269E-2</c:v>
                </c:pt>
                <c:pt idx="1499">
                  <c:v>1.1377653999999999E-2</c:v>
                </c:pt>
                <c:pt idx="1500">
                  <c:v>1.1434250999999999E-2</c:v>
                </c:pt>
                <c:pt idx="1501">
                  <c:v>1.1495821E-2</c:v>
                </c:pt>
                <c:pt idx="1502">
                  <c:v>1.1575452999999999E-2</c:v>
                </c:pt>
                <c:pt idx="1503">
                  <c:v>1.1626101999999999E-2</c:v>
                </c:pt>
                <c:pt idx="1504">
                  <c:v>1.1720271000000001E-2</c:v>
                </c:pt>
                <c:pt idx="1505">
                  <c:v>1.1788474E-2</c:v>
                </c:pt>
                <c:pt idx="1506">
                  <c:v>1.1871781E-2</c:v>
                </c:pt>
                <c:pt idx="1507">
                  <c:v>1.1900361E-2</c:v>
                </c:pt>
                <c:pt idx="1508">
                  <c:v>1.1947935E-2</c:v>
                </c:pt>
                <c:pt idx="1509">
                  <c:v>1.1977784999999999E-2</c:v>
                </c:pt>
                <c:pt idx="1510">
                  <c:v>1.2102285000000001E-2</c:v>
                </c:pt>
                <c:pt idx="1511">
                  <c:v>1.2262465E-2</c:v>
                </c:pt>
                <c:pt idx="1512">
                  <c:v>1.2417945E-2</c:v>
                </c:pt>
                <c:pt idx="1513">
                  <c:v>1.2529601E-2</c:v>
                </c:pt>
                <c:pt idx="1514">
                  <c:v>1.2620121999999999E-2</c:v>
                </c:pt>
                <c:pt idx="1515">
                  <c:v>1.2700072E-2</c:v>
                </c:pt>
                <c:pt idx="1516">
                  <c:v>1.2863645E-2</c:v>
                </c:pt>
                <c:pt idx="1517">
                  <c:v>1.2875693000000001E-2</c:v>
                </c:pt>
                <c:pt idx="1518">
                  <c:v>1.2845865999999999E-2</c:v>
                </c:pt>
                <c:pt idx="1519">
                  <c:v>1.2959388000000001E-2</c:v>
                </c:pt>
                <c:pt idx="1520">
                  <c:v>1.2960146000000001E-2</c:v>
                </c:pt>
                <c:pt idx="1521">
                  <c:v>1.2998371999999999E-2</c:v>
                </c:pt>
                <c:pt idx="1522">
                  <c:v>1.3083155000000001E-2</c:v>
                </c:pt>
                <c:pt idx="1523">
                  <c:v>1.3114964999999999E-2</c:v>
                </c:pt>
                <c:pt idx="1524">
                  <c:v>1.3194429000000001E-2</c:v>
                </c:pt>
                <c:pt idx="1525">
                  <c:v>1.3273587E-2</c:v>
                </c:pt>
                <c:pt idx="1526">
                  <c:v>1.3272880000000001E-2</c:v>
                </c:pt>
                <c:pt idx="1527">
                  <c:v>1.3334989E-2</c:v>
                </c:pt>
                <c:pt idx="1528">
                  <c:v>1.3358823000000001E-2</c:v>
                </c:pt>
                <c:pt idx="1529">
                  <c:v>1.3402137E-2</c:v>
                </c:pt>
                <c:pt idx="1530">
                  <c:v>1.3364042E-2</c:v>
                </c:pt>
                <c:pt idx="1531">
                  <c:v>1.3361784999999999E-2</c:v>
                </c:pt>
                <c:pt idx="1532">
                  <c:v>1.3423716E-2</c:v>
                </c:pt>
                <c:pt idx="1533">
                  <c:v>1.3480906000000001E-2</c:v>
                </c:pt>
                <c:pt idx="1534">
                  <c:v>1.3408251E-2</c:v>
                </c:pt>
                <c:pt idx="1535">
                  <c:v>1.3417113E-2</c:v>
                </c:pt>
                <c:pt idx="1536">
                  <c:v>1.3390648999999999E-2</c:v>
                </c:pt>
                <c:pt idx="1537">
                  <c:v>1.342307E-2</c:v>
                </c:pt>
                <c:pt idx="1538">
                  <c:v>1.3403791999999999E-2</c:v>
                </c:pt>
                <c:pt idx="1539">
                  <c:v>1.3341557E-2</c:v>
                </c:pt>
                <c:pt idx="1540">
                  <c:v>1.326773E-2</c:v>
                </c:pt>
                <c:pt idx="1541">
                  <c:v>1.3036469E-2</c:v>
                </c:pt>
                <c:pt idx="1542">
                  <c:v>1.2854427999999999E-2</c:v>
                </c:pt>
                <c:pt idx="1543">
                  <c:v>1.271251E-2</c:v>
                </c:pt>
                <c:pt idx="1544">
                  <c:v>1.2604709E-2</c:v>
                </c:pt>
                <c:pt idx="1545">
                  <c:v>1.250777E-2</c:v>
                </c:pt>
                <c:pt idx="1546">
                  <c:v>1.241299E-2</c:v>
                </c:pt>
                <c:pt idx="1547">
                  <c:v>1.2226002E-2</c:v>
                </c:pt>
                <c:pt idx="1548">
                  <c:v>1.2186887E-2</c:v>
                </c:pt>
                <c:pt idx="1549">
                  <c:v>1.2129157999999999E-2</c:v>
                </c:pt>
                <c:pt idx="1550">
                  <c:v>1.2080215E-2</c:v>
                </c:pt>
                <c:pt idx="1551">
                  <c:v>1.1977145999999999E-2</c:v>
                </c:pt>
                <c:pt idx="1552">
                  <c:v>1.1843744E-2</c:v>
                </c:pt>
                <c:pt idx="1553">
                  <c:v>1.1695608E-2</c:v>
                </c:pt>
                <c:pt idx="1554">
                  <c:v>1.1475312999999999E-2</c:v>
                </c:pt>
                <c:pt idx="1555">
                  <c:v>1.135509E-2</c:v>
                </c:pt>
                <c:pt idx="1556">
                  <c:v>1.1189958E-2</c:v>
                </c:pt>
                <c:pt idx="1557">
                  <c:v>1.1065508E-2</c:v>
                </c:pt>
                <c:pt idx="1558">
                  <c:v>1.0955336E-2</c:v>
                </c:pt>
                <c:pt idx="1559">
                  <c:v>1.085232E-2</c:v>
                </c:pt>
                <c:pt idx="1560">
                  <c:v>1.0810591E-2</c:v>
                </c:pt>
                <c:pt idx="1561">
                  <c:v>1.07656E-2</c:v>
                </c:pt>
                <c:pt idx="1562">
                  <c:v>1.0612696E-2</c:v>
                </c:pt>
                <c:pt idx="1563">
                  <c:v>1.0568411E-2</c:v>
                </c:pt>
                <c:pt idx="1564">
                  <c:v>1.0465876000000001E-2</c:v>
                </c:pt>
                <c:pt idx="1565">
                  <c:v>1.0406584999999999E-2</c:v>
                </c:pt>
                <c:pt idx="1566">
                  <c:v>1.0369089999999999E-2</c:v>
                </c:pt>
                <c:pt idx="1567">
                  <c:v>1.0315391E-2</c:v>
                </c:pt>
                <c:pt idx="1568">
                  <c:v>1.0240156E-2</c:v>
                </c:pt>
                <c:pt idx="1569">
                  <c:v>1.0194335000000001E-2</c:v>
                </c:pt>
                <c:pt idx="1570">
                  <c:v>1.0079503E-2</c:v>
                </c:pt>
                <c:pt idx="1571">
                  <c:v>1.0054831E-2</c:v>
                </c:pt>
                <c:pt idx="1572">
                  <c:v>9.9343560000000001E-3</c:v>
                </c:pt>
                <c:pt idx="1573">
                  <c:v>9.8583539999999997E-3</c:v>
                </c:pt>
                <c:pt idx="1574">
                  <c:v>9.8292250000000005E-3</c:v>
                </c:pt>
                <c:pt idx="1575">
                  <c:v>9.8209539999999998E-3</c:v>
                </c:pt>
                <c:pt idx="1576">
                  <c:v>9.6258630000000001E-3</c:v>
                </c:pt>
                <c:pt idx="1577">
                  <c:v>9.5945490000000008E-3</c:v>
                </c:pt>
                <c:pt idx="1578">
                  <c:v>9.5809580000000005E-3</c:v>
                </c:pt>
                <c:pt idx="1579">
                  <c:v>9.4726830000000008E-3</c:v>
                </c:pt>
                <c:pt idx="1580">
                  <c:v>9.4058790000000007E-3</c:v>
                </c:pt>
                <c:pt idx="1581">
                  <c:v>9.3101060000000003E-3</c:v>
                </c:pt>
                <c:pt idx="1582">
                  <c:v>9.1731429999999999E-3</c:v>
                </c:pt>
                <c:pt idx="1583">
                  <c:v>9.1111270000000001E-3</c:v>
                </c:pt>
                <c:pt idx="1584">
                  <c:v>9.022179E-3</c:v>
                </c:pt>
                <c:pt idx="1585">
                  <c:v>8.9494959999999995E-3</c:v>
                </c:pt>
                <c:pt idx="1586">
                  <c:v>8.9165540000000001E-3</c:v>
                </c:pt>
                <c:pt idx="1587">
                  <c:v>8.8863269999999994E-3</c:v>
                </c:pt>
                <c:pt idx="1588">
                  <c:v>8.8487210000000004E-3</c:v>
                </c:pt>
                <c:pt idx="1589">
                  <c:v>8.7554299999999998E-3</c:v>
                </c:pt>
                <c:pt idx="1590">
                  <c:v>8.7016070000000001E-3</c:v>
                </c:pt>
                <c:pt idx="1591">
                  <c:v>8.6127849999999995E-3</c:v>
                </c:pt>
                <c:pt idx="1592">
                  <c:v>8.5971950000000002E-3</c:v>
                </c:pt>
                <c:pt idx="1593">
                  <c:v>8.5513069999999993E-3</c:v>
                </c:pt>
                <c:pt idx="1594">
                  <c:v>8.5324200000000006E-3</c:v>
                </c:pt>
                <c:pt idx="1595">
                  <c:v>8.4741439999999994E-3</c:v>
                </c:pt>
                <c:pt idx="1596">
                  <c:v>8.4617400000000006E-3</c:v>
                </c:pt>
                <c:pt idx="1597">
                  <c:v>8.3910100000000008E-3</c:v>
                </c:pt>
                <c:pt idx="1598">
                  <c:v>8.3576829999999994E-3</c:v>
                </c:pt>
                <c:pt idx="1599">
                  <c:v>8.3487779999999994E-3</c:v>
                </c:pt>
                <c:pt idx="1600">
                  <c:v>8.3059080000000007E-3</c:v>
                </c:pt>
                <c:pt idx="1601">
                  <c:v>8.3210309999999996E-3</c:v>
                </c:pt>
                <c:pt idx="1602">
                  <c:v>8.3996560000000001E-3</c:v>
                </c:pt>
                <c:pt idx="1603">
                  <c:v>8.489346E-3</c:v>
                </c:pt>
                <c:pt idx="1604">
                  <c:v>8.5591980000000005E-3</c:v>
                </c:pt>
                <c:pt idx="1605">
                  <c:v>8.6490419999999991E-3</c:v>
                </c:pt>
                <c:pt idx="1606">
                  <c:v>8.7062359999999991E-3</c:v>
                </c:pt>
                <c:pt idx="1607">
                  <c:v>8.7898990000000003E-3</c:v>
                </c:pt>
                <c:pt idx="1608">
                  <c:v>8.785256E-3</c:v>
                </c:pt>
                <c:pt idx="1609">
                  <c:v>8.7896650000000003E-3</c:v>
                </c:pt>
                <c:pt idx="1610">
                  <c:v>8.7947270000000004E-3</c:v>
                </c:pt>
                <c:pt idx="1611">
                  <c:v>8.8187999999999999E-3</c:v>
                </c:pt>
                <c:pt idx="1612">
                  <c:v>8.8040240000000006E-3</c:v>
                </c:pt>
                <c:pt idx="1613">
                  <c:v>8.8112380000000008E-3</c:v>
                </c:pt>
                <c:pt idx="1614">
                  <c:v>8.8041009999999999E-3</c:v>
                </c:pt>
                <c:pt idx="1615">
                  <c:v>8.9274990000000002E-3</c:v>
                </c:pt>
                <c:pt idx="1616">
                  <c:v>8.9006669999999993E-3</c:v>
                </c:pt>
                <c:pt idx="1617">
                  <c:v>8.9248639999999994E-3</c:v>
                </c:pt>
                <c:pt idx="1618">
                  <c:v>8.9514869999999993E-3</c:v>
                </c:pt>
                <c:pt idx="1619">
                  <c:v>8.9259140000000001E-3</c:v>
                </c:pt>
                <c:pt idx="1620">
                  <c:v>8.8760079999999995E-3</c:v>
                </c:pt>
                <c:pt idx="1621">
                  <c:v>8.8365219999999994E-3</c:v>
                </c:pt>
                <c:pt idx="1622">
                  <c:v>8.8131019999999997E-3</c:v>
                </c:pt>
                <c:pt idx="1623">
                  <c:v>8.7368989999999994E-3</c:v>
                </c:pt>
                <c:pt idx="1624">
                  <c:v>8.7118230000000005E-3</c:v>
                </c:pt>
                <c:pt idx="1625">
                  <c:v>8.6699289999999998E-3</c:v>
                </c:pt>
                <c:pt idx="1626">
                  <c:v>8.6318739999999994E-3</c:v>
                </c:pt>
                <c:pt idx="1627">
                  <c:v>8.6041009999999994E-3</c:v>
                </c:pt>
                <c:pt idx="1628">
                  <c:v>8.5801290000000006E-3</c:v>
                </c:pt>
                <c:pt idx="1629">
                  <c:v>8.5722980000000008E-3</c:v>
                </c:pt>
                <c:pt idx="1630">
                  <c:v>8.5274659999999992E-3</c:v>
                </c:pt>
                <c:pt idx="1631">
                  <c:v>8.3654230000000003E-3</c:v>
                </c:pt>
                <c:pt idx="1632">
                  <c:v>8.2666079999999999E-3</c:v>
                </c:pt>
                <c:pt idx="1633">
                  <c:v>8.278489E-3</c:v>
                </c:pt>
                <c:pt idx="1634">
                  <c:v>8.2562599999999996E-3</c:v>
                </c:pt>
                <c:pt idx="1635">
                  <c:v>8.1971360000000007E-3</c:v>
                </c:pt>
                <c:pt idx="1636">
                  <c:v>8.1609109999999999E-3</c:v>
                </c:pt>
                <c:pt idx="1637">
                  <c:v>8.0423590000000007E-3</c:v>
                </c:pt>
                <c:pt idx="1638">
                  <c:v>7.9453279999999998E-3</c:v>
                </c:pt>
                <c:pt idx="1639">
                  <c:v>7.865716E-3</c:v>
                </c:pt>
                <c:pt idx="1640">
                  <c:v>7.7392720000000002E-3</c:v>
                </c:pt>
                <c:pt idx="1641">
                  <c:v>7.6638950000000004E-3</c:v>
                </c:pt>
                <c:pt idx="1642">
                  <c:v>7.6512239999999999E-3</c:v>
                </c:pt>
                <c:pt idx="1643">
                  <c:v>7.668897E-3</c:v>
                </c:pt>
                <c:pt idx="1644">
                  <c:v>7.6649789999999997E-3</c:v>
                </c:pt>
                <c:pt idx="1645">
                  <c:v>7.5956299999999999E-3</c:v>
                </c:pt>
                <c:pt idx="1646">
                  <c:v>7.5155939999999996E-3</c:v>
                </c:pt>
                <c:pt idx="1647">
                  <c:v>7.5055629999999998E-3</c:v>
                </c:pt>
                <c:pt idx="1648">
                  <c:v>7.4641330000000004E-3</c:v>
                </c:pt>
                <c:pt idx="1649">
                  <c:v>7.4533070000000002E-3</c:v>
                </c:pt>
                <c:pt idx="1650">
                  <c:v>7.4150040000000002E-3</c:v>
                </c:pt>
                <c:pt idx="1651">
                  <c:v>7.44635E-3</c:v>
                </c:pt>
                <c:pt idx="1652">
                  <c:v>7.4184849999999998E-3</c:v>
                </c:pt>
                <c:pt idx="1653">
                  <c:v>7.4753989999999998E-3</c:v>
                </c:pt>
                <c:pt idx="1654">
                  <c:v>7.4624879999999998E-3</c:v>
                </c:pt>
                <c:pt idx="1655">
                  <c:v>7.5185110000000003E-3</c:v>
                </c:pt>
                <c:pt idx="1656">
                  <c:v>7.5129039999999999E-3</c:v>
                </c:pt>
                <c:pt idx="1657">
                  <c:v>7.5641859999999997E-3</c:v>
                </c:pt>
                <c:pt idx="1658">
                  <c:v>7.6289790000000001E-3</c:v>
                </c:pt>
                <c:pt idx="1659">
                  <c:v>7.7370010000000003E-3</c:v>
                </c:pt>
                <c:pt idx="1660">
                  <c:v>7.7876739999999996E-3</c:v>
                </c:pt>
                <c:pt idx="1661">
                  <c:v>7.7530799999999999E-3</c:v>
                </c:pt>
                <c:pt idx="1662">
                  <c:v>7.6530890000000001E-3</c:v>
                </c:pt>
                <c:pt idx="1663">
                  <c:v>7.5567289999999999E-3</c:v>
                </c:pt>
                <c:pt idx="1664">
                  <c:v>7.4928399999999997E-3</c:v>
                </c:pt>
                <c:pt idx="1665">
                  <c:v>7.3851300000000002E-3</c:v>
                </c:pt>
                <c:pt idx="1666">
                  <c:v>7.3167650000000002E-3</c:v>
                </c:pt>
                <c:pt idx="1667">
                  <c:v>7.217808E-3</c:v>
                </c:pt>
                <c:pt idx="1668">
                  <c:v>7.1983170000000001E-3</c:v>
                </c:pt>
                <c:pt idx="1669">
                  <c:v>7.1568830000000002E-3</c:v>
                </c:pt>
                <c:pt idx="1670">
                  <c:v>7.1388609999999998E-3</c:v>
                </c:pt>
                <c:pt idx="1671">
                  <c:v>7.0814509999999999E-3</c:v>
                </c:pt>
                <c:pt idx="1672">
                  <c:v>7.0509809999999996E-3</c:v>
                </c:pt>
                <c:pt idx="1673">
                  <c:v>7.0223910000000002E-3</c:v>
                </c:pt>
                <c:pt idx="1674">
                  <c:v>6.9903580000000003E-3</c:v>
                </c:pt>
                <c:pt idx="1675">
                  <c:v>6.8155919999999997E-3</c:v>
                </c:pt>
                <c:pt idx="1676">
                  <c:v>6.7364160000000003E-3</c:v>
                </c:pt>
                <c:pt idx="1677">
                  <c:v>6.6718189999999998E-3</c:v>
                </c:pt>
                <c:pt idx="1678">
                  <c:v>6.6417780000000001E-3</c:v>
                </c:pt>
                <c:pt idx="1679">
                  <c:v>6.7140869999999997E-3</c:v>
                </c:pt>
                <c:pt idx="1680">
                  <c:v>6.7025130000000002E-3</c:v>
                </c:pt>
                <c:pt idx="1681">
                  <c:v>6.6975990000000003E-3</c:v>
                </c:pt>
                <c:pt idx="1682">
                  <c:v>6.6714879999999997E-3</c:v>
                </c:pt>
                <c:pt idx="1683">
                  <c:v>6.6408609999999996E-3</c:v>
                </c:pt>
                <c:pt idx="1684">
                  <c:v>6.6087409999999996E-3</c:v>
                </c:pt>
                <c:pt idx="1685">
                  <c:v>6.5906080000000004E-3</c:v>
                </c:pt>
                <c:pt idx="1686">
                  <c:v>6.555852E-3</c:v>
                </c:pt>
                <c:pt idx="1687">
                  <c:v>6.5619550000000004E-3</c:v>
                </c:pt>
                <c:pt idx="1688">
                  <c:v>6.5239709999999999E-3</c:v>
                </c:pt>
                <c:pt idx="1689">
                  <c:v>6.5086730000000004E-3</c:v>
                </c:pt>
                <c:pt idx="1690">
                  <c:v>6.514667E-3</c:v>
                </c:pt>
                <c:pt idx="1691">
                  <c:v>6.5236729999999998E-3</c:v>
                </c:pt>
                <c:pt idx="1692">
                  <c:v>6.5256510000000004E-3</c:v>
                </c:pt>
                <c:pt idx="1693">
                  <c:v>6.4427829999999997E-3</c:v>
                </c:pt>
                <c:pt idx="1694">
                  <c:v>6.4025480000000001E-3</c:v>
                </c:pt>
                <c:pt idx="1695">
                  <c:v>6.3611579999999996E-3</c:v>
                </c:pt>
                <c:pt idx="1696">
                  <c:v>6.3135029999999998E-3</c:v>
                </c:pt>
                <c:pt idx="1697">
                  <c:v>6.2835959999999998E-3</c:v>
                </c:pt>
                <c:pt idx="1698">
                  <c:v>6.2729780000000002E-3</c:v>
                </c:pt>
                <c:pt idx="1699">
                  <c:v>6.2472939999999996E-3</c:v>
                </c:pt>
                <c:pt idx="1700">
                  <c:v>6.2554639999999996E-3</c:v>
                </c:pt>
                <c:pt idx="1701">
                  <c:v>6.2676930000000004E-3</c:v>
                </c:pt>
                <c:pt idx="1702">
                  <c:v>6.269167E-3</c:v>
                </c:pt>
                <c:pt idx="1703">
                  <c:v>6.189763E-3</c:v>
                </c:pt>
                <c:pt idx="1704">
                  <c:v>6.2029800000000003E-3</c:v>
                </c:pt>
                <c:pt idx="1705">
                  <c:v>6.3465600000000002E-3</c:v>
                </c:pt>
                <c:pt idx="1706">
                  <c:v>6.4195370000000003E-3</c:v>
                </c:pt>
                <c:pt idx="1707">
                  <c:v>6.402474E-3</c:v>
                </c:pt>
                <c:pt idx="1708">
                  <c:v>6.4258249999999996E-3</c:v>
                </c:pt>
                <c:pt idx="1709">
                  <c:v>6.3990119999999999E-3</c:v>
                </c:pt>
                <c:pt idx="1710">
                  <c:v>6.4954949999999996E-3</c:v>
                </c:pt>
                <c:pt idx="1711">
                  <c:v>6.5360110000000004E-3</c:v>
                </c:pt>
                <c:pt idx="1712">
                  <c:v>6.5412140000000001E-3</c:v>
                </c:pt>
                <c:pt idx="1713">
                  <c:v>6.5262819999999996E-3</c:v>
                </c:pt>
                <c:pt idx="1714">
                  <c:v>6.5401330000000001E-3</c:v>
                </c:pt>
                <c:pt idx="1715">
                  <c:v>6.447787E-3</c:v>
                </c:pt>
                <c:pt idx="1716">
                  <c:v>6.4181940000000003E-3</c:v>
                </c:pt>
                <c:pt idx="1717">
                  <c:v>6.4002E-3</c:v>
                </c:pt>
                <c:pt idx="1718">
                  <c:v>6.3855860000000004E-3</c:v>
                </c:pt>
                <c:pt idx="1719">
                  <c:v>6.3064519999999997E-3</c:v>
                </c:pt>
                <c:pt idx="1720">
                  <c:v>6.2834539999999999E-3</c:v>
                </c:pt>
                <c:pt idx="1721">
                  <c:v>6.3315719999999997E-3</c:v>
                </c:pt>
                <c:pt idx="1722">
                  <c:v>6.375164E-3</c:v>
                </c:pt>
                <c:pt idx="1723">
                  <c:v>6.4404809999999996E-3</c:v>
                </c:pt>
                <c:pt idx="1724">
                  <c:v>6.4488380000000001E-3</c:v>
                </c:pt>
                <c:pt idx="1725">
                  <c:v>6.4680409999999999E-3</c:v>
                </c:pt>
                <c:pt idx="1726">
                  <c:v>6.5136999999999999E-3</c:v>
                </c:pt>
                <c:pt idx="1727">
                  <c:v>6.5626130000000001E-3</c:v>
                </c:pt>
                <c:pt idx="1728">
                  <c:v>6.531378E-3</c:v>
                </c:pt>
                <c:pt idx="1729">
                  <c:v>6.6116949999999999E-3</c:v>
                </c:pt>
                <c:pt idx="1730">
                  <c:v>6.6442640000000004E-3</c:v>
                </c:pt>
                <c:pt idx="1731">
                  <c:v>6.7957429999999999E-3</c:v>
                </c:pt>
                <c:pt idx="1732">
                  <c:v>6.9167350000000002E-3</c:v>
                </c:pt>
                <c:pt idx="1733">
                  <c:v>7.088652E-3</c:v>
                </c:pt>
                <c:pt idx="1734">
                  <c:v>7.3078259999999999E-3</c:v>
                </c:pt>
                <c:pt idx="1735">
                  <c:v>7.4707719999999997E-3</c:v>
                </c:pt>
                <c:pt idx="1736">
                  <c:v>7.5771399999999996E-3</c:v>
                </c:pt>
                <c:pt idx="1737">
                  <c:v>7.6305749999999997E-3</c:v>
                </c:pt>
                <c:pt idx="1738">
                  <c:v>7.7195420000000002E-3</c:v>
                </c:pt>
                <c:pt idx="1739">
                  <c:v>7.7628970000000004E-3</c:v>
                </c:pt>
                <c:pt idx="1740">
                  <c:v>7.8659960000000001E-3</c:v>
                </c:pt>
                <c:pt idx="1741">
                  <c:v>7.949935E-3</c:v>
                </c:pt>
                <c:pt idx="1742">
                  <c:v>8.0520250000000008E-3</c:v>
                </c:pt>
                <c:pt idx="1743">
                  <c:v>8.1739369999999992E-3</c:v>
                </c:pt>
                <c:pt idx="1744">
                  <c:v>8.2863220000000005E-3</c:v>
                </c:pt>
                <c:pt idx="1745">
                  <c:v>8.3819700000000007E-3</c:v>
                </c:pt>
                <c:pt idx="1746">
                  <c:v>8.6323210000000001E-3</c:v>
                </c:pt>
                <c:pt idx="1747">
                  <c:v>8.7504139999999998E-3</c:v>
                </c:pt>
                <c:pt idx="1748">
                  <c:v>8.8595870000000004E-3</c:v>
                </c:pt>
                <c:pt idx="1749">
                  <c:v>8.9309520000000007E-3</c:v>
                </c:pt>
                <c:pt idx="1750">
                  <c:v>8.9975490000000005E-3</c:v>
                </c:pt>
                <c:pt idx="1751">
                  <c:v>9.0504390000000004E-3</c:v>
                </c:pt>
                <c:pt idx="1752">
                  <c:v>9.0956079999999998E-3</c:v>
                </c:pt>
                <c:pt idx="1753">
                  <c:v>9.1389139999999997E-3</c:v>
                </c:pt>
                <c:pt idx="1754">
                  <c:v>9.1353210000000001E-3</c:v>
                </c:pt>
                <c:pt idx="1755">
                  <c:v>9.1514439999999999E-3</c:v>
                </c:pt>
                <c:pt idx="1756">
                  <c:v>9.2223679999999999E-3</c:v>
                </c:pt>
                <c:pt idx="1757">
                  <c:v>9.2934609999999994E-3</c:v>
                </c:pt>
                <c:pt idx="1758">
                  <c:v>9.3244339999999995E-3</c:v>
                </c:pt>
                <c:pt idx="1759">
                  <c:v>9.4190320000000008E-3</c:v>
                </c:pt>
                <c:pt idx="1760">
                  <c:v>9.4531170000000005E-3</c:v>
                </c:pt>
                <c:pt idx="1761">
                  <c:v>9.4577110000000006E-3</c:v>
                </c:pt>
                <c:pt idx="1762">
                  <c:v>9.4544690000000001E-3</c:v>
                </c:pt>
                <c:pt idx="1763">
                  <c:v>9.4897699999999998E-3</c:v>
                </c:pt>
                <c:pt idx="1764">
                  <c:v>9.4945719999999997E-3</c:v>
                </c:pt>
                <c:pt idx="1765">
                  <c:v>9.4038170000000001E-3</c:v>
                </c:pt>
                <c:pt idx="1766">
                  <c:v>9.3564640000000001E-3</c:v>
                </c:pt>
                <c:pt idx="1767">
                  <c:v>9.3306870000000007E-3</c:v>
                </c:pt>
                <c:pt idx="1768">
                  <c:v>9.3778239999999999E-3</c:v>
                </c:pt>
                <c:pt idx="1769">
                  <c:v>9.4378459999999997E-3</c:v>
                </c:pt>
                <c:pt idx="1770">
                  <c:v>9.4536749999999999E-3</c:v>
                </c:pt>
                <c:pt idx="1771">
                  <c:v>9.4644940000000004E-3</c:v>
                </c:pt>
                <c:pt idx="1772">
                  <c:v>9.5287199999999992E-3</c:v>
                </c:pt>
                <c:pt idx="1773">
                  <c:v>9.5433370000000007E-3</c:v>
                </c:pt>
                <c:pt idx="1774">
                  <c:v>9.5513000000000004E-3</c:v>
                </c:pt>
                <c:pt idx="1775">
                  <c:v>9.5963060000000006E-3</c:v>
                </c:pt>
                <c:pt idx="1776">
                  <c:v>9.7205950000000003E-3</c:v>
                </c:pt>
                <c:pt idx="1777">
                  <c:v>9.7580570000000005E-3</c:v>
                </c:pt>
                <c:pt idx="1778">
                  <c:v>9.783201E-3</c:v>
                </c:pt>
                <c:pt idx="1779">
                  <c:v>9.8409450000000002E-3</c:v>
                </c:pt>
                <c:pt idx="1780">
                  <c:v>9.9010520000000005E-3</c:v>
                </c:pt>
                <c:pt idx="1781">
                  <c:v>9.9038589999999992E-3</c:v>
                </c:pt>
                <c:pt idx="1782">
                  <c:v>9.8855030000000003E-3</c:v>
                </c:pt>
                <c:pt idx="1783">
                  <c:v>9.8214549999999998E-3</c:v>
                </c:pt>
                <c:pt idx="1784">
                  <c:v>9.8228220000000002E-3</c:v>
                </c:pt>
                <c:pt idx="1785">
                  <c:v>9.8446039999999999E-3</c:v>
                </c:pt>
                <c:pt idx="1786">
                  <c:v>9.8185159999999994E-3</c:v>
                </c:pt>
                <c:pt idx="1787">
                  <c:v>9.8109270000000005E-3</c:v>
                </c:pt>
                <c:pt idx="1788">
                  <c:v>9.8277680000000006E-3</c:v>
                </c:pt>
                <c:pt idx="1789">
                  <c:v>9.7696450000000004E-3</c:v>
                </c:pt>
                <c:pt idx="1790">
                  <c:v>9.758915E-3</c:v>
                </c:pt>
                <c:pt idx="1791">
                  <c:v>9.6668780000000003E-3</c:v>
                </c:pt>
                <c:pt idx="1792">
                  <c:v>9.5976859999999994E-3</c:v>
                </c:pt>
                <c:pt idx="1793">
                  <c:v>9.4634009999999998E-3</c:v>
                </c:pt>
                <c:pt idx="1794">
                  <c:v>9.3282750000000005E-3</c:v>
                </c:pt>
                <c:pt idx="1795">
                  <c:v>9.2998950000000007E-3</c:v>
                </c:pt>
                <c:pt idx="1796">
                  <c:v>9.2614259999999997E-3</c:v>
                </c:pt>
                <c:pt idx="1797">
                  <c:v>9.2555120000000005E-3</c:v>
                </c:pt>
                <c:pt idx="1798">
                  <c:v>9.1898129999999998E-3</c:v>
                </c:pt>
                <c:pt idx="1799">
                  <c:v>9.1336950000000007E-3</c:v>
                </c:pt>
                <c:pt idx="1800">
                  <c:v>9.0609880000000007E-3</c:v>
                </c:pt>
                <c:pt idx="1801">
                  <c:v>8.9946599999999998E-3</c:v>
                </c:pt>
                <c:pt idx="1802">
                  <c:v>8.9256100000000005E-3</c:v>
                </c:pt>
                <c:pt idx="1803">
                  <c:v>8.8849240000000006E-3</c:v>
                </c:pt>
                <c:pt idx="1804">
                  <c:v>8.8261139999999995E-3</c:v>
                </c:pt>
                <c:pt idx="1805">
                  <c:v>8.7909900000000003E-3</c:v>
                </c:pt>
                <c:pt idx="1806">
                  <c:v>8.6270010000000005E-3</c:v>
                </c:pt>
                <c:pt idx="1807">
                  <c:v>8.5379219999999999E-3</c:v>
                </c:pt>
                <c:pt idx="1808">
                  <c:v>8.4981899999999992E-3</c:v>
                </c:pt>
                <c:pt idx="1809">
                  <c:v>8.4456229999999993E-3</c:v>
                </c:pt>
                <c:pt idx="1810">
                  <c:v>8.3842529999999995E-3</c:v>
                </c:pt>
                <c:pt idx="1811">
                  <c:v>8.3212860000000007E-3</c:v>
                </c:pt>
                <c:pt idx="1812">
                  <c:v>8.2987149999999999E-3</c:v>
                </c:pt>
                <c:pt idx="1813">
                  <c:v>8.2912279999999994E-3</c:v>
                </c:pt>
                <c:pt idx="1814">
                  <c:v>8.2916129999999998E-3</c:v>
                </c:pt>
                <c:pt idx="1815">
                  <c:v>8.2813839999999993E-3</c:v>
                </c:pt>
                <c:pt idx="1816">
                  <c:v>8.2260389999999992E-3</c:v>
                </c:pt>
                <c:pt idx="1817">
                  <c:v>8.1974779999999994E-3</c:v>
                </c:pt>
                <c:pt idx="1818">
                  <c:v>8.1946520000000002E-3</c:v>
                </c:pt>
                <c:pt idx="1819">
                  <c:v>8.1356220000000003E-3</c:v>
                </c:pt>
                <c:pt idx="1820">
                  <c:v>8.1046599999999996E-3</c:v>
                </c:pt>
                <c:pt idx="1821">
                  <c:v>8.1095590000000006E-3</c:v>
                </c:pt>
                <c:pt idx="1822">
                  <c:v>8.1375649999999994E-3</c:v>
                </c:pt>
                <c:pt idx="1823">
                  <c:v>8.1524730000000004E-3</c:v>
                </c:pt>
                <c:pt idx="1824">
                  <c:v>8.0855270000000003E-3</c:v>
                </c:pt>
                <c:pt idx="1825">
                  <c:v>8.0418399999999998E-3</c:v>
                </c:pt>
                <c:pt idx="1826">
                  <c:v>8.0802180000000001E-3</c:v>
                </c:pt>
                <c:pt idx="1827">
                  <c:v>8.0699450000000002E-3</c:v>
                </c:pt>
                <c:pt idx="1828">
                  <c:v>8.0129950000000002E-3</c:v>
                </c:pt>
                <c:pt idx="1829">
                  <c:v>7.9594780000000007E-3</c:v>
                </c:pt>
                <c:pt idx="1830">
                  <c:v>7.8783570000000008E-3</c:v>
                </c:pt>
                <c:pt idx="1831">
                  <c:v>7.8193429999999994E-3</c:v>
                </c:pt>
                <c:pt idx="1832">
                  <c:v>7.6978070000000001E-3</c:v>
                </c:pt>
                <c:pt idx="1833">
                  <c:v>7.6030630000000002E-3</c:v>
                </c:pt>
                <c:pt idx="1834">
                  <c:v>7.5441299999999996E-3</c:v>
                </c:pt>
                <c:pt idx="1835">
                  <c:v>7.4745519999999998E-3</c:v>
                </c:pt>
                <c:pt idx="1836">
                  <c:v>7.3374269999999997E-3</c:v>
                </c:pt>
                <c:pt idx="1837">
                  <c:v>7.2649120000000001E-3</c:v>
                </c:pt>
                <c:pt idx="1838">
                  <c:v>7.1784819999999999E-3</c:v>
                </c:pt>
                <c:pt idx="1839">
                  <c:v>7.0838469999999999E-3</c:v>
                </c:pt>
                <c:pt idx="1840">
                  <c:v>6.9962619999999996E-3</c:v>
                </c:pt>
                <c:pt idx="1841">
                  <c:v>6.9285960000000004E-3</c:v>
                </c:pt>
                <c:pt idx="1842">
                  <c:v>6.8734679999999998E-3</c:v>
                </c:pt>
                <c:pt idx="1843">
                  <c:v>6.8731169999999998E-3</c:v>
                </c:pt>
                <c:pt idx="1844">
                  <c:v>6.8309590000000002E-3</c:v>
                </c:pt>
                <c:pt idx="1845">
                  <c:v>6.7983360000000003E-3</c:v>
                </c:pt>
                <c:pt idx="1846">
                  <c:v>6.755128E-3</c:v>
                </c:pt>
                <c:pt idx="1847">
                  <c:v>6.7118999999999998E-3</c:v>
                </c:pt>
                <c:pt idx="1848">
                  <c:v>6.7108009999999997E-3</c:v>
                </c:pt>
                <c:pt idx="1849">
                  <c:v>6.7116370000000003E-3</c:v>
                </c:pt>
                <c:pt idx="1850">
                  <c:v>6.676123E-3</c:v>
                </c:pt>
                <c:pt idx="1851">
                  <c:v>6.6130759999999999E-3</c:v>
                </c:pt>
                <c:pt idx="1852">
                  <c:v>6.5583890000000004E-3</c:v>
                </c:pt>
                <c:pt idx="1853">
                  <c:v>6.5191590000000001E-3</c:v>
                </c:pt>
                <c:pt idx="1854">
                  <c:v>6.4568890000000004E-3</c:v>
                </c:pt>
                <c:pt idx="1855">
                  <c:v>6.3505439999999996E-3</c:v>
                </c:pt>
                <c:pt idx="1856">
                  <c:v>6.3093020000000001E-3</c:v>
                </c:pt>
                <c:pt idx="1857">
                  <c:v>6.2735120000000002E-3</c:v>
                </c:pt>
                <c:pt idx="1858">
                  <c:v>6.248066E-3</c:v>
                </c:pt>
                <c:pt idx="1859">
                  <c:v>6.1925749999999996E-3</c:v>
                </c:pt>
                <c:pt idx="1860">
                  <c:v>6.1677659999999999E-3</c:v>
                </c:pt>
                <c:pt idx="1861">
                  <c:v>6.1736439999999998E-3</c:v>
                </c:pt>
                <c:pt idx="1862">
                  <c:v>6.1520580000000002E-3</c:v>
                </c:pt>
                <c:pt idx="1863">
                  <c:v>6.1261950000000001E-3</c:v>
                </c:pt>
                <c:pt idx="1864">
                  <c:v>6.1044860000000001E-3</c:v>
                </c:pt>
                <c:pt idx="1865">
                  <c:v>6.0886890000000004E-3</c:v>
                </c:pt>
                <c:pt idx="1866">
                  <c:v>6.0389119999999996E-3</c:v>
                </c:pt>
                <c:pt idx="1867">
                  <c:v>6.1796100000000003E-3</c:v>
                </c:pt>
                <c:pt idx="1868">
                  <c:v>6.2135760000000002E-3</c:v>
                </c:pt>
                <c:pt idx="1869">
                  <c:v>6.2244759999999996E-3</c:v>
                </c:pt>
                <c:pt idx="1870">
                  <c:v>6.2461060000000004E-3</c:v>
                </c:pt>
                <c:pt idx="1871">
                  <c:v>6.2648570000000004E-3</c:v>
                </c:pt>
                <c:pt idx="1872">
                  <c:v>6.3253820000000001E-3</c:v>
                </c:pt>
                <c:pt idx="1873">
                  <c:v>6.3460290000000004E-3</c:v>
                </c:pt>
                <c:pt idx="1874">
                  <c:v>6.346511E-3</c:v>
                </c:pt>
                <c:pt idx="1875">
                  <c:v>6.3570400000000004E-3</c:v>
                </c:pt>
                <c:pt idx="1876">
                  <c:v>6.3917319999999998E-3</c:v>
                </c:pt>
                <c:pt idx="1877">
                  <c:v>6.3857510000000003E-3</c:v>
                </c:pt>
                <c:pt idx="1878">
                  <c:v>6.3702259999999997E-3</c:v>
                </c:pt>
                <c:pt idx="1879">
                  <c:v>6.333249E-3</c:v>
                </c:pt>
                <c:pt idx="1880">
                  <c:v>6.3112109999999997E-3</c:v>
                </c:pt>
                <c:pt idx="1881">
                  <c:v>6.3578949999999997E-3</c:v>
                </c:pt>
                <c:pt idx="1882">
                  <c:v>6.370901E-3</c:v>
                </c:pt>
                <c:pt idx="1883">
                  <c:v>6.2842779999999999E-3</c:v>
                </c:pt>
                <c:pt idx="1884">
                  <c:v>6.2715119999999999E-3</c:v>
                </c:pt>
                <c:pt idx="1885">
                  <c:v>6.284871E-3</c:v>
                </c:pt>
                <c:pt idx="1886">
                  <c:v>6.2385799999999996E-3</c:v>
                </c:pt>
                <c:pt idx="1887">
                  <c:v>6.2431470000000001E-3</c:v>
                </c:pt>
                <c:pt idx="1888">
                  <c:v>6.2074720000000003E-3</c:v>
                </c:pt>
                <c:pt idx="1889">
                  <c:v>6.2017440000000004E-3</c:v>
                </c:pt>
                <c:pt idx="1890">
                  <c:v>6.1820390000000003E-3</c:v>
                </c:pt>
                <c:pt idx="1891">
                  <c:v>6.1983519999999999E-3</c:v>
                </c:pt>
                <c:pt idx="1892">
                  <c:v>6.1899579999999997E-3</c:v>
                </c:pt>
                <c:pt idx="1893">
                  <c:v>6.1975550000000004E-3</c:v>
                </c:pt>
                <c:pt idx="1894">
                  <c:v>6.2115590000000002E-3</c:v>
                </c:pt>
                <c:pt idx="1895">
                  <c:v>6.242966E-3</c:v>
                </c:pt>
                <c:pt idx="1896">
                  <c:v>6.2690819999999996E-3</c:v>
                </c:pt>
                <c:pt idx="1897">
                  <c:v>6.2869390000000001E-3</c:v>
                </c:pt>
                <c:pt idx="1898">
                  <c:v>6.2762260000000002E-3</c:v>
                </c:pt>
                <c:pt idx="1899">
                  <c:v>6.2800540000000002E-3</c:v>
                </c:pt>
                <c:pt idx="1900">
                  <c:v>6.2985929999999999E-3</c:v>
                </c:pt>
                <c:pt idx="1901">
                  <c:v>6.3571490000000003E-3</c:v>
                </c:pt>
                <c:pt idx="1902">
                  <c:v>6.392783E-3</c:v>
                </c:pt>
                <c:pt idx="1903">
                  <c:v>6.3954629999999997E-3</c:v>
                </c:pt>
                <c:pt idx="1904">
                  <c:v>6.4044180000000003E-3</c:v>
                </c:pt>
                <c:pt idx="1905">
                  <c:v>6.4050899999999996E-3</c:v>
                </c:pt>
                <c:pt idx="1906">
                  <c:v>6.4123899999999996E-3</c:v>
                </c:pt>
                <c:pt idx="1907">
                  <c:v>6.4041430000000002E-3</c:v>
                </c:pt>
                <c:pt idx="1908">
                  <c:v>6.3868479999999997E-3</c:v>
                </c:pt>
                <c:pt idx="1909">
                  <c:v>6.3780499999999997E-3</c:v>
                </c:pt>
                <c:pt idx="1910">
                  <c:v>6.3677070000000002E-3</c:v>
                </c:pt>
                <c:pt idx="1911">
                  <c:v>6.3815629999999998E-3</c:v>
                </c:pt>
                <c:pt idx="1912">
                  <c:v>6.3953869999999998E-3</c:v>
                </c:pt>
                <c:pt idx="1913">
                  <c:v>6.4018319999999997E-3</c:v>
                </c:pt>
                <c:pt idx="1914">
                  <c:v>6.3768710000000001E-3</c:v>
                </c:pt>
                <c:pt idx="1915">
                  <c:v>6.3771640000000003E-3</c:v>
                </c:pt>
                <c:pt idx="1916">
                  <c:v>6.3518469999999999E-3</c:v>
                </c:pt>
                <c:pt idx="1917">
                  <c:v>6.3495160000000004E-3</c:v>
                </c:pt>
                <c:pt idx="1918">
                  <c:v>6.3168180000000001E-3</c:v>
                </c:pt>
                <c:pt idx="1919">
                  <c:v>6.3015199999999997E-3</c:v>
                </c:pt>
                <c:pt idx="1920">
                  <c:v>6.2978050000000001E-3</c:v>
                </c:pt>
                <c:pt idx="1921">
                  <c:v>6.2735940000000004E-3</c:v>
                </c:pt>
                <c:pt idx="1922">
                  <c:v>6.2979910000000002E-3</c:v>
                </c:pt>
                <c:pt idx="1923">
                  <c:v>6.3044609999999999E-3</c:v>
                </c:pt>
                <c:pt idx="1924">
                  <c:v>6.305036E-3</c:v>
                </c:pt>
                <c:pt idx="1925">
                  <c:v>6.4478740000000001E-3</c:v>
                </c:pt>
                <c:pt idx="1926">
                  <c:v>6.4954799999999997E-3</c:v>
                </c:pt>
                <c:pt idx="1927">
                  <c:v>6.4497490000000003E-3</c:v>
                </c:pt>
                <c:pt idx="1928">
                  <c:v>6.4876839999999996E-3</c:v>
                </c:pt>
                <c:pt idx="1929">
                  <c:v>6.5081360000000003E-3</c:v>
                </c:pt>
                <c:pt idx="1930">
                  <c:v>6.5156010000000002E-3</c:v>
                </c:pt>
                <c:pt idx="1931">
                  <c:v>6.5266209999999998E-3</c:v>
                </c:pt>
                <c:pt idx="1932">
                  <c:v>6.6759769999999996E-3</c:v>
                </c:pt>
                <c:pt idx="1933">
                  <c:v>6.8042140000000003E-3</c:v>
                </c:pt>
                <c:pt idx="1934">
                  <c:v>6.9499480000000001E-3</c:v>
                </c:pt>
                <c:pt idx="1935">
                  <c:v>7.029843E-3</c:v>
                </c:pt>
                <c:pt idx="1936">
                  <c:v>7.0849880000000004E-3</c:v>
                </c:pt>
                <c:pt idx="1937">
                  <c:v>7.1522699999999996E-3</c:v>
                </c:pt>
                <c:pt idx="1938">
                  <c:v>7.2006149999999996E-3</c:v>
                </c:pt>
                <c:pt idx="1939">
                  <c:v>7.3854910000000001E-3</c:v>
                </c:pt>
                <c:pt idx="1940">
                  <c:v>7.4998759999999999E-3</c:v>
                </c:pt>
                <c:pt idx="1941">
                  <c:v>7.5423449999999998E-3</c:v>
                </c:pt>
                <c:pt idx="1942">
                  <c:v>7.5627159999999997E-3</c:v>
                </c:pt>
                <c:pt idx="1943">
                  <c:v>7.7307280000000001E-3</c:v>
                </c:pt>
                <c:pt idx="1944">
                  <c:v>7.9098469999999994E-3</c:v>
                </c:pt>
                <c:pt idx="1945">
                  <c:v>8.0054640000000003E-3</c:v>
                </c:pt>
                <c:pt idx="1946">
                  <c:v>8.0929320000000006E-3</c:v>
                </c:pt>
                <c:pt idx="1947">
                  <c:v>8.1758100000000004E-3</c:v>
                </c:pt>
                <c:pt idx="1948">
                  <c:v>8.2793620000000002E-3</c:v>
                </c:pt>
                <c:pt idx="1949">
                  <c:v>8.3944420000000002E-3</c:v>
                </c:pt>
                <c:pt idx="1950">
                  <c:v>8.5616679999999997E-3</c:v>
                </c:pt>
                <c:pt idx="1951">
                  <c:v>8.6731489999999998E-3</c:v>
                </c:pt>
                <c:pt idx="1952">
                  <c:v>8.8188580000000006E-3</c:v>
                </c:pt>
                <c:pt idx="1953">
                  <c:v>8.9107839999999997E-3</c:v>
                </c:pt>
                <c:pt idx="1954">
                  <c:v>9.0213440000000006E-3</c:v>
                </c:pt>
                <c:pt idx="1955">
                  <c:v>9.1523990000000003E-3</c:v>
                </c:pt>
                <c:pt idx="1956">
                  <c:v>9.3455440000000008E-3</c:v>
                </c:pt>
                <c:pt idx="1957">
                  <c:v>9.4475170000000008E-3</c:v>
                </c:pt>
                <c:pt idx="1958">
                  <c:v>9.6903370000000003E-3</c:v>
                </c:pt>
                <c:pt idx="1959">
                  <c:v>9.7554589999999993E-3</c:v>
                </c:pt>
                <c:pt idx="1960">
                  <c:v>9.9216470000000005E-3</c:v>
                </c:pt>
                <c:pt idx="1961">
                  <c:v>1.0069241E-2</c:v>
                </c:pt>
                <c:pt idx="1962">
                  <c:v>1.0241037E-2</c:v>
                </c:pt>
                <c:pt idx="1963">
                  <c:v>1.0393776E-2</c:v>
                </c:pt>
                <c:pt idx="1964">
                  <c:v>1.0576703E-2</c:v>
                </c:pt>
                <c:pt idx="1965">
                  <c:v>1.083814E-2</c:v>
                </c:pt>
                <c:pt idx="1966">
                  <c:v>1.1066660000000001E-2</c:v>
                </c:pt>
                <c:pt idx="1967">
                  <c:v>1.121551E-2</c:v>
                </c:pt>
                <c:pt idx="1968">
                  <c:v>1.138671E-2</c:v>
                </c:pt>
                <c:pt idx="1969">
                  <c:v>1.1517108999999999E-2</c:v>
                </c:pt>
                <c:pt idx="1970">
                  <c:v>1.1660551E-2</c:v>
                </c:pt>
                <c:pt idx="1971">
                  <c:v>1.1800158999999999E-2</c:v>
                </c:pt>
                <c:pt idx="1972">
                  <c:v>1.1919077E-2</c:v>
                </c:pt>
                <c:pt idx="1973">
                  <c:v>1.213157E-2</c:v>
                </c:pt>
                <c:pt idx="1974">
                  <c:v>1.2235948E-2</c:v>
                </c:pt>
                <c:pt idx="1975">
                  <c:v>1.2305006E-2</c:v>
                </c:pt>
                <c:pt idx="1976">
                  <c:v>1.2482887999999999E-2</c:v>
                </c:pt>
                <c:pt idx="1977">
                  <c:v>1.2596822000000001E-2</c:v>
                </c:pt>
                <c:pt idx="1978">
                  <c:v>1.2794824999999999E-2</c:v>
                </c:pt>
                <c:pt idx="1979">
                  <c:v>1.2931234999999999E-2</c:v>
                </c:pt>
                <c:pt idx="1980">
                  <c:v>1.3176811E-2</c:v>
                </c:pt>
                <c:pt idx="1981">
                  <c:v>1.3361908E-2</c:v>
                </c:pt>
                <c:pt idx="1982">
                  <c:v>1.3546423E-2</c:v>
                </c:pt>
                <c:pt idx="1983">
                  <c:v>1.3694494E-2</c:v>
                </c:pt>
                <c:pt idx="1984">
                  <c:v>1.3761637E-2</c:v>
                </c:pt>
                <c:pt idx="1985">
                  <c:v>1.3664008E-2</c:v>
                </c:pt>
                <c:pt idx="1986">
                  <c:v>1.3734415999999999E-2</c:v>
                </c:pt>
                <c:pt idx="1987">
                  <c:v>1.3680955E-2</c:v>
                </c:pt>
                <c:pt idx="1988">
                  <c:v>1.3614075E-2</c:v>
                </c:pt>
                <c:pt idx="1989">
                  <c:v>1.3722352E-2</c:v>
                </c:pt>
                <c:pt idx="1990">
                  <c:v>1.3769175999999999E-2</c:v>
                </c:pt>
                <c:pt idx="1991">
                  <c:v>1.3809592000000001E-2</c:v>
                </c:pt>
                <c:pt idx="1992">
                  <c:v>1.3771106999999999E-2</c:v>
                </c:pt>
                <c:pt idx="1993">
                  <c:v>1.3705940999999999E-2</c:v>
                </c:pt>
                <c:pt idx="1994">
                  <c:v>1.3626654E-2</c:v>
                </c:pt>
                <c:pt idx="1995">
                  <c:v>1.3611167E-2</c:v>
                </c:pt>
                <c:pt idx="1996">
                  <c:v>1.3625224999999999E-2</c:v>
                </c:pt>
                <c:pt idx="1997">
                  <c:v>1.361916E-2</c:v>
                </c:pt>
                <c:pt idx="1998">
                  <c:v>1.3746349E-2</c:v>
                </c:pt>
                <c:pt idx="1999">
                  <c:v>1.3650717E-2</c:v>
                </c:pt>
                <c:pt idx="2000">
                  <c:v>1.3600437999999999E-2</c:v>
                </c:pt>
                <c:pt idx="2001">
                  <c:v>1.3577169E-2</c:v>
                </c:pt>
                <c:pt idx="2002">
                  <c:v>1.3534770999999999E-2</c:v>
                </c:pt>
                <c:pt idx="2003">
                  <c:v>1.3456212E-2</c:v>
                </c:pt>
                <c:pt idx="2004">
                  <c:v>1.3330612E-2</c:v>
                </c:pt>
                <c:pt idx="2005">
                  <c:v>1.3247546000000001E-2</c:v>
                </c:pt>
                <c:pt idx="2006">
                  <c:v>1.3164802E-2</c:v>
                </c:pt>
                <c:pt idx="2007">
                  <c:v>1.3090174E-2</c:v>
                </c:pt>
                <c:pt idx="2008">
                  <c:v>1.3033428E-2</c:v>
                </c:pt>
                <c:pt idx="2009">
                  <c:v>1.2991028999999999E-2</c:v>
                </c:pt>
                <c:pt idx="2010">
                  <c:v>1.2855910999999999E-2</c:v>
                </c:pt>
                <c:pt idx="2011">
                  <c:v>1.272714E-2</c:v>
                </c:pt>
                <c:pt idx="2012">
                  <c:v>1.2707787999999999E-2</c:v>
                </c:pt>
                <c:pt idx="2013">
                  <c:v>1.2692648000000001E-2</c:v>
                </c:pt>
                <c:pt idx="2014">
                  <c:v>1.2655105E-2</c:v>
                </c:pt>
                <c:pt idx="2015">
                  <c:v>1.2602197000000001E-2</c:v>
                </c:pt>
                <c:pt idx="2016">
                  <c:v>1.2457866999999999E-2</c:v>
                </c:pt>
                <c:pt idx="2017">
                  <c:v>1.2376168999999999E-2</c:v>
                </c:pt>
                <c:pt idx="2018">
                  <c:v>1.2189344E-2</c:v>
                </c:pt>
                <c:pt idx="2019">
                  <c:v>1.2204903E-2</c:v>
                </c:pt>
                <c:pt idx="2020">
                  <c:v>1.2097052E-2</c:v>
                </c:pt>
                <c:pt idx="2021">
                  <c:v>1.1949848000000001E-2</c:v>
                </c:pt>
                <c:pt idx="2022">
                  <c:v>1.1827022E-2</c:v>
                </c:pt>
                <c:pt idx="2023">
                  <c:v>1.1715984E-2</c:v>
                </c:pt>
                <c:pt idx="2024">
                  <c:v>1.1550962E-2</c:v>
                </c:pt>
                <c:pt idx="2025">
                  <c:v>1.1340051E-2</c:v>
                </c:pt>
                <c:pt idx="2026">
                  <c:v>1.1164768E-2</c:v>
                </c:pt>
                <c:pt idx="2027">
                  <c:v>1.1045989000000001E-2</c:v>
                </c:pt>
                <c:pt idx="2028">
                  <c:v>1.0960427E-2</c:v>
                </c:pt>
                <c:pt idx="2029">
                  <c:v>1.0945718E-2</c:v>
                </c:pt>
                <c:pt idx="2030">
                  <c:v>1.0962833E-2</c:v>
                </c:pt>
                <c:pt idx="2031">
                  <c:v>1.0932335E-2</c:v>
                </c:pt>
                <c:pt idx="2032">
                  <c:v>1.0918219999999999E-2</c:v>
                </c:pt>
                <c:pt idx="2033">
                  <c:v>1.0853365E-2</c:v>
                </c:pt>
                <c:pt idx="2034">
                  <c:v>1.0835345999999999E-2</c:v>
                </c:pt>
                <c:pt idx="2035">
                  <c:v>1.0848416E-2</c:v>
                </c:pt>
                <c:pt idx="2036">
                  <c:v>1.0836632000000001E-2</c:v>
                </c:pt>
                <c:pt idx="2037">
                  <c:v>1.0848953E-2</c:v>
                </c:pt>
                <c:pt idx="2038">
                  <c:v>1.0767386E-2</c:v>
                </c:pt>
                <c:pt idx="2039">
                  <c:v>1.0700137E-2</c:v>
                </c:pt>
                <c:pt idx="2040">
                  <c:v>1.0519242999999999E-2</c:v>
                </c:pt>
                <c:pt idx="2041">
                  <c:v>1.0425891E-2</c:v>
                </c:pt>
                <c:pt idx="2042">
                  <c:v>1.0255376E-2</c:v>
                </c:pt>
                <c:pt idx="2043">
                  <c:v>1.0114908000000001E-2</c:v>
                </c:pt>
                <c:pt idx="2044">
                  <c:v>1.0103598E-2</c:v>
                </c:pt>
                <c:pt idx="2045">
                  <c:v>1.014586E-2</c:v>
                </c:pt>
                <c:pt idx="2046">
                  <c:v>1.0083093E-2</c:v>
                </c:pt>
                <c:pt idx="2047">
                  <c:v>1.0047179999999999E-2</c:v>
                </c:pt>
                <c:pt idx="2048">
                  <c:v>1.003303E-2</c:v>
                </c:pt>
                <c:pt idx="2049">
                  <c:v>9.9182620000000006E-3</c:v>
                </c:pt>
                <c:pt idx="2050">
                  <c:v>9.8935719999999998E-3</c:v>
                </c:pt>
                <c:pt idx="2051">
                  <c:v>9.8982419999999998E-3</c:v>
                </c:pt>
                <c:pt idx="2052">
                  <c:v>9.868244E-3</c:v>
                </c:pt>
                <c:pt idx="2053">
                  <c:v>9.9681739999999998E-3</c:v>
                </c:pt>
                <c:pt idx="2054">
                  <c:v>1.0031429E-2</c:v>
                </c:pt>
                <c:pt idx="2055">
                  <c:v>1.0070882E-2</c:v>
                </c:pt>
                <c:pt idx="2056">
                  <c:v>1.0094166999999999E-2</c:v>
                </c:pt>
                <c:pt idx="2057">
                  <c:v>1.0081791E-2</c:v>
                </c:pt>
                <c:pt idx="2058">
                  <c:v>9.9786419999999994E-3</c:v>
                </c:pt>
                <c:pt idx="2059">
                  <c:v>9.9962769999999996E-3</c:v>
                </c:pt>
                <c:pt idx="2060">
                  <c:v>1.0039983000000001E-2</c:v>
                </c:pt>
                <c:pt idx="2061">
                  <c:v>1.0032352E-2</c:v>
                </c:pt>
                <c:pt idx="2062">
                  <c:v>1.0045726E-2</c:v>
                </c:pt>
                <c:pt idx="2063">
                  <c:v>1.0013474E-2</c:v>
                </c:pt>
                <c:pt idx="2064">
                  <c:v>1.0035706E-2</c:v>
                </c:pt>
                <c:pt idx="2065">
                  <c:v>1.0258672E-2</c:v>
                </c:pt>
                <c:pt idx="2066">
                  <c:v>1.0388448E-2</c:v>
                </c:pt>
                <c:pt idx="2067">
                  <c:v>1.0477167000000001E-2</c:v>
                </c:pt>
                <c:pt idx="2068">
                  <c:v>1.0524565E-2</c:v>
                </c:pt>
                <c:pt idx="2069">
                  <c:v>1.0541089999999999E-2</c:v>
                </c:pt>
                <c:pt idx="2070">
                  <c:v>1.0565199000000001E-2</c:v>
                </c:pt>
                <c:pt idx="2071">
                  <c:v>1.0626160000000001E-2</c:v>
                </c:pt>
                <c:pt idx="2072">
                  <c:v>1.0544579E-2</c:v>
                </c:pt>
                <c:pt idx="2073">
                  <c:v>1.0568381E-2</c:v>
                </c:pt>
                <c:pt idx="2074">
                  <c:v>1.0576840000000001E-2</c:v>
                </c:pt>
                <c:pt idx="2075">
                  <c:v>1.0568844000000001E-2</c:v>
                </c:pt>
                <c:pt idx="2076">
                  <c:v>1.0531173E-2</c:v>
                </c:pt>
                <c:pt idx="2077">
                  <c:v>1.0544090000000001E-2</c:v>
                </c:pt>
                <c:pt idx="2078">
                  <c:v>1.0557268E-2</c:v>
                </c:pt>
                <c:pt idx="2079">
                  <c:v>1.0508396999999999E-2</c:v>
                </c:pt>
                <c:pt idx="2080">
                  <c:v>1.0496688000000001E-2</c:v>
                </c:pt>
                <c:pt idx="2081">
                  <c:v>1.0499458E-2</c:v>
                </c:pt>
                <c:pt idx="2082">
                  <c:v>1.0466458999999999E-2</c:v>
                </c:pt>
                <c:pt idx="2083">
                  <c:v>1.049317E-2</c:v>
                </c:pt>
                <c:pt idx="2084">
                  <c:v>1.0543498E-2</c:v>
                </c:pt>
                <c:pt idx="2085">
                  <c:v>1.0525968E-2</c:v>
                </c:pt>
                <c:pt idx="2086">
                  <c:v>1.0536080999999999E-2</c:v>
                </c:pt>
                <c:pt idx="2087">
                  <c:v>1.067134E-2</c:v>
                </c:pt>
                <c:pt idx="2088">
                  <c:v>1.0675814E-2</c:v>
                </c:pt>
                <c:pt idx="2089">
                  <c:v>1.0651549E-2</c:v>
                </c:pt>
                <c:pt idx="2090">
                  <c:v>1.0564311E-2</c:v>
                </c:pt>
                <c:pt idx="2091">
                  <c:v>1.0711737000000001E-2</c:v>
                </c:pt>
                <c:pt idx="2092">
                  <c:v>1.0713977E-2</c:v>
                </c:pt>
                <c:pt idx="2093">
                  <c:v>1.0688768E-2</c:v>
                </c:pt>
                <c:pt idx="2094">
                  <c:v>1.0686655E-2</c:v>
                </c:pt>
                <c:pt idx="2095">
                  <c:v>1.0663427E-2</c:v>
                </c:pt>
                <c:pt idx="2096">
                  <c:v>1.0613493E-2</c:v>
                </c:pt>
                <c:pt idx="2097">
                  <c:v>1.0592084E-2</c:v>
                </c:pt>
                <c:pt idx="2098">
                  <c:v>1.0576309000000001E-2</c:v>
                </c:pt>
                <c:pt idx="2099">
                  <c:v>1.0638999999999999E-2</c:v>
                </c:pt>
                <c:pt idx="2100">
                  <c:v>1.0649517000000001E-2</c:v>
                </c:pt>
                <c:pt idx="2101">
                  <c:v>1.0670097999999999E-2</c:v>
                </c:pt>
                <c:pt idx="2102">
                  <c:v>1.0766008000000001E-2</c:v>
                </c:pt>
                <c:pt idx="2103">
                  <c:v>1.0841599E-2</c:v>
                </c:pt>
                <c:pt idx="2104">
                  <c:v>1.0875054E-2</c:v>
                </c:pt>
                <c:pt idx="2105">
                  <c:v>1.0840836E-2</c:v>
                </c:pt>
                <c:pt idx="2106">
                  <c:v>1.0881742999999999E-2</c:v>
                </c:pt>
                <c:pt idx="2107">
                  <c:v>1.1197359E-2</c:v>
                </c:pt>
                <c:pt idx="2108">
                  <c:v>1.1495526000000001E-2</c:v>
                </c:pt>
                <c:pt idx="2109">
                  <c:v>1.1794571E-2</c:v>
                </c:pt>
                <c:pt idx="2110">
                  <c:v>1.2045907999999999E-2</c:v>
                </c:pt>
                <c:pt idx="2111">
                  <c:v>1.2164067000000001E-2</c:v>
                </c:pt>
                <c:pt idx="2112">
                  <c:v>1.2213445999999999E-2</c:v>
                </c:pt>
                <c:pt idx="2113">
                  <c:v>1.2190876E-2</c:v>
                </c:pt>
                <c:pt idx="2114">
                  <c:v>1.2175544999999999E-2</c:v>
                </c:pt>
                <c:pt idx="2115">
                  <c:v>1.2189225999999999E-2</c:v>
                </c:pt>
                <c:pt idx="2116">
                  <c:v>1.2245473999999999E-2</c:v>
                </c:pt>
                <c:pt idx="2117">
                  <c:v>1.2328743E-2</c:v>
                </c:pt>
                <c:pt idx="2118">
                  <c:v>1.2385251E-2</c:v>
                </c:pt>
                <c:pt idx="2119">
                  <c:v>1.2379196E-2</c:v>
                </c:pt>
                <c:pt idx="2120">
                  <c:v>1.2345238999999999E-2</c:v>
                </c:pt>
                <c:pt idx="2121">
                  <c:v>1.2410473999999999E-2</c:v>
                </c:pt>
                <c:pt idx="2122">
                  <c:v>1.2452249E-2</c:v>
                </c:pt>
                <c:pt idx="2123">
                  <c:v>1.2562101000000001E-2</c:v>
                </c:pt>
                <c:pt idx="2124">
                  <c:v>1.2636947000000001E-2</c:v>
                </c:pt>
                <c:pt idx="2125">
                  <c:v>1.2528424999999999E-2</c:v>
                </c:pt>
                <c:pt idx="2126">
                  <c:v>1.2487691E-2</c:v>
                </c:pt>
                <c:pt idx="2127">
                  <c:v>1.2498939000000001E-2</c:v>
                </c:pt>
                <c:pt idx="2128">
                  <c:v>1.2483589999999999E-2</c:v>
                </c:pt>
                <c:pt idx="2129">
                  <c:v>1.2454534999999999E-2</c:v>
                </c:pt>
                <c:pt idx="2130">
                  <c:v>1.2505146999999999E-2</c:v>
                </c:pt>
                <c:pt idx="2131">
                  <c:v>1.2524667E-2</c:v>
                </c:pt>
                <c:pt idx="2132">
                  <c:v>1.2599393E-2</c:v>
                </c:pt>
                <c:pt idx="2133">
                  <c:v>1.256784E-2</c:v>
                </c:pt>
                <c:pt idx="2134">
                  <c:v>1.2584138999999999E-2</c:v>
                </c:pt>
                <c:pt idx="2135">
                  <c:v>1.2565010999999999E-2</c:v>
                </c:pt>
                <c:pt idx="2136">
                  <c:v>1.2730966999999999E-2</c:v>
                </c:pt>
                <c:pt idx="2137">
                  <c:v>1.2836836000000001E-2</c:v>
                </c:pt>
                <c:pt idx="2138">
                  <c:v>1.2911054E-2</c:v>
                </c:pt>
                <c:pt idx="2139">
                  <c:v>1.2952831E-2</c:v>
                </c:pt>
                <c:pt idx="2140">
                  <c:v>1.2933269000000001E-2</c:v>
                </c:pt>
                <c:pt idx="2141">
                  <c:v>1.2940899E-2</c:v>
                </c:pt>
                <c:pt idx="2142">
                  <c:v>1.2962757E-2</c:v>
                </c:pt>
                <c:pt idx="2143">
                  <c:v>1.2909844E-2</c:v>
                </c:pt>
                <c:pt idx="2144">
                  <c:v>1.2862218999999999E-2</c:v>
                </c:pt>
                <c:pt idx="2145">
                  <c:v>1.2844899999999999E-2</c:v>
                </c:pt>
                <c:pt idx="2146">
                  <c:v>1.2811876E-2</c:v>
                </c:pt>
                <c:pt idx="2147">
                  <c:v>1.2709527999999999E-2</c:v>
                </c:pt>
                <c:pt idx="2148">
                  <c:v>1.2654532E-2</c:v>
                </c:pt>
                <c:pt idx="2149">
                  <c:v>1.2681021000000001E-2</c:v>
                </c:pt>
                <c:pt idx="2150">
                  <c:v>1.2825216E-2</c:v>
                </c:pt>
                <c:pt idx="2151">
                  <c:v>1.2690188999999999E-2</c:v>
                </c:pt>
                <c:pt idx="2152">
                  <c:v>1.2673494E-2</c:v>
                </c:pt>
                <c:pt idx="2153">
                  <c:v>1.2682442E-2</c:v>
                </c:pt>
                <c:pt idx="2154">
                  <c:v>1.2719098E-2</c:v>
                </c:pt>
                <c:pt idx="2155">
                  <c:v>1.2741799E-2</c:v>
                </c:pt>
                <c:pt idx="2156">
                  <c:v>1.2698983E-2</c:v>
                </c:pt>
                <c:pt idx="2157">
                  <c:v>1.2692887E-2</c:v>
                </c:pt>
                <c:pt idx="2158">
                  <c:v>1.2736618999999999E-2</c:v>
                </c:pt>
                <c:pt idx="2159">
                  <c:v>1.2674227E-2</c:v>
                </c:pt>
                <c:pt idx="2160">
                  <c:v>1.2838064999999999E-2</c:v>
                </c:pt>
                <c:pt idx="2161">
                  <c:v>1.2833542999999999E-2</c:v>
                </c:pt>
                <c:pt idx="2162">
                  <c:v>1.2884542000000001E-2</c:v>
                </c:pt>
                <c:pt idx="2163">
                  <c:v>1.2882876999999999E-2</c:v>
                </c:pt>
                <c:pt idx="2164">
                  <c:v>1.2859227000000001E-2</c:v>
                </c:pt>
                <c:pt idx="2165">
                  <c:v>1.2845560000000001E-2</c:v>
                </c:pt>
                <c:pt idx="2166">
                  <c:v>1.2824436E-2</c:v>
                </c:pt>
                <c:pt idx="2167">
                  <c:v>1.2557316000000001E-2</c:v>
                </c:pt>
                <c:pt idx="2168">
                  <c:v>1.2261737E-2</c:v>
                </c:pt>
                <c:pt idx="2169">
                  <c:v>1.1957814000000001E-2</c:v>
                </c:pt>
                <c:pt idx="2170">
                  <c:v>1.1710629E-2</c:v>
                </c:pt>
                <c:pt idx="2171">
                  <c:v>1.154459E-2</c:v>
                </c:pt>
                <c:pt idx="2172">
                  <c:v>1.1347027000000001E-2</c:v>
                </c:pt>
                <c:pt idx="2173">
                  <c:v>1.1195029E-2</c:v>
                </c:pt>
                <c:pt idx="2174">
                  <c:v>1.1168578E-2</c:v>
                </c:pt>
                <c:pt idx="2175">
                  <c:v>1.1068981E-2</c:v>
                </c:pt>
                <c:pt idx="2176">
                  <c:v>1.0913635E-2</c:v>
                </c:pt>
                <c:pt idx="2177">
                  <c:v>1.0786934E-2</c:v>
                </c:pt>
                <c:pt idx="2178">
                  <c:v>1.0687633E-2</c:v>
                </c:pt>
                <c:pt idx="2179">
                  <c:v>1.0656011999999999E-2</c:v>
                </c:pt>
                <c:pt idx="2180">
                  <c:v>1.0644031E-2</c:v>
                </c:pt>
                <c:pt idx="2181">
                  <c:v>1.0577807999999999E-2</c:v>
                </c:pt>
                <c:pt idx="2182">
                  <c:v>1.0504306E-2</c:v>
                </c:pt>
                <c:pt idx="2183">
                  <c:v>1.0434492E-2</c:v>
                </c:pt>
                <c:pt idx="2184">
                  <c:v>1.0370407E-2</c:v>
                </c:pt>
                <c:pt idx="2185">
                  <c:v>1.0240117E-2</c:v>
                </c:pt>
                <c:pt idx="2186">
                  <c:v>1.0170745E-2</c:v>
                </c:pt>
                <c:pt idx="2187">
                  <c:v>1.0094550000000001E-2</c:v>
                </c:pt>
                <c:pt idx="2188">
                  <c:v>1.0060362999999999E-2</c:v>
                </c:pt>
                <c:pt idx="2189">
                  <c:v>1.0039622E-2</c:v>
                </c:pt>
                <c:pt idx="2190">
                  <c:v>9.9671110000000007E-3</c:v>
                </c:pt>
                <c:pt idx="2191">
                  <c:v>9.8840720000000007E-3</c:v>
                </c:pt>
                <c:pt idx="2192">
                  <c:v>9.7948459999999994E-3</c:v>
                </c:pt>
                <c:pt idx="2193">
                  <c:v>9.7573090000000005E-3</c:v>
                </c:pt>
                <c:pt idx="2194">
                  <c:v>9.6574880000000005E-3</c:v>
                </c:pt>
                <c:pt idx="2195">
                  <c:v>9.6056879999999994E-3</c:v>
                </c:pt>
                <c:pt idx="2196">
                  <c:v>9.4889439999999992E-3</c:v>
                </c:pt>
                <c:pt idx="2197">
                  <c:v>9.378651E-3</c:v>
                </c:pt>
                <c:pt idx="2198">
                  <c:v>9.3068600000000001E-3</c:v>
                </c:pt>
                <c:pt idx="2199">
                  <c:v>9.3270009999999997E-3</c:v>
                </c:pt>
                <c:pt idx="2200">
                  <c:v>9.3371249999999999E-3</c:v>
                </c:pt>
                <c:pt idx="2201">
                  <c:v>9.3158310000000001E-3</c:v>
                </c:pt>
                <c:pt idx="2202">
                  <c:v>9.2724650000000006E-3</c:v>
                </c:pt>
                <c:pt idx="2203">
                  <c:v>9.2685700000000003E-3</c:v>
                </c:pt>
                <c:pt idx="2204">
                  <c:v>9.3383730000000005E-3</c:v>
                </c:pt>
                <c:pt idx="2205">
                  <c:v>9.4796770000000006E-3</c:v>
                </c:pt>
                <c:pt idx="2206">
                  <c:v>9.5424499999999992E-3</c:v>
                </c:pt>
                <c:pt idx="2207">
                  <c:v>9.6464810000000002E-3</c:v>
                </c:pt>
                <c:pt idx="2208">
                  <c:v>9.670962E-3</c:v>
                </c:pt>
                <c:pt idx="2209">
                  <c:v>9.6712020000000003E-3</c:v>
                </c:pt>
                <c:pt idx="2210">
                  <c:v>9.5867869999999994E-3</c:v>
                </c:pt>
                <c:pt idx="2211">
                  <c:v>9.6452880000000001E-3</c:v>
                </c:pt>
                <c:pt idx="2212">
                  <c:v>9.7469940000000001E-3</c:v>
                </c:pt>
                <c:pt idx="2213">
                  <c:v>9.7258759999999996E-3</c:v>
                </c:pt>
                <c:pt idx="2214">
                  <c:v>9.7725499999999996E-3</c:v>
                </c:pt>
                <c:pt idx="2215">
                  <c:v>9.8489340000000002E-3</c:v>
                </c:pt>
                <c:pt idx="2216">
                  <c:v>9.9225029999999992E-3</c:v>
                </c:pt>
                <c:pt idx="2217">
                  <c:v>9.9764180000000008E-3</c:v>
                </c:pt>
                <c:pt idx="2218">
                  <c:v>9.9575110000000005E-3</c:v>
                </c:pt>
                <c:pt idx="2219">
                  <c:v>1.0015969E-2</c:v>
                </c:pt>
                <c:pt idx="2220">
                  <c:v>9.8877530000000009E-3</c:v>
                </c:pt>
                <c:pt idx="2221">
                  <c:v>9.851027E-3</c:v>
                </c:pt>
                <c:pt idx="2222">
                  <c:v>9.7693009999999993E-3</c:v>
                </c:pt>
                <c:pt idx="2223">
                  <c:v>9.7309779999999995E-3</c:v>
                </c:pt>
                <c:pt idx="2224">
                  <c:v>9.7510470000000005E-3</c:v>
                </c:pt>
                <c:pt idx="2225">
                  <c:v>9.7627119999999998E-3</c:v>
                </c:pt>
                <c:pt idx="2226">
                  <c:v>9.7800930000000001E-3</c:v>
                </c:pt>
                <c:pt idx="2227">
                  <c:v>9.7988539999999992E-3</c:v>
                </c:pt>
                <c:pt idx="2228">
                  <c:v>9.827555E-3</c:v>
                </c:pt>
                <c:pt idx="2229">
                  <c:v>9.8350220000000006E-3</c:v>
                </c:pt>
                <c:pt idx="2230">
                  <c:v>9.8214930000000006E-3</c:v>
                </c:pt>
                <c:pt idx="2231">
                  <c:v>9.8504560000000005E-3</c:v>
                </c:pt>
                <c:pt idx="2232">
                  <c:v>9.9094830000000002E-3</c:v>
                </c:pt>
                <c:pt idx="2233">
                  <c:v>1.0059198E-2</c:v>
                </c:pt>
                <c:pt idx="2234">
                  <c:v>1.0140955E-2</c:v>
                </c:pt>
                <c:pt idx="2235">
                  <c:v>1.0224607E-2</c:v>
                </c:pt>
                <c:pt idx="2236">
                  <c:v>1.0250963E-2</c:v>
                </c:pt>
                <c:pt idx="2237">
                  <c:v>1.0321575E-2</c:v>
                </c:pt>
                <c:pt idx="2238">
                  <c:v>1.0377561E-2</c:v>
                </c:pt>
                <c:pt idx="2239">
                  <c:v>1.0379912E-2</c:v>
                </c:pt>
                <c:pt idx="2240">
                  <c:v>1.0370601E-2</c:v>
                </c:pt>
                <c:pt idx="2241">
                  <c:v>1.0378732999999999E-2</c:v>
                </c:pt>
                <c:pt idx="2242">
                  <c:v>1.0444752E-2</c:v>
                </c:pt>
                <c:pt idx="2243">
                  <c:v>1.0412512000000001E-2</c:v>
                </c:pt>
                <c:pt idx="2244">
                  <c:v>1.0506151E-2</c:v>
                </c:pt>
                <c:pt idx="2245">
                  <c:v>1.0559491000000001E-2</c:v>
                </c:pt>
                <c:pt idx="2246">
                  <c:v>1.07476E-2</c:v>
                </c:pt>
                <c:pt idx="2247">
                  <c:v>1.0866730999999999E-2</c:v>
                </c:pt>
                <c:pt idx="2248">
                  <c:v>1.0892057E-2</c:v>
                </c:pt>
                <c:pt idx="2249">
                  <c:v>1.0943398999999999E-2</c:v>
                </c:pt>
                <c:pt idx="2250">
                  <c:v>1.0940963E-2</c:v>
                </c:pt>
                <c:pt idx="2251">
                  <c:v>1.0935831E-2</c:v>
                </c:pt>
                <c:pt idx="2252">
                  <c:v>1.0930087E-2</c:v>
                </c:pt>
                <c:pt idx="2253">
                  <c:v>1.0940587999999999E-2</c:v>
                </c:pt>
                <c:pt idx="2254">
                  <c:v>1.0988738E-2</c:v>
                </c:pt>
                <c:pt idx="2255">
                  <c:v>1.1015478E-2</c:v>
                </c:pt>
                <c:pt idx="2256">
                  <c:v>1.0954281999999999E-2</c:v>
                </c:pt>
                <c:pt idx="2257">
                  <c:v>1.0968421000000001E-2</c:v>
                </c:pt>
                <c:pt idx="2258">
                  <c:v>1.0966679E-2</c:v>
                </c:pt>
                <c:pt idx="2259">
                  <c:v>1.0901973000000001E-2</c:v>
                </c:pt>
                <c:pt idx="2260">
                  <c:v>1.0876851E-2</c:v>
                </c:pt>
                <c:pt idx="2261">
                  <c:v>1.0868951E-2</c:v>
                </c:pt>
                <c:pt idx="2262">
                  <c:v>1.0875721E-2</c:v>
                </c:pt>
                <c:pt idx="2263">
                  <c:v>1.0859522999999999E-2</c:v>
                </c:pt>
                <c:pt idx="2264">
                  <c:v>1.0775931000000001E-2</c:v>
                </c:pt>
                <c:pt idx="2265">
                  <c:v>1.0635103999999999E-2</c:v>
                </c:pt>
                <c:pt idx="2266">
                  <c:v>1.0639651999999999E-2</c:v>
                </c:pt>
                <c:pt idx="2267">
                  <c:v>1.0533047E-2</c:v>
                </c:pt>
                <c:pt idx="2268">
                  <c:v>1.0481351E-2</c:v>
                </c:pt>
                <c:pt idx="2269">
                  <c:v>1.0378431E-2</c:v>
                </c:pt>
                <c:pt idx="2270">
                  <c:v>1.0276248999999999E-2</c:v>
                </c:pt>
                <c:pt idx="2271">
                  <c:v>1.0121939E-2</c:v>
                </c:pt>
                <c:pt idx="2272">
                  <c:v>9.9390139999999995E-3</c:v>
                </c:pt>
                <c:pt idx="2273">
                  <c:v>9.8455850000000004E-3</c:v>
                </c:pt>
                <c:pt idx="2274">
                  <c:v>9.7255020000000005E-3</c:v>
                </c:pt>
                <c:pt idx="2275">
                  <c:v>9.5762980000000004E-3</c:v>
                </c:pt>
                <c:pt idx="2276">
                  <c:v>9.4669560000000003E-3</c:v>
                </c:pt>
                <c:pt idx="2277">
                  <c:v>9.3254610000000002E-3</c:v>
                </c:pt>
                <c:pt idx="2278">
                  <c:v>9.2633760000000002E-3</c:v>
                </c:pt>
                <c:pt idx="2279">
                  <c:v>9.169455E-3</c:v>
                </c:pt>
                <c:pt idx="2280">
                  <c:v>9.0886539999999998E-3</c:v>
                </c:pt>
                <c:pt idx="2281">
                  <c:v>9.0410539999999998E-3</c:v>
                </c:pt>
                <c:pt idx="2282">
                  <c:v>8.9662230000000006E-3</c:v>
                </c:pt>
                <c:pt idx="2283">
                  <c:v>8.8974810000000005E-3</c:v>
                </c:pt>
                <c:pt idx="2284">
                  <c:v>8.8057970000000006E-3</c:v>
                </c:pt>
                <c:pt idx="2285">
                  <c:v>8.7603590000000005E-3</c:v>
                </c:pt>
                <c:pt idx="2286">
                  <c:v>8.7178269999999992E-3</c:v>
                </c:pt>
                <c:pt idx="2287">
                  <c:v>8.6359969999999994E-3</c:v>
                </c:pt>
                <c:pt idx="2288">
                  <c:v>8.5938530000000003E-3</c:v>
                </c:pt>
                <c:pt idx="2289">
                  <c:v>8.6231940000000007E-3</c:v>
                </c:pt>
                <c:pt idx="2290">
                  <c:v>8.6592300000000004E-3</c:v>
                </c:pt>
                <c:pt idx="2291">
                  <c:v>8.6414579999999994E-3</c:v>
                </c:pt>
                <c:pt idx="2292">
                  <c:v>8.6063100000000007E-3</c:v>
                </c:pt>
                <c:pt idx="2293">
                  <c:v>8.4628410000000005E-3</c:v>
                </c:pt>
                <c:pt idx="2294">
                  <c:v>8.3159730000000008E-3</c:v>
                </c:pt>
                <c:pt idx="2295">
                  <c:v>8.2157419999999998E-3</c:v>
                </c:pt>
                <c:pt idx="2296">
                  <c:v>8.1693459999999992E-3</c:v>
                </c:pt>
                <c:pt idx="2297">
                  <c:v>8.07013E-3</c:v>
                </c:pt>
                <c:pt idx="2298">
                  <c:v>7.9890340000000008E-3</c:v>
                </c:pt>
                <c:pt idx="2299">
                  <c:v>7.9686719999999996E-3</c:v>
                </c:pt>
                <c:pt idx="2300">
                  <c:v>7.9762889999999993E-3</c:v>
                </c:pt>
                <c:pt idx="2301">
                  <c:v>7.9347359999999995E-3</c:v>
                </c:pt>
                <c:pt idx="2302">
                  <c:v>7.8884920000000004E-3</c:v>
                </c:pt>
                <c:pt idx="2303">
                  <c:v>7.9081580000000002E-3</c:v>
                </c:pt>
                <c:pt idx="2304">
                  <c:v>7.7573329999999999E-3</c:v>
                </c:pt>
                <c:pt idx="2305">
                  <c:v>7.7058259999999998E-3</c:v>
                </c:pt>
                <c:pt idx="2306">
                  <c:v>7.505818E-3</c:v>
                </c:pt>
                <c:pt idx="2307">
                  <c:v>7.3983110000000003E-3</c:v>
                </c:pt>
                <c:pt idx="2308">
                  <c:v>7.3834859999999999E-3</c:v>
                </c:pt>
                <c:pt idx="2309">
                  <c:v>7.3498699999999997E-3</c:v>
                </c:pt>
                <c:pt idx="2310">
                  <c:v>7.3730250000000001E-3</c:v>
                </c:pt>
                <c:pt idx="2311">
                  <c:v>7.4253380000000001E-3</c:v>
                </c:pt>
                <c:pt idx="2312">
                  <c:v>7.4936680000000002E-3</c:v>
                </c:pt>
                <c:pt idx="2313">
                  <c:v>7.4833319999999997E-3</c:v>
                </c:pt>
                <c:pt idx="2314">
                  <c:v>7.4866519999999999E-3</c:v>
                </c:pt>
                <c:pt idx="2315">
                  <c:v>7.4856360000000004E-3</c:v>
                </c:pt>
                <c:pt idx="2316">
                  <c:v>7.5453600000000001E-3</c:v>
                </c:pt>
                <c:pt idx="2317">
                  <c:v>7.583673E-3</c:v>
                </c:pt>
                <c:pt idx="2318">
                  <c:v>7.7291909999999998E-3</c:v>
                </c:pt>
                <c:pt idx="2319">
                  <c:v>7.8253019999999993E-3</c:v>
                </c:pt>
                <c:pt idx="2320">
                  <c:v>8.1356390000000001E-3</c:v>
                </c:pt>
                <c:pt idx="2321">
                  <c:v>8.3244510000000001E-3</c:v>
                </c:pt>
                <c:pt idx="2322">
                  <c:v>8.4954390000000005E-3</c:v>
                </c:pt>
                <c:pt idx="2323">
                  <c:v>8.6306879999999992E-3</c:v>
                </c:pt>
                <c:pt idx="2324">
                  <c:v>8.8088249999999993E-3</c:v>
                </c:pt>
                <c:pt idx="2325">
                  <c:v>8.976609E-3</c:v>
                </c:pt>
                <c:pt idx="2326">
                  <c:v>9.0165479999999992E-3</c:v>
                </c:pt>
                <c:pt idx="2327">
                  <c:v>9.1219990000000004E-3</c:v>
                </c:pt>
                <c:pt idx="2328">
                  <c:v>9.2656059999999991E-3</c:v>
                </c:pt>
                <c:pt idx="2329">
                  <c:v>9.3580350000000007E-3</c:v>
                </c:pt>
                <c:pt idx="2330">
                  <c:v>9.453932E-3</c:v>
                </c:pt>
                <c:pt idx="2331">
                  <c:v>9.5388360000000002E-3</c:v>
                </c:pt>
                <c:pt idx="2332">
                  <c:v>9.6600990000000001E-3</c:v>
                </c:pt>
                <c:pt idx="2333">
                  <c:v>9.7677170000000004E-3</c:v>
                </c:pt>
                <c:pt idx="2334">
                  <c:v>9.8609779999999994E-3</c:v>
                </c:pt>
                <c:pt idx="2335">
                  <c:v>9.9943440000000005E-3</c:v>
                </c:pt>
                <c:pt idx="2336">
                  <c:v>1.0109516000000001E-2</c:v>
                </c:pt>
                <c:pt idx="2337">
                  <c:v>1.0208346E-2</c:v>
                </c:pt>
                <c:pt idx="2338">
                  <c:v>1.0281480000000001E-2</c:v>
                </c:pt>
                <c:pt idx="2339">
                  <c:v>1.0340135E-2</c:v>
                </c:pt>
                <c:pt idx="2340">
                  <c:v>1.0433523E-2</c:v>
                </c:pt>
                <c:pt idx="2341">
                  <c:v>1.0516452000000001E-2</c:v>
                </c:pt>
                <c:pt idx="2342">
                  <c:v>1.0543049000000001E-2</c:v>
                </c:pt>
                <c:pt idx="2343">
                  <c:v>1.0600574999999999E-2</c:v>
                </c:pt>
                <c:pt idx="2344">
                  <c:v>1.0640428E-2</c:v>
                </c:pt>
                <c:pt idx="2345">
                  <c:v>1.0701792999999999E-2</c:v>
                </c:pt>
                <c:pt idx="2346">
                  <c:v>1.08089E-2</c:v>
                </c:pt>
                <c:pt idx="2347">
                  <c:v>1.0968616E-2</c:v>
                </c:pt>
                <c:pt idx="2348">
                  <c:v>1.1096037E-2</c:v>
                </c:pt>
                <c:pt idx="2349">
                  <c:v>1.1227565E-2</c:v>
                </c:pt>
                <c:pt idx="2350">
                  <c:v>1.1287926E-2</c:v>
                </c:pt>
                <c:pt idx="2351">
                  <c:v>1.1374979E-2</c:v>
                </c:pt>
                <c:pt idx="2352">
                  <c:v>1.1522892999999999E-2</c:v>
                </c:pt>
                <c:pt idx="2353">
                  <c:v>1.1630576E-2</c:v>
                </c:pt>
                <c:pt idx="2354">
                  <c:v>1.1784411E-2</c:v>
                </c:pt>
                <c:pt idx="2355">
                  <c:v>1.2116267E-2</c:v>
                </c:pt>
                <c:pt idx="2356">
                  <c:v>1.2314548999999999E-2</c:v>
                </c:pt>
                <c:pt idx="2357">
                  <c:v>1.2498347999999999E-2</c:v>
                </c:pt>
                <c:pt idx="2358">
                  <c:v>1.2635077999999999E-2</c:v>
                </c:pt>
                <c:pt idx="2359">
                  <c:v>1.2753456E-2</c:v>
                </c:pt>
                <c:pt idx="2360">
                  <c:v>1.2815919E-2</c:v>
                </c:pt>
                <c:pt idx="2361">
                  <c:v>1.3032779E-2</c:v>
                </c:pt>
                <c:pt idx="2362">
                  <c:v>1.3217110000000001E-2</c:v>
                </c:pt>
                <c:pt idx="2363">
                  <c:v>1.3286087E-2</c:v>
                </c:pt>
                <c:pt idx="2364">
                  <c:v>1.3452186E-2</c:v>
                </c:pt>
                <c:pt idx="2365">
                  <c:v>1.3579617E-2</c:v>
                </c:pt>
                <c:pt idx="2366">
                  <c:v>1.373563E-2</c:v>
                </c:pt>
                <c:pt idx="2367">
                  <c:v>1.3906505E-2</c:v>
                </c:pt>
                <c:pt idx="2368">
                  <c:v>1.4116212E-2</c:v>
                </c:pt>
                <c:pt idx="2369">
                  <c:v>1.4286201E-2</c:v>
                </c:pt>
                <c:pt idx="2370">
                  <c:v>1.4420522E-2</c:v>
                </c:pt>
                <c:pt idx="2371">
                  <c:v>1.4564173E-2</c:v>
                </c:pt>
                <c:pt idx="2372">
                  <c:v>1.4775042E-2</c:v>
                </c:pt>
                <c:pt idx="2373">
                  <c:v>1.4968881E-2</c:v>
                </c:pt>
                <c:pt idx="2374">
                  <c:v>1.5045074E-2</c:v>
                </c:pt>
                <c:pt idx="2375">
                  <c:v>1.5147289E-2</c:v>
                </c:pt>
                <c:pt idx="2376">
                  <c:v>1.51821E-2</c:v>
                </c:pt>
                <c:pt idx="2377">
                  <c:v>1.5232099000000001E-2</c:v>
                </c:pt>
                <c:pt idx="2378">
                  <c:v>1.5113395E-2</c:v>
                </c:pt>
                <c:pt idx="2379">
                  <c:v>1.5081817000000001E-2</c:v>
                </c:pt>
                <c:pt idx="2380">
                  <c:v>1.4900475999999999E-2</c:v>
                </c:pt>
                <c:pt idx="2381">
                  <c:v>1.4963536E-2</c:v>
                </c:pt>
                <c:pt idx="2382">
                  <c:v>1.5134524999999999E-2</c:v>
                </c:pt>
                <c:pt idx="2383">
                  <c:v>1.5511891999999999E-2</c:v>
                </c:pt>
                <c:pt idx="2384">
                  <c:v>1.5721735000000001E-2</c:v>
                </c:pt>
                <c:pt idx="2385">
                  <c:v>1.5952496E-2</c:v>
                </c:pt>
                <c:pt idx="2386">
                  <c:v>1.6146302000000001E-2</c:v>
                </c:pt>
                <c:pt idx="2387">
                  <c:v>1.6237307999999999E-2</c:v>
                </c:pt>
                <c:pt idx="2388">
                  <c:v>1.6500968000000001E-2</c:v>
                </c:pt>
                <c:pt idx="2389">
                  <c:v>1.6898038000000001E-2</c:v>
                </c:pt>
                <c:pt idx="2390">
                  <c:v>1.7557097000000001E-2</c:v>
                </c:pt>
                <c:pt idx="2391">
                  <c:v>1.7831515999999999E-2</c:v>
                </c:pt>
                <c:pt idx="2392">
                  <c:v>1.8150344999999998E-2</c:v>
                </c:pt>
                <c:pt idx="2393">
                  <c:v>1.8358722000000001E-2</c:v>
                </c:pt>
                <c:pt idx="2394">
                  <c:v>1.8541505E-2</c:v>
                </c:pt>
                <c:pt idx="2395">
                  <c:v>1.8674407000000001E-2</c:v>
                </c:pt>
                <c:pt idx="2396">
                  <c:v>1.8742893E-2</c:v>
                </c:pt>
                <c:pt idx="2397">
                  <c:v>1.8797114E-2</c:v>
                </c:pt>
                <c:pt idx="2398">
                  <c:v>1.8956998999999999E-2</c:v>
                </c:pt>
                <c:pt idx="2399">
                  <c:v>1.9483701999999999E-2</c:v>
                </c:pt>
                <c:pt idx="2400">
                  <c:v>1.9813654E-2</c:v>
                </c:pt>
                <c:pt idx="2401">
                  <c:v>2.0234782E-2</c:v>
                </c:pt>
                <c:pt idx="2402">
                  <c:v>2.0775597E-2</c:v>
                </c:pt>
                <c:pt idx="2403">
                  <c:v>2.1335136000000001E-2</c:v>
                </c:pt>
                <c:pt idx="2404">
                  <c:v>2.1885354999999999E-2</c:v>
                </c:pt>
                <c:pt idx="2405">
                  <c:v>2.2407660999999999E-2</c:v>
                </c:pt>
                <c:pt idx="2406">
                  <c:v>2.3027348999999999E-2</c:v>
                </c:pt>
                <c:pt idx="2407">
                  <c:v>2.3537295E-2</c:v>
                </c:pt>
                <c:pt idx="2408">
                  <c:v>2.4312173999999999E-2</c:v>
                </c:pt>
                <c:pt idx="2409">
                  <c:v>2.4963396999999998E-2</c:v>
                </c:pt>
                <c:pt idx="2410">
                  <c:v>2.5933415000000001E-2</c:v>
                </c:pt>
                <c:pt idx="2411">
                  <c:v>2.654755E-2</c:v>
                </c:pt>
                <c:pt idx="2412">
                  <c:v>2.6939092000000001E-2</c:v>
                </c:pt>
                <c:pt idx="2413">
                  <c:v>2.7234069999999999E-2</c:v>
                </c:pt>
                <c:pt idx="2414">
                  <c:v>2.7485642000000001E-2</c:v>
                </c:pt>
                <c:pt idx="2415">
                  <c:v>2.7732571000000001E-2</c:v>
                </c:pt>
                <c:pt idx="2416">
                  <c:v>2.8336164E-2</c:v>
                </c:pt>
                <c:pt idx="2417">
                  <c:v>2.8767141E-2</c:v>
                </c:pt>
                <c:pt idx="2418">
                  <c:v>2.9297581999999999E-2</c:v>
                </c:pt>
                <c:pt idx="2419">
                  <c:v>3.0126461E-2</c:v>
                </c:pt>
                <c:pt idx="2420">
                  <c:v>3.0680427999999999E-2</c:v>
                </c:pt>
                <c:pt idx="2421">
                  <c:v>3.0972803E-2</c:v>
                </c:pt>
                <c:pt idx="2422">
                  <c:v>3.1268764999999997E-2</c:v>
                </c:pt>
                <c:pt idx="2423">
                  <c:v>3.1827505999999998E-2</c:v>
                </c:pt>
                <c:pt idx="2424">
                  <c:v>3.2398806000000002E-2</c:v>
                </c:pt>
                <c:pt idx="2425">
                  <c:v>3.2812526000000002E-2</c:v>
                </c:pt>
                <c:pt idx="2426">
                  <c:v>3.3353238E-2</c:v>
                </c:pt>
                <c:pt idx="2427">
                  <c:v>3.4056048999999998E-2</c:v>
                </c:pt>
                <c:pt idx="2428">
                  <c:v>3.4648753999999997E-2</c:v>
                </c:pt>
                <c:pt idx="2429">
                  <c:v>3.5048231999999999E-2</c:v>
                </c:pt>
                <c:pt idx="2430">
                  <c:v>3.5416228000000001E-2</c:v>
                </c:pt>
                <c:pt idx="2431">
                  <c:v>3.5912181000000001E-2</c:v>
                </c:pt>
                <c:pt idx="2432">
                  <c:v>3.6102203999999999E-2</c:v>
                </c:pt>
                <c:pt idx="2433">
                  <c:v>3.6188674999999997E-2</c:v>
                </c:pt>
                <c:pt idx="2434">
                  <c:v>3.6423272999999999E-2</c:v>
                </c:pt>
                <c:pt idx="2435">
                  <c:v>3.6770868999999998E-2</c:v>
                </c:pt>
                <c:pt idx="2436">
                  <c:v>3.7217262000000001E-2</c:v>
                </c:pt>
                <c:pt idx="2437">
                  <c:v>3.7719699000000002E-2</c:v>
                </c:pt>
                <c:pt idx="2438">
                  <c:v>3.8229159999999998E-2</c:v>
                </c:pt>
                <c:pt idx="2439">
                  <c:v>3.8804057000000003E-2</c:v>
                </c:pt>
                <c:pt idx="2440">
                  <c:v>3.9144497E-2</c:v>
                </c:pt>
                <c:pt idx="2441">
                  <c:v>3.938531E-2</c:v>
                </c:pt>
                <c:pt idx="2442">
                  <c:v>3.9449028999999997E-2</c:v>
                </c:pt>
                <c:pt idx="2443">
                  <c:v>3.9463064999999999E-2</c:v>
                </c:pt>
                <c:pt idx="2444">
                  <c:v>3.9412372000000001E-2</c:v>
                </c:pt>
                <c:pt idx="2445">
                  <c:v>3.9340489999999999E-2</c:v>
                </c:pt>
                <c:pt idx="2446">
                  <c:v>3.9316573E-2</c:v>
                </c:pt>
                <c:pt idx="2447">
                  <c:v>3.9465108999999998E-2</c:v>
                </c:pt>
                <c:pt idx="2448">
                  <c:v>3.9445214999999999E-2</c:v>
                </c:pt>
                <c:pt idx="2449">
                  <c:v>3.9324062999999999E-2</c:v>
                </c:pt>
                <c:pt idx="2450">
                  <c:v>3.9112484000000003E-2</c:v>
                </c:pt>
                <c:pt idx="2451">
                  <c:v>3.9136147000000003E-2</c:v>
                </c:pt>
                <c:pt idx="2452">
                  <c:v>3.9054353E-2</c:v>
                </c:pt>
                <c:pt idx="2453">
                  <c:v>3.9055979999999997E-2</c:v>
                </c:pt>
                <c:pt idx="2454">
                  <c:v>3.9018795000000002E-2</c:v>
                </c:pt>
                <c:pt idx="2455">
                  <c:v>3.9045785999999999E-2</c:v>
                </c:pt>
                <c:pt idx="2456">
                  <c:v>3.9258223000000002E-2</c:v>
                </c:pt>
                <c:pt idx="2457">
                  <c:v>3.9396321999999998E-2</c:v>
                </c:pt>
                <c:pt idx="2458">
                  <c:v>3.9410605000000001E-2</c:v>
                </c:pt>
                <c:pt idx="2459">
                  <c:v>3.9105935000000001E-2</c:v>
                </c:pt>
                <c:pt idx="2460">
                  <c:v>3.9149761999999998E-2</c:v>
                </c:pt>
                <c:pt idx="2461">
                  <c:v>3.9092552000000003E-2</c:v>
                </c:pt>
                <c:pt idx="2462">
                  <c:v>3.9002116000000003E-2</c:v>
                </c:pt>
                <c:pt idx="2463">
                  <c:v>3.8895225999999998E-2</c:v>
                </c:pt>
                <c:pt idx="2464">
                  <c:v>3.8657129999999998E-2</c:v>
                </c:pt>
                <c:pt idx="2465">
                  <c:v>3.8478586000000002E-2</c:v>
                </c:pt>
                <c:pt idx="2466">
                  <c:v>3.8015392000000002E-2</c:v>
                </c:pt>
                <c:pt idx="2467">
                  <c:v>3.7845423000000003E-2</c:v>
                </c:pt>
                <c:pt idx="2468">
                  <c:v>3.7295527000000002E-2</c:v>
                </c:pt>
                <c:pt idx="2469">
                  <c:v>3.6804872000000002E-2</c:v>
                </c:pt>
                <c:pt idx="2470">
                  <c:v>3.6294163999999997E-2</c:v>
                </c:pt>
                <c:pt idx="2471">
                  <c:v>3.6088116000000003E-2</c:v>
                </c:pt>
                <c:pt idx="2472">
                  <c:v>3.6080576000000003E-2</c:v>
                </c:pt>
                <c:pt idx="2473">
                  <c:v>3.6449956999999998E-2</c:v>
                </c:pt>
                <c:pt idx="2474">
                  <c:v>3.6934169000000003E-2</c:v>
                </c:pt>
                <c:pt idx="2475">
                  <c:v>3.7170937000000001E-2</c:v>
                </c:pt>
                <c:pt idx="2476">
                  <c:v>3.726848E-2</c:v>
                </c:pt>
                <c:pt idx="2477">
                  <c:v>3.7495238E-2</c:v>
                </c:pt>
                <c:pt idx="2478">
                  <c:v>3.7815890999999997E-2</c:v>
                </c:pt>
                <c:pt idx="2479">
                  <c:v>3.7648767E-2</c:v>
                </c:pt>
                <c:pt idx="2480">
                  <c:v>3.7726475000000002E-2</c:v>
                </c:pt>
                <c:pt idx="2481">
                  <c:v>3.7829241E-2</c:v>
                </c:pt>
                <c:pt idx="2482">
                  <c:v>3.8324439000000002E-2</c:v>
                </c:pt>
                <c:pt idx="2483">
                  <c:v>3.8661725000000001E-2</c:v>
                </c:pt>
                <c:pt idx="2484">
                  <c:v>3.8617617999999999E-2</c:v>
                </c:pt>
                <c:pt idx="2485">
                  <c:v>3.8763837000000002E-2</c:v>
                </c:pt>
                <c:pt idx="2486">
                  <c:v>3.8696085999999998E-2</c:v>
                </c:pt>
                <c:pt idx="2487">
                  <c:v>3.8700037E-2</c:v>
                </c:pt>
                <c:pt idx="2488">
                  <c:v>3.8918108E-2</c:v>
                </c:pt>
                <c:pt idx="2489">
                  <c:v>3.9308004000000001E-2</c:v>
                </c:pt>
                <c:pt idx="2490">
                  <c:v>3.9512176000000003E-2</c:v>
                </c:pt>
                <c:pt idx="2491">
                  <c:v>3.9804257000000003E-2</c:v>
                </c:pt>
                <c:pt idx="2492">
                  <c:v>4.0285028000000001E-2</c:v>
                </c:pt>
                <c:pt idx="2493">
                  <c:v>4.1051539999999997E-2</c:v>
                </c:pt>
                <c:pt idx="2494">
                  <c:v>4.1594544999999997E-2</c:v>
                </c:pt>
                <c:pt idx="2495">
                  <c:v>4.2333467999999999E-2</c:v>
                </c:pt>
                <c:pt idx="2496">
                  <c:v>4.3287529999999998E-2</c:v>
                </c:pt>
                <c:pt idx="2497">
                  <c:v>4.3714326999999997E-2</c:v>
                </c:pt>
                <c:pt idx="2498">
                  <c:v>4.4237108999999997E-2</c:v>
                </c:pt>
                <c:pt idx="2499">
                  <c:v>4.4592754999999998E-2</c:v>
                </c:pt>
                <c:pt idx="2500">
                  <c:v>4.509581E-2</c:v>
                </c:pt>
                <c:pt idx="2501">
                  <c:v>4.5672122000000002E-2</c:v>
                </c:pt>
                <c:pt idx="2502">
                  <c:v>4.6654065000000002E-2</c:v>
                </c:pt>
                <c:pt idx="2503">
                  <c:v>4.6972042999999998E-2</c:v>
                </c:pt>
                <c:pt idx="2504">
                  <c:v>4.7460443999999997E-2</c:v>
                </c:pt>
                <c:pt idx="2505">
                  <c:v>4.7908666000000003E-2</c:v>
                </c:pt>
                <c:pt idx="2506">
                  <c:v>4.8592420999999997E-2</c:v>
                </c:pt>
                <c:pt idx="2507">
                  <c:v>4.8999951E-2</c:v>
                </c:pt>
                <c:pt idx="2508">
                  <c:v>4.9205227999999997E-2</c:v>
                </c:pt>
                <c:pt idx="2509">
                  <c:v>4.9441723E-2</c:v>
                </c:pt>
                <c:pt idx="2510">
                  <c:v>4.9668470999999999E-2</c:v>
                </c:pt>
                <c:pt idx="2511">
                  <c:v>5.0051613000000002E-2</c:v>
                </c:pt>
                <c:pt idx="2512">
                  <c:v>5.0426352000000001E-2</c:v>
                </c:pt>
                <c:pt idx="2513">
                  <c:v>5.0782252999999999E-2</c:v>
                </c:pt>
                <c:pt idx="2514">
                  <c:v>5.1180415E-2</c:v>
                </c:pt>
                <c:pt idx="2515">
                  <c:v>5.1387931999999997E-2</c:v>
                </c:pt>
                <c:pt idx="2516">
                  <c:v>5.1607643000000002E-2</c:v>
                </c:pt>
                <c:pt idx="2517">
                  <c:v>5.2028691000000002E-2</c:v>
                </c:pt>
                <c:pt idx="2518">
                  <c:v>5.2295895000000002E-2</c:v>
                </c:pt>
                <c:pt idx="2519">
                  <c:v>5.2911858999999999E-2</c:v>
                </c:pt>
                <c:pt idx="2520">
                  <c:v>5.3379826999999998E-2</c:v>
                </c:pt>
                <c:pt idx="2521">
                  <c:v>5.3918688999999999E-2</c:v>
                </c:pt>
                <c:pt idx="2522">
                  <c:v>5.4364930999999998E-2</c:v>
                </c:pt>
                <c:pt idx="2523">
                  <c:v>5.5057830000000002E-2</c:v>
                </c:pt>
                <c:pt idx="2524">
                  <c:v>5.5592442999999998E-2</c:v>
                </c:pt>
                <c:pt idx="2525">
                  <c:v>5.6057294000000001E-2</c:v>
                </c:pt>
                <c:pt idx="2526">
                  <c:v>5.6571375E-2</c:v>
                </c:pt>
                <c:pt idx="2527">
                  <c:v>5.6867183000000002E-2</c:v>
                </c:pt>
                <c:pt idx="2528">
                  <c:v>5.7500125999999999E-2</c:v>
                </c:pt>
                <c:pt idx="2529">
                  <c:v>5.8220281999999998E-2</c:v>
                </c:pt>
                <c:pt idx="2530">
                  <c:v>5.9005977000000001E-2</c:v>
                </c:pt>
                <c:pt idx="2531">
                  <c:v>5.9702344999999997E-2</c:v>
                </c:pt>
                <c:pt idx="2532">
                  <c:v>5.9987842E-2</c:v>
                </c:pt>
                <c:pt idx="2533">
                  <c:v>5.9910315999999998E-2</c:v>
                </c:pt>
                <c:pt idx="2534">
                  <c:v>5.9811599E-2</c:v>
                </c:pt>
                <c:pt idx="2535">
                  <c:v>5.9859276000000003E-2</c:v>
                </c:pt>
                <c:pt idx="2536">
                  <c:v>5.9706958999999997E-2</c:v>
                </c:pt>
                <c:pt idx="2537">
                  <c:v>5.9612261999999999E-2</c:v>
                </c:pt>
                <c:pt idx="2538">
                  <c:v>5.9246503999999998E-2</c:v>
                </c:pt>
                <c:pt idx="2539">
                  <c:v>5.9101371999999999E-2</c:v>
                </c:pt>
                <c:pt idx="2540">
                  <c:v>5.903187E-2</c:v>
                </c:pt>
                <c:pt idx="2541">
                  <c:v>5.9167328999999998E-2</c:v>
                </c:pt>
                <c:pt idx="2542">
                  <c:v>5.8954360999999997E-2</c:v>
                </c:pt>
                <c:pt idx="2543">
                  <c:v>5.8830181000000002E-2</c:v>
                </c:pt>
                <c:pt idx="2544">
                  <c:v>5.9169592E-2</c:v>
                </c:pt>
                <c:pt idx="2545">
                  <c:v>5.9538852000000003E-2</c:v>
                </c:pt>
                <c:pt idx="2546">
                  <c:v>5.9703020000000002E-2</c:v>
                </c:pt>
                <c:pt idx="2547">
                  <c:v>5.9683184E-2</c:v>
                </c:pt>
                <c:pt idx="2548">
                  <c:v>5.9429654999999998E-2</c:v>
                </c:pt>
                <c:pt idx="2549">
                  <c:v>5.9792499999999998E-2</c:v>
                </c:pt>
                <c:pt idx="2550">
                  <c:v>6.0435995999999999E-2</c:v>
                </c:pt>
                <c:pt idx="2551">
                  <c:v>6.0757230000000002E-2</c:v>
                </c:pt>
                <c:pt idx="2552">
                  <c:v>6.0861681000000001E-2</c:v>
                </c:pt>
                <c:pt idx="2553">
                  <c:v>6.0896924999999998E-2</c:v>
                </c:pt>
                <c:pt idx="2554">
                  <c:v>6.101562E-2</c:v>
                </c:pt>
                <c:pt idx="2555">
                  <c:v>6.0671836999999999E-2</c:v>
                </c:pt>
                <c:pt idx="2556">
                  <c:v>5.9938259000000001E-2</c:v>
                </c:pt>
                <c:pt idx="2557">
                  <c:v>5.9449912000000001E-2</c:v>
                </c:pt>
                <c:pt idx="2558">
                  <c:v>5.8920246000000003E-2</c:v>
                </c:pt>
                <c:pt idx="2559">
                  <c:v>5.8502904000000001E-2</c:v>
                </c:pt>
                <c:pt idx="2560">
                  <c:v>5.8052103000000001E-2</c:v>
                </c:pt>
                <c:pt idx="2561">
                  <c:v>5.7468017000000003E-2</c:v>
                </c:pt>
                <c:pt idx="2562">
                  <c:v>5.6627823000000001E-2</c:v>
                </c:pt>
                <c:pt idx="2563">
                  <c:v>5.6408408E-2</c:v>
                </c:pt>
                <c:pt idx="2564">
                  <c:v>5.6177418999999999E-2</c:v>
                </c:pt>
                <c:pt idx="2565">
                  <c:v>5.6046522000000001E-2</c:v>
                </c:pt>
                <c:pt idx="2566">
                  <c:v>5.5482337999999999E-2</c:v>
                </c:pt>
                <c:pt idx="2567">
                  <c:v>5.5084257999999997E-2</c:v>
                </c:pt>
                <c:pt idx="2568">
                  <c:v>5.4798715999999997E-2</c:v>
                </c:pt>
                <c:pt idx="2569">
                  <c:v>5.4549488E-2</c:v>
                </c:pt>
                <c:pt idx="2570">
                  <c:v>5.4074751999999997E-2</c:v>
                </c:pt>
                <c:pt idx="2571">
                  <c:v>5.3575616E-2</c:v>
                </c:pt>
                <c:pt idx="2572">
                  <c:v>5.3024376999999998E-2</c:v>
                </c:pt>
                <c:pt idx="2573">
                  <c:v>5.2602757999999999E-2</c:v>
                </c:pt>
                <c:pt idx="2574">
                  <c:v>5.2447644000000002E-2</c:v>
                </c:pt>
                <c:pt idx="2575">
                  <c:v>5.2481616000000002E-2</c:v>
                </c:pt>
                <c:pt idx="2576">
                  <c:v>5.2256813999999999E-2</c:v>
                </c:pt>
                <c:pt idx="2577">
                  <c:v>5.1917049E-2</c:v>
                </c:pt>
                <c:pt idx="2578">
                  <c:v>5.1736991000000003E-2</c:v>
                </c:pt>
                <c:pt idx="2579">
                  <c:v>5.1200519999999999E-2</c:v>
                </c:pt>
                <c:pt idx="2580">
                  <c:v>5.0770681999999998E-2</c:v>
                </c:pt>
                <c:pt idx="2581">
                  <c:v>5.0193638999999998E-2</c:v>
                </c:pt>
                <c:pt idx="2582">
                  <c:v>4.9551607999999997E-2</c:v>
                </c:pt>
                <c:pt idx="2583">
                  <c:v>4.8668774999999997E-2</c:v>
                </c:pt>
                <c:pt idx="2584">
                  <c:v>4.8241301E-2</c:v>
                </c:pt>
                <c:pt idx="2585">
                  <c:v>4.7839898999999998E-2</c:v>
                </c:pt>
                <c:pt idx="2586">
                  <c:v>4.7545052999999997E-2</c:v>
                </c:pt>
                <c:pt idx="2587">
                  <c:v>4.7194471000000002E-2</c:v>
                </c:pt>
                <c:pt idx="2588">
                  <c:v>4.6682570999999999E-2</c:v>
                </c:pt>
                <c:pt idx="2589">
                  <c:v>4.6058268999999999E-2</c:v>
                </c:pt>
                <c:pt idx="2590">
                  <c:v>4.5293136999999997E-2</c:v>
                </c:pt>
                <c:pt idx="2591">
                  <c:v>4.4704715999999999E-2</c:v>
                </c:pt>
                <c:pt idx="2592">
                  <c:v>4.4184573999999997E-2</c:v>
                </c:pt>
                <c:pt idx="2593">
                  <c:v>4.3676214999999997E-2</c:v>
                </c:pt>
                <c:pt idx="2594">
                  <c:v>4.3210206000000001E-2</c:v>
                </c:pt>
                <c:pt idx="2595">
                  <c:v>4.2532222000000001E-2</c:v>
                </c:pt>
                <c:pt idx="2596">
                  <c:v>4.1899739999999998E-2</c:v>
                </c:pt>
                <c:pt idx="2597">
                  <c:v>4.1480847000000001E-2</c:v>
                </c:pt>
                <c:pt idx="2598">
                  <c:v>4.1043817000000003E-2</c:v>
                </c:pt>
                <c:pt idx="2599">
                  <c:v>4.0601229000000003E-2</c:v>
                </c:pt>
                <c:pt idx="2600">
                  <c:v>4.0174966999999999E-2</c:v>
                </c:pt>
                <c:pt idx="2601">
                  <c:v>3.9517429E-2</c:v>
                </c:pt>
                <c:pt idx="2602">
                  <c:v>3.8848520999999997E-2</c:v>
                </c:pt>
                <c:pt idx="2603">
                  <c:v>3.8137543000000003E-2</c:v>
                </c:pt>
                <c:pt idx="2604">
                  <c:v>3.7219987000000003E-2</c:v>
                </c:pt>
                <c:pt idx="2605">
                  <c:v>3.6241712000000002E-2</c:v>
                </c:pt>
                <c:pt idx="2606">
                  <c:v>3.5555684999999997E-2</c:v>
                </c:pt>
                <c:pt idx="2607">
                  <c:v>3.4688545000000001E-2</c:v>
                </c:pt>
                <c:pt idx="2608">
                  <c:v>3.394548E-2</c:v>
                </c:pt>
                <c:pt idx="2609">
                  <c:v>3.2641753000000003E-2</c:v>
                </c:pt>
                <c:pt idx="2610">
                  <c:v>3.1404796999999998E-2</c:v>
                </c:pt>
                <c:pt idx="2611">
                  <c:v>3.0221004999999999E-2</c:v>
                </c:pt>
                <c:pt idx="2612">
                  <c:v>2.9482761999999999E-2</c:v>
                </c:pt>
                <c:pt idx="2613">
                  <c:v>2.8553855999999999E-2</c:v>
                </c:pt>
                <c:pt idx="2614">
                  <c:v>2.7726270000000001E-2</c:v>
                </c:pt>
                <c:pt idx="2615">
                  <c:v>2.7078324000000001E-2</c:v>
                </c:pt>
                <c:pt idx="2616">
                  <c:v>2.6595358999999999E-2</c:v>
                </c:pt>
                <c:pt idx="2617">
                  <c:v>2.6293409E-2</c:v>
                </c:pt>
                <c:pt idx="2618">
                  <c:v>2.5953505000000002E-2</c:v>
                </c:pt>
                <c:pt idx="2619">
                  <c:v>2.5820998000000001E-2</c:v>
                </c:pt>
                <c:pt idx="2620">
                  <c:v>2.5544042999999999E-2</c:v>
                </c:pt>
                <c:pt idx="2621">
                  <c:v>2.5291607000000001E-2</c:v>
                </c:pt>
                <c:pt idx="2622">
                  <c:v>2.5004746000000001E-2</c:v>
                </c:pt>
                <c:pt idx="2623">
                  <c:v>2.4585613999999999E-2</c:v>
                </c:pt>
                <c:pt idx="2624">
                  <c:v>2.4159030000000001E-2</c:v>
                </c:pt>
                <c:pt idx="2625">
                  <c:v>2.3618765999999999E-2</c:v>
                </c:pt>
                <c:pt idx="2626">
                  <c:v>2.3342492999999999E-2</c:v>
                </c:pt>
                <c:pt idx="2627">
                  <c:v>2.3081675999999999E-2</c:v>
                </c:pt>
                <c:pt idx="2628">
                  <c:v>2.2851027999999999E-2</c:v>
                </c:pt>
                <c:pt idx="2629">
                  <c:v>2.2781599E-2</c:v>
                </c:pt>
                <c:pt idx="2630">
                  <c:v>2.3192555E-2</c:v>
                </c:pt>
                <c:pt idx="2631">
                  <c:v>2.3413601999999999E-2</c:v>
                </c:pt>
                <c:pt idx="2632">
                  <c:v>2.3862566000000002E-2</c:v>
                </c:pt>
                <c:pt idx="2633">
                  <c:v>2.4054011E-2</c:v>
                </c:pt>
                <c:pt idx="2634">
                  <c:v>2.3888690000000001E-2</c:v>
                </c:pt>
                <c:pt idx="2635">
                  <c:v>2.3659830999999999E-2</c:v>
                </c:pt>
                <c:pt idx="2636">
                  <c:v>2.3540891000000001E-2</c:v>
                </c:pt>
                <c:pt idx="2637">
                  <c:v>2.3383285E-2</c:v>
                </c:pt>
                <c:pt idx="2638">
                  <c:v>2.3374905000000001E-2</c:v>
                </c:pt>
                <c:pt idx="2639">
                  <c:v>2.3264519000000001E-2</c:v>
                </c:pt>
                <c:pt idx="2640">
                  <c:v>2.2950457E-2</c:v>
                </c:pt>
                <c:pt idx="2641">
                  <c:v>2.2781314E-2</c:v>
                </c:pt>
                <c:pt idx="2642">
                  <c:v>2.2720053E-2</c:v>
                </c:pt>
                <c:pt idx="2643">
                  <c:v>2.2579249999999999E-2</c:v>
                </c:pt>
                <c:pt idx="2644">
                  <c:v>2.2313084E-2</c:v>
                </c:pt>
                <c:pt idx="2645">
                  <c:v>2.2047114E-2</c:v>
                </c:pt>
                <c:pt idx="2646">
                  <c:v>2.1697613000000001E-2</c:v>
                </c:pt>
                <c:pt idx="2647">
                  <c:v>2.1377307000000002E-2</c:v>
                </c:pt>
                <c:pt idx="2648">
                  <c:v>2.0976564E-2</c:v>
                </c:pt>
                <c:pt idx="2649">
                  <c:v>2.0748106999999998E-2</c:v>
                </c:pt>
                <c:pt idx="2650">
                  <c:v>2.0334818000000001E-2</c:v>
                </c:pt>
                <c:pt idx="2651">
                  <c:v>1.9814083999999999E-2</c:v>
                </c:pt>
                <c:pt idx="2652">
                  <c:v>1.9546745000000001E-2</c:v>
                </c:pt>
                <c:pt idx="2653">
                  <c:v>1.9398120000000001E-2</c:v>
                </c:pt>
                <c:pt idx="2654">
                  <c:v>1.9118037000000001E-2</c:v>
                </c:pt>
                <c:pt idx="2655">
                  <c:v>1.8999579999999999E-2</c:v>
                </c:pt>
                <c:pt idx="2656">
                  <c:v>1.8938752999999999E-2</c:v>
                </c:pt>
                <c:pt idx="2657">
                  <c:v>1.8726342999999999E-2</c:v>
                </c:pt>
                <c:pt idx="2658">
                  <c:v>1.8602007E-2</c:v>
                </c:pt>
                <c:pt idx="2659">
                  <c:v>1.8425635999999999E-2</c:v>
                </c:pt>
                <c:pt idx="2660">
                  <c:v>1.8315341999999998E-2</c:v>
                </c:pt>
                <c:pt idx="2661">
                  <c:v>1.8338792999999999E-2</c:v>
                </c:pt>
                <c:pt idx="2662">
                  <c:v>1.8406006999999999E-2</c:v>
                </c:pt>
                <c:pt idx="2663">
                  <c:v>1.8363995000000001E-2</c:v>
                </c:pt>
                <c:pt idx="2664">
                  <c:v>1.8404888000000001E-2</c:v>
                </c:pt>
                <c:pt idx="2665">
                  <c:v>1.8409277000000002E-2</c:v>
                </c:pt>
                <c:pt idx="2666">
                  <c:v>1.8326170999999999E-2</c:v>
                </c:pt>
                <c:pt idx="2667">
                  <c:v>1.8392405000000001E-2</c:v>
                </c:pt>
                <c:pt idx="2668">
                  <c:v>1.8414478000000001E-2</c:v>
                </c:pt>
                <c:pt idx="2669">
                  <c:v>1.8453151000000001E-2</c:v>
                </c:pt>
                <c:pt idx="2670">
                  <c:v>1.8383387000000001E-2</c:v>
                </c:pt>
                <c:pt idx="2671">
                  <c:v>1.8360438E-2</c:v>
                </c:pt>
                <c:pt idx="2672">
                  <c:v>1.8224041E-2</c:v>
                </c:pt>
                <c:pt idx="2673">
                  <c:v>1.8199450999999998E-2</c:v>
                </c:pt>
                <c:pt idx="2674">
                  <c:v>1.7980146999999998E-2</c:v>
                </c:pt>
                <c:pt idx="2675">
                  <c:v>1.7987866000000002E-2</c:v>
                </c:pt>
                <c:pt idx="2676">
                  <c:v>1.7901950999999999E-2</c:v>
                </c:pt>
                <c:pt idx="2677">
                  <c:v>1.7751308E-2</c:v>
                </c:pt>
                <c:pt idx="2678">
                  <c:v>1.7619994999999999E-2</c:v>
                </c:pt>
                <c:pt idx="2679">
                  <c:v>1.7285985E-2</c:v>
                </c:pt>
                <c:pt idx="2680">
                  <c:v>1.7141373000000001E-2</c:v>
                </c:pt>
                <c:pt idx="2681">
                  <c:v>1.6958622999999999E-2</c:v>
                </c:pt>
                <c:pt idx="2682">
                  <c:v>1.6811366000000001E-2</c:v>
                </c:pt>
                <c:pt idx="2683">
                  <c:v>1.6734797999999999E-2</c:v>
                </c:pt>
                <c:pt idx="2684">
                  <c:v>1.6655875000000001E-2</c:v>
                </c:pt>
                <c:pt idx="2685">
                  <c:v>1.6602108000000001E-2</c:v>
                </c:pt>
                <c:pt idx="2686">
                  <c:v>1.6494063E-2</c:v>
                </c:pt>
                <c:pt idx="2687">
                  <c:v>1.6483926999999999E-2</c:v>
                </c:pt>
                <c:pt idx="2688">
                  <c:v>1.6534223000000001E-2</c:v>
                </c:pt>
                <c:pt idx="2689">
                  <c:v>1.6313326E-2</c:v>
                </c:pt>
                <c:pt idx="2690">
                  <c:v>1.5712238E-2</c:v>
                </c:pt>
                <c:pt idx="2691">
                  <c:v>1.5278005000000001E-2</c:v>
                </c:pt>
                <c:pt idx="2692">
                  <c:v>1.4713755E-2</c:v>
                </c:pt>
                <c:pt idx="2693">
                  <c:v>1.4316339000000001E-2</c:v>
                </c:pt>
                <c:pt idx="2694">
                  <c:v>1.4046507999999999E-2</c:v>
                </c:pt>
                <c:pt idx="2695">
                  <c:v>1.3780128000000001E-2</c:v>
                </c:pt>
                <c:pt idx="2696">
                  <c:v>1.3540533E-2</c:v>
                </c:pt>
                <c:pt idx="2697">
                  <c:v>1.3436907999999999E-2</c:v>
                </c:pt>
                <c:pt idx="2698">
                  <c:v>1.3213815E-2</c:v>
                </c:pt>
                <c:pt idx="2699">
                  <c:v>1.3067099E-2</c:v>
                </c:pt>
                <c:pt idx="2700">
                  <c:v>1.2918733999999999E-2</c:v>
                </c:pt>
                <c:pt idx="2701">
                  <c:v>1.2811825000000001E-2</c:v>
                </c:pt>
                <c:pt idx="2702">
                  <c:v>1.2670905E-2</c:v>
                </c:pt>
                <c:pt idx="2703">
                  <c:v>1.2586162999999999E-2</c:v>
                </c:pt>
                <c:pt idx="2704">
                  <c:v>1.2565801999999999E-2</c:v>
                </c:pt>
                <c:pt idx="2705">
                  <c:v>1.2431444E-2</c:v>
                </c:pt>
                <c:pt idx="2706">
                  <c:v>1.2383882000000001E-2</c:v>
                </c:pt>
                <c:pt idx="2707">
                  <c:v>1.2346276E-2</c:v>
                </c:pt>
                <c:pt idx="2708">
                  <c:v>1.246543E-2</c:v>
                </c:pt>
                <c:pt idx="2709">
                  <c:v>1.2431612E-2</c:v>
                </c:pt>
                <c:pt idx="2710">
                  <c:v>1.2557272E-2</c:v>
                </c:pt>
                <c:pt idx="2711">
                  <c:v>1.2586861E-2</c:v>
                </c:pt>
                <c:pt idx="2712">
                  <c:v>1.2670396E-2</c:v>
                </c:pt>
                <c:pt idx="2713">
                  <c:v>1.2701528E-2</c:v>
                </c:pt>
                <c:pt idx="2714">
                  <c:v>1.267916E-2</c:v>
                </c:pt>
                <c:pt idx="2715">
                  <c:v>1.2652708E-2</c:v>
                </c:pt>
                <c:pt idx="2716">
                  <c:v>1.2715448000000001E-2</c:v>
                </c:pt>
                <c:pt idx="2717">
                  <c:v>1.2697017999999999E-2</c:v>
                </c:pt>
                <c:pt idx="2718">
                  <c:v>1.2790914E-2</c:v>
                </c:pt>
                <c:pt idx="2719">
                  <c:v>1.2872166000000001E-2</c:v>
                </c:pt>
                <c:pt idx="2720">
                  <c:v>1.3004638000000001E-2</c:v>
                </c:pt>
                <c:pt idx="2721">
                  <c:v>1.3197343E-2</c:v>
                </c:pt>
                <c:pt idx="2722">
                  <c:v>1.3186279E-2</c:v>
                </c:pt>
                <c:pt idx="2723">
                  <c:v>1.3175297000000001E-2</c:v>
                </c:pt>
                <c:pt idx="2724">
                  <c:v>1.3119502999999999E-2</c:v>
                </c:pt>
                <c:pt idx="2725">
                  <c:v>1.3081124E-2</c:v>
                </c:pt>
                <c:pt idx="2726">
                  <c:v>1.3111802000000001E-2</c:v>
                </c:pt>
                <c:pt idx="2727">
                  <c:v>1.3069679000000001E-2</c:v>
                </c:pt>
                <c:pt idx="2728">
                  <c:v>1.3092691E-2</c:v>
                </c:pt>
                <c:pt idx="2729">
                  <c:v>1.3094969E-2</c:v>
                </c:pt>
                <c:pt idx="2730">
                  <c:v>1.3098001999999999E-2</c:v>
                </c:pt>
                <c:pt idx="2731">
                  <c:v>1.312843E-2</c:v>
                </c:pt>
                <c:pt idx="2732">
                  <c:v>1.300958E-2</c:v>
                </c:pt>
                <c:pt idx="2733">
                  <c:v>1.293243E-2</c:v>
                </c:pt>
                <c:pt idx="2734">
                  <c:v>1.3024304E-2</c:v>
                </c:pt>
                <c:pt idx="2735">
                  <c:v>1.2910012E-2</c:v>
                </c:pt>
                <c:pt idx="2736">
                  <c:v>1.2751096999999999E-2</c:v>
                </c:pt>
                <c:pt idx="2737">
                  <c:v>1.2845868E-2</c:v>
                </c:pt>
                <c:pt idx="2738">
                  <c:v>1.2818682E-2</c:v>
                </c:pt>
                <c:pt idx="2739">
                  <c:v>1.274727E-2</c:v>
                </c:pt>
                <c:pt idx="2740">
                  <c:v>1.2690793000000001E-2</c:v>
                </c:pt>
                <c:pt idx="2741">
                  <c:v>1.2642179999999999E-2</c:v>
                </c:pt>
                <c:pt idx="2742">
                  <c:v>1.2699488E-2</c:v>
                </c:pt>
                <c:pt idx="2743">
                  <c:v>1.2637438000000001E-2</c:v>
                </c:pt>
                <c:pt idx="2744">
                  <c:v>1.2564626000000001E-2</c:v>
                </c:pt>
                <c:pt idx="2745">
                  <c:v>1.2516716000000001E-2</c:v>
                </c:pt>
                <c:pt idx="2746">
                  <c:v>1.2477152E-2</c:v>
                </c:pt>
                <c:pt idx="2747">
                  <c:v>1.2353088999999999E-2</c:v>
                </c:pt>
                <c:pt idx="2748">
                  <c:v>1.2240478000000001E-2</c:v>
                </c:pt>
                <c:pt idx="2749">
                  <c:v>1.2173912E-2</c:v>
                </c:pt>
                <c:pt idx="2750">
                  <c:v>1.2140425999999999E-2</c:v>
                </c:pt>
                <c:pt idx="2751">
                  <c:v>1.2132758E-2</c:v>
                </c:pt>
                <c:pt idx="2752">
                  <c:v>1.2099976E-2</c:v>
                </c:pt>
                <c:pt idx="2753">
                  <c:v>1.2146018999999999E-2</c:v>
                </c:pt>
                <c:pt idx="2754">
                  <c:v>1.2152454E-2</c:v>
                </c:pt>
                <c:pt idx="2755">
                  <c:v>1.2139280000000001E-2</c:v>
                </c:pt>
                <c:pt idx="2756">
                  <c:v>1.2145484E-2</c:v>
                </c:pt>
                <c:pt idx="2757">
                  <c:v>1.2076744E-2</c:v>
                </c:pt>
                <c:pt idx="2758">
                  <c:v>1.1957414E-2</c:v>
                </c:pt>
                <c:pt idx="2759">
                  <c:v>1.1843882E-2</c:v>
                </c:pt>
                <c:pt idx="2760">
                  <c:v>1.1804419999999999E-2</c:v>
                </c:pt>
                <c:pt idx="2761">
                  <c:v>1.1712541E-2</c:v>
                </c:pt>
                <c:pt idx="2762">
                  <c:v>1.1631753E-2</c:v>
                </c:pt>
                <c:pt idx="2763">
                  <c:v>1.1540602E-2</c:v>
                </c:pt>
                <c:pt idx="2764">
                  <c:v>1.1376789E-2</c:v>
                </c:pt>
                <c:pt idx="2765">
                  <c:v>1.1294685E-2</c:v>
                </c:pt>
                <c:pt idx="2766">
                  <c:v>1.1160392999999999E-2</c:v>
                </c:pt>
                <c:pt idx="2767">
                  <c:v>1.1065286000000001E-2</c:v>
                </c:pt>
                <c:pt idx="2768">
                  <c:v>1.0872761999999999E-2</c:v>
                </c:pt>
                <c:pt idx="2769">
                  <c:v>1.0697985E-2</c:v>
                </c:pt>
                <c:pt idx="2770">
                  <c:v>1.0519924E-2</c:v>
                </c:pt>
                <c:pt idx="2771">
                  <c:v>1.0472459999999999E-2</c:v>
                </c:pt>
                <c:pt idx="2772">
                  <c:v>1.0384384E-2</c:v>
                </c:pt>
                <c:pt idx="2773">
                  <c:v>1.0366712E-2</c:v>
                </c:pt>
                <c:pt idx="2774">
                  <c:v>1.0370620000000001E-2</c:v>
                </c:pt>
                <c:pt idx="2775">
                  <c:v>1.0353859999999999E-2</c:v>
                </c:pt>
                <c:pt idx="2776">
                  <c:v>1.0275305E-2</c:v>
                </c:pt>
                <c:pt idx="2777">
                  <c:v>1.0251926999999999E-2</c:v>
                </c:pt>
                <c:pt idx="2778">
                  <c:v>1.0111836000000001E-2</c:v>
                </c:pt>
                <c:pt idx="2779">
                  <c:v>1.0047082000000001E-2</c:v>
                </c:pt>
                <c:pt idx="2780">
                  <c:v>9.8532570000000007E-3</c:v>
                </c:pt>
                <c:pt idx="2781">
                  <c:v>9.5795380000000003E-3</c:v>
                </c:pt>
                <c:pt idx="2782">
                  <c:v>9.4090449999999996E-3</c:v>
                </c:pt>
                <c:pt idx="2783">
                  <c:v>9.3470370000000007E-3</c:v>
                </c:pt>
                <c:pt idx="2784">
                  <c:v>9.2458430000000001E-3</c:v>
                </c:pt>
                <c:pt idx="2785">
                  <c:v>9.2066249999999995E-3</c:v>
                </c:pt>
                <c:pt idx="2786">
                  <c:v>9.2185129999999994E-3</c:v>
                </c:pt>
                <c:pt idx="2787">
                  <c:v>9.2006810000000005E-3</c:v>
                </c:pt>
                <c:pt idx="2788">
                  <c:v>9.1481099999999992E-3</c:v>
                </c:pt>
                <c:pt idx="2789">
                  <c:v>9.1284599999999997E-3</c:v>
                </c:pt>
                <c:pt idx="2790">
                  <c:v>9.0741120000000005E-3</c:v>
                </c:pt>
                <c:pt idx="2791">
                  <c:v>8.9588819999999996E-3</c:v>
                </c:pt>
                <c:pt idx="2792">
                  <c:v>9.0085909999999998E-3</c:v>
                </c:pt>
                <c:pt idx="2793">
                  <c:v>9.0496540000000007E-3</c:v>
                </c:pt>
                <c:pt idx="2794">
                  <c:v>9.1158939999999994E-3</c:v>
                </c:pt>
                <c:pt idx="2795">
                  <c:v>9.1156190000000002E-3</c:v>
                </c:pt>
                <c:pt idx="2796">
                  <c:v>9.1259319999999998E-3</c:v>
                </c:pt>
                <c:pt idx="2797">
                  <c:v>9.0572900000000008E-3</c:v>
                </c:pt>
                <c:pt idx="2798">
                  <c:v>9.1739419999999992E-3</c:v>
                </c:pt>
                <c:pt idx="2799">
                  <c:v>9.2946009999999996E-3</c:v>
                </c:pt>
                <c:pt idx="2800">
                  <c:v>9.3035059999999996E-3</c:v>
                </c:pt>
                <c:pt idx="2801">
                  <c:v>9.3440350000000005E-3</c:v>
                </c:pt>
                <c:pt idx="2802">
                  <c:v>9.243523E-3</c:v>
                </c:pt>
                <c:pt idx="2803">
                  <c:v>9.2222180000000008E-3</c:v>
                </c:pt>
                <c:pt idx="2804">
                  <c:v>9.2100989999999994E-3</c:v>
                </c:pt>
                <c:pt idx="2805">
                  <c:v>9.2420530000000001E-3</c:v>
                </c:pt>
                <c:pt idx="2806">
                  <c:v>9.2870269999999998E-3</c:v>
                </c:pt>
                <c:pt idx="2807">
                  <c:v>9.3088249999999997E-3</c:v>
                </c:pt>
                <c:pt idx="2808">
                  <c:v>9.3230710000000005E-3</c:v>
                </c:pt>
                <c:pt idx="2809">
                  <c:v>9.4780739999999995E-3</c:v>
                </c:pt>
                <c:pt idx="2810">
                  <c:v>9.4924799999999993E-3</c:v>
                </c:pt>
                <c:pt idx="2811">
                  <c:v>9.4910129999999995E-3</c:v>
                </c:pt>
                <c:pt idx="2812">
                  <c:v>9.5124210000000001E-3</c:v>
                </c:pt>
                <c:pt idx="2813">
                  <c:v>9.4228070000000001E-3</c:v>
                </c:pt>
                <c:pt idx="2814">
                  <c:v>9.3702439999999998E-3</c:v>
                </c:pt>
                <c:pt idx="2815">
                  <c:v>9.3710570000000003E-3</c:v>
                </c:pt>
                <c:pt idx="2816">
                  <c:v>9.3745289999999995E-3</c:v>
                </c:pt>
                <c:pt idx="2817">
                  <c:v>9.3943580000000002E-3</c:v>
                </c:pt>
                <c:pt idx="2818">
                  <c:v>9.4385200000000006E-3</c:v>
                </c:pt>
                <c:pt idx="2819">
                  <c:v>9.4779040000000005E-3</c:v>
                </c:pt>
                <c:pt idx="2820">
                  <c:v>9.5337249999999998E-3</c:v>
                </c:pt>
                <c:pt idx="2821">
                  <c:v>9.598077E-3</c:v>
                </c:pt>
                <c:pt idx="2822">
                  <c:v>9.8663210000000008E-3</c:v>
                </c:pt>
                <c:pt idx="2823">
                  <c:v>1.0115371999999999E-2</c:v>
                </c:pt>
                <c:pt idx="2824">
                  <c:v>1.0231097999999999E-2</c:v>
                </c:pt>
                <c:pt idx="2825">
                  <c:v>1.0361665000000001E-2</c:v>
                </c:pt>
                <c:pt idx="2826">
                  <c:v>1.0449488E-2</c:v>
                </c:pt>
                <c:pt idx="2827">
                  <c:v>1.0514775000000001E-2</c:v>
                </c:pt>
                <c:pt idx="2828">
                  <c:v>1.0558947000000001E-2</c:v>
                </c:pt>
                <c:pt idx="2829">
                  <c:v>1.0583179999999999E-2</c:v>
                </c:pt>
                <c:pt idx="2830">
                  <c:v>1.0492016999999999E-2</c:v>
                </c:pt>
                <c:pt idx="2831">
                  <c:v>1.0434461000000001E-2</c:v>
                </c:pt>
                <c:pt idx="2832">
                  <c:v>1.0415321E-2</c:v>
                </c:pt>
                <c:pt idx="2833">
                  <c:v>1.0360117E-2</c:v>
                </c:pt>
                <c:pt idx="2834">
                  <c:v>1.0353876E-2</c:v>
                </c:pt>
                <c:pt idx="2835">
                  <c:v>1.0367431E-2</c:v>
                </c:pt>
                <c:pt idx="2836">
                  <c:v>1.0370104999999999E-2</c:v>
                </c:pt>
                <c:pt idx="2837">
                  <c:v>1.0334955E-2</c:v>
                </c:pt>
                <c:pt idx="2838">
                  <c:v>1.0377427E-2</c:v>
                </c:pt>
                <c:pt idx="2839">
                  <c:v>1.0385115E-2</c:v>
                </c:pt>
                <c:pt idx="2840">
                  <c:v>1.0340973999999999E-2</c:v>
                </c:pt>
                <c:pt idx="2841">
                  <c:v>1.0324175E-2</c:v>
                </c:pt>
                <c:pt idx="2842">
                  <c:v>1.0423030999999999E-2</c:v>
                </c:pt>
                <c:pt idx="2843">
                  <c:v>1.0377526999999999E-2</c:v>
                </c:pt>
                <c:pt idx="2844">
                  <c:v>1.0385171E-2</c:v>
                </c:pt>
                <c:pt idx="2845">
                  <c:v>1.0367407E-2</c:v>
                </c:pt>
                <c:pt idx="2846">
                  <c:v>1.0267643E-2</c:v>
                </c:pt>
                <c:pt idx="2847">
                  <c:v>1.0219465E-2</c:v>
                </c:pt>
                <c:pt idx="2848">
                  <c:v>1.0197846999999999E-2</c:v>
                </c:pt>
                <c:pt idx="2849">
                  <c:v>1.0111218999999999E-2</c:v>
                </c:pt>
                <c:pt idx="2850">
                  <c:v>1.0088313999999999E-2</c:v>
                </c:pt>
                <c:pt idx="2851">
                  <c:v>1.0054229E-2</c:v>
                </c:pt>
                <c:pt idx="2852">
                  <c:v>9.8956819999999994E-3</c:v>
                </c:pt>
                <c:pt idx="2853">
                  <c:v>9.7648360000000007E-3</c:v>
                </c:pt>
                <c:pt idx="2854">
                  <c:v>9.6064449999999999E-3</c:v>
                </c:pt>
                <c:pt idx="2855">
                  <c:v>9.5344599999999998E-3</c:v>
                </c:pt>
                <c:pt idx="2856">
                  <c:v>9.5259660000000003E-3</c:v>
                </c:pt>
                <c:pt idx="2857">
                  <c:v>9.3837150000000008E-3</c:v>
                </c:pt>
                <c:pt idx="2858">
                  <c:v>9.2221070000000002E-3</c:v>
                </c:pt>
                <c:pt idx="2859">
                  <c:v>9.0730519999999999E-3</c:v>
                </c:pt>
                <c:pt idx="2860">
                  <c:v>9.0448539999999997E-3</c:v>
                </c:pt>
                <c:pt idx="2861">
                  <c:v>9.0506059999999992E-3</c:v>
                </c:pt>
                <c:pt idx="2862">
                  <c:v>9.0324389999999997E-3</c:v>
                </c:pt>
                <c:pt idx="2863">
                  <c:v>9.0037260000000001E-3</c:v>
                </c:pt>
                <c:pt idx="2864">
                  <c:v>9.0689289999999999E-3</c:v>
                </c:pt>
                <c:pt idx="2865">
                  <c:v>9.1799550000000001E-3</c:v>
                </c:pt>
                <c:pt idx="2866">
                  <c:v>9.2260099999999998E-3</c:v>
                </c:pt>
                <c:pt idx="2867">
                  <c:v>9.2689220000000006E-3</c:v>
                </c:pt>
                <c:pt idx="2868">
                  <c:v>9.2627720000000007E-3</c:v>
                </c:pt>
                <c:pt idx="2869">
                  <c:v>9.1575389999999993E-3</c:v>
                </c:pt>
                <c:pt idx="2870">
                  <c:v>9.0895939999999995E-3</c:v>
                </c:pt>
                <c:pt idx="2871">
                  <c:v>9.0755300000000001E-3</c:v>
                </c:pt>
                <c:pt idx="2872">
                  <c:v>9.0880509999999998E-3</c:v>
                </c:pt>
                <c:pt idx="2873">
                  <c:v>9.2080349999999998E-3</c:v>
                </c:pt>
                <c:pt idx="2874">
                  <c:v>9.2785690000000004E-3</c:v>
                </c:pt>
                <c:pt idx="2875">
                  <c:v>9.3360119999999994E-3</c:v>
                </c:pt>
                <c:pt idx="2876">
                  <c:v>9.3776280000000007E-3</c:v>
                </c:pt>
                <c:pt idx="2877">
                  <c:v>9.4823589999999992E-3</c:v>
                </c:pt>
                <c:pt idx="2878">
                  <c:v>9.5546959999999997E-3</c:v>
                </c:pt>
                <c:pt idx="2879">
                  <c:v>9.7429449999999994E-3</c:v>
                </c:pt>
                <c:pt idx="2880">
                  <c:v>9.9356140000000006E-3</c:v>
                </c:pt>
                <c:pt idx="2881">
                  <c:v>9.9411259999999998E-3</c:v>
                </c:pt>
                <c:pt idx="2882">
                  <c:v>9.7707460000000003E-3</c:v>
                </c:pt>
                <c:pt idx="2883">
                  <c:v>9.6190679999999997E-3</c:v>
                </c:pt>
                <c:pt idx="2884">
                  <c:v>9.6007060000000005E-3</c:v>
                </c:pt>
                <c:pt idx="2885">
                  <c:v>9.6432270000000007E-3</c:v>
                </c:pt>
                <c:pt idx="2886">
                  <c:v>9.7700640000000002E-3</c:v>
                </c:pt>
                <c:pt idx="2887">
                  <c:v>9.9011480000000002E-3</c:v>
                </c:pt>
                <c:pt idx="2888">
                  <c:v>9.9975270000000008E-3</c:v>
                </c:pt>
                <c:pt idx="2889">
                  <c:v>1.0122463E-2</c:v>
                </c:pt>
                <c:pt idx="2890">
                  <c:v>1.0354303E-2</c:v>
                </c:pt>
                <c:pt idx="2891">
                  <c:v>1.0653210999999999E-2</c:v>
                </c:pt>
                <c:pt idx="2892">
                  <c:v>1.0840850000000001E-2</c:v>
                </c:pt>
                <c:pt idx="2893">
                  <c:v>1.1049476000000001E-2</c:v>
                </c:pt>
                <c:pt idx="2894">
                  <c:v>1.1274940000000001E-2</c:v>
                </c:pt>
                <c:pt idx="2895">
                  <c:v>1.1477714E-2</c:v>
                </c:pt>
                <c:pt idx="2896">
                  <c:v>1.1554076999999999E-2</c:v>
                </c:pt>
                <c:pt idx="2897">
                  <c:v>1.1622086E-2</c:v>
                </c:pt>
                <c:pt idx="2898">
                  <c:v>1.1672132E-2</c:v>
                </c:pt>
                <c:pt idx="2899">
                  <c:v>1.1801153999999999E-2</c:v>
                </c:pt>
                <c:pt idx="2900">
                  <c:v>1.2032331E-2</c:v>
                </c:pt>
                <c:pt idx="2901">
                  <c:v>1.2117269999999999E-2</c:v>
                </c:pt>
                <c:pt idx="2902">
                  <c:v>1.2133688E-2</c:v>
                </c:pt>
                <c:pt idx="2903">
                  <c:v>1.2244376E-2</c:v>
                </c:pt>
                <c:pt idx="2904">
                  <c:v>1.2288373E-2</c:v>
                </c:pt>
                <c:pt idx="2905">
                  <c:v>1.2332579999999999E-2</c:v>
                </c:pt>
                <c:pt idx="2906">
                  <c:v>1.2410997999999999E-2</c:v>
                </c:pt>
                <c:pt idx="2907">
                  <c:v>1.2514371999999999E-2</c:v>
                </c:pt>
                <c:pt idx="2908">
                  <c:v>1.2544230999999999E-2</c:v>
                </c:pt>
                <c:pt idx="2909">
                  <c:v>1.2616528E-2</c:v>
                </c:pt>
                <c:pt idx="2910">
                  <c:v>1.2653915E-2</c:v>
                </c:pt>
                <c:pt idx="2911">
                  <c:v>1.2693494E-2</c:v>
                </c:pt>
                <c:pt idx="2912">
                  <c:v>1.2740680000000001E-2</c:v>
                </c:pt>
                <c:pt idx="2913">
                  <c:v>1.2775319E-2</c:v>
                </c:pt>
                <c:pt idx="2914">
                  <c:v>1.2833433999999999E-2</c:v>
                </c:pt>
                <c:pt idx="2915">
                  <c:v>1.2858346999999999E-2</c:v>
                </c:pt>
                <c:pt idx="2916">
                  <c:v>1.2871006000000001E-2</c:v>
                </c:pt>
                <c:pt idx="2917">
                  <c:v>1.2918756E-2</c:v>
                </c:pt>
                <c:pt idx="2918">
                  <c:v>1.2940797E-2</c:v>
                </c:pt>
                <c:pt idx="2919">
                  <c:v>1.2960493E-2</c:v>
                </c:pt>
                <c:pt idx="2920">
                  <c:v>1.2966036E-2</c:v>
                </c:pt>
                <c:pt idx="2921">
                  <c:v>1.2958499E-2</c:v>
                </c:pt>
                <c:pt idx="2922">
                  <c:v>1.2943217E-2</c:v>
                </c:pt>
                <c:pt idx="2923">
                  <c:v>1.297939E-2</c:v>
                </c:pt>
                <c:pt idx="2924">
                  <c:v>1.3094494999999999E-2</c:v>
                </c:pt>
                <c:pt idx="2925">
                  <c:v>1.2960157E-2</c:v>
                </c:pt>
                <c:pt idx="2926">
                  <c:v>1.290034E-2</c:v>
                </c:pt>
                <c:pt idx="2927">
                  <c:v>1.2858744E-2</c:v>
                </c:pt>
                <c:pt idx="2928">
                  <c:v>1.2843014999999999E-2</c:v>
                </c:pt>
                <c:pt idx="2929">
                  <c:v>1.2819195E-2</c:v>
                </c:pt>
                <c:pt idx="2930">
                  <c:v>1.2817159999999999E-2</c:v>
                </c:pt>
                <c:pt idx="2931">
                  <c:v>1.2788172E-2</c:v>
                </c:pt>
                <c:pt idx="2932">
                  <c:v>1.2753017E-2</c:v>
                </c:pt>
                <c:pt idx="2933">
                  <c:v>1.2645952E-2</c:v>
                </c:pt>
                <c:pt idx="2934">
                  <c:v>1.259324E-2</c:v>
                </c:pt>
                <c:pt idx="2935">
                  <c:v>1.2537861000000001E-2</c:v>
                </c:pt>
                <c:pt idx="2936">
                  <c:v>1.2503821E-2</c:v>
                </c:pt>
                <c:pt idx="2937">
                  <c:v>1.2431223999999999E-2</c:v>
                </c:pt>
                <c:pt idx="2938">
                  <c:v>1.2434799E-2</c:v>
                </c:pt>
                <c:pt idx="2939">
                  <c:v>1.2333436E-2</c:v>
                </c:pt>
                <c:pt idx="2940">
                  <c:v>1.2144026E-2</c:v>
                </c:pt>
                <c:pt idx="2941">
                  <c:v>1.2167895999999999E-2</c:v>
                </c:pt>
                <c:pt idx="2942">
                  <c:v>1.2177844E-2</c:v>
                </c:pt>
                <c:pt idx="2943">
                  <c:v>1.2185069E-2</c:v>
                </c:pt>
                <c:pt idx="2944">
                  <c:v>1.2241503000000001E-2</c:v>
                </c:pt>
                <c:pt idx="2945">
                  <c:v>1.2191250000000001E-2</c:v>
                </c:pt>
                <c:pt idx="2946">
                  <c:v>1.2075344E-2</c:v>
                </c:pt>
                <c:pt idx="2947">
                  <c:v>1.1960281E-2</c:v>
                </c:pt>
                <c:pt idx="2948">
                  <c:v>1.1888832E-2</c:v>
                </c:pt>
                <c:pt idx="2949">
                  <c:v>1.1815633000000001E-2</c:v>
                </c:pt>
                <c:pt idx="2950">
                  <c:v>1.1569693000000001E-2</c:v>
                </c:pt>
                <c:pt idx="2951">
                  <c:v>1.1336894E-2</c:v>
                </c:pt>
                <c:pt idx="2952">
                  <c:v>1.1196108E-2</c:v>
                </c:pt>
                <c:pt idx="2953">
                  <c:v>1.1018165999999999E-2</c:v>
                </c:pt>
                <c:pt idx="2954">
                  <c:v>1.0824907999999999E-2</c:v>
                </c:pt>
                <c:pt idx="2955">
                  <c:v>1.0637374999999999E-2</c:v>
                </c:pt>
                <c:pt idx="2956">
                  <c:v>1.0578944999999999E-2</c:v>
                </c:pt>
                <c:pt idx="2957">
                  <c:v>1.0548689999999999E-2</c:v>
                </c:pt>
                <c:pt idx="2958">
                  <c:v>1.04685E-2</c:v>
                </c:pt>
                <c:pt idx="2959">
                  <c:v>1.0355104E-2</c:v>
                </c:pt>
                <c:pt idx="2960">
                  <c:v>1.0152991E-2</c:v>
                </c:pt>
                <c:pt idx="2961">
                  <c:v>1.00803E-2</c:v>
                </c:pt>
                <c:pt idx="2962">
                  <c:v>1.0046179000000001E-2</c:v>
                </c:pt>
                <c:pt idx="2963">
                  <c:v>1.0025388E-2</c:v>
                </c:pt>
                <c:pt idx="2964">
                  <c:v>1.002423E-2</c:v>
                </c:pt>
                <c:pt idx="2965">
                  <c:v>1.0048645E-2</c:v>
                </c:pt>
                <c:pt idx="2966">
                  <c:v>1.0084368999999999E-2</c:v>
                </c:pt>
                <c:pt idx="2967">
                  <c:v>1.0064649E-2</c:v>
                </c:pt>
                <c:pt idx="2968">
                  <c:v>1.0150617000000001E-2</c:v>
                </c:pt>
                <c:pt idx="2969">
                  <c:v>1.0199293999999999E-2</c:v>
                </c:pt>
                <c:pt idx="2970">
                  <c:v>1.0202348E-2</c:v>
                </c:pt>
                <c:pt idx="2971">
                  <c:v>1.0249914000000001E-2</c:v>
                </c:pt>
                <c:pt idx="2972">
                  <c:v>1.0340158E-2</c:v>
                </c:pt>
                <c:pt idx="2973">
                  <c:v>1.0397148E-2</c:v>
                </c:pt>
                <c:pt idx="2974">
                  <c:v>1.0551191999999999E-2</c:v>
                </c:pt>
                <c:pt idx="2975">
                  <c:v>1.0623057E-2</c:v>
                </c:pt>
                <c:pt idx="2976">
                  <c:v>1.06937E-2</c:v>
                </c:pt>
                <c:pt idx="2977">
                  <c:v>1.0761358E-2</c:v>
                </c:pt>
                <c:pt idx="2978">
                  <c:v>1.0883946E-2</c:v>
                </c:pt>
                <c:pt idx="2979">
                  <c:v>1.0963700999999999E-2</c:v>
                </c:pt>
                <c:pt idx="2980">
                  <c:v>1.0978458E-2</c:v>
                </c:pt>
                <c:pt idx="2981">
                  <c:v>1.0998709000000001E-2</c:v>
                </c:pt>
                <c:pt idx="2982">
                  <c:v>1.1019362E-2</c:v>
                </c:pt>
                <c:pt idx="2983">
                  <c:v>1.1023033999999999E-2</c:v>
                </c:pt>
                <c:pt idx="2984">
                  <c:v>1.0911888E-2</c:v>
                </c:pt>
                <c:pt idx="2985">
                  <c:v>1.0962691E-2</c:v>
                </c:pt>
                <c:pt idx="2986">
                  <c:v>1.1002266E-2</c:v>
                </c:pt>
                <c:pt idx="2987">
                  <c:v>1.1071856E-2</c:v>
                </c:pt>
                <c:pt idx="2988">
                  <c:v>1.1098388000000001E-2</c:v>
                </c:pt>
                <c:pt idx="2989">
                  <c:v>1.1137461E-2</c:v>
                </c:pt>
                <c:pt idx="2990">
                  <c:v>1.1203344E-2</c:v>
                </c:pt>
                <c:pt idx="2991">
                  <c:v>1.1240752E-2</c:v>
                </c:pt>
                <c:pt idx="2992">
                  <c:v>1.1244887E-2</c:v>
                </c:pt>
                <c:pt idx="2993">
                  <c:v>1.1276174E-2</c:v>
                </c:pt>
                <c:pt idx="2994">
                  <c:v>1.1292468999999999E-2</c:v>
                </c:pt>
                <c:pt idx="2995">
                  <c:v>1.1346538E-2</c:v>
                </c:pt>
                <c:pt idx="2996">
                  <c:v>1.1410404000000001E-2</c:v>
                </c:pt>
                <c:pt idx="2997">
                  <c:v>1.135681E-2</c:v>
                </c:pt>
                <c:pt idx="2998">
                  <c:v>1.1276700000000001E-2</c:v>
                </c:pt>
                <c:pt idx="2999">
                  <c:v>1.1226325000000001E-2</c:v>
                </c:pt>
                <c:pt idx="3000">
                  <c:v>1.1207712E-2</c:v>
                </c:pt>
                <c:pt idx="3001">
                  <c:v>1.1107041E-2</c:v>
                </c:pt>
                <c:pt idx="3002">
                  <c:v>1.1068269E-2</c:v>
                </c:pt>
                <c:pt idx="3003">
                  <c:v>1.1020983E-2</c:v>
                </c:pt>
                <c:pt idx="3004">
                  <c:v>1.0890145E-2</c:v>
                </c:pt>
                <c:pt idx="3005">
                  <c:v>1.0782247E-2</c:v>
                </c:pt>
                <c:pt idx="3006">
                  <c:v>1.0743767E-2</c:v>
                </c:pt>
                <c:pt idx="3007">
                  <c:v>1.0765532E-2</c:v>
                </c:pt>
                <c:pt idx="3008">
                  <c:v>1.0726902999999999E-2</c:v>
                </c:pt>
                <c:pt idx="3009">
                  <c:v>1.078074E-2</c:v>
                </c:pt>
                <c:pt idx="3010">
                  <c:v>1.0811543E-2</c:v>
                </c:pt>
                <c:pt idx="3011">
                  <c:v>1.0807113E-2</c:v>
                </c:pt>
                <c:pt idx="3012">
                  <c:v>1.0818814E-2</c:v>
                </c:pt>
                <c:pt idx="3013">
                  <c:v>1.0814501000000001E-2</c:v>
                </c:pt>
                <c:pt idx="3014">
                  <c:v>1.0800962000000001E-2</c:v>
                </c:pt>
                <c:pt idx="3015">
                  <c:v>1.076627E-2</c:v>
                </c:pt>
                <c:pt idx="3016">
                  <c:v>1.0790703E-2</c:v>
                </c:pt>
                <c:pt idx="3017">
                  <c:v>1.0787078E-2</c:v>
                </c:pt>
                <c:pt idx="3018">
                  <c:v>1.0845743E-2</c:v>
                </c:pt>
                <c:pt idx="3019">
                  <c:v>1.0833491000000001E-2</c:v>
                </c:pt>
                <c:pt idx="3020">
                  <c:v>1.0828963E-2</c:v>
                </c:pt>
                <c:pt idx="3021">
                  <c:v>1.0836457000000001E-2</c:v>
                </c:pt>
                <c:pt idx="3022">
                  <c:v>1.0778480999999999E-2</c:v>
                </c:pt>
                <c:pt idx="3023">
                  <c:v>1.0712289999999999E-2</c:v>
                </c:pt>
                <c:pt idx="3024">
                  <c:v>1.0688718E-2</c:v>
                </c:pt>
                <c:pt idx="3025">
                  <c:v>1.0657293E-2</c:v>
                </c:pt>
                <c:pt idx="3026">
                  <c:v>1.0600282000000001E-2</c:v>
                </c:pt>
                <c:pt idx="3027">
                  <c:v>1.0666431000000001E-2</c:v>
                </c:pt>
                <c:pt idx="3028">
                  <c:v>1.0598662999999999E-2</c:v>
                </c:pt>
                <c:pt idx="3029">
                  <c:v>1.0636523E-2</c:v>
                </c:pt>
                <c:pt idx="3030">
                  <c:v>1.0656231E-2</c:v>
                </c:pt>
                <c:pt idx="3031">
                  <c:v>1.0649634E-2</c:v>
                </c:pt>
                <c:pt idx="3032">
                  <c:v>1.0594275E-2</c:v>
                </c:pt>
                <c:pt idx="3033">
                  <c:v>1.0562297E-2</c:v>
                </c:pt>
                <c:pt idx="3034">
                  <c:v>1.0433899E-2</c:v>
                </c:pt>
                <c:pt idx="3035">
                  <c:v>1.0368448000000001E-2</c:v>
                </c:pt>
                <c:pt idx="3036">
                  <c:v>1.0293428E-2</c:v>
                </c:pt>
                <c:pt idx="3037">
                  <c:v>1.0250334E-2</c:v>
                </c:pt>
                <c:pt idx="3038">
                  <c:v>1.0154457E-2</c:v>
                </c:pt>
                <c:pt idx="3039">
                  <c:v>1.0122977E-2</c:v>
                </c:pt>
                <c:pt idx="3040">
                  <c:v>1.0179014E-2</c:v>
                </c:pt>
                <c:pt idx="3041">
                  <c:v>1.022385E-2</c:v>
                </c:pt>
                <c:pt idx="3042">
                  <c:v>1.0288534E-2</c:v>
                </c:pt>
                <c:pt idx="3043">
                  <c:v>1.0319965E-2</c:v>
                </c:pt>
                <c:pt idx="3044">
                  <c:v>1.0463472999999999E-2</c:v>
                </c:pt>
                <c:pt idx="3045">
                  <c:v>1.0524567E-2</c:v>
                </c:pt>
                <c:pt idx="3046">
                  <c:v>1.0681101E-2</c:v>
                </c:pt>
                <c:pt idx="3047">
                  <c:v>1.0736941999999999E-2</c:v>
                </c:pt>
                <c:pt idx="3048">
                  <c:v>1.0798129E-2</c:v>
                </c:pt>
                <c:pt idx="3049">
                  <c:v>1.0858972E-2</c:v>
                </c:pt>
                <c:pt idx="3050">
                  <c:v>1.0880971999999999E-2</c:v>
                </c:pt>
                <c:pt idx="3051">
                  <c:v>1.0976052E-2</c:v>
                </c:pt>
                <c:pt idx="3052">
                  <c:v>1.1075991E-2</c:v>
                </c:pt>
                <c:pt idx="3053">
                  <c:v>1.1108889E-2</c:v>
                </c:pt>
                <c:pt idx="3054">
                  <c:v>1.1209502999999999E-2</c:v>
                </c:pt>
                <c:pt idx="3055">
                  <c:v>1.1288212000000001E-2</c:v>
                </c:pt>
                <c:pt idx="3056">
                  <c:v>1.1351254999999999E-2</c:v>
                </c:pt>
                <c:pt idx="3057">
                  <c:v>1.1458046E-2</c:v>
                </c:pt>
                <c:pt idx="3058">
                  <c:v>1.1554765999999999E-2</c:v>
                </c:pt>
                <c:pt idx="3059">
                  <c:v>1.1583632E-2</c:v>
                </c:pt>
                <c:pt idx="3060">
                  <c:v>1.1654988E-2</c:v>
                </c:pt>
                <c:pt idx="3061">
                  <c:v>1.1731235E-2</c:v>
                </c:pt>
                <c:pt idx="3062">
                  <c:v>1.1783539000000001E-2</c:v>
                </c:pt>
                <c:pt idx="3063">
                  <c:v>1.1892214E-2</c:v>
                </c:pt>
                <c:pt idx="3064">
                  <c:v>1.1976986E-2</c:v>
                </c:pt>
                <c:pt idx="3065">
                  <c:v>1.206191E-2</c:v>
                </c:pt>
                <c:pt idx="3066">
                  <c:v>1.2092689E-2</c:v>
                </c:pt>
                <c:pt idx="3067">
                  <c:v>1.2077353000000001E-2</c:v>
                </c:pt>
                <c:pt idx="3068">
                  <c:v>1.2098365E-2</c:v>
                </c:pt>
                <c:pt idx="3069">
                  <c:v>1.2026494E-2</c:v>
                </c:pt>
                <c:pt idx="3070">
                  <c:v>1.2038480000000001E-2</c:v>
                </c:pt>
                <c:pt idx="3071">
                  <c:v>1.2042181000000001E-2</c:v>
                </c:pt>
                <c:pt idx="3072">
                  <c:v>1.2023067E-2</c:v>
                </c:pt>
                <c:pt idx="3073">
                  <c:v>1.2121336999999999E-2</c:v>
                </c:pt>
                <c:pt idx="3074">
                  <c:v>1.2300617999999999E-2</c:v>
                </c:pt>
                <c:pt idx="3075">
                  <c:v>1.2411303E-2</c:v>
                </c:pt>
                <c:pt idx="3076">
                  <c:v>1.2492286E-2</c:v>
                </c:pt>
                <c:pt idx="3077">
                  <c:v>1.2575629E-2</c:v>
                </c:pt>
                <c:pt idx="3078">
                  <c:v>1.2676962999999999E-2</c:v>
                </c:pt>
                <c:pt idx="3079">
                  <c:v>1.2786699E-2</c:v>
                </c:pt>
                <c:pt idx="3080">
                  <c:v>1.2882866E-2</c:v>
                </c:pt>
                <c:pt idx="3081">
                  <c:v>1.2965620000000001E-2</c:v>
                </c:pt>
                <c:pt idx="3082">
                  <c:v>1.3041962000000001E-2</c:v>
                </c:pt>
                <c:pt idx="3083">
                  <c:v>1.3098418000000001E-2</c:v>
                </c:pt>
                <c:pt idx="3084">
                  <c:v>1.3186384000000001E-2</c:v>
                </c:pt>
                <c:pt idx="3085">
                  <c:v>1.3301156E-2</c:v>
                </c:pt>
                <c:pt idx="3086">
                  <c:v>1.3324012999999999E-2</c:v>
                </c:pt>
                <c:pt idx="3087">
                  <c:v>1.3273172999999999E-2</c:v>
                </c:pt>
                <c:pt idx="3088">
                  <c:v>1.3292797E-2</c:v>
                </c:pt>
                <c:pt idx="3089">
                  <c:v>1.3243751E-2</c:v>
                </c:pt>
                <c:pt idx="3090">
                  <c:v>1.325632E-2</c:v>
                </c:pt>
                <c:pt idx="3091">
                  <c:v>1.3254882000000001E-2</c:v>
                </c:pt>
                <c:pt idx="3092">
                  <c:v>1.3290065E-2</c:v>
                </c:pt>
                <c:pt idx="3093">
                  <c:v>1.3314329E-2</c:v>
                </c:pt>
                <c:pt idx="3094">
                  <c:v>1.3340729000000001E-2</c:v>
                </c:pt>
                <c:pt idx="3095">
                  <c:v>1.3316256E-2</c:v>
                </c:pt>
                <c:pt idx="3096">
                  <c:v>1.3314717E-2</c:v>
                </c:pt>
                <c:pt idx="3097">
                  <c:v>1.3302539E-2</c:v>
                </c:pt>
                <c:pt idx="3098">
                  <c:v>1.3299231E-2</c:v>
                </c:pt>
                <c:pt idx="3099">
                  <c:v>1.3352918E-2</c:v>
                </c:pt>
                <c:pt idx="3100">
                  <c:v>1.3335899999999999E-2</c:v>
                </c:pt>
                <c:pt idx="3101">
                  <c:v>1.3285669999999999E-2</c:v>
                </c:pt>
                <c:pt idx="3102">
                  <c:v>1.3221942E-2</c:v>
                </c:pt>
                <c:pt idx="3103">
                  <c:v>1.3192783E-2</c:v>
                </c:pt>
                <c:pt idx="3104">
                  <c:v>1.3076153E-2</c:v>
                </c:pt>
                <c:pt idx="3105">
                  <c:v>1.2991048999999999E-2</c:v>
                </c:pt>
                <c:pt idx="3106">
                  <c:v>1.2859549E-2</c:v>
                </c:pt>
                <c:pt idx="3107">
                  <c:v>1.2803016E-2</c:v>
                </c:pt>
                <c:pt idx="3108">
                  <c:v>1.2734028E-2</c:v>
                </c:pt>
                <c:pt idx="3109">
                  <c:v>1.2651022E-2</c:v>
                </c:pt>
                <c:pt idx="3110">
                  <c:v>1.2609815E-2</c:v>
                </c:pt>
                <c:pt idx="3111">
                  <c:v>1.2542111999999999E-2</c:v>
                </c:pt>
                <c:pt idx="3112">
                  <c:v>1.2567317E-2</c:v>
                </c:pt>
                <c:pt idx="3113">
                  <c:v>1.2639411999999999E-2</c:v>
                </c:pt>
                <c:pt idx="3114">
                  <c:v>1.2695391E-2</c:v>
                </c:pt>
                <c:pt idx="3115">
                  <c:v>1.2658487E-2</c:v>
                </c:pt>
                <c:pt idx="3116">
                  <c:v>1.2640337999999999E-2</c:v>
                </c:pt>
                <c:pt idx="3117">
                  <c:v>1.2648467E-2</c:v>
                </c:pt>
                <c:pt idx="3118">
                  <c:v>1.2641960000000001E-2</c:v>
                </c:pt>
                <c:pt idx="3119">
                  <c:v>1.267981E-2</c:v>
                </c:pt>
                <c:pt idx="3120">
                  <c:v>1.2752261000000001E-2</c:v>
                </c:pt>
                <c:pt idx="3121">
                  <c:v>1.2828187E-2</c:v>
                </c:pt>
                <c:pt idx="3122">
                  <c:v>1.2839085E-2</c:v>
                </c:pt>
                <c:pt idx="3123">
                  <c:v>1.2855500000000001E-2</c:v>
                </c:pt>
                <c:pt idx="3124">
                  <c:v>1.2946477E-2</c:v>
                </c:pt>
                <c:pt idx="3125">
                  <c:v>1.3032703E-2</c:v>
                </c:pt>
                <c:pt idx="3126">
                  <c:v>1.3084339E-2</c:v>
                </c:pt>
                <c:pt idx="3127">
                  <c:v>1.3139949E-2</c:v>
                </c:pt>
                <c:pt idx="3128">
                  <c:v>1.3349979999999999E-2</c:v>
                </c:pt>
                <c:pt idx="3129">
                  <c:v>1.3455065E-2</c:v>
                </c:pt>
                <c:pt idx="3130">
                  <c:v>1.3635849E-2</c:v>
                </c:pt>
                <c:pt idx="3131">
                  <c:v>1.3824781E-2</c:v>
                </c:pt>
                <c:pt idx="3132">
                  <c:v>1.4021617E-2</c:v>
                </c:pt>
                <c:pt idx="3133">
                  <c:v>1.4041322E-2</c:v>
                </c:pt>
                <c:pt idx="3134">
                  <c:v>1.4008479000000001E-2</c:v>
                </c:pt>
                <c:pt idx="3135">
                  <c:v>1.3988532E-2</c:v>
                </c:pt>
                <c:pt idx="3136">
                  <c:v>1.3975797E-2</c:v>
                </c:pt>
                <c:pt idx="3137">
                  <c:v>1.3949395E-2</c:v>
                </c:pt>
                <c:pt idx="3138">
                  <c:v>1.3862839E-2</c:v>
                </c:pt>
                <c:pt idx="3139">
                  <c:v>1.3793448999999999E-2</c:v>
                </c:pt>
                <c:pt idx="3140">
                  <c:v>1.3869681E-2</c:v>
                </c:pt>
                <c:pt idx="3141">
                  <c:v>1.3851759999999999E-2</c:v>
                </c:pt>
                <c:pt idx="3142">
                  <c:v>1.381131E-2</c:v>
                </c:pt>
                <c:pt idx="3143">
                  <c:v>1.3802828E-2</c:v>
                </c:pt>
                <c:pt idx="3144">
                  <c:v>1.3772938E-2</c:v>
                </c:pt>
                <c:pt idx="3145">
                  <c:v>1.3694102E-2</c:v>
                </c:pt>
                <c:pt idx="3146">
                  <c:v>1.3685953000000001E-2</c:v>
                </c:pt>
                <c:pt idx="3147">
                  <c:v>1.3658831E-2</c:v>
                </c:pt>
                <c:pt idx="3148">
                  <c:v>1.3645121E-2</c:v>
                </c:pt>
                <c:pt idx="3149">
                  <c:v>1.3598944E-2</c:v>
                </c:pt>
                <c:pt idx="3150">
                  <c:v>1.3570057999999999E-2</c:v>
                </c:pt>
                <c:pt idx="3151">
                  <c:v>1.357849E-2</c:v>
                </c:pt>
                <c:pt idx="3152">
                  <c:v>1.3603089E-2</c:v>
                </c:pt>
                <c:pt idx="3153">
                  <c:v>1.3594116E-2</c:v>
                </c:pt>
                <c:pt idx="3154">
                  <c:v>1.3617165000000001E-2</c:v>
                </c:pt>
                <c:pt idx="3155">
                  <c:v>1.3667728000000001E-2</c:v>
                </c:pt>
                <c:pt idx="3156">
                  <c:v>1.3735747E-2</c:v>
                </c:pt>
                <c:pt idx="3157">
                  <c:v>1.3799014E-2</c:v>
                </c:pt>
                <c:pt idx="3158">
                  <c:v>1.3810586E-2</c:v>
                </c:pt>
                <c:pt idx="3159">
                  <c:v>1.3852266E-2</c:v>
                </c:pt>
                <c:pt idx="3160">
                  <c:v>1.3941522E-2</c:v>
                </c:pt>
                <c:pt idx="3161">
                  <c:v>1.4015948E-2</c:v>
                </c:pt>
                <c:pt idx="3162">
                  <c:v>1.4121496000000001E-2</c:v>
                </c:pt>
                <c:pt idx="3163">
                  <c:v>1.4281759E-2</c:v>
                </c:pt>
                <c:pt idx="3164">
                  <c:v>1.4335883000000001E-2</c:v>
                </c:pt>
                <c:pt idx="3165">
                  <c:v>1.4490255E-2</c:v>
                </c:pt>
                <c:pt idx="3166">
                  <c:v>1.4532925E-2</c:v>
                </c:pt>
                <c:pt idx="3167">
                  <c:v>1.4555713E-2</c:v>
                </c:pt>
                <c:pt idx="3168">
                  <c:v>1.4764928E-2</c:v>
                </c:pt>
                <c:pt idx="3169">
                  <c:v>1.4941921E-2</c:v>
                </c:pt>
                <c:pt idx="3170">
                  <c:v>1.520901E-2</c:v>
                </c:pt>
                <c:pt idx="3171">
                  <c:v>1.5389385E-2</c:v>
                </c:pt>
                <c:pt idx="3172">
                  <c:v>1.5541539E-2</c:v>
                </c:pt>
                <c:pt idx="3173">
                  <c:v>1.5635078E-2</c:v>
                </c:pt>
                <c:pt idx="3174">
                  <c:v>1.5732755000000001E-2</c:v>
                </c:pt>
                <c:pt idx="3175">
                  <c:v>1.5937201000000002E-2</c:v>
                </c:pt>
                <c:pt idx="3176">
                  <c:v>1.6046859E-2</c:v>
                </c:pt>
                <c:pt idx="3177">
                  <c:v>1.6142759E-2</c:v>
                </c:pt>
                <c:pt idx="3178">
                  <c:v>1.6260202000000001E-2</c:v>
                </c:pt>
                <c:pt idx="3179">
                  <c:v>1.6267269000000001E-2</c:v>
                </c:pt>
                <c:pt idx="3180">
                  <c:v>1.6236318E-2</c:v>
                </c:pt>
                <c:pt idx="3181">
                  <c:v>1.6301234000000001E-2</c:v>
                </c:pt>
                <c:pt idx="3182">
                  <c:v>1.6328547999999998E-2</c:v>
                </c:pt>
                <c:pt idx="3183">
                  <c:v>1.6360515999999999E-2</c:v>
                </c:pt>
                <c:pt idx="3184">
                  <c:v>1.6477727000000001E-2</c:v>
                </c:pt>
                <c:pt idx="3185">
                  <c:v>1.6595784999999998E-2</c:v>
                </c:pt>
                <c:pt idx="3186">
                  <c:v>1.6674431999999999E-2</c:v>
                </c:pt>
                <c:pt idx="3187">
                  <c:v>1.6832054999999999E-2</c:v>
                </c:pt>
                <c:pt idx="3188">
                  <c:v>1.6688543E-2</c:v>
                </c:pt>
                <c:pt idx="3189">
                  <c:v>1.6638076000000002E-2</c:v>
                </c:pt>
                <c:pt idx="3190">
                  <c:v>1.6406067E-2</c:v>
                </c:pt>
                <c:pt idx="3191">
                  <c:v>1.6218671E-2</c:v>
                </c:pt>
                <c:pt idx="3192">
                  <c:v>1.6039121999999999E-2</c:v>
                </c:pt>
                <c:pt idx="3193">
                  <c:v>1.6036950000000001E-2</c:v>
                </c:pt>
                <c:pt idx="3194">
                  <c:v>1.598341E-2</c:v>
                </c:pt>
                <c:pt idx="3195">
                  <c:v>1.5984833E-2</c:v>
                </c:pt>
                <c:pt idx="3196">
                  <c:v>1.5955476999999999E-2</c:v>
                </c:pt>
                <c:pt idx="3197">
                  <c:v>1.5926492E-2</c:v>
                </c:pt>
                <c:pt idx="3198">
                  <c:v>1.5899669000000002E-2</c:v>
                </c:pt>
                <c:pt idx="3199">
                  <c:v>1.5968049000000002E-2</c:v>
                </c:pt>
                <c:pt idx="3200">
                  <c:v>1.5869457999999999E-2</c:v>
                </c:pt>
                <c:pt idx="3201">
                  <c:v>1.5828419999999999E-2</c:v>
                </c:pt>
                <c:pt idx="3202">
                  <c:v>1.5866854999999999E-2</c:v>
                </c:pt>
                <c:pt idx="3203">
                  <c:v>1.5955684000000001E-2</c:v>
                </c:pt>
                <c:pt idx="3204">
                  <c:v>1.5969002E-2</c:v>
                </c:pt>
                <c:pt idx="3205">
                  <c:v>1.5982020999999999E-2</c:v>
                </c:pt>
                <c:pt idx="3206">
                  <c:v>1.5991057999999999E-2</c:v>
                </c:pt>
                <c:pt idx="3207">
                  <c:v>1.5986673999999999E-2</c:v>
                </c:pt>
                <c:pt idx="3208">
                  <c:v>1.5959623999999999E-2</c:v>
                </c:pt>
                <c:pt idx="3209">
                  <c:v>1.5957177999999999E-2</c:v>
                </c:pt>
                <c:pt idx="3210">
                  <c:v>1.5980194999999999E-2</c:v>
                </c:pt>
                <c:pt idx="3211">
                  <c:v>1.5968650000000001E-2</c:v>
                </c:pt>
                <c:pt idx="3212">
                  <c:v>1.6094435000000001E-2</c:v>
                </c:pt>
                <c:pt idx="3213">
                  <c:v>1.6162070000000001E-2</c:v>
                </c:pt>
                <c:pt idx="3214">
                  <c:v>1.6185582E-2</c:v>
                </c:pt>
                <c:pt idx="3215">
                  <c:v>1.6186604E-2</c:v>
                </c:pt>
                <c:pt idx="3216">
                  <c:v>1.6188978E-2</c:v>
                </c:pt>
                <c:pt idx="3217">
                  <c:v>1.6142185999999999E-2</c:v>
                </c:pt>
                <c:pt idx="3218">
                  <c:v>1.6169537000000001E-2</c:v>
                </c:pt>
                <c:pt idx="3219">
                  <c:v>1.6058882999999999E-2</c:v>
                </c:pt>
                <c:pt idx="3220">
                  <c:v>1.5941541E-2</c:v>
                </c:pt>
                <c:pt idx="3221">
                  <c:v>1.5847914000000001E-2</c:v>
                </c:pt>
                <c:pt idx="3222">
                  <c:v>1.5773565E-2</c:v>
                </c:pt>
                <c:pt idx="3223">
                  <c:v>1.5655002000000001E-2</c:v>
                </c:pt>
                <c:pt idx="3224">
                  <c:v>1.5534358999999999E-2</c:v>
                </c:pt>
                <c:pt idx="3225">
                  <c:v>1.5364355E-2</c:v>
                </c:pt>
                <c:pt idx="3226">
                  <c:v>1.5322636000000001E-2</c:v>
                </c:pt>
                <c:pt idx="3227">
                  <c:v>1.5279196E-2</c:v>
                </c:pt>
                <c:pt idx="3228">
                  <c:v>1.5150833000000001E-2</c:v>
                </c:pt>
                <c:pt idx="3229">
                  <c:v>1.5016833E-2</c:v>
                </c:pt>
                <c:pt idx="3230">
                  <c:v>1.4769799E-2</c:v>
                </c:pt>
                <c:pt idx="3231">
                  <c:v>1.4594912999999999E-2</c:v>
                </c:pt>
                <c:pt idx="3232">
                  <c:v>1.4415535E-2</c:v>
                </c:pt>
                <c:pt idx="3233">
                  <c:v>1.4226511000000001E-2</c:v>
                </c:pt>
                <c:pt idx="3234">
                  <c:v>1.3989392E-2</c:v>
                </c:pt>
                <c:pt idx="3235">
                  <c:v>1.374125E-2</c:v>
                </c:pt>
                <c:pt idx="3236">
                  <c:v>1.3535247E-2</c:v>
                </c:pt>
                <c:pt idx="3237">
                  <c:v>1.3374584E-2</c:v>
                </c:pt>
                <c:pt idx="3238">
                  <c:v>1.3148195E-2</c:v>
                </c:pt>
                <c:pt idx="3239">
                  <c:v>1.3057879999999999E-2</c:v>
                </c:pt>
                <c:pt idx="3240">
                  <c:v>1.297795E-2</c:v>
                </c:pt>
                <c:pt idx="3241">
                  <c:v>1.2748252999999999E-2</c:v>
                </c:pt>
                <c:pt idx="3242">
                  <c:v>1.2619452E-2</c:v>
                </c:pt>
                <c:pt idx="3243">
                  <c:v>1.2450578E-2</c:v>
                </c:pt>
                <c:pt idx="3244">
                  <c:v>1.2195173E-2</c:v>
                </c:pt>
                <c:pt idx="3245">
                  <c:v>1.1946734000000001E-2</c:v>
                </c:pt>
                <c:pt idx="3246">
                  <c:v>1.1772377000000001E-2</c:v>
                </c:pt>
                <c:pt idx="3247">
                  <c:v>1.1481863E-2</c:v>
                </c:pt>
                <c:pt idx="3248">
                  <c:v>1.1391685E-2</c:v>
                </c:pt>
                <c:pt idx="3249">
                  <c:v>1.1336404E-2</c:v>
                </c:pt>
                <c:pt idx="3250">
                  <c:v>1.1340174999999999E-2</c:v>
                </c:pt>
                <c:pt idx="3251">
                  <c:v>1.1300457E-2</c:v>
                </c:pt>
                <c:pt idx="3252">
                  <c:v>1.1245994E-2</c:v>
                </c:pt>
                <c:pt idx="3253">
                  <c:v>1.1118050000000001E-2</c:v>
                </c:pt>
                <c:pt idx="3254">
                  <c:v>1.1011635000000001E-2</c:v>
                </c:pt>
                <c:pt idx="3255">
                  <c:v>1.0957316999999999E-2</c:v>
                </c:pt>
                <c:pt idx="3256">
                  <c:v>1.0906694E-2</c:v>
                </c:pt>
                <c:pt idx="3257">
                  <c:v>1.0901737E-2</c:v>
                </c:pt>
                <c:pt idx="3258">
                  <c:v>1.0869217E-2</c:v>
                </c:pt>
                <c:pt idx="3259">
                  <c:v>1.0742946999999999E-2</c:v>
                </c:pt>
                <c:pt idx="3260">
                  <c:v>1.0686417E-2</c:v>
                </c:pt>
                <c:pt idx="3261">
                  <c:v>1.0661222999999999E-2</c:v>
                </c:pt>
                <c:pt idx="3262">
                  <c:v>1.060321E-2</c:v>
                </c:pt>
                <c:pt idx="3263">
                  <c:v>1.0489191E-2</c:v>
                </c:pt>
                <c:pt idx="3264">
                  <c:v>1.0404692E-2</c:v>
                </c:pt>
                <c:pt idx="3265">
                  <c:v>1.0361805999999999E-2</c:v>
                </c:pt>
                <c:pt idx="3266">
                  <c:v>1.0335363E-2</c:v>
                </c:pt>
                <c:pt idx="3267">
                  <c:v>1.0305063999999999E-2</c:v>
                </c:pt>
                <c:pt idx="3268">
                  <c:v>1.0306610000000001E-2</c:v>
                </c:pt>
                <c:pt idx="3269">
                  <c:v>1.0454883999999999E-2</c:v>
                </c:pt>
                <c:pt idx="3270">
                  <c:v>1.0435648E-2</c:v>
                </c:pt>
                <c:pt idx="3271">
                  <c:v>1.0440367000000001E-2</c:v>
                </c:pt>
                <c:pt idx="3272">
                  <c:v>1.0242925999999999E-2</c:v>
                </c:pt>
                <c:pt idx="3273">
                  <c:v>1.0175295000000001E-2</c:v>
                </c:pt>
                <c:pt idx="3274">
                  <c:v>1.0116206000000001E-2</c:v>
                </c:pt>
                <c:pt idx="3275">
                  <c:v>1.0087321E-2</c:v>
                </c:pt>
                <c:pt idx="3276">
                  <c:v>1.0015468E-2</c:v>
                </c:pt>
                <c:pt idx="3277">
                  <c:v>9.9852870000000007E-3</c:v>
                </c:pt>
                <c:pt idx="3278">
                  <c:v>9.9393889999999999E-3</c:v>
                </c:pt>
                <c:pt idx="3279">
                  <c:v>9.939336E-3</c:v>
                </c:pt>
                <c:pt idx="3280">
                  <c:v>9.9131640000000004E-3</c:v>
                </c:pt>
                <c:pt idx="3281">
                  <c:v>9.9094579999999995E-3</c:v>
                </c:pt>
                <c:pt idx="3282">
                  <c:v>9.872624E-3</c:v>
                </c:pt>
                <c:pt idx="3283">
                  <c:v>9.8145230000000003E-3</c:v>
                </c:pt>
                <c:pt idx="3284">
                  <c:v>9.7986759999999992E-3</c:v>
                </c:pt>
                <c:pt idx="3285">
                  <c:v>9.8071860000000007E-3</c:v>
                </c:pt>
                <c:pt idx="3286">
                  <c:v>9.8030119999999998E-3</c:v>
                </c:pt>
                <c:pt idx="3287">
                  <c:v>9.7767210000000004E-3</c:v>
                </c:pt>
                <c:pt idx="3288">
                  <c:v>9.6971339999999996E-3</c:v>
                </c:pt>
                <c:pt idx="3289">
                  <c:v>9.6206590000000002E-3</c:v>
                </c:pt>
                <c:pt idx="3290">
                  <c:v>9.5624850000000008E-3</c:v>
                </c:pt>
                <c:pt idx="3291">
                  <c:v>9.5144359999999994E-3</c:v>
                </c:pt>
                <c:pt idx="3292">
                  <c:v>9.4850549999999992E-3</c:v>
                </c:pt>
                <c:pt idx="3293">
                  <c:v>9.5565849999999994E-3</c:v>
                </c:pt>
                <c:pt idx="3294">
                  <c:v>9.6805869999999992E-3</c:v>
                </c:pt>
                <c:pt idx="3295">
                  <c:v>9.6854230000000003E-3</c:v>
                </c:pt>
                <c:pt idx="3296">
                  <c:v>9.6862029999999991E-3</c:v>
                </c:pt>
                <c:pt idx="3297">
                  <c:v>9.6274489999999997E-3</c:v>
                </c:pt>
                <c:pt idx="3298">
                  <c:v>9.6381550000000007E-3</c:v>
                </c:pt>
                <c:pt idx="3299">
                  <c:v>9.5960650000000008E-3</c:v>
                </c:pt>
                <c:pt idx="3300">
                  <c:v>9.5677220000000007E-3</c:v>
                </c:pt>
                <c:pt idx="3301">
                  <c:v>9.6229030000000004E-3</c:v>
                </c:pt>
                <c:pt idx="3302">
                  <c:v>9.6205579999999995E-3</c:v>
                </c:pt>
                <c:pt idx="3303">
                  <c:v>9.6227080000000006E-3</c:v>
                </c:pt>
                <c:pt idx="3304">
                  <c:v>9.6278939999999997E-3</c:v>
                </c:pt>
                <c:pt idx="3305">
                  <c:v>9.621203E-3</c:v>
                </c:pt>
                <c:pt idx="3306">
                  <c:v>9.6555990000000008E-3</c:v>
                </c:pt>
                <c:pt idx="3307">
                  <c:v>9.6705839999999994E-3</c:v>
                </c:pt>
                <c:pt idx="3308">
                  <c:v>9.6759120000000001E-3</c:v>
                </c:pt>
                <c:pt idx="3309">
                  <c:v>9.6159009999999996E-3</c:v>
                </c:pt>
                <c:pt idx="3310">
                  <c:v>9.6007120000000008E-3</c:v>
                </c:pt>
                <c:pt idx="3311">
                  <c:v>9.5803590000000001E-3</c:v>
                </c:pt>
                <c:pt idx="3312">
                  <c:v>9.5749070000000006E-3</c:v>
                </c:pt>
                <c:pt idx="3313">
                  <c:v>9.5671060000000006E-3</c:v>
                </c:pt>
                <c:pt idx="3314">
                  <c:v>9.5711760000000007E-3</c:v>
                </c:pt>
                <c:pt idx="3315">
                  <c:v>9.5137150000000007E-3</c:v>
                </c:pt>
                <c:pt idx="3316">
                  <c:v>9.4659849999999997E-3</c:v>
                </c:pt>
                <c:pt idx="3317">
                  <c:v>9.4039599999999994E-3</c:v>
                </c:pt>
                <c:pt idx="3318">
                  <c:v>9.4387120000000001E-3</c:v>
                </c:pt>
                <c:pt idx="3319">
                  <c:v>9.4279800000000007E-3</c:v>
                </c:pt>
                <c:pt idx="3320">
                  <c:v>9.3969569999999992E-3</c:v>
                </c:pt>
                <c:pt idx="3321">
                  <c:v>9.3696660000000005E-3</c:v>
                </c:pt>
                <c:pt idx="3322">
                  <c:v>9.3542980000000005E-3</c:v>
                </c:pt>
                <c:pt idx="3323">
                  <c:v>9.3144279999999996E-3</c:v>
                </c:pt>
                <c:pt idx="3324">
                  <c:v>9.305532E-3</c:v>
                </c:pt>
                <c:pt idx="3325">
                  <c:v>9.2761890000000007E-3</c:v>
                </c:pt>
                <c:pt idx="3326">
                  <c:v>9.2513590000000007E-3</c:v>
                </c:pt>
                <c:pt idx="3327">
                  <c:v>9.2407649999999997E-3</c:v>
                </c:pt>
                <c:pt idx="3328">
                  <c:v>9.1982669999999996E-3</c:v>
                </c:pt>
                <c:pt idx="3329">
                  <c:v>8.9977359999999992E-3</c:v>
                </c:pt>
                <c:pt idx="3330">
                  <c:v>8.9304840000000007E-3</c:v>
                </c:pt>
                <c:pt idx="3331">
                  <c:v>8.8798920000000003E-3</c:v>
                </c:pt>
                <c:pt idx="3332">
                  <c:v>8.8456369999999999E-3</c:v>
                </c:pt>
                <c:pt idx="3333">
                  <c:v>8.7762819999999998E-3</c:v>
                </c:pt>
                <c:pt idx="3334">
                  <c:v>8.7334349999999995E-3</c:v>
                </c:pt>
                <c:pt idx="3335">
                  <c:v>8.7229279999999996E-3</c:v>
                </c:pt>
                <c:pt idx="3336">
                  <c:v>8.6860649999999998E-3</c:v>
                </c:pt>
                <c:pt idx="3337">
                  <c:v>8.7323000000000001E-3</c:v>
                </c:pt>
                <c:pt idx="3338">
                  <c:v>8.6883610000000003E-3</c:v>
                </c:pt>
                <c:pt idx="3339">
                  <c:v>8.6712620000000008E-3</c:v>
                </c:pt>
                <c:pt idx="3340">
                  <c:v>8.6476810000000008E-3</c:v>
                </c:pt>
                <c:pt idx="3341">
                  <c:v>8.6427589999999999E-3</c:v>
                </c:pt>
                <c:pt idx="3342">
                  <c:v>8.6546369999999997E-3</c:v>
                </c:pt>
                <c:pt idx="3343">
                  <c:v>8.6249129999999997E-3</c:v>
                </c:pt>
                <c:pt idx="3344">
                  <c:v>8.6083800000000005E-3</c:v>
                </c:pt>
                <c:pt idx="3345">
                  <c:v>8.6795020000000004E-3</c:v>
                </c:pt>
                <c:pt idx="3346">
                  <c:v>8.6595769999999999E-3</c:v>
                </c:pt>
                <c:pt idx="3347">
                  <c:v>8.6356230000000003E-3</c:v>
                </c:pt>
                <c:pt idx="3348">
                  <c:v>8.62045E-3</c:v>
                </c:pt>
                <c:pt idx="3349">
                  <c:v>8.6376939999999996E-3</c:v>
                </c:pt>
                <c:pt idx="3350">
                  <c:v>8.6380450000000004E-3</c:v>
                </c:pt>
                <c:pt idx="3351">
                  <c:v>8.6892459999999994E-3</c:v>
                </c:pt>
                <c:pt idx="3352">
                  <c:v>8.7447570000000006E-3</c:v>
                </c:pt>
                <c:pt idx="3353">
                  <c:v>8.7294539999999993E-3</c:v>
                </c:pt>
                <c:pt idx="3354">
                  <c:v>8.6330859999999999E-3</c:v>
                </c:pt>
                <c:pt idx="3355">
                  <c:v>8.633857E-3</c:v>
                </c:pt>
                <c:pt idx="3356">
                  <c:v>8.6356750000000006E-3</c:v>
                </c:pt>
                <c:pt idx="3357">
                  <c:v>8.6685019999999998E-3</c:v>
                </c:pt>
                <c:pt idx="3358">
                  <c:v>8.7152259999999995E-3</c:v>
                </c:pt>
                <c:pt idx="3359">
                  <c:v>8.7816319999999993E-3</c:v>
                </c:pt>
                <c:pt idx="3360">
                  <c:v>8.8474780000000006E-3</c:v>
                </c:pt>
                <c:pt idx="3361">
                  <c:v>8.9371299999999997E-3</c:v>
                </c:pt>
                <c:pt idx="3362">
                  <c:v>8.990362E-3</c:v>
                </c:pt>
                <c:pt idx="3363">
                  <c:v>8.9965059999999996E-3</c:v>
                </c:pt>
                <c:pt idx="3364">
                  <c:v>8.9923680000000006E-3</c:v>
                </c:pt>
                <c:pt idx="3365">
                  <c:v>8.9865320000000002E-3</c:v>
                </c:pt>
                <c:pt idx="3366">
                  <c:v>8.9630830000000002E-3</c:v>
                </c:pt>
                <c:pt idx="3367">
                  <c:v>8.9912770000000006E-3</c:v>
                </c:pt>
                <c:pt idx="3368">
                  <c:v>9.0512500000000003E-3</c:v>
                </c:pt>
                <c:pt idx="3369">
                  <c:v>9.1208650000000006E-3</c:v>
                </c:pt>
                <c:pt idx="3370">
                  <c:v>9.1569400000000006E-3</c:v>
                </c:pt>
                <c:pt idx="3371">
                  <c:v>9.2182059999999996E-3</c:v>
                </c:pt>
                <c:pt idx="3372">
                  <c:v>9.2755909999999997E-3</c:v>
                </c:pt>
                <c:pt idx="3373">
                  <c:v>9.3215699999999995E-3</c:v>
                </c:pt>
                <c:pt idx="3374">
                  <c:v>9.3246890000000006E-3</c:v>
                </c:pt>
                <c:pt idx="3375">
                  <c:v>9.3382099999999996E-3</c:v>
                </c:pt>
                <c:pt idx="3376">
                  <c:v>9.3750410000000006E-3</c:v>
                </c:pt>
                <c:pt idx="3377">
                  <c:v>9.3627889999999998E-3</c:v>
                </c:pt>
                <c:pt idx="3378">
                  <c:v>9.2847020000000006E-3</c:v>
                </c:pt>
                <c:pt idx="3379">
                  <c:v>9.2736250000000006E-3</c:v>
                </c:pt>
                <c:pt idx="3380">
                  <c:v>9.2856699999999993E-3</c:v>
                </c:pt>
                <c:pt idx="3381">
                  <c:v>9.2857730000000006E-3</c:v>
                </c:pt>
                <c:pt idx="3382">
                  <c:v>9.3644820000000004E-3</c:v>
                </c:pt>
                <c:pt idx="3383">
                  <c:v>9.3876930000000008E-3</c:v>
                </c:pt>
                <c:pt idx="3384">
                  <c:v>9.397776E-3</c:v>
                </c:pt>
                <c:pt idx="3385">
                  <c:v>9.4189700000000005E-3</c:v>
                </c:pt>
                <c:pt idx="3386">
                  <c:v>9.3946459999999996E-3</c:v>
                </c:pt>
                <c:pt idx="3387">
                  <c:v>9.382273E-3</c:v>
                </c:pt>
                <c:pt idx="3388">
                  <c:v>9.3493570000000008E-3</c:v>
                </c:pt>
                <c:pt idx="3389">
                  <c:v>9.3328270000000001E-3</c:v>
                </c:pt>
                <c:pt idx="3390">
                  <c:v>9.3865619999999993E-3</c:v>
                </c:pt>
                <c:pt idx="3391">
                  <c:v>9.4007550000000002E-3</c:v>
                </c:pt>
                <c:pt idx="3392">
                  <c:v>9.4045459999999997E-3</c:v>
                </c:pt>
                <c:pt idx="3393">
                  <c:v>9.4205810000000008E-3</c:v>
                </c:pt>
                <c:pt idx="3394">
                  <c:v>9.3905069999999993E-3</c:v>
                </c:pt>
                <c:pt idx="3395">
                  <c:v>9.3549059999999996E-3</c:v>
                </c:pt>
                <c:pt idx="3396">
                  <c:v>9.3773910000000005E-3</c:v>
                </c:pt>
                <c:pt idx="3397">
                  <c:v>9.2773130000000006E-3</c:v>
                </c:pt>
                <c:pt idx="3398">
                  <c:v>9.2886800000000005E-3</c:v>
                </c:pt>
                <c:pt idx="3399">
                  <c:v>9.2149789999999999E-3</c:v>
                </c:pt>
                <c:pt idx="3400">
                  <c:v>9.228577E-3</c:v>
                </c:pt>
                <c:pt idx="3401">
                  <c:v>9.198711E-3</c:v>
                </c:pt>
                <c:pt idx="3402">
                  <c:v>9.1366490000000002E-3</c:v>
                </c:pt>
                <c:pt idx="3403">
                  <c:v>9.1355269999999992E-3</c:v>
                </c:pt>
                <c:pt idx="3404">
                  <c:v>9.1868209999999995E-3</c:v>
                </c:pt>
                <c:pt idx="3405">
                  <c:v>9.1379960000000007E-3</c:v>
                </c:pt>
                <c:pt idx="3406">
                  <c:v>9.1057299999999994E-3</c:v>
                </c:pt>
                <c:pt idx="3407">
                  <c:v>9.1645830000000005E-3</c:v>
                </c:pt>
                <c:pt idx="3408">
                  <c:v>9.1814319999999998E-3</c:v>
                </c:pt>
                <c:pt idx="3409">
                  <c:v>9.1600259999999999E-3</c:v>
                </c:pt>
                <c:pt idx="3410">
                  <c:v>9.1393710000000003E-3</c:v>
                </c:pt>
                <c:pt idx="3411">
                  <c:v>9.1031979999999998E-3</c:v>
                </c:pt>
                <c:pt idx="3412">
                  <c:v>8.9718479999999993E-3</c:v>
                </c:pt>
                <c:pt idx="3413">
                  <c:v>8.8872150000000004E-3</c:v>
                </c:pt>
                <c:pt idx="3414">
                  <c:v>8.8485999999999999E-3</c:v>
                </c:pt>
                <c:pt idx="3415">
                  <c:v>8.8166259999999993E-3</c:v>
                </c:pt>
                <c:pt idx="3416">
                  <c:v>8.7643900000000004E-3</c:v>
                </c:pt>
                <c:pt idx="3417">
                  <c:v>8.6998739999999998E-3</c:v>
                </c:pt>
                <c:pt idx="3418">
                  <c:v>8.6311159999999994E-3</c:v>
                </c:pt>
                <c:pt idx="3419">
                  <c:v>8.5846350000000002E-3</c:v>
                </c:pt>
                <c:pt idx="3420">
                  <c:v>8.4961759999999994E-3</c:v>
                </c:pt>
                <c:pt idx="3421">
                  <c:v>8.3581999999999997E-3</c:v>
                </c:pt>
                <c:pt idx="3422">
                  <c:v>8.2816109999999995E-3</c:v>
                </c:pt>
                <c:pt idx="3423">
                  <c:v>8.2796169999999995E-3</c:v>
                </c:pt>
                <c:pt idx="3424">
                  <c:v>8.2500009999999999E-3</c:v>
                </c:pt>
                <c:pt idx="3425">
                  <c:v>8.2805120000000003E-3</c:v>
                </c:pt>
                <c:pt idx="3426">
                  <c:v>8.3407700000000008E-3</c:v>
                </c:pt>
                <c:pt idx="3427">
                  <c:v>8.4612449999999992E-3</c:v>
                </c:pt>
                <c:pt idx="3428">
                  <c:v>8.5243179999999995E-3</c:v>
                </c:pt>
                <c:pt idx="3429">
                  <c:v>8.5890940000000002E-3</c:v>
                </c:pt>
                <c:pt idx="3430">
                  <c:v>8.7440880000000006E-3</c:v>
                </c:pt>
                <c:pt idx="3431">
                  <c:v>8.8512190000000004E-3</c:v>
                </c:pt>
                <c:pt idx="3432">
                  <c:v>8.9180890000000006E-3</c:v>
                </c:pt>
                <c:pt idx="3433">
                  <c:v>9.0375549999999992E-3</c:v>
                </c:pt>
                <c:pt idx="3434">
                  <c:v>9.2077059999999995E-3</c:v>
                </c:pt>
                <c:pt idx="3435">
                  <c:v>9.6748440000000002E-3</c:v>
                </c:pt>
                <c:pt idx="3436">
                  <c:v>1.0126161999999999E-2</c:v>
                </c:pt>
                <c:pt idx="3437">
                  <c:v>1.0510696E-2</c:v>
                </c:pt>
                <c:pt idx="3438">
                  <c:v>1.0727983999999999E-2</c:v>
                </c:pt>
                <c:pt idx="3439">
                  <c:v>1.0951465000000001E-2</c:v>
                </c:pt>
                <c:pt idx="3440">
                  <c:v>1.1360897999999999E-2</c:v>
                </c:pt>
                <c:pt idx="3441">
                  <c:v>1.1626734999999999E-2</c:v>
                </c:pt>
                <c:pt idx="3442">
                  <c:v>1.1924273000000001E-2</c:v>
                </c:pt>
                <c:pt idx="3443">
                  <c:v>1.2289381E-2</c:v>
                </c:pt>
                <c:pt idx="3444">
                  <c:v>1.2664494E-2</c:v>
                </c:pt>
                <c:pt idx="3445">
                  <c:v>1.2912356999999999E-2</c:v>
                </c:pt>
                <c:pt idx="3446">
                  <c:v>1.325255E-2</c:v>
                </c:pt>
                <c:pt idx="3447">
                  <c:v>1.3518733999999999E-2</c:v>
                </c:pt>
                <c:pt idx="3448">
                  <c:v>1.3747911999999999E-2</c:v>
                </c:pt>
                <c:pt idx="3449">
                  <c:v>1.3950651E-2</c:v>
                </c:pt>
                <c:pt idx="3450">
                  <c:v>1.4166402E-2</c:v>
                </c:pt>
                <c:pt idx="3451">
                  <c:v>1.4320543E-2</c:v>
                </c:pt>
                <c:pt idx="3452">
                  <c:v>1.4496271E-2</c:v>
                </c:pt>
                <c:pt idx="3453">
                  <c:v>1.4698123E-2</c:v>
                </c:pt>
                <c:pt idx="3454">
                  <c:v>1.4877767E-2</c:v>
                </c:pt>
                <c:pt idx="3455">
                  <c:v>1.5081357E-2</c:v>
                </c:pt>
                <c:pt idx="3456">
                  <c:v>1.5227675E-2</c:v>
                </c:pt>
                <c:pt idx="3457">
                  <c:v>1.5355878E-2</c:v>
                </c:pt>
                <c:pt idx="3458">
                  <c:v>1.5436455E-2</c:v>
                </c:pt>
                <c:pt idx="3459">
                  <c:v>1.5709707E-2</c:v>
                </c:pt>
                <c:pt idx="3460">
                  <c:v>1.6023010000000001E-2</c:v>
                </c:pt>
                <c:pt idx="3461">
                  <c:v>1.6264313999999998E-2</c:v>
                </c:pt>
                <c:pt idx="3462">
                  <c:v>1.6512171999999999E-2</c:v>
                </c:pt>
                <c:pt idx="3463">
                  <c:v>1.6805079000000001E-2</c:v>
                </c:pt>
                <c:pt idx="3464">
                  <c:v>1.7068053E-2</c:v>
                </c:pt>
                <c:pt idx="3465">
                  <c:v>1.7194437999999999E-2</c:v>
                </c:pt>
                <c:pt idx="3466">
                  <c:v>1.7363124000000001E-2</c:v>
                </c:pt>
                <c:pt idx="3467">
                  <c:v>1.7458543999999999E-2</c:v>
                </c:pt>
                <c:pt idx="3468">
                  <c:v>1.7536526E-2</c:v>
                </c:pt>
                <c:pt idx="3469">
                  <c:v>1.7721414000000001E-2</c:v>
                </c:pt>
                <c:pt idx="3470">
                  <c:v>1.7946851E-2</c:v>
                </c:pt>
                <c:pt idx="3471">
                  <c:v>1.8097740000000001E-2</c:v>
                </c:pt>
                <c:pt idx="3472">
                  <c:v>1.8205573999999999E-2</c:v>
                </c:pt>
                <c:pt idx="3473">
                  <c:v>1.8305749E-2</c:v>
                </c:pt>
                <c:pt idx="3474">
                  <c:v>1.8444862999999999E-2</c:v>
                </c:pt>
                <c:pt idx="3475">
                  <c:v>1.8544102999999999E-2</c:v>
                </c:pt>
                <c:pt idx="3476">
                  <c:v>1.8675436E-2</c:v>
                </c:pt>
                <c:pt idx="3477">
                  <c:v>1.8847651999999999E-2</c:v>
                </c:pt>
                <c:pt idx="3478">
                  <c:v>1.8960265E-2</c:v>
                </c:pt>
                <c:pt idx="3479">
                  <c:v>1.9072210999999999E-2</c:v>
                </c:pt>
                <c:pt idx="3480">
                  <c:v>1.9130168999999999E-2</c:v>
                </c:pt>
                <c:pt idx="3481">
                  <c:v>1.9332347999999999E-2</c:v>
                </c:pt>
                <c:pt idx="3482">
                  <c:v>1.9452421000000001E-2</c:v>
                </c:pt>
                <c:pt idx="3483">
                  <c:v>1.9500514E-2</c:v>
                </c:pt>
                <c:pt idx="3484">
                  <c:v>1.9545224999999999E-2</c:v>
                </c:pt>
                <c:pt idx="3485">
                  <c:v>1.9627731999999998E-2</c:v>
                </c:pt>
                <c:pt idx="3486">
                  <c:v>1.9588905E-2</c:v>
                </c:pt>
                <c:pt idx="3487">
                  <c:v>1.9483783000000001E-2</c:v>
                </c:pt>
                <c:pt idx="3488">
                  <c:v>1.9399996999999999E-2</c:v>
                </c:pt>
                <c:pt idx="3489">
                  <c:v>1.9343348E-2</c:v>
                </c:pt>
                <c:pt idx="3490">
                  <c:v>1.9239793000000002E-2</c:v>
                </c:pt>
                <c:pt idx="3491">
                  <c:v>1.9123425999999999E-2</c:v>
                </c:pt>
                <c:pt idx="3492">
                  <c:v>1.9075816999999998E-2</c:v>
                </c:pt>
                <c:pt idx="3493">
                  <c:v>1.8956055999999999E-2</c:v>
                </c:pt>
                <c:pt idx="3494">
                  <c:v>1.8822262999999999E-2</c:v>
                </c:pt>
                <c:pt idx="3495">
                  <c:v>1.8392861E-2</c:v>
                </c:pt>
                <c:pt idx="3496">
                  <c:v>1.7984613999999999E-2</c:v>
                </c:pt>
                <c:pt idx="3497">
                  <c:v>1.7706336999999999E-2</c:v>
                </c:pt>
                <c:pt idx="3498">
                  <c:v>1.7560097E-2</c:v>
                </c:pt>
                <c:pt idx="3499">
                  <c:v>1.7378066000000001E-2</c:v>
                </c:pt>
                <c:pt idx="3500">
                  <c:v>1.6994240000000001E-2</c:v>
                </c:pt>
                <c:pt idx="3501">
                  <c:v>1.6783499E-2</c:v>
                </c:pt>
                <c:pt idx="3502">
                  <c:v>1.6421466999999999E-2</c:v>
                </c:pt>
                <c:pt idx="3503">
                  <c:v>1.6071597E-2</c:v>
                </c:pt>
                <c:pt idx="3504">
                  <c:v>1.5710866E-2</c:v>
                </c:pt>
                <c:pt idx="3505">
                  <c:v>1.5485229E-2</c:v>
                </c:pt>
                <c:pt idx="3506">
                  <c:v>1.5304636999999999E-2</c:v>
                </c:pt>
                <c:pt idx="3507">
                  <c:v>1.5134689999999999E-2</c:v>
                </c:pt>
                <c:pt idx="3508">
                  <c:v>1.4983784E-2</c:v>
                </c:pt>
                <c:pt idx="3509">
                  <c:v>1.4866209E-2</c:v>
                </c:pt>
                <c:pt idx="3510">
                  <c:v>1.4624148E-2</c:v>
                </c:pt>
                <c:pt idx="3511">
                  <c:v>1.4454160000000001E-2</c:v>
                </c:pt>
                <c:pt idx="3512">
                  <c:v>1.4386057000000001E-2</c:v>
                </c:pt>
                <c:pt idx="3513">
                  <c:v>1.4367179000000001E-2</c:v>
                </c:pt>
                <c:pt idx="3514">
                  <c:v>1.4356997999999999E-2</c:v>
                </c:pt>
                <c:pt idx="3515">
                  <c:v>1.4202157999999999E-2</c:v>
                </c:pt>
                <c:pt idx="3516">
                  <c:v>1.4131085999999999E-2</c:v>
                </c:pt>
                <c:pt idx="3517">
                  <c:v>1.4042056000000001E-2</c:v>
                </c:pt>
                <c:pt idx="3518">
                  <c:v>1.4009439E-2</c:v>
                </c:pt>
                <c:pt idx="3519">
                  <c:v>1.3787551E-2</c:v>
                </c:pt>
                <c:pt idx="3520">
                  <c:v>1.3616961E-2</c:v>
                </c:pt>
                <c:pt idx="3521">
                  <c:v>1.3483039E-2</c:v>
                </c:pt>
                <c:pt idx="3522">
                  <c:v>1.3312368999999999E-2</c:v>
                </c:pt>
                <c:pt idx="3523">
                  <c:v>1.3073566E-2</c:v>
                </c:pt>
                <c:pt idx="3524">
                  <c:v>1.277404E-2</c:v>
                </c:pt>
                <c:pt idx="3525">
                  <c:v>1.267068E-2</c:v>
                </c:pt>
                <c:pt idx="3526">
                  <c:v>1.2493479E-2</c:v>
                </c:pt>
                <c:pt idx="3527">
                  <c:v>1.234128E-2</c:v>
                </c:pt>
                <c:pt idx="3528">
                  <c:v>1.2258305000000001E-2</c:v>
                </c:pt>
                <c:pt idx="3529">
                  <c:v>1.2095211999999999E-2</c:v>
                </c:pt>
                <c:pt idx="3530">
                  <c:v>1.1939632E-2</c:v>
                </c:pt>
                <c:pt idx="3531">
                  <c:v>1.1790711000000001E-2</c:v>
                </c:pt>
                <c:pt idx="3532">
                  <c:v>1.1739635E-2</c:v>
                </c:pt>
                <c:pt idx="3533">
                  <c:v>1.168114E-2</c:v>
                </c:pt>
                <c:pt idx="3534">
                  <c:v>1.1545494999999999E-2</c:v>
                </c:pt>
                <c:pt idx="3535">
                  <c:v>1.1488847E-2</c:v>
                </c:pt>
                <c:pt idx="3536">
                  <c:v>1.1388617E-2</c:v>
                </c:pt>
                <c:pt idx="3537">
                  <c:v>1.1297290999999999E-2</c:v>
                </c:pt>
                <c:pt idx="3538">
                  <c:v>1.1247480000000001E-2</c:v>
                </c:pt>
                <c:pt idx="3539">
                  <c:v>1.1152644999999999E-2</c:v>
                </c:pt>
                <c:pt idx="3540">
                  <c:v>1.1114785E-2</c:v>
                </c:pt>
                <c:pt idx="3541">
                  <c:v>1.0953752000000001E-2</c:v>
                </c:pt>
                <c:pt idx="3542">
                  <c:v>1.0880121E-2</c:v>
                </c:pt>
                <c:pt idx="3543">
                  <c:v>1.0839865000000001E-2</c:v>
                </c:pt>
                <c:pt idx="3544">
                  <c:v>1.0869716E-2</c:v>
                </c:pt>
                <c:pt idx="3545">
                  <c:v>1.0817195999999999E-2</c:v>
                </c:pt>
                <c:pt idx="3546">
                  <c:v>1.0891751999999999E-2</c:v>
                </c:pt>
                <c:pt idx="3547">
                  <c:v>1.0888412E-2</c:v>
                </c:pt>
                <c:pt idx="3548">
                  <c:v>1.0877858000000001E-2</c:v>
                </c:pt>
                <c:pt idx="3549">
                  <c:v>1.0854832E-2</c:v>
                </c:pt>
                <c:pt idx="3550">
                  <c:v>1.0799783E-2</c:v>
                </c:pt>
                <c:pt idx="3551">
                  <c:v>1.0750676000000001E-2</c:v>
                </c:pt>
                <c:pt idx="3552">
                  <c:v>1.0721669E-2</c:v>
                </c:pt>
                <c:pt idx="3553">
                  <c:v>1.0713645000000001E-2</c:v>
                </c:pt>
                <c:pt idx="3554">
                  <c:v>1.0705426000000001E-2</c:v>
                </c:pt>
                <c:pt idx="3555">
                  <c:v>1.0822745E-2</c:v>
                </c:pt>
                <c:pt idx="3556">
                  <c:v>1.0825305E-2</c:v>
                </c:pt>
                <c:pt idx="3557">
                  <c:v>1.0769821000000001E-2</c:v>
                </c:pt>
                <c:pt idx="3558">
                  <c:v>1.0765369E-2</c:v>
                </c:pt>
                <c:pt idx="3559">
                  <c:v>1.0764342E-2</c:v>
                </c:pt>
                <c:pt idx="3560">
                  <c:v>1.0783354E-2</c:v>
                </c:pt>
                <c:pt idx="3561">
                  <c:v>1.0837645999999999E-2</c:v>
                </c:pt>
                <c:pt idx="3562">
                  <c:v>1.0855859000000001E-2</c:v>
                </c:pt>
                <c:pt idx="3563">
                  <c:v>1.0868627E-2</c:v>
                </c:pt>
                <c:pt idx="3564">
                  <c:v>1.0936506E-2</c:v>
                </c:pt>
                <c:pt idx="3565">
                  <c:v>1.0997356999999999E-2</c:v>
                </c:pt>
                <c:pt idx="3566">
                  <c:v>1.0947049E-2</c:v>
                </c:pt>
                <c:pt idx="3567">
                  <c:v>1.0982283000000001E-2</c:v>
                </c:pt>
                <c:pt idx="3568">
                  <c:v>1.1153402E-2</c:v>
                </c:pt>
                <c:pt idx="3569">
                  <c:v>1.121027E-2</c:v>
                </c:pt>
                <c:pt idx="3570">
                  <c:v>1.135283E-2</c:v>
                </c:pt>
                <c:pt idx="3571">
                  <c:v>1.1466240000000001E-2</c:v>
                </c:pt>
                <c:pt idx="3572">
                  <c:v>1.1491852E-2</c:v>
                </c:pt>
                <c:pt idx="3573">
                  <c:v>1.1397123E-2</c:v>
                </c:pt>
                <c:pt idx="3574">
                  <c:v>1.1327729999999999E-2</c:v>
                </c:pt>
                <c:pt idx="3575">
                  <c:v>1.1357502E-2</c:v>
                </c:pt>
                <c:pt idx="3576">
                  <c:v>1.1295843999999999E-2</c:v>
                </c:pt>
                <c:pt idx="3577">
                  <c:v>1.1306172999999999E-2</c:v>
                </c:pt>
                <c:pt idx="3578">
                  <c:v>1.1307444E-2</c:v>
                </c:pt>
                <c:pt idx="3579">
                  <c:v>1.1329114E-2</c:v>
                </c:pt>
                <c:pt idx="3580">
                  <c:v>1.1217304000000001E-2</c:v>
                </c:pt>
                <c:pt idx="3581">
                  <c:v>1.1152810000000001E-2</c:v>
                </c:pt>
                <c:pt idx="3582">
                  <c:v>1.1148491E-2</c:v>
                </c:pt>
                <c:pt idx="3583">
                  <c:v>1.1109536999999999E-2</c:v>
                </c:pt>
                <c:pt idx="3584">
                  <c:v>1.1090628999999999E-2</c:v>
                </c:pt>
                <c:pt idx="3585">
                  <c:v>1.103558E-2</c:v>
                </c:pt>
                <c:pt idx="3586">
                  <c:v>1.1038813999999999E-2</c:v>
                </c:pt>
                <c:pt idx="3587">
                  <c:v>1.1052261000000001E-2</c:v>
                </c:pt>
                <c:pt idx="3588">
                  <c:v>1.1084455E-2</c:v>
                </c:pt>
                <c:pt idx="3589">
                  <c:v>1.1160724E-2</c:v>
                </c:pt>
                <c:pt idx="3590">
                  <c:v>1.1128348999999999E-2</c:v>
                </c:pt>
                <c:pt idx="3591">
                  <c:v>1.1126407E-2</c:v>
                </c:pt>
                <c:pt idx="3592">
                  <c:v>1.1061313999999999E-2</c:v>
                </c:pt>
                <c:pt idx="3593">
                  <c:v>1.1037813E-2</c:v>
                </c:pt>
                <c:pt idx="3594">
                  <c:v>1.1009967000000001E-2</c:v>
                </c:pt>
                <c:pt idx="3595">
                  <c:v>1.0938097000000001E-2</c:v>
                </c:pt>
                <c:pt idx="3596">
                  <c:v>1.0922339999999999E-2</c:v>
                </c:pt>
                <c:pt idx="3597">
                  <c:v>1.0876324999999999E-2</c:v>
                </c:pt>
                <c:pt idx="3598">
                  <c:v>1.0827872000000001E-2</c:v>
                </c:pt>
                <c:pt idx="3599">
                  <c:v>1.0836500000000001E-2</c:v>
                </c:pt>
                <c:pt idx="3600">
                  <c:v>1.0828346000000001E-2</c:v>
                </c:pt>
                <c:pt idx="3601">
                  <c:v>1.0794414E-2</c:v>
                </c:pt>
                <c:pt idx="3602">
                  <c:v>1.0796996999999999E-2</c:v>
                </c:pt>
                <c:pt idx="3603">
                  <c:v>1.0805097E-2</c:v>
                </c:pt>
                <c:pt idx="3604">
                  <c:v>1.076998E-2</c:v>
                </c:pt>
                <c:pt idx="3605">
                  <c:v>1.0768148E-2</c:v>
                </c:pt>
                <c:pt idx="3606">
                  <c:v>1.0693073000000001E-2</c:v>
                </c:pt>
                <c:pt idx="3607">
                  <c:v>1.0674069E-2</c:v>
                </c:pt>
                <c:pt idx="3608">
                  <c:v>1.0668649000000001E-2</c:v>
                </c:pt>
                <c:pt idx="3609">
                  <c:v>1.0666736E-2</c:v>
                </c:pt>
                <c:pt idx="3610">
                  <c:v>1.0643362999999999E-2</c:v>
                </c:pt>
                <c:pt idx="3611">
                  <c:v>1.0631628000000001E-2</c:v>
                </c:pt>
                <c:pt idx="3612">
                  <c:v>1.0608390000000001E-2</c:v>
                </c:pt>
                <c:pt idx="3613">
                  <c:v>1.0585789999999999E-2</c:v>
                </c:pt>
                <c:pt idx="3614">
                  <c:v>1.0548373999999999E-2</c:v>
                </c:pt>
                <c:pt idx="3615">
                  <c:v>1.0426136000000001E-2</c:v>
                </c:pt>
                <c:pt idx="3616">
                  <c:v>1.0363493999999999E-2</c:v>
                </c:pt>
                <c:pt idx="3617">
                  <c:v>1.0329158E-2</c:v>
                </c:pt>
                <c:pt idx="3618">
                  <c:v>1.0329332E-2</c:v>
                </c:pt>
                <c:pt idx="3619">
                  <c:v>1.0345264999999999E-2</c:v>
                </c:pt>
                <c:pt idx="3620">
                  <c:v>1.0378164E-2</c:v>
                </c:pt>
                <c:pt idx="3621">
                  <c:v>1.0287536E-2</c:v>
                </c:pt>
                <c:pt idx="3622">
                  <c:v>1.0234468E-2</c:v>
                </c:pt>
                <c:pt idx="3623">
                  <c:v>1.0200860000000001E-2</c:v>
                </c:pt>
                <c:pt idx="3624">
                  <c:v>1.0125297E-2</c:v>
                </c:pt>
                <c:pt idx="3625">
                  <c:v>1.0034833999999999E-2</c:v>
                </c:pt>
                <c:pt idx="3626">
                  <c:v>9.9795189999999992E-3</c:v>
                </c:pt>
                <c:pt idx="3627">
                  <c:v>9.8964550000000002E-3</c:v>
                </c:pt>
                <c:pt idx="3628">
                  <c:v>9.7016089999999999E-3</c:v>
                </c:pt>
                <c:pt idx="3629">
                  <c:v>9.6422739999999993E-3</c:v>
                </c:pt>
                <c:pt idx="3630">
                  <c:v>9.5547159999999996E-3</c:v>
                </c:pt>
                <c:pt idx="3631">
                  <c:v>9.4995900000000005E-3</c:v>
                </c:pt>
                <c:pt idx="3632">
                  <c:v>9.398521E-3</c:v>
                </c:pt>
                <c:pt idx="3633">
                  <c:v>9.4498180000000005E-3</c:v>
                </c:pt>
                <c:pt idx="3634">
                  <c:v>9.5077500000000006E-3</c:v>
                </c:pt>
                <c:pt idx="3635">
                  <c:v>9.6536199999999999E-3</c:v>
                </c:pt>
                <c:pt idx="3636">
                  <c:v>9.7564509999999993E-3</c:v>
                </c:pt>
                <c:pt idx="3637">
                  <c:v>9.8109370000000005E-3</c:v>
                </c:pt>
                <c:pt idx="3638">
                  <c:v>9.8338350000000008E-3</c:v>
                </c:pt>
                <c:pt idx="3639">
                  <c:v>9.8792889999999994E-3</c:v>
                </c:pt>
                <c:pt idx="3640">
                  <c:v>9.8736880000000003E-3</c:v>
                </c:pt>
                <c:pt idx="3641">
                  <c:v>9.8784289999999993E-3</c:v>
                </c:pt>
                <c:pt idx="3642">
                  <c:v>9.8713240000000008E-3</c:v>
                </c:pt>
                <c:pt idx="3643">
                  <c:v>9.9879059999999995E-3</c:v>
                </c:pt>
                <c:pt idx="3644">
                  <c:v>1.0138695E-2</c:v>
                </c:pt>
                <c:pt idx="3645">
                  <c:v>1.0206923E-2</c:v>
                </c:pt>
                <c:pt idx="3646">
                  <c:v>1.0372407E-2</c:v>
                </c:pt>
                <c:pt idx="3647">
                  <c:v>1.0467809999999999E-2</c:v>
                </c:pt>
                <c:pt idx="3648">
                  <c:v>1.0590341E-2</c:v>
                </c:pt>
                <c:pt idx="3649">
                  <c:v>1.0597283000000001E-2</c:v>
                </c:pt>
                <c:pt idx="3650">
                  <c:v>1.0724859999999999E-2</c:v>
                </c:pt>
                <c:pt idx="3651">
                  <c:v>1.0803851999999999E-2</c:v>
                </c:pt>
                <c:pt idx="3652">
                  <c:v>1.0875902999999999E-2</c:v>
                </c:pt>
                <c:pt idx="3653">
                  <c:v>1.0932367E-2</c:v>
                </c:pt>
                <c:pt idx="3654">
                  <c:v>1.1008372000000001E-2</c:v>
                </c:pt>
                <c:pt idx="3655">
                  <c:v>1.1059281000000001E-2</c:v>
                </c:pt>
                <c:pt idx="3656">
                  <c:v>1.112759E-2</c:v>
                </c:pt>
                <c:pt idx="3657">
                  <c:v>1.1176279000000001E-2</c:v>
                </c:pt>
                <c:pt idx="3658">
                  <c:v>1.1250496E-2</c:v>
                </c:pt>
                <c:pt idx="3659">
                  <c:v>1.1311224999999999E-2</c:v>
                </c:pt>
                <c:pt idx="3660">
                  <c:v>1.1384813000000001E-2</c:v>
                </c:pt>
                <c:pt idx="3661">
                  <c:v>1.1522232E-2</c:v>
                </c:pt>
                <c:pt idx="3662">
                  <c:v>1.1643268E-2</c:v>
                </c:pt>
                <c:pt idx="3663">
                  <c:v>1.1839528E-2</c:v>
                </c:pt>
                <c:pt idx="3664">
                  <c:v>1.1965991E-2</c:v>
                </c:pt>
                <c:pt idx="3665">
                  <c:v>1.2074955E-2</c:v>
                </c:pt>
                <c:pt idx="3666">
                  <c:v>1.2174103E-2</c:v>
                </c:pt>
                <c:pt idx="3667">
                  <c:v>1.2287139000000001E-2</c:v>
                </c:pt>
                <c:pt idx="3668">
                  <c:v>1.2366657E-2</c:v>
                </c:pt>
                <c:pt idx="3669">
                  <c:v>1.2425673E-2</c:v>
                </c:pt>
                <c:pt idx="3670">
                  <c:v>1.2540786E-2</c:v>
                </c:pt>
                <c:pt idx="3671">
                  <c:v>1.2653474E-2</c:v>
                </c:pt>
                <c:pt idx="3672">
                  <c:v>1.2807282E-2</c:v>
                </c:pt>
                <c:pt idx="3673">
                  <c:v>1.2940131000000001E-2</c:v>
                </c:pt>
                <c:pt idx="3674">
                  <c:v>1.3084375000000001E-2</c:v>
                </c:pt>
                <c:pt idx="3675">
                  <c:v>1.3290891000000001E-2</c:v>
                </c:pt>
                <c:pt idx="3676">
                  <c:v>1.3507636999999999E-2</c:v>
                </c:pt>
                <c:pt idx="3677">
                  <c:v>1.3730436E-2</c:v>
                </c:pt>
                <c:pt idx="3678">
                  <c:v>1.3952473999999999E-2</c:v>
                </c:pt>
                <c:pt idx="3679">
                  <c:v>1.4181001E-2</c:v>
                </c:pt>
                <c:pt idx="3680">
                  <c:v>1.4266028E-2</c:v>
                </c:pt>
                <c:pt idx="3681">
                  <c:v>1.4503047999999999E-2</c:v>
                </c:pt>
                <c:pt idx="3682">
                  <c:v>1.4741239999999999E-2</c:v>
                </c:pt>
                <c:pt idx="3683">
                  <c:v>1.4960269E-2</c:v>
                </c:pt>
                <c:pt idx="3684">
                  <c:v>1.5121238E-2</c:v>
                </c:pt>
                <c:pt idx="3685">
                  <c:v>1.5366826E-2</c:v>
                </c:pt>
                <c:pt idx="3686">
                  <c:v>1.5506341E-2</c:v>
                </c:pt>
                <c:pt idx="3687">
                  <c:v>1.569458E-2</c:v>
                </c:pt>
                <c:pt idx="3688">
                  <c:v>1.5878176000000001E-2</c:v>
                </c:pt>
                <c:pt idx="3689">
                  <c:v>1.5955436E-2</c:v>
                </c:pt>
                <c:pt idx="3690">
                  <c:v>1.6023755000000001E-2</c:v>
                </c:pt>
                <c:pt idx="3691">
                  <c:v>1.6145651E-2</c:v>
                </c:pt>
                <c:pt idx="3692">
                  <c:v>1.6305594E-2</c:v>
                </c:pt>
                <c:pt idx="3693">
                  <c:v>1.6329676000000001E-2</c:v>
                </c:pt>
                <c:pt idx="3694">
                  <c:v>1.6327903000000001E-2</c:v>
                </c:pt>
                <c:pt idx="3695">
                  <c:v>1.6279445E-2</c:v>
                </c:pt>
                <c:pt idx="3696">
                  <c:v>1.6251373E-2</c:v>
                </c:pt>
                <c:pt idx="3697">
                  <c:v>1.6270725999999999E-2</c:v>
                </c:pt>
                <c:pt idx="3698">
                  <c:v>1.6298267000000002E-2</c:v>
                </c:pt>
                <c:pt idx="3699">
                  <c:v>1.6338200000000001E-2</c:v>
                </c:pt>
                <c:pt idx="3700">
                  <c:v>1.6359562000000001E-2</c:v>
                </c:pt>
                <c:pt idx="3701">
                  <c:v>1.6388441E-2</c:v>
                </c:pt>
                <c:pt idx="3702">
                  <c:v>1.6409094999999999E-2</c:v>
                </c:pt>
                <c:pt idx="3703">
                  <c:v>1.6335235E-2</c:v>
                </c:pt>
                <c:pt idx="3704">
                  <c:v>1.6265646000000002E-2</c:v>
                </c:pt>
                <c:pt idx="3705">
                  <c:v>1.6253308000000001E-2</c:v>
                </c:pt>
                <c:pt idx="3706">
                  <c:v>1.6116961999999999E-2</c:v>
                </c:pt>
                <c:pt idx="3707">
                  <c:v>1.6117566E-2</c:v>
                </c:pt>
                <c:pt idx="3708">
                  <c:v>1.6010949999999999E-2</c:v>
                </c:pt>
                <c:pt idx="3709">
                  <c:v>1.5952937E-2</c:v>
                </c:pt>
                <c:pt idx="3710">
                  <c:v>1.5848767E-2</c:v>
                </c:pt>
                <c:pt idx="3711">
                  <c:v>1.5762723999999999E-2</c:v>
                </c:pt>
                <c:pt idx="3712">
                  <c:v>1.5764872999999999E-2</c:v>
                </c:pt>
                <c:pt idx="3713">
                  <c:v>1.5747596999999999E-2</c:v>
                </c:pt>
                <c:pt idx="3714">
                  <c:v>1.5697103E-2</c:v>
                </c:pt>
                <c:pt idx="3715">
                  <c:v>1.5750993000000001E-2</c:v>
                </c:pt>
                <c:pt idx="3716">
                  <c:v>1.5725802000000001E-2</c:v>
                </c:pt>
                <c:pt idx="3717">
                  <c:v>1.571958E-2</c:v>
                </c:pt>
                <c:pt idx="3718">
                  <c:v>1.5648373E-2</c:v>
                </c:pt>
                <c:pt idx="3719">
                  <c:v>1.5573929E-2</c:v>
                </c:pt>
                <c:pt idx="3720">
                  <c:v>1.5500355E-2</c:v>
                </c:pt>
                <c:pt idx="3721">
                  <c:v>1.5373714E-2</c:v>
                </c:pt>
                <c:pt idx="3722">
                  <c:v>1.529572E-2</c:v>
                </c:pt>
                <c:pt idx="3723">
                  <c:v>1.5096909E-2</c:v>
                </c:pt>
                <c:pt idx="3724">
                  <c:v>1.5022548E-2</c:v>
                </c:pt>
                <c:pt idx="3725">
                  <c:v>1.4957504999999999E-2</c:v>
                </c:pt>
                <c:pt idx="3726">
                  <c:v>1.4870348E-2</c:v>
                </c:pt>
                <c:pt idx="3727">
                  <c:v>1.4807898999999999E-2</c:v>
                </c:pt>
                <c:pt idx="3728">
                  <c:v>1.4762444E-2</c:v>
                </c:pt>
                <c:pt idx="3729">
                  <c:v>1.4702832000000001E-2</c:v>
                </c:pt>
                <c:pt idx="3730">
                  <c:v>1.460199E-2</c:v>
                </c:pt>
                <c:pt idx="3731">
                  <c:v>1.4509546999999999E-2</c:v>
                </c:pt>
                <c:pt idx="3732">
                  <c:v>1.4367278000000001E-2</c:v>
                </c:pt>
                <c:pt idx="3733">
                  <c:v>1.4282391E-2</c:v>
                </c:pt>
                <c:pt idx="3734">
                  <c:v>1.4167837000000001E-2</c:v>
                </c:pt>
                <c:pt idx="3735">
                  <c:v>1.3992259E-2</c:v>
                </c:pt>
                <c:pt idx="3736">
                  <c:v>1.3797063E-2</c:v>
                </c:pt>
                <c:pt idx="3737">
                  <c:v>1.3624420999999999E-2</c:v>
                </c:pt>
                <c:pt idx="3738">
                  <c:v>1.3366652999999999E-2</c:v>
                </c:pt>
                <c:pt idx="3739">
                  <c:v>1.3092121999999999E-2</c:v>
                </c:pt>
                <c:pt idx="3740">
                  <c:v>1.2936840999999999E-2</c:v>
                </c:pt>
                <c:pt idx="3741">
                  <c:v>1.2713273000000001E-2</c:v>
                </c:pt>
                <c:pt idx="3742">
                  <c:v>1.2512348E-2</c:v>
                </c:pt>
                <c:pt idx="3743">
                  <c:v>1.2382498E-2</c:v>
                </c:pt>
                <c:pt idx="3744">
                  <c:v>1.2323203E-2</c:v>
                </c:pt>
                <c:pt idx="3745">
                  <c:v>1.2176162000000001E-2</c:v>
                </c:pt>
                <c:pt idx="3746">
                  <c:v>1.2066247E-2</c:v>
                </c:pt>
                <c:pt idx="3747">
                  <c:v>1.1889378000000001E-2</c:v>
                </c:pt>
                <c:pt idx="3748">
                  <c:v>1.1797886E-2</c:v>
                </c:pt>
                <c:pt idx="3749">
                  <c:v>1.1739085E-2</c:v>
                </c:pt>
                <c:pt idx="3750">
                  <c:v>1.1683700999999999E-2</c:v>
                </c:pt>
                <c:pt idx="3751">
                  <c:v>1.1594224E-2</c:v>
                </c:pt>
                <c:pt idx="3752">
                  <c:v>1.1510866999999999E-2</c:v>
                </c:pt>
                <c:pt idx="3753">
                  <c:v>1.1456343000000001E-2</c:v>
                </c:pt>
                <c:pt idx="3754">
                  <c:v>1.1391811999999999E-2</c:v>
                </c:pt>
                <c:pt idx="3755">
                  <c:v>1.1267904E-2</c:v>
                </c:pt>
                <c:pt idx="3756">
                  <c:v>1.1268276000000001E-2</c:v>
                </c:pt>
                <c:pt idx="3757">
                  <c:v>1.1296618E-2</c:v>
                </c:pt>
                <c:pt idx="3758">
                  <c:v>1.1325716E-2</c:v>
                </c:pt>
                <c:pt idx="3759">
                  <c:v>1.1287834E-2</c:v>
                </c:pt>
                <c:pt idx="3760">
                  <c:v>1.1310057E-2</c:v>
                </c:pt>
                <c:pt idx="3761">
                  <c:v>1.1331279E-2</c:v>
                </c:pt>
                <c:pt idx="3762">
                  <c:v>1.1335312E-2</c:v>
                </c:pt>
                <c:pt idx="3763">
                  <c:v>1.1433931E-2</c:v>
                </c:pt>
                <c:pt idx="3764">
                  <c:v>1.1645858E-2</c:v>
                </c:pt>
                <c:pt idx="3765">
                  <c:v>1.1916351E-2</c:v>
                </c:pt>
                <c:pt idx="3766">
                  <c:v>1.2385243000000001E-2</c:v>
                </c:pt>
                <c:pt idx="3767">
                  <c:v>1.279396E-2</c:v>
                </c:pt>
                <c:pt idx="3768">
                  <c:v>1.3159904E-2</c:v>
                </c:pt>
                <c:pt idx="3769">
                  <c:v>1.3545099E-2</c:v>
                </c:pt>
                <c:pt idx="3770">
                  <c:v>1.3871698999999999E-2</c:v>
                </c:pt>
                <c:pt idx="3771">
                  <c:v>1.4241668000000001E-2</c:v>
                </c:pt>
                <c:pt idx="3772">
                  <c:v>1.4526086000000001E-2</c:v>
                </c:pt>
                <c:pt idx="3773">
                  <c:v>1.4786084999999999E-2</c:v>
                </c:pt>
                <c:pt idx="3774">
                  <c:v>1.5088525E-2</c:v>
                </c:pt>
                <c:pt idx="3775">
                  <c:v>1.5200036E-2</c:v>
                </c:pt>
                <c:pt idx="3776">
                  <c:v>1.541842E-2</c:v>
                </c:pt>
                <c:pt idx="3777">
                  <c:v>1.5560862E-2</c:v>
                </c:pt>
                <c:pt idx="3778">
                  <c:v>1.5764554E-2</c:v>
                </c:pt>
                <c:pt idx="3779">
                  <c:v>1.5979488999999999E-2</c:v>
                </c:pt>
                <c:pt idx="3780">
                  <c:v>1.6222081999999999E-2</c:v>
                </c:pt>
                <c:pt idx="3781">
                  <c:v>1.6344197000000001E-2</c:v>
                </c:pt>
                <c:pt idx="3782">
                  <c:v>1.6400971E-2</c:v>
                </c:pt>
                <c:pt idx="3783">
                  <c:v>1.6537922E-2</c:v>
                </c:pt>
                <c:pt idx="3784">
                  <c:v>1.6572911999999999E-2</c:v>
                </c:pt>
                <c:pt idx="3785">
                  <c:v>1.6629896000000002E-2</c:v>
                </c:pt>
                <c:pt idx="3786">
                  <c:v>1.6788820999999999E-2</c:v>
                </c:pt>
                <c:pt idx="3787">
                  <c:v>1.69686E-2</c:v>
                </c:pt>
                <c:pt idx="3788">
                  <c:v>1.7080311000000001E-2</c:v>
                </c:pt>
                <c:pt idx="3789">
                  <c:v>1.7277352999999999E-2</c:v>
                </c:pt>
                <c:pt idx="3790">
                  <c:v>1.7467000999999999E-2</c:v>
                </c:pt>
                <c:pt idx="3791">
                  <c:v>1.7642675999999999E-2</c:v>
                </c:pt>
                <c:pt idx="3792">
                  <c:v>1.7808689999999999E-2</c:v>
                </c:pt>
                <c:pt idx="3793">
                  <c:v>1.7937959999999999E-2</c:v>
                </c:pt>
                <c:pt idx="3794">
                  <c:v>1.8015595999999998E-2</c:v>
                </c:pt>
                <c:pt idx="3795">
                  <c:v>1.8075232E-2</c:v>
                </c:pt>
                <c:pt idx="3796">
                  <c:v>1.8336450000000001E-2</c:v>
                </c:pt>
                <c:pt idx="3797">
                  <c:v>1.8453983E-2</c:v>
                </c:pt>
                <c:pt idx="3798">
                  <c:v>1.8622313000000001E-2</c:v>
                </c:pt>
                <c:pt idx="3799">
                  <c:v>1.8728022E-2</c:v>
                </c:pt>
                <c:pt idx="3800">
                  <c:v>1.8805359000000001E-2</c:v>
                </c:pt>
                <c:pt idx="3801">
                  <c:v>1.8892492E-2</c:v>
                </c:pt>
                <c:pt idx="3802">
                  <c:v>1.8962033999999999E-2</c:v>
                </c:pt>
                <c:pt idx="3803">
                  <c:v>1.8978604999999999E-2</c:v>
                </c:pt>
                <c:pt idx="3804">
                  <c:v>1.892841E-2</c:v>
                </c:pt>
                <c:pt idx="3805">
                  <c:v>1.895558E-2</c:v>
                </c:pt>
                <c:pt idx="3806">
                  <c:v>1.9098655999999999E-2</c:v>
                </c:pt>
                <c:pt idx="3807">
                  <c:v>1.9142599E-2</c:v>
                </c:pt>
                <c:pt idx="3808">
                  <c:v>1.9159244999999998E-2</c:v>
                </c:pt>
                <c:pt idx="3809">
                  <c:v>1.9200221E-2</c:v>
                </c:pt>
                <c:pt idx="3810">
                  <c:v>1.9195229000000001E-2</c:v>
                </c:pt>
                <c:pt idx="3811">
                  <c:v>1.9218207000000001E-2</c:v>
                </c:pt>
                <c:pt idx="3812">
                  <c:v>1.9214133000000001E-2</c:v>
                </c:pt>
                <c:pt idx="3813">
                  <c:v>1.9236244999999999E-2</c:v>
                </c:pt>
                <c:pt idx="3814">
                  <c:v>1.9269545999999999E-2</c:v>
                </c:pt>
                <c:pt idx="3815">
                  <c:v>1.9264083000000001E-2</c:v>
                </c:pt>
                <c:pt idx="3816">
                  <c:v>1.9202741999999998E-2</c:v>
                </c:pt>
                <c:pt idx="3817">
                  <c:v>1.9106504E-2</c:v>
                </c:pt>
                <c:pt idx="3818">
                  <c:v>1.9004255000000001E-2</c:v>
                </c:pt>
                <c:pt idx="3819">
                  <c:v>1.8954884000000002E-2</c:v>
                </c:pt>
                <c:pt idx="3820">
                  <c:v>1.8996939000000001E-2</c:v>
                </c:pt>
                <c:pt idx="3821">
                  <c:v>1.8965584000000001E-2</c:v>
                </c:pt>
                <c:pt idx="3822">
                  <c:v>1.8934876999999999E-2</c:v>
                </c:pt>
                <c:pt idx="3823">
                  <c:v>1.8804847E-2</c:v>
                </c:pt>
                <c:pt idx="3824">
                  <c:v>1.8569061000000001E-2</c:v>
                </c:pt>
                <c:pt idx="3825">
                  <c:v>1.8250676E-2</c:v>
                </c:pt>
                <c:pt idx="3826">
                  <c:v>1.7752199999999999E-2</c:v>
                </c:pt>
                <c:pt idx="3827">
                  <c:v>1.724376E-2</c:v>
                </c:pt>
                <c:pt idx="3828">
                  <c:v>1.6837362000000002E-2</c:v>
                </c:pt>
                <c:pt idx="3829">
                  <c:v>1.6467855999999999E-2</c:v>
                </c:pt>
                <c:pt idx="3830">
                  <c:v>1.6219212E-2</c:v>
                </c:pt>
                <c:pt idx="3831">
                  <c:v>1.5899864999999999E-2</c:v>
                </c:pt>
                <c:pt idx="3832">
                  <c:v>1.5610275999999999E-2</c:v>
                </c:pt>
                <c:pt idx="3833">
                  <c:v>1.5352634E-2</c:v>
                </c:pt>
                <c:pt idx="3834">
                  <c:v>1.5084129999999999E-2</c:v>
                </c:pt>
                <c:pt idx="3835">
                  <c:v>1.4958117999999999E-2</c:v>
                </c:pt>
                <c:pt idx="3836">
                  <c:v>1.4730923E-2</c:v>
                </c:pt>
                <c:pt idx="3837">
                  <c:v>1.4585094999999999E-2</c:v>
                </c:pt>
                <c:pt idx="3838">
                  <c:v>1.4400179000000001E-2</c:v>
                </c:pt>
                <c:pt idx="3839">
                  <c:v>1.4201873E-2</c:v>
                </c:pt>
                <c:pt idx="3840">
                  <c:v>1.3983776999999999E-2</c:v>
                </c:pt>
                <c:pt idx="3841">
                  <c:v>1.3859501E-2</c:v>
                </c:pt>
                <c:pt idx="3842">
                  <c:v>1.3777141999999999E-2</c:v>
                </c:pt>
                <c:pt idx="3843">
                  <c:v>1.3667790000000001E-2</c:v>
                </c:pt>
                <c:pt idx="3844">
                  <c:v>1.3623685E-2</c:v>
                </c:pt>
                <c:pt idx="3845">
                  <c:v>1.3561373999999999E-2</c:v>
                </c:pt>
                <c:pt idx="3846">
                  <c:v>1.3442088E-2</c:v>
                </c:pt>
                <c:pt idx="3847">
                  <c:v>1.3251453E-2</c:v>
                </c:pt>
                <c:pt idx="3848">
                  <c:v>1.316377E-2</c:v>
                </c:pt>
                <c:pt idx="3849">
                  <c:v>1.3055102000000001E-2</c:v>
                </c:pt>
                <c:pt idx="3850">
                  <c:v>1.3032258999999999E-2</c:v>
                </c:pt>
                <c:pt idx="3851">
                  <c:v>1.2992998E-2</c:v>
                </c:pt>
                <c:pt idx="3852">
                  <c:v>1.2933625000000001E-2</c:v>
                </c:pt>
                <c:pt idx="3853">
                  <c:v>1.2804104E-2</c:v>
                </c:pt>
                <c:pt idx="3854">
                  <c:v>1.2777438E-2</c:v>
                </c:pt>
                <c:pt idx="3855">
                  <c:v>1.2775992E-2</c:v>
                </c:pt>
                <c:pt idx="3856">
                  <c:v>1.2594684E-2</c:v>
                </c:pt>
                <c:pt idx="3857">
                  <c:v>1.2562240000000001E-2</c:v>
                </c:pt>
                <c:pt idx="3858">
                  <c:v>1.2472887E-2</c:v>
                </c:pt>
                <c:pt idx="3859">
                  <c:v>1.2430212E-2</c:v>
                </c:pt>
                <c:pt idx="3860">
                  <c:v>1.2526213E-2</c:v>
                </c:pt>
                <c:pt idx="3861">
                  <c:v>1.2525829E-2</c:v>
                </c:pt>
                <c:pt idx="3862">
                  <c:v>1.2565702999999999E-2</c:v>
                </c:pt>
                <c:pt idx="3863">
                  <c:v>1.2540499E-2</c:v>
                </c:pt>
                <c:pt idx="3864">
                  <c:v>1.2608728E-2</c:v>
                </c:pt>
                <c:pt idx="3865">
                  <c:v>1.2774884E-2</c:v>
                </c:pt>
                <c:pt idx="3866">
                  <c:v>1.2775584E-2</c:v>
                </c:pt>
                <c:pt idx="3867">
                  <c:v>1.2869965000000001E-2</c:v>
                </c:pt>
                <c:pt idx="3868">
                  <c:v>1.289508E-2</c:v>
                </c:pt>
                <c:pt idx="3869">
                  <c:v>1.289103E-2</c:v>
                </c:pt>
                <c:pt idx="3870">
                  <c:v>1.2921737000000001E-2</c:v>
                </c:pt>
                <c:pt idx="3871">
                  <c:v>1.2877701E-2</c:v>
                </c:pt>
                <c:pt idx="3872">
                  <c:v>1.2871712E-2</c:v>
                </c:pt>
                <c:pt idx="3873">
                  <c:v>1.282384E-2</c:v>
                </c:pt>
                <c:pt idx="3874">
                  <c:v>1.2842703E-2</c:v>
                </c:pt>
                <c:pt idx="3875">
                  <c:v>1.2866384999999999E-2</c:v>
                </c:pt>
                <c:pt idx="3876">
                  <c:v>1.2894073000000001E-2</c:v>
                </c:pt>
                <c:pt idx="3877">
                  <c:v>1.291057E-2</c:v>
                </c:pt>
                <c:pt idx="3878">
                  <c:v>1.2961509E-2</c:v>
                </c:pt>
                <c:pt idx="3879">
                  <c:v>1.3001641E-2</c:v>
                </c:pt>
                <c:pt idx="3880">
                  <c:v>1.2981904000000001E-2</c:v>
                </c:pt>
                <c:pt idx="3881">
                  <c:v>1.3053614E-2</c:v>
                </c:pt>
                <c:pt idx="3882">
                  <c:v>1.3102322E-2</c:v>
                </c:pt>
                <c:pt idx="3883">
                  <c:v>1.3136962E-2</c:v>
                </c:pt>
                <c:pt idx="3884">
                  <c:v>1.3156068E-2</c:v>
                </c:pt>
                <c:pt idx="3885">
                  <c:v>1.3233771E-2</c:v>
                </c:pt>
                <c:pt idx="3886">
                  <c:v>1.3327617E-2</c:v>
                </c:pt>
                <c:pt idx="3887">
                  <c:v>1.3432219E-2</c:v>
                </c:pt>
                <c:pt idx="3888">
                  <c:v>1.3564898000000001E-2</c:v>
                </c:pt>
                <c:pt idx="3889">
                  <c:v>1.3723383E-2</c:v>
                </c:pt>
                <c:pt idx="3890">
                  <c:v>1.3833605000000001E-2</c:v>
                </c:pt>
                <c:pt idx="3891">
                  <c:v>1.3957348E-2</c:v>
                </c:pt>
                <c:pt idx="3892">
                  <c:v>1.4127463E-2</c:v>
                </c:pt>
                <c:pt idx="3893">
                  <c:v>1.4272806000000001E-2</c:v>
                </c:pt>
                <c:pt idx="3894">
                  <c:v>1.4455292E-2</c:v>
                </c:pt>
                <c:pt idx="3895">
                  <c:v>1.4608210999999999E-2</c:v>
                </c:pt>
                <c:pt idx="3896">
                  <c:v>1.4866193E-2</c:v>
                </c:pt>
                <c:pt idx="3897">
                  <c:v>1.5092329999999999E-2</c:v>
                </c:pt>
                <c:pt idx="3898">
                  <c:v>1.5323045E-2</c:v>
                </c:pt>
                <c:pt idx="3899">
                  <c:v>1.5489941E-2</c:v>
                </c:pt>
                <c:pt idx="3900">
                  <c:v>1.5657562999999999E-2</c:v>
                </c:pt>
                <c:pt idx="3901">
                  <c:v>1.5788097000000001E-2</c:v>
                </c:pt>
                <c:pt idx="3902">
                  <c:v>1.5942186000000001E-2</c:v>
                </c:pt>
                <c:pt idx="3903">
                  <c:v>1.6063238000000001E-2</c:v>
                </c:pt>
                <c:pt idx="3904">
                  <c:v>1.6157001000000001E-2</c:v>
                </c:pt>
                <c:pt idx="3905">
                  <c:v>1.6193611E-2</c:v>
                </c:pt>
                <c:pt idx="3906">
                  <c:v>1.6224618E-2</c:v>
                </c:pt>
                <c:pt idx="3907">
                  <c:v>1.6304065999999999E-2</c:v>
                </c:pt>
                <c:pt idx="3908">
                  <c:v>1.6365335000000002E-2</c:v>
                </c:pt>
                <c:pt idx="3909">
                  <c:v>1.6373308999999999E-2</c:v>
                </c:pt>
                <c:pt idx="3910">
                  <c:v>1.6314585999999999E-2</c:v>
                </c:pt>
                <c:pt idx="3911">
                  <c:v>1.6323384E-2</c:v>
                </c:pt>
                <c:pt idx="3912">
                  <c:v>1.6336750000000001E-2</c:v>
                </c:pt>
                <c:pt idx="3913">
                  <c:v>1.6438859E-2</c:v>
                </c:pt>
                <c:pt idx="3914">
                  <c:v>1.6480912E-2</c:v>
                </c:pt>
                <c:pt idx="3915">
                  <c:v>1.6503826999999999E-2</c:v>
                </c:pt>
                <c:pt idx="3916">
                  <c:v>1.6530381E-2</c:v>
                </c:pt>
                <c:pt idx="3917">
                  <c:v>1.6609629000000001E-2</c:v>
                </c:pt>
                <c:pt idx="3918">
                  <c:v>1.6731432000000001E-2</c:v>
                </c:pt>
                <c:pt idx="3919">
                  <c:v>1.6967497000000002E-2</c:v>
                </c:pt>
                <c:pt idx="3920">
                  <c:v>1.7014208999999999E-2</c:v>
                </c:pt>
                <c:pt idx="3921">
                  <c:v>1.7121285E-2</c:v>
                </c:pt>
                <c:pt idx="3922">
                  <c:v>1.721118E-2</c:v>
                </c:pt>
                <c:pt idx="3923">
                  <c:v>1.7323049E-2</c:v>
                </c:pt>
                <c:pt idx="3924">
                  <c:v>1.7340491E-2</c:v>
                </c:pt>
                <c:pt idx="3925">
                  <c:v>1.7229060000000001E-2</c:v>
                </c:pt>
                <c:pt idx="3926">
                  <c:v>1.7212723999999999E-2</c:v>
                </c:pt>
                <c:pt idx="3927">
                  <c:v>1.7239817000000001E-2</c:v>
                </c:pt>
                <c:pt idx="3928">
                  <c:v>1.7282898000000001E-2</c:v>
                </c:pt>
                <c:pt idx="3929">
                  <c:v>1.7416781999999999E-2</c:v>
                </c:pt>
                <c:pt idx="3930">
                  <c:v>1.7555985999999999E-2</c:v>
                </c:pt>
                <c:pt idx="3931">
                  <c:v>1.7627332999999999E-2</c:v>
                </c:pt>
                <c:pt idx="3932">
                  <c:v>1.7712950000000002E-2</c:v>
                </c:pt>
                <c:pt idx="3933">
                  <c:v>1.7834569000000002E-2</c:v>
                </c:pt>
                <c:pt idx="3934">
                  <c:v>1.7912019000000001E-2</c:v>
                </c:pt>
                <c:pt idx="3935">
                  <c:v>1.7961613000000001E-2</c:v>
                </c:pt>
                <c:pt idx="3936">
                  <c:v>1.7993314E-2</c:v>
                </c:pt>
                <c:pt idx="3937">
                  <c:v>1.8037036999999999E-2</c:v>
                </c:pt>
                <c:pt idx="3938">
                  <c:v>1.8075872999999999E-2</c:v>
                </c:pt>
                <c:pt idx="3939">
                  <c:v>1.8122416999999998E-2</c:v>
                </c:pt>
                <c:pt idx="3940">
                  <c:v>1.8135642E-2</c:v>
                </c:pt>
                <c:pt idx="3941">
                  <c:v>1.8117218000000001E-2</c:v>
                </c:pt>
                <c:pt idx="3942">
                  <c:v>1.8095144000000001E-2</c:v>
                </c:pt>
                <c:pt idx="3943">
                  <c:v>1.8138662999999999E-2</c:v>
                </c:pt>
                <c:pt idx="3944">
                  <c:v>1.8168671000000001E-2</c:v>
                </c:pt>
                <c:pt idx="3945">
                  <c:v>1.8165508E-2</c:v>
                </c:pt>
                <c:pt idx="3946">
                  <c:v>1.8151671000000001E-2</c:v>
                </c:pt>
                <c:pt idx="3947">
                  <c:v>1.8092672000000001E-2</c:v>
                </c:pt>
                <c:pt idx="3948">
                  <c:v>1.8012691000000001E-2</c:v>
                </c:pt>
                <c:pt idx="3949">
                  <c:v>1.7841098999999999E-2</c:v>
                </c:pt>
                <c:pt idx="3950">
                  <c:v>1.7696713999999999E-2</c:v>
                </c:pt>
                <c:pt idx="3951">
                  <c:v>1.7594247E-2</c:v>
                </c:pt>
                <c:pt idx="3952">
                  <c:v>1.7434038999999998E-2</c:v>
                </c:pt>
                <c:pt idx="3953">
                  <c:v>1.7335947000000001E-2</c:v>
                </c:pt>
                <c:pt idx="3954">
                  <c:v>1.7163443E-2</c:v>
                </c:pt>
                <c:pt idx="3955">
                  <c:v>1.6987520999999998E-2</c:v>
                </c:pt>
                <c:pt idx="3956">
                  <c:v>1.6733728E-2</c:v>
                </c:pt>
                <c:pt idx="3957">
                  <c:v>1.6508511999999999E-2</c:v>
                </c:pt>
                <c:pt idx="3958">
                  <c:v>1.6348152000000001E-2</c:v>
                </c:pt>
                <c:pt idx="3959">
                  <c:v>1.621481E-2</c:v>
                </c:pt>
                <c:pt idx="3960">
                  <c:v>1.6064447999999999E-2</c:v>
                </c:pt>
                <c:pt idx="3961">
                  <c:v>1.5970649E-2</c:v>
                </c:pt>
                <c:pt idx="3962">
                  <c:v>1.5830505000000002E-2</c:v>
                </c:pt>
                <c:pt idx="3963">
                  <c:v>1.575466E-2</c:v>
                </c:pt>
                <c:pt idx="3964">
                  <c:v>1.563254E-2</c:v>
                </c:pt>
                <c:pt idx="3965">
                  <c:v>1.5548317000000001E-2</c:v>
                </c:pt>
                <c:pt idx="3966">
                  <c:v>1.5512397000000001E-2</c:v>
                </c:pt>
                <c:pt idx="3967">
                  <c:v>1.5492710999999999E-2</c:v>
                </c:pt>
                <c:pt idx="3968">
                  <c:v>1.5455363E-2</c:v>
                </c:pt>
                <c:pt idx="3969">
                  <c:v>1.5465886E-2</c:v>
                </c:pt>
                <c:pt idx="3970">
                  <c:v>1.5475687E-2</c:v>
                </c:pt>
                <c:pt idx="3971">
                  <c:v>1.5415286E-2</c:v>
                </c:pt>
                <c:pt idx="3972">
                  <c:v>1.5332689E-2</c:v>
                </c:pt>
                <c:pt idx="3973">
                  <c:v>1.5244805E-2</c:v>
                </c:pt>
                <c:pt idx="3974">
                  <c:v>1.5233991000000001E-2</c:v>
                </c:pt>
                <c:pt idx="3975">
                  <c:v>1.5218560000000001E-2</c:v>
                </c:pt>
                <c:pt idx="3976">
                  <c:v>1.5137473E-2</c:v>
                </c:pt>
                <c:pt idx="3977">
                  <c:v>1.4984117E-2</c:v>
                </c:pt>
                <c:pt idx="3978">
                  <c:v>1.4867061000000001E-2</c:v>
                </c:pt>
                <c:pt idx="3979">
                  <c:v>1.4624514999999999E-2</c:v>
                </c:pt>
                <c:pt idx="3980">
                  <c:v>1.4460570000000001E-2</c:v>
                </c:pt>
                <c:pt idx="3981">
                  <c:v>1.4388865000000001E-2</c:v>
                </c:pt>
                <c:pt idx="3982">
                  <c:v>1.4294326E-2</c:v>
                </c:pt>
                <c:pt idx="3983">
                  <c:v>1.4196142E-2</c:v>
                </c:pt>
                <c:pt idx="3984">
                  <c:v>1.4173689999999999E-2</c:v>
                </c:pt>
                <c:pt idx="3985">
                  <c:v>1.4085490000000001E-2</c:v>
                </c:pt>
                <c:pt idx="3986">
                  <c:v>1.3999233999999999E-2</c:v>
                </c:pt>
                <c:pt idx="3987">
                  <c:v>1.3874241000000001E-2</c:v>
                </c:pt>
                <c:pt idx="3988">
                  <c:v>1.3773584E-2</c:v>
                </c:pt>
                <c:pt idx="3989">
                  <c:v>1.3629104E-2</c:v>
                </c:pt>
                <c:pt idx="3990">
                  <c:v>1.3458632E-2</c:v>
                </c:pt>
                <c:pt idx="3991">
                  <c:v>1.3386748E-2</c:v>
                </c:pt>
                <c:pt idx="3992">
                  <c:v>1.3270412000000001E-2</c:v>
                </c:pt>
                <c:pt idx="3993">
                  <c:v>1.3167907E-2</c:v>
                </c:pt>
                <c:pt idx="3994">
                  <c:v>1.3115671000000001E-2</c:v>
                </c:pt>
                <c:pt idx="3995">
                  <c:v>1.3148175999999999E-2</c:v>
                </c:pt>
                <c:pt idx="3996">
                  <c:v>1.3164940999999999E-2</c:v>
                </c:pt>
                <c:pt idx="3997">
                  <c:v>1.3149088E-2</c:v>
                </c:pt>
                <c:pt idx="3998">
                  <c:v>1.3132042E-2</c:v>
                </c:pt>
                <c:pt idx="3999">
                  <c:v>1.308221E-2</c:v>
                </c:pt>
                <c:pt idx="4000">
                  <c:v>1.3040207999999999E-2</c:v>
                </c:pt>
                <c:pt idx="4001">
                  <c:v>1.3003374999999999E-2</c:v>
                </c:pt>
                <c:pt idx="4002">
                  <c:v>1.3044378000000001E-2</c:v>
                </c:pt>
                <c:pt idx="4003">
                  <c:v>1.3089442E-2</c:v>
                </c:pt>
                <c:pt idx="4004">
                  <c:v>1.3101438999999999E-2</c:v>
                </c:pt>
                <c:pt idx="4005">
                  <c:v>1.3108211E-2</c:v>
                </c:pt>
                <c:pt idx="4006">
                  <c:v>1.3076967E-2</c:v>
                </c:pt>
                <c:pt idx="4007">
                  <c:v>1.311151E-2</c:v>
                </c:pt>
                <c:pt idx="4008">
                  <c:v>1.3143165E-2</c:v>
                </c:pt>
                <c:pt idx="4009">
                  <c:v>1.3202906E-2</c:v>
                </c:pt>
                <c:pt idx="4010">
                  <c:v>1.3238108E-2</c:v>
                </c:pt>
                <c:pt idx="4011">
                  <c:v>1.3291646000000001E-2</c:v>
                </c:pt>
                <c:pt idx="4012">
                  <c:v>1.3399632999999999E-2</c:v>
                </c:pt>
                <c:pt idx="4013">
                  <c:v>1.344967E-2</c:v>
                </c:pt>
                <c:pt idx="4014">
                  <c:v>1.3597517999999999E-2</c:v>
                </c:pt>
                <c:pt idx="4015">
                  <c:v>1.3697111E-2</c:v>
                </c:pt>
                <c:pt idx="4016">
                  <c:v>1.3851194000000001E-2</c:v>
                </c:pt>
                <c:pt idx="4017">
                  <c:v>1.39889E-2</c:v>
                </c:pt>
                <c:pt idx="4018">
                  <c:v>1.4045019000000001E-2</c:v>
                </c:pt>
                <c:pt idx="4019">
                  <c:v>1.409611E-2</c:v>
                </c:pt>
                <c:pt idx="4020">
                  <c:v>1.4117183E-2</c:v>
                </c:pt>
                <c:pt idx="4021">
                  <c:v>1.4204924000000001E-2</c:v>
                </c:pt>
                <c:pt idx="4022">
                  <c:v>1.4319121000000001E-2</c:v>
                </c:pt>
                <c:pt idx="4023">
                  <c:v>1.4437291E-2</c:v>
                </c:pt>
                <c:pt idx="4024">
                  <c:v>1.4611714E-2</c:v>
                </c:pt>
                <c:pt idx="4025">
                  <c:v>1.4816452000000001E-2</c:v>
                </c:pt>
                <c:pt idx="4026">
                  <c:v>1.4912452E-2</c:v>
                </c:pt>
                <c:pt idx="4027">
                  <c:v>1.4945862000000001E-2</c:v>
                </c:pt>
                <c:pt idx="4028">
                  <c:v>1.4994650999999999E-2</c:v>
                </c:pt>
                <c:pt idx="4029">
                  <c:v>1.5092001000000001E-2</c:v>
                </c:pt>
                <c:pt idx="4030">
                  <c:v>1.5156002999999999E-2</c:v>
                </c:pt>
                <c:pt idx="4031">
                  <c:v>1.5207531E-2</c:v>
                </c:pt>
                <c:pt idx="4032">
                  <c:v>1.5281685E-2</c:v>
                </c:pt>
                <c:pt idx="4033">
                  <c:v>1.532326E-2</c:v>
                </c:pt>
                <c:pt idx="4034">
                  <c:v>1.5369331E-2</c:v>
                </c:pt>
                <c:pt idx="4035">
                  <c:v>1.5395244000000001E-2</c:v>
                </c:pt>
                <c:pt idx="4036">
                  <c:v>1.5501907000000001E-2</c:v>
                </c:pt>
                <c:pt idx="4037">
                  <c:v>1.5581177999999999E-2</c:v>
                </c:pt>
                <c:pt idx="4038">
                  <c:v>1.561503E-2</c:v>
                </c:pt>
                <c:pt idx="4039">
                  <c:v>1.5685477999999999E-2</c:v>
                </c:pt>
                <c:pt idx="4040">
                  <c:v>1.5778105000000001E-2</c:v>
                </c:pt>
                <c:pt idx="4041">
                  <c:v>1.5799787999999999E-2</c:v>
                </c:pt>
                <c:pt idx="4042">
                  <c:v>1.585029E-2</c:v>
                </c:pt>
                <c:pt idx="4043">
                  <c:v>1.5957460999999999E-2</c:v>
                </c:pt>
                <c:pt idx="4044">
                  <c:v>1.5968703000000001E-2</c:v>
                </c:pt>
                <c:pt idx="4045">
                  <c:v>1.6063239999999999E-2</c:v>
                </c:pt>
                <c:pt idx="4046">
                  <c:v>1.6179022000000001E-2</c:v>
                </c:pt>
                <c:pt idx="4047">
                  <c:v>1.6303872000000001E-2</c:v>
                </c:pt>
                <c:pt idx="4048">
                  <c:v>1.6389938999999999E-2</c:v>
                </c:pt>
                <c:pt idx="4049">
                  <c:v>1.6536143999999999E-2</c:v>
                </c:pt>
                <c:pt idx="4050">
                  <c:v>1.6726392999999999E-2</c:v>
                </c:pt>
                <c:pt idx="4051">
                  <c:v>1.7052177000000002E-2</c:v>
                </c:pt>
                <c:pt idx="4052">
                  <c:v>1.7309920999999999E-2</c:v>
                </c:pt>
                <c:pt idx="4053">
                  <c:v>1.7544949000000001E-2</c:v>
                </c:pt>
                <c:pt idx="4054">
                  <c:v>1.7675348E-2</c:v>
                </c:pt>
                <c:pt idx="4055">
                  <c:v>1.7796293000000001E-2</c:v>
                </c:pt>
                <c:pt idx="4056">
                  <c:v>1.7983025E-2</c:v>
                </c:pt>
                <c:pt idx="4057">
                  <c:v>1.8194832000000001E-2</c:v>
                </c:pt>
                <c:pt idx="4058">
                  <c:v>1.8415489E-2</c:v>
                </c:pt>
                <c:pt idx="4059">
                  <c:v>1.8609501000000001E-2</c:v>
                </c:pt>
                <c:pt idx="4060">
                  <c:v>1.8797444999999999E-2</c:v>
                </c:pt>
                <c:pt idx="4061">
                  <c:v>1.8887601E-2</c:v>
                </c:pt>
                <c:pt idx="4062">
                  <c:v>1.8986406000000001E-2</c:v>
                </c:pt>
                <c:pt idx="4063">
                  <c:v>1.9059527E-2</c:v>
                </c:pt>
                <c:pt idx="4064">
                  <c:v>1.9150602999999999E-2</c:v>
                </c:pt>
                <c:pt idx="4065">
                  <c:v>1.9303012000000001E-2</c:v>
                </c:pt>
                <c:pt idx="4066">
                  <c:v>1.9461507999999999E-2</c:v>
                </c:pt>
                <c:pt idx="4067">
                  <c:v>1.9595049999999999E-2</c:v>
                </c:pt>
                <c:pt idx="4068">
                  <c:v>1.9692715E-2</c:v>
                </c:pt>
                <c:pt idx="4069">
                  <c:v>1.9785449E-2</c:v>
                </c:pt>
                <c:pt idx="4070">
                  <c:v>1.9828078999999998E-2</c:v>
                </c:pt>
                <c:pt idx="4071">
                  <c:v>1.9864911999999998E-2</c:v>
                </c:pt>
                <c:pt idx="4072">
                  <c:v>1.9847643000000002E-2</c:v>
                </c:pt>
                <c:pt idx="4073">
                  <c:v>1.9860282999999999E-2</c:v>
                </c:pt>
                <c:pt idx="4074">
                  <c:v>1.9737184000000001E-2</c:v>
                </c:pt>
                <c:pt idx="4075">
                  <c:v>1.9654976000000001E-2</c:v>
                </c:pt>
                <c:pt idx="4076">
                  <c:v>1.9569766999999998E-2</c:v>
                </c:pt>
                <c:pt idx="4077">
                  <c:v>1.9504232999999999E-2</c:v>
                </c:pt>
                <c:pt idx="4078">
                  <c:v>1.9442860999999999E-2</c:v>
                </c:pt>
                <c:pt idx="4079">
                  <c:v>1.9428129999999998E-2</c:v>
                </c:pt>
                <c:pt idx="4080">
                  <c:v>1.9463586000000001E-2</c:v>
                </c:pt>
                <c:pt idx="4081">
                  <c:v>1.9428876000000001E-2</c:v>
                </c:pt>
                <c:pt idx="4082">
                  <c:v>1.9361060999999999E-2</c:v>
                </c:pt>
                <c:pt idx="4083">
                  <c:v>1.9245189999999999E-2</c:v>
                </c:pt>
                <c:pt idx="4084">
                  <c:v>1.9131401999999999E-2</c:v>
                </c:pt>
                <c:pt idx="4085">
                  <c:v>1.9011878999999999E-2</c:v>
                </c:pt>
                <c:pt idx="4086">
                  <c:v>1.8967628E-2</c:v>
                </c:pt>
                <c:pt idx="4087">
                  <c:v>1.8979370999999998E-2</c:v>
                </c:pt>
                <c:pt idx="4088">
                  <c:v>1.8989902999999999E-2</c:v>
                </c:pt>
                <c:pt idx="4089">
                  <c:v>1.8848054999999999E-2</c:v>
                </c:pt>
                <c:pt idx="4090">
                  <c:v>1.8733289E-2</c:v>
                </c:pt>
                <c:pt idx="4091">
                  <c:v>1.8687288E-2</c:v>
                </c:pt>
                <c:pt idx="4092">
                  <c:v>1.863455E-2</c:v>
                </c:pt>
                <c:pt idx="4093">
                  <c:v>1.8578203000000001E-2</c:v>
                </c:pt>
                <c:pt idx="4094">
                  <c:v>1.8500646999999999E-2</c:v>
                </c:pt>
                <c:pt idx="4095">
                  <c:v>1.8484164000000001E-2</c:v>
                </c:pt>
                <c:pt idx="4096">
                  <c:v>1.8399194000000001E-2</c:v>
                </c:pt>
                <c:pt idx="4097">
                  <c:v>1.8328272E-2</c:v>
                </c:pt>
                <c:pt idx="4098">
                  <c:v>1.8275326000000001E-2</c:v>
                </c:pt>
                <c:pt idx="4099">
                  <c:v>1.8179277000000001E-2</c:v>
                </c:pt>
                <c:pt idx="4100">
                  <c:v>1.8066696E-2</c:v>
                </c:pt>
                <c:pt idx="4101">
                  <c:v>1.7958664999999999E-2</c:v>
                </c:pt>
                <c:pt idx="4102">
                  <c:v>1.7861205000000002E-2</c:v>
                </c:pt>
                <c:pt idx="4103">
                  <c:v>1.7760049E-2</c:v>
                </c:pt>
                <c:pt idx="4104">
                  <c:v>1.7708478E-2</c:v>
                </c:pt>
                <c:pt idx="4105">
                  <c:v>1.7574385000000001E-2</c:v>
                </c:pt>
                <c:pt idx="4106">
                  <c:v>1.7427662E-2</c:v>
                </c:pt>
                <c:pt idx="4107">
                  <c:v>1.7305816000000002E-2</c:v>
                </c:pt>
                <c:pt idx="4108">
                  <c:v>1.7228533000000001E-2</c:v>
                </c:pt>
                <c:pt idx="4109">
                  <c:v>1.7068999000000001E-2</c:v>
                </c:pt>
                <c:pt idx="4110">
                  <c:v>1.6930542E-2</c:v>
                </c:pt>
                <c:pt idx="4111">
                  <c:v>1.6660978E-2</c:v>
                </c:pt>
                <c:pt idx="4112">
                  <c:v>1.6516715000000001E-2</c:v>
                </c:pt>
                <c:pt idx="4113">
                  <c:v>1.6357719999999999E-2</c:v>
                </c:pt>
                <c:pt idx="4114">
                  <c:v>1.6210319000000001E-2</c:v>
                </c:pt>
                <c:pt idx="4115">
                  <c:v>1.6156510999999998E-2</c:v>
                </c:pt>
                <c:pt idx="4116">
                  <c:v>1.6033707000000001E-2</c:v>
                </c:pt>
                <c:pt idx="4117">
                  <c:v>1.5941342000000001E-2</c:v>
                </c:pt>
                <c:pt idx="4118">
                  <c:v>1.5725724999999999E-2</c:v>
                </c:pt>
                <c:pt idx="4119">
                  <c:v>1.5555141999999999E-2</c:v>
                </c:pt>
                <c:pt idx="4120">
                  <c:v>1.5384903E-2</c:v>
                </c:pt>
                <c:pt idx="4121">
                  <c:v>1.5313164000000001E-2</c:v>
                </c:pt>
                <c:pt idx="4122">
                  <c:v>1.5224816E-2</c:v>
                </c:pt>
                <c:pt idx="4123">
                  <c:v>1.5097565E-2</c:v>
                </c:pt>
                <c:pt idx="4124">
                  <c:v>1.4973978000000001E-2</c:v>
                </c:pt>
                <c:pt idx="4125">
                  <c:v>1.4809915999999999E-2</c:v>
                </c:pt>
                <c:pt idx="4126">
                  <c:v>1.4684780999999999E-2</c:v>
                </c:pt>
                <c:pt idx="4127">
                  <c:v>1.4522386E-2</c:v>
                </c:pt>
                <c:pt idx="4128">
                  <c:v>1.4397544999999999E-2</c:v>
                </c:pt>
                <c:pt idx="4129">
                  <c:v>1.4251877E-2</c:v>
                </c:pt>
                <c:pt idx="4130">
                  <c:v>1.4143634E-2</c:v>
                </c:pt>
                <c:pt idx="4131">
                  <c:v>1.4033378000000001E-2</c:v>
                </c:pt>
                <c:pt idx="4132">
                  <c:v>1.3986461E-2</c:v>
                </c:pt>
                <c:pt idx="4133">
                  <c:v>1.3973930000000001E-2</c:v>
                </c:pt>
                <c:pt idx="4134">
                  <c:v>1.3995558999999999E-2</c:v>
                </c:pt>
                <c:pt idx="4135">
                  <c:v>1.4085499E-2</c:v>
                </c:pt>
                <c:pt idx="4136">
                  <c:v>1.4095158E-2</c:v>
                </c:pt>
                <c:pt idx="4137">
                  <c:v>1.4085973E-2</c:v>
                </c:pt>
                <c:pt idx="4138">
                  <c:v>1.4084058E-2</c:v>
                </c:pt>
                <c:pt idx="4139">
                  <c:v>1.4064151E-2</c:v>
                </c:pt>
                <c:pt idx="4140">
                  <c:v>1.4045716999999999E-2</c:v>
                </c:pt>
                <c:pt idx="4141">
                  <c:v>1.3986113999999999E-2</c:v>
                </c:pt>
                <c:pt idx="4142">
                  <c:v>1.3986271E-2</c:v>
                </c:pt>
                <c:pt idx="4143">
                  <c:v>1.395683E-2</c:v>
                </c:pt>
                <c:pt idx="4144">
                  <c:v>1.3963822000000001E-2</c:v>
                </c:pt>
                <c:pt idx="4145">
                  <c:v>1.3909036E-2</c:v>
                </c:pt>
                <c:pt idx="4146">
                  <c:v>1.3818838E-2</c:v>
                </c:pt>
                <c:pt idx="4147">
                  <c:v>1.373505E-2</c:v>
                </c:pt>
                <c:pt idx="4148">
                  <c:v>1.3593826999999999E-2</c:v>
                </c:pt>
                <c:pt idx="4149">
                  <c:v>1.355805E-2</c:v>
                </c:pt>
                <c:pt idx="4150">
                  <c:v>1.3540263E-2</c:v>
                </c:pt>
                <c:pt idx="4151">
                  <c:v>1.3525548E-2</c:v>
                </c:pt>
                <c:pt idx="4152">
                  <c:v>1.3550081E-2</c:v>
                </c:pt>
                <c:pt idx="4153">
                  <c:v>1.3588163E-2</c:v>
                </c:pt>
                <c:pt idx="4154">
                  <c:v>1.3609843E-2</c:v>
                </c:pt>
                <c:pt idx="4155">
                  <c:v>1.3604211999999999E-2</c:v>
                </c:pt>
                <c:pt idx="4156">
                  <c:v>1.3623157E-2</c:v>
                </c:pt>
                <c:pt idx="4157">
                  <c:v>1.3608752999999999E-2</c:v>
                </c:pt>
                <c:pt idx="4158">
                  <c:v>1.3580023E-2</c:v>
                </c:pt>
                <c:pt idx="4159">
                  <c:v>1.3582914999999999E-2</c:v>
                </c:pt>
                <c:pt idx="4160">
                  <c:v>1.3566332E-2</c:v>
                </c:pt>
                <c:pt idx="4161">
                  <c:v>1.3547653999999999E-2</c:v>
                </c:pt>
                <c:pt idx="4162">
                  <c:v>1.3526161E-2</c:v>
                </c:pt>
                <c:pt idx="4163">
                  <c:v>1.3482387E-2</c:v>
                </c:pt>
                <c:pt idx="4164">
                  <c:v>1.3557233E-2</c:v>
                </c:pt>
                <c:pt idx="4165">
                  <c:v>1.3607733E-2</c:v>
                </c:pt>
                <c:pt idx="4166">
                  <c:v>1.3631414E-2</c:v>
                </c:pt>
                <c:pt idx="4167">
                  <c:v>1.3609749000000001E-2</c:v>
                </c:pt>
                <c:pt idx="4168">
                  <c:v>1.3560582999999999E-2</c:v>
                </c:pt>
                <c:pt idx="4169">
                  <c:v>1.3572763E-2</c:v>
                </c:pt>
                <c:pt idx="4170">
                  <c:v>1.3528884999999999E-2</c:v>
                </c:pt>
                <c:pt idx="4171">
                  <c:v>1.3531186000000001E-2</c:v>
                </c:pt>
                <c:pt idx="4172">
                  <c:v>1.3496526E-2</c:v>
                </c:pt>
                <c:pt idx="4173">
                  <c:v>1.3510345E-2</c:v>
                </c:pt>
                <c:pt idx="4174">
                  <c:v>1.3484916E-2</c:v>
                </c:pt>
                <c:pt idx="4175">
                  <c:v>1.3375079E-2</c:v>
                </c:pt>
                <c:pt idx="4176">
                  <c:v>1.3268016000000001E-2</c:v>
                </c:pt>
                <c:pt idx="4177">
                  <c:v>1.3258999E-2</c:v>
                </c:pt>
                <c:pt idx="4178">
                  <c:v>1.3320752E-2</c:v>
                </c:pt>
                <c:pt idx="4179">
                  <c:v>1.3369745000000001E-2</c:v>
                </c:pt>
                <c:pt idx="4180">
                  <c:v>1.3381896000000001E-2</c:v>
                </c:pt>
                <c:pt idx="4181">
                  <c:v>1.3351533E-2</c:v>
                </c:pt>
                <c:pt idx="4182">
                  <c:v>1.3288377000000001E-2</c:v>
                </c:pt>
                <c:pt idx="4183">
                  <c:v>1.3251133999999999E-2</c:v>
                </c:pt>
                <c:pt idx="4184">
                  <c:v>1.3216614E-2</c:v>
                </c:pt>
                <c:pt idx="4185">
                  <c:v>1.3172255000000001E-2</c:v>
                </c:pt>
                <c:pt idx="4186">
                  <c:v>1.3138202999999999E-2</c:v>
                </c:pt>
                <c:pt idx="4187">
                  <c:v>1.310425E-2</c:v>
                </c:pt>
                <c:pt idx="4188">
                  <c:v>1.3119933E-2</c:v>
                </c:pt>
                <c:pt idx="4189">
                  <c:v>1.3154809999999999E-2</c:v>
                </c:pt>
                <c:pt idx="4190">
                  <c:v>1.3177008E-2</c:v>
                </c:pt>
                <c:pt idx="4191">
                  <c:v>1.3233813000000001E-2</c:v>
                </c:pt>
                <c:pt idx="4192">
                  <c:v>1.3205120000000001E-2</c:v>
                </c:pt>
                <c:pt idx="4193">
                  <c:v>1.3145788E-2</c:v>
                </c:pt>
                <c:pt idx="4194">
                  <c:v>1.3128167E-2</c:v>
                </c:pt>
                <c:pt idx="4195">
                  <c:v>1.3057752000000001E-2</c:v>
                </c:pt>
                <c:pt idx="4196">
                  <c:v>1.3006243000000001E-2</c:v>
                </c:pt>
                <c:pt idx="4197">
                  <c:v>1.2968911E-2</c:v>
                </c:pt>
                <c:pt idx="4198">
                  <c:v>1.2937525E-2</c:v>
                </c:pt>
                <c:pt idx="4199">
                  <c:v>1.2712675E-2</c:v>
                </c:pt>
              </c:numCache>
            </c:numRef>
          </c:val>
          <c:smooth val="0"/>
          <c:extLst>
            <c:ext xmlns:c16="http://schemas.microsoft.com/office/drawing/2014/chart" uri="{C3380CC4-5D6E-409C-BE32-E72D297353CC}">
              <c16:uniqueId val="{00000001-B7DC-44E8-9D34-858C6F26CBCB}"/>
            </c:ext>
          </c:extLst>
        </c:ser>
        <c:ser>
          <c:idx val="1"/>
          <c:order val="1"/>
          <c:tx>
            <c:strRef>
              <c:f>tr_60!$C$1</c:f>
              <c:strCache>
                <c:ptCount val="1"/>
                <c:pt idx="0">
                  <c:v>120 turnover rate</c:v>
                </c:pt>
              </c:strCache>
            </c:strRef>
          </c:tx>
          <c:spPr>
            <a:ln w="28575" cap="rnd">
              <a:solidFill>
                <a:schemeClr val="accent2"/>
              </a:solidFill>
              <a:round/>
            </a:ln>
            <a:effectLst/>
          </c:spPr>
          <c:marker>
            <c:symbol val="none"/>
          </c:marker>
          <c:cat>
            <c:numRef>
              <c:f>tr_60!$A$2:$A$4201</c:f>
              <c:numCache>
                <c:formatCode>m/d/yyyy</c:formatCode>
                <c:ptCount val="4200"/>
                <c:pt idx="0">
                  <c:v>38356</c:v>
                </c:pt>
                <c:pt idx="1">
                  <c:v>38357</c:v>
                </c:pt>
                <c:pt idx="2">
                  <c:v>38358</c:v>
                </c:pt>
                <c:pt idx="3">
                  <c:v>38359</c:v>
                </c:pt>
                <c:pt idx="4">
                  <c:v>38362</c:v>
                </c:pt>
                <c:pt idx="5">
                  <c:v>38363</c:v>
                </c:pt>
                <c:pt idx="6">
                  <c:v>38364</c:v>
                </c:pt>
                <c:pt idx="7">
                  <c:v>38365</c:v>
                </c:pt>
                <c:pt idx="8">
                  <c:v>38366</c:v>
                </c:pt>
                <c:pt idx="9">
                  <c:v>38369</c:v>
                </c:pt>
                <c:pt idx="10">
                  <c:v>38370</c:v>
                </c:pt>
                <c:pt idx="11">
                  <c:v>38371</c:v>
                </c:pt>
                <c:pt idx="12">
                  <c:v>38372</c:v>
                </c:pt>
                <c:pt idx="13">
                  <c:v>38373</c:v>
                </c:pt>
                <c:pt idx="14">
                  <c:v>38376</c:v>
                </c:pt>
                <c:pt idx="15">
                  <c:v>38377</c:v>
                </c:pt>
                <c:pt idx="16">
                  <c:v>38378</c:v>
                </c:pt>
                <c:pt idx="17">
                  <c:v>38379</c:v>
                </c:pt>
                <c:pt idx="18">
                  <c:v>38380</c:v>
                </c:pt>
                <c:pt idx="19">
                  <c:v>38383</c:v>
                </c:pt>
                <c:pt idx="20">
                  <c:v>38384</c:v>
                </c:pt>
                <c:pt idx="21">
                  <c:v>38385</c:v>
                </c:pt>
                <c:pt idx="22">
                  <c:v>38386</c:v>
                </c:pt>
                <c:pt idx="23">
                  <c:v>38387</c:v>
                </c:pt>
                <c:pt idx="24">
                  <c:v>38399</c:v>
                </c:pt>
                <c:pt idx="25">
                  <c:v>38400</c:v>
                </c:pt>
                <c:pt idx="26">
                  <c:v>38401</c:v>
                </c:pt>
                <c:pt idx="27">
                  <c:v>38404</c:v>
                </c:pt>
                <c:pt idx="28">
                  <c:v>38405</c:v>
                </c:pt>
                <c:pt idx="29">
                  <c:v>38406</c:v>
                </c:pt>
                <c:pt idx="30">
                  <c:v>38407</c:v>
                </c:pt>
                <c:pt idx="31">
                  <c:v>38408</c:v>
                </c:pt>
                <c:pt idx="32">
                  <c:v>38411</c:v>
                </c:pt>
                <c:pt idx="33">
                  <c:v>38412</c:v>
                </c:pt>
                <c:pt idx="34">
                  <c:v>38413</c:v>
                </c:pt>
                <c:pt idx="35">
                  <c:v>38414</c:v>
                </c:pt>
                <c:pt idx="36">
                  <c:v>38415</c:v>
                </c:pt>
                <c:pt idx="37">
                  <c:v>38418</c:v>
                </c:pt>
                <c:pt idx="38">
                  <c:v>38419</c:v>
                </c:pt>
                <c:pt idx="39">
                  <c:v>38420</c:v>
                </c:pt>
                <c:pt idx="40">
                  <c:v>38421</c:v>
                </c:pt>
                <c:pt idx="41">
                  <c:v>38422</c:v>
                </c:pt>
                <c:pt idx="42">
                  <c:v>38425</c:v>
                </c:pt>
                <c:pt idx="43">
                  <c:v>38426</c:v>
                </c:pt>
                <c:pt idx="44">
                  <c:v>38427</c:v>
                </c:pt>
                <c:pt idx="45">
                  <c:v>38428</c:v>
                </c:pt>
                <c:pt idx="46">
                  <c:v>38429</c:v>
                </c:pt>
                <c:pt idx="47">
                  <c:v>38432</c:v>
                </c:pt>
                <c:pt idx="48">
                  <c:v>38433</c:v>
                </c:pt>
                <c:pt idx="49">
                  <c:v>38434</c:v>
                </c:pt>
                <c:pt idx="50">
                  <c:v>38435</c:v>
                </c:pt>
                <c:pt idx="51">
                  <c:v>38436</c:v>
                </c:pt>
                <c:pt idx="52">
                  <c:v>38439</c:v>
                </c:pt>
                <c:pt idx="53">
                  <c:v>38440</c:v>
                </c:pt>
                <c:pt idx="54">
                  <c:v>38441</c:v>
                </c:pt>
                <c:pt idx="55">
                  <c:v>38442</c:v>
                </c:pt>
                <c:pt idx="56">
                  <c:v>38443</c:v>
                </c:pt>
                <c:pt idx="57">
                  <c:v>38446</c:v>
                </c:pt>
                <c:pt idx="58">
                  <c:v>38447</c:v>
                </c:pt>
                <c:pt idx="59">
                  <c:v>38448</c:v>
                </c:pt>
                <c:pt idx="60">
                  <c:v>38449</c:v>
                </c:pt>
                <c:pt idx="61">
                  <c:v>38450</c:v>
                </c:pt>
                <c:pt idx="62">
                  <c:v>38453</c:v>
                </c:pt>
                <c:pt idx="63">
                  <c:v>38454</c:v>
                </c:pt>
                <c:pt idx="64">
                  <c:v>38455</c:v>
                </c:pt>
                <c:pt idx="65">
                  <c:v>38456</c:v>
                </c:pt>
                <c:pt idx="66">
                  <c:v>38457</c:v>
                </c:pt>
                <c:pt idx="67">
                  <c:v>38460</c:v>
                </c:pt>
                <c:pt idx="68">
                  <c:v>38461</c:v>
                </c:pt>
                <c:pt idx="69">
                  <c:v>38462</c:v>
                </c:pt>
                <c:pt idx="70">
                  <c:v>38463</c:v>
                </c:pt>
                <c:pt idx="71">
                  <c:v>38464</c:v>
                </c:pt>
                <c:pt idx="72">
                  <c:v>38467</c:v>
                </c:pt>
                <c:pt idx="73">
                  <c:v>38468</c:v>
                </c:pt>
                <c:pt idx="74">
                  <c:v>38469</c:v>
                </c:pt>
                <c:pt idx="75">
                  <c:v>38470</c:v>
                </c:pt>
                <c:pt idx="76">
                  <c:v>38471</c:v>
                </c:pt>
                <c:pt idx="77">
                  <c:v>38481</c:v>
                </c:pt>
                <c:pt idx="78">
                  <c:v>38482</c:v>
                </c:pt>
                <c:pt idx="79">
                  <c:v>38483</c:v>
                </c:pt>
                <c:pt idx="80">
                  <c:v>38484</c:v>
                </c:pt>
                <c:pt idx="81">
                  <c:v>38485</c:v>
                </c:pt>
                <c:pt idx="82">
                  <c:v>38488</c:v>
                </c:pt>
                <c:pt idx="83">
                  <c:v>38489</c:v>
                </c:pt>
                <c:pt idx="84">
                  <c:v>38490</c:v>
                </c:pt>
                <c:pt idx="85">
                  <c:v>38491</c:v>
                </c:pt>
                <c:pt idx="86">
                  <c:v>38492</c:v>
                </c:pt>
                <c:pt idx="87">
                  <c:v>38495</c:v>
                </c:pt>
                <c:pt idx="88">
                  <c:v>38496</c:v>
                </c:pt>
                <c:pt idx="89">
                  <c:v>38497</c:v>
                </c:pt>
                <c:pt idx="90">
                  <c:v>38498</c:v>
                </c:pt>
                <c:pt idx="91">
                  <c:v>38499</c:v>
                </c:pt>
                <c:pt idx="92">
                  <c:v>38502</c:v>
                </c:pt>
                <c:pt idx="93">
                  <c:v>38503</c:v>
                </c:pt>
                <c:pt idx="94">
                  <c:v>38504</c:v>
                </c:pt>
                <c:pt idx="95">
                  <c:v>38505</c:v>
                </c:pt>
                <c:pt idx="96">
                  <c:v>38506</c:v>
                </c:pt>
                <c:pt idx="97">
                  <c:v>38509</c:v>
                </c:pt>
                <c:pt idx="98">
                  <c:v>38510</c:v>
                </c:pt>
                <c:pt idx="99">
                  <c:v>38511</c:v>
                </c:pt>
                <c:pt idx="100">
                  <c:v>38512</c:v>
                </c:pt>
                <c:pt idx="101">
                  <c:v>38513</c:v>
                </c:pt>
                <c:pt idx="102">
                  <c:v>38516</c:v>
                </c:pt>
                <c:pt idx="103">
                  <c:v>38517</c:v>
                </c:pt>
                <c:pt idx="104">
                  <c:v>38518</c:v>
                </c:pt>
                <c:pt idx="105">
                  <c:v>38519</c:v>
                </c:pt>
                <c:pt idx="106">
                  <c:v>38520</c:v>
                </c:pt>
                <c:pt idx="107">
                  <c:v>38523</c:v>
                </c:pt>
                <c:pt idx="108">
                  <c:v>38524</c:v>
                </c:pt>
                <c:pt idx="109">
                  <c:v>38525</c:v>
                </c:pt>
                <c:pt idx="110">
                  <c:v>38526</c:v>
                </c:pt>
                <c:pt idx="111">
                  <c:v>38527</c:v>
                </c:pt>
                <c:pt idx="112">
                  <c:v>38530</c:v>
                </c:pt>
                <c:pt idx="113">
                  <c:v>38531</c:v>
                </c:pt>
                <c:pt idx="114">
                  <c:v>38532</c:v>
                </c:pt>
                <c:pt idx="115">
                  <c:v>38533</c:v>
                </c:pt>
                <c:pt idx="116">
                  <c:v>38534</c:v>
                </c:pt>
                <c:pt idx="117">
                  <c:v>38537</c:v>
                </c:pt>
                <c:pt idx="118">
                  <c:v>38538</c:v>
                </c:pt>
                <c:pt idx="119">
                  <c:v>38539</c:v>
                </c:pt>
                <c:pt idx="120">
                  <c:v>38540</c:v>
                </c:pt>
                <c:pt idx="121">
                  <c:v>38541</c:v>
                </c:pt>
                <c:pt idx="122">
                  <c:v>38544</c:v>
                </c:pt>
                <c:pt idx="123">
                  <c:v>38545</c:v>
                </c:pt>
                <c:pt idx="124">
                  <c:v>38546</c:v>
                </c:pt>
                <c:pt idx="125">
                  <c:v>38547</c:v>
                </c:pt>
                <c:pt idx="126">
                  <c:v>38548</c:v>
                </c:pt>
                <c:pt idx="127">
                  <c:v>38551</c:v>
                </c:pt>
                <c:pt idx="128">
                  <c:v>38552</c:v>
                </c:pt>
                <c:pt idx="129">
                  <c:v>38553</c:v>
                </c:pt>
                <c:pt idx="130">
                  <c:v>38554</c:v>
                </c:pt>
                <c:pt idx="131">
                  <c:v>38555</c:v>
                </c:pt>
                <c:pt idx="132">
                  <c:v>38558</c:v>
                </c:pt>
                <c:pt idx="133">
                  <c:v>38559</c:v>
                </c:pt>
                <c:pt idx="134">
                  <c:v>38560</c:v>
                </c:pt>
                <c:pt idx="135">
                  <c:v>38561</c:v>
                </c:pt>
                <c:pt idx="136">
                  <c:v>38562</c:v>
                </c:pt>
                <c:pt idx="137">
                  <c:v>38565</c:v>
                </c:pt>
                <c:pt idx="138">
                  <c:v>38566</c:v>
                </c:pt>
                <c:pt idx="139">
                  <c:v>38567</c:v>
                </c:pt>
                <c:pt idx="140">
                  <c:v>38568</c:v>
                </c:pt>
                <c:pt idx="141">
                  <c:v>38569</c:v>
                </c:pt>
                <c:pt idx="142">
                  <c:v>38572</c:v>
                </c:pt>
                <c:pt idx="143">
                  <c:v>38573</c:v>
                </c:pt>
                <c:pt idx="144">
                  <c:v>38574</c:v>
                </c:pt>
                <c:pt idx="145">
                  <c:v>38575</c:v>
                </c:pt>
                <c:pt idx="146">
                  <c:v>38576</c:v>
                </c:pt>
                <c:pt idx="147">
                  <c:v>38579</c:v>
                </c:pt>
                <c:pt idx="148">
                  <c:v>38580</c:v>
                </c:pt>
                <c:pt idx="149">
                  <c:v>38581</c:v>
                </c:pt>
                <c:pt idx="150">
                  <c:v>38582</c:v>
                </c:pt>
                <c:pt idx="151">
                  <c:v>38583</c:v>
                </c:pt>
                <c:pt idx="152">
                  <c:v>38586</c:v>
                </c:pt>
                <c:pt idx="153">
                  <c:v>38587</c:v>
                </c:pt>
                <c:pt idx="154">
                  <c:v>38588</c:v>
                </c:pt>
                <c:pt idx="155">
                  <c:v>38589</c:v>
                </c:pt>
                <c:pt idx="156">
                  <c:v>38590</c:v>
                </c:pt>
                <c:pt idx="157">
                  <c:v>38593</c:v>
                </c:pt>
                <c:pt idx="158">
                  <c:v>38594</c:v>
                </c:pt>
                <c:pt idx="159">
                  <c:v>38595</c:v>
                </c:pt>
                <c:pt idx="160">
                  <c:v>38596</c:v>
                </c:pt>
                <c:pt idx="161">
                  <c:v>38597</c:v>
                </c:pt>
                <c:pt idx="162">
                  <c:v>38600</c:v>
                </c:pt>
                <c:pt idx="163">
                  <c:v>38601</c:v>
                </c:pt>
                <c:pt idx="164">
                  <c:v>38602</c:v>
                </c:pt>
                <c:pt idx="165">
                  <c:v>38603</c:v>
                </c:pt>
                <c:pt idx="166">
                  <c:v>38604</c:v>
                </c:pt>
                <c:pt idx="167">
                  <c:v>38607</c:v>
                </c:pt>
                <c:pt idx="168">
                  <c:v>38608</c:v>
                </c:pt>
                <c:pt idx="169">
                  <c:v>38609</c:v>
                </c:pt>
                <c:pt idx="170">
                  <c:v>38610</c:v>
                </c:pt>
                <c:pt idx="171">
                  <c:v>38611</c:v>
                </c:pt>
                <c:pt idx="172">
                  <c:v>38614</c:v>
                </c:pt>
                <c:pt idx="173">
                  <c:v>38615</c:v>
                </c:pt>
                <c:pt idx="174">
                  <c:v>38616</c:v>
                </c:pt>
                <c:pt idx="175">
                  <c:v>38617</c:v>
                </c:pt>
                <c:pt idx="176">
                  <c:v>38618</c:v>
                </c:pt>
                <c:pt idx="177">
                  <c:v>38621</c:v>
                </c:pt>
                <c:pt idx="178">
                  <c:v>38622</c:v>
                </c:pt>
                <c:pt idx="179">
                  <c:v>38623</c:v>
                </c:pt>
                <c:pt idx="180">
                  <c:v>38624</c:v>
                </c:pt>
                <c:pt idx="181">
                  <c:v>38625</c:v>
                </c:pt>
                <c:pt idx="182">
                  <c:v>38635</c:v>
                </c:pt>
                <c:pt idx="183">
                  <c:v>38636</c:v>
                </c:pt>
                <c:pt idx="184">
                  <c:v>38637</c:v>
                </c:pt>
                <c:pt idx="185">
                  <c:v>38638</c:v>
                </c:pt>
                <c:pt idx="186">
                  <c:v>38639</c:v>
                </c:pt>
                <c:pt idx="187">
                  <c:v>38642</c:v>
                </c:pt>
                <c:pt idx="188">
                  <c:v>38643</c:v>
                </c:pt>
                <c:pt idx="189">
                  <c:v>38644</c:v>
                </c:pt>
                <c:pt idx="190">
                  <c:v>38645</c:v>
                </c:pt>
                <c:pt idx="191">
                  <c:v>38646</c:v>
                </c:pt>
                <c:pt idx="192">
                  <c:v>38649</c:v>
                </c:pt>
                <c:pt idx="193">
                  <c:v>38650</c:v>
                </c:pt>
                <c:pt idx="194">
                  <c:v>38651</c:v>
                </c:pt>
                <c:pt idx="195">
                  <c:v>38652</c:v>
                </c:pt>
                <c:pt idx="196">
                  <c:v>38653</c:v>
                </c:pt>
                <c:pt idx="197">
                  <c:v>38656</c:v>
                </c:pt>
                <c:pt idx="198">
                  <c:v>38657</c:v>
                </c:pt>
                <c:pt idx="199">
                  <c:v>38658</c:v>
                </c:pt>
                <c:pt idx="200">
                  <c:v>38659</c:v>
                </c:pt>
                <c:pt idx="201">
                  <c:v>38660</c:v>
                </c:pt>
                <c:pt idx="202">
                  <c:v>38663</c:v>
                </c:pt>
                <c:pt idx="203">
                  <c:v>38664</c:v>
                </c:pt>
                <c:pt idx="204">
                  <c:v>38665</c:v>
                </c:pt>
                <c:pt idx="205">
                  <c:v>38666</c:v>
                </c:pt>
                <c:pt idx="206">
                  <c:v>38667</c:v>
                </c:pt>
                <c:pt idx="207">
                  <c:v>38670</c:v>
                </c:pt>
                <c:pt idx="208">
                  <c:v>38671</c:v>
                </c:pt>
                <c:pt idx="209">
                  <c:v>38672</c:v>
                </c:pt>
                <c:pt idx="210">
                  <c:v>38673</c:v>
                </c:pt>
                <c:pt idx="211">
                  <c:v>38674</c:v>
                </c:pt>
                <c:pt idx="212">
                  <c:v>38677</c:v>
                </c:pt>
                <c:pt idx="213">
                  <c:v>38678</c:v>
                </c:pt>
                <c:pt idx="214">
                  <c:v>38679</c:v>
                </c:pt>
                <c:pt idx="215">
                  <c:v>38680</c:v>
                </c:pt>
                <c:pt idx="216">
                  <c:v>38681</c:v>
                </c:pt>
                <c:pt idx="217">
                  <c:v>38684</c:v>
                </c:pt>
                <c:pt idx="218">
                  <c:v>38685</c:v>
                </c:pt>
                <c:pt idx="219">
                  <c:v>38686</c:v>
                </c:pt>
                <c:pt idx="220">
                  <c:v>38687</c:v>
                </c:pt>
                <c:pt idx="221">
                  <c:v>38688</c:v>
                </c:pt>
                <c:pt idx="222">
                  <c:v>38691</c:v>
                </c:pt>
                <c:pt idx="223">
                  <c:v>38692</c:v>
                </c:pt>
                <c:pt idx="224">
                  <c:v>38693</c:v>
                </c:pt>
                <c:pt idx="225">
                  <c:v>38694</c:v>
                </c:pt>
                <c:pt idx="226">
                  <c:v>38695</c:v>
                </c:pt>
                <c:pt idx="227">
                  <c:v>38698</c:v>
                </c:pt>
                <c:pt idx="228">
                  <c:v>38699</c:v>
                </c:pt>
                <c:pt idx="229">
                  <c:v>38700</c:v>
                </c:pt>
                <c:pt idx="230">
                  <c:v>38701</c:v>
                </c:pt>
                <c:pt idx="231">
                  <c:v>38702</c:v>
                </c:pt>
                <c:pt idx="232">
                  <c:v>38705</c:v>
                </c:pt>
                <c:pt idx="233">
                  <c:v>38706</c:v>
                </c:pt>
                <c:pt idx="234">
                  <c:v>38707</c:v>
                </c:pt>
                <c:pt idx="235">
                  <c:v>38708</c:v>
                </c:pt>
                <c:pt idx="236">
                  <c:v>38709</c:v>
                </c:pt>
                <c:pt idx="237">
                  <c:v>38712</c:v>
                </c:pt>
                <c:pt idx="238">
                  <c:v>38713</c:v>
                </c:pt>
                <c:pt idx="239">
                  <c:v>38714</c:v>
                </c:pt>
                <c:pt idx="240">
                  <c:v>38715</c:v>
                </c:pt>
                <c:pt idx="241">
                  <c:v>38716</c:v>
                </c:pt>
                <c:pt idx="242">
                  <c:v>38721</c:v>
                </c:pt>
                <c:pt idx="243">
                  <c:v>38722</c:v>
                </c:pt>
                <c:pt idx="244">
                  <c:v>38723</c:v>
                </c:pt>
                <c:pt idx="245">
                  <c:v>38726</c:v>
                </c:pt>
                <c:pt idx="246">
                  <c:v>38727</c:v>
                </c:pt>
                <c:pt idx="247">
                  <c:v>38728</c:v>
                </c:pt>
                <c:pt idx="248">
                  <c:v>38729</c:v>
                </c:pt>
                <c:pt idx="249">
                  <c:v>38730</c:v>
                </c:pt>
                <c:pt idx="250">
                  <c:v>38733</c:v>
                </c:pt>
                <c:pt idx="251">
                  <c:v>38734</c:v>
                </c:pt>
                <c:pt idx="252">
                  <c:v>38735</c:v>
                </c:pt>
                <c:pt idx="253">
                  <c:v>38736</c:v>
                </c:pt>
                <c:pt idx="254">
                  <c:v>38737</c:v>
                </c:pt>
                <c:pt idx="255">
                  <c:v>38740</c:v>
                </c:pt>
                <c:pt idx="256">
                  <c:v>38741</c:v>
                </c:pt>
                <c:pt idx="257">
                  <c:v>38742</c:v>
                </c:pt>
                <c:pt idx="258">
                  <c:v>38754</c:v>
                </c:pt>
                <c:pt idx="259">
                  <c:v>38755</c:v>
                </c:pt>
                <c:pt idx="260">
                  <c:v>38756</c:v>
                </c:pt>
                <c:pt idx="261">
                  <c:v>38757</c:v>
                </c:pt>
                <c:pt idx="262">
                  <c:v>38758</c:v>
                </c:pt>
                <c:pt idx="263">
                  <c:v>38761</c:v>
                </c:pt>
                <c:pt idx="264">
                  <c:v>38762</c:v>
                </c:pt>
                <c:pt idx="265">
                  <c:v>38763</c:v>
                </c:pt>
                <c:pt idx="266">
                  <c:v>38764</c:v>
                </c:pt>
                <c:pt idx="267">
                  <c:v>38765</c:v>
                </c:pt>
                <c:pt idx="268">
                  <c:v>38768</c:v>
                </c:pt>
                <c:pt idx="269">
                  <c:v>38769</c:v>
                </c:pt>
                <c:pt idx="270">
                  <c:v>38770</c:v>
                </c:pt>
                <c:pt idx="271">
                  <c:v>38771</c:v>
                </c:pt>
                <c:pt idx="272">
                  <c:v>38772</c:v>
                </c:pt>
                <c:pt idx="273">
                  <c:v>38775</c:v>
                </c:pt>
                <c:pt idx="274">
                  <c:v>38776</c:v>
                </c:pt>
                <c:pt idx="275">
                  <c:v>38777</c:v>
                </c:pt>
                <c:pt idx="276">
                  <c:v>38778</c:v>
                </c:pt>
                <c:pt idx="277">
                  <c:v>38779</c:v>
                </c:pt>
                <c:pt idx="278">
                  <c:v>38782</c:v>
                </c:pt>
                <c:pt idx="279">
                  <c:v>38783</c:v>
                </c:pt>
                <c:pt idx="280">
                  <c:v>38784</c:v>
                </c:pt>
                <c:pt idx="281">
                  <c:v>38785</c:v>
                </c:pt>
                <c:pt idx="282">
                  <c:v>38786</c:v>
                </c:pt>
                <c:pt idx="283">
                  <c:v>38789</c:v>
                </c:pt>
                <c:pt idx="284">
                  <c:v>38790</c:v>
                </c:pt>
                <c:pt idx="285">
                  <c:v>38791</c:v>
                </c:pt>
                <c:pt idx="286">
                  <c:v>38792</c:v>
                </c:pt>
                <c:pt idx="287">
                  <c:v>38793</c:v>
                </c:pt>
                <c:pt idx="288">
                  <c:v>38796</c:v>
                </c:pt>
                <c:pt idx="289">
                  <c:v>38797</c:v>
                </c:pt>
                <c:pt idx="290">
                  <c:v>38798</c:v>
                </c:pt>
                <c:pt idx="291">
                  <c:v>38799</c:v>
                </c:pt>
                <c:pt idx="292">
                  <c:v>38800</c:v>
                </c:pt>
                <c:pt idx="293">
                  <c:v>38803</c:v>
                </c:pt>
                <c:pt idx="294">
                  <c:v>38804</c:v>
                </c:pt>
                <c:pt idx="295">
                  <c:v>38805</c:v>
                </c:pt>
                <c:pt idx="296">
                  <c:v>38806</c:v>
                </c:pt>
                <c:pt idx="297">
                  <c:v>38807</c:v>
                </c:pt>
                <c:pt idx="298">
                  <c:v>38810</c:v>
                </c:pt>
                <c:pt idx="299">
                  <c:v>38811</c:v>
                </c:pt>
                <c:pt idx="300">
                  <c:v>38812</c:v>
                </c:pt>
                <c:pt idx="301">
                  <c:v>38813</c:v>
                </c:pt>
                <c:pt idx="302">
                  <c:v>38814</c:v>
                </c:pt>
                <c:pt idx="303">
                  <c:v>38817</c:v>
                </c:pt>
                <c:pt idx="304">
                  <c:v>38818</c:v>
                </c:pt>
                <c:pt idx="305">
                  <c:v>38819</c:v>
                </c:pt>
                <c:pt idx="306">
                  <c:v>38820</c:v>
                </c:pt>
                <c:pt idx="307">
                  <c:v>38821</c:v>
                </c:pt>
                <c:pt idx="308">
                  <c:v>38824</c:v>
                </c:pt>
                <c:pt idx="309">
                  <c:v>38825</c:v>
                </c:pt>
                <c:pt idx="310">
                  <c:v>38826</c:v>
                </c:pt>
                <c:pt idx="311">
                  <c:v>38827</c:v>
                </c:pt>
                <c:pt idx="312">
                  <c:v>38828</c:v>
                </c:pt>
                <c:pt idx="313">
                  <c:v>38831</c:v>
                </c:pt>
                <c:pt idx="314">
                  <c:v>38832</c:v>
                </c:pt>
                <c:pt idx="315">
                  <c:v>38833</c:v>
                </c:pt>
                <c:pt idx="316">
                  <c:v>38834</c:v>
                </c:pt>
                <c:pt idx="317">
                  <c:v>38835</c:v>
                </c:pt>
                <c:pt idx="318">
                  <c:v>38845</c:v>
                </c:pt>
                <c:pt idx="319">
                  <c:v>38846</c:v>
                </c:pt>
                <c:pt idx="320">
                  <c:v>38847</c:v>
                </c:pt>
                <c:pt idx="321">
                  <c:v>38848</c:v>
                </c:pt>
                <c:pt idx="322">
                  <c:v>38849</c:v>
                </c:pt>
                <c:pt idx="323">
                  <c:v>38852</c:v>
                </c:pt>
                <c:pt idx="324">
                  <c:v>38853</c:v>
                </c:pt>
                <c:pt idx="325">
                  <c:v>38854</c:v>
                </c:pt>
                <c:pt idx="326">
                  <c:v>38855</c:v>
                </c:pt>
                <c:pt idx="327">
                  <c:v>38856</c:v>
                </c:pt>
                <c:pt idx="328">
                  <c:v>38859</c:v>
                </c:pt>
                <c:pt idx="329">
                  <c:v>38860</c:v>
                </c:pt>
                <c:pt idx="330">
                  <c:v>38861</c:v>
                </c:pt>
                <c:pt idx="331">
                  <c:v>38862</c:v>
                </c:pt>
                <c:pt idx="332">
                  <c:v>38863</c:v>
                </c:pt>
                <c:pt idx="333">
                  <c:v>38866</c:v>
                </c:pt>
                <c:pt idx="334">
                  <c:v>38867</c:v>
                </c:pt>
                <c:pt idx="335">
                  <c:v>38868</c:v>
                </c:pt>
                <c:pt idx="336">
                  <c:v>38869</c:v>
                </c:pt>
                <c:pt idx="337">
                  <c:v>38870</c:v>
                </c:pt>
                <c:pt idx="338">
                  <c:v>38873</c:v>
                </c:pt>
                <c:pt idx="339">
                  <c:v>38874</c:v>
                </c:pt>
                <c:pt idx="340">
                  <c:v>38875</c:v>
                </c:pt>
                <c:pt idx="341">
                  <c:v>38876</c:v>
                </c:pt>
                <c:pt idx="342">
                  <c:v>38877</c:v>
                </c:pt>
                <c:pt idx="343">
                  <c:v>38880</c:v>
                </c:pt>
                <c:pt idx="344">
                  <c:v>38881</c:v>
                </c:pt>
                <c:pt idx="345">
                  <c:v>38882</c:v>
                </c:pt>
                <c:pt idx="346">
                  <c:v>38883</c:v>
                </c:pt>
                <c:pt idx="347">
                  <c:v>38884</c:v>
                </c:pt>
                <c:pt idx="348">
                  <c:v>38887</c:v>
                </c:pt>
                <c:pt idx="349">
                  <c:v>38888</c:v>
                </c:pt>
                <c:pt idx="350">
                  <c:v>38889</c:v>
                </c:pt>
                <c:pt idx="351">
                  <c:v>38890</c:v>
                </c:pt>
                <c:pt idx="352">
                  <c:v>38891</c:v>
                </c:pt>
                <c:pt idx="353">
                  <c:v>38894</c:v>
                </c:pt>
                <c:pt idx="354">
                  <c:v>38895</c:v>
                </c:pt>
                <c:pt idx="355">
                  <c:v>38896</c:v>
                </c:pt>
                <c:pt idx="356">
                  <c:v>38897</c:v>
                </c:pt>
                <c:pt idx="357">
                  <c:v>38898</c:v>
                </c:pt>
                <c:pt idx="358">
                  <c:v>38901</c:v>
                </c:pt>
                <c:pt idx="359">
                  <c:v>38902</c:v>
                </c:pt>
                <c:pt idx="360">
                  <c:v>38903</c:v>
                </c:pt>
                <c:pt idx="361">
                  <c:v>38904</c:v>
                </c:pt>
                <c:pt idx="362">
                  <c:v>38905</c:v>
                </c:pt>
                <c:pt idx="363">
                  <c:v>38908</c:v>
                </c:pt>
                <c:pt idx="364">
                  <c:v>38909</c:v>
                </c:pt>
                <c:pt idx="365">
                  <c:v>38910</c:v>
                </c:pt>
                <c:pt idx="366">
                  <c:v>38911</c:v>
                </c:pt>
                <c:pt idx="367">
                  <c:v>38912</c:v>
                </c:pt>
                <c:pt idx="368">
                  <c:v>38915</c:v>
                </c:pt>
                <c:pt idx="369">
                  <c:v>38916</c:v>
                </c:pt>
                <c:pt idx="370">
                  <c:v>38917</c:v>
                </c:pt>
                <c:pt idx="371">
                  <c:v>38918</c:v>
                </c:pt>
                <c:pt idx="372">
                  <c:v>38919</c:v>
                </c:pt>
                <c:pt idx="373">
                  <c:v>38922</c:v>
                </c:pt>
                <c:pt idx="374">
                  <c:v>38923</c:v>
                </c:pt>
                <c:pt idx="375">
                  <c:v>38924</c:v>
                </c:pt>
                <c:pt idx="376">
                  <c:v>38925</c:v>
                </c:pt>
                <c:pt idx="377">
                  <c:v>38926</c:v>
                </c:pt>
                <c:pt idx="378">
                  <c:v>38929</c:v>
                </c:pt>
                <c:pt idx="379">
                  <c:v>38930</c:v>
                </c:pt>
                <c:pt idx="380">
                  <c:v>38931</c:v>
                </c:pt>
                <c:pt idx="381">
                  <c:v>38932</c:v>
                </c:pt>
                <c:pt idx="382">
                  <c:v>38933</c:v>
                </c:pt>
                <c:pt idx="383">
                  <c:v>38936</c:v>
                </c:pt>
                <c:pt idx="384">
                  <c:v>38937</c:v>
                </c:pt>
                <c:pt idx="385">
                  <c:v>38938</c:v>
                </c:pt>
                <c:pt idx="386">
                  <c:v>38939</c:v>
                </c:pt>
                <c:pt idx="387">
                  <c:v>38940</c:v>
                </c:pt>
                <c:pt idx="388">
                  <c:v>38943</c:v>
                </c:pt>
                <c:pt idx="389">
                  <c:v>38944</c:v>
                </c:pt>
                <c:pt idx="390">
                  <c:v>38945</c:v>
                </c:pt>
                <c:pt idx="391">
                  <c:v>38946</c:v>
                </c:pt>
                <c:pt idx="392">
                  <c:v>38947</c:v>
                </c:pt>
                <c:pt idx="393">
                  <c:v>38950</c:v>
                </c:pt>
                <c:pt idx="394">
                  <c:v>38951</c:v>
                </c:pt>
                <c:pt idx="395">
                  <c:v>38952</c:v>
                </c:pt>
                <c:pt idx="396">
                  <c:v>38953</c:v>
                </c:pt>
                <c:pt idx="397">
                  <c:v>38954</c:v>
                </c:pt>
                <c:pt idx="398">
                  <c:v>38957</c:v>
                </c:pt>
                <c:pt idx="399">
                  <c:v>38958</c:v>
                </c:pt>
                <c:pt idx="400">
                  <c:v>38959</c:v>
                </c:pt>
                <c:pt idx="401">
                  <c:v>38960</c:v>
                </c:pt>
                <c:pt idx="402">
                  <c:v>38961</c:v>
                </c:pt>
                <c:pt idx="403">
                  <c:v>38964</c:v>
                </c:pt>
                <c:pt idx="404">
                  <c:v>38965</c:v>
                </c:pt>
                <c:pt idx="405">
                  <c:v>38966</c:v>
                </c:pt>
                <c:pt idx="406">
                  <c:v>38967</c:v>
                </c:pt>
                <c:pt idx="407">
                  <c:v>38968</c:v>
                </c:pt>
                <c:pt idx="408">
                  <c:v>38971</c:v>
                </c:pt>
                <c:pt idx="409">
                  <c:v>38972</c:v>
                </c:pt>
                <c:pt idx="410">
                  <c:v>38973</c:v>
                </c:pt>
                <c:pt idx="411">
                  <c:v>38974</c:v>
                </c:pt>
                <c:pt idx="412">
                  <c:v>38975</c:v>
                </c:pt>
                <c:pt idx="413">
                  <c:v>38978</c:v>
                </c:pt>
                <c:pt idx="414">
                  <c:v>38979</c:v>
                </c:pt>
                <c:pt idx="415">
                  <c:v>38980</c:v>
                </c:pt>
                <c:pt idx="416">
                  <c:v>38981</c:v>
                </c:pt>
                <c:pt idx="417">
                  <c:v>38982</c:v>
                </c:pt>
                <c:pt idx="418">
                  <c:v>38985</c:v>
                </c:pt>
                <c:pt idx="419">
                  <c:v>38986</c:v>
                </c:pt>
                <c:pt idx="420">
                  <c:v>38987</c:v>
                </c:pt>
                <c:pt idx="421">
                  <c:v>38988</c:v>
                </c:pt>
                <c:pt idx="422">
                  <c:v>38989</c:v>
                </c:pt>
                <c:pt idx="423">
                  <c:v>38999</c:v>
                </c:pt>
                <c:pt idx="424">
                  <c:v>39000</c:v>
                </c:pt>
                <c:pt idx="425">
                  <c:v>39001</c:v>
                </c:pt>
                <c:pt idx="426">
                  <c:v>39002</c:v>
                </c:pt>
                <c:pt idx="427">
                  <c:v>39003</c:v>
                </c:pt>
                <c:pt idx="428">
                  <c:v>39006</c:v>
                </c:pt>
                <c:pt idx="429">
                  <c:v>39007</c:v>
                </c:pt>
                <c:pt idx="430">
                  <c:v>39008</c:v>
                </c:pt>
                <c:pt idx="431">
                  <c:v>39009</c:v>
                </c:pt>
                <c:pt idx="432">
                  <c:v>39010</c:v>
                </c:pt>
                <c:pt idx="433">
                  <c:v>39013</c:v>
                </c:pt>
                <c:pt idx="434">
                  <c:v>39014</c:v>
                </c:pt>
                <c:pt idx="435">
                  <c:v>39015</c:v>
                </c:pt>
                <c:pt idx="436">
                  <c:v>39016</c:v>
                </c:pt>
                <c:pt idx="437">
                  <c:v>39017</c:v>
                </c:pt>
                <c:pt idx="438">
                  <c:v>39020</c:v>
                </c:pt>
                <c:pt idx="439">
                  <c:v>39021</c:v>
                </c:pt>
                <c:pt idx="440">
                  <c:v>39022</c:v>
                </c:pt>
                <c:pt idx="441">
                  <c:v>39023</c:v>
                </c:pt>
                <c:pt idx="442">
                  <c:v>39024</c:v>
                </c:pt>
                <c:pt idx="443">
                  <c:v>39027</c:v>
                </c:pt>
                <c:pt idx="444">
                  <c:v>39028</c:v>
                </c:pt>
                <c:pt idx="445">
                  <c:v>39029</c:v>
                </c:pt>
                <c:pt idx="446">
                  <c:v>39030</c:v>
                </c:pt>
                <c:pt idx="447">
                  <c:v>39031</c:v>
                </c:pt>
                <c:pt idx="448">
                  <c:v>39034</c:v>
                </c:pt>
                <c:pt idx="449">
                  <c:v>39035</c:v>
                </c:pt>
                <c:pt idx="450">
                  <c:v>39036</c:v>
                </c:pt>
                <c:pt idx="451">
                  <c:v>39037</c:v>
                </c:pt>
                <c:pt idx="452">
                  <c:v>39038</c:v>
                </c:pt>
                <c:pt idx="453">
                  <c:v>39041</c:v>
                </c:pt>
                <c:pt idx="454">
                  <c:v>39042</c:v>
                </c:pt>
                <c:pt idx="455">
                  <c:v>39043</c:v>
                </c:pt>
                <c:pt idx="456">
                  <c:v>39044</c:v>
                </c:pt>
                <c:pt idx="457">
                  <c:v>39045</c:v>
                </c:pt>
                <c:pt idx="458">
                  <c:v>39048</c:v>
                </c:pt>
                <c:pt idx="459">
                  <c:v>39049</c:v>
                </c:pt>
                <c:pt idx="460">
                  <c:v>39050</c:v>
                </c:pt>
                <c:pt idx="461">
                  <c:v>39051</c:v>
                </c:pt>
                <c:pt idx="462">
                  <c:v>39052</c:v>
                </c:pt>
                <c:pt idx="463">
                  <c:v>39055</c:v>
                </c:pt>
                <c:pt idx="464">
                  <c:v>39056</c:v>
                </c:pt>
                <c:pt idx="465">
                  <c:v>39057</c:v>
                </c:pt>
                <c:pt idx="466">
                  <c:v>39058</c:v>
                </c:pt>
                <c:pt idx="467">
                  <c:v>39059</c:v>
                </c:pt>
                <c:pt idx="468">
                  <c:v>39062</c:v>
                </c:pt>
                <c:pt idx="469">
                  <c:v>39063</c:v>
                </c:pt>
                <c:pt idx="470">
                  <c:v>39064</c:v>
                </c:pt>
                <c:pt idx="471">
                  <c:v>39065</c:v>
                </c:pt>
                <c:pt idx="472">
                  <c:v>39066</c:v>
                </c:pt>
                <c:pt idx="473">
                  <c:v>39069</c:v>
                </c:pt>
                <c:pt idx="474">
                  <c:v>39070</c:v>
                </c:pt>
                <c:pt idx="475">
                  <c:v>39071</c:v>
                </c:pt>
                <c:pt idx="476">
                  <c:v>39072</c:v>
                </c:pt>
                <c:pt idx="477">
                  <c:v>39073</c:v>
                </c:pt>
                <c:pt idx="478">
                  <c:v>39076</c:v>
                </c:pt>
                <c:pt idx="479">
                  <c:v>39077</c:v>
                </c:pt>
                <c:pt idx="480">
                  <c:v>39078</c:v>
                </c:pt>
                <c:pt idx="481">
                  <c:v>39079</c:v>
                </c:pt>
                <c:pt idx="482">
                  <c:v>39080</c:v>
                </c:pt>
                <c:pt idx="483">
                  <c:v>39086</c:v>
                </c:pt>
                <c:pt idx="484">
                  <c:v>39087</c:v>
                </c:pt>
                <c:pt idx="485">
                  <c:v>39090</c:v>
                </c:pt>
                <c:pt idx="486">
                  <c:v>39091</c:v>
                </c:pt>
                <c:pt idx="487">
                  <c:v>39092</c:v>
                </c:pt>
                <c:pt idx="488">
                  <c:v>39093</c:v>
                </c:pt>
                <c:pt idx="489">
                  <c:v>39094</c:v>
                </c:pt>
                <c:pt idx="490">
                  <c:v>39097</c:v>
                </c:pt>
                <c:pt idx="491">
                  <c:v>39098</c:v>
                </c:pt>
                <c:pt idx="492">
                  <c:v>39099</c:v>
                </c:pt>
                <c:pt idx="493">
                  <c:v>39100</c:v>
                </c:pt>
                <c:pt idx="494">
                  <c:v>39101</c:v>
                </c:pt>
                <c:pt idx="495">
                  <c:v>39104</c:v>
                </c:pt>
                <c:pt idx="496">
                  <c:v>39105</c:v>
                </c:pt>
                <c:pt idx="497">
                  <c:v>39106</c:v>
                </c:pt>
                <c:pt idx="498">
                  <c:v>39107</c:v>
                </c:pt>
                <c:pt idx="499">
                  <c:v>39108</c:v>
                </c:pt>
                <c:pt idx="500">
                  <c:v>39111</c:v>
                </c:pt>
                <c:pt idx="501">
                  <c:v>39112</c:v>
                </c:pt>
                <c:pt idx="502">
                  <c:v>39113</c:v>
                </c:pt>
                <c:pt idx="503">
                  <c:v>39114</c:v>
                </c:pt>
                <c:pt idx="504">
                  <c:v>39115</c:v>
                </c:pt>
                <c:pt idx="505">
                  <c:v>39118</c:v>
                </c:pt>
                <c:pt idx="506">
                  <c:v>39119</c:v>
                </c:pt>
                <c:pt idx="507">
                  <c:v>39120</c:v>
                </c:pt>
                <c:pt idx="508">
                  <c:v>39121</c:v>
                </c:pt>
                <c:pt idx="509">
                  <c:v>39122</c:v>
                </c:pt>
                <c:pt idx="510">
                  <c:v>39125</c:v>
                </c:pt>
                <c:pt idx="511">
                  <c:v>39126</c:v>
                </c:pt>
                <c:pt idx="512">
                  <c:v>39127</c:v>
                </c:pt>
                <c:pt idx="513">
                  <c:v>39128</c:v>
                </c:pt>
                <c:pt idx="514">
                  <c:v>39129</c:v>
                </c:pt>
                <c:pt idx="515">
                  <c:v>39139</c:v>
                </c:pt>
                <c:pt idx="516">
                  <c:v>39140</c:v>
                </c:pt>
                <c:pt idx="517">
                  <c:v>39141</c:v>
                </c:pt>
                <c:pt idx="518">
                  <c:v>39142</c:v>
                </c:pt>
                <c:pt idx="519">
                  <c:v>39143</c:v>
                </c:pt>
                <c:pt idx="520">
                  <c:v>39146</c:v>
                </c:pt>
                <c:pt idx="521">
                  <c:v>39147</c:v>
                </c:pt>
                <c:pt idx="522">
                  <c:v>39148</c:v>
                </c:pt>
                <c:pt idx="523">
                  <c:v>39149</c:v>
                </c:pt>
                <c:pt idx="524">
                  <c:v>39150</c:v>
                </c:pt>
                <c:pt idx="525">
                  <c:v>39153</c:v>
                </c:pt>
                <c:pt idx="526">
                  <c:v>39154</c:v>
                </c:pt>
                <c:pt idx="527">
                  <c:v>39155</c:v>
                </c:pt>
                <c:pt idx="528">
                  <c:v>39156</c:v>
                </c:pt>
                <c:pt idx="529">
                  <c:v>39157</c:v>
                </c:pt>
                <c:pt idx="530">
                  <c:v>39160</c:v>
                </c:pt>
                <c:pt idx="531">
                  <c:v>39161</c:v>
                </c:pt>
                <c:pt idx="532">
                  <c:v>39162</c:v>
                </c:pt>
                <c:pt idx="533">
                  <c:v>39163</c:v>
                </c:pt>
                <c:pt idx="534">
                  <c:v>39164</c:v>
                </c:pt>
                <c:pt idx="535">
                  <c:v>39167</c:v>
                </c:pt>
                <c:pt idx="536">
                  <c:v>39168</c:v>
                </c:pt>
                <c:pt idx="537">
                  <c:v>39169</c:v>
                </c:pt>
                <c:pt idx="538">
                  <c:v>39170</c:v>
                </c:pt>
                <c:pt idx="539">
                  <c:v>39171</c:v>
                </c:pt>
                <c:pt idx="540">
                  <c:v>39174</c:v>
                </c:pt>
                <c:pt idx="541">
                  <c:v>39175</c:v>
                </c:pt>
                <c:pt idx="542">
                  <c:v>39176</c:v>
                </c:pt>
                <c:pt idx="543">
                  <c:v>39177</c:v>
                </c:pt>
                <c:pt idx="544">
                  <c:v>39178</c:v>
                </c:pt>
                <c:pt idx="545">
                  <c:v>39181</c:v>
                </c:pt>
                <c:pt idx="546">
                  <c:v>39182</c:v>
                </c:pt>
                <c:pt idx="547">
                  <c:v>39183</c:v>
                </c:pt>
                <c:pt idx="548">
                  <c:v>39184</c:v>
                </c:pt>
                <c:pt idx="549">
                  <c:v>39185</c:v>
                </c:pt>
                <c:pt idx="550">
                  <c:v>39188</c:v>
                </c:pt>
                <c:pt idx="551">
                  <c:v>39189</c:v>
                </c:pt>
                <c:pt idx="552">
                  <c:v>39190</c:v>
                </c:pt>
                <c:pt idx="553">
                  <c:v>39191</c:v>
                </c:pt>
                <c:pt idx="554">
                  <c:v>39192</c:v>
                </c:pt>
                <c:pt idx="555">
                  <c:v>39195</c:v>
                </c:pt>
                <c:pt idx="556">
                  <c:v>39196</c:v>
                </c:pt>
                <c:pt idx="557">
                  <c:v>39197</c:v>
                </c:pt>
                <c:pt idx="558">
                  <c:v>39198</c:v>
                </c:pt>
                <c:pt idx="559">
                  <c:v>39199</c:v>
                </c:pt>
                <c:pt idx="560">
                  <c:v>39202</c:v>
                </c:pt>
                <c:pt idx="561">
                  <c:v>39210</c:v>
                </c:pt>
                <c:pt idx="562">
                  <c:v>39211</c:v>
                </c:pt>
                <c:pt idx="563">
                  <c:v>39212</c:v>
                </c:pt>
                <c:pt idx="564">
                  <c:v>39213</c:v>
                </c:pt>
                <c:pt idx="565">
                  <c:v>39216</c:v>
                </c:pt>
                <c:pt idx="566">
                  <c:v>39217</c:v>
                </c:pt>
                <c:pt idx="567">
                  <c:v>39218</c:v>
                </c:pt>
                <c:pt idx="568">
                  <c:v>39219</c:v>
                </c:pt>
                <c:pt idx="569">
                  <c:v>39220</c:v>
                </c:pt>
                <c:pt idx="570">
                  <c:v>39223</c:v>
                </c:pt>
                <c:pt idx="571">
                  <c:v>39224</c:v>
                </c:pt>
                <c:pt idx="572">
                  <c:v>39225</c:v>
                </c:pt>
                <c:pt idx="573">
                  <c:v>39226</c:v>
                </c:pt>
                <c:pt idx="574">
                  <c:v>39227</c:v>
                </c:pt>
                <c:pt idx="575">
                  <c:v>39230</c:v>
                </c:pt>
                <c:pt idx="576">
                  <c:v>39231</c:v>
                </c:pt>
                <c:pt idx="577">
                  <c:v>39232</c:v>
                </c:pt>
                <c:pt idx="578">
                  <c:v>39233</c:v>
                </c:pt>
                <c:pt idx="579">
                  <c:v>39234</c:v>
                </c:pt>
                <c:pt idx="580">
                  <c:v>39237</c:v>
                </c:pt>
                <c:pt idx="581">
                  <c:v>39238</c:v>
                </c:pt>
                <c:pt idx="582">
                  <c:v>39239</c:v>
                </c:pt>
                <c:pt idx="583">
                  <c:v>39240</c:v>
                </c:pt>
                <c:pt idx="584">
                  <c:v>39241</c:v>
                </c:pt>
                <c:pt idx="585">
                  <c:v>39244</c:v>
                </c:pt>
                <c:pt idx="586">
                  <c:v>39245</c:v>
                </c:pt>
                <c:pt idx="587">
                  <c:v>39246</c:v>
                </c:pt>
                <c:pt idx="588">
                  <c:v>39247</c:v>
                </c:pt>
                <c:pt idx="589">
                  <c:v>39248</c:v>
                </c:pt>
                <c:pt idx="590">
                  <c:v>39251</c:v>
                </c:pt>
                <c:pt idx="591">
                  <c:v>39252</c:v>
                </c:pt>
                <c:pt idx="592">
                  <c:v>39253</c:v>
                </c:pt>
                <c:pt idx="593">
                  <c:v>39254</c:v>
                </c:pt>
                <c:pt idx="594">
                  <c:v>39255</c:v>
                </c:pt>
                <c:pt idx="595">
                  <c:v>39258</c:v>
                </c:pt>
                <c:pt idx="596">
                  <c:v>39259</c:v>
                </c:pt>
                <c:pt idx="597">
                  <c:v>39260</c:v>
                </c:pt>
                <c:pt idx="598">
                  <c:v>39261</c:v>
                </c:pt>
                <c:pt idx="599">
                  <c:v>39262</c:v>
                </c:pt>
                <c:pt idx="600">
                  <c:v>39265</c:v>
                </c:pt>
                <c:pt idx="601">
                  <c:v>39266</c:v>
                </c:pt>
                <c:pt idx="602">
                  <c:v>39267</c:v>
                </c:pt>
                <c:pt idx="603">
                  <c:v>39268</c:v>
                </c:pt>
                <c:pt idx="604">
                  <c:v>39269</c:v>
                </c:pt>
                <c:pt idx="605">
                  <c:v>39272</c:v>
                </c:pt>
                <c:pt idx="606">
                  <c:v>39273</c:v>
                </c:pt>
                <c:pt idx="607">
                  <c:v>39274</c:v>
                </c:pt>
                <c:pt idx="608">
                  <c:v>39275</c:v>
                </c:pt>
                <c:pt idx="609">
                  <c:v>39276</c:v>
                </c:pt>
                <c:pt idx="610">
                  <c:v>39279</c:v>
                </c:pt>
                <c:pt idx="611">
                  <c:v>39280</c:v>
                </c:pt>
                <c:pt idx="612">
                  <c:v>39281</c:v>
                </c:pt>
                <c:pt idx="613">
                  <c:v>39282</c:v>
                </c:pt>
                <c:pt idx="614">
                  <c:v>39283</c:v>
                </c:pt>
                <c:pt idx="615">
                  <c:v>39286</c:v>
                </c:pt>
                <c:pt idx="616">
                  <c:v>39287</c:v>
                </c:pt>
                <c:pt idx="617">
                  <c:v>39288</c:v>
                </c:pt>
                <c:pt idx="618">
                  <c:v>39289</c:v>
                </c:pt>
                <c:pt idx="619">
                  <c:v>39290</c:v>
                </c:pt>
                <c:pt idx="620">
                  <c:v>39293</c:v>
                </c:pt>
                <c:pt idx="621">
                  <c:v>39294</c:v>
                </c:pt>
                <c:pt idx="622">
                  <c:v>39295</c:v>
                </c:pt>
                <c:pt idx="623">
                  <c:v>39296</c:v>
                </c:pt>
                <c:pt idx="624">
                  <c:v>39297</c:v>
                </c:pt>
                <c:pt idx="625">
                  <c:v>39300</c:v>
                </c:pt>
                <c:pt idx="626">
                  <c:v>39301</c:v>
                </c:pt>
                <c:pt idx="627">
                  <c:v>39302</c:v>
                </c:pt>
                <c:pt idx="628">
                  <c:v>39303</c:v>
                </c:pt>
                <c:pt idx="629">
                  <c:v>39304</c:v>
                </c:pt>
                <c:pt idx="630">
                  <c:v>39307</c:v>
                </c:pt>
                <c:pt idx="631">
                  <c:v>39308</c:v>
                </c:pt>
                <c:pt idx="632">
                  <c:v>39309</c:v>
                </c:pt>
                <c:pt idx="633">
                  <c:v>39310</c:v>
                </c:pt>
                <c:pt idx="634">
                  <c:v>39311</c:v>
                </c:pt>
                <c:pt idx="635">
                  <c:v>39314</c:v>
                </c:pt>
                <c:pt idx="636">
                  <c:v>39315</c:v>
                </c:pt>
                <c:pt idx="637">
                  <c:v>39316</c:v>
                </c:pt>
                <c:pt idx="638">
                  <c:v>39317</c:v>
                </c:pt>
                <c:pt idx="639">
                  <c:v>39318</c:v>
                </c:pt>
                <c:pt idx="640">
                  <c:v>39321</c:v>
                </c:pt>
                <c:pt idx="641">
                  <c:v>39322</c:v>
                </c:pt>
                <c:pt idx="642">
                  <c:v>39323</c:v>
                </c:pt>
                <c:pt idx="643">
                  <c:v>39324</c:v>
                </c:pt>
                <c:pt idx="644">
                  <c:v>39325</c:v>
                </c:pt>
                <c:pt idx="645">
                  <c:v>39328</c:v>
                </c:pt>
                <c:pt idx="646">
                  <c:v>39329</c:v>
                </c:pt>
                <c:pt idx="647">
                  <c:v>39330</c:v>
                </c:pt>
                <c:pt idx="648">
                  <c:v>39331</c:v>
                </c:pt>
                <c:pt idx="649">
                  <c:v>39332</c:v>
                </c:pt>
                <c:pt idx="650">
                  <c:v>39335</c:v>
                </c:pt>
                <c:pt idx="651">
                  <c:v>39336</c:v>
                </c:pt>
                <c:pt idx="652">
                  <c:v>39337</c:v>
                </c:pt>
                <c:pt idx="653">
                  <c:v>39338</c:v>
                </c:pt>
                <c:pt idx="654">
                  <c:v>39339</c:v>
                </c:pt>
                <c:pt idx="655">
                  <c:v>39342</c:v>
                </c:pt>
                <c:pt idx="656">
                  <c:v>39343</c:v>
                </c:pt>
                <c:pt idx="657">
                  <c:v>39344</c:v>
                </c:pt>
                <c:pt idx="658">
                  <c:v>39345</c:v>
                </c:pt>
                <c:pt idx="659">
                  <c:v>39346</c:v>
                </c:pt>
                <c:pt idx="660">
                  <c:v>39349</c:v>
                </c:pt>
                <c:pt idx="661">
                  <c:v>39350</c:v>
                </c:pt>
                <c:pt idx="662">
                  <c:v>39351</c:v>
                </c:pt>
                <c:pt idx="663">
                  <c:v>39352</c:v>
                </c:pt>
                <c:pt idx="664">
                  <c:v>39353</c:v>
                </c:pt>
                <c:pt idx="665">
                  <c:v>39363</c:v>
                </c:pt>
                <c:pt idx="666">
                  <c:v>39364</c:v>
                </c:pt>
                <c:pt idx="667">
                  <c:v>39365</c:v>
                </c:pt>
                <c:pt idx="668">
                  <c:v>39366</c:v>
                </c:pt>
                <c:pt idx="669">
                  <c:v>39367</c:v>
                </c:pt>
                <c:pt idx="670">
                  <c:v>39370</c:v>
                </c:pt>
                <c:pt idx="671">
                  <c:v>39371</c:v>
                </c:pt>
                <c:pt idx="672">
                  <c:v>39372</c:v>
                </c:pt>
                <c:pt idx="673">
                  <c:v>39373</c:v>
                </c:pt>
                <c:pt idx="674">
                  <c:v>39374</c:v>
                </c:pt>
                <c:pt idx="675">
                  <c:v>39377</c:v>
                </c:pt>
                <c:pt idx="676">
                  <c:v>39378</c:v>
                </c:pt>
                <c:pt idx="677">
                  <c:v>39379</c:v>
                </c:pt>
                <c:pt idx="678">
                  <c:v>39380</c:v>
                </c:pt>
                <c:pt idx="679">
                  <c:v>39381</c:v>
                </c:pt>
                <c:pt idx="680">
                  <c:v>39384</c:v>
                </c:pt>
                <c:pt idx="681">
                  <c:v>39385</c:v>
                </c:pt>
                <c:pt idx="682">
                  <c:v>39386</c:v>
                </c:pt>
                <c:pt idx="683">
                  <c:v>39387</c:v>
                </c:pt>
                <c:pt idx="684">
                  <c:v>39388</c:v>
                </c:pt>
                <c:pt idx="685">
                  <c:v>39391</c:v>
                </c:pt>
                <c:pt idx="686">
                  <c:v>39392</c:v>
                </c:pt>
                <c:pt idx="687">
                  <c:v>39393</c:v>
                </c:pt>
                <c:pt idx="688">
                  <c:v>39394</c:v>
                </c:pt>
                <c:pt idx="689">
                  <c:v>39395</c:v>
                </c:pt>
                <c:pt idx="690">
                  <c:v>39398</c:v>
                </c:pt>
                <c:pt idx="691">
                  <c:v>39399</c:v>
                </c:pt>
                <c:pt idx="692">
                  <c:v>39400</c:v>
                </c:pt>
                <c:pt idx="693">
                  <c:v>39401</c:v>
                </c:pt>
                <c:pt idx="694">
                  <c:v>39402</c:v>
                </c:pt>
                <c:pt idx="695">
                  <c:v>39405</c:v>
                </c:pt>
                <c:pt idx="696">
                  <c:v>39406</c:v>
                </c:pt>
                <c:pt idx="697">
                  <c:v>39407</c:v>
                </c:pt>
                <c:pt idx="698">
                  <c:v>39408</c:v>
                </c:pt>
                <c:pt idx="699">
                  <c:v>39409</c:v>
                </c:pt>
                <c:pt idx="700">
                  <c:v>39412</c:v>
                </c:pt>
                <c:pt idx="701">
                  <c:v>39413</c:v>
                </c:pt>
                <c:pt idx="702">
                  <c:v>39414</c:v>
                </c:pt>
                <c:pt idx="703">
                  <c:v>39415</c:v>
                </c:pt>
                <c:pt idx="704">
                  <c:v>39416</c:v>
                </c:pt>
                <c:pt idx="705">
                  <c:v>39419</c:v>
                </c:pt>
                <c:pt idx="706">
                  <c:v>39420</c:v>
                </c:pt>
                <c:pt idx="707">
                  <c:v>39421</c:v>
                </c:pt>
                <c:pt idx="708">
                  <c:v>39422</c:v>
                </c:pt>
                <c:pt idx="709">
                  <c:v>39423</c:v>
                </c:pt>
                <c:pt idx="710">
                  <c:v>39426</c:v>
                </c:pt>
                <c:pt idx="711">
                  <c:v>39427</c:v>
                </c:pt>
                <c:pt idx="712">
                  <c:v>39428</c:v>
                </c:pt>
                <c:pt idx="713">
                  <c:v>39429</c:v>
                </c:pt>
                <c:pt idx="714">
                  <c:v>39430</c:v>
                </c:pt>
                <c:pt idx="715">
                  <c:v>39433</c:v>
                </c:pt>
                <c:pt idx="716">
                  <c:v>39434</c:v>
                </c:pt>
                <c:pt idx="717">
                  <c:v>39435</c:v>
                </c:pt>
                <c:pt idx="718">
                  <c:v>39436</c:v>
                </c:pt>
                <c:pt idx="719">
                  <c:v>39437</c:v>
                </c:pt>
                <c:pt idx="720">
                  <c:v>39440</c:v>
                </c:pt>
                <c:pt idx="721">
                  <c:v>39441</c:v>
                </c:pt>
                <c:pt idx="722">
                  <c:v>39442</c:v>
                </c:pt>
                <c:pt idx="723">
                  <c:v>39443</c:v>
                </c:pt>
                <c:pt idx="724">
                  <c:v>39444</c:v>
                </c:pt>
                <c:pt idx="725">
                  <c:v>39449</c:v>
                </c:pt>
                <c:pt idx="726">
                  <c:v>39450</c:v>
                </c:pt>
                <c:pt idx="727">
                  <c:v>39451</c:v>
                </c:pt>
                <c:pt idx="728">
                  <c:v>39454</c:v>
                </c:pt>
                <c:pt idx="729">
                  <c:v>39455</c:v>
                </c:pt>
                <c:pt idx="730">
                  <c:v>39456</c:v>
                </c:pt>
                <c:pt idx="731">
                  <c:v>39457</c:v>
                </c:pt>
                <c:pt idx="732">
                  <c:v>39458</c:v>
                </c:pt>
                <c:pt idx="733">
                  <c:v>39461</c:v>
                </c:pt>
                <c:pt idx="734">
                  <c:v>39462</c:v>
                </c:pt>
                <c:pt idx="735">
                  <c:v>39463</c:v>
                </c:pt>
                <c:pt idx="736">
                  <c:v>39464</c:v>
                </c:pt>
                <c:pt idx="737">
                  <c:v>39465</c:v>
                </c:pt>
                <c:pt idx="738">
                  <c:v>39468</c:v>
                </c:pt>
                <c:pt idx="739">
                  <c:v>39469</c:v>
                </c:pt>
                <c:pt idx="740">
                  <c:v>39470</c:v>
                </c:pt>
                <c:pt idx="741">
                  <c:v>39471</c:v>
                </c:pt>
                <c:pt idx="742">
                  <c:v>39472</c:v>
                </c:pt>
                <c:pt idx="743">
                  <c:v>39475</c:v>
                </c:pt>
                <c:pt idx="744">
                  <c:v>39476</c:v>
                </c:pt>
                <c:pt idx="745">
                  <c:v>39477</c:v>
                </c:pt>
                <c:pt idx="746">
                  <c:v>39478</c:v>
                </c:pt>
                <c:pt idx="747">
                  <c:v>39479</c:v>
                </c:pt>
                <c:pt idx="748">
                  <c:v>39482</c:v>
                </c:pt>
                <c:pt idx="749">
                  <c:v>39483</c:v>
                </c:pt>
                <c:pt idx="750">
                  <c:v>39491</c:v>
                </c:pt>
                <c:pt idx="751">
                  <c:v>39492</c:v>
                </c:pt>
                <c:pt idx="752">
                  <c:v>39493</c:v>
                </c:pt>
                <c:pt idx="753">
                  <c:v>39496</c:v>
                </c:pt>
                <c:pt idx="754">
                  <c:v>39497</c:v>
                </c:pt>
                <c:pt idx="755">
                  <c:v>39498</c:v>
                </c:pt>
                <c:pt idx="756">
                  <c:v>39499</c:v>
                </c:pt>
                <c:pt idx="757">
                  <c:v>39500</c:v>
                </c:pt>
                <c:pt idx="758">
                  <c:v>39503</c:v>
                </c:pt>
                <c:pt idx="759">
                  <c:v>39504</c:v>
                </c:pt>
                <c:pt idx="760">
                  <c:v>39505</c:v>
                </c:pt>
                <c:pt idx="761">
                  <c:v>39506</c:v>
                </c:pt>
                <c:pt idx="762">
                  <c:v>39507</c:v>
                </c:pt>
                <c:pt idx="763">
                  <c:v>39510</c:v>
                </c:pt>
                <c:pt idx="764">
                  <c:v>39511</c:v>
                </c:pt>
                <c:pt idx="765">
                  <c:v>39512</c:v>
                </c:pt>
                <c:pt idx="766">
                  <c:v>39513</c:v>
                </c:pt>
                <c:pt idx="767">
                  <c:v>39514</c:v>
                </c:pt>
                <c:pt idx="768">
                  <c:v>39517</c:v>
                </c:pt>
                <c:pt idx="769">
                  <c:v>39518</c:v>
                </c:pt>
                <c:pt idx="770">
                  <c:v>39519</c:v>
                </c:pt>
                <c:pt idx="771">
                  <c:v>39520</c:v>
                </c:pt>
                <c:pt idx="772">
                  <c:v>39521</c:v>
                </c:pt>
                <c:pt idx="773">
                  <c:v>39524</c:v>
                </c:pt>
                <c:pt idx="774">
                  <c:v>39525</c:v>
                </c:pt>
                <c:pt idx="775">
                  <c:v>39526</c:v>
                </c:pt>
                <c:pt idx="776">
                  <c:v>39527</c:v>
                </c:pt>
                <c:pt idx="777">
                  <c:v>39528</c:v>
                </c:pt>
                <c:pt idx="778">
                  <c:v>39531</c:v>
                </c:pt>
                <c:pt idx="779">
                  <c:v>39532</c:v>
                </c:pt>
                <c:pt idx="780">
                  <c:v>39533</c:v>
                </c:pt>
                <c:pt idx="781">
                  <c:v>39534</c:v>
                </c:pt>
                <c:pt idx="782">
                  <c:v>39535</c:v>
                </c:pt>
                <c:pt idx="783">
                  <c:v>39538</c:v>
                </c:pt>
                <c:pt idx="784">
                  <c:v>39539</c:v>
                </c:pt>
                <c:pt idx="785">
                  <c:v>39540</c:v>
                </c:pt>
                <c:pt idx="786">
                  <c:v>39541</c:v>
                </c:pt>
                <c:pt idx="787">
                  <c:v>39545</c:v>
                </c:pt>
                <c:pt idx="788">
                  <c:v>39546</c:v>
                </c:pt>
                <c:pt idx="789">
                  <c:v>39547</c:v>
                </c:pt>
                <c:pt idx="790">
                  <c:v>39548</c:v>
                </c:pt>
                <c:pt idx="791">
                  <c:v>39549</c:v>
                </c:pt>
                <c:pt idx="792">
                  <c:v>39552</c:v>
                </c:pt>
                <c:pt idx="793">
                  <c:v>39553</c:v>
                </c:pt>
                <c:pt idx="794">
                  <c:v>39554</c:v>
                </c:pt>
                <c:pt idx="795">
                  <c:v>39555</c:v>
                </c:pt>
                <c:pt idx="796">
                  <c:v>39556</c:v>
                </c:pt>
                <c:pt idx="797">
                  <c:v>39559</c:v>
                </c:pt>
                <c:pt idx="798">
                  <c:v>39560</c:v>
                </c:pt>
                <c:pt idx="799">
                  <c:v>39561</c:v>
                </c:pt>
                <c:pt idx="800">
                  <c:v>39562</c:v>
                </c:pt>
                <c:pt idx="801">
                  <c:v>39563</c:v>
                </c:pt>
                <c:pt idx="802">
                  <c:v>39566</c:v>
                </c:pt>
                <c:pt idx="803">
                  <c:v>39567</c:v>
                </c:pt>
                <c:pt idx="804">
                  <c:v>39568</c:v>
                </c:pt>
                <c:pt idx="805">
                  <c:v>39573</c:v>
                </c:pt>
                <c:pt idx="806">
                  <c:v>39574</c:v>
                </c:pt>
                <c:pt idx="807">
                  <c:v>39575</c:v>
                </c:pt>
                <c:pt idx="808">
                  <c:v>39576</c:v>
                </c:pt>
                <c:pt idx="809">
                  <c:v>39577</c:v>
                </c:pt>
                <c:pt idx="810">
                  <c:v>39580</c:v>
                </c:pt>
                <c:pt idx="811">
                  <c:v>39581</c:v>
                </c:pt>
                <c:pt idx="812">
                  <c:v>39582</c:v>
                </c:pt>
                <c:pt idx="813">
                  <c:v>39583</c:v>
                </c:pt>
                <c:pt idx="814">
                  <c:v>39584</c:v>
                </c:pt>
                <c:pt idx="815">
                  <c:v>39587</c:v>
                </c:pt>
                <c:pt idx="816">
                  <c:v>39588</c:v>
                </c:pt>
                <c:pt idx="817">
                  <c:v>39589</c:v>
                </c:pt>
                <c:pt idx="818">
                  <c:v>39590</c:v>
                </c:pt>
                <c:pt idx="819">
                  <c:v>39591</c:v>
                </c:pt>
                <c:pt idx="820">
                  <c:v>39594</c:v>
                </c:pt>
                <c:pt idx="821">
                  <c:v>39595</c:v>
                </c:pt>
                <c:pt idx="822">
                  <c:v>39596</c:v>
                </c:pt>
                <c:pt idx="823">
                  <c:v>39597</c:v>
                </c:pt>
                <c:pt idx="824">
                  <c:v>39598</c:v>
                </c:pt>
                <c:pt idx="825">
                  <c:v>39601</c:v>
                </c:pt>
                <c:pt idx="826">
                  <c:v>39602</c:v>
                </c:pt>
                <c:pt idx="827">
                  <c:v>39603</c:v>
                </c:pt>
                <c:pt idx="828">
                  <c:v>39604</c:v>
                </c:pt>
                <c:pt idx="829">
                  <c:v>39605</c:v>
                </c:pt>
                <c:pt idx="830">
                  <c:v>39609</c:v>
                </c:pt>
                <c:pt idx="831">
                  <c:v>39610</c:v>
                </c:pt>
                <c:pt idx="832">
                  <c:v>39611</c:v>
                </c:pt>
                <c:pt idx="833">
                  <c:v>39612</c:v>
                </c:pt>
                <c:pt idx="834">
                  <c:v>39615</c:v>
                </c:pt>
                <c:pt idx="835">
                  <c:v>39616</c:v>
                </c:pt>
                <c:pt idx="836">
                  <c:v>39617</c:v>
                </c:pt>
                <c:pt idx="837">
                  <c:v>39618</c:v>
                </c:pt>
                <c:pt idx="838">
                  <c:v>39619</c:v>
                </c:pt>
                <c:pt idx="839">
                  <c:v>39622</c:v>
                </c:pt>
                <c:pt idx="840">
                  <c:v>39623</c:v>
                </c:pt>
                <c:pt idx="841">
                  <c:v>39624</c:v>
                </c:pt>
                <c:pt idx="842">
                  <c:v>39625</c:v>
                </c:pt>
                <c:pt idx="843">
                  <c:v>39626</c:v>
                </c:pt>
                <c:pt idx="844">
                  <c:v>39629</c:v>
                </c:pt>
                <c:pt idx="845">
                  <c:v>39630</c:v>
                </c:pt>
                <c:pt idx="846">
                  <c:v>39631</c:v>
                </c:pt>
                <c:pt idx="847">
                  <c:v>39632</c:v>
                </c:pt>
                <c:pt idx="848">
                  <c:v>39633</c:v>
                </c:pt>
                <c:pt idx="849">
                  <c:v>39636</c:v>
                </c:pt>
                <c:pt idx="850">
                  <c:v>39637</c:v>
                </c:pt>
                <c:pt idx="851">
                  <c:v>39638</c:v>
                </c:pt>
                <c:pt idx="852">
                  <c:v>39639</c:v>
                </c:pt>
                <c:pt idx="853">
                  <c:v>39640</c:v>
                </c:pt>
                <c:pt idx="854">
                  <c:v>39643</c:v>
                </c:pt>
                <c:pt idx="855">
                  <c:v>39644</c:v>
                </c:pt>
                <c:pt idx="856">
                  <c:v>39645</c:v>
                </c:pt>
                <c:pt idx="857">
                  <c:v>39646</c:v>
                </c:pt>
                <c:pt idx="858">
                  <c:v>39647</c:v>
                </c:pt>
                <c:pt idx="859">
                  <c:v>39650</c:v>
                </c:pt>
                <c:pt idx="860">
                  <c:v>39651</c:v>
                </c:pt>
                <c:pt idx="861">
                  <c:v>39652</c:v>
                </c:pt>
                <c:pt idx="862">
                  <c:v>39653</c:v>
                </c:pt>
                <c:pt idx="863">
                  <c:v>39654</c:v>
                </c:pt>
                <c:pt idx="864">
                  <c:v>39657</c:v>
                </c:pt>
                <c:pt idx="865">
                  <c:v>39658</c:v>
                </c:pt>
                <c:pt idx="866">
                  <c:v>39659</c:v>
                </c:pt>
                <c:pt idx="867">
                  <c:v>39660</c:v>
                </c:pt>
                <c:pt idx="868">
                  <c:v>39661</c:v>
                </c:pt>
                <c:pt idx="869">
                  <c:v>39664</c:v>
                </c:pt>
                <c:pt idx="870">
                  <c:v>39665</c:v>
                </c:pt>
                <c:pt idx="871">
                  <c:v>39666</c:v>
                </c:pt>
                <c:pt idx="872">
                  <c:v>39667</c:v>
                </c:pt>
                <c:pt idx="873">
                  <c:v>39668</c:v>
                </c:pt>
                <c:pt idx="874">
                  <c:v>39671</c:v>
                </c:pt>
                <c:pt idx="875">
                  <c:v>39672</c:v>
                </c:pt>
                <c:pt idx="876">
                  <c:v>39673</c:v>
                </c:pt>
                <c:pt idx="877">
                  <c:v>39674</c:v>
                </c:pt>
                <c:pt idx="878">
                  <c:v>39675</c:v>
                </c:pt>
                <c:pt idx="879">
                  <c:v>39678</c:v>
                </c:pt>
                <c:pt idx="880">
                  <c:v>39679</c:v>
                </c:pt>
                <c:pt idx="881">
                  <c:v>39680</c:v>
                </c:pt>
                <c:pt idx="882">
                  <c:v>39681</c:v>
                </c:pt>
                <c:pt idx="883">
                  <c:v>39682</c:v>
                </c:pt>
                <c:pt idx="884">
                  <c:v>39685</c:v>
                </c:pt>
                <c:pt idx="885">
                  <c:v>39686</c:v>
                </c:pt>
                <c:pt idx="886">
                  <c:v>39687</c:v>
                </c:pt>
                <c:pt idx="887">
                  <c:v>39688</c:v>
                </c:pt>
                <c:pt idx="888">
                  <c:v>39689</c:v>
                </c:pt>
                <c:pt idx="889">
                  <c:v>39692</c:v>
                </c:pt>
                <c:pt idx="890">
                  <c:v>39693</c:v>
                </c:pt>
                <c:pt idx="891">
                  <c:v>39694</c:v>
                </c:pt>
                <c:pt idx="892">
                  <c:v>39695</c:v>
                </c:pt>
                <c:pt idx="893">
                  <c:v>39696</c:v>
                </c:pt>
                <c:pt idx="894">
                  <c:v>39699</c:v>
                </c:pt>
                <c:pt idx="895">
                  <c:v>39700</c:v>
                </c:pt>
                <c:pt idx="896">
                  <c:v>39701</c:v>
                </c:pt>
                <c:pt idx="897">
                  <c:v>39702</c:v>
                </c:pt>
                <c:pt idx="898">
                  <c:v>39703</c:v>
                </c:pt>
                <c:pt idx="899">
                  <c:v>39707</c:v>
                </c:pt>
                <c:pt idx="900">
                  <c:v>39708</c:v>
                </c:pt>
                <c:pt idx="901">
                  <c:v>39709</c:v>
                </c:pt>
                <c:pt idx="902">
                  <c:v>39710</c:v>
                </c:pt>
                <c:pt idx="903">
                  <c:v>39713</c:v>
                </c:pt>
                <c:pt idx="904">
                  <c:v>39714</c:v>
                </c:pt>
                <c:pt idx="905">
                  <c:v>39715</c:v>
                </c:pt>
                <c:pt idx="906">
                  <c:v>39716</c:v>
                </c:pt>
                <c:pt idx="907">
                  <c:v>39717</c:v>
                </c:pt>
                <c:pt idx="908">
                  <c:v>39727</c:v>
                </c:pt>
                <c:pt idx="909">
                  <c:v>39728</c:v>
                </c:pt>
                <c:pt idx="910">
                  <c:v>39729</c:v>
                </c:pt>
                <c:pt idx="911">
                  <c:v>39730</c:v>
                </c:pt>
                <c:pt idx="912">
                  <c:v>39731</c:v>
                </c:pt>
                <c:pt idx="913">
                  <c:v>39734</c:v>
                </c:pt>
                <c:pt idx="914">
                  <c:v>39735</c:v>
                </c:pt>
                <c:pt idx="915">
                  <c:v>39736</c:v>
                </c:pt>
                <c:pt idx="916">
                  <c:v>39737</c:v>
                </c:pt>
                <c:pt idx="917">
                  <c:v>39738</c:v>
                </c:pt>
                <c:pt idx="918">
                  <c:v>39741</c:v>
                </c:pt>
                <c:pt idx="919">
                  <c:v>39742</c:v>
                </c:pt>
                <c:pt idx="920">
                  <c:v>39743</c:v>
                </c:pt>
                <c:pt idx="921">
                  <c:v>39744</c:v>
                </c:pt>
                <c:pt idx="922">
                  <c:v>39745</c:v>
                </c:pt>
                <c:pt idx="923">
                  <c:v>39748</c:v>
                </c:pt>
                <c:pt idx="924">
                  <c:v>39749</c:v>
                </c:pt>
                <c:pt idx="925">
                  <c:v>39750</c:v>
                </c:pt>
                <c:pt idx="926">
                  <c:v>39751</c:v>
                </c:pt>
                <c:pt idx="927">
                  <c:v>39752</c:v>
                </c:pt>
                <c:pt idx="928">
                  <c:v>39755</c:v>
                </c:pt>
                <c:pt idx="929">
                  <c:v>39756</c:v>
                </c:pt>
                <c:pt idx="930">
                  <c:v>39757</c:v>
                </c:pt>
                <c:pt idx="931">
                  <c:v>39758</c:v>
                </c:pt>
                <c:pt idx="932">
                  <c:v>39759</c:v>
                </c:pt>
                <c:pt idx="933">
                  <c:v>39762</c:v>
                </c:pt>
                <c:pt idx="934">
                  <c:v>39763</c:v>
                </c:pt>
                <c:pt idx="935">
                  <c:v>39764</c:v>
                </c:pt>
                <c:pt idx="936">
                  <c:v>39765</c:v>
                </c:pt>
                <c:pt idx="937">
                  <c:v>39766</c:v>
                </c:pt>
                <c:pt idx="938">
                  <c:v>39769</c:v>
                </c:pt>
                <c:pt idx="939">
                  <c:v>39770</c:v>
                </c:pt>
                <c:pt idx="940">
                  <c:v>39771</c:v>
                </c:pt>
                <c:pt idx="941">
                  <c:v>39772</c:v>
                </c:pt>
                <c:pt idx="942">
                  <c:v>39773</c:v>
                </c:pt>
                <c:pt idx="943">
                  <c:v>39776</c:v>
                </c:pt>
                <c:pt idx="944">
                  <c:v>39777</c:v>
                </c:pt>
                <c:pt idx="945">
                  <c:v>39778</c:v>
                </c:pt>
                <c:pt idx="946">
                  <c:v>39779</c:v>
                </c:pt>
                <c:pt idx="947">
                  <c:v>39780</c:v>
                </c:pt>
                <c:pt idx="948">
                  <c:v>39783</c:v>
                </c:pt>
                <c:pt idx="949">
                  <c:v>39784</c:v>
                </c:pt>
                <c:pt idx="950">
                  <c:v>39785</c:v>
                </c:pt>
                <c:pt idx="951">
                  <c:v>39786</c:v>
                </c:pt>
                <c:pt idx="952">
                  <c:v>39787</c:v>
                </c:pt>
                <c:pt idx="953">
                  <c:v>39790</c:v>
                </c:pt>
                <c:pt idx="954">
                  <c:v>39791</c:v>
                </c:pt>
                <c:pt idx="955">
                  <c:v>39792</c:v>
                </c:pt>
                <c:pt idx="956">
                  <c:v>39793</c:v>
                </c:pt>
                <c:pt idx="957">
                  <c:v>39794</c:v>
                </c:pt>
                <c:pt idx="958">
                  <c:v>39797</c:v>
                </c:pt>
                <c:pt idx="959">
                  <c:v>39798</c:v>
                </c:pt>
                <c:pt idx="960">
                  <c:v>39799</c:v>
                </c:pt>
                <c:pt idx="961">
                  <c:v>39800</c:v>
                </c:pt>
                <c:pt idx="962">
                  <c:v>39801</c:v>
                </c:pt>
                <c:pt idx="963">
                  <c:v>39804</c:v>
                </c:pt>
                <c:pt idx="964">
                  <c:v>39805</c:v>
                </c:pt>
                <c:pt idx="965">
                  <c:v>39806</c:v>
                </c:pt>
                <c:pt idx="966">
                  <c:v>39807</c:v>
                </c:pt>
                <c:pt idx="967">
                  <c:v>39808</c:v>
                </c:pt>
                <c:pt idx="968">
                  <c:v>39811</c:v>
                </c:pt>
                <c:pt idx="969">
                  <c:v>39812</c:v>
                </c:pt>
                <c:pt idx="970">
                  <c:v>39813</c:v>
                </c:pt>
                <c:pt idx="971">
                  <c:v>39818</c:v>
                </c:pt>
                <c:pt idx="972">
                  <c:v>39819</c:v>
                </c:pt>
                <c:pt idx="973">
                  <c:v>39820</c:v>
                </c:pt>
                <c:pt idx="974">
                  <c:v>39821</c:v>
                </c:pt>
                <c:pt idx="975">
                  <c:v>39822</c:v>
                </c:pt>
                <c:pt idx="976">
                  <c:v>39825</c:v>
                </c:pt>
                <c:pt idx="977">
                  <c:v>39826</c:v>
                </c:pt>
                <c:pt idx="978">
                  <c:v>39827</c:v>
                </c:pt>
                <c:pt idx="979">
                  <c:v>39828</c:v>
                </c:pt>
                <c:pt idx="980">
                  <c:v>39829</c:v>
                </c:pt>
                <c:pt idx="981">
                  <c:v>39832</c:v>
                </c:pt>
                <c:pt idx="982">
                  <c:v>39833</c:v>
                </c:pt>
                <c:pt idx="983">
                  <c:v>39834</c:v>
                </c:pt>
                <c:pt idx="984">
                  <c:v>39835</c:v>
                </c:pt>
                <c:pt idx="985">
                  <c:v>39836</c:v>
                </c:pt>
                <c:pt idx="986">
                  <c:v>39846</c:v>
                </c:pt>
                <c:pt idx="987">
                  <c:v>39847</c:v>
                </c:pt>
                <c:pt idx="988">
                  <c:v>39848</c:v>
                </c:pt>
                <c:pt idx="989">
                  <c:v>39849</c:v>
                </c:pt>
                <c:pt idx="990">
                  <c:v>39850</c:v>
                </c:pt>
                <c:pt idx="991">
                  <c:v>39853</c:v>
                </c:pt>
                <c:pt idx="992">
                  <c:v>39854</c:v>
                </c:pt>
                <c:pt idx="993">
                  <c:v>39855</c:v>
                </c:pt>
                <c:pt idx="994">
                  <c:v>39856</c:v>
                </c:pt>
                <c:pt idx="995">
                  <c:v>39857</c:v>
                </c:pt>
                <c:pt idx="996">
                  <c:v>39860</c:v>
                </c:pt>
                <c:pt idx="997">
                  <c:v>39861</c:v>
                </c:pt>
                <c:pt idx="998">
                  <c:v>39862</c:v>
                </c:pt>
                <c:pt idx="999">
                  <c:v>39863</c:v>
                </c:pt>
                <c:pt idx="1000">
                  <c:v>39864</c:v>
                </c:pt>
                <c:pt idx="1001">
                  <c:v>39867</c:v>
                </c:pt>
                <c:pt idx="1002">
                  <c:v>39868</c:v>
                </c:pt>
                <c:pt idx="1003">
                  <c:v>39869</c:v>
                </c:pt>
                <c:pt idx="1004">
                  <c:v>39870</c:v>
                </c:pt>
                <c:pt idx="1005">
                  <c:v>39871</c:v>
                </c:pt>
                <c:pt idx="1006">
                  <c:v>39874</c:v>
                </c:pt>
                <c:pt idx="1007">
                  <c:v>39875</c:v>
                </c:pt>
                <c:pt idx="1008">
                  <c:v>39876</c:v>
                </c:pt>
                <c:pt idx="1009">
                  <c:v>39877</c:v>
                </c:pt>
                <c:pt idx="1010">
                  <c:v>39878</c:v>
                </c:pt>
                <c:pt idx="1011">
                  <c:v>39881</c:v>
                </c:pt>
                <c:pt idx="1012">
                  <c:v>39882</c:v>
                </c:pt>
                <c:pt idx="1013">
                  <c:v>39883</c:v>
                </c:pt>
                <c:pt idx="1014">
                  <c:v>39884</c:v>
                </c:pt>
                <c:pt idx="1015">
                  <c:v>39885</c:v>
                </c:pt>
                <c:pt idx="1016">
                  <c:v>39888</c:v>
                </c:pt>
                <c:pt idx="1017">
                  <c:v>39889</c:v>
                </c:pt>
                <c:pt idx="1018">
                  <c:v>39890</c:v>
                </c:pt>
                <c:pt idx="1019">
                  <c:v>39891</c:v>
                </c:pt>
                <c:pt idx="1020">
                  <c:v>39892</c:v>
                </c:pt>
                <c:pt idx="1021">
                  <c:v>39895</c:v>
                </c:pt>
                <c:pt idx="1022">
                  <c:v>39896</c:v>
                </c:pt>
                <c:pt idx="1023">
                  <c:v>39897</c:v>
                </c:pt>
                <c:pt idx="1024">
                  <c:v>39898</c:v>
                </c:pt>
                <c:pt idx="1025">
                  <c:v>39899</c:v>
                </c:pt>
                <c:pt idx="1026">
                  <c:v>39902</c:v>
                </c:pt>
                <c:pt idx="1027">
                  <c:v>39903</c:v>
                </c:pt>
                <c:pt idx="1028">
                  <c:v>39904</c:v>
                </c:pt>
                <c:pt idx="1029">
                  <c:v>39905</c:v>
                </c:pt>
                <c:pt idx="1030">
                  <c:v>39906</c:v>
                </c:pt>
                <c:pt idx="1031">
                  <c:v>39910</c:v>
                </c:pt>
                <c:pt idx="1032">
                  <c:v>39911</c:v>
                </c:pt>
                <c:pt idx="1033">
                  <c:v>39912</c:v>
                </c:pt>
                <c:pt idx="1034">
                  <c:v>39913</c:v>
                </c:pt>
                <c:pt idx="1035">
                  <c:v>39916</c:v>
                </c:pt>
                <c:pt idx="1036">
                  <c:v>39917</c:v>
                </c:pt>
                <c:pt idx="1037">
                  <c:v>39918</c:v>
                </c:pt>
                <c:pt idx="1038">
                  <c:v>39919</c:v>
                </c:pt>
                <c:pt idx="1039">
                  <c:v>39920</c:v>
                </c:pt>
                <c:pt idx="1040">
                  <c:v>39923</c:v>
                </c:pt>
                <c:pt idx="1041">
                  <c:v>39924</c:v>
                </c:pt>
                <c:pt idx="1042">
                  <c:v>39925</c:v>
                </c:pt>
                <c:pt idx="1043">
                  <c:v>39926</c:v>
                </c:pt>
                <c:pt idx="1044">
                  <c:v>39927</c:v>
                </c:pt>
                <c:pt idx="1045">
                  <c:v>39930</c:v>
                </c:pt>
                <c:pt idx="1046">
                  <c:v>39931</c:v>
                </c:pt>
                <c:pt idx="1047">
                  <c:v>39932</c:v>
                </c:pt>
                <c:pt idx="1048">
                  <c:v>39933</c:v>
                </c:pt>
                <c:pt idx="1049">
                  <c:v>39937</c:v>
                </c:pt>
                <c:pt idx="1050">
                  <c:v>39938</c:v>
                </c:pt>
                <c:pt idx="1051">
                  <c:v>39939</c:v>
                </c:pt>
                <c:pt idx="1052">
                  <c:v>39940</c:v>
                </c:pt>
                <c:pt idx="1053">
                  <c:v>39941</c:v>
                </c:pt>
                <c:pt idx="1054">
                  <c:v>39944</c:v>
                </c:pt>
                <c:pt idx="1055">
                  <c:v>39945</c:v>
                </c:pt>
                <c:pt idx="1056">
                  <c:v>39946</c:v>
                </c:pt>
                <c:pt idx="1057">
                  <c:v>39947</c:v>
                </c:pt>
                <c:pt idx="1058">
                  <c:v>39948</c:v>
                </c:pt>
                <c:pt idx="1059">
                  <c:v>39951</c:v>
                </c:pt>
                <c:pt idx="1060">
                  <c:v>39952</c:v>
                </c:pt>
                <c:pt idx="1061">
                  <c:v>39953</c:v>
                </c:pt>
                <c:pt idx="1062">
                  <c:v>39954</c:v>
                </c:pt>
                <c:pt idx="1063">
                  <c:v>39955</c:v>
                </c:pt>
                <c:pt idx="1064">
                  <c:v>39958</c:v>
                </c:pt>
                <c:pt idx="1065">
                  <c:v>39959</c:v>
                </c:pt>
                <c:pt idx="1066">
                  <c:v>39960</c:v>
                </c:pt>
                <c:pt idx="1067">
                  <c:v>39965</c:v>
                </c:pt>
                <c:pt idx="1068">
                  <c:v>39966</c:v>
                </c:pt>
                <c:pt idx="1069">
                  <c:v>39967</c:v>
                </c:pt>
                <c:pt idx="1070">
                  <c:v>39968</c:v>
                </c:pt>
                <c:pt idx="1071">
                  <c:v>39969</c:v>
                </c:pt>
                <c:pt idx="1072">
                  <c:v>39972</c:v>
                </c:pt>
                <c:pt idx="1073">
                  <c:v>39973</c:v>
                </c:pt>
                <c:pt idx="1074">
                  <c:v>39974</c:v>
                </c:pt>
                <c:pt idx="1075">
                  <c:v>39975</c:v>
                </c:pt>
                <c:pt idx="1076">
                  <c:v>39976</c:v>
                </c:pt>
                <c:pt idx="1077">
                  <c:v>39979</c:v>
                </c:pt>
                <c:pt idx="1078">
                  <c:v>39980</c:v>
                </c:pt>
                <c:pt idx="1079">
                  <c:v>39981</c:v>
                </c:pt>
                <c:pt idx="1080">
                  <c:v>39982</c:v>
                </c:pt>
                <c:pt idx="1081">
                  <c:v>39983</c:v>
                </c:pt>
                <c:pt idx="1082">
                  <c:v>39986</c:v>
                </c:pt>
                <c:pt idx="1083">
                  <c:v>39987</c:v>
                </c:pt>
                <c:pt idx="1084">
                  <c:v>39988</c:v>
                </c:pt>
                <c:pt idx="1085">
                  <c:v>39989</c:v>
                </c:pt>
                <c:pt idx="1086">
                  <c:v>39990</c:v>
                </c:pt>
                <c:pt idx="1087">
                  <c:v>39993</c:v>
                </c:pt>
                <c:pt idx="1088">
                  <c:v>39994</c:v>
                </c:pt>
                <c:pt idx="1089">
                  <c:v>39995</c:v>
                </c:pt>
                <c:pt idx="1090">
                  <c:v>39996</c:v>
                </c:pt>
                <c:pt idx="1091">
                  <c:v>39997</c:v>
                </c:pt>
                <c:pt idx="1092">
                  <c:v>40000</c:v>
                </c:pt>
                <c:pt idx="1093">
                  <c:v>40001</c:v>
                </c:pt>
                <c:pt idx="1094">
                  <c:v>40002</c:v>
                </c:pt>
                <c:pt idx="1095">
                  <c:v>40003</c:v>
                </c:pt>
                <c:pt idx="1096">
                  <c:v>40004</c:v>
                </c:pt>
                <c:pt idx="1097">
                  <c:v>40007</c:v>
                </c:pt>
                <c:pt idx="1098">
                  <c:v>40008</c:v>
                </c:pt>
                <c:pt idx="1099">
                  <c:v>40009</c:v>
                </c:pt>
                <c:pt idx="1100">
                  <c:v>40010</c:v>
                </c:pt>
                <c:pt idx="1101">
                  <c:v>40011</c:v>
                </c:pt>
                <c:pt idx="1102">
                  <c:v>40014</c:v>
                </c:pt>
                <c:pt idx="1103">
                  <c:v>40015</c:v>
                </c:pt>
                <c:pt idx="1104">
                  <c:v>40016</c:v>
                </c:pt>
                <c:pt idx="1105">
                  <c:v>40017</c:v>
                </c:pt>
                <c:pt idx="1106">
                  <c:v>40018</c:v>
                </c:pt>
                <c:pt idx="1107">
                  <c:v>40021</c:v>
                </c:pt>
                <c:pt idx="1108">
                  <c:v>40022</c:v>
                </c:pt>
                <c:pt idx="1109">
                  <c:v>40023</c:v>
                </c:pt>
                <c:pt idx="1110">
                  <c:v>40024</c:v>
                </c:pt>
                <c:pt idx="1111">
                  <c:v>40025</c:v>
                </c:pt>
                <c:pt idx="1112">
                  <c:v>40028</c:v>
                </c:pt>
                <c:pt idx="1113">
                  <c:v>40029</c:v>
                </c:pt>
                <c:pt idx="1114">
                  <c:v>40030</c:v>
                </c:pt>
                <c:pt idx="1115">
                  <c:v>40031</c:v>
                </c:pt>
                <c:pt idx="1116">
                  <c:v>40032</c:v>
                </c:pt>
                <c:pt idx="1117">
                  <c:v>40035</c:v>
                </c:pt>
                <c:pt idx="1118">
                  <c:v>40036</c:v>
                </c:pt>
                <c:pt idx="1119">
                  <c:v>40037</c:v>
                </c:pt>
                <c:pt idx="1120">
                  <c:v>40038</c:v>
                </c:pt>
                <c:pt idx="1121">
                  <c:v>40039</c:v>
                </c:pt>
                <c:pt idx="1122">
                  <c:v>40042</c:v>
                </c:pt>
                <c:pt idx="1123">
                  <c:v>40043</c:v>
                </c:pt>
                <c:pt idx="1124">
                  <c:v>40044</c:v>
                </c:pt>
                <c:pt idx="1125">
                  <c:v>40045</c:v>
                </c:pt>
                <c:pt idx="1126">
                  <c:v>40046</c:v>
                </c:pt>
                <c:pt idx="1127">
                  <c:v>40049</c:v>
                </c:pt>
                <c:pt idx="1128">
                  <c:v>40050</c:v>
                </c:pt>
                <c:pt idx="1129">
                  <c:v>40051</c:v>
                </c:pt>
                <c:pt idx="1130">
                  <c:v>40052</c:v>
                </c:pt>
                <c:pt idx="1131">
                  <c:v>40053</c:v>
                </c:pt>
                <c:pt idx="1132">
                  <c:v>40056</c:v>
                </c:pt>
                <c:pt idx="1133">
                  <c:v>40057</c:v>
                </c:pt>
                <c:pt idx="1134">
                  <c:v>40058</c:v>
                </c:pt>
                <c:pt idx="1135">
                  <c:v>40059</c:v>
                </c:pt>
                <c:pt idx="1136">
                  <c:v>40060</c:v>
                </c:pt>
                <c:pt idx="1137">
                  <c:v>40063</c:v>
                </c:pt>
                <c:pt idx="1138">
                  <c:v>40064</c:v>
                </c:pt>
                <c:pt idx="1139">
                  <c:v>40065</c:v>
                </c:pt>
                <c:pt idx="1140">
                  <c:v>40066</c:v>
                </c:pt>
                <c:pt idx="1141">
                  <c:v>40067</c:v>
                </c:pt>
                <c:pt idx="1142">
                  <c:v>40070</c:v>
                </c:pt>
                <c:pt idx="1143">
                  <c:v>40071</c:v>
                </c:pt>
                <c:pt idx="1144">
                  <c:v>40072</c:v>
                </c:pt>
                <c:pt idx="1145">
                  <c:v>40073</c:v>
                </c:pt>
                <c:pt idx="1146">
                  <c:v>40074</c:v>
                </c:pt>
                <c:pt idx="1147">
                  <c:v>40077</c:v>
                </c:pt>
                <c:pt idx="1148">
                  <c:v>40078</c:v>
                </c:pt>
                <c:pt idx="1149">
                  <c:v>40079</c:v>
                </c:pt>
                <c:pt idx="1150">
                  <c:v>40080</c:v>
                </c:pt>
                <c:pt idx="1151">
                  <c:v>40081</c:v>
                </c:pt>
                <c:pt idx="1152">
                  <c:v>40084</c:v>
                </c:pt>
                <c:pt idx="1153">
                  <c:v>40085</c:v>
                </c:pt>
                <c:pt idx="1154">
                  <c:v>40086</c:v>
                </c:pt>
                <c:pt idx="1155">
                  <c:v>40095</c:v>
                </c:pt>
                <c:pt idx="1156">
                  <c:v>40098</c:v>
                </c:pt>
                <c:pt idx="1157">
                  <c:v>40099</c:v>
                </c:pt>
                <c:pt idx="1158">
                  <c:v>40100</c:v>
                </c:pt>
                <c:pt idx="1159">
                  <c:v>40101</c:v>
                </c:pt>
                <c:pt idx="1160">
                  <c:v>40102</c:v>
                </c:pt>
                <c:pt idx="1161">
                  <c:v>40105</c:v>
                </c:pt>
                <c:pt idx="1162">
                  <c:v>40106</c:v>
                </c:pt>
                <c:pt idx="1163">
                  <c:v>40107</c:v>
                </c:pt>
                <c:pt idx="1164">
                  <c:v>40108</c:v>
                </c:pt>
                <c:pt idx="1165">
                  <c:v>40109</c:v>
                </c:pt>
                <c:pt idx="1166">
                  <c:v>40112</c:v>
                </c:pt>
                <c:pt idx="1167">
                  <c:v>40113</c:v>
                </c:pt>
                <c:pt idx="1168">
                  <c:v>40114</c:v>
                </c:pt>
                <c:pt idx="1169">
                  <c:v>40115</c:v>
                </c:pt>
                <c:pt idx="1170">
                  <c:v>40116</c:v>
                </c:pt>
                <c:pt idx="1171">
                  <c:v>40119</c:v>
                </c:pt>
                <c:pt idx="1172">
                  <c:v>40120</c:v>
                </c:pt>
                <c:pt idx="1173">
                  <c:v>40121</c:v>
                </c:pt>
                <c:pt idx="1174">
                  <c:v>40122</c:v>
                </c:pt>
                <c:pt idx="1175">
                  <c:v>40123</c:v>
                </c:pt>
                <c:pt idx="1176">
                  <c:v>40126</c:v>
                </c:pt>
                <c:pt idx="1177">
                  <c:v>40127</c:v>
                </c:pt>
                <c:pt idx="1178">
                  <c:v>40128</c:v>
                </c:pt>
                <c:pt idx="1179">
                  <c:v>40129</c:v>
                </c:pt>
                <c:pt idx="1180">
                  <c:v>40130</c:v>
                </c:pt>
                <c:pt idx="1181">
                  <c:v>40133</c:v>
                </c:pt>
                <c:pt idx="1182">
                  <c:v>40134</c:v>
                </c:pt>
                <c:pt idx="1183">
                  <c:v>40135</c:v>
                </c:pt>
                <c:pt idx="1184">
                  <c:v>40136</c:v>
                </c:pt>
                <c:pt idx="1185">
                  <c:v>40137</c:v>
                </c:pt>
                <c:pt idx="1186">
                  <c:v>40140</c:v>
                </c:pt>
                <c:pt idx="1187">
                  <c:v>40141</c:v>
                </c:pt>
                <c:pt idx="1188">
                  <c:v>40142</c:v>
                </c:pt>
                <c:pt idx="1189">
                  <c:v>40143</c:v>
                </c:pt>
                <c:pt idx="1190">
                  <c:v>40144</c:v>
                </c:pt>
                <c:pt idx="1191">
                  <c:v>40147</c:v>
                </c:pt>
                <c:pt idx="1192">
                  <c:v>40148</c:v>
                </c:pt>
                <c:pt idx="1193">
                  <c:v>40149</c:v>
                </c:pt>
                <c:pt idx="1194">
                  <c:v>40150</c:v>
                </c:pt>
                <c:pt idx="1195">
                  <c:v>40151</c:v>
                </c:pt>
                <c:pt idx="1196">
                  <c:v>40154</c:v>
                </c:pt>
                <c:pt idx="1197">
                  <c:v>40155</c:v>
                </c:pt>
                <c:pt idx="1198">
                  <c:v>40156</c:v>
                </c:pt>
                <c:pt idx="1199">
                  <c:v>40157</c:v>
                </c:pt>
                <c:pt idx="1200">
                  <c:v>40158</c:v>
                </c:pt>
                <c:pt idx="1201">
                  <c:v>40161</c:v>
                </c:pt>
                <c:pt idx="1202">
                  <c:v>40162</c:v>
                </c:pt>
                <c:pt idx="1203">
                  <c:v>40163</c:v>
                </c:pt>
                <c:pt idx="1204">
                  <c:v>40164</c:v>
                </c:pt>
                <c:pt idx="1205">
                  <c:v>40165</c:v>
                </c:pt>
                <c:pt idx="1206">
                  <c:v>40168</c:v>
                </c:pt>
                <c:pt idx="1207">
                  <c:v>40169</c:v>
                </c:pt>
                <c:pt idx="1208">
                  <c:v>40170</c:v>
                </c:pt>
                <c:pt idx="1209">
                  <c:v>40171</c:v>
                </c:pt>
                <c:pt idx="1210">
                  <c:v>40172</c:v>
                </c:pt>
                <c:pt idx="1211">
                  <c:v>40175</c:v>
                </c:pt>
                <c:pt idx="1212">
                  <c:v>40176</c:v>
                </c:pt>
                <c:pt idx="1213">
                  <c:v>40177</c:v>
                </c:pt>
                <c:pt idx="1214">
                  <c:v>40178</c:v>
                </c:pt>
                <c:pt idx="1215">
                  <c:v>40182</c:v>
                </c:pt>
                <c:pt idx="1216">
                  <c:v>40183</c:v>
                </c:pt>
                <c:pt idx="1217">
                  <c:v>40184</c:v>
                </c:pt>
                <c:pt idx="1218">
                  <c:v>40185</c:v>
                </c:pt>
                <c:pt idx="1219">
                  <c:v>40186</c:v>
                </c:pt>
                <c:pt idx="1220">
                  <c:v>40189</c:v>
                </c:pt>
                <c:pt idx="1221">
                  <c:v>40190</c:v>
                </c:pt>
                <c:pt idx="1222">
                  <c:v>40191</c:v>
                </c:pt>
                <c:pt idx="1223">
                  <c:v>40192</c:v>
                </c:pt>
                <c:pt idx="1224">
                  <c:v>40193</c:v>
                </c:pt>
                <c:pt idx="1225">
                  <c:v>40196</c:v>
                </c:pt>
                <c:pt idx="1226">
                  <c:v>40197</c:v>
                </c:pt>
                <c:pt idx="1227">
                  <c:v>40198</c:v>
                </c:pt>
                <c:pt idx="1228">
                  <c:v>40199</c:v>
                </c:pt>
                <c:pt idx="1229">
                  <c:v>40200</c:v>
                </c:pt>
                <c:pt idx="1230">
                  <c:v>40203</c:v>
                </c:pt>
                <c:pt idx="1231">
                  <c:v>40204</c:v>
                </c:pt>
                <c:pt idx="1232">
                  <c:v>40205</c:v>
                </c:pt>
                <c:pt idx="1233">
                  <c:v>40206</c:v>
                </c:pt>
                <c:pt idx="1234">
                  <c:v>40207</c:v>
                </c:pt>
                <c:pt idx="1235">
                  <c:v>40210</c:v>
                </c:pt>
                <c:pt idx="1236">
                  <c:v>40211</c:v>
                </c:pt>
                <c:pt idx="1237">
                  <c:v>40212</c:v>
                </c:pt>
                <c:pt idx="1238">
                  <c:v>40213</c:v>
                </c:pt>
                <c:pt idx="1239">
                  <c:v>40214</c:v>
                </c:pt>
                <c:pt idx="1240">
                  <c:v>40217</c:v>
                </c:pt>
                <c:pt idx="1241">
                  <c:v>40218</c:v>
                </c:pt>
                <c:pt idx="1242">
                  <c:v>40219</c:v>
                </c:pt>
                <c:pt idx="1243">
                  <c:v>40220</c:v>
                </c:pt>
                <c:pt idx="1244">
                  <c:v>40221</c:v>
                </c:pt>
                <c:pt idx="1245">
                  <c:v>40231</c:v>
                </c:pt>
                <c:pt idx="1246">
                  <c:v>40232</c:v>
                </c:pt>
                <c:pt idx="1247">
                  <c:v>40233</c:v>
                </c:pt>
                <c:pt idx="1248">
                  <c:v>40234</c:v>
                </c:pt>
                <c:pt idx="1249">
                  <c:v>40235</c:v>
                </c:pt>
                <c:pt idx="1250">
                  <c:v>40238</c:v>
                </c:pt>
                <c:pt idx="1251">
                  <c:v>40239</c:v>
                </c:pt>
                <c:pt idx="1252">
                  <c:v>40240</c:v>
                </c:pt>
                <c:pt idx="1253">
                  <c:v>40241</c:v>
                </c:pt>
                <c:pt idx="1254">
                  <c:v>40242</c:v>
                </c:pt>
                <c:pt idx="1255">
                  <c:v>40245</c:v>
                </c:pt>
                <c:pt idx="1256">
                  <c:v>40246</c:v>
                </c:pt>
                <c:pt idx="1257">
                  <c:v>40247</c:v>
                </c:pt>
                <c:pt idx="1258">
                  <c:v>40248</c:v>
                </c:pt>
                <c:pt idx="1259">
                  <c:v>40249</c:v>
                </c:pt>
                <c:pt idx="1260">
                  <c:v>40252</c:v>
                </c:pt>
                <c:pt idx="1261">
                  <c:v>40253</c:v>
                </c:pt>
                <c:pt idx="1262">
                  <c:v>40254</c:v>
                </c:pt>
                <c:pt idx="1263">
                  <c:v>40255</c:v>
                </c:pt>
                <c:pt idx="1264">
                  <c:v>40256</c:v>
                </c:pt>
                <c:pt idx="1265">
                  <c:v>40259</c:v>
                </c:pt>
                <c:pt idx="1266">
                  <c:v>40260</c:v>
                </c:pt>
                <c:pt idx="1267">
                  <c:v>40261</c:v>
                </c:pt>
                <c:pt idx="1268">
                  <c:v>40262</c:v>
                </c:pt>
                <c:pt idx="1269">
                  <c:v>40263</c:v>
                </c:pt>
                <c:pt idx="1270">
                  <c:v>40266</c:v>
                </c:pt>
                <c:pt idx="1271">
                  <c:v>40267</c:v>
                </c:pt>
                <c:pt idx="1272">
                  <c:v>40268</c:v>
                </c:pt>
                <c:pt idx="1273">
                  <c:v>40269</c:v>
                </c:pt>
                <c:pt idx="1274">
                  <c:v>40270</c:v>
                </c:pt>
                <c:pt idx="1275">
                  <c:v>40274</c:v>
                </c:pt>
                <c:pt idx="1276">
                  <c:v>40275</c:v>
                </c:pt>
                <c:pt idx="1277">
                  <c:v>40276</c:v>
                </c:pt>
                <c:pt idx="1278">
                  <c:v>40277</c:v>
                </c:pt>
                <c:pt idx="1279">
                  <c:v>40280</c:v>
                </c:pt>
                <c:pt idx="1280">
                  <c:v>40281</c:v>
                </c:pt>
                <c:pt idx="1281">
                  <c:v>40282</c:v>
                </c:pt>
                <c:pt idx="1282">
                  <c:v>40283</c:v>
                </c:pt>
                <c:pt idx="1283">
                  <c:v>40284</c:v>
                </c:pt>
                <c:pt idx="1284">
                  <c:v>40287</c:v>
                </c:pt>
                <c:pt idx="1285">
                  <c:v>40288</c:v>
                </c:pt>
                <c:pt idx="1286">
                  <c:v>40289</c:v>
                </c:pt>
                <c:pt idx="1287">
                  <c:v>40290</c:v>
                </c:pt>
                <c:pt idx="1288">
                  <c:v>40291</c:v>
                </c:pt>
                <c:pt idx="1289">
                  <c:v>40294</c:v>
                </c:pt>
                <c:pt idx="1290">
                  <c:v>40295</c:v>
                </c:pt>
                <c:pt idx="1291">
                  <c:v>40296</c:v>
                </c:pt>
                <c:pt idx="1292">
                  <c:v>40297</c:v>
                </c:pt>
                <c:pt idx="1293">
                  <c:v>40298</c:v>
                </c:pt>
                <c:pt idx="1294">
                  <c:v>40302</c:v>
                </c:pt>
                <c:pt idx="1295">
                  <c:v>40303</c:v>
                </c:pt>
                <c:pt idx="1296">
                  <c:v>40304</c:v>
                </c:pt>
                <c:pt idx="1297">
                  <c:v>40305</c:v>
                </c:pt>
                <c:pt idx="1298">
                  <c:v>40308</c:v>
                </c:pt>
                <c:pt idx="1299">
                  <c:v>40309</c:v>
                </c:pt>
                <c:pt idx="1300">
                  <c:v>40310</c:v>
                </c:pt>
                <c:pt idx="1301">
                  <c:v>40311</c:v>
                </c:pt>
                <c:pt idx="1302">
                  <c:v>40312</c:v>
                </c:pt>
                <c:pt idx="1303">
                  <c:v>40315</c:v>
                </c:pt>
                <c:pt idx="1304">
                  <c:v>40316</c:v>
                </c:pt>
                <c:pt idx="1305">
                  <c:v>40317</c:v>
                </c:pt>
                <c:pt idx="1306">
                  <c:v>40318</c:v>
                </c:pt>
                <c:pt idx="1307">
                  <c:v>40319</c:v>
                </c:pt>
                <c:pt idx="1308">
                  <c:v>40322</c:v>
                </c:pt>
                <c:pt idx="1309">
                  <c:v>40323</c:v>
                </c:pt>
                <c:pt idx="1310">
                  <c:v>40324</c:v>
                </c:pt>
                <c:pt idx="1311">
                  <c:v>40325</c:v>
                </c:pt>
                <c:pt idx="1312">
                  <c:v>40326</c:v>
                </c:pt>
                <c:pt idx="1313">
                  <c:v>40329</c:v>
                </c:pt>
                <c:pt idx="1314">
                  <c:v>40330</c:v>
                </c:pt>
                <c:pt idx="1315">
                  <c:v>40331</c:v>
                </c:pt>
                <c:pt idx="1316">
                  <c:v>40332</c:v>
                </c:pt>
                <c:pt idx="1317">
                  <c:v>40333</c:v>
                </c:pt>
                <c:pt idx="1318">
                  <c:v>40336</c:v>
                </c:pt>
                <c:pt idx="1319">
                  <c:v>40337</c:v>
                </c:pt>
                <c:pt idx="1320">
                  <c:v>40338</c:v>
                </c:pt>
                <c:pt idx="1321">
                  <c:v>40339</c:v>
                </c:pt>
                <c:pt idx="1322">
                  <c:v>40340</c:v>
                </c:pt>
                <c:pt idx="1323">
                  <c:v>40346</c:v>
                </c:pt>
                <c:pt idx="1324">
                  <c:v>40347</c:v>
                </c:pt>
                <c:pt idx="1325">
                  <c:v>40350</c:v>
                </c:pt>
                <c:pt idx="1326">
                  <c:v>40351</c:v>
                </c:pt>
                <c:pt idx="1327">
                  <c:v>40352</c:v>
                </c:pt>
                <c:pt idx="1328">
                  <c:v>40353</c:v>
                </c:pt>
                <c:pt idx="1329">
                  <c:v>40354</c:v>
                </c:pt>
                <c:pt idx="1330">
                  <c:v>40357</c:v>
                </c:pt>
                <c:pt idx="1331">
                  <c:v>40358</c:v>
                </c:pt>
                <c:pt idx="1332">
                  <c:v>40359</c:v>
                </c:pt>
                <c:pt idx="1333">
                  <c:v>40360</c:v>
                </c:pt>
                <c:pt idx="1334">
                  <c:v>40361</c:v>
                </c:pt>
                <c:pt idx="1335">
                  <c:v>40364</c:v>
                </c:pt>
                <c:pt idx="1336">
                  <c:v>40365</c:v>
                </c:pt>
                <c:pt idx="1337">
                  <c:v>40366</c:v>
                </c:pt>
                <c:pt idx="1338">
                  <c:v>40367</c:v>
                </c:pt>
                <c:pt idx="1339">
                  <c:v>40368</c:v>
                </c:pt>
                <c:pt idx="1340">
                  <c:v>40371</c:v>
                </c:pt>
                <c:pt idx="1341">
                  <c:v>40372</c:v>
                </c:pt>
                <c:pt idx="1342">
                  <c:v>40373</c:v>
                </c:pt>
                <c:pt idx="1343">
                  <c:v>40374</c:v>
                </c:pt>
                <c:pt idx="1344">
                  <c:v>40375</c:v>
                </c:pt>
                <c:pt idx="1345">
                  <c:v>40378</c:v>
                </c:pt>
                <c:pt idx="1346">
                  <c:v>40379</c:v>
                </c:pt>
                <c:pt idx="1347">
                  <c:v>40380</c:v>
                </c:pt>
                <c:pt idx="1348">
                  <c:v>40381</c:v>
                </c:pt>
                <c:pt idx="1349">
                  <c:v>40382</c:v>
                </c:pt>
                <c:pt idx="1350">
                  <c:v>40385</c:v>
                </c:pt>
                <c:pt idx="1351">
                  <c:v>40386</c:v>
                </c:pt>
                <c:pt idx="1352">
                  <c:v>40387</c:v>
                </c:pt>
                <c:pt idx="1353">
                  <c:v>40388</c:v>
                </c:pt>
                <c:pt idx="1354">
                  <c:v>40389</c:v>
                </c:pt>
                <c:pt idx="1355">
                  <c:v>40392</c:v>
                </c:pt>
                <c:pt idx="1356">
                  <c:v>40393</c:v>
                </c:pt>
                <c:pt idx="1357">
                  <c:v>40394</c:v>
                </c:pt>
                <c:pt idx="1358">
                  <c:v>40395</c:v>
                </c:pt>
                <c:pt idx="1359">
                  <c:v>40396</c:v>
                </c:pt>
                <c:pt idx="1360">
                  <c:v>40399</c:v>
                </c:pt>
                <c:pt idx="1361">
                  <c:v>40400</c:v>
                </c:pt>
                <c:pt idx="1362">
                  <c:v>40401</c:v>
                </c:pt>
                <c:pt idx="1363">
                  <c:v>40402</c:v>
                </c:pt>
                <c:pt idx="1364">
                  <c:v>40403</c:v>
                </c:pt>
                <c:pt idx="1365">
                  <c:v>40406</c:v>
                </c:pt>
                <c:pt idx="1366">
                  <c:v>40407</c:v>
                </c:pt>
                <c:pt idx="1367">
                  <c:v>40408</c:v>
                </c:pt>
                <c:pt idx="1368">
                  <c:v>40409</c:v>
                </c:pt>
                <c:pt idx="1369">
                  <c:v>40410</c:v>
                </c:pt>
                <c:pt idx="1370">
                  <c:v>40413</c:v>
                </c:pt>
                <c:pt idx="1371">
                  <c:v>40414</c:v>
                </c:pt>
                <c:pt idx="1372">
                  <c:v>40415</c:v>
                </c:pt>
                <c:pt idx="1373">
                  <c:v>40416</c:v>
                </c:pt>
                <c:pt idx="1374">
                  <c:v>40417</c:v>
                </c:pt>
                <c:pt idx="1375">
                  <c:v>40420</c:v>
                </c:pt>
                <c:pt idx="1376">
                  <c:v>40421</c:v>
                </c:pt>
                <c:pt idx="1377">
                  <c:v>40422</c:v>
                </c:pt>
                <c:pt idx="1378">
                  <c:v>40423</c:v>
                </c:pt>
                <c:pt idx="1379">
                  <c:v>40424</c:v>
                </c:pt>
                <c:pt idx="1380">
                  <c:v>40427</c:v>
                </c:pt>
                <c:pt idx="1381">
                  <c:v>40428</c:v>
                </c:pt>
                <c:pt idx="1382">
                  <c:v>40429</c:v>
                </c:pt>
                <c:pt idx="1383">
                  <c:v>40430</c:v>
                </c:pt>
                <c:pt idx="1384">
                  <c:v>40431</c:v>
                </c:pt>
                <c:pt idx="1385">
                  <c:v>40434</c:v>
                </c:pt>
                <c:pt idx="1386">
                  <c:v>40435</c:v>
                </c:pt>
                <c:pt idx="1387">
                  <c:v>40436</c:v>
                </c:pt>
                <c:pt idx="1388">
                  <c:v>40437</c:v>
                </c:pt>
                <c:pt idx="1389">
                  <c:v>40438</c:v>
                </c:pt>
                <c:pt idx="1390">
                  <c:v>40441</c:v>
                </c:pt>
                <c:pt idx="1391">
                  <c:v>40442</c:v>
                </c:pt>
                <c:pt idx="1392">
                  <c:v>40448</c:v>
                </c:pt>
                <c:pt idx="1393">
                  <c:v>40449</c:v>
                </c:pt>
                <c:pt idx="1394">
                  <c:v>40450</c:v>
                </c:pt>
                <c:pt idx="1395">
                  <c:v>40451</c:v>
                </c:pt>
                <c:pt idx="1396">
                  <c:v>40459</c:v>
                </c:pt>
                <c:pt idx="1397">
                  <c:v>40462</c:v>
                </c:pt>
                <c:pt idx="1398">
                  <c:v>40463</c:v>
                </c:pt>
                <c:pt idx="1399">
                  <c:v>40464</c:v>
                </c:pt>
                <c:pt idx="1400">
                  <c:v>40465</c:v>
                </c:pt>
                <c:pt idx="1401">
                  <c:v>40466</c:v>
                </c:pt>
                <c:pt idx="1402">
                  <c:v>40469</c:v>
                </c:pt>
                <c:pt idx="1403">
                  <c:v>40470</c:v>
                </c:pt>
                <c:pt idx="1404">
                  <c:v>40471</c:v>
                </c:pt>
                <c:pt idx="1405">
                  <c:v>40472</c:v>
                </c:pt>
                <c:pt idx="1406">
                  <c:v>40473</c:v>
                </c:pt>
                <c:pt idx="1407">
                  <c:v>40476</c:v>
                </c:pt>
                <c:pt idx="1408">
                  <c:v>40477</c:v>
                </c:pt>
                <c:pt idx="1409">
                  <c:v>40478</c:v>
                </c:pt>
                <c:pt idx="1410">
                  <c:v>40479</c:v>
                </c:pt>
                <c:pt idx="1411">
                  <c:v>40480</c:v>
                </c:pt>
                <c:pt idx="1412">
                  <c:v>40483</c:v>
                </c:pt>
                <c:pt idx="1413">
                  <c:v>40484</c:v>
                </c:pt>
                <c:pt idx="1414">
                  <c:v>40485</c:v>
                </c:pt>
                <c:pt idx="1415">
                  <c:v>40486</c:v>
                </c:pt>
                <c:pt idx="1416">
                  <c:v>40487</c:v>
                </c:pt>
                <c:pt idx="1417">
                  <c:v>40490</c:v>
                </c:pt>
                <c:pt idx="1418">
                  <c:v>40491</c:v>
                </c:pt>
                <c:pt idx="1419">
                  <c:v>40492</c:v>
                </c:pt>
                <c:pt idx="1420">
                  <c:v>40493</c:v>
                </c:pt>
                <c:pt idx="1421">
                  <c:v>40494</c:v>
                </c:pt>
                <c:pt idx="1422">
                  <c:v>40497</c:v>
                </c:pt>
                <c:pt idx="1423">
                  <c:v>40498</c:v>
                </c:pt>
                <c:pt idx="1424">
                  <c:v>40499</c:v>
                </c:pt>
                <c:pt idx="1425">
                  <c:v>40500</c:v>
                </c:pt>
                <c:pt idx="1426">
                  <c:v>40501</c:v>
                </c:pt>
                <c:pt idx="1427">
                  <c:v>40504</c:v>
                </c:pt>
                <c:pt idx="1428">
                  <c:v>40505</c:v>
                </c:pt>
                <c:pt idx="1429">
                  <c:v>40506</c:v>
                </c:pt>
                <c:pt idx="1430">
                  <c:v>40507</c:v>
                </c:pt>
                <c:pt idx="1431">
                  <c:v>40508</c:v>
                </c:pt>
                <c:pt idx="1432">
                  <c:v>40511</c:v>
                </c:pt>
                <c:pt idx="1433">
                  <c:v>40512</c:v>
                </c:pt>
                <c:pt idx="1434">
                  <c:v>40513</c:v>
                </c:pt>
                <c:pt idx="1435">
                  <c:v>40514</c:v>
                </c:pt>
                <c:pt idx="1436">
                  <c:v>40515</c:v>
                </c:pt>
                <c:pt idx="1437">
                  <c:v>40518</c:v>
                </c:pt>
                <c:pt idx="1438">
                  <c:v>40519</c:v>
                </c:pt>
                <c:pt idx="1439">
                  <c:v>40520</c:v>
                </c:pt>
                <c:pt idx="1440">
                  <c:v>40521</c:v>
                </c:pt>
                <c:pt idx="1441">
                  <c:v>40522</c:v>
                </c:pt>
                <c:pt idx="1442">
                  <c:v>40525</c:v>
                </c:pt>
                <c:pt idx="1443">
                  <c:v>40526</c:v>
                </c:pt>
                <c:pt idx="1444">
                  <c:v>40527</c:v>
                </c:pt>
                <c:pt idx="1445">
                  <c:v>40528</c:v>
                </c:pt>
                <c:pt idx="1446">
                  <c:v>40529</c:v>
                </c:pt>
                <c:pt idx="1447">
                  <c:v>40532</c:v>
                </c:pt>
                <c:pt idx="1448">
                  <c:v>40533</c:v>
                </c:pt>
                <c:pt idx="1449">
                  <c:v>40534</c:v>
                </c:pt>
                <c:pt idx="1450">
                  <c:v>40535</c:v>
                </c:pt>
                <c:pt idx="1451">
                  <c:v>40536</c:v>
                </c:pt>
                <c:pt idx="1452">
                  <c:v>40539</c:v>
                </c:pt>
                <c:pt idx="1453">
                  <c:v>40540</c:v>
                </c:pt>
                <c:pt idx="1454">
                  <c:v>40541</c:v>
                </c:pt>
                <c:pt idx="1455">
                  <c:v>40542</c:v>
                </c:pt>
                <c:pt idx="1456">
                  <c:v>40543</c:v>
                </c:pt>
                <c:pt idx="1457">
                  <c:v>40547</c:v>
                </c:pt>
                <c:pt idx="1458">
                  <c:v>40548</c:v>
                </c:pt>
                <c:pt idx="1459">
                  <c:v>40549</c:v>
                </c:pt>
                <c:pt idx="1460">
                  <c:v>40550</c:v>
                </c:pt>
                <c:pt idx="1461">
                  <c:v>40553</c:v>
                </c:pt>
                <c:pt idx="1462">
                  <c:v>40554</c:v>
                </c:pt>
                <c:pt idx="1463">
                  <c:v>40555</c:v>
                </c:pt>
                <c:pt idx="1464">
                  <c:v>40556</c:v>
                </c:pt>
                <c:pt idx="1465">
                  <c:v>40557</c:v>
                </c:pt>
                <c:pt idx="1466">
                  <c:v>40560</c:v>
                </c:pt>
                <c:pt idx="1467">
                  <c:v>40561</c:v>
                </c:pt>
                <c:pt idx="1468">
                  <c:v>40562</c:v>
                </c:pt>
                <c:pt idx="1469">
                  <c:v>40563</c:v>
                </c:pt>
                <c:pt idx="1470">
                  <c:v>40564</c:v>
                </c:pt>
                <c:pt idx="1471">
                  <c:v>40567</c:v>
                </c:pt>
                <c:pt idx="1472">
                  <c:v>40568</c:v>
                </c:pt>
                <c:pt idx="1473">
                  <c:v>40569</c:v>
                </c:pt>
                <c:pt idx="1474">
                  <c:v>40570</c:v>
                </c:pt>
                <c:pt idx="1475">
                  <c:v>40571</c:v>
                </c:pt>
                <c:pt idx="1476">
                  <c:v>40574</c:v>
                </c:pt>
                <c:pt idx="1477">
                  <c:v>40575</c:v>
                </c:pt>
                <c:pt idx="1478">
                  <c:v>40583</c:v>
                </c:pt>
                <c:pt idx="1479">
                  <c:v>40584</c:v>
                </c:pt>
                <c:pt idx="1480">
                  <c:v>40585</c:v>
                </c:pt>
                <c:pt idx="1481">
                  <c:v>40588</c:v>
                </c:pt>
                <c:pt idx="1482">
                  <c:v>40589</c:v>
                </c:pt>
                <c:pt idx="1483">
                  <c:v>40590</c:v>
                </c:pt>
                <c:pt idx="1484">
                  <c:v>40591</c:v>
                </c:pt>
                <c:pt idx="1485">
                  <c:v>40592</c:v>
                </c:pt>
                <c:pt idx="1486">
                  <c:v>40595</c:v>
                </c:pt>
                <c:pt idx="1487">
                  <c:v>40596</c:v>
                </c:pt>
                <c:pt idx="1488">
                  <c:v>40597</c:v>
                </c:pt>
                <c:pt idx="1489">
                  <c:v>40598</c:v>
                </c:pt>
                <c:pt idx="1490">
                  <c:v>40599</c:v>
                </c:pt>
                <c:pt idx="1491">
                  <c:v>40602</c:v>
                </c:pt>
                <c:pt idx="1492">
                  <c:v>40603</c:v>
                </c:pt>
                <c:pt idx="1493">
                  <c:v>40604</c:v>
                </c:pt>
                <c:pt idx="1494">
                  <c:v>40605</c:v>
                </c:pt>
                <c:pt idx="1495">
                  <c:v>40606</c:v>
                </c:pt>
                <c:pt idx="1496">
                  <c:v>40609</c:v>
                </c:pt>
                <c:pt idx="1497">
                  <c:v>40610</c:v>
                </c:pt>
                <c:pt idx="1498">
                  <c:v>40611</c:v>
                </c:pt>
                <c:pt idx="1499">
                  <c:v>40612</c:v>
                </c:pt>
                <c:pt idx="1500">
                  <c:v>40613</c:v>
                </c:pt>
                <c:pt idx="1501">
                  <c:v>40616</c:v>
                </c:pt>
                <c:pt idx="1502">
                  <c:v>40617</c:v>
                </c:pt>
                <c:pt idx="1503">
                  <c:v>40618</c:v>
                </c:pt>
                <c:pt idx="1504">
                  <c:v>40619</c:v>
                </c:pt>
                <c:pt idx="1505">
                  <c:v>40620</c:v>
                </c:pt>
                <c:pt idx="1506">
                  <c:v>40623</c:v>
                </c:pt>
                <c:pt idx="1507">
                  <c:v>40624</c:v>
                </c:pt>
                <c:pt idx="1508">
                  <c:v>40625</c:v>
                </c:pt>
                <c:pt idx="1509">
                  <c:v>40626</c:v>
                </c:pt>
                <c:pt idx="1510">
                  <c:v>40627</c:v>
                </c:pt>
                <c:pt idx="1511">
                  <c:v>40630</c:v>
                </c:pt>
                <c:pt idx="1512">
                  <c:v>40631</c:v>
                </c:pt>
                <c:pt idx="1513">
                  <c:v>40632</c:v>
                </c:pt>
                <c:pt idx="1514">
                  <c:v>40633</c:v>
                </c:pt>
                <c:pt idx="1515">
                  <c:v>40634</c:v>
                </c:pt>
                <c:pt idx="1516">
                  <c:v>40639</c:v>
                </c:pt>
                <c:pt idx="1517">
                  <c:v>40640</c:v>
                </c:pt>
                <c:pt idx="1518">
                  <c:v>40641</c:v>
                </c:pt>
                <c:pt idx="1519">
                  <c:v>40644</c:v>
                </c:pt>
                <c:pt idx="1520">
                  <c:v>40645</c:v>
                </c:pt>
                <c:pt idx="1521">
                  <c:v>40646</c:v>
                </c:pt>
                <c:pt idx="1522">
                  <c:v>40647</c:v>
                </c:pt>
                <c:pt idx="1523">
                  <c:v>40648</c:v>
                </c:pt>
                <c:pt idx="1524">
                  <c:v>40651</c:v>
                </c:pt>
                <c:pt idx="1525">
                  <c:v>40652</c:v>
                </c:pt>
                <c:pt idx="1526">
                  <c:v>40653</c:v>
                </c:pt>
                <c:pt idx="1527">
                  <c:v>40654</c:v>
                </c:pt>
                <c:pt idx="1528">
                  <c:v>40655</c:v>
                </c:pt>
                <c:pt idx="1529">
                  <c:v>40658</c:v>
                </c:pt>
                <c:pt idx="1530">
                  <c:v>40659</c:v>
                </c:pt>
                <c:pt idx="1531">
                  <c:v>40660</c:v>
                </c:pt>
                <c:pt idx="1532">
                  <c:v>40661</c:v>
                </c:pt>
                <c:pt idx="1533">
                  <c:v>40662</c:v>
                </c:pt>
                <c:pt idx="1534">
                  <c:v>40666</c:v>
                </c:pt>
                <c:pt idx="1535">
                  <c:v>40667</c:v>
                </c:pt>
                <c:pt idx="1536">
                  <c:v>40668</c:v>
                </c:pt>
                <c:pt idx="1537">
                  <c:v>40669</c:v>
                </c:pt>
                <c:pt idx="1538">
                  <c:v>40672</c:v>
                </c:pt>
                <c:pt idx="1539">
                  <c:v>40673</c:v>
                </c:pt>
                <c:pt idx="1540">
                  <c:v>40674</c:v>
                </c:pt>
                <c:pt idx="1541">
                  <c:v>40675</c:v>
                </c:pt>
                <c:pt idx="1542">
                  <c:v>40676</c:v>
                </c:pt>
                <c:pt idx="1543">
                  <c:v>40679</c:v>
                </c:pt>
                <c:pt idx="1544">
                  <c:v>40680</c:v>
                </c:pt>
                <c:pt idx="1545">
                  <c:v>40681</c:v>
                </c:pt>
                <c:pt idx="1546">
                  <c:v>40682</c:v>
                </c:pt>
                <c:pt idx="1547">
                  <c:v>40683</c:v>
                </c:pt>
                <c:pt idx="1548">
                  <c:v>40686</c:v>
                </c:pt>
                <c:pt idx="1549">
                  <c:v>40687</c:v>
                </c:pt>
                <c:pt idx="1550">
                  <c:v>40688</c:v>
                </c:pt>
                <c:pt idx="1551">
                  <c:v>40689</c:v>
                </c:pt>
                <c:pt idx="1552">
                  <c:v>40690</c:v>
                </c:pt>
                <c:pt idx="1553">
                  <c:v>40693</c:v>
                </c:pt>
                <c:pt idx="1554">
                  <c:v>40694</c:v>
                </c:pt>
                <c:pt idx="1555">
                  <c:v>40695</c:v>
                </c:pt>
                <c:pt idx="1556">
                  <c:v>40696</c:v>
                </c:pt>
                <c:pt idx="1557">
                  <c:v>40697</c:v>
                </c:pt>
                <c:pt idx="1558">
                  <c:v>40701</c:v>
                </c:pt>
                <c:pt idx="1559">
                  <c:v>40702</c:v>
                </c:pt>
                <c:pt idx="1560">
                  <c:v>40703</c:v>
                </c:pt>
                <c:pt idx="1561">
                  <c:v>40704</c:v>
                </c:pt>
                <c:pt idx="1562">
                  <c:v>40707</c:v>
                </c:pt>
                <c:pt idx="1563">
                  <c:v>40708</c:v>
                </c:pt>
                <c:pt idx="1564">
                  <c:v>40709</c:v>
                </c:pt>
                <c:pt idx="1565">
                  <c:v>40710</c:v>
                </c:pt>
                <c:pt idx="1566">
                  <c:v>40711</c:v>
                </c:pt>
                <c:pt idx="1567">
                  <c:v>40714</c:v>
                </c:pt>
                <c:pt idx="1568">
                  <c:v>40715</c:v>
                </c:pt>
                <c:pt idx="1569">
                  <c:v>40716</c:v>
                </c:pt>
                <c:pt idx="1570">
                  <c:v>40717</c:v>
                </c:pt>
                <c:pt idx="1571">
                  <c:v>40718</c:v>
                </c:pt>
                <c:pt idx="1572">
                  <c:v>40721</c:v>
                </c:pt>
                <c:pt idx="1573">
                  <c:v>40722</c:v>
                </c:pt>
                <c:pt idx="1574">
                  <c:v>40723</c:v>
                </c:pt>
                <c:pt idx="1575">
                  <c:v>40724</c:v>
                </c:pt>
                <c:pt idx="1576">
                  <c:v>40725</c:v>
                </c:pt>
                <c:pt idx="1577">
                  <c:v>40728</c:v>
                </c:pt>
                <c:pt idx="1578">
                  <c:v>40729</c:v>
                </c:pt>
                <c:pt idx="1579">
                  <c:v>40730</c:v>
                </c:pt>
                <c:pt idx="1580">
                  <c:v>40731</c:v>
                </c:pt>
                <c:pt idx="1581">
                  <c:v>40732</c:v>
                </c:pt>
                <c:pt idx="1582">
                  <c:v>40735</c:v>
                </c:pt>
                <c:pt idx="1583">
                  <c:v>40736</c:v>
                </c:pt>
                <c:pt idx="1584">
                  <c:v>40737</c:v>
                </c:pt>
                <c:pt idx="1585">
                  <c:v>40738</c:v>
                </c:pt>
                <c:pt idx="1586">
                  <c:v>40739</c:v>
                </c:pt>
                <c:pt idx="1587">
                  <c:v>40742</c:v>
                </c:pt>
                <c:pt idx="1588">
                  <c:v>40743</c:v>
                </c:pt>
                <c:pt idx="1589">
                  <c:v>40744</c:v>
                </c:pt>
                <c:pt idx="1590">
                  <c:v>40745</c:v>
                </c:pt>
                <c:pt idx="1591">
                  <c:v>40746</c:v>
                </c:pt>
                <c:pt idx="1592">
                  <c:v>40749</c:v>
                </c:pt>
                <c:pt idx="1593">
                  <c:v>40750</c:v>
                </c:pt>
                <c:pt idx="1594">
                  <c:v>40751</c:v>
                </c:pt>
                <c:pt idx="1595">
                  <c:v>40752</c:v>
                </c:pt>
                <c:pt idx="1596">
                  <c:v>40753</c:v>
                </c:pt>
                <c:pt idx="1597">
                  <c:v>40756</c:v>
                </c:pt>
                <c:pt idx="1598">
                  <c:v>40757</c:v>
                </c:pt>
                <c:pt idx="1599">
                  <c:v>40758</c:v>
                </c:pt>
                <c:pt idx="1600">
                  <c:v>40759</c:v>
                </c:pt>
                <c:pt idx="1601">
                  <c:v>40760</c:v>
                </c:pt>
                <c:pt idx="1602">
                  <c:v>40763</c:v>
                </c:pt>
                <c:pt idx="1603">
                  <c:v>40764</c:v>
                </c:pt>
                <c:pt idx="1604">
                  <c:v>40765</c:v>
                </c:pt>
                <c:pt idx="1605">
                  <c:v>40766</c:v>
                </c:pt>
                <c:pt idx="1606">
                  <c:v>40767</c:v>
                </c:pt>
                <c:pt idx="1607">
                  <c:v>40770</c:v>
                </c:pt>
                <c:pt idx="1608">
                  <c:v>40771</c:v>
                </c:pt>
                <c:pt idx="1609">
                  <c:v>40772</c:v>
                </c:pt>
                <c:pt idx="1610">
                  <c:v>40773</c:v>
                </c:pt>
                <c:pt idx="1611">
                  <c:v>40774</c:v>
                </c:pt>
                <c:pt idx="1612">
                  <c:v>40777</c:v>
                </c:pt>
                <c:pt idx="1613">
                  <c:v>40778</c:v>
                </c:pt>
                <c:pt idx="1614">
                  <c:v>40779</c:v>
                </c:pt>
                <c:pt idx="1615">
                  <c:v>40780</c:v>
                </c:pt>
                <c:pt idx="1616">
                  <c:v>40781</c:v>
                </c:pt>
                <c:pt idx="1617">
                  <c:v>40784</c:v>
                </c:pt>
                <c:pt idx="1618">
                  <c:v>40785</c:v>
                </c:pt>
                <c:pt idx="1619">
                  <c:v>40786</c:v>
                </c:pt>
                <c:pt idx="1620">
                  <c:v>40787</c:v>
                </c:pt>
                <c:pt idx="1621">
                  <c:v>40788</c:v>
                </c:pt>
                <c:pt idx="1622">
                  <c:v>40791</c:v>
                </c:pt>
                <c:pt idx="1623">
                  <c:v>40792</c:v>
                </c:pt>
                <c:pt idx="1624">
                  <c:v>40793</c:v>
                </c:pt>
                <c:pt idx="1625">
                  <c:v>40794</c:v>
                </c:pt>
                <c:pt idx="1626">
                  <c:v>40795</c:v>
                </c:pt>
                <c:pt idx="1627">
                  <c:v>40799</c:v>
                </c:pt>
                <c:pt idx="1628">
                  <c:v>40800</c:v>
                </c:pt>
                <c:pt idx="1629">
                  <c:v>40801</c:v>
                </c:pt>
                <c:pt idx="1630">
                  <c:v>40802</c:v>
                </c:pt>
                <c:pt idx="1631">
                  <c:v>40805</c:v>
                </c:pt>
                <c:pt idx="1632">
                  <c:v>40806</c:v>
                </c:pt>
                <c:pt idx="1633">
                  <c:v>40807</c:v>
                </c:pt>
                <c:pt idx="1634">
                  <c:v>40808</c:v>
                </c:pt>
                <c:pt idx="1635">
                  <c:v>40809</c:v>
                </c:pt>
                <c:pt idx="1636">
                  <c:v>40812</c:v>
                </c:pt>
                <c:pt idx="1637">
                  <c:v>40813</c:v>
                </c:pt>
                <c:pt idx="1638">
                  <c:v>40814</c:v>
                </c:pt>
                <c:pt idx="1639">
                  <c:v>40815</c:v>
                </c:pt>
                <c:pt idx="1640">
                  <c:v>40816</c:v>
                </c:pt>
                <c:pt idx="1641">
                  <c:v>40826</c:v>
                </c:pt>
                <c:pt idx="1642">
                  <c:v>40827</c:v>
                </c:pt>
                <c:pt idx="1643">
                  <c:v>40828</c:v>
                </c:pt>
                <c:pt idx="1644">
                  <c:v>40829</c:v>
                </c:pt>
                <c:pt idx="1645">
                  <c:v>40830</c:v>
                </c:pt>
                <c:pt idx="1646">
                  <c:v>40833</c:v>
                </c:pt>
                <c:pt idx="1647">
                  <c:v>40834</c:v>
                </c:pt>
                <c:pt idx="1648">
                  <c:v>40835</c:v>
                </c:pt>
                <c:pt idx="1649">
                  <c:v>40836</c:v>
                </c:pt>
                <c:pt idx="1650">
                  <c:v>40837</c:v>
                </c:pt>
                <c:pt idx="1651">
                  <c:v>40840</c:v>
                </c:pt>
                <c:pt idx="1652">
                  <c:v>40841</c:v>
                </c:pt>
                <c:pt idx="1653">
                  <c:v>40842</c:v>
                </c:pt>
                <c:pt idx="1654">
                  <c:v>40843</c:v>
                </c:pt>
                <c:pt idx="1655">
                  <c:v>40844</c:v>
                </c:pt>
                <c:pt idx="1656">
                  <c:v>40847</c:v>
                </c:pt>
                <c:pt idx="1657">
                  <c:v>40848</c:v>
                </c:pt>
                <c:pt idx="1658">
                  <c:v>40849</c:v>
                </c:pt>
                <c:pt idx="1659">
                  <c:v>40850</c:v>
                </c:pt>
                <c:pt idx="1660">
                  <c:v>40851</c:v>
                </c:pt>
                <c:pt idx="1661">
                  <c:v>40854</c:v>
                </c:pt>
                <c:pt idx="1662">
                  <c:v>40855</c:v>
                </c:pt>
                <c:pt idx="1663">
                  <c:v>40856</c:v>
                </c:pt>
                <c:pt idx="1664">
                  <c:v>40857</c:v>
                </c:pt>
                <c:pt idx="1665">
                  <c:v>40858</c:v>
                </c:pt>
                <c:pt idx="1666">
                  <c:v>40861</c:v>
                </c:pt>
                <c:pt idx="1667">
                  <c:v>40862</c:v>
                </c:pt>
                <c:pt idx="1668">
                  <c:v>40863</c:v>
                </c:pt>
                <c:pt idx="1669">
                  <c:v>40864</c:v>
                </c:pt>
                <c:pt idx="1670">
                  <c:v>40865</c:v>
                </c:pt>
                <c:pt idx="1671">
                  <c:v>40868</c:v>
                </c:pt>
                <c:pt idx="1672">
                  <c:v>40869</c:v>
                </c:pt>
                <c:pt idx="1673">
                  <c:v>40870</c:v>
                </c:pt>
                <c:pt idx="1674">
                  <c:v>40871</c:v>
                </c:pt>
                <c:pt idx="1675">
                  <c:v>40872</c:v>
                </c:pt>
                <c:pt idx="1676">
                  <c:v>40875</c:v>
                </c:pt>
                <c:pt idx="1677">
                  <c:v>40876</c:v>
                </c:pt>
                <c:pt idx="1678">
                  <c:v>40877</c:v>
                </c:pt>
                <c:pt idx="1679">
                  <c:v>40878</c:v>
                </c:pt>
                <c:pt idx="1680">
                  <c:v>40879</c:v>
                </c:pt>
                <c:pt idx="1681">
                  <c:v>40882</c:v>
                </c:pt>
                <c:pt idx="1682">
                  <c:v>40883</c:v>
                </c:pt>
                <c:pt idx="1683">
                  <c:v>40884</c:v>
                </c:pt>
                <c:pt idx="1684">
                  <c:v>40885</c:v>
                </c:pt>
                <c:pt idx="1685">
                  <c:v>40886</c:v>
                </c:pt>
                <c:pt idx="1686">
                  <c:v>40889</c:v>
                </c:pt>
                <c:pt idx="1687">
                  <c:v>40890</c:v>
                </c:pt>
                <c:pt idx="1688">
                  <c:v>40891</c:v>
                </c:pt>
                <c:pt idx="1689">
                  <c:v>40892</c:v>
                </c:pt>
                <c:pt idx="1690">
                  <c:v>40893</c:v>
                </c:pt>
                <c:pt idx="1691">
                  <c:v>40896</c:v>
                </c:pt>
                <c:pt idx="1692">
                  <c:v>40897</c:v>
                </c:pt>
                <c:pt idx="1693">
                  <c:v>40898</c:v>
                </c:pt>
                <c:pt idx="1694">
                  <c:v>40899</c:v>
                </c:pt>
                <c:pt idx="1695">
                  <c:v>40900</c:v>
                </c:pt>
                <c:pt idx="1696">
                  <c:v>40903</c:v>
                </c:pt>
                <c:pt idx="1697">
                  <c:v>40904</c:v>
                </c:pt>
                <c:pt idx="1698">
                  <c:v>40905</c:v>
                </c:pt>
                <c:pt idx="1699">
                  <c:v>40906</c:v>
                </c:pt>
                <c:pt idx="1700">
                  <c:v>40907</c:v>
                </c:pt>
                <c:pt idx="1701">
                  <c:v>40912</c:v>
                </c:pt>
                <c:pt idx="1702">
                  <c:v>40913</c:v>
                </c:pt>
                <c:pt idx="1703">
                  <c:v>40914</c:v>
                </c:pt>
                <c:pt idx="1704">
                  <c:v>40917</c:v>
                </c:pt>
                <c:pt idx="1705">
                  <c:v>40918</c:v>
                </c:pt>
                <c:pt idx="1706">
                  <c:v>40919</c:v>
                </c:pt>
                <c:pt idx="1707">
                  <c:v>40920</c:v>
                </c:pt>
                <c:pt idx="1708">
                  <c:v>40921</c:v>
                </c:pt>
                <c:pt idx="1709">
                  <c:v>40924</c:v>
                </c:pt>
                <c:pt idx="1710">
                  <c:v>40925</c:v>
                </c:pt>
                <c:pt idx="1711">
                  <c:v>40926</c:v>
                </c:pt>
                <c:pt idx="1712">
                  <c:v>40927</c:v>
                </c:pt>
                <c:pt idx="1713">
                  <c:v>40928</c:v>
                </c:pt>
                <c:pt idx="1714">
                  <c:v>40938</c:v>
                </c:pt>
                <c:pt idx="1715">
                  <c:v>40939</c:v>
                </c:pt>
                <c:pt idx="1716">
                  <c:v>40940</c:v>
                </c:pt>
                <c:pt idx="1717">
                  <c:v>40941</c:v>
                </c:pt>
                <c:pt idx="1718">
                  <c:v>40942</c:v>
                </c:pt>
                <c:pt idx="1719">
                  <c:v>40945</c:v>
                </c:pt>
                <c:pt idx="1720">
                  <c:v>40946</c:v>
                </c:pt>
                <c:pt idx="1721">
                  <c:v>40947</c:v>
                </c:pt>
                <c:pt idx="1722">
                  <c:v>40948</c:v>
                </c:pt>
                <c:pt idx="1723">
                  <c:v>40949</c:v>
                </c:pt>
                <c:pt idx="1724">
                  <c:v>40952</c:v>
                </c:pt>
                <c:pt idx="1725">
                  <c:v>40953</c:v>
                </c:pt>
                <c:pt idx="1726">
                  <c:v>40954</c:v>
                </c:pt>
                <c:pt idx="1727">
                  <c:v>40955</c:v>
                </c:pt>
                <c:pt idx="1728">
                  <c:v>40956</c:v>
                </c:pt>
                <c:pt idx="1729">
                  <c:v>40959</c:v>
                </c:pt>
                <c:pt idx="1730">
                  <c:v>40960</c:v>
                </c:pt>
                <c:pt idx="1731">
                  <c:v>40961</c:v>
                </c:pt>
                <c:pt idx="1732">
                  <c:v>40962</c:v>
                </c:pt>
                <c:pt idx="1733">
                  <c:v>40963</c:v>
                </c:pt>
                <c:pt idx="1734">
                  <c:v>40966</c:v>
                </c:pt>
                <c:pt idx="1735">
                  <c:v>40967</c:v>
                </c:pt>
                <c:pt idx="1736">
                  <c:v>40968</c:v>
                </c:pt>
                <c:pt idx="1737">
                  <c:v>40969</c:v>
                </c:pt>
                <c:pt idx="1738">
                  <c:v>40970</c:v>
                </c:pt>
                <c:pt idx="1739">
                  <c:v>40973</c:v>
                </c:pt>
                <c:pt idx="1740">
                  <c:v>40974</c:v>
                </c:pt>
                <c:pt idx="1741">
                  <c:v>40975</c:v>
                </c:pt>
                <c:pt idx="1742">
                  <c:v>40976</c:v>
                </c:pt>
                <c:pt idx="1743">
                  <c:v>40977</c:v>
                </c:pt>
                <c:pt idx="1744">
                  <c:v>40980</c:v>
                </c:pt>
                <c:pt idx="1745">
                  <c:v>40981</c:v>
                </c:pt>
                <c:pt idx="1746">
                  <c:v>40982</c:v>
                </c:pt>
                <c:pt idx="1747">
                  <c:v>40983</c:v>
                </c:pt>
                <c:pt idx="1748">
                  <c:v>40984</c:v>
                </c:pt>
                <c:pt idx="1749">
                  <c:v>40987</c:v>
                </c:pt>
                <c:pt idx="1750">
                  <c:v>40988</c:v>
                </c:pt>
                <c:pt idx="1751">
                  <c:v>40989</c:v>
                </c:pt>
                <c:pt idx="1752">
                  <c:v>40990</c:v>
                </c:pt>
                <c:pt idx="1753">
                  <c:v>40991</c:v>
                </c:pt>
                <c:pt idx="1754">
                  <c:v>40994</c:v>
                </c:pt>
                <c:pt idx="1755">
                  <c:v>40995</c:v>
                </c:pt>
                <c:pt idx="1756">
                  <c:v>40996</c:v>
                </c:pt>
                <c:pt idx="1757">
                  <c:v>40997</c:v>
                </c:pt>
                <c:pt idx="1758">
                  <c:v>40998</c:v>
                </c:pt>
                <c:pt idx="1759">
                  <c:v>41004</c:v>
                </c:pt>
                <c:pt idx="1760">
                  <c:v>41005</c:v>
                </c:pt>
                <c:pt idx="1761">
                  <c:v>41008</c:v>
                </c:pt>
                <c:pt idx="1762">
                  <c:v>41009</c:v>
                </c:pt>
                <c:pt idx="1763">
                  <c:v>41010</c:v>
                </c:pt>
                <c:pt idx="1764">
                  <c:v>41011</c:v>
                </c:pt>
                <c:pt idx="1765">
                  <c:v>41012</c:v>
                </c:pt>
                <c:pt idx="1766">
                  <c:v>41015</c:v>
                </c:pt>
                <c:pt idx="1767">
                  <c:v>41016</c:v>
                </c:pt>
                <c:pt idx="1768">
                  <c:v>41017</c:v>
                </c:pt>
                <c:pt idx="1769">
                  <c:v>41018</c:v>
                </c:pt>
                <c:pt idx="1770">
                  <c:v>41019</c:v>
                </c:pt>
                <c:pt idx="1771">
                  <c:v>41022</c:v>
                </c:pt>
                <c:pt idx="1772">
                  <c:v>41023</c:v>
                </c:pt>
                <c:pt idx="1773">
                  <c:v>41024</c:v>
                </c:pt>
                <c:pt idx="1774">
                  <c:v>41025</c:v>
                </c:pt>
                <c:pt idx="1775">
                  <c:v>41026</c:v>
                </c:pt>
                <c:pt idx="1776">
                  <c:v>41031</c:v>
                </c:pt>
                <c:pt idx="1777">
                  <c:v>41032</c:v>
                </c:pt>
                <c:pt idx="1778">
                  <c:v>41033</c:v>
                </c:pt>
                <c:pt idx="1779">
                  <c:v>41036</c:v>
                </c:pt>
                <c:pt idx="1780">
                  <c:v>41037</c:v>
                </c:pt>
                <c:pt idx="1781">
                  <c:v>41038</c:v>
                </c:pt>
                <c:pt idx="1782">
                  <c:v>41039</c:v>
                </c:pt>
                <c:pt idx="1783">
                  <c:v>41040</c:v>
                </c:pt>
                <c:pt idx="1784">
                  <c:v>41043</c:v>
                </c:pt>
                <c:pt idx="1785">
                  <c:v>41044</c:v>
                </c:pt>
                <c:pt idx="1786">
                  <c:v>41045</c:v>
                </c:pt>
                <c:pt idx="1787">
                  <c:v>41046</c:v>
                </c:pt>
                <c:pt idx="1788">
                  <c:v>41047</c:v>
                </c:pt>
                <c:pt idx="1789">
                  <c:v>41050</c:v>
                </c:pt>
                <c:pt idx="1790">
                  <c:v>41051</c:v>
                </c:pt>
                <c:pt idx="1791">
                  <c:v>41052</c:v>
                </c:pt>
                <c:pt idx="1792">
                  <c:v>41053</c:v>
                </c:pt>
                <c:pt idx="1793">
                  <c:v>41054</c:v>
                </c:pt>
                <c:pt idx="1794">
                  <c:v>41057</c:v>
                </c:pt>
                <c:pt idx="1795">
                  <c:v>41058</c:v>
                </c:pt>
                <c:pt idx="1796">
                  <c:v>41059</c:v>
                </c:pt>
                <c:pt idx="1797">
                  <c:v>41060</c:v>
                </c:pt>
                <c:pt idx="1798">
                  <c:v>41061</c:v>
                </c:pt>
                <c:pt idx="1799">
                  <c:v>41064</c:v>
                </c:pt>
                <c:pt idx="1800">
                  <c:v>41065</c:v>
                </c:pt>
                <c:pt idx="1801">
                  <c:v>41066</c:v>
                </c:pt>
                <c:pt idx="1802">
                  <c:v>41067</c:v>
                </c:pt>
                <c:pt idx="1803">
                  <c:v>41068</c:v>
                </c:pt>
                <c:pt idx="1804">
                  <c:v>41071</c:v>
                </c:pt>
                <c:pt idx="1805">
                  <c:v>41072</c:v>
                </c:pt>
                <c:pt idx="1806">
                  <c:v>41073</c:v>
                </c:pt>
                <c:pt idx="1807">
                  <c:v>41074</c:v>
                </c:pt>
                <c:pt idx="1808">
                  <c:v>41075</c:v>
                </c:pt>
                <c:pt idx="1809">
                  <c:v>41078</c:v>
                </c:pt>
                <c:pt idx="1810">
                  <c:v>41079</c:v>
                </c:pt>
                <c:pt idx="1811">
                  <c:v>41080</c:v>
                </c:pt>
                <c:pt idx="1812">
                  <c:v>41081</c:v>
                </c:pt>
                <c:pt idx="1813">
                  <c:v>41085</c:v>
                </c:pt>
                <c:pt idx="1814">
                  <c:v>41086</c:v>
                </c:pt>
                <c:pt idx="1815">
                  <c:v>41087</c:v>
                </c:pt>
                <c:pt idx="1816">
                  <c:v>41088</c:v>
                </c:pt>
                <c:pt idx="1817">
                  <c:v>41089</c:v>
                </c:pt>
                <c:pt idx="1818">
                  <c:v>41092</c:v>
                </c:pt>
                <c:pt idx="1819">
                  <c:v>41093</c:v>
                </c:pt>
                <c:pt idx="1820">
                  <c:v>41094</c:v>
                </c:pt>
                <c:pt idx="1821">
                  <c:v>41095</c:v>
                </c:pt>
                <c:pt idx="1822">
                  <c:v>41096</c:v>
                </c:pt>
                <c:pt idx="1823">
                  <c:v>41099</c:v>
                </c:pt>
                <c:pt idx="1824">
                  <c:v>41100</c:v>
                </c:pt>
                <c:pt idx="1825">
                  <c:v>41101</c:v>
                </c:pt>
                <c:pt idx="1826">
                  <c:v>41102</c:v>
                </c:pt>
                <c:pt idx="1827">
                  <c:v>41103</c:v>
                </c:pt>
                <c:pt idx="1828">
                  <c:v>41106</c:v>
                </c:pt>
                <c:pt idx="1829">
                  <c:v>41107</c:v>
                </c:pt>
                <c:pt idx="1830">
                  <c:v>41108</c:v>
                </c:pt>
                <c:pt idx="1831">
                  <c:v>41109</c:v>
                </c:pt>
                <c:pt idx="1832">
                  <c:v>41110</c:v>
                </c:pt>
                <c:pt idx="1833">
                  <c:v>41113</c:v>
                </c:pt>
                <c:pt idx="1834">
                  <c:v>41114</c:v>
                </c:pt>
                <c:pt idx="1835">
                  <c:v>41115</c:v>
                </c:pt>
                <c:pt idx="1836">
                  <c:v>41116</c:v>
                </c:pt>
                <c:pt idx="1837">
                  <c:v>41117</c:v>
                </c:pt>
                <c:pt idx="1838">
                  <c:v>41120</c:v>
                </c:pt>
                <c:pt idx="1839">
                  <c:v>41121</c:v>
                </c:pt>
                <c:pt idx="1840">
                  <c:v>41122</c:v>
                </c:pt>
                <c:pt idx="1841">
                  <c:v>41123</c:v>
                </c:pt>
                <c:pt idx="1842">
                  <c:v>41124</c:v>
                </c:pt>
                <c:pt idx="1843">
                  <c:v>41127</c:v>
                </c:pt>
                <c:pt idx="1844">
                  <c:v>41128</c:v>
                </c:pt>
                <c:pt idx="1845">
                  <c:v>41129</c:v>
                </c:pt>
                <c:pt idx="1846">
                  <c:v>41130</c:v>
                </c:pt>
                <c:pt idx="1847">
                  <c:v>41131</c:v>
                </c:pt>
                <c:pt idx="1848">
                  <c:v>41134</c:v>
                </c:pt>
                <c:pt idx="1849">
                  <c:v>41135</c:v>
                </c:pt>
                <c:pt idx="1850">
                  <c:v>41136</c:v>
                </c:pt>
                <c:pt idx="1851">
                  <c:v>41137</c:v>
                </c:pt>
                <c:pt idx="1852">
                  <c:v>41138</c:v>
                </c:pt>
                <c:pt idx="1853">
                  <c:v>41141</c:v>
                </c:pt>
                <c:pt idx="1854">
                  <c:v>41142</c:v>
                </c:pt>
                <c:pt idx="1855">
                  <c:v>41143</c:v>
                </c:pt>
                <c:pt idx="1856">
                  <c:v>41144</c:v>
                </c:pt>
                <c:pt idx="1857">
                  <c:v>41145</c:v>
                </c:pt>
                <c:pt idx="1858">
                  <c:v>41148</c:v>
                </c:pt>
                <c:pt idx="1859">
                  <c:v>41149</c:v>
                </c:pt>
                <c:pt idx="1860">
                  <c:v>41150</c:v>
                </c:pt>
                <c:pt idx="1861">
                  <c:v>41151</c:v>
                </c:pt>
                <c:pt idx="1862">
                  <c:v>41152</c:v>
                </c:pt>
                <c:pt idx="1863">
                  <c:v>41155</c:v>
                </c:pt>
                <c:pt idx="1864">
                  <c:v>41156</c:v>
                </c:pt>
                <c:pt idx="1865">
                  <c:v>41157</c:v>
                </c:pt>
                <c:pt idx="1866">
                  <c:v>41158</c:v>
                </c:pt>
                <c:pt idx="1867">
                  <c:v>41159</c:v>
                </c:pt>
                <c:pt idx="1868">
                  <c:v>41162</c:v>
                </c:pt>
                <c:pt idx="1869">
                  <c:v>41163</c:v>
                </c:pt>
                <c:pt idx="1870">
                  <c:v>41164</c:v>
                </c:pt>
                <c:pt idx="1871">
                  <c:v>41165</c:v>
                </c:pt>
                <c:pt idx="1872">
                  <c:v>41166</c:v>
                </c:pt>
                <c:pt idx="1873">
                  <c:v>41169</c:v>
                </c:pt>
                <c:pt idx="1874">
                  <c:v>41170</c:v>
                </c:pt>
                <c:pt idx="1875">
                  <c:v>41171</c:v>
                </c:pt>
                <c:pt idx="1876">
                  <c:v>41172</c:v>
                </c:pt>
                <c:pt idx="1877">
                  <c:v>41173</c:v>
                </c:pt>
                <c:pt idx="1878">
                  <c:v>41176</c:v>
                </c:pt>
                <c:pt idx="1879">
                  <c:v>41177</c:v>
                </c:pt>
                <c:pt idx="1880">
                  <c:v>41178</c:v>
                </c:pt>
                <c:pt idx="1881">
                  <c:v>41179</c:v>
                </c:pt>
                <c:pt idx="1882">
                  <c:v>41180</c:v>
                </c:pt>
                <c:pt idx="1883">
                  <c:v>41190</c:v>
                </c:pt>
                <c:pt idx="1884">
                  <c:v>41191</c:v>
                </c:pt>
                <c:pt idx="1885">
                  <c:v>41192</c:v>
                </c:pt>
                <c:pt idx="1886">
                  <c:v>41193</c:v>
                </c:pt>
                <c:pt idx="1887">
                  <c:v>41194</c:v>
                </c:pt>
                <c:pt idx="1888">
                  <c:v>41197</c:v>
                </c:pt>
                <c:pt idx="1889">
                  <c:v>41198</c:v>
                </c:pt>
                <c:pt idx="1890">
                  <c:v>41199</c:v>
                </c:pt>
                <c:pt idx="1891">
                  <c:v>41200</c:v>
                </c:pt>
                <c:pt idx="1892">
                  <c:v>41201</c:v>
                </c:pt>
                <c:pt idx="1893">
                  <c:v>41204</c:v>
                </c:pt>
                <c:pt idx="1894">
                  <c:v>41205</c:v>
                </c:pt>
                <c:pt idx="1895">
                  <c:v>41206</c:v>
                </c:pt>
                <c:pt idx="1896">
                  <c:v>41207</c:v>
                </c:pt>
                <c:pt idx="1897">
                  <c:v>41208</c:v>
                </c:pt>
                <c:pt idx="1898">
                  <c:v>41211</c:v>
                </c:pt>
                <c:pt idx="1899">
                  <c:v>41212</c:v>
                </c:pt>
                <c:pt idx="1900">
                  <c:v>41213</c:v>
                </c:pt>
                <c:pt idx="1901">
                  <c:v>41214</c:v>
                </c:pt>
                <c:pt idx="1902">
                  <c:v>41215</c:v>
                </c:pt>
                <c:pt idx="1903">
                  <c:v>41218</c:v>
                </c:pt>
                <c:pt idx="1904">
                  <c:v>41219</c:v>
                </c:pt>
                <c:pt idx="1905">
                  <c:v>41220</c:v>
                </c:pt>
                <c:pt idx="1906">
                  <c:v>41221</c:v>
                </c:pt>
                <c:pt idx="1907">
                  <c:v>41222</c:v>
                </c:pt>
                <c:pt idx="1908">
                  <c:v>41225</c:v>
                </c:pt>
                <c:pt idx="1909">
                  <c:v>41226</c:v>
                </c:pt>
                <c:pt idx="1910">
                  <c:v>41227</c:v>
                </c:pt>
                <c:pt idx="1911">
                  <c:v>41228</c:v>
                </c:pt>
                <c:pt idx="1912">
                  <c:v>41229</c:v>
                </c:pt>
                <c:pt idx="1913">
                  <c:v>41232</c:v>
                </c:pt>
                <c:pt idx="1914">
                  <c:v>41233</c:v>
                </c:pt>
                <c:pt idx="1915">
                  <c:v>41234</c:v>
                </c:pt>
                <c:pt idx="1916">
                  <c:v>41235</c:v>
                </c:pt>
                <c:pt idx="1917">
                  <c:v>41236</c:v>
                </c:pt>
                <c:pt idx="1918">
                  <c:v>41239</c:v>
                </c:pt>
                <c:pt idx="1919">
                  <c:v>41240</c:v>
                </c:pt>
                <c:pt idx="1920">
                  <c:v>41241</c:v>
                </c:pt>
                <c:pt idx="1921">
                  <c:v>41242</c:v>
                </c:pt>
                <c:pt idx="1922">
                  <c:v>41243</c:v>
                </c:pt>
                <c:pt idx="1923">
                  <c:v>41246</c:v>
                </c:pt>
                <c:pt idx="1924">
                  <c:v>41247</c:v>
                </c:pt>
                <c:pt idx="1925">
                  <c:v>41248</c:v>
                </c:pt>
                <c:pt idx="1926">
                  <c:v>41249</c:v>
                </c:pt>
                <c:pt idx="1927">
                  <c:v>41250</c:v>
                </c:pt>
                <c:pt idx="1928">
                  <c:v>41253</c:v>
                </c:pt>
                <c:pt idx="1929">
                  <c:v>41254</c:v>
                </c:pt>
                <c:pt idx="1930">
                  <c:v>41255</c:v>
                </c:pt>
                <c:pt idx="1931">
                  <c:v>41256</c:v>
                </c:pt>
                <c:pt idx="1932">
                  <c:v>41257</c:v>
                </c:pt>
                <c:pt idx="1933">
                  <c:v>41260</c:v>
                </c:pt>
                <c:pt idx="1934">
                  <c:v>41261</c:v>
                </c:pt>
                <c:pt idx="1935">
                  <c:v>41262</c:v>
                </c:pt>
                <c:pt idx="1936">
                  <c:v>41263</c:v>
                </c:pt>
                <c:pt idx="1937">
                  <c:v>41264</c:v>
                </c:pt>
                <c:pt idx="1938">
                  <c:v>41267</c:v>
                </c:pt>
                <c:pt idx="1939">
                  <c:v>41268</c:v>
                </c:pt>
                <c:pt idx="1940">
                  <c:v>41269</c:v>
                </c:pt>
                <c:pt idx="1941">
                  <c:v>41270</c:v>
                </c:pt>
                <c:pt idx="1942">
                  <c:v>41271</c:v>
                </c:pt>
                <c:pt idx="1943">
                  <c:v>41274</c:v>
                </c:pt>
                <c:pt idx="1944">
                  <c:v>41278</c:v>
                </c:pt>
                <c:pt idx="1945">
                  <c:v>41281</c:v>
                </c:pt>
                <c:pt idx="1946">
                  <c:v>41282</c:v>
                </c:pt>
                <c:pt idx="1947">
                  <c:v>41283</c:v>
                </c:pt>
                <c:pt idx="1948">
                  <c:v>41284</c:v>
                </c:pt>
                <c:pt idx="1949">
                  <c:v>41285</c:v>
                </c:pt>
                <c:pt idx="1950">
                  <c:v>41288</c:v>
                </c:pt>
                <c:pt idx="1951">
                  <c:v>41289</c:v>
                </c:pt>
                <c:pt idx="1952">
                  <c:v>41290</c:v>
                </c:pt>
                <c:pt idx="1953">
                  <c:v>41291</c:v>
                </c:pt>
                <c:pt idx="1954">
                  <c:v>41292</c:v>
                </c:pt>
                <c:pt idx="1955">
                  <c:v>41295</c:v>
                </c:pt>
                <c:pt idx="1956">
                  <c:v>41296</c:v>
                </c:pt>
                <c:pt idx="1957">
                  <c:v>41297</c:v>
                </c:pt>
                <c:pt idx="1958">
                  <c:v>41298</c:v>
                </c:pt>
                <c:pt idx="1959">
                  <c:v>41299</c:v>
                </c:pt>
                <c:pt idx="1960">
                  <c:v>41302</c:v>
                </c:pt>
                <c:pt idx="1961">
                  <c:v>41303</c:v>
                </c:pt>
                <c:pt idx="1962">
                  <c:v>41304</c:v>
                </c:pt>
                <c:pt idx="1963">
                  <c:v>41305</c:v>
                </c:pt>
                <c:pt idx="1964">
                  <c:v>41306</c:v>
                </c:pt>
                <c:pt idx="1965">
                  <c:v>41309</c:v>
                </c:pt>
                <c:pt idx="1966">
                  <c:v>41310</c:v>
                </c:pt>
                <c:pt idx="1967">
                  <c:v>41311</c:v>
                </c:pt>
                <c:pt idx="1968">
                  <c:v>41312</c:v>
                </c:pt>
                <c:pt idx="1969">
                  <c:v>41313</c:v>
                </c:pt>
                <c:pt idx="1970">
                  <c:v>41323</c:v>
                </c:pt>
                <c:pt idx="1971">
                  <c:v>41324</c:v>
                </c:pt>
                <c:pt idx="1972">
                  <c:v>41325</c:v>
                </c:pt>
                <c:pt idx="1973">
                  <c:v>41326</c:v>
                </c:pt>
                <c:pt idx="1974">
                  <c:v>41327</c:v>
                </c:pt>
                <c:pt idx="1975">
                  <c:v>41330</c:v>
                </c:pt>
                <c:pt idx="1976">
                  <c:v>41331</c:v>
                </c:pt>
                <c:pt idx="1977">
                  <c:v>41332</c:v>
                </c:pt>
                <c:pt idx="1978">
                  <c:v>41333</c:v>
                </c:pt>
                <c:pt idx="1979">
                  <c:v>41334</c:v>
                </c:pt>
                <c:pt idx="1980">
                  <c:v>41337</c:v>
                </c:pt>
                <c:pt idx="1981">
                  <c:v>41338</c:v>
                </c:pt>
                <c:pt idx="1982">
                  <c:v>41339</c:v>
                </c:pt>
                <c:pt idx="1983">
                  <c:v>41340</c:v>
                </c:pt>
                <c:pt idx="1984">
                  <c:v>41341</c:v>
                </c:pt>
                <c:pt idx="1985">
                  <c:v>41344</c:v>
                </c:pt>
                <c:pt idx="1986">
                  <c:v>41345</c:v>
                </c:pt>
                <c:pt idx="1987">
                  <c:v>41346</c:v>
                </c:pt>
                <c:pt idx="1988">
                  <c:v>41347</c:v>
                </c:pt>
                <c:pt idx="1989">
                  <c:v>41348</c:v>
                </c:pt>
                <c:pt idx="1990">
                  <c:v>41351</c:v>
                </c:pt>
                <c:pt idx="1991">
                  <c:v>41352</c:v>
                </c:pt>
                <c:pt idx="1992">
                  <c:v>41353</c:v>
                </c:pt>
                <c:pt idx="1993">
                  <c:v>41354</c:v>
                </c:pt>
                <c:pt idx="1994">
                  <c:v>41355</c:v>
                </c:pt>
                <c:pt idx="1995">
                  <c:v>41358</c:v>
                </c:pt>
                <c:pt idx="1996">
                  <c:v>41359</c:v>
                </c:pt>
                <c:pt idx="1997">
                  <c:v>41360</c:v>
                </c:pt>
                <c:pt idx="1998">
                  <c:v>41361</c:v>
                </c:pt>
                <c:pt idx="1999">
                  <c:v>41362</c:v>
                </c:pt>
                <c:pt idx="2000">
                  <c:v>41365</c:v>
                </c:pt>
                <c:pt idx="2001">
                  <c:v>41366</c:v>
                </c:pt>
                <c:pt idx="2002">
                  <c:v>41367</c:v>
                </c:pt>
                <c:pt idx="2003">
                  <c:v>41372</c:v>
                </c:pt>
                <c:pt idx="2004">
                  <c:v>41373</c:v>
                </c:pt>
                <c:pt idx="2005">
                  <c:v>41374</c:v>
                </c:pt>
                <c:pt idx="2006">
                  <c:v>41375</c:v>
                </c:pt>
                <c:pt idx="2007">
                  <c:v>41376</c:v>
                </c:pt>
                <c:pt idx="2008">
                  <c:v>41379</c:v>
                </c:pt>
                <c:pt idx="2009">
                  <c:v>41380</c:v>
                </c:pt>
                <c:pt idx="2010">
                  <c:v>41381</c:v>
                </c:pt>
                <c:pt idx="2011">
                  <c:v>41382</c:v>
                </c:pt>
                <c:pt idx="2012">
                  <c:v>41383</c:v>
                </c:pt>
                <c:pt idx="2013">
                  <c:v>41386</c:v>
                </c:pt>
                <c:pt idx="2014">
                  <c:v>41387</c:v>
                </c:pt>
                <c:pt idx="2015">
                  <c:v>41388</c:v>
                </c:pt>
                <c:pt idx="2016">
                  <c:v>41389</c:v>
                </c:pt>
                <c:pt idx="2017">
                  <c:v>41390</c:v>
                </c:pt>
                <c:pt idx="2018">
                  <c:v>41396</c:v>
                </c:pt>
                <c:pt idx="2019">
                  <c:v>41397</c:v>
                </c:pt>
                <c:pt idx="2020">
                  <c:v>41400</c:v>
                </c:pt>
                <c:pt idx="2021">
                  <c:v>41401</c:v>
                </c:pt>
                <c:pt idx="2022">
                  <c:v>41402</c:v>
                </c:pt>
                <c:pt idx="2023">
                  <c:v>41403</c:v>
                </c:pt>
                <c:pt idx="2024">
                  <c:v>41404</c:v>
                </c:pt>
                <c:pt idx="2025">
                  <c:v>41407</c:v>
                </c:pt>
                <c:pt idx="2026">
                  <c:v>41408</c:v>
                </c:pt>
                <c:pt idx="2027">
                  <c:v>41409</c:v>
                </c:pt>
                <c:pt idx="2028">
                  <c:v>41410</c:v>
                </c:pt>
                <c:pt idx="2029">
                  <c:v>41411</c:v>
                </c:pt>
                <c:pt idx="2030">
                  <c:v>41414</c:v>
                </c:pt>
                <c:pt idx="2031">
                  <c:v>41415</c:v>
                </c:pt>
                <c:pt idx="2032">
                  <c:v>41416</c:v>
                </c:pt>
                <c:pt idx="2033">
                  <c:v>41417</c:v>
                </c:pt>
                <c:pt idx="2034">
                  <c:v>41418</c:v>
                </c:pt>
                <c:pt idx="2035">
                  <c:v>41421</c:v>
                </c:pt>
                <c:pt idx="2036">
                  <c:v>41422</c:v>
                </c:pt>
                <c:pt idx="2037">
                  <c:v>41423</c:v>
                </c:pt>
                <c:pt idx="2038">
                  <c:v>41424</c:v>
                </c:pt>
                <c:pt idx="2039">
                  <c:v>41425</c:v>
                </c:pt>
                <c:pt idx="2040">
                  <c:v>41428</c:v>
                </c:pt>
                <c:pt idx="2041">
                  <c:v>41429</c:v>
                </c:pt>
                <c:pt idx="2042">
                  <c:v>41430</c:v>
                </c:pt>
                <c:pt idx="2043">
                  <c:v>41431</c:v>
                </c:pt>
                <c:pt idx="2044">
                  <c:v>41432</c:v>
                </c:pt>
                <c:pt idx="2045">
                  <c:v>41438</c:v>
                </c:pt>
                <c:pt idx="2046">
                  <c:v>41439</c:v>
                </c:pt>
                <c:pt idx="2047">
                  <c:v>41442</c:v>
                </c:pt>
                <c:pt idx="2048">
                  <c:v>41443</c:v>
                </c:pt>
                <c:pt idx="2049">
                  <c:v>41444</c:v>
                </c:pt>
                <c:pt idx="2050">
                  <c:v>41445</c:v>
                </c:pt>
                <c:pt idx="2051">
                  <c:v>41446</c:v>
                </c:pt>
                <c:pt idx="2052">
                  <c:v>41449</c:v>
                </c:pt>
                <c:pt idx="2053">
                  <c:v>41450</c:v>
                </c:pt>
                <c:pt idx="2054">
                  <c:v>41451</c:v>
                </c:pt>
                <c:pt idx="2055">
                  <c:v>41452</c:v>
                </c:pt>
                <c:pt idx="2056">
                  <c:v>41453</c:v>
                </c:pt>
                <c:pt idx="2057">
                  <c:v>41456</c:v>
                </c:pt>
                <c:pt idx="2058">
                  <c:v>41457</c:v>
                </c:pt>
                <c:pt idx="2059">
                  <c:v>41458</c:v>
                </c:pt>
                <c:pt idx="2060">
                  <c:v>41459</c:v>
                </c:pt>
                <c:pt idx="2061">
                  <c:v>41460</c:v>
                </c:pt>
                <c:pt idx="2062">
                  <c:v>41463</c:v>
                </c:pt>
                <c:pt idx="2063">
                  <c:v>41464</c:v>
                </c:pt>
                <c:pt idx="2064">
                  <c:v>41465</c:v>
                </c:pt>
                <c:pt idx="2065">
                  <c:v>41466</c:v>
                </c:pt>
                <c:pt idx="2066">
                  <c:v>41467</c:v>
                </c:pt>
                <c:pt idx="2067">
                  <c:v>41470</c:v>
                </c:pt>
                <c:pt idx="2068">
                  <c:v>41471</c:v>
                </c:pt>
                <c:pt idx="2069">
                  <c:v>41472</c:v>
                </c:pt>
                <c:pt idx="2070">
                  <c:v>41473</c:v>
                </c:pt>
                <c:pt idx="2071">
                  <c:v>41474</c:v>
                </c:pt>
                <c:pt idx="2072">
                  <c:v>41477</c:v>
                </c:pt>
                <c:pt idx="2073">
                  <c:v>41478</c:v>
                </c:pt>
                <c:pt idx="2074">
                  <c:v>41479</c:v>
                </c:pt>
                <c:pt idx="2075">
                  <c:v>41480</c:v>
                </c:pt>
                <c:pt idx="2076">
                  <c:v>41481</c:v>
                </c:pt>
                <c:pt idx="2077">
                  <c:v>41484</c:v>
                </c:pt>
                <c:pt idx="2078">
                  <c:v>41485</c:v>
                </c:pt>
                <c:pt idx="2079">
                  <c:v>41486</c:v>
                </c:pt>
                <c:pt idx="2080">
                  <c:v>41487</c:v>
                </c:pt>
                <c:pt idx="2081">
                  <c:v>41488</c:v>
                </c:pt>
                <c:pt idx="2082">
                  <c:v>41491</c:v>
                </c:pt>
                <c:pt idx="2083">
                  <c:v>41492</c:v>
                </c:pt>
                <c:pt idx="2084">
                  <c:v>41493</c:v>
                </c:pt>
                <c:pt idx="2085">
                  <c:v>41494</c:v>
                </c:pt>
                <c:pt idx="2086">
                  <c:v>41495</c:v>
                </c:pt>
                <c:pt idx="2087">
                  <c:v>41498</c:v>
                </c:pt>
                <c:pt idx="2088">
                  <c:v>41499</c:v>
                </c:pt>
                <c:pt idx="2089">
                  <c:v>41500</c:v>
                </c:pt>
                <c:pt idx="2090">
                  <c:v>41501</c:v>
                </c:pt>
                <c:pt idx="2091">
                  <c:v>41502</c:v>
                </c:pt>
                <c:pt idx="2092">
                  <c:v>41505</c:v>
                </c:pt>
                <c:pt idx="2093">
                  <c:v>41506</c:v>
                </c:pt>
                <c:pt idx="2094">
                  <c:v>41507</c:v>
                </c:pt>
                <c:pt idx="2095">
                  <c:v>41508</c:v>
                </c:pt>
                <c:pt idx="2096">
                  <c:v>41509</c:v>
                </c:pt>
                <c:pt idx="2097">
                  <c:v>41512</c:v>
                </c:pt>
                <c:pt idx="2098">
                  <c:v>41513</c:v>
                </c:pt>
                <c:pt idx="2099">
                  <c:v>41514</c:v>
                </c:pt>
                <c:pt idx="2100">
                  <c:v>41515</c:v>
                </c:pt>
                <c:pt idx="2101">
                  <c:v>41516</c:v>
                </c:pt>
                <c:pt idx="2102">
                  <c:v>41519</c:v>
                </c:pt>
                <c:pt idx="2103">
                  <c:v>41520</c:v>
                </c:pt>
                <c:pt idx="2104">
                  <c:v>41521</c:v>
                </c:pt>
                <c:pt idx="2105">
                  <c:v>41522</c:v>
                </c:pt>
                <c:pt idx="2106">
                  <c:v>41523</c:v>
                </c:pt>
                <c:pt idx="2107">
                  <c:v>41526</c:v>
                </c:pt>
                <c:pt idx="2108">
                  <c:v>41527</c:v>
                </c:pt>
                <c:pt idx="2109">
                  <c:v>41528</c:v>
                </c:pt>
                <c:pt idx="2110">
                  <c:v>41529</c:v>
                </c:pt>
                <c:pt idx="2111">
                  <c:v>41530</c:v>
                </c:pt>
                <c:pt idx="2112">
                  <c:v>41533</c:v>
                </c:pt>
                <c:pt idx="2113">
                  <c:v>41534</c:v>
                </c:pt>
                <c:pt idx="2114">
                  <c:v>41535</c:v>
                </c:pt>
                <c:pt idx="2115">
                  <c:v>41540</c:v>
                </c:pt>
                <c:pt idx="2116">
                  <c:v>41541</c:v>
                </c:pt>
                <c:pt idx="2117">
                  <c:v>41542</c:v>
                </c:pt>
                <c:pt idx="2118">
                  <c:v>41543</c:v>
                </c:pt>
                <c:pt idx="2119">
                  <c:v>41544</c:v>
                </c:pt>
                <c:pt idx="2120">
                  <c:v>41547</c:v>
                </c:pt>
                <c:pt idx="2121">
                  <c:v>41555</c:v>
                </c:pt>
                <c:pt idx="2122">
                  <c:v>41556</c:v>
                </c:pt>
                <c:pt idx="2123">
                  <c:v>41557</c:v>
                </c:pt>
                <c:pt idx="2124">
                  <c:v>41558</c:v>
                </c:pt>
                <c:pt idx="2125">
                  <c:v>41561</c:v>
                </c:pt>
                <c:pt idx="2126">
                  <c:v>41562</c:v>
                </c:pt>
                <c:pt idx="2127">
                  <c:v>41563</c:v>
                </c:pt>
                <c:pt idx="2128">
                  <c:v>41564</c:v>
                </c:pt>
                <c:pt idx="2129">
                  <c:v>41565</c:v>
                </c:pt>
                <c:pt idx="2130">
                  <c:v>41568</c:v>
                </c:pt>
                <c:pt idx="2131">
                  <c:v>41569</c:v>
                </c:pt>
                <c:pt idx="2132">
                  <c:v>41570</c:v>
                </c:pt>
                <c:pt idx="2133">
                  <c:v>41571</c:v>
                </c:pt>
                <c:pt idx="2134">
                  <c:v>41572</c:v>
                </c:pt>
                <c:pt idx="2135">
                  <c:v>41575</c:v>
                </c:pt>
                <c:pt idx="2136">
                  <c:v>41576</c:v>
                </c:pt>
                <c:pt idx="2137">
                  <c:v>41577</c:v>
                </c:pt>
                <c:pt idx="2138">
                  <c:v>41578</c:v>
                </c:pt>
                <c:pt idx="2139">
                  <c:v>41579</c:v>
                </c:pt>
                <c:pt idx="2140">
                  <c:v>41582</c:v>
                </c:pt>
                <c:pt idx="2141">
                  <c:v>41583</c:v>
                </c:pt>
                <c:pt idx="2142">
                  <c:v>41584</c:v>
                </c:pt>
                <c:pt idx="2143">
                  <c:v>41585</c:v>
                </c:pt>
                <c:pt idx="2144">
                  <c:v>41586</c:v>
                </c:pt>
                <c:pt idx="2145">
                  <c:v>41589</c:v>
                </c:pt>
                <c:pt idx="2146">
                  <c:v>41590</c:v>
                </c:pt>
                <c:pt idx="2147">
                  <c:v>41591</c:v>
                </c:pt>
                <c:pt idx="2148">
                  <c:v>41592</c:v>
                </c:pt>
                <c:pt idx="2149">
                  <c:v>41593</c:v>
                </c:pt>
                <c:pt idx="2150">
                  <c:v>41596</c:v>
                </c:pt>
                <c:pt idx="2151">
                  <c:v>41597</c:v>
                </c:pt>
                <c:pt idx="2152">
                  <c:v>41598</c:v>
                </c:pt>
                <c:pt idx="2153">
                  <c:v>41599</c:v>
                </c:pt>
                <c:pt idx="2154">
                  <c:v>41600</c:v>
                </c:pt>
                <c:pt idx="2155">
                  <c:v>41603</c:v>
                </c:pt>
                <c:pt idx="2156">
                  <c:v>41604</c:v>
                </c:pt>
                <c:pt idx="2157">
                  <c:v>41605</c:v>
                </c:pt>
                <c:pt idx="2158">
                  <c:v>41606</c:v>
                </c:pt>
                <c:pt idx="2159">
                  <c:v>41607</c:v>
                </c:pt>
                <c:pt idx="2160">
                  <c:v>41610</c:v>
                </c:pt>
                <c:pt idx="2161">
                  <c:v>41611</c:v>
                </c:pt>
                <c:pt idx="2162">
                  <c:v>41612</c:v>
                </c:pt>
                <c:pt idx="2163">
                  <c:v>41613</c:v>
                </c:pt>
                <c:pt idx="2164">
                  <c:v>41614</c:v>
                </c:pt>
                <c:pt idx="2165">
                  <c:v>41617</c:v>
                </c:pt>
                <c:pt idx="2166">
                  <c:v>41618</c:v>
                </c:pt>
                <c:pt idx="2167">
                  <c:v>41619</c:v>
                </c:pt>
                <c:pt idx="2168">
                  <c:v>41620</c:v>
                </c:pt>
                <c:pt idx="2169">
                  <c:v>41621</c:v>
                </c:pt>
                <c:pt idx="2170">
                  <c:v>41624</c:v>
                </c:pt>
                <c:pt idx="2171">
                  <c:v>41625</c:v>
                </c:pt>
                <c:pt idx="2172">
                  <c:v>41626</c:v>
                </c:pt>
                <c:pt idx="2173">
                  <c:v>41627</c:v>
                </c:pt>
                <c:pt idx="2174">
                  <c:v>41628</c:v>
                </c:pt>
                <c:pt idx="2175">
                  <c:v>41631</c:v>
                </c:pt>
                <c:pt idx="2176">
                  <c:v>41632</c:v>
                </c:pt>
                <c:pt idx="2177">
                  <c:v>41633</c:v>
                </c:pt>
                <c:pt idx="2178">
                  <c:v>41634</c:v>
                </c:pt>
                <c:pt idx="2179">
                  <c:v>41635</c:v>
                </c:pt>
                <c:pt idx="2180">
                  <c:v>41638</c:v>
                </c:pt>
                <c:pt idx="2181">
                  <c:v>41639</c:v>
                </c:pt>
                <c:pt idx="2182">
                  <c:v>41641</c:v>
                </c:pt>
                <c:pt idx="2183">
                  <c:v>41642</c:v>
                </c:pt>
                <c:pt idx="2184">
                  <c:v>41645</c:v>
                </c:pt>
                <c:pt idx="2185">
                  <c:v>41646</c:v>
                </c:pt>
                <c:pt idx="2186">
                  <c:v>41647</c:v>
                </c:pt>
                <c:pt idx="2187">
                  <c:v>41648</c:v>
                </c:pt>
                <c:pt idx="2188">
                  <c:v>41649</c:v>
                </c:pt>
                <c:pt idx="2189">
                  <c:v>41652</c:v>
                </c:pt>
                <c:pt idx="2190">
                  <c:v>41653</c:v>
                </c:pt>
                <c:pt idx="2191">
                  <c:v>41654</c:v>
                </c:pt>
                <c:pt idx="2192">
                  <c:v>41655</c:v>
                </c:pt>
                <c:pt idx="2193">
                  <c:v>41656</c:v>
                </c:pt>
                <c:pt idx="2194">
                  <c:v>41659</c:v>
                </c:pt>
                <c:pt idx="2195">
                  <c:v>41660</c:v>
                </c:pt>
                <c:pt idx="2196">
                  <c:v>41661</c:v>
                </c:pt>
                <c:pt idx="2197">
                  <c:v>41662</c:v>
                </c:pt>
                <c:pt idx="2198">
                  <c:v>41663</c:v>
                </c:pt>
                <c:pt idx="2199">
                  <c:v>41666</c:v>
                </c:pt>
                <c:pt idx="2200">
                  <c:v>41667</c:v>
                </c:pt>
                <c:pt idx="2201">
                  <c:v>41668</c:v>
                </c:pt>
                <c:pt idx="2202">
                  <c:v>41669</c:v>
                </c:pt>
                <c:pt idx="2203">
                  <c:v>41677</c:v>
                </c:pt>
                <c:pt idx="2204">
                  <c:v>41680</c:v>
                </c:pt>
                <c:pt idx="2205">
                  <c:v>41681</c:v>
                </c:pt>
                <c:pt idx="2206">
                  <c:v>41682</c:v>
                </c:pt>
                <c:pt idx="2207">
                  <c:v>41683</c:v>
                </c:pt>
                <c:pt idx="2208">
                  <c:v>41684</c:v>
                </c:pt>
                <c:pt idx="2209">
                  <c:v>41687</c:v>
                </c:pt>
                <c:pt idx="2210">
                  <c:v>41688</c:v>
                </c:pt>
                <c:pt idx="2211">
                  <c:v>41689</c:v>
                </c:pt>
                <c:pt idx="2212">
                  <c:v>41690</c:v>
                </c:pt>
                <c:pt idx="2213">
                  <c:v>41691</c:v>
                </c:pt>
                <c:pt idx="2214">
                  <c:v>41694</c:v>
                </c:pt>
                <c:pt idx="2215">
                  <c:v>41695</c:v>
                </c:pt>
                <c:pt idx="2216">
                  <c:v>41696</c:v>
                </c:pt>
                <c:pt idx="2217">
                  <c:v>41697</c:v>
                </c:pt>
                <c:pt idx="2218">
                  <c:v>41698</c:v>
                </c:pt>
                <c:pt idx="2219">
                  <c:v>41701</c:v>
                </c:pt>
                <c:pt idx="2220">
                  <c:v>41702</c:v>
                </c:pt>
                <c:pt idx="2221">
                  <c:v>41703</c:v>
                </c:pt>
                <c:pt idx="2222">
                  <c:v>41704</c:v>
                </c:pt>
                <c:pt idx="2223">
                  <c:v>41705</c:v>
                </c:pt>
                <c:pt idx="2224">
                  <c:v>41708</c:v>
                </c:pt>
                <c:pt idx="2225">
                  <c:v>41709</c:v>
                </c:pt>
                <c:pt idx="2226">
                  <c:v>41710</c:v>
                </c:pt>
                <c:pt idx="2227">
                  <c:v>41711</c:v>
                </c:pt>
                <c:pt idx="2228">
                  <c:v>41712</c:v>
                </c:pt>
                <c:pt idx="2229">
                  <c:v>41715</c:v>
                </c:pt>
                <c:pt idx="2230">
                  <c:v>41716</c:v>
                </c:pt>
                <c:pt idx="2231">
                  <c:v>41717</c:v>
                </c:pt>
                <c:pt idx="2232">
                  <c:v>41718</c:v>
                </c:pt>
                <c:pt idx="2233">
                  <c:v>41719</c:v>
                </c:pt>
                <c:pt idx="2234">
                  <c:v>41722</c:v>
                </c:pt>
                <c:pt idx="2235">
                  <c:v>41723</c:v>
                </c:pt>
                <c:pt idx="2236">
                  <c:v>41724</c:v>
                </c:pt>
                <c:pt idx="2237">
                  <c:v>41725</c:v>
                </c:pt>
                <c:pt idx="2238">
                  <c:v>41726</c:v>
                </c:pt>
                <c:pt idx="2239">
                  <c:v>41729</c:v>
                </c:pt>
                <c:pt idx="2240">
                  <c:v>41730</c:v>
                </c:pt>
                <c:pt idx="2241">
                  <c:v>41731</c:v>
                </c:pt>
                <c:pt idx="2242">
                  <c:v>41732</c:v>
                </c:pt>
                <c:pt idx="2243">
                  <c:v>41733</c:v>
                </c:pt>
                <c:pt idx="2244">
                  <c:v>41737</c:v>
                </c:pt>
                <c:pt idx="2245">
                  <c:v>41738</c:v>
                </c:pt>
                <c:pt idx="2246">
                  <c:v>41739</c:v>
                </c:pt>
                <c:pt idx="2247">
                  <c:v>41740</c:v>
                </c:pt>
                <c:pt idx="2248">
                  <c:v>41743</c:v>
                </c:pt>
                <c:pt idx="2249">
                  <c:v>41744</c:v>
                </c:pt>
                <c:pt idx="2250">
                  <c:v>41745</c:v>
                </c:pt>
                <c:pt idx="2251">
                  <c:v>41746</c:v>
                </c:pt>
                <c:pt idx="2252">
                  <c:v>41747</c:v>
                </c:pt>
                <c:pt idx="2253">
                  <c:v>41750</c:v>
                </c:pt>
                <c:pt idx="2254">
                  <c:v>41751</c:v>
                </c:pt>
                <c:pt idx="2255">
                  <c:v>41752</c:v>
                </c:pt>
                <c:pt idx="2256">
                  <c:v>41753</c:v>
                </c:pt>
                <c:pt idx="2257">
                  <c:v>41754</c:v>
                </c:pt>
                <c:pt idx="2258">
                  <c:v>41757</c:v>
                </c:pt>
                <c:pt idx="2259">
                  <c:v>41758</c:v>
                </c:pt>
                <c:pt idx="2260">
                  <c:v>41759</c:v>
                </c:pt>
                <c:pt idx="2261">
                  <c:v>41764</c:v>
                </c:pt>
                <c:pt idx="2262">
                  <c:v>41765</c:v>
                </c:pt>
                <c:pt idx="2263">
                  <c:v>41766</c:v>
                </c:pt>
                <c:pt idx="2264">
                  <c:v>41767</c:v>
                </c:pt>
                <c:pt idx="2265">
                  <c:v>41768</c:v>
                </c:pt>
                <c:pt idx="2266">
                  <c:v>41771</c:v>
                </c:pt>
                <c:pt idx="2267">
                  <c:v>41772</c:v>
                </c:pt>
                <c:pt idx="2268">
                  <c:v>41773</c:v>
                </c:pt>
                <c:pt idx="2269">
                  <c:v>41774</c:v>
                </c:pt>
                <c:pt idx="2270">
                  <c:v>41775</c:v>
                </c:pt>
                <c:pt idx="2271">
                  <c:v>41778</c:v>
                </c:pt>
                <c:pt idx="2272">
                  <c:v>41779</c:v>
                </c:pt>
                <c:pt idx="2273">
                  <c:v>41780</c:v>
                </c:pt>
                <c:pt idx="2274">
                  <c:v>41781</c:v>
                </c:pt>
                <c:pt idx="2275">
                  <c:v>41782</c:v>
                </c:pt>
                <c:pt idx="2276">
                  <c:v>41785</c:v>
                </c:pt>
                <c:pt idx="2277">
                  <c:v>41786</c:v>
                </c:pt>
                <c:pt idx="2278">
                  <c:v>41787</c:v>
                </c:pt>
                <c:pt idx="2279">
                  <c:v>41788</c:v>
                </c:pt>
                <c:pt idx="2280">
                  <c:v>41789</c:v>
                </c:pt>
                <c:pt idx="2281">
                  <c:v>41793</c:v>
                </c:pt>
                <c:pt idx="2282">
                  <c:v>41794</c:v>
                </c:pt>
                <c:pt idx="2283">
                  <c:v>41795</c:v>
                </c:pt>
                <c:pt idx="2284">
                  <c:v>41796</c:v>
                </c:pt>
                <c:pt idx="2285">
                  <c:v>41799</c:v>
                </c:pt>
                <c:pt idx="2286">
                  <c:v>41800</c:v>
                </c:pt>
                <c:pt idx="2287">
                  <c:v>41801</c:v>
                </c:pt>
                <c:pt idx="2288">
                  <c:v>41802</c:v>
                </c:pt>
                <c:pt idx="2289">
                  <c:v>41803</c:v>
                </c:pt>
                <c:pt idx="2290">
                  <c:v>41806</c:v>
                </c:pt>
                <c:pt idx="2291">
                  <c:v>41807</c:v>
                </c:pt>
                <c:pt idx="2292">
                  <c:v>41808</c:v>
                </c:pt>
                <c:pt idx="2293">
                  <c:v>41809</c:v>
                </c:pt>
                <c:pt idx="2294">
                  <c:v>41810</c:v>
                </c:pt>
                <c:pt idx="2295">
                  <c:v>41813</c:v>
                </c:pt>
                <c:pt idx="2296">
                  <c:v>41814</c:v>
                </c:pt>
                <c:pt idx="2297">
                  <c:v>41815</c:v>
                </c:pt>
                <c:pt idx="2298">
                  <c:v>41816</c:v>
                </c:pt>
                <c:pt idx="2299">
                  <c:v>41817</c:v>
                </c:pt>
                <c:pt idx="2300">
                  <c:v>41820</c:v>
                </c:pt>
                <c:pt idx="2301">
                  <c:v>41821</c:v>
                </c:pt>
                <c:pt idx="2302">
                  <c:v>41822</c:v>
                </c:pt>
                <c:pt idx="2303">
                  <c:v>41823</c:v>
                </c:pt>
                <c:pt idx="2304">
                  <c:v>41824</c:v>
                </c:pt>
                <c:pt idx="2305">
                  <c:v>41827</c:v>
                </c:pt>
                <c:pt idx="2306">
                  <c:v>41828</c:v>
                </c:pt>
                <c:pt idx="2307">
                  <c:v>41829</c:v>
                </c:pt>
                <c:pt idx="2308">
                  <c:v>41830</c:v>
                </c:pt>
                <c:pt idx="2309">
                  <c:v>41831</c:v>
                </c:pt>
                <c:pt idx="2310">
                  <c:v>41834</c:v>
                </c:pt>
                <c:pt idx="2311">
                  <c:v>41835</c:v>
                </c:pt>
                <c:pt idx="2312">
                  <c:v>41836</c:v>
                </c:pt>
                <c:pt idx="2313">
                  <c:v>41837</c:v>
                </c:pt>
                <c:pt idx="2314">
                  <c:v>41838</c:v>
                </c:pt>
                <c:pt idx="2315">
                  <c:v>41841</c:v>
                </c:pt>
                <c:pt idx="2316">
                  <c:v>41842</c:v>
                </c:pt>
                <c:pt idx="2317">
                  <c:v>41843</c:v>
                </c:pt>
                <c:pt idx="2318">
                  <c:v>41844</c:v>
                </c:pt>
                <c:pt idx="2319">
                  <c:v>41845</c:v>
                </c:pt>
                <c:pt idx="2320">
                  <c:v>41848</c:v>
                </c:pt>
                <c:pt idx="2321">
                  <c:v>41849</c:v>
                </c:pt>
                <c:pt idx="2322">
                  <c:v>41850</c:v>
                </c:pt>
                <c:pt idx="2323">
                  <c:v>41851</c:v>
                </c:pt>
                <c:pt idx="2324">
                  <c:v>41852</c:v>
                </c:pt>
                <c:pt idx="2325">
                  <c:v>41855</c:v>
                </c:pt>
                <c:pt idx="2326">
                  <c:v>41856</c:v>
                </c:pt>
                <c:pt idx="2327">
                  <c:v>41857</c:v>
                </c:pt>
                <c:pt idx="2328">
                  <c:v>41858</c:v>
                </c:pt>
                <c:pt idx="2329">
                  <c:v>41859</c:v>
                </c:pt>
                <c:pt idx="2330">
                  <c:v>41862</c:v>
                </c:pt>
                <c:pt idx="2331">
                  <c:v>41863</c:v>
                </c:pt>
                <c:pt idx="2332">
                  <c:v>41864</c:v>
                </c:pt>
                <c:pt idx="2333">
                  <c:v>41865</c:v>
                </c:pt>
                <c:pt idx="2334">
                  <c:v>41866</c:v>
                </c:pt>
                <c:pt idx="2335">
                  <c:v>41869</c:v>
                </c:pt>
                <c:pt idx="2336">
                  <c:v>41870</c:v>
                </c:pt>
                <c:pt idx="2337">
                  <c:v>41871</c:v>
                </c:pt>
                <c:pt idx="2338">
                  <c:v>41872</c:v>
                </c:pt>
                <c:pt idx="2339">
                  <c:v>41873</c:v>
                </c:pt>
                <c:pt idx="2340">
                  <c:v>41876</c:v>
                </c:pt>
                <c:pt idx="2341">
                  <c:v>41877</c:v>
                </c:pt>
                <c:pt idx="2342">
                  <c:v>41878</c:v>
                </c:pt>
                <c:pt idx="2343">
                  <c:v>41879</c:v>
                </c:pt>
                <c:pt idx="2344">
                  <c:v>41880</c:v>
                </c:pt>
                <c:pt idx="2345">
                  <c:v>41883</c:v>
                </c:pt>
                <c:pt idx="2346">
                  <c:v>41884</c:v>
                </c:pt>
                <c:pt idx="2347">
                  <c:v>41885</c:v>
                </c:pt>
                <c:pt idx="2348">
                  <c:v>41886</c:v>
                </c:pt>
                <c:pt idx="2349">
                  <c:v>41887</c:v>
                </c:pt>
                <c:pt idx="2350">
                  <c:v>41891</c:v>
                </c:pt>
                <c:pt idx="2351">
                  <c:v>41892</c:v>
                </c:pt>
                <c:pt idx="2352">
                  <c:v>41893</c:v>
                </c:pt>
                <c:pt idx="2353">
                  <c:v>41894</c:v>
                </c:pt>
                <c:pt idx="2354">
                  <c:v>41897</c:v>
                </c:pt>
                <c:pt idx="2355">
                  <c:v>41898</c:v>
                </c:pt>
                <c:pt idx="2356">
                  <c:v>41899</c:v>
                </c:pt>
                <c:pt idx="2357">
                  <c:v>41900</c:v>
                </c:pt>
                <c:pt idx="2358">
                  <c:v>41901</c:v>
                </c:pt>
                <c:pt idx="2359">
                  <c:v>41904</c:v>
                </c:pt>
                <c:pt idx="2360">
                  <c:v>41905</c:v>
                </c:pt>
                <c:pt idx="2361">
                  <c:v>41906</c:v>
                </c:pt>
                <c:pt idx="2362">
                  <c:v>41907</c:v>
                </c:pt>
                <c:pt idx="2363">
                  <c:v>41908</c:v>
                </c:pt>
                <c:pt idx="2364">
                  <c:v>41911</c:v>
                </c:pt>
                <c:pt idx="2365">
                  <c:v>41912</c:v>
                </c:pt>
                <c:pt idx="2366">
                  <c:v>41920</c:v>
                </c:pt>
                <c:pt idx="2367">
                  <c:v>41921</c:v>
                </c:pt>
                <c:pt idx="2368">
                  <c:v>41922</c:v>
                </c:pt>
                <c:pt idx="2369">
                  <c:v>41925</c:v>
                </c:pt>
                <c:pt idx="2370">
                  <c:v>41926</c:v>
                </c:pt>
                <c:pt idx="2371">
                  <c:v>41927</c:v>
                </c:pt>
                <c:pt idx="2372">
                  <c:v>41928</c:v>
                </c:pt>
                <c:pt idx="2373">
                  <c:v>41929</c:v>
                </c:pt>
                <c:pt idx="2374">
                  <c:v>41932</c:v>
                </c:pt>
                <c:pt idx="2375">
                  <c:v>41933</c:v>
                </c:pt>
                <c:pt idx="2376">
                  <c:v>41934</c:v>
                </c:pt>
                <c:pt idx="2377">
                  <c:v>41935</c:v>
                </c:pt>
                <c:pt idx="2378">
                  <c:v>41936</c:v>
                </c:pt>
                <c:pt idx="2379">
                  <c:v>41939</c:v>
                </c:pt>
                <c:pt idx="2380">
                  <c:v>41940</c:v>
                </c:pt>
                <c:pt idx="2381">
                  <c:v>41941</c:v>
                </c:pt>
                <c:pt idx="2382">
                  <c:v>41942</c:v>
                </c:pt>
                <c:pt idx="2383">
                  <c:v>41943</c:v>
                </c:pt>
                <c:pt idx="2384">
                  <c:v>41946</c:v>
                </c:pt>
                <c:pt idx="2385">
                  <c:v>41947</c:v>
                </c:pt>
                <c:pt idx="2386">
                  <c:v>41948</c:v>
                </c:pt>
                <c:pt idx="2387">
                  <c:v>41949</c:v>
                </c:pt>
                <c:pt idx="2388">
                  <c:v>41950</c:v>
                </c:pt>
                <c:pt idx="2389">
                  <c:v>41953</c:v>
                </c:pt>
                <c:pt idx="2390">
                  <c:v>41954</c:v>
                </c:pt>
                <c:pt idx="2391">
                  <c:v>41955</c:v>
                </c:pt>
                <c:pt idx="2392">
                  <c:v>41956</c:v>
                </c:pt>
                <c:pt idx="2393">
                  <c:v>41957</c:v>
                </c:pt>
                <c:pt idx="2394">
                  <c:v>41960</c:v>
                </c:pt>
                <c:pt idx="2395">
                  <c:v>41961</c:v>
                </c:pt>
                <c:pt idx="2396">
                  <c:v>41962</c:v>
                </c:pt>
                <c:pt idx="2397">
                  <c:v>41963</c:v>
                </c:pt>
                <c:pt idx="2398">
                  <c:v>41964</c:v>
                </c:pt>
                <c:pt idx="2399">
                  <c:v>41967</c:v>
                </c:pt>
                <c:pt idx="2400">
                  <c:v>41968</c:v>
                </c:pt>
                <c:pt idx="2401">
                  <c:v>41969</c:v>
                </c:pt>
                <c:pt idx="2402">
                  <c:v>41970</c:v>
                </c:pt>
                <c:pt idx="2403">
                  <c:v>41971</c:v>
                </c:pt>
                <c:pt idx="2404">
                  <c:v>41974</c:v>
                </c:pt>
                <c:pt idx="2405">
                  <c:v>41975</c:v>
                </c:pt>
                <c:pt idx="2406">
                  <c:v>41976</c:v>
                </c:pt>
                <c:pt idx="2407">
                  <c:v>41977</c:v>
                </c:pt>
                <c:pt idx="2408">
                  <c:v>41978</c:v>
                </c:pt>
                <c:pt idx="2409">
                  <c:v>41981</c:v>
                </c:pt>
                <c:pt idx="2410">
                  <c:v>41982</c:v>
                </c:pt>
                <c:pt idx="2411">
                  <c:v>41983</c:v>
                </c:pt>
                <c:pt idx="2412">
                  <c:v>41984</c:v>
                </c:pt>
                <c:pt idx="2413">
                  <c:v>41985</c:v>
                </c:pt>
                <c:pt idx="2414">
                  <c:v>41988</c:v>
                </c:pt>
                <c:pt idx="2415">
                  <c:v>41989</c:v>
                </c:pt>
                <c:pt idx="2416">
                  <c:v>41990</c:v>
                </c:pt>
                <c:pt idx="2417">
                  <c:v>41991</c:v>
                </c:pt>
                <c:pt idx="2418">
                  <c:v>41992</c:v>
                </c:pt>
                <c:pt idx="2419">
                  <c:v>41995</c:v>
                </c:pt>
                <c:pt idx="2420">
                  <c:v>41996</c:v>
                </c:pt>
                <c:pt idx="2421">
                  <c:v>41997</c:v>
                </c:pt>
                <c:pt idx="2422">
                  <c:v>41998</c:v>
                </c:pt>
                <c:pt idx="2423">
                  <c:v>41999</c:v>
                </c:pt>
                <c:pt idx="2424">
                  <c:v>42002</c:v>
                </c:pt>
                <c:pt idx="2425">
                  <c:v>42003</c:v>
                </c:pt>
                <c:pt idx="2426">
                  <c:v>42004</c:v>
                </c:pt>
                <c:pt idx="2427">
                  <c:v>42009</c:v>
                </c:pt>
                <c:pt idx="2428">
                  <c:v>42010</c:v>
                </c:pt>
                <c:pt idx="2429">
                  <c:v>42011</c:v>
                </c:pt>
                <c:pt idx="2430">
                  <c:v>42012</c:v>
                </c:pt>
                <c:pt idx="2431">
                  <c:v>42013</c:v>
                </c:pt>
                <c:pt idx="2432">
                  <c:v>42016</c:v>
                </c:pt>
                <c:pt idx="2433">
                  <c:v>42017</c:v>
                </c:pt>
                <c:pt idx="2434">
                  <c:v>42018</c:v>
                </c:pt>
                <c:pt idx="2435">
                  <c:v>42019</c:v>
                </c:pt>
                <c:pt idx="2436">
                  <c:v>42020</c:v>
                </c:pt>
                <c:pt idx="2437">
                  <c:v>42023</c:v>
                </c:pt>
                <c:pt idx="2438">
                  <c:v>42024</c:v>
                </c:pt>
                <c:pt idx="2439">
                  <c:v>42025</c:v>
                </c:pt>
                <c:pt idx="2440">
                  <c:v>42026</c:v>
                </c:pt>
                <c:pt idx="2441">
                  <c:v>42027</c:v>
                </c:pt>
                <c:pt idx="2442">
                  <c:v>42030</c:v>
                </c:pt>
                <c:pt idx="2443">
                  <c:v>42031</c:v>
                </c:pt>
                <c:pt idx="2444">
                  <c:v>42032</c:v>
                </c:pt>
                <c:pt idx="2445">
                  <c:v>42033</c:v>
                </c:pt>
                <c:pt idx="2446">
                  <c:v>42034</c:v>
                </c:pt>
                <c:pt idx="2447">
                  <c:v>42037</c:v>
                </c:pt>
                <c:pt idx="2448">
                  <c:v>42038</c:v>
                </c:pt>
                <c:pt idx="2449">
                  <c:v>42039</c:v>
                </c:pt>
                <c:pt idx="2450">
                  <c:v>42040</c:v>
                </c:pt>
                <c:pt idx="2451">
                  <c:v>42041</c:v>
                </c:pt>
                <c:pt idx="2452">
                  <c:v>42044</c:v>
                </c:pt>
                <c:pt idx="2453">
                  <c:v>42045</c:v>
                </c:pt>
                <c:pt idx="2454">
                  <c:v>42046</c:v>
                </c:pt>
                <c:pt idx="2455">
                  <c:v>42047</c:v>
                </c:pt>
                <c:pt idx="2456">
                  <c:v>42048</c:v>
                </c:pt>
                <c:pt idx="2457">
                  <c:v>42051</c:v>
                </c:pt>
                <c:pt idx="2458">
                  <c:v>42052</c:v>
                </c:pt>
                <c:pt idx="2459">
                  <c:v>42060</c:v>
                </c:pt>
                <c:pt idx="2460">
                  <c:v>42061</c:v>
                </c:pt>
                <c:pt idx="2461">
                  <c:v>42062</c:v>
                </c:pt>
                <c:pt idx="2462">
                  <c:v>42065</c:v>
                </c:pt>
                <c:pt idx="2463">
                  <c:v>42066</c:v>
                </c:pt>
                <c:pt idx="2464">
                  <c:v>42067</c:v>
                </c:pt>
                <c:pt idx="2465">
                  <c:v>42068</c:v>
                </c:pt>
                <c:pt idx="2466">
                  <c:v>42069</c:v>
                </c:pt>
                <c:pt idx="2467">
                  <c:v>42072</c:v>
                </c:pt>
                <c:pt idx="2468">
                  <c:v>42073</c:v>
                </c:pt>
                <c:pt idx="2469">
                  <c:v>42074</c:v>
                </c:pt>
                <c:pt idx="2470">
                  <c:v>42075</c:v>
                </c:pt>
                <c:pt idx="2471">
                  <c:v>42076</c:v>
                </c:pt>
                <c:pt idx="2472">
                  <c:v>42079</c:v>
                </c:pt>
                <c:pt idx="2473">
                  <c:v>42080</c:v>
                </c:pt>
                <c:pt idx="2474">
                  <c:v>42081</c:v>
                </c:pt>
                <c:pt idx="2475">
                  <c:v>42082</c:v>
                </c:pt>
                <c:pt idx="2476">
                  <c:v>42083</c:v>
                </c:pt>
                <c:pt idx="2477">
                  <c:v>42086</c:v>
                </c:pt>
                <c:pt idx="2478">
                  <c:v>42087</c:v>
                </c:pt>
                <c:pt idx="2479">
                  <c:v>42088</c:v>
                </c:pt>
                <c:pt idx="2480">
                  <c:v>42089</c:v>
                </c:pt>
                <c:pt idx="2481">
                  <c:v>42090</c:v>
                </c:pt>
                <c:pt idx="2482">
                  <c:v>42093</c:v>
                </c:pt>
                <c:pt idx="2483">
                  <c:v>42094</c:v>
                </c:pt>
                <c:pt idx="2484">
                  <c:v>42095</c:v>
                </c:pt>
                <c:pt idx="2485">
                  <c:v>42096</c:v>
                </c:pt>
                <c:pt idx="2486">
                  <c:v>42097</c:v>
                </c:pt>
                <c:pt idx="2487">
                  <c:v>42101</c:v>
                </c:pt>
                <c:pt idx="2488">
                  <c:v>42102</c:v>
                </c:pt>
                <c:pt idx="2489">
                  <c:v>42103</c:v>
                </c:pt>
                <c:pt idx="2490">
                  <c:v>42104</c:v>
                </c:pt>
                <c:pt idx="2491">
                  <c:v>42107</c:v>
                </c:pt>
                <c:pt idx="2492">
                  <c:v>42108</c:v>
                </c:pt>
                <c:pt idx="2493">
                  <c:v>42109</c:v>
                </c:pt>
                <c:pt idx="2494">
                  <c:v>42110</c:v>
                </c:pt>
                <c:pt idx="2495">
                  <c:v>42111</c:v>
                </c:pt>
                <c:pt idx="2496">
                  <c:v>42114</c:v>
                </c:pt>
                <c:pt idx="2497">
                  <c:v>42115</c:v>
                </c:pt>
                <c:pt idx="2498">
                  <c:v>42116</c:v>
                </c:pt>
                <c:pt idx="2499">
                  <c:v>42117</c:v>
                </c:pt>
                <c:pt idx="2500">
                  <c:v>42118</c:v>
                </c:pt>
                <c:pt idx="2501">
                  <c:v>42121</c:v>
                </c:pt>
                <c:pt idx="2502">
                  <c:v>42122</c:v>
                </c:pt>
                <c:pt idx="2503">
                  <c:v>42123</c:v>
                </c:pt>
                <c:pt idx="2504">
                  <c:v>42124</c:v>
                </c:pt>
                <c:pt idx="2505">
                  <c:v>42128</c:v>
                </c:pt>
                <c:pt idx="2506">
                  <c:v>42129</c:v>
                </c:pt>
                <c:pt idx="2507">
                  <c:v>42130</c:v>
                </c:pt>
                <c:pt idx="2508">
                  <c:v>42131</c:v>
                </c:pt>
                <c:pt idx="2509">
                  <c:v>42132</c:v>
                </c:pt>
                <c:pt idx="2510">
                  <c:v>42135</c:v>
                </c:pt>
                <c:pt idx="2511">
                  <c:v>42136</c:v>
                </c:pt>
                <c:pt idx="2512">
                  <c:v>42137</c:v>
                </c:pt>
                <c:pt idx="2513">
                  <c:v>42138</c:v>
                </c:pt>
                <c:pt idx="2514">
                  <c:v>42139</c:v>
                </c:pt>
                <c:pt idx="2515">
                  <c:v>42142</c:v>
                </c:pt>
                <c:pt idx="2516">
                  <c:v>42143</c:v>
                </c:pt>
                <c:pt idx="2517">
                  <c:v>42144</c:v>
                </c:pt>
                <c:pt idx="2518">
                  <c:v>42145</c:v>
                </c:pt>
                <c:pt idx="2519">
                  <c:v>42146</c:v>
                </c:pt>
                <c:pt idx="2520">
                  <c:v>42149</c:v>
                </c:pt>
                <c:pt idx="2521">
                  <c:v>42150</c:v>
                </c:pt>
                <c:pt idx="2522">
                  <c:v>42151</c:v>
                </c:pt>
                <c:pt idx="2523">
                  <c:v>42152</c:v>
                </c:pt>
                <c:pt idx="2524">
                  <c:v>42153</c:v>
                </c:pt>
                <c:pt idx="2525">
                  <c:v>42156</c:v>
                </c:pt>
                <c:pt idx="2526">
                  <c:v>42157</c:v>
                </c:pt>
                <c:pt idx="2527">
                  <c:v>42158</c:v>
                </c:pt>
                <c:pt idx="2528">
                  <c:v>42159</c:v>
                </c:pt>
                <c:pt idx="2529">
                  <c:v>42160</c:v>
                </c:pt>
                <c:pt idx="2530">
                  <c:v>42163</c:v>
                </c:pt>
                <c:pt idx="2531">
                  <c:v>42164</c:v>
                </c:pt>
                <c:pt idx="2532">
                  <c:v>42165</c:v>
                </c:pt>
                <c:pt idx="2533">
                  <c:v>42166</c:v>
                </c:pt>
                <c:pt idx="2534">
                  <c:v>42167</c:v>
                </c:pt>
                <c:pt idx="2535">
                  <c:v>42170</c:v>
                </c:pt>
                <c:pt idx="2536">
                  <c:v>42171</c:v>
                </c:pt>
                <c:pt idx="2537">
                  <c:v>42172</c:v>
                </c:pt>
                <c:pt idx="2538">
                  <c:v>42173</c:v>
                </c:pt>
                <c:pt idx="2539">
                  <c:v>42174</c:v>
                </c:pt>
                <c:pt idx="2540">
                  <c:v>42178</c:v>
                </c:pt>
                <c:pt idx="2541">
                  <c:v>42179</c:v>
                </c:pt>
                <c:pt idx="2542">
                  <c:v>42180</c:v>
                </c:pt>
                <c:pt idx="2543">
                  <c:v>42181</c:v>
                </c:pt>
                <c:pt idx="2544">
                  <c:v>42184</c:v>
                </c:pt>
                <c:pt idx="2545">
                  <c:v>42185</c:v>
                </c:pt>
                <c:pt idx="2546">
                  <c:v>42186</c:v>
                </c:pt>
                <c:pt idx="2547">
                  <c:v>42187</c:v>
                </c:pt>
                <c:pt idx="2548">
                  <c:v>42188</c:v>
                </c:pt>
                <c:pt idx="2549">
                  <c:v>42191</c:v>
                </c:pt>
                <c:pt idx="2550">
                  <c:v>42192</c:v>
                </c:pt>
                <c:pt idx="2551">
                  <c:v>42193</c:v>
                </c:pt>
                <c:pt idx="2552">
                  <c:v>42194</c:v>
                </c:pt>
                <c:pt idx="2553">
                  <c:v>42195</c:v>
                </c:pt>
                <c:pt idx="2554">
                  <c:v>42198</c:v>
                </c:pt>
                <c:pt idx="2555">
                  <c:v>42199</c:v>
                </c:pt>
                <c:pt idx="2556">
                  <c:v>42200</c:v>
                </c:pt>
                <c:pt idx="2557">
                  <c:v>42201</c:v>
                </c:pt>
                <c:pt idx="2558">
                  <c:v>42202</c:v>
                </c:pt>
                <c:pt idx="2559">
                  <c:v>42205</c:v>
                </c:pt>
                <c:pt idx="2560">
                  <c:v>42206</c:v>
                </c:pt>
                <c:pt idx="2561">
                  <c:v>42207</c:v>
                </c:pt>
                <c:pt idx="2562">
                  <c:v>42208</c:v>
                </c:pt>
                <c:pt idx="2563">
                  <c:v>42209</c:v>
                </c:pt>
                <c:pt idx="2564">
                  <c:v>42212</c:v>
                </c:pt>
                <c:pt idx="2565">
                  <c:v>42213</c:v>
                </c:pt>
                <c:pt idx="2566">
                  <c:v>42214</c:v>
                </c:pt>
                <c:pt idx="2567">
                  <c:v>42215</c:v>
                </c:pt>
                <c:pt idx="2568">
                  <c:v>42216</c:v>
                </c:pt>
                <c:pt idx="2569">
                  <c:v>42219</c:v>
                </c:pt>
                <c:pt idx="2570">
                  <c:v>42220</c:v>
                </c:pt>
                <c:pt idx="2571">
                  <c:v>42221</c:v>
                </c:pt>
                <c:pt idx="2572">
                  <c:v>42222</c:v>
                </c:pt>
                <c:pt idx="2573">
                  <c:v>42223</c:v>
                </c:pt>
                <c:pt idx="2574">
                  <c:v>42226</c:v>
                </c:pt>
                <c:pt idx="2575">
                  <c:v>42227</c:v>
                </c:pt>
                <c:pt idx="2576">
                  <c:v>42228</c:v>
                </c:pt>
                <c:pt idx="2577">
                  <c:v>42229</c:v>
                </c:pt>
                <c:pt idx="2578">
                  <c:v>42230</c:v>
                </c:pt>
                <c:pt idx="2579">
                  <c:v>42233</c:v>
                </c:pt>
                <c:pt idx="2580">
                  <c:v>42234</c:v>
                </c:pt>
                <c:pt idx="2581">
                  <c:v>42235</c:v>
                </c:pt>
                <c:pt idx="2582">
                  <c:v>42236</c:v>
                </c:pt>
                <c:pt idx="2583">
                  <c:v>42237</c:v>
                </c:pt>
                <c:pt idx="2584">
                  <c:v>42240</c:v>
                </c:pt>
                <c:pt idx="2585">
                  <c:v>42241</c:v>
                </c:pt>
                <c:pt idx="2586">
                  <c:v>42242</c:v>
                </c:pt>
                <c:pt idx="2587">
                  <c:v>42243</c:v>
                </c:pt>
                <c:pt idx="2588">
                  <c:v>42244</c:v>
                </c:pt>
                <c:pt idx="2589">
                  <c:v>42247</c:v>
                </c:pt>
                <c:pt idx="2590">
                  <c:v>42248</c:v>
                </c:pt>
                <c:pt idx="2591">
                  <c:v>42249</c:v>
                </c:pt>
                <c:pt idx="2592">
                  <c:v>42254</c:v>
                </c:pt>
                <c:pt idx="2593">
                  <c:v>42255</c:v>
                </c:pt>
                <c:pt idx="2594">
                  <c:v>42256</c:v>
                </c:pt>
                <c:pt idx="2595">
                  <c:v>42257</c:v>
                </c:pt>
                <c:pt idx="2596">
                  <c:v>42258</c:v>
                </c:pt>
                <c:pt idx="2597">
                  <c:v>42261</c:v>
                </c:pt>
                <c:pt idx="2598">
                  <c:v>42262</c:v>
                </c:pt>
                <c:pt idx="2599">
                  <c:v>42263</c:v>
                </c:pt>
                <c:pt idx="2600">
                  <c:v>42264</c:v>
                </c:pt>
                <c:pt idx="2601">
                  <c:v>42265</c:v>
                </c:pt>
                <c:pt idx="2602">
                  <c:v>42268</c:v>
                </c:pt>
                <c:pt idx="2603">
                  <c:v>42269</c:v>
                </c:pt>
                <c:pt idx="2604">
                  <c:v>42270</c:v>
                </c:pt>
                <c:pt idx="2605">
                  <c:v>42271</c:v>
                </c:pt>
                <c:pt idx="2606">
                  <c:v>42272</c:v>
                </c:pt>
                <c:pt idx="2607">
                  <c:v>42275</c:v>
                </c:pt>
                <c:pt idx="2608">
                  <c:v>42276</c:v>
                </c:pt>
                <c:pt idx="2609">
                  <c:v>42277</c:v>
                </c:pt>
                <c:pt idx="2610">
                  <c:v>42285</c:v>
                </c:pt>
                <c:pt idx="2611">
                  <c:v>42286</c:v>
                </c:pt>
                <c:pt idx="2612">
                  <c:v>42289</c:v>
                </c:pt>
                <c:pt idx="2613">
                  <c:v>42290</c:v>
                </c:pt>
                <c:pt idx="2614">
                  <c:v>42291</c:v>
                </c:pt>
                <c:pt idx="2615">
                  <c:v>42292</c:v>
                </c:pt>
                <c:pt idx="2616">
                  <c:v>42293</c:v>
                </c:pt>
                <c:pt idx="2617">
                  <c:v>42296</c:v>
                </c:pt>
                <c:pt idx="2618">
                  <c:v>42297</c:v>
                </c:pt>
                <c:pt idx="2619">
                  <c:v>42298</c:v>
                </c:pt>
                <c:pt idx="2620">
                  <c:v>42299</c:v>
                </c:pt>
                <c:pt idx="2621">
                  <c:v>42300</c:v>
                </c:pt>
                <c:pt idx="2622">
                  <c:v>42303</c:v>
                </c:pt>
                <c:pt idx="2623">
                  <c:v>42304</c:v>
                </c:pt>
                <c:pt idx="2624">
                  <c:v>42305</c:v>
                </c:pt>
                <c:pt idx="2625">
                  <c:v>42306</c:v>
                </c:pt>
                <c:pt idx="2626">
                  <c:v>42307</c:v>
                </c:pt>
                <c:pt idx="2627">
                  <c:v>42310</c:v>
                </c:pt>
                <c:pt idx="2628">
                  <c:v>42311</c:v>
                </c:pt>
                <c:pt idx="2629">
                  <c:v>42312</c:v>
                </c:pt>
                <c:pt idx="2630">
                  <c:v>42313</c:v>
                </c:pt>
                <c:pt idx="2631">
                  <c:v>42314</c:v>
                </c:pt>
                <c:pt idx="2632">
                  <c:v>42317</c:v>
                </c:pt>
                <c:pt idx="2633">
                  <c:v>42318</c:v>
                </c:pt>
                <c:pt idx="2634">
                  <c:v>42319</c:v>
                </c:pt>
                <c:pt idx="2635">
                  <c:v>42320</c:v>
                </c:pt>
                <c:pt idx="2636">
                  <c:v>42321</c:v>
                </c:pt>
                <c:pt idx="2637">
                  <c:v>42324</c:v>
                </c:pt>
                <c:pt idx="2638">
                  <c:v>42325</c:v>
                </c:pt>
                <c:pt idx="2639">
                  <c:v>42326</c:v>
                </c:pt>
                <c:pt idx="2640">
                  <c:v>42327</c:v>
                </c:pt>
                <c:pt idx="2641">
                  <c:v>42328</c:v>
                </c:pt>
                <c:pt idx="2642">
                  <c:v>42331</c:v>
                </c:pt>
                <c:pt idx="2643">
                  <c:v>42332</c:v>
                </c:pt>
                <c:pt idx="2644">
                  <c:v>42333</c:v>
                </c:pt>
                <c:pt idx="2645">
                  <c:v>42334</c:v>
                </c:pt>
                <c:pt idx="2646">
                  <c:v>42335</c:v>
                </c:pt>
                <c:pt idx="2647">
                  <c:v>42338</c:v>
                </c:pt>
                <c:pt idx="2648">
                  <c:v>42339</c:v>
                </c:pt>
                <c:pt idx="2649">
                  <c:v>42340</c:v>
                </c:pt>
                <c:pt idx="2650">
                  <c:v>42341</c:v>
                </c:pt>
                <c:pt idx="2651">
                  <c:v>42342</c:v>
                </c:pt>
                <c:pt idx="2652">
                  <c:v>42345</c:v>
                </c:pt>
                <c:pt idx="2653">
                  <c:v>42346</c:v>
                </c:pt>
                <c:pt idx="2654">
                  <c:v>42347</c:v>
                </c:pt>
                <c:pt idx="2655">
                  <c:v>42348</c:v>
                </c:pt>
                <c:pt idx="2656">
                  <c:v>42349</c:v>
                </c:pt>
                <c:pt idx="2657">
                  <c:v>42352</c:v>
                </c:pt>
                <c:pt idx="2658">
                  <c:v>42353</c:v>
                </c:pt>
                <c:pt idx="2659">
                  <c:v>42354</c:v>
                </c:pt>
                <c:pt idx="2660">
                  <c:v>42355</c:v>
                </c:pt>
                <c:pt idx="2661">
                  <c:v>42356</c:v>
                </c:pt>
                <c:pt idx="2662">
                  <c:v>42359</c:v>
                </c:pt>
                <c:pt idx="2663">
                  <c:v>42360</c:v>
                </c:pt>
                <c:pt idx="2664">
                  <c:v>42361</c:v>
                </c:pt>
                <c:pt idx="2665">
                  <c:v>42362</c:v>
                </c:pt>
                <c:pt idx="2666">
                  <c:v>42363</c:v>
                </c:pt>
                <c:pt idx="2667">
                  <c:v>42366</c:v>
                </c:pt>
                <c:pt idx="2668">
                  <c:v>42367</c:v>
                </c:pt>
                <c:pt idx="2669">
                  <c:v>42368</c:v>
                </c:pt>
                <c:pt idx="2670">
                  <c:v>42369</c:v>
                </c:pt>
                <c:pt idx="2671">
                  <c:v>42373</c:v>
                </c:pt>
                <c:pt idx="2672">
                  <c:v>42374</c:v>
                </c:pt>
                <c:pt idx="2673">
                  <c:v>42375</c:v>
                </c:pt>
                <c:pt idx="2674">
                  <c:v>42376</c:v>
                </c:pt>
                <c:pt idx="2675">
                  <c:v>42377</c:v>
                </c:pt>
                <c:pt idx="2676">
                  <c:v>42380</c:v>
                </c:pt>
                <c:pt idx="2677">
                  <c:v>42381</c:v>
                </c:pt>
                <c:pt idx="2678">
                  <c:v>42382</c:v>
                </c:pt>
                <c:pt idx="2679">
                  <c:v>42383</c:v>
                </c:pt>
                <c:pt idx="2680">
                  <c:v>42384</c:v>
                </c:pt>
                <c:pt idx="2681">
                  <c:v>42387</c:v>
                </c:pt>
                <c:pt idx="2682">
                  <c:v>42388</c:v>
                </c:pt>
                <c:pt idx="2683">
                  <c:v>42389</c:v>
                </c:pt>
                <c:pt idx="2684">
                  <c:v>42390</c:v>
                </c:pt>
                <c:pt idx="2685">
                  <c:v>42391</c:v>
                </c:pt>
                <c:pt idx="2686">
                  <c:v>42394</c:v>
                </c:pt>
                <c:pt idx="2687">
                  <c:v>42395</c:v>
                </c:pt>
                <c:pt idx="2688">
                  <c:v>42396</c:v>
                </c:pt>
                <c:pt idx="2689">
                  <c:v>42397</c:v>
                </c:pt>
                <c:pt idx="2690">
                  <c:v>42398</c:v>
                </c:pt>
                <c:pt idx="2691">
                  <c:v>42401</c:v>
                </c:pt>
                <c:pt idx="2692">
                  <c:v>42402</c:v>
                </c:pt>
                <c:pt idx="2693">
                  <c:v>42403</c:v>
                </c:pt>
                <c:pt idx="2694">
                  <c:v>42404</c:v>
                </c:pt>
                <c:pt idx="2695">
                  <c:v>42405</c:v>
                </c:pt>
                <c:pt idx="2696">
                  <c:v>42415</c:v>
                </c:pt>
                <c:pt idx="2697">
                  <c:v>42416</c:v>
                </c:pt>
                <c:pt idx="2698">
                  <c:v>42417</c:v>
                </c:pt>
                <c:pt idx="2699">
                  <c:v>42418</c:v>
                </c:pt>
                <c:pt idx="2700">
                  <c:v>42419</c:v>
                </c:pt>
                <c:pt idx="2701">
                  <c:v>42422</c:v>
                </c:pt>
                <c:pt idx="2702">
                  <c:v>42423</c:v>
                </c:pt>
                <c:pt idx="2703">
                  <c:v>42424</c:v>
                </c:pt>
                <c:pt idx="2704">
                  <c:v>42425</c:v>
                </c:pt>
                <c:pt idx="2705">
                  <c:v>42426</c:v>
                </c:pt>
                <c:pt idx="2706">
                  <c:v>42429</c:v>
                </c:pt>
                <c:pt idx="2707">
                  <c:v>42430</c:v>
                </c:pt>
                <c:pt idx="2708">
                  <c:v>42431</c:v>
                </c:pt>
                <c:pt idx="2709">
                  <c:v>42432</c:v>
                </c:pt>
                <c:pt idx="2710">
                  <c:v>42433</c:v>
                </c:pt>
                <c:pt idx="2711">
                  <c:v>42436</c:v>
                </c:pt>
                <c:pt idx="2712">
                  <c:v>42437</c:v>
                </c:pt>
                <c:pt idx="2713">
                  <c:v>42438</c:v>
                </c:pt>
                <c:pt idx="2714">
                  <c:v>42439</c:v>
                </c:pt>
                <c:pt idx="2715">
                  <c:v>42440</c:v>
                </c:pt>
                <c:pt idx="2716">
                  <c:v>42443</c:v>
                </c:pt>
                <c:pt idx="2717">
                  <c:v>42444</c:v>
                </c:pt>
                <c:pt idx="2718">
                  <c:v>42445</c:v>
                </c:pt>
                <c:pt idx="2719">
                  <c:v>42446</c:v>
                </c:pt>
                <c:pt idx="2720">
                  <c:v>42447</c:v>
                </c:pt>
                <c:pt idx="2721">
                  <c:v>42450</c:v>
                </c:pt>
                <c:pt idx="2722">
                  <c:v>42451</c:v>
                </c:pt>
                <c:pt idx="2723">
                  <c:v>42452</c:v>
                </c:pt>
                <c:pt idx="2724">
                  <c:v>42453</c:v>
                </c:pt>
                <c:pt idx="2725">
                  <c:v>42454</c:v>
                </c:pt>
                <c:pt idx="2726">
                  <c:v>42457</c:v>
                </c:pt>
                <c:pt idx="2727">
                  <c:v>42458</c:v>
                </c:pt>
                <c:pt idx="2728">
                  <c:v>42459</c:v>
                </c:pt>
                <c:pt idx="2729">
                  <c:v>42460</c:v>
                </c:pt>
                <c:pt idx="2730">
                  <c:v>42461</c:v>
                </c:pt>
                <c:pt idx="2731">
                  <c:v>42465</c:v>
                </c:pt>
                <c:pt idx="2732">
                  <c:v>42466</c:v>
                </c:pt>
                <c:pt idx="2733">
                  <c:v>42467</c:v>
                </c:pt>
                <c:pt idx="2734">
                  <c:v>42468</c:v>
                </c:pt>
                <c:pt idx="2735">
                  <c:v>42471</c:v>
                </c:pt>
                <c:pt idx="2736">
                  <c:v>42472</c:v>
                </c:pt>
                <c:pt idx="2737">
                  <c:v>42473</c:v>
                </c:pt>
                <c:pt idx="2738">
                  <c:v>42474</c:v>
                </c:pt>
                <c:pt idx="2739">
                  <c:v>42475</c:v>
                </c:pt>
                <c:pt idx="2740">
                  <c:v>42478</c:v>
                </c:pt>
                <c:pt idx="2741">
                  <c:v>42479</c:v>
                </c:pt>
                <c:pt idx="2742">
                  <c:v>42480</c:v>
                </c:pt>
                <c:pt idx="2743">
                  <c:v>42481</c:v>
                </c:pt>
                <c:pt idx="2744">
                  <c:v>42482</c:v>
                </c:pt>
                <c:pt idx="2745">
                  <c:v>42485</c:v>
                </c:pt>
                <c:pt idx="2746">
                  <c:v>42486</c:v>
                </c:pt>
                <c:pt idx="2747">
                  <c:v>42487</c:v>
                </c:pt>
                <c:pt idx="2748">
                  <c:v>42488</c:v>
                </c:pt>
                <c:pt idx="2749">
                  <c:v>42489</c:v>
                </c:pt>
                <c:pt idx="2750">
                  <c:v>42493</c:v>
                </c:pt>
                <c:pt idx="2751">
                  <c:v>42494</c:v>
                </c:pt>
                <c:pt idx="2752">
                  <c:v>42495</c:v>
                </c:pt>
                <c:pt idx="2753">
                  <c:v>42496</c:v>
                </c:pt>
                <c:pt idx="2754">
                  <c:v>42499</c:v>
                </c:pt>
                <c:pt idx="2755">
                  <c:v>42500</c:v>
                </c:pt>
                <c:pt idx="2756">
                  <c:v>42501</c:v>
                </c:pt>
                <c:pt idx="2757">
                  <c:v>42502</c:v>
                </c:pt>
                <c:pt idx="2758">
                  <c:v>42503</c:v>
                </c:pt>
                <c:pt idx="2759">
                  <c:v>42506</c:v>
                </c:pt>
                <c:pt idx="2760">
                  <c:v>42507</c:v>
                </c:pt>
                <c:pt idx="2761">
                  <c:v>42508</c:v>
                </c:pt>
                <c:pt idx="2762">
                  <c:v>42509</c:v>
                </c:pt>
                <c:pt idx="2763">
                  <c:v>42510</c:v>
                </c:pt>
                <c:pt idx="2764">
                  <c:v>42513</c:v>
                </c:pt>
                <c:pt idx="2765">
                  <c:v>42514</c:v>
                </c:pt>
                <c:pt idx="2766">
                  <c:v>42515</c:v>
                </c:pt>
                <c:pt idx="2767">
                  <c:v>42516</c:v>
                </c:pt>
                <c:pt idx="2768">
                  <c:v>42517</c:v>
                </c:pt>
                <c:pt idx="2769">
                  <c:v>42520</c:v>
                </c:pt>
                <c:pt idx="2770">
                  <c:v>42521</c:v>
                </c:pt>
                <c:pt idx="2771">
                  <c:v>42522</c:v>
                </c:pt>
                <c:pt idx="2772">
                  <c:v>42523</c:v>
                </c:pt>
                <c:pt idx="2773">
                  <c:v>42524</c:v>
                </c:pt>
                <c:pt idx="2774">
                  <c:v>42527</c:v>
                </c:pt>
                <c:pt idx="2775">
                  <c:v>42528</c:v>
                </c:pt>
                <c:pt idx="2776">
                  <c:v>42529</c:v>
                </c:pt>
                <c:pt idx="2777">
                  <c:v>42534</c:v>
                </c:pt>
                <c:pt idx="2778">
                  <c:v>42535</c:v>
                </c:pt>
                <c:pt idx="2779">
                  <c:v>42536</c:v>
                </c:pt>
                <c:pt idx="2780">
                  <c:v>42537</c:v>
                </c:pt>
                <c:pt idx="2781">
                  <c:v>42538</c:v>
                </c:pt>
                <c:pt idx="2782">
                  <c:v>42541</c:v>
                </c:pt>
                <c:pt idx="2783">
                  <c:v>42542</c:v>
                </c:pt>
                <c:pt idx="2784">
                  <c:v>42543</c:v>
                </c:pt>
                <c:pt idx="2785">
                  <c:v>42544</c:v>
                </c:pt>
                <c:pt idx="2786">
                  <c:v>42545</c:v>
                </c:pt>
                <c:pt idx="2787">
                  <c:v>42548</c:v>
                </c:pt>
                <c:pt idx="2788">
                  <c:v>42549</c:v>
                </c:pt>
                <c:pt idx="2789">
                  <c:v>42550</c:v>
                </c:pt>
                <c:pt idx="2790">
                  <c:v>42551</c:v>
                </c:pt>
                <c:pt idx="2791">
                  <c:v>42552</c:v>
                </c:pt>
                <c:pt idx="2792">
                  <c:v>42555</c:v>
                </c:pt>
                <c:pt idx="2793">
                  <c:v>42556</c:v>
                </c:pt>
                <c:pt idx="2794">
                  <c:v>42557</c:v>
                </c:pt>
                <c:pt idx="2795">
                  <c:v>42558</c:v>
                </c:pt>
                <c:pt idx="2796">
                  <c:v>42559</c:v>
                </c:pt>
                <c:pt idx="2797">
                  <c:v>42562</c:v>
                </c:pt>
                <c:pt idx="2798">
                  <c:v>42563</c:v>
                </c:pt>
                <c:pt idx="2799">
                  <c:v>42564</c:v>
                </c:pt>
                <c:pt idx="2800">
                  <c:v>42565</c:v>
                </c:pt>
                <c:pt idx="2801">
                  <c:v>42566</c:v>
                </c:pt>
                <c:pt idx="2802">
                  <c:v>42569</c:v>
                </c:pt>
                <c:pt idx="2803">
                  <c:v>42570</c:v>
                </c:pt>
                <c:pt idx="2804">
                  <c:v>42571</c:v>
                </c:pt>
                <c:pt idx="2805">
                  <c:v>42572</c:v>
                </c:pt>
                <c:pt idx="2806">
                  <c:v>42573</c:v>
                </c:pt>
                <c:pt idx="2807">
                  <c:v>42576</c:v>
                </c:pt>
                <c:pt idx="2808">
                  <c:v>42577</c:v>
                </c:pt>
                <c:pt idx="2809">
                  <c:v>42578</c:v>
                </c:pt>
                <c:pt idx="2810">
                  <c:v>42579</c:v>
                </c:pt>
                <c:pt idx="2811">
                  <c:v>42580</c:v>
                </c:pt>
                <c:pt idx="2812">
                  <c:v>42583</c:v>
                </c:pt>
                <c:pt idx="2813">
                  <c:v>42584</c:v>
                </c:pt>
                <c:pt idx="2814">
                  <c:v>42585</c:v>
                </c:pt>
                <c:pt idx="2815">
                  <c:v>42586</c:v>
                </c:pt>
                <c:pt idx="2816">
                  <c:v>42587</c:v>
                </c:pt>
                <c:pt idx="2817">
                  <c:v>42590</c:v>
                </c:pt>
                <c:pt idx="2818">
                  <c:v>42591</c:v>
                </c:pt>
                <c:pt idx="2819">
                  <c:v>42592</c:v>
                </c:pt>
                <c:pt idx="2820">
                  <c:v>42593</c:v>
                </c:pt>
                <c:pt idx="2821">
                  <c:v>42594</c:v>
                </c:pt>
                <c:pt idx="2822">
                  <c:v>42597</c:v>
                </c:pt>
                <c:pt idx="2823">
                  <c:v>42598</c:v>
                </c:pt>
                <c:pt idx="2824">
                  <c:v>42599</c:v>
                </c:pt>
                <c:pt idx="2825">
                  <c:v>42600</c:v>
                </c:pt>
                <c:pt idx="2826">
                  <c:v>42601</c:v>
                </c:pt>
                <c:pt idx="2827">
                  <c:v>42604</c:v>
                </c:pt>
                <c:pt idx="2828">
                  <c:v>42605</c:v>
                </c:pt>
                <c:pt idx="2829">
                  <c:v>42606</c:v>
                </c:pt>
                <c:pt idx="2830">
                  <c:v>42607</c:v>
                </c:pt>
                <c:pt idx="2831">
                  <c:v>42608</c:v>
                </c:pt>
                <c:pt idx="2832">
                  <c:v>42611</c:v>
                </c:pt>
                <c:pt idx="2833">
                  <c:v>42612</c:v>
                </c:pt>
                <c:pt idx="2834">
                  <c:v>42613</c:v>
                </c:pt>
                <c:pt idx="2835">
                  <c:v>42614</c:v>
                </c:pt>
                <c:pt idx="2836">
                  <c:v>42615</c:v>
                </c:pt>
                <c:pt idx="2837">
                  <c:v>42618</c:v>
                </c:pt>
                <c:pt idx="2838">
                  <c:v>42619</c:v>
                </c:pt>
                <c:pt idx="2839">
                  <c:v>42620</c:v>
                </c:pt>
                <c:pt idx="2840">
                  <c:v>42621</c:v>
                </c:pt>
                <c:pt idx="2841">
                  <c:v>42622</c:v>
                </c:pt>
                <c:pt idx="2842">
                  <c:v>42625</c:v>
                </c:pt>
                <c:pt idx="2843">
                  <c:v>42626</c:v>
                </c:pt>
                <c:pt idx="2844">
                  <c:v>42627</c:v>
                </c:pt>
                <c:pt idx="2845">
                  <c:v>42632</c:v>
                </c:pt>
                <c:pt idx="2846">
                  <c:v>42633</c:v>
                </c:pt>
                <c:pt idx="2847">
                  <c:v>42634</c:v>
                </c:pt>
                <c:pt idx="2848">
                  <c:v>42635</c:v>
                </c:pt>
                <c:pt idx="2849">
                  <c:v>42636</c:v>
                </c:pt>
                <c:pt idx="2850">
                  <c:v>42639</c:v>
                </c:pt>
                <c:pt idx="2851">
                  <c:v>42640</c:v>
                </c:pt>
                <c:pt idx="2852">
                  <c:v>42641</c:v>
                </c:pt>
                <c:pt idx="2853">
                  <c:v>42642</c:v>
                </c:pt>
                <c:pt idx="2854">
                  <c:v>42643</c:v>
                </c:pt>
                <c:pt idx="2855">
                  <c:v>42653</c:v>
                </c:pt>
                <c:pt idx="2856">
                  <c:v>42654</c:v>
                </c:pt>
                <c:pt idx="2857">
                  <c:v>42655</c:v>
                </c:pt>
                <c:pt idx="2858">
                  <c:v>42656</c:v>
                </c:pt>
                <c:pt idx="2859">
                  <c:v>42657</c:v>
                </c:pt>
                <c:pt idx="2860">
                  <c:v>42660</c:v>
                </c:pt>
                <c:pt idx="2861">
                  <c:v>42661</c:v>
                </c:pt>
                <c:pt idx="2862">
                  <c:v>42662</c:v>
                </c:pt>
                <c:pt idx="2863">
                  <c:v>42663</c:v>
                </c:pt>
                <c:pt idx="2864">
                  <c:v>42664</c:v>
                </c:pt>
                <c:pt idx="2865">
                  <c:v>42667</c:v>
                </c:pt>
                <c:pt idx="2866">
                  <c:v>42668</c:v>
                </c:pt>
                <c:pt idx="2867">
                  <c:v>42669</c:v>
                </c:pt>
                <c:pt idx="2868">
                  <c:v>42670</c:v>
                </c:pt>
                <c:pt idx="2869">
                  <c:v>42671</c:v>
                </c:pt>
                <c:pt idx="2870">
                  <c:v>42674</c:v>
                </c:pt>
                <c:pt idx="2871">
                  <c:v>42675</c:v>
                </c:pt>
                <c:pt idx="2872">
                  <c:v>42676</c:v>
                </c:pt>
                <c:pt idx="2873">
                  <c:v>42677</c:v>
                </c:pt>
                <c:pt idx="2874">
                  <c:v>42678</c:v>
                </c:pt>
                <c:pt idx="2875">
                  <c:v>42681</c:v>
                </c:pt>
                <c:pt idx="2876">
                  <c:v>42682</c:v>
                </c:pt>
                <c:pt idx="2877">
                  <c:v>42683</c:v>
                </c:pt>
                <c:pt idx="2878">
                  <c:v>42684</c:v>
                </c:pt>
                <c:pt idx="2879">
                  <c:v>42685</c:v>
                </c:pt>
                <c:pt idx="2880">
                  <c:v>42688</c:v>
                </c:pt>
                <c:pt idx="2881">
                  <c:v>42689</c:v>
                </c:pt>
                <c:pt idx="2882">
                  <c:v>42690</c:v>
                </c:pt>
                <c:pt idx="2883">
                  <c:v>42691</c:v>
                </c:pt>
                <c:pt idx="2884">
                  <c:v>42692</c:v>
                </c:pt>
                <c:pt idx="2885">
                  <c:v>42695</c:v>
                </c:pt>
                <c:pt idx="2886">
                  <c:v>42696</c:v>
                </c:pt>
                <c:pt idx="2887">
                  <c:v>42697</c:v>
                </c:pt>
                <c:pt idx="2888">
                  <c:v>42698</c:v>
                </c:pt>
                <c:pt idx="2889">
                  <c:v>42699</c:v>
                </c:pt>
                <c:pt idx="2890">
                  <c:v>42702</c:v>
                </c:pt>
                <c:pt idx="2891">
                  <c:v>42703</c:v>
                </c:pt>
                <c:pt idx="2892">
                  <c:v>42704</c:v>
                </c:pt>
                <c:pt idx="2893">
                  <c:v>42705</c:v>
                </c:pt>
                <c:pt idx="2894">
                  <c:v>42706</c:v>
                </c:pt>
                <c:pt idx="2895">
                  <c:v>42709</c:v>
                </c:pt>
                <c:pt idx="2896">
                  <c:v>42710</c:v>
                </c:pt>
                <c:pt idx="2897">
                  <c:v>42711</c:v>
                </c:pt>
                <c:pt idx="2898">
                  <c:v>42712</c:v>
                </c:pt>
                <c:pt idx="2899">
                  <c:v>42713</c:v>
                </c:pt>
                <c:pt idx="2900">
                  <c:v>42716</c:v>
                </c:pt>
                <c:pt idx="2901">
                  <c:v>42717</c:v>
                </c:pt>
                <c:pt idx="2902">
                  <c:v>42718</c:v>
                </c:pt>
                <c:pt idx="2903">
                  <c:v>42719</c:v>
                </c:pt>
                <c:pt idx="2904">
                  <c:v>42720</c:v>
                </c:pt>
                <c:pt idx="2905">
                  <c:v>42723</c:v>
                </c:pt>
                <c:pt idx="2906">
                  <c:v>42724</c:v>
                </c:pt>
                <c:pt idx="2907">
                  <c:v>42725</c:v>
                </c:pt>
                <c:pt idx="2908">
                  <c:v>42726</c:v>
                </c:pt>
                <c:pt idx="2909">
                  <c:v>42727</c:v>
                </c:pt>
                <c:pt idx="2910">
                  <c:v>42730</c:v>
                </c:pt>
                <c:pt idx="2911">
                  <c:v>42731</c:v>
                </c:pt>
                <c:pt idx="2912">
                  <c:v>42732</c:v>
                </c:pt>
                <c:pt idx="2913">
                  <c:v>42733</c:v>
                </c:pt>
                <c:pt idx="2914">
                  <c:v>42734</c:v>
                </c:pt>
                <c:pt idx="2915">
                  <c:v>42738</c:v>
                </c:pt>
                <c:pt idx="2916">
                  <c:v>42739</c:v>
                </c:pt>
                <c:pt idx="2917">
                  <c:v>42740</c:v>
                </c:pt>
                <c:pt idx="2918">
                  <c:v>42741</c:v>
                </c:pt>
                <c:pt idx="2919">
                  <c:v>42744</c:v>
                </c:pt>
                <c:pt idx="2920">
                  <c:v>42745</c:v>
                </c:pt>
                <c:pt idx="2921">
                  <c:v>42746</c:v>
                </c:pt>
                <c:pt idx="2922">
                  <c:v>42747</c:v>
                </c:pt>
                <c:pt idx="2923">
                  <c:v>42748</c:v>
                </c:pt>
                <c:pt idx="2924">
                  <c:v>42751</c:v>
                </c:pt>
                <c:pt idx="2925">
                  <c:v>42752</c:v>
                </c:pt>
                <c:pt idx="2926">
                  <c:v>42753</c:v>
                </c:pt>
                <c:pt idx="2927">
                  <c:v>42754</c:v>
                </c:pt>
                <c:pt idx="2928">
                  <c:v>42755</c:v>
                </c:pt>
                <c:pt idx="2929">
                  <c:v>42758</c:v>
                </c:pt>
                <c:pt idx="2930">
                  <c:v>42759</c:v>
                </c:pt>
                <c:pt idx="2931">
                  <c:v>42760</c:v>
                </c:pt>
                <c:pt idx="2932">
                  <c:v>42761</c:v>
                </c:pt>
                <c:pt idx="2933">
                  <c:v>42769</c:v>
                </c:pt>
                <c:pt idx="2934">
                  <c:v>42772</c:v>
                </c:pt>
                <c:pt idx="2935">
                  <c:v>42773</c:v>
                </c:pt>
                <c:pt idx="2936">
                  <c:v>42774</c:v>
                </c:pt>
                <c:pt idx="2937">
                  <c:v>42775</c:v>
                </c:pt>
                <c:pt idx="2938">
                  <c:v>42776</c:v>
                </c:pt>
                <c:pt idx="2939">
                  <c:v>42779</c:v>
                </c:pt>
                <c:pt idx="2940">
                  <c:v>42780</c:v>
                </c:pt>
                <c:pt idx="2941">
                  <c:v>42781</c:v>
                </c:pt>
                <c:pt idx="2942">
                  <c:v>42782</c:v>
                </c:pt>
                <c:pt idx="2943">
                  <c:v>42783</c:v>
                </c:pt>
                <c:pt idx="2944">
                  <c:v>42786</c:v>
                </c:pt>
                <c:pt idx="2945">
                  <c:v>42787</c:v>
                </c:pt>
                <c:pt idx="2946">
                  <c:v>42788</c:v>
                </c:pt>
                <c:pt idx="2947">
                  <c:v>42789</c:v>
                </c:pt>
                <c:pt idx="2948">
                  <c:v>42790</c:v>
                </c:pt>
                <c:pt idx="2949">
                  <c:v>42793</c:v>
                </c:pt>
                <c:pt idx="2950">
                  <c:v>42794</c:v>
                </c:pt>
                <c:pt idx="2951">
                  <c:v>42795</c:v>
                </c:pt>
                <c:pt idx="2952">
                  <c:v>42796</c:v>
                </c:pt>
                <c:pt idx="2953">
                  <c:v>42797</c:v>
                </c:pt>
                <c:pt idx="2954">
                  <c:v>42800</c:v>
                </c:pt>
                <c:pt idx="2955">
                  <c:v>42801</c:v>
                </c:pt>
                <c:pt idx="2956">
                  <c:v>42802</c:v>
                </c:pt>
                <c:pt idx="2957">
                  <c:v>42803</c:v>
                </c:pt>
                <c:pt idx="2958">
                  <c:v>42804</c:v>
                </c:pt>
                <c:pt idx="2959">
                  <c:v>42807</c:v>
                </c:pt>
                <c:pt idx="2960">
                  <c:v>42808</c:v>
                </c:pt>
                <c:pt idx="2961">
                  <c:v>42809</c:v>
                </c:pt>
                <c:pt idx="2962">
                  <c:v>42810</c:v>
                </c:pt>
                <c:pt idx="2963">
                  <c:v>42811</c:v>
                </c:pt>
                <c:pt idx="2964">
                  <c:v>42814</c:v>
                </c:pt>
                <c:pt idx="2965">
                  <c:v>42815</c:v>
                </c:pt>
                <c:pt idx="2966">
                  <c:v>42816</c:v>
                </c:pt>
                <c:pt idx="2967">
                  <c:v>42817</c:v>
                </c:pt>
                <c:pt idx="2968">
                  <c:v>42818</c:v>
                </c:pt>
                <c:pt idx="2969">
                  <c:v>42821</c:v>
                </c:pt>
                <c:pt idx="2970">
                  <c:v>42822</c:v>
                </c:pt>
                <c:pt idx="2971">
                  <c:v>42823</c:v>
                </c:pt>
                <c:pt idx="2972">
                  <c:v>42824</c:v>
                </c:pt>
                <c:pt idx="2973">
                  <c:v>42825</c:v>
                </c:pt>
                <c:pt idx="2974">
                  <c:v>42830</c:v>
                </c:pt>
                <c:pt idx="2975">
                  <c:v>42831</c:v>
                </c:pt>
                <c:pt idx="2976">
                  <c:v>42832</c:v>
                </c:pt>
                <c:pt idx="2977">
                  <c:v>42835</c:v>
                </c:pt>
                <c:pt idx="2978">
                  <c:v>42836</c:v>
                </c:pt>
                <c:pt idx="2979">
                  <c:v>42837</c:v>
                </c:pt>
                <c:pt idx="2980">
                  <c:v>42838</c:v>
                </c:pt>
                <c:pt idx="2981">
                  <c:v>42839</c:v>
                </c:pt>
                <c:pt idx="2982">
                  <c:v>42842</c:v>
                </c:pt>
                <c:pt idx="2983">
                  <c:v>42843</c:v>
                </c:pt>
                <c:pt idx="2984">
                  <c:v>42844</c:v>
                </c:pt>
                <c:pt idx="2985">
                  <c:v>42845</c:v>
                </c:pt>
                <c:pt idx="2986">
                  <c:v>42846</c:v>
                </c:pt>
                <c:pt idx="2987">
                  <c:v>42849</c:v>
                </c:pt>
                <c:pt idx="2988">
                  <c:v>42850</c:v>
                </c:pt>
                <c:pt idx="2989">
                  <c:v>42851</c:v>
                </c:pt>
                <c:pt idx="2990">
                  <c:v>42852</c:v>
                </c:pt>
                <c:pt idx="2991">
                  <c:v>42853</c:v>
                </c:pt>
                <c:pt idx="2992">
                  <c:v>42857</c:v>
                </c:pt>
                <c:pt idx="2993">
                  <c:v>42858</c:v>
                </c:pt>
                <c:pt idx="2994">
                  <c:v>42859</c:v>
                </c:pt>
                <c:pt idx="2995">
                  <c:v>42860</c:v>
                </c:pt>
                <c:pt idx="2996">
                  <c:v>42863</c:v>
                </c:pt>
                <c:pt idx="2997">
                  <c:v>42864</c:v>
                </c:pt>
                <c:pt idx="2998">
                  <c:v>42865</c:v>
                </c:pt>
                <c:pt idx="2999">
                  <c:v>42866</c:v>
                </c:pt>
                <c:pt idx="3000">
                  <c:v>42867</c:v>
                </c:pt>
                <c:pt idx="3001">
                  <c:v>42870</c:v>
                </c:pt>
                <c:pt idx="3002">
                  <c:v>42871</c:v>
                </c:pt>
                <c:pt idx="3003">
                  <c:v>42872</c:v>
                </c:pt>
                <c:pt idx="3004">
                  <c:v>42873</c:v>
                </c:pt>
                <c:pt idx="3005">
                  <c:v>42874</c:v>
                </c:pt>
                <c:pt idx="3006">
                  <c:v>42877</c:v>
                </c:pt>
                <c:pt idx="3007">
                  <c:v>42878</c:v>
                </c:pt>
                <c:pt idx="3008">
                  <c:v>42879</c:v>
                </c:pt>
                <c:pt idx="3009">
                  <c:v>42880</c:v>
                </c:pt>
                <c:pt idx="3010">
                  <c:v>42881</c:v>
                </c:pt>
                <c:pt idx="3011">
                  <c:v>42886</c:v>
                </c:pt>
                <c:pt idx="3012">
                  <c:v>42887</c:v>
                </c:pt>
                <c:pt idx="3013">
                  <c:v>42888</c:v>
                </c:pt>
                <c:pt idx="3014">
                  <c:v>42891</c:v>
                </c:pt>
                <c:pt idx="3015">
                  <c:v>42892</c:v>
                </c:pt>
                <c:pt idx="3016">
                  <c:v>42893</c:v>
                </c:pt>
                <c:pt idx="3017">
                  <c:v>42894</c:v>
                </c:pt>
                <c:pt idx="3018">
                  <c:v>42895</c:v>
                </c:pt>
                <c:pt idx="3019">
                  <c:v>42898</c:v>
                </c:pt>
                <c:pt idx="3020">
                  <c:v>42899</c:v>
                </c:pt>
                <c:pt idx="3021">
                  <c:v>42900</c:v>
                </c:pt>
                <c:pt idx="3022">
                  <c:v>42901</c:v>
                </c:pt>
                <c:pt idx="3023">
                  <c:v>42902</c:v>
                </c:pt>
                <c:pt idx="3024">
                  <c:v>42905</c:v>
                </c:pt>
                <c:pt idx="3025">
                  <c:v>42906</c:v>
                </c:pt>
                <c:pt idx="3026">
                  <c:v>42907</c:v>
                </c:pt>
                <c:pt idx="3027">
                  <c:v>42908</c:v>
                </c:pt>
                <c:pt idx="3028">
                  <c:v>42909</c:v>
                </c:pt>
                <c:pt idx="3029">
                  <c:v>42912</c:v>
                </c:pt>
                <c:pt idx="3030">
                  <c:v>42913</c:v>
                </c:pt>
                <c:pt idx="3031">
                  <c:v>42914</c:v>
                </c:pt>
                <c:pt idx="3032">
                  <c:v>42915</c:v>
                </c:pt>
                <c:pt idx="3033">
                  <c:v>42916</c:v>
                </c:pt>
                <c:pt idx="3034">
                  <c:v>42919</c:v>
                </c:pt>
                <c:pt idx="3035">
                  <c:v>42920</c:v>
                </c:pt>
                <c:pt idx="3036">
                  <c:v>42921</c:v>
                </c:pt>
                <c:pt idx="3037">
                  <c:v>42922</c:v>
                </c:pt>
                <c:pt idx="3038">
                  <c:v>42923</c:v>
                </c:pt>
                <c:pt idx="3039">
                  <c:v>42926</c:v>
                </c:pt>
                <c:pt idx="3040">
                  <c:v>42927</c:v>
                </c:pt>
                <c:pt idx="3041">
                  <c:v>42928</c:v>
                </c:pt>
                <c:pt idx="3042">
                  <c:v>42929</c:v>
                </c:pt>
                <c:pt idx="3043">
                  <c:v>42930</c:v>
                </c:pt>
                <c:pt idx="3044">
                  <c:v>42933</c:v>
                </c:pt>
                <c:pt idx="3045">
                  <c:v>42934</c:v>
                </c:pt>
                <c:pt idx="3046">
                  <c:v>42935</c:v>
                </c:pt>
                <c:pt idx="3047">
                  <c:v>42936</c:v>
                </c:pt>
                <c:pt idx="3048">
                  <c:v>42937</c:v>
                </c:pt>
                <c:pt idx="3049">
                  <c:v>42940</c:v>
                </c:pt>
                <c:pt idx="3050">
                  <c:v>42941</c:v>
                </c:pt>
                <c:pt idx="3051">
                  <c:v>42942</c:v>
                </c:pt>
                <c:pt idx="3052">
                  <c:v>42943</c:v>
                </c:pt>
                <c:pt idx="3053">
                  <c:v>42944</c:v>
                </c:pt>
                <c:pt idx="3054">
                  <c:v>42947</c:v>
                </c:pt>
                <c:pt idx="3055">
                  <c:v>42948</c:v>
                </c:pt>
                <c:pt idx="3056">
                  <c:v>42949</c:v>
                </c:pt>
                <c:pt idx="3057">
                  <c:v>42950</c:v>
                </c:pt>
                <c:pt idx="3058">
                  <c:v>42951</c:v>
                </c:pt>
                <c:pt idx="3059">
                  <c:v>42954</c:v>
                </c:pt>
                <c:pt idx="3060">
                  <c:v>42955</c:v>
                </c:pt>
                <c:pt idx="3061">
                  <c:v>42956</c:v>
                </c:pt>
                <c:pt idx="3062">
                  <c:v>42957</c:v>
                </c:pt>
                <c:pt idx="3063">
                  <c:v>42958</c:v>
                </c:pt>
                <c:pt idx="3064">
                  <c:v>42961</c:v>
                </c:pt>
                <c:pt idx="3065">
                  <c:v>42962</c:v>
                </c:pt>
                <c:pt idx="3066">
                  <c:v>42963</c:v>
                </c:pt>
                <c:pt idx="3067">
                  <c:v>42964</c:v>
                </c:pt>
                <c:pt idx="3068">
                  <c:v>42965</c:v>
                </c:pt>
                <c:pt idx="3069">
                  <c:v>42968</c:v>
                </c:pt>
                <c:pt idx="3070">
                  <c:v>42969</c:v>
                </c:pt>
                <c:pt idx="3071">
                  <c:v>42970</c:v>
                </c:pt>
                <c:pt idx="3072">
                  <c:v>42971</c:v>
                </c:pt>
                <c:pt idx="3073">
                  <c:v>42972</c:v>
                </c:pt>
                <c:pt idx="3074">
                  <c:v>42975</c:v>
                </c:pt>
                <c:pt idx="3075">
                  <c:v>42976</c:v>
                </c:pt>
                <c:pt idx="3076">
                  <c:v>42977</c:v>
                </c:pt>
                <c:pt idx="3077">
                  <c:v>42978</c:v>
                </c:pt>
                <c:pt idx="3078">
                  <c:v>42979</c:v>
                </c:pt>
                <c:pt idx="3079">
                  <c:v>42982</c:v>
                </c:pt>
                <c:pt idx="3080">
                  <c:v>42983</c:v>
                </c:pt>
                <c:pt idx="3081">
                  <c:v>42984</c:v>
                </c:pt>
                <c:pt idx="3082">
                  <c:v>42985</c:v>
                </c:pt>
                <c:pt idx="3083">
                  <c:v>42986</c:v>
                </c:pt>
                <c:pt idx="3084">
                  <c:v>42989</c:v>
                </c:pt>
                <c:pt idx="3085">
                  <c:v>42990</c:v>
                </c:pt>
                <c:pt idx="3086">
                  <c:v>42991</c:v>
                </c:pt>
                <c:pt idx="3087">
                  <c:v>42992</c:v>
                </c:pt>
                <c:pt idx="3088">
                  <c:v>42993</c:v>
                </c:pt>
                <c:pt idx="3089">
                  <c:v>42996</c:v>
                </c:pt>
                <c:pt idx="3090">
                  <c:v>42997</c:v>
                </c:pt>
                <c:pt idx="3091">
                  <c:v>42998</c:v>
                </c:pt>
                <c:pt idx="3092">
                  <c:v>42999</c:v>
                </c:pt>
                <c:pt idx="3093">
                  <c:v>43000</c:v>
                </c:pt>
                <c:pt idx="3094">
                  <c:v>43003</c:v>
                </c:pt>
                <c:pt idx="3095">
                  <c:v>43004</c:v>
                </c:pt>
                <c:pt idx="3096">
                  <c:v>43005</c:v>
                </c:pt>
                <c:pt idx="3097">
                  <c:v>43006</c:v>
                </c:pt>
                <c:pt idx="3098">
                  <c:v>43007</c:v>
                </c:pt>
                <c:pt idx="3099">
                  <c:v>43017</c:v>
                </c:pt>
                <c:pt idx="3100">
                  <c:v>43018</c:v>
                </c:pt>
                <c:pt idx="3101">
                  <c:v>43019</c:v>
                </c:pt>
                <c:pt idx="3102">
                  <c:v>43020</c:v>
                </c:pt>
                <c:pt idx="3103">
                  <c:v>43021</c:v>
                </c:pt>
                <c:pt idx="3104">
                  <c:v>43024</c:v>
                </c:pt>
                <c:pt idx="3105">
                  <c:v>43025</c:v>
                </c:pt>
                <c:pt idx="3106">
                  <c:v>43026</c:v>
                </c:pt>
                <c:pt idx="3107">
                  <c:v>43027</c:v>
                </c:pt>
                <c:pt idx="3108">
                  <c:v>43028</c:v>
                </c:pt>
                <c:pt idx="3109">
                  <c:v>43031</c:v>
                </c:pt>
                <c:pt idx="3110">
                  <c:v>43032</c:v>
                </c:pt>
                <c:pt idx="3111">
                  <c:v>43033</c:v>
                </c:pt>
                <c:pt idx="3112">
                  <c:v>43034</c:v>
                </c:pt>
                <c:pt idx="3113">
                  <c:v>43035</c:v>
                </c:pt>
                <c:pt idx="3114">
                  <c:v>43038</c:v>
                </c:pt>
                <c:pt idx="3115">
                  <c:v>43039</c:v>
                </c:pt>
                <c:pt idx="3116">
                  <c:v>43040</c:v>
                </c:pt>
                <c:pt idx="3117">
                  <c:v>43041</c:v>
                </c:pt>
                <c:pt idx="3118">
                  <c:v>43042</c:v>
                </c:pt>
                <c:pt idx="3119">
                  <c:v>43045</c:v>
                </c:pt>
                <c:pt idx="3120">
                  <c:v>43046</c:v>
                </c:pt>
                <c:pt idx="3121">
                  <c:v>43047</c:v>
                </c:pt>
                <c:pt idx="3122">
                  <c:v>43048</c:v>
                </c:pt>
                <c:pt idx="3123">
                  <c:v>43049</c:v>
                </c:pt>
                <c:pt idx="3124">
                  <c:v>43052</c:v>
                </c:pt>
                <c:pt idx="3125">
                  <c:v>43053</c:v>
                </c:pt>
                <c:pt idx="3126">
                  <c:v>43054</c:v>
                </c:pt>
                <c:pt idx="3127">
                  <c:v>43055</c:v>
                </c:pt>
                <c:pt idx="3128">
                  <c:v>43056</c:v>
                </c:pt>
                <c:pt idx="3129">
                  <c:v>43059</c:v>
                </c:pt>
                <c:pt idx="3130">
                  <c:v>43060</c:v>
                </c:pt>
                <c:pt idx="3131">
                  <c:v>43061</c:v>
                </c:pt>
                <c:pt idx="3132">
                  <c:v>43062</c:v>
                </c:pt>
                <c:pt idx="3133">
                  <c:v>43063</c:v>
                </c:pt>
                <c:pt idx="3134">
                  <c:v>43066</c:v>
                </c:pt>
                <c:pt idx="3135">
                  <c:v>43067</c:v>
                </c:pt>
                <c:pt idx="3136">
                  <c:v>43068</c:v>
                </c:pt>
                <c:pt idx="3137">
                  <c:v>43069</c:v>
                </c:pt>
                <c:pt idx="3138">
                  <c:v>43070</c:v>
                </c:pt>
                <c:pt idx="3139">
                  <c:v>43073</c:v>
                </c:pt>
                <c:pt idx="3140">
                  <c:v>43074</c:v>
                </c:pt>
                <c:pt idx="3141">
                  <c:v>43075</c:v>
                </c:pt>
                <c:pt idx="3142">
                  <c:v>43076</c:v>
                </c:pt>
                <c:pt idx="3143">
                  <c:v>43077</c:v>
                </c:pt>
                <c:pt idx="3144">
                  <c:v>43080</c:v>
                </c:pt>
                <c:pt idx="3145">
                  <c:v>43081</c:v>
                </c:pt>
                <c:pt idx="3146">
                  <c:v>43082</c:v>
                </c:pt>
                <c:pt idx="3147">
                  <c:v>43083</c:v>
                </c:pt>
                <c:pt idx="3148">
                  <c:v>43084</c:v>
                </c:pt>
                <c:pt idx="3149">
                  <c:v>43087</c:v>
                </c:pt>
                <c:pt idx="3150">
                  <c:v>43088</c:v>
                </c:pt>
                <c:pt idx="3151">
                  <c:v>43089</c:v>
                </c:pt>
                <c:pt idx="3152">
                  <c:v>43090</c:v>
                </c:pt>
                <c:pt idx="3153">
                  <c:v>43091</c:v>
                </c:pt>
                <c:pt idx="3154">
                  <c:v>43094</c:v>
                </c:pt>
                <c:pt idx="3155">
                  <c:v>43095</c:v>
                </c:pt>
                <c:pt idx="3156">
                  <c:v>43096</c:v>
                </c:pt>
                <c:pt idx="3157">
                  <c:v>43097</c:v>
                </c:pt>
                <c:pt idx="3158">
                  <c:v>43098</c:v>
                </c:pt>
                <c:pt idx="3159">
                  <c:v>43102</c:v>
                </c:pt>
                <c:pt idx="3160">
                  <c:v>43103</c:v>
                </c:pt>
                <c:pt idx="3161">
                  <c:v>43104</c:v>
                </c:pt>
                <c:pt idx="3162">
                  <c:v>43105</c:v>
                </c:pt>
                <c:pt idx="3163">
                  <c:v>43108</c:v>
                </c:pt>
                <c:pt idx="3164">
                  <c:v>43109</c:v>
                </c:pt>
                <c:pt idx="3165">
                  <c:v>43110</c:v>
                </c:pt>
                <c:pt idx="3166">
                  <c:v>43111</c:v>
                </c:pt>
                <c:pt idx="3167">
                  <c:v>43112</c:v>
                </c:pt>
                <c:pt idx="3168">
                  <c:v>43115</c:v>
                </c:pt>
                <c:pt idx="3169">
                  <c:v>43116</c:v>
                </c:pt>
                <c:pt idx="3170">
                  <c:v>43117</c:v>
                </c:pt>
                <c:pt idx="3171">
                  <c:v>43118</c:v>
                </c:pt>
                <c:pt idx="3172">
                  <c:v>43119</c:v>
                </c:pt>
                <c:pt idx="3173">
                  <c:v>43122</c:v>
                </c:pt>
                <c:pt idx="3174">
                  <c:v>43123</c:v>
                </c:pt>
                <c:pt idx="3175">
                  <c:v>43124</c:v>
                </c:pt>
                <c:pt idx="3176">
                  <c:v>43125</c:v>
                </c:pt>
                <c:pt idx="3177">
                  <c:v>43126</c:v>
                </c:pt>
                <c:pt idx="3178">
                  <c:v>43129</c:v>
                </c:pt>
                <c:pt idx="3179">
                  <c:v>43130</c:v>
                </c:pt>
                <c:pt idx="3180">
                  <c:v>43131</c:v>
                </c:pt>
                <c:pt idx="3181">
                  <c:v>43132</c:v>
                </c:pt>
                <c:pt idx="3182">
                  <c:v>43133</c:v>
                </c:pt>
                <c:pt idx="3183">
                  <c:v>43136</c:v>
                </c:pt>
                <c:pt idx="3184">
                  <c:v>43137</c:v>
                </c:pt>
                <c:pt idx="3185">
                  <c:v>43138</c:v>
                </c:pt>
                <c:pt idx="3186">
                  <c:v>43139</c:v>
                </c:pt>
                <c:pt idx="3187">
                  <c:v>43140</c:v>
                </c:pt>
                <c:pt idx="3188">
                  <c:v>43143</c:v>
                </c:pt>
                <c:pt idx="3189">
                  <c:v>43144</c:v>
                </c:pt>
                <c:pt idx="3190">
                  <c:v>43145</c:v>
                </c:pt>
                <c:pt idx="3191">
                  <c:v>43153</c:v>
                </c:pt>
                <c:pt idx="3192">
                  <c:v>43154</c:v>
                </c:pt>
                <c:pt idx="3193">
                  <c:v>43157</c:v>
                </c:pt>
                <c:pt idx="3194">
                  <c:v>43158</c:v>
                </c:pt>
                <c:pt idx="3195">
                  <c:v>43159</c:v>
                </c:pt>
                <c:pt idx="3196">
                  <c:v>43160</c:v>
                </c:pt>
                <c:pt idx="3197">
                  <c:v>43161</c:v>
                </c:pt>
                <c:pt idx="3198">
                  <c:v>43164</c:v>
                </c:pt>
                <c:pt idx="3199">
                  <c:v>43165</c:v>
                </c:pt>
                <c:pt idx="3200">
                  <c:v>43166</c:v>
                </c:pt>
                <c:pt idx="3201">
                  <c:v>43167</c:v>
                </c:pt>
                <c:pt idx="3202">
                  <c:v>43168</c:v>
                </c:pt>
                <c:pt idx="3203">
                  <c:v>43171</c:v>
                </c:pt>
                <c:pt idx="3204">
                  <c:v>43172</c:v>
                </c:pt>
                <c:pt idx="3205">
                  <c:v>43173</c:v>
                </c:pt>
                <c:pt idx="3206">
                  <c:v>43174</c:v>
                </c:pt>
                <c:pt idx="3207">
                  <c:v>43175</c:v>
                </c:pt>
                <c:pt idx="3208">
                  <c:v>43178</c:v>
                </c:pt>
                <c:pt idx="3209">
                  <c:v>43179</c:v>
                </c:pt>
                <c:pt idx="3210">
                  <c:v>43180</c:v>
                </c:pt>
                <c:pt idx="3211">
                  <c:v>43181</c:v>
                </c:pt>
                <c:pt idx="3212">
                  <c:v>43182</c:v>
                </c:pt>
                <c:pt idx="3213">
                  <c:v>43185</c:v>
                </c:pt>
                <c:pt idx="3214">
                  <c:v>43186</c:v>
                </c:pt>
                <c:pt idx="3215">
                  <c:v>43187</c:v>
                </c:pt>
                <c:pt idx="3216">
                  <c:v>43188</c:v>
                </c:pt>
                <c:pt idx="3217">
                  <c:v>43189</c:v>
                </c:pt>
                <c:pt idx="3218">
                  <c:v>43192</c:v>
                </c:pt>
                <c:pt idx="3219">
                  <c:v>43193</c:v>
                </c:pt>
                <c:pt idx="3220">
                  <c:v>43194</c:v>
                </c:pt>
                <c:pt idx="3221">
                  <c:v>43199</c:v>
                </c:pt>
                <c:pt idx="3222">
                  <c:v>43200</c:v>
                </c:pt>
                <c:pt idx="3223">
                  <c:v>43201</c:v>
                </c:pt>
                <c:pt idx="3224">
                  <c:v>43202</c:v>
                </c:pt>
                <c:pt idx="3225">
                  <c:v>43203</c:v>
                </c:pt>
                <c:pt idx="3226">
                  <c:v>43206</c:v>
                </c:pt>
                <c:pt idx="3227">
                  <c:v>43207</c:v>
                </c:pt>
                <c:pt idx="3228">
                  <c:v>43208</c:v>
                </c:pt>
                <c:pt idx="3229">
                  <c:v>43209</c:v>
                </c:pt>
                <c:pt idx="3230">
                  <c:v>43210</c:v>
                </c:pt>
                <c:pt idx="3231">
                  <c:v>43213</c:v>
                </c:pt>
                <c:pt idx="3232">
                  <c:v>43214</c:v>
                </c:pt>
                <c:pt idx="3233">
                  <c:v>43215</c:v>
                </c:pt>
                <c:pt idx="3234">
                  <c:v>43216</c:v>
                </c:pt>
                <c:pt idx="3235">
                  <c:v>43217</c:v>
                </c:pt>
                <c:pt idx="3236">
                  <c:v>43222</c:v>
                </c:pt>
                <c:pt idx="3237">
                  <c:v>43223</c:v>
                </c:pt>
                <c:pt idx="3238">
                  <c:v>43224</c:v>
                </c:pt>
                <c:pt idx="3239">
                  <c:v>43227</c:v>
                </c:pt>
                <c:pt idx="3240">
                  <c:v>43228</c:v>
                </c:pt>
                <c:pt idx="3241">
                  <c:v>43229</c:v>
                </c:pt>
                <c:pt idx="3242">
                  <c:v>43230</c:v>
                </c:pt>
                <c:pt idx="3243">
                  <c:v>43231</c:v>
                </c:pt>
                <c:pt idx="3244">
                  <c:v>43234</c:v>
                </c:pt>
                <c:pt idx="3245">
                  <c:v>43235</c:v>
                </c:pt>
                <c:pt idx="3246">
                  <c:v>43236</c:v>
                </c:pt>
                <c:pt idx="3247">
                  <c:v>43237</c:v>
                </c:pt>
                <c:pt idx="3248">
                  <c:v>43238</c:v>
                </c:pt>
                <c:pt idx="3249">
                  <c:v>43241</c:v>
                </c:pt>
                <c:pt idx="3250">
                  <c:v>43242</c:v>
                </c:pt>
                <c:pt idx="3251">
                  <c:v>43243</c:v>
                </c:pt>
                <c:pt idx="3252">
                  <c:v>43244</c:v>
                </c:pt>
                <c:pt idx="3253">
                  <c:v>43245</c:v>
                </c:pt>
                <c:pt idx="3254">
                  <c:v>43248</c:v>
                </c:pt>
                <c:pt idx="3255">
                  <c:v>43249</c:v>
                </c:pt>
                <c:pt idx="3256">
                  <c:v>43250</c:v>
                </c:pt>
                <c:pt idx="3257">
                  <c:v>43251</c:v>
                </c:pt>
                <c:pt idx="3258">
                  <c:v>43252</c:v>
                </c:pt>
                <c:pt idx="3259">
                  <c:v>43255</c:v>
                </c:pt>
                <c:pt idx="3260">
                  <c:v>43256</c:v>
                </c:pt>
                <c:pt idx="3261">
                  <c:v>43257</c:v>
                </c:pt>
                <c:pt idx="3262">
                  <c:v>43258</c:v>
                </c:pt>
                <c:pt idx="3263">
                  <c:v>43259</c:v>
                </c:pt>
                <c:pt idx="3264">
                  <c:v>43262</c:v>
                </c:pt>
                <c:pt idx="3265">
                  <c:v>43263</c:v>
                </c:pt>
                <c:pt idx="3266">
                  <c:v>43264</c:v>
                </c:pt>
                <c:pt idx="3267">
                  <c:v>43265</c:v>
                </c:pt>
                <c:pt idx="3268">
                  <c:v>43266</c:v>
                </c:pt>
                <c:pt idx="3269">
                  <c:v>43270</c:v>
                </c:pt>
                <c:pt idx="3270">
                  <c:v>43271</c:v>
                </c:pt>
                <c:pt idx="3271">
                  <c:v>43272</c:v>
                </c:pt>
                <c:pt idx="3272">
                  <c:v>43273</c:v>
                </c:pt>
                <c:pt idx="3273">
                  <c:v>43276</c:v>
                </c:pt>
                <c:pt idx="3274">
                  <c:v>43277</c:v>
                </c:pt>
                <c:pt idx="3275">
                  <c:v>43278</c:v>
                </c:pt>
                <c:pt idx="3276">
                  <c:v>43279</c:v>
                </c:pt>
                <c:pt idx="3277">
                  <c:v>43280</c:v>
                </c:pt>
                <c:pt idx="3278">
                  <c:v>43283</c:v>
                </c:pt>
                <c:pt idx="3279">
                  <c:v>43284</c:v>
                </c:pt>
                <c:pt idx="3280">
                  <c:v>43285</c:v>
                </c:pt>
                <c:pt idx="3281">
                  <c:v>43286</c:v>
                </c:pt>
                <c:pt idx="3282">
                  <c:v>43287</c:v>
                </c:pt>
                <c:pt idx="3283">
                  <c:v>43290</c:v>
                </c:pt>
                <c:pt idx="3284">
                  <c:v>43291</c:v>
                </c:pt>
                <c:pt idx="3285">
                  <c:v>43292</c:v>
                </c:pt>
                <c:pt idx="3286">
                  <c:v>43293</c:v>
                </c:pt>
                <c:pt idx="3287">
                  <c:v>43294</c:v>
                </c:pt>
                <c:pt idx="3288">
                  <c:v>43297</c:v>
                </c:pt>
                <c:pt idx="3289">
                  <c:v>43298</c:v>
                </c:pt>
                <c:pt idx="3290">
                  <c:v>43299</c:v>
                </c:pt>
                <c:pt idx="3291">
                  <c:v>43300</c:v>
                </c:pt>
                <c:pt idx="3292">
                  <c:v>43301</c:v>
                </c:pt>
                <c:pt idx="3293">
                  <c:v>43304</c:v>
                </c:pt>
                <c:pt idx="3294">
                  <c:v>43305</c:v>
                </c:pt>
                <c:pt idx="3295">
                  <c:v>43306</c:v>
                </c:pt>
                <c:pt idx="3296">
                  <c:v>43307</c:v>
                </c:pt>
                <c:pt idx="3297">
                  <c:v>43308</c:v>
                </c:pt>
                <c:pt idx="3298">
                  <c:v>43311</c:v>
                </c:pt>
                <c:pt idx="3299">
                  <c:v>43312</c:v>
                </c:pt>
                <c:pt idx="3300">
                  <c:v>43313</c:v>
                </c:pt>
                <c:pt idx="3301">
                  <c:v>43314</c:v>
                </c:pt>
                <c:pt idx="3302">
                  <c:v>43315</c:v>
                </c:pt>
                <c:pt idx="3303">
                  <c:v>43318</c:v>
                </c:pt>
                <c:pt idx="3304">
                  <c:v>43319</c:v>
                </c:pt>
                <c:pt idx="3305">
                  <c:v>43320</c:v>
                </c:pt>
                <c:pt idx="3306">
                  <c:v>43321</c:v>
                </c:pt>
                <c:pt idx="3307">
                  <c:v>43322</c:v>
                </c:pt>
                <c:pt idx="3308">
                  <c:v>43325</c:v>
                </c:pt>
                <c:pt idx="3309">
                  <c:v>43326</c:v>
                </c:pt>
                <c:pt idx="3310">
                  <c:v>43327</c:v>
                </c:pt>
                <c:pt idx="3311">
                  <c:v>43328</c:v>
                </c:pt>
                <c:pt idx="3312">
                  <c:v>43329</c:v>
                </c:pt>
                <c:pt idx="3313">
                  <c:v>43332</c:v>
                </c:pt>
                <c:pt idx="3314">
                  <c:v>43333</c:v>
                </c:pt>
                <c:pt idx="3315">
                  <c:v>43334</c:v>
                </c:pt>
                <c:pt idx="3316">
                  <c:v>43335</c:v>
                </c:pt>
                <c:pt idx="3317">
                  <c:v>43336</c:v>
                </c:pt>
                <c:pt idx="3318">
                  <c:v>43339</c:v>
                </c:pt>
                <c:pt idx="3319">
                  <c:v>43340</c:v>
                </c:pt>
                <c:pt idx="3320">
                  <c:v>43341</c:v>
                </c:pt>
                <c:pt idx="3321">
                  <c:v>43342</c:v>
                </c:pt>
                <c:pt idx="3322">
                  <c:v>43343</c:v>
                </c:pt>
                <c:pt idx="3323">
                  <c:v>43346</c:v>
                </c:pt>
                <c:pt idx="3324">
                  <c:v>43347</c:v>
                </c:pt>
                <c:pt idx="3325">
                  <c:v>43348</c:v>
                </c:pt>
                <c:pt idx="3326">
                  <c:v>43349</c:v>
                </c:pt>
                <c:pt idx="3327">
                  <c:v>43350</c:v>
                </c:pt>
                <c:pt idx="3328">
                  <c:v>43353</c:v>
                </c:pt>
                <c:pt idx="3329">
                  <c:v>43354</c:v>
                </c:pt>
                <c:pt idx="3330">
                  <c:v>43355</c:v>
                </c:pt>
                <c:pt idx="3331">
                  <c:v>43356</c:v>
                </c:pt>
                <c:pt idx="3332">
                  <c:v>43357</c:v>
                </c:pt>
                <c:pt idx="3333">
                  <c:v>43360</c:v>
                </c:pt>
                <c:pt idx="3334">
                  <c:v>43361</c:v>
                </c:pt>
                <c:pt idx="3335">
                  <c:v>43362</c:v>
                </c:pt>
                <c:pt idx="3336">
                  <c:v>43363</c:v>
                </c:pt>
                <c:pt idx="3337">
                  <c:v>43364</c:v>
                </c:pt>
                <c:pt idx="3338">
                  <c:v>43368</c:v>
                </c:pt>
                <c:pt idx="3339">
                  <c:v>43369</c:v>
                </c:pt>
                <c:pt idx="3340">
                  <c:v>43370</c:v>
                </c:pt>
                <c:pt idx="3341">
                  <c:v>43371</c:v>
                </c:pt>
                <c:pt idx="3342">
                  <c:v>43381</c:v>
                </c:pt>
                <c:pt idx="3343">
                  <c:v>43382</c:v>
                </c:pt>
                <c:pt idx="3344">
                  <c:v>43383</c:v>
                </c:pt>
                <c:pt idx="3345">
                  <c:v>43384</c:v>
                </c:pt>
                <c:pt idx="3346">
                  <c:v>43385</c:v>
                </c:pt>
                <c:pt idx="3347">
                  <c:v>43388</c:v>
                </c:pt>
                <c:pt idx="3348">
                  <c:v>43389</c:v>
                </c:pt>
                <c:pt idx="3349">
                  <c:v>43390</c:v>
                </c:pt>
                <c:pt idx="3350">
                  <c:v>43391</c:v>
                </c:pt>
                <c:pt idx="3351">
                  <c:v>43392</c:v>
                </c:pt>
                <c:pt idx="3352">
                  <c:v>43395</c:v>
                </c:pt>
                <c:pt idx="3353">
                  <c:v>43396</c:v>
                </c:pt>
                <c:pt idx="3354">
                  <c:v>43397</c:v>
                </c:pt>
                <c:pt idx="3355">
                  <c:v>43398</c:v>
                </c:pt>
                <c:pt idx="3356">
                  <c:v>43399</c:v>
                </c:pt>
                <c:pt idx="3357">
                  <c:v>43402</c:v>
                </c:pt>
                <c:pt idx="3358">
                  <c:v>43403</c:v>
                </c:pt>
                <c:pt idx="3359">
                  <c:v>43404</c:v>
                </c:pt>
                <c:pt idx="3360">
                  <c:v>43405</c:v>
                </c:pt>
                <c:pt idx="3361">
                  <c:v>43406</c:v>
                </c:pt>
                <c:pt idx="3362">
                  <c:v>43409</c:v>
                </c:pt>
                <c:pt idx="3363">
                  <c:v>43410</c:v>
                </c:pt>
                <c:pt idx="3364">
                  <c:v>43411</c:v>
                </c:pt>
                <c:pt idx="3365">
                  <c:v>43412</c:v>
                </c:pt>
                <c:pt idx="3366">
                  <c:v>43413</c:v>
                </c:pt>
                <c:pt idx="3367">
                  <c:v>43416</c:v>
                </c:pt>
                <c:pt idx="3368">
                  <c:v>43417</c:v>
                </c:pt>
                <c:pt idx="3369">
                  <c:v>43418</c:v>
                </c:pt>
                <c:pt idx="3370">
                  <c:v>43419</c:v>
                </c:pt>
                <c:pt idx="3371">
                  <c:v>43420</c:v>
                </c:pt>
                <c:pt idx="3372">
                  <c:v>43423</c:v>
                </c:pt>
                <c:pt idx="3373">
                  <c:v>43424</c:v>
                </c:pt>
                <c:pt idx="3374">
                  <c:v>43425</c:v>
                </c:pt>
                <c:pt idx="3375">
                  <c:v>43426</c:v>
                </c:pt>
                <c:pt idx="3376">
                  <c:v>43427</c:v>
                </c:pt>
                <c:pt idx="3377">
                  <c:v>43430</c:v>
                </c:pt>
                <c:pt idx="3378">
                  <c:v>43431</c:v>
                </c:pt>
                <c:pt idx="3379">
                  <c:v>43432</c:v>
                </c:pt>
                <c:pt idx="3380">
                  <c:v>43433</c:v>
                </c:pt>
                <c:pt idx="3381">
                  <c:v>43434</c:v>
                </c:pt>
                <c:pt idx="3382">
                  <c:v>43437</c:v>
                </c:pt>
                <c:pt idx="3383">
                  <c:v>43438</c:v>
                </c:pt>
                <c:pt idx="3384">
                  <c:v>43439</c:v>
                </c:pt>
                <c:pt idx="3385">
                  <c:v>43440</c:v>
                </c:pt>
                <c:pt idx="3386">
                  <c:v>43441</c:v>
                </c:pt>
                <c:pt idx="3387">
                  <c:v>43444</c:v>
                </c:pt>
                <c:pt idx="3388">
                  <c:v>43445</c:v>
                </c:pt>
                <c:pt idx="3389">
                  <c:v>43446</c:v>
                </c:pt>
                <c:pt idx="3390">
                  <c:v>43447</c:v>
                </c:pt>
                <c:pt idx="3391">
                  <c:v>43448</c:v>
                </c:pt>
                <c:pt idx="3392">
                  <c:v>43451</c:v>
                </c:pt>
                <c:pt idx="3393">
                  <c:v>43452</c:v>
                </c:pt>
                <c:pt idx="3394">
                  <c:v>43453</c:v>
                </c:pt>
                <c:pt idx="3395">
                  <c:v>43454</c:v>
                </c:pt>
                <c:pt idx="3396">
                  <c:v>43455</c:v>
                </c:pt>
                <c:pt idx="3397">
                  <c:v>43458</c:v>
                </c:pt>
                <c:pt idx="3398">
                  <c:v>43459</c:v>
                </c:pt>
                <c:pt idx="3399">
                  <c:v>43460</c:v>
                </c:pt>
                <c:pt idx="3400">
                  <c:v>43461</c:v>
                </c:pt>
                <c:pt idx="3401">
                  <c:v>43462</c:v>
                </c:pt>
                <c:pt idx="3402">
                  <c:v>43467</c:v>
                </c:pt>
                <c:pt idx="3403">
                  <c:v>43468</c:v>
                </c:pt>
                <c:pt idx="3404">
                  <c:v>43469</c:v>
                </c:pt>
                <c:pt idx="3405">
                  <c:v>43472</c:v>
                </c:pt>
                <c:pt idx="3406">
                  <c:v>43473</c:v>
                </c:pt>
                <c:pt idx="3407">
                  <c:v>43474</c:v>
                </c:pt>
                <c:pt idx="3408">
                  <c:v>43475</c:v>
                </c:pt>
                <c:pt idx="3409">
                  <c:v>43476</c:v>
                </c:pt>
                <c:pt idx="3410">
                  <c:v>43479</c:v>
                </c:pt>
                <c:pt idx="3411">
                  <c:v>43480</c:v>
                </c:pt>
                <c:pt idx="3412">
                  <c:v>43481</c:v>
                </c:pt>
                <c:pt idx="3413">
                  <c:v>43482</c:v>
                </c:pt>
                <c:pt idx="3414">
                  <c:v>43483</c:v>
                </c:pt>
                <c:pt idx="3415">
                  <c:v>43486</c:v>
                </c:pt>
                <c:pt idx="3416">
                  <c:v>43487</c:v>
                </c:pt>
                <c:pt idx="3417">
                  <c:v>43488</c:v>
                </c:pt>
                <c:pt idx="3418">
                  <c:v>43489</c:v>
                </c:pt>
                <c:pt idx="3419">
                  <c:v>43490</c:v>
                </c:pt>
                <c:pt idx="3420">
                  <c:v>43493</c:v>
                </c:pt>
                <c:pt idx="3421">
                  <c:v>43494</c:v>
                </c:pt>
                <c:pt idx="3422">
                  <c:v>43495</c:v>
                </c:pt>
                <c:pt idx="3423">
                  <c:v>43496</c:v>
                </c:pt>
                <c:pt idx="3424">
                  <c:v>43497</c:v>
                </c:pt>
                <c:pt idx="3425">
                  <c:v>43507</c:v>
                </c:pt>
                <c:pt idx="3426">
                  <c:v>43508</c:v>
                </c:pt>
                <c:pt idx="3427">
                  <c:v>43509</c:v>
                </c:pt>
                <c:pt idx="3428">
                  <c:v>43510</c:v>
                </c:pt>
                <c:pt idx="3429">
                  <c:v>43511</c:v>
                </c:pt>
                <c:pt idx="3430">
                  <c:v>43514</c:v>
                </c:pt>
                <c:pt idx="3431">
                  <c:v>43515</c:v>
                </c:pt>
                <c:pt idx="3432">
                  <c:v>43516</c:v>
                </c:pt>
                <c:pt idx="3433">
                  <c:v>43517</c:v>
                </c:pt>
                <c:pt idx="3434">
                  <c:v>43518</c:v>
                </c:pt>
                <c:pt idx="3435">
                  <c:v>43521</c:v>
                </c:pt>
                <c:pt idx="3436">
                  <c:v>43522</c:v>
                </c:pt>
                <c:pt idx="3437">
                  <c:v>43523</c:v>
                </c:pt>
                <c:pt idx="3438">
                  <c:v>43524</c:v>
                </c:pt>
                <c:pt idx="3439">
                  <c:v>43525</c:v>
                </c:pt>
                <c:pt idx="3440">
                  <c:v>43528</c:v>
                </c:pt>
                <c:pt idx="3441">
                  <c:v>43529</c:v>
                </c:pt>
                <c:pt idx="3442">
                  <c:v>43530</c:v>
                </c:pt>
                <c:pt idx="3443">
                  <c:v>43531</c:v>
                </c:pt>
                <c:pt idx="3444">
                  <c:v>43532</c:v>
                </c:pt>
                <c:pt idx="3445">
                  <c:v>43535</c:v>
                </c:pt>
                <c:pt idx="3446">
                  <c:v>43536</c:v>
                </c:pt>
                <c:pt idx="3447">
                  <c:v>43537</c:v>
                </c:pt>
                <c:pt idx="3448">
                  <c:v>43538</c:v>
                </c:pt>
                <c:pt idx="3449">
                  <c:v>43539</c:v>
                </c:pt>
                <c:pt idx="3450">
                  <c:v>43542</c:v>
                </c:pt>
                <c:pt idx="3451">
                  <c:v>43543</c:v>
                </c:pt>
                <c:pt idx="3452">
                  <c:v>43544</c:v>
                </c:pt>
                <c:pt idx="3453">
                  <c:v>43545</c:v>
                </c:pt>
                <c:pt idx="3454">
                  <c:v>43546</c:v>
                </c:pt>
                <c:pt idx="3455">
                  <c:v>43549</c:v>
                </c:pt>
                <c:pt idx="3456">
                  <c:v>43550</c:v>
                </c:pt>
                <c:pt idx="3457">
                  <c:v>43551</c:v>
                </c:pt>
                <c:pt idx="3458">
                  <c:v>43552</c:v>
                </c:pt>
                <c:pt idx="3459">
                  <c:v>43553</c:v>
                </c:pt>
                <c:pt idx="3460">
                  <c:v>43556</c:v>
                </c:pt>
                <c:pt idx="3461">
                  <c:v>43557</c:v>
                </c:pt>
                <c:pt idx="3462">
                  <c:v>43558</c:v>
                </c:pt>
                <c:pt idx="3463">
                  <c:v>43559</c:v>
                </c:pt>
                <c:pt idx="3464">
                  <c:v>43563</c:v>
                </c:pt>
                <c:pt idx="3465">
                  <c:v>43564</c:v>
                </c:pt>
                <c:pt idx="3466">
                  <c:v>43565</c:v>
                </c:pt>
                <c:pt idx="3467">
                  <c:v>43566</c:v>
                </c:pt>
                <c:pt idx="3468">
                  <c:v>43567</c:v>
                </c:pt>
                <c:pt idx="3469">
                  <c:v>43570</c:v>
                </c:pt>
                <c:pt idx="3470">
                  <c:v>43571</c:v>
                </c:pt>
                <c:pt idx="3471">
                  <c:v>43572</c:v>
                </c:pt>
                <c:pt idx="3472">
                  <c:v>43573</c:v>
                </c:pt>
                <c:pt idx="3473">
                  <c:v>43574</c:v>
                </c:pt>
                <c:pt idx="3474">
                  <c:v>43577</c:v>
                </c:pt>
                <c:pt idx="3475">
                  <c:v>43578</c:v>
                </c:pt>
                <c:pt idx="3476">
                  <c:v>43579</c:v>
                </c:pt>
                <c:pt idx="3477">
                  <c:v>43580</c:v>
                </c:pt>
                <c:pt idx="3478">
                  <c:v>43581</c:v>
                </c:pt>
                <c:pt idx="3479">
                  <c:v>43584</c:v>
                </c:pt>
                <c:pt idx="3480">
                  <c:v>43585</c:v>
                </c:pt>
                <c:pt idx="3481">
                  <c:v>43591</c:v>
                </c:pt>
                <c:pt idx="3482">
                  <c:v>43592</c:v>
                </c:pt>
                <c:pt idx="3483">
                  <c:v>43593</c:v>
                </c:pt>
                <c:pt idx="3484">
                  <c:v>43594</c:v>
                </c:pt>
                <c:pt idx="3485">
                  <c:v>43595</c:v>
                </c:pt>
                <c:pt idx="3486">
                  <c:v>43598</c:v>
                </c:pt>
                <c:pt idx="3487">
                  <c:v>43599</c:v>
                </c:pt>
                <c:pt idx="3488">
                  <c:v>43600</c:v>
                </c:pt>
                <c:pt idx="3489">
                  <c:v>43601</c:v>
                </c:pt>
                <c:pt idx="3490">
                  <c:v>43602</c:v>
                </c:pt>
                <c:pt idx="3491">
                  <c:v>43605</c:v>
                </c:pt>
                <c:pt idx="3492">
                  <c:v>43606</c:v>
                </c:pt>
                <c:pt idx="3493">
                  <c:v>43607</c:v>
                </c:pt>
                <c:pt idx="3494">
                  <c:v>43608</c:v>
                </c:pt>
                <c:pt idx="3495">
                  <c:v>43609</c:v>
                </c:pt>
                <c:pt idx="3496">
                  <c:v>43612</c:v>
                </c:pt>
                <c:pt idx="3497">
                  <c:v>43613</c:v>
                </c:pt>
                <c:pt idx="3498">
                  <c:v>43614</c:v>
                </c:pt>
                <c:pt idx="3499">
                  <c:v>43615</c:v>
                </c:pt>
                <c:pt idx="3500">
                  <c:v>43616</c:v>
                </c:pt>
                <c:pt idx="3501">
                  <c:v>43619</c:v>
                </c:pt>
                <c:pt idx="3502">
                  <c:v>43620</c:v>
                </c:pt>
                <c:pt idx="3503">
                  <c:v>43621</c:v>
                </c:pt>
                <c:pt idx="3504">
                  <c:v>43622</c:v>
                </c:pt>
                <c:pt idx="3505">
                  <c:v>43626</c:v>
                </c:pt>
                <c:pt idx="3506">
                  <c:v>43627</c:v>
                </c:pt>
                <c:pt idx="3507">
                  <c:v>43628</c:v>
                </c:pt>
                <c:pt idx="3508">
                  <c:v>43629</c:v>
                </c:pt>
                <c:pt idx="3509">
                  <c:v>43630</c:v>
                </c:pt>
                <c:pt idx="3510">
                  <c:v>43633</c:v>
                </c:pt>
                <c:pt idx="3511">
                  <c:v>43634</c:v>
                </c:pt>
                <c:pt idx="3512">
                  <c:v>43635</c:v>
                </c:pt>
                <c:pt idx="3513">
                  <c:v>43636</c:v>
                </c:pt>
                <c:pt idx="3514">
                  <c:v>43637</c:v>
                </c:pt>
                <c:pt idx="3515">
                  <c:v>43640</c:v>
                </c:pt>
                <c:pt idx="3516">
                  <c:v>43641</c:v>
                </c:pt>
                <c:pt idx="3517">
                  <c:v>43642</c:v>
                </c:pt>
                <c:pt idx="3518">
                  <c:v>43643</c:v>
                </c:pt>
                <c:pt idx="3519">
                  <c:v>43644</c:v>
                </c:pt>
                <c:pt idx="3520">
                  <c:v>43647</c:v>
                </c:pt>
                <c:pt idx="3521">
                  <c:v>43648</c:v>
                </c:pt>
                <c:pt idx="3522">
                  <c:v>43649</c:v>
                </c:pt>
                <c:pt idx="3523">
                  <c:v>43650</c:v>
                </c:pt>
                <c:pt idx="3524">
                  <c:v>43651</c:v>
                </c:pt>
                <c:pt idx="3525">
                  <c:v>43654</c:v>
                </c:pt>
                <c:pt idx="3526">
                  <c:v>43655</c:v>
                </c:pt>
                <c:pt idx="3527">
                  <c:v>43656</c:v>
                </c:pt>
                <c:pt idx="3528">
                  <c:v>43657</c:v>
                </c:pt>
                <c:pt idx="3529">
                  <c:v>43658</c:v>
                </c:pt>
                <c:pt idx="3530">
                  <c:v>43661</c:v>
                </c:pt>
                <c:pt idx="3531">
                  <c:v>43662</c:v>
                </c:pt>
                <c:pt idx="3532">
                  <c:v>43663</c:v>
                </c:pt>
                <c:pt idx="3533">
                  <c:v>43664</c:v>
                </c:pt>
                <c:pt idx="3534">
                  <c:v>43665</c:v>
                </c:pt>
                <c:pt idx="3535">
                  <c:v>43668</c:v>
                </c:pt>
                <c:pt idx="3536">
                  <c:v>43669</c:v>
                </c:pt>
                <c:pt idx="3537">
                  <c:v>43670</c:v>
                </c:pt>
                <c:pt idx="3538">
                  <c:v>43671</c:v>
                </c:pt>
                <c:pt idx="3539">
                  <c:v>43672</c:v>
                </c:pt>
                <c:pt idx="3540">
                  <c:v>43675</c:v>
                </c:pt>
                <c:pt idx="3541">
                  <c:v>43676</c:v>
                </c:pt>
                <c:pt idx="3542">
                  <c:v>43677</c:v>
                </c:pt>
                <c:pt idx="3543">
                  <c:v>43678</c:v>
                </c:pt>
                <c:pt idx="3544">
                  <c:v>43679</c:v>
                </c:pt>
                <c:pt idx="3545">
                  <c:v>43682</c:v>
                </c:pt>
                <c:pt idx="3546">
                  <c:v>43683</c:v>
                </c:pt>
                <c:pt idx="3547">
                  <c:v>43684</c:v>
                </c:pt>
                <c:pt idx="3548">
                  <c:v>43685</c:v>
                </c:pt>
                <c:pt idx="3549">
                  <c:v>43686</c:v>
                </c:pt>
                <c:pt idx="3550">
                  <c:v>43689</c:v>
                </c:pt>
                <c:pt idx="3551">
                  <c:v>43690</c:v>
                </c:pt>
                <c:pt idx="3552">
                  <c:v>43691</c:v>
                </c:pt>
                <c:pt idx="3553">
                  <c:v>43692</c:v>
                </c:pt>
                <c:pt idx="3554">
                  <c:v>43693</c:v>
                </c:pt>
                <c:pt idx="3555">
                  <c:v>43696</c:v>
                </c:pt>
                <c:pt idx="3556">
                  <c:v>43697</c:v>
                </c:pt>
                <c:pt idx="3557">
                  <c:v>43698</c:v>
                </c:pt>
                <c:pt idx="3558">
                  <c:v>43699</c:v>
                </c:pt>
                <c:pt idx="3559">
                  <c:v>43700</c:v>
                </c:pt>
                <c:pt idx="3560">
                  <c:v>43703</c:v>
                </c:pt>
                <c:pt idx="3561">
                  <c:v>43704</c:v>
                </c:pt>
                <c:pt idx="3562">
                  <c:v>43705</c:v>
                </c:pt>
                <c:pt idx="3563">
                  <c:v>43706</c:v>
                </c:pt>
                <c:pt idx="3564">
                  <c:v>43707</c:v>
                </c:pt>
                <c:pt idx="3565">
                  <c:v>43710</c:v>
                </c:pt>
                <c:pt idx="3566">
                  <c:v>43711</c:v>
                </c:pt>
                <c:pt idx="3567">
                  <c:v>43712</c:v>
                </c:pt>
                <c:pt idx="3568">
                  <c:v>43713</c:v>
                </c:pt>
                <c:pt idx="3569">
                  <c:v>43714</c:v>
                </c:pt>
                <c:pt idx="3570">
                  <c:v>43717</c:v>
                </c:pt>
                <c:pt idx="3571">
                  <c:v>43718</c:v>
                </c:pt>
                <c:pt idx="3572">
                  <c:v>43719</c:v>
                </c:pt>
                <c:pt idx="3573">
                  <c:v>43720</c:v>
                </c:pt>
                <c:pt idx="3574">
                  <c:v>43724</c:v>
                </c:pt>
                <c:pt idx="3575">
                  <c:v>43725</c:v>
                </c:pt>
                <c:pt idx="3576">
                  <c:v>43726</c:v>
                </c:pt>
                <c:pt idx="3577">
                  <c:v>43727</c:v>
                </c:pt>
                <c:pt idx="3578">
                  <c:v>43728</c:v>
                </c:pt>
                <c:pt idx="3579">
                  <c:v>43731</c:v>
                </c:pt>
                <c:pt idx="3580">
                  <c:v>43732</c:v>
                </c:pt>
                <c:pt idx="3581">
                  <c:v>43733</c:v>
                </c:pt>
                <c:pt idx="3582">
                  <c:v>43734</c:v>
                </c:pt>
                <c:pt idx="3583">
                  <c:v>43735</c:v>
                </c:pt>
                <c:pt idx="3584">
                  <c:v>43738</c:v>
                </c:pt>
                <c:pt idx="3585">
                  <c:v>43746</c:v>
                </c:pt>
                <c:pt idx="3586">
                  <c:v>43747</c:v>
                </c:pt>
                <c:pt idx="3587">
                  <c:v>43748</c:v>
                </c:pt>
                <c:pt idx="3588">
                  <c:v>43749</c:v>
                </c:pt>
                <c:pt idx="3589">
                  <c:v>43752</c:v>
                </c:pt>
                <c:pt idx="3590">
                  <c:v>43753</c:v>
                </c:pt>
                <c:pt idx="3591">
                  <c:v>43754</c:v>
                </c:pt>
                <c:pt idx="3592">
                  <c:v>43755</c:v>
                </c:pt>
                <c:pt idx="3593">
                  <c:v>43756</c:v>
                </c:pt>
                <c:pt idx="3594">
                  <c:v>43759</c:v>
                </c:pt>
                <c:pt idx="3595">
                  <c:v>43760</c:v>
                </c:pt>
                <c:pt idx="3596">
                  <c:v>43761</c:v>
                </c:pt>
                <c:pt idx="3597">
                  <c:v>43762</c:v>
                </c:pt>
                <c:pt idx="3598">
                  <c:v>43763</c:v>
                </c:pt>
                <c:pt idx="3599">
                  <c:v>43766</c:v>
                </c:pt>
                <c:pt idx="3600">
                  <c:v>43767</c:v>
                </c:pt>
                <c:pt idx="3601">
                  <c:v>43768</c:v>
                </c:pt>
                <c:pt idx="3602">
                  <c:v>43769</c:v>
                </c:pt>
                <c:pt idx="3603">
                  <c:v>43770</c:v>
                </c:pt>
                <c:pt idx="3604">
                  <c:v>43773</c:v>
                </c:pt>
                <c:pt idx="3605">
                  <c:v>43774</c:v>
                </c:pt>
                <c:pt idx="3606">
                  <c:v>43775</c:v>
                </c:pt>
                <c:pt idx="3607">
                  <c:v>43776</c:v>
                </c:pt>
                <c:pt idx="3608">
                  <c:v>43777</c:v>
                </c:pt>
                <c:pt idx="3609">
                  <c:v>43780</c:v>
                </c:pt>
                <c:pt idx="3610">
                  <c:v>43781</c:v>
                </c:pt>
                <c:pt idx="3611">
                  <c:v>43782</c:v>
                </c:pt>
                <c:pt idx="3612">
                  <c:v>43783</c:v>
                </c:pt>
                <c:pt idx="3613">
                  <c:v>43784</c:v>
                </c:pt>
                <c:pt idx="3614">
                  <c:v>43787</c:v>
                </c:pt>
                <c:pt idx="3615">
                  <c:v>43788</c:v>
                </c:pt>
                <c:pt idx="3616">
                  <c:v>43789</c:v>
                </c:pt>
                <c:pt idx="3617">
                  <c:v>43790</c:v>
                </c:pt>
                <c:pt idx="3618">
                  <c:v>43791</c:v>
                </c:pt>
                <c:pt idx="3619">
                  <c:v>43794</c:v>
                </c:pt>
                <c:pt idx="3620">
                  <c:v>43795</c:v>
                </c:pt>
                <c:pt idx="3621">
                  <c:v>43796</c:v>
                </c:pt>
                <c:pt idx="3622">
                  <c:v>43797</c:v>
                </c:pt>
                <c:pt idx="3623">
                  <c:v>43798</c:v>
                </c:pt>
                <c:pt idx="3624">
                  <c:v>43801</c:v>
                </c:pt>
                <c:pt idx="3625">
                  <c:v>43802</c:v>
                </c:pt>
                <c:pt idx="3626">
                  <c:v>43803</c:v>
                </c:pt>
                <c:pt idx="3627">
                  <c:v>43804</c:v>
                </c:pt>
                <c:pt idx="3628">
                  <c:v>43805</c:v>
                </c:pt>
                <c:pt idx="3629">
                  <c:v>43808</c:v>
                </c:pt>
                <c:pt idx="3630">
                  <c:v>43809</c:v>
                </c:pt>
                <c:pt idx="3631">
                  <c:v>43810</c:v>
                </c:pt>
                <c:pt idx="3632">
                  <c:v>43811</c:v>
                </c:pt>
                <c:pt idx="3633">
                  <c:v>43812</c:v>
                </c:pt>
                <c:pt idx="3634">
                  <c:v>43815</c:v>
                </c:pt>
                <c:pt idx="3635">
                  <c:v>43816</c:v>
                </c:pt>
                <c:pt idx="3636">
                  <c:v>43817</c:v>
                </c:pt>
                <c:pt idx="3637">
                  <c:v>43818</c:v>
                </c:pt>
                <c:pt idx="3638">
                  <c:v>43819</c:v>
                </c:pt>
                <c:pt idx="3639">
                  <c:v>43822</c:v>
                </c:pt>
                <c:pt idx="3640">
                  <c:v>43823</c:v>
                </c:pt>
                <c:pt idx="3641">
                  <c:v>43824</c:v>
                </c:pt>
                <c:pt idx="3642">
                  <c:v>43825</c:v>
                </c:pt>
                <c:pt idx="3643">
                  <c:v>43826</c:v>
                </c:pt>
                <c:pt idx="3644">
                  <c:v>43829</c:v>
                </c:pt>
                <c:pt idx="3645">
                  <c:v>43830</c:v>
                </c:pt>
                <c:pt idx="3646">
                  <c:v>43832</c:v>
                </c:pt>
                <c:pt idx="3647">
                  <c:v>43833</c:v>
                </c:pt>
                <c:pt idx="3648">
                  <c:v>43836</c:v>
                </c:pt>
                <c:pt idx="3649">
                  <c:v>43837</c:v>
                </c:pt>
                <c:pt idx="3650">
                  <c:v>43838</c:v>
                </c:pt>
                <c:pt idx="3651">
                  <c:v>43839</c:v>
                </c:pt>
                <c:pt idx="3652">
                  <c:v>43840</c:v>
                </c:pt>
                <c:pt idx="3653">
                  <c:v>43843</c:v>
                </c:pt>
                <c:pt idx="3654">
                  <c:v>43844</c:v>
                </c:pt>
                <c:pt idx="3655">
                  <c:v>43845</c:v>
                </c:pt>
                <c:pt idx="3656">
                  <c:v>43846</c:v>
                </c:pt>
                <c:pt idx="3657">
                  <c:v>43847</c:v>
                </c:pt>
                <c:pt idx="3658">
                  <c:v>43850</c:v>
                </c:pt>
                <c:pt idx="3659">
                  <c:v>43851</c:v>
                </c:pt>
                <c:pt idx="3660">
                  <c:v>43852</c:v>
                </c:pt>
                <c:pt idx="3661">
                  <c:v>43853</c:v>
                </c:pt>
                <c:pt idx="3662">
                  <c:v>43864</c:v>
                </c:pt>
                <c:pt idx="3663">
                  <c:v>43865</c:v>
                </c:pt>
                <c:pt idx="3664">
                  <c:v>43866</c:v>
                </c:pt>
                <c:pt idx="3665">
                  <c:v>43867</c:v>
                </c:pt>
                <c:pt idx="3666">
                  <c:v>43868</c:v>
                </c:pt>
                <c:pt idx="3667">
                  <c:v>43871</c:v>
                </c:pt>
                <c:pt idx="3668">
                  <c:v>43872</c:v>
                </c:pt>
                <c:pt idx="3669">
                  <c:v>43873</c:v>
                </c:pt>
                <c:pt idx="3670">
                  <c:v>43874</c:v>
                </c:pt>
                <c:pt idx="3671">
                  <c:v>43875</c:v>
                </c:pt>
                <c:pt idx="3672">
                  <c:v>43878</c:v>
                </c:pt>
                <c:pt idx="3673">
                  <c:v>43879</c:v>
                </c:pt>
                <c:pt idx="3674">
                  <c:v>43880</c:v>
                </c:pt>
                <c:pt idx="3675">
                  <c:v>43881</c:v>
                </c:pt>
                <c:pt idx="3676">
                  <c:v>43882</c:v>
                </c:pt>
                <c:pt idx="3677">
                  <c:v>43885</c:v>
                </c:pt>
                <c:pt idx="3678">
                  <c:v>43886</c:v>
                </c:pt>
                <c:pt idx="3679">
                  <c:v>43887</c:v>
                </c:pt>
                <c:pt idx="3680">
                  <c:v>43888</c:v>
                </c:pt>
                <c:pt idx="3681">
                  <c:v>43889</c:v>
                </c:pt>
                <c:pt idx="3682">
                  <c:v>43892</c:v>
                </c:pt>
                <c:pt idx="3683">
                  <c:v>43893</c:v>
                </c:pt>
                <c:pt idx="3684">
                  <c:v>43894</c:v>
                </c:pt>
                <c:pt idx="3685">
                  <c:v>43895</c:v>
                </c:pt>
                <c:pt idx="3686">
                  <c:v>43896</c:v>
                </c:pt>
                <c:pt idx="3687">
                  <c:v>43899</c:v>
                </c:pt>
                <c:pt idx="3688">
                  <c:v>43900</c:v>
                </c:pt>
                <c:pt idx="3689">
                  <c:v>43901</c:v>
                </c:pt>
                <c:pt idx="3690">
                  <c:v>43902</c:v>
                </c:pt>
                <c:pt idx="3691">
                  <c:v>43903</c:v>
                </c:pt>
                <c:pt idx="3692">
                  <c:v>43906</c:v>
                </c:pt>
                <c:pt idx="3693">
                  <c:v>43907</c:v>
                </c:pt>
                <c:pt idx="3694">
                  <c:v>43908</c:v>
                </c:pt>
                <c:pt idx="3695">
                  <c:v>43909</c:v>
                </c:pt>
                <c:pt idx="3696">
                  <c:v>43910</c:v>
                </c:pt>
                <c:pt idx="3697">
                  <c:v>43913</c:v>
                </c:pt>
                <c:pt idx="3698">
                  <c:v>43914</c:v>
                </c:pt>
                <c:pt idx="3699">
                  <c:v>43915</c:v>
                </c:pt>
                <c:pt idx="3700">
                  <c:v>43916</c:v>
                </c:pt>
                <c:pt idx="3701">
                  <c:v>43917</c:v>
                </c:pt>
                <c:pt idx="3702">
                  <c:v>43920</c:v>
                </c:pt>
                <c:pt idx="3703">
                  <c:v>43921</c:v>
                </c:pt>
                <c:pt idx="3704">
                  <c:v>43922</c:v>
                </c:pt>
                <c:pt idx="3705">
                  <c:v>43923</c:v>
                </c:pt>
                <c:pt idx="3706">
                  <c:v>43924</c:v>
                </c:pt>
                <c:pt idx="3707">
                  <c:v>43928</c:v>
                </c:pt>
                <c:pt idx="3708">
                  <c:v>43929</c:v>
                </c:pt>
                <c:pt idx="3709">
                  <c:v>43930</c:v>
                </c:pt>
                <c:pt idx="3710">
                  <c:v>43931</c:v>
                </c:pt>
                <c:pt idx="3711">
                  <c:v>43934</c:v>
                </c:pt>
                <c:pt idx="3712">
                  <c:v>43935</c:v>
                </c:pt>
                <c:pt idx="3713">
                  <c:v>43936</c:v>
                </c:pt>
                <c:pt idx="3714">
                  <c:v>43937</c:v>
                </c:pt>
                <c:pt idx="3715">
                  <c:v>43938</c:v>
                </c:pt>
                <c:pt idx="3716">
                  <c:v>43941</c:v>
                </c:pt>
                <c:pt idx="3717">
                  <c:v>43942</c:v>
                </c:pt>
                <c:pt idx="3718">
                  <c:v>43943</c:v>
                </c:pt>
                <c:pt idx="3719">
                  <c:v>43944</c:v>
                </c:pt>
                <c:pt idx="3720">
                  <c:v>43945</c:v>
                </c:pt>
                <c:pt idx="3721">
                  <c:v>43948</c:v>
                </c:pt>
                <c:pt idx="3722">
                  <c:v>43949</c:v>
                </c:pt>
                <c:pt idx="3723">
                  <c:v>43950</c:v>
                </c:pt>
                <c:pt idx="3724">
                  <c:v>43951</c:v>
                </c:pt>
                <c:pt idx="3725">
                  <c:v>43957</c:v>
                </c:pt>
                <c:pt idx="3726">
                  <c:v>43958</c:v>
                </c:pt>
                <c:pt idx="3727">
                  <c:v>43959</c:v>
                </c:pt>
                <c:pt idx="3728">
                  <c:v>43962</c:v>
                </c:pt>
                <c:pt idx="3729">
                  <c:v>43963</c:v>
                </c:pt>
                <c:pt idx="3730">
                  <c:v>43964</c:v>
                </c:pt>
                <c:pt idx="3731">
                  <c:v>43965</c:v>
                </c:pt>
                <c:pt idx="3732">
                  <c:v>43966</c:v>
                </c:pt>
                <c:pt idx="3733">
                  <c:v>43969</c:v>
                </c:pt>
                <c:pt idx="3734">
                  <c:v>43970</c:v>
                </c:pt>
                <c:pt idx="3735">
                  <c:v>43971</c:v>
                </c:pt>
                <c:pt idx="3736">
                  <c:v>43972</c:v>
                </c:pt>
                <c:pt idx="3737">
                  <c:v>43973</c:v>
                </c:pt>
                <c:pt idx="3738">
                  <c:v>43976</c:v>
                </c:pt>
                <c:pt idx="3739">
                  <c:v>43977</c:v>
                </c:pt>
                <c:pt idx="3740">
                  <c:v>43978</c:v>
                </c:pt>
                <c:pt idx="3741">
                  <c:v>43979</c:v>
                </c:pt>
                <c:pt idx="3742">
                  <c:v>43980</c:v>
                </c:pt>
                <c:pt idx="3743">
                  <c:v>43983</c:v>
                </c:pt>
                <c:pt idx="3744">
                  <c:v>43984</c:v>
                </c:pt>
                <c:pt idx="3745">
                  <c:v>43985</c:v>
                </c:pt>
                <c:pt idx="3746">
                  <c:v>43986</c:v>
                </c:pt>
                <c:pt idx="3747">
                  <c:v>43987</c:v>
                </c:pt>
                <c:pt idx="3748">
                  <c:v>43990</c:v>
                </c:pt>
                <c:pt idx="3749">
                  <c:v>43991</c:v>
                </c:pt>
                <c:pt idx="3750">
                  <c:v>43992</c:v>
                </c:pt>
                <c:pt idx="3751">
                  <c:v>43993</c:v>
                </c:pt>
                <c:pt idx="3752">
                  <c:v>43994</c:v>
                </c:pt>
                <c:pt idx="3753">
                  <c:v>43997</c:v>
                </c:pt>
                <c:pt idx="3754">
                  <c:v>43998</c:v>
                </c:pt>
                <c:pt idx="3755">
                  <c:v>43999</c:v>
                </c:pt>
                <c:pt idx="3756">
                  <c:v>44000</c:v>
                </c:pt>
                <c:pt idx="3757">
                  <c:v>44001</c:v>
                </c:pt>
                <c:pt idx="3758">
                  <c:v>44004</c:v>
                </c:pt>
                <c:pt idx="3759">
                  <c:v>44005</c:v>
                </c:pt>
                <c:pt idx="3760">
                  <c:v>44006</c:v>
                </c:pt>
                <c:pt idx="3761">
                  <c:v>44011</c:v>
                </c:pt>
                <c:pt idx="3762">
                  <c:v>44012</c:v>
                </c:pt>
                <c:pt idx="3763">
                  <c:v>44013</c:v>
                </c:pt>
                <c:pt idx="3764">
                  <c:v>44014</c:v>
                </c:pt>
                <c:pt idx="3765">
                  <c:v>44015</c:v>
                </c:pt>
                <c:pt idx="3766">
                  <c:v>44018</c:v>
                </c:pt>
                <c:pt idx="3767">
                  <c:v>44019</c:v>
                </c:pt>
                <c:pt idx="3768">
                  <c:v>44020</c:v>
                </c:pt>
                <c:pt idx="3769">
                  <c:v>44021</c:v>
                </c:pt>
                <c:pt idx="3770">
                  <c:v>44022</c:v>
                </c:pt>
                <c:pt idx="3771">
                  <c:v>44025</c:v>
                </c:pt>
                <c:pt idx="3772">
                  <c:v>44026</c:v>
                </c:pt>
                <c:pt idx="3773">
                  <c:v>44027</c:v>
                </c:pt>
                <c:pt idx="3774">
                  <c:v>44028</c:v>
                </c:pt>
                <c:pt idx="3775">
                  <c:v>44029</c:v>
                </c:pt>
                <c:pt idx="3776">
                  <c:v>44032</c:v>
                </c:pt>
                <c:pt idx="3777">
                  <c:v>44033</c:v>
                </c:pt>
                <c:pt idx="3778">
                  <c:v>44034</c:v>
                </c:pt>
                <c:pt idx="3779">
                  <c:v>44035</c:v>
                </c:pt>
                <c:pt idx="3780">
                  <c:v>44036</c:v>
                </c:pt>
                <c:pt idx="3781">
                  <c:v>44039</c:v>
                </c:pt>
                <c:pt idx="3782">
                  <c:v>44040</c:v>
                </c:pt>
                <c:pt idx="3783">
                  <c:v>44041</c:v>
                </c:pt>
                <c:pt idx="3784">
                  <c:v>44042</c:v>
                </c:pt>
                <c:pt idx="3785">
                  <c:v>44043</c:v>
                </c:pt>
                <c:pt idx="3786">
                  <c:v>44046</c:v>
                </c:pt>
                <c:pt idx="3787">
                  <c:v>44047</c:v>
                </c:pt>
                <c:pt idx="3788">
                  <c:v>44048</c:v>
                </c:pt>
                <c:pt idx="3789">
                  <c:v>44049</c:v>
                </c:pt>
                <c:pt idx="3790">
                  <c:v>44050</c:v>
                </c:pt>
                <c:pt idx="3791">
                  <c:v>44053</c:v>
                </c:pt>
                <c:pt idx="3792">
                  <c:v>44054</c:v>
                </c:pt>
                <c:pt idx="3793">
                  <c:v>44055</c:v>
                </c:pt>
                <c:pt idx="3794">
                  <c:v>44056</c:v>
                </c:pt>
                <c:pt idx="3795">
                  <c:v>44057</c:v>
                </c:pt>
                <c:pt idx="3796">
                  <c:v>44060</c:v>
                </c:pt>
                <c:pt idx="3797">
                  <c:v>44061</c:v>
                </c:pt>
                <c:pt idx="3798">
                  <c:v>44062</c:v>
                </c:pt>
                <c:pt idx="3799">
                  <c:v>44063</c:v>
                </c:pt>
                <c:pt idx="3800">
                  <c:v>44064</c:v>
                </c:pt>
                <c:pt idx="3801">
                  <c:v>44067</c:v>
                </c:pt>
                <c:pt idx="3802">
                  <c:v>44068</c:v>
                </c:pt>
                <c:pt idx="3803">
                  <c:v>44069</c:v>
                </c:pt>
                <c:pt idx="3804">
                  <c:v>44070</c:v>
                </c:pt>
                <c:pt idx="3805">
                  <c:v>44071</c:v>
                </c:pt>
                <c:pt idx="3806">
                  <c:v>44074</c:v>
                </c:pt>
                <c:pt idx="3807">
                  <c:v>44075</c:v>
                </c:pt>
                <c:pt idx="3808">
                  <c:v>44076</c:v>
                </c:pt>
                <c:pt idx="3809">
                  <c:v>44077</c:v>
                </c:pt>
                <c:pt idx="3810">
                  <c:v>44078</c:v>
                </c:pt>
                <c:pt idx="3811">
                  <c:v>44081</c:v>
                </c:pt>
                <c:pt idx="3812">
                  <c:v>44082</c:v>
                </c:pt>
                <c:pt idx="3813">
                  <c:v>44083</c:v>
                </c:pt>
                <c:pt idx="3814">
                  <c:v>44084</c:v>
                </c:pt>
                <c:pt idx="3815">
                  <c:v>44085</c:v>
                </c:pt>
                <c:pt idx="3816">
                  <c:v>44088</c:v>
                </c:pt>
                <c:pt idx="3817">
                  <c:v>44089</c:v>
                </c:pt>
                <c:pt idx="3818">
                  <c:v>44090</c:v>
                </c:pt>
                <c:pt idx="3819">
                  <c:v>44091</c:v>
                </c:pt>
                <c:pt idx="3820">
                  <c:v>44092</c:v>
                </c:pt>
                <c:pt idx="3821">
                  <c:v>44095</c:v>
                </c:pt>
                <c:pt idx="3822">
                  <c:v>44096</c:v>
                </c:pt>
                <c:pt idx="3823">
                  <c:v>44097</c:v>
                </c:pt>
                <c:pt idx="3824">
                  <c:v>44098</c:v>
                </c:pt>
                <c:pt idx="3825">
                  <c:v>44099</c:v>
                </c:pt>
                <c:pt idx="3826">
                  <c:v>44102</c:v>
                </c:pt>
                <c:pt idx="3827">
                  <c:v>44103</c:v>
                </c:pt>
                <c:pt idx="3828">
                  <c:v>44104</c:v>
                </c:pt>
                <c:pt idx="3829">
                  <c:v>44113</c:v>
                </c:pt>
                <c:pt idx="3830">
                  <c:v>44116</c:v>
                </c:pt>
                <c:pt idx="3831">
                  <c:v>44117</c:v>
                </c:pt>
                <c:pt idx="3832">
                  <c:v>44118</c:v>
                </c:pt>
                <c:pt idx="3833">
                  <c:v>44119</c:v>
                </c:pt>
                <c:pt idx="3834">
                  <c:v>44120</c:v>
                </c:pt>
                <c:pt idx="3835">
                  <c:v>44123</c:v>
                </c:pt>
                <c:pt idx="3836">
                  <c:v>44124</c:v>
                </c:pt>
                <c:pt idx="3837">
                  <c:v>44125</c:v>
                </c:pt>
                <c:pt idx="3838">
                  <c:v>44126</c:v>
                </c:pt>
                <c:pt idx="3839">
                  <c:v>44127</c:v>
                </c:pt>
                <c:pt idx="3840">
                  <c:v>44130</c:v>
                </c:pt>
                <c:pt idx="3841">
                  <c:v>44131</c:v>
                </c:pt>
                <c:pt idx="3842">
                  <c:v>44132</c:v>
                </c:pt>
                <c:pt idx="3843">
                  <c:v>44133</c:v>
                </c:pt>
                <c:pt idx="3844">
                  <c:v>44134</c:v>
                </c:pt>
                <c:pt idx="3845">
                  <c:v>44137</c:v>
                </c:pt>
                <c:pt idx="3846">
                  <c:v>44138</c:v>
                </c:pt>
                <c:pt idx="3847">
                  <c:v>44139</c:v>
                </c:pt>
                <c:pt idx="3848">
                  <c:v>44140</c:v>
                </c:pt>
                <c:pt idx="3849">
                  <c:v>44141</c:v>
                </c:pt>
                <c:pt idx="3850">
                  <c:v>44144</c:v>
                </c:pt>
                <c:pt idx="3851">
                  <c:v>44145</c:v>
                </c:pt>
                <c:pt idx="3852">
                  <c:v>44146</c:v>
                </c:pt>
                <c:pt idx="3853">
                  <c:v>44147</c:v>
                </c:pt>
                <c:pt idx="3854">
                  <c:v>44148</c:v>
                </c:pt>
                <c:pt idx="3855">
                  <c:v>44151</c:v>
                </c:pt>
                <c:pt idx="3856">
                  <c:v>44152</c:v>
                </c:pt>
                <c:pt idx="3857">
                  <c:v>44153</c:v>
                </c:pt>
                <c:pt idx="3858">
                  <c:v>44154</c:v>
                </c:pt>
                <c:pt idx="3859">
                  <c:v>44155</c:v>
                </c:pt>
                <c:pt idx="3860">
                  <c:v>44158</c:v>
                </c:pt>
                <c:pt idx="3861">
                  <c:v>44159</c:v>
                </c:pt>
                <c:pt idx="3862">
                  <c:v>44160</c:v>
                </c:pt>
                <c:pt idx="3863">
                  <c:v>44161</c:v>
                </c:pt>
                <c:pt idx="3864">
                  <c:v>44162</c:v>
                </c:pt>
                <c:pt idx="3865">
                  <c:v>44165</c:v>
                </c:pt>
                <c:pt idx="3866">
                  <c:v>44166</c:v>
                </c:pt>
                <c:pt idx="3867">
                  <c:v>44167</c:v>
                </c:pt>
                <c:pt idx="3868">
                  <c:v>44168</c:v>
                </c:pt>
                <c:pt idx="3869">
                  <c:v>44169</c:v>
                </c:pt>
                <c:pt idx="3870">
                  <c:v>44172</c:v>
                </c:pt>
                <c:pt idx="3871">
                  <c:v>44173</c:v>
                </c:pt>
                <c:pt idx="3872">
                  <c:v>44174</c:v>
                </c:pt>
                <c:pt idx="3873">
                  <c:v>44175</c:v>
                </c:pt>
                <c:pt idx="3874">
                  <c:v>44176</c:v>
                </c:pt>
                <c:pt idx="3875">
                  <c:v>44179</c:v>
                </c:pt>
                <c:pt idx="3876">
                  <c:v>44180</c:v>
                </c:pt>
                <c:pt idx="3877">
                  <c:v>44181</c:v>
                </c:pt>
                <c:pt idx="3878">
                  <c:v>44182</c:v>
                </c:pt>
                <c:pt idx="3879">
                  <c:v>44183</c:v>
                </c:pt>
                <c:pt idx="3880">
                  <c:v>44186</c:v>
                </c:pt>
                <c:pt idx="3881">
                  <c:v>44187</c:v>
                </c:pt>
                <c:pt idx="3882">
                  <c:v>44188</c:v>
                </c:pt>
                <c:pt idx="3883">
                  <c:v>44189</c:v>
                </c:pt>
                <c:pt idx="3884">
                  <c:v>44190</c:v>
                </c:pt>
                <c:pt idx="3885">
                  <c:v>44193</c:v>
                </c:pt>
                <c:pt idx="3886">
                  <c:v>44194</c:v>
                </c:pt>
                <c:pt idx="3887">
                  <c:v>44195</c:v>
                </c:pt>
                <c:pt idx="3888">
                  <c:v>44196</c:v>
                </c:pt>
                <c:pt idx="3889">
                  <c:v>44200</c:v>
                </c:pt>
                <c:pt idx="3890">
                  <c:v>44201</c:v>
                </c:pt>
                <c:pt idx="3891">
                  <c:v>44202</c:v>
                </c:pt>
                <c:pt idx="3892">
                  <c:v>44203</c:v>
                </c:pt>
                <c:pt idx="3893">
                  <c:v>44204</c:v>
                </c:pt>
                <c:pt idx="3894">
                  <c:v>44207</c:v>
                </c:pt>
                <c:pt idx="3895">
                  <c:v>44208</c:v>
                </c:pt>
                <c:pt idx="3896">
                  <c:v>44209</c:v>
                </c:pt>
                <c:pt idx="3897">
                  <c:v>44210</c:v>
                </c:pt>
                <c:pt idx="3898">
                  <c:v>44211</c:v>
                </c:pt>
                <c:pt idx="3899">
                  <c:v>44214</c:v>
                </c:pt>
                <c:pt idx="3900">
                  <c:v>44215</c:v>
                </c:pt>
                <c:pt idx="3901">
                  <c:v>44216</c:v>
                </c:pt>
                <c:pt idx="3902">
                  <c:v>44217</c:v>
                </c:pt>
                <c:pt idx="3903">
                  <c:v>44218</c:v>
                </c:pt>
                <c:pt idx="3904">
                  <c:v>44221</c:v>
                </c:pt>
                <c:pt idx="3905">
                  <c:v>44222</c:v>
                </c:pt>
                <c:pt idx="3906">
                  <c:v>44223</c:v>
                </c:pt>
                <c:pt idx="3907">
                  <c:v>44224</c:v>
                </c:pt>
                <c:pt idx="3908">
                  <c:v>44225</c:v>
                </c:pt>
                <c:pt idx="3909">
                  <c:v>44228</c:v>
                </c:pt>
                <c:pt idx="3910">
                  <c:v>44229</c:v>
                </c:pt>
                <c:pt idx="3911">
                  <c:v>44230</c:v>
                </c:pt>
                <c:pt idx="3912">
                  <c:v>44231</c:v>
                </c:pt>
                <c:pt idx="3913">
                  <c:v>44232</c:v>
                </c:pt>
                <c:pt idx="3914">
                  <c:v>44235</c:v>
                </c:pt>
                <c:pt idx="3915">
                  <c:v>44236</c:v>
                </c:pt>
                <c:pt idx="3916">
                  <c:v>44237</c:v>
                </c:pt>
                <c:pt idx="3917">
                  <c:v>44245</c:v>
                </c:pt>
                <c:pt idx="3918">
                  <c:v>44246</c:v>
                </c:pt>
                <c:pt idx="3919">
                  <c:v>44249</c:v>
                </c:pt>
                <c:pt idx="3920">
                  <c:v>44250</c:v>
                </c:pt>
                <c:pt idx="3921">
                  <c:v>44251</c:v>
                </c:pt>
                <c:pt idx="3922">
                  <c:v>44252</c:v>
                </c:pt>
                <c:pt idx="3923">
                  <c:v>44253</c:v>
                </c:pt>
                <c:pt idx="3924">
                  <c:v>44256</c:v>
                </c:pt>
                <c:pt idx="3925">
                  <c:v>44257</c:v>
                </c:pt>
                <c:pt idx="3926">
                  <c:v>44258</c:v>
                </c:pt>
                <c:pt idx="3927">
                  <c:v>44259</c:v>
                </c:pt>
                <c:pt idx="3928">
                  <c:v>44260</c:v>
                </c:pt>
                <c:pt idx="3929">
                  <c:v>44263</c:v>
                </c:pt>
                <c:pt idx="3930">
                  <c:v>44264</c:v>
                </c:pt>
                <c:pt idx="3931">
                  <c:v>44265</c:v>
                </c:pt>
                <c:pt idx="3932">
                  <c:v>44266</c:v>
                </c:pt>
                <c:pt idx="3933">
                  <c:v>44267</c:v>
                </c:pt>
                <c:pt idx="3934">
                  <c:v>44270</c:v>
                </c:pt>
                <c:pt idx="3935">
                  <c:v>44271</c:v>
                </c:pt>
                <c:pt idx="3936">
                  <c:v>44272</c:v>
                </c:pt>
                <c:pt idx="3937">
                  <c:v>44273</c:v>
                </c:pt>
                <c:pt idx="3938">
                  <c:v>44274</c:v>
                </c:pt>
                <c:pt idx="3939">
                  <c:v>44277</c:v>
                </c:pt>
                <c:pt idx="3940">
                  <c:v>44278</c:v>
                </c:pt>
                <c:pt idx="3941">
                  <c:v>44279</c:v>
                </c:pt>
                <c:pt idx="3942">
                  <c:v>44280</c:v>
                </c:pt>
                <c:pt idx="3943">
                  <c:v>44281</c:v>
                </c:pt>
                <c:pt idx="3944">
                  <c:v>44284</c:v>
                </c:pt>
                <c:pt idx="3945">
                  <c:v>44285</c:v>
                </c:pt>
                <c:pt idx="3946">
                  <c:v>44286</c:v>
                </c:pt>
                <c:pt idx="3947">
                  <c:v>44287</c:v>
                </c:pt>
                <c:pt idx="3948">
                  <c:v>44288</c:v>
                </c:pt>
                <c:pt idx="3949">
                  <c:v>44292</c:v>
                </c:pt>
                <c:pt idx="3950">
                  <c:v>44293</c:v>
                </c:pt>
                <c:pt idx="3951">
                  <c:v>44294</c:v>
                </c:pt>
                <c:pt idx="3952">
                  <c:v>44295</c:v>
                </c:pt>
                <c:pt idx="3953">
                  <c:v>44298</c:v>
                </c:pt>
                <c:pt idx="3954">
                  <c:v>44299</c:v>
                </c:pt>
                <c:pt idx="3955">
                  <c:v>44300</c:v>
                </c:pt>
                <c:pt idx="3956">
                  <c:v>44301</c:v>
                </c:pt>
                <c:pt idx="3957">
                  <c:v>44302</c:v>
                </c:pt>
                <c:pt idx="3958">
                  <c:v>44305</c:v>
                </c:pt>
                <c:pt idx="3959">
                  <c:v>44306</c:v>
                </c:pt>
                <c:pt idx="3960">
                  <c:v>44307</c:v>
                </c:pt>
                <c:pt idx="3961">
                  <c:v>44308</c:v>
                </c:pt>
                <c:pt idx="3962">
                  <c:v>44309</c:v>
                </c:pt>
                <c:pt idx="3963">
                  <c:v>44312</c:v>
                </c:pt>
                <c:pt idx="3964">
                  <c:v>44313</c:v>
                </c:pt>
                <c:pt idx="3965">
                  <c:v>44314</c:v>
                </c:pt>
                <c:pt idx="3966">
                  <c:v>44315</c:v>
                </c:pt>
                <c:pt idx="3967">
                  <c:v>44316</c:v>
                </c:pt>
                <c:pt idx="3968">
                  <c:v>44322</c:v>
                </c:pt>
                <c:pt idx="3969">
                  <c:v>44323</c:v>
                </c:pt>
                <c:pt idx="3970">
                  <c:v>44326</c:v>
                </c:pt>
                <c:pt idx="3971">
                  <c:v>44327</c:v>
                </c:pt>
                <c:pt idx="3972">
                  <c:v>44328</c:v>
                </c:pt>
                <c:pt idx="3973">
                  <c:v>44329</c:v>
                </c:pt>
                <c:pt idx="3974">
                  <c:v>44330</c:v>
                </c:pt>
                <c:pt idx="3975">
                  <c:v>44333</c:v>
                </c:pt>
                <c:pt idx="3976">
                  <c:v>44334</c:v>
                </c:pt>
                <c:pt idx="3977">
                  <c:v>44335</c:v>
                </c:pt>
                <c:pt idx="3978">
                  <c:v>44336</c:v>
                </c:pt>
                <c:pt idx="3979">
                  <c:v>44337</c:v>
                </c:pt>
                <c:pt idx="3980">
                  <c:v>44340</c:v>
                </c:pt>
                <c:pt idx="3981">
                  <c:v>44341</c:v>
                </c:pt>
                <c:pt idx="3982">
                  <c:v>44342</c:v>
                </c:pt>
                <c:pt idx="3983">
                  <c:v>44343</c:v>
                </c:pt>
                <c:pt idx="3984">
                  <c:v>44344</c:v>
                </c:pt>
                <c:pt idx="3985">
                  <c:v>44347</c:v>
                </c:pt>
                <c:pt idx="3986">
                  <c:v>44348</c:v>
                </c:pt>
                <c:pt idx="3987">
                  <c:v>44349</c:v>
                </c:pt>
                <c:pt idx="3988">
                  <c:v>44350</c:v>
                </c:pt>
                <c:pt idx="3989">
                  <c:v>44351</c:v>
                </c:pt>
                <c:pt idx="3990">
                  <c:v>44354</c:v>
                </c:pt>
                <c:pt idx="3991">
                  <c:v>44355</c:v>
                </c:pt>
                <c:pt idx="3992">
                  <c:v>44356</c:v>
                </c:pt>
                <c:pt idx="3993">
                  <c:v>44357</c:v>
                </c:pt>
                <c:pt idx="3994">
                  <c:v>44358</c:v>
                </c:pt>
                <c:pt idx="3995">
                  <c:v>44362</c:v>
                </c:pt>
                <c:pt idx="3996">
                  <c:v>44363</c:v>
                </c:pt>
                <c:pt idx="3997">
                  <c:v>44364</c:v>
                </c:pt>
                <c:pt idx="3998">
                  <c:v>44365</c:v>
                </c:pt>
                <c:pt idx="3999">
                  <c:v>44368</c:v>
                </c:pt>
                <c:pt idx="4000">
                  <c:v>44369</c:v>
                </c:pt>
                <c:pt idx="4001">
                  <c:v>44370</c:v>
                </c:pt>
                <c:pt idx="4002">
                  <c:v>44371</c:v>
                </c:pt>
                <c:pt idx="4003">
                  <c:v>44372</c:v>
                </c:pt>
                <c:pt idx="4004">
                  <c:v>44375</c:v>
                </c:pt>
                <c:pt idx="4005">
                  <c:v>44376</c:v>
                </c:pt>
                <c:pt idx="4006">
                  <c:v>44377</c:v>
                </c:pt>
                <c:pt idx="4007">
                  <c:v>44378</c:v>
                </c:pt>
                <c:pt idx="4008">
                  <c:v>44379</c:v>
                </c:pt>
                <c:pt idx="4009">
                  <c:v>44382</c:v>
                </c:pt>
                <c:pt idx="4010">
                  <c:v>44383</c:v>
                </c:pt>
                <c:pt idx="4011">
                  <c:v>44384</c:v>
                </c:pt>
                <c:pt idx="4012">
                  <c:v>44385</c:v>
                </c:pt>
                <c:pt idx="4013">
                  <c:v>44386</c:v>
                </c:pt>
                <c:pt idx="4014">
                  <c:v>44389</c:v>
                </c:pt>
                <c:pt idx="4015">
                  <c:v>44390</c:v>
                </c:pt>
                <c:pt idx="4016">
                  <c:v>44391</c:v>
                </c:pt>
                <c:pt idx="4017">
                  <c:v>44392</c:v>
                </c:pt>
                <c:pt idx="4018">
                  <c:v>44393</c:v>
                </c:pt>
                <c:pt idx="4019">
                  <c:v>44396</c:v>
                </c:pt>
                <c:pt idx="4020">
                  <c:v>44397</c:v>
                </c:pt>
                <c:pt idx="4021">
                  <c:v>44398</c:v>
                </c:pt>
                <c:pt idx="4022">
                  <c:v>44399</c:v>
                </c:pt>
                <c:pt idx="4023">
                  <c:v>44400</c:v>
                </c:pt>
                <c:pt idx="4024">
                  <c:v>44403</c:v>
                </c:pt>
                <c:pt idx="4025">
                  <c:v>44404</c:v>
                </c:pt>
                <c:pt idx="4026">
                  <c:v>44405</c:v>
                </c:pt>
                <c:pt idx="4027">
                  <c:v>44406</c:v>
                </c:pt>
                <c:pt idx="4028">
                  <c:v>44407</c:v>
                </c:pt>
                <c:pt idx="4029">
                  <c:v>44410</c:v>
                </c:pt>
                <c:pt idx="4030">
                  <c:v>44411</c:v>
                </c:pt>
                <c:pt idx="4031">
                  <c:v>44412</c:v>
                </c:pt>
                <c:pt idx="4032">
                  <c:v>44413</c:v>
                </c:pt>
                <c:pt idx="4033">
                  <c:v>44414</c:v>
                </c:pt>
                <c:pt idx="4034">
                  <c:v>44417</c:v>
                </c:pt>
                <c:pt idx="4035">
                  <c:v>44418</c:v>
                </c:pt>
                <c:pt idx="4036">
                  <c:v>44419</c:v>
                </c:pt>
                <c:pt idx="4037">
                  <c:v>44420</c:v>
                </c:pt>
                <c:pt idx="4038">
                  <c:v>44421</c:v>
                </c:pt>
                <c:pt idx="4039">
                  <c:v>44424</c:v>
                </c:pt>
                <c:pt idx="4040">
                  <c:v>44425</c:v>
                </c:pt>
                <c:pt idx="4041">
                  <c:v>44426</c:v>
                </c:pt>
                <c:pt idx="4042">
                  <c:v>44427</c:v>
                </c:pt>
                <c:pt idx="4043">
                  <c:v>44428</c:v>
                </c:pt>
                <c:pt idx="4044">
                  <c:v>44431</c:v>
                </c:pt>
                <c:pt idx="4045">
                  <c:v>44432</c:v>
                </c:pt>
                <c:pt idx="4046">
                  <c:v>44433</c:v>
                </c:pt>
                <c:pt idx="4047">
                  <c:v>44434</c:v>
                </c:pt>
                <c:pt idx="4048">
                  <c:v>44435</c:v>
                </c:pt>
                <c:pt idx="4049">
                  <c:v>44438</c:v>
                </c:pt>
                <c:pt idx="4050">
                  <c:v>44439</c:v>
                </c:pt>
                <c:pt idx="4051">
                  <c:v>44440</c:v>
                </c:pt>
                <c:pt idx="4052">
                  <c:v>44441</c:v>
                </c:pt>
                <c:pt idx="4053">
                  <c:v>44442</c:v>
                </c:pt>
                <c:pt idx="4054">
                  <c:v>44445</c:v>
                </c:pt>
                <c:pt idx="4055">
                  <c:v>44446</c:v>
                </c:pt>
                <c:pt idx="4056">
                  <c:v>44447</c:v>
                </c:pt>
                <c:pt idx="4057">
                  <c:v>44448</c:v>
                </c:pt>
                <c:pt idx="4058">
                  <c:v>44449</c:v>
                </c:pt>
                <c:pt idx="4059">
                  <c:v>44452</c:v>
                </c:pt>
                <c:pt idx="4060">
                  <c:v>44453</c:v>
                </c:pt>
                <c:pt idx="4061">
                  <c:v>44454</c:v>
                </c:pt>
                <c:pt idx="4062">
                  <c:v>44455</c:v>
                </c:pt>
                <c:pt idx="4063">
                  <c:v>44456</c:v>
                </c:pt>
                <c:pt idx="4064">
                  <c:v>44461</c:v>
                </c:pt>
                <c:pt idx="4065">
                  <c:v>44462</c:v>
                </c:pt>
                <c:pt idx="4066">
                  <c:v>44463</c:v>
                </c:pt>
                <c:pt idx="4067">
                  <c:v>44466</c:v>
                </c:pt>
                <c:pt idx="4068">
                  <c:v>44467</c:v>
                </c:pt>
                <c:pt idx="4069">
                  <c:v>44468</c:v>
                </c:pt>
                <c:pt idx="4070">
                  <c:v>44469</c:v>
                </c:pt>
                <c:pt idx="4071">
                  <c:v>44477</c:v>
                </c:pt>
                <c:pt idx="4072">
                  <c:v>44480</c:v>
                </c:pt>
                <c:pt idx="4073">
                  <c:v>44481</c:v>
                </c:pt>
                <c:pt idx="4074">
                  <c:v>44482</c:v>
                </c:pt>
                <c:pt idx="4075">
                  <c:v>44483</c:v>
                </c:pt>
                <c:pt idx="4076">
                  <c:v>44484</c:v>
                </c:pt>
                <c:pt idx="4077">
                  <c:v>44487</c:v>
                </c:pt>
                <c:pt idx="4078">
                  <c:v>44488</c:v>
                </c:pt>
                <c:pt idx="4079">
                  <c:v>44489</c:v>
                </c:pt>
                <c:pt idx="4080">
                  <c:v>44490</c:v>
                </c:pt>
                <c:pt idx="4081">
                  <c:v>44491</c:v>
                </c:pt>
                <c:pt idx="4082">
                  <c:v>44494</c:v>
                </c:pt>
                <c:pt idx="4083">
                  <c:v>44495</c:v>
                </c:pt>
                <c:pt idx="4084">
                  <c:v>44496</c:v>
                </c:pt>
                <c:pt idx="4085">
                  <c:v>44497</c:v>
                </c:pt>
                <c:pt idx="4086">
                  <c:v>44498</c:v>
                </c:pt>
                <c:pt idx="4087">
                  <c:v>44501</c:v>
                </c:pt>
                <c:pt idx="4088">
                  <c:v>44502</c:v>
                </c:pt>
                <c:pt idx="4089">
                  <c:v>44503</c:v>
                </c:pt>
                <c:pt idx="4090">
                  <c:v>44504</c:v>
                </c:pt>
                <c:pt idx="4091">
                  <c:v>44505</c:v>
                </c:pt>
                <c:pt idx="4092">
                  <c:v>44508</c:v>
                </c:pt>
                <c:pt idx="4093">
                  <c:v>44509</c:v>
                </c:pt>
                <c:pt idx="4094">
                  <c:v>44510</c:v>
                </c:pt>
                <c:pt idx="4095">
                  <c:v>44511</c:v>
                </c:pt>
                <c:pt idx="4096">
                  <c:v>44512</c:v>
                </c:pt>
                <c:pt idx="4097">
                  <c:v>44515</c:v>
                </c:pt>
                <c:pt idx="4098">
                  <c:v>44516</c:v>
                </c:pt>
                <c:pt idx="4099">
                  <c:v>44517</c:v>
                </c:pt>
                <c:pt idx="4100">
                  <c:v>44518</c:v>
                </c:pt>
                <c:pt idx="4101">
                  <c:v>44519</c:v>
                </c:pt>
                <c:pt idx="4102">
                  <c:v>44522</c:v>
                </c:pt>
                <c:pt idx="4103">
                  <c:v>44523</c:v>
                </c:pt>
                <c:pt idx="4104">
                  <c:v>44524</c:v>
                </c:pt>
                <c:pt idx="4105">
                  <c:v>44525</c:v>
                </c:pt>
                <c:pt idx="4106">
                  <c:v>44526</c:v>
                </c:pt>
                <c:pt idx="4107">
                  <c:v>44529</c:v>
                </c:pt>
                <c:pt idx="4108">
                  <c:v>44530</c:v>
                </c:pt>
                <c:pt idx="4109">
                  <c:v>44531</c:v>
                </c:pt>
                <c:pt idx="4110">
                  <c:v>44532</c:v>
                </c:pt>
                <c:pt idx="4111">
                  <c:v>44533</c:v>
                </c:pt>
                <c:pt idx="4112">
                  <c:v>44536</c:v>
                </c:pt>
                <c:pt idx="4113">
                  <c:v>44537</c:v>
                </c:pt>
                <c:pt idx="4114">
                  <c:v>44538</c:v>
                </c:pt>
                <c:pt idx="4115">
                  <c:v>44539</c:v>
                </c:pt>
                <c:pt idx="4116">
                  <c:v>44540</c:v>
                </c:pt>
                <c:pt idx="4117">
                  <c:v>44543</c:v>
                </c:pt>
                <c:pt idx="4118">
                  <c:v>44544</c:v>
                </c:pt>
                <c:pt idx="4119">
                  <c:v>44545</c:v>
                </c:pt>
                <c:pt idx="4120">
                  <c:v>44546</c:v>
                </c:pt>
                <c:pt idx="4121">
                  <c:v>44547</c:v>
                </c:pt>
                <c:pt idx="4122">
                  <c:v>44550</c:v>
                </c:pt>
                <c:pt idx="4123">
                  <c:v>44551</c:v>
                </c:pt>
                <c:pt idx="4124">
                  <c:v>44552</c:v>
                </c:pt>
                <c:pt idx="4125">
                  <c:v>44553</c:v>
                </c:pt>
                <c:pt idx="4126">
                  <c:v>44554</c:v>
                </c:pt>
                <c:pt idx="4127">
                  <c:v>44557</c:v>
                </c:pt>
                <c:pt idx="4128">
                  <c:v>44558</c:v>
                </c:pt>
                <c:pt idx="4129">
                  <c:v>44559</c:v>
                </c:pt>
                <c:pt idx="4130">
                  <c:v>44560</c:v>
                </c:pt>
                <c:pt idx="4131">
                  <c:v>44561</c:v>
                </c:pt>
                <c:pt idx="4132">
                  <c:v>44565</c:v>
                </c:pt>
                <c:pt idx="4133">
                  <c:v>44566</c:v>
                </c:pt>
                <c:pt idx="4134">
                  <c:v>44567</c:v>
                </c:pt>
                <c:pt idx="4135">
                  <c:v>44568</c:v>
                </c:pt>
                <c:pt idx="4136">
                  <c:v>44571</c:v>
                </c:pt>
                <c:pt idx="4137">
                  <c:v>44572</c:v>
                </c:pt>
                <c:pt idx="4138">
                  <c:v>44573</c:v>
                </c:pt>
                <c:pt idx="4139">
                  <c:v>44574</c:v>
                </c:pt>
                <c:pt idx="4140">
                  <c:v>44575</c:v>
                </c:pt>
                <c:pt idx="4141">
                  <c:v>44578</c:v>
                </c:pt>
                <c:pt idx="4142">
                  <c:v>44579</c:v>
                </c:pt>
                <c:pt idx="4143">
                  <c:v>44580</c:v>
                </c:pt>
                <c:pt idx="4144">
                  <c:v>44581</c:v>
                </c:pt>
                <c:pt idx="4145">
                  <c:v>44582</c:v>
                </c:pt>
                <c:pt idx="4146">
                  <c:v>44585</c:v>
                </c:pt>
                <c:pt idx="4147">
                  <c:v>44586</c:v>
                </c:pt>
                <c:pt idx="4148">
                  <c:v>44587</c:v>
                </c:pt>
                <c:pt idx="4149">
                  <c:v>44588</c:v>
                </c:pt>
                <c:pt idx="4150">
                  <c:v>44589</c:v>
                </c:pt>
                <c:pt idx="4151">
                  <c:v>44599</c:v>
                </c:pt>
                <c:pt idx="4152">
                  <c:v>44600</c:v>
                </c:pt>
                <c:pt idx="4153">
                  <c:v>44601</c:v>
                </c:pt>
                <c:pt idx="4154">
                  <c:v>44602</c:v>
                </c:pt>
                <c:pt idx="4155">
                  <c:v>44603</c:v>
                </c:pt>
                <c:pt idx="4156">
                  <c:v>44606</c:v>
                </c:pt>
                <c:pt idx="4157">
                  <c:v>44607</c:v>
                </c:pt>
                <c:pt idx="4158">
                  <c:v>44608</c:v>
                </c:pt>
                <c:pt idx="4159">
                  <c:v>44609</c:v>
                </c:pt>
                <c:pt idx="4160">
                  <c:v>44610</c:v>
                </c:pt>
                <c:pt idx="4161">
                  <c:v>44613</c:v>
                </c:pt>
                <c:pt idx="4162">
                  <c:v>44614</c:v>
                </c:pt>
                <c:pt idx="4163">
                  <c:v>44615</c:v>
                </c:pt>
                <c:pt idx="4164">
                  <c:v>44616</c:v>
                </c:pt>
                <c:pt idx="4165">
                  <c:v>44617</c:v>
                </c:pt>
                <c:pt idx="4166">
                  <c:v>44620</c:v>
                </c:pt>
                <c:pt idx="4167">
                  <c:v>44621</c:v>
                </c:pt>
                <c:pt idx="4168">
                  <c:v>44622</c:v>
                </c:pt>
                <c:pt idx="4169">
                  <c:v>44623</c:v>
                </c:pt>
                <c:pt idx="4170">
                  <c:v>44624</c:v>
                </c:pt>
                <c:pt idx="4171">
                  <c:v>44627</c:v>
                </c:pt>
                <c:pt idx="4172">
                  <c:v>44628</c:v>
                </c:pt>
                <c:pt idx="4173">
                  <c:v>44629</c:v>
                </c:pt>
                <c:pt idx="4174">
                  <c:v>44630</c:v>
                </c:pt>
                <c:pt idx="4175">
                  <c:v>44631</c:v>
                </c:pt>
                <c:pt idx="4176">
                  <c:v>44634</c:v>
                </c:pt>
                <c:pt idx="4177">
                  <c:v>44635</c:v>
                </c:pt>
                <c:pt idx="4178">
                  <c:v>44636</c:v>
                </c:pt>
                <c:pt idx="4179">
                  <c:v>44637</c:v>
                </c:pt>
                <c:pt idx="4180">
                  <c:v>44638</c:v>
                </c:pt>
                <c:pt idx="4181">
                  <c:v>44641</c:v>
                </c:pt>
                <c:pt idx="4182">
                  <c:v>44642</c:v>
                </c:pt>
                <c:pt idx="4183">
                  <c:v>44643</c:v>
                </c:pt>
                <c:pt idx="4184">
                  <c:v>44644</c:v>
                </c:pt>
                <c:pt idx="4185">
                  <c:v>44645</c:v>
                </c:pt>
                <c:pt idx="4186">
                  <c:v>44648</c:v>
                </c:pt>
                <c:pt idx="4187">
                  <c:v>44649</c:v>
                </c:pt>
                <c:pt idx="4188">
                  <c:v>44650</c:v>
                </c:pt>
                <c:pt idx="4189">
                  <c:v>44651</c:v>
                </c:pt>
                <c:pt idx="4190">
                  <c:v>44652</c:v>
                </c:pt>
                <c:pt idx="4191">
                  <c:v>44657</c:v>
                </c:pt>
                <c:pt idx="4192">
                  <c:v>44658</c:v>
                </c:pt>
                <c:pt idx="4193">
                  <c:v>44659</c:v>
                </c:pt>
                <c:pt idx="4194">
                  <c:v>44662</c:v>
                </c:pt>
                <c:pt idx="4195">
                  <c:v>44663</c:v>
                </c:pt>
                <c:pt idx="4196">
                  <c:v>44664</c:v>
                </c:pt>
                <c:pt idx="4197">
                  <c:v>44665</c:v>
                </c:pt>
                <c:pt idx="4198">
                  <c:v>44666</c:v>
                </c:pt>
                <c:pt idx="4199">
                  <c:v>44669</c:v>
                </c:pt>
              </c:numCache>
            </c:numRef>
          </c:cat>
          <c:val>
            <c:numRef>
              <c:f>tr_60!$C$2:$C$4201</c:f>
              <c:numCache>
                <c:formatCode>General</c:formatCode>
                <c:ptCount val="4200"/>
                <c:pt idx="119">
                  <c:v>1.025044E-2</c:v>
                </c:pt>
                <c:pt idx="120">
                  <c:v>1.0243392E-2</c:v>
                </c:pt>
                <c:pt idx="121">
                  <c:v>1.0242265E-2</c:v>
                </c:pt>
                <c:pt idx="122">
                  <c:v>1.0255403E-2</c:v>
                </c:pt>
                <c:pt idx="123">
                  <c:v>1.0340422E-2</c:v>
                </c:pt>
                <c:pt idx="124">
                  <c:v>1.0372149000000001E-2</c:v>
                </c:pt>
                <c:pt idx="125">
                  <c:v>1.0408092000000001E-2</c:v>
                </c:pt>
                <c:pt idx="126">
                  <c:v>1.0441509E-2</c:v>
                </c:pt>
                <c:pt idx="127">
                  <c:v>1.0456699999999999E-2</c:v>
                </c:pt>
                <c:pt idx="128">
                  <c:v>1.0437683999999999E-2</c:v>
                </c:pt>
                <c:pt idx="129">
                  <c:v>1.0444625000000001E-2</c:v>
                </c:pt>
                <c:pt idx="130">
                  <c:v>1.0432924E-2</c:v>
                </c:pt>
                <c:pt idx="131">
                  <c:v>1.0560463000000001E-2</c:v>
                </c:pt>
                <c:pt idx="132">
                  <c:v>1.0575012E-2</c:v>
                </c:pt>
                <c:pt idx="133">
                  <c:v>1.0612177E-2</c:v>
                </c:pt>
                <c:pt idx="134">
                  <c:v>1.06126E-2</c:v>
                </c:pt>
                <c:pt idx="135">
                  <c:v>1.0667777999999999E-2</c:v>
                </c:pt>
                <c:pt idx="136">
                  <c:v>1.0686694E-2</c:v>
                </c:pt>
                <c:pt idx="137">
                  <c:v>1.0701835E-2</c:v>
                </c:pt>
                <c:pt idx="138">
                  <c:v>1.0739944E-2</c:v>
                </c:pt>
                <c:pt idx="139">
                  <c:v>1.0838908E-2</c:v>
                </c:pt>
                <c:pt idx="140">
                  <c:v>1.0877545000000001E-2</c:v>
                </c:pt>
                <c:pt idx="141">
                  <c:v>1.0870167999999999E-2</c:v>
                </c:pt>
                <c:pt idx="142">
                  <c:v>1.0863681E-2</c:v>
                </c:pt>
                <c:pt idx="143">
                  <c:v>1.0841609E-2</c:v>
                </c:pt>
                <c:pt idx="144">
                  <c:v>1.0894872E-2</c:v>
                </c:pt>
                <c:pt idx="145">
                  <c:v>1.1010874E-2</c:v>
                </c:pt>
                <c:pt idx="146">
                  <c:v>1.1158819E-2</c:v>
                </c:pt>
                <c:pt idx="147">
                  <c:v>1.1277013000000001E-2</c:v>
                </c:pt>
                <c:pt idx="148">
                  <c:v>1.1303161000000001E-2</c:v>
                </c:pt>
                <c:pt idx="149">
                  <c:v>1.1308324999999999E-2</c:v>
                </c:pt>
                <c:pt idx="150">
                  <c:v>1.1483399E-2</c:v>
                </c:pt>
                <c:pt idx="151">
                  <c:v>1.1508971E-2</c:v>
                </c:pt>
                <c:pt idx="152">
                  <c:v>1.1517161999999999E-2</c:v>
                </c:pt>
                <c:pt idx="153">
                  <c:v>1.1556766E-2</c:v>
                </c:pt>
                <c:pt idx="154">
                  <c:v>1.1570242999999999E-2</c:v>
                </c:pt>
                <c:pt idx="155">
                  <c:v>1.1609850999999999E-2</c:v>
                </c:pt>
                <c:pt idx="156">
                  <c:v>1.165944E-2</c:v>
                </c:pt>
                <c:pt idx="157">
                  <c:v>1.1709236E-2</c:v>
                </c:pt>
                <c:pt idx="158">
                  <c:v>1.1683102000000001E-2</c:v>
                </c:pt>
                <c:pt idx="159">
                  <c:v>1.1629446E-2</c:v>
                </c:pt>
                <c:pt idx="160">
                  <c:v>1.1646999E-2</c:v>
                </c:pt>
                <c:pt idx="161">
                  <c:v>1.1679025000000001E-2</c:v>
                </c:pt>
                <c:pt idx="162">
                  <c:v>1.1683188000000001E-2</c:v>
                </c:pt>
                <c:pt idx="163">
                  <c:v>1.1715178999999999E-2</c:v>
                </c:pt>
                <c:pt idx="164">
                  <c:v>1.1761905E-2</c:v>
                </c:pt>
                <c:pt idx="165">
                  <c:v>1.1823492E-2</c:v>
                </c:pt>
                <c:pt idx="166">
                  <c:v>1.1865942000000001E-2</c:v>
                </c:pt>
                <c:pt idx="167">
                  <c:v>1.1889462E-2</c:v>
                </c:pt>
                <c:pt idx="168">
                  <c:v>1.1908363E-2</c:v>
                </c:pt>
                <c:pt idx="169">
                  <c:v>1.1947612E-2</c:v>
                </c:pt>
                <c:pt idx="170">
                  <c:v>1.1964859E-2</c:v>
                </c:pt>
                <c:pt idx="171">
                  <c:v>1.1993597E-2</c:v>
                </c:pt>
                <c:pt idx="172">
                  <c:v>1.2033220000000001E-2</c:v>
                </c:pt>
                <c:pt idx="173">
                  <c:v>1.2095939999999999E-2</c:v>
                </c:pt>
                <c:pt idx="174">
                  <c:v>1.2165505E-2</c:v>
                </c:pt>
                <c:pt idx="175">
                  <c:v>1.2229797000000001E-2</c:v>
                </c:pt>
                <c:pt idx="176">
                  <c:v>1.2177301E-2</c:v>
                </c:pt>
                <c:pt idx="177">
                  <c:v>1.2166181E-2</c:v>
                </c:pt>
                <c:pt idx="178">
                  <c:v>1.2179634E-2</c:v>
                </c:pt>
                <c:pt idx="179">
                  <c:v>1.2143437999999999E-2</c:v>
                </c:pt>
                <c:pt idx="180">
                  <c:v>1.2074613E-2</c:v>
                </c:pt>
                <c:pt idx="181">
                  <c:v>1.2028497000000001E-2</c:v>
                </c:pt>
                <c:pt idx="182">
                  <c:v>1.1954167E-2</c:v>
                </c:pt>
                <c:pt idx="183">
                  <c:v>1.1929673E-2</c:v>
                </c:pt>
                <c:pt idx="184">
                  <c:v>1.188793E-2</c:v>
                </c:pt>
                <c:pt idx="185">
                  <c:v>1.1860247000000001E-2</c:v>
                </c:pt>
                <c:pt idx="186">
                  <c:v>1.1843291000000001E-2</c:v>
                </c:pt>
                <c:pt idx="187">
                  <c:v>1.1842322000000001E-2</c:v>
                </c:pt>
                <c:pt idx="188">
                  <c:v>1.1826992999999999E-2</c:v>
                </c:pt>
                <c:pt idx="189">
                  <c:v>1.1837266000000001E-2</c:v>
                </c:pt>
                <c:pt idx="190">
                  <c:v>1.1873543E-2</c:v>
                </c:pt>
                <c:pt idx="191">
                  <c:v>1.1883967E-2</c:v>
                </c:pt>
                <c:pt idx="192">
                  <c:v>1.1906511E-2</c:v>
                </c:pt>
                <c:pt idx="193">
                  <c:v>1.190678E-2</c:v>
                </c:pt>
                <c:pt idx="194">
                  <c:v>1.1924644999999999E-2</c:v>
                </c:pt>
                <c:pt idx="195">
                  <c:v>1.1907655E-2</c:v>
                </c:pt>
                <c:pt idx="196">
                  <c:v>1.191123E-2</c:v>
                </c:pt>
                <c:pt idx="197">
                  <c:v>1.1927139E-2</c:v>
                </c:pt>
                <c:pt idx="198">
                  <c:v>1.1912994E-2</c:v>
                </c:pt>
                <c:pt idx="199">
                  <c:v>1.1935015E-2</c:v>
                </c:pt>
                <c:pt idx="200">
                  <c:v>1.1922518E-2</c:v>
                </c:pt>
                <c:pt idx="201">
                  <c:v>1.1910239E-2</c:v>
                </c:pt>
                <c:pt idx="202">
                  <c:v>1.1906071000000001E-2</c:v>
                </c:pt>
                <c:pt idx="203">
                  <c:v>1.1902674E-2</c:v>
                </c:pt>
                <c:pt idx="204">
                  <c:v>1.1920731E-2</c:v>
                </c:pt>
                <c:pt idx="205">
                  <c:v>1.1929258E-2</c:v>
                </c:pt>
                <c:pt idx="206">
                  <c:v>1.1937212000000001E-2</c:v>
                </c:pt>
                <c:pt idx="207">
                  <c:v>1.1925504999999999E-2</c:v>
                </c:pt>
                <c:pt idx="208">
                  <c:v>1.1909381E-2</c:v>
                </c:pt>
                <c:pt idx="209">
                  <c:v>1.1909609999999999E-2</c:v>
                </c:pt>
                <c:pt idx="210">
                  <c:v>1.1920072E-2</c:v>
                </c:pt>
                <c:pt idx="211">
                  <c:v>1.1969495E-2</c:v>
                </c:pt>
                <c:pt idx="212">
                  <c:v>1.1975939999999999E-2</c:v>
                </c:pt>
                <c:pt idx="213">
                  <c:v>1.1976707E-2</c:v>
                </c:pt>
                <c:pt idx="214">
                  <c:v>1.1969564E-2</c:v>
                </c:pt>
                <c:pt idx="215">
                  <c:v>1.1973447999999999E-2</c:v>
                </c:pt>
                <c:pt idx="216">
                  <c:v>1.1969693E-2</c:v>
                </c:pt>
                <c:pt idx="217">
                  <c:v>1.1961375999999999E-2</c:v>
                </c:pt>
                <c:pt idx="218">
                  <c:v>1.1918609E-2</c:v>
                </c:pt>
                <c:pt idx="219">
                  <c:v>1.1716753E-2</c:v>
                </c:pt>
                <c:pt idx="220">
                  <c:v>1.1537787000000001E-2</c:v>
                </c:pt>
                <c:pt idx="221">
                  <c:v>1.14222E-2</c:v>
                </c:pt>
                <c:pt idx="222">
                  <c:v>1.1366727E-2</c:v>
                </c:pt>
                <c:pt idx="223">
                  <c:v>1.133661E-2</c:v>
                </c:pt>
                <c:pt idx="224">
                  <c:v>1.1330346999999999E-2</c:v>
                </c:pt>
                <c:pt idx="225">
                  <c:v>1.1304102999999999E-2</c:v>
                </c:pt>
                <c:pt idx="226">
                  <c:v>1.1294007E-2</c:v>
                </c:pt>
                <c:pt idx="227">
                  <c:v>1.1216968000000001E-2</c:v>
                </c:pt>
                <c:pt idx="228">
                  <c:v>1.1194167999999999E-2</c:v>
                </c:pt>
                <c:pt idx="229">
                  <c:v>1.1213470999999999E-2</c:v>
                </c:pt>
                <c:pt idx="230">
                  <c:v>1.1268996999999999E-2</c:v>
                </c:pt>
                <c:pt idx="231">
                  <c:v>1.1276375E-2</c:v>
                </c:pt>
                <c:pt idx="232">
                  <c:v>1.122064E-2</c:v>
                </c:pt>
                <c:pt idx="233">
                  <c:v>1.1208373000000001E-2</c:v>
                </c:pt>
                <c:pt idx="234">
                  <c:v>1.1177311000000001E-2</c:v>
                </c:pt>
                <c:pt idx="235">
                  <c:v>1.1153118E-2</c:v>
                </c:pt>
                <c:pt idx="236">
                  <c:v>1.1157444000000001E-2</c:v>
                </c:pt>
                <c:pt idx="237">
                  <c:v>1.119382E-2</c:v>
                </c:pt>
                <c:pt idx="238">
                  <c:v>1.1196924E-2</c:v>
                </c:pt>
                <c:pt idx="239">
                  <c:v>1.1232189E-2</c:v>
                </c:pt>
                <c:pt idx="240">
                  <c:v>1.1310578999999999E-2</c:v>
                </c:pt>
                <c:pt idx="241">
                  <c:v>1.1371714E-2</c:v>
                </c:pt>
                <c:pt idx="242">
                  <c:v>1.1471409E-2</c:v>
                </c:pt>
                <c:pt idx="243">
                  <c:v>1.1529103000000001E-2</c:v>
                </c:pt>
                <c:pt idx="244">
                  <c:v>1.1662166999999999E-2</c:v>
                </c:pt>
                <c:pt idx="245">
                  <c:v>1.1746457E-2</c:v>
                </c:pt>
                <c:pt idx="246">
                  <c:v>1.1834984E-2</c:v>
                </c:pt>
                <c:pt idx="247">
                  <c:v>1.1943013000000001E-2</c:v>
                </c:pt>
                <c:pt idx="248">
                  <c:v>1.2007629000000001E-2</c:v>
                </c:pt>
                <c:pt idx="249">
                  <c:v>1.2061548E-2</c:v>
                </c:pt>
                <c:pt idx="250">
                  <c:v>1.2135464E-2</c:v>
                </c:pt>
                <c:pt idx="251">
                  <c:v>1.2048573999999999E-2</c:v>
                </c:pt>
                <c:pt idx="252">
                  <c:v>1.2098517E-2</c:v>
                </c:pt>
                <c:pt idx="253">
                  <c:v>1.2078423E-2</c:v>
                </c:pt>
                <c:pt idx="254">
                  <c:v>1.2100605E-2</c:v>
                </c:pt>
                <c:pt idx="255">
                  <c:v>1.2093473E-2</c:v>
                </c:pt>
                <c:pt idx="256">
                  <c:v>1.2143350000000001E-2</c:v>
                </c:pt>
                <c:pt idx="257">
                  <c:v>1.2187127000000001E-2</c:v>
                </c:pt>
                <c:pt idx="258">
                  <c:v>1.2250637E-2</c:v>
                </c:pt>
                <c:pt idx="259">
                  <c:v>1.229913E-2</c:v>
                </c:pt>
                <c:pt idx="260">
                  <c:v>1.2379052E-2</c:v>
                </c:pt>
                <c:pt idx="261">
                  <c:v>1.2374225000000001E-2</c:v>
                </c:pt>
                <c:pt idx="262">
                  <c:v>1.2343224E-2</c:v>
                </c:pt>
                <c:pt idx="263">
                  <c:v>1.233277E-2</c:v>
                </c:pt>
                <c:pt idx="264">
                  <c:v>1.2274248999999999E-2</c:v>
                </c:pt>
                <c:pt idx="265">
                  <c:v>1.2253867E-2</c:v>
                </c:pt>
                <c:pt idx="266">
                  <c:v>1.2187049E-2</c:v>
                </c:pt>
                <c:pt idx="267">
                  <c:v>1.2096216E-2</c:v>
                </c:pt>
                <c:pt idx="268">
                  <c:v>1.2039919E-2</c:v>
                </c:pt>
                <c:pt idx="269">
                  <c:v>1.2050002000000001E-2</c:v>
                </c:pt>
                <c:pt idx="270">
                  <c:v>1.1935626E-2</c:v>
                </c:pt>
                <c:pt idx="271">
                  <c:v>1.1897560999999999E-2</c:v>
                </c:pt>
                <c:pt idx="272">
                  <c:v>1.189289E-2</c:v>
                </c:pt>
                <c:pt idx="273">
                  <c:v>1.1965501999999999E-2</c:v>
                </c:pt>
                <c:pt idx="274">
                  <c:v>1.1971753E-2</c:v>
                </c:pt>
                <c:pt idx="275">
                  <c:v>1.1984665E-2</c:v>
                </c:pt>
                <c:pt idx="276">
                  <c:v>1.2035404E-2</c:v>
                </c:pt>
                <c:pt idx="277">
                  <c:v>1.2067395E-2</c:v>
                </c:pt>
                <c:pt idx="278">
                  <c:v>1.2091665E-2</c:v>
                </c:pt>
                <c:pt idx="279">
                  <c:v>1.2116668000000001E-2</c:v>
                </c:pt>
                <c:pt idx="280">
                  <c:v>1.2084070000000001E-2</c:v>
                </c:pt>
                <c:pt idx="281">
                  <c:v>1.2054970999999999E-2</c:v>
                </c:pt>
                <c:pt idx="282">
                  <c:v>1.2002359000000001E-2</c:v>
                </c:pt>
                <c:pt idx="283">
                  <c:v>1.1950232E-2</c:v>
                </c:pt>
                <c:pt idx="284">
                  <c:v>1.1905104999999999E-2</c:v>
                </c:pt>
                <c:pt idx="285">
                  <c:v>1.1859141E-2</c:v>
                </c:pt>
                <c:pt idx="286">
                  <c:v>1.1846334E-2</c:v>
                </c:pt>
                <c:pt idx="287">
                  <c:v>1.1866178999999999E-2</c:v>
                </c:pt>
                <c:pt idx="288">
                  <c:v>1.185927E-2</c:v>
                </c:pt>
                <c:pt idx="289">
                  <c:v>1.1851254E-2</c:v>
                </c:pt>
                <c:pt idx="290">
                  <c:v>1.1863429E-2</c:v>
                </c:pt>
                <c:pt idx="291">
                  <c:v>1.1891344999999999E-2</c:v>
                </c:pt>
                <c:pt idx="292">
                  <c:v>1.191876E-2</c:v>
                </c:pt>
                <c:pt idx="293">
                  <c:v>1.190049E-2</c:v>
                </c:pt>
                <c:pt idx="294">
                  <c:v>1.1912806999999999E-2</c:v>
                </c:pt>
                <c:pt idx="295">
                  <c:v>1.1991112999999999E-2</c:v>
                </c:pt>
                <c:pt idx="296">
                  <c:v>1.205414E-2</c:v>
                </c:pt>
                <c:pt idx="297">
                  <c:v>1.2119700000000001E-2</c:v>
                </c:pt>
                <c:pt idx="298">
                  <c:v>1.2188444999999999E-2</c:v>
                </c:pt>
                <c:pt idx="299">
                  <c:v>1.2278824000000001E-2</c:v>
                </c:pt>
                <c:pt idx="300">
                  <c:v>1.2337595E-2</c:v>
                </c:pt>
                <c:pt idx="301">
                  <c:v>1.2443433E-2</c:v>
                </c:pt>
                <c:pt idx="302">
                  <c:v>1.2545008E-2</c:v>
                </c:pt>
                <c:pt idx="303">
                  <c:v>1.2645942E-2</c:v>
                </c:pt>
                <c:pt idx="304">
                  <c:v>1.2757426000000001E-2</c:v>
                </c:pt>
                <c:pt idx="305">
                  <c:v>1.2829606E-2</c:v>
                </c:pt>
                <c:pt idx="306">
                  <c:v>1.2919303E-2</c:v>
                </c:pt>
                <c:pt idx="307">
                  <c:v>1.3030725E-2</c:v>
                </c:pt>
                <c:pt idx="308">
                  <c:v>1.3201354E-2</c:v>
                </c:pt>
                <c:pt idx="309">
                  <c:v>1.3309606999999999E-2</c:v>
                </c:pt>
                <c:pt idx="310">
                  <c:v>1.3408600999999999E-2</c:v>
                </c:pt>
                <c:pt idx="311">
                  <c:v>1.3532858E-2</c:v>
                </c:pt>
                <c:pt idx="312">
                  <c:v>1.3638496999999999E-2</c:v>
                </c:pt>
                <c:pt idx="313">
                  <c:v>1.3798410000000001E-2</c:v>
                </c:pt>
                <c:pt idx="314">
                  <c:v>1.3860999000000001E-2</c:v>
                </c:pt>
                <c:pt idx="315">
                  <c:v>1.3960837E-2</c:v>
                </c:pt>
                <c:pt idx="316">
                  <c:v>1.4009953E-2</c:v>
                </c:pt>
                <c:pt idx="317">
                  <c:v>1.4185167E-2</c:v>
                </c:pt>
                <c:pt idx="318">
                  <c:v>1.4367993000000001E-2</c:v>
                </c:pt>
                <c:pt idx="319">
                  <c:v>1.4552061999999999E-2</c:v>
                </c:pt>
                <c:pt idx="320">
                  <c:v>1.4720094E-2</c:v>
                </c:pt>
                <c:pt idx="321">
                  <c:v>1.4948717E-2</c:v>
                </c:pt>
                <c:pt idx="322">
                  <c:v>1.5186191999999999E-2</c:v>
                </c:pt>
                <c:pt idx="323">
                  <c:v>1.5511883000000001E-2</c:v>
                </c:pt>
                <c:pt idx="324">
                  <c:v>1.5803146000000001E-2</c:v>
                </c:pt>
                <c:pt idx="325">
                  <c:v>1.6024685E-2</c:v>
                </c:pt>
                <c:pt idx="326">
                  <c:v>1.6227767000000001E-2</c:v>
                </c:pt>
                <c:pt idx="327">
                  <c:v>1.6638209000000001E-2</c:v>
                </c:pt>
                <c:pt idx="328">
                  <c:v>1.6939994E-2</c:v>
                </c:pt>
                <c:pt idx="329">
                  <c:v>1.7199020999999998E-2</c:v>
                </c:pt>
                <c:pt idx="330">
                  <c:v>1.7393463000000001E-2</c:v>
                </c:pt>
                <c:pt idx="331">
                  <c:v>1.7473259000000001E-2</c:v>
                </c:pt>
                <c:pt idx="332">
                  <c:v>1.7627363E-2</c:v>
                </c:pt>
                <c:pt idx="333">
                  <c:v>1.7773272999999999E-2</c:v>
                </c:pt>
                <c:pt idx="334">
                  <c:v>1.7939823000000001E-2</c:v>
                </c:pt>
                <c:pt idx="335">
                  <c:v>1.8086815999999999E-2</c:v>
                </c:pt>
                <c:pt idx="336">
                  <c:v>1.8291152000000001E-2</c:v>
                </c:pt>
                <c:pt idx="337">
                  <c:v>1.8545012E-2</c:v>
                </c:pt>
                <c:pt idx="338">
                  <c:v>1.8799584000000001E-2</c:v>
                </c:pt>
                <c:pt idx="339">
                  <c:v>1.8977502E-2</c:v>
                </c:pt>
                <c:pt idx="340">
                  <c:v>1.9187715000000001E-2</c:v>
                </c:pt>
                <c:pt idx="341">
                  <c:v>1.9339107000000001E-2</c:v>
                </c:pt>
                <c:pt idx="342">
                  <c:v>1.9446815999999999E-2</c:v>
                </c:pt>
                <c:pt idx="343">
                  <c:v>1.9494791000000001E-2</c:v>
                </c:pt>
                <c:pt idx="344">
                  <c:v>1.9564887E-2</c:v>
                </c:pt>
                <c:pt idx="345">
                  <c:v>1.9648468999999998E-2</c:v>
                </c:pt>
                <c:pt idx="346">
                  <c:v>1.9659929999999999E-2</c:v>
                </c:pt>
                <c:pt idx="347">
                  <c:v>1.9735816E-2</c:v>
                </c:pt>
                <c:pt idx="348">
                  <c:v>1.9821034000000001E-2</c:v>
                </c:pt>
                <c:pt idx="349">
                  <c:v>1.986783E-2</c:v>
                </c:pt>
                <c:pt idx="350">
                  <c:v>1.9914912E-2</c:v>
                </c:pt>
                <c:pt idx="351">
                  <c:v>1.9969407000000002E-2</c:v>
                </c:pt>
                <c:pt idx="352">
                  <c:v>2.0027539E-2</c:v>
                </c:pt>
                <c:pt idx="353">
                  <c:v>2.0119291000000001E-2</c:v>
                </c:pt>
                <c:pt idx="354">
                  <c:v>2.0175998000000001E-2</c:v>
                </c:pt>
                <c:pt idx="355">
                  <c:v>2.0237521000000001E-2</c:v>
                </c:pt>
                <c:pt idx="356">
                  <c:v>2.0375108999999999E-2</c:v>
                </c:pt>
                <c:pt idx="357">
                  <c:v>2.0469382000000001E-2</c:v>
                </c:pt>
                <c:pt idx="358">
                  <c:v>2.0615118000000002E-2</c:v>
                </c:pt>
                <c:pt idx="359">
                  <c:v>2.0723248999999999E-2</c:v>
                </c:pt>
                <c:pt idx="360">
                  <c:v>2.0989511999999998E-2</c:v>
                </c:pt>
                <c:pt idx="361">
                  <c:v>2.1062346999999999E-2</c:v>
                </c:pt>
                <c:pt idx="362">
                  <c:v>2.107444E-2</c:v>
                </c:pt>
                <c:pt idx="363">
                  <c:v>2.1012006999999999E-2</c:v>
                </c:pt>
                <c:pt idx="364">
                  <c:v>2.0954662999999998E-2</c:v>
                </c:pt>
                <c:pt idx="365">
                  <c:v>2.0971712999999999E-2</c:v>
                </c:pt>
                <c:pt idx="366">
                  <c:v>2.1078339000000001E-2</c:v>
                </c:pt>
                <c:pt idx="367">
                  <c:v>2.1083927999999998E-2</c:v>
                </c:pt>
                <c:pt idx="368">
                  <c:v>2.1072094999999999E-2</c:v>
                </c:pt>
                <c:pt idx="369">
                  <c:v>2.1047479000000001E-2</c:v>
                </c:pt>
                <c:pt idx="370">
                  <c:v>2.1032032999999999E-2</c:v>
                </c:pt>
                <c:pt idx="371">
                  <c:v>2.1014270000000002E-2</c:v>
                </c:pt>
                <c:pt idx="372">
                  <c:v>2.0969959E-2</c:v>
                </c:pt>
                <c:pt idx="373">
                  <c:v>2.0903875999999998E-2</c:v>
                </c:pt>
                <c:pt idx="374">
                  <c:v>2.0853726999999999E-2</c:v>
                </c:pt>
                <c:pt idx="375">
                  <c:v>2.0817339000000001E-2</c:v>
                </c:pt>
                <c:pt idx="376">
                  <c:v>2.0801310999999999E-2</c:v>
                </c:pt>
                <c:pt idx="377">
                  <c:v>2.0774259E-2</c:v>
                </c:pt>
                <c:pt idx="378">
                  <c:v>2.0754587000000001E-2</c:v>
                </c:pt>
                <c:pt idx="379">
                  <c:v>2.0722224000000001E-2</c:v>
                </c:pt>
                <c:pt idx="380">
                  <c:v>2.0672651E-2</c:v>
                </c:pt>
                <c:pt idx="381">
                  <c:v>2.0621529E-2</c:v>
                </c:pt>
                <c:pt idx="382">
                  <c:v>2.0605604E-2</c:v>
                </c:pt>
                <c:pt idx="383">
                  <c:v>2.0586601E-2</c:v>
                </c:pt>
                <c:pt idx="384">
                  <c:v>2.0566926999999999E-2</c:v>
                </c:pt>
                <c:pt idx="385">
                  <c:v>2.0469235999999998E-2</c:v>
                </c:pt>
                <c:pt idx="386">
                  <c:v>2.0434122999999998E-2</c:v>
                </c:pt>
                <c:pt idx="387">
                  <c:v>2.0401200000000001E-2</c:v>
                </c:pt>
                <c:pt idx="388">
                  <c:v>2.0381888000000001E-2</c:v>
                </c:pt>
                <c:pt idx="389">
                  <c:v>2.0309730000000002E-2</c:v>
                </c:pt>
                <c:pt idx="390">
                  <c:v>2.0260789000000001E-2</c:v>
                </c:pt>
                <c:pt idx="391">
                  <c:v>2.0219015999999999E-2</c:v>
                </c:pt>
                <c:pt idx="392">
                  <c:v>2.0217078999999999E-2</c:v>
                </c:pt>
                <c:pt idx="393">
                  <c:v>2.0107164E-2</c:v>
                </c:pt>
                <c:pt idx="394">
                  <c:v>2.0064021000000001E-2</c:v>
                </c:pt>
                <c:pt idx="395">
                  <c:v>2.0050629E-2</c:v>
                </c:pt>
                <c:pt idx="396">
                  <c:v>1.9974043E-2</c:v>
                </c:pt>
                <c:pt idx="397">
                  <c:v>1.9926927000000001E-2</c:v>
                </c:pt>
                <c:pt idx="398">
                  <c:v>1.9950977000000002E-2</c:v>
                </c:pt>
                <c:pt idx="399">
                  <c:v>1.9979025000000001E-2</c:v>
                </c:pt>
                <c:pt idx="400">
                  <c:v>1.9960114000000001E-2</c:v>
                </c:pt>
                <c:pt idx="401">
                  <c:v>1.9974321999999999E-2</c:v>
                </c:pt>
                <c:pt idx="402">
                  <c:v>2.002073E-2</c:v>
                </c:pt>
                <c:pt idx="403">
                  <c:v>2.0051116000000001E-2</c:v>
                </c:pt>
                <c:pt idx="404">
                  <c:v>2.0111438999999998E-2</c:v>
                </c:pt>
                <c:pt idx="405">
                  <c:v>2.0124301000000001E-2</c:v>
                </c:pt>
                <c:pt idx="406">
                  <c:v>2.0146086000000001E-2</c:v>
                </c:pt>
                <c:pt idx="407">
                  <c:v>2.0141141000000001E-2</c:v>
                </c:pt>
                <c:pt idx="408">
                  <c:v>2.0161578999999999E-2</c:v>
                </c:pt>
                <c:pt idx="409">
                  <c:v>2.0236219E-2</c:v>
                </c:pt>
                <c:pt idx="410">
                  <c:v>2.0351640000000001E-2</c:v>
                </c:pt>
                <c:pt idx="411">
                  <c:v>2.0375936000000001E-2</c:v>
                </c:pt>
                <c:pt idx="412">
                  <c:v>2.0505824999999998E-2</c:v>
                </c:pt>
                <c:pt idx="413">
                  <c:v>2.0588463000000001E-2</c:v>
                </c:pt>
                <c:pt idx="414">
                  <c:v>2.0575736000000001E-2</c:v>
                </c:pt>
                <c:pt idx="415">
                  <c:v>2.0503422E-2</c:v>
                </c:pt>
                <c:pt idx="416">
                  <c:v>2.0508859000000001E-2</c:v>
                </c:pt>
                <c:pt idx="417">
                  <c:v>2.0534279999999999E-2</c:v>
                </c:pt>
                <c:pt idx="418">
                  <c:v>2.0513851E-2</c:v>
                </c:pt>
                <c:pt idx="419">
                  <c:v>2.046852E-2</c:v>
                </c:pt>
                <c:pt idx="420">
                  <c:v>2.0409541999999999E-2</c:v>
                </c:pt>
                <c:pt idx="421">
                  <c:v>2.0357381000000001E-2</c:v>
                </c:pt>
                <c:pt idx="422">
                  <c:v>2.0357330999999999E-2</c:v>
                </c:pt>
                <c:pt idx="423">
                  <c:v>2.0470486999999999E-2</c:v>
                </c:pt>
                <c:pt idx="424">
                  <c:v>2.0498306000000001E-2</c:v>
                </c:pt>
                <c:pt idx="425">
                  <c:v>2.0526582000000002E-2</c:v>
                </c:pt>
                <c:pt idx="426">
                  <c:v>2.0547876E-2</c:v>
                </c:pt>
                <c:pt idx="427">
                  <c:v>2.0523261000000001E-2</c:v>
                </c:pt>
                <c:pt idx="428">
                  <c:v>2.0417297000000001E-2</c:v>
                </c:pt>
                <c:pt idx="429">
                  <c:v>2.0357291E-2</c:v>
                </c:pt>
                <c:pt idx="430">
                  <c:v>2.0266077E-2</c:v>
                </c:pt>
                <c:pt idx="431">
                  <c:v>2.0168484E-2</c:v>
                </c:pt>
                <c:pt idx="432">
                  <c:v>2.0089719999999998E-2</c:v>
                </c:pt>
                <c:pt idx="433">
                  <c:v>1.999855E-2</c:v>
                </c:pt>
                <c:pt idx="434">
                  <c:v>1.9975320000000001E-2</c:v>
                </c:pt>
                <c:pt idx="435">
                  <c:v>1.9956953999999999E-2</c:v>
                </c:pt>
                <c:pt idx="436">
                  <c:v>2.0075196999999999E-2</c:v>
                </c:pt>
                <c:pt idx="437">
                  <c:v>2.0294792999999998E-2</c:v>
                </c:pt>
                <c:pt idx="438">
                  <c:v>2.0228808000000001E-2</c:v>
                </c:pt>
                <c:pt idx="439">
                  <c:v>2.0162703000000001E-2</c:v>
                </c:pt>
                <c:pt idx="440">
                  <c:v>2.0115372999999999E-2</c:v>
                </c:pt>
                <c:pt idx="441">
                  <c:v>2.0038796000000001E-2</c:v>
                </c:pt>
                <c:pt idx="442">
                  <c:v>1.9988200000000001E-2</c:v>
                </c:pt>
                <c:pt idx="443">
                  <c:v>1.9813371999999999E-2</c:v>
                </c:pt>
                <c:pt idx="444">
                  <c:v>1.9660402E-2</c:v>
                </c:pt>
                <c:pt idx="445">
                  <c:v>1.9513591E-2</c:v>
                </c:pt>
                <c:pt idx="446">
                  <c:v>1.9450939E-2</c:v>
                </c:pt>
                <c:pt idx="447">
                  <c:v>1.9338000000000001E-2</c:v>
                </c:pt>
                <c:pt idx="448">
                  <c:v>1.9225854000000001E-2</c:v>
                </c:pt>
                <c:pt idx="449">
                  <c:v>1.9124035000000001E-2</c:v>
                </c:pt>
                <c:pt idx="450">
                  <c:v>1.9096812000000001E-2</c:v>
                </c:pt>
                <c:pt idx="451">
                  <c:v>1.9269182999999999E-2</c:v>
                </c:pt>
                <c:pt idx="452">
                  <c:v>1.9290218000000001E-2</c:v>
                </c:pt>
                <c:pt idx="453">
                  <c:v>1.9361884999999999E-2</c:v>
                </c:pt>
                <c:pt idx="454">
                  <c:v>1.9385856999999999E-2</c:v>
                </c:pt>
                <c:pt idx="455">
                  <c:v>1.9450246000000001E-2</c:v>
                </c:pt>
                <c:pt idx="456">
                  <c:v>1.9457212000000002E-2</c:v>
                </c:pt>
                <c:pt idx="457">
                  <c:v>1.9385249E-2</c:v>
                </c:pt>
                <c:pt idx="458">
                  <c:v>1.9315431000000001E-2</c:v>
                </c:pt>
                <c:pt idx="459">
                  <c:v>1.9299237E-2</c:v>
                </c:pt>
                <c:pt idx="460">
                  <c:v>1.9242018999999999E-2</c:v>
                </c:pt>
                <c:pt idx="461">
                  <c:v>1.9277141000000001E-2</c:v>
                </c:pt>
                <c:pt idx="462">
                  <c:v>1.9329875999999999E-2</c:v>
                </c:pt>
                <c:pt idx="463">
                  <c:v>1.9539779E-2</c:v>
                </c:pt>
                <c:pt idx="464">
                  <c:v>1.9697368999999999E-2</c:v>
                </c:pt>
                <c:pt idx="465">
                  <c:v>1.9929215E-2</c:v>
                </c:pt>
                <c:pt idx="466">
                  <c:v>2.0234400999999999E-2</c:v>
                </c:pt>
                <c:pt idx="467">
                  <c:v>2.0431472999999999E-2</c:v>
                </c:pt>
                <c:pt idx="468">
                  <c:v>2.0539712000000002E-2</c:v>
                </c:pt>
                <c:pt idx="469">
                  <c:v>2.0732608999999999E-2</c:v>
                </c:pt>
                <c:pt idx="470">
                  <c:v>2.0831265000000002E-2</c:v>
                </c:pt>
                <c:pt idx="471">
                  <c:v>2.0902028E-2</c:v>
                </c:pt>
                <c:pt idx="472">
                  <c:v>2.0984474999999999E-2</c:v>
                </c:pt>
                <c:pt idx="473">
                  <c:v>2.1123880000000001E-2</c:v>
                </c:pt>
                <c:pt idx="474">
                  <c:v>2.1328469999999999E-2</c:v>
                </c:pt>
                <c:pt idx="475">
                  <c:v>2.1435705999999999E-2</c:v>
                </c:pt>
                <c:pt idx="476">
                  <c:v>2.1461853999999999E-2</c:v>
                </c:pt>
                <c:pt idx="477">
                  <c:v>2.1459652999999999E-2</c:v>
                </c:pt>
                <c:pt idx="478">
                  <c:v>2.1544626000000001E-2</c:v>
                </c:pt>
                <c:pt idx="479">
                  <c:v>2.1649833E-2</c:v>
                </c:pt>
                <c:pt idx="480">
                  <c:v>2.1565287999999998E-2</c:v>
                </c:pt>
                <c:pt idx="481">
                  <c:v>2.1727674999999998E-2</c:v>
                </c:pt>
                <c:pt idx="482">
                  <c:v>2.1952840000000001E-2</c:v>
                </c:pt>
                <c:pt idx="483">
                  <c:v>2.2396341E-2</c:v>
                </c:pt>
                <c:pt idx="484">
                  <c:v>2.2726314000000001E-2</c:v>
                </c:pt>
                <c:pt idx="485">
                  <c:v>2.2942293999999998E-2</c:v>
                </c:pt>
                <c:pt idx="486">
                  <c:v>2.3103340999999999E-2</c:v>
                </c:pt>
                <c:pt idx="487">
                  <c:v>2.3328873999999999E-2</c:v>
                </c:pt>
                <c:pt idx="488">
                  <c:v>2.3595033000000001E-2</c:v>
                </c:pt>
                <c:pt idx="489">
                  <c:v>2.3838848999999999E-2</c:v>
                </c:pt>
                <c:pt idx="490">
                  <c:v>2.4029340999999999E-2</c:v>
                </c:pt>
                <c:pt idx="491">
                  <c:v>2.4292820999999999E-2</c:v>
                </c:pt>
                <c:pt idx="492">
                  <c:v>2.45878E-2</c:v>
                </c:pt>
                <c:pt idx="493">
                  <c:v>2.4859421E-2</c:v>
                </c:pt>
                <c:pt idx="494">
                  <c:v>2.5085065E-2</c:v>
                </c:pt>
                <c:pt idx="495">
                  <c:v>2.540595E-2</c:v>
                </c:pt>
                <c:pt idx="496">
                  <c:v>2.5754289999999999E-2</c:v>
                </c:pt>
                <c:pt idx="497">
                  <c:v>2.6046284999999999E-2</c:v>
                </c:pt>
                <c:pt idx="498">
                  <c:v>2.6279485000000002E-2</c:v>
                </c:pt>
                <c:pt idx="499">
                  <c:v>2.6463443E-2</c:v>
                </c:pt>
                <c:pt idx="500">
                  <c:v>2.6744481000000001E-2</c:v>
                </c:pt>
                <c:pt idx="501">
                  <c:v>2.7033702E-2</c:v>
                </c:pt>
                <c:pt idx="502">
                  <c:v>2.7336615000000002E-2</c:v>
                </c:pt>
                <c:pt idx="503">
                  <c:v>2.7540878000000001E-2</c:v>
                </c:pt>
                <c:pt idx="504">
                  <c:v>2.773846E-2</c:v>
                </c:pt>
                <c:pt idx="505">
                  <c:v>2.7907233E-2</c:v>
                </c:pt>
                <c:pt idx="506">
                  <c:v>2.8149264E-2</c:v>
                </c:pt>
                <c:pt idx="507">
                  <c:v>2.8410521000000001E-2</c:v>
                </c:pt>
                <c:pt idx="508">
                  <c:v>2.8566731000000001E-2</c:v>
                </c:pt>
                <c:pt idx="509">
                  <c:v>2.8716414999999999E-2</c:v>
                </c:pt>
                <c:pt idx="510">
                  <c:v>2.8844187E-2</c:v>
                </c:pt>
                <c:pt idx="511">
                  <c:v>2.8976259000000001E-2</c:v>
                </c:pt>
                <c:pt idx="512">
                  <c:v>2.9124797000000001E-2</c:v>
                </c:pt>
                <c:pt idx="513">
                  <c:v>2.9352380000000001E-2</c:v>
                </c:pt>
                <c:pt idx="514">
                  <c:v>2.9586636999999999E-2</c:v>
                </c:pt>
                <c:pt idx="515">
                  <c:v>2.9822036E-2</c:v>
                </c:pt>
                <c:pt idx="516">
                  <c:v>3.0174564000000001E-2</c:v>
                </c:pt>
                <c:pt idx="517">
                  <c:v>3.0413514999999999E-2</c:v>
                </c:pt>
                <c:pt idx="518">
                  <c:v>3.0606432999999999E-2</c:v>
                </c:pt>
                <c:pt idx="519">
                  <c:v>3.0708494999999999E-2</c:v>
                </c:pt>
                <c:pt idx="520">
                  <c:v>3.0915501000000001E-2</c:v>
                </c:pt>
                <c:pt idx="521">
                  <c:v>3.1056476999999999E-2</c:v>
                </c:pt>
                <c:pt idx="522">
                  <c:v>3.1194467E-2</c:v>
                </c:pt>
                <c:pt idx="523">
                  <c:v>3.1296228000000002E-2</c:v>
                </c:pt>
                <c:pt idx="524">
                  <c:v>3.1467136999999999E-2</c:v>
                </c:pt>
                <c:pt idx="525">
                  <c:v>3.1616348000000002E-2</c:v>
                </c:pt>
                <c:pt idx="526">
                  <c:v>3.1748919E-2</c:v>
                </c:pt>
                <c:pt idx="527">
                  <c:v>3.1909038000000001E-2</c:v>
                </c:pt>
                <c:pt idx="528">
                  <c:v>3.2014504999999999E-2</c:v>
                </c:pt>
                <c:pt idx="529">
                  <c:v>3.2109849000000003E-2</c:v>
                </c:pt>
                <c:pt idx="530">
                  <c:v>3.2239952000000002E-2</c:v>
                </c:pt>
                <c:pt idx="531">
                  <c:v>3.2352959000000001E-2</c:v>
                </c:pt>
                <c:pt idx="532">
                  <c:v>3.2358666000000001E-2</c:v>
                </c:pt>
                <c:pt idx="533">
                  <c:v>3.2524401000000001E-2</c:v>
                </c:pt>
                <c:pt idx="534">
                  <c:v>3.2690420999999997E-2</c:v>
                </c:pt>
                <c:pt idx="535">
                  <c:v>3.2890888E-2</c:v>
                </c:pt>
                <c:pt idx="536">
                  <c:v>3.3093363000000001E-2</c:v>
                </c:pt>
                <c:pt idx="537">
                  <c:v>3.3469600000000002E-2</c:v>
                </c:pt>
                <c:pt idx="538">
                  <c:v>3.3914303E-2</c:v>
                </c:pt>
                <c:pt idx="539">
                  <c:v>3.4090216E-2</c:v>
                </c:pt>
                <c:pt idx="540">
                  <c:v>3.4283688E-2</c:v>
                </c:pt>
                <c:pt idx="541">
                  <c:v>3.4476803E-2</c:v>
                </c:pt>
                <c:pt idx="542">
                  <c:v>3.4646178999999999E-2</c:v>
                </c:pt>
                <c:pt idx="543">
                  <c:v>3.4695807000000002E-2</c:v>
                </c:pt>
                <c:pt idx="544">
                  <c:v>3.4771998999999998E-2</c:v>
                </c:pt>
                <c:pt idx="545">
                  <c:v>3.4957090000000003E-2</c:v>
                </c:pt>
                <c:pt idx="546">
                  <c:v>3.5205185E-2</c:v>
                </c:pt>
                <c:pt idx="547">
                  <c:v>3.5484090000000003E-2</c:v>
                </c:pt>
                <c:pt idx="548">
                  <c:v>3.5712318999999999E-2</c:v>
                </c:pt>
                <c:pt idx="549">
                  <c:v>3.5981157E-2</c:v>
                </c:pt>
                <c:pt idx="550">
                  <c:v>3.6210733000000002E-2</c:v>
                </c:pt>
                <c:pt idx="551">
                  <c:v>3.6486025999999998E-2</c:v>
                </c:pt>
                <c:pt idx="552">
                  <c:v>3.6736475999999997E-2</c:v>
                </c:pt>
                <c:pt idx="553">
                  <c:v>3.7019182999999997E-2</c:v>
                </c:pt>
                <c:pt idx="554">
                  <c:v>3.7234340999999997E-2</c:v>
                </c:pt>
                <c:pt idx="555">
                  <c:v>3.7519607000000003E-2</c:v>
                </c:pt>
                <c:pt idx="556">
                  <c:v>3.7683597999999999E-2</c:v>
                </c:pt>
                <c:pt idx="557">
                  <c:v>3.7624767000000003E-2</c:v>
                </c:pt>
                <c:pt idx="558">
                  <c:v>3.7744657000000001E-2</c:v>
                </c:pt>
                <c:pt idx="559">
                  <c:v>3.7903353000000001E-2</c:v>
                </c:pt>
                <c:pt idx="560">
                  <c:v>3.8061268000000002E-2</c:v>
                </c:pt>
                <c:pt idx="561">
                  <c:v>3.8263296000000002E-2</c:v>
                </c:pt>
                <c:pt idx="562">
                  <c:v>3.8644562E-2</c:v>
                </c:pt>
                <c:pt idx="563">
                  <c:v>3.8932306E-2</c:v>
                </c:pt>
                <c:pt idx="564">
                  <c:v>3.9072698000000003E-2</c:v>
                </c:pt>
                <c:pt idx="565">
                  <c:v>3.9292543999999999E-2</c:v>
                </c:pt>
                <c:pt idx="566">
                  <c:v>3.9520969000000003E-2</c:v>
                </c:pt>
                <c:pt idx="567">
                  <c:v>3.9504059000000001E-2</c:v>
                </c:pt>
                <c:pt idx="568">
                  <c:v>3.9577330000000001E-2</c:v>
                </c:pt>
                <c:pt idx="569">
                  <c:v>3.9656067000000003E-2</c:v>
                </c:pt>
                <c:pt idx="570">
                  <c:v>3.980856E-2</c:v>
                </c:pt>
                <c:pt idx="571">
                  <c:v>3.9794326999999997E-2</c:v>
                </c:pt>
                <c:pt idx="572">
                  <c:v>3.9890674000000001E-2</c:v>
                </c:pt>
                <c:pt idx="573">
                  <c:v>4.0023876999999999E-2</c:v>
                </c:pt>
                <c:pt idx="574">
                  <c:v>4.0108246E-2</c:v>
                </c:pt>
                <c:pt idx="575">
                  <c:v>4.0194217999999997E-2</c:v>
                </c:pt>
                <c:pt idx="576">
                  <c:v>4.0317161999999997E-2</c:v>
                </c:pt>
                <c:pt idx="577">
                  <c:v>4.0570146000000001E-2</c:v>
                </c:pt>
                <c:pt idx="578">
                  <c:v>4.0812212E-2</c:v>
                </c:pt>
                <c:pt idx="579">
                  <c:v>4.1020777000000001E-2</c:v>
                </c:pt>
                <c:pt idx="580">
                  <c:v>4.1140296999999999E-2</c:v>
                </c:pt>
                <c:pt idx="581">
                  <c:v>4.1241624999999997E-2</c:v>
                </c:pt>
                <c:pt idx="582">
                  <c:v>4.1314347000000001E-2</c:v>
                </c:pt>
                <c:pt idx="583">
                  <c:v>4.1271715E-2</c:v>
                </c:pt>
                <c:pt idx="584">
                  <c:v>4.1243941999999999E-2</c:v>
                </c:pt>
                <c:pt idx="585">
                  <c:v>4.1161755000000001E-2</c:v>
                </c:pt>
                <c:pt idx="586">
                  <c:v>4.1038142999999999E-2</c:v>
                </c:pt>
                <c:pt idx="587">
                  <c:v>4.1052786000000001E-2</c:v>
                </c:pt>
                <c:pt idx="588">
                  <c:v>4.1046997000000002E-2</c:v>
                </c:pt>
                <c:pt idx="589">
                  <c:v>4.0924716E-2</c:v>
                </c:pt>
                <c:pt idx="590">
                  <c:v>4.0963349000000003E-2</c:v>
                </c:pt>
                <c:pt idx="591">
                  <c:v>4.1019315000000001E-2</c:v>
                </c:pt>
                <c:pt idx="592">
                  <c:v>4.1054607999999999E-2</c:v>
                </c:pt>
                <c:pt idx="593">
                  <c:v>4.0986674000000001E-2</c:v>
                </c:pt>
                <c:pt idx="594">
                  <c:v>4.0897780000000002E-2</c:v>
                </c:pt>
                <c:pt idx="595">
                  <c:v>4.0899748E-2</c:v>
                </c:pt>
                <c:pt idx="596">
                  <c:v>4.0869642999999997E-2</c:v>
                </c:pt>
                <c:pt idx="597">
                  <c:v>4.0901557999999998E-2</c:v>
                </c:pt>
                <c:pt idx="598">
                  <c:v>4.0836333000000002E-2</c:v>
                </c:pt>
                <c:pt idx="599">
                  <c:v>4.0736346999999999E-2</c:v>
                </c:pt>
                <c:pt idx="600">
                  <c:v>4.0615258000000001E-2</c:v>
                </c:pt>
                <c:pt idx="601">
                  <c:v>4.0437954999999998E-2</c:v>
                </c:pt>
                <c:pt idx="602">
                  <c:v>4.0171634999999997E-2</c:v>
                </c:pt>
                <c:pt idx="603">
                  <c:v>3.9744245999999997E-2</c:v>
                </c:pt>
                <c:pt idx="604">
                  <c:v>3.9425922000000002E-2</c:v>
                </c:pt>
                <c:pt idx="605">
                  <c:v>3.9219931E-2</c:v>
                </c:pt>
                <c:pt idx="606">
                  <c:v>3.9001145000000001E-2</c:v>
                </c:pt>
                <c:pt idx="607">
                  <c:v>3.8724206999999997E-2</c:v>
                </c:pt>
                <c:pt idx="608">
                  <c:v>3.8462001000000003E-2</c:v>
                </c:pt>
                <c:pt idx="609">
                  <c:v>3.8215917000000002E-2</c:v>
                </c:pt>
                <c:pt idx="610">
                  <c:v>3.8005495E-2</c:v>
                </c:pt>
                <c:pt idx="611">
                  <c:v>3.7777563E-2</c:v>
                </c:pt>
                <c:pt idx="612">
                  <c:v>3.7585368000000001E-2</c:v>
                </c:pt>
                <c:pt idx="613">
                  <c:v>3.7377135999999998E-2</c:v>
                </c:pt>
                <c:pt idx="614">
                  <c:v>3.7285464999999997E-2</c:v>
                </c:pt>
                <c:pt idx="615">
                  <c:v>3.7225194000000003E-2</c:v>
                </c:pt>
                <c:pt idx="616">
                  <c:v>3.7019546E-2</c:v>
                </c:pt>
                <c:pt idx="617">
                  <c:v>3.6869526999999999E-2</c:v>
                </c:pt>
                <c:pt idx="618">
                  <c:v>3.6734261999999997E-2</c:v>
                </c:pt>
                <c:pt idx="619">
                  <c:v>3.6598848000000003E-2</c:v>
                </c:pt>
                <c:pt idx="620">
                  <c:v>3.6460739999999998E-2</c:v>
                </c:pt>
                <c:pt idx="621">
                  <c:v>3.6317901999999999E-2</c:v>
                </c:pt>
                <c:pt idx="622">
                  <c:v>3.6206927999999999E-2</c:v>
                </c:pt>
                <c:pt idx="623">
                  <c:v>3.6127695000000001E-2</c:v>
                </c:pt>
                <c:pt idx="624">
                  <c:v>3.6172784999999999E-2</c:v>
                </c:pt>
                <c:pt idx="625">
                  <c:v>3.6202273E-2</c:v>
                </c:pt>
                <c:pt idx="626">
                  <c:v>3.6132910999999997E-2</c:v>
                </c:pt>
                <c:pt idx="627">
                  <c:v>3.6192354000000003E-2</c:v>
                </c:pt>
                <c:pt idx="628">
                  <c:v>3.6261970999999997E-2</c:v>
                </c:pt>
                <c:pt idx="629">
                  <c:v>3.6320822000000003E-2</c:v>
                </c:pt>
                <c:pt idx="630">
                  <c:v>3.6456164999999999E-2</c:v>
                </c:pt>
                <c:pt idx="631">
                  <c:v>3.6472374000000002E-2</c:v>
                </c:pt>
                <c:pt idx="632">
                  <c:v>3.6449018999999999E-2</c:v>
                </c:pt>
                <c:pt idx="633">
                  <c:v>3.6401508999999999E-2</c:v>
                </c:pt>
                <c:pt idx="634">
                  <c:v>3.6344973000000003E-2</c:v>
                </c:pt>
                <c:pt idx="635">
                  <c:v>3.6248045999999999E-2</c:v>
                </c:pt>
                <c:pt idx="636">
                  <c:v>3.6076931E-2</c:v>
                </c:pt>
                <c:pt idx="637">
                  <c:v>3.5983435000000001E-2</c:v>
                </c:pt>
                <c:pt idx="638">
                  <c:v>3.5881590999999997E-2</c:v>
                </c:pt>
                <c:pt idx="639">
                  <c:v>3.5874357000000003E-2</c:v>
                </c:pt>
                <c:pt idx="640">
                  <c:v>3.5858650999999998E-2</c:v>
                </c:pt>
                <c:pt idx="641">
                  <c:v>3.5863269000000003E-2</c:v>
                </c:pt>
                <c:pt idx="642">
                  <c:v>3.5832216E-2</c:v>
                </c:pt>
                <c:pt idx="643">
                  <c:v>3.5810048999999997E-2</c:v>
                </c:pt>
                <c:pt idx="644">
                  <c:v>3.5702701000000003E-2</c:v>
                </c:pt>
                <c:pt idx="645">
                  <c:v>3.5712739E-2</c:v>
                </c:pt>
                <c:pt idx="646">
                  <c:v>3.5750853999999999E-2</c:v>
                </c:pt>
                <c:pt idx="647">
                  <c:v>3.5730069000000003E-2</c:v>
                </c:pt>
                <c:pt idx="648">
                  <c:v>3.5765911999999997E-2</c:v>
                </c:pt>
                <c:pt idx="649">
                  <c:v>3.5761778000000001E-2</c:v>
                </c:pt>
                <c:pt idx="650">
                  <c:v>3.5634774000000001E-2</c:v>
                </c:pt>
                <c:pt idx="651">
                  <c:v>3.5627348000000003E-2</c:v>
                </c:pt>
                <c:pt idx="652">
                  <c:v>3.5587767999999999E-2</c:v>
                </c:pt>
                <c:pt idx="653">
                  <c:v>3.5444765000000003E-2</c:v>
                </c:pt>
                <c:pt idx="654">
                  <c:v>3.5348204000000001E-2</c:v>
                </c:pt>
                <c:pt idx="655">
                  <c:v>3.5242363999999998E-2</c:v>
                </c:pt>
                <c:pt idx="656">
                  <c:v>3.5126638000000002E-2</c:v>
                </c:pt>
                <c:pt idx="657">
                  <c:v>3.4797024000000003E-2</c:v>
                </c:pt>
                <c:pt idx="658">
                  <c:v>3.440381E-2</c:v>
                </c:pt>
                <c:pt idx="659">
                  <c:v>3.4330581999999998E-2</c:v>
                </c:pt>
                <c:pt idx="660">
                  <c:v>3.4232656E-2</c:v>
                </c:pt>
                <c:pt idx="661">
                  <c:v>3.4260332999999997E-2</c:v>
                </c:pt>
                <c:pt idx="662">
                  <c:v>3.4097216E-2</c:v>
                </c:pt>
                <c:pt idx="663">
                  <c:v>3.3941736E-2</c:v>
                </c:pt>
                <c:pt idx="664">
                  <c:v>3.3863457999999999E-2</c:v>
                </c:pt>
                <c:pt idx="665">
                  <c:v>3.3832603000000003E-2</c:v>
                </c:pt>
                <c:pt idx="666">
                  <c:v>3.3669916000000001E-2</c:v>
                </c:pt>
                <c:pt idx="667">
                  <c:v>3.3514521999999998E-2</c:v>
                </c:pt>
                <c:pt idx="668">
                  <c:v>3.3454022E-2</c:v>
                </c:pt>
                <c:pt idx="669">
                  <c:v>3.3386139000000002E-2</c:v>
                </c:pt>
                <c:pt idx="670">
                  <c:v>3.3333321999999999E-2</c:v>
                </c:pt>
                <c:pt idx="671">
                  <c:v>3.3238454000000001E-2</c:v>
                </c:pt>
                <c:pt idx="672">
                  <c:v>3.3042636E-2</c:v>
                </c:pt>
                <c:pt idx="673">
                  <c:v>3.2801144999999997E-2</c:v>
                </c:pt>
                <c:pt idx="674">
                  <c:v>3.2585300999999997E-2</c:v>
                </c:pt>
                <c:pt idx="675">
                  <c:v>3.2252007999999999E-2</c:v>
                </c:pt>
                <c:pt idx="676">
                  <c:v>3.1990515999999997E-2</c:v>
                </c:pt>
                <c:pt idx="677">
                  <c:v>3.1764826000000003E-2</c:v>
                </c:pt>
                <c:pt idx="678">
                  <c:v>3.1652870999999999E-2</c:v>
                </c:pt>
                <c:pt idx="679">
                  <c:v>3.1423025E-2</c:v>
                </c:pt>
                <c:pt idx="680">
                  <c:v>3.1213107E-2</c:v>
                </c:pt>
                <c:pt idx="681">
                  <c:v>3.0946134E-2</c:v>
                </c:pt>
                <c:pt idx="682">
                  <c:v>3.0514353000000001E-2</c:v>
                </c:pt>
                <c:pt idx="683">
                  <c:v>3.0197360999999999E-2</c:v>
                </c:pt>
                <c:pt idx="684">
                  <c:v>3.0007776E-2</c:v>
                </c:pt>
                <c:pt idx="685">
                  <c:v>2.9872986000000001E-2</c:v>
                </c:pt>
                <c:pt idx="686">
                  <c:v>2.9573556000000001E-2</c:v>
                </c:pt>
                <c:pt idx="687">
                  <c:v>2.9369930999999998E-2</c:v>
                </c:pt>
                <c:pt idx="688">
                  <c:v>2.9185903999999999E-2</c:v>
                </c:pt>
                <c:pt idx="689">
                  <c:v>2.9030463999999999E-2</c:v>
                </c:pt>
                <c:pt idx="690">
                  <c:v>2.8810490000000001E-2</c:v>
                </c:pt>
                <c:pt idx="691">
                  <c:v>2.8602806000000001E-2</c:v>
                </c:pt>
                <c:pt idx="692">
                  <c:v>2.8407946E-2</c:v>
                </c:pt>
                <c:pt idx="693">
                  <c:v>2.8111985999999999E-2</c:v>
                </c:pt>
                <c:pt idx="694">
                  <c:v>2.7870912000000001E-2</c:v>
                </c:pt>
                <c:pt idx="695">
                  <c:v>2.7581412999999999E-2</c:v>
                </c:pt>
                <c:pt idx="696">
                  <c:v>2.7291971000000002E-2</c:v>
                </c:pt>
                <c:pt idx="697">
                  <c:v>2.6877168E-2</c:v>
                </c:pt>
                <c:pt idx="698">
                  <c:v>2.6493650000000001E-2</c:v>
                </c:pt>
                <c:pt idx="699">
                  <c:v>2.6135602000000001E-2</c:v>
                </c:pt>
                <c:pt idx="700">
                  <c:v>2.5885999999999999E-2</c:v>
                </c:pt>
                <c:pt idx="701">
                  <c:v>2.5598238999999998E-2</c:v>
                </c:pt>
                <c:pt idx="702">
                  <c:v>2.5380709000000001E-2</c:v>
                </c:pt>
                <c:pt idx="703">
                  <c:v>2.5218858E-2</c:v>
                </c:pt>
                <c:pt idx="704">
                  <c:v>2.5046539999999999E-2</c:v>
                </c:pt>
                <c:pt idx="705">
                  <c:v>2.4937766E-2</c:v>
                </c:pt>
                <c:pt idx="706">
                  <c:v>2.4769548999999998E-2</c:v>
                </c:pt>
                <c:pt idx="707">
                  <c:v>2.4556976000000001E-2</c:v>
                </c:pt>
                <c:pt idx="708">
                  <c:v>2.4394867000000001E-2</c:v>
                </c:pt>
                <c:pt idx="709">
                  <c:v>2.4281414000000001E-2</c:v>
                </c:pt>
                <c:pt idx="710">
                  <c:v>2.4121355000000001E-2</c:v>
                </c:pt>
                <c:pt idx="711">
                  <c:v>2.3986968000000001E-2</c:v>
                </c:pt>
                <c:pt idx="712">
                  <c:v>2.3883202999999999E-2</c:v>
                </c:pt>
                <c:pt idx="713">
                  <c:v>2.3790314E-2</c:v>
                </c:pt>
                <c:pt idx="714">
                  <c:v>2.3659652999999999E-2</c:v>
                </c:pt>
                <c:pt idx="715">
                  <c:v>2.3561550000000001E-2</c:v>
                </c:pt>
                <c:pt idx="716">
                  <c:v>2.3429578999999999E-2</c:v>
                </c:pt>
                <c:pt idx="717">
                  <c:v>2.3307693000000001E-2</c:v>
                </c:pt>
                <c:pt idx="718">
                  <c:v>2.3174099E-2</c:v>
                </c:pt>
                <c:pt idx="719">
                  <c:v>2.3096760000000001E-2</c:v>
                </c:pt>
                <c:pt idx="720">
                  <c:v>2.3077146999999999E-2</c:v>
                </c:pt>
                <c:pt idx="721">
                  <c:v>2.3056508E-2</c:v>
                </c:pt>
                <c:pt idx="722">
                  <c:v>2.3067109999999998E-2</c:v>
                </c:pt>
                <c:pt idx="723">
                  <c:v>2.3117347999999999E-2</c:v>
                </c:pt>
                <c:pt idx="724">
                  <c:v>2.3126595E-2</c:v>
                </c:pt>
                <c:pt idx="725">
                  <c:v>2.308953E-2</c:v>
                </c:pt>
                <c:pt idx="726">
                  <c:v>2.3093906000000001E-2</c:v>
                </c:pt>
                <c:pt idx="727">
                  <c:v>2.3138746000000002E-2</c:v>
                </c:pt>
                <c:pt idx="728">
                  <c:v>2.3219172999999999E-2</c:v>
                </c:pt>
                <c:pt idx="729">
                  <c:v>2.3342392E-2</c:v>
                </c:pt>
                <c:pt idx="730">
                  <c:v>2.3390594000000001E-2</c:v>
                </c:pt>
                <c:pt idx="731">
                  <c:v>2.3465647999999999E-2</c:v>
                </c:pt>
                <c:pt idx="732">
                  <c:v>2.3475381999999999E-2</c:v>
                </c:pt>
                <c:pt idx="733">
                  <c:v>2.3463175999999999E-2</c:v>
                </c:pt>
                <c:pt idx="734">
                  <c:v>2.3395226000000002E-2</c:v>
                </c:pt>
                <c:pt idx="735">
                  <c:v>2.3224714E-2</c:v>
                </c:pt>
                <c:pt idx="736">
                  <c:v>2.3161671000000002E-2</c:v>
                </c:pt>
                <c:pt idx="737">
                  <c:v>2.3056844E-2</c:v>
                </c:pt>
                <c:pt idx="738">
                  <c:v>2.2975288999999999E-2</c:v>
                </c:pt>
                <c:pt idx="739">
                  <c:v>2.2958560999999999E-2</c:v>
                </c:pt>
                <c:pt idx="740">
                  <c:v>2.2873153E-2</c:v>
                </c:pt>
                <c:pt idx="741">
                  <c:v>2.2814833E-2</c:v>
                </c:pt>
                <c:pt idx="742">
                  <c:v>2.2672286E-2</c:v>
                </c:pt>
                <c:pt idx="743">
                  <c:v>2.2575904000000001E-2</c:v>
                </c:pt>
                <c:pt idx="744">
                  <c:v>2.2346214999999999E-2</c:v>
                </c:pt>
                <c:pt idx="745">
                  <c:v>2.2190293E-2</c:v>
                </c:pt>
                <c:pt idx="746">
                  <c:v>2.2013940999999999E-2</c:v>
                </c:pt>
                <c:pt idx="747">
                  <c:v>2.1769097000000001E-2</c:v>
                </c:pt>
                <c:pt idx="748">
                  <c:v>2.1624368000000001E-2</c:v>
                </c:pt>
                <c:pt idx="749">
                  <c:v>2.1461204000000001E-2</c:v>
                </c:pt>
                <c:pt idx="750">
                  <c:v>2.116239E-2</c:v>
                </c:pt>
                <c:pt idx="751">
                  <c:v>2.1006948000000001E-2</c:v>
                </c:pt>
                <c:pt idx="752">
                  <c:v>2.0854016E-2</c:v>
                </c:pt>
                <c:pt idx="753">
                  <c:v>2.0701349000000001E-2</c:v>
                </c:pt>
                <c:pt idx="754">
                  <c:v>2.0553821E-2</c:v>
                </c:pt>
                <c:pt idx="755">
                  <c:v>2.0443426000000001E-2</c:v>
                </c:pt>
                <c:pt idx="756">
                  <c:v>2.0288799E-2</c:v>
                </c:pt>
                <c:pt idx="757">
                  <c:v>2.0181607000000001E-2</c:v>
                </c:pt>
                <c:pt idx="758">
                  <c:v>2.0078428999999998E-2</c:v>
                </c:pt>
                <c:pt idx="759">
                  <c:v>1.9955872999999999E-2</c:v>
                </c:pt>
                <c:pt idx="760">
                  <c:v>1.9772339999999999E-2</c:v>
                </c:pt>
                <c:pt idx="761">
                  <c:v>1.9591531999999998E-2</c:v>
                </c:pt>
                <c:pt idx="762">
                  <c:v>1.9437659999999999E-2</c:v>
                </c:pt>
                <c:pt idx="763">
                  <c:v>1.9381677E-2</c:v>
                </c:pt>
                <c:pt idx="764">
                  <c:v>1.9313125E-2</c:v>
                </c:pt>
                <c:pt idx="765">
                  <c:v>1.9157196000000001E-2</c:v>
                </c:pt>
                <c:pt idx="766">
                  <c:v>1.8987583999999998E-2</c:v>
                </c:pt>
                <c:pt idx="767">
                  <c:v>1.8839538999999999E-2</c:v>
                </c:pt>
                <c:pt idx="768">
                  <c:v>1.8741880999999998E-2</c:v>
                </c:pt>
                <c:pt idx="769">
                  <c:v>1.8568467000000002E-2</c:v>
                </c:pt>
                <c:pt idx="770">
                  <c:v>1.8453632000000001E-2</c:v>
                </c:pt>
                <c:pt idx="771">
                  <c:v>1.8349318999999999E-2</c:v>
                </c:pt>
                <c:pt idx="772">
                  <c:v>1.8234347000000001E-2</c:v>
                </c:pt>
                <c:pt idx="773">
                  <c:v>1.8131029999999999E-2</c:v>
                </c:pt>
                <c:pt idx="774">
                  <c:v>1.8045612999999999E-2</c:v>
                </c:pt>
                <c:pt idx="775">
                  <c:v>1.7945718999999999E-2</c:v>
                </c:pt>
                <c:pt idx="776">
                  <c:v>1.7861854999999999E-2</c:v>
                </c:pt>
                <c:pt idx="777">
                  <c:v>1.7774346E-2</c:v>
                </c:pt>
                <c:pt idx="778">
                  <c:v>1.7699784999999999E-2</c:v>
                </c:pt>
                <c:pt idx="779">
                  <c:v>1.7594050999999999E-2</c:v>
                </c:pt>
                <c:pt idx="780">
                  <c:v>1.7504938000000001E-2</c:v>
                </c:pt>
                <c:pt idx="781">
                  <c:v>1.7285543E-2</c:v>
                </c:pt>
                <c:pt idx="782">
                  <c:v>1.7287113E-2</c:v>
                </c:pt>
                <c:pt idx="783">
                  <c:v>1.7240499999999999E-2</c:v>
                </c:pt>
                <c:pt idx="784">
                  <c:v>1.7150895999999999E-2</c:v>
                </c:pt>
                <c:pt idx="785">
                  <c:v>1.7001347E-2</c:v>
                </c:pt>
                <c:pt idx="786">
                  <c:v>1.6861068999999999E-2</c:v>
                </c:pt>
                <c:pt idx="787">
                  <c:v>1.6721127999999998E-2</c:v>
                </c:pt>
                <c:pt idx="788">
                  <c:v>1.6554626999999999E-2</c:v>
                </c:pt>
                <c:pt idx="789">
                  <c:v>1.6351267999999999E-2</c:v>
                </c:pt>
                <c:pt idx="790">
                  <c:v>1.6141214000000001E-2</c:v>
                </c:pt>
                <c:pt idx="791">
                  <c:v>1.5917121999999999E-2</c:v>
                </c:pt>
                <c:pt idx="792">
                  <c:v>1.5832615000000001E-2</c:v>
                </c:pt>
                <c:pt idx="793">
                  <c:v>1.5733223000000001E-2</c:v>
                </c:pt>
                <c:pt idx="794">
                  <c:v>1.5665854E-2</c:v>
                </c:pt>
                <c:pt idx="795">
                  <c:v>1.5620436999999999E-2</c:v>
                </c:pt>
                <c:pt idx="796">
                  <c:v>1.5544433E-2</c:v>
                </c:pt>
                <c:pt idx="797">
                  <c:v>1.5484421E-2</c:v>
                </c:pt>
                <c:pt idx="798">
                  <c:v>1.5395750999999999E-2</c:v>
                </c:pt>
                <c:pt idx="799">
                  <c:v>1.5422063999999999E-2</c:v>
                </c:pt>
                <c:pt idx="800">
                  <c:v>1.5618833E-2</c:v>
                </c:pt>
                <c:pt idx="801">
                  <c:v>1.5777020999999999E-2</c:v>
                </c:pt>
                <c:pt idx="802">
                  <c:v>1.5735247000000001E-2</c:v>
                </c:pt>
                <c:pt idx="803">
                  <c:v>1.5676411000000001E-2</c:v>
                </c:pt>
                <c:pt idx="804">
                  <c:v>1.5754628E-2</c:v>
                </c:pt>
                <c:pt idx="805">
                  <c:v>1.5717330000000002E-2</c:v>
                </c:pt>
                <c:pt idx="806">
                  <c:v>1.5777461999999999E-2</c:v>
                </c:pt>
                <c:pt idx="807">
                  <c:v>1.5826954000000001E-2</c:v>
                </c:pt>
                <c:pt idx="808">
                  <c:v>1.5828583E-2</c:v>
                </c:pt>
                <c:pt idx="809">
                  <c:v>1.5848640000000001E-2</c:v>
                </c:pt>
                <c:pt idx="810">
                  <c:v>1.5815544000000001E-2</c:v>
                </c:pt>
                <c:pt idx="811">
                  <c:v>1.5800508000000001E-2</c:v>
                </c:pt>
                <c:pt idx="812">
                  <c:v>1.5798512000000001E-2</c:v>
                </c:pt>
                <c:pt idx="813">
                  <c:v>1.5809674999999999E-2</c:v>
                </c:pt>
                <c:pt idx="814">
                  <c:v>1.5817975000000001E-2</c:v>
                </c:pt>
                <c:pt idx="815">
                  <c:v>1.5795991999999998E-2</c:v>
                </c:pt>
                <c:pt idx="816">
                  <c:v>1.5785335000000001E-2</c:v>
                </c:pt>
                <c:pt idx="817">
                  <c:v>1.580937E-2</c:v>
                </c:pt>
                <c:pt idx="818">
                  <c:v>1.5817639000000001E-2</c:v>
                </c:pt>
                <c:pt idx="819">
                  <c:v>1.5834050999999998E-2</c:v>
                </c:pt>
                <c:pt idx="820">
                  <c:v>1.5825565E-2</c:v>
                </c:pt>
                <c:pt idx="821">
                  <c:v>1.5811826000000001E-2</c:v>
                </c:pt>
                <c:pt idx="822">
                  <c:v>1.5800765000000001E-2</c:v>
                </c:pt>
                <c:pt idx="823">
                  <c:v>1.5731253000000001E-2</c:v>
                </c:pt>
                <c:pt idx="824">
                  <c:v>1.5692267999999999E-2</c:v>
                </c:pt>
                <c:pt idx="825">
                  <c:v>1.5570525E-2</c:v>
                </c:pt>
                <c:pt idx="826">
                  <c:v>1.5549308E-2</c:v>
                </c:pt>
                <c:pt idx="827">
                  <c:v>1.5484144E-2</c:v>
                </c:pt>
                <c:pt idx="828">
                  <c:v>1.5445505E-2</c:v>
                </c:pt>
                <c:pt idx="829">
                  <c:v>1.5397508000000001E-2</c:v>
                </c:pt>
                <c:pt idx="830">
                  <c:v>1.5349563E-2</c:v>
                </c:pt>
                <c:pt idx="831">
                  <c:v>1.5294067E-2</c:v>
                </c:pt>
                <c:pt idx="832">
                  <c:v>1.5231464E-2</c:v>
                </c:pt>
                <c:pt idx="833">
                  <c:v>1.5157353E-2</c:v>
                </c:pt>
                <c:pt idx="834">
                  <c:v>1.5113119E-2</c:v>
                </c:pt>
                <c:pt idx="835">
                  <c:v>1.5051655000000001E-2</c:v>
                </c:pt>
                <c:pt idx="836">
                  <c:v>1.5079832E-2</c:v>
                </c:pt>
                <c:pt idx="837">
                  <c:v>1.5060584E-2</c:v>
                </c:pt>
                <c:pt idx="838">
                  <c:v>1.5076200999999999E-2</c:v>
                </c:pt>
                <c:pt idx="839">
                  <c:v>1.5010205E-2</c:v>
                </c:pt>
                <c:pt idx="840">
                  <c:v>1.4916608E-2</c:v>
                </c:pt>
                <c:pt idx="841">
                  <c:v>1.4858778E-2</c:v>
                </c:pt>
                <c:pt idx="842">
                  <c:v>1.4806444E-2</c:v>
                </c:pt>
                <c:pt idx="843">
                  <c:v>1.4703913000000001E-2</c:v>
                </c:pt>
                <c:pt idx="844">
                  <c:v>1.4593076999999999E-2</c:v>
                </c:pt>
                <c:pt idx="845">
                  <c:v>1.4509222E-2</c:v>
                </c:pt>
                <c:pt idx="846">
                  <c:v>1.4363659000000001E-2</c:v>
                </c:pt>
                <c:pt idx="847">
                  <c:v>1.4295514E-2</c:v>
                </c:pt>
                <c:pt idx="848">
                  <c:v>1.4177131000000001E-2</c:v>
                </c:pt>
                <c:pt idx="849">
                  <c:v>1.407139E-2</c:v>
                </c:pt>
                <c:pt idx="850">
                  <c:v>1.4037501000000001E-2</c:v>
                </c:pt>
                <c:pt idx="851">
                  <c:v>1.399561E-2</c:v>
                </c:pt>
                <c:pt idx="852">
                  <c:v>1.3919226E-2</c:v>
                </c:pt>
                <c:pt idx="853">
                  <c:v>1.3862284000000001E-2</c:v>
                </c:pt>
                <c:pt idx="854">
                  <c:v>1.3763683000000001E-2</c:v>
                </c:pt>
                <c:pt idx="855">
                  <c:v>1.3680071E-2</c:v>
                </c:pt>
                <c:pt idx="856">
                  <c:v>1.3563585E-2</c:v>
                </c:pt>
                <c:pt idx="857">
                  <c:v>1.3498672999999999E-2</c:v>
                </c:pt>
                <c:pt idx="858">
                  <c:v>1.3453751E-2</c:v>
                </c:pt>
                <c:pt idx="859">
                  <c:v>1.3359688999999999E-2</c:v>
                </c:pt>
                <c:pt idx="860">
                  <c:v>1.3262233E-2</c:v>
                </c:pt>
                <c:pt idx="861">
                  <c:v>1.3173693E-2</c:v>
                </c:pt>
                <c:pt idx="862">
                  <c:v>1.3148913999999999E-2</c:v>
                </c:pt>
                <c:pt idx="863">
                  <c:v>1.3123045E-2</c:v>
                </c:pt>
                <c:pt idx="864">
                  <c:v>1.3126416E-2</c:v>
                </c:pt>
                <c:pt idx="865">
                  <c:v>1.3089656999999999E-2</c:v>
                </c:pt>
                <c:pt idx="866">
                  <c:v>1.3046525E-2</c:v>
                </c:pt>
                <c:pt idx="867">
                  <c:v>1.2949512999999999E-2</c:v>
                </c:pt>
                <c:pt idx="868">
                  <c:v>1.2852901999999999E-2</c:v>
                </c:pt>
                <c:pt idx="869">
                  <c:v>1.2779127E-2</c:v>
                </c:pt>
                <c:pt idx="870">
                  <c:v>1.2764161E-2</c:v>
                </c:pt>
                <c:pt idx="871">
                  <c:v>1.2756059E-2</c:v>
                </c:pt>
                <c:pt idx="872">
                  <c:v>1.2726411999999999E-2</c:v>
                </c:pt>
                <c:pt idx="873">
                  <c:v>1.2693583E-2</c:v>
                </c:pt>
                <c:pt idx="874">
                  <c:v>1.2654557E-2</c:v>
                </c:pt>
                <c:pt idx="875">
                  <c:v>1.2575095999999999E-2</c:v>
                </c:pt>
                <c:pt idx="876">
                  <c:v>1.2520033E-2</c:v>
                </c:pt>
                <c:pt idx="877">
                  <c:v>1.2426833999999999E-2</c:v>
                </c:pt>
                <c:pt idx="878">
                  <c:v>1.2348550999999999E-2</c:v>
                </c:pt>
                <c:pt idx="879">
                  <c:v>1.2351044E-2</c:v>
                </c:pt>
                <c:pt idx="880">
                  <c:v>1.2317949E-2</c:v>
                </c:pt>
                <c:pt idx="881">
                  <c:v>1.2373443E-2</c:v>
                </c:pt>
                <c:pt idx="882">
                  <c:v>1.2398816999999999E-2</c:v>
                </c:pt>
                <c:pt idx="883">
                  <c:v>1.2339592E-2</c:v>
                </c:pt>
                <c:pt idx="884">
                  <c:v>1.2253643E-2</c:v>
                </c:pt>
                <c:pt idx="885">
                  <c:v>1.2198142E-2</c:v>
                </c:pt>
                <c:pt idx="886">
                  <c:v>1.2138135E-2</c:v>
                </c:pt>
                <c:pt idx="887">
                  <c:v>1.2108918E-2</c:v>
                </c:pt>
                <c:pt idx="888">
                  <c:v>1.2015041000000001E-2</c:v>
                </c:pt>
                <c:pt idx="889">
                  <c:v>1.19571E-2</c:v>
                </c:pt>
                <c:pt idx="890">
                  <c:v>1.1894864999999999E-2</c:v>
                </c:pt>
                <c:pt idx="891">
                  <c:v>1.1814015000000001E-2</c:v>
                </c:pt>
                <c:pt idx="892">
                  <c:v>1.176461E-2</c:v>
                </c:pt>
                <c:pt idx="893">
                  <c:v>1.1718271000000001E-2</c:v>
                </c:pt>
                <c:pt idx="894">
                  <c:v>1.1650008E-2</c:v>
                </c:pt>
                <c:pt idx="895">
                  <c:v>1.1563646E-2</c:v>
                </c:pt>
                <c:pt idx="896">
                  <c:v>1.1467049999999999E-2</c:v>
                </c:pt>
                <c:pt idx="897">
                  <c:v>1.1401737E-2</c:v>
                </c:pt>
                <c:pt idx="898">
                  <c:v>1.1338150999999999E-2</c:v>
                </c:pt>
                <c:pt idx="899">
                  <c:v>1.1318925000000001E-2</c:v>
                </c:pt>
                <c:pt idx="900">
                  <c:v>1.1308530000000001E-2</c:v>
                </c:pt>
                <c:pt idx="901">
                  <c:v>1.1313709999999999E-2</c:v>
                </c:pt>
                <c:pt idx="902">
                  <c:v>1.1242067E-2</c:v>
                </c:pt>
                <c:pt idx="903">
                  <c:v>1.1376687E-2</c:v>
                </c:pt>
                <c:pt idx="904">
                  <c:v>1.1459522E-2</c:v>
                </c:pt>
                <c:pt idx="905">
                  <c:v>1.1402578E-2</c:v>
                </c:pt>
                <c:pt idx="906">
                  <c:v>1.1457841999999999E-2</c:v>
                </c:pt>
                <c:pt idx="907">
                  <c:v>1.1452238999999999E-2</c:v>
                </c:pt>
                <c:pt idx="908">
                  <c:v>1.1422109E-2</c:v>
                </c:pt>
                <c:pt idx="909">
                  <c:v>1.1406526E-2</c:v>
                </c:pt>
                <c:pt idx="910">
                  <c:v>1.141759E-2</c:v>
                </c:pt>
                <c:pt idx="911">
                  <c:v>1.1429096999999999E-2</c:v>
                </c:pt>
                <c:pt idx="912">
                  <c:v>1.1420975999999999E-2</c:v>
                </c:pt>
                <c:pt idx="913">
                  <c:v>1.1438298E-2</c:v>
                </c:pt>
                <c:pt idx="914">
                  <c:v>1.1494870000000001E-2</c:v>
                </c:pt>
                <c:pt idx="915">
                  <c:v>1.1484084E-2</c:v>
                </c:pt>
                <c:pt idx="916">
                  <c:v>1.1488239000000001E-2</c:v>
                </c:pt>
                <c:pt idx="917">
                  <c:v>1.1425518000000001E-2</c:v>
                </c:pt>
                <c:pt idx="918">
                  <c:v>1.1397515E-2</c:v>
                </c:pt>
                <c:pt idx="919">
                  <c:v>1.1327043E-2</c:v>
                </c:pt>
                <c:pt idx="920">
                  <c:v>1.1076476E-2</c:v>
                </c:pt>
                <c:pt idx="921">
                  <c:v>1.0857389E-2</c:v>
                </c:pt>
                <c:pt idx="922">
                  <c:v>1.0796075E-2</c:v>
                </c:pt>
                <c:pt idx="923">
                  <c:v>1.0752761E-2</c:v>
                </c:pt>
                <c:pt idx="924">
                  <c:v>1.0619381000000001E-2</c:v>
                </c:pt>
                <c:pt idx="925">
                  <c:v>1.0516025999999999E-2</c:v>
                </c:pt>
                <c:pt idx="926">
                  <c:v>1.042613E-2</c:v>
                </c:pt>
                <c:pt idx="927">
                  <c:v>1.0320873E-2</c:v>
                </c:pt>
                <c:pt idx="928">
                  <c:v>1.0244244E-2</c:v>
                </c:pt>
                <c:pt idx="929">
                  <c:v>1.0147965E-2</c:v>
                </c:pt>
                <c:pt idx="930">
                  <c:v>1.0127716E-2</c:v>
                </c:pt>
                <c:pt idx="931">
                  <c:v>1.0065005E-2</c:v>
                </c:pt>
                <c:pt idx="932">
                  <c:v>1.0006274000000001E-2</c:v>
                </c:pt>
                <c:pt idx="933">
                  <c:v>1.0034589999999999E-2</c:v>
                </c:pt>
                <c:pt idx="934">
                  <c:v>1.0080835999999999E-2</c:v>
                </c:pt>
                <c:pt idx="935">
                  <c:v>1.0106323E-2</c:v>
                </c:pt>
                <c:pt idx="936">
                  <c:v>1.0192899E-2</c:v>
                </c:pt>
                <c:pt idx="937">
                  <c:v>1.0269497000000001E-2</c:v>
                </c:pt>
                <c:pt idx="938">
                  <c:v>1.0375545999999999E-2</c:v>
                </c:pt>
                <c:pt idx="939">
                  <c:v>1.0525692999999999E-2</c:v>
                </c:pt>
                <c:pt idx="940">
                  <c:v>1.06453E-2</c:v>
                </c:pt>
                <c:pt idx="941">
                  <c:v>1.077554E-2</c:v>
                </c:pt>
                <c:pt idx="942">
                  <c:v>1.0887249999999999E-2</c:v>
                </c:pt>
                <c:pt idx="943">
                  <c:v>1.0933485999999999E-2</c:v>
                </c:pt>
                <c:pt idx="944">
                  <c:v>1.0961274E-2</c:v>
                </c:pt>
                <c:pt idx="945">
                  <c:v>1.0988878000000001E-2</c:v>
                </c:pt>
                <c:pt idx="946">
                  <c:v>1.1084251999999999E-2</c:v>
                </c:pt>
                <c:pt idx="947">
                  <c:v>1.1117259000000001E-2</c:v>
                </c:pt>
                <c:pt idx="948">
                  <c:v>1.1157713999999999E-2</c:v>
                </c:pt>
                <c:pt idx="949">
                  <c:v>1.1227694E-2</c:v>
                </c:pt>
                <c:pt idx="950">
                  <c:v>1.1307555E-2</c:v>
                </c:pt>
                <c:pt idx="951">
                  <c:v>1.1483978000000001E-2</c:v>
                </c:pt>
                <c:pt idx="952">
                  <c:v>1.1548012999999999E-2</c:v>
                </c:pt>
                <c:pt idx="953">
                  <c:v>1.1707400999999999E-2</c:v>
                </c:pt>
                <c:pt idx="954">
                  <c:v>1.1816142E-2</c:v>
                </c:pt>
                <c:pt idx="955">
                  <c:v>1.1918475E-2</c:v>
                </c:pt>
                <c:pt idx="956">
                  <c:v>1.1959499E-2</c:v>
                </c:pt>
                <c:pt idx="957">
                  <c:v>1.2015111E-2</c:v>
                </c:pt>
                <c:pt idx="958">
                  <c:v>1.1996856E-2</c:v>
                </c:pt>
                <c:pt idx="959">
                  <c:v>1.2036989E-2</c:v>
                </c:pt>
                <c:pt idx="960">
                  <c:v>1.2078099E-2</c:v>
                </c:pt>
                <c:pt idx="961">
                  <c:v>1.2107240999999999E-2</c:v>
                </c:pt>
                <c:pt idx="962">
                  <c:v>1.2144250000000001E-2</c:v>
                </c:pt>
                <c:pt idx="963">
                  <c:v>1.2160802E-2</c:v>
                </c:pt>
                <c:pt idx="964">
                  <c:v>1.2227330999999999E-2</c:v>
                </c:pt>
                <c:pt idx="965">
                  <c:v>1.2246427000000001E-2</c:v>
                </c:pt>
                <c:pt idx="966">
                  <c:v>1.2261728E-2</c:v>
                </c:pt>
                <c:pt idx="967">
                  <c:v>1.2234636E-2</c:v>
                </c:pt>
                <c:pt idx="968">
                  <c:v>1.2239748999999999E-2</c:v>
                </c:pt>
                <c:pt idx="969">
                  <c:v>1.2201066E-2</c:v>
                </c:pt>
                <c:pt idx="970">
                  <c:v>1.2164795000000001E-2</c:v>
                </c:pt>
                <c:pt idx="971">
                  <c:v>1.2115159E-2</c:v>
                </c:pt>
                <c:pt idx="972">
                  <c:v>1.2141865E-2</c:v>
                </c:pt>
                <c:pt idx="973">
                  <c:v>1.2179143999999999E-2</c:v>
                </c:pt>
                <c:pt idx="974">
                  <c:v>1.2224933E-2</c:v>
                </c:pt>
                <c:pt idx="975">
                  <c:v>1.2221469E-2</c:v>
                </c:pt>
                <c:pt idx="976">
                  <c:v>1.2246798999999999E-2</c:v>
                </c:pt>
                <c:pt idx="977">
                  <c:v>1.2282283999999999E-2</c:v>
                </c:pt>
                <c:pt idx="978">
                  <c:v>1.2307534E-2</c:v>
                </c:pt>
                <c:pt idx="979">
                  <c:v>1.2371790000000001E-2</c:v>
                </c:pt>
                <c:pt idx="980">
                  <c:v>1.2514951999999999E-2</c:v>
                </c:pt>
                <c:pt idx="981">
                  <c:v>1.2628874999999999E-2</c:v>
                </c:pt>
                <c:pt idx="982">
                  <c:v>1.2629914000000001E-2</c:v>
                </c:pt>
                <c:pt idx="983">
                  <c:v>1.2679302999999999E-2</c:v>
                </c:pt>
                <c:pt idx="984">
                  <c:v>1.2711874999999999E-2</c:v>
                </c:pt>
                <c:pt idx="985">
                  <c:v>1.2760282E-2</c:v>
                </c:pt>
                <c:pt idx="986">
                  <c:v>1.2798657999999999E-2</c:v>
                </c:pt>
                <c:pt idx="987">
                  <c:v>1.2935647999999999E-2</c:v>
                </c:pt>
                <c:pt idx="988">
                  <c:v>1.3086052000000001E-2</c:v>
                </c:pt>
                <c:pt idx="989">
                  <c:v>1.3279766E-2</c:v>
                </c:pt>
                <c:pt idx="990">
                  <c:v>1.3439592E-2</c:v>
                </c:pt>
                <c:pt idx="991">
                  <c:v>1.3644292000000001E-2</c:v>
                </c:pt>
                <c:pt idx="992">
                  <c:v>1.3825708000000001E-2</c:v>
                </c:pt>
                <c:pt idx="993">
                  <c:v>1.4074120000000001E-2</c:v>
                </c:pt>
                <c:pt idx="994">
                  <c:v>1.4239276E-2</c:v>
                </c:pt>
                <c:pt idx="995">
                  <c:v>1.4494932E-2</c:v>
                </c:pt>
                <c:pt idx="996">
                  <c:v>1.4757789E-2</c:v>
                </c:pt>
                <c:pt idx="997">
                  <c:v>1.5005081E-2</c:v>
                </c:pt>
                <c:pt idx="998">
                  <c:v>1.5209129E-2</c:v>
                </c:pt>
                <c:pt idx="999">
                  <c:v>1.5275624E-2</c:v>
                </c:pt>
                <c:pt idx="1000">
                  <c:v>1.5387728999999999E-2</c:v>
                </c:pt>
                <c:pt idx="1001">
                  <c:v>1.5506714E-2</c:v>
                </c:pt>
                <c:pt idx="1002">
                  <c:v>1.5685503E-2</c:v>
                </c:pt>
                <c:pt idx="1003">
                  <c:v>1.5851391999999999E-2</c:v>
                </c:pt>
                <c:pt idx="1004">
                  <c:v>1.6031805999999999E-2</c:v>
                </c:pt>
                <c:pt idx="1005">
                  <c:v>1.6167382000000001E-2</c:v>
                </c:pt>
                <c:pt idx="1006">
                  <c:v>1.6245605999999999E-2</c:v>
                </c:pt>
                <c:pt idx="1007">
                  <c:v>1.6328562000000001E-2</c:v>
                </c:pt>
                <c:pt idx="1008">
                  <c:v>1.651919E-2</c:v>
                </c:pt>
                <c:pt idx="1009">
                  <c:v>1.6782666000000002E-2</c:v>
                </c:pt>
                <c:pt idx="1010">
                  <c:v>1.6927392999999999E-2</c:v>
                </c:pt>
                <c:pt idx="1011">
                  <c:v>1.7067578999999999E-2</c:v>
                </c:pt>
                <c:pt idx="1012">
                  <c:v>1.7147055000000001E-2</c:v>
                </c:pt>
                <c:pt idx="1013">
                  <c:v>1.7248573E-2</c:v>
                </c:pt>
                <c:pt idx="1014">
                  <c:v>1.7315316000000001E-2</c:v>
                </c:pt>
                <c:pt idx="1015">
                  <c:v>1.7392767999999999E-2</c:v>
                </c:pt>
                <c:pt idx="1016">
                  <c:v>1.7448760000000001E-2</c:v>
                </c:pt>
                <c:pt idx="1017">
                  <c:v>1.7588441999999999E-2</c:v>
                </c:pt>
                <c:pt idx="1018">
                  <c:v>1.7738554E-2</c:v>
                </c:pt>
                <c:pt idx="1019">
                  <c:v>1.7839911999999999E-2</c:v>
                </c:pt>
                <c:pt idx="1020">
                  <c:v>1.7955711999999999E-2</c:v>
                </c:pt>
                <c:pt idx="1021">
                  <c:v>1.8050202000000001E-2</c:v>
                </c:pt>
                <c:pt idx="1022">
                  <c:v>1.8191621000000002E-2</c:v>
                </c:pt>
                <c:pt idx="1023">
                  <c:v>1.8136044E-2</c:v>
                </c:pt>
                <c:pt idx="1024">
                  <c:v>1.8163971000000001E-2</c:v>
                </c:pt>
                <c:pt idx="1025">
                  <c:v>1.8316305000000001E-2</c:v>
                </c:pt>
                <c:pt idx="1026">
                  <c:v>1.8332251000000001E-2</c:v>
                </c:pt>
                <c:pt idx="1027">
                  <c:v>1.8386151999999999E-2</c:v>
                </c:pt>
                <c:pt idx="1028">
                  <c:v>1.8527623E-2</c:v>
                </c:pt>
                <c:pt idx="1029">
                  <c:v>1.8700023999999999E-2</c:v>
                </c:pt>
                <c:pt idx="1030">
                  <c:v>1.8870046000000001E-2</c:v>
                </c:pt>
                <c:pt idx="1031">
                  <c:v>1.8958587999999998E-2</c:v>
                </c:pt>
                <c:pt idx="1032">
                  <c:v>1.9064243000000002E-2</c:v>
                </c:pt>
                <c:pt idx="1033">
                  <c:v>1.9101330999999999E-2</c:v>
                </c:pt>
                <c:pt idx="1034">
                  <c:v>1.9163790999999999E-2</c:v>
                </c:pt>
                <c:pt idx="1035">
                  <c:v>1.9358632000000001E-2</c:v>
                </c:pt>
                <c:pt idx="1036">
                  <c:v>1.9489086999999999E-2</c:v>
                </c:pt>
                <c:pt idx="1037">
                  <c:v>1.963152E-2</c:v>
                </c:pt>
                <c:pt idx="1038">
                  <c:v>1.9775579000000001E-2</c:v>
                </c:pt>
                <c:pt idx="1039">
                  <c:v>1.9878416999999999E-2</c:v>
                </c:pt>
                <c:pt idx="1040">
                  <c:v>1.9978597000000001E-2</c:v>
                </c:pt>
                <c:pt idx="1041">
                  <c:v>2.0093202000000001E-2</c:v>
                </c:pt>
                <c:pt idx="1042">
                  <c:v>2.0266218999999999E-2</c:v>
                </c:pt>
                <c:pt idx="1043">
                  <c:v>2.0346816E-2</c:v>
                </c:pt>
                <c:pt idx="1044">
                  <c:v>2.0385324E-2</c:v>
                </c:pt>
                <c:pt idx="1045">
                  <c:v>2.0450347000000001E-2</c:v>
                </c:pt>
                <c:pt idx="1046">
                  <c:v>2.0481563000000001E-2</c:v>
                </c:pt>
                <c:pt idx="1047">
                  <c:v>2.0605783999999999E-2</c:v>
                </c:pt>
                <c:pt idx="1048">
                  <c:v>2.0730394999999999E-2</c:v>
                </c:pt>
                <c:pt idx="1049">
                  <c:v>2.0889962000000002E-2</c:v>
                </c:pt>
                <c:pt idx="1050">
                  <c:v>2.0993346E-2</c:v>
                </c:pt>
                <c:pt idx="1051">
                  <c:v>2.1140018999999999E-2</c:v>
                </c:pt>
                <c:pt idx="1052">
                  <c:v>2.1311900000000002E-2</c:v>
                </c:pt>
                <c:pt idx="1053">
                  <c:v>2.1382732000000002E-2</c:v>
                </c:pt>
                <c:pt idx="1054">
                  <c:v>2.1523318E-2</c:v>
                </c:pt>
                <c:pt idx="1055">
                  <c:v>2.1606565000000001E-2</c:v>
                </c:pt>
                <c:pt idx="1056">
                  <c:v>2.1638146E-2</c:v>
                </c:pt>
                <c:pt idx="1057">
                  <c:v>2.1620988000000001E-2</c:v>
                </c:pt>
                <c:pt idx="1058">
                  <c:v>2.1540017000000002E-2</c:v>
                </c:pt>
                <c:pt idx="1059">
                  <c:v>2.1454109999999998E-2</c:v>
                </c:pt>
                <c:pt idx="1060">
                  <c:v>2.1434938000000001E-2</c:v>
                </c:pt>
                <c:pt idx="1061">
                  <c:v>2.1403338000000001E-2</c:v>
                </c:pt>
                <c:pt idx="1062">
                  <c:v>2.1381170000000001E-2</c:v>
                </c:pt>
                <c:pt idx="1063">
                  <c:v>2.1367744000000001E-2</c:v>
                </c:pt>
                <c:pt idx="1064">
                  <c:v>2.1403658999999998E-2</c:v>
                </c:pt>
                <c:pt idx="1065">
                  <c:v>2.1420107000000001E-2</c:v>
                </c:pt>
                <c:pt idx="1066">
                  <c:v>2.1356117000000001E-2</c:v>
                </c:pt>
                <c:pt idx="1067">
                  <c:v>2.1465252000000001E-2</c:v>
                </c:pt>
                <c:pt idx="1068">
                  <c:v>2.1574684E-2</c:v>
                </c:pt>
                <c:pt idx="1069">
                  <c:v>2.1667255999999999E-2</c:v>
                </c:pt>
                <c:pt idx="1070">
                  <c:v>2.1734732999999999E-2</c:v>
                </c:pt>
                <c:pt idx="1071">
                  <c:v>2.1676484999999999E-2</c:v>
                </c:pt>
                <c:pt idx="1072">
                  <c:v>2.1727778E-2</c:v>
                </c:pt>
                <c:pt idx="1073">
                  <c:v>2.1686504999999998E-2</c:v>
                </c:pt>
                <c:pt idx="1074">
                  <c:v>2.1708023E-2</c:v>
                </c:pt>
                <c:pt idx="1075">
                  <c:v>2.1699119999999999E-2</c:v>
                </c:pt>
                <c:pt idx="1076">
                  <c:v>2.1699678999999999E-2</c:v>
                </c:pt>
                <c:pt idx="1077">
                  <c:v>2.1708430000000001E-2</c:v>
                </c:pt>
                <c:pt idx="1078">
                  <c:v>2.1745055999999999E-2</c:v>
                </c:pt>
                <c:pt idx="1079">
                  <c:v>2.1790535E-2</c:v>
                </c:pt>
                <c:pt idx="1080">
                  <c:v>2.1862409999999999E-2</c:v>
                </c:pt>
                <c:pt idx="1081">
                  <c:v>2.1933741E-2</c:v>
                </c:pt>
                <c:pt idx="1082">
                  <c:v>2.2004772999999998E-2</c:v>
                </c:pt>
                <c:pt idx="1083">
                  <c:v>2.2109806999999999E-2</c:v>
                </c:pt>
                <c:pt idx="1084">
                  <c:v>2.218009E-2</c:v>
                </c:pt>
                <c:pt idx="1085">
                  <c:v>2.2247240000000001E-2</c:v>
                </c:pt>
                <c:pt idx="1086">
                  <c:v>2.2294537999999999E-2</c:v>
                </c:pt>
                <c:pt idx="1087">
                  <c:v>2.2366585000000001E-2</c:v>
                </c:pt>
                <c:pt idx="1088">
                  <c:v>2.2454101000000001E-2</c:v>
                </c:pt>
                <c:pt idx="1089">
                  <c:v>2.2557522999999999E-2</c:v>
                </c:pt>
                <c:pt idx="1090">
                  <c:v>2.2689244000000001E-2</c:v>
                </c:pt>
                <c:pt idx="1091">
                  <c:v>2.2758964999999999E-2</c:v>
                </c:pt>
                <c:pt idx="1092">
                  <c:v>2.2740663000000001E-2</c:v>
                </c:pt>
                <c:pt idx="1093">
                  <c:v>2.2750805999999998E-2</c:v>
                </c:pt>
                <c:pt idx="1094">
                  <c:v>2.2764489999999998E-2</c:v>
                </c:pt>
                <c:pt idx="1095">
                  <c:v>2.2785574999999999E-2</c:v>
                </c:pt>
                <c:pt idx="1096">
                  <c:v>2.2786831E-2</c:v>
                </c:pt>
                <c:pt idx="1097">
                  <c:v>2.2786668E-2</c:v>
                </c:pt>
                <c:pt idx="1098">
                  <c:v>2.2771803E-2</c:v>
                </c:pt>
                <c:pt idx="1099">
                  <c:v>2.2731695999999999E-2</c:v>
                </c:pt>
                <c:pt idx="1100">
                  <c:v>2.2646006999999999E-2</c:v>
                </c:pt>
                <c:pt idx="1101">
                  <c:v>2.2558043E-2</c:v>
                </c:pt>
                <c:pt idx="1102">
                  <c:v>2.2584786999999999E-2</c:v>
                </c:pt>
                <c:pt idx="1103">
                  <c:v>2.2574190000000001E-2</c:v>
                </c:pt>
                <c:pt idx="1104">
                  <c:v>2.2571207999999999E-2</c:v>
                </c:pt>
                <c:pt idx="1105">
                  <c:v>2.2575263000000002E-2</c:v>
                </c:pt>
                <c:pt idx="1106">
                  <c:v>2.2610974999999998E-2</c:v>
                </c:pt>
                <c:pt idx="1107">
                  <c:v>2.2563627999999999E-2</c:v>
                </c:pt>
                <c:pt idx="1108">
                  <c:v>2.2487523999999998E-2</c:v>
                </c:pt>
                <c:pt idx="1109">
                  <c:v>2.2510318000000001E-2</c:v>
                </c:pt>
                <c:pt idx="1110">
                  <c:v>2.2481557999999999E-2</c:v>
                </c:pt>
                <c:pt idx="1111">
                  <c:v>2.2378260000000001E-2</c:v>
                </c:pt>
                <c:pt idx="1112">
                  <c:v>2.2291947999999999E-2</c:v>
                </c:pt>
                <c:pt idx="1113">
                  <c:v>2.2130237000000001E-2</c:v>
                </c:pt>
                <c:pt idx="1114">
                  <c:v>2.2035203E-2</c:v>
                </c:pt>
                <c:pt idx="1115">
                  <c:v>2.1855143E-2</c:v>
                </c:pt>
                <c:pt idx="1116">
                  <c:v>2.1640286000000002E-2</c:v>
                </c:pt>
                <c:pt idx="1117">
                  <c:v>2.1444377000000001E-2</c:v>
                </c:pt>
                <c:pt idx="1118">
                  <c:v>2.1273106E-2</c:v>
                </c:pt>
                <c:pt idx="1119">
                  <c:v>2.1190394000000001E-2</c:v>
                </c:pt>
                <c:pt idx="1120">
                  <c:v>2.1110245E-2</c:v>
                </c:pt>
                <c:pt idx="1121">
                  <c:v>2.0964900000000002E-2</c:v>
                </c:pt>
                <c:pt idx="1122">
                  <c:v>2.0798058000000001E-2</c:v>
                </c:pt>
                <c:pt idx="1123">
                  <c:v>2.0650423000000001E-2</c:v>
                </c:pt>
                <c:pt idx="1124">
                  <c:v>2.0514151000000001E-2</c:v>
                </c:pt>
                <c:pt idx="1125">
                  <c:v>2.0412705999999999E-2</c:v>
                </c:pt>
                <c:pt idx="1126">
                  <c:v>2.0366041000000001E-2</c:v>
                </c:pt>
                <c:pt idx="1127">
                  <c:v>2.0314177999999999E-2</c:v>
                </c:pt>
                <c:pt idx="1128">
                  <c:v>2.0160134E-2</c:v>
                </c:pt>
                <c:pt idx="1129">
                  <c:v>1.9937611000000001E-2</c:v>
                </c:pt>
                <c:pt idx="1130">
                  <c:v>1.9837161999999998E-2</c:v>
                </c:pt>
                <c:pt idx="1131">
                  <c:v>1.9735223999999999E-2</c:v>
                </c:pt>
                <c:pt idx="1132">
                  <c:v>1.9705752999999999E-2</c:v>
                </c:pt>
                <c:pt idx="1133">
                  <c:v>1.9637119000000001E-2</c:v>
                </c:pt>
                <c:pt idx="1134">
                  <c:v>1.9589703999999999E-2</c:v>
                </c:pt>
                <c:pt idx="1135">
                  <c:v>1.9577414000000001E-2</c:v>
                </c:pt>
                <c:pt idx="1136">
                  <c:v>1.9558747000000001E-2</c:v>
                </c:pt>
                <c:pt idx="1137">
                  <c:v>1.9450230999999998E-2</c:v>
                </c:pt>
                <c:pt idx="1138">
                  <c:v>1.9343641000000002E-2</c:v>
                </c:pt>
                <c:pt idx="1139">
                  <c:v>1.9248332E-2</c:v>
                </c:pt>
                <c:pt idx="1140">
                  <c:v>1.9114447E-2</c:v>
                </c:pt>
                <c:pt idx="1141">
                  <c:v>1.8986478000000001E-2</c:v>
                </c:pt>
                <c:pt idx="1142">
                  <c:v>1.8843977000000001E-2</c:v>
                </c:pt>
                <c:pt idx="1143">
                  <c:v>1.8735592999999998E-2</c:v>
                </c:pt>
                <c:pt idx="1144">
                  <c:v>1.8588708999999998E-2</c:v>
                </c:pt>
                <c:pt idx="1145">
                  <c:v>1.8413074000000001E-2</c:v>
                </c:pt>
                <c:pt idx="1146">
                  <c:v>1.8329147E-2</c:v>
                </c:pt>
                <c:pt idx="1147">
                  <c:v>1.8244732999999999E-2</c:v>
                </c:pt>
                <c:pt idx="1148">
                  <c:v>1.8088364999999999E-2</c:v>
                </c:pt>
                <c:pt idx="1149">
                  <c:v>1.7888669999999999E-2</c:v>
                </c:pt>
                <c:pt idx="1150">
                  <c:v>1.7706336999999999E-2</c:v>
                </c:pt>
                <c:pt idx="1151">
                  <c:v>1.7589192E-2</c:v>
                </c:pt>
                <c:pt idx="1152">
                  <c:v>1.7437748999999999E-2</c:v>
                </c:pt>
                <c:pt idx="1153">
                  <c:v>1.7344615000000001E-2</c:v>
                </c:pt>
                <c:pt idx="1154">
                  <c:v>1.7236174999999999E-2</c:v>
                </c:pt>
                <c:pt idx="1155">
                  <c:v>1.7074440999999999E-2</c:v>
                </c:pt>
                <c:pt idx="1156">
                  <c:v>1.6963355999999999E-2</c:v>
                </c:pt>
                <c:pt idx="1157">
                  <c:v>1.6838758999999998E-2</c:v>
                </c:pt>
                <c:pt idx="1158">
                  <c:v>1.6786243999999999E-2</c:v>
                </c:pt>
                <c:pt idx="1159">
                  <c:v>1.6715159E-2</c:v>
                </c:pt>
                <c:pt idx="1160">
                  <c:v>1.6609089E-2</c:v>
                </c:pt>
                <c:pt idx="1161">
                  <c:v>1.6512237999999999E-2</c:v>
                </c:pt>
                <c:pt idx="1162">
                  <c:v>1.6391952000000001E-2</c:v>
                </c:pt>
                <c:pt idx="1163">
                  <c:v>1.6350758E-2</c:v>
                </c:pt>
                <c:pt idx="1164">
                  <c:v>1.6284297999999999E-2</c:v>
                </c:pt>
                <c:pt idx="1165">
                  <c:v>1.6248426999999999E-2</c:v>
                </c:pt>
                <c:pt idx="1166">
                  <c:v>1.6212476E-2</c:v>
                </c:pt>
                <c:pt idx="1167">
                  <c:v>1.6090999000000002E-2</c:v>
                </c:pt>
                <c:pt idx="1168">
                  <c:v>1.5961306000000001E-2</c:v>
                </c:pt>
                <c:pt idx="1169">
                  <c:v>1.5813368000000001E-2</c:v>
                </c:pt>
                <c:pt idx="1170">
                  <c:v>1.5664155999999999E-2</c:v>
                </c:pt>
                <c:pt idx="1171">
                  <c:v>1.552774E-2</c:v>
                </c:pt>
                <c:pt idx="1172">
                  <c:v>1.5354181999999999E-2</c:v>
                </c:pt>
                <c:pt idx="1173">
                  <c:v>1.5199789E-2</c:v>
                </c:pt>
                <c:pt idx="1174">
                  <c:v>1.4991773E-2</c:v>
                </c:pt>
                <c:pt idx="1175">
                  <c:v>1.4887423E-2</c:v>
                </c:pt>
                <c:pt idx="1176">
                  <c:v>1.4732334E-2</c:v>
                </c:pt>
                <c:pt idx="1177">
                  <c:v>1.4633353E-2</c:v>
                </c:pt>
                <c:pt idx="1178">
                  <c:v>1.4565945E-2</c:v>
                </c:pt>
                <c:pt idx="1179">
                  <c:v>1.4474826999999999E-2</c:v>
                </c:pt>
                <c:pt idx="1180">
                  <c:v>1.4374151999999999E-2</c:v>
                </c:pt>
                <c:pt idx="1181">
                  <c:v>1.4313536999999999E-2</c:v>
                </c:pt>
                <c:pt idx="1182">
                  <c:v>1.4227892000000001E-2</c:v>
                </c:pt>
                <c:pt idx="1183">
                  <c:v>1.4196640999999999E-2</c:v>
                </c:pt>
                <c:pt idx="1184">
                  <c:v>1.4147933999999999E-2</c:v>
                </c:pt>
                <c:pt idx="1185">
                  <c:v>1.4109065E-2</c:v>
                </c:pt>
                <c:pt idx="1186">
                  <c:v>1.4044025999999999E-2</c:v>
                </c:pt>
                <c:pt idx="1187">
                  <c:v>1.3941960999999999E-2</c:v>
                </c:pt>
                <c:pt idx="1188">
                  <c:v>1.3835807E-2</c:v>
                </c:pt>
                <c:pt idx="1189">
                  <c:v>1.3731316E-2</c:v>
                </c:pt>
                <c:pt idx="1190">
                  <c:v>1.356424E-2</c:v>
                </c:pt>
                <c:pt idx="1191">
                  <c:v>1.3445133999999999E-2</c:v>
                </c:pt>
                <c:pt idx="1192">
                  <c:v>1.3335557E-2</c:v>
                </c:pt>
                <c:pt idx="1193">
                  <c:v>1.323655E-2</c:v>
                </c:pt>
                <c:pt idx="1194">
                  <c:v>1.3108922E-2</c:v>
                </c:pt>
                <c:pt idx="1195">
                  <c:v>1.3077188E-2</c:v>
                </c:pt>
                <c:pt idx="1196">
                  <c:v>1.3011429999999999E-2</c:v>
                </c:pt>
                <c:pt idx="1197">
                  <c:v>1.2935642000000001E-2</c:v>
                </c:pt>
                <c:pt idx="1198">
                  <c:v>1.2851777999999999E-2</c:v>
                </c:pt>
                <c:pt idx="1199">
                  <c:v>1.2753535999999999E-2</c:v>
                </c:pt>
                <c:pt idx="1200">
                  <c:v>1.2605267999999999E-2</c:v>
                </c:pt>
                <c:pt idx="1201">
                  <c:v>1.2484934E-2</c:v>
                </c:pt>
                <c:pt idx="1202">
                  <c:v>1.2342626000000001E-2</c:v>
                </c:pt>
                <c:pt idx="1203">
                  <c:v>1.2189149E-2</c:v>
                </c:pt>
                <c:pt idx="1204">
                  <c:v>1.2053776E-2</c:v>
                </c:pt>
                <c:pt idx="1205">
                  <c:v>1.1966297000000001E-2</c:v>
                </c:pt>
                <c:pt idx="1206">
                  <c:v>1.1888093000000001E-2</c:v>
                </c:pt>
                <c:pt idx="1207">
                  <c:v>1.1796533E-2</c:v>
                </c:pt>
                <c:pt idx="1208">
                  <c:v>1.1681041E-2</c:v>
                </c:pt>
                <c:pt idx="1209">
                  <c:v>1.1561217E-2</c:v>
                </c:pt>
                <c:pt idx="1210">
                  <c:v>1.1394154E-2</c:v>
                </c:pt>
                <c:pt idx="1211">
                  <c:v>1.1266151E-2</c:v>
                </c:pt>
                <c:pt idx="1212">
                  <c:v>1.1180548E-2</c:v>
                </c:pt>
                <c:pt idx="1213">
                  <c:v>1.1134936999999999E-2</c:v>
                </c:pt>
                <c:pt idx="1214">
                  <c:v>1.1162333999999999E-2</c:v>
                </c:pt>
                <c:pt idx="1215">
                  <c:v>1.1175543E-2</c:v>
                </c:pt>
                <c:pt idx="1216">
                  <c:v>1.1234305999999999E-2</c:v>
                </c:pt>
                <c:pt idx="1217">
                  <c:v>1.1279328E-2</c:v>
                </c:pt>
                <c:pt idx="1218">
                  <c:v>1.1320685E-2</c:v>
                </c:pt>
                <c:pt idx="1219">
                  <c:v>1.1302491E-2</c:v>
                </c:pt>
                <c:pt idx="1220">
                  <c:v>1.1354975999999999E-2</c:v>
                </c:pt>
                <c:pt idx="1221">
                  <c:v>1.1416971E-2</c:v>
                </c:pt>
                <c:pt idx="1222">
                  <c:v>1.1487364999999999E-2</c:v>
                </c:pt>
                <c:pt idx="1223">
                  <c:v>1.150904E-2</c:v>
                </c:pt>
                <c:pt idx="1224">
                  <c:v>1.151896E-2</c:v>
                </c:pt>
                <c:pt idx="1225">
                  <c:v>1.1533453000000001E-2</c:v>
                </c:pt>
                <c:pt idx="1226">
                  <c:v>1.1525117E-2</c:v>
                </c:pt>
                <c:pt idx="1227">
                  <c:v>1.1540266E-2</c:v>
                </c:pt>
                <c:pt idx="1228">
                  <c:v>1.1520825E-2</c:v>
                </c:pt>
                <c:pt idx="1229">
                  <c:v>1.1429485E-2</c:v>
                </c:pt>
                <c:pt idx="1230">
                  <c:v>1.1329621999999999E-2</c:v>
                </c:pt>
                <c:pt idx="1231">
                  <c:v>1.1286525E-2</c:v>
                </c:pt>
                <c:pt idx="1232">
                  <c:v>1.1239854000000001E-2</c:v>
                </c:pt>
                <c:pt idx="1233">
                  <c:v>1.1175505000000001E-2</c:v>
                </c:pt>
                <c:pt idx="1234">
                  <c:v>1.1124663E-2</c:v>
                </c:pt>
                <c:pt idx="1235">
                  <c:v>1.1105144000000001E-2</c:v>
                </c:pt>
                <c:pt idx="1236">
                  <c:v>1.1094659999999999E-2</c:v>
                </c:pt>
                <c:pt idx="1237">
                  <c:v>1.1118886999999999E-2</c:v>
                </c:pt>
                <c:pt idx="1238">
                  <c:v>1.1133451000000001E-2</c:v>
                </c:pt>
                <c:pt idx="1239">
                  <c:v>1.1115333999999999E-2</c:v>
                </c:pt>
                <c:pt idx="1240">
                  <c:v>1.1078239E-2</c:v>
                </c:pt>
                <c:pt idx="1241">
                  <c:v>1.1036186E-2</c:v>
                </c:pt>
                <c:pt idx="1242">
                  <c:v>1.0989598999999999E-2</c:v>
                </c:pt>
                <c:pt idx="1243">
                  <c:v>1.0963071E-2</c:v>
                </c:pt>
                <c:pt idx="1244">
                  <c:v>1.0932562E-2</c:v>
                </c:pt>
                <c:pt idx="1245">
                  <c:v>1.090936E-2</c:v>
                </c:pt>
                <c:pt idx="1246">
                  <c:v>1.0892440999999999E-2</c:v>
                </c:pt>
                <c:pt idx="1247">
                  <c:v>1.0892285999999999E-2</c:v>
                </c:pt>
                <c:pt idx="1248">
                  <c:v>1.0901773999999999E-2</c:v>
                </c:pt>
                <c:pt idx="1249">
                  <c:v>1.0903464E-2</c:v>
                </c:pt>
                <c:pt idx="1250">
                  <c:v>1.0910339999999999E-2</c:v>
                </c:pt>
                <c:pt idx="1251">
                  <c:v>1.0901065E-2</c:v>
                </c:pt>
                <c:pt idx="1252">
                  <c:v>1.0893941000000001E-2</c:v>
                </c:pt>
                <c:pt idx="1253">
                  <c:v>1.0914772E-2</c:v>
                </c:pt>
                <c:pt idx="1254">
                  <c:v>1.0919729E-2</c:v>
                </c:pt>
                <c:pt idx="1255">
                  <c:v>1.0882317000000001E-2</c:v>
                </c:pt>
                <c:pt idx="1256">
                  <c:v>1.0887291E-2</c:v>
                </c:pt>
                <c:pt idx="1257">
                  <c:v>1.0881795999999999E-2</c:v>
                </c:pt>
                <c:pt idx="1258">
                  <c:v>1.0878443E-2</c:v>
                </c:pt>
                <c:pt idx="1259">
                  <c:v>1.0858424E-2</c:v>
                </c:pt>
                <c:pt idx="1260">
                  <c:v>1.0858240999999999E-2</c:v>
                </c:pt>
                <c:pt idx="1261">
                  <c:v>1.0832046999999999E-2</c:v>
                </c:pt>
                <c:pt idx="1262">
                  <c:v>1.0831702E-2</c:v>
                </c:pt>
                <c:pt idx="1263">
                  <c:v>1.0839603999999999E-2</c:v>
                </c:pt>
                <c:pt idx="1264">
                  <c:v>1.0832737E-2</c:v>
                </c:pt>
                <c:pt idx="1265">
                  <c:v>1.0837711999999999E-2</c:v>
                </c:pt>
                <c:pt idx="1266">
                  <c:v>1.0812557E-2</c:v>
                </c:pt>
                <c:pt idx="1267">
                  <c:v>1.0789452999999999E-2</c:v>
                </c:pt>
                <c:pt idx="1268">
                  <c:v>1.0779113999999999E-2</c:v>
                </c:pt>
                <c:pt idx="1269">
                  <c:v>1.0792698999999999E-2</c:v>
                </c:pt>
                <c:pt idx="1270">
                  <c:v>1.0882454999999999E-2</c:v>
                </c:pt>
                <c:pt idx="1271">
                  <c:v>1.0926716E-2</c:v>
                </c:pt>
                <c:pt idx="1272">
                  <c:v>1.0975588E-2</c:v>
                </c:pt>
                <c:pt idx="1273">
                  <c:v>1.1040672E-2</c:v>
                </c:pt>
                <c:pt idx="1274">
                  <c:v>1.1066865E-2</c:v>
                </c:pt>
                <c:pt idx="1275">
                  <c:v>1.1065416E-2</c:v>
                </c:pt>
                <c:pt idx="1276">
                  <c:v>1.1046798E-2</c:v>
                </c:pt>
                <c:pt idx="1277">
                  <c:v>1.1072521E-2</c:v>
                </c:pt>
                <c:pt idx="1278">
                  <c:v>1.0993499E-2</c:v>
                </c:pt>
                <c:pt idx="1279">
                  <c:v>1.1008888E-2</c:v>
                </c:pt>
                <c:pt idx="1280">
                  <c:v>1.1072327E-2</c:v>
                </c:pt>
                <c:pt idx="1281">
                  <c:v>1.1063844E-2</c:v>
                </c:pt>
                <c:pt idx="1282">
                  <c:v>1.1031401999999999E-2</c:v>
                </c:pt>
                <c:pt idx="1283">
                  <c:v>1.0991720999999999E-2</c:v>
                </c:pt>
                <c:pt idx="1284">
                  <c:v>1.1071106000000001E-2</c:v>
                </c:pt>
                <c:pt idx="1285">
                  <c:v>1.1066845000000001E-2</c:v>
                </c:pt>
                <c:pt idx="1286">
                  <c:v>1.1094062999999999E-2</c:v>
                </c:pt>
                <c:pt idx="1287">
                  <c:v>1.1162511E-2</c:v>
                </c:pt>
                <c:pt idx="1288">
                  <c:v>1.122305E-2</c:v>
                </c:pt>
                <c:pt idx="1289">
                  <c:v>1.1242794E-2</c:v>
                </c:pt>
                <c:pt idx="1290">
                  <c:v>1.1308205E-2</c:v>
                </c:pt>
                <c:pt idx="1291">
                  <c:v>1.1306579000000001E-2</c:v>
                </c:pt>
                <c:pt idx="1292">
                  <c:v>1.1314757999999999E-2</c:v>
                </c:pt>
                <c:pt idx="1293">
                  <c:v>1.1338907E-2</c:v>
                </c:pt>
                <c:pt idx="1294">
                  <c:v>1.1341198E-2</c:v>
                </c:pt>
                <c:pt idx="1295">
                  <c:v>1.1378225E-2</c:v>
                </c:pt>
                <c:pt idx="1296">
                  <c:v>1.1413639999999999E-2</c:v>
                </c:pt>
                <c:pt idx="1297">
                  <c:v>1.1446087000000001E-2</c:v>
                </c:pt>
                <c:pt idx="1298">
                  <c:v>1.1467988E-2</c:v>
                </c:pt>
                <c:pt idx="1299">
                  <c:v>1.1501279999999999E-2</c:v>
                </c:pt>
                <c:pt idx="1300">
                  <c:v>1.1520137E-2</c:v>
                </c:pt>
                <c:pt idx="1301">
                  <c:v>1.1519388E-2</c:v>
                </c:pt>
                <c:pt idx="1302">
                  <c:v>1.150758E-2</c:v>
                </c:pt>
                <c:pt idx="1303">
                  <c:v>1.1514617E-2</c:v>
                </c:pt>
                <c:pt idx="1304">
                  <c:v>1.1516821999999999E-2</c:v>
                </c:pt>
                <c:pt idx="1305">
                  <c:v>1.1513815E-2</c:v>
                </c:pt>
                <c:pt idx="1306">
                  <c:v>1.1511313E-2</c:v>
                </c:pt>
                <c:pt idx="1307">
                  <c:v>1.1477025E-2</c:v>
                </c:pt>
                <c:pt idx="1308">
                  <c:v>1.1494498000000001E-2</c:v>
                </c:pt>
                <c:pt idx="1309">
                  <c:v>1.1467788E-2</c:v>
                </c:pt>
                <c:pt idx="1310">
                  <c:v>1.1453371E-2</c:v>
                </c:pt>
                <c:pt idx="1311">
                  <c:v>1.1461568E-2</c:v>
                </c:pt>
                <c:pt idx="1312">
                  <c:v>1.1457385E-2</c:v>
                </c:pt>
                <c:pt idx="1313">
                  <c:v>1.1450475999999999E-2</c:v>
                </c:pt>
                <c:pt idx="1314">
                  <c:v>1.1453934000000001E-2</c:v>
                </c:pt>
                <c:pt idx="1315">
                  <c:v>1.1394148999999999E-2</c:v>
                </c:pt>
                <c:pt idx="1316">
                  <c:v>1.1377847E-2</c:v>
                </c:pt>
                <c:pt idx="1317">
                  <c:v>1.1360324E-2</c:v>
                </c:pt>
                <c:pt idx="1318">
                  <c:v>1.1369366000000001E-2</c:v>
                </c:pt>
                <c:pt idx="1319">
                  <c:v>1.1377287E-2</c:v>
                </c:pt>
                <c:pt idx="1320">
                  <c:v>1.1439714E-2</c:v>
                </c:pt>
                <c:pt idx="1321">
                  <c:v>1.1454888E-2</c:v>
                </c:pt>
                <c:pt idx="1322">
                  <c:v>1.1466732E-2</c:v>
                </c:pt>
                <c:pt idx="1323">
                  <c:v>1.1458777E-2</c:v>
                </c:pt>
                <c:pt idx="1324">
                  <c:v>1.1465761E-2</c:v>
                </c:pt>
                <c:pt idx="1325">
                  <c:v>1.1496368E-2</c:v>
                </c:pt>
                <c:pt idx="1326">
                  <c:v>1.1511199999999999E-2</c:v>
                </c:pt>
                <c:pt idx="1327">
                  <c:v>1.1516279000000001E-2</c:v>
                </c:pt>
                <c:pt idx="1328">
                  <c:v>1.150985E-2</c:v>
                </c:pt>
                <c:pt idx="1329">
                  <c:v>1.1501414999999999E-2</c:v>
                </c:pt>
                <c:pt idx="1330">
                  <c:v>1.1505791E-2</c:v>
                </c:pt>
                <c:pt idx="1331">
                  <c:v>1.153877E-2</c:v>
                </c:pt>
                <c:pt idx="1332">
                  <c:v>1.1553684999999999E-2</c:v>
                </c:pt>
                <c:pt idx="1333">
                  <c:v>1.1519507999999999E-2</c:v>
                </c:pt>
                <c:pt idx="1334">
                  <c:v>1.1440471000000001E-2</c:v>
                </c:pt>
                <c:pt idx="1335">
                  <c:v>1.1366535000000001E-2</c:v>
                </c:pt>
                <c:pt idx="1336">
                  <c:v>1.1267591E-2</c:v>
                </c:pt>
                <c:pt idx="1337">
                  <c:v>1.1178194000000001E-2</c:v>
                </c:pt>
                <c:pt idx="1338">
                  <c:v>1.1081502E-2</c:v>
                </c:pt>
                <c:pt idx="1339">
                  <c:v>1.1061560999999999E-2</c:v>
                </c:pt>
                <c:pt idx="1340">
                  <c:v>1.0965525E-2</c:v>
                </c:pt>
                <c:pt idx="1341">
                  <c:v>1.0861742000000001E-2</c:v>
                </c:pt>
                <c:pt idx="1342">
                  <c:v>1.0724020000000001E-2</c:v>
                </c:pt>
                <c:pt idx="1343">
                  <c:v>1.0743245E-2</c:v>
                </c:pt>
                <c:pt idx="1344">
                  <c:v>1.0712249E-2</c:v>
                </c:pt>
                <c:pt idx="1345">
                  <c:v>1.0684714999999999E-2</c:v>
                </c:pt>
                <c:pt idx="1346">
                  <c:v>1.0697587E-2</c:v>
                </c:pt>
                <c:pt idx="1347">
                  <c:v>1.0653862E-2</c:v>
                </c:pt>
                <c:pt idx="1348">
                  <c:v>1.0646143E-2</c:v>
                </c:pt>
                <c:pt idx="1349">
                  <c:v>1.0620635999999999E-2</c:v>
                </c:pt>
                <c:pt idx="1350">
                  <c:v>1.0623353E-2</c:v>
                </c:pt>
                <c:pt idx="1351">
                  <c:v>1.0584892E-2</c:v>
                </c:pt>
                <c:pt idx="1352">
                  <c:v>1.0631733000000001E-2</c:v>
                </c:pt>
                <c:pt idx="1353">
                  <c:v>1.0697511999999999E-2</c:v>
                </c:pt>
                <c:pt idx="1354">
                  <c:v>1.0701558E-2</c:v>
                </c:pt>
                <c:pt idx="1355">
                  <c:v>1.0706673999999999E-2</c:v>
                </c:pt>
                <c:pt idx="1356">
                  <c:v>1.0736391E-2</c:v>
                </c:pt>
                <c:pt idx="1357">
                  <c:v>1.0729884E-2</c:v>
                </c:pt>
                <c:pt idx="1358">
                  <c:v>1.0749023E-2</c:v>
                </c:pt>
                <c:pt idx="1359">
                  <c:v>1.0772291E-2</c:v>
                </c:pt>
                <c:pt idx="1360">
                  <c:v>1.0824194000000001E-2</c:v>
                </c:pt>
                <c:pt idx="1361">
                  <c:v>1.0893765999999999E-2</c:v>
                </c:pt>
                <c:pt idx="1362">
                  <c:v>1.0930642000000001E-2</c:v>
                </c:pt>
                <c:pt idx="1363">
                  <c:v>1.0966994000000001E-2</c:v>
                </c:pt>
                <c:pt idx="1364">
                  <c:v>1.1005567000000001E-2</c:v>
                </c:pt>
                <c:pt idx="1365">
                  <c:v>1.1066794E-2</c:v>
                </c:pt>
                <c:pt idx="1366">
                  <c:v>1.1106975999999999E-2</c:v>
                </c:pt>
                <c:pt idx="1367">
                  <c:v>1.1189104E-2</c:v>
                </c:pt>
                <c:pt idx="1368">
                  <c:v>1.1213612E-2</c:v>
                </c:pt>
                <c:pt idx="1369">
                  <c:v>1.1242289000000001E-2</c:v>
                </c:pt>
                <c:pt idx="1370">
                  <c:v>1.1233151E-2</c:v>
                </c:pt>
                <c:pt idx="1371">
                  <c:v>1.1246219999999999E-2</c:v>
                </c:pt>
                <c:pt idx="1372">
                  <c:v>1.1260535E-2</c:v>
                </c:pt>
                <c:pt idx="1373">
                  <c:v>1.1240929E-2</c:v>
                </c:pt>
                <c:pt idx="1374">
                  <c:v>1.1235177000000001E-2</c:v>
                </c:pt>
                <c:pt idx="1375">
                  <c:v>1.1280501E-2</c:v>
                </c:pt>
                <c:pt idx="1376">
                  <c:v>1.1297043999999999E-2</c:v>
                </c:pt>
                <c:pt idx="1377">
                  <c:v>1.1347563E-2</c:v>
                </c:pt>
                <c:pt idx="1378">
                  <c:v>1.1376374999999999E-2</c:v>
                </c:pt>
                <c:pt idx="1379">
                  <c:v>1.1424844999999999E-2</c:v>
                </c:pt>
                <c:pt idx="1380">
                  <c:v>1.1499499999999999E-2</c:v>
                </c:pt>
                <c:pt idx="1381">
                  <c:v>1.1540148E-2</c:v>
                </c:pt>
                <c:pt idx="1382">
                  <c:v>1.1568218999999999E-2</c:v>
                </c:pt>
                <c:pt idx="1383">
                  <c:v>1.1605157E-2</c:v>
                </c:pt>
                <c:pt idx="1384">
                  <c:v>1.1622979E-2</c:v>
                </c:pt>
                <c:pt idx="1385">
                  <c:v>1.1632603E-2</c:v>
                </c:pt>
                <c:pt idx="1386">
                  <c:v>1.166206E-2</c:v>
                </c:pt>
                <c:pt idx="1387">
                  <c:v>1.1684975E-2</c:v>
                </c:pt>
                <c:pt idx="1388">
                  <c:v>1.1723785E-2</c:v>
                </c:pt>
                <c:pt idx="1389">
                  <c:v>1.1718156E-2</c:v>
                </c:pt>
                <c:pt idx="1390">
                  <c:v>1.1633533999999999E-2</c:v>
                </c:pt>
                <c:pt idx="1391">
                  <c:v>1.1592229000000001E-2</c:v>
                </c:pt>
                <c:pt idx="1392">
                  <c:v>1.1575412E-2</c:v>
                </c:pt>
                <c:pt idx="1393">
                  <c:v>1.1555866999999999E-2</c:v>
                </c:pt>
                <c:pt idx="1394">
                  <c:v>1.1534328999999999E-2</c:v>
                </c:pt>
                <c:pt idx="1395">
                  <c:v>1.1532557000000001E-2</c:v>
                </c:pt>
                <c:pt idx="1396">
                  <c:v>1.1594122E-2</c:v>
                </c:pt>
                <c:pt idx="1397">
                  <c:v>1.1740321999999999E-2</c:v>
                </c:pt>
                <c:pt idx="1398">
                  <c:v>1.1846933E-2</c:v>
                </c:pt>
                <c:pt idx="1399">
                  <c:v>1.1946165999999999E-2</c:v>
                </c:pt>
                <c:pt idx="1400">
                  <c:v>1.2122482E-2</c:v>
                </c:pt>
                <c:pt idx="1401">
                  <c:v>1.2356753999999999E-2</c:v>
                </c:pt>
                <c:pt idx="1402">
                  <c:v>1.2608602E-2</c:v>
                </c:pt>
                <c:pt idx="1403">
                  <c:v>1.2735438999999999E-2</c:v>
                </c:pt>
                <c:pt idx="1404">
                  <c:v>1.2839130000000001E-2</c:v>
                </c:pt>
                <c:pt idx="1405">
                  <c:v>1.2919735999999999E-2</c:v>
                </c:pt>
                <c:pt idx="1406">
                  <c:v>1.2976601000000001E-2</c:v>
                </c:pt>
                <c:pt idx="1407">
                  <c:v>1.3069347E-2</c:v>
                </c:pt>
                <c:pt idx="1408">
                  <c:v>1.3178729E-2</c:v>
                </c:pt>
                <c:pt idx="1409">
                  <c:v>1.3277157E-2</c:v>
                </c:pt>
                <c:pt idx="1410">
                  <c:v>1.3307836999999999E-2</c:v>
                </c:pt>
                <c:pt idx="1411">
                  <c:v>1.3385614000000001E-2</c:v>
                </c:pt>
                <c:pt idx="1412">
                  <c:v>1.3490073999999999E-2</c:v>
                </c:pt>
                <c:pt idx="1413">
                  <c:v>1.3606642E-2</c:v>
                </c:pt>
                <c:pt idx="1414">
                  <c:v>1.3735568E-2</c:v>
                </c:pt>
                <c:pt idx="1415">
                  <c:v>1.3808522E-2</c:v>
                </c:pt>
                <c:pt idx="1416">
                  <c:v>1.3922327E-2</c:v>
                </c:pt>
                <c:pt idx="1417">
                  <c:v>1.4008998999999999E-2</c:v>
                </c:pt>
                <c:pt idx="1418">
                  <c:v>1.4113976E-2</c:v>
                </c:pt>
                <c:pt idx="1419">
                  <c:v>1.4199547999999999E-2</c:v>
                </c:pt>
                <c:pt idx="1420">
                  <c:v>1.4317102999999999E-2</c:v>
                </c:pt>
                <c:pt idx="1421">
                  <c:v>1.4465611E-2</c:v>
                </c:pt>
                <c:pt idx="1422">
                  <c:v>1.4563315E-2</c:v>
                </c:pt>
                <c:pt idx="1423">
                  <c:v>1.4640504E-2</c:v>
                </c:pt>
                <c:pt idx="1424">
                  <c:v>1.4680990999999999E-2</c:v>
                </c:pt>
                <c:pt idx="1425">
                  <c:v>1.471753E-2</c:v>
                </c:pt>
                <c:pt idx="1426">
                  <c:v>1.4780278000000001E-2</c:v>
                </c:pt>
                <c:pt idx="1427">
                  <c:v>1.4816489E-2</c:v>
                </c:pt>
                <c:pt idx="1428">
                  <c:v>1.4814269999999999E-2</c:v>
                </c:pt>
                <c:pt idx="1429">
                  <c:v>1.4849289999999999E-2</c:v>
                </c:pt>
                <c:pt idx="1430">
                  <c:v>1.4918796999999999E-2</c:v>
                </c:pt>
                <c:pt idx="1431">
                  <c:v>1.4931827E-2</c:v>
                </c:pt>
                <c:pt idx="1432">
                  <c:v>1.4940369E-2</c:v>
                </c:pt>
                <c:pt idx="1433">
                  <c:v>1.4996944E-2</c:v>
                </c:pt>
                <c:pt idx="1434">
                  <c:v>1.4998176E-2</c:v>
                </c:pt>
                <c:pt idx="1435">
                  <c:v>1.5025192E-2</c:v>
                </c:pt>
                <c:pt idx="1436">
                  <c:v>1.5030415E-2</c:v>
                </c:pt>
                <c:pt idx="1437">
                  <c:v>1.5067535E-2</c:v>
                </c:pt>
                <c:pt idx="1438">
                  <c:v>1.5089707000000001E-2</c:v>
                </c:pt>
                <c:pt idx="1439">
                  <c:v>1.5122098E-2</c:v>
                </c:pt>
                <c:pt idx="1440">
                  <c:v>1.5083129000000001E-2</c:v>
                </c:pt>
                <c:pt idx="1441">
                  <c:v>1.5047622E-2</c:v>
                </c:pt>
                <c:pt idx="1442">
                  <c:v>1.5070693E-2</c:v>
                </c:pt>
                <c:pt idx="1443">
                  <c:v>1.5096185999999999E-2</c:v>
                </c:pt>
                <c:pt idx="1444">
                  <c:v>1.5094783000000001E-2</c:v>
                </c:pt>
                <c:pt idx="1445">
                  <c:v>1.5054249E-2</c:v>
                </c:pt>
                <c:pt idx="1446">
                  <c:v>1.5033707E-2</c:v>
                </c:pt>
                <c:pt idx="1447">
                  <c:v>1.5045764999999999E-2</c:v>
                </c:pt>
                <c:pt idx="1448">
                  <c:v>1.5074555999999999E-2</c:v>
                </c:pt>
                <c:pt idx="1449">
                  <c:v>1.508459E-2</c:v>
                </c:pt>
                <c:pt idx="1450">
                  <c:v>1.5097912E-2</c:v>
                </c:pt>
                <c:pt idx="1451">
                  <c:v>1.507065E-2</c:v>
                </c:pt>
                <c:pt idx="1452">
                  <c:v>1.5073293E-2</c:v>
                </c:pt>
                <c:pt idx="1453">
                  <c:v>1.5073394E-2</c:v>
                </c:pt>
                <c:pt idx="1454">
                  <c:v>1.5040812000000001E-2</c:v>
                </c:pt>
                <c:pt idx="1455">
                  <c:v>1.5040289E-2</c:v>
                </c:pt>
                <c:pt idx="1456">
                  <c:v>1.5065092E-2</c:v>
                </c:pt>
                <c:pt idx="1457">
                  <c:v>1.5126805E-2</c:v>
                </c:pt>
                <c:pt idx="1458">
                  <c:v>1.5190482E-2</c:v>
                </c:pt>
                <c:pt idx="1459">
                  <c:v>1.5185349000000001E-2</c:v>
                </c:pt>
                <c:pt idx="1460">
                  <c:v>1.5229631E-2</c:v>
                </c:pt>
                <c:pt idx="1461">
                  <c:v>1.5265730999999999E-2</c:v>
                </c:pt>
                <c:pt idx="1462">
                  <c:v>1.5281308E-2</c:v>
                </c:pt>
                <c:pt idx="1463">
                  <c:v>1.5196184999999999E-2</c:v>
                </c:pt>
                <c:pt idx="1464">
                  <c:v>1.5179055E-2</c:v>
                </c:pt>
                <c:pt idx="1465">
                  <c:v>1.5142058999999999E-2</c:v>
                </c:pt>
                <c:pt idx="1466">
                  <c:v>1.5102482E-2</c:v>
                </c:pt>
                <c:pt idx="1467">
                  <c:v>1.5049827E-2</c:v>
                </c:pt>
                <c:pt idx="1468">
                  <c:v>1.5009814999999999E-2</c:v>
                </c:pt>
                <c:pt idx="1469">
                  <c:v>1.4946884000000001E-2</c:v>
                </c:pt>
                <c:pt idx="1470">
                  <c:v>1.495734E-2</c:v>
                </c:pt>
                <c:pt idx="1471">
                  <c:v>1.4973989E-2</c:v>
                </c:pt>
                <c:pt idx="1472">
                  <c:v>1.4895458E-2</c:v>
                </c:pt>
                <c:pt idx="1473">
                  <c:v>1.4798893E-2</c:v>
                </c:pt>
                <c:pt idx="1474">
                  <c:v>1.4817400999999999E-2</c:v>
                </c:pt>
                <c:pt idx="1475">
                  <c:v>1.4796876E-2</c:v>
                </c:pt>
                <c:pt idx="1476">
                  <c:v>1.476184E-2</c:v>
                </c:pt>
                <c:pt idx="1477">
                  <c:v>1.47184E-2</c:v>
                </c:pt>
                <c:pt idx="1478">
                  <c:v>1.4687525E-2</c:v>
                </c:pt>
                <c:pt idx="1479">
                  <c:v>1.4664079E-2</c:v>
                </c:pt>
                <c:pt idx="1480">
                  <c:v>1.4656697999999999E-2</c:v>
                </c:pt>
                <c:pt idx="1481">
                  <c:v>1.4711596E-2</c:v>
                </c:pt>
                <c:pt idx="1482">
                  <c:v>1.4776981E-2</c:v>
                </c:pt>
                <c:pt idx="1483">
                  <c:v>1.4812605E-2</c:v>
                </c:pt>
                <c:pt idx="1484">
                  <c:v>1.4834076999999999E-2</c:v>
                </c:pt>
                <c:pt idx="1485">
                  <c:v>1.4812669000000001E-2</c:v>
                </c:pt>
                <c:pt idx="1486">
                  <c:v>1.4810485E-2</c:v>
                </c:pt>
                <c:pt idx="1487">
                  <c:v>1.4795409000000001E-2</c:v>
                </c:pt>
                <c:pt idx="1488">
                  <c:v>1.4756599E-2</c:v>
                </c:pt>
                <c:pt idx="1489">
                  <c:v>1.4728141E-2</c:v>
                </c:pt>
                <c:pt idx="1490">
                  <c:v>1.4725054E-2</c:v>
                </c:pt>
                <c:pt idx="1491">
                  <c:v>1.4733408E-2</c:v>
                </c:pt>
                <c:pt idx="1492">
                  <c:v>1.4760700999999999E-2</c:v>
                </c:pt>
                <c:pt idx="1493">
                  <c:v>1.4802723E-2</c:v>
                </c:pt>
                <c:pt idx="1494">
                  <c:v>1.4901197999999999E-2</c:v>
                </c:pt>
                <c:pt idx="1495">
                  <c:v>1.4904561E-2</c:v>
                </c:pt>
                <c:pt idx="1496">
                  <c:v>1.4960818000000001E-2</c:v>
                </c:pt>
                <c:pt idx="1497">
                  <c:v>1.4948688999999999E-2</c:v>
                </c:pt>
                <c:pt idx="1498">
                  <c:v>1.4945920999999999E-2</c:v>
                </c:pt>
                <c:pt idx="1499">
                  <c:v>1.4940920999999999E-2</c:v>
                </c:pt>
                <c:pt idx="1500">
                  <c:v>1.4892837000000001E-2</c:v>
                </c:pt>
                <c:pt idx="1501">
                  <c:v>1.4878634E-2</c:v>
                </c:pt>
                <c:pt idx="1502">
                  <c:v>1.4901325E-2</c:v>
                </c:pt>
                <c:pt idx="1503">
                  <c:v>1.4882388999999999E-2</c:v>
                </c:pt>
                <c:pt idx="1504">
                  <c:v>1.4899786999999999E-2</c:v>
                </c:pt>
                <c:pt idx="1505">
                  <c:v>1.4883297E-2</c:v>
                </c:pt>
                <c:pt idx="1506">
                  <c:v>1.4856632E-2</c:v>
                </c:pt>
                <c:pt idx="1507">
                  <c:v>1.4838262E-2</c:v>
                </c:pt>
                <c:pt idx="1508">
                  <c:v>1.4822468E-2</c:v>
                </c:pt>
                <c:pt idx="1509">
                  <c:v>1.4817532E-2</c:v>
                </c:pt>
                <c:pt idx="1510">
                  <c:v>1.4856708E-2</c:v>
                </c:pt>
                <c:pt idx="1511">
                  <c:v>1.4937153999999999E-2</c:v>
                </c:pt>
                <c:pt idx="1512">
                  <c:v>1.5005848E-2</c:v>
                </c:pt>
                <c:pt idx="1513">
                  <c:v>1.5019575E-2</c:v>
                </c:pt>
                <c:pt idx="1514">
                  <c:v>1.5018933E-2</c:v>
                </c:pt>
                <c:pt idx="1515">
                  <c:v>1.5008755E-2</c:v>
                </c:pt>
                <c:pt idx="1516">
                  <c:v>1.5028323E-2</c:v>
                </c:pt>
                <c:pt idx="1517">
                  <c:v>1.4898267E-2</c:v>
                </c:pt>
                <c:pt idx="1518">
                  <c:v>1.4806395E-2</c:v>
                </c:pt>
                <c:pt idx="1519">
                  <c:v>1.4716653999999999E-2</c:v>
                </c:pt>
                <c:pt idx="1520">
                  <c:v>1.4532154E-2</c:v>
                </c:pt>
                <c:pt idx="1521">
                  <c:v>1.4318312E-2</c:v>
                </c:pt>
                <c:pt idx="1522">
                  <c:v>1.4096233999999999E-2</c:v>
                </c:pt>
                <c:pt idx="1523">
                  <c:v>1.3995979E-2</c:v>
                </c:pt>
                <c:pt idx="1524">
                  <c:v>1.3849297E-2</c:v>
                </c:pt>
                <c:pt idx="1525">
                  <c:v>1.3770212E-2</c:v>
                </c:pt>
                <c:pt idx="1526">
                  <c:v>1.3694928E-2</c:v>
                </c:pt>
                <c:pt idx="1527">
                  <c:v>1.3566401000000001E-2</c:v>
                </c:pt>
                <c:pt idx="1528">
                  <c:v>1.3436735999999999E-2</c:v>
                </c:pt>
                <c:pt idx="1529">
                  <c:v>1.3355594E-2</c:v>
                </c:pt>
                <c:pt idx="1530">
                  <c:v>1.3291917E-2</c:v>
                </c:pt>
                <c:pt idx="1531">
                  <c:v>1.3235735E-2</c:v>
                </c:pt>
                <c:pt idx="1532">
                  <c:v>1.3155589000000001E-2</c:v>
                </c:pt>
                <c:pt idx="1533">
                  <c:v>1.3031667E-2</c:v>
                </c:pt>
                <c:pt idx="1534">
                  <c:v>1.291087E-2</c:v>
                </c:pt>
                <c:pt idx="1535">
                  <c:v>1.282491E-2</c:v>
                </c:pt>
                <c:pt idx="1536">
                  <c:v>1.2691556E-2</c:v>
                </c:pt>
                <c:pt idx="1537">
                  <c:v>1.2589724E-2</c:v>
                </c:pt>
                <c:pt idx="1538">
                  <c:v>1.2472738000000001E-2</c:v>
                </c:pt>
                <c:pt idx="1539">
                  <c:v>1.2347123999999999E-2</c:v>
                </c:pt>
                <c:pt idx="1540">
                  <c:v>1.2206229000000001E-2</c:v>
                </c:pt>
                <c:pt idx="1541">
                  <c:v>1.2025206E-2</c:v>
                </c:pt>
                <c:pt idx="1542">
                  <c:v>1.192818E-2</c:v>
                </c:pt>
                <c:pt idx="1543">
                  <c:v>1.1830525E-2</c:v>
                </c:pt>
                <c:pt idx="1544">
                  <c:v>1.1771563000000001E-2</c:v>
                </c:pt>
                <c:pt idx="1545">
                  <c:v>1.1716229999999999E-2</c:v>
                </c:pt>
                <c:pt idx="1546">
                  <c:v>1.1649254E-2</c:v>
                </c:pt>
                <c:pt idx="1547">
                  <c:v>1.1583388999999999E-2</c:v>
                </c:pt>
                <c:pt idx="1548">
                  <c:v>1.1548806E-2</c:v>
                </c:pt>
                <c:pt idx="1549">
                  <c:v>1.1490336E-2</c:v>
                </c:pt>
                <c:pt idx="1550">
                  <c:v>1.1415140000000001E-2</c:v>
                </c:pt>
                <c:pt idx="1551">
                  <c:v>1.1373708999999999E-2</c:v>
                </c:pt>
                <c:pt idx="1552">
                  <c:v>1.1345241000000001E-2</c:v>
                </c:pt>
                <c:pt idx="1553">
                  <c:v>1.1262764999999999E-2</c:v>
                </c:pt>
                <c:pt idx="1554">
                  <c:v>1.1243791E-2</c:v>
                </c:pt>
                <c:pt idx="1555">
                  <c:v>1.1203672E-2</c:v>
                </c:pt>
                <c:pt idx="1556">
                  <c:v>1.1216929E-2</c:v>
                </c:pt>
                <c:pt idx="1557">
                  <c:v>1.117926E-2</c:v>
                </c:pt>
                <c:pt idx="1558">
                  <c:v>1.1143302000000001E-2</c:v>
                </c:pt>
                <c:pt idx="1559">
                  <c:v>1.1114987E-2</c:v>
                </c:pt>
                <c:pt idx="1560">
                  <c:v>1.1122421E-2</c:v>
                </c:pt>
                <c:pt idx="1561">
                  <c:v>1.1130711E-2</c:v>
                </c:pt>
                <c:pt idx="1562">
                  <c:v>1.1094075E-2</c:v>
                </c:pt>
                <c:pt idx="1563">
                  <c:v>1.1097256E-2</c:v>
                </c:pt>
                <c:pt idx="1564">
                  <c:v>1.1093073E-2</c:v>
                </c:pt>
                <c:pt idx="1565">
                  <c:v>1.109753E-2</c:v>
                </c:pt>
                <c:pt idx="1566">
                  <c:v>1.1120435E-2</c:v>
                </c:pt>
                <c:pt idx="1567">
                  <c:v>1.1107875999999999E-2</c:v>
                </c:pt>
                <c:pt idx="1568">
                  <c:v>1.1094046E-2</c:v>
                </c:pt>
                <c:pt idx="1569">
                  <c:v>1.108606E-2</c:v>
                </c:pt>
                <c:pt idx="1570">
                  <c:v>1.1090894E-2</c:v>
                </c:pt>
                <c:pt idx="1571">
                  <c:v>1.1158648E-2</c:v>
                </c:pt>
                <c:pt idx="1572">
                  <c:v>1.1176149999999999E-2</c:v>
                </c:pt>
                <c:pt idx="1573">
                  <c:v>1.1193978E-2</c:v>
                </c:pt>
                <c:pt idx="1574">
                  <c:v>1.1224674E-2</c:v>
                </c:pt>
                <c:pt idx="1575">
                  <c:v>1.1260513E-2</c:v>
                </c:pt>
                <c:pt idx="1576">
                  <c:v>1.1244753999999999E-2</c:v>
                </c:pt>
                <c:pt idx="1577">
                  <c:v>1.1235121000000001E-2</c:v>
                </c:pt>
                <c:pt idx="1578">
                  <c:v>1.1213412000000001E-2</c:v>
                </c:pt>
                <c:pt idx="1579">
                  <c:v>1.1216036E-2</c:v>
                </c:pt>
                <c:pt idx="1580">
                  <c:v>1.1183013E-2</c:v>
                </c:pt>
                <c:pt idx="1581">
                  <c:v>1.1154239E-2</c:v>
                </c:pt>
                <c:pt idx="1582">
                  <c:v>1.1128149E-2</c:v>
                </c:pt>
                <c:pt idx="1583">
                  <c:v>1.1113046E-2</c:v>
                </c:pt>
                <c:pt idx="1584">
                  <c:v>1.1108303999999999E-2</c:v>
                </c:pt>
                <c:pt idx="1585">
                  <c:v>1.1111542E-2</c:v>
                </c:pt>
                <c:pt idx="1586">
                  <c:v>1.1094717E-2</c:v>
                </c:pt>
                <c:pt idx="1587">
                  <c:v>1.1110658000000001E-2</c:v>
                </c:pt>
                <c:pt idx="1588">
                  <c:v>1.1103772E-2</c:v>
                </c:pt>
                <c:pt idx="1589">
                  <c:v>1.1078783E-2</c:v>
                </c:pt>
                <c:pt idx="1590">
                  <c:v>1.1032824E-2</c:v>
                </c:pt>
                <c:pt idx="1591">
                  <c:v>1.0987284999999999E-2</c:v>
                </c:pt>
                <c:pt idx="1592">
                  <c:v>1.1010456E-2</c:v>
                </c:pt>
                <c:pt idx="1593">
                  <c:v>1.1016105999999999E-2</c:v>
                </c:pt>
                <c:pt idx="1594">
                  <c:v>1.0970336000000001E-2</c:v>
                </c:pt>
                <c:pt idx="1595">
                  <c:v>1.0945628000000001E-2</c:v>
                </c:pt>
                <c:pt idx="1596">
                  <c:v>1.0926194E-2</c:v>
                </c:pt>
                <c:pt idx="1597">
                  <c:v>1.090704E-2</c:v>
                </c:pt>
                <c:pt idx="1598">
                  <c:v>1.0880737E-2</c:v>
                </c:pt>
                <c:pt idx="1599">
                  <c:v>1.0845168000000001E-2</c:v>
                </c:pt>
                <c:pt idx="1600">
                  <c:v>1.0786819E-2</c:v>
                </c:pt>
                <c:pt idx="1601">
                  <c:v>1.0678750000000001E-2</c:v>
                </c:pt>
                <c:pt idx="1602">
                  <c:v>1.0627042E-2</c:v>
                </c:pt>
                <c:pt idx="1603">
                  <c:v>1.0600928000000001E-2</c:v>
                </c:pt>
                <c:pt idx="1604">
                  <c:v>1.0581953999999999E-2</c:v>
                </c:pt>
                <c:pt idx="1605">
                  <c:v>1.0578406E-2</c:v>
                </c:pt>
                <c:pt idx="1606">
                  <c:v>1.0559613000000001E-2</c:v>
                </c:pt>
                <c:pt idx="1607">
                  <c:v>1.0507951E-2</c:v>
                </c:pt>
                <c:pt idx="1608">
                  <c:v>1.0486072000000001E-2</c:v>
                </c:pt>
                <c:pt idx="1609">
                  <c:v>1.0459411E-2</c:v>
                </c:pt>
                <c:pt idx="1610">
                  <c:v>1.0437471E-2</c:v>
                </c:pt>
                <c:pt idx="1611">
                  <c:v>1.0397973E-2</c:v>
                </c:pt>
                <c:pt idx="1612">
                  <c:v>1.0323884E-2</c:v>
                </c:pt>
                <c:pt idx="1613">
                  <c:v>1.0253422999999999E-2</c:v>
                </c:pt>
                <c:pt idx="1614">
                  <c:v>1.0139707E-2</c:v>
                </c:pt>
                <c:pt idx="1615">
                  <c:v>1.0141294E-2</c:v>
                </c:pt>
                <c:pt idx="1616">
                  <c:v>1.0045313E-2</c:v>
                </c:pt>
                <c:pt idx="1617">
                  <c:v>9.9951859999999997E-3</c:v>
                </c:pt>
                <c:pt idx="1618">
                  <c:v>9.9534110000000005E-3</c:v>
                </c:pt>
                <c:pt idx="1619">
                  <c:v>9.8891169999999994E-3</c:v>
                </c:pt>
                <c:pt idx="1620">
                  <c:v>9.8432989999999998E-3</c:v>
                </c:pt>
                <c:pt idx="1621">
                  <c:v>9.8010609999999998E-3</c:v>
                </c:pt>
                <c:pt idx="1622">
                  <c:v>9.7128990000000005E-3</c:v>
                </c:pt>
                <c:pt idx="1623">
                  <c:v>9.6526549999999996E-3</c:v>
                </c:pt>
                <c:pt idx="1624">
                  <c:v>9.5888499999999995E-3</c:v>
                </c:pt>
                <c:pt idx="1625">
                  <c:v>9.5382569999999996E-3</c:v>
                </c:pt>
                <c:pt idx="1626">
                  <c:v>9.5004819999999993E-3</c:v>
                </c:pt>
                <c:pt idx="1627">
                  <c:v>9.4597459999999998E-3</c:v>
                </c:pt>
                <c:pt idx="1628">
                  <c:v>9.4101419999999998E-3</c:v>
                </c:pt>
                <c:pt idx="1629">
                  <c:v>9.3833159999999992E-3</c:v>
                </c:pt>
                <c:pt idx="1630">
                  <c:v>9.3034840000000008E-3</c:v>
                </c:pt>
                <c:pt idx="1631">
                  <c:v>9.2101270000000002E-3</c:v>
                </c:pt>
                <c:pt idx="1632">
                  <c:v>9.100482E-3</c:v>
                </c:pt>
                <c:pt idx="1633">
                  <c:v>9.0684219999999996E-3</c:v>
                </c:pt>
                <c:pt idx="1634">
                  <c:v>9.0427430000000007E-3</c:v>
                </c:pt>
                <c:pt idx="1635">
                  <c:v>9.0090450000000002E-3</c:v>
                </c:pt>
                <c:pt idx="1636">
                  <c:v>8.8933870000000009E-3</c:v>
                </c:pt>
                <c:pt idx="1637">
                  <c:v>8.8184539999999999E-3</c:v>
                </c:pt>
                <c:pt idx="1638">
                  <c:v>8.7631429999999993E-3</c:v>
                </c:pt>
                <c:pt idx="1639">
                  <c:v>8.6692000000000002E-3</c:v>
                </c:pt>
                <c:pt idx="1640">
                  <c:v>8.5725760000000002E-3</c:v>
                </c:pt>
                <c:pt idx="1641">
                  <c:v>8.4870009999999992E-3</c:v>
                </c:pt>
                <c:pt idx="1642">
                  <c:v>8.4121830000000002E-3</c:v>
                </c:pt>
                <c:pt idx="1643">
                  <c:v>8.3900120000000005E-3</c:v>
                </c:pt>
                <c:pt idx="1644">
                  <c:v>8.3435790000000003E-3</c:v>
                </c:pt>
                <c:pt idx="1645">
                  <c:v>8.2725630000000001E-3</c:v>
                </c:pt>
                <c:pt idx="1646">
                  <c:v>8.2160740000000003E-3</c:v>
                </c:pt>
                <c:pt idx="1647">
                  <c:v>8.1959449999999996E-3</c:v>
                </c:pt>
                <c:pt idx="1648">
                  <c:v>8.1564270000000008E-3</c:v>
                </c:pt>
                <c:pt idx="1649">
                  <c:v>8.1043680000000007E-3</c:v>
                </c:pt>
                <c:pt idx="1650">
                  <c:v>8.0583059999999995E-3</c:v>
                </c:pt>
                <c:pt idx="1651">
                  <c:v>8.0295680000000008E-3</c:v>
                </c:pt>
                <c:pt idx="1652">
                  <c:v>8.0078400000000004E-3</c:v>
                </c:pt>
                <c:pt idx="1653">
                  <c:v>8.0133530000000008E-3</c:v>
                </c:pt>
                <c:pt idx="1654">
                  <c:v>7.9974539999999993E-3</c:v>
                </c:pt>
                <c:pt idx="1655">
                  <c:v>7.9963269999999993E-3</c:v>
                </c:pt>
                <c:pt idx="1656">
                  <c:v>7.9873219999999998E-3</c:v>
                </c:pt>
                <c:pt idx="1657">
                  <c:v>7.9775980000000007E-3</c:v>
                </c:pt>
                <c:pt idx="1658">
                  <c:v>7.9933309999999994E-3</c:v>
                </c:pt>
                <c:pt idx="1659">
                  <c:v>8.0428900000000005E-3</c:v>
                </c:pt>
                <c:pt idx="1660">
                  <c:v>8.0467909999999993E-3</c:v>
                </c:pt>
                <c:pt idx="1661">
                  <c:v>8.0370560000000008E-3</c:v>
                </c:pt>
                <c:pt idx="1662">
                  <c:v>8.0263720000000004E-3</c:v>
                </c:pt>
                <c:pt idx="1663">
                  <c:v>8.0230370000000002E-3</c:v>
                </c:pt>
                <c:pt idx="1664">
                  <c:v>8.0260190000000006E-3</c:v>
                </c:pt>
                <c:pt idx="1665">
                  <c:v>8.0170859999999997E-3</c:v>
                </c:pt>
                <c:pt idx="1666">
                  <c:v>8.0114999999999995E-3</c:v>
                </c:pt>
                <c:pt idx="1667">
                  <c:v>8.0038539999999995E-3</c:v>
                </c:pt>
                <c:pt idx="1668">
                  <c:v>7.9917870000000002E-3</c:v>
                </c:pt>
                <c:pt idx="1669">
                  <c:v>7.9732740000000007E-3</c:v>
                </c:pt>
                <c:pt idx="1670">
                  <c:v>7.9667939999999993E-3</c:v>
                </c:pt>
                <c:pt idx="1671">
                  <c:v>7.9501260000000001E-3</c:v>
                </c:pt>
                <c:pt idx="1672">
                  <c:v>7.9275019999999995E-3</c:v>
                </c:pt>
                <c:pt idx="1673">
                  <c:v>7.9168150000000007E-3</c:v>
                </c:pt>
                <c:pt idx="1674">
                  <c:v>7.8972299999999999E-3</c:v>
                </c:pt>
                <c:pt idx="1675">
                  <c:v>7.8715450000000006E-3</c:v>
                </c:pt>
                <c:pt idx="1676">
                  <c:v>7.8185419999999995E-3</c:v>
                </c:pt>
                <c:pt idx="1677">
                  <c:v>7.7983410000000003E-3</c:v>
                </c:pt>
                <c:pt idx="1678">
                  <c:v>7.7966329999999999E-3</c:v>
                </c:pt>
                <c:pt idx="1679">
                  <c:v>7.8200000000000006E-3</c:v>
                </c:pt>
                <c:pt idx="1680">
                  <c:v>7.7892609999999996E-3</c:v>
                </c:pt>
                <c:pt idx="1681">
                  <c:v>7.7670609999999996E-3</c:v>
                </c:pt>
                <c:pt idx="1682">
                  <c:v>7.7422949999999997E-3</c:v>
                </c:pt>
                <c:pt idx="1683">
                  <c:v>7.6888800000000004E-3</c:v>
                </c:pt>
                <c:pt idx="1684">
                  <c:v>7.660282E-3</c:v>
                </c:pt>
                <c:pt idx="1685">
                  <c:v>7.6302690000000003E-3</c:v>
                </c:pt>
                <c:pt idx="1686">
                  <c:v>7.5938630000000002E-3</c:v>
                </c:pt>
                <c:pt idx="1687">
                  <c:v>7.5830280000000003E-3</c:v>
                </c:pt>
                <c:pt idx="1688">
                  <c:v>7.5520500000000003E-3</c:v>
                </c:pt>
                <c:pt idx="1689">
                  <c:v>7.5404859999999999E-3</c:v>
                </c:pt>
                <c:pt idx="1690">
                  <c:v>7.5210659999999999E-3</c:v>
                </c:pt>
                <c:pt idx="1691">
                  <c:v>7.4445479999999996E-3</c:v>
                </c:pt>
                <c:pt idx="1692">
                  <c:v>7.3961299999999999E-3</c:v>
                </c:pt>
                <c:pt idx="1693">
                  <c:v>7.3606360000000003E-3</c:v>
                </c:pt>
                <c:pt idx="1694">
                  <c:v>7.3294040000000003E-3</c:v>
                </c:pt>
                <c:pt idx="1695">
                  <c:v>7.2791469999999997E-3</c:v>
                </c:pt>
                <c:pt idx="1696">
                  <c:v>7.2372069999999998E-3</c:v>
                </c:pt>
                <c:pt idx="1697">
                  <c:v>7.1629780000000004E-3</c:v>
                </c:pt>
                <c:pt idx="1698">
                  <c:v>7.109153E-3</c:v>
                </c:pt>
                <c:pt idx="1699">
                  <c:v>7.0565050000000002E-3</c:v>
                </c:pt>
                <c:pt idx="1700">
                  <c:v>6.9973680000000003E-3</c:v>
                </c:pt>
                <c:pt idx="1701">
                  <c:v>6.965794E-3</c:v>
                </c:pt>
                <c:pt idx="1702">
                  <c:v>6.9601949999999998E-3</c:v>
                </c:pt>
                <c:pt idx="1703">
                  <c:v>6.92933E-3</c:v>
                </c:pt>
                <c:pt idx="1704">
                  <c:v>6.9339800000000002E-3</c:v>
                </c:pt>
                <c:pt idx="1705">
                  <c:v>6.9710950000000001E-3</c:v>
                </c:pt>
                <c:pt idx="1706">
                  <c:v>6.9675650000000002E-3</c:v>
                </c:pt>
                <c:pt idx="1707">
                  <c:v>6.9540180000000002E-3</c:v>
                </c:pt>
                <c:pt idx="1708">
                  <c:v>6.9449790000000004E-3</c:v>
                </c:pt>
                <c:pt idx="1709">
                  <c:v>6.9261599999999998E-3</c:v>
                </c:pt>
                <c:pt idx="1710">
                  <c:v>6.9552499999999996E-3</c:v>
                </c:pt>
                <c:pt idx="1711">
                  <c:v>6.991181E-3</c:v>
                </c:pt>
                <c:pt idx="1712">
                  <c:v>6.9798489999999998E-3</c:v>
                </c:pt>
                <c:pt idx="1713">
                  <c:v>7.0008400000000004E-3</c:v>
                </c:pt>
                <c:pt idx="1714">
                  <c:v>7.0013100000000002E-3</c:v>
                </c:pt>
                <c:pt idx="1715">
                  <c:v>6.9831490000000001E-3</c:v>
                </c:pt>
                <c:pt idx="1716">
                  <c:v>6.9655489999999997E-3</c:v>
                </c:pt>
                <c:pt idx="1717">
                  <c:v>6.9821930000000003E-3</c:v>
                </c:pt>
                <c:pt idx="1718">
                  <c:v>7.0072829999999996E-3</c:v>
                </c:pt>
                <c:pt idx="1719">
                  <c:v>7.0217270000000002E-3</c:v>
                </c:pt>
                <c:pt idx="1720">
                  <c:v>7.0355640000000002E-3</c:v>
                </c:pt>
                <c:pt idx="1721">
                  <c:v>7.0423259999999998E-3</c:v>
                </c:pt>
                <c:pt idx="1722">
                  <c:v>7.0141259999999999E-3</c:v>
                </c:pt>
                <c:pt idx="1723">
                  <c:v>6.9986049999999998E-3</c:v>
                </c:pt>
                <c:pt idx="1724">
                  <c:v>6.9708390000000004E-3</c:v>
                </c:pt>
                <c:pt idx="1725">
                  <c:v>6.9265849999999999E-3</c:v>
                </c:pt>
                <c:pt idx="1726">
                  <c:v>6.9152320000000003E-3</c:v>
                </c:pt>
                <c:pt idx="1727">
                  <c:v>6.8902110000000003E-3</c:v>
                </c:pt>
                <c:pt idx="1728">
                  <c:v>6.8648479999999998E-3</c:v>
                </c:pt>
                <c:pt idx="1729">
                  <c:v>6.884289E-3</c:v>
                </c:pt>
                <c:pt idx="1730">
                  <c:v>6.8915629999999999E-3</c:v>
                </c:pt>
                <c:pt idx="1731">
                  <c:v>6.9385970000000003E-3</c:v>
                </c:pt>
                <c:pt idx="1732">
                  <c:v>6.9838579999999999E-3</c:v>
                </c:pt>
                <c:pt idx="1733">
                  <c:v>7.0555219999999998E-3</c:v>
                </c:pt>
                <c:pt idx="1734">
                  <c:v>7.1490920000000001E-3</c:v>
                </c:pt>
                <c:pt idx="1735">
                  <c:v>7.1431819999999997E-3</c:v>
                </c:pt>
                <c:pt idx="1736">
                  <c:v>7.1567779999999999E-3</c:v>
                </c:pt>
                <c:pt idx="1737">
                  <c:v>7.1511969999999998E-3</c:v>
                </c:pt>
                <c:pt idx="1738">
                  <c:v>7.1806600000000002E-3</c:v>
                </c:pt>
                <c:pt idx="1739">
                  <c:v>7.238492E-3</c:v>
                </c:pt>
                <c:pt idx="1740">
                  <c:v>7.2842540000000004E-3</c:v>
                </c:pt>
                <c:pt idx="1741">
                  <c:v>7.3237670000000001E-3</c:v>
                </c:pt>
                <c:pt idx="1742">
                  <c:v>7.3617559999999997E-3</c:v>
                </c:pt>
                <c:pt idx="1743">
                  <c:v>7.4073990000000003E-3</c:v>
                </c:pt>
                <c:pt idx="1744">
                  <c:v>7.4475319999999998E-3</c:v>
                </c:pt>
                <c:pt idx="1745">
                  <c:v>7.4862890000000001E-3</c:v>
                </c:pt>
                <c:pt idx="1746">
                  <c:v>7.5940859999999999E-3</c:v>
                </c:pt>
                <c:pt idx="1747">
                  <c:v>7.6561839999999999E-3</c:v>
                </c:pt>
                <c:pt idx="1748">
                  <c:v>7.6917790000000002E-3</c:v>
                </c:pt>
                <c:pt idx="1749">
                  <c:v>7.7198129999999998E-3</c:v>
                </c:pt>
                <c:pt idx="1750">
                  <c:v>7.7561080000000003E-3</c:v>
                </c:pt>
                <c:pt idx="1751">
                  <c:v>7.7870559999999997E-3</c:v>
                </c:pt>
                <c:pt idx="1752">
                  <c:v>7.8106299999999998E-3</c:v>
                </c:pt>
                <c:pt idx="1753">
                  <c:v>7.7908480000000004E-3</c:v>
                </c:pt>
                <c:pt idx="1754">
                  <c:v>7.7689350000000003E-3</c:v>
                </c:pt>
                <c:pt idx="1755">
                  <c:v>7.7563010000000002E-3</c:v>
                </c:pt>
                <c:pt idx="1756">
                  <c:v>7.7679350000000001E-3</c:v>
                </c:pt>
                <c:pt idx="1757">
                  <c:v>7.7885280000000003E-3</c:v>
                </c:pt>
                <c:pt idx="1758">
                  <c:v>7.7987059999999999E-3</c:v>
                </c:pt>
                <c:pt idx="1759">
                  <c:v>7.8331630000000006E-3</c:v>
                </c:pt>
                <c:pt idx="1760">
                  <c:v>7.8542909999999994E-3</c:v>
                </c:pt>
                <c:pt idx="1761">
                  <c:v>7.8627019999999992E-3</c:v>
                </c:pt>
                <c:pt idx="1762">
                  <c:v>7.8618179999999996E-3</c:v>
                </c:pt>
                <c:pt idx="1763">
                  <c:v>7.8397669999999992E-3</c:v>
                </c:pt>
                <c:pt idx="1764">
                  <c:v>7.848776E-3</c:v>
                </c:pt>
                <c:pt idx="1765">
                  <c:v>7.875188E-3</c:v>
                </c:pt>
                <c:pt idx="1766">
                  <c:v>7.8879999999999992E-3</c:v>
                </c:pt>
                <c:pt idx="1767">
                  <c:v>7.8665799999999998E-3</c:v>
                </c:pt>
                <c:pt idx="1768">
                  <c:v>7.901824E-3</c:v>
                </c:pt>
                <c:pt idx="1769">
                  <c:v>7.9184289999999994E-3</c:v>
                </c:pt>
                <c:pt idx="1770">
                  <c:v>7.9745849999999993E-3</c:v>
                </c:pt>
                <c:pt idx="1771">
                  <c:v>8.0002530000000006E-3</c:v>
                </c:pt>
                <c:pt idx="1772">
                  <c:v>8.0349670000000005E-3</c:v>
                </c:pt>
                <c:pt idx="1773">
                  <c:v>8.0348099999999999E-3</c:v>
                </c:pt>
                <c:pt idx="1774">
                  <c:v>8.0457159999999996E-3</c:v>
                </c:pt>
                <c:pt idx="1775">
                  <c:v>8.0220469999999992E-3</c:v>
                </c:pt>
                <c:pt idx="1776">
                  <c:v>8.0693940000000006E-3</c:v>
                </c:pt>
                <c:pt idx="1777">
                  <c:v>8.0791279999999997E-3</c:v>
                </c:pt>
                <c:pt idx="1778">
                  <c:v>8.0843930000000005E-3</c:v>
                </c:pt>
                <c:pt idx="1779">
                  <c:v>8.0736990000000002E-3</c:v>
                </c:pt>
                <c:pt idx="1780">
                  <c:v>8.0922530000000006E-3</c:v>
                </c:pt>
                <c:pt idx="1781">
                  <c:v>8.1177160000000005E-3</c:v>
                </c:pt>
                <c:pt idx="1782">
                  <c:v>8.130333E-3</c:v>
                </c:pt>
                <c:pt idx="1783">
                  <c:v>8.1309680000000006E-3</c:v>
                </c:pt>
                <c:pt idx="1784">
                  <c:v>8.1358300000000001E-3</c:v>
                </c:pt>
                <c:pt idx="1785">
                  <c:v>8.1563220000000006E-3</c:v>
                </c:pt>
                <c:pt idx="1786">
                  <c:v>8.166108E-3</c:v>
                </c:pt>
                <c:pt idx="1787">
                  <c:v>8.1867699999999995E-3</c:v>
                </c:pt>
                <c:pt idx="1788">
                  <c:v>8.1795730000000007E-3</c:v>
                </c:pt>
                <c:pt idx="1789">
                  <c:v>8.1906700000000006E-3</c:v>
                </c:pt>
                <c:pt idx="1790">
                  <c:v>8.2015899999999999E-3</c:v>
                </c:pt>
                <c:pt idx="1791">
                  <c:v>8.2313109999999998E-3</c:v>
                </c:pt>
                <c:pt idx="1792">
                  <c:v>8.2572099999999992E-3</c:v>
                </c:pt>
                <c:pt idx="1793">
                  <c:v>8.276027E-3</c:v>
                </c:pt>
                <c:pt idx="1794">
                  <c:v>8.3180509999999999E-3</c:v>
                </c:pt>
                <c:pt idx="1795">
                  <c:v>8.3853339999999995E-3</c:v>
                </c:pt>
                <c:pt idx="1796">
                  <c:v>8.4192829999999996E-3</c:v>
                </c:pt>
                <c:pt idx="1797">
                  <c:v>8.4430430000000008E-3</c:v>
                </c:pt>
                <c:pt idx="1798">
                  <c:v>8.4546770000000007E-3</c:v>
                </c:pt>
                <c:pt idx="1799">
                  <c:v>8.4482959999999992E-3</c:v>
                </c:pt>
                <c:pt idx="1800">
                  <c:v>8.4634919999999995E-3</c:v>
                </c:pt>
                <c:pt idx="1801">
                  <c:v>8.4722979999999996E-3</c:v>
                </c:pt>
                <c:pt idx="1802">
                  <c:v>8.4888169999999992E-3</c:v>
                </c:pt>
                <c:pt idx="1803">
                  <c:v>8.5294299999999993E-3</c:v>
                </c:pt>
                <c:pt idx="1804">
                  <c:v>8.5562180000000009E-3</c:v>
                </c:pt>
                <c:pt idx="1805">
                  <c:v>8.5864800000000005E-3</c:v>
                </c:pt>
                <c:pt idx="1806">
                  <c:v>8.6296610000000003E-3</c:v>
                </c:pt>
                <c:pt idx="1807">
                  <c:v>8.6441680000000007E-3</c:v>
                </c:pt>
                <c:pt idx="1808">
                  <c:v>8.6788890000000004E-3</c:v>
                </c:pt>
                <c:pt idx="1809">
                  <c:v>8.6882880000000006E-3</c:v>
                </c:pt>
                <c:pt idx="1810">
                  <c:v>8.6909009999999991E-3</c:v>
                </c:pt>
                <c:pt idx="1811">
                  <c:v>8.6858620000000008E-3</c:v>
                </c:pt>
                <c:pt idx="1812">
                  <c:v>8.6971619999999996E-3</c:v>
                </c:pt>
                <c:pt idx="1813">
                  <c:v>8.7150709999999996E-3</c:v>
                </c:pt>
                <c:pt idx="1814">
                  <c:v>8.7134670000000008E-3</c:v>
                </c:pt>
                <c:pt idx="1815">
                  <c:v>8.7164140000000005E-3</c:v>
                </c:pt>
                <c:pt idx="1816">
                  <c:v>8.7242029999999998E-3</c:v>
                </c:pt>
                <c:pt idx="1817">
                  <c:v>8.7454690000000005E-3</c:v>
                </c:pt>
                <c:pt idx="1818">
                  <c:v>8.7595429999999998E-3</c:v>
                </c:pt>
                <c:pt idx="1819">
                  <c:v>8.7773269999999997E-3</c:v>
                </c:pt>
                <c:pt idx="1820">
                  <c:v>8.7788880000000003E-3</c:v>
                </c:pt>
                <c:pt idx="1821">
                  <c:v>8.7836349999999997E-3</c:v>
                </c:pt>
                <c:pt idx="1822">
                  <c:v>8.7960169999999997E-3</c:v>
                </c:pt>
                <c:pt idx="1823">
                  <c:v>8.8211220000000007E-3</c:v>
                </c:pt>
                <c:pt idx="1824">
                  <c:v>8.7900489999999994E-3</c:v>
                </c:pt>
                <c:pt idx="1825">
                  <c:v>8.7228280000000002E-3</c:v>
                </c:pt>
                <c:pt idx="1826">
                  <c:v>8.7183409999999992E-3</c:v>
                </c:pt>
                <c:pt idx="1827">
                  <c:v>8.7003159999999996E-3</c:v>
                </c:pt>
                <c:pt idx="1828">
                  <c:v>8.6954089999999994E-3</c:v>
                </c:pt>
                <c:pt idx="1829">
                  <c:v>8.6986619999999994E-3</c:v>
                </c:pt>
                <c:pt idx="1830">
                  <c:v>8.6660160000000003E-3</c:v>
                </c:pt>
                <c:pt idx="1831">
                  <c:v>8.6419189999999996E-3</c:v>
                </c:pt>
                <c:pt idx="1832">
                  <c:v>8.6132640000000007E-3</c:v>
                </c:pt>
                <c:pt idx="1833">
                  <c:v>8.5731999999999996E-3</c:v>
                </c:pt>
                <c:pt idx="1834">
                  <c:v>8.5477149999999991E-3</c:v>
                </c:pt>
                <c:pt idx="1835">
                  <c:v>8.5354290000000006E-3</c:v>
                </c:pt>
                <c:pt idx="1836">
                  <c:v>8.5290109999999995E-3</c:v>
                </c:pt>
                <c:pt idx="1837">
                  <c:v>8.5114849999999992E-3</c:v>
                </c:pt>
                <c:pt idx="1838">
                  <c:v>8.4808409999999994E-3</c:v>
                </c:pt>
                <c:pt idx="1839">
                  <c:v>8.4623960000000005E-3</c:v>
                </c:pt>
                <c:pt idx="1840">
                  <c:v>8.448657E-3</c:v>
                </c:pt>
                <c:pt idx="1841">
                  <c:v>8.4162279999999996E-3</c:v>
                </c:pt>
                <c:pt idx="1842">
                  <c:v>8.3794860000000002E-3</c:v>
                </c:pt>
                <c:pt idx="1843">
                  <c:v>8.3472860000000006E-3</c:v>
                </c:pt>
                <c:pt idx="1844">
                  <c:v>8.3268909999999995E-3</c:v>
                </c:pt>
                <c:pt idx="1845">
                  <c:v>8.3214699999999992E-3</c:v>
                </c:pt>
                <c:pt idx="1846">
                  <c:v>8.2868219999999992E-3</c:v>
                </c:pt>
                <c:pt idx="1847">
                  <c:v>8.2614139999999999E-3</c:v>
                </c:pt>
                <c:pt idx="1848">
                  <c:v>8.269284E-3</c:v>
                </c:pt>
                <c:pt idx="1849">
                  <c:v>8.2406409999999999E-3</c:v>
                </c:pt>
                <c:pt idx="1850">
                  <c:v>8.2175189999999995E-3</c:v>
                </c:pt>
                <c:pt idx="1851">
                  <c:v>8.1399769999999996E-3</c:v>
                </c:pt>
                <c:pt idx="1852">
                  <c:v>8.0780369999999997E-3</c:v>
                </c:pt>
                <c:pt idx="1853">
                  <c:v>7.9912799999999999E-3</c:v>
                </c:pt>
                <c:pt idx="1854">
                  <c:v>7.8925820000000004E-3</c:v>
                </c:pt>
                <c:pt idx="1855">
                  <c:v>7.8252189999999996E-3</c:v>
                </c:pt>
                <c:pt idx="1856">
                  <c:v>7.7853640000000003E-3</c:v>
                </c:pt>
                <c:pt idx="1857">
                  <c:v>7.7645120000000003E-3</c:v>
                </c:pt>
                <c:pt idx="1858">
                  <c:v>7.7189390000000002E-3</c:v>
                </c:pt>
                <c:pt idx="1859">
                  <c:v>7.6631349999999997E-3</c:v>
                </c:pt>
                <c:pt idx="1860">
                  <c:v>7.6143770000000003E-3</c:v>
                </c:pt>
                <c:pt idx="1861">
                  <c:v>7.5841520000000003E-3</c:v>
                </c:pt>
                <c:pt idx="1862">
                  <c:v>7.5388340000000003E-3</c:v>
                </c:pt>
                <c:pt idx="1863">
                  <c:v>7.5055590000000002E-3</c:v>
                </c:pt>
                <c:pt idx="1864">
                  <c:v>7.4653000000000002E-3</c:v>
                </c:pt>
                <c:pt idx="1865">
                  <c:v>7.4398390000000002E-3</c:v>
                </c:pt>
                <c:pt idx="1866">
                  <c:v>7.3329570000000002E-3</c:v>
                </c:pt>
                <c:pt idx="1867">
                  <c:v>7.3587660000000001E-3</c:v>
                </c:pt>
                <c:pt idx="1868">
                  <c:v>7.3558829999999997E-3</c:v>
                </c:pt>
                <c:pt idx="1869">
                  <c:v>7.3350500000000001E-3</c:v>
                </c:pt>
                <c:pt idx="1870">
                  <c:v>7.3151789999999998E-3</c:v>
                </c:pt>
                <c:pt idx="1871">
                  <c:v>7.2930720000000003E-3</c:v>
                </c:pt>
                <c:pt idx="1872">
                  <c:v>7.3120490000000002E-3</c:v>
                </c:pt>
                <c:pt idx="1873">
                  <c:v>7.3186279999999998E-3</c:v>
                </c:pt>
                <c:pt idx="1874">
                  <c:v>7.3190620000000003E-3</c:v>
                </c:pt>
                <c:pt idx="1875">
                  <c:v>7.3192120000000003E-3</c:v>
                </c:pt>
                <c:pt idx="1876">
                  <c:v>7.3088850000000002E-3</c:v>
                </c:pt>
                <c:pt idx="1877">
                  <c:v>7.2916140000000001E-3</c:v>
                </c:pt>
                <c:pt idx="1878">
                  <c:v>7.2824389999999999E-3</c:v>
                </c:pt>
                <c:pt idx="1879">
                  <c:v>7.234435E-3</c:v>
                </c:pt>
                <c:pt idx="1880">
                  <c:v>7.2079359999999999E-3</c:v>
                </c:pt>
                <c:pt idx="1881">
                  <c:v>7.2337269999999997E-3</c:v>
                </c:pt>
                <c:pt idx="1882">
                  <c:v>7.2542329999999997E-3</c:v>
                </c:pt>
                <c:pt idx="1883">
                  <c:v>7.2183760000000003E-3</c:v>
                </c:pt>
                <c:pt idx="1884">
                  <c:v>7.1785190000000004E-3</c:v>
                </c:pt>
                <c:pt idx="1885">
                  <c:v>7.1633549999999997E-3</c:v>
                </c:pt>
                <c:pt idx="1886">
                  <c:v>7.1593990000000003E-3</c:v>
                </c:pt>
                <c:pt idx="1887">
                  <c:v>7.1565459999999997E-3</c:v>
                </c:pt>
                <c:pt idx="1888">
                  <c:v>7.110234E-3</c:v>
                </c:pt>
                <c:pt idx="1889">
                  <c:v>7.0806109999999997E-3</c:v>
                </c:pt>
                <c:pt idx="1890">
                  <c:v>7.0301979999999997E-3</c:v>
                </c:pt>
                <c:pt idx="1891">
                  <c:v>7.0088479999999998E-3</c:v>
                </c:pt>
                <c:pt idx="1892">
                  <c:v>6.9438829999999997E-3</c:v>
                </c:pt>
                <c:pt idx="1893">
                  <c:v>6.9003090000000003E-3</c:v>
                </c:pt>
                <c:pt idx="1894">
                  <c:v>6.8778449999999996E-3</c:v>
                </c:pt>
                <c:pt idx="1895">
                  <c:v>6.8587589999999999E-3</c:v>
                </c:pt>
                <c:pt idx="1896">
                  <c:v>6.8032539999999999E-3</c:v>
                </c:pt>
                <c:pt idx="1897">
                  <c:v>6.7759259999999998E-3</c:v>
                </c:pt>
                <c:pt idx="1898">
                  <c:v>6.7273539999999996E-3</c:v>
                </c:pt>
                <c:pt idx="1899">
                  <c:v>6.6819499999999999E-3</c:v>
                </c:pt>
                <c:pt idx="1900">
                  <c:v>6.647427E-3</c:v>
                </c:pt>
                <c:pt idx="1901">
                  <c:v>6.6428729999999997E-3</c:v>
                </c:pt>
                <c:pt idx="1902">
                  <c:v>6.6331259999999996E-3</c:v>
                </c:pt>
                <c:pt idx="1903">
                  <c:v>6.6342900000000002E-3</c:v>
                </c:pt>
                <c:pt idx="1904">
                  <c:v>6.617688E-3</c:v>
                </c:pt>
                <c:pt idx="1905">
                  <c:v>6.6017130000000004E-3</c:v>
                </c:pt>
                <c:pt idx="1906">
                  <c:v>6.5837589999999998E-3</c:v>
                </c:pt>
                <c:pt idx="1907">
                  <c:v>6.5580220000000002E-3</c:v>
                </c:pt>
                <c:pt idx="1908">
                  <c:v>6.548824E-3</c:v>
                </c:pt>
                <c:pt idx="1909">
                  <c:v>6.5448440000000002E-3</c:v>
                </c:pt>
                <c:pt idx="1910">
                  <c:v>6.5219149999999997E-3</c:v>
                </c:pt>
                <c:pt idx="1911">
                  <c:v>6.4973189999999997E-3</c:v>
                </c:pt>
                <c:pt idx="1912">
                  <c:v>6.4768880000000001E-3</c:v>
                </c:pt>
                <c:pt idx="1913">
                  <c:v>6.4604959999999996E-3</c:v>
                </c:pt>
                <c:pt idx="1914">
                  <c:v>6.4168799999999998E-3</c:v>
                </c:pt>
                <c:pt idx="1915">
                  <c:v>6.3638540000000004E-3</c:v>
                </c:pt>
                <c:pt idx="1916">
                  <c:v>6.3305740000000003E-3</c:v>
                </c:pt>
                <c:pt idx="1917">
                  <c:v>6.3115139999999998E-3</c:v>
                </c:pt>
                <c:pt idx="1918">
                  <c:v>6.2824420000000001E-3</c:v>
                </c:pt>
                <c:pt idx="1919">
                  <c:v>6.2470479999999998E-3</c:v>
                </c:pt>
                <c:pt idx="1920">
                  <c:v>6.2327850000000002E-3</c:v>
                </c:pt>
                <c:pt idx="1921">
                  <c:v>6.2236189999999997E-3</c:v>
                </c:pt>
                <c:pt idx="1922">
                  <c:v>6.2250250000000003E-3</c:v>
                </c:pt>
                <c:pt idx="1923">
                  <c:v>6.215328E-3</c:v>
                </c:pt>
                <c:pt idx="1924">
                  <c:v>6.2047609999999996E-3</c:v>
                </c:pt>
                <c:pt idx="1925">
                  <c:v>6.2682809999999997E-3</c:v>
                </c:pt>
                <c:pt idx="1926">
                  <c:v>6.2671960000000001E-3</c:v>
                </c:pt>
                <c:pt idx="1927">
                  <c:v>6.3146799999999996E-3</c:v>
                </c:pt>
                <c:pt idx="1928">
                  <c:v>6.3506300000000003E-3</c:v>
                </c:pt>
                <c:pt idx="1929">
                  <c:v>6.3663060000000004E-3</c:v>
                </c:pt>
                <c:pt idx="1930">
                  <c:v>6.3808529999999997E-3</c:v>
                </c:pt>
                <c:pt idx="1931">
                  <c:v>6.3957390000000001E-3</c:v>
                </c:pt>
                <c:pt idx="1932">
                  <c:v>6.50068E-3</c:v>
                </c:pt>
                <c:pt idx="1933">
                  <c:v>6.5751220000000001E-3</c:v>
                </c:pt>
                <c:pt idx="1934">
                  <c:v>6.6482299999999998E-3</c:v>
                </c:pt>
                <c:pt idx="1935">
                  <c:v>6.693442E-3</c:v>
                </c:pt>
                <c:pt idx="1936">
                  <c:v>6.7383599999999997E-3</c:v>
                </c:pt>
                <c:pt idx="1937">
                  <c:v>6.7690110000000001E-3</c:v>
                </c:pt>
                <c:pt idx="1938">
                  <c:v>6.7854209999999998E-3</c:v>
                </c:pt>
                <c:pt idx="1939">
                  <c:v>6.8593700000000001E-3</c:v>
                </c:pt>
                <c:pt idx="1940">
                  <c:v>6.9055430000000001E-3</c:v>
                </c:pt>
                <c:pt idx="1941">
                  <c:v>6.9501199999999997E-3</c:v>
                </c:pt>
                <c:pt idx="1942">
                  <c:v>6.9668079999999997E-3</c:v>
                </c:pt>
                <c:pt idx="1943">
                  <c:v>7.007503E-3</c:v>
                </c:pt>
                <c:pt idx="1944">
                  <c:v>7.0906789999999999E-3</c:v>
                </c:pt>
                <c:pt idx="1945">
                  <c:v>7.1451680000000004E-3</c:v>
                </c:pt>
                <c:pt idx="1946">
                  <c:v>7.1657559999999997E-3</c:v>
                </c:pt>
                <c:pt idx="1947">
                  <c:v>7.2094790000000004E-3</c:v>
                </c:pt>
                <c:pt idx="1948">
                  <c:v>7.2434170000000003E-3</c:v>
                </c:pt>
                <c:pt idx="1949">
                  <c:v>7.2980930000000003E-3</c:v>
                </c:pt>
                <c:pt idx="1950">
                  <c:v>7.3718539999999997E-3</c:v>
                </c:pt>
                <c:pt idx="1951">
                  <c:v>7.4357499999999997E-3</c:v>
                </c:pt>
                <c:pt idx="1952">
                  <c:v>7.5044079999999997E-3</c:v>
                </c:pt>
                <c:pt idx="1953">
                  <c:v>7.5541699999999998E-3</c:v>
                </c:pt>
                <c:pt idx="1954">
                  <c:v>7.6164520000000001E-3</c:v>
                </c:pt>
                <c:pt idx="1955">
                  <c:v>7.697682E-3</c:v>
                </c:pt>
                <c:pt idx="1956">
                  <c:v>7.8073129999999998E-3</c:v>
                </c:pt>
                <c:pt idx="1957">
                  <c:v>7.8672280000000004E-3</c:v>
                </c:pt>
                <c:pt idx="1958">
                  <c:v>7.9832819999999995E-3</c:v>
                </c:pt>
                <c:pt idx="1959">
                  <c:v>8.0177559999999991E-3</c:v>
                </c:pt>
                <c:pt idx="1960">
                  <c:v>8.1101200000000002E-3</c:v>
                </c:pt>
                <c:pt idx="1961">
                  <c:v>8.2131949999999995E-3</c:v>
                </c:pt>
                <c:pt idx="1962">
                  <c:v>8.3169100000000003E-3</c:v>
                </c:pt>
                <c:pt idx="1963">
                  <c:v>8.3946190000000007E-3</c:v>
                </c:pt>
                <c:pt idx="1964">
                  <c:v>8.4905599999999994E-3</c:v>
                </c:pt>
                <c:pt idx="1965">
                  <c:v>8.6216149999999991E-3</c:v>
                </c:pt>
                <c:pt idx="1966">
                  <c:v>8.7395249999999997E-3</c:v>
                </c:pt>
                <c:pt idx="1967">
                  <c:v>8.8098269999999992E-3</c:v>
                </c:pt>
                <c:pt idx="1968">
                  <c:v>8.8867789999999992E-3</c:v>
                </c:pt>
                <c:pt idx="1969">
                  <c:v>8.9475790000000006E-3</c:v>
                </c:pt>
                <c:pt idx="1970">
                  <c:v>9.0141289999999992E-3</c:v>
                </c:pt>
                <c:pt idx="1971">
                  <c:v>9.0908610000000004E-3</c:v>
                </c:pt>
                <c:pt idx="1972">
                  <c:v>9.1572319999999995E-3</c:v>
                </c:pt>
                <c:pt idx="1973">
                  <c:v>9.2667010000000005E-3</c:v>
                </c:pt>
                <c:pt idx="1974">
                  <c:v>9.3064099999999993E-3</c:v>
                </c:pt>
                <c:pt idx="1975">
                  <c:v>9.3410850000000007E-3</c:v>
                </c:pt>
                <c:pt idx="1976">
                  <c:v>9.4173669999999994E-3</c:v>
                </c:pt>
                <c:pt idx="1977">
                  <c:v>9.473169E-3</c:v>
                </c:pt>
                <c:pt idx="1978">
                  <c:v>9.5558220000000003E-3</c:v>
                </c:pt>
                <c:pt idx="1979">
                  <c:v>9.6163770000000006E-3</c:v>
                </c:pt>
                <c:pt idx="1980">
                  <c:v>9.7373080000000001E-3</c:v>
                </c:pt>
                <c:pt idx="1981">
                  <c:v>9.8177509999999996E-3</c:v>
                </c:pt>
                <c:pt idx="1982">
                  <c:v>9.9222070000000006E-3</c:v>
                </c:pt>
                <c:pt idx="1983">
                  <c:v>9.9994769999999997E-3</c:v>
                </c:pt>
                <c:pt idx="1984">
                  <c:v>1.0033337E-2</c:v>
                </c:pt>
                <c:pt idx="1985">
                  <c:v>1.0055941000000001E-2</c:v>
                </c:pt>
                <c:pt idx="1986">
                  <c:v>1.0114948E-2</c:v>
                </c:pt>
                <c:pt idx="1987">
                  <c:v>1.0065352E-2</c:v>
                </c:pt>
                <c:pt idx="1988">
                  <c:v>1.0050879E-2</c:v>
                </c:pt>
                <c:pt idx="1989">
                  <c:v>1.0115244000000001E-2</c:v>
                </c:pt>
                <c:pt idx="1990">
                  <c:v>1.0142389E-2</c:v>
                </c:pt>
                <c:pt idx="1991">
                  <c:v>1.0168106E-2</c:v>
                </c:pt>
                <c:pt idx="1992">
                  <c:v>1.0223542E-2</c:v>
                </c:pt>
                <c:pt idx="1993">
                  <c:v>1.0255077E-2</c:v>
                </c:pt>
                <c:pt idx="1994">
                  <c:v>1.0288301E-2</c:v>
                </c:pt>
                <c:pt idx="1995">
                  <c:v>1.0320505000000001E-2</c:v>
                </c:pt>
                <c:pt idx="1996">
                  <c:v>1.0355105999999999E-2</c:v>
                </c:pt>
                <c:pt idx="1997">
                  <c:v>1.0385715E-2</c:v>
                </c:pt>
                <c:pt idx="1998">
                  <c:v>1.0473481999999999E-2</c:v>
                </c:pt>
                <c:pt idx="1999">
                  <c:v>1.0518104E-2</c:v>
                </c:pt>
                <c:pt idx="2000">
                  <c:v>1.0550156999999999E-2</c:v>
                </c:pt>
                <c:pt idx="2001">
                  <c:v>1.0559756999999999E-2</c:v>
                </c:pt>
                <c:pt idx="2002">
                  <c:v>1.0548742999999999E-2</c:v>
                </c:pt>
                <c:pt idx="2003">
                  <c:v>1.0593470000000001E-2</c:v>
                </c:pt>
                <c:pt idx="2004">
                  <c:v>1.062023E-2</c:v>
                </c:pt>
                <c:pt idx="2005">
                  <c:v>1.0626505E-2</c:v>
                </c:pt>
                <c:pt idx="2006">
                  <c:v>1.0628867E-2</c:v>
                </c:pt>
                <c:pt idx="2007">
                  <c:v>1.0632992000000001E-2</c:v>
                </c:pt>
                <c:pt idx="2008">
                  <c:v>1.0656395000000001E-2</c:v>
                </c:pt>
                <c:pt idx="2009">
                  <c:v>1.0692736E-2</c:v>
                </c:pt>
                <c:pt idx="2010">
                  <c:v>1.0708789999999999E-2</c:v>
                </c:pt>
                <c:pt idx="2011">
                  <c:v>1.0700144999999999E-2</c:v>
                </c:pt>
                <c:pt idx="2012">
                  <c:v>1.0763323E-2</c:v>
                </c:pt>
                <c:pt idx="2013">
                  <c:v>1.0801715999999999E-2</c:v>
                </c:pt>
                <c:pt idx="2014">
                  <c:v>1.0838225E-2</c:v>
                </c:pt>
                <c:pt idx="2015">
                  <c:v>1.0877298000000001E-2</c:v>
                </c:pt>
                <c:pt idx="2016">
                  <c:v>1.0901704999999999E-2</c:v>
                </c:pt>
                <c:pt idx="2017">
                  <c:v>1.0911842999999999E-2</c:v>
                </c:pt>
                <c:pt idx="2018">
                  <c:v>1.0939841E-2</c:v>
                </c:pt>
                <c:pt idx="2019">
                  <c:v>1.0980181E-2</c:v>
                </c:pt>
                <c:pt idx="2020">
                  <c:v>1.1009349E-2</c:v>
                </c:pt>
                <c:pt idx="2021">
                  <c:v>1.1009545000000001E-2</c:v>
                </c:pt>
                <c:pt idx="2022">
                  <c:v>1.103403E-2</c:v>
                </c:pt>
                <c:pt idx="2023">
                  <c:v>1.105488E-2</c:v>
                </c:pt>
                <c:pt idx="2024">
                  <c:v>1.1063831999999999E-2</c:v>
                </c:pt>
                <c:pt idx="2025">
                  <c:v>1.1089095E-2</c:v>
                </c:pt>
                <c:pt idx="2026">
                  <c:v>1.1115714E-2</c:v>
                </c:pt>
                <c:pt idx="2027">
                  <c:v>1.113075E-2</c:v>
                </c:pt>
                <c:pt idx="2028">
                  <c:v>1.1173568E-2</c:v>
                </c:pt>
                <c:pt idx="2029">
                  <c:v>1.1231413000000001E-2</c:v>
                </c:pt>
                <c:pt idx="2030">
                  <c:v>1.1311692E-2</c:v>
                </c:pt>
                <c:pt idx="2031">
                  <c:v>1.1366246999999999E-2</c:v>
                </c:pt>
                <c:pt idx="2032">
                  <c:v>1.1418648999999999E-2</c:v>
                </c:pt>
                <c:pt idx="2033">
                  <c:v>1.1492466999999999E-2</c:v>
                </c:pt>
                <c:pt idx="2034">
                  <c:v>1.1535647E-2</c:v>
                </c:pt>
                <c:pt idx="2035">
                  <c:v>1.1576711E-2</c:v>
                </c:pt>
                <c:pt idx="2036">
                  <c:v>1.165976E-2</c:v>
                </c:pt>
                <c:pt idx="2037">
                  <c:v>1.1722888000000001E-2</c:v>
                </c:pt>
                <c:pt idx="2038">
                  <c:v>1.1781105E-2</c:v>
                </c:pt>
                <c:pt idx="2039">
                  <c:v>1.1815686000000001E-2</c:v>
                </c:pt>
                <c:pt idx="2040">
                  <c:v>1.1848027000000001E-2</c:v>
                </c:pt>
                <c:pt idx="2041">
                  <c:v>1.1893898999999999E-2</c:v>
                </c:pt>
                <c:pt idx="2042">
                  <c:v>1.1900900000000001E-2</c:v>
                </c:pt>
                <c:pt idx="2043">
                  <c:v>1.1904701E-2</c:v>
                </c:pt>
                <c:pt idx="2044">
                  <c:v>1.1932617E-2</c:v>
                </c:pt>
                <c:pt idx="2045">
                  <c:v>1.1904934000000001E-2</c:v>
                </c:pt>
                <c:pt idx="2046">
                  <c:v>1.1908754000000001E-2</c:v>
                </c:pt>
                <c:pt idx="2047">
                  <c:v>1.1864068E-2</c:v>
                </c:pt>
                <c:pt idx="2048">
                  <c:v>1.1823551999999999E-2</c:v>
                </c:pt>
                <c:pt idx="2049">
                  <c:v>1.1820307E-2</c:v>
                </c:pt>
                <c:pt idx="2050">
                  <c:v>1.1831374E-2</c:v>
                </c:pt>
                <c:pt idx="2051">
                  <c:v>1.1853917E-2</c:v>
                </c:pt>
                <c:pt idx="2052">
                  <c:v>1.1819675999999999E-2</c:v>
                </c:pt>
                <c:pt idx="2053">
                  <c:v>1.1837057E-2</c:v>
                </c:pt>
                <c:pt idx="2054">
                  <c:v>1.1829042E-2</c:v>
                </c:pt>
                <c:pt idx="2055">
                  <c:v>1.1841024E-2</c:v>
                </c:pt>
                <c:pt idx="2056">
                  <c:v>1.1859695999999999E-2</c:v>
                </c:pt>
                <c:pt idx="2057">
                  <c:v>1.1850474999999999E-2</c:v>
                </c:pt>
                <c:pt idx="2058">
                  <c:v>1.1862495000000001E-2</c:v>
                </c:pt>
                <c:pt idx="2059">
                  <c:v>1.1823497000000001E-2</c:v>
                </c:pt>
                <c:pt idx="2060">
                  <c:v>1.1820211000000001E-2</c:v>
                </c:pt>
                <c:pt idx="2061">
                  <c:v>1.1804759999999999E-2</c:v>
                </c:pt>
                <c:pt idx="2062">
                  <c:v>1.1790248E-2</c:v>
                </c:pt>
                <c:pt idx="2063">
                  <c:v>1.1734843E-2</c:v>
                </c:pt>
                <c:pt idx="2064">
                  <c:v>1.1683159E-2</c:v>
                </c:pt>
                <c:pt idx="2065">
                  <c:v>1.1753108999999999E-2</c:v>
                </c:pt>
                <c:pt idx="2066">
                  <c:v>1.1776625000000001E-2</c:v>
                </c:pt>
                <c:pt idx="2067">
                  <c:v>1.1783671000000001E-2</c:v>
                </c:pt>
                <c:pt idx="2068">
                  <c:v>1.1778996E-2</c:v>
                </c:pt>
                <c:pt idx="2069">
                  <c:v>1.176606E-2</c:v>
                </c:pt>
                <c:pt idx="2070">
                  <c:v>1.1710554999999999E-2</c:v>
                </c:pt>
                <c:pt idx="2071">
                  <c:v>1.167665E-2</c:v>
                </c:pt>
                <c:pt idx="2072">
                  <c:v>1.1626183E-2</c:v>
                </c:pt>
                <c:pt idx="2073">
                  <c:v>1.1630514E-2</c:v>
                </c:pt>
                <c:pt idx="2074">
                  <c:v>1.1615973E-2</c:v>
                </c:pt>
                <c:pt idx="2075">
                  <c:v>1.1585521E-2</c:v>
                </c:pt>
                <c:pt idx="2076">
                  <c:v>1.1494519999999999E-2</c:v>
                </c:pt>
                <c:pt idx="2077">
                  <c:v>1.1460130000000001E-2</c:v>
                </c:pt>
                <c:pt idx="2078">
                  <c:v>1.1373306E-2</c:v>
                </c:pt>
                <c:pt idx="2079">
                  <c:v>1.1356649999999999E-2</c:v>
                </c:pt>
                <c:pt idx="2080">
                  <c:v>1.1296870000000001E-2</c:v>
                </c:pt>
                <c:pt idx="2081">
                  <c:v>1.1224652999999999E-2</c:v>
                </c:pt>
                <c:pt idx="2082">
                  <c:v>1.114674E-2</c:v>
                </c:pt>
                <c:pt idx="2083">
                  <c:v>1.1104576999999999E-2</c:v>
                </c:pt>
                <c:pt idx="2084">
                  <c:v>1.104723E-2</c:v>
                </c:pt>
                <c:pt idx="2085">
                  <c:v>1.0933009E-2</c:v>
                </c:pt>
                <c:pt idx="2086">
                  <c:v>1.0850425E-2</c:v>
                </c:pt>
                <c:pt idx="2087">
                  <c:v>1.0858665E-2</c:v>
                </c:pt>
                <c:pt idx="2088">
                  <c:v>1.0818121E-2</c:v>
                </c:pt>
                <c:pt idx="2089">
                  <c:v>1.0798633E-2</c:v>
                </c:pt>
                <c:pt idx="2090">
                  <c:v>1.0763572000000001E-2</c:v>
                </c:pt>
                <c:pt idx="2091">
                  <c:v>1.0822036E-2</c:v>
                </c:pt>
                <c:pt idx="2092">
                  <c:v>1.0816098999999999E-2</c:v>
                </c:pt>
                <c:pt idx="2093">
                  <c:v>1.0771067E-2</c:v>
                </c:pt>
                <c:pt idx="2094">
                  <c:v>1.0761E-2</c:v>
                </c:pt>
                <c:pt idx="2095">
                  <c:v>1.0755921E-2</c:v>
                </c:pt>
                <c:pt idx="2096">
                  <c:v>1.0725062E-2</c:v>
                </c:pt>
                <c:pt idx="2097">
                  <c:v>1.0720519E-2</c:v>
                </c:pt>
                <c:pt idx="2098">
                  <c:v>1.0671847E-2</c:v>
                </c:pt>
                <c:pt idx="2099">
                  <c:v>1.0669569E-2</c:v>
                </c:pt>
                <c:pt idx="2100">
                  <c:v>1.0584379999999999E-2</c:v>
                </c:pt>
                <c:pt idx="2101">
                  <c:v>1.0547994E-2</c:v>
                </c:pt>
                <c:pt idx="2102">
                  <c:v>1.0510692E-2</c:v>
                </c:pt>
                <c:pt idx="2103">
                  <c:v>1.0478253E-2</c:v>
                </c:pt>
                <c:pt idx="2104">
                  <c:v>1.0489326E-2</c:v>
                </c:pt>
                <c:pt idx="2105">
                  <c:v>1.0493348E-2</c:v>
                </c:pt>
                <c:pt idx="2106">
                  <c:v>1.0482418E-2</c:v>
                </c:pt>
                <c:pt idx="2107">
                  <c:v>1.062227E-2</c:v>
                </c:pt>
                <c:pt idx="2108">
                  <c:v>1.0764278E-2</c:v>
                </c:pt>
                <c:pt idx="2109">
                  <c:v>1.0856417E-2</c:v>
                </c:pt>
                <c:pt idx="2110">
                  <c:v>1.096974E-2</c:v>
                </c:pt>
                <c:pt idx="2111">
                  <c:v>1.1031155000000001E-2</c:v>
                </c:pt>
                <c:pt idx="2112">
                  <c:v>1.1040845000000001E-2</c:v>
                </c:pt>
                <c:pt idx="2113">
                  <c:v>1.1079525E-2</c:v>
                </c:pt>
                <c:pt idx="2114">
                  <c:v>1.1103487E-2</c:v>
                </c:pt>
                <c:pt idx="2115">
                  <c:v>1.1130054E-2</c:v>
                </c:pt>
                <c:pt idx="2116">
                  <c:v>1.1169821E-2</c:v>
                </c:pt>
                <c:pt idx="2117">
                  <c:v>1.1205267E-2</c:v>
                </c:pt>
                <c:pt idx="2118">
                  <c:v>1.1181946E-2</c:v>
                </c:pt>
                <c:pt idx="2119">
                  <c:v>1.1187736E-2</c:v>
                </c:pt>
                <c:pt idx="2120">
                  <c:v>1.1192611E-2</c:v>
                </c:pt>
                <c:pt idx="2121">
                  <c:v>1.1221413E-2</c:v>
                </c:pt>
                <c:pt idx="2122">
                  <c:v>1.1248987E-2</c:v>
                </c:pt>
                <c:pt idx="2123">
                  <c:v>1.1287788E-2</c:v>
                </c:pt>
                <c:pt idx="2124">
                  <c:v>1.1336327E-2</c:v>
                </c:pt>
                <c:pt idx="2125">
                  <c:v>1.1393548999999999E-2</c:v>
                </c:pt>
                <c:pt idx="2126">
                  <c:v>1.143807E-2</c:v>
                </c:pt>
                <c:pt idx="2127">
                  <c:v>1.1488053E-2</c:v>
                </c:pt>
                <c:pt idx="2128">
                  <c:v>1.1504077E-2</c:v>
                </c:pt>
                <c:pt idx="2129">
                  <c:v>1.1497813000000001E-2</c:v>
                </c:pt>
                <c:pt idx="2130">
                  <c:v>1.1535172999999999E-2</c:v>
                </c:pt>
                <c:pt idx="2131">
                  <c:v>1.1575413E-2</c:v>
                </c:pt>
                <c:pt idx="2132">
                  <c:v>1.1571985999999999E-2</c:v>
                </c:pt>
                <c:pt idx="2133">
                  <c:v>1.156811E-2</c:v>
                </c:pt>
                <c:pt idx="2134">
                  <c:v>1.1580490000000001E-2</c:v>
                </c:pt>
                <c:pt idx="2135">
                  <c:v>1.1566926999999999E-2</c:v>
                </c:pt>
                <c:pt idx="2136">
                  <c:v>1.163107E-2</c:v>
                </c:pt>
                <c:pt idx="2137">
                  <c:v>1.1690463E-2</c:v>
                </c:pt>
                <c:pt idx="2138">
                  <c:v>1.1734161E-2</c:v>
                </c:pt>
                <c:pt idx="2139">
                  <c:v>1.1730614E-2</c:v>
                </c:pt>
                <c:pt idx="2140">
                  <c:v>1.1714979E-2</c:v>
                </c:pt>
                <c:pt idx="2141">
                  <c:v>1.1720179000000001E-2</c:v>
                </c:pt>
                <c:pt idx="2142">
                  <c:v>1.1714608E-2</c:v>
                </c:pt>
                <c:pt idx="2143">
                  <c:v>1.1701507E-2</c:v>
                </c:pt>
                <c:pt idx="2144">
                  <c:v>1.1702858E-2</c:v>
                </c:pt>
                <c:pt idx="2145">
                  <c:v>1.1685434E-2</c:v>
                </c:pt>
                <c:pt idx="2146">
                  <c:v>1.1673978999999999E-2</c:v>
                </c:pt>
                <c:pt idx="2147">
                  <c:v>1.1690434E-2</c:v>
                </c:pt>
                <c:pt idx="2148">
                  <c:v>1.1665172999999999E-2</c:v>
                </c:pt>
                <c:pt idx="2149">
                  <c:v>1.1666285E-2</c:v>
                </c:pt>
                <c:pt idx="2150">
                  <c:v>1.1694764E-2</c:v>
                </c:pt>
                <c:pt idx="2151">
                  <c:v>1.1700963E-2</c:v>
                </c:pt>
                <c:pt idx="2152">
                  <c:v>1.1693736E-2</c:v>
                </c:pt>
                <c:pt idx="2153">
                  <c:v>1.1685605E-2</c:v>
                </c:pt>
                <c:pt idx="2154">
                  <c:v>1.1702877E-2</c:v>
                </c:pt>
                <c:pt idx="2155">
                  <c:v>1.1702613000000001E-2</c:v>
                </c:pt>
                <c:pt idx="2156">
                  <c:v>1.1656237999999999E-2</c:v>
                </c:pt>
                <c:pt idx="2157">
                  <c:v>1.1642486000000001E-2</c:v>
                </c:pt>
                <c:pt idx="2158">
                  <c:v>1.1656464E-2</c:v>
                </c:pt>
                <c:pt idx="2159">
                  <c:v>1.1656613E-2</c:v>
                </c:pt>
                <c:pt idx="2160">
                  <c:v>1.1743791E-2</c:v>
                </c:pt>
                <c:pt idx="2161">
                  <c:v>1.175182E-2</c:v>
                </c:pt>
                <c:pt idx="2162">
                  <c:v>1.1825275E-2</c:v>
                </c:pt>
                <c:pt idx="2163">
                  <c:v>1.1862238000000001E-2</c:v>
                </c:pt>
                <c:pt idx="2164">
                  <c:v>1.1867140999999999E-2</c:v>
                </c:pt>
                <c:pt idx="2165">
                  <c:v>1.1843197999999999E-2</c:v>
                </c:pt>
                <c:pt idx="2166">
                  <c:v>1.1853089000000001E-2</c:v>
                </c:pt>
                <c:pt idx="2167">
                  <c:v>1.1877337999999999E-2</c:v>
                </c:pt>
                <c:pt idx="2168">
                  <c:v>1.1878632E-2</c:v>
                </c:pt>
                <c:pt idx="2169">
                  <c:v>1.1876193E-2</c:v>
                </c:pt>
                <c:pt idx="2170">
                  <c:v>1.1878268000000001E-2</c:v>
                </c:pt>
                <c:pt idx="2171">
                  <c:v>1.1854328000000001E-2</c:v>
                </c:pt>
                <c:pt idx="2172">
                  <c:v>1.1780235999999999E-2</c:v>
                </c:pt>
                <c:pt idx="2173">
                  <c:v>1.1692952E-2</c:v>
                </c:pt>
                <c:pt idx="2174">
                  <c:v>1.1672060999999999E-2</c:v>
                </c:pt>
                <c:pt idx="2175">
                  <c:v>1.1629103999999999E-2</c:v>
                </c:pt>
                <c:pt idx="2176">
                  <c:v>1.1579554000000001E-2</c:v>
                </c:pt>
                <c:pt idx="2177">
                  <c:v>1.1557838000000001E-2</c:v>
                </c:pt>
                <c:pt idx="2178">
                  <c:v>1.1536441999999999E-2</c:v>
                </c:pt>
                <c:pt idx="2179">
                  <c:v>1.1517604000000001E-2</c:v>
                </c:pt>
                <c:pt idx="2180">
                  <c:v>1.1494635E-2</c:v>
                </c:pt>
                <c:pt idx="2181">
                  <c:v>1.1494140999999999E-2</c:v>
                </c:pt>
                <c:pt idx="2182">
                  <c:v>1.1478278E-2</c:v>
                </c:pt>
                <c:pt idx="2183">
                  <c:v>1.1498296999999999E-2</c:v>
                </c:pt>
                <c:pt idx="2184">
                  <c:v>1.1503677E-2</c:v>
                </c:pt>
                <c:pt idx="2185">
                  <c:v>1.1384271E-2</c:v>
                </c:pt>
                <c:pt idx="2186">
                  <c:v>1.1329218E-2</c:v>
                </c:pt>
                <c:pt idx="2187">
                  <c:v>1.1296745E-2</c:v>
                </c:pt>
                <c:pt idx="2188">
                  <c:v>1.1271977000000001E-2</c:v>
                </c:pt>
                <c:pt idx="2189">
                  <c:v>1.1247079E-2</c:v>
                </c:pt>
                <c:pt idx="2190">
                  <c:v>1.1236128999999999E-2</c:v>
                </c:pt>
                <c:pt idx="2191">
                  <c:v>1.120437E-2</c:v>
                </c:pt>
                <c:pt idx="2192">
                  <c:v>1.119712E-2</c:v>
                </c:pt>
                <c:pt idx="2193">
                  <c:v>1.1162574E-2</c:v>
                </c:pt>
                <c:pt idx="2194">
                  <c:v>1.1120813E-2</c:v>
                </c:pt>
                <c:pt idx="2195">
                  <c:v>1.1085349E-2</c:v>
                </c:pt>
                <c:pt idx="2196">
                  <c:v>1.1109954999999999E-2</c:v>
                </c:pt>
                <c:pt idx="2197">
                  <c:v>1.1107743999999999E-2</c:v>
                </c:pt>
                <c:pt idx="2198">
                  <c:v>1.1108956999999999E-2</c:v>
                </c:pt>
                <c:pt idx="2199">
                  <c:v>1.1139916E-2</c:v>
                </c:pt>
                <c:pt idx="2200">
                  <c:v>1.1135196999999999E-2</c:v>
                </c:pt>
                <c:pt idx="2201">
                  <c:v>1.1128364999999999E-2</c:v>
                </c:pt>
                <c:pt idx="2202">
                  <c:v>1.1117610999999999E-2</c:v>
                </c:pt>
                <c:pt idx="2203">
                  <c:v>1.1089207E-2</c:v>
                </c:pt>
                <c:pt idx="2204">
                  <c:v>1.1100296000000001E-2</c:v>
                </c:pt>
                <c:pt idx="2205">
                  <c:v>1.1162287999999999E-2</c:v>
                </c:pt>
                <c:pt idx="2206">
                  <c:v>1.1177163E-2</c:v>
                </c:pt>
                <c:pt idx="2207">
                  <c:v>1.1178005E-2</c:v>
                </c:pt>
                <c:pt idx="2208">
                  <c:v>1.1162747000000001E-2</c:v>
                </c:pt>
                <c:pt idx="2209">
                  <c:v>1.1176111000000001E-2</c:v>
                </c:pt>
                <c:pt idx="2210">
                  <c:v>1.1206001E-2</c:v>
                </c:pt>
                <c:pt idx="2211">
                  <c:v>1.1167738E-2</c:v>
                </c:pt>
                <c:pt idx="2212">
                  <c:v>1.1210243999999999E-2</c:v>
                </c:pt>
                <c:pt idx="2213">
                  <c:v>1.1204159E-2</c:v>
                </c:pt>
                <c:pt idx="2214">
                  <c:v>1.1245824E-2</c:v>
                </c:pt>
                <c:pt idx="2215">
                  <c:v>1.1295365999999999E-2</c:v>
                </c:pt>
                <c:pt idx="2216">
                  <c:v>1.1310743E-2</c:v>
                </c:pt>
                <c:pt idx="2217">
                  <c:v>1.1334653E-2</c:v>
                </c:pt>
                <c:pt idx="2218">
                  <c:v>1.1347065E-2</c:v>
                </c:pt>
                <c:pt idx="2219">
                  <c:v>1.1345098E-2</c:v>
                </c:pt>
                <c:pt idx="2220">
                  <c:v>1.1362908999999999E-2</c:v>
                </c:pt>
                <c:pt idx="2221">
                  <c:v>1.1342285000000001E-2</c:v>
                </c:pt>
                <c:pt idx="2222">
                  <c:v>1.1326922E-2</c:v>
                </c:pt>
                <c:pt idx="2223">
                  <c:v>1.1306928000000001E-2</c:v>
                </c:pt>
                <c:pt idx="2224">
                  <c:v>1.1305137E-2</c:v>
                </c:pt>
                <c:pt idx="2225">
                  <c:v>1.1304135999999999E-2</c:v>
                </c:pt>
                <c:pt idx="2226">
                  <c:v>1.1302263999999999E-2</c:v>
                </c:pt>
                <c:pt idx="2227">
                  <c:v>1.1178085000000001E-2</c:v>
                </c:pt>
                <c:pt idx="2228">
                  <c:v>1.1044646E-2</c:v>
                </c:pt>
                <c:pt idx="2229">
                  <c:v>1.0896418E-2</c:v>
                </c:pt>
                <c:pt idx="2230">
                  <c:v>1.0766061E-2</c:v>
                </c:pt>
                <c:pt idx="2231">
                  <c:v>1.0697523E-2</c:v>
                </c:pt>
                <c:pt idx="2232">
                  <c:v>1.0628255E-2</c:v>
                </c:pt>
                <c:pt idx="2233">
                  <c:v>1.0627113000000001E-2</c:v>
                </c:pt>
                <c:pt idx="2234">
                  <c:v>1.0654766E-2</c:v>
                </c:pt>
                <c:pt idx="2235">
                  <c:v>1.0646793999999999E-2</c:v>
                </c:pt>
                <c:pt idx="2236">
                  <c:v>1.0582299E-2</c:v>
                </c:pt>
                <c:pt idx="2237">
                  <c:v>1.0554255E-2</c:v>
                </c:pt>
                <c:pt idx="2238">
                  <c:v>1.0532596999999999E-2</c:v>
                </c:pt>
                <c:pt idx="2239">
                  <c:v>1.0517962E-2</c:v>
                </c:pt>
                <c:pt idx="2240">
                  <c:v>1.0507315999999999E-2</c:v>
                </c:pt>
                <c:pt idx="2241">
                  <c:v>1.047827E-2</c:v>
                </c:pt>
                <c:pt idx="2242">
                  <c:v>1.0474529E-2</c:v>
                </c:pt>
                <c:pt idx="2243">
                  <c:v>1.0423501999999999E-2</c:v>
                </c:pt>
                <c:pt idx="2244">
                  <c:v>1.0438279E-2</c:v>
                </c:pt>
                <c:pt idx="2245">
                  <c:v>1.0399804E-2</c:v>
                </c:pt>
                <c:pt idx="2246">
                  <c:v>1.0459171999999999E-2</c:v>
                </c:pt>
                <c:pt idx="2247">
                  <c:v>1.0480641000000001E-2</c:v>
                </c:pt>
                <c:pt idx="2248">
                  <c:v>1.047621E-2</c:v>
                </c:pt>
                <c:pt idx="2249">
                  <c:v>1.0491511E-2</c:v>
                </c:pt>
                <c:pt idx="2250">
                  <c:v>1.0454036999999999E-2</c:v>
                </c:pt>
                <c:pt idx="2251">
                  <c:v>1.0409951000000001E-2</c:v>
                </c:pt>
                <c:pt idx="2252">
                  <c:v>1.0362467E-2</c:v>
                </c:pt>
                <c:pt idx="2253">
                  <c:v>1.0348948E-2</c:v>
                </c:pt>
                <c:pt idx="2254">
                  <c:v>1.0323113E-2</c:v>
                </c:pt>
                <c:pt idx="2255">
                  <c:v>1.0310583E-2</c:v>
                </c:pt>
                <c:pt idx="2256">
                  <c:v>1.0221612999999999E-2</c:v>
                </c:pt>
                <c:pt idx="2257">
                  <c:v>1.0173536E-2</c:v>
                </c:pt>
                <c:pt idx="2258">
                  <c:v>1.013677E-2</c:v>
                </c:pt>
                <c:pt idx="2259">
                  <c:v>1.0114487E-2</c:v>
                </c:pt>
                <c:pt idx="2260">
                  <c:v>1.0106988000000001E-2</c:v>
                </c:pt>
                <c:pt idx="2261">
                  <c:v>1.0092390999999999E-2</c:v>
                </c:pt>
                <c:pt idx="2262">
                  <c:v>1.0074092999999999E-2</c:v>
                </c:pt>
                <c:pt idx="2263">
                  <c:v>1.0064046E-2</c:v>
                </c:pt>
                <c:pt idx="2264">
                  <c:v>1.0057152E-2</c:v>
                </c:pt>
                <c:pt idx="2265">
                  <c:v>1.0057389999999999E-2</c:v>
                </c:pt>
                <c:pt idx="2266">
                  <c:v>1.0091051E-2</c:v>
                </c:pt>
                <c:pt idx="2267">
                  <c:v>1.0089763999999999E-2</c:v>
                </c:pt>
                <c:pt idx="2268">
                  <c:v>1.0076155999999999E-2</c:v>
                </c:pt>
                <c:pt idx="2269">
                  <c:v>1.0024817E-2</c:v>
                </c:pt>
                <c:pt idx="2270">
                  <c:v>9.9315180000000003E-3</c:v>
                </c:pt>
                <c:pt idx="2271">
                  <c:v>9.8836129999999994E-3</c:v>
                </c:pt>
                <c:pt idx="2272">
                  <c:v>9.8430040000000007E-3</c:v>
                </c:pt>
                <c:pt idx="2273">
                  <c:v>9.7857310000000006E-3</c:v>
                </c:pt>
                <c:pt idx="2274">
                  <c:v>9.7490259999999992E-3</c:v>
                </c:pt>
                <c:pt idx="2275">
                  <c:v>9.7126160000000003E-3</c:v>
                </c:pt>
                <c:pt idx="2276">
                  <c:v>9.6947300000000004E-3</c:v>
                </c:pt>
                <c:pt idx="2277">
                  <c:v>9.6509400000000002E-3</c:v>
                </c:pt>
                <c:pt idx="2278">
                  <c:v>9.6104429999999998E-3</c:v>
                </c:pt>
                <c:pt idx="2279">
                  <c:v>9.5927119999999998E-3</c:v>
                </c:pt>
                <c:pt idx="2280">
                  <c:v>9.4882040000000001E-3</c:v>
                </c:pt>
                <c:pt idx="2281">
                  <c:v>9.4460410000000005E-3</c:v>
                </c:pt>
                <c:pt idx="2282">
                  <c:v>9.367762E-3</c:v>
                </c:pt>
                <c:pt idx="2283">
                  <c:v>9.3142290000000003E-3</c:v>
                </c:pt>
                <c:pt idx="2284">
                  <c:v>9.2784219999999997E-3</c:v>
                </c:pt>
                <c:pt idx="2285">
                  <c:v>9.2615360000000008E-3</c:v>
                </c:pt>
                <c:pt idx="2286">
                  <c:v>9.2489600000000005E-3</c:v>
                </c:pt>
                <c:pt idx="2287">
                  <c:v>9.2174260000000008E-3</c:v>
                </c:pt>
                <c:pt idx="2288">
                  <c:v>9.2107040000000001E-3</c:v>
                </c:pt>
                <c:pt idx="2289">
                  <c:v>9.2291079999999998E-3</c:v>
                </c:pt>
                <c:pt idx="2290">
                  <c:v>9.2403620000000002E-3</c:v>
                </c:pt>
                <c:pt idx="2291">
                  <c:v>9.2459570000000008E-3</c:v>
                </c:pt>
                <c:pt idx="2292">
                  <c:v>9.2578959999999998E-3</c:v>
                </c:pt>
                <c:pt idx="2293">
                  <c:v>9.2610190000000005E-3</c:v>
                </c:pt>
                <c:pt idx="2294">
                  <c:v>9.2284640000000005E-3</c:v>
                </c:pt>
                <c:pt idx="2295">
                  <c:v>9.2201750000000006E-3</c:v>
                </c:pt>
                <c:pt idx="2296">
                  <c:v>9.2101539999999999E-3</c:v>
                </c:pt>
                <c:pt idx="2297">
                  <c:v>9.1958530000000004E-3</c:v>
                </c:pt>
                <c:pt idx="2298">
                  <c:v>9.183297E-3</c:v>
                </c:pt>
                <c:pt idx="2299">
                  <c:v>9.1742920000000006E-3</c:v>
                </c:pt>
                <c:pt idx="2300">
                  <c:v>9.1734450000000006E-3</c:v>
                </c:pt>
                <c:pt idx="2301">
                  <c:v>9.1567339999999997E-3</c:v>
                </c:pt>
                <c:pt idx="2302">
                  <c:v>9.1666219999999993E-3</c:v>
                </c:pt>
                <c:pt idx="2303">
                  <c:v>9.1603350000000004E-3</c:v>
                </c:pt>
                <c:pt idx="2304">
                  <c:v>9.131742E-3</c:v>
                </c:pt>
                <c:pt idx="2305">
                  <c:v>9.1326589999999996E-3</c:v>
                </c:pt>
                <c:pt idx="2306">
                  <c:v>9.1267090000000002E-3</c:v>
                </c:pt>
                <c:pt idx="2307">
                  <c:v>9.1325209999999993E-3</c:v>
                </c:pt>
                <c:pt idx="2308">
                  <c:v>9.1377709999999994E-3</c:v>
                </c:pt>
                <c:pt idx="2309">
                  <c:v>9.1466340000000007E-3</c:v>
                </c:pt>
                <c:pt idx="2310">
                  <c:v>9.1569939999999999E-3</c:v>
                </c:pt>
                <c:pt idx="2311">
                  <c:v>9.1805840000000003E-3</c:v>
                </c:pt>
                <c:pt idx="2312">
                  <c:v>9.2118779999999997E-3</c:v>
                </c:pt>
                <c:pt idx="2313">
                  <c:v>9.2119599999999999E-3</c:v>
                </c:pt>
                <c:pt idx="2314">
                  <c:v>9.2376950000000006E-3</c:v>
                </c:pt>
                <c:pt idx="2315">
                  <c:v>9.2505569999999995E-3</c:v>
                </c:pt>
                <c:pt idx="2316">
                  <c:v>9.2498210000000001E-3</c:v>
                </c:pt>
                <c:pt idx="2317">
                  <c:v>9.2760470000000008E-3</c:v>
                </c:pt>
                <c:pt idx="2318">
                  <c:v>9.3479349999999999E-3</c:v>
                </c:pt>
                <c:pt idx="2319">
                  <c:v>9.3636380000000005E-3</c:v>
                </c:pt>
                <c:pt idx="2320">
                  <c:v>9.506245E-3</c:v>
                </c:pt>
                <c:pt idx="2321">
                  <c:v>9.5967009999999991E-3</c:v>
                </c:pt>
                <c:pt idx="2322">
                  <c:v>9.6855799999999992E-3</c:v>
                </c:pt>
                <c:pt idx="2323">
                  <c:v>9.7451050000000004E-3</c:v>
                </c:pt>
                <c:pt idx="2324">
                  <c:v>9.7923779999999992E-3</c:v>
                </c:pt>
                <c:pt idx="2325">
                  <c:v>9.8058569999999994E-3</c:v>
                </c:pt>
                <c:pt idx="2326">
                  <c:v>9.8280999999999993E-3</c:v>
                </c:pt>
                <c:pt idx="2327">
                  <c:v>9.8275229999999995E-3</c:v>
                </c:pt>
                <c:pt idx="2328">
                  <c:v>9.8734779999999998E-3</c:v>
                </c:pt>
                <c:pt idx="2329">
                  <c:v>9.8682330000000006E-3</c:v>
                </c:pt>
                <c:pt idx="2330">
                  <c:v>9.8650909999999994E-3</c:v>
                </c:pt>
                <c:pt idx="2331">
                  <c:v>9.8303880000000007E-3</c:v>
                </c:pt>
                <c:pt idx="2332">
                  <c:v>9.7995570000000004E-3</c:v>
                </c:pt>
                <c:pt idx="2333">
                  <c:v>9.8066509999999996E-3</c:v>
                </c:pt>
                <c:pt idx="2334">
                  <c:v>9.7932399999999999E-3</c:v>
                </c:pt>
                <c:pt idx="2335">
                  <c:v>9.7853209999999996E-3</c:v>
                </c:pt>
                <c:pt idx="2336">
                  <c:v>9.7882360000000005E-3</c:v>
                </c:pt>
                <c:pt idx="2337">
                  <c:v>9.7669039999999999E-3</c:v>
                </c:pt>
                <c:pt idx="2338">
                  <c:v>9.7724279999999997E-3</c:v>
                </c:pt>
                <c:pt idx="2339">
                  <c:v>9.7547950000000001E-3</c:v>
                </c:pt>
                <c:pt idx="2340">
                  <c:v>9.7610890000000006E-3</c:v>
                </c:pt>
                <c:pt idx="2341">
                  <c:v>9.7787529999999994E-3</c:v>
                </c:pt>
                <c:pt idx="2342">
                  <c:v>9.7546360000000006E-3</c:v>
                </c:pt>
                <c:pt idx="2343">
                  <c:v>9.7490279999999999E-3</c:v>
                </c:pt>
                <c:pt idx="2344">
                  <c:v>9.7231120000000008E-3</c:v>
                </c:pt>
                <c:pt idx="2345">
                  <c:v>9.731076E-3</c:v>
                </c:pt>
                <c:pt idx="2346">
                  <c:v>9.7633630000000006E-3</c:v>
                </c:pt>
                <c:pt idx="2347">
                  <c:v>9.8023069999999997E-3</c:v>
                </c:pt>
                <c:pt idx="2348">
                  <c:v>9.8449450000000008E-3</c:v>
                </c:pt>
                <c:pt idx="2349">
                  <c:v>9.9253799999999993E-3</c:v>
                </c:pt>
                <c:pt idx="2350">
                  <c:v>9.9735780000000003E-3</c:v>
                </c:pt>
                <c:pt idx="2351">
                  <c:v>1.0008219E-2</c:v>
                </c:pt>
                <c:pt idx="2352">
                  <c:v>1.0064600999999999E-2</c:v>
                </c:pt>
                <c:pt idx="2353">
                  <c:v>1.0046708999999999E-2</c:v>
                </c:pt>
                <c:pt idx="2354">
                  <c:v>1.0050191999999999E-2</c:v>
                </c:pt>
                <c:pt idx="2355">
                  <c:v>1.0166005000000001E-2</c:v>
                </c:pt>
                <c:pt idx="2356">
                  <c:v>1.0241947E-2</c:v>
                </c:pt>
                <c:pt idx="2357">
                  <c:v>1.0284239000000001E-2</c:v>
                </c:pt>
                <c:pt idx="2358">
                  <c:v>1.0312056E-2</c:v>
                </c:pt>
                <c:pt idx="2359">
                  <c:v>1.0361064E-2</c:v>
                </c:pt>
                <c:pt idx="2360">
                  <c:v>1.0396104E-2</c:v>
                </c:pt>
                <c:pt idx="2361">
                  <c:v>1.0483757E-2</c:v>
                </c:pt>
                <c:pt idx="2362">
                  <c:v>1.0552801000000001E-2</c:v>
                </c:pt>
                <c:pt idx="2363">
                  <c:v>1.0597123E-2</c:v>
                </c:pt>
                <c:pt idx="2364">
                  <c:v>1.060476E-2</c:v>
                </c:pt>
                <c:pt idx="2365">
                  <c:v>1.0642721000000001E-2</c:v>
                </c:pt>
                <c:pt idx="2366">
                  <c:v>1.0620724E-2</c:v>
                </c:pt>
                <c:pt idx="2367">
                  <c:v>1.0652408E-2</c:v>
                </c:pt>
                <c:pt idx="2368">
                  <c:v>1.0749849000000001E-2</c:v>
                </c:pt>
                <c:pt idx="2369">
                  <c:v>1.0818036E-2</c:v>
                </c:pt>
                <c:pt idx="2370">
                  <c:v>1.0896774E-2</c:v>
                </c:pt>
                <c:pt idx="2371">
                  <c:v>1.0994755E-2</c:v>
                </c:pt>
                <c:pt idx="2372">
                  <c:v>1.1134355E-2</c:v>
                </c:pt>
                <c:pt idx="2373">
                  <c:v>1.1226107000000001E-2</c:v>
                </c:pt>
                <c:pt idx="2374">
                  <c:v>1.1265862999999999E-2</c:v>
                </c:pt>
                <c:pt idx="2375">
                  <c:v>1.1316461999999999E-2</c:v>
                </c:pt>
                <c:pt idx="2376">
                  <c:v>1.1363730000000001E-2</c:v>
                </c:pt>
                <c:pt idx="2377">
                  <c:v>1.1407886000000001E-2</c:v>
                </c:pt>
                <c:pt idx="2378">
                  <c:v>1.1421293000000001E-2</c:v>
                </c:pt>
                <c:pt idx="2379">
                  <c:v>1.145356E-2</c:v>
                </c:pt>
                <c:pt idx="2380">
                  <c:v>1.1518057E-2</c:v>
                </c:pt>
                <c:pt idx="2381">
                  <c:v>1.1643993E-2</c:v>
                </c:pt>
                <c:pt idx="2382">
                  <c:v>1.1814982E-2</c:v>
                </c:pt>
                <c:pt idx="2383">
                  <c:v>1.207129E-2</c:v>
                </c:pt>
                <c:pt idx="2384">
                  <c:v>1.226528E-2</c:v>
                </c:pt>
                <c:pt idx="2385">
                  <c:v>1.2464553E-2</c:v>
                </c:pt>
                <c:pt idx="2386">
                  <c:v>1.2581425E-2</c:v>
                </c:pt>
                <c:pt idx="2387">
                  <c:v>1.2679653000000001E-2</c:v>
                </c:pt>
                <c:pt idx="2388">
                  <c:v>1.2883287E-2</c:v>
                </c:pt>
                <c:pt idx="2389">
                  <c:v>1.3128037E-2</c:v>
                </c:pt>
                <c:pt idx="2390">
                  <c:v>1.3505514E-2</c:v>
                </c:pt>
                <c:pt idx="2391">
                  <c:v>1.3685176E-2</c:v>
                </c:pt>
                <c:pt idx="2392">
                  <c:v>1.3905222E-2</c:v>
                </c:pt>
                <c:pt idx="2393">
                  <c:v>1.4063219E-2</c:v>
                </c:pt>
                <c:pt idx="2394">
                  <c:v>1.4201241999999999E-2</c:v>
                </c:pt>
                <c:pt idx="2395">
                  <c:v>1.4334375999999999E-2</c:v>
                </c:pt>
                <c:pt idx="2396">
                  <c:v>1.4426204999999999E-2</c:v>
                </c:pt>
                <c:pt idx="2397">
                  <c:v>1.450273E-2</c:v>
                </c:pt>
                <c:pt idx="2398">
                  <c:v>1.461924E-2</c:v>
                </c:pt>
                <c:pt idx="2399">
                  <c:v>1.4911918999999999E-2</c:v>
                </c:pt>
                <c:pt idx="2400">
                  <c:v>1.5123589E-2</c:v>
                </c:pt>
                <c:pt idx="2401">
                  <c:v>1.5375616999999999E-2</c:v>
                </c:pt>
                <c:pt idx="2402">
                  <c:v>1.5659322999999999E-2</c:v>
                </c:pt>
                <c:pt idx="2403">
                  <c:v>1.5967855E-2</c:v>
                </c:pt>
                <c:pt idx="2404">
                  <c:v>1.6262891000000002E-2</c:v>
                </c:pt>
                <c:pt idx="2405">
                  <c:v>1.6554727000000002E-2</c:v>
                </c:pt>
                <c:pt idx="2406">
                  <c:v>1.6918124999999999E-2</c:v>
                </c:pt>
                <c:pt idx="2407">
                  <c:v>1.7252956E-2</c:v>
                </c:pt>
                <c:pt idx="2408">
                  <c:v>1.7704106000000001E-2</c:v>
                </c:pt>
                <c:pt idx="2409">
                  <c:v>1.8095481E-2</c:v>
                </c:pt>
                <c:pt idx="2410">
                  <c:v>1.8610669999999999E-2</c:v>
                </c:pt>
                <c:pt idx="2411">
                  <c:v>1.8961263999999999E-2</c:v>
                </c:pt>
                <c:pt idx="2412">
                  <c:v>1.9230991999999999E-2</c:v>
                </c:pt>
                <c:pt idx="2413">
                  <c:v>1.9432323000000001E-2</c:v>
                </c:pt>
                <c:pt idx="2414">
                  <c:v>1.9635026999999999E-2</c:v>
                </c:pt>
                <c:pt idx="2415">
                  <c:v>1.9924418999999999E-2</c:v>
                </c:pt>
                <c:pt idx="2416">
                  <c:v>2.0325355999999999E-2</c:v>
                </c:pt>
                <c:pt idx="2417">
                  <c:v>2.0632744000000001E-2</c:v>
                </c:pt>
                <c:pt idx="2418">
                  <c:v>2.0966329999999998E-2</c:v>
                </c:pt>
                <c:pt idx="2419">
                  <c:v>2.1439957999999999E-2</c:v>
                </c:pt>
                <c:pt idx="2420">
                  <c:v>2.1748172999999999E-2</c:v>
                </c:pt>
                <c:pt idx="2421">
                  <c:v>2.2002791000000001E-2</c:v>
                </c:pt>
                <c:pt idx="2422">
                  <c:v>2.2242938E-2</c:v>
                </c:pt>
                <c:pt idx="2423">
                  <c:v>2.2556796E-2</c:v>
                </c:pt>
                <c:pt idx="2424">
                  <c:v>2.2925496E-2</c:v>
                </c:pt>
                <c:pt idx="2425">
                  <c:v>2.3196072000000002E-2</c:v>
                </c:pt>
                <c:pt idx="2426">
                  <c:v>2.3544434E-2</c:v>
                </c:pt>
                <c:pt idx="2427">
                  <c:v>2.3981276999999999E-2</c:v>
                </c:pt>
                <c:pt idx="2428">
                  <c:v>2.4382483E-2</c:v>
                </c:pt>
                <c:pt idx="2429">
                  <c:v>2.4667217000000002E-2</c:v>
                </c:pt>
                <c:pt idx="2430">
                  <c:v>2.4918375E-2</c:v>
                </c:pt>
                <c:pt idx="2431">
                  <c:v>2.5238177000000001E-2</c:v>
                </c:pt>
                <c:pt idx="2432">
                  <c:v>2.5438623E-2</c:v>
                </c:pt>
                <c:pt idx="2433">
                  <c:v>2.5578778E-2</c:v>
                </c:pt>
                <c:pt idx="2434">
                  <c:v>2.5734172999999999E-2</c:v>
                </c:pt>
                <c:pt idx="2435">
                  <c:v>2.5959078999999999E-2</c:v>
                </c:pt>
                <c:pt idx="2436">
                  <c:v>2.6199680999999999E-2</c:v>
                </c:pt>
                <c:pt idx="2437">
                  <c:v>2.6475899000000001E-2</c:v>
                </c:pt>
                <c:pt idx="2438">
                  <c:v>2.6671278E-2</c:v>
                </c:pt>
                <c:pt idx="2439">
                  <c:v>2.6942937E-2</c:v>
                </c:pt>
                <c:pt idx="2440">
                  <c:v>2.7022487000000001E-2</c:v>
                </c:pt>
                <c:pt idx="2441">
                  <c:v>2.7174423E-2</c:v>
                </c:pt>
                <c:pt idx="2442">
                  <c:v>2.7291777E-2</c:v>
                </c:pt>
                <c:pt idx="2443">
                  <c:v>2.7487478999999999E-2</c:v>
                </c:pt>
                <c:pt idx="2444">
                  <c:v>2.7567053000000001E-2</c:v>
                </c:pt>
                <c:pt idx="2445">
                  <c:v>2.7646493000000001E-2</c:v>
                </c:pt>
                <c:pt idx="2446">
                  <c:v>2.7731437000000001E-2</c:v>
                </c:pt>
                <c:pt idx="2447">
                  <c:v>2.7851207999999999E-2</c:v>
                </c:pt>
                <c:pt idx="2448">
                  <c:v>2.7973092000000001E-2</c:v>
                </c:pt>
                <c:pt idx="2449">
                  <c:v>2.8111051000000001E-2</c:v>
                </c:pt>
                <c:pt idx="2450">
                  <c:v>2.8334789999999999E-2</c:v>
                </c:pt>
                <c:pt idx="2451">
                  <c:v>2.8483831000000001E-2</c:v>
                </c:pt>
                <c:pt idx="2452">
                  <c:v>2.8602348999999999E-2</c:v>
                </c:pt>
                <c:pt idx="2453">
                  <c:v>2.8707350999999999E-2</c:v>
                </c:pt>
                <c:pt idx="2454">
                  <c:v>2.8780150000000001E-2</c:v>
                </c:pt>
                <c:pt idx="2455">
                  <c:v>2.8860097000000001E-2</c:v>
                </c:pt>
                <c:pt idx="2456">
                  <c:v>2.9000557999999999E-2</c:v>
                </c:pt>
                <c:pt idx="2457">
                  <c:v>2.9096718000000001E-2</c:v>
                </c:pt>
                <c:pt idx="2458">
                  <c:v>2.9183801999999998E-2</c:v>
                </c:pt>
                <c:pt idx="2459">
                  <c:v>2.9294819E-2</c:v>
                </c:pt>
                <c:pt idx="2460">
                  <c:v>2.9481707999999999E-2</c:v>
                </c:pt>
                <c:pt idx="2461">
                  <c:v>2.9663667000000001E-2</c:v>
                </c:pt>
                <c:pt idx="2462">
                  <c:v>2.9888855999999998E-2</c:v>
                </c:pt>
                <c:pt idx="2463">
                  <c:v>3.0115181000000001E-2</c:v>
                </c:pt>
                <c:pt idx="2464">
                  <c:v>3.0271242E-2</c:v>
                </c:pt>
                <c:pt idx="2465">
                  <c:v>3.0443122999999999E-2</c:v>
                </c:pt>
                <c:pt idx="2466">
                  <c:v>3.0521370999999999E-2</c:v>
                </c:pt>
                <c:pt idx="2467">
                  <c:v>3.0691359000000001E-2</c:v>
                </c:pt>
                <c:pt idx="2468">
                  <c:v>3.0803851E-2</c:v>
                </c:pt>
                <c:pt idx="2469">
                  <c:v>3.0884134000000001E-2</c:v>
                </c:pt>
                <c:pt idx="2470">
                  <c:v>3.1113789999999999E-2</c:v>
                </c:pt>
                <c:pt idx="2471">
                  <c:v>3.1317833000000003E-2</c:v>
                </c:pt>
                <c:pt idx="2472">
                  <c:v>3.1509834E-2</c:v>
                </c:pt>
                <c:pt idx="2473">
                  <c:v>3.1842014000000002E-2</c:v>
                </c:pt>
                <c:pt idx="2474">
                  <c:v>3.2209906000000003E-2</c:v>
                </c:pt>
                <c:pt idx="2475">
                  <c:v>3.2451753999999999E-2</c:v>
                </c:pt>
                <c:pt idx="2476">
                  <c:v>3.2802322000000002E-2</c:v>
                </c:pt>
                <c:pt idx="2477">
                  <c:v>3.3131188999999998E-2</c:v>
                </c:pt>
                <c:pt idx="2478">
                  <c:v>3.3556737000000003E-2</c:v>
                </c:pt>
                <c:pt idx="2479">
                  <c:v>3.3887614000000003E-2</c:v>
                </c:pt>
                <c:pt idx="2480">
                  <c:v>3.4203451000000003E-2</c:v>
                </c:pt>
                <c:pt idx="2481">
                  <c:v>3.4401022000000003E-2</c:v>
                </c:pt>
                <c:pt idx="2482">
                  <c:v>3.4796602000000003E-2</c:v>
                </c:pt>
                <c:pt idx="2483">
                  <c:v>3.5244615E-2</c:v>
                </c:pt>
                <c:pt idx="2484">
                  <c:v>3.5508211999999997E-2</c:v>
                </c:pt>
                <c:pt idx="2485">
                  <c:v>3.5788182000000002E-2</c:v>
                </c:pt>
                <c:pt idx="2486">
                  <c:v>3.6024661999999999E-2</c:v>
                </c:pt>
                <c:pt idx="2487">
                  <c:v>3.6378042999999999E-2</c:v>
                </c:pt>
                <c:pt idx="2488">
                  <c:v>3.6783430999999998E-2</c:v>
                </c:pt>
                <c:pt idx="2489">
                  <c:v>3.7178118000000003E-2</c:v>
                </c:pt>
                <c:pt idx="2490">
                  <c:v>3.7464202000000002E-2</c:v>
                </c:pt>
                <c:pt idx="2491">
                  <c:v>3.7858218999999999E-2</c:v>
                </c:pt>
                <c:pt idx="2492">
                  <c:v>3.8193616E-2</c:v>
                </c:pt>
                <c:pt idx="2493">
                  <c:v>3.8620108E-2</c:v>
                </c:pt>
                <c:pt idx="2494">
                  <c:v>3.9008909000000001E-2</c:v>
                </c:pt>
                <c:pt idx="2495">
                  <c:v>3.9552167999999999E-2</c:v>
                </c:pt>
                <c:pt idx="2496">
                  <c:v>4.0252396000000003E-2</c:v>
                </c:pt>
                <c:pt idx="2497">
                  <c:v>4.0717013000000003E-2</c:v>
                </c:pt>
                <c:pt idx="2498">
                  <c:v>4.1233134999999997E-2</c:v>
                </c:pt>
                <c:pt idx="2499">
                  <c:v>4.1698406E-2</c:v>
                </c:pt>
                <c:pt idx="2500">
                  <c:v>4.2120154E-2</c:v>
                </c:pt>
                <c:pt idx="2501">
                  <c:v>4.2528716000000001E-2</c:v>
                </c:pt>
                <c:pt idx="2502">
                  <c:v>4.3051547000000003E-2</c:v>
                </c:pt>
                <c:pt idx="2503">
                  <c:v>4.3217553999999998E-2</c:v>
                </c:pt>
                <c:pt idx="2504">
                  <c:v>4.3436408000000003E-2</c:v>
                </c:pt>
                <c:pt idx="2505">
                  <c:v>4.3624577999999997E-2</c:v>
                </c:pt>
                <c:pt idx="2506">
                  <c:v>4.3954497000000002E-2</c:v>
                </c:pt>
                <c:pt idx="2507">
                  <c:v>4.4232529999999999E-2</c:v>
                </c:pt>
                <c:pt idx="2508">
                  <c:v>4.4325221999999997E-2</c:v>
                </c:pt>
                <c:pt idx="2509">
                  <c:v>4.4382893E-2</c:v>
                </c:pt>
                <c:pt idx="2510">
                  <c:v>4.4390476999999998E-2</c:v>
                </c:pt>
                <c:pt idx="2511">
                  <c:v>4.4593880000000002E-2</c:v>
                </c:pt>
                <c:pt idx="2512">
                  <c:v>4.4740352999999997E-2</c:v>
                </c:pt>
                <c:pt idx="2513">
                  <c:v>4.4919117000000001E-2</c:v>
                </c:pt>
                <c:pt idx="2514">
                  <c:v>4.5099605000000001E-2</c:v>
                </c:pt>
                <c:pt idx="2515">
                  <c:v>4.5216858999999998E-2</c:v>
                </c:pt>
                <c:pt idx="2516">
                  <c:v>4.5432933000000002E-2</c:v>
                </c:pt>
                <c:pt idx="2517">
                  <c:v>4.5712506999999999E-2</c:v>
                </c:pt>
                <c:pt idx="2518">
                  <c:v>4.5853249999999998E-2</c:v>
                </c:pt>
                <c:pt idx="2519">
                  <c:v>4.6008897E-2</c:v>
                </c:pt>
                <c:pt idx="2520">
                  <c:v>4.6264794999999997E-2</c:v>
                </c:pt>
                <c:pt idx="2521">
                  <c:v>4.6505619999999998E-2</c:v>
                </c:pt>
                <c:pt idx="2522">
                  <c:v>4.6683522999999998E-2</c:v>
                </c:pt>
                <c:pt idx="2523">
                  <c:v>4.6976527999999997E-2</c:v>
                </c:pt>
                <c:pt idx="2524">
                  <c:v>4.7124786000000002E-2</c:v>
                </c:pt>
                <c:pt idx="2525">
                  <c:v>4.7267940000000001E-2</c:v>
                </c:pt>
                <c:pt idx="2526">
                  <c:v>4.7293384000000001E-2</c:v>
                </c:pt>
                <c:pt idx="2527">
                  <c:v>4.7356303000000002E-2</c:v>
                </c:pt>
                <c:pt idx="2528">
                  <c:v>4.7397825999999997E-2</c:v>
                </c:pt>
                <c:pt idx="2529">
                  <c:v>4.7512577E-2</c:v>
                </c:pt>
                <c:pt idx="2530">
                  <c:v>4.7650070000000003E-2</c:v>
                </c:pt>
                <c:pt idx="2531">
                  <c:v>4.7895229999999997E-2</c:v>
                </c:pt>
                <c:pt idx="2532">
                  <c:v>4.8034209000000001E-2</c:v>
                </c:pt>
                <c:pt idx="2533">
                  <c:v>4.8180135999999998E-2</c:v>
                </c:pt>
                <c:pt idx="2534">
                  <c:v>4.8372883999999998E-2</c:v>
                </c:pt>
                <c:pt idx="2535">
                  <c:v>4.8515107000000002E-2</c:v>
                </c:pt>
                <c:pt idx="2536">
                  <c:v>4.8487718999999999E-2</c:v>
                </c:pt>
                <c:pt idx="2537">
                  <c:v>4.855375E-2</c:v>
                </c:pt>
                <c:pt idx="2538">
                  <c:v>4.8531197999999998E-2</c:v>
                </c:pt>
                <c:pt idx="2539">
                  <c:v>4.8375069E-2</c:v>
                </c:pt>
                <c:pt idx="2540">
                  <c:v>4.8379171999999998E-2</c:v>
                </c:pt>
                <c:pt idx="2541">
                  <c:v>4.8498285000000002E-2</c:v>
                </c:pt>
                <c:pt idx="2542">
                  <c:v>4.8639399999999999E-2</c:v>
                </c:pt>
                <c:pt idx="2543">
                  <c:v>4.8745953000000002E-2</c:v>
                </c:pt>
                <c:pt idx="2544">
                  <c:v>4.8893605E-2</c:v>
                </c:pt>
                <c:pt idx="2545">
                  <c:v>4.9151344E-2</c:v>
                </c:pt>
                <c:pt idx="2546">
                  <c:v>4.9199553E-2</c:v>
                </c:pt>
                <c:pt idx="2547">
                  <c:v>4.9191611000000003E-2</c:v>
                </c:pt>
                <c:pt idx="2548">
                  <c:v>4.9173882000000002E-2</c:v>
                </c:pt>
                <c:pt idx="2549">
                  <c:v>4.9550252000000003E-2</c:v>
                </c:pt>
                <c:pt idx="2550">
                  <c:v>4.9974086000000001E-2</c:v>
                </c:pt>
                <c:pt idx="2551">
                  <c:v>5.0280744000000002E-2</c:v>
                </c:pt>
                <c:pt idx="2552">
                  <c:v>5.0573354000000001E-2</c:v>
                </c:pt>
                <c:pt idx="2553">
                  <c:v>5.0974232000000001E-2</c:v>
                </c:pt>
                <c:pt idx="2554">
                  <c:v>5.1305082000000002E-2</c:v>
                </c:pt>
                <c:pt idx="2555">
                  <c:v>5.1502652000000003E-2</c:v>
                </c:pt>
                <c:pt idx="2556">
                  <c:v>5.1612893999999999E-2</c:v>
                </c:pt>
                <c:pt idx="2557">
                  <c:v>5.1582120000000002E-2</c:v>
                </c:pt>
                <c:pt idx="2558">
                  <c:v>5.1578677000000003E-2</c:v>
                </c:pt>
                <c:pt idx="2559">
                  <c:v>5.1547829000000003E-2</c:v>
                </c:pt>
                <c:pt idx="2560">
                  <c:v>5.1573956999999997E-2</c:v>
                </c:pt>
                <c:pt idx="2561">
                  <c:v>5.1570070000000003E-2</c:v>
                </c:pt>
                <c:pt idx="2562">
                  <c:v>5.1640944000000001E-2</c:v>
                </c:pt>
                <c:pt idx="2563">
                  <c:v>5.1690224999999999E-2</c:v>
                </c:pt>
                <c:pt idx="2564">
                  <c:v>5.1818931999999998E-2</c:v>
                </c:pt>
                <c:pt idx="2565">
                  <c:v>5.1977594000000002E-2</c:v>
                </c:pt>
                <c:pt idx="2566">
                  <c:v>5.2037379000000002E-2</c:v>
                </c:pt>
                <c:pt idx="2567">
                  <c:v>5.2042103999999999E-2</c:v>
                </c:pt>
                <c:pt idx="2568">
                  <c:v>5.2001972E-2</c:v>
                </c:pt>
                <c:pt idx="2569">
                  <c:v>5.1995606E-2</c:v>
                </c:pt>
                <c:pt idx="2570">
                  <c:v>5.1871610999999998E-2</c:v>
                </c:pt>
                <c:pt idx="2571">
                  <c:v>5.1813615E-2</c:v>
                </c:pt>
                <c:pt idx="2572">
                  <c:v>5.1725365000000002E-2</c:v>
                </c:pt>
                <c:pt idx="2573">
                  <c:v>5.1692505E-2</c:v>
                </c:pt>
                <c:pt idx="2574">
                  <c:v>5.1814028999999998E-2</c:v>
                </c:pt>
                <c:pt idx="2575">
                  <c:v>5.1934774000000003E-2</c:v>
                </c:pt>
                <c:pt idx="2576">
                  <c:v>5.1932227999999997E-2</c:v>
                </c:pt>
                <c:pt idx="2577">
                  <c:v>5.1972869999999997E-2</c:v>
                </c:pt>
                <c:pt idx="2578">
                  <c:v>5.2016443000000002E-2</c:v>
                </c:pt>
                <c:pt idx="2579">
                  <c:v>5.2056189000000003E-2</c:v>
                </c:pt>
                <c:pt idx="2580">
                  <c:v>5.2075255000000001E-2</c:v>
                </c:pt>
                <c:pt idx="2581">
                  <c:v>5.2056164000000002E-2</c:v>
                </c:pt>
                <c:pt idx="2582">
                  <c:v>5.1958269000000001E-2</c:v>
                </c:pt>
                <c:pt idx="2583">
                  <c:v>5.1863302999999999E-2</c:v>
                </c:pt>
                <c:pt idx="2584">
                  <c:v>5.1916872000000003E-2</c:v>
                </c:pt>
                <c:pt idx="2585">
                  <c:v>5.1948596999999999E-2</c:v>
                </c:pt>
                <c:pt idx="2586">
                  <c:v>5.2058213999999998E-2</c:v>
                </c:pt>
                <c:pt idx="2587">
                  <c:v>5.2030827000000002E-2</c:v>
                </c:pt>
                <c:pt idx="2588">
                  <c:v>5.2091348000000003E-2</c:v>
                </c:pt>
                <c:pt idx="2589">
                  <c:v>5.2139274999999999E-2</c:v>
                </c:pt>
                <c:pt idx="2590">
                  <c:v>5.2149556999999999E-2</c:v>
                </c:pt>
                <c:pt idx="2591">
                  <c:v>5.2203530999999997E-2</c:v>
                </c:pt>
                <c:pt idx="2592">
                  <c:v>5.2086208000000002E-2</c:v>
                </c:pt>
                <c:pt idx="2593">
                  <c:v>5.1793264999999998E-2</c:v>
                </c:pt>
                <c:pt idx="2594">
                  <c:v>5.1510901999999997E-2</c:v>
                </c:pt>
                <c:pt idx="2595">
                  <c:v>5.1195748999999999E-2</c:v>
                </c:pt>
                <c:pt idx="2596">
                  <c:v>5.0803348999999998E-2</c:v>
                </c:pt>
                <c:pt idx="2597">
                  <c:v>5.0546554E-2</c:v>
                </c:pt>
                <c:pt idx="2598">
                  <c:v>5.0145161000000001E-2</c:v>
                </c:pt>
                <c:pt idx="2599">
                  <c:v>4.9851300000000001E-2</c:v>
                </c:pt>
                <c:pt idx="2600">
                  <c:v>4.9603419000000003E-2</c:v>
                </c:pt>
                <c:pt idx="2601">
                  <c:v>4.9342378999999999E-2</c:v>
                </c:pt>
                <c:pt idx="2602">
                  <c:v>4.8901440999999997E-2</c:v>
                </c:pt>
                <c:pt idx="2603">
                  <c:v>4.8483862000000003E-2</c:v>
                </c:pt>
                <c:pt idx="2604">
                  <c:v>4.8194789000000002E-2</c:v>
                </c:pt>
                <c:pt idx="2605">
                  <c:v>4.7890281999999999E-2</c:v>
                </c:pt>
                <c:pt idx="2606">
                  <c:v>4.7629352E-2</c:v>
                </c:pt>
                <c:pt idx="2607">
                  <c:v>4.7185865E-2</c:v>
                </c:pt>
                <c:pt idx="2608">
                  <c:v>4.6687567999999999E-2</c:v>
                </c:pt>
                <c:pt idx="2609">
                  <c:v>4.6217125999999997E-2</c:v>
                </c:pt>
                <c:pt idx="2610">
                  <c:v>4.5920397000000002E-2</c:v>
                </c:pt>
                <c:pt idx="2611">
                  <c:v>4.5489117000000003E-2</c:v>
                </c:pt>
                <c:pt idx="2612">
                  <c:v>4.5172220999999999E-2</c:v>
                </c:pt>
                <c:pt idx="2613">
                  <c:v>4.4725389999999997E-2</c:v>
                </c:pt>
                <c:pt idx="2614">
                  <c:v>4.4370945000000002E-2</c:v>
                </c:pt>
                <c:pt idx="2615">
                  <c:v>4.3875081000000003E-2</c:v>
                </c:pt>
                <c:pt idx="2616">
                  <c:v>4.3266809000000003E-2</c:v>
                </c:pt>
                <c:pt idx="2617">
                  <c:v>4.2871660999999998E-2</c:v>
                </c:pt>
                <c:pt idx="2618">
                  <c:v>4.2436874999999999E-2</c:v>
                </c:pt>
                <c:pt idx="2619">
                  <c:v>4.2161951000000003E-2</c:v>
                </c:pt>
                <c:pt idx="2620">
                  <c:v>4.1798072999999998E-2</c:v>
                </c:pt>
                <c:pt idx="2621">
                  <c:v>4.1379812000000002E-2</c:v>
                </c:pt>
                <c:pt idx="2622">
                  <c:v>4.0816284000000001E-2</c:v>
                </c:pt>
                <c:pt idx="2623">
                  <c:v>4.0497010999999999E-2</c:v>
                </c:pt>
                <c:pt idx="2624">
                  <c:v>4.0168224000000002E-2</c:v>
                </c:pt>
                <c:pt idx="2625">
                  <c:v>3.9832644E-2</c:v>
                </c:pt>
                <c:pt idx="2626">
                  <c:v>3.9412415999999999E-2</c:v>
                </c:pt>
                <c:pt idx="2627">
                  <c:v>3.9082967000000003E-2</c:v>
                </c:pt>
                <c:pt idx="2628">
                  <c:v>3.8824872000000003E-2</c:v>
                </c:pt>
                <c:pt idx="2629">
                  <c:v>3.8665544000000003E-2</c:v>
                </c:pt>
                <c:pt idx="2630">
                  <c:v>3.8633652999999997E-2</c:v>
                </c:pt>
                <c:pt idx="2631">
                  <c:v>3.8494608999999999E-2</c:v>
                </c:pt>
                <c:pt idx="2632">
                  <c:v>3.8443471999999999E-2</c:v>
                </c:pt>
                <c:pt idx="2633">
                  <c:v>3.8328384E-2</c:v>
                </c:pt>
                <c:pt idx="2634">
                  <c:v>3.8168167000000003E-2</c:v>
                </c:pt>
                <c:pt idx="2635">
                  <c:v>3.8070723000000001E-2</c:v>
                </c:pt>
                <c:pt idx="2636">
                  <c:v>3.7898853000000003E-2</c:v>
                </c:pt>
                <c:pt idx="2637">
                  <c:v>3.7650166999999998E-2</c:v>
                </c:pt>
                <c:pt idx="2638">
                  <c:v>3.7555947999999999E-2</c:v>
                </c:pt>
                <c:pt idx="2639">
                  <c:v>3.7232518999999999E-2</c:v>
                </c:pt>
                <c:pt idx="2640">
                  <c:v>3.6860570000000002E-2</c:v>
                </c:pt>
                <c:pt idx="2641">
                  <c:v>3.6487475999999998E-2</c:v>
                </c:pt>
                <c:pt idx="2642">
                  <c:v>3.6135831E-2</c:v>
                </c:pt>
                <c:pt idx="2643">
                  <c:v>3.5624013000000003E-2</c:v>
                </c:pt>
                <c:pt idx="2644">
                  <c:v>3.5277192999999998E-2</c:v>
                </c:pt>
                <c:pt idx="2645">
                  <c:v>3.4943506999999999E-2</c:v>
                </c:pt>
                <c:pt idx="2646">
                  <c:v>3.4621332999999997E-2</c:v>
                </c:pt>
                <c:pt idx="2647">
                  <c:v>3.4285889E-2</c:v>
                </c:pt>
                <c:pt idx="2648">
                  <c:v>3.3829567999999997E-2</c:v>
                </c:pt>
                <c:pt idx="2649">
                  <c:v>3.3403188E-2</c:v>
                </c:pt>
                <c:pt idx="2650">
                  <c:v>3.2813978000000001E-2</c:v>
                </c:pt>
                <c:pt idx="2651">
                  <c:v>3.2259400000000001E-2</c:v>
                </c:pt>
                <c:pt idx="2652">
                  <c:v>3.1865658999999998E-2</c:v>
                </c:pt>
                <c:pt idx="2653">
                  <c:v>3.1537167999999997E-2</c:v>
                </c:pt>
                <c:pt idx="2654">
                  <c:v>3.1164120999999999E-2</c:v>
                </c:pt>
                <c:pt idx="2655">
                  <c:v>3.0765900999999998E-2</c:v>
                </c:pt>
                <c:pt idx="2656">
                  <c:v>3.0419246E-2</c:v>
                </c:pt>
                <c:pt idx="2657">
                  <c:v>3.0103595E-2</c:v>
                </c:pt>
                <c:pt idx="2658">
                  <c:v>2.9822912E-2</c:v>
                </c:pt>
                <c:pt idx="2659">
                  <c:v>2.9513431999999999E-2</c:v>
                </c:pt>
                <c:pt idx="2660">
                  <c:v>2.9245153999999999E-2</c:v>
                </c:pt>
                <c:pt idx="2661">
                  <c:v>2.8928110999999999E-2</c:v>
                </c:pt>
                <c:pt idx="2662">
                  <c:v>2.8627263999999999E-2</c:v>
                </c:pt>
                <c:pt idx="2663">
                  <c:v>2.8250768999999998E-2</c:v>
                </c:pt>
                <c:pt idx="2664">
                  <c:v>2.7812437999999998E-2</c:v>
                </c:pt>
                <c:pt idx="2665">
                  <c:v>2.7325493999999999E-2</c:v>
                </c:pt>
                <c:pt idx="2666">
                  <c:v>2.6940927999999999E-2</c:v>
                </c:pt>
                <c:pt idx="2667">
                  <c:v>2.6540475000000001E-2</c:v>
                </c:pt>
                <c:pt idx="2668">
                  <c:v>2.6179978999999999E-2</c:v>
                </c:pt>
                <c:pt idx="2669">
                  <c:v>2.5547451999999998E-2</c:v>
                </c:pt>
                <c:pt idx="2670">
                  <c:v>2.4894092E-2</c:v>
                </c:pt>
                <c:pt idx="2671">
                  <c:v>2.4290721000000001E-2</c:v>
                </c:pt>
                <c:pt idx="2672">
                  <c:v>2.3853401E-2</c:v>
                </c:pt>
                <c:pt idx="2673">
                  <c:v>2.3376653000000001E-2</c:v>
                </c:pt>
                <c:pt idx="2674">
                  <c:v>2.2853208E-2</c:v>
                </c:pt>
                <c:pt idx="2675">
                  <c:v>2.2533095E-2</c:v>
                </c:pt>
                <c:pt idx="2676">
                  <c:v>2.2248654999999999E-2</c:v>
                </c:pt>
                <c:pt idx="2677">
                  <c:v>2.2022357999999999E-2</c:v>
                </c:pt>
                <c:pt idx="2678">
                  <c:v>2.1786750000000001E-2</c:v>
                </c:pt>
                <c:pt idx="2679">
                  <c:v>2.1553491000000001E-2</c:v>
                </c:pt>
                <c:pt idx="2680">
                  <c:v>2.1342707999999998E-2</c:v>
                </c:pt>
                <c:pt idx="2681">
                  <c:v>2.1125115E-2</c:v>
                </c:pt>
                <c:pt idx="2682">
                  <c:v>2.0908056000000001E-2</c:v>
                </c:pt>
                <c:pt idx="2683">
                  <c:v>2.0660206E-2</c:v>
                </c:pt>
                <c:pt idx="2684">
                  <c:v>2.0407452E-2</c:v>
                </c:pt>
                <c:pt idx="2685">
                  <c:v>2.0110436999999998E-2</c:v>
                </c:pt>
                <c:pt idx="2686">
                  <c:v>1.9918278000000001E-2</c:v>
                </c:pt>
                <c:pt idx="2687">
                  <c:v>1.9782800999999999E-2</c:v>
                </c:pt>
                <c:pt idx="2688">
                  <c:v>1.9692624999999998E-2</c:v>
                </c:pt>
                <c:pt idx="2689">
                  <c:v>1.9547463000000001E-2</c:v>
                </c:pt>
                <c:pt idx="2690">
                  <c:v>1.9452396E-2</c:v>
                </c:pt>
                <c:pt idx="2691">
                  <c:v>1.9345803000000002E-2</c:v>
                </c:pt>
                <c:pt idx="2692">
                  <c:v>1.9288161000000002E-2</c:v>
                </c:pt>
                <c:pt idx="2693">
                  <c:v>1.9185174999999999E-2</c:v>
                </c:pt>
                <c:pt idx="2694">
                  <c:v>1.8967599000000002E-2</c:v>
                </c:pt>
                <c:pt idx="2695">
                  <c:v>1.8719979000000001E-2</c:v>
                </c:pt>
                <c:pt idx="2696">
                  <c:v>1.8540712000000001E-2</c:v>
                </c:pt>
                <c:pt idx="2697">
                  <c:v>1.8410097E-2</c:v>
                </c:pt>
                <c:pt idx="2698">
                  <c:v>1.8294359999999999E-2</c:v>
                </c:pt>
                <c:pt idx="2699">
                  <c:v>1.8165809000000002E-2</c:v>
                </c:pt>
                <c:pt idx="2700">
                  <c:v>1.7934596000000001E-2</c:v>
                </c:pt>
                <c:pt idx="2701">
                  <c:v>1.7796570000000001E-2</c:v>
                </c:pt>
                <c:pt idx="2702">
                  <c:v>1.7695479E-2</c:v>
                </c:pt>
                <c:pt idx="2703">
                  <c:v>1.7582707E-2</c:v>
                </c:pt>
                <c:pt idx="2704">
                  <c:v>1.7439442999999999E-2</c:v>
                </c:pt>
                <c:pt idx="2705">
                  <c:v>1.7239279E-2</c:v>
                </c:pt>
                <c:pt idx="2706">
                  <c:v>1.7040748000000001E-2</c:v>
                </c:pt>
                <c:pt idx="2707">
                  <c:v>1.6861791000000001E-2</c:v>
                </c:pt>
                <c:pt idx="2708">
                  <c:v>1.6720997000000001E-2</c:v>
                </c:pt>
                <c:pt idx="2709">
                  <c:v>1.6589858999999998E-2</c:v>
                </c:pt>
                <c:pt idx="2710">
                  <c:v>1.6446044999999999E-2</c:v>
                </c:pt>
                <c:pt idx="2711">
                  <c:v>1.6200473E-2</c:v>
                </c:pt>
                <c:pt idx="2712">
                  <c:v>1.6108569999999999E-2</c:v>
                </c:pt>
                <c:pt idx="2713">
                  <c:v>1.6049824000000001E-2</c:v>
                </c:pt>
                <c:pt idx="2714">
                  <c:v>1.5898598999999999E-2</c:v>
                </c:pt>
                <c:pt idx="2715">
                  <c:v>1.5826144E-2</c:v>
                </c:pt>
                <c:pt idx="2716">
                  <c:v>1.5827101E-2</c:v>
                </c:pt>
                <c:pt idx="2717">
                  <c:v>1.5711679999999999E-2</c:v>
                </c:pt>
                <c:pt idx="2718">
                  <c:v>1.5696460999999998E-2</c:v>
                </c:pt>
                <c:pt idx="2719">
                  <c:v>1.5648901E-2</c:v>
                </c:pt>
                <c:pt idx="2720">
                  <c:v>1.5659989999999999E-2</c:v>
                </c:pt>
                <c:pt idx="2721">
                  <c:v>1.5768068E-2</c:v>
                </c:pt>
                <c:pt idx="2722">
                  <c:v>1.5796142999999999E-2</c:v>
                </c:pt>
                <c:pt idx="2723">
                  <c:v>1.5769645999999998E-2</c:v>
                </c:pt>
                <c:pt idx="2724">
                  <c:v>1.5762195999999999E-2</c:v>
                </c:pt>
                <c:pt idx="2725">
                  <c:v>1.5745200000000001E-2</c:v>
                </c:pt>
                <c:pt idx="2726">
                  <c:v>1.5718986000000001E-2</c:v>
                </c:pt>
                <c:pt idx="2727">
                  <c:v>1.5731042000000001E-2</c:v>
                </c:pt>
                <c:pt idx="2728">
                  <c:v>1.5753584000000001E-2</c:v>
                </c:pt>
                <c:pt idx="2729">
                  <c:v>1.5774059999999999E-2</c:v>
                </c:pt>
                <c:pt idx="2730">
                  <c:v>1.5740694999999999E-2</c:v>
                </c:pt>
                <c:pt idx="2731">
                  <c:v>1.5744434000000002E-2</c:v>
                </c:pt>
                <c:pt idx="2732">
                  <c:v>1.561681E-2</c:v>
                </c:pt>
                <c:pt idx="2733">
                  <c:v>1.556594E-2</c:v>
                </c:pt>
                <c:pt idx="2734">
                  <c:v>1.5502225999999999E-2</c:v>
                </c:pt>
                <c:pt idx="2735">
                  <c:v>1.5448939E-2</c:v>
                </c:pt>
                <c:pt idx="2736">
                  <c:v>1.5326523999999999E-2</c:v>
                </c:pt>
                <c:pt idx="2737">
                  <c:v>1.5298588E-2</c:v>
                </c:pt>
                <c:pt idx="2738">
                  <c:v>1.5219338000000001E-2</c:v>
                </c:pt>
                <c:pt idx="2739">
                  <c:v>1.5016626999999999E-2</c:v>
                </c:pt>
                <c:pt idx="2740">
                  <c:v>1.4916083E-2</c:v>
                </c:pt>
                <c:pt idx="2741">
                  <c:v>1.4800400999999999E-2</c:v>
                </c:pt>
                <c:pt idx="2742">
                  <c:v>1.4755427E-2</c:v>
                </c:pt>
                <c:pt idx="2743">
                  <c:v>1.4686118E-2</c:v>
                </c:pt>
                <c:pt idx="2744">
                  <c:v>1.461025E-2</c:v>
                </c:pt>
                <c:pt idx="2745">
                  <c:v>1.4559412000000001E-2</c:v>
                </c:pt>
                <c:pt idx="2746">
                  <c:v>1.4485608000000001E-2</c:v>
                </c:pt>
                <c:pt idx="2747">
                  <c:v>1.4418508E-2</c:v>
                </c:pt>
                <c:pt idx="2748">
                  <c:v>1.438735E-2</c:v>
                </c:pt>
                <c:pt idx="2749">
                  <c:v>1.4243619000000001E-2</c:v>
                </c:pt>
                <c:pt idx="2750">
                  <c:v>1.3926332E-2</c:v>
                </c:pt>
                <c:pt idx="2751">
                  <c:v>1.3705381000000001E-2</c:v>
                </c:pt>
                <c:pt idx="2752">
                  <c:v>1.3406865E-2</c:v>
                </c:pt>
                <c:pt idx="2753">
                  <c:v>1.3231178999999999E-2</c:v>
                </c:pt>
                <c:pt idx="2754">
                  <c:v>1.3099481E-2</c:v>
                </c:pt>
                <c:pt idx="2755">
                  <c:v>1.2959704000000001E-2</c:v>
                </c:pt>
                <c:pt idx="2756">
                  <c:v>1.2843009000000001E-2</c:v>
                </c:pt>
                <c:pt idx="2757">
                  <c:v>1.2756826000000001E-2</c:v>
                </c:pt>
                <c:pt idx="2758">
                  <c:v>1.2585614E-2</c:v>
                </c:pt>
                <c:pt idx="2759">
                  <c:v>1.245549E-2</c:v>
                </c:pt>
                <c:pt idx="2760">
                  <c:v>1.2361577E-2</c:v>
                </c:pt>
                <c:pt idx="2761">
                  <c:v>1.2262182999999999E-2</c:v>
                </c:pt>
                <c:pt idx="2762">
                  <c:v>1.2151329000000001E-2</c:v>
                </c:pt>
                <c:pt idx="2763">
                  <c:v>1.2063383E-2</c:v>
                </c:pt>
                <c:pt idx="2764">
                  <c:v>1.1971295999999999E-2</c:v>
                </c:pt>
                <c:pt idx="2765">
                  <c:v>1.1863064E-2</c:v>
                </c:pt>
                <c:pt idx="2766">
                  <c:v>1.1772138E-2</c:v>
                </c:pt>
                <c:pt idx="2767">
                  <c:v>1.1705781E-2</c:v>
                </c:pt>
                <c:pt idx="2768">
                  <c:v>1.1669096E-2</c:v>
                </c:pt>
                <c:pt idx="2769">
                  <c:v>1.1564797999999999E-2</c:v>
                </c:pt>
                <c:pt idx="2770">
                  <c:v>1.1538598000000001E-2</c:v>
                </c:pt>
                <c:pt idx="2771">
                  <c:v>1.1529661E-2</c:v>
                </c:pt>
                <c:pt idx="2772">
                  <c:v>1.152739E-2</c:v>
                </c:pt>
                <c:pt idx="2773">
                  <c:v>1.153412E-2</c:v>
                </c:pt>
                <c:pt idx="2774">
                  <c:v>1.1524889999999999E-2</c:v>
                </c:pt>
                <c:pt idx="2775">
                  <c:v>1.1503284000000001E-2</c:v>
                </c:pt>
                <c:pt idx="2776">
                  <c:v>1.1495376E-2</c:v>
                </c:pt>
                <c:pt idx="2777">
                  <c:v>1.1474471999999999E-2</c:v>
                </c:pt>
                <c:pt idx="2778">
                  <c:v>1.1451375E-2</c:v>
                </c:pt>
                <c:pt idx="2779">
                  <c:v>1.1459624E-2</c:v>
                </c:pt>
                <c:pt idx="2780">
                  <c:v>1.1428948E-2</c:v>
                </c:pt>
                <c:pt idx="2781">
                  <c:v>1.1388440999999999E-2</c:v>
                </c:pt>
                <c:pt idx="2782">
                  <c:v>1.1297662E-2</c:v>
                </c:pt>
                <c:pt idx="2783">
                  <c:v>1.1261167000000001E-2</c:v>
                </c:pt>
                <c:pt idx="2784">
                  <c:v>1.1182673000000001E-2</c:v>
                </c:pt>
                <c:pt idx="2785">
                  <c:v>1.1143874999999999E-2</c:v>
                </c:pt>
                <c:pt idx="2786">
                  <c:v>1.1165157E-2</c:v>
                </c:pt>
                <c:pt idx="2787">
                  <c:v>1.113518E-2</c:v>
                </c:pt>
                <c:pt idx="2788">
                  <c:v>1.1120401E-2</c:v>
                </c:pt>
                <c:pt idx="2789">
                  <c:v>1.1111714999999999E-2</c:v>
                </c:pt>
                <c:pt idx="2790">
                  <c:v>1.1086057E-2</c:v>
                </c:pt>
                <c:pt idx="2791">
                  <c:v>1.1043656000000001E-2</c:v>
                </c:pt>
                <c:pt idx="2792">
                  <c:v>1.1009086E-2</c:v>
                </c:pt>
                <c:pt idx="2793">
                  <c:v>1.0991041999999999E-2</c:v>
                </c:pt>
                <c:pt idx="2794">
                  <c:v>1.1070099E-2</c:v>
                </c:pt>
                <c:pt idx="2795">
                  <c:v>1.1012816E-2</c:v>
                </c:pt>
                <c:pt idx="2796">
                  <c:v>1.0938514999999999E-2</c:v>
                </c:pt>
                <c:pt idx="2797">
                  <c:v>1.0951578999999999E-2</c:v>
                </c:pt>
                <c:pt idx="2798">
                  <c:v>1.0996311999999999E-2</c:v>
                </c:pt>
                <c:pt idx="2799">
                  <c:v>1.1020936E-2</c:v>
                </c:pt>
                <c:pt idx="2800">
                  <c:v>1.0997150000000001E-2</c:v>
                </c:pt>
                <c:pt idx="2801">
                  <c:v>1.0993107E-2</c:v>
                </c:pt>
                <c:pt idx="2802">
                  <c:v>1.0971504999999999E-2</c:v>
                </c:pt>
                <c:pt idx="2803">
                  <c:v>1.0929828000000001E-2</c:v>
                </c:pt>
                <c:pt idx="2804">
                  <c:v>1.0887363000000001E-2</c:v>
                </c:pt>
                <c:pt idx="2805">
                  <c:v>1.0879385E-2</c:v>
                </c:pt>
                <c:pt idx="2806">
                  <c:v>1.0882090000000001E-2</c:v>
                </c:pt>
                <c:pt idx="2807">
                  <c:v>1.0830957E-2</c:v>
                </c:pt>
                <c:pt idx="2808">
                  <c:v>1.0781773999999999E-2</c:v>
                </c:pt>
                <c:pt idx="2809">
                  <c:v>1.0825993000000001E-2</c:v>
                </c:pt>
                <c:pt idx="2810">
                  <c:v>1.0816453E-2</c:v>
                </c:pt>
                <c:pt idx="2811">
                  <c:v>1.0811885E-2</c:v>
                </c:pt>
                <c:pt idx="2812">
                  <c:v>1.0806199000000001E-2</c:v>
                </c:pt>
                <c:pt idx="2813">
                  <c:v>1.0784413E-2</c:v>
                </c:pt>
                <c:pt idx="2814">
                  <c:v>1.0761349E-2</c:v>
                </c:pt>
                <c:pt idx="2815">
                  <c:v>1.0755168000000001E-2</c:v>
                </c:pt>
                <c:pt idx="2816">
                  <c:v>1.0760007E-2</c:v>
                </c:pt>
                <c:pt idx="2817">
                  <c:v>1.0735550999999999E-2</c:v>
                </c:pt>
                <c:pt idx="2818">
                  <c:v>1.0697966999999999E-2</c:v>
                </c:pt>
                <c:pt idx="2819">
                  <c:v>1.0660892999999999E-2</c:v>
                </c:pt>
                <c:pt idx="2820">
                  <c:v>1.0669072E-2</c:v>
                </c:pt>
                <c:pt idx="2821">
                  <c:v>1.0655309E-2</c:v>
                </c:pt>
                <c:pt idx="2822">
                  <c:v>1.0749036999999999E-2</c:v>
                </c:pt>
                <c:pt idx="2823">
                  <c:v>1.0827987000000001E-2</c:v>
                </c:pt>
                <c:pt idx="2824">
                  <c:v>1.0803943999999999E-2</c:v>
                </c:pt>
                <c:pt idx="2825">
                  <c:v>1.0828175000000001E-2</c:v>
                </c:pt>
                <c:pt idx="2826">
                  <c:v>1.0804941E-2</c:v>
                </c:pt>
                <c:pt idx="2827">
                  <c:v>1.0790030000000001E-2</c:v>
                </c:pt>
                <c:pt idx="2828">
                  <c:v>1.0715855E-2</c:v>
                </c:pt>
                <c:pt idx="2829">
                  <c:v>1.0640583E-2</c:v>
                </c:pt>
                <c:pt idx="2830">
                  <c:v>1.0505970999999999E-2</c:v>
                </c:pt>
                <c:pt idx="2831">
                  <c:v>1.0453461000000001E-2</c:v>
                </c:pt>
                <c:pt idx="2832">
                  <c:v>1.0399853000000001E-2</c:v>
                </c:pt>
                <c:pt idx="2833">
                  <c:v>1.0363414E-2</c:v>
                </c:pt>
                <c:pt idx="2834">
                  <c:v>1.0362247999999999E-2</c:v>
                </c:pt>
                <c:pt idx="2835">
                  <c:v>1.0360645E-2</c:v>
                </c:pt>
                <c:pt idx="2836">
                  <c:v>1.0322705E-2</c:v>
                </c:pt>
                <c:pt idx="2837">
                  <c:v>1.0293441E-2</c:v>
                </c:pt>
                <c:pt idx="2838">
                  <c:v>1.0244631000000001E-2</c:v>
                </c:pt>
                <c:pt idx="2839">
                  <c:v>1.0216098E-2</c:v>
                </c:pt>
                <c:pt idx="2840">
                  <c:v>1.0097116E-2</c:v>
                </c:pt>
                <c:pt idx="2841">
                  <c:v>9.9518569999999997E-3</c:v>
                </c:pt>
                <c:pt idx="2842">
                  <c:v>9.9160380000000003E-3</c:v>
                </c:pt>
                <c:pt idx="2843">
                  <c:v>9.862282E-3</c:v>
                </c:pt>
                <c:pt idx="2844">
                  <c:v>9.8155069999999994E-3</c:v>
                </c:pt>
                <c:pt idx="2845">
                  <c:v>9.7870160000000008E-3</c:v>
                </c:pt>
                <c:pt idx="2846">
                  <c:v>9.7430780000000005E-3</c:v>
                </c:pt>
                <c:pt idx="2847">
                  <c:v>9.7100729999999996E-3</c:v>
                </c:pt>
                <c:pt idx="2848">
                  <c:v>9.6729780000000005E-3</c:v>
                </c:pt>
                <c:pt idx="2849">
                  <c:v>9.6198389999999998E-3</c:v>
                </c:pt>
                <c:pt idx="2850">
                  <c:v>9.5812129999999999E-3</c:v>
                </c:pt>
                <c:pt idx="2851">
                  <c:v>9.5065549999999999E-3</c:v>
                </c:pt>
                <c:pt idx="2852">
                  <c:v>9.4521359999999999E-3</c:v>
                </c:pt>
                <c:pt idx="2853">
                  <c:v>9.4072449999999998E-3</c:v>
                </c:pt>
                <c:pt idx="2854">
                  <c:v>9.3611690000000008E-3</c:v>
                </c:pt>
                <c:pt idx="2855">
                  <c:v>9.3250399999999997E-3</c:v>
                </c:pt>
                <c:pt idx="2856">
                  <c:v>9.325949E-3</c:v>
                </c:pt>
                <c:pt idx="2857">
                  <c:v>9.2205029999999997E-3</c:v>
                </c:pt>
                <c:pt idx="2858">
                  <c:v>9.1980240000000008E-3</c:v>
                </c:pt>
                <c:pt idx="2859">
                  <c:v>9.1838270000000003E-3</c:v>
                </c:pt>
                <c:pt idx="2860">
                  <c:v>9.1741800000000005E-3</c:v>
                </c:pt>
                <c:pt idx="2861">
                  <c:v>9.1973200000000001E-3</c:v>
                </c:pt>
                <c:pt idx="2862">
                  <c:v>9.1379809999999999E-3</c:v>
                </c:pt>
                <c:pt idx="2863">
                  <c:v>9.1129720000000004E-3</c:v>
                </c:pt>
                <c:pt idx="2864">
                  <c:v>9.1395139999999996E-3</c:v>
                </c:pt>
                <c:pt idx="2865">
                  <c:v>9.2110040000000001E-3</c:v>
                </c:pt>
                <c:pt idx="2866">
                  <c:v>9.2565189999999995E-3</c:v>
                </c:pt>
                <c:pt idx="2867">
                  <c:v>9.2888740000000008E-3</c:v>
                </c:pt>
                <c:pt idx="2868">
                  <c:v>9.2929210000000009E-3</c:v>
                </c:pt>
                <c:pt idx="2869">
                  <c:v>9.3178070000000009E-3</c:v>
                </c:pt>
                <c:pt idx="2870">
                  <c:v>9.2910370000000003E-3</c:v>
                </c:pt>
                <c:pt idx="2871">
                  <c:v>9.2832709999999992E-3</c:v>
                </c:pt>
                <c:pt idx="2872">
                  <c:v>9.3002359999999999E-3</c:v>
                </c:pt>
                <c:pt idx="2873">
                  <c:v>9.3154210000000008E-3</c:v>
                </c:pt>
                <c:pt idx="2874">
                  <c:v>9.3244060000000004E-3</c:v>
                </c:pt>
                <c:pt idx="2875">
                  <c:v>9.3535340000000002E-3</c:v>
                </c:pt>
                <c:pt idx="2876">
                  <c:v>9.3760790000000007E-3</c:v>
                </c:pt>
                <c:pt idx="2877">
                  <c:v>9.4383590000000003E-3</c:v>
                </c:pt>
                <c:pt idx="2878">
                  <c:v>9.4966080000000001E-3</c:v>
                </c:pt>
                <c:pt idx="2879">
                  <c:v>9.6104239999999994E-3</c:v>
                </c:pt>
                <c:pt idx="2880">
                  <c:v>9.7346689999999996E-3</c:v>
                </c:pt>
                <c:pt idx="2881">
                  <c:v>9.7696009999999993E-3</c:v>
                </c:pt>
                <c:pt idx="2882">
                  <c:v>9.8185330000000008E-3</c:v>
                </c:pt>
                <c:pt idx="2883">
                  <c:v>9.8672199999999995E-3</c:v>
                </c:pt>
                <c:pt idx="2884">
                  <c:v>9.9159020000000007E-3</c:v>
                </c:pt>
                <c:pt idx="2885">
                  <c:v>1.0002446E-2</c:v>
                </c:pt>
                <c:pt idx="2886">
                  <c:v>1.0109775999999999E-2</c:v>
                </c:pt>
                <c:pt idx="2887">
                  <c:v>1.0207961E-2</c:v>
                </c:pt>
                <c:pt idx="2888">
                  <c:v>1.0278237000000001E-2</c:v>
                </c:pt>
                <c:pt idx="2889">
                  <c:v>1.0352821E-2</c:v>
                </c:pt>
                <c:pt idx="2890">
                  <c:v>1.0423160000000001E-2</c:v>
                </c:pt>
                <c:pt idx="2891">
                  <c:v>1.0543835999999999E-2</c:v>
                </c:pt>
                <c:pt idx="2892">
                  <c:v>1.0628086E-2</c:v>
                </c:pt>
                <c:pt idx="2893">
                  <c:v>1.0704797E-2</c:v>
                </c:pt>
                <c:pt idx="2894">
                  <c:v>1.0814407999999999E-2</c:v>
                </c:pt>
                <c:pt idx="2895">
                  <c:v>1.0922572E-2</c:v>
                </c:pt>
                <c:pt idx="2896">
                  <c:v>1.0962091E-2</c:v>
                </c:pt>
                <c:pt idx="2897">
                  <c:v>1.0978521E-2</c:v>
                </c:pt>
                <c:pt idx="2898">
                  <c:v>1.1024779E-2</c:v>
                </c:pt>
                <c:pt idx="2899">
                  <c:v>1.1093133999999999E-2</c:v>
                </c:pt>
                <c:pt idx="2900">
                  <c:v>1.1186652E-2</c:v>
                </c:pt>
                <c:pt idx="2901">
                  <c:v>1.1220722000000001E-2</c:v>
                </c:pt>
                <c:pt idx="2902">
                  <c:v>1.1278359E-2</c:v>
                </c:pt>
                <c:pt idx="2903">
                  <c:v>1.1310952000000001E-2</c:v>
                </c:pt>
                <c:pt idx="2904">
                  <c:v>1.1336772E-2</c:v>
                </c:pt>
                <c:pt idx="2905">
                  <c:v>1.1349994E-2</c:v>
                </c:pt>
                <c:pt idx="2906">
                  <c:v>1.133932E-2</c:v>
                </c:pt>
                <c:pt idx="2907">
                  <c:v>1.1366918E-2</c:v>
                </c:pt>
                <c:pt idx="2908">
                  <c:v>1.1371038999999999E-2</c:v>
                </c:pt>
                <c:pt idx="2909">
                  <c:v>1.1363873E-2</c:v>
                </c:pt>
                <c:pt idx="2910">
                  <c:v>1.1371114E-2</c:v>
                </c:pt>
                <c:pt idx="2911">
                  <c:v>1.1373862E-2</c:v>
                </c:pt>
                <c:pt idx="2912">
                  <c:v>1.1318181E-2</c:v>
                </c:pt>
                <c:pt idx="2913">
                  <c:v>1.1270077E-2</c:v>
                </c:pt>
                <c:pt idx="2914">
                  <c:v>1.1219939E-2</c:v>
                </c:pt>
                <c:pt idx="2915">
                  <c:v>1.1196404E-2</c:v>
                </c:pt>
                <c:pt idx="2916">
                  <c:v>1.1198486000000001E-2</c:v>
                </c:pt>
                <c:pt idx="2917">
                  <c:v>1.1151236E-2</c:v>
                </c:pt>
                <c:pt idx="2918">
                  <c:v>1.1081452E-2</c:v>
                </c:pt>
                <c:pt idx="2919">
                  <c:v>1.1016771999999999E-2</c:v>
                </c:pt>
                <c:pt idx="2920">
                  <c:v>1.1005445000000001E-2</c:v>
                </c:pt>
                <c:pt idx="2921">
                  <c:v>1.1004552000000001E-2</c:v>
                </c:pt>
                <c:pt idx="2922">
                  <c:v>1.0987828E-2</c:v>
                </c:pt>
                <c:pt idx="2923">
                  <c:v>1.0991558E-2</c:v>
                </c:pt>
                <c:pt idx="2924">
                  <c:v>1.1081712000000001E-2</c:v>
                </c:pt>
                <c:pt idx="2925">
                  <c:v>1.1070056E-2</c:v>
                </c:pt>
                <c:pt idx="2926">
                  <c:v>1.1063175E-2</c:v>
                </c:pt>
                <c:pt idx="2927">
                  <c:v>1.1063833E-2</c:v>
                </c:pt>
                <c:pt idx="2928">
                  <c:v>1.1052892999999999E-2</c:v>
                </c:pt>
                <c:pt idx="2929">
                  <c:v>1.0988367000000001E-2</c:v>
                </c:pt>
                <c:pt idx="2930">
                  <c:v>1.0953377E-2</c:v>
                </c:pt>
                <c:pt idx="2931">
                  <c:v>1.0931850999999999E-2</c:v>
                </c:pt>
                <c:pt idx="2932">
                  <c:v>1.0920534000000001E-2</c:v>
                </c:pt>
                <c:pt idx="2933">
                  <c:v>1.0926992999999999E-2</c:v>
                </c:pt>
                <c:pt idx="2934">
                  <c:v>1.0935904E-2</c:v>
                </c:pt>
                <c:pt idx="2935">
                  <c:v>1.0936936E-2</c:v>
                </c:pt>
                <c:pt idx="2936">
                  <c:v>1.0940724000000001E-2</c:v>
                </c:pt>
                <c:pt idx="2937">
                  <c:v>1.0956792E-2</c:v>
                </c:pt>
                <c:pt idx="2938">
                  <c:v>1.0994746999999999E-2</c:v>
                </c:pt>
                <c:pt idx="2939">
                  <c:v>1.103819E-2</c:v>
                </c:pt>
                <c:pt idx="2940">
                  <c:v>1.1039820000000001E-2</c:v>
                </c:pt>
                <c:pt idx="2941">
                  <c:v>1.1054511E-2</c:v>
                </c:pt>
                <c:pt idx="2942">
                  <c:v>1.0974295E-2</c:v>
                </c:pt>
                <c:pt idx="2943">
                  <c:v>1.0902069E-2</c:v>
                </c:pt>
                <c:pt idx="2944">
                  <c:v>1.0921105E-2</c:v>
                </c:pt>
                <c:pt idx="2945">
                  <c:v>1.0917237999999999E-2</c:v>
                </c:pt>
                <c:pt idx="2946">
                  <c:v>1.0922704E-2</c:v>
                </c:pt>
                <c:pt idx="2947">
                  <c:v>1.0930713999999999E-2</c:v>
                </c:pt>
                <c:pt idx="2948">
                  <c:v>1.094318E-2</c:v>
                </c:pt>
                <c:pt idx="2949">
                  <c:v>1.0969048E-2</c:v>
                </c:pt>
                <c:pt idx="2950">
                  <c:v>1.0961998000000001E-2</c:v>
                </c:pt>
                <c:pt idx="2951">
                  <c:v>1.0995052999999999E-2</c:v>
                </c:pt>
                <c:pt idx="2952">
                  <c:v>1.1018478999999999E-2</c:v>
                </c:pt>
                <c:pt idx="2953">
                  <c:v>1.1033820999999999E-2</c:v>
                </c:pt>
                <c:pt idx="2954">
                  <c:v>1.1049923999999999E-2</c:v>
                </c:pt>
                <c:pt idx="2955">
                  <c:v>1.1057544000000001E-2</c:v>
                </c:pt>
                <c:pt idx="2956">
                  <c:v>1.1066510999999999E-2</c:v>
                </c:pt>
                <c:pt idx="2957">
                  <c:v>1.1085388E-2</c:v>
                </c:pt>
                <c:pt idx="2958">
                  <c:v>1.1070316E-2</c:v>
                </c:pt>
                <c:pt idx="2959">
                  <c:v>1.1078129000000001E-2</c:v>
                </c:pt>
                <c:pt idx="2960">
                  <c:v>1.1092661E-2</c:v>
                </c:pt>
                <c:pt idx="2961">
                  <c:v>1.1098785E-2</c:v>
                </c:pt>
                <c:pt idx="2962">
                  <c:v>1.1089933999999999E-2</c:v>
                </c:pt>
                <c:pt idx="2963">
                  <c:v>1.1134882E-2</c:v>
                </c:pt>
                <c:pt idx="2964">
                  <c:v>1.1156302E-2</c:v>
                </c:pt>
                <c:pt idx="2965">
                  <c:v>1.1190613E-2</c:v>
                </c:pt>
                <c:pt idx="2966">
                  <c:v>1.1247683E-2</c:v>
                </c:pt>
                <c:pt idx="2967">
                  <c:v>1.1289510000000001E-2</c:v>
                </c:pt>
                <c:pt idx="2968">
                  <c:v>1.1347424E-2</c:v>
                </c:pt>
                <c:pt idx="2969">
                  <c:v>1.1407911E-2</c:v>
                </c:pt>
                <c:pt idx="2970">
                  <c:v>1.1428130999999999E-2</c:v>
                </c:pt>
                <c:pt idx="2971">
                  <c:v>1.1471703999999999E-2</c:v>
                </c:pt>
                <c:pt idx="2972">
                  <c:v>1.1540419E-2</c:v>
                </c:pt>
                <c:pt idx="2973">
                  <c:v>1.1586233E-2</c:v>
                </c:pt>
                <c:pt idx="2974">
                  <c:v>1.1692312999999999E-2</c:v>
                </c:pt>
                <c:pt idx="2975">
                  <c:v>1.1740702E-2</c:v>
                </c:pt>
                <c:pt idx="2976">
                  <c:v>1.1782353000000001E-2</c:v>
                </c:pt>
                <c:pt idx="2977">
                  <c:v>1.1840056999999999E-2</c:v>
                </c:pt>
                <c:pt idx="2978">
                  <c:v>1.1912371999999999E-2</c:v>
                </c:pt>
                <c:pt idx="2979">
                  <c:v>1.1962097E-2</c:v>
                </c:pt>
                <c:pt idx="2980">
                  <c:v>1.1972247E-2</c:v>
                </c:pt>
                <c:pt idx="2981">
                  <c:v>1.1978604E-2</c:v>
                </c:pt>
                <c:pt idx="2982">
                  <c:v>1.198129E-2</c:v>
                </c:pt>
                <c:pt idx="2983">
                  <c:v>1.2001212000000001E-2</c:v>
                </c:pt>
                <c:pt idx="2984">
                  <c:v>1.2003191E-2</c:v>
                </c:pt>
                <c:pt idx="2985">
                  <c:v>1.1961424E-2</c:v>
                </c:pt>
                <c:pt idx="2986">
                  <c:v>1.1951303E-2</c:v>
                </c:pt>
                <c:pt idx="2987">
                  <c:v>1.19653E-2</c:v>
                </c:pt>
                <c:pt idx="2988">
                  <c:v>1.1970702E-2</c:v>
                </c:pt>
                <c:pt idx="2989">
                  <c:v>1.1978328E-2</c:v>
                </c:pt>
                <c:pt idx="2990">
                  <c:v>1.2010252000000001E-2</c:v>
                </c:pt>
                <c:pt idx="2991">
                  <c:v>1.2014462E-2</c:v>
                </c:pt>
                <c:pt idx="2992">
                  <c:v>1.1998952E-2</c:v>
                </c:pt>
                <c:pt idx="2993">
                  <c:v>1.1961062999999999E-2</c:v>
                </c:pt>
                <c:pt idx="2994">
                  <c:v>1.1942855E-2</c:v>
                </c:pt>
                <c:pt idx="2995">
                  <c:v>1.1942199000000001E-2</c:v>
                </c:pt>
                <c:pt idx="2996">
                  <c:v>1.1957113E-2</c:v>
                </c:pt>
                <c:pt idx="2997">
                  <c:v>1.1894017E-2</c:v>
                </c:pt>
                <c:pt idx="2998">
                  <c:v>1.1855749E-2</c:v>
                </c:pt>
                <c:pt idx="2999">
                  <c:v>1.177988E-2</c:v>
                </c:pt>
                <c:pt idx="3000">
                  <c:v>1.1675869E-2</c:v>
                </c:pt>
                <c:pt idx="3001">
                  <c:v>1.1637468E-2</c:v>
                </c:pt>
                <c:pt idx="3002">
                  <c:v>1.1623056999999999E-2</c:v>
                </c:pt>
                <c:pt idx="3003">
                  <c:v>1.1603026000000001E-2</c:v>
                </c:pt>
                <c:pt idx="3004">
                  <c:v>1.1565824000000001E-2</c:v>
                </c:pt>
                <c:pt idx="3005">
                  <c:v>1.1486748E-2</c:v>
                </c:pt>
                <c:pt idx="3006">
                  <c:v>1.1409555E-2</c:v>
                </c:pt>
                <c:pt idx="3007">
                  <c:v>1.1362907E-2</c:v>
                </c:pt>
                <c:pt idx="3008">
                  <c:v>1.1307868E-2</c:v>
                </c:pt>
                <c:pt idx="3009">
                  <c:v>1.1298186E-2</c:v>
                </c:pt>
                <c:pt idx="3010">
                  <c:v>1.1190617999999999E-2</c:v>
                </c:pt>
                <c:pt idx="3011">
                  <c:v>1.1072004E-2</c:v>
                </c:pt>
                <c:pt idx="3012">
                  <c:v>1.1007461E-2</c:v>
                </c:pt>
                <c:pt idx="3013">
                  <c:v>1.0916333E-2</c:v>
                </c:pt>
                <c:pt idx="3014">
                  <c:v>1.0812934999999999E-2</c:v>
                </c:pt>
                <c:pt idx="3015">
                  <c:v>1.0701822999999999E-2</c:v>
                </c:pt>
                <c:pt idx="3016">
                  <c:v>1.0684824000000001E-2</c:v>
                </c:pt>
                <c:pt idx="3017">
                  <c:v>1.0667884000000001E-2</c:v>
                </c:pt>
                <c:pt idx="3018">
                  <c:v>1.0657121E-2</c:v>
                </c:pt>
                <c:pt idx="3019">
                  <c:v>1.0594297000000001E-2</c:v>
                </c:pt>
                <c:pt idx="3020">
                  <c:v>1.0490977E-2</c:v>
                </c:pt>
                <c:pt idx="3021">
                  <c:v>1.0458378000000001E-2</c:v>
                </c:pt>
                <c:pt idx="3022">
                  <c:v>1.0412329999999999E-2</c:v>
                </c:pt>
                <c:pt idx="3023">
                  <c:v>1.0368838999999999E-2</c:v>
                </c:pt>
                <c:pt idx="3024">
                  <c:v>1.0356473999999999E-2</c:v>
                </c:pt>
                <c:pt idx="3025">
                  <c:v>1.0352969E-2</c:v>
                </c:pt>
                <c:pt idx="3026">
                  <c:v>1.0342326000000001E-2</c:v>
                </c:pt>
                <c:pt idx="3027">
                  <c:v>1.0365539999999999E-2</c:v>
                </c:pt>
                <c:pt idx="3028">
                  <c:v>1.0374639999999999E-2</c:v>
                </c:pt>
                <c:pt idx="3029">
                  <c:v>1.0417908E-2</c:v>
                </c:pt>
                <c:pt idx="3030">
                  <c:v>1.0429289E-2</c:v>
                </c:pt>
                <c:pt idx="3031">
                  <c:v>1.0449774E-2</c:v>
                </c:pt>
                <c:pt idx="3032">
                  <c:v>1.0467216E-2</c:v>
                </c:pt>
                <c:pt idx="3033">
                  <c:v>1.0479722E-2</c:v>
                </c:pt>
                <c:pt idx="3034">
                  <c:v>1.0492546E-2</c:v>
                </c:pt>
                <c:pt idx="3035">
                  <c:v>1.0495753E-2</c:v>
                </c:pt>
                <c:pt idx="3036">
                  <c:v>1.0493564E-2</c:v>
                </c:pt>
                <c:pt idx="3037">
                  <c:v>1.0505845999999999E-2</c:v>
                </c:pt>
                <c:pt idx="3038">
                  <c:v>1.0519201000000001E-2</c:v>
                </c:pt>
                <c:pt idx="3039">
                  <c:v>1.0543339000000001E-2</c:v>
                </c:pt>
                <c:pt idx="3040">
                  <c:v>1.0578736E-2</c:v>
                </c:pt>
                <c:pt idx="3041">
                  <c:v>1.0611280000000001E-2</c:v>
                </c:pt>
                <c:pt idx="3042">
                  <c:v>1.0653948E-2</c:v>
                </c:pt>
                <c:pt idx="3043">
                  <c:v>1.0671498999999999E-2</c:v>
                </c:pt>
                <c:pt idx="3044">
                  <c:v>1.0687680999999999E-2</c:v>
                </c:pt>
                <c:pt idx="3045">
                  <c:v>1.0743628999999999E-2</c:v>
                </c:pt>
                <c:pt idx="3046">
                  <c:v>1.0841683E-2</c:v>
                </c:pt>
                <c:pt idx="3047">
                  <c:v>1.0904399E-2</c:v>
                </c:pt>
                <c:pt idx="3048">
                  <c:v>1.0948259E-2</c:v>
                </c:pt>
                <c:pt idx="3049">
                  <c:v>1.0998216E-2</c:v>
                </c:pt>
                <c:pt idx="3050">
                  <c:v>1.1042158E-2</c:v>
                </c:pt>
                <c:pt idx="3051">
                  <c:v>1.1108402E-2</c:v>
                </c:pt>
                <c:pt idx="3052">
                  <c:v>1.1160438999999999E-2</c:v>
                </c:pt>
                <c:pt idx="3053">
                  <c:v>1.1192532E-2</c:v>
                </c:pt>
                <c:pt idx="3054">
                  <c:v>1.1250985999999999E-2</c:v>
                </c:pt>
                <c:pt idx="3055">
                  <c:v>1.1317374999999999E-2</c:v>
                </c:pt>
                <c:pt idx="3056">
                  <c:v>1.138083E-2</c:v>
                </c:pt>
                <c:pt idx="3057">
                  <c:v>1.1407428000000001E-2</c:v>
                </c:pt>
                <c:pt idx="3058">
                  <c:v>1.1415733000000001E-2</c:v>
                </c:pt>
                <c:pt idx="3059">
                  <c:v>1.1404979000000001E-2</c:v>
                </c:pt>
                <c:pt idx="3060">
                  <c:v>1.143135E-2</c:v>
                </c:pt>
                <c:pt idx="3061">
                  <c:v>1.1419138000000001E-2</c:v>
                </c:pt>
                <c:pt idx="3062">
                  <c:v>1.1425904000000001E-2</c:v>
                </c:pt>
                <c:pt idx="3063">
                  <c:v>1.1456598E-2</c:v>
                </c:pt>
                <c:pt idx="3064">
                  <c:v>1.1433565E-2</c:v>
                </c:pt>
                <c:pt idx="3065">
                  <c:v>1.1422079E-2</c:v>
                </c:pt>
                <c:pt idx="3066">
                  <c:v>1.1418228000000001E-2</c:v>
                </c:pt>
                <c:pt idx="3067">
                  <c:v>1.1421442E-2</c:v>
                </c:pt>
                <c:pt idx="3068">
                  <c:v>1.1412634E-2</c:v>
                </c:pt>
                <c:pt idx="3069">
                  <c:v>1.1403617E-2</c:v>
                </c:pt>
                <c:pt idx="3070">
                  <c:v>1.1425011000000001E-2</c:v>
                </c:pt>
                <c:pt idx="3071">
                  <c:v>1.1424647E-2</c:v>
                </c:pt>
                <c:pt idx="3072">
                  <c:v>1.1420941E-2</c:v>
                </c:pt>
                <c:pt idx="3073">
                  <c:v>1.1467919E-2</c:v>
                </c:pt>
                <c:pt idx="3074">
                  <c:v>1.155079E-2</c:v>
                </c:pt>
                <c:pt idx="3075">
                  <c:v>1.1588787E-2</c:v>
                </c:pt>
                <c:pt idx="3076">
                  <c:v>1.1641494E-2</c:v>
                </c:pt>
                <c:pt idx="3077">
                  <c:v>1.1681354E-2</c:v>
                </c:pt>
                <c:pt idx="3078">
                  <c:v>1.1761353E-2</c:v>
                </c:pt>
                <c:pt idx="3079">
                  <c:v>1.1810095E-2</c:v>
                </c:pt>
                <c:pt idx="3080">
                  <c:v>1.1855914E-2</c:v>
                </c:pt>
                <c:pt idx="3081">
                  <c:v>1.1901037999999999E-2</c:v>
                </c:pt>
                <c:pt idx="3082">
                  <c:v>1.1910222E-2</c:v>
                </c:pt>
                <c:pt idx="3083">
                  <c:v>1.1905354E-2</c:v>
                </c:pt>
                <c:pt idx="3084">
                  <c:v>1.1937550999999999E-2</c:v>
                </c:pt>
                <c:pt idx="3085">
                  <c:v>1.1979224E-2</c:v>
                </c:pt>
                <c:pt idx="3086">
                  <c:v>1.1962148000000001E-2</c:v>
                </c:pt>
                <c:pt idx="3087">
                  <c:v>1.1969802E-2</c:v>
                </c:pt>
                <c:pt idx="3088">
                  <c:v>1.194573E-2</c:v>
                </c:pt>
                <c:pt idx="3089">
                  <c:v>1.1940137E-2</c:v>
                </c:pt>
                <c:pt idx="3090">
                  <c:v>1.1956275000000001E-2</c:v>
                </c:pt>
                <c:pt idx="3091">
                  <c:v>1.1952258E-2</c:v>
                </c:pt>
                <c:pt idx="3092">
                  <c:v>1.194217E-2</c:v>
                </c:pt>
                <c:pt idx="3093">
                  <c:v>1.1938313000000001E-2</c:v>
                </c:pt>
                <c:pt idx="3094">
                  <c:v>1.1887314E-2</c:v>
                </c:pt>
                <c:pt idx="3095">
                  <c:v>1.1842352E-2</c:v>
                </c:pt>
                <c:pt idx="3096">
                  <c:v>1.1804073E-2</c:v>
                </c:pt>
                <c:pt idx="3097">
                  <c:v>1.1776436E-2</c:v>
                </c:pt>
                <c:pt idx="3098">
                  <c:v>1.1726844E-2</c:v>
                </c:pt>
                <c:pt idx="3099">
                  <c:v>1.1737947E-2</c:v>
                </c:pt>
                <c:pt idx="3100">
                  <c:v>1.1757457000000001E-2</c:v>
                </c:pt>
                <c:pt idx="3101">
                  <c:v>1.175476E-2</c:v>
                </c:pt>
                <c:pt idx="3102">
                  <c:v>1.1755237999999999E-2</c:v>
                </c:pt>
                <c:pt idx="3103">
                  <c:v>1.1756374E-2</c:v>
                </c:pt>
                <c:pt idx="3104">
                  <c:v>1.1769813E-2</c:v>
                </c:pt>
                <c:pt idx="3105">
                  <c:v>1.1757808E-2</c:v>
                </c:pt>
                <c:pt idx="3106">
                  <c:v>1.1770325E-2</c:v>
                </c:pt>
                <c:pt idx="3107">
                  <c:v>1.1769979E-2</c:v>
                </c:pt>
                <c:pt idx="3108">
                  <c:v>1.1766077999999999E-2</c:v>
                </c:pt>
                <c:pt idx="3109">
                  <c:v>1.1754997E-2</c:v>
                </c:pt>
                <c:pt idx="3110">
                  <c:v>1.1745393999999999E-2</c:v>
                </c:pt>
                <c:pt idx="3111">
                  <c:v>1.1759082000000001E-2</c:v>
                </c:pt>
                <c:pt idx="3112">
                  <c:v>1.1821653999999999E-2</c:v>
                </c:pt>
                <c:pt idx="3113">
                  <c:v>1.1874150999999999E-2</c:v>
                </c:pt>
                <c:pt idx="3114">
                  <c:v>1.1952447E-2</c:v>
                </c:pt>
                <c:pt idx="3115">
                  <c:v>1.1973350000000001E-2</c:v>
                </c:pt>
                <c:pt idx="3116">
                  <c:v>1.1995796E-2</c:v>
                </c:pt>
                <c:pt idx="3117">
                  <c:v>1.2053256E-2</c:v>
                </c:pt>
                <c:pt idx="3118">
                  <c:v>1.2098363000000001E-2</c:v>
                </c:pt>
                <c:pt idx="3119">
                  <c:v>1.2131721E-2</c:v>
                </c:pt>
                <c:pt idx="3120">
                  <c:v>1.2203624E-2</c:v>
                </c:pt>
                <c:pt idx="3121">
                  <c:v>1.2279711E-2</c:v>
                </c:pt>
                <c:pt idx="3122">
                  <c:v>1.2311312E-2</c:v>
                </c:pt>
                <c:pt idx="3123">
                  <c:v>1.2373857E-2</c:v>
                </c:pt>
                <c:pt idx="3124">
                  <c:v>1.2461731E-2</c:v>
                </c:pt>
                <c:pt idx="3125">
                  <c:v>1.2547307000000001E-2</c:v>
                </c:pt>
                <c:pt idx="3126">
                  <c:v>1.2588514E-2</c:v>
                </c:pt>
                <c:pt idx="3127">
                  <c:v>1.2608651E-2</c:v>
                </c:pt>
                <c:pt idx="3128">
                  <c:v>1.2724172000000001E-2</c:v>
                </c:pt>
                <c:pt idx="3129">
                  <c:v>1.2740779000000001E-2</c:v>
                </c:pt>
                <c:pt idx="3130">
                  <c:v>1.2837164E-2</c:v>
                </c:pt>
                <c:pt idx="3131">
                  <c:v>1.2933481E-2</c:v>
                </c:pt>
                <c:pt idx="3132">
                  <c:v>1.3022341999999999E-2</c:v>
                </c:pt>
                <c:pt idx="3133">
                  <c:v>1.3081328999999999E-2</c:v>
                </c:pt>
                <c:pt idx="3134">
                  <c:v>1.3154549E-2</c:v>
                </c:pt>
                <c:pt idx="3135">
                  <c:v>1.3199917E-2</c:v>
                </c:pt>
                <c:pt idx="3136">
                  <c:v>1.3234041E-2</c:v>
                </c:pt>
                <c:pt idx="3137">
                  <c:v>1.3262512000000001E-2</c:v>
                </c:pt>
                <c:pt idx="3138">
                  <c:v>1.3269901000000001E-2</c:v>
                </c:pt>
                <c:pt idx="3139">
                  <c:v>1.3290074000000001E-2</c:v>
                </c:pt>
                <c:pt idx="3140">
                  <c:v>1.3376272999999999E-2</c:v>
                </c:pt>
                <c:pt idx="3141">
                  <c:v>1.3408689999999999E-2</c:v>
                </c:pt>
                <c:pt idx="3142">
                  <c:v>1.3426636E-2</c:v>
                </c:pt>
                <c:pt idx="3143">
                  <c:v>1.3450623E-2</c:v>
                </c:pt>
                <c:pt idx="3144">
                  <c:v>1.3479661E-2</c:v>
                </c:pt>
                <c:pt idx="3145">
                  <c:v>1.3497629000000001E-2</c:v>
                </c:pt>
                <c:pt idx="3146">
                  <c:v>1.3504983E-2</c:v>
                </c:pt>
                <c:pt idx="3147">
                  <c:v>1.3466001999999999E-2</c:v>
                </c:pt>
                <c:pt idx="3148">
                  <c:v>1.3468959000000001E-2</c:v>
                </c:pt>
                <c:pt idx="3149">
                  <c:v>1.3421347E-2</c:v>
                </c:pt>
                <c:pt idx="3150">
                  <c:v>1.3413189000000001E-2</c:v>
                </c:pt>
                <c:pt idx="3151">
                  <c:v>1.3416686000000001E-2</c:v>
                </c:pt>
                <c:pt idx="3152">
                  <c:v>1.3446576999999999E-2</c:v>
                </c:pt>
                <c:pt idx="3153">
                  <c:v>1.3454223E-2</c:v>
                </c:pt>
                <c:pt idx="3154">
                  <c:v>1.3478947E-2</c:v>
                </c:pt>
                <c:pt idx="3155">
                  <c:v>1.3491992E-2</c:v>
                </c:pt>
                <c:pt idx="3156">
                  <c:v>1.3525232E-2</c:v>
                </c:pt>
                <c:pt idx="3157">
                  <c:v>1.3550776E-2</c:v>
                </c:pt>
                <c:pt idx="3158">
                  <c:v>1.3554907999999999E-2</c:v>
                </c:pt>
                <c:pt idx="3159">
                  <c:v>1.3602592E-2</c:v>
                </c:pt>
                <c:pt idx="3160">
                  <c:v>1.3638711E-2</c:v>
                </c:pt>
                <c:pt idx="3161">
                  <c:v>1.3650809E-2</c:v>
                </c:pt>
                <c:pt idx="3162">
                  <c:v>1.3671719000000001E-2</c:v>
                </c:pt>
                <c:pt idx="3163">
                  <c:v>1.3737271000000001E-2</c:v>
                </c:pt>
                <c:pt idx="3164">
                  <c:v>1.3706018E-2</c:v>
                </c:pt>
                <c:pt idx="3165">
                  <c:v>1.3740652000000001E-2</c:v>
                </c:pt>
                <c:pt idx="3166">
                  <c:v>1.3696237E-2</c:v>
                </c:pt>
                <c:pt idx="3167">
                  <c:v>1.3679365000000001E-2</c:v>
                </c:pt>
                <c:pt idx="3168">
                  <c:v>1.3749478000000001E-2</c:v>
                </c:pt>
                <c:pt idx="3169">
                  <c:v>1.3796470999999999E-2</c:v>
                </c:pt>
                <c:pt idx="3170">
                  <c:v>1.3909413000000001E-2</c:v>
                </c:pt>
                <c:pt idx="3171">
                  <c:v>1.3965749E-2</c:v>
                </c:pt>
                <c:pt idx="3172">
                  <c:v>1.4054428000000001E-2</c:v>
                </c:pt>
                <c:pt idx="3173">
                  <c:v>1.4137245E-2</c:v>
                </c:pt>
                <c:pt idx="3174">
                  <c:v>1.4214073000000001E-2</c:v>
                </c:pt>
                <c:pt idx="3175">
                  <c:v>1.4297844000000001E-2</c:v>
                </c:pt>
                <c:pt idx="3176">
                  <c:v>1.4343599E-2</c:v>
                </c:pt>
                <c:pt idx="3177">
                  <c:v>1.4395613E-2</c:v>
                </c:pt>
                <c:pt idx="3178">
                  <c:v>1.4451080999999999E-2</c:v>
                </c:pt>
                <c:pt idx="3179">
                  <c:v>1.447354E-2</c:v>
                </c:pt>
                <c:pt idx="3180">
                  <c:v>1.4494289E-2</c:v>
                </c:pt>
                <c:pt idx="3181">
                  <c:v>1.4564710999999999E-2</c:v>
                </c:pt>
                <c:pt idx="3182">
                  <c:v>1.4583817000000001E-2</c:v>
                </c:pt>
                <c:pt idx="3183">
                  <c:v>1.4608008E-2</c:v>
                </c:pt>
                <c:pt idx="3184">
                  <c:v>1.4712101999999999E-2</c:v>
                </c:pt>
                <c:pt idx="3185">
                  <c:v>1.4814244000000001E-2</c:v>
                </c:pt>
                <c:pt idx="3186">
                  <c:v>1.4879385E-2</c:v>
                </c:pt>
                <c:pt idx="3187">
                  <c:v>1.4986002E-2</c:v>
                </c:pt>
                <c:pt idx="3188">
                  <c:v>1.5019261000000001E-2</c:v>
                </c:pt>
                <c:pt idx="3189">
                  <c:v>1.504657E-2</c:v>
                </c:pt>
                <c:pt idx="3190">
                  <c:v>1.5020957999999999E-2</c:v>
                </c:pt>
                <c:pt idx="3191">
                  <c:v>1.5021725999999999E-2</c:v>
                </c:pt>
                <c:pt idx="3192">
                  <c:v>1.5030369999999999E-2</c:v>
                </c:pt>
                <c:pt idx="3193">
                  <c:v>1.5039136E-2</c:v>
                </c:pt>
                <c:pt idx="3194">
                  <c:v>1.4995944000000001E-2</c:v>
                </c:pt>
                <c:pt idx="3195">
                  <c:v>1.4986681999999999E-2</c:v>
                </c:pt>
                <c:pt idx="3196">
                  <c:v>1.4965637E-2</c:v>
                </c:pt>
                <c:pt idx="3197">
                  <c:v>1.4937944E-2</c:v>
                </c:pt>
                <c:pt idx="3198">
                  <c:v>1.4881254E-2</c:v>
                </c:pt>
                <c:pt idx="3199">
                  <c:v>1.4880749E-2</c:v>
                </c:pt>
                <c:pt idx="3200">
                  <c:v>1.486957E-2</c:v>
                </c:pt>
                <c:pt idx="3201">
                  <c:v>1.484009E-2</c:v>
                </c:pt>
                <c:pt idx="3202">
                  <c:v>1.4839082E-2</c:v>
                </c:pt>
                <c:pt idx="3203">
                  <c:v>1.4879256E-2</c:v>
                </c:pt>
                <c:pt idx="3204">
                  <c:v>1.4870970000000001E-2</c:v>
                </c:pt>
                <c:pt idx="3205">
                  <c:v>1.4838061E-2</c:v>
                </c:pt>
                <c:pt idx="3206">
                  <c:v>1.4838505E-2</c:v>
                </c:pt>
                <c:pt idx="3207">
                  <c:v>1.4822752999999999E-2</c:v>
                </c:pt>
                <c:pt idx="3208">
                  <c:v>1.4802373000000001E-2</c:v>
                </c:pt>
                <c:pt idx="3209">
                  <c:v>1.4778061E-2</c:v>
                </c:pt>
                <c:pt idx="3210">
                  <c:v>1.4775127000000001E-2</c:v>
                </c:pt>
                <c:pt idx="3211">
                  <c:v>1.477357E-2</c:v>
                </c:pt>
                <c:pt idx="3212">
                  <c:v>1.4848762E-2</c:v>
                </c:pt>
                <c:pt idx="3213">
                  <c:v>1.4878093E-2</c:v>
                </c:pt>
                <c:pt idx="3214">
                  <c:v>1.4901374E-2</c:v>
                </c:pt>
                <c:pt idx="3215">
                  <c:v>1.4927166E-2</c:v>
                </c:pt>
                <c:pt idx="3216">
                  <c:v>1.4962362999999999E-2</c:v>
                </c:pt>
                <c:pt idx="3217">
                  <c:v>1.4970600000000001E-2</c:v>
                </c:pt>
                <c:pt idx="3218">
                  <c:v>1.4990062E-2</c:v>
                </c:pt>
                <c:pt idx="3219">
                  <c:v>1.4955575E-2</c:v>
                </c:pt>
                <c:pt idx="3220">
                  <c:v>1.4941530999999999E-2</c:v>
                </c:pt>
                <c:pt idx="3221">
                  <c:v>1.4931931000000001E-2</c:v>
                </c:pt>
                <c:pt idx="3222">
                  <c:v>1.4947530000000001E-2</c:v>
                </c:pt>
                <c:pt idx="3223">
                  <c:v>1.496838E-2</c:v>
                </c:pt>
                <c:pt idx="3224">
                  <c:v>1.4935121000000001E-2</c:v>
                </c:pt>
                <c:pt idx="3225">
                  <c:v>1.4927305E-2</c:v>
                </c:pt>
                <c:pt idx="3226">
                  <c:v>1.4927780999999999E-2</c:v>
                </c:pt>
                <c:pt idx="3227">
                  <c:v>1.4917454E-2</c:v>
                </c:pt>
                <c:pt idx="3228">
                  <c:v>1.495788E-2</c:v>
                </c:pt>
                <c:pt idx="3229">
                  <c:v>1.4979377E-2</c:v>
                </c:pt>
                <c:pt idx="3230">
                  <c:v>1.4989404E-2</c:v>
                </c:pt>
                <c:pt idx="3231">
                  <c:v>1.4992149E-2</c:v>
                </c:pt>
                <c:pt idx="3232">
                  <c:v>1.4978537E-2</c:v>
                </c:pt>
                <c:pt idx="3233">
                  <c:v>1.4930795E-2</c:v>
                </c:pt>
                <c:pt idx="3234">
                  <c:v>1.4861074E-2</c:v>
                </c:pt>
                <c:pt idx="3235">
                  <c:v>1.4839226E-2</c:v>
                </c:pt>
                <c:pt idx="3236">
                  <c:v>1.4791053E-2</c:v>
                </c:pt>
                <c:pt idx="3237">
                  <c:v>1.4758670999999999E-2</c:v>
                </c:pt>
                <c:pt idx="3238">
                  <c:v>1.4704198999999999E-2</c:v>
                </c:pt>
                <c:pt idx="3239">
                  <c:v>1.4662573999999999E-2</c:v>
                </c:pt>
                <c:pt idx="3240">
                  <c:v>1.4607134000000001E-2</c:v>
                </c:pt>
                <c:pt idx="3241">
                  <c:v>1.4524743999999999E-2</c:v>
                </c:pt>
                <c:pt idx="3242">
                  <c:v>1.4474000000000001E-2</c:v>
                </c:pt>
                <c:pt idx="3243">
                  <c:v>1.4405546999999999E-2</c:v>
                </c:pt>
                <c:pt idx="3244">
                  <c:v>1.4336450000000001E-2</c:v>
                </c:pt>
                <c:pt idx="3245">
                  <c:v>1.4271259999999999E-2</c:v>
                </c:pt>
                <c:pt idx="3246">
                  <c:v>1.4223404E-2</c:v>
                </c:pt>
                <c:pt idx="3247">
                  <c:v>1.4156959E-2</c:v>
                </c:pt>
                <c:pt idx="3248">
                  <c:v>1.4040113999999999E-2</c:v>
                </c:pt>
                <c:pt idx="3249">
                  <c:v>1.398724E-2</c:v>
                </c:pt>
                <c:pt idx="3250">
                  <c:v>1.3873121E-2</c:v>
                </c:pt>
                <c:pt idx="3251">
                  <c:v>1.3759564E-2</c:v>
                </c:pt>
                <c:pt idx="3252">
                  <c:v>1.3642558000000001E-2</c:v>
                </c:pt>
                <c:pt idx="3253">
                  <c:v>1.3577499999999999E-2</c:v>
                </c:pt>
                <c:pt idx="3254">
                  <c:v>1.3497522E-2</c:v>
                </c:pt>
                <c:pt idx="3255">
                  <c:v>1.3471075000000001E-2</c:v>
                </c:pt>
                <c:pt idx="3256">
                  <c:v>1.3431086E-2</c:v>
                </c:pt>
                <c:pt idx="3257">
                  <c:v>1.3414114E-2</c:v>
                </c:pt>
                <c:pt idx="3258">
                  <c:v>1.3384442999999999E-2</c:v>
                </c:pt>
                <c:pt idx="3259">
                  <c:v>1.3355498E-2</c:v>
                </c:pt>
                <c:pt idx="3260">
                  <c:v>1.3277938E-2</c:v>
                </c:pt>
                <c:pt idx="3261">
                  <c:v>1.3244822E-2</c:v>
                </c:pt>
                <c:pt idx="3262">
                  <c:v>1.3235032000000001E-2</c:v>
                </c:pt>
                <c:pt idx="3263">
                  <c:v>1.3222437E-2</c:v>
                </c:pt>
                <c:pt idx="3264">
                  <c:v>1.3186847E-2</c:v>
                </c:pt>
                <c:pt idx="3265">
                  <c:v>1.3171914E-2</c:v>
                </c:pt>
                <c:pt idx="3266">
                  <c:v>1.316321E-2</c:v>
                </c:pt>
                <c:pt idx="3267">
                  <c:v>1.3145868999999999E-2</c:v>
                </c:pt>
                <c:pt idx="3268">
                  <c:v>1.3133117E-2</c:v>
                </c:pt>
                <c:pt idx="3269">
                  <c:v>1.3206031E-2</c:v>
                </c:pt>
                <c:pt idx="3270">
                  <c:v>1.3207922E-2</c:v>
                </c:pt>
                <c:pt idx="3271">
                  <c:v>1.3204508E-2</c:v>
                </c:pt>
                <c:pt idx="3272">
                  <c:v>1.3168681E-2</c:v>
                </c:pt>
                <c:pt idx="3273">
                  <c:v>1.3168681999999999E-2</c:v>
                </c:pt>
                <c:pt idx="3274">
                  <c:v>1.3150894E-2</c:v>
                </c:pt>
                <c:pt idx="3275">
                  <c:v>1.3136963E-2</c:v>
                </c:pt>
                <c:pt idx="3276">
                  <c:v>1.3102223E-2</c:v>
                </c:pt>
                <c:pt idx="3277">
                  <c:v>1.3063737000000001E-2</c:v>
                </c:pt>
                <c:pt idx="3278">
                  <c:v>1.3054463000000001E-2</c:v>
                </c:pt>
                <c:pt idx="3279">
                  <c:v>1.2999109E-2</c:v>
                </c:pt>
                <c:pt idx="3280">
                  <c:v>1.2927352E-2</c:v>
                </c:pt>
                <c:pt idx="3281">
                  <c:v>1.2878686E-2</c:v>
                </c:pt>
                <c:pt idx="3282">
                  <c:v>1.2823094E-2</c:v>
                </c:pt>
                <c:pt idx="3283">
                  <c:v>1.2734763E-2</c:v>
                </c:pt>
                <c:pt idx="3284">
                  <c:v>1.2666518E-2</c:v>
                </c:pt>
                <c:pt idx="3285">
                  <c:v>1.2585771000000001E-2</c:v>
                </c:pt>
                <c:pt idx="3286">
                  <c:v>1.2562824E-2</c:v>
                </c:pt>
                <c:pt idx="3287">
                  <c:v>1.2527958E-2</c:v>
                </c:pt>
                <c:pt idx="3288">
                  <c:v>1.2423983E-2</c:v>
                </c:pt>
                <c:pt idx="3289">
                  <c:v>1.2318746E-2</c:v>
                </c:pt>
                <c:pt idx="3290">
                  <c:v>1.2166142E-2</c:v>
                </c:pt>
                <c:pt idx="3291">
                  <c:v>1.2054674E-2</c:v>
                </c:pt>
                <c:pt idx="3292">
                  <c:v>1.1950295E-2</c:v>
                </c:pt>
                <c:pt idx="3293">
                  <c:v>1.1891548E-2</c:v>
                </c:pt>
                <c:pt idx="3294">
                  <c:v>1.183499E-2</c:v>
                </c:pt>
                <c:pt idx="3295">
                  <c:v>1.1713337000000001E-2</c:v>
                </c:pt>
                <c:pt idx="3296">
                  <c:v>1.1610725000000001E-2</c:v>
                </c:pt>
                <c:pt idx="3297">
                  <c:v>1.1501017000000001E-2</c:v>
                </c:pt>
                <c:pt idx="3298">
                  <c:v>1.1393175E-2</c:v>
                </c:pt>
                <c:pt idx="3299">
                  <c:v>1.1326971999999999E-2</c:v>
                </c:pt>
                <c:pt idx="3300">
                  <c:v>1.1272836E-2</c:v>
                </c:pt>
                <c:pt idx="3301">
                  <c:v>1.1185578E-2</c:v>
                </c:pt>
                <c:pt idx="3302">
                  <c:v>1.1120005000000001E-2</c:v>
                </c:pt>
                <c:pt idx="3303">
                  <c:v>1.1036643E-2</c:v>
                </c:pt>
                <c:pt idx="3304">
                  <c:v>1.0911534000000001E-2</c:v>
                </c:pt>
                <c:pt idx="3305">
                  <c:v>1.0783968999999999E-2</c:v>
                </c:pt>
                <c:pt idx="3306">
                  <c:v>1.0713988000000001E-2</c:v>
                </c:pt>
                <c:pt idx="3307">
                  <c:v>1.0576222999999999E-2</c:v>
                </c:pt>
                <c:pt idx="3308">
                  <c:v>1.0533798E-2</c:v>
                </c:pt>
                <c:pt idx="3309">
                  <c:v>1.0476152000000001E-2</c:v>
                </c:pt>
                <c:pt idx="3310">
                  <c:v>1.0470444000000001E-2</c:v>
                </c:pt>
                <c:pt idx="3311">
                  <c:v>1.0440408E-2</c:v>
                </c:pt>
                <c:pt idx="3312">
                  <c:v>1.041045E-2</c:v>
                </c:pt>
                <c:pt idx="3313">
                  <c:v>1.0342578E-2</c:v>
                </c:pt>
                <c:pt idx="3314">
                  <c:v>1.0291405999999999E-2</c:v>
                </c:pt>
                <c:pt idx="3315">
                  <c:v>1.0235516E-2</c:v>
                </c:pt>
                <c:pt idx="3316">
                  <c:v>1.018634E-2</c:v>
                </c:pt>
                <c:pt idx="3317">
                  <c:v>1.0152849E-2</c:v>
                </c:pt>
                <c:pt idx="3318">
                  <c:v>1.0153964E-2</c:v>
                </c:pt>
                <c:pt idx="3319">
                  <c:v>1.0085464000000001E-2</c:v>
                </c:pt>
                <c:pt idx="3320">
                  <c:v>1.0041687000000001E-2</c:v>
                </c:pt>
                <c:pt idx="3321">
                  <c:v>1.0015445E-2</c:v>
                </c:pt>
                <c:pt idx="3322">
                  <c:v>9.9787539999999994E-3</c:v>
                </c:pt>
                <c:pt idx="3323">
                  <c:v>9.9018100000000005E-3</c:v>
                </c:pt>
                <c:pt idx="3324">
                  <c:v>9.8551119999999992E-3</c:v>
                </c:pt>
                <c:pt idx="3325">
                  <c:v>9.8189980000000007E-3</c:v>
                </c:pt>
                <c:pt idx="3326">
                  <c:v>9.7933610000000004E-3</c:v>
                </c:pt>
                <c:pt idx="3327">
                  <c:v>9.7729140000000006E-3</c:v>
                </c:pt>
                <c:pt idx="3328">
                  <c:v>9.7524389999999999E-3</c:v>
                </c:pt>
                <c:pt idx="3329">
                  <c:v>9.7263100000000002E-3</c:v>
                </c:pt>
                <c:pt idx="3330">
                  <c:v>9.6830660000000006E-3</c:v>
                </c:pt>
                <c:pt idx="3331">
                  <c:v>9.6601289999999999E-3</c:v>
                </c:pt>
                <c:pt idx="3332">
                  <c:v>9.5442819999999994E-3</c:v>
                </c:pt>
                <c:pt idx="3333">
                  <c:v>9.4757880000000006E-3</c:v>
                </c:pt>
                <c:pt idx="3334">
                  <c:v>9.4248209999999999E-3</c:v>
                </c:pt>
                <c:pt idx="3335">
                  <c:v>9.4051250000000003E-3</c:v>
                </c:pt>
                <c:pt idx="3336">
                  <c:v>9.3507669999999994E-3</c:v>
                </c:pt>
                <c:pt idx="3337">
                  <c:v>9.3587930000000007E-3</c:v>
                </c:pt>
                <c:pt idx="3338">
                  <c:v>9.3138749999999992E-3</c:v>
                </c:pt>
                <c:pt idx="3339">
                  <c:v>9.3052989999999995E-3</c:v>
                </c:pt>
                <c:pt idx="3340">
                  <c:v>9.280422E-3</c:v>
                </c:pt>
                <c:pt idx="3341">
                  <c:v>9.2761079999999999E-3</c:v>
                </c:pt>
                <c:pt idx="3342">
                  <c:v>9.2636300000000001E-3</c:v>
                </c:pt>
                <c:pt idx="3343">
                  <c:v>9.219718E-3</c:v>
                </c:pt>
                <c:pt idx="3344">
                  <c:v>9.2035280000000007E-3</c:v>
                </c:pt>
                <c:pt idx="3345">
                  <c:v>9.2433440000000006E-3</c:v>
                </c:pt>
                <c:pt idx="3346">
                  <c:v>9.2312950000000005E-3</c:v>
                </c:pt>
                <c:pt idx="3347">
                  <c:v>9.2061720000000003E-3</c:v>
                </c:pt>
                <c:pt idx="3348">
                  <c:v>9.1587920000000007E-3</c:v>
                </c:pt>
                <c:pt idx="3349">
                  <c:v>9.1291770000000005E-3</c:v>
                </c:pt>
                <c:pt idx="3350">
                  <c:v>9.1002649999999997E-3</c:v>
                </c:pt>
                <c:pt idx="3351">
                  <c:v>9.1018409999999994E-3</c:v>
                </c:pt>
                <c:pt idx="3352">
                  <c:v>9.1149060000000007E-3</c:v>
                </c:pt>
                <c:pt idx="3353">
                  <c:v>9.1430190000000005E-3</c:v>
                </c:pt>
                <c:pt idx="3354">
                  <c:v>9.1568359999999998E-3</c:v>
                </c:pt>
                <c:pt idx="3355">
                  <c:v>9.1596400000000001E-3</c:v>
                </c:pt>
                <c:pt idx="3356">
                  <c:v>9.1609389999999999E-3</c:v>
                </c:pt>
                <c:pt idx="3357">
                  <c:v>9.1479760000000004E-3</c:v>
                </c:pt>
                <c:pt idx="3358">
                  <c:v>9.1766899999999995E-3</c:v>
                </c:pt>
                <c:pt idx="3359">
                  <c:v>9.1888490000000007E-3</c:v>
                </c:pt>
                <c:pt idx="3360">
                  <c:v>9.2075999999999998E-3</c:v>
                </c:pt>
                <c:pt idx="3361">
                  <c:v>9.2800160000000003E-3</c:v>
                </c:pt>
                <c:pt idx="3362">
                  <c:v>9.3054599999999998E-3</c:v>
                </c:pt>
                <c:pt idx="3363">
                  <c:v>9.3096069999999993E-3</c:v>
                </c:pt>
                <c:pt idx="3364">
                  <c:v>9.3101309999999993E-3</c:v>
                </c:pt>
                <c:pt idx="3365">
                  <c:v>9.3038670000000004E-3</c:v>
                </c:pt>
                <c:pt idx="3366">
                  <c:v>9.3093410000000005E-3</c:v>
                </c:pt>
                <c:pt idx="3367">
                  <c:v>9.3309310000000006E-3</c:v>
                </c:pt>
                <c:pt idx="3368">
                  <c:v>9.3635809999999993E-3</c:v>
                </c:pt>
                <c:pt idx="3369">
                  <c:v>9.3683829999999992E-3</c:v>
                </c:pt>
                <c:pt idx="3370">
                  <c:v>9.3788259999999998E-3</c:v>
                </c:pt>
                <c:pt idx="3371">
                  <c:v>9.3992820000000001E-3</c:v>
                </c:pt>
                <c:pt idx="3372">
                  <c:v>9.4252490000000001E-3</c:v>
                </c:pt>
                <c:pt idx="3373">
                  <c:v>9.444338E-3</c:v>
                </c:pt>
                <c:pt idx="3374">
                  <c:v>9.4479330000000004E-3</c:v>
                </c:pt>
                <c:pt idx="3375">
                  <c:v>9.4259619999999995E-3</c:v>
                </c:pt>
                <c:pt idx="3376">
                  <c:v>9.4205130000000002E-3</c:v>
                </c:pt>
                <c:pt idx="3377">
                  <c:v>9.3833749999999994E-3</c:v>
                </c:pt>
                <c:pt idx="3378">
                  <c:v>9.3617070000000004E-3</c:v>
                </c:pt>
                <c:pt idx="3379">
                  <c:v>9.3508029999999995E-3</c:v>
                </c:pt>
                <c:pt idx="3380">
                  <c:v>9.3413139999999999E-3</c:v>
                </c:pt>
                <c:pt idx="3381">
                  <c:v>9.3277199999999994E-3</c:v>
                </c:pt>
                <c:pt idx="3382">
                  <c:v>9.3593900000000004E-3</c:v>
                </c:pt>
                <c:pt idx="3383">
                  <c:v>9.3510599999999996E-3</c:v>
                </c:pt>
                <c:pt idx="3384">
                  <c:v>9.3516539999999992E-3</c:v>
                </c:pt>
                <c:pt idx="3385">
                  <c:v>9.3475799999999994E-3</c:v>
                </c:pt>
                <c:pt idx="3386">
                  <c:v>9.3230029999999998E-3</c:v>
                </c:pt>
                <c:pt idx="3387">
                  <c:v>9.3115190000000007E-3</c:v>
                </c:pt>
                <c:pt idx="3388">
                  <c:v>9.2738119999999993E-3</c:v>
                </c:pt>
                <c:pt idx="3389">
                  <c:v>9.1652810000000008E-3</c:v>
                </c:pt>
                <c:pt idx="3390">
                  <c:v>9.158523E-3</c:v>
                </c:pt>
                <c:pt idx="3391">
                  <c:v>9.1403230000000005E-3</c:v>
                </c:pt>
                <c:pt idx="3392">
                  <c:v>9.1250919999999996E-3</c:v>
                </c:pt>
                <c:pt idx="3393">
                  <c:v>9.0984310000000006E-3</c:v>
                </c:pt>
                <c:pt idx="3394">
                  <c:v>9.0619710000000003E-3</c:v>
                </c:pt>
                <c:pt idx="3395">
                  <c:v>9.0389170000000005E-3</c:v>
                </c:pt>
                <c:pt idx="3396">
                  <c:v>9.0317279999999993E-3</c:v>
                </c:pt>
                <c:pt idx="3397">
                  <c:v>9.0048070000000001E-3</c:v>
                </c:pt>
                <c:pt idx="3398">
                  <c:v>8.9885209999999993E-3</c:v>
                </c:pt>
                <c:pt idx="3399">
                  <c:v>8.9431200000000006E-3</c:v>
                </c:pt>
                <c:pt idx="3400">
                  <c:v>8.9381289999999995E-3</c:v>
                </c:pt>
                <c:pt idx="3401">
                  <c:v>8.9207350000000008E-3</c:v>
                </c:pt>
                <c:pt idx="3402">
                  <c:v>8.895643E-3</c:v>
                </c:pt>
                <c:pt idx="3403">
                  <c:v>8.8802199999999994E-3</c:v>
                </c:pt>
                <c:pt idx="3404">
                  <c:v>8.8976000000000003E-3</c:v>
                </c:pt>
                <c:pt idx="3405">
                  <c:v>8.9087490000000005E-3</c:v>
                </c:pt>
                <c:pt idx="3406">
                  <c:v>8.8826540000000002E-3</c:v>
                </c:pt>
                <c:pt idx="3407">
                  <c:v>8.9001029999999995E-3</c:v>
                </c:pt>
                <c:pt idx="3408">
                  <c:v>8.9009410000000008E-3</c:v>
                </c:pt>
                <c:pt idx="3409">
                  <c:v>8.8988599999999998E-3</c:v>
                </c:pt>
                <c:pt idx="3410">
                  <c:v>8.8887080000000004E-3</c:v>
                </c:pt>
                <c:pt idx="3411">
                  <c:v>8.8962220000000005E-3</c:v>
                </c:pt>
                <c:pt idx="3412">
                  <c:v>8.8583029999999997E-3</c:v>
                </c:pt>
                <c:pt idx="3413">
                  <c:v>8.8083339999999993E-3</c:v>
                </c:pt>
                <c:pt idx="3414">
                  <c:v>8.7408429999999999E-3</c:v>
                </c:pt>
                <c:pt idx="3415">
                  <c:v>8.7252409999999999E-3</c:v>
                </c:pt>
                <c:pt idx="3416">
                  <c:v>8.7000329999999994E-3</c:v>
                </c:pt>
                <c:pt idx="3417">
                  <c:v>8.6841880000000007E-3</c:v>
                </c:pt>
                <c:pt idx="3418">
                  <c:v>8.6731710000000004E-3</c:v>
                </c:pt>
                <c:pt idx="3419">
                  <c:v>8.6831330000000009E-3</c:v>
                </c:pt>
                <c:pt idx="3420">
                  <c:v>8.671827E-3</c:v>
                </c:pt>
                <c:pt idx="3421">
                  <c:v>8.6476650000000006E-3</c:v>
                </c:pt>
                <c:pt idx="3422">
                  <c:v>8.635986E-3</c:v>
                </c:pt>
                <c:pt idx="3423">
                  <c:v>8.6380610000000007E-3</c:v>
                </c:pt>
                <c:pt idx="3424">
                  <c:v>8.621185E-3</c:v>
                </c:pt>
                <c:pt idx="3425">
                  <c:v>8.6335219999999994E-3</c:v>
                </c:pt>
                <c:pt idx="3426">
                  <c:v>8.6519260000000008E-3</c:v>
                </c:pt>
                <c:pt idx="3427">
                  <c:v>8.7262610000000008E-3</c:v>
                </c:pt>
                <c:pt idx="3428">
                  <c:v>8.7877839999999999E-3</c:v>
                </c:pt>
                <c:pt idx="3429">
                  <c:v>8.8549800000000001E-3</c:v>
                </c:pt>
                <c:pt idx="3430">
                  <c:v>8.9505139999999997E-3</c:v>
                </c:pt>
                <c:pt idx="3431">
                  <c:v>9.0347120000000003E-3</c:v>
                </c:pt>
                <c:pt idx="3432">
                  <c:v>9.0968400000000001E-3</c:v>
                </c:pt>
                <c:pt idx="3433">
                  <c:v>9.179563E-3</c:v>
                </c:pt>
                <c:pt idx="3434">
                  <c:v>9.2661970000000003E-3</c:v>
                </c:pt>
                <c:pt idx="3435">
                  <c:v>9.5065270000000007E-3</c:v>
                </c:pt>
                <c:pt idx="3436">
                  <c:v>9.7506020000000006E-3</c:v>
                </c:pt>
                <c:pt idx="3437">
                  <c:v>9.9367420000000001E-3</c:v>
                </c:pt>
                <c:pt idx="3438">
                  <c:v>1.0006342999999999E-2</c:v>
                </c:pt>
                <c:pt idx="3439">
                  <c:v>1.0112545000000001E-2</c:v>
                </c:pt>
                <c:pt idx="3440">
                  <c:v>1.0323284E-2</c:v>
                </c:pt>
                <c:pt idx="3441">
                  <c:v>1.0456254E-2</c:v>
                </c:pt>
                <c:pt idx="3442">
                  <c:v>1.0644377E-2</c:v>
                </c:pt>
                <c:pt idx="3443">
                  <c:v>1.0838537000000001E-2</c:v>
                </c:pt>
                <c:pt idx="3444">
                  <c:v>1.1031134999999999E-2</c:v>
                </c:pt>
                <c:pt idx="3445">
                  <c:v>1.1165664E-2</c:v>
                </c:pt>
                <c:pt idx="3446">
                  <c:v>1.1323598000000001E-2</c:v>
                </c:pt>
                <c:pt idx="3447">
                  <c:v>1.1450503000000001E-2</c:v>
                </c:pt>
                <c:pt idx="3448">
                  <c:v>1.1548635E-2</c:v>
                </c:pt>
                <c:pt idx="3449">
                  <c:v>1.1641739E-2</c:v>
                </c:pt>
                <c:pt idx="3450">
                  <c:v>1.1776482E-2</c:v>
                </c:pt>
                <c:pt idx="3451">
                  <c:v>1.1860648999999999E-2</c:v>
                </c:pt>
                <c:pt idx="3452">
                  <c:v>1.1950409E-2</c:v>
                </c:pt>
                <c:pt idx="3453">
                  <c:v>1.2059352000000001E-2</c:v>
                </c:pt>
                <c:pt idx="3454">
                  <c:v>1.2134137E-2</c:v>
                </c:pt>
                <c:pt idx="3455">
                  <c:v>1.2218131E-2</c:v>
                </c:pt>
                <c:pt idx="3456">
                  <c:v>1.2302532999999999E-2</c:v>
                </c:pt>
                <c:pt idx="3457">
                  <c:v>1.2316596000000001E-2</c:v>
                </c:pt>
                <c:pt idx="3458">
                  <c:v>1.2362568000000001E-2</c:v>
                </c:pt>
                <c:pt idx="3459">
                  <c:v>1.2462343000000001E-2</c:v>
                </c:pt>
                <c:pt idx="3460">
                  <c:v>1.2625793E-2</c:v>
                </c:pt>
                <c:pt idx="3461">
                  <c:v>1.2731513E-2</c:v>
                </c:pt>
                <c:pt idx="3462">
                  <c:v>1.2824411000000001E-2</c:v>
                </c:pt>
                <c:pt idx="3463">
                  <c:v>1.2970303000000001E-2</c:v>
                </c:pt>
                <c:pt idx="3464">
                  <c:v>1.3127437E-2</c:v>
                </c:pt>
                <c:pt idx="3465">
                  <c:v>1.3166216999999999E-2</c:v>
                </c:pt>
                <c:pt idx="3466">
                  <c:v>1.3234427E-2</c:v>
                </c:pt>
                <c:pt idx="3467">
                  <c:v>1.3311563E-2</c:v>
                </c:pt>
                <c:pt idx="3468">
                  <c:v>1.3358979E-2</c:v>
                </c:pt>
                <c:pt idx="3469">
                  <c:v>1.344072E-2</c:v>
                </c:pt>
                <c:pt idx="3470">
                  <c:v>1.3543111E-2</c:v>
                </c:pt>
                <c:pt idx="3471">
                  <c:v>1.3600469E-2</c:v>
                </c:pt>
                <c:pt idx="3472">
                  <c:v>1.3588711E-2</c:v>
                </c:pt>
                <c:pt idx="3473">
                  <c:v>1.3596482E-2</c:v>
                </c:pt>
                <c:pt idx="3474">
                  <c:v>1.3646732E-2</c:v>
                </c:pt>
                <c:pt idx="3475">
                  <c:v>1.3680364E-2</c:v>
                </c:pt>
                <c:pt idx="3476">
                  <c:v>1.3719913E-2</c:v>
                </c:pt>
                <c:pt idx="3477">
                  <c:v>1.3773763E-2</c:v>
                </c:pt>
                <c:pt idx="3478">
                  <c:v>1.3795689999999999E-2</c:v>
                </c:pt>
                <c:pt idx="3479">
                  <c:v>1.3828422999999999E-2</c:v>
                </c:pt>
                <c:pt idx="3480">
                  <c:v>1.3813172E-2</c:v>
                </c:pt>
                <c:pt idx="3481">
                  <c:v>1.3845273999999999E-2</c:v>
                </c:pt>
                <c:pt idx="3482">
                  <c:v>1.3867015999999999E-2</c:v>
                </c:pt>
                <c:pt idx="3483">
                  <c:v>1.3890066E-2</c:v>
                </c:pt>
                <c:pt idx="3484">
                  <c:v>1.3897613E-2</c:v>
                </c:pt>
                <c:pt idx="3485">
                  <c:v>1.3954121999999999E-2</c:v>
                </c:pt>
                <c:pt idx="3486">
                  <c:v>1.3964838E-2</c:v>
                </c:pt>
                <c:pt idx="3487">
                  <c:v>1.3972514E-2</c:v>
                </c:pt>
                <c:pt idx="3488">
                  <c:v>1.3962156999999999E-2</c:v>
                </c:pt>
                <c:pt idx="3489">
                  <c:v>1.3966220999999999E-2</c:v>
                </c:pt>
                <c:pt idx="3490">
                  <c:v>1.399194E-2</c:v>
                </c:pt>
                <c:pt idx="3491">
                  <c:v>1.3987322E-2</c:v>
                </c:pt>
                <c:pt idx="3492">
                  <c:v>1.3996952999999999E-2</c:v>
                </c:pt>
                <c:pt idx="3493">
                  <c:v>1.3996804999999999E-2</c:v>
                </c:pt>
                <c:pt idx="3494">
                  <c:v>1.4014983999999999E-2</c:v>
                </c:pt>
                <c:pt idx="3495">
                  <c:v>1.4033853000000001E-2</c:v>
                </c:pt>
                <c:pt idx="3496">
                  <c:v>1.4055388E-2</c:v>
                </c:pt>
                <c:pt idx="3497">
                  <c:v>1.4108516E-2</c:v>
                </c:pt>
                <c:pt idx="3498">
                  <c:v>1.4144041E-2</c:v>
                </c:pt>
                <c:pt idx="3499">
                  <c:v>1.4164764999999999E-2</c:v>
                </c:pt>
                <c:pt idx="3500">
                  <c:v>1.4177568999999999E-2</c:v>
                </c:pt>
                <c:pt idx="3501">
                  <c:v>1.4205117E-2</c:v>
                </c:pt>
                <c:pt idx="3502">
                  <c:v>1.4172870000000001E-2</c:v>
                </c:pt>
                <c:pt idx="3503">
                  <c:v>1.4180488999999999E-2</c:v>
                </c:pt>
                <c:pt idx="3504">
                  <c:v>1.4187679999999999E-2</c:v>
                </c:pt>
                <c:pt idx="3505">
                  <c:v>1.4198792999999999E-2</c:v>
                </c:pt>
                <c:pt idx="3506">
                  <c:v>1.4278592999999999E-2</c:v>
                </c:pt>
                <c:pt idx="3507">
                  <c:v>1.4326712E-2</c:v>
                </c:pt>
                <c:pt idx="3508">
                  <c:v>1.4365848000000001E-2</c:v>
                </c:pt>
                <c:pt idx="3509">
                  <c:v>1.440843E-2</c:v>
                </c:pt>
                <c:pt idx="3510">
                  <c:v>1.4395275000000001E-2</c:v>
                </c:pt>
                <c:pt idx="3511">
                  <c:v>1.4387351E-2</c:v>
                </c:pt>
                <c:pt idx="3512">
                  <c:v>1.4441163999999999E-2</c:v>
                </c:pt>
                <c:pt idx="3513">
                  <c:v>1.4532651000000001E-2</c:v>
                </c:pt>
                <c:pt idx="3514">
                  <c:v>1.4617382E-2</c:v>
                </c:pt>
                <c:pt idx="3515">
                  <c:v>1.4641758E-2</c:v>
                </c:pt>
                <c:pt idx="3516">
                  <c:v>1.4679380000000001E-2</c:v>
                </c:pt>
                <c:pt idx="3517">
                  <c:v>1.4698967E-2</c:v>
                </c:pt>
                <c:pt idx="3518">
                  <c:v>1.4722947E-2</c:v>
                </c:pt>
                <c:pt idx="3519">
                  <c:v>1.4748628999999999E-2</c:v>
                </c:pt>
                <c:pt idx="3520">
                  <c:v>1.4819985000000001E-2</c:v>
                </c:pt>
                <c:pt idx="3521">
                  <c:v>1.4873677E-2</c:v>
                </c:pt>
                <c:pt idx="3522">
                  <c:v>1.4912271E-2</c:v>
                </c:pt>
                <c:pt idx="3523">
                  <c:v>1.4939322999999999E-2</c:v>
                </c:pt>
                <c:pt idx="3524">
                  <c:v>1.4921047E-2</c:v>
                </c:pt>
                <c:pt idx="3525">
                  <c:v>1.4932559E-2</c:v>
                </c:pt>
                <c:pt idx="3526">
                  <c:v>1.4928301999999999E-2</c:v>
                </c:pt>
                <c:pt idx="3527">
                  <c:v>1.4899912E-2</c:v>
                </c:pt>
                <c:pt idx="3528">
                  <c:v>1.4897416E-2</c:v>
                </c:pt>
                <c:pt idx="3529">
                  <c:v>1.4908312999999999E-2</c:v>
                </c:pt>
                <c:pt idx="3530">
                  <c:v>1.4943240999999999E-2</c:v>
                </c:pt>
                <c:pt idx="3531">
                  <c:v>1.4944225E-2</c:v>
                </c:pt>
                <c:pt idx="3532">
                  <c:v>1.4972605E-2</c:v>
                </c:pt>
                <c:pt idx="3533">
                  <c:v>1.4993444E-2</c:v>
                </c:pt>
                <c:pt idx="3534">
                  <c:v>1.4995179000000001E-2</c:v>
                </c:pt>
                <c:pt idx="3535">
                  <c:v>1.5016475E-2</c:v>
                </c:pt>
                <c:pt idx="3536">
                  <c:v>1.5032026E-2</c:v>
                </c:pt>
                <c:pt idx="3537">
                  <c:v>1.5072471E-2</c:v>
                </c:pt>
                <c:pt idx="3538">
                  <c:v>1.5103872000000001E-2</c:v>
                </c:pt>
                <c:pt idx="3539">
                  <c:v>1.5112428000000001E-2</c:v>
                </c:pt>
                <c:pt idx="3540">
                  <c:v>1.5122477E-2</c:v>
                </c:pt>
                <c:pt idx="3541">
                  <c:v>1.514305E-2</c:v>
                </c:pt>
                <c:pt idx="3542">
                  <c:v>1.5166271E-2</c:v>
                </c:pt>
                <c:pt idx="3543">
                  <c:v>1.517019E-2</c:v>
                </c:pt>
                <c:pt idx="3544">
                  <c:v>1.5207470000000001E-2</c:v>
                </c:pt>
                <c:pt idx="3545">
                  <c:v>1.5222464E-2</c:v>
                </c:pt>
                <c:pt idx="3546">
                  <c:v>1.5240329E-2</c:v>
                </c:pt>
                <c:pt idx="3547">
                  <c:v>1.5186097000000001E-2</c:v>
                </c:pt>
                <c:pt idx="3548">
                  <c:v>1.5138927999999999E-2</c:v>
                </c:pt>
                <c:pt idx="3549">
                  <c:v>1.5099090000000001E-2</c:v>
                </c:pt>
                <c:pt idx="3550">
                  <c:v>1.5019787999999999E-2</c:v>
                </c:pt>
                <c:pt idx="3551">
                  <c:v>1.4937051E-2</c:v>
                </c:pt>
                <c:pt idx="3552">
                  <c:v>1.4898743000000001E-2</c:v>
                </c:pt>
                <c:pt idx="3553">
                  <c:v>1.483485E-2</c:v>
                </c:pt>
                <c:pt idx="3554">
                  <c:v>1.4763844999999999E-2</c:v>
                </c:pt>
                <c:pt idx="3555">
                  <c:v>1.4607803000000001E-2</c:v>
                </c:pt>
                <c:pt idx="3556">
                  <c:v>1.440496E-2</c:v>
                </c:pt>
                <c:pt idx="3557">
                  <c:v>1.4238079000000001E-2</c:v>
                </c:pt>
                <c:pt idx="3558">
                  <c:v>1.4162733E-2</c:v>
                </c:pt>
                <c:pt idx="3559">
                  <c:v>1.4071204E-2</c:v>
                </c:pt>
                <c:pt idx="3560">
                  <c:v>1.3888797E-2</c:v>
                </c:pt>
                <c:pt idx="3561">
                  <c:v>1.3810573E-2</c:v>
                </c:pt>
                <c:pt idx="3562">
                  <c:v>1.3638663000000001E-2</c:v>
                </c:pt>
                <c:pt idx="3563">
                  <c:v>1.3470111999999999E-2</c:v>
                </c:pt>
                <c:pt idx="3564">
                  <c:v>1.3323686E-2</c:v>
                </c:pt>
                <c:pt idx="3565">
                  <c:v>1.3241292999999999E-2</c:v>
                </c:pt>
                <c:pt idx="3566">
                  <c:v>1.3125843E-2</c:v>
                </c:pt>
                <c:pt idx="3567">
                  <c:v>1.3058485999999999E-2</c:v>
                </c:pt>
                <c:pt idx="3568">
                  <c:v>1.3068593E-2</c:v>
                </c:pt>
                <c:pt idx="3569">
                  <c:v>1.303824E-2</c:v>
                </c:pt>
                <c:pt idx="3570">
                  <c:v>1.2988489000000001E-2</c:v>
                </c:pt>
                <c:pt idx="3571">
                  <c:v>1.29602E-2</c:v>
                </c:pt>
                <c:pt idx="3572">
                  <c:v>1.2938954000000001E-2</c:v>
                </c:pt>
                <c:pt idx="3573">
                  <c:v>1.2882151E-2</c:v>
                </c:pt>
                <c:pt idx="3574">
                  <c:v>1.2842364E-2</c:v>
                </c:pt>
                <c:pt idx="3575">
                  <c:v>1.2779830000000001E-2</c:v>
                </c:pt>
                <c:pt idx="3576">
                  <c:v>1.2713465E-2</c:v>
                </c:pt>
                <c:pt idx="3577">
                  <c:v>1.2674115E-2</c:v>
                </c:pt>
                <c:pt idx="3578">
                  <c:v>1.2658442000000001E-2</c:v>
                </c:pt>
                <c:pt idx="3579">
                  <c:v>1.2558333E-2</c:v>
                </c:pt>
                <c:pt idx="3580">
                  <c:v>1.2417133E-2</c:v>
                </c:pt>
                <c:pt idx="3581">
                  <c:v>1.2317925E-2</c:v>
                </c:pt>
                <c:pt idx="3582">
                  <c:v>1.223043E-2</c:v>
                </c:pt>
                <c:pt idx="3583">
                  <c:v>1.2091551000000001E-2</c:v>
                </c:pt>
                <c:pt idx="3584">
                  <c:v>1.1932335000000001E-2</c:v>
                </c:pt>
                <c:pt idx="3585">
                  <c:v>1.185313E-2</c:v>
                </c:pt>
                <c:pt idx="3586">
                  <c:v>1.1766146999999999E-2</c:v>
                </c:pt>
                <c:pt idx="3587">
                  <c:v>1.1696771E-2</c:v>
                </c:pt>
                <c:pt idx="3588">
                  <c:v>1.167138E-2</c:v>
                </c:pt>
                <c:pt idx="3589">
                  <c:v>1.1627968000000001E-2</c:v>
                </c:pt>
                <c:pt idx="3590">
                  <c:v>1.1533989999999999E-2</c:v>
                </c:pt>
                <c:pt idx="3591">
                  <c:v>1.1458559E-2</c:v>
                </c:pt>
                <c:pt idx="3592">
                  <c:v>1.1400475E-2</c:v>
                </c:pt>
                <c:pt idx="3593">
                  <c:v>1.1359476E-2</c:v>
                </c:pt>
                <c:pt idx="3594">
                  <c:v>1.1277730999999999E-2</c:v>
                </c:pt>
                <c:pt idx="3595">
                  <c:v>1.1213472E-2</c:v>
                </c:pt>
                <c:pt idx="3596">
                  <c:v>1.1155478E-2</c:v>
                </c:pt>
                <c:pt idx="3597">
                  <c:v>1.1086808E-2</c:v>
                </c:pt>
                <c:pt idx="3598">
                  <c:v>1.1037676E-2</c:v>
                </c:pt>
                <c:pt idx="3599">
                  <c:v>1.0994573000000001E-2</c:v>
                </c:pt>
                <c:pt idx="3600">
                  <c:v>1.0971565000000001E-2</c:v>
                </c:pt>
                <c:pt idx="3601">
                  <c:v>1.0874083E-2</c:v>
                </c:pt>
                <c:pt idx="3602">
                  <c:v>1.0838558999999999E-2</c:v>
                </c:pt>
                <c:pt idx="3603">
                  <c:v>1.0822481E-2</c:v>
                </c:pt>
                <c:pt idx="3604">
                  <c:v>1.0819848E-2</c:v>
                </c:pt>
                <c:pt idx="3605">
                  <c:v>1.0792672E-2</c:v>
                </c:pt>
                <c:pt idx="3606">
                  <c:v>1.0792413000000001E-2</c:v>
                </c:pt>
                <c:pt idx="3607">
                  <c:v>1.0781239999999999E-2</c:v>
                </c:pt>
                <c:pt idx="3608">
                  <c:v>1.0773253E-2</c:v>
                </c:pt>
                <c:pt idx="3609">
                  <c:v>1.0760784000000001E-2</c:v>
                </c:pt>
                <c:pt idx="3610">
                  <c:v>1.0721573E-2</c:v>
                </c:pt>
                <c:pt idx="3611">
                  <c:v>1.0691152000000001E-2</c:v>
                </c:pt>
                <c:pt idx="3612">
                  <c:v>1.0665028999999999E-2</c:v>
                </c:pt>
                <c:pt idx="3613">
                  <c:v>1.0649718000000001E-2</c:v>
                </c:pt>
                <c:pt idx="3614">
                  <c:v>1.06269E-2</c:v>
                </c:pt>
                <c:pt idx="3615">
                  <c:v>1.0624441E-2</c:v>
                </c:pt>
                <c:pt idx="3616">
                  <c:v>1.05944E-2</c:v>
                </c:pt>
                <c:pt idx="3617">
                  <c:v>1.0549489E-2</c:v>
                </c:pt>
                <c:pt idx="3618">
                  <c:v>1.0547351E-2</c:v>
                </c:pt>
                <c:pt idx="3619">
                  <c:v>1.0554803E-2</c:v>
                </c:pt>
                <c:pt idx="3620">
                  <c:v>1.0580759E-2</c:v>
                </c:pt>
                <c:pt idx="3621">
                  <c:v>1.0562591E-2</c:v>
                </c:pt>
                <c:pt idx="3622">
                  <c:v>1.0545163E-2</c:v>
                </c:pt>
                <c:pt idx="3623">
                  <c:v>1.0534744E-2</c:v>
                </c:pt>
                <c:pt idx="3624">
                  <c:v>1.0530902E-2</c:v>
                </c:pt>
                <c:pt idx="3625">
                  <c:v>1.0516096000000001E-2</c:v>
                </c:pt>
                <c:pt idx="3626">
                  <c:v>1.0463284E-2</c:v>
                </c:pt>
                <c:pt idx="3627">
                  <c:v>1.0439369E-2</c:v>
                </c:pt>
                <c:pt idx="3628">
                  <c:v>1.0427505E-2</c:v>
                </c:pt>
                <c:pt idx="3629">
                  <c:v>1.0426272E-2</c:v>
                </c:pt>
                <c:pt idx="3630">
                  <c:v>1.0453773E-2</c:v>
                </c:pt>
                <c:pt idx="3631">
                  <c:v>1.0482915000000001E-2</c:v>
                </c:pt>
                <c:pt idx="3632">
                  <c:v>1.0445187E-2</c:v>
                </c:pt>
                <c:pt idx="3633">
                  <c:v>1.0423471E-2</c:v>
                </c:pt>
                <c:pt idx="3634">
                  <c:v>1.041774E-2</c:v>
                </c:pt>
                <c:pt idx="3635">
                  <c:v>1.0505561E-2</c:v>
                </c:pt>
                <c:pt idx="3636">
                  <c:v>1.0526148000000001E-2</c:v>
                </c:pt>
                <c:pt idx="3637">
                  <c:v>1.0558555000000001E-2</c:v>
                </c:pt>
                <c:pt idx="3638">
                  <c:v>1.0570639999999999E-2</c:v>
                </c:pt>
                <c:pt idx="3639">
                  <c:v>1.0604202E-2</c:v>
                </c:pt>
                <c:pt idx="3640">
                  <c:v>1.0545496E-2</c:v>
                </c:pt>
                <c:pt idx="3641">
                  <c:v>1.0515619E-2</c:v>
                </c:pt>
                <c:pt idx="3642">
                  <c:v>1.0509907000000001E-2</c:v>
                </c:pt>
                <c:pt idx="3643">
                  <c:v>1.0548721E-2</c:v>
                </c:pt>
                <c:pt idx="3644">
                  <c:v>1.0614662E-2</c:v>
                </c:pt>
                <c:pt idx="3645">
                  <c:v>1.0621251999999999E-2</c:v>
                </c:pt>
                <c:pt idx="3646">
                  <c:v>1.0705610000000001E-2</c:v>
                </c:pt>
                <c:pt idx="3647">
                  <c:v>1.0760036000000001E-2</c:v>
                </c:pt>
                <c:pt idx="3648">
                  <c:v>1.0837398E-2</c:v>
                </c:pt>
                <c:pt idx="3649">
                  <c:v>1.0879003999999999E-2</c:v>
                </c:pt>
                <c:pt idx="3650">
                  <c:v>1.0926605000000001E-2</c:v>
                </c:pt>
                <c:pt idx="3651">
                  <c:v>1.096513E-2</c:v>
                </c:pt>
                <c:pt idx="3652">
                  <c:v>1.0968609000000001E-2</c:v>
                </c:pt>
                <c:pt idx="3653">
                  <c:v>1.0985089999999999E-2</c:v>
                </c:pt>
                <c:pt idx="3654">
                  <c:v>1.100917E-2</c:v>
                </c:pt>
                <c:pt idx="3655">
                  <c:v>1.0998689000000001E-2</c:v>
                </c:pt>
                <c:pt idx="3656">
                  <c:v>1.1024964999999999E-2</c:v>
                </c:pt>
                <c:pt idx="3657">
                  <c:v>1.1026302E-2</c:v>
                </c:pt>
                <c:pt idx="3658">
                  <c:v>1.1039184E-2</c:v>
                </c:pt>
                <c:pt idx="3659">
                  <c:v>1.1073863E-2</c:v>
                </c:pt>
                <c:pt idx="3660">
                  <c:v>1.1106579E-2</c:v>
                </c:pt>
                <c:pt idx="3661">
                  <c:v>1.1158323E-2</c:v>
                </c:pt>
                <c:pt idx="3662">
                  <c:v>1.1220133E-2</c:v>
                </c:pt>
                <c:pt idx="3663">
                  <c:v>1.1322313000000001E-2</c:v>
                </c:pt>
                <c:pt idx="3664">
                  <c:v>1.1367986E-2</c:v>
                </c:pt>
                <c:pt idx="3665">
                  <c:v>1.1421551E-2</c:v>
                </c:pt>
                <c:pt idx="3666">
                  <c:v>1.1433588E-2</c:v>
                </c:pt>
                <c:pt idx="3667">
                  <c:v>1.1480604E-2</c:v>
                </c:pt>
                <c:pt idx="3668">
                  <c:v>1.1517652999999999E-2</c:v>
                </c:pt>
                <c:pt idx="3669">
                  <c:v>1.1546205E-2</c:v>
                </c:pt>
                <c:pt idx="3670">
                  <c:v>1.1592075E-2</c:v>
                </c:pt>
                <c:pt idx="3671">
                  <c:v>1.1642550999999999E-2</c:v>
                </c:pt>
                <c:pt idx="3672">
                  <c:v>1.1707835999999999E-2</c:v>
                </c:pt>
                <c:pt idx="3673">
                  <c:v>1.1762961000000001E-2</c:v>
                </c:pt>
                <c:pt idx="3674">
                  <c:v>1.1816375E-2</c:v>
                </c:pt>
                <c:pt idx="3675">
                  <c:v>1.1858514000000001E-2</c:v>
                </c:pt>
                <c:pt idx="3676">
                  <c:v>1.1935565E-2</c:v>
                </c:pt>
                <c:pt idx="3677">
                  <c:v>1.2029797E-2</c:v>
                </c:pt>
                <c:pt idx="3678">
                  <c:v>1.2140903E-2</c:v>
                </c:pt>
                <c:pt idx="3679">
                  <c:v>1.2263133000000001E-2</c:v>
                </c:pt>
                <c:pt idx="3680">
                  <c:v>1.2322095999999999E-2</c:v>
                </c:pt>
                <c:pt idx="3681">
                  <c:v>1.2395292E-2</c:v>
                </c:pt>
                <c:pt idx="3682">
                  <c:v>1.2487854E-2</c:v>
                </c:pt>
                <c:pt idx="3683">
                  <c:v>1.2580564000000001E-2</c:v>
                </c:pt>
                <c:pt idx="3684">
                  <c:v>1.2623268E-2</c:v>
                </c:pt>
                <c:pt idx="3685">
                  <c:v>1.270083E-2</c:v>
                </c:pt>
                <c:pt idx="3686">
                  <c:v>1.274293E-2</c:v>
                </c:pt>
                <c:pt idx="3687">
                  <c:v>1.2795518000000001E-2</c:v>
                </c:pt>
                <c:pt idx="3688">
                  <c:v>1.2789893E-2</c:v>
                </c:pt>
                <c:pt idx="3689">
                  <c:v>1.2798855E-2</c:v>
                </c:pt>
                <c:pt idx="3690">
                  <c:v>1.2789236000000001E-2</c:v>
                </c:pt>
                <c:pt idx="3691">
                  <c:v>1.282262E-2</c:v>
                </c:pt>
                <c:pt idx="3692">
                  <c:v>1.2852057E-2</c:v>
                </c:pt>
                <c:pt idx="3693">
                  <c:v>1.2889747E-2</c:v>
                </c:pt>
                <c:pt idx="3694">
                  <c:v>1.2917827E-2</c:v>
                </c:pt>
                <c:pt idx="3695">
                  <c:v>1.2966533000000001E-2</c:v>
                </c:pt>
                <c:pt idx="3696">
                  <c:v>1.3003911999999999E-2</c:v>
                </c:pt>
                <c:pt idx="3697">
                  <c:v>1.3040832E-2</c:v>
                </c:pt>
                <c:pt idx="3698">
                  <c:v>1.3066051E-2</c:v>
                </c:pt>
                <c:pt idx="3699">
                  <c:v>1.3108744E-2</c:v>
                </c:pt>
                <c:pt idx="3700">
                  <c:v>1.3116625E-2</c:v>
                </c:pt>
                <c:pt idx="3701">
                  <c:v>1.3133435000000001E-2</c:v>
                </c:pt>
                <c:pt idx="3702">
                  <c:v>1.3140209E-2</c:v>
                </c:pt>
                <c:pt idx="3703">
                  <c:v>1.3161571E-2</c:v>
                </c:pt>
                <c:pt idx="3704">
                  <c:v>1.3202169999999999E-2</c:v>
                </c:pt>
                <c:pt idx="3705">
                  <c:v>1.3230116E-2</c:v>
                </c:pt>
                <c:pt idx="3706">
                  <c:v>1.3244684E-2</c:v>
                </c:pt>
                <c:pt idx="3707">
                  <c:v>1.3292688E-2</c:v>
                </c:pt>
                <c:pt idx="3708">
                  <c:v>1.3300645E-2</c:v>
                </c:pt>
                <c:pt idx="3709">
                  <c:v>1.327511E-2</c:v>
                </c:pt>
                <c:pt idx="3710">
                  <c:v>1.3286813999999999E-2</c:v>
                </c:pt>
                <c:pt idx="3711">
                  <c:v>1.3283288000000001E-2</c:v>
                </c:pt>
                <c:pt idx="3712">
                  <c:v>1.3320388000000001E-2</c:v>
                </c:pt>
                <c:pt idx="3713">
                  <c:v>1.3339982E-2</c:v>
                </c:pt>
                <c:pt idx="3714">
                  <c:v>1.3352737999999999E-2</c:v>
                </c:pt>
                <c:pt idx="3715">
                  <c:v>1.3405136999999999E-2</c:v>
                </c:pt>
                <c:pt idx="3716">
                  <c:v>1.3426696E-2</c:v>
                </c:pt>
                <c:pt idx="3717">
                  <c:v>1.3447929000000001E-2</c:v>
                </c:pt>
                <c:pt idx="3718">
                  <c:v>1.3449434E-2</c:v>
                </c:pt>
                <c:pt idx="3719">
                  <c:v>1.3442577000000001E-2</c:v>
                </c:pt>
                <c:pt idx="3720">
                  <c:v>1.3442584E-2</c:v>
                </c:pt>
                <c:pt idx="3721">
                  <c:v>1.3447973E-2</c:v>
                </c:pt>
                <c:pt idx="3722">
                  <c:v>1.3469494E-2</c:v>
                </c:pt>
                <c:pt idx="3723">
                  <c:v>1.3468218000000001E-2</c:v>
                </c:pt>
                <c:pt idx="3724">
                  <c:v>1.3494269999999999E-2</c:v>
                </c:pt>
                <c:pt idx="3725">
                  <c:v>1.3516230000000001E-2</c:v>
                </c:pt>
                <c:pt idx="3726">
                  <c:v>1.3522226E-2</c:v>
                </c:pt>
                <c:pt idx="3727">
                  <c:v>1.3547518999999999E-2</c:v>
                </c:pt>
                <c:pt idx="3728">
                  <c:v>1.3564550999999999E-2</c:v>
                </c:pt>
                <c:pt idx="3729">
                  <c:v>1.3564253E-2</c:v>
                </c:pt>
                <c:pt idx="3730">
                  <c:v>1.3571388E-2</c:v>
                </c:pt>
                <c:pt idx="3731">
                  <c:v>1.358151E-2</c:v>
                </c:pt>
                <c:pt idx="3732">
                  <c:v>1.358728E-2</c:v>
                </c:pt>
                <c:pt idx="3733">
                  <c:v>1.3611260999999999E-2</c:v>
                </c:pt>
                <c:pt idx="3734">
                  <c:v>1.3626106000000001E-2</c:v>
                </c:pt>
                <c:pt idx="3735">
                  <c:v>1.3641575E-2</c:v>
                </c:pt>
                <c:pt idx="3736">
                  <c:v>1.3652350000000001E-2</c:v>
                </c:pt>
                <c:pt idx="3737">
                  <c:v>1.3677428E-2</c:v>
                </c:pt>
                <c:pt idx="3738">
                  <c:v>1.3659564000000001E-2</c:v>
                </c:pt>
                <c:pt idx="3739">
                  <c:v>1.3636562E-2</c:v>
                </c:pt>
                <c:pt idx="3740">
                  <c:v>1.3601434000000001E-2</c:v>
                </c:pt>
                <c:pt idx="3741">
                  <c:v>1.3608161000000001E-2</c:v>
                </c:pt>
                <c:pt idx="3742">
                  <c:v>1.3626793999999999E-2</c:v>
                </c:pt>
                <c:pt idx="3743">
                  <c:v>1.3671383E-2</c:v>
                </c:pt>
                <c:pt idx="3744">
                  <c:v>1.372222E-2</c:v>
                </c:pt>
                <c:pt idx="3745">
                  <c:v>1.3771494E-2</c:v>
                </c:pt>
                <c:pt idx="3746">
                  <c:v>1.3786293999999999E-2</c:v>
                </c:pt>
                <c:pt idx="3747">
                  <c:v>1.3791978999999999E-2</c:v>
                </c:pt>
                <c:pt idx="3748">
                  <c:v>1.3838031000000001E-2</c:v>
                </c:pt>
                <c:pt idx="3749">
                  <c:v>1.384726E-2</c:v>
                </c:pt>
                <c:pt idx="3750">
                  <c:v>1.3853727999999999E-2</c:v>
                </c:pt>
                <c:pt idx="3751">
                  <c:v>1.3869937000000001E-2</c:v>
                </c:pt>
                <c:pt idx="3752">
                  <c:v>1.3908230000000001E-2</c:v>
                </c:pt>
                <c:pt idx="3753">
                  <c:v>1.3893010000000001E-2</c:v>
                </c:pt>
                <c:pt idx="3754">
                  <c:v>1.3859857999999999E-2</c:v>
                </c:pt>
                <c:pt idx="3755">
                  <c:v>1.3773675000000001E-2</c:v>
                </c:pt>
                <c:pt idx="3756">
                  <c:v>1.3759825E-2</c:v>
                </c:pt>
                <c:pt idx="3757">
                  <c:v>1.3783672E-2</c:v>
                </c:pt>
                <c:pt idx="3758">
                  <c:v>1.3811992E-2</c:v>
                </c:pt>
                <c:pt idx="3759">
                  <c:v>1.3813017E-2</c:v>
                </c:pt>
                <c:pt idx="3760">
                  <c:v>1.3834809999999999E-2</c:v>
                </c:pt>
                <c:pt idx="3761">
                  <c:v>1.385986E-2</c:v>
                </c:pt>
                <c:pt idx="3762">
                  <c:v>1.3872203E-2</c:v>
                </c:pt>
                <c:pt idx="3763">
                  <c:v>1.3884583000000001E-2</c:v>
                </c:pt>
                <c:pt idx="3764">
                  <c:v>1.3955752E-2</c:v>
                </c:pt>
                <c:pt idx="3765">
                  <c:v>1.4084829E-2</c:v>
                </c:pt>
                <c:pt idx="3766">
                  <c:v>1.4251102E-2</c:v>
                </c:pt>
                <c:pt idx="3767">
                  <c:v>1.4455763E-2</c:v>
                </c:pt>
                <c:pt idx="3768">
                  <c:v>1.4585427E-2</c:v>
                </c:pt>
                <c:pt idx="3769">
                  <c:v>1.4749017999999999E-2</c:v>
                </c:pt>
                <c:pt idx="3770">
                  <c:v>1.4860233E-2</c:v>
                </c:pt>
                <c:pt idx="3771">
                  <c:v>1.5002196000000001E-2</c:v>
                </c:pt>
                <c:pt idx="3772">
                  <c:v>1.5145479999999999E-2</c:v>
                </c:pt>
                <c:pt idx="3773">
                  <c:v>1.5266841E-2</c:v>
                </c:pt>
                <c:pt idx="3774">
                  <c:v>1.5392813999999999E-2</c:v>
                </c:pt>
                <c:pt idx="3775">
                  <c:v>1.5475513999999999E-2</c:v>
                </c:pt>
                <c:pt idx="3776">
                  <c:v>1.5572111E-2</c:v>
                </c:pt>
                <c:pt idx="3777">
                  <c:v>1.5640220999999999E-2</c:v>
                </c:pt>
                <c:pt idx="3778">
                  <c:v>1.5706463E-2</c:v>
                </c:pt>
                <c:pt idx="3779">
                  <c:v>1.5776709E-2</c:v>
                </c:pt>
                <c:pt idx="3780">
                  <c:v>1.5861218E-2</c:v>
                </c:pt>
                <c:pt idx="3781">
                  <c:v>1.5858956E-2</c:v>
                </c:pt>
                <c:pt idx="3782">
                  <c:v>1.5848345E-2</c:v>
                </c:pt>
                <c:pt idx="3783">
                  <c:v>1.5817415000000001E-2</c:v>
                </c:pt>
                <c:pt idx="3784">
                  <c:v>1.5797729999999999E-2</c:v>
                </c:pt>
                <c:pt idx="3785">
                  <c:v>1.5793700000000001E-2</c:v>
                </c:pt>
                <c:pt idx="3786">
                  <c:v>1.5829585E-2</c:v>
                </c:pt>
                <c:pt idx="3787">
                  <c:v>1.588825E-2</c:v>
                </c:pt>
                <c:pt idx="3788">
                  <c:v>1.5921378E-2</c:v>
                </c:pt>
                <c:pt idx="3789">
                  <c:v>1.5990093E-2</c:v>
                </c:pt>
                <c:pt idx="3790">
                  <c:v>1.6034494999999999E-2</c:v>
                </c:pt>
                <c:pt idx="3791">
                  <c:v>1.6076111000000001E-2</c:v>
                </c:pt>
                <c:pt idx="3792">
                  <c:v>1.6087984E-2</c:v>
                </c:pt>
                <c:pt idx="3793">
                  <c:v>1.6110176E-2</c:v>
                </c:pt>
                <c:pt idx="3794">
                  <c:v>1.6091715999999999E-2</c:v>
                </c:pt>
                <c:pt idx="3795">
                  <c:v>1.6033744999999999E-2</c:v>
                </c:pt>
                <c:pt idx="3796">
                  <c:v>1.6066757000000001E-2</c:v>
                </c:pt>
                <c:pt idx="3797">
                  <c:v>1.6039201999999999E-2</c:v>
                </c:pt>
                <c:pt idx="3798">
                  <c:v>1.5994483E-2</c:v>
                </c:pt>
                <c:pt idx="3799">
                  <c:v>1.5910072000000001E-2</c:v>
                </c:pt>
                <c:pt idx="3800">
                  <c:v>1.5871099999999999E-2</c:v>
                </c:pt>
                <c:pt idx="3801">
                  <c:v>1.5802882000000001E-2</c:v>
                </c:pt>
                <c:pt idx="3802">
                  <c:v>1.5737191000000001E-2</c:v>
                </c:pt>
                <c:pt idx="3803">
                  <c:v>1.5680551000000001E-2</c:v>
                </c:pt>
                <c:pt idx="3804">
                  <c:v>1.5625805999999999E-2</c:v>
                </c:pt>
                <c:pt idx="3805">
                  <c:v>1.5565871E-2</c:v>
                </c:pt>
                <c:pt idx="3806">
                  <c:v>1.5582451000000001E-2</c:v>
                </c:pt>
                <c:pt idx="3807">
                  <c:v>1.5515989000000001E-2</c:v>
                </c:pt>
                <c:pt idx="3808">
                  <c:v>1.5478565999999999E-2</c:v>
                </c:pt>
                <c:pt idx="3809">
                  <c:v>1.5469653E-2</c:v>
                </c:pt>
                <c:pt idx="3810">
                  <c:v>1.5439464999999999E-2</c:v>
                </c:pt>
                <c:pt idx="3811">
                  <c:v>1.5406214999999999E-2</c:v>
                </c:pt>
                <c:pt idx="3812">
                  <c:v>1.5362499999999999E-2</c:v>
                </c:pt>
                <c:pt idx="3813">
                  <c:v>1.5346294E-2</c:v>
                </c:pt>
                <c:pt idx="3814">
                  <c:v>1.5330679E-2</c:v>
                </c:pt>
                <c:pt idx="3815">
                  <c:v>1.5265994E-2</c:v>
                </c:pt>
                <c:pt idx="3816">
                  <c:v>1.5235509E-2</c:v>
                </c:pt>
                <c:pt idx="3817">
                  <c:v>1.5201561000000001E-2</c:v>
                </c:pt>
                <c:pt idx="3818">
                  <c:v>1.5164985000000001E-2</c:v>
                </c:pt>
                <c:pt idx="3819">
                  <c:v>1.5121358999999999E-2</c:v>
                </c:pt>
                <c:pt idx="3820">
                  <c:v>1.5153498E-2</c:v>
                </c:pt>
                <c:pt idx="3821">
                  <c:v>1.5148431E-2</c:v>
                </c:pt>
                <c:pt idx="3822">
                  <c:v>1.5135094E-2</c:v>
                </c:pt>
                <c:pt idx="3823">
                  <c:v>1.5119389E-2</c:v>
                </c:pt>
                <c:pt idx="3824">
                  <c:v>1.510746E-2</c:v>
                </c:pt>
                <c:pt idx="3825">
                  <c:v>1.5083513E-2</c:v>
                </c:pt>
                <c:pt idx="3826">
                  <c:v>1.5068722E-2</c:v>
                </c:pt>
                <c:pt idx="3827">
                  <c:v>1.501886E-2</c:v>
                </c:pt>
                <c:pt idx="3828">
                  <c:v>1.4998633000000001E-2</c:v>
                </c:pt>
                <c:pt idx="3829">
                  <c:v>1.5006477000000001E-2</c:v>
                </c:pt>
                <c:pt idx="3830">
                  <c:v>1.5045456E-2</c:v>
                </c:pt>
                <c:pt idx="3831">
                  <c:v>1.5070765999999999E-2</c:v>
                </c:pt>
                <c:pt idx="3832">
                  <c:v>1.5068181E-2</c:v>
                </c:pt>
                <c:pt idx="3833">
                  <c:v>1.506936E-2</c:v>
                </c:pt>
                <c:pt idx="3834">
                  <c:v>1.5086327E-2</c:v>
                </c:pt>
                <c:pt idx="3835">
                  <c:v>1.5079077E-2</c:v>
                </c:pt>
                <c:pt idx="3836">
                  <c:v>1.5074671E-2</c:v>
                </c:pt>
                <c:pt idx="3837">
                  <c:v>1.5072978000000001E-2</c:v>
                </c:pt>
                <c:pt idx="3838">
                  <c:v>1.5082366E-2</c:v>
                </c:pt>
                <c:pt idx="3839">
                  <c:v>1.5090681E-2</c:v>
                </c:pt>
                <c:pt idx="3840">
                  <c:v>1.5102930000000001E-2</c:v>
                </c:pt>
                <c:pt idx="3841">
                  <c:v>1.5101849000000001E-2</c:v>
                </c:pt>
                <c:pt idx="3842">
                  <c:v>1.5089056999999999E-2</c:v>
                </c:pt>
                <c:pt idx="3843">
                  <c:v>1.5102856E-2</c:v>
                </c:pt>
                <c:pt idx="3844">
                  <c:v>1.5098299000000001E-2</c:v>
                </c:pt>
                <c:pt idx="3845">
                  <c:v>1.5095635E-2</c:v>
                </c:pt>
                <c:pt idx="3846">
                  <c:v>1.5115454E-2</c:v>
                </c:pt>
                <c:pt idx="3847">
                  <c:v>1.5110027E-2</c:v>
                </c:pt>
                <c:pt idx="3848">
                  <c:v>1.512204E-2</c:v>
                </c:pt>
                <c:pt idx="3849">
                  <c:v>1.5166228E-2</c:v>
                </c:pt>
                <c:pt idx="3850">
                  <c:v>1.524963E-2</c:v>
                </c:pt>
                <c:pt idx="3851">
                  <c:v>1.5317837000000001E-2</c:v>
                </c:pt>
                <c:pt idx="3852">
                  <c:v>1.5371157999999999E-2</c:v>
                </c:pt>
                <c:pt idx="3853">
                  <c:v>1.5371032E-2</c:v>
                </c:pt>
                <c:pt idx="3854">
                  <c:v>1.5396517E-2</c:v>
                </c:pt>
                <c:pt idx="3855">
                  <c:v>1.5425612E-2</c:v>
                </c:pt>
                <c:pt idx="3856">
                  <c:v>1.5465567E-2</c:v>
                </c:pt>
                <c:pt idx="3857">
                  <c:v>1.5508111999999999E-2</c:v>
                </c:pt>
                <c:pt idx="3858">
                  <c:v>1.55476E-2</c:v>
                </c:pt>
                <c:pt idx="3859">
                  <c:v>1.5579117E-2</c:v>
                </c:pt>
                <c:pt idx="3860">
                  <c:v>1.5665786000000001E-2</c:v>
                </c:pt>
                <c:pt idx="3861">
                  <c:v>1.570916E-2</c:v>
                </c:pt>
                <c:pt idx="3862">
                  <c:v>1.5763868E-2</c:v>
                </c:pt>
                <c:pt idx="3863">
                  <c:v>1.5759552E-2</c:v>
                </c:pt>
                <c:pt idx="3864">
                  <c:v>1.5768569E-2</c:v>
                </c:pt>
                <c:pt idx="3865">
                  <c:v>1.5865232E-2</c:v>
                </c:pt>
                <c:pt idx="3866">
                  <c:v>1.5937119999999999E-2</c:v>
                </c:pt>
                <c:pt idx="3867">
                  <c:v>1.6006282E-2</c:v>
                </c:pt>
                <c:pt idx="3868">
                  <c:v>1.6027163000000001E-2</c:v>
                </c:pt>
                <c:pt idx="3869">
                  <c:v>1.6045625000000001E-2</c:v>
                </c:pt>
                <c:pt idx="3870">
                  <c:v>1.6058482999999998E-2</c:v>
                </c:pt>
                <c:pt idx="3871">
                  <c:v>1.6047954E-2</c:v>
                </c:pt>
                <c:pt idx="3872">
                  <c:v>1.6042923000000001E-2</c:v>
                </c:pt>
                <c:pt idx="3873">
                  <c:v>1.6030042000000001E-2</c:v>
                </c:pt>
                <c:pt idx="3874">
                  <c:v>1.6056124000000001E-2</c:v>
                </c:pt>
                <c:pt idx="3875">
                  <c:v>1.6065234000000001E-2</c:v>
                </c:pt>
                <c:pt idx="3876">
                  <c:v>1.6048407000000001E-2</c:v>
                </c:pt>
                <c:pt idx="3877">
                  <c:v>1.6008537E-2</c:v>
                </c:pt>
                <c:pt idx="3878">
                  <c:v>1.5982882E-2</c:v>
                </c:pt>
                <c:pt idx="3879">
                  <c:v>1.5978262999999999E-2</c:v>
                </c:pt>
                <c:pt idx="3880">
                  <c:v>1.5989421E-2</c:v>
                </c:pt>
                <c:pt idx="3881">
                  <c:v>1.6009598999999999E-2</c:v>
                </c:pt>
                <c:pt idx="3882">
                  <c:v>1.6018599000000001E-2</c:v>
                </c:pt>
                <c:pt idx="3883">
                  <c:v>1.5970905000000001E-2</c:v>
                </c:pt>
                <c:pt idx="3884">
                  <c:v>1.5862564999999999E-2</c:v>
                </c:pt>
                <c:pt idx="3885">
                  <c:v>1.5742223999999999E-2</c:v>
                </c:pt>
                <c:pt idx="3886">
                  <c:v>1.5539908E-2</c:v>
                </c:pt>
                <c:pt idx="3887">
                  <c:v>1.5337989E-2</c:v>
                </c:pt>
                <c:pt idx="3888">
                  <c:v>1.520113E-2</c:v>
                </c:pt>
                <c:pt idx="3889">
                  <c:v>1.5095618999999999E-2</c:v>
                </c:pt>
                <c:pt idx="3890">
                  <c:v>1.5026408E-2</c:v>
                </c:pt>
                <c:pt idx="3891">
                  <c:v>1.4928606000000001E-2</c:v>
                </c:pt>
                <c:pt idx="3892">
                  <c:v>1.4868869E-2</c:v>
                </c:pt>
                <c:pt idx="3893">
                  <c:v>1.481272E-2</c:v>
                </c:pt>
                <c:pt idx="3894">
                  <c:v>1.4769711E-2</c:v>
                </c:pt>
                <c:pt idx="3895">
                  <c:v>1.4783164999999999E-2</c:v>
                </c:pt>
                <c:pt idx="3896">
                  <c:v>1.4798558E-2</c:v>
                </c:pt>
                <c:pt idx="3897">
                  <c:v>1.4838712E-2</c:v>
                </c:pt>
                <c:pt idx="3898">
                  <c:v>1.4861612E-2</c:v>
                </c:pt>
                <c:pt idx="3899">
                  <c:v>1.4845907E-2</c:v>
                </c:pt>
                <c:pt idx="3900">
                  <c:v>1.4820669999999999E-2</c:v>
                </c:pt>
                <c:pt idx="3901">
                  <c:v>1.4823799E-2</c:v>
                </c:pt>
                <c:pt idx="3902">
                  <c:v>1.4859664E-2</c:v>
                </c:pt>
                <c:pt idx="3903">
                  <c:v>1.4865514E-2</c:v>
                </c:pt>
                <c:pt idx="3904">
                  <c:v>1.4890343E-2</c:v>
                </c:pt>
                <c:pt idx="3905">
                  <c:v>1.4877492000000001E-2</c:v>
                </c:pt>
                <c:pt idx="3906">
                  <c:v>1.4833353000000001E-2</c:v>
                </c:pt>
                <c:pt idx="3907">
                  <c:v>1.4777759999999999E-2</c:v>
                </c:pt>
                <c:pt idx="3908">
                  <c:v>1.4764553E-2</c:v>
                </c:pt>
                <c:pt idx="3909">
                  <c:v>1.4714206000000001E-2</c:v>
                </c:pt>
                <c:pt idx="3910">
                  <c:v>1.4673423E-2</c:v>
                </c:pt>
                <c:pt idx="3911">
                  <c:v>1.4658190999999999E-2</c:v>
                </c:pt>
                <c:pt idx="3912">
                  <c:v>1.4635188E-2</c:v>
                </c:pt>
                <c:pt idx="3913">
                  <c:v>1.4621481E-2</c:v>
                </c:pt>
                <c:pt idx="3914">
                  <c:v>1.4629174999999999E-2</c:v>
                </c:pt>
                <c:pt idx="3915">
                  <c:v>1.4639910000000001E-2</c:v>
                </c:pt>
                <c:pt idx="3916">
                  <c:v>1.4562533000000001E-2</c:v>
                </c:pt>
                <c:pt idx="3917">
                  <c:v>1.4585935E-2</c:v>
                </c:pt>
                <c:pt idx="3918">
                  <c:v>1.4602159E-2</c:v>
                </c:pt>
                <c:pt idx="3919">
                  <c:v>1.4698855E-2</c:v>
                </c:pt>
                <c:pt idx="3920">
                  <c:v>1.4770211E-2</c:v>
                </c:pt>
                <c:pt idx="3921">
                  <c:v>1.4823556999999999E-2</c:v>
                </c:pt>
                <c:pt idx="3922">
                  <c:v>1.4888442E-2</c:v>
                </c:pt>
                <c:pt idx="3923">
                  <c:v>1.4931774E-2</c:v>
                </c:pt>
                <c:pt idx="3924">
                  <c:v>1.4974609999999999E-2</c:v>
                </c:pt>
                <c:pt idx="3925">
                  <c:v>1.5001972000000001E-2</c:v>
                </c:pt>
                <c:pt idx="3926">
                  <c:v>1.4994154000000001E-2</c:v>
                </c:pt>
                <c:pt idx="3927">
                  <c:v>1.5054891000000001E-2</c:v>
                </c:pt>
                <c:pt idx="3928">
                  <c:v>1.5088989000000001E-2</c:v>
                </c:pt>
                <c:pt idx="3929">
                  <c:v>1.5153906E-2</c:v>
                </c:pt>
                <c:pt idx="3930">
                  <c:v>1.5238862000000001E-2</c:v>
                </c:pt>
                <c:pt idx="3931">
                  <c:v>1.5252517E-2</c:v>
                </c:pt>
                <c:pt idx="3932">
                  <c:v>1.5292330999999999E-2</c:v>
                </c:pt>
                <c:pt idx="3933">
                  <c:v>1.5329205E-2</c:v>
                </c:pt>
                <c:pt idx="3934">
                  <c:v>1.5377361000000001E-2</c:v>
                </c:pt>
                <c:pt idx="3935">
                  <c:v>1.5413998999999999E-2</c:v>
                </c:pt>
                <c:pt idx="3936">
                  <c:v>1.5443693E-2</c:v>
                </c:pt>
                <c:pt idx="3937">
                  <c:v>1.5473803E-2</c:v>
                </c:pt>
                <c:pt idx="3938">
                  <c:v>1.5518690999999999E-2</c:v>
                </c:pt>
                <c:pt idx="3939">
                  <c:v>1.5562029E-2</c:v>
                </c:pt>
                <c:pt idx="3940">
                  <c:v>1.5558773E-2</c:v>
                </c:pt>
                <c:pt idx="3941">
                  <c:v>1.5585416E-2</c:v>
                </c:pt>
                <c:pt idx="3942">
                  <c:v>1.5598733E-2</c:v>
                </c:pt>
                <c:pt idx="3943">
                  <c:v>1.5637813E-2</c:v>
                </c:pt>
                <c:pt idx="3944">
                  <c:v>1.5662369999999998E-2</c:v>
                </c:pt>
                <c:pt idx="3945">
                  <c:v>1.5699639000000001E-2</c:v>
                </c:pt>
                <c:pt idx="3946">
                  <c:v>1.5739644000000001E-2</c:v>
                </c:pt>
                <c:pt idx="3947">
                  <c:v>1.5762445999999999E-2</c:v>
                </c:pt>
                <c:pt idx="3948">
                  <c:v>1.5788795000000001E-2</c:v>
                </c:pt>
                <c:pt idx="3949">
                  <c:v>1.5782240999999999E-2</c:v>
                </c:pt>
                <c:pt idx="3950">
                  <c:v>1.576516E-2</c:v>
                </c:pt>
                <c:pt idx="3951">
                  <c:v>1.5775797000000001E-2</c:v>
                </c:pt>
                <c:pt idx="3952">
                  <c:v>1.5780750999999999E-2</c:v>
                </c:pt>
                <c:pt idx="3953">
                  <c:v>1.5804375999999998E-2</c:v>
                </c:pt>
                <c:pt idx="3954">
                  <c:v>1.5809368000000001E-2</c:v>
                </c:pt>
                <c:pt idx="3955">
                  <c:v>1.5797866000000001E-2</c:v>
                </c:pt>
                <c:pt idx="3956">
                  <c:v>1.5799961000000001E-2</c:v>
                </c:pt>
                <c:pt idx="3957">
                  <c:v>1.5800420999999999E-2</c:v>
                </c:pt>
                <c:pt idx="3958">
                  <c:v>1.5835597999999999E-2</c:v>
                </c:pt>
                <c:pt idx="3959">
                  <c:v>1.5852374999999998E-2</c:v>
                </c:pt>
                <c:pt idx="3960">
                  <c:v>1.5861005000000001E-2</c:v>
                </c:pt>
                <c:pt idx="3961">
                  <c:v>1.5879372999999999E-2</c:v>
                </c:pt>
                <c:pt idx="3962">
                  <c:v>1.5886345E-2</c:v>
                </c:pt>
                <c:pt idx="3963">
                  <c:v>1.5908948999999999E-2</c:v>
                </c:pt>
                <c:pt idx="3964">
                  <c:v>1.5894770999999999E-2</c:v>
                </c:pt>
                <c:pt idx="3965">
                  <c:v>1.5870964000000001E-2</c:v>
                </c:pt>
                <c:pt idx="3966">
                  <c:v>1.5868508E-2</c:v>
                </c:pt>
                <c:pt idx="3967">
                  <c:v>1.5898388999999999E-2</c:v>
                </c:pt>
                <c:pt idx="3968">
                  <c:v>1.5910349000000001E-2</c:v>
                </c:pt>
                <c:pt idx="3969">
                  <c:v>1.5919597000000001E-2</c:v>
                </c:pt>
                <c:pt idx="3970">
                  <c:v>1.5895136000000001E-2</c:v>
                </c:pt>
                <c:pt idx="3971">
                  <c:v>1.5869334999999998E-2</c:v>
                </c:pt>
                <c:pt idx="3972">
                  <c:v>1.5834719000000001E-2</c:v>
                </c:pt>
                <c:pt idx="3973">
                  <c:v>1.5841832E-2</c:v>
                </c:pt>
                <c:pt idx="3974">
                  <c:v>1.5857452000000001E-2</c:v>
                </c:pt>
                <c:pt idx="3975">
                  <c:v>1.5861192999999999E-2</c:v>
                </c:pt>
                <c:pt idx="3976">
                  <c:v>1.5833927000000001E-2</c:v>
                </c:pt>
                <c:pt idx="3977">
                  <c:v>1.5796872999999999E-2</c:v>
                </c:pt>
                <c:pt idx="3978">
                  <c:v>1.5799245999999999E-2</c:v>
                </c:pt>
                <c:pt idx="3979">
                  <c:v>1.5796006000000001E-2</c:v>
                </c:pt>
                <c:pt idx="3980">
                  <c:v>1.573739E-2</c:v>
                </c:pt>
                <c:pt idx="3981">
                  <c:v>1.5755075E-2</c:v>
                </c:pt>
                <c:pt idx="3982">
                  <c:v>1.5752753000000001E-2</c:v>
                </c:pt>
                <c:pt idx="3983">
                  <c:v>1.5759596000000001E-2</c:v>
                </c:pt>
                <c:pt idx="3984">
                  <c:v>1.5757091000000001E-2</c:v>
                </c:pt>
                <c:pt idx="3985">
                  <c:v>1.5657274999999998E-2</c:v>
                </c:pt>
                <c:pt idx="3986">
                  <c:v>1.5605979000000001E-2</c:v>
                </c:pt>
                <c:pt idx="3987">
                  <c:v>1.5557029E-2</c:v>
                </c:pt>
                <c:pt idx="3988">
                  <c:v>1.5528241E-2</c:v>
                </c:pt>
                <c:pt idx="3989">
                  <c:v>1.5522943000000001E-2</c:v>
                </c:pt>
                <c:pt idx="3990">
                  <c:v>1.5507309E-2</c:v>
                </c:pt>
                <c:pt idx="3991">
                  <c:v>1.5507040999999999E-2</c:v>
                </c:pt>
                <c:pt idx="3992">
                  <c:v>1.5491681E-2</c:v>
                </c:pt>
                <c:pt idx="3993">
                  <c:v>1.5501238000000001E-2</c:v>
                </c:pt>
                <c:pt idx="3994">
                  <c:v>1.5513845E-2</c:v>
                </c:pt>
                <c:pt idx="3995">
                  <c:v>1.5554894E-2</c:v>
                </c:pt>
                <c:pt idx="3996">
                  <c:v>1.5579127999999999E-2</c:v>
                </c:pt>
                <c:pt idx="3997">
                  <c:v>1.5593062E-2</c:v>
                </c:pt>
                <c:pt idx="3998">
                  <c:v>1.5603957E-2</c:v>
                </c:pt>
                <c:pt idx="3999">
                  <c:v>1.5602313E-2</c:v>
                </c:pt>
                <c:pt idx="4000">
                  <c:v>1.5587925000000001E-2</c:v>
                </c:pt>
                <c:pt idx="4001">
                  <c:v>1.5560297000000001E-2</c:v>
                </c:pt>
                <c:pt idx="4002">
                  <c:v>1.5569761E-2</c:v>
                </c:pt>
                <c:pt idx="4003">
                  <c:v>1.5614052999999999E-2</c:v>
                </c:pt>
                <c:pt idx="4004">
                  <c:v>1.5635054999999998E-2</c:v>
                </c:pt>
                <c:pt idx="4005">
                  <c:v>1.5636859999999999E-2</c:v>
                </c:pt>
                <c:pt idx="4006">
                  <c:v>1.5614319E-2</c:v>
                </c:pt>
                <c:pt idx="4007">
                  <c:v>1.5602091E-2</c:v>
                </c:pt>
                <c:pt idx="4008">
                  <c:v>1.5577928E-2</c:v>
                </c:pt>
                <c:pt idx="4009">
                  <c:v>1.5522002E-2</c:v>
                </c:pt>
                <c:pt idx="4010">
                  <c:v>1.5467411E-2</c:v>
                </c:pt>
                <c:pt idx="4011">
                  <c:v>1.5442946000000001E-2</c:v>
                </c:pt>
                <c:pt idx="4012">
                  <c:v>1.5416836E-2</c:v>
                </c:pt>
                <c:pt idx="4013">
                  <c:v>1.5392809E-2</c:v>
                </c:pt>
                <c:pt idx="4014">
                  <c:v>1.5380481E-2</c:v>
                </c:pt>
                <c:pt idx="4015">
                  <c:v>1.5342316E-2</c:v>
                </c:pt>
                <c:pt idx="4016">
                  <c:v>1.5292461E-2</c:v>
                </c:pt>
                <c:pt idx="4017">
                  <c:v>1.5248706000000001E-2</c:v>
                </c:pt>
                <c:pt idx="4018">
                  <c:v>1.5196585E-2</c:v>
                </c:pt>
                <c:pt idx="4019">
                  <c:v>1.5155460000000001E-2</c:v>
                </c:pt>
                <c:pt idx="4020">
                  <c:v>1.5090815E-2</c:v>
                </c:pt>
                <c:pt idx="4021">
                  <c:v>1.5087787E-2</c:v>
                </c:pt>
                <c:pt idx="4022">
                  <c:v>1.5074812999999999E-2</c:v>
                </c:pt>
                <c:pt idx="4023">
                  <c:v>1.5095974999999999E-2</c:v>
                </c:pt>
                <c:pt idx="4024">
                  <c:v>1.5122127000000001E-2</c:v>
                </c:pt>
                <c:pt idx="4025">
                  <c:v>1.5182384E-2</c:v>
                </c:pt>
                <c:pt idx="4026">
                  <c:v>1.5212425E-2</c:v>
                </c:pt>
                <c:pt idx="4027">
                  <c:v>1.5219286E-2</c:v>
                </c:pt>
                <c:pt idx="4028">
                  <c:v>1.5225007E-2</c:v>
                </c:pt>
                <c:pt idx="4029">
                  <c:v>1.5278943E-2</c:v>
                </c:pt>
                <c:pt idx="4030">
                  <c:v>1.5315845E-2</c:v>
                </c:pt>
                <c:pt idx="4031">
                  <c:v>1.5311408E-2</c:v>
                </c:pt>
                <c:pt idx="4032">
                  <c:v>1.5307187E-2</c:v>
                </c:pt>
                <c:pt idx="4033">
                  <c:v>1.5284031999999999E-2</c:v>
                </c:pt>
                <c:pt idx="4034">
                  <c:v>1.5301660999999999E-2</c:v>
                </c:pt>
                <c:pt idx="4035">
                  <c:v>1.5306902000000001E-2</c:v>
                </c:pt>
                <c:pt idx="4036">
                  <c:v>1.531969E-2</c:v>
                </c:pt>
                <c:pt idx="4037">
                  <c:v>1.5282647999999999E-2</c:v>
                </c:pt>
                <c:pt idx="4038">
                  <c:v>1.5241045E-2</c:v>
                </c:pt>
                <c:pt idx="4039">
                  <c:v>1.5154997E-2</c:v>
                </c:pt>
                <c:pt idx="4040">
                  <c:v>1.5119338E-2</c:v>
                </c:pt>
                <c:pt idx="4041">
                  <c:v>1.5094326E-2</c:v>
                </c:pt>
                <c:pt idx="4042">
                  <c:v>1.5072308E-2</c:v>
                </c:pt>
                <c:pt idx="4043">
                  <c:v>1.5076802E-2</c:v>
                </c:pt>
                <c:pt idx="4044">
                  <c:v>1.5071197E-2</c:v>
                </c:pt>
                <c:pt idx="4045">
                  <c:v>1.5074364999999999E-2</c:v>
                </c:pt>
                <c:pt idx="4046">
                  <c:v>1.5089128E-2</c:v>
                </c:pt>
                <c:pt idx="4047">
                  <c:v>1.5089056999999999E-2</c:v>
                </c:pt>
                <c:pt idx="4048">
                  <c:v>1.5081761000000001E-2</c:v>
                </c:pt>
                <c:pt idx="4049">
                  <c:v>1.5082623999999999E-2</c:v>
                </c:pt>
                <c:pt idx="4050">
                  <c:v>1.5092512000000001E-2</c:v>
                </c:pt>
                <c:pt idx="4051">
                  <c:v>1.5219462E-2</c:v>
                </c:pt>
                <c:pt idx="4052">
                  <c:v>1.5290165999999999E-2</c:v>
                </c:pt>
                <c:pt idx="4053">
                  <c:v>1.5356428E-2</c:v>
                </c:pt>
                <c:pt idx="4054">
                  <c:v>1.5395509999999999E-2</c:v>
                </c:pt>
                <c:pt idx="4055">
                  <c:v>1.5472234E-2</c:v>
                </c:pt>
                <c:pt idx="4056">
                  <c:v>1.5573983E-2</c:v>
                </c:pt>
                <c:pt idx="4057">
                  <c:v>1.5671959999999999E-2</c:v>
                </c:pt>
                <c:pt idx="4058">
                  <c:v>1.5773766000000002E-2</c:v>
                </c:pt>
                <c:pt idx="4059">
                  <c:v>1.5845855999999998E-2</c:v>
                </c:pt>
                <c:pt idx="4060">
                  <c:v>1.5918827E-2</c:v>
                </c:pt>
                <c:pt idx="4061">
                  <c:v>1.5945488000000001E-2</c:v>
                </c:pt>
                <c:pt idx="4062">
                  <c:v>1.6015392E-2</c:v>
                </c:pt>
                <c:pt idx="4063">
                  <c:v>1.6074484999999999E-2</c:v>
                </c:pt>
                <c:pt idx="4064">
                  <c:v>1.6126021000000001E-2</c:v>
                </c:pt>
                <c:pt idx="4065">
                  <c:v>1.6205612000000001E-2</c:v>
                </c:pt>
                <c:pt idx="4066">
                  <c:v>1.6269236999999999E-2</c:v>
                </c:pt>
                <c:pt idx="4067">
                  <c:v>1.6353280000000001E-2</c:v>
                </c:pt>
                <c:pt idx="4068">
                  <c:v>1.6417939999999999E-2</c:v>
                </c:pt>
                <c:pt idx="4069">
                  <c:v>1.6494176999999999E-2</c:v>
                </c:pt>
                <c:pt idx="4070">
                  <c:v>1.6533092999999999E-2</c:v>
                </c:pt>
                <c:pt idx="4071">
                  <c:v>1.6578279000000001E-2</c:v>
                </c:pt>
                <c:pt idx="4072">
                  <c:v>1.6623638E-2</c:v>
                </c:pt>
                <c:pt idx="4073">
                  <c:v>1.6654977000000001E-2</c:v>
                </c:pt>
                <c:pt idx="4074">
                  <c:v>1.6667351E-2</c:v>
                </c:pt>
                <c:pt idx="4075">
                  <c:v>1.6676044000000001E-2</c:v>
                </c:pt>
                <c:pt idx="4076">
                  <c:v>1.6710480999999999E-2</c:v>
                </c:pt>
                <c:pt idx="4077">
                  <c:v>1.6746566000000001E-2</c:v>
                </c:pt>
                <c:pt idx="4078">
                  <c:v>1.6743939999999999E-2</c:v>
                </c:pt>
                <c:pt idx="4079">
                  <c:v>1.6762119999999998E-2</c:v>
                </c:pt>
                <c:pt idx="4080">
                  <c:v>1.6790383999999998E-2</c:v>
                </c:pt>
                <c:pt idx="4081">
                  <c:v>1.6816899999999999E-2</c:v>
                </c:pt>
                <c:pt idx="4082">
                  <c:v>1.6840091000000001E-2</c:v>
                </c:pt>
                <c:pt idx="4083">
                  <c:v>1.684124E-2</c:v>
                </c:pt>
                <c:pt idx="4084">
                  <c:v>1.6871557999999998E-2</c:v>
                </c:pt>
                <c:pt idx="4085">
                  <c:v>1.6914166000000001E-2</c:v>
                </c:pt>
                <c:pt idx="4086">
                  <c:v>1.694004E-2</c:v>
                </c:pt>
                <c:pt idx="4087">
                  <c:v>1.6962616E-2</c:v>
                </c:pt>
                <c:pt idx="4088">
                  <c:v>1.6992277E-2</c:v>
                </c:pt>
                <c:pt idx="4089">
                  <c:v>1.6970028000000002E-2</c:v>
                </c:pt>
                <c:pt idx="4090">
                  <c:v>1.6944646000000001E-2</c:v>
                </c:pt>
                <c:pt idx="4091">
                  <c:v>1.694741E-2</c:v>
                </c:pt>
                <c:pt idx="4092">
                  <c:v>1.6958118000000001E-2</c:v>
                </c:pt>
                <c:pt idx="4093">
                  <c:v>1.6950732E-2</c:v>
                </c:pt>
                <c:pt idx="4094">
                  <c:v>1.6934989000000001E-2</c:v>
                </c:pt>
                <c:pt idx="4095">
                  <c:v>1.6939704E-2</c:v>
                </c:pt>
                <c:pt idx="4096">
                  <c:v>1.6950551000000001E-2</c:v>
                </c:pt>
                <c:pt idx="4097">
                  <c:v>1.6954725E-2</c:v>
                </c:pt>
                <c:pt idx="4098">
                  <c:v>1.6945178000000002E-2</c:v>
                </c:pt>
                <c:pt idx="4099">
                  <c:v>1.6932376999999998E-2</c:v>
                </c:pt>
                <c:pt idx="4100">
                  <c:v>1.6922401E-2</c:v>
                </c:pt>
                <c:pt idx="4101">
                  <c:v>1.6879226000000001E-2</c:v>
                </c:pt>
                <c:pt idx="4102">
                  <c:v>1.6855748E-2</c:v>
                </c:pt>
                <c:pt idx="4103">
                  <c:v>1.6858755E-2</c:v>
                </c:pt>
                <c:pt idx="4104">
                  <c:v>1.6838591E-2</c:v>
                </c:pt>
                <c:pt idx="4105">
                  <c:v>1.6818812999999998E-2</c:v>
                </c:pt>
                <c:pt idx="4106">
                  <c:v>1.6803341999999999E-2</c:v>
                </c:pt>
                <c:pt idx="4107">
                  <c:v>1.6804843999999999E-2</c:v>
                </c:pt>
                <c:pt idx="4108">
                  <c:v>1.6809236000000002E-2</c:v>
                </c:pt>
                <c:pt idx="4109">
                  <c:v>1.6802572000000002E-2</c:v>
                </c:pt>
                <c:pt idx="4110">
                  <c:v>1.6828467E-2</c:v>
                </c:pt>
                <c:pt idx="4111">
                  <c:v>1.6856577000000001E-2</c:v>
                </c:pt>
                <c:pt idx="4112">
                  <c:v>1.6913318E-2</c:v>
                </c:pt>
                <c:pt idx="4113">
                  <c:v>1.6951333999999998E-2</c:v>
                </c:pt>
                <c:pt idx="4114">
                  <c:v>1.6942834E-2</c:v>
                </c:pt>
                <c:pt idx="4115">
                  <c:v>1.6976402000000002E-2</c:v>
                </c:pt>
                <c:pt idx="4116">
                  <c:v>1.7008366E-2</c:v>
                </c:pt>
                <c:pt idx="4117">
                  <c:v>1.7068086999999999E-2</c:v>
                </c:pt>
                <c:pt idx="4118">
                  <c:v>1.7070607000000002E-2</c:v>
                </c:pt>
                <c:pt idx="4119">
                  <c:v>1.7082322E-2</c:v>
                </c:pt>
                <c:pt idx="4120">
                  <c:v>1.7091174000000001E-2</c:v>
                </c:pt>
                <c:pt idx="4121">
                  <c:v>1.7100382000000001E-2</c:v>
                </c:pt>
                <c:pt idx="4122">
                  <c:v>1.7105611E-2</c:v>
                </c:pt>
                <c:pt idx="4123">
                  <c:v>1.7078546E-2</c:v>
                </c:pt>
                <c:pt idx="4124">
                  <c:v>1.7062290000000001E-2</c:v>
                </c:pt>
                <c:pt idx="4125">
                  <c:v>1.7056464E-2</c:v>
                </c:pt>
                <c:pt idx="4126">
                  <c:v>1.7073143999999998E-2</c:v>
                </c:pt>
                <c:pt idx="4127">
                  <c:v>1.7058718E-2</c:v>
                </c:pt>
                <c:pt idx="4128">
                  <c:v>1.7045129999999999E-2</c:v>
                </c:pt>
                <c:pt idx="4129">
                  <c:v>1.7018663E-2</c:v>
                </c:pt>
                <c:pt idx="4130">
                  <c:v>1.6985856000000001E-2</c:v>
                </c:pt>
                <c:pt idx="4131">
                  <c:v>1.6949144999999999E-2</c:v>
                </c:pt>
                <c:pt idx="4132">
                  <c:v>1.6917051999999998E-2</c:v>
                </c:pt>
                <c:pt idx="4133">
                  <c:v>1.6917107000000001E-2</c:v>
                </c:pt>
                <c:pt idx="4134">
                  <c:v>1.6866371000000002E-2</c:v>
                </c:pt>
                <c:pt idx="4135">
                  <c:v>1.6870237999999999E-2</c:v>
                </c:pt>
                <c:pt idx="4136">
                  <c:v>1.6832462999999999E-2</c:v>
                </c:pt>
                <c:pt idx="4137">
                  <c:v>1.6795102999999999E-2</c:v>
                </c:pt>
                <c:pt idx="4138">
                  <c:v>1.6763460000000001E-2</c:v>
                </c:pt>
                <c:pt idx="4139">
                  <c:v>1.6746140999999999E-2</c:v>
                </c:pt>
                <c:pt idx="4140">
                  <c:v>1.6754650999999999E-2</c:v>
                </c:pt>
                <c:pt idx="4141">
                  <c:v>1.6707494999999999E-2</c:v>
                </c:pt>
                <c:pt idx="4142">
                  <c:v>1.6673666E-2</c:v>
                </c:pt>
                <c:pt idx="4143">
                  <c:v>1.6601009999999999E-2</c:v>
                </c:pt>
                <c:pt idx="4144">
                  <c:v>1.6547612E-2</c:v>
                </c:pt>
                <c:pt idx="4145">
                  <c:v>1.6460458000000001E-2</c:v>
                </c:pt>
                <c:pt idx="4146">
                  <c:v>1.6393233E-2</c:v>
                </c:pt>
                <c:pt idx="4147">
                  <c:v>1.6357211E-2</c:v>
                </c:pt>
                <c:pt idx="4148">
                  <c:v>1.6291864999999999E-2</c:v>
                </c:pt>
                <c:pt idx="4149">
                  <c:v>1.6203051999999999E-2</c:v>
                </c:pt>
                <c:pt idx="4150">
                  <c:v>1.6136775999999999E-2</c:v>
                </c:pt>
                <c:pt idx="4151">
                  <c:v>1.6106418000000001E-2</c:v>
                </c:pt>
                <c:pt idx="4152">
                  <c:v>1.6092314999999999E-2</c:v>
                </c:pt>
                <c:pt idx="4153">
                  <c:v>1.6083183000000001E-2</c:v>
                </c:pt>
                <c:pt idx="4154">
                  <c:v>1.6055244999999999E-2</c:v>
                </c:pt>
                <c:pt idx="4155">
                  <c:v>1.6044188000000001E-2</c:v>
                </c:pt>
                <c:pt idx="4156">
                  <c:v>1.6011174999999999E-2</c:v>
                </c:pt>
                <c:pt idx="4157">
                  <c:v>1.5968513E-2</c:v>
                </c:pt>
                <c:pt idx="4158">
                  <c:v>1.5927674999999999E-2</c:v>
                </c:pt>
                <c:pt idx="4159">
                  <c:v>1.5881096000000001E-2</c:v>
                </c:pt>
                <c:pt idx="4160">
                  <c:v>1.5816514E-2</c:v>
                </c:pt>
                <c:pt idx="4161">
                  <c:v>1.5753158999999999E-2</c:v>
                </c:pt>
                <c:pt idx="4162">
                  <c:v>1.5693683E-2</c:v>
                </c:pt>
                <c:pt idx="4163">
                  <c:v>1.5621217999999999E-2</c:v>
                </c:pt>
                <c:pt idx="4164">
                  <c:v>1.5632856000000001E-2</c:v>
                </c:pt>
                <c:pt idx="4165">
                  <c:v>1.5591059000000001E-2</c:v>
                </c:pt>
                <c:pt idx="4166">
                  <c:v>1.5529538000000001E-2</c:v>
                </c:pt>
                <c:pt idx="4167">
                  <c:v>1.5457782E-2</c:v>
                </c:pt>
                <c:pt idx="4168">
                  <c:v>1.5394557999999999E-2</c:v>
                </c:pt>
                <c:pt idx="4169">
                  <c:v>1.5320881E-2</c:v>
                </c:pt>
                <c:pt idx="4170">
                  <c:v>1.5229713000000001E-2</c:v>
                </c:pt>
                <c:pt idx="4171">
                  <c:v>1.5096082E-2</c:v>
                </c:pt>
                <c:pt idx="4172">
                  <c:v>1.500662E-2</c:v>
                </c:pt>
                <c:pt idx="4173">
                  <c:v>1.4934032999999999E-2</c:v>
                </c:pt>
                <c:pt idx="4174">
                  <c:v>1.4847618E-2</c:v>
                </c:pt>
                <c:pt idx="4175">
                  <c:v>1.4765795E-2</c:v>
                </c:pt>
                <c:pt idx="4176">
                  <c:v>1.4650860999999999E-2</c:v>
                </c:pt>
                <c:pt idx="4177">
                  <c:v>1.4600171E-2</c:v>
                </c:pt>
                <c:pt idx="4178">
                  <c:v>1.4523238000000001E-2</c:v>
                </c:pt>
                <c:pt idx="4179">
                  <c:v>1.4462443E-2</c:v>
                </c:pt>
                <c:pt idx="4180">
                  <c:v>1.4383399999999999E-2</c:v>
                </c:pt>
                <c:pt idx="4181">
                  <c:v>1.4332348E-2</c:v>
                </c:pt>
                <c:pt idx="4182">
                  <c:v>1.4256596E-2</c:v>
                </c:pt>
                <c:pt idx="4183">
                  <c:v>1.4174348999999999E-2</c:v>
                </c:pt>
                <c:pt idx="4184">
                  <c:v>1.4095296E-2</c:v>
                </c:pt>
                <c:pt idx="4185">
                  <c:v>1.3991086E-2</c:v>
                </c:pt>
                <c:pt idx="4186">
                  <c:v>1.3911491999999999E-2</c:v>
                </c:pt>
                <c:pt idx="4187">
                  <c:v>1.3813318E-2</c:v>
                </c:pt>
                <c:pt idx="4188">
                  <c:v>1.3758739000000001E-2</c:v>
                </c:pt>
                <c:pt idx="4189">
                  <c:v>1.3703343E-2</c:v>
                </c:pt>
                <c:pt idx="4190">
                  <c:v>1.3660321E-2</c:v>
                </c:pt>
                <c:pt idx="4191">
                  <c:v>1.3633595E-2</c:v>
                </c:pt>
                <c:pt idx="4192">
                  <c:v>1.3595790999999999E-2</c:v>
                </c:pt>
                <c:pt idx="4193">
                  <c:v>1.3559859E-2</c:v>
                </c:pt>
                <c:pt idx="4194">
                  <c:v>1.3561863E-2</c:v>
                </c:pt>
                <c:pt idx="4195">
                  <c:v>1.3571626E-2</c:v>
                </c:pt>
                <c:pt idx="4196">
                  <c:v>1.3550700000000001E-2</c:v>
                </c:pt>
                <c:pt idx="4197">
                  <c:v>1.3527442000000001E-2</c:v>
                </c:pt>
                <c:pt idx="4198">
                  <c:v>1.3510790999999999E-2</c:v>
                </c:pt>
                <c:pt idx="4199">
                  <c:v>1.3388413E-2</c:v>
                </c:pt>
              </c:numCache>
            </c:numRef>
          </c:val>
          <c:smooth val="0"/>
          <c:extLst>
            <c:ext xmlns:c16="http://schemas.microsoft.com/office/drawing/2014/chart" uri="{C3380CC4-5D6E-409C-BE32-E72D297353CC}">
              <c16:uniqueId val="{00000002-B7DC-44E8-9D34-858C6F26CBCB}"/>
            </c:ext>
          </c:extLst>
        </c:ser>
        <c:ser>
          <c:idx val="2"/>
          <c:order val="2"/>
          <c:tx>
            <c:strRef>
              <c:f>tr_60!$D$1</c:f>
              <c:strCache>
                <c:ptCount val="1"/>
                <c:pt idx="0">
                  <c:v>200 turnover rate</c:v>
                </c:pt>
              </c:strCache>
            </c:strRef>
          </c:tx>
          <c:spPr>
            <a:ln w="28575" cap="rnd">
              <a:solidFill>
                <a:schemeClr val="accent3"/>
              </a:solidFill>
              <a:round/>
            </a:ln>
            <a:effectLst/>
          </c:spPr>
          <c:marker>
            <c:symbol val="none"/>
          </c:marker>
          <c:cat>
            <c:numRef>
              <c:f>tr_60!$A$2:$A$4201</c:f>
              <c:numCache>
                <c:formatCode>m/d/yyyy</c:formatCode>
                <c:ptCount val="4200"/>
                <c:pt idx="0">
                  <c:v>38356</c:v>
                </c:pt>
                <c:pt idx="1">
                  <c:v>38357</c:v>
                </c:pt>
                <c:pt idx="2">
                  <c:v>38358</c:v>
                </c:pt>
                <c:pt idx="3">
                  <c:v>38359</c:v>
                </c:pt>
                <c:pt idx="4">
                  <c:v>38362</c:v>
                </c:pt>
                <c:pt idx="5">
                  <c:v>38363</c:v>
                </c:pt>
                <c:pt idx="6">
                  <c:v>38364</c:v>
                </c:pt>
                <c:pt idx="7">
                  <c:v>38365</c:v>
                </c:pt>
                <c:pt idx="8">
                  <c:v>38366</c:v>
                </c:pt>
                <c:pt idx="9">
                  <c:v>38369</c:v>
                </c:pt>
                <c:pt idx="10">
                  <c:v>38370</c:v>
                </c:pt>
                <c:pt idx="11">
                  <c:v>38371</c:v>
                </c:pt>
                <c:pt idx="12">
                  <c:v>38372</c:v>
                </c:pt>
                <c:pt idx="13">
                  <c:v>38373</c:v>
                </c:pt>
                <c:pt idx="14">
                  <c:v>38376</c:v>
                </c:pt>
                <c:pt idx="15">
                  <c:v>38377</c:v>
                </c:pt>
                <c:pt idx="16">
                  <c:v>38378</c:v>
                </c:pt>
                <c:pt idx="17">
                  <c:v>38379</c:v>
                </c:pt>
                <c:pt idx="18">
                  <c:v>38380</c:v>
                </c:pt>
                <c:pt idx="19">
                  <c:v>38383</c:v>
                </c:pt>
                <c:pt idx="20">
                  <c:v>38384</c:v>
                </c:pt>
                <c:pt idx="21">
                  <c:v>38385</c:v>
                </c:pt>
                <c:pt idx="22">
                  <c:v>38386</c:v>
                </c:pt>
                <c:pt idx="23">
                  <c:v>38387</c:v>
                </c:pt>
                <c:pt idx="24">
                  <c:v>38399</c:v>
                </c:pt>
                <c:pt idx="25">
                  <c:v>38400</c:v>
                </c:pt>
                <c:pt idx="26">
                  <c:v>38401</c:v>
                </c:pt>
                <c:pt idx="27">
                  <c:v>38404</c:v>
                </c:pt>
                <c:pt idx="28">
                  <c:v>38405</c:v>
                </c:pt>
                <c:pt idx="29">
                  <c:v>38406</c:v>
                </c:pt>
                <c:pt idx="30">
                  <c:v>38407</c:v>
                </c:pt>
                <c:pt idx="31">
                  <c:v>38408</c:v>
                </c:pt>
                <c:pt idx="32">
                  <c:v>38411</c:v>
                </c:pt>
                <c:pt idx="33">
                  <c:v>38412</c:v>
                </c:pt>
                <c:pt idx="34">
                  <c:v>38413</c:v>
                </c:pt>
                <c:pt idx="35">
                  <c:v>38414</c:v>
                </c:pt>
                <c:pt idx="36">
                  <c:v>38415</c:v>
                </c:pt>
                <c:pt idx="37">
                  <c:v>38418</c:v>
                </c:pt>
                <c:pt idx="38">
                  <c:v>38419</c:v>
                </c:pt>
                <c:pt idx="39">
                  <c:v>38420</c:v>
                </c:pt>
                <c:pt idx="40">
                  <c:v>38421</c:v>
                </c:pt>
                <c:pt idx="41">
                  <c:v>38422</c:v>
                </c:pt>
                <c:pt idx="42">
                  <c:v>38425</c:v>
                </c:pt>
                <c:pt idx="43">
                  <c:v>38426</c:v>
                </c:pt>
                <c:pt idx="44">
                  <c:v>38427</c:v>
                </c:pt>
                <c:pt idx="45">
                  <c:v>38428</c:v>
                </c:pt>
                <c:pt idx="46">
                  <c:v>38429</c:v>
                </c:pt>
                <c:pt idx="47">
                  <c:v>38432</c:v>
                </c:pt>
                <c:pt idx="48">
                  <c:v>38433</c:v>
                </c:pt>
                <c:pt idx="49">
                  <c:v>38434</c:v>
                </c:pt>
                <c:pt idx="50">
                  <c:v>38435</c:v>
                </c:pt>
                <c:pt idx="51">
                  <c:v>38436</c:v>
                </c:pt>
                <c:pt idx="52">
                  <c:v>38439</c:v>
                </c:pt>
                <c:pt idx="53">
                  <c:v>38440</c:v>
                </c:pt>
                <c:pt idx="54">
                  <c:v>38441</c:v>
                </c:pt>
                <c:pt idx="55">
                  <c:v>38442</c:v>
                </c:pt>
                <c:pt idx="56">
                  <c:v>38443</c:v>
                </c:pt>
                <c:pt idx="57">
                  <c:v>38446</c:v>
                </c:pt>
                <c:pt idx="58">
                  <c:v>38447</c:v>
                </c:pt>
                <c:pt idx="59">
                  <c:v>38448</c:v>
                </c:pt>
                <c:pt idx="60">
                  <c:v>38449</c:v>
                </c:pt>
                <c:pt idx="61">
                  <c:v>38450</c:v>
                </c:pt>
                <c:pt idx="62">
                  <c:v>38453</c:v>
                </c:pt>
                <c:pt idx="63">
                  <c:v>38454</c:v>
                </c:pt>
                <c:pt idx="64">
                  <c:v>38455</c:v>
                </c:pt>
                <c:pt idx="65">
                  <c:v>38456</c:v>
                </c:pt>
                <c:pt idx="66">
                  <c:v>38457</c:v>
                </c:pt>
                <c:pt idx="67">
                  <c:v>38460</c:v>
                </c:pt>
                <c:pt idx="68">
                  <c:v>38461</c:v>
                </c:pt>
                <c:pt idx="69">
                  <c:v>38462</c:v>
                </c:pt>
                <c:pt idx="70">
                  <c:v>38463</c:v>
                </c:pt>
                <c:pt idx="71">
                  <c:v>38464</c:v>
                </c:pt>
                <c:pt idx="72">
                  <c:v>38467</c:v>
                </c:pt>
                <c:pt idx="73">
                  <c:v>38468</c:v>
                </c:pt>
                <c:pt idx="74">
                  <c:v>38469</c:v>
                </c:pt>
                <c:pt idx="75">
                  <c:v>38470</c:v>
                </c:pt>
                <c:pt idx="76">
                  <c:v>38471</c:v>
                </c:pt>
                <c:pt idx="77">
                  <c:v>38481</c:v>
                </c:pt>
                <c:pt idx="78">
                  <c:v>38482</c:v>
                </c:pt>
                <c:pt idx="79">
                  <c:v>38483</c:v>
                </c:pt>
                <c:pt idx="80">
                  <c:v>38484</c:v>
                </c:pt>
                <c:pt idx="81">
                  <c:v>38485</c:v>
                </c:pt>
                <c:pt idx="82">
                  <c:v>38488</c:v>
                </c:pt>
                <c:pt idx="83">
                  <c:v>38489</c:v>
                </c:pt>
                <c:pt idx="84">
                  <c:v>38490</c:v>
                </c:pt>
                <c:pt idx="85">
                  <c:v>38491</c:v>
                </c:pt>
                <c:pt idx="86">
                  <c:v>38492</c:v>
                </c:pt>
                <c:pt idx="87">
                  <c:v>38495</c:v>
                </c:pt>
                <c:pt idx="88">
                  <c:v>38496</c:v>
                </c:pt>
                <c:pt idx="89">
                  <c:v>38497</c:v>
                </c:pt>
                <c:pt idx="90">
                  <c:v>38498</c:v>
                </c:pt>
                <c:pt idx="91">
                  <c:v>38499</c:v>
                </c:pt>
                <c:pt idx="92">
                  <c:v>38502</c:v>
                </c:pt>
                <c:pt idx="93">
                  <c:v>38503</c:v>
                </c:pt>
                <c:pt idx="94">
                  <c:v>38504</c:v>
                </c:pt>
                <c:pt idx="95">
                  <c:v>38505</c:v>
                </c:pt>
                <c:pt idx="96">
                  <c:v>38506</c:v>
                </c:pt>
                <c:pt idx="97">
                  <c:v>38509</c:v>
                </c:pt>
                <c:pt idx="98">
                  <c:v>38510</c:v>
                </c:pt>
                <c:pt idx="99">
                  <c:v>38511</c:v>
                </c:pt>
                <c:pt idx="100">
                  <c:v>38512</c:v>
                </c:pt>
                <c:pt idx="101">
                  <c:v>38513</c:v>
                </c:pt>
                <c:pt idx="102">
                  <c:v>38516</c:v>
                </c:pt>
                <c:pt idx="103">
                  <c:v>38517</c:v>
                </c:pt>
                <c:pt idx="104">
                  <c:v>38518</c:v>
                </c:pt>
                <c:pt idx="105">
                  <c:v>38519</c:v>
                </c:pt>
                <c:pt idx="106">
                  <c:v>38520</c:v>
                </c:pt>
                <c:pt idx="107">
                  <c:v>38523</c:v>
                </c:pt>
                <c:pt idx="108">
                  <c:v>38524</c:v>
                </c:pt>
                <c:pt idx="109">
                  <c:v>38525</c:v>
                </c:pt>
                <c:pt idx="110">
                  <c:v>38526</c:v>
                </c:pt>
                <c:pt idx="111">
                  <c:v>38527</c:v>
                </c:pt>
                <c:pt idx="112">
                  <c:v>38530</c:v>
                </c:pt>
                <c:pt idx="113">
                  <c:v>38531</c:v>
                </c:pt>
                <c:pt idx="114">
                  <c:v>38532</c:v>
                </c:pt>
                <c:pt idx="115">
                  <c:v>38533</c:v>
                </c:pt>
                <c:pt idx="116">
                  <c:v>38534</c:v>
                </c:pt>
                <c:pt idx="117">
                  <c:v>38537</c:v>
                </c:pt>
                <c:pt idx="118">
                  <c:v>38538</c:v>
                </c:pt>
                <c:pt idx="119">
                  <c:v>38539</c:v>
                </c:pt>
                <c:pt idx="120">
                  <c:v>38540</c:v>
                </c:pt>
                <c:pt idx="121">
                  <c:v>38541</c:v>
                </c:pt>
                <c:pt idx="122">
                  <c:v>38544</c:v>
                </c:pt>
                <c:pt idx="123">
                  <c:v>38545</c:v>
                </c:pt>
                <c:pt idx="124">
                  <c:v>38546</c:v>
                </c:pt>
                <c:pt idx="125">
                  <c:v>38547</c:v>
                </c:pt>
                <c:pt idx="126">
                  <c:v>38548</c:v>
                </c:pt>
                <c:pt idx="127">
                  <c:v>38551</c:v>
                </c:pt>
                <c:pt idx="128">
                  <c:v>38552</c:v>
                </c:pt>
                <c:pt idx="129">
                  <c:v>38553</c:v>
                </c:pt>
                <c:pt idx="130">
                  <c:v>38554</c:v>
                </c:pt>
                <c:pt idx="131">
                  <c:v>38555</c:v>
                </c:pt>
                <c:pt idx="132">
                  <c:v>38558</c:v>
                </c:pt>
                <c:pt idx="133">
                  <c:v>38559</c:v>
                </c:pt>
                <c:pt idx="134">
                  <c:v>38560</c:v>
                </c:pt>
                <c:pt idx="135">
                  <c:v>38561</c:v>
                </c:pt>
                <c:pt idx="136">
                  <c:v>38562</c:v>
                </c:pt>
                <c:pt idx="137">
                  <c:v>38565</c:v>
                </c:pt>
                <c:pt idx="138">
                  <c:v>38566</c:v>
                </c:pt>
                <c:pt idx="139">
                  <c:v>38567</c:v>
                </c:pt>
                <c:pt idx="140">
                  <c:v>38568</c:v>
                </c:pt>
                <c:pt idx="141">
                  <c:v>38569</c:v>
                </c:pt>
                <c:pt idx="142">
                  <c:v>38572</c:v>
                </c:pt>
                <c:pt idx="143">
                  <c:v>38573</c:v>
                </c:pt>
                <c:pt idx="144">
                  <c:v>38574</c:v>
                </c:pt>
                <c:pt idx="145">
                  <c:v>38575</c:v>
                </c:pt>
                <c:pt idx="146">
                  <c:v>38576</c:v>
                </c:pt>
                <c:pt idx="147">
                  <c:v>38579</c:v>
                </c:pt>
                <c:pt idx="148">
                  <c:v>38580</c:v>
                </c:pt>
                <c:pt idx="149">
                  <c:v>38581</c:v>
                </c:pt>
                <c:pt idx="150">
                  <c:v>38582</c:v>
                </c:pt>
                <c:pt idx="151">
                  <c:v>38583</c:v>
                </c:pt>
                <c:pt idx="152">
                  <c:v>38586</c:v>
                </c:pt>
                <c:pt idx="153">
                  <c:v>38587</c:v>
                </c:pt>
                <c:pt idx="154">
                  <c:v>38588</c:v>
                </c:pt>
                <c:pt idx="155">
                  <c:v>38589</c:v>
                </c:pt>
                <c:pt idx="156">
                  <c:v>38590</c:v>
                </c:pt>
                <c:pt idx="157">
                  <c:v>38593</c:v>
                </c:pt>
                <c:pt idx="158">
                  <c:v>38594</c:v>
                </c:pt>
                <c:pt idx="159">
                  <c:v>38595</c:v>
                </c:pt>
                <c:pt idx="160">
                  <c:v>38596</c:v>
                </c:pt>
                <c:pt idx="161">
                  <c:v>38597</c:v>
                </c:pt>
                <c:pt idx="162">
                  <c:v>38600</c:v>
                </c:pt>
                <c:pt idx="163">
                  <c:v>38601</c:v>
                </c:pt>
                <c:pt idx="164">
                  <c:v>38602</c:v>
                </c:pt>
                <c:pt idx="165">
                  <c:v>38603</c:v>
                </c:pt>
                <c:pt idx="166">
                  <c:v>38604</c:v>
                </c:pt>
                <c:pt idx="167">
                  <c:v>38607</c:v>
                </c:pt>
                <c:pt idx="168">
                  <c:v>38608</c:v>
                </c:pt>
                <c:pt idx="169">
                  <c:v>38609</c:v>
                </c:pt>
                <c:pt idx="170">
                  <c:v>38610</c:v>
                </c:pt>
                <c:pt idx="171">
                  <c:v>38611</c:v>
                </c:pt>
                <c:pt idx="172">
                  <c:v>38614</c:v>
                </c:pt>
                <c:pt idx="173">
                  <c:v>38615</c:v>
                </c:pt>
                <c:pt idx="174">
                  <c:v>38616</c:v>
                </c:pt>
                <c:pt idx="175">
                  <c:v>38617</c:v>
                </c:pt>
                <c:pt idx="176">
                  <c:v>38618</c:v>
                </c:pt>
                <c:pt idx="177">
                  <c:v>38621</c:v>
                </c:pt>
                <c:pt idx="178">
                  <c:v>38622</c:v>
                </c:pt>
                <c:pt idx="179">
                  <c:v>38623</c:v>
                </c:pt>
                <c:pt idx="180">
                  <c:v>38624</c:v>
                </c:pt>
                <c:pt idx="181">
                  <c:v>38625</c:v>
                </c:pt>
                <c:pt idx="182">
                  <c:v>38635</c:v>
                </c:pt>
                <c:pt idx="183">
                  <c:v>38636</c:v>
                </c:pt>
                <c:pt idx="184">
                  <c:v>38637</c:v>
                </c:pt>
                <c:pt idx="185">
                  <c:v>38638</c:v>
                </c:pt>
                <c:pt idx="186">
                  <c:v>38639</c:v>
                </c:pt>
                <c:pt idx="187">
                  <c:v>38642</c:v>
                </c:pt>
                <c:pt idx="188">
                  <c:v>38643</c:v>
                </c:pt>
                <c:pt idx="189">
                  <c:v>38644</c:v>
                </c:pt>
                <c:pt idx="190">
                  <c:v>38645</c:v>
                </c:pt>
                <c:pt idx="191">
                  <c:v>38646</c:v>
                </c:pt>
                <c:pt idx="192">
                  <c:v>38649</c:v>
                </c:pt>
                <c:pt idx="193">
                  <c:v>38650</c:v>
                </c:pt>
                <c:pt idx="194">
                  <c:v>38651</c:v>
                </c:pt>
                <c:pt idx="195">
                  <c:v>38652</c:v>
                </c:pt>
                <c:pt idx="196">
                  <c:v>38653</c:v>
                </c:pt>
                <c:pt idx="197">
                  <c:v>38656</c:v>
                </c:pt>
                <c:pt idx="198">
                  <c:v>38657</c:v>
                </c:pt>
                <c:pt idx="199">
                  <c:v>38658</c:v>
                </c:pt>
                <c:pt idx="200">
                  <c:v>38659</c:v>
                </c:pt>
                <c:pt idx="201">
                  <c:v>38660</c:v>
                </c:pt>
                <c:pt idx="202">
                  <c:v>38663</c:v>
                </c:pt>
                <c:pt idx="203">
                  <c:v>38664</c:v>
                </c:pt>
                <c:pt idx="204">
                  <c:v>38665</c:v>
                </c:pt>
                <c:pt idx="205">
                  <c:v>38666</c:v>
                </c:pt>
                <c:pt idx="206">
                  <c:v>38667</c:v>
                </c:pt>
                <c:pt idx="207">
                  <c:v>38670</c:v>
                </c:pt>
                <c:pt idx="208">
                  <c:v>38671</c:v>
                </c:pt>
                <c:pt idx="209">
                  <c:v>38672</c:v>
                </c:pt>
                <c:pt idx="210">
                  <c:v>38673</c:v>
                </c:pt>
                <c:pt idx="211">
                  <c:v>38674</c:v>
                </c:pt>
                <c:pt idx="212">
                  <c:v>38677</c:v>
                </c:pt>
                <c:pt idx="213">
                  <c:v>38678</c:v>
                </c:pt>
                <c:pt idx="214">
                  <c:v>38679</c:v>
                </c:pt>
                <c:pt idx="215">
                  <c:v>38680</c:v>
                </c:pt>
                <c:pt idx="216">
                  <c:v>38681</c:v>
                </c:pt>
                <c:pt idx="217">
                  <c:v>38684</c:v>
                </c:pt>
                <c:pt idx="218">
                  <c:v>38685</c:v>
                </c:pt>
                <c:pt idx="219">
                  <c:v>38686</c:v>
                </c:pt>
                <c:pt idx="220">
                  <c:v>38687</c:v>
                </c:pt>
                <c:pt idx="221">
                  <c:v>38688</c:v>
                </c:pt>
                <c:pt idx="222">
                  <c:v>38691</c:v>
                </c:pt>
                <c:pt idx="223">
                  <c:v>38692</c:v>
                </c:pt>
                <c:pt idx="224">
                  <c:v>38693</c:v>
                </c:pt>
                <c:pt idx="225">
                  <c:v>38694</c:v>
                </c:pt>
                <c:pt idx="226">
                  <c:v>38695</c:v>
                </c:pt>
                <c:pt idx="227">
                  <c:v>38698</c:v>
                </c:pt>
                <c:pt idx="228">
                  <c:v>38699</c:v>
                </c:pt>
                <c:pt idx="229">
                  <c:v>38700</c:v>
                </c:pt>
                <c:pt idx="230">
                  <c:v>38701</c:v>
                </c:pt>
                <c:pt idx="231">
                  <c:v>38702</c:v>
                </c:pt>
                <c:pt idx="232">
                  <c:v>38705</c:v>
                </c:pt>
                <c:pt idx="233">
                  <c:v>38706</c:v>
                </c:pt>
                <c:pt idx="234">
                  <c:v>38707</c:v>
                </c:pt>
                <c:pt idx="235">
                  <c:v>38708</c:v>
                </c:pt>
                <c:pt idx="236">
                  <c:v>38709</c:v>
                </c:pt>
                <c:pt idx="237">
                  <c:v>38712</c:v>
                </c:pt>
                <c:pt idx="238">
                  <c:v>38713</c:v>
                </c:pt>
                <c:pt idx="239">
                  <c:v>38714</c:v>
                </c:pt>
                <c:pt idx="240">
                  <c:v>38715</c:v>
                </c:pt>
                <c:pt idx="241">
                  <c:v>38716</c:v>
                </c:pt>
                <c:pt idx="242">
                  <c:v>38721</c:v>
                </c:pt>
                <c:pt idx="243">
                  <c:v>38722</c:v>
                </c:pt>
                <c:pt idx="244">
                  <c:v>38723</c:v>
                </c:pt>
                <c:pt idx="245">
                  <c:v>38726</c:v>
                </c:pt>
                <c:pt idx="246">
                  <c:v>38727</c:v>
                </c:pt>
                <c:pt idx="247">
                  <c:v>38728</c:v>
                </c:pt>
                <c:pt idx="248">
                  <c:v>38729</c:v>
                </c:pt>
                <c:pt idx="249">
                  <c:v>38730</c:v>
                </c:pt>
                <c:pt idx="250">
                  <c:v>38733</c:v>
                </c:pt>
                <c:pt idx="251">
                  <c:v>38734</c:v>
                </c:pt>
                <c:pt idx="252">
                  <c:v>38735</c:v>
                </c:pt>
                <c:pt idx="253">
                  <c:v>38736</c:v>
                </c:pt>
                <c:pt idx="254">
                  <c:v>38737</c:v>
                </c:pt>
                <c:pt idx="255">
                  <c:v>38740</c:v>
                </c:pt>
                <c:pt idx="256">
                  <c:v>38741</c:v>
                </c:pt>
                <c:pt idx="257">
                  <c:v>38742</c:v>
                </c:pt>
                <c:pt idx="258">
                  <c:v>38754</c:v>
                </c:pt>
                <c:pt idx="259">
                  <c:v>38755</c:v>
                </c:pt>
                <c:pt idx="260">
                  <c:v>38756</c:v>
                </c:pt>
                <c:pt idx="261">
                  <c:v>38757</c:v>
                </c:pt>
                <c:pt idx="262">
                  <c:v>38758</c:v>
                </c:pt>
                <c:pt idx="263">
                  <c:v>38761</c:v>
                </c:pt>
                <c:pt idx="264">
                  <c:v>38762</c:v>
                </c:pt>
                <c:pt idx="265">
                  <c:v>38763</c:v>
                </c:pt>
                <c:pt idx="266">
                  <c:v>38764</c:v>
                </c:pt>
                <c:pt idx="267">
                  <c:v>38765</c:v>
                </c:pt>
                <c:pt idx="268">
                  <c:v>38768</c:v>
                </c:pt>
                <c:pt idx="269">
                  <c:v>38769</c:v>
                </c:pt>
                <c:pt idx="270">
                  <c:v>38770</c:v>
                </c:pt>
                <c:pt idx="271">
                  <c:v>38771</c:v>
                </c:pt>
                <c:pt idx="272">
                  <c:v>38772</c:v>
                </c:pt>
                <c:pt idx="273">
                  <c:v>38775</c:v>
                </c:pt>
                <c:pt idx="274">
                  <c:v>38776</c:v>
                </c:pt>
                <c:pt idx="275">
                  <c:v>38777</c:v>
                </c:pt>
                <c:pt idx="276">
                  <c:v>38778</c:v>
                </c:pt>
                <c:pt idx="277">
                  <c:v>38779</c:v>
                </c:pt>
                <c:pt idx="278">
                  <c:v>38782</c:v>
                </c:pt>
                <c:pt idx="279">
                  <c:v>38783</c:v>
                </c:pt>
                <c:pt idx="280">
                  <c:v>38784</c:v>
                </c:pt>
                <c:pt idx="281">
                  <c:v>38785</c:v>
                </c:pt>
                <c:pt idx="282">
                  <c:v>38786</c:v>
                </c:pt>
                <c:pt idx="283">
                  <c:v>38789</c:v>
                </c:pt>
                <c:pt idx="284">
                  <c:v>38790</c:v>
                </c:pt>
                <c:pt idx="285">
                  <c:v>38791</c:v>
                </c:pt>
                <c:pt idx="286">
                  <c:v>38792</c:v>
                </c:pt>
                <c:pt idx="287">
                  <c:v>38793</c:v>
                </c:pt>
                <c:pt idx="288">
                  <c:v>38796</c:v>
                </c:pt>
                <c:pt idx="289">
                  <c:v>38797</c:v>
                </c:pt>
                <c:pt idx="290">
                  <c:v>38798</c:v>
                </c:pt>
                <c:pt idx="291">
                  <c:v>38799</c:v>
                </c:pt>
                <c:pt idx="292">
                  <c:v>38800</c:v>
                </c:pt>
                <c:pt idx="293">
                  <c:v>38803</c:v>
                </c:pt>
                <c:pt idx="294">
                  <c:v>38804</c:v>
                </c:pt>
                <c:pt idx="295">
                  <c:v>38805</c:v>
                </c:pt>
                <c:pt idx="296">
                  <c:v>38806</c:v>
                </c:pt>
                <c:pt idx="297">
                  <c:v>38807</c:v>
                </c:pt>
                <c:pt idx="298">
                  <c:v>38810</c:v>
                </c:pt>
                <c:pt idx="299">
                  <c:v>38811</c:v>
                </c:pt>
                <c:pt idx="300">
                  <c:v>38812</c:v>
                </c:pt>
                <c:pt idx="301">
                  <c:v>38813</c:v>
                </c:pt>
                <c:pt idx="302">
                  <c:v>38814</c:v>
                </c:pt>
                <c:pt idx="303">
                  <c:v>38817</c:v>
                </c:pt>
                <c:pt idx="304">
                  <c:v>38818</c:v>
                </c:pt>
                <c:pt idx="305">
                  <c:v>38819</c:v>
                </c:pt>
                <c:pt idx="306">
                  <c:v>38820</c:v>
                </c:pt>
                <c:pt idx="307">
                  <c:v>38821</c:v>
                </c:pt>
                <c:pt idx="308">
                  <c:v>38824</c:v>
                </c:pt>
                <c:pt idx="309">
                  <c:v>38825</c:v>
                </c:pt>
                <c:pt idx="310">
                  <c:v>38826</c:v>
                </c:pt>
                <c:pt idx="311">
                  <c:v>38827</c:v>
                </c:pt>
                <c:pt idx="312">
                  <c:v>38828</c:v>
                </c:pt>
                <c:pt idx="313">
                  <c:v>38831</c:v>
                </c:pt>
                <c:pt idx="314">
                  <c:v>38832</c:v>
                </c:pt>
                <c:pt idx="315">
                  <c:v>38833</c:v>
                </c:pt>
                <c:pt idx="316">
                  <c:v>38834</c:v>
                </c:pt>
                <c:pt idx="317">
                  <c:v>38835</c:v>
                </c:pt>
                <c:pt idx="318">
                  <c:v>38845</c:v>
                </c:pt>
                <c:pt idx="319">
                  <c:v>38846</c:v>
                </c:pt>
                <c:pt idx="320">
                  <c:v>38847</c:v>
                </c:pt>
                <c:pt idx="321">
                  <c:v>38848</c:v>
                </c:pt>
                <c:pt idx="322">
                  <c:v>38849</c:v>
                </c:pt>
                <c:pt idx="323">
                  <c:v>38852</c:v>
                </c:pt>
                <c:pt idx="324">
                  <c:v>38853</c:v>
                </c:pt>
                <c:pt idx="325">
                  <c:v>38854</c:v>
                </c:pt>
                <c:pt idx="326">
                  <c:v>38855</c:v>
                </c:pt>
                <c:pt idx="327">
                  <c:v>38856</c:v>
                </c:pt>
                <c:pt idx="328">
                  <c:v>38859</c:v>
                </c:pt>
                <c:pt idx="329">
                  <c:v>38860</c:v>
                </c:pt>
                <c:pt idx="330">
                  <c:v>38861</c:v>
                </c:pt>
                <c:pt idx="331">
                  <c:v>38862</c:v>
                </c:pt>
                <c:pt idx="332">
                  <c:v>38863</c:v>
                </c:pt>
                <c:pt idx="333">
                  <c:v>38866</c:v>
                </c:pt>
                <c:pt idx="334">
                  <c:v>38867</c:v>
                </c:pt>
                <c:pt idx="335">
                  <c:v>38868</c:v>
                </c:pt>
                <c:pt idx="336">
                  <c:v>38869</c:v>
                </c:pt>
                <c:pt idx="337">
                  <c:v>38870</c:v>
                </c:pt>
                <c:pt idx="338">
                  <c:v>38873</c:v>
                </c:pt>
                <c:pt idx="339">
                  <c:v>38874</c:v>
                </c:pt>
                <c:pt idx="340">
                  <c:v>38875</c:v>
                </c:pt>
                <c:pt idx="341">
                  <c:v>38876</c:v>
                </c:pt>
                <c:pt idx="342">
                  <c:v>38877</c:v>
                </c:pt>
                <c:pt idx="343">
                  <c:v>38880</c:v>
                </c:pt>
                <c:pt idx="344">
                  <c:v>38881</c:v>
                </c:pt>
                <c:pt idx="345">
                  <c:v>38882</c:v>
                </c:pt>
                <c:pt idx="346">
                  <c:v>38883</c:v>
                </c:pt>
                <c:pt idx="347">
                  <c:v>38884</c:v>
                </c:pt>
                <c:pt idx="348">
                  <c:v>38887</c:v>
                </c:pt>
                <c:pt idx="349">
                  <c:v>38888</c:v>
                </c:pt>
                <c:pt idx="350">
                  <c:v>38889</c:v>
                </c:pt>
                <c:pt idx="351">
                  <c:v>38890</c:v>
                </c:pt>
                <c:pt idx="352">
                  <c:v>38891</c:v>
                </c:pt>
                <c:pt idx="353">
                  <c:v>38894</c:v>
                </c:pt>
                <c:pt idx="354">
                  <c:v>38895</c:v>
                </c:pt>
                <c:pt idx="355">
                  <c:v>38896</c:v>
                </c:pt>
                <c:pt idx="356">
                  <c:v>38897</c:v>
                </c:pt>
                <c:pt idx="357">
                  <c:v>38898</c:v>
                </c:pt>
                <c:pt idx="358">
                  <c:v>38901</c:v>
                </c:pt>
                <c:pt idx="359">
                  <c:v>38902</c:v>
                </c:pt>
                <c:pt idx="360">
                  <c:v>38903</c:v>
                </c:pt>
                <c:pt idx="361">
                  <c:v>38904</c:v>
                </c:pt>
                <c:pt idx="362">
                  <c:v>38905</c:v>
                </c:pt>
                <c:pt idx="363">
                  <c:v>38908</c:v>
                </c:pt>
                <c:pt idx="364">
                  <c:v>38909</c:v>
                </c:pt>
                <c:pt idx="365">
                  <c:v>38910</c:v>
                </c:pt>
                <c:pt idx="366">
                  <c:v>38911</c:v>
                </c:pt>
                <c:pt idx="367">
                  <c:v>38912</c:v>
                </c:pt>
                <c:pt idx="368">
                  <c:v>38915</c:v>
                </c:pt>
                <c:pt idx="369">
                  <c:v>38916</c:v>
                </c:pt>
                <c:pt idx="370">
                  <c:v>38917</c:v>
                </c:pt>
                <c:pt idx="371">
                  <c:v>38918</c:v>
                </c:pt>
                <c:pt idx="372">
                  <c:v>38919</c:v>
                </c:pt>
                <c:pt idx="373">
                  <c:v>38922</c:v>
                </c:pt>
                <c:pt idx="374">
                  <c:v>38923</c:v>
                </c:pt>
                <c:pt idx="375">
                  <c:v>38924</c:v>
                </c:pt>
                <c:pt idx="376">
                  <c:v>38925</c:v>
                </c:pt>
                <c:pt idx="377">
                  <c:v>38926</c:v>
                </c:pt>
                <c:pt idx="378">
                  <c:v>38929</c:v>
                </c:pt>
                <c:pt idx="379">
                  <c:v>38930</c:v>
                </c:pt>
                <c:pt idx="380">
                  <c:v>38931</c:v>
                </c:pt>
                <c:pt idx="381">
                  <c:v>38932</c:v>
                </c:pt>
                <c:pt idx="382">
                  <c:v>38933</c:v>
                </c:pt>
                <c:pt idx="383">
                  <c:v>38936</c:v>
                </c:pt>
                <c:pt idx="384">
                  <c:v>38937</c:v>
                </c:pt>
                <c:pt idx="385">
                  <c:v>38938</c:v>
                </c:pt>
                <c:pt idx="386">
                  <c:v>38939</c:v>
                </c:pt>
                <c:pt idx="387">
                  <c:v>38940</c:v>
                </c:pt>
                <c:pt idx="388">
                  <c:v>38943</c:v>
                </c:pt>
                <c:pt idx="389">
                  <c:v>38944</c:v>
                </c:pt>
                <c:pt idx="390">
                  <c:v>38945</c:v>
                </c:pt>
                <c:pt idx="391">
                  <c:v>38946</c:v>
                </c:pt>
                <c:pt idx="392">
                  <c:v>38947</c:v>
                </c:pt>
                <c:pt idx="393">
                  <c:v>38950</c:v>
                </c:pt>
                <c:pt idx="394">
                  <c:v>38951</c:v>
                </c:pt>
                <c:pt idx="395">
                  <c:v>38952</c:v>
                </c:pt>
                <c:pt idx="396">
                  <c:v>38953</c:v>
                </c:pt>
                <c:pt idx="397">
                  <c:v>38954</c:v>
                </c:pt>
                <c:pt idx="398">
                  <c:v>38957</c:v>
                </c:pt>
                <c:pt idx="399">
                  <c:v>38958</c:v>
                </c:pt>
                <c:pt idx="400">
                  <c:v>38959</c:v>
                </c:pt>
                <c:pt idx="401">
                  <c:v>38960</c:v>
                </c:pt>
                <c:pt idx="402">
                  <c:v>38961</c:v>
                </c:pt>
                <c:pt idx="403">
                  <c:v>38964</c:v>
                </c:pt>
                <c:pt idx="404">
                  <c:v>38965</c:v>
                </c:pt>
                <c:pt idx="405">
                  <c:v>38966</c:v>
                </c:pt>
                <c:pt idx="406">
                  <c:v>38967</c:v>
                </c:pt>
                <c:pt idx="407">
                  <c:v>38968</c:v>
                </c:pt>
                <c:pt idx="408">
                  <c:v>38971</c:v>
                </c:pt>
                <c:pt idx="409">
                  <c:v>38972</c:v>
                </c:pt>
                <c:pt idx="410">
                  <c:v>38973</c:v>
                </c:pt>
                <c:pt idx="411">
                  <c:v>38974</c:v>
                </c:pt>
                <c:pt idx="412">
                  <c:v>38975</c:v>
                </c:pt>
                <c:pt idx="413">
                  <c:v>38978</c:v>
                </c:pt>
                <c:pt idx="414">
                  <c:v>38979</c:v>
                </c:pt>
                <c:pt idx="415">
                  <c:v>38980</c:v>
                </c:pt>
                <c:pt idx="416">
                  <c:v>38981</c:v>
                </c:pt>
                <c:pt idx="417">
                  <c:v>38982</c:v>
                </c:pt>
                <c:pt idx="418">
                  <c:v>38985</c:v>
                </c:pt>
                <c:pt idx="419">
                  <c:v>38986</c:v>
                </c:pt>
                <c:pt idx="420">
                  <c:v>38987</c:v>
                </c:pt>
                <c:pt idx="421">
                  <c:v>38988</c:v>
                </c:pt>
                <c:pt idx="422">
                  <c:v>38989</c:v>
                </c:pt>
                <c:pt idx="423">
                  <c:v>38999</c:v>
                </c:pt>
                <c:pt idx="424">
                  <c:v>39000</c:v>
                </c:pt>
                <c:pt idx="425">
                  <c:v>39001</c:v>
                </c:pt>
                <c:pt idx="426">
                  <c:v>39002</c:v>
                </c:pt>
                <c:pt idx="427">
                  <c:v>39003</c:v>
                </c:pt>
                <c:pt idx="428">
                  <c:v>39006</c:v>
                </c:pt>
                <c:pt idx="429">
                  <c:v>39007</c:v>
                </c:pt>
                <c:pt idx="430">
                  <c:v>39008</c:v>
                </c:pt>
                <c:pt idx="431">
                  <c:v>39009</c:v>
                </c:pt>
                <c:pt idx="432">
                  <c:v>39010</c:v>
                </c:pt>
                <c:pt idx="433">
                  <c:v>39013</c:v>
                </c:pt>
                <c:pt idx="434">
                  <c:v>39014</c:v>
                </c:pt>
                <c:pt idx="435">
                  <c:v>39015</c:v>
                </c:pt>
                <c:pt idx="436">
                  <c:v>39016</c:v>
                </c:pt>
                <c:pt idx="437">
                  <c:v>39017</c:v>
                </c:pt>
                <c:pt idx="438">
                  <c:v>39020</c:v>
                </c:pt>
                <c:pt idx="439">
                  <c:v>39021</c:v>
                </c:pt>
                <c:pt idx="440">
                  <c:v>39022</c:v>
                </c:pt>
                <c:pt idx="441">
                  <c:v>39023</c:v>
                </c:pt>
                <c:pt idx="442">
                  <c:v>39024</c:v>
                </c:pt>
                <c:pt idx="443">
                  <c:v>39027</c:v>
                </c:pt>
                <c:pt idx="444">
                  <c:v>39028</c:v>
                </c:pt>
                <c:pt idx="445">
                  <c:v>39029</c:v>
                </c:pt>
                <c:pt idx="446">
                  <c:v>39030</c:v>
                </c:pt>
                <c:pt idx="447">
                  <c:v>39031</c:v>
                </c:pt>
                <c:pt idx="448">
                  <c:v>39034</c:v>
                </c:pt>
                <c:pt idx="449">
                  <c:v>39035</c:v>
                </c:pt>
                <c:pt idx="450">
                  <c:v>39036</c:v>
                </c:pt>
                <c:pt idx="451">
                  <c:v>39037</c:v>
                </c:pt>
                <c:pt idx="452">
                  <c:v>39038</c:v>
                </c:pt>
                <c:pt idx="453">
                  <c:v>39041</c:v>
                </c:pt>
                <c:pt idx="454">
                  <c:v>39042</c:v>
                </c:pt>
                <c:pt idx="455">
                  <c:v>39043</c:v>
                </c:pt>
                <c:pt idx="456">
                  <c:v>39044</c:v>
                </c:pt>
                <c:pt idx="457">
                  <c:v>39045</c:v>
                </c:pt>
                <c:pt idx="458">
                  <c:v>39048</c:v>
                </c:pt>
                <c:pt idx="459">
                  <c:v>39049</c:v>
                </c:pt>
                <c:pt idx="460">
                  <c:v>39050</c:v>
                </c:pt>
                <c:pt idx="461">
                  <c:v>39051</c:v>
                </c:pt>
                <c:pt idx="462">
                  <c:v>39052</c:v>
                </c:pt>
                <c:pt idx="463">
                  <c:v>39055</c:v>
                </c:pt>
                <c:pt idx="464">
                  <c:v>39056</c:v>
                </c:pt>
                <c:pt idx="465">
                  <c:v>39057</c:v>
                </c:pt>
                <c:pt idx="466">
                  <c:v>39058</c:v>
                </c:pt>
                <c:pt idx="467">
                  <c:v>39059</c:v>
                </c:pt>
                <c:pt idx="468">
                  <c:v>39062</c:v>
                </c:pt>
                <c:pt idx="469">
                  <c:v>39063</c:v>
                </c:pt>
                <c:pt idx="470">
                  <c:v>39064</c:v>
                </c:pt>
                <c:pt idx="471">
                  <c:v>39065</c:v>
                </c:pt>
                <c:pt idx="472">
                  <c:v>39066</c:v>
                </c:pt>
                <c:pt idx="473">
                  <c:v>39069</c:v>
                </c:pt>
                <c:pt idx="474">
                  <c:v>39070</c:v>
                </c:pt>
                <c:pt idx="475">
                  <c:v>39071</c:v>
                </c:pt>
                <c:pt idx="476">
                  <c:v>39072</c:v>
                </c:pt>
                <c:pt idx="477">
                  <c:v>39073</c:v>
                </c:pt>
                <c:pt idx="478">
                  <c:v>39076</c:v>
                </c:pt>
                <c:pt idx="479">
                  <c:v>39077</c:v>
                </c:pt>
                <c:pt idx="480">
                  <c:v>39078</c:v>
                </c:pt>
                <c:pt idx="481">
                  <c:v>39079</c:v>
                </c:pt>
                <c:pt idx="482">
                  <c:v>39080</c:v>
                </c:pt>
                <c:pt idx="483">
                  <c:v>39086</c:v>
                </c:pt>
                <c:pt idx="484">
                  <c:v>39087</c:v>
                </c:pt>
                <c:pt idx="485">
                  <c:v>39090</c:v>
                </c:pt>
                <c:pt idx="486">
                  <c:v>39091</c:v>
                </c:pt>
                <c:pt idx="487">
                  <c:v>39092</c:v>
                </c:pt>
                <c:pt idx="488">
                  <c:v>39093</c:v>
                </c:pt>
                <c:pt idx="489">
                  <c:v>39094</c:v>
                </c:pt>
                <c:pt idx="490">
                  <c:v>39097</c:v>
                </c:pt>
                <c:pt idx="491">
                  <c:v>39098</c:v>
                </c:pt>
                <c:pt idx="492">
                  <c:v>39099</c:v>
                </c:pt>
                <c:pt idx="493">
                  <c:v>39100</c:v>
                </c:pt>
                <c:pt idx="494">
                  <c:v>39101</c:v>
                </c:pt>
                <c:pt idx="495">
                  <c:v>39104</c:v>
                </c:pt>
                <c:pt idx="496">
                  <c:v>39105</c:v>
                </c:pt>
                <c:pt idx="497">
                  <c:v>39106</c:v>
                </c:pt>
                <c:pt idx="498">
                  <c:v>39107</c:v>
                </c:pt>
                <c:pt idx="499">
                  <c:v>39108</c:v>
                </c:pt>
                <c:pt idx="500">
                  <c:v>39111</c:v>
                </c:pt>
                <c:pt idx="501">
                  <c:v>39112</c:v>
                </c:pt>
                <c:pt idx="502">
                  <c:v>39113</c:v>
                </c:pt>
                <c:pt idx="503">
                  <c:v>39114</c:v>
                </c:pt>
                <c:pt idx="504">
                  <c:v>39115</c:v>
                </c:pt>
                <c:pt idx="505">
                  <c:v>39118</c:v>
                </c:pt>
                <c:pt idx="506">
                  <c:v>39119</c:v>
                </c:pt>
                <c:pt idx="507">
                  <c:v>39120</c:v>
                </c:pt>
                <c:pt idx="508">
                  <c:v>39121</c:v>
                </c:pt>
                <c:pt idx="509">
                  <c:v>39122</c:v>
                </c:pt>
                <c:pt idx="510">
                  <c:v>39125</c:v>
                </c:pt>
                <c:pt idx="511">
                  <c:v>39126</c:v>
                </c:pt>
                <c:pt idx="512">
                  <c:v>39127</c:v>
                </c:pt>
                <c:pt idx="513">
                  <c:v>39128</c:v>
                </c:pt>
                <c:pt idx="514">
                  <c:v>39129</c:v>
                </c:pt>
                <c:pt idx="515">
                  <c:v>39139</c:v>
                </c:pt>
                <c:pt idx="516">
                  <c:v>39140</c:v>
                </c:pt>
                <c:pt idx="517">
                  <c:v>39141</c:v>
                </c:pt>
                <c:pt idx="518">
                  <c:v>39142</c:v>
                </c:pt>
                <c:pt idx="519">
                  <c:v>39143</c:v>
                </c:pt>
                <c:pt idx="520">
                  <c:v>39146</c:v>
                </c:pt>
                <c:pt idx="521">
                  <c:v>39147</c:v>
                </c:pt>
                <c:pt idx="522">
                  <c:v>39148</c:v>
                </c:pt>
                <c:pt idx="523">
                  <c:v>39149</c:v>
                </c:pt>
                <c:pt idx="524">
                  <c:v>39150</c:v>
                </c:pt>
                <c:pt idx="525">
                  <c:v>39153</c:v>
                </c:pt>
                <c:pt idx="526">
                  <c:v>39154</c:v>
                </c:pt>
                <c:pt idx="527">
                  <c:v>39155</c:v>
                </c:pt>
                <c:pt idx="528">
                  <c:v>39156</c:v>
                </c:pt>
                <c:pt idx="529">
                  <c:v>39157</c:v>
                </c:pt>
                <c:pt idx="530">
                  <c:v>39160</c:v>
                </c:pt>
                <c:pt idx="531">
                  <c:v>39161</c:v>
                </c:pt>
                <c:pt idx="532">
                  <c:v>39162</c:v>
                </c:pt>
                <c:pt idx="533">
                  <c:v>39163</c:v>
                </c:pt>
                <c:pt idx="534">
                  <c:v>39164</c:v>
                </c:pt>
                <c:pt idx="535">
                  <c:v>39167</c:v>
                </c:pt>
                <c:pt idx="536">
                  <c:v>39168</c:v>
                </c:pt>
                <c:pt idx="537">
                  <c:v>39169</c:v>
                </c:pt>
                <c:pt idx="538">
                  <c:v>39170</c:v>
                </c:pt>
                <c:pt idx="539">
                  <c:v>39171</c:v>
                </c:pt>
                <c:pt idx="540">
                  <c:v>39174</c:v>
                </c:pt>
                <c:pt idx="541">
                  <c:v>39175</c:v>
                </c:pt>
                <c:pt idx="542">
                  <c:v>39176</c:v>
                </c:pt>
                <c:pt idx="543">
                  <c:v>39177</c:v>
                </c:pt>
                <c:pt idx="544">
                  <c:v>39178</c:v>
                </c:pt>
                <c:pt idx="545">
                  <c:v>39181</c:v>
                </c:pt>
                <c:pt idx="546">
                  <c:v>39182</c:v>
                </c:pt>
                <c:pt idx="547">
                  <c:v>39183</c:v>
                </c:pt>
                <c:pt idx="548">
                  <c:v>39184</c:v>
                </c:pt>
                <c:pt idx="549">
                  <c:v>39185</c:v>
                </c:pt>
                <c:pt idx="550">
                  <c:v>39188</c:v>
                </c:pt>
                <c:pt idx="551">
                  <c:v>39189</c:v>
                </c:pt>
                <c:pt idx="552">
                  <c:v>39190</c:v>
                </c:pt>
                <c:pt idx="553">
                  <c:v>39191</c:v>
                </c:pt>
                <c:pt idx="554">
                  <c:v>39192</c:v>
                </c:pt>
                <c:pt idx="555">
                  <c:v>39195</c:v>
                </c:pt>
                <c:pt idx="556">
                  <c:v>39196</c:v>
                </c:pt>
                <c:pt idx="557">
                  <c:v>39197</c:v>
                </c:pt>
                <c:pt idx="558">
                  <c:v>39198</c:v>
                </c:pt>
                <c:pt idx="559">
                  <c:v>39199</c:v>
                </c:pt>
                <c:pt idx="560">
                  <c:v>39202</c:v>
                </c:pt>
                <c:pt idx="561">
                  <c:v>39210</c:v>
                </c:pt>
                <c:pt idx="562">
                  <c:v>39211</c:v>
                </c:pt>
                <c:pt idx="563">
                  <c:v>39212</c:v>
                </c:pt>
                <c:pt idx="564">
                  <c:v>39213</c:v>
                </c:pt>
                <c:pt idx="565">
                  <c:v>39216</c:v>
                </c:pt>
                <c:pt idx="566">
                  <c:v>39217</c:v>
                </c:pt>
                <c:pt idx="567">
                  <c:v>39218</c:v>
                </c:pt>
                <c:pt idx="568">
                  <c:v>39219</c:v>
                </c:pt>
                <c:pt idx="569">
                  <c:v>39220</c:v>
                </c:pt>
                <c:pt idx="570">
                  <c:v>39223</c:v>
                </c:pt>
                <c:pt idx="571">
                  <c:v>39224</c:v>
                </c:pt>
                <c:pt idx="572">
                  <c:v>39225</c:v>
                </c:pt>
                <c:pt idx="573">
                  <c:v>39226</c:v>
                </c:pt>
                <c:pt idx="574">
                  <c:v>39227</c:v>
                </c:pt>
                <c:pt idx="575">
                  <c:v>39230</c:v>
                </c:pt>
                <c:pt idx="576">
                  <c:v>39231</c:v>
                </c:pt>
                <c:pt idx="577">
                  <c:v>39232</c:v>
                </c:pt>
                <c:pt idx="578">
                  <c:v>39233</c:v>
                </c:pt>
                <c:pt idx="579">
                  <c:v>39234</c:v>
                </c:pt>
                <c:pt idx="580">
                  <c:v>39237</c:v>
                </c:pt>
                <c:pt idx="581">
                  <c:v>39238</c:v>
                </c:pt>
                <c:pt idx="582">
                  <c:v>39239</c:v>
                </c:pt>
                <c:pt idx="583">
                  <c:v>39240</c:v>
                </c:pt>
                <c:pt idx="584">
                  <c:v>39241</c:v>
                </c:pt>
                <c:pt idx="585">
                  <c:v>39244</c:v>
                </c:pt>
                <c:pt idx="586">
                  <c:v>39245</c:v>
                </c:pt>
                <c:pt idx="587">
                  <c:v>39246</c:v>
                </c:pt>
                <c:pt idx="588">
                  <c:v>39247</c:v>
                </c:pt>
                <c:pt idx="589">
                  <c:v>39248</c:v>
                </c:pt>
                <c:pt idx="590">
                  <c:v>39251</c:v>
                </c:pt>
                <c:pt idx="591">
                  <c:v>39252</c:v>
                </c:pt>
                <c:pt idx="592">
                  <c:v>39253</c:v>
                </c:pt>
                <c:pt idx="593">
                  <c:v>39254</c:v>
                </c:pt>
                <c:pt idx="594">
                  <c:v>39255</c:v>
                </c:pt>
                <c:pt idx="595">
                  <c:v>39258</c:v>
                </c:pt>
                <c:pt idx="596">
                  <c:v>39259</c:v>
                </c:pt>
                <c:pt idx="597">
                  <c:v>39260</c:v>
                </c:pt>
                <c:pt idx="598">
                  <c:v>39261</c:v>
                </c:pt>
                <c:pt idx="599">
                  <c:v>39262</c:v>
                </c:pt>
                <c:pt idx="600">
                  <c:v>39265</c:v>
                </c:pt>
                <c:pt idx="601">
                  <c:v>39266</c:v>
                </c:pt>
                <c:pt idx="602">
                  <c:v>39267</c:v>
                </c:pt>
                <c:pt idx="603">
                  <c:v>39268</c:v>
                </c:pt>
                <c:pt idx="604">
                  <c:v>39269</c:v>
                </c:pt>
                <c:pt idx="605">
                  <c:v>39272</c:v>
                </c:pt>
                <c:pt idx="606">
                  <c:v>39273</c:v>
                </c:pt>
                <c:pt idx="607">
                  <c:v>39274</c:v>
                </c:pt>
                <c:pt idx="608">
                  <c:v>39275</c:v>
                </c:pt>
                <c:pt idx="609">
                  <c:v>39276</c:v>
                </c:pt>
                <c:pt idx="610">
                  <c:v>39279</c:v>
                </c:pt>
                <c:pt idx="611">
                  <c:v>39280</c:v>
                </c:pt>
                <c:pt idx="612">
                  <c:v>39281</c:v>
                </c:pt>
                <c:pt idx="613">
                  <c:v>39282</c:v>
                </c:pt>
                <c:pt idx="614">
                  <c:v>39283</c:v>
                </c:pt>
                <c:pt idx="615">
                  <c:v>39286</c:v>
                </c:pt>
                <c:pt idx="616">
                  <c:v>39287</c:v>
                </c:pt>
                <c:pt idx="617">
                  <c:v>39288</c:v>
                </c:pt>
                <c:pt idx="618">
                  <c:v>39289</c:v>
                </c:pt>
                <c:pt idx="619">
                  <c:v>39290</c:v>
                </c:pt>
                <c:pt idx="620">
                  <c:v>39293</c:v>
                </c:pt>
                <c:pt idx="621">
                  <c:v>39294</c:v>
                </c:pt>
                <c:pt idx="622">
                  <c:v>39295</c:v>
                </c:pt>
                <c:pt idx="623">
                  <c:v>39296</c:v>
                </c:pt>
                <c:pt idx="624">
                  <c:v>39297</c:v>
                </c:pt>
                <c:pt idx="625">
                  <c:v>39300</c:v>
                </c:pt>
                <c:pt idx="626">
                  <c:v>39301</c:v>
                </c:pt>
                <c:pt idx="627">
                  <c:v>39302</c:v>
                </c:pt>
                <c:pt idx="628">
                  <c:v>39303</c:v>
                </c:pt>
                <c:pt idx="629">
                  <c:v>39304</c:v>
                </c:pt>
                <c:pt idx="630">
                  <c:v>39307</c:v>
                </c:pt>
                <c:pt idx="631">
                  <c:v>39308</c:v>
                </c:pt>
                <c:pt idx="632">
                  <c:v>39309</c:v>
                </c:pt>
                <c:pt idx="633">
                  <c:v>39310</c:v>
                </c:pt>
                <c:pt idx="634">
                  <c:v>39311</c:v>
                </c:pt>
                <c:pt idx="635">
                  <c:v>39314</c:v>
                </c:pt>
                <c:pt idx="636">
                  <c:v>39315</c:v>
                </c:pt>
                <c:pt idx="637">
                  <c:v>39316</c:v>
                </c:pt>
                <c:pt idx="638">
                  <c:v>39317</c:v>
                </c:pt>
                <c:pt idx="639">
                  <c:v>39318</c:v>
                </c:pt>
                <c:pt idx="640">
                  <c:v>39321</c:v>
                </c:pt>
                <c:pt idx="641">
                  <c:v>39322</c:v>
                </c:pt>
                <c:pt idx="642">
                  <c:v>39323</c:v>
                </c:pt>
                <c:pt idx="643">
                  <c:v>39324</c:v>
                </c:pt>
                <c:pt idx="644">
                  <c:v>39325</c:v>
                </c:pt>
                <c:pt idx="645">
                  <c:v>39328</c:v>
                </c:pt>
                <c:pt idx="646">
                  <c:v>39329</c:v>
                </c:pt>
                <c:pt idx="647">
                  <c:v>39330</c:v>
                </c:pt>
                <c:pt idx="648">
                  <c:v>39331</c:v>
                </c:pt>
                <c:pt idx="649">
                  <c:v>39332</c:v>
                </c:pt>
                <c:pt idx="650">
                  <c:v>39335</c:v>
                </c:pt>
                <c:pt idx="651">
                  <c:v>39336</c:v>
                </c:pt>
                <c:pt idx="652">
                  <c:v>39337</c:v>
                </c:pt>
                <c:pt idx="653">
                  <c:v>39338</c:v>
                </c:pt>
                <c:pt idx="654">
                  <c:v>39339</c:v>
                </c:pt>
                <c:pt idx="655">
                  <c:v>39342</c:v>
                </c:pt>
                <c:pt idx="656">
                  <c:v>39343</c:v>
                </c:pt>
                <c:pt idx="657">
                  <c:v>39344</c:v>
                </c:pt>
                <c:pt idx="658">
                  <c:v>39345</c:v>
                </c:pt>
                <c:pt idx="659">
                  <c:v>39346</c:v>
                </c:pt>
                <c:pt idx="660">
                  <c:v>39349</c:v>
                </c:pt>
                <c:pt idx="661">
                  <c:v>39350</c:v>
                </c:pt>
                <c:pt idx="662">
                  <c:v>39351</c:v>
                </c:pt>
                <c:pt idx="663">
                  <c:v>39352</c:v>
                </c:pt>
                <c:pt idx="664">
                  <c:v>39353</c:v>
                </c:pt>
                <c:pt idx="665">
                  <c:v>39363</c:v>
                </c:pt>
                <c:pt idx="666">
                  <c:v>39364</c:v>
                </c:pt>
                <c:pt idx="667">
                  <c:v>39365</c:v>
                </c:pt>
                <c:pt idx="668">
                  <c:v>39366</c:v>
                </c:pt>
                <c:pt idx="669">
                  <c:v>39367</c:v>
                </c:pt>
                <c:pt idx="670">
                  <c:v>39370</c:v>
                </c:pt>
                <c:pt idx="671">
                  <c:v>39371</c:v>
                </c:pt>
                <c:pt idx="672">
                  <c:v>39372</c:v>
                </c:pt>
                <c:pt idx="673">
                  <c:v>39373</c:v>
                </c:pt>
                <c:pt idx="674">
                  <c:v>39374</c:v>
                </c:pt>
                <c:pt idx="675">
                  <c:v>39377</c:v>
                </c:pt>
                <c:pt idx="676">
                  <c:v>39378</c:v>
                </c:pt>
                <c:pt idx="677">
                  <c:v>39379</c:v>
                </c:pt>
                <c:pt idx="678">
                  <c:v>39380</c:v>
                </c:pt>
                <c:pt idx="679">
                  <c:v>39381</c:v>
                </c:pt>
                <c:pt idx="680">
                  <c:v>39384</c:v>
                </c:pt>
                <c:pt idx="681">
                  <c:v>39385</c:v>
                </c:pt>
                <c:pt idx="682">
                  <c:v>39386</c:v>
                </c:pt>
                <c:pt idx="683">
                  <c:v>39387</c:v>
                </c:pt>
                <c:pt idx="684">
                  <c:v>39388</c:v>
                </c:pt>
                <c:pt idx="685">
                  <c:v>39391</c:v>
                </c:pt>
                <c:pt idx="686">
                  <c:v>39392</c:v>
                </c:pt>
                <c:pt idx="687">
                  <c:v>39393</c:v>
                </c:pt>
                <c:pt idx="688">
                  <c:v>39394</c:v>
                </c:pt>
                <c:pt idx="689">
                  <c:v>39395</c:v>
                </c:pt>
                <c:pt idx="690">
                  <c:v>39398</c:v>
                </c:pt>
                <c:pt idx="691">
                  <c:v>39399</c:v>
                </c:pt>
                <c:pt idx="692">
                  <c:v>39400</c:v>
                </c:pt>
                <c:pt idx="693">
                  <c:v>39401</c:v>
                </c:pt>
                <c:pt idx="694">
                  <c:v>39402</c:v>
                </c:pt>
                <c:pt idx="695">
                  <c:v>39405</c:v>
                </c:pt>
                <c:pt idx="696">
                  <c:v>39406</c:v>
                </c:pt>
                <c:pt idx="697">
                  <c:v>39407</c:v>
                </c:pt>
                <c:pt idx="698">
                  <c:v>39408</c:v>
                </c:pt>
                <c:pt idx="699">
                  <c:v>39409</c:v>
                </c:pt>
                <c:pt idx="700">
                  <c:v>39412</c:v>
                </c:pt>
                <c:pt idx="701">
                  <c:v>39413</c:v>
                </c:pt>
                <c:pt idx="702">
                  <c:v>39414</c:v>
                </c:pt>
                <c:pt idx="703">
                  <c:v>39415</c:v>
                </c:pt>
                <c:pt idx="704">
                  <c:v>39416</c:v>
                </c:pt>
                <c:pt idx="705">
                  <c:v>39419</c:v>
                </c:pt>
                <c:pt idx="706">
                  <c:v>39420</c:v>
                </c:pt>
                <c:pt idx="707">
                  <c:v>39421</c:v>
                </c:pt>
                <c:pt idx="708">
                  <c:v>39422</c:v>
                </c:pt>
                <c:pt idx="709">
                  <c:v>39423</c:v>
                </c:pt>
                <c:pt idx="710">
                  <c:v>39426</c:v>
                </c:pt>
                <c:pt idx="711">
                  <c:v>39427</c:v>
                </c:pt>
                <c:pt idx="712">
                  <c:v>39428</c:v>
                </c:pt>
                <c:pt idx="713">
                  <c:v>39429</c:v>
                </c:pt>
                <c:pt idx="714">
                  <c:v>39430</c:v>
                </c:pt>
                <c:pt idx="715">
                  <c:v>39433</c:v>
                </c:pt>
                <c:pt idx="716">
                  <c:v>39434</c:v>
                </c:pt>
                <c:pt idx="717">
                  <c:v>39435</c:v>
                </c:pt>
                <c:pt idx="718">
                  <c:v>39436</c:v>
                </c:pt>
                <c:pt idx="719">
                  <c:v>39437</c:v>
                </c:pt>
                <c:pt idx="720">
                  <c:v>39440</c:v>
                </c:pt>
                <c:pt idx="721">
                  <c:v>39441</c:v>
                </c:pt>
                <c:pt idx="722">
                  <c:v>39442</c:v>
                </c:pt>
                <c:pt idx="723">
                  <c:v>39443</c:v>
                </c:pt>
                <c:pt idx="724">
                  <c:v>39444</c:v>
                </c:pt>
                <c:pt idx="725">
                  <c:v>39449</c:v>
                </c:pt>
                <c:pt idx="726">
                  <c:v>39450</c:v>
                </c:pt>
                <c:pt idx="727">
                  <c:v>39451</c:v>
                </c:pt>
                <c:pt idx="728">
                  <c:v>39454</c:v>
                </c:pt>
                <c:pt idx="729">
                  <c:v>39455</c:v>
                </c:pt>
                <c:pt idx="730">
                  <c:v>39456</c:v>
                </c:pt>
                <c:pt idx="731">
                  <c:v>39457</c:v>
                </c:pt>
                <c:pt idx="732">
                  <c:v>39458</c:v>
                </c:pt>
                <c:pt idx="733">
                  <c:v>39461</c:v>
                </c:pt>
                <c:pt idx="734">
                  <c:v>39462</c:v>
                </c:pt>
                <c:pt idx="735">
                  <c:v>39463</c:v>
                </c:pt>
                <c:pt idx="736">
                  <c:v>39464</c:v>
                </c:pt>
                <c:pt idx="737">
                  <c:v>39465</c:v>
                </c:pt>
                <c:pt idx="738">
                  <c:v>39468</c:v>
                </c:pt>
                <c:pt idx="739">
                  <c:v>39469</c:v>
                </c:pt>
                <c:pt idx="740">
                  <c:v>39470</c:v>
                </c:pt>
                <c:pt idx="741">
                  <c:v>39471</c:v>
                </c:pt>
                <c:pt idx="742">
                  <c:v>39472</c:v>
                </c:pt>
                <c:pt idx="743">
                  <c:v>39475</c:v>
                </c:pt>
                <c:pt idx="744">
                  <c:v>39476</c:v>
                </c:pt>
                <c:pt idx="745">
                  <c:v>39477</c:v>
                </c:pt>
                <c:pt idx="746">
                  <c:v>39478</c:v>
                </c:pt>
                <c:pt idx="747">
                  <c:v>39479</c:v>
                </c:pt>
                <c:pt idx="748">
                  <c:v>39482</c:v>
                </c:pt>
                <c:pt idx="749">
                  <c:v>39483</c:v>
                </c:pt>
                <c:pt idx="750">
                  <c:v>39491</c:v>
                </c:pt>
                <c:pt idx="751">
                  <c:v>39492</c:v>
                </c:pt>
                <c:pt idx="752">
                  <c:v>39493</c:v>
                </c:pt>
                <c:pt idx="753">
                  <c:v>39496</c:v>
                </c:pt>
                <c:pt idx="754">
                  <c:v>39497</c:v>
                </c:pt>
                <c:pt idx="755">
                  <c:v>39498</c:v>
                </c:pt>
                <c:pt idx="756">
                  <c:v>39499</c:v>
                </c:pt>
                <c:pt idx="757">
                  <c:v>39500</c:v>
                </c:pt>
                <c:pt idx="758">
                  <c:v>39503</c:v>
                </c:pt>
                <c:pt idx="759">
                  <c:v>39504</c:v>
                </c:pt>
                <c:pt idx="760">
                  <c:v>39505</c:v>
                </c:pt>
                <c:pt idx="761">
                  <c:v>39506</c:v>
                </c:pt>
                <c:pt idx="762">
                  <c:v>39507</c:v>
                </c:pt>
                <c:pt idx="763">
                  <c:v>39510</c:v>
                </c:pt>
                <c:pt idx="764">
                  <c:v>39511</c:v>
                </c:pt>
                <c:pt idx="765">
                  <c:v>39512</c:v>
                </c:pt>
                <c:pt idx="766">
                  <c:v>39513</c:v>
                </c:pt>
                <c:pt idx="767">
                  <c:v>39514</c:v>
                </c:pt>
                <c:pt idx="768">
                  <c:v>39517</c:v>
                </c:pt>
                <c:pt idx="769">
                  <c:v>39518</c:v>
                </c:pt>
                <c:pt idx="770">
                  <c:v>39519</c:v>
                </c:pt>
                <c:pt idx="771">
                  <c:v>39520</c:v>
                </c:pt>
                <c:pt idx="772">
                  <c:v>39521</c:v>
                </c:pt>
                <c:pt idx="773">
                  <c:v>39524</c:v>
                </c:pt>
                <c:pt idx="774">
                  <c:v>39525</c:v>
                </c:pt>
                <c:pt idx="775">
                  <c:v>39526</c:v>
                </c:pt>
                <c:pt idx="776">
                  <c:v>39527</c:v>
                </c:pt>
                <c:pt idx="777">
                  <c:v>39528</c:v>
                </c:pt>
                <c:pt idx="778">
                  <c:v>39531</c:v>
                </c:pt>
                <c:pt idx="779">
                  <c:v>39532</c:v>
                </c:pt>
                <c:pt idx="780">
                  <c:v>39533</c:v>
                </c:pt>
                <c:pt idx="781">
                  <c:v>39534</c:v>
                </c:pt>
                <c:pt idx="782">
                  <c:v>39535</c:v>
                </c:pt>
                <c:pt idx="783">
                  <c:v>39538</c:v>
                </c:pt>
                <c:pt idx="784">
                  <c:v>39539</c:v>
                </c:pt>
                <c:pt idx="785">
                  <c:v>39540</c:v>
                </c:pt>
                <c:pt idx="786">
                  <c:v>39541</c:v>
                </c:pt>
                <c:pt idx="787">
                  <c:v>39545</c:v>
                </c:pt>
                <c:pt idx="788">
                  <c:v>39546</c:v>
                </c:pt>
                <c:pt idx="789">
                  <c:v>39547</c:v>
                </c:pt>
                <c:pt idx="790">
                  <c:v>39548</c:v>
                </c:pt>
                <c:pt idx="791">
                  <c:v>39549</c:v>
                </c:pt>
                <c:pt idx="792">
                  <c:v>39552</c:v>
                </c:pt>
                <c:pt idx="793">
                  <c:v>39553</c:v>
                </c:pt>
                <c:pt idx="794">
                  <c:v>39554</c:v>
                </c:pt>
                <c:pt idx="795">
                  <c:v>39555</c:v>
                </c:pt>
                <c:pt idx="796">
                  <c:v>39556</c:v>
                </c:pt>
                <c:pt idx="797">
                  <c:v>39559</c:v>
                </c:pt>
                <c:pt idx="798">
                  <c:v>39560</c:v>
                </c:pt>
                <c:pt idx="799">
                  <c:v>39561</c:v>
                </c:pt>
                <c:pt idx="800">
                  <c:v>39562</c:v>
                </c:pt>
                <c:pt idx="801">
                  <c:v>39563</c:v>
                </c:pt>
                <c:pt idx="802">
                  <c:v>39566</c:v>
                </c:pt>
                <c:pt idx="803">
                  <c:v>39567</c:v>
                </c:pt>
                <c:pt idx="804">
                  <c:v>39568</c:v>
                </c:pt>
                <c:pt idx="805">
                  <c:v>39573</c:v>
                </c:pt>
                <c:pt idx="806">
                  <c:v>39574</c:v>
                </c:pt>
                <c:pt idx="807">
                  <c:v>39575</c:v>
                </c:pt>
                <c:pt idx="808">
                  <c:v>39576</c:v>
                </c:pt>
                <c:pt idx="809">
                  <c:v>39577</c:v>
                </c:pt>
                <c:pt idx="810">
                  <c:v>39580</c:v>
                </c:pt>
                <c:pt idx="811">
                  <c:v>39581</c:v>
                </c:pt>
                <c:pt idx="812">
                  <c:v>39582</c:v>
                </c:pt>
                <c:pt idx="813">
                  <c:v>39583</c:v>
                </c:pt>
                <c:pt idx="814">
                  <c:v>39584</c:v>
                </c:pt>
                <c:pt idx="815">
                  <c:v>39587</c:v>
                </c:pt>
                <c:pt idx="816">
                  <c:v>39588</c:v>
                </c:pt>
                <c:pt idx="817">
                  <c:v>39589</c:v>
                </c:pt>
                <c:pt idx="818">
                  <c:v>39590</c:v>
                </c:pt>
                <c:pt idx="819">
                  <c:v>39591</c:v>
                </c:pt>
                <c:pt idx="820">
                  <c:v>39594</c:v>
                </c:pt>
                <c:pt idx="821">
                  <c:v>39595</c:v>
                </c:pt>
                <c:pt idx="822">
                  <c:v>39596</c:v>
                </c:pt>
                <c:pt idx="823">
                  <c:v>39597</c:v>
                </c:pt>
                <c:pt idx="824">
                  <c:v>39598</c:v>
                </c:pt>
                <c:pt idx="825">
                  <c:v>39601</c:v>
                </c:pt>
                <c:pt idx="826">
                  <c:v>39602</c:v>
                </c:pt>
                <c:pt idx="827">
                  <c:v>39603</c:v>
                </c:pt>
                <c:pt idx="828">
                  <c:v>39604</c:v>
                </c:pt>
                <c:pt idx="829">
                  <c:v>39605</c:v>
                </c:pt>
                <c:pt idx="830">
                  <c:v>39609</c:v>
                </c:pt>
                <c:pt idx="831">
                  <c:v>39610</c:v>
                </c:pt>
                <c:pt idx="832">
                  <c:v>39611</c:v>
                </c:pt>
                <c:pt idx="833">
                  <c:v>39612</c:v>
                </c:pt>
                <c:pt idx="834">
                  <c:v>39615</c:v>
                </c:pt>
                <c:pt idx="835">
                  <c:v>39616</c:v>
                </c:pt>
                <c:pt idx="836">
                  <c:v>39617</c:v>
                </c:pt>
                <c:pt idx="837">
                  <c:v>39618</c:v>
                </c:pt>
                <c:pt idx="838">
                  <c:v>39619</c:v>
                </c:pt>
                <c:pt idx="839">
                  <c:v>39622</c:v>
                </c:pt>
                <c:pt idx="840">
                  <c:v>39623</c:v>
                </c:pt>
                <c:pt idx="841">
                  <c:v>39624</c:v>
                </c:pt>
                <c:pt idx="842">
                  <c:v>39625</c:v>
                </c:pt>
                <c:pt idx="843">
                  <c:v>39626</c:v>
                </c:pt>
                <c:pt idx="844">
                  <c:v>39629</c:v>
                </c:pt>
                <c:pt idx="845">
                  <c:v>39630</c:v>
                </c:pt>
                <c:pt idx="846">
                  <c:v>39631</c:v>
                </c:pt>
                <c:pt idx="847">
                  <c:v>39632</c:v>
                </c:pt>
                <c:pt idx="848">
                  <c:v>39633</c:v>
                </c:pt>
                <c:pt idx="849">
                  <c:v>39636</c:v>
                </c:pt>
                <c:pt idx="850">
                  <c:v>39637</c:v>
                </c:pt>
                <c:pt idx="851">
                  <c:v>39638</c:v>
                </c:pt>
                <c:pt idx="852">
                  <c:v>39639</c:v>
                </c:pt>
                <c:pt idx="853">
                  <c:v>39640</c:v>
                </c:pt>
                <c:pt idx="854">
                  <c:v>39643</c:v>
                </c:pt>
                <c:pt idx="855">
                  <c:v>39644</c:v>
                </c:pt>
                <c:pt idx="856">
                  <c:v>39645</c:v>
                </c:pt>
                <c:pt idx="857">
                  <c:v>39646</c:v>
                </c:pt>
                <c:pt idx="858">
                  <c:v>39647</c:v>
                </c:pt>
                <c:pt idx="859">
                  <c:v>39650</c:v>
                </c:pt>
                <c:pt idx="860">
                  <c:v>39651</c:v>
                </c:pt>
                <c:pt idx="861">
                  <c:v>39652</c:v>
                </c:pt>
                <c:pt idx="862">
                  <c:v>39653</c:v>
                </c:pt>
                <c:pt idx="863">
                  <c:v>39654</c:v>
                </c:pt>
                <c:pt idx="864">
                  <c:v>39657</c:v>
                </c:pt>
                <c:pt idx="865">
                  <c:v>39658</c:v>
                </c:pt>
                <c:pt idx="866">
                  <c:v>39659</c:v>
                </c:pt>
                <c:pt idx="867">
                  <c:v>39660</c:v>
                </c:pt>
                <c:pt idx="868">
                  <c:v>39661</c:v>
                </c:pt>
                <c:pt idx="869">
                  <c:v>39664</c:v>
                </c:pt>
                <c:pt idx="870">
                  <c:v>39665</c:v>
                </c:pt>
                <c:pt idx="871">
                  <c:v>39666</c:v>
                </c:pt>
                <c:pt idx="872">
                  <c:v>39667</c:v>
                </c:pt>
                <c:pt idx="873">
                  <c:v>39668</c:v>
                </c:pt>
                <c:pt idx="874">
                  <c:v>39671</c:v>
                </c:pt>
                <c:pt idx="875">
                  <c:v>39672</c:v>
                </c:pt>
                <c:pt idx="876">
                  <c:v>39673</c:v>
                </c:pt>
                <c:pt idx="877">
                  <c:v>39674</c:v>
                </c:pt>
                <c:pt idx="878">
                  <c:v>39675</c:v>
                </c:pt>
                <c:pt idx="879">
                  <c:v>39678</c:v>
                </c:pt>
                <c:pt idx="880">
                  <c:v>39679</c:v>
                </c:pt>
                <c:pt idx="881">
                  <c:v>39680</c:v>
                </c:pt>
                <c:pt idx="882">
                  <c:v>39681</c:v>
                </c:pt>
                <c:pt idx="883">
                  <c:v>39682</c:v>
                </c:pt>
                <c:pt idx="884">
                  <c:v>39685</c:v>
                </c:pt>
                <c:pt idx="885">
                  <c:v>39686</c:v>
                </c:pt>
                <c:pt idx="886">
                  <c:v>39687</c:v>
                </c:pt>
                <c:pt idx="887">
                  <c:v>39688</c:v>
                </c:pt>
                <c:pt idx="888">
                  <c:v>39689</c:v>
                </c:pt>
                <c:pt idx="889">
                  <c:v>39692</c:v>
                </c:pt>
                <c:pt idx="890">
                  <c:v>39693</c:v>
                </c:pt>
                <c:pt idx="891">
                  <c:v>39694</c:v>
                </c:pt>
                <c:pt idx="892">
                  <c:v>39695</c:v>
                </c:pt>
                <c:pt idx="893">
                  <c:v>39696</c:v>
                </c:pt>
                <c:pt idx="894">
                  <c:v>39699</c:v>
                </c:pt>
                <c:pt idx="895">
                  <c:v>39700</c:v>
                </c:pt>
                <c:pt idx="896">
                  <c:v>39701</c:v>
                </c:pt>
                <c:pt idx="897">
                  <c:v>39702</c:v>
                </c:pt>
                <c:pt idx="898">
                  <c:v>39703</c:v>
                </c:pt>
                <c:pt idx="899">
                  <c:v>39707</c:v>
                </c:pt>
                <c:pt idx="900">
                  <c:v>39708</c:v>
                </c:pt>
                <c:pt idx="901">
                  <c:v>39709</c:v>
                </c:pt>
                <c:pt idx="902">
                  <c:v>39710</c:v>
                </c:pt>
                <c:pt idx="903">
                  <c:v>39713</c:v>
                </c:pt>
                <c:pt idx="904">
                  <c:v>39714</c:v>
                </c:pt>
                <c:pt idx="905">
                  <c:v>39715</c:v>
                </c:pt>
                <c:pt idx="906">
                  <c:v>39716</c:v>
                </c:pt>
                <c:pt idx="907">
                  <c:v>39717</c:v>
                </c:pt>
                <c:pt idx="908">
                  <c:v>39727</c:v>
                </c:pt>
                <c:pt idx="909">
                  <c:v>39728</c:v>
                </c:pt>
                <c:pt idx="910">
                  <c:v>39729</c:v>
                </c:pt>
                <c:pt idx="911">
                  <c:v>39730</c:v>
                </c:pt>
                <c:pt idx="912">
                  <c:v>39731</c:v>
                </c:pt>
                <c:pt idx="913">
                  <c:v>39734</c:v>
                </c:pt>
                <c:pt idx="914">
                  <c:v>39735</c:v>
                </c:pt>
                <c:pt idx="915">
                  <c:v>39736</c:v>
                </c:pt>
                <c:pt idx="916">
                  <c:v>39737</c:v>
                </c:pt>
                <c:pt idx="917">
                  <c:v>39738</c:v>
                </c:pt>
                <c:pt idx="918">
                  <c:v>39741</c:v>
                </c:pt>
                <c:pt idx="919">
                  <c:v>39742</c:v>
                </c:pt>
                <c:pt idx="920">
                  <c:v>39743</c:v>
                </c:pt>
                <c:pt idx="921">
                  <c:v>39744</c:v>
                </c:pt>
                <c:pt idx="922">
                  <c:v>39745</c:v>
                </c:pt>
                <c:pt idx="923">
                  <c:v>39748</c:v>
                </c:pt>
                <c:pt idx="924">
                  <c:v>39749</c:v>
                </c:pt>
                <c:pt idx="925">
                  <c:v>39750</c:v>
                </c:pt>
                <c:pt idx="926">
                  <c:v>39751</c:v>
                </c:pt>
                <c:pt idx="927">
                  <c:v>39752</c:v>
                </c:pt>
                <c:pt idx="928">
                  <c:v>39755</c:v>
                </c:pt>
                <c:pt idx="929">
                  <c:v>39756</c:v>
                </c:pt>
                <c:pt idx="930">
                  <c:v>39757</c:v>
                </c:pt>
                <c:pt idx="931">
                  <c:v>39758</c:v>
                </c:pt>
                <c:pt idx="932">
                  <c:v>39759</c:v>
                </c:pt>
                <c:pt idx="933">
                  <c:v>39762</c:v>
                </c:pt>
                <c:pt idx="934">
                  <c:v>39763</c:v>
                </c:pt>
                <c:pt idx="935">
                  <c:v>39764</c:v>
                </c:pt>
                <c:pt idx="936">
                  <c:v>39765</c:v>
                </c:pt>
                <c:pt idx="937">
                  <c:v>39766</c:v>
                </c:pt>
                <c:pt idx="938">
                  <c:v>39769</c:v>
                </c:pt>
                <c:pt idx="939">
                  <c:v>39770</c:v>
                </c:pt>
                <c:pt idx="940">
                  <c:v>39771</c:v>
                </c:pt>
                <c:pt idx="941">
                  <c:v>39772</c:v>
                </c:pt>
                <c:pt idx="942">
                  <c:v>39773</c:v>
                </c:pt>
                <c:pt idx="943">
                  <c:v>39776</c:v>
                </c:pt>
                <c:pt idx="944">
                  <c:v>39777</c:v>
                </c:pt>
                <c:pt idx="945">
                  <c:v>39778</c:v>
                </c:pt>
                <c:pt idx="946">
                  <c:v>39779</c:v>
                </c:pt>
                <c:pt idx="947">
                  <c:v>39780</c:v>
                </c:pt>
                <c:pt idx="948">
                  <c:v>39783</c:v>
                </c:pt>
                <c:pt idx="949">
                  <c:v>39784</c:v>
                </c:pt>
                <c:pt idx="950">
                  <c:v>39785</c:v>
                </c:pt>
                <c:pt idx="951">
                  <c:v>39786</c:v>
                </c:pt>
                <c:pt idx="952">
                  <c:v>39787</c:v>
                </c:pt>
                <c:pt idx="953">
                  <c:v>39790</c:v>
                </c:pt>
                <c:pt idx="954">
                  <c:v>39791</c:v>
                </c:pt>
                <c:pt idx="955">
                  <c:v>39792</c:v>
                </c:pt>
                <c:pt idx="956">
                  <c:v>39793</c:v>
                </c:pt>
                <c:pt idx="957">
                  <c:v>39794</c:v>
                </c:pt>
                <c:pt idx="958">
                  <c:v>39797</c:v>
                </c:pt>
                <c:pt idx="959">
                  <c:v>39798</c:v>
                </c:pt>
                <c:pt idx="960">
                  <c:v>39799</c:v>
                </c:pt>
                <c:pt idx="961">
                  <c:v>39800</c:v>
                </c:pt>
                <c:pt idx="962">
                  <c:v>39801</c:v>
                </c:pt>
                <c:pt idx="963">
                  <c:v>39804</c:v>
                </c:pt>
                <c:pt idx="964">
                  <c:v>39805</c:v>
                </c:pt>
                <c:pt idx="965">
                  <c:v>39806</c:v>
                </c:pt>
                <c:pt idx="966">
                  <c:v>39807</c:v>
                </c:pt>
                <c:pt idx="967">
                  <c:v>39808</c:v>
                </c:pt>
                <c:pt idx="968">
                  <c:v>39811</c:v>
                </c:pt>
                <c:pt idx="969">
                  <c:v>39812</c:v>
                </c:pt>
                <c:pt idx="970">
                  <c:v>39813</c:v>
                </c:pt>
                <c:pt idx="971">
                  <c:v>39818</c:v>
                </c:pt>
                <c:pt idx="972">
                  <c:v>39819</c:v>
                </c:pt>
                <c:pt idx="973">
                  <c:v>39820</c:v>
                </c:pt>
                <c:pt idx="974">
                  <c:v>39821</c:v>
                </c:pt>
                <c:pt idx="975">
                  <c:v>39822</c:v>
                </c:pt>
                <c:pt idx="976">
                  <c:v>39825</c:v>
                </c:pt>
                <c:pt idx="977">
                  <c:v>39826</c:v>
                </c:pt>
                <c:pt idx="978">
                  <c:v>39827</c:v>
                </c:pt>
                <c:pt idx="979">
                  <c:v>39828</c:v>
                </c:pt>
                <c:pt idx="980">
                  <c:v>39829</c:v>
                </c:pt>
                <c:pt idx="981">
                  <c:v>39832</c:v>
                </c:pt>
                <c:pt idx="982">
                  <c:v>39833</c:v>
                </c:pt>
                <c:pt idx="983">
                  <c:v>39834</c:v>
                </c:pt>
                <c:pt idx="984">
                  <c:v>39835</c:v>
                </c:pt>
                <c:pt idx="985">
                  <c:v>39836</c:v>
                </c:pt>
                <c:pt idx="986">
                  <c:v>39846</c:v>
                </c:pt>
                <c:pt idx="987">
                  <c:v>39847</c:v>
                </c:pt>
                <c:pt idx="988">
                  <c:v>39848</c:v>
                </c:pt>
                <c:pt idx="989">
                  <c:v>39849</c:v>
                </c:pt>
                <c:pt idx="990">
                  <c:v>39850</c:v>
                </c:pt>
                <c:pt idx="991">
                  <c:v>39853</c:v>
                </c:pt>
                <c:pt idx="992">
                  <c:v>39854</c:v>
                </c:pt>
                <c:pt idx="993">
                  <c:v>39855</c:v>
                </c:pt>
                <c:pt idx="994">
                  <c:v>39856</c:v>
                </c:pt>
                <c:pt idx="995">
                  <c:v>39857</c:v>
                </c:pt>
                <c:pt idx="996">
                  <c:v>39860</c:v>
                </c:pt>
                <c:pt idx="997">
                  <c:v>39861</c:v>
                </c:pt>
                <c:pt idx="998">
                  <c:v>39862</c:v>
                </c:pt>
                <c:pt idx="999">
                  <c:v>39863</c:v>
                </c:pt>
                <c:pt idx="1000">
                  <c:v>39864</c:v>
                </c:pt>
                <c:pt idx="1001">
                  <c:v>39867</c:v>
                </c:pt>
                <c:pt idx="1002">
                  <c:v>39868</c:v>
                </c:pt>
                <c:pt idx="1003">
                  <c:v>39869</c:v>
                </c:pt>
                <c:pt idx="1004">
                  <c:v>39870</c:v>
                </c:pt>
                <c:pt idx="1005">
                  <c:v>39871</c:v>
                </c:pt>
                <c:pt idx="1006">
                  <c:v>39874</c:v>
                </c:pt>
                <c:pt idx="1007">
                  <c:v>39875</c:v>
                </c:pt>
                <c:pt idx="1008">
                  <c:v>39876</c:v>
                </c:pt>
                <c:pt idx="1009">
                  <c:v>39877</c:v>
                </c:pt>
                <c:pt idx="1010">
                  <c:v>39878</c:v>
                </c:pt>
                <c:pt idx="1011">
                  <c:v>39881</c:v>
                </c:pt>
                <c:pt idx="1012">
                  <c:v>39882</c:v>
                </c:pt>
                <c:pt idx="1013">
                  <c:v>39883</c:v>
                </c:pt>
                <c:pt idx="1014">
                  <c:v>39884</c:v>
                </c:pt>
                <c:pt idx="1015">
                  <c:v>39885</c:v>
                </c:pt>
                <c:pt idx="1016">
                  <c:v>39888</c:v>
                </c:pt>
                <c:pt idx="1017">
                  <c:v>39889</c:v>
                </c:pt>
                <c:pt idx="1018">
                  <c:v>39890</c:v>
                </c:pt>
                <c:pt idx="1019">
                  <c:v>39891</c:v>
                </c:pt>
                <c:pt idx="1020">
                  <c:v>39892</c:v>
                </c:pt>
                <c:pt idx="1021">
                  <c:v>39895</c:v>
                </c:pt>
                <c:pt idx="1022">
                  <c:v>39896</c:v>
                </c:pt>
                <c:pt idx="1023">
                  <c:v>39897</c:v>
                </c:pt>
                <c:pt idx="1024">
                  <c:v>39898</c:v>
                </c:pt>
                <c:pt idx="1025">
                  <c:v>39899</c:v>
                </c:pt>
                <c:pt idx="1026">
                  <c:v>39902</c:v>
                </c:pt>
                <c:pt idx="1027">
                  <c:v>39903</c:v>
                </c:pt>
                <c:pt idx="1028">
                  <c:v>39904</c:v>
                </c:pt>
                <c:pt idx="1029">
                  <c:v>39905</c:v>
                </c:pt>
                <c:pt idx="1030">
                  <c:v>39906</c:v>
                </c:pt>
                <c:pt idx="1031">
                  <c:v>39910</c:v>
                </c:pt>
                <c:pt idx="1032">
                  <c:v>39911</c:v>
                </c:pt>
                <c:pt idx="1033">
                  <c:v>39912</c:v>
                </c:pt>
                <c:pt idx="1034">
                  <c:v>39913</c:v>
                </c:pt>
                <c:pt idx="1035">
                  <c:v>39916</c:v>
                </c:pt>
                <c:pt idx="1036">
                  <c:v>39917</c:v>
                </c:pt>
                <c:pt idx="1037">
                  <c:v>39918</c:v>
                </c:pt>
                <c:pt idx="1038">
                  <c:v>39919</c:v>
                </c:pt>
                <c:pt idx="1039">
                  <c:v>39920</c:v>
                </c:pt>
                <c:pt idx="1040">
                  <c:v>39923</c:v>
                </c:pt>
                <c:pt idx="1041">
                  <c:v>39924</c:v>
                </c:pt>
                <c:pt idx="1042">
                  <c:v>39925</c:v>
                </c:pt>
                <c:pt idx="1043">
                  <c:v>39926</c:v>
                </c:pt>
                <c:pt idx="1044">
                  <c:v>39927</c:v>
                </c:pt>
                <c:pt idx="1045">
                  <c:v>39930</c:v>
                </c:pt>
                <c:pt idx="1046">
                  <c:v>39931</c:v>
                </c:pt>
                <c:pt idx="1047">
                  <c:v>39932</c:v>
                </c:pt>
                <c:pt idx="1048">
                  <c:v>39933</c:v>
                </c:pt>
                <c:pt idx="1049">
                  <c:v>39937</c:v>
                </c:pt>
                <c:pt idx="1050">
                  <c:v>39938</c:v>
                </c:pt>
                <c:pt idx="1051">
                  <c:v>39939</c:v>
                </c:pt>
                <c:pt idx="1052">
                  <c:v>39940</c:v>
                </c:pt>
                <c:pt idx="1053">
                  <c:v>39941</c:v>
                </c:pt>
                <c:pt idx="1054">
                  <c:v>39944</c:v>
                </c:pt>
                <c:pt idx="1055">
                  <c:v>39945</c:v>
                </c:pt>
                <c:pt idx="1056">
                  <c:v>39946</c:v>
                </c:pt>
                <c:pt idx="1057">
                  <c:v>39947</c:v>
                </c:pt>
                <c:pt idx="1058">
                  <c:v>39948</c:v>
                </c:pt>
                <c:pt idx="1059">
                  <c:v>39951</c:v>
                </c:pt>
                <c:pt idx="1060">
                  <c:v>39952</c:v>
                </c:pt>
                <c:pt idx="1061">
                  <c:v>39953</c:v>
                </c:pt>
                <c:pt idx="1062">
                  <c:v>39954</c:v>
                </c:pt>
                <c:pt idx="1063">
                  <c:v>39955</c:v>
                </c:pt>
                <c:pt idx="1064">
                  <c:v>39958</c:v>
                </c:pt>
                <c:pt idx="1065">
                  <c:v>39959</c:v>
                </c:pt>
                <c:pt idx="1066">
                  <c:v>39960</c:v>
                </c:pt>
                <c:pt idx="1067">
                  <c:v>39965</c:v>
                </c:pt>
                <c:pt idx="1068">
                  <c:v>39966</c:v>
                </c:pt>
                <c:pt idx="1069">
                  <c:v>39967</c:v>
                </c:pt>
                <c:pt idx="1070">
                  <c:v>39968</c:v>
                </c:pt>
                <c:pt idx="1071">
                  <c:v>39969</c:v>
                </c:pt>
                <c:pt idx="1072">
                  <c:v>39972</c:v>
                </c:pt>
                <c:pt idx="1073">
                  <c:v>39973</c:v>
                </c:pt>
                <c:pt idx="1074">
                  <c:v>39974</c:v>
                </c:pt>
                <c:pt idx="1075">
                  <c:v>39975</c:v>
                </c:pt>
                <c:pt idx="1076">
                  <c:v>39976</c:v>
                </c:pt>
                <c:pt idx="1077">
                  <c:v>39979</c:v>
                </c:pt>
                <c:pt idx="1078">
                  <c:v>39980</c:v>
                </c:pt>
                <c:pt idx="1079">
                  <c:v>39981</c:v>
                </c:pt>
                <c:pt idx="1080">
                  <c:v>39982</c:v>
                </c:pt>
                <c:pt idx="1081">
                  <c:v>39983</c:v>
                </c:pt>
                <c:pt idx="1082">
                  <c:v>39986</c:v>
                </c:pt>
                <c:pt idx="1083">
                  <c:v>39987</c:v>
                </c:pt>
                <c:pt idx="1084">
                  <c:v>39988</c:v>
                </c:pt>
                <c:pt idx="1085">
                  <c:v>39989</c:v>
                </c:pt>
                <c:pt idx="1086">
                  <c:v>39990</c:v>
                </c:pt>
                <c:pt idx="1087">
                  <c:v>39993</c:v>
                </c:pt>
                <c:pt idx="1088">
                  <c:v>39994</c:v>
                </c:pt>
                <c:pt idx="1089">
                  <c:v>39995</c:v>
                </c:pt>
                <c:pt idx="1090">
                  <c:v>39996</c:v>
                </c:pt>
                <c:pt idx="1091">
                  <c:v>39997</c:v>
                </c:pt>
                <c:pt idx="1092">
                  <c:v>40000</c:v>
                </c:pt>
                <c:pt idx="1093">
                  <c:v>40001</c:v>
                </c:pt>
                <c:pt idx="1094">
                  <c:v>40002</c:v>
                </c:pt>
                <c:pt idx="1095">
                  <c:v>40003</c:v>
                </c:pt>
                <c:pt idx="1096">
                  <c:v>40004</c:v>
                </c:pt>
                <c:pt idx="1097">
                  <c:v>40007</c:v>
                </c:pt>
                <c:pt idx="1098">
                  <c:v>40008</c:v>
                </c:pt>
                <c:pt idx="1099">
                  <c:v>40009</c:v>
                </c:pt>
                <c:pt idx="1100">
                  <c:v>40010</c:v>
                </c:pt>
                <c:pt idx="1101">
                  <c:v>40011</c:v>
                </c:pt>
                <c:pt idx="1102">
                  <c:v>40014</c:v>
                </c:pt>
                <c:pt idx="1103">
                  <c:v>40015</c:v>
                </c:pt>
                <c:pt idx="1104">
                  <c:v>40016</c:v>
                </c:pt>
                <c:pt idx="1105">
                  <c:v>40017</c:v>
                </c:pt>
                <c:pt idx="1106">
                  <c:v>40018</c:v>
                </c:pt>
                <c:pt idx="1107">
                  <c:v>40021</c:v>
                </c:pt>
                <c:pt idx="1108">
                  <c:v>40022</c:v>
                </c:pt>
                <c:pt idx="1109">
                  <c:v>40023</c:v>
                </c:pt>
                <c:pt idx="1110">
                  <c:v>40024</c:v>
                </c:pt>
                <c:pt idx="1111">
                  <c:v>40025</c:v>
                </c:pt>
                <c:pt idx="1112">
                  <c:v>40028</c:v>
                </c:pt>
                <c:pt idx="1113">
                  <c:v>40029</c:v>
                </c:pt>
                <c:pt idx="1114">
                  <c:v>40030</c:v>
                </c:pt>
                <c:pt idx="1115">
                  <c:v>40031</c:v>
                </c:pt>
                <c:pt idx="1116">
                  <c:v>40032</c:v>
                </c:pt>
                <c:pt idx="1117">
                  <c:v>40035</c:v>
                </c:pt>
                <c:pt idx="1118">
                  <c:v>40036</c:v>
                </c:pt>
                <c:pt idx="1119">
                  <c:v>40037</c:v>
                </c:pt>
                <c:pt idx="1120">
                  <c:v>40038</c:v>
                </c:pt>
                <c:pt idx="1121">
                  <c:v>40039</c:v>
                </c:pt>
                <c:pt idx="1122">
                  <c:v>40042</c:v>
                </c:pt>
                <c:pt idx="1123">
                  <c:v>40043</c:v>
                </c:pt>
                <c:pt idx="1124">
                  <c:v>40044</c:v>
                </c:pt>
                <c:pt idx="1125">
                  <c:v>40045</c:v>
                </c:pt>
                <c:pt idx="1126">
                  <c:v>40046</c:v>
                </c:pt>
                <c:pt idx="1127">
                  <c:v>40049</c:v>
                </c:pt>
                <c:pt idx="1128">
                  <c:v>40050</c:v>
                </c:pt>
                <c:pt idx="1129">
                  <c:v>40051</c:v>
                </c:pt>
                <c:pt idx="1130">
                  <c:v>40052</c:v>
                </c:pt>
                <c:pt idx="1131">
                  <c:v>40053</c:v>
                </c:pt>
                <c:pt idx="1132">
                  <c:v>40056</c:v>
                </c:pt>
                <c:pt idx="1133">
                  <c:v>40057</c:v>
                </c:pt>
                <c:pt idx="1134">
                  <c:v>40058</c:v>
                </c:pt>
                <c:pt idx="1135">
                  <c:v>40059</c:v>
                </c:pt>
                <c:pt idx="1136">
                  <c:v>40060</c:v>
                </c:pt>
                <c:pt idx="1137">
                  <c:v>40063</c:v>
                </c:pt>
                <c:pt idx="1138">
                  <c:v>40064</c:v>
                </c:pt>
                <c:pt idx="1139">
                  <c:v>40065</c:v>
                </c:pt>
                <c:pt idx="1140">
                  <c:v>40066</c:v>
                </c:pt>
                <c:pt idx="1141">
                  <c:v>40067</c:v>
                </c:pt>
                <c:pt idx="1142">
                  <c:v>40070</c:v>
                </c:pt>
                <c:pt idx="1143">
                  <c:v>40071</c:v>
                </c:pt>
                <c:pt idx="1144">
                  <c:v>40072</c:v>
                </c:pt>
                <c:pt idx="1145">
                  <c:v>40073</c:v>
                </c:pt>
                <c:pt idx="1146">
                  <c:v>40074</c:v>
                </c:pt>
                <c:pt idx="1147">
                  <c:v>40077</c:v>
                </c:pt>
                <c:pt idx="1148">
                  <c:v>40078</c:v>
                </c:pt>
                <c:pt idx="1149">
                  <c:v>40079</c:v>
                </c:pt>
                <c:pt idx="1150">
                  <c:v>40080</c:v>
                </c:pt>
                <c:pt idx="1151">
                  <c:v>40081</c:v>
                </c:pt>
                <c:pt idx="1152">
                  <c:v>40084</c:v>
                </c:pt>
                <c:pt idx="1153">
                  <c:v>40085</c:v>
                </c:pt>
                <c:pt idx="1154">
                  <c:v>40086</c:v>
                </c:pt>
                <c:pt idx="1155">
                  <c:v>40095</c:v>
                </c:pt>
                <c:pt idx="1156">
                  <c:v>40098</c:v>
                </c:pt>
                <c:pt idx="1157">
                  <c:v>40099</c:v>
                </c:pt>
                <c:pt idx="1158">
                  <c:v>40100</c:v>
                </c:pt>
                <c:pt idx="1159">
                  <c:v>40101</c:v>
                </c:pt>
                <c:pt idx="1160">
                  <c:v>40102</c:v>
                </c:pt>
                <c:pt idx="1161">
                  <c:v>40105</c:v>
                </c:pt>
                <c:pt idx="1162">
                  <c:v>40106</c:v>
                </c:pt>
                <c:pt idx="1163">
                  <c:v>40107</c:v>
                </c:pt>
                <c:pt idx="1164">
                  <c:v>40108</c:v>
                </c:pt>
                <c:pt idx="1165">
                  <c:v>40109</c:v>
                </c:pt>
                <c:pt idx="1166">
                  <c:v>40112</c:v>
                </c:pt>
                <c:pt idx="1167">
                  <c:v>40113</c:v>
                </c:pt>
                <c:pt idx="1168">
                  <c:v>40114</c:v>
                </c:pt>
                <c:pt idx="1169">
                  <c:v>40115</c:v>
                </c:pt>
                <c:pt idx="1170">
                  <c:v>40116</c:v>
                </c:pt>
                <c:pt idx="1171">
                  <c:v>40119</c:v>
                </c:pt>
                <c:pt idx="1172">
                  <c:v>40120</c:v>
                </c:pt>
                <c:pt idx="1173">
                  <c:v>40121</c:v>
                </c:pt>
                <c:pt idx="1174">
                  <c:v>40122</c:v>
                </c:pt>
                <c:pt idx="1175">
                  <c:v>40123</c:v>
                </c:pt>
                <c:pt idx="1176">
                  <c:v>40126</c:v>
                </c:pt>
                <c:pt idx="1177">
                  <c:v>40127</c:v>
                </c:pt>
                <c:pt idx="1178">
                  <c:v>40128</c:v>
                </c:pt>
                <c:pt idx="1179">
                  <c:v>40129</c:v>
                </c:pt>
                <c:pt idx="1180">
                  <c:v>40130</c:v>
                </c:pt>
                <c:pt idx="1181">
                  <c:v>40133</c:v>
                </c:pt>
                <c:pt idx="1182">
                  <c:v>40134</c:v>
                </c:pt>
                <c:pt idx="1183">
                  <c:v>40135</c:v>
                </c:pt>
                <c:pt idx="1184">
                  <c:v>40136</c:v>
                </c:pt>
                <c:pt idx="1185">
                  <c:v>40137</c:v>
                </c:pt>
                <c:pt idx="1186">
                  <c:v>40140</c:v>
                </c:pt>
                <c:pt idx="1187">
                  <c:v>40141</c:v>
                </c:pt>
                <c:pt idx="1188">
                  <c:v>40142</c:v>
                </c:pt>
                <c:pt idx="1189">
                  <c:v>40143</c:v>
                </c:pt>
                <c:pt idx="1190">
                  <c:v>40144</c:v>
                </c:pt>
                <c:pt idx="1191">
                  <c:v>40147</c:v>
                </c:pt>
                <c:pt idx="1192">
                  <c:v>40148</c:v>
                </c:pt>
                <c:pt idx="1193">
                  <c:v>40149</c:v>
                </c:pt>
                <c:pt idx="1194">
                  <c:v>40150</c:v>
                </c:pt>
                <c:pt idx="1195">
                  <c:v>40151</c:v>
                </c:pt>
                <c:pt idx="1196">
                  <c:v>40154</c:v>
                </c:pt>
                <c:pt idx="1197">
                  <c:v>40155</c:v>
                </c:pt>
                <c:pt idx="1198">
                  <c:v>40156</c:v>
                </c:pt>
                <c:pt idx="1199">
                  <c:v>40157</c:v>
                </c:pt>
                <c:pt idx="1200">
                  <c:v>40158</c:v>
                </c:pt>
                <c:pt idx="1201">
                  <c:v>40161</c:v>
                </c:pt>
                <c:pt idx="1202">
                  <c:v>40162</c:v>
                </c:pt>
                <c:pt idx="1203">
                  <c:v>40163</c:v>
                </c:pt>
                <c:pt idx="1204">
                  <c:v>40164</c:v>
                </c:pt>
                <c:pt idx="1205">
                  <c:v>40165</c:v>
                </c:pt>
                <c:pt idx="1206">
                  <c:v>40168</c:v>
                </c:pt>
                <c:pt idx="1207">
                  <c:v>40169</c:v>
                </c:pt>
                <c:pt idx="1208">
                  <c:v>40170</c:v>
                </c:pt>
                <c:pt idx="1209">
                  <c:v>40171</c:v>
                </c:pt>
                <c:pt idx="1210">
                  <c:v>40172</c:v>
                </c:pt>
                <c:pt idx="1211">
                  <c:v>40175</c:v>
                </c:pt>
                <c:pt idx="1212">
                  <c:v>40176</c:v>
                </c:pt>
                <c:pt idx="1213">
                  <c:v>40177</c:v>
                </c:pt>
                <c:pt idx="1214">
                  <c:v>40178</c:v>
                </c:pt>
                <c:pt idx="1215">
                  <c:v>40182</c:v>
                </c:pt>
                <c:pt idx="1216">
                  <c:v>40183</c:v>
                </c:pt>
                <c:pt idx="1217">
                  <c:v>40184</c:v>
                </c:pt>
                <c:pt idx="1218">
                  <c:v>40185</c:v>
                </c:pt>
                <c:pt idx="1219">
                  <c:v>40186</c:v>
                </c:pt>
                <c:pt idx="1220">
                  <c:v>40189</c:v>
                </c:pt>
                <c:pt idx="1221">
                  <c:v>40190</c:v>
                </c:pt>
                <c:pt idx="1222">
                  <c:v>40191</c:v>
                </c:pt>
                <c:pt idx="1223">
                  <c:v>40192</c:v>
                </c:pt>
                <c:pt idx="1224">
                  <c:v>40193</c:v>
                </c:pt>
                <c:pt idx="1225">
                  <c:v>40196</c:v>
                </c:pt>
                <c:pt idx="1226">
                  <c:v>40197</c:v>
                </c:pt>
                <c:pt idx="1227">
                  <c:v>40198</c:v>
                </c:pt>
                <c:pt idx="1228">
                  <c:v>40199</c:v>
                </c:pt>
                <c:pt idx="1229">
                  <c:v>40200</c:v>
                </c:pt>
                <c:pt idx="1230">
                  <c:v>40203</c:v>
                </c:pt>
                <c:pt idx="1231">
                  <c:v>40204</c:v>
                </c:pt>
                <c:pt idx="1232">
                  <c:v>40205</c:v>
                </c:pt>
                <c:pt idx="1233">
                  <c:v>40206</c:v>
                </c:pt>
                <c:pt idx="1234">
                  <c:v>40207</c:v>
                </c:pt>
                <c:pt idx="1235">
                  <c:v>40210</c:v>
                </c:pt>
                <c:pt idx="1236">
                  <c:v>40211</c:v>
                </c:pt>
                <c:pt idx="1237">
                  <c:v>40212</c:v>
                </c:pt>
                <c:pt idx="1238">
                  <c:v>40213</c:v>
                </c:pt>
                <c:pt idx="1239">
                  <c:v>40214</c:v>
                </c:pt>
                <c:pt idx="1240">
                  <c:v>40217</c:v>
                </c:pt>
                <c:pt idx="1241">
                  <c:v>40218</c:v>
                </c:pt>
                <c:pt idx="1242">
                  <c:v>40219</c:v>
                </c:pt>
                <c:pt idx="1243">
                  <c:v>40220</c:v>
                </c:pt>
                <c:pt idx="1244">
                  <c:v>40221</c:v>
                </c:pt>
                <c:pt idx="1245">
                  <c:v>40231</c:v>
                </c:pt>
                <c:pt idx="1246">
                  <c:v>40232</c:v>
                </c:pt>
                <c:pt idx="1247">
                  <c:v>40233</c:v>
                </c:pt>
                <c:pt idx="1248">
                  <c:v>40234</c:v>
                </c:pt>
                <c:pt idx="1249">
                  <c:v>40235</c:v>
                </c:pt>
                <c:pt idx="1250">
                  <c:v>40238</c:v>
                </c:pt>
                <c:pt idx="1251">
                  <c:v>40239</c:v>
                </c:pt>
                <c:pt idx="1252">
                  <c:v>40240</c:v>
                </c:pt>
                <c:pt idx="1253">
                  <c:v>40241</c:v>
                </c:pt>
                <c:pt idx="1254">
                  <c:v>40242</c:v>
                </c:pt>
                <c:pt idx="1255">
                  <c:v>40245</c:v>
                </c:pt>
                <c:pt idx="1256">
                  <c:v>40246</c:v>
                </c:pt>
                <c:pt idx="1257">
                  <c:v>40247</c:v>
                </c:pt>
                <c:pt idx="1258">
                  <c:v>40248</c:v>
                </c:pt>
                <c:pt idx="1259">
                  <c:v>40249</c:v>
                </c:pt>
                <c:pt idx="1260">
                  <c:v>40252</c:v>
                </c:pt>
                <c:pt idx="1261">
                  <c:v>40253</c:v>
                </c:pt>
                <c:pt idx="1262">
                  <c:v>40254</c:v>
                </c:pt>
                <c:pt idx="1263">
                  <c:v>40255</c:v>
                </c:pt>
                <c:pt idx="1264">
                  <c:v>40256</c:v>
                </c:pt>
                <c:pt idx="1265">
                  <c:v>40259</c:v>
                </c:pt>
                <c:pt idx="1266">
                  <c:v>40260</c:v>
                </c:pt>
                <c:pt idx="1267">
                  <c:v>40261</c:v>
                </c:pt>
                <c:pt idx="1268">
                  <c:v>40262</c:v>
                </c:pt>
                <c:pt idx="1269">
                  <c:v>40263</c:v>
                </c:pt>
                <c:pt idx="1270">
                  <c:v>40266</c:v>
                </c:pt>
                <c:pt idx="1271">
                  <c:v>40267</c:v>
                </c:pt>
                <c:pt idx="1272">
                  <c:v>40268</c:v>
                </c:pt>
                <c:pt idx="1273">
                  <c:v>40269</c:v>
                </c:pt>
                <c:pt idx="1274">
                  <c:v>40270</c:v>
                </c:pt>
                <c:pt idx="1275">
                  <c:v>40274</c:v>
                </c:pt>
                <c:pt idx="1276">
                  <c:v>40275</c:v>
                </c:pt>
                <c:pt idx="1277">
                  <c:v>40276</c:v>
                </c:pt>
                <c:pt idx="1278">
                  <c:v>40277</c:v>
                </c:pt>
                <c:pt idx="1279">
                  <c:v>40280</c:v>
                </c:pt>
                <c:pt idx="1280">
                  <c:v>40281</c:v>
                </c:pt>
                <c:pt idx="1281">
                  <c:v>40282</c:v>
                </c:pt>
                <c:pt idx="1282">
                  <c:v>40283</c:v>
                </c:pt>
                <c:pt idx="1283">
                  <c:v>40284</c:v>
                </c:pt>
                <c:pt idx="1284">
                  <c:v>40287</c:v>
                </c:pt>
                <c:pt idx="1285">
                  <c:v>40288</c:v>
                </c:pt>
                <c:pt idx="1286">
                  <c:v>40289</c:v>
                </c:pt>
                <c:pt idx="1287">
                  <c:v>40290</c:v>
                </c:pt>
                <c:pt idx="1288">
                  <c:v>40291</c:v>
                </c:pt>
                <c:pt idx="1289">
                  <c:v>40294</c:v>
                </c:pt>
                <c:pt idx="1290">
                  <c:v>40295</c:v>
                </c:pt>
                <c:pt idx="1291">
                  <c:v>40296</c:v>
                </c:pt>
                <c:pt idx="1292">
                  <c:v>40297</c:v>
                </c:pt>
                <c:pt idx="1293">
                  <c:v>40298</c:v>
                </c:pt>
                <c:pt idx="1294">
                  <c:v>40302</c:v>
                </c:pt>
                <c:pt idx="1295">
                  <c:v>40303</c:v>
                </c:pt>
                <c:pt idx="1296">
                  <c:v>40304</c:v>
                </c:pt>
                <c:pt idx="1297">
                  <c:v>40305</c:v>
                </c:pt>
                <c:pt idx="1298">
                  <c:v>40308</c:v>
                </c:pt>
                <c:pt idx="1299">
                  <c:v>40309</c:v>
                </c:pt>
                <c:pt idx="1300">
                  <c:v>40310</c:v>
                </c:pt>
                <c:pt idx="1301">
                  <c:v>40311</c:v>
                </c:pt>
                <c:pt idx="1302">
                  <c:v>40312</c:v>
                </c:pt>
                <c:pt idx="1303">
                  <c:v>40315</c:v>
                </c:pt>
                <c:pt idx="1304">
                  <c:v>40316</c:v>
                </c:pt>
                <c:pt idx="1305">
                  <c:v>40317</c:v>
                </c:pt>
                <c:pt idx="1306">
                  <c:v>40318</c:v>
                </c:pt>
                <c:pt idx="1307">
                  <c:v>40319</c:v>
                </c:pt>
                <c:pt idx="1308">
                  <c:v>40322</c:v>
                </c:pt>
                <c:pt idx="1309">
                  <c:v>40323</c:v>
                </c:pt>
                <c:pt idx="1310">
                  <c:v>40324</c:v>
                </c:pt>
                <c:pt idx="1311">
                  <c:v>40325</c:v>
                </c:pt>
                <c:pt idx="1312">
                  <c:v>40326</c:v>
                </c:pt>
                <c:pt idx="1313">
                  <c:v>40329</c:v>
                </c:pt>
                <c:pt idx="1314">
                  <c:v>40330</c:v>
                </c:pt>
                <c:pt idx="1315">
                  <c:v>40331</c:v>
                </c:pt>
                <c:pt idx="1316">
                  <c:v>40332</c:v>
                </c:pt>
                <c:pt idx="1317">
                  <c:v>40333</c:v>
                </c:pt>
                <c:pt idx="1318">
                  <c:v>40336</c:v>
                </c:pt>
                <c:pt idx="1319">
                  <c:v>40337</c:v>
                </c:pt>
                <c:pt idx="1320">
                  <c:v>40338</c:v>
                </c:pt>
                <c:pt idx="1321">
                  <c:v>40339</c:v>
                </c:pt>
                <c:pt idx="1322">
                  <c:v>40340</c:v>
                </c:pt>
                <c:pt idx="1323">
                  <c:v>40346</c:v>
                </c:pt>
                <c:pt idx="1324">
                  <c:v>40347</c:v>
                </c:pt>
                <c:pt idx="1325">
                  <c:v>40350</c:v>
                </c:pt>
                <c:pt idx="1326">
                  <c:v>40351</c:v>
                </c:pt>
                <c:pt idx="1327">
                  <c:v>40352</c:v>
                </c:pt>
                <c:pt idx="1328">
                  <c:v>40353</c:v>
                </c:pt>
                <c:pt idx="1329">
                  <c:v>40354</c:v>
                </c:pt>
                <c:pt idx="1330">
                  <c:v>40357</c:v>
                </c:pt>
                <c:pt idx="1331">
                  <c:v>40358</c:v>
                </c:pt>
                <c:pt idx="1332">
                  <c:v>40359</c:v>
                </c:pt>
                <c:pt idx="1333">
                  <c:v>40360</c:v>
                </c:pt>
                <c:pt idx="1334">
                  <c:v>40361</c:v>
                </c:pt>
                <c:pt idx="1335">
                  <c:v>40364</c:v>
                </c:pt>
                <c:pt idx="1336">
                  <c:v>40365</c:v>
                </c:pt>
                <c:pt idx="1337">
                  <c:v>40366</c:v>
                </c:pt>
                <c:pt idx="1338">
                  <c:v>40367</c:v>
                </c:pt>
                <c:pt idx="1339">
                  <c:v>40368</c:v>
                </c:pt>
                <c:pt idx="1340">
                  <c:v>40371</c:v>
                </c:pt>
                <c:pt idx="1341">
                  <c:v>40372</c:v>
                </c:pt>
                <c:pt idx="1342">
                  <c:v>40373</c:v>
                </c:pt>
                <c:pt idx="1343">
                  <c:v>40374</c:v>
                </c:pt>
                <c:pt idx="1344">
                  <c:v>40375</c:v>
                </c:pt>
                <c:pt idx="1345">
                  <c:v>40378</c:v>
                </c:pt>
                <c:pt idx="1346">
                  <c:v>40379</c:v>
                </c:pt>
                <c:pt idx="1347">
                  <c:v>40380</c:v>
                </c:pt>
                <c:pt idx="1348">
                  <c:v>40381</c:v>
                </c:pt>
                <c:pt idx="1349">
                  <c:v>40382</c:v>
                </c:pt>
                <c:pt idx="1350">
                  <c:v>40385</c:v>
                </c:pt>
                <c:pt idx="1351">
                  <c:v>40386</c:v>
                </c:pt>
                <c:pt idx="1352">
                  <c:v>40387</c:v>
                </c:pt>
                <c:pt idx="1353">
                  <c:v>40388</c:v>
                </c:pt>
                <c:pt idx="1354">
                  <c:v>40389</c:v>
                </c:pt>
                <c:pt idx="1355">
                  <c:v>40392</c:v>
                </c:pt>
                <c:pt idx="1356">
                  <c:v>40393</c:v>
                </c:pt>
                <c:pt idx="1357">
                  <c:v>40394</c:v>
                </c:pt>
                <c:pt idx="1358">
                  <c:v>40395</c:v>
                </c:pt>
                <c:pt idx="1359">
                  <c:v>40396</c:v>
                </c:pt>
                <c:pt idx="1360">
                  <c:v>40399</c:v>
                </c:pt>
                <c:pt idx="1361">
                  <c:v>40400</c:v>
                </c:pt>
                <c:pt idx="1362">
                  <c:v>40401</c:v>
                </c:pt>
                <c:pt idx="1363">
                  <c:v>40402</c:v>
                </c:pt>
                <c:pt idx="1364">
                  <c:v>40403</c:v>
                </c:pt>
                <c:pt idx="1365">
                  <c:v>40406</c:v>
                </c:pt>
                <c:pt idx="1366">
                  <c:v>40407</c:v>
                </c:pt>
                <c:pt idx="1367">
                  <c:v>40408</c:v>
                </c:pt>
                <c:pt idx="1368">
                  <c:v>40409</c:v>
                </c:pt>
                <c:pt idx="1369">
                  <c:v>40410</c:v>
                </c:pt>
                <c:pt idx="1370">
                  <c:v>40413</c:v>
                </c:pt>
                <c:pt idx="1371">
                  <c:v>40414</c:v>
                </c:pt>
                <c:pt idx="1372">
                  <c:v>40415</c:v>
                </c:pt>
                <c:pt idx="1373">
                  <c:v>40416</c:v>
                </c:pt>
                <c:pt idx="1374">
                  <c:v>40417</c:v>
                </c:pt>
                <c:pt idx="1375">
                  <c:v>40420</c:v>
                </c:pt>
                <c:pt idx="1376">
                  <c:v>40421</c:v>
                </c:pt>
                <c:pt idx="1377">
                  <c:v>40422</c:v>
                </c:pt>
                <c:pt idx="1378">
                  <c:v>40423</c:v>
                </c:pt>
                <c:pt idx="1379">
                  <c:v>40424</c:v>
                </c:pt>
                <c:pt idx="1380">
                  <c:v>40427</c:v>
                </c:pt>
                <c:pt idx="1381">
                  <c:v>40428</c:v>
                </c:pt>
                <c:pt idx="1382">
                  <c:v>40429</c:v>
                </c:pt>
                <c:pt idx="1383">
                  <c:v>40430</c:v>
                </c:pt>
                <c:pt idx="1384">
                  <c:v>40431</c:v>
                </c:pt>
                <c:pt idx="1385">
                  <c:v>40434</c:v>
                </c:pt>
                <c:pt idx="1386">
                  <c:v>40435</c:v>
                </c:pt>
                <c:pt idx="1387">
                  <c:v>40436</c:v>
                </c:pt>
                <c:pt idx="1388">
                  <c:v>40437</c:v>
                </c:pt>
                <c:pt idx="1389">
                  <c:v>40438</c:v>
                </c:pt>
                <c:pt idx="1390">
                  <c:v>40441</c:v>
                </c:pt>
                <c:pt idx="1391">
                  <c:v>40442</c:v>
                </c:pt>
                <c:pt idx="1392">
                  <c:v>40448</c:v>
                </c:pt>
                <c:pt idx="1393">
                  <c:v>40449</c:v>
                </c:pt>
                <c:pt idx="1394">
                  <c:v>40450</c:v>
                </c:pt>
                <c:pt idx="1395">
                  <c:v>40451</c:v>
                </c:pt>
                <c:pt idx="1396">
                  <c:v>40459</c:v>
                </c:pt>
                <c:pt idx="1397">
                  <c:v>40462</c:v>
                </c:pt>
                <c:pt idx="1398">
                  <c:v>40463</c:v>
                </c:pt>
                <c:pt idx="1399">
                  <c:v>40464</c:v>
                </c:pt>
                <c:pt idx="1400">
                  <c:v>40465</c:v>
                </c:pt>
                <c:pt idx="1401">
                  <c:v>40466</c:v>
                </c:pt>
                <c:pt idx="1402">
                  <c:v>40469</c:v>
                </c:pt>
                <c:pt idx="1403">
                  <c:v>40470</c:v>
                </c:pt>
                <c:pt idx="1404">
                  <c:v>40471</c:v>
                </c:pt>
                <c:pt idx="1405">
                  <c:v>40472</c:v>
                </c:pt>
                <c:pt idx="1406">
                  <c:v>40473</c:v>
                </c:pt>
                <c:pt idx="1407">
                  <c:v>40476</c:v>
                </c:pt>
                <c:pt idx="1408">
                  <c:v>40477</c:v>
                </c:pt>
                <c:pt idx="1409">
                  <c:v>40478</c:v>
                </c:pt>
                <c:pt idx="1410">
                  <c:v>40479</c:v>
                </c:pt>
                <c:pt idx="1411">
                  <c:v>40480</c:v>
                </c:pt>
                <c:pt idx="1412">
                  <c:v>40483</c:v>
                </c:pt>
                <c:pt idx="1413">
                  <c:v>40484</c:v>
                </c:pt>
                <c:pt idx="1414">
                  <c:v>40485</c:v>
                </c:pt>
                <c:pt idx="1415">
                  <c:v>40486</c:v>
                </c:pt>
                <c:pt idx="1416">
                  <c:v>40487</c:v>
                </c:pt>
                <c:pt idx="1417">
                  <c:v>40490</c:v>
                </c:pt>
                <c:pt idx="1418">
                  <c:v>40491</c:v>
                </c:pt>
                <c:pt idx="1419">
                  <c:v>40492</c:v>
                </c:pt>
                <c:pt idx="1420">
                  <c:v>40493</c:v>
                </c:pt>
                <c:pt idx="1421">
                  <c:v>40494</c:v>
                </c:pt>
                <c:pt idx="1422">
                  <c:v>40497</c:v>
                </c:pt>
                <c:pt idx="1423">
                  <c:v>40498</c:v>
                </c:pt>
                <c:pt idx="1424">
                  <c:v>40499</c:v>
                </c:pt>
                <c:pt idx="1425">
                  <c:v>40500</c:v>
                </c:pt>
                <c:pt idx="1426">
                  <c:v>40501</c:v>
                </c:pt>
                <c:pt idx="1427">
                  <c:v>40504</c:v>
                </c:pt>
                <c:pt idx="1428">
                  <c:v>40505</c:v>
                </c:pt>
                <c:pt idx="1429">
                  <c:v>40506</c:v>
                </c:pt>
                <c:pt idx="1430">
                  <c:v>40507</c:v>
                </c:pt>
                <c:pt idx="1431">
                  <c:v>40508</c:v>
                </c:pt>
                <c:pt idx="1432">
                  <c:v>40511</c:v>
                </c:pt>
                <c:pt idx="1433">
                  <c:v>40512</c:v>
                </c:pt>
                <c:pt idx="1434">
                  <c:v>40513</c:v>
                </c:pt>
                <c:pt idx="1435">
                  <c:v>40514</c:v>
                </c:pt>
                <c:pt idx="1436">
                  <c:v>40515</c:v>
                </c:pt>
                <c:pt idx="1437">
                  <c:v>40518</c:v>
                </c:pt>
                <c:pt idx="1438">
                  <c:v>40519</c:v>
                </c:pt>
                <c:pt idx="1439">
                  <c:v>40520</c:v>
                </c:pt>
                <c:pt idx="1440">
                  <c:v>40521</c:v>
                </c:pt>
                <c:pt idx="1441">
                  <c:v>40522</c:v>
                </c:pt>
                <c:pt idx="1442">
                  <c:v>40525</c:v>
                </c:pt>
                <c:pt idx="1443">
                  <c:v>40526</c:v>
                </c:pt>
                <c:pt idx="1444">
                  <c:v>40527</c:v>
                </c:pt>
                <c:pt idx="1445">
                  <c:v>40528</c:v>
                </c:pt>
                <c:pt idx="1446">
                  <c:v>40529</c:v>
                </c:pt>
                <c:pt idx="1447">
                  <c:v>40532</c:v>
                </c:pt>
                <c:pt idx="1448">
                  <c:v>40533</c:v>
                </c:pt>
                <c:pt idx="1449">
                  <c:v>40534</c:v>
                </c:pt>
                <c:pt idx="1450">
                  <c:v>40535</c:v>
                </c:pt>
                <c:pt idx="1451">
                  <c:v>40536</c:v>
                </c:pt>
                <c:pt idx="1452">
                  <c:v>40539</c:v>
                </c:pt>
                <c:pt idx="1453">
                  <c:v>40540</c:v>
                </c:pt>
                <c:pt idx="1454">
                  <c:v>40541</c:v>
                </c:pt>
                <c:pt idx="1455">
                  <c:v>40542</c:v>
                </c:pt>
                <c:pt idx="1456">
                  <c:v>40543</c:v>
                </c:pt>
                <c:pt idx="1457">
                  <c:v>40547</c:v>
                </c:pt>
                <c:pt idx="1458">
                  <c:v>40548</c:v>
                </c:pt>
                <c:pt idx="1459">
                  <c:v>40549</c:v>
                </c:pt>
                <c:pt idx="1460">
                  <c:v>40550</c:v>
                </c:pt>
                <c:pt idx="1461">
                  <c:v>40553</c:v>
                </c:pt>
                <c:pt idx="1462">
                  <c:v>40554</c:v>
                </c:pt>
                <c:pt idx="1463">
                  <c:v>40555</c:v>
                </c:pt>
                <c:pt idx="1464">
                  <c:v>40556</c:v>
                </c:pt>
                <c:pt idx="1465">
                  <c:v>40557</c:v>
                </c:pt>
                <c:pt idx="1466">
                  <c:v>40560</c:v>
                </c:pt>
                <c:pt idx="1467">
                  <c:v>40561</c:v>
                </c:pt>
                <c:pt idx="1468">
                  <c:v>40562</c:v>
                </c:pt>
                <c:pt idx="1469">
                  <c:v>40563</c:v>
                </c:pt>
                <c:pt idx="1470">
                  <c:v>40564</c:v>
                </c:pt>
                <c:pt idx="1471">
                  <c:v>40567</c:v>
                </c:pt>
                <c:pt idx="1472">
                  <c:v>40568</c:v>
                </c:pt>
                <c:pt idx="1473">
                  <c:v>40569</c:v>
                </c:pt>
                <c:pt idx="1474">
                  <c:v>40570</c:v>
                </c:pt>
                <c:pt idx="1475">
                  <c:v>40571</c:v>
                </c:pt>
                <c:pt idx="1476">
                  <c:v>40574</c:v>
                </c:pt>
                <c:pt idx="1477">
                  <c:v>40575</c:v>
                </c:pt>
                <c:pt idx="1478">
                  <c:v>40583</c:v>
                </c:pt>
                <c:pt idx="1479">
                  <c:v>40584</c:v>
                </c:pt>
                <c:pt idx="1480">
                  <c:v>40585</c:v>
                </c:pt>
                <c:pt idx="1481">
                  <c:v>40588</c:v>
                </c:pt>
                <c:pt idx="1482">
                  <c:v>40589</c:v>
                </c:pt>
                <c:pt idx="1483">
                  <c:v>40590</c:v>
                </c:pt>
                <c:pt idx="1484">
                  <c:v>40591</c:v>
                </c:pt>
                <c:pt idx="1485">
                  <c:v>40592</c:v>
                </c:pt>
                <c:pt idx="1486">
                  <c:v>40595</c:v>
                </c:pt>
                <c:pt idx="1487">
                  <c:v>40596</c:v>
                </c:pt>
                <c:pt idx="1488">
                  <c:v>40597</c:v>
                </c:pt>
                <c:pt idx="1489">
                  <c:v>40598</c:v>
                </c:pt>
                <c:pt idx="1490">
                  <c:v>40599</c:v>
                </c:pt>
                <c:pt idx="1491">
                  <c:v>40602</c:v>
                </c:pt>
                <c:pt idx="1492">
                  <c:v>40603</c:v>
                </c:pt>
                <c:pt idx="1493">
                  <c:v>40604</c:v>
                </c:pt>
                <c:pt idx="1494">
                  <c:v>40605</c:v>
                </c:pt>
                <c:pt idx="1495">
                  <c:v>40606</c:v>
                </c:pt>
                <c:pt idx="1496">
                  <c:v>40609</c:v>
                </c:pt>
                <c:pt idx="1497">
                  <c:v>40610</c:v>
                </c:pt>
                <c:pt idx="1498">
                  <c:v>40611</c:v>
                </c:pt>
                <c:pt idx="1499">
                  <c:v>40612</c:v>
                </c:pt>
                <c:pt idx="1500">
                  <c:v>40613</c:v>
                </c:pt>
                <c:pt idx="1501">
                  <c:v>40616</c:v>
                </c:pt>
                <c:pt idx="1502">
                  <c:v>40617</c:v>
                </c:pt>
                <c:pt idx="1503">
                  <c:v>40618</c:v>
                </c:pt>
                <c:pt idx="1504">
                  <c:v>40619</c:v>
                </c:pt>
                <c:pt idx="1505">
                  <c:v>40620</c:v>
                </c:pt>
                <c:pt idx="1506">
                  <c:v>40623</c:v>
                </c:pt>
                <c:pt idx="1507">
                  <c:v>40624</c:v>
                </c:pt>
                <c:pt idx="1508">
                  <c:v>40625</c:v>
                </c:pt>
                <c:pt idx="1509">
                  <c:v>40626</c:v>
                </c:pt>
                <c:pt idx="1510">
                  <c:v>40627</c:v>
                </c:pt>
                <c:pt idx="1511">
                  <c:v>40630</c:v>
                </c:pt>
                <c:pt idx="1512">
                  <c:v>40631</c:v>
                </c:pt>
                <c:pt idx="1513">
                  <c:v>40632</c:v>
                </c:pt>
                <c:pt idx="1514">
                  <c:v>40633</c:v>
                </c:pt>
                <c:pt idx="1515">
                  <c:v>40634</c:v>
                </c:pt>
                <c:pt idx="1516">
                  <c:v>40639</c:v>
                </c:pt>
                <c:pt idx="1517">
                  <c:v>40640</c:v>
                </c:pt>
                <c:pt idx="1518">
                  <c:v>40641</c:v>
                </c:pt>
                <c:pt idx="1519">
                  <c:v>40644</c:v>
                </c:pt>
                <c:pt idx="1520">
                  <c:v>40645</c:v>
                </c:pt>
                <c:pt idx="1521">
                  <c:v>40646</c:v>
                </c:pt>
                <c:pt idx="1522">
                  <c:v>40647</c:v>
                </c:pt>
                <c:pt idx="1523">
                  <c:v>40648</c:v>
                </c:pt>
                <c:pt idx="1524">
                  <c:v>40651</c:v>
                </c:pt>
                <c:pt idx="1525">
                  <c:v>40652</c:v>
                </c:pt>
                <c:pt idx="1526">
                  <c:v>40653</c:v>
                </c:pt>
                <c:pt idx="1527">
                  <c:v>40654</c:v>
                </c:pt>
                <c:pt idx="1528">
                  <c:v>40655</c:v>
                </c:pt>
                <c:pt idx="1529">
                  <c:v>40658</c:v>
                </c:pt>
                <c:pt idx="1530">
                  <c:v>40659</c:v>
                </c:pt>
                <c:pt idx="1531">
                  <c:v>40660</c:v>
                </c:pt>
                <c:pt idx="1532">
                  <c:v>40661</c:v>
                </c:pt>
                <c:pt idx="1533">
                  <c:v>40662</c:v>
                </c:pt>
                <c:pt idx="1534">
                  <c:v>40666</c:v>
                </c:pt>
                <c:pt idx="1535">
                  <c:v>40667</c:v>
                </c:pt>
                <c:pt idx="1536">
                  <c:v>40668</c:v>
                </c:pt>
                <c:pt idx="1537">
                  <c:v>40669</c:v>
                </c:pt>
                <c:pt idx="1538">
                  <c:v>40672</c:v>
                </c:pt>
                <c:pt idx="1539">
                  <c:v>40673</c:v>
                </c:pt>
                <c:pt idx="1540">
                  <c:v>40674</c:v>
                </c:pt>
                <c:pt idx="1541">
                  <c:v>40675</c:v>
                </c:pt>
                <c:pt idx="1542">
                  <c:v>40676</c:v>
                </c:pt>
                <c:pt idx="1543">
                  <c:v>40679</c:v>
                </c:pt>
                <c:pt idx="1544">
                  <c:v>40680</c:v>
                </c:pt>
                <c:pt idx="1545">
                  <c:v>40681</c:v>
                </c:pt>
                <c:pt idx="1546">
                  <c:v>40682</c:v>
                </c:pt>
                <c:pt idx="1547">
                  <c:v>40683</c:v>
                </c:pt>
                <c:pt idx="1548">
                  <c:v>40686</c:v>
                </c:pt>
                <c:pt idx="1549">
                  <c:v>40687</c:v>
                </c:pt>
                <c:pt idx="1550">
                  <c:v>40688</c:v>
                </c:pt>
                <c:pt idx="1551">
                  <c:v>40689</c:v>
                </c:pt>
                <c:pt idx="1552">
                  <c:v>40690</c:v>
                </c:pt>
                <c:pt idx="1553">
                  <c:v>40693</c:v>
                </c:pt>
                <c:pt idx="1554">
                  <c:v>40694</c:v>
                </c:pt>
                <c:pt idx="1555">
                  <c:v>40695</c:v>
                </c:pt>
                <c:pt idx="1556">
                  <c:v>40696</c:v>
                </c:pt>
                <c:pt idx="1557">
                  <c:v>40697</c:v>
                </c:pt>
                <c:pt idx="1558">
                  <c:v>40701</c:v>
                </c:pt>
                <c:pt idx="1559">
                  <c:v>40702</c:v>
                </c:pt>
                <c:pt idx="1560">
                  <c:v>40703</c:v>
                </c:pt>
                <c:pt idx="1561">
                  <c:v>40704</c:v>
                </c:pt>
                <c:pt idx="1562">
                  <c:v>40707</c:v>
                </c:pt>
                <c:pt idx="1563">
                  <c:v>40708</c:v>
                </c:pt>
                <c:pt idx="1564">
                  <c:v>40709</c:v>
                </c:pt>
                <c:pt idx="1565">
                  <c:v>40710</c:v>
                </c:pt>
                <c:pt idx="1566">
                  <c:v>40711</c:v>
                </c:pt>
                <c:pt idx="1567">
                  <c:v>40714</c:v>
                </c:pt>
                <c:pt idx="1568">
                  <c:v>40715</c:v>
                </c:pt>
                <c:pt idx="1569">
                  <c:v>40716</c:v>
                </c:pt>
                <c:pt idx="1570">
                  <c:v>40717</c:v>
                </c:pt>
                <c:pt idx="1571">
                  <c:v>40718</c:v>
                </c:pt>
                <c:pt idx="1572">
                  <c:v>40721</c:v>
                </c:pt>
                <c:pt idx="1573">
                  <c:v>40722</c:v>
                </c:pt>
                <c:pt idx="1574">
                  <c:v>40723</c:v>
                </c:pt>
                <c:pt idx="1575">
                  <c:v>40724</c:v>
                </c:pt>
                <c:pt idx="1576">
                  <c:v>40725</c:v>
                </c:pt>
                <c:pt idx="1577">
                  <c:v>40728</c:v>
                </c:pt>
                <c:pt idx="1578">
                  <c:v>40729</c:v>
                </c:pt>
                <c:pt idx="1579">
                  <c:v>40730</c:v>
                </c:pt>
                <c:pt idx="1580">
                  <c:v>40731</c:v>
                </c:pt>
                <c:pt idx="1581">
                  <c:v>40732</c:v>
                </c:pt>
                <c:pt idx="1582">
                  <c:v>40735</c:v>
                </c:pt>
                <c:pt idx="1583">
                  <c:v>40736</c:v>
                </c:pt>
                <c:pt idx="1584">
                  <c:v>40737</c:v>
                </c:pt>
                <c:pt idx="1585">
                  <c:v>40738</c:v>
                </c:pt>
                <c:pt idx="1586">
                  <c:v>40739</c:v>
                </c:pt>
                <c:pt idx="1587">
                  <c:v>40742</c:v>
                </c:pt>
                <c:pt idx="1588">
                  <c:v>40743</c:v>
                </c:pt>
                <c:pt idx="1589">
                  <c:v>40744</c:v>
                </c:pt>
                <c:pt idx="1590">
                  <c:v>40745</c:v>
                </c:pt>
                <c:pt idx="1591">
                  <c:v>40746</c:v>
                </c:pt>
                <c:pt idx="1592">
                  <c:v>40749</c:v>
                </c:pt>
                <c:pt idx="1593">
                  <c:v>40750</c:v>
                </c:pt>
                <c:pt idx="1594">
                  <c:v>40751</c:v>
                </c:pt>
                <c:pt idx="1595">
                  <c:v>40752</c:v>
                </c:pt>
                <c:pt idx="1596">
                  <c:v>40753</c:v>
                </c:pt>
                <c:pt idx="1597">
                  <c:v>40756</c:v>
                </c:pt>
                <c:pt idx="1598">
                  <c:v>40757</c:v>
                </c:pt>
                <c:pt idx="1599">
                  <c:v>40758</c:v>
                </c:pt>
                <c:pt idx="1600">
                  <c:v>40759</c:v>
                </c:pt>
                <c:pt idx="1601">
                  <c:v>40760</c:v>
                </c:pt>
                <c:pt idx="1602">
                  <c:v>40763</c:v>
                </c:pt>
                <c:pt idx="1603">
                  <c:v>40764</c:v>
                </c:pt>
                <c:pt idx="1604">
                  <c:v>40765</c:v>
                </c:pt>
                <c:pt idx="1605">
                  <c:v>40766</c:v>
                </c:pt>
                <c:pt idx="1606">
                  <c:v>40767</c:v>
                </c:pt>
                <c:pt idx="1607">
                  <c:v>40770</c:v>
                </c:pt>
                <c:pt idx="1608">
                  <c:v>40771</c:v>
                </c:pt>
                <c:pt idx="1609">
                  <c:v>40772</c:v>
                </c:pt>
                <c:pt idx="1610">
                  <c:v>40773</c:v>
                </c:pt>
                <c:pt idx="1611">
                  <c:v>40774</c:v>
                </c:pt>
                <c:pt idx="1612">
                  <c:v>40777</c:v>
                </c:pt>
                <c:pt idx="1613">
                  <c:v>40778</c:v>
                </c:pt>
                <c:pt idx="1614">
                  <c:v>40779</c:v>
                </c:pt>
                <c:pt idx="1615">
                  <c:v>40780</c:v>
                </c:pt>
                <c:pt idx="1616">
                  <c:v>40781</c:v>
                </c:pt>
                <c:pt idx="1617">
                  <c:v>40784</c:v>
                </c:pt>
                <c:pt idx="1618">
                  <c:v>40785</c:v>
                </c:pt>
                <c:pt idx="1619">
                  <c:v>40786</c:v>
                </c:pt>
                <c:pt idx="1620">
                  <c:v>40787</c:v>
                </c:pt>
                <c:pt idx="1621">
                  <c:v>40788</c:v>
                </c:pt>
                <c:pt idx="1622">
                  <c:v>40791</c:v>
                </c:pt>
                <c:pt idx="1623">
                  <c:v>40792</c:v>
                </c:pt>
                <c:pt idx="1624">
                  <c:v>40793</c:v>
                </c:pt>
                <c:pt idx="1625">
                  <c:v>40794</c:v>
                </c:pt>
                <c:pt idx="1626">
                  <c:v>40795</c:v>
                </c:pt>
                <c:pt idx="1627">
                  <c:v>40799</c:v>
                </c:pt>
                <c:pt idx="1628">
                  <c:v>40800</c:v>
                </c:pt>
                <c:pt idx="1629">
                  <c:v>40801</c:v>
                </c:pt>
                <c:pt idx="1630">
                  <c:v>40802</c:v>
                </c:pt>
                <c:pt idx="1631">
                  <c:v>40805</c:v>
                </c:pt>
                <c:pt idx="1632">
                  <c:v>40806</c:v>
                </c:pt>
                <c:pt idx="1633">
                  <c:v>40807</c:v>
                </c:pt>
                <c:pt idx="1634">
                  <c:v>40808</c:v>
                </c:pt>
                <c:pt idx="1635">
                  <c:v>40809</c:v>
                </c:pt>
                <c:pt idx="1636">
                  <c:v>40812</c:v>
                </c:pt>
                <c:pt idx="1637">
                  <c:v>40813</c:v>
                </c:pt>
                <c:pt idx="1638">
                  <c:v>40814</c:v>
                </c:pt>
                <c:pt idx="1639">
                  <c:v>40815</c:v>
                </c:pt>
                <c:pt idx="1640">
                  <c:v>40816</c:v>
                </c:pt>
                <c:pt idx="1641">
                  <c:v>40826</c:v>
                </c:pt>
                <c:pt idx="1642">
                  <c:v>40827</c:v>
                </c:pt>
                <c:pt idx="1643">
                  <c:v>40828</c:v>
                </c:pt>
                <c:pt idx="1644">
                  <c:v>40829</c:v>
                </c:pt>
                <c:pt idx="1645">
                  <c:v>40830</c:v>
                </c:pt>
                <c:pt idx="1646">
                  <c:v>40833</c:v>
                </c:pt>
                <c:pt idx="1647">
                  <c:v>40834</c:v>
                </c:pt>
                <c:pt idx="1648">
                  <c:v>40835</c:v>
                </c:pt>
                <c:pt idx="1649">
                  <c:v>40836</c:v>
                </c:pt>
                <c:pt idx="1650">
                  <c:v>40837</c:v>
                </c:pt>
                <c:pt idx="1651">
                  <c:v>40840</c:v>
                </c:pt>
                <c:pt idx="1652">
                  <c:v>40841</c:v>
                </c:pt>
                <c:pt idx="1653">
                  <c:v>40842</c:v>
                </c:pt>
                <c:pt idx="1654">
                  <c:v>40843</c:v>
                </c:pt>
                <c:pt idx="1655">
                  <c:v>40844</c:v>
                </c:pt>
                <c:pt idx="1656">
                  <c:v>40847</c:v>
                </c:pt>
                <c:pt idx="1657">
                  <c:v>40848</c:v>
                </c:pt>
                <c:pt idx="1658">
                  <c:v>40849</c:v>
                </c:pt>
                <c:pt idx="1659">
                  <c:v>40850</c:v>
                </c:pt>
                <c:pt idx="1660">
                  <c:v>40851</c:v>
                </c:pt>
                <c:pt idx="1661">
                  <c:v>40854</c:v>
                </c:pt>
                <c:pt idx="1662">
                  <c:v>40855</c:v>
                </c:pt>
                <c:pt idx="1663">
                  <c:v>40856</c:v>
                </c:pt>
                <c:pt idx="1664">
                  <c:v>40857</c:v>
                </c:pt>
                <c:pt idx="1665">
                  <c:v>40858</c:v>
                </c:pt>
                <c:pt idx="1666">
                  <c:v>40861</c:v>
                </c:pt>
                <c:pt idx="1667">
                  <c:v>40862</c:v>
                </c:pt>
                <c:pt idx="1668">
                  <c:v>40863</c:v>
                </c:pt>
                <c:pt idx="1669">
                  <c:v>40864</c:v>
                </c:pt>
                <c:pt idx="1670">
                  <c:v>40865</c:v>
                </c:pt>
                <c:pt idx="1671">
                  <c:v>40868</c:v>
                </c:pt>
                <c:pt idx="1672">
                  <c:v>40869</c:v>
                </c:pt>
                <c:pt idx="1673">
                  <c:v>40870</c:v>
                </c:pt>
                <c:pt idx="1674">
                  <c:v>40871</c:v>
                </c:pt>
                <c:pt idx="1675">
                  <c:v>40872</c:v>
                </c:pt>
                <c:pt idx="1676">
                  <c:v>40875</c:v>
                </c:pt>
                <c:pt idx="1677">
                  <c:v>40876</c:v>
                </c:pt>
                <c:pt idx="1678">
                  <c:v>40877</c:v>
                </c:pt>
                <c:pt idx="1679">
                  <c:v>40878</c:v>
                </c:pt>
                <c:pt idx="1680">
                  <c:v>40879</c:v>
                </c:pt>
                <c:pt idx="1681">
                  <c:v>40882</c:v>
                </c:pt>
                <c:pt idx="1682">
                  <c:v>40883</c:v>
                </c:pt>
                <c:pt idx="1683">
                  <c:v>40884</c:v>
                </c:pt>
                <c:pt idx="1684">
                  <c:v>40885</c:v>
                </c:pt>
                <c:pt idx="1685">
                  <c:v>40886</c:v>
                </c:pt>
                <c:pt idx="1686">
                  <c:v>40889</c:v>
                </c:pt>
                <c:pt idx="1687">
                  <c:v>40890</c:v>
                </c:pt>
                <c:pt idx="1688">
                  <c:v>40891</c:v>
                </c:pt>
                <c:pt idx="1689">
                  <c:v>40892</c:v>
                </c:pt>
                <c:pt idx="1690">
                  <c:v>40893</c:v>
                </c:pt>
                <c:pt idx="1691">
                  <c:v>40896</c:v>
                </c:pt>
                <c:pt idx="1692">
                  <c:v>40897</c:v>
                </c:pt>
                <c:pt idx="1693">
                  <c:v>40898</c:v>
                </c:pt>
                <c:pt idx="1694">
                  <c:v>40899</c:v>
                </c:pt>
                <c:pt idx="1695">
                  <c:v>40900</c:v>
                </c:pt>
                <c:pt idx="1696">
                  <c:v>40903</c:v>
                </c:pt>
                <c:pt idx="1697">
                  <c:v>40904</c:v>
                </c:pt>
                <c:pt idx="1698">
                  <c:v>40905</c:v>
                </c:pt>
                <c:pt idx="1699">
                  <c:v>40906</c:v>
                </c:pt>
                <c:pt idx="1700">
                  <c:v>40907</c:v>
                </c:pt>
                <c:pt idx="1701">
                  <c:v>40912</c:v>
                </c:pt>
                <c:pt idx="1702">
                  <c:v>40913</c:v>
                </c:pt>
                <c:pt idx="1703">
                  <c:v>40914</c:v>
                </c:pt>
                <c:pt idx="1704">
                  <c:v>40917</c:v>
                </c:pt>
                <c:pt idx="1705">
                  <c:v>40918</c:v>
                </c:pt>
                <c:pt idx="1706">
                  <c:v>40919</c:v>
                </c:pt>
                <c:pt idx="1707">
                  <c:v>40920</c:v>
                </c:pt>
                <c:pt idx="1708">
                  <c:v>40921</c:v>
                </c:pt>
                <c:pt idx="1709">
                  <c:v>40924</c:v>
                </c:pt>
                <c:pt idx="1710">
                  <c:v>40925</c:v>
                </c:pt>
                <c:pt idx="1711">
                  <c:v>40926</c:v>
                </c:pt>
                <c:pt idx="1712">
                  <c:v>40927</c:v>
                </c:pt>
                <c:pt idx="1713">
                  <c:v>40928</c:v>
                </c:pt>
                <c:pt idx="1714">
                  <c:v>40938</c:v>
                </c:pt>
                <c:pt idx="1715">
                  <c:v>40939</c:v>
                </c:pt>
                <c:pt idx="1716">
                  <c:v>40940</c:v>
                </c:pt>
                <c:pt idx="1717">
                  <c:v>40941</c:v>
                </c:pt>
                <c:pt idx="1718">
                  <c:v>40942</c:v>
                </c:pt>
                <c:pt idx="1719">
                  <c:v>40945</c:v>
                </c:pt>
                <c:pt idx="1720">
                  <c:v>40946</c:v>
                </c:pt>
                <c:pt idx="1721">
                  <c:v>40947</c:v>
                </c:pt>
                <c:pt idx="1722">
                  <c:v>40948</c:v>
                </c:pt>
                <c:pt idx="1723">
                  <c:v>40949</c:v>
                </c:pt>
                <c:pt idx="1724">
                  <c:v>40952</c:v>
                </c:pt>
                <c:pt idx="1725">
                  <c:v>40953</c:v>
                </c:pt>
                <c:pt idx="1726">
                  <c:v>40954</c:v>
                </c:pt>
                <c:pt idx="1727">
                  <c:v>40955</c:v>
                </c:pt>
                <c:pt idx="1728">
                  <c:v>40956</c:v>
                </c:pt>
                <c:pt idx="1729">
                  <c:v>40959</c:v>
                </c:pt>
                <c:pt idx="1730">
                  <c:v>40960</c:v>
                </c:pt>
                <c:pt idx="1731">
                  <c:v>40961</c:v>
                </c:pt>
                <c:pt idx="1732">
                  <c:v>40962</c:v>
                </c:pt>
                <c:pt idx="1733">
                  <c:v>40963</c:v>
                </c:pt>
                <c:pt idx="1734">
                  <c:v>40966</c:v>
                </c:pt>
                <c:pt idx="1735">
                  <c:v>40967</c:v>
                </c:pt>
                <c:pt idx="1736">
                  <c:v>40968</c:v>
                </c:pt>
                <c:pt idx="1737">
                  <c:v>40969</c:v>
                </c:pt>
                <c:pt idx="1738">
                  <c:v>40970</c:v>
                </c:pt>
                <c:pt idx="1739">
                  <c:v>40973</c:v>
                </c:pt>
                <c:pt idx="1740">
                  <c:v>40974</c:v>
                </c:pt>
                <c:pt idx="1741">
                  <c:v>40975</c:v>
                </c:pt>
                <c:pt idx="1742">
                  <c:v>40976</c:v>
                </c:pt>
                <c:pt idx="1743">
                  <c:v>40977</c:v>
                </c:pt>
                <c:pt idx="1744">
                  <c:v>40980</c:v>
                </c:pt>
                <c:pt idx="1745">
                  <c:v>40981</c:v>
                </c:pt>
                <c:pt idx="1746">
                  <c:v>40982</c:v>
                </c:pt>
                <c:pt idx="1747">
                  <c:v>40983</c:v>
                </c:pt>
                <c:pt idx="1748">
                  <c:v>40984</c:v>
                </c:pt>
                <c:pt idx="1749">
                  <c:v>40987</c:v>
                </c:pt>
                <c:pt idx="1750">
                  <c:v>40988</c:v>
                </c:pt>
                <c:pt idx="1751">
                  <c:v>40989</c:v>
                </c:pt>
                <c:pt idx="1752">
                  <c:v>40990</c:v>
                </c:pt>
                <c:pt idx="1753">
                  <c:v>40991</c:v>
                </c:pt>
                <c:pt idx="1754">
                  <c:v>40994</c:v>
                </c:pt>
                <c:pt idx="1755">
                  <c:v>40995</c:v>
                </c:pt>
                <c:pt idx="1756">
                  <c:v>40996</c:v>
                </c:pt>
                <c:pt idx="1757">
                  <c:v>40997</c:v>
                </c:pt>
                <c:pt idx="1758">
                  <c:v>40998</c:v>
                </c:pt>
                <c:pt idx="1759">
                  <c:v>41004</c:v>
                </c:pt>
                <c:pt idx="1760">
                  <c:v>41005</c:v>
                </c:pt>
                <c:pt idx="1761">
                  <c:v>41008</c:v>
                </c:pt>
                <c:pt idx="1762">
                  <c:v>41009</c:v>
                </c:pt>
                <c:pt idx="1763">
                  <c:v>41010</c:v>
                </c:pt>
                <c:pt idx="1764">
                  <c:v>41011</c:v>
                </c:pt>
                <c:pt idx="1765">
                  <c:v>41012</c:v>
                </c:pt>
                <c:pt idx="1766">
                  <c:v>41015</c:v>
                </c:pt>
                <c:pt idx="1767">
                  <c:v>41016</c:v>
                </c:pt>
                <c:pt idx="1768">
                  <c:v>41017</c:v>
                </c:pt>
                <c:pt idx="1769">
                  <c:v>41018</c:v>
                </c:pt>
                <c:pt idx="1770">
                  <c:v>41019</c:v>
                </c:pt>
                <c:pt idx="1771">
                  <c:v>41022</c:v>
                </c:pt>
                <c:pt idx="1772">
                  <c:v>41023</c:v>
                </c:pt>
                <c:pt idx="1773">
                  <c:v>41024</c:v>
                </c:pt>
                <c:pt idx="1774">
                  <c:v>41025</c:v>
                </c:pt>
                <c:pt idx="1775">
                  <c:v>41026</c:v>
                </c:pt>
                <c:pt idx="1776">
                  <c:v>41031</c:v>
                </c:pt>
                <c:pt idx="1777">
                  <c:v>41032</c:v>
                </c:pt>
                <c:pt idx="1778">
                  <c:v>41033</c:v>
                </c:pt>
                <c:pt idx="1779">
                  <c:v>41036</c:v>
                </c:pt>
                <c:pt idx="1780">
                  <c:v>41037</c:v>
                </c:pt>
                <c:pt idx="1781">
                  <c:v>41038</c:v>
                </c:pt>
                <c:pt idx="1782">
                  <c:v>41039</c:v>
                </c:pt>
                <c:pt idx="1783">
                  <c:v>41040</c:v>
                </c:pt>
                <c:pt idx="1784">
                  <c:v>41043</c:v>
                </c:pt>
                <c:pt idx="1785">
                  <c:v>41044</c:v>
                </c:pt>
                <c:pt idx="1786">
                  <c:v>41045</c:v>
                </c:pt>
                <c:pt idx="1787">
                  <c:v>41046</c:v>
                </c:pt>
                <c:pt idx="1788">
                  <c:v>41047</c:v>
                </c:pt>
                <c:pt idx="1789">
                  <c:v>41050</c:v>
                </c:pt>
                <c:pt idx="1790">
                  <c:v>41051</c:v>
                </c:pt>
                <c:pt idx="1791">
                  <c:v>41052</c:v>
                </c:pt>
                <c:pt idx="1792">
                  <c:v>41053</c:v>
                </c:pt>
                <c:pt idx="1793">
                  <c:v>41054</c:v>
                </c:pt>
                <c:pt idx="1794">
                  <c:v>41057</c:v>
                </c:pt>
                <c:pt idx="1795">
                  <c:v>41058</c:v>
                </c:pt>
                <c:pt idx="1796">
                  <c:v>41059</c:v>
                </c:pt>
                <c:pt idx="1797">
                  <c:v>41060</c:v>
                </c:pt>
                <c:pt idx="1798">
                  <c:v>41061</c:v>
                </c:pt>
                <c:pt idx="1799">
                  <c:v>41064</c:v>
                </c:pt>
                <c:pt idx="1800">
                  <c:v>41065</c:v>
                </c:pt>
                <c:pt idx="1801">
                  <c:v>41066</c:v>
                </c:pt>
                <c:pt idx="1802">
                  <c:v>41067</c:v>
                </c:pt>
                <c:pt idx="1803">
                  <c:v>41068</c:v>
                </c:pt>
                <c:pt idx="1804">
                  <c:v>41071</c:v>
                </c:pt>
                <c:pt idx="1805">
                  <c:v>41072</c:v>
                </c:pt>
                <c:pt idx="1806">
                  <c:v>41073</c:v>
                </c:pt>
                <c:pt idx="1807">
                  <c:v>41074</c:v>
                </c:pt>
                <c:pt idx="1808">
                  <c:v>41075</c:v>
                </c:pt>
                <c:pt idx="1809">
                  <c:v>41078</c:v>
                </c:pt>
                <c:pt idx="1810">
                  <c:v>41079</c:v>
                </c:pt>
                <c:pt idx="1811">
                  <c:v>41080</c:v>
                </c:pt>
                <c:pt idx="1812">
                  <c:v>41081</c:v>
                </c:pt>
                <c:pt idx="1813">
                  <c:v>41085</c:v>
                </c:pt>
                <c:pt idx="1814">
                  <c:v>41086</c:v>
                </c:pt>
                <c:pt idx="1815">
                  <c:v>41087</c:v>
                </c:pt>
                <c:pt idx="1816">
                  <c:v>41088</c:v>
                </c:pt>
                <c:pt idx="1817">
                  <c:v>41089</c:v>
                </c:pt>
                <c:pt idx="1818">
                  <c:v>41092</c:v>
                </c:pt>
                <c:pt idx="1819">
                  <c:v>41093</c:v>
                </c:pt>
                <c:pt idx="1820">
                  <c:v>41094</c:v>
                </c:pt>
                <c:pt idx="1821">
                  <c:v>41095</c:v>
                </c:pt>
                <c:pt idx="1822">
                  <c:v>41096</c:v>
                </c:pt>
                <c:pt idx="1823">
                  <c:v>41099</c:v>
                </c:pt>
                <c:pt idx="1824">
                  <c:v>41100</c:v>
                </c:pt>
                <c:pt idx="1825">
                  <c:v>41101</c:v>
                </c:pt>
                <c:pt idx="1826">
                  <c:v>41102</c:v>
                </c:pt>
                <c:pt idx="1827">
                  <c:v>41103</c:v>
                </c:pt>
                <c:pt idx="1828">
                  <c:v>41106</c:v>
                </c:pt>
                <c:pt idx="1829">
                  <c:v>41107</c:v>
                </c:pt>
                <c:pt idx="1830">
                  <c:v>41108</c:v>
                </c:pt>
                <c:pt idx="1831">
                  <c:v>41109</c:v>
                </c:pt>
                <c:pt idx="1832">
                  <c:v>41110</c:v>
                </c:pt>
                <c:pt idx="1833">
                  <c:v>41113</c:v>
                </c:pt>
                <c:pt idx="1834">
                  <c:v>41114</c:v>
                </c:pt>
                <c:pt idx="1835">
                  <c:v>41115</c:v>
                </c:pt>
                <c:pt idx="1836">
                  <c:v>41116</c:v>
                </c:pt>
                <c:pt idx="1837">
                  <c:v>41117</c:v>
                </c:pt>
                <c:pt idx="1838">
                  <c:v>41120</c:v>
                </c:pt>
                <c:pt idx="1839">
                  <c:v>41121</c:v>
                </c:pt>
                <c:pt idx="1840">
                  <c:v>41122</c:v>
                </c:pt>
                <c:pt idx="1841">
                  <c:v>41123</c:v>
                </c:pt>
                <c:pt idx="1842">
                  <c:v>41124</c:v>
                </c:pt>
                <c:pt idx="1843">
                  <c:v>41127</c:v>
                </c:pt>
                <c:pt idx="1844">
                  <c:v>41128</c:v>
                </c:pt>
                <c:pt idx="1845">
                  <c:v>41129</c:v>
                </c:pt>
                <c:pt idx="1846">
                  <c:v>41130</c:v>
                </c:pt>
                <c:pt idx="1847">
                  <c:v>41131</c:v>
                </c:pt>
                <c:pt idx="1848">
                  <c:v>41134</c:v>
                </c:pt>
                <c:pt idx="1849">
                  <c:v>41135</c:v>
                </c:pt>
                <c:pt idx="1850">
                  <c:v>41136</c:v>
                </c:pt>
                <c:pt idx="1851">
                  <c:v>41137</c:v>
                </c:pt>
                <c:pt idx="1852">
                  <c:v>41138</c:v>
                </c:pt>
                <c:pt idx="1853">
                  <c:v>41141</c:v>
                </c:pt>
                <c:pt idx="1854">
                  <c:v>41142</c:v>
                </c:pt>
                <c:pt idx="1855">
                  <c:v>41143</c:v>
                </c:pt>
                <c:pt idx="1856">
                  <c:v>41144</c:v>
                </c:pt>
                <c:pt idx="1857">
                  <c:v>41145</c:v>
                </c:pt>
                <c:pt idx="1858">
                  <c:v>41148</c:v>
                </c:pt>
                <c:pt idx="1859">
                  <c:v>41149</c:v>
                </c:pt>
                <c:pt idx="1860">
                  <c:v>41150</c:v>
                </c:pt>
                <c:pt idx="1861">
                  <c:v>41151</c:v>
                </c:pt>
                <c:pt idx="1862">
                  <c:v>41152</c:v>
                </c:pt>
                <c:pt idx="1863">
                  <c:v>41155</c:v>
                </c:pt>
                <c:pt idx="1864">
                  <c:v>41156</c:v>
                </c:pt>
                <c:pt idx="1865">
                  <c:v>41157</c:v>
                </c:pt>
                <c:pt idx="1866">
                  <c:v>41158</c:v>
                </c:pt>
                <c:pt idx="1867">
                  <c:v>41159</c:v>
                </c:pt>
                <c:pt idx="1868">
                  <c:v>41162</c:v>
                </c:pt>
                <c:pt idx="1869">
                  <c:v>41163</c:v>
                </c:pt>
                <c:pt idx="1870">
                  <c:v>41164</c:v>
                </c:pt>
                <c:pt idx="1871">
                  <c:v>41165</c:v>
                </c:pt>
                <c:pt idx="1872">
                  <c:v>41166</c:v>
                </c:pt>
                <c:pt idx="1873">
                  <c:v>41169</c:v>
                </c:pt>
                <c:pt idx="1874">
                  <c:v>41170</c:v>
                </c:pt>
                <c:pt idx="1875">
                  <c:v>41171</c:v>
                </c:pt>
                <c:pt idx="1876">
                  <c:v>41172</c:v>
                </c:pt>
                <c:pt idx="1877">
                  <c:v>41173</c:v>
                </c:pt>
                <c:pt idx="1878">
                  <c:v>41176</c:v>
                </c:pt>
                <c:pt idx="1879">
                  <c:v>41177</c:v>
                </c:pt>
                <c:pt idx="1880">
                  <c:v>41178</c:v>
                </c:pt>
                <c:pt idx="1881">
                  <c:v>41179</c:v>
                </c:pt>
                <c:pt idx="1882">
                  <c:v>41180</c:v>
                </c:pt>
                <c:pt idx="1883">
                  <c:v>41190</c:v>
                </c:pt>
                <c:pt idx="1884">
                  <c:v>41191</c:v>
                </c:pt>
                <c:pt idx="1885">
                  <c:v>41192</c:v>
                </c:pt>
                <c:pt idx="1886">
                  <c:v>41193</c:v>
                </c:pt>
                <c:pt idx="1887">
                  <c:v>41194</c:v>
                </c:pt>
                <c:pt idx="1888">
                  <c:v>41197</c:v>
                </c:pt>
                <c:pt idx="1889">
                  <c:v>41198</c:v>
                </c:pt>
                <c:pt idx="1890">
                  <c:v>41199</c:v>
                </c:pt>
                <c:pt idx="1891">
                  <c:v>41200</c:v>
                </c:pt>
                <c:pt idx="1892">
                  <c:v>41201</c:v>
                </c:pt>
                <c:pt idx="1893">
                  <c:v>41204</c:v>
                </c:pt>
                <c:pt idx="1894">
                  <c:v>41205</c:v>
                </c:pt>
                <c:pt idx="1895">
                  <c:v>41206</c:v>
                </c:pt>
                <c:pt idx="1896">
                  <c:v>41207</c:v>
                </c:pt>
                <c:pt idx="1897">
                  <c:v>41208</c:v>
                </c:pt>
                <c:pt idx="1898">
                  <c:v>41211</c:v>
                </c:pt>
                <c:pt idx="1899">
                  <c:v>41212</c:v>
                </c:pt>
                <c:pt idx="1900">
                  <c:v>41213</c:v>
                </c:pt>
                <c:pt idx="1901">
                  <c:v>41214</c:v>
                </c:pt>
                <c:pt idx="1902">
                  <c:v>41215</c:v>
                </c:pt>
                <c:pt idx="1903">
                  <c:v>41218</c:v>
                </c:pt>
                <c:pt idx="1904">
                  <c:v>41219</c:v>
                </c:pt>
                <c:pt idx="1905">
                  <c:v>41220</c:v>
                </c:pt>
                <c:pt idx="1906">
                  <c:v>41221</c:v>
                </c:pt>
                <c:pt idx="1907">
                  <c:v>41222</c:v>
                </c:pt>
                <c:pt idx="1908">
                  <c:v>41225</c:v>
                </c:pt>
                <c:pt idx="1909">
                  <c:v>41226</c:v>
                </c:pt>
                <c:pt idx="1910">
                  <c:v>41227</c:v>
                </c:pt>
                <c:pt idx="1911">
                  <c:v>41228</c:v>
                </c:pt>
                <c:pt idx="1912">
                  <c:v>41229</c:v>
                </c:pt>
                <c:pt idx="1913">
                  <c:v>41232</c:v>
                </c:pt>
                <c:pt idx="1914">
                  <c:v>41233</c:v>
                </c:pt>
                <c:pt idx="1915">
                  <c:v>41234</c:v>
                </c:pt>
                <c:pt idx="1916">
                  <c:v>41235</c:v>
                </c:pt>
                <c:pt idx="1917">
                  <c:v>41236</c:v>
                </c:pt>
                <c:pt idx="1918">
                  <c:v>41239</c:v>
                </c:pt>
                <c:pt idx="1919">
                  <c:v>41240</c:v>
                </c:pt>
                <c:pt idx="1920">
                  <c:v>41241</c:v>
                </c:pt>
                <c:pt idx="1921">
                  <c:v>41242</c:v>
                </c:pt>
                <c:pt idx="1922">
                  <c:v>41243</c:v>
                </c:pt>
                <c:pt idx="1923">
                  <c:v>41246</c:v>
                </c:pt>
                <c:pt idx="1924">
                  <c:v>41247</c:v>
                </c:pt>
                <c:pt idx="1925">
                  <c:v>41248</c:v>
                </c:pt>
                <c:pt idx="1926">
                  <c:v>41249</c:v>
                </c:pt>
                <c:pt idx="1927">
                  <c:v>41250</c:v>
                </c:pt>
                <c:pt idx="1928">
                  <c:v>41253</c:v>
                </c:pt>
                <c:pt idx="1929">
                  <c:v>41254</c:v>
                </c:pt>
                <c:pt idx="1930">
                  <c:v>41255</c:v>
                </c:pt>
                <c:pt idx="1931">
                  <c:v>41256</c:v>
                </c:pt>
                <c:pt idx="1932">
                  <c:v>41257</c:v>
                </c:pt>
                <c:pt idx="1933">
                  <c:v>41260</c:v>
                </c:pt>
                <c:pt idx="1934">
                  <c:v>41261</c:v>
                </c:pt>
                <c:pt idx="1935">
                  <c:v>41262</c:v>
                </c:pt>
                <c:pt idx="1936">
                  <c:v>41263</c:v>
                </c:pt>
                <c:pt idx="1937">
                  <c:v>41264</c:v>
                </c:pt>
                <c:pt idx="1938">
                  <c:v>41267</c:v>
                </c:pt>
                <c:pt idx="1939">
                  <c:v>41268</c:v>
                </c:pt>
                <c:pt idx="1940">
                  <c:v>41269</c:v>
                </c:pt>
                <c:pt idx="1941">
                  <c:v>41270</c:v>
                </c:pt>
                <c:pt idx="1942">
                  <c:v>41271</c:v>
                </c:pt>
                <c:pt idx="1943">
                  <c:v>41274</c:v>
                </c:pt>
                <c:pt idx="1944">
                  <c:v>41278</c:v>
                </c:pt>
                <c:pt idx="1945">
                  <c:v>41281</c:v>
                </c:pt>
                <c:pt idx="1946">
                  <c:v>41282</c:v>
                </c:pt>
                <c:pt idx="1947">
                  <c:v>41283</c:v>
                </c:pt>
                <c:pt idx="1948">
                  <c:v>41284</c:v>
                </c:pt>
                <c:pt idx="1949">
                  <c:v>41285</c:v>
                </c:pt>
                <c:pt idx="1950">
                  <c:v>41288</c:v>
                </c:pt>
                <c:pt idx="1951">
                  <c:v>41289</c:v>
                </c:pt>
                <c:pt idx="1952">
                  <c:v>41290</c:v>
                </c:pt>
                <c:pt idx="1953">
                  <c:v>41291</c:v>
                </c:pt>
                <c:pt idx="1954">
                  <c:v>41292</c:v>
                </c:pt>
                <c:pt idx="1955">
                  <c:v>41295</c:v>
                </c:pt>
                <c:pt idx="1956">
                  <c:v>41296</c:v>
                </c:pt>
                <c:pt idx="1957">
                  <c:v>41297</c:v>
                </c:pt>
                <c:pt idx="1958">
                  <c:v>41298</c:v>
                </c:pt>
                <c:pt idx="1959">
                  <c:v>41299</c:v>
                </c:pt>
                <c:pt idx="1960">
                  <c:v>41302</c:v>
                </c:pt>
                <c:pt idx="1961">
                  <c:v>41303</c:v>
                </c:pt>
                <c:pt idx="1962">
                  <c:v>41304</c:v>
                </c:pt>
                <c:pt idx="1963">
                  <c:v>41305</c:v>
                </c:pt>
                <c:pt idx="1964">
                  <c:v>41306</c:v>
                </c:pt>
                <c:pt idx="1965">
                  <c:v>41309</c:v>
                </c:pt>
                <c:pt idx="1966">
                  <c:v>41310</c:v>
                </c:pt>
                <c:pt idx="1967">
                  <c:v>41311</c:v>
                </c:pt>
                <c:pt idx="1968">
                  <c:v>41312</c:v>
                </c:pt>
                <c:pt idx="1969">
                  <c:v>41313</c:v>
                </c:pt>
                <c:pt idx="1970">
                  <c:v>41323</c:v>
                </c:pt>
                <c:pt idx="1971">
                  <c:v>41324</c:v>
                </c:pt>
                <c:pt idx="1972">
                  <c:v>41325</c:v>
                </c:pt>
                <c:pt idx="1973">
                  <c:v>41326</c:v>
                </c:pt>
                <c:pt idx="1974">
                  <c:v>41327</c:v>
                </c:pt>
                <c:pt idx="1975">
                  <c:v>41330</c:v>
                </c:pt>
                <c:pt idx="1976">
                  <c:v>41331</c:v>
                </c:pt>
                <c:pt idx="1977">
                  <c:v>41332</c:v>
                </c:pt>
                <c:pt idx="1978">
                  <c:v>41333</c:v>
                </c:pt>
                <c:pt idx="1979">
                  <c:v>41334</c:v>
                </c:pt>
                <c:pt idx="1980">
                  <c:v>41337</c:v>
                </c:pt>
                <c:pt idx="1981">
                  <c:v>41338</c:v>
                </c:pt>
                <c:pt idx="1982">
                  <c:v>41339</c:v>
                </c:pt>
                <c:pt idx="1983">
                  <c:v>41340</c:v>
                </c:pt>
                <c:pt idx="1984">
                  <c:v>41341</c:v>
                </c:pt>
                <c:pt idx="1985">
                  <c:v>41344</c:v>
                </c:pt>
                <c:pt idx="1986">
                  <c:v>41345</c:v>
                </c:pt>
                <c:pt idx="1987">
                  <c:v>41346</c:v>
                </c:pt>
                <c:pt idx="1988">
                  <c:v>41347</c:v>
                </c:pt>
                <c:pt idx="1989">
                  <c:v>41348</c:v>
                </c:pt>
                <c:pt idx="1990">
                  <c:v>41351</c:v>
                </c:pt>
                <c:pt idx="1991">
                  <c:v>41352</c:v>
                </c:pt>
                <c:pt idx="1992">
                  <c:v>41353</c:v>
                </c:pt>
                <c:pt idx="1993">
                  <c:v>41354</c:v>
                </c:pt>
                <c:pt idx="1994">
                  <c:v>41355</c:v>
                </c:pt>
                <c:pt idx="1995">
                  <c:v>41358</c:v>
                </c:pt>
                <c:pt idx="1996">
                  <c:v>41359</c:v>
                </c:pt>
                <c:pt idx="1997">
                  <c:v>41360</c:v>
                </c:pt>
                <c:pt idx="1998">
                  <c:v>41361</c:v>
                </c:pt>
                <c:pt idx="1999">
                  <c:v>41362</c:v>
                </c:pt>
                <c:pt idx="2000">
                  <c:v>41365</c:v>
                </c:pt>
                <c:pt idx="2001">
                  <c:v>41366</c:v>
                </c:pt>
                <c:pt idx="2002">
                  <c:v>41367</c:v>
                </c:pt>
                <c:pt idx="2003">
                  <c:v>41372</c:v>
                </c:pt>
                <c:pt idx="2004">
                  <c:v>41373</c:v>
                </c:pt>
                <c:pt idx="2005">
                  <c:v>41374</c:v>
                </c:pt>
                <c:pt idx="2006">
                  <c:v>41375</c:v>
                </c:pt>
                <c:pt idx="2007">
                  <c:v>41376</c:v>
                </c:pt>
                <c:pt idx="2008">
                  <c:v>41379</c:v>
                </c:pt>
                <c:pt idx="2009">
                  <c:v>41380</c:v>
                </c:pt>
                <c:pt idx="2010">
                  <c:v>41381</c:v>
                </c:pt>
                <c:pt idx="2011">
                  <c:v>41382</c:v>
                </c:pt>
                <c:pt idx="2012">
                  <c:v>41383</c:v>
                </c:pt>
                <c:pt idx="2013">
                  <c:v>41386</c:v>
                </c:pt>
                <c:pt idx="2014">
                  <c:v>41387</c:v>
                </c:pt>
                <c:pt idx="2015">
                  <c:v>41388</c:v>
                </c:pt>
                <c:pt idx="2016">
                  <c:v>41389</c:v>
                </c:pt>
                <c:pt idx="2017">
                  <c:v>41390</c:v>
                </c:pt>
                <c:pt idx="2018">
                  <c:v>41396</c:v>
                </c:pt>
                <c:pt idx="2019">
                  <c:v>41397</c:v>
                </c:pt>
                <c:pt idx="2020">
                  <c:v>41400</c:v>
                </c:pt>
                <c:pt idx="2021">
                  <c:v>41401</c:v>
                </c:pt>
                <c:pt idx="2022">
                  <c:v>41402</c:v>
                </c:pt>
                <c:pt idx="2023">
                  <c:v>41403</c:v>
                </c:pt>
                <c:pt idx="2024">
                  <c:v>41404</c:v>
                </c:pt>
                <c:pt idx="2025">
                  <c:v>41407</c:v>
                </c:pt>
                <c:pt idx="2026">
                  <c:v>41408</c:v>
                </c:pt>
                <c:pt idx="2027">
                  <c:v>41409</c:v>
                </c:pt>
                <c:pt idx="2028">
                  <c:v>41410</c:v>
                </c:pt>
                <c:pt idx="2029">
                  <c:v>41411</c:v>
                </c:pt>
                <c:pt idx="2030">
                  <c:v>41414</c:v>
                </c:pt>
                <c:pt idx="2031">
                  <c:v>41415</c:v>
                </c:pt>
                <c:pt idx="2032">
                  <c:v>41416</c:v>
                </c:pt>
                <c:pt idx="2033">
                  <c:v>41417</c:v>
                </c:pt>
                <c:pt idx="2034">
                  <c:v>41418</c:v>
                </c:pt>
                <c:pt idx="2035">
                  <c:v>41421</c:v>
                </c:pt>
                <c:pt idx="2036">
                  <c:v>41422</c:v>
                </c:pt>
                <c:pt idx="2037">
                  <c:v>41423</c:v>
                </c:pt>
                <c:pt idx="2038">
                  <c:v>41424</c:v>
                </c:pt>
                <c:pt idx="2039">
                  <c:v>41425</c:v>
                </c:pt>
                <c:pt idx="2040">
                  <c:v>41428</c:v>
                </c:pt>
                <c:pt idx="2041">
                  <c:v>41429</c:v>
                </c:pt>
                <c:pt idx="2042">
                  <c:v>41430</c:v>
                </c:pt>
                <c:pt idx="2043">
                  <c:v>41431</c:v>
                </c:pt>
                <c:pt idx="2044">
                  <c:v>41432</c:v>
                </c:pt>
                <c:pt idx="2045">
                  <c:v>41438</c:v>
                </c:pt>
                <c:pt idx="2046">
                  <c:v>41439</c:v>
                </c:pt>
                <c:pt idx="2047">
                  <c:v>41442</c:v>
                </c:pt>
                <c:pt idx="2048">
                  <c:v>41443</c:v>
                </c:pt>
                <c:pt idx="2049">
                  <c:v>41444</c:v>
                </c:pt>
                <c:pt idx="2050">
                  <c:v>41445</c:v>
                </c:pt>
                <c:pt idx="2051">
                  <c:v>41446</c:v>
                </c:pt>
                <c:pt idx="2052">
                  <c:v>41449</c:v>
                </c:pt>
                <c:pt idx="2053">
                  <c:v>41450</c:v>
                </c:pt>
                <c:pt idx="2054">
                  <c:v>41451</c:v>
                </c:pt>
                <c:pt idx="2055">
                  <c:v>41452</c:v>
                </c:pt>
                <c:pt idx="2056">
                  <c:v>41453</c:v>
                </c:pt>
                <c:pt idx="2057">
                  <c:v>41456</c:v>
                </c:pt>
                <c:pt idx="2058">
                  <c:v>41457</c:v>
                </c:pt>
                <c:pt idx="2059">
                  <c:v>41458</c:v>
                </c:pt>
                <c:pt idx="2060">
                  <c:v>41459</c:v>
                </c:pt>
                <c:pt idx="2061">
                  <c:v>41460</c:v>
                </c:pt>
                <c:pt idx="2062">
                  <c:v>41463</c:v>
                </c:pt>
                <c:pt idx="2063">
                  <c:v>41464</c:v>
                </c:pt>
                <c:pt idx="2064">
                  <c:v>41465</c:v>
                </c:pt>
                <c:pt idx="2065">
                  <c:v>41466</c:v>
                </c:pt>
                <c:pt idx="2066">
                  <c:v>41467</c:v>
                </c:pt>
                <c:pt idx="2067">
                  <c:v>41470</c:v>
                </c:pt>
                <c:pt idx="2068">
                  <c:v>41471</c:v>
                </c:pt>
                <c:pt idx="2069">
                  <c:v>41472</c:v>
                </c:pt>
                <c:pt idx="2070">
                  <c:v>41473</c:v>
                </c:pt>
                <c:pt idx="2071">
                  <c:v>41474</c:v>
                </c:pt>
                <c:pt idx="2072">
                  <c:v>41477</c:v>
                </c:pt>
                <c:pt idx="2073">
                  <c:v>41478</c:v>
                </c:pt>
                <c:pt idx="2074">
                  <c:v>41479</c:v>
                </c:pt>
                <c:pt idx="2075">
                  <c:v>41480</c:v>
                </c:pt>
                <c:pt idx="2076">
                  <c:v>41481</c:v>
                </c:pt>
                <c:pt idx="2077">
                  <c:v>41484</c:v>
                </c:pt>
                <c:pt idx="2078">
                  <c:v>41485</c:v>
                </c:pt>
                <c:pt idx="2079">
                  <c:v>41486</c:v>
                </c:pt>
                <c:pt idx="2080">
                  <c:v>41487</c:v>
                </c:pt>
                <c:pt idx="2081">
                  <c:v>41488</c:v>
                </c:pt>
                <c:pt idx="2082">
                  <c:v>41491</c:v>
                </c:pt>
                <c:pt idx="2083">
                  <c:v>41492</c:v>
                </c:pt>
                <c:pt idx="2084">
                  <c:v>41493</c:v>
                </c:pt>
                <c:pt idx="2085">
                  <c:v>41494</c:v>
                </c:pt>
                <c:pt idx="2086">
                  <c:v>41495</c:v>
                </c:pt>
                <c:pt idx="2087">
                  <c:v>41498</c:v>
                </c:pt>
                <c:pt idx="2088">
                  <c:v>41499</c:v>
                </c:pt>
                <c:pt idx="2089">
                  <c:v>41500</c:v>
                </c:pt>
                <c:pt idx="2090">
                  <c:v>41501</c:v>
                </c:pt>
                <c:pt idx="2091">
                  <c:v>41502</c:v>
                </c:pt>
                <c:pt idx="2092">
                  <c:v>41505</c:v>
                </c:pt>
                <c:pt idx="2093">
                  <c:v>41506</c:v>
                </c:pt>
                <c:pt idx="2094">
                  <c:v>41507</c:v>
                </c:pt>
                <c:pt idx="2095">
                  <c:v>41508</c:v>
                </c:pt>
                <c:pt idx="2096">
                  <c:v>41509</c:v>
                </c:pt>
                <c:pt idx="2097">
                  <c:v>41512</c:v>
                </c:pt>
                <c:pt idx="2098">
                  <c:v>41513</c:v>
                </c:pt>
                <c:pt idx="2099">
                  <c:v>41514</c:v>
                </c:pt>
                <c:pt idx="2100">
                  <c:v>41515</c:v>
                </c:pt>
                <c:pt idx="2101">
                  <c:v>41516</c:v>
                </c:pt>
                <c:pt idx="2102">
                  <c:v>41519</c:v>
                </c:pt>
                <c:pt idx="2103">
                  <c:v>41520</c:v>
                </c:pt>
                <c:pt idx="2104">
                  <c:v>41521</c:v>
                </c:pt>
                <c:pt idx="2105">
                  <c:v>41522</c:v>
                </c:pt>
                <c:pt idx="2106">
                  <c:v>41523</c:v>
                </c:pt>
                <c:pt idx="2107">
                  <c:v>41526</c:v>
                </c:pt>
                <c:pt idx="2108">
                  <c:v>41527</c:v>
                </c:pt>
                <c:pt idx="2109">
                  <c:v>41528</c:v>
                </c:pt>
                <c:pt idx="2110">
                  <c:v>41529</c:v>
                </c:pt>
                <c:pt idx="2111">
                  <c:v>41530</c:v>
                </c:pt>
                <c:pt idx="2112">
                  <c:v>41533</c:v>
                </c:pt>
                <c:pt idx="2113">
                  <c:v>41534</c:v>
                </c:pt>
                <c:pt idx="2114">
                  <c:v>41535</c:v>
                </c:pt>
                <c:pt idx="2115">
                  <c:v>41540</c:v>
                </c:pt>
                <c:pt idx="2116">
                  <c:v>41541</c:v>
                </c:pt>
                <c:pt idx="2117">
                  <c:v>41542</c:v>
                </c:pt>
                <c:pt idx="2118">
                  <c:v>41543</c:v>
                </c:pt>
                <c:pt idx="2119">
                  <c:v>41544</c:v>
                </c:pt>
                <c:pt idx="2120">
                  <c:v>41547</c:v>
                </c:pt>
                <c:pt idx="2121">
                  <c:v>41555</c:v>
                </c:pt>
                <c:pt idx="2122">
                  <c:v>41556</c:v>
                </c:pt>
                <c:pt idx="2123">
                  <c:v>41557</c:v>
                </c:pt>
                <c:pt idx="2124">
                  <c:v>41558</c:v>
                </c:pt>
                <c:pt idx="2125">
                  <c:v>41561</c:v>
                </c:pt>
                <c:pt idx="2126">
                  <c:v>41562</c:v>
                </c:pt>
                <c:pt idx="2127">
                  <c:v>41563</c:v>
                </c:pt>
                <c:pt idx="2128">
                  <c:v>41564</c:v>
                </c:pt>
                <c:pt idx="2129">
                  <c:v>41565</c:v>
                </c:pt>
                <c:pt idx="2130">
                  <c:v>41568</c:v>
                </c:pt>
                <c:pt idx="2131">
                  <c:v>41569</c:v>
                </c:pt>
                <c:pt idx="2132">
                  <c:v>41570</c:v>
                </c:pt>
                <c:pt idx="2133">
                  <c:v>41571</c:v>
                </c:pt>
                <c:pt idx="2134">
                  <c:v>41572</c:v>
                </c:pt>
                <c:pt idx="2135">
                  <c:v>41575</c:v>
                </c:pt>
                <c:pt idx="2136">
                  <c:v>41576</c:v>
                </c:pt>
                <c:pt idx="2137">
                  <c:v>41577</c:v>
                </c:pt>
                <c:pt idx="2138">
                  <c:v>41578</c:v>
                </c:pt>
                <c:pt idx="2139">
                  <c:v>41579</c:v>
                </c:pt>
                <c:pt idx="2140">
                  <c:v>41582</c:v>
                </c:pt>
                <c:pt idx="2141">
                  <c:v>41583</c:v>
                </c:pt>
                <c:pt idx="2142">
                  <c:v>41584</c:v>
                </c:pt>
                <c:pt idx="2143">
                  <c:v>41585</c:v>
                </c:pt>
                <c:pt idx="2144">
                  <c:v>41586</c:v>
                </c:pt>
                <c:pt idx="2145">
                  <c:v>41589</c:v>
                </c:pt>
                <c:pt idx="2146">
                  <c:v>41590</c:v>
                </c:pt>
                <c:pt idx="2147">
                  <c:v>41591</c:v>
                </c:pt>
                <c:pt idx="2148">
                  <c:v>41592</c:v>
                </c:pt>
                <c:pt idx="2149">
                  <c:v>41593</c:v>
                </c:pt>
                <c:pt idx="2150">
                  <c:v>41596</c:v>
                </c:pt>
                <c:pt idx="2151">
                  <c:v>41597</c:v>
                </c:pt>
                <c:pt idx="2152">
                  <c:v>41598</c:v>
                </c:pt>
                <c:pt idx="2153">
                  <c:v>41599</c:v>
                </c:pt>
                <c:pt idx="2154">
                  <c:v>41600</c:v>
                </c:pt>
                <c:pt idx="2155">
                  <c:v>41603</c:v>
                </c:pt>
                <c:pt idx="2156">
                  <c:v>41604</c:v>
                </c:pt>
                <c:pt idx="2157">
                  <c:v>41605</c:v>
                </c:pt>
                <c:pt idx="2158">
                  <c:v>41606</c:v>
                </c:pt>
                <c:pt idx="2159">
                  <c:v>41607</c:v>
                </c:pt>
                <c:pt idx="2160">
                  <c:v>41610</c:v>
                </c:pt>
                <c:pt idx="2161">
                  <c:v>41611</c:v>
                </c:pt>
                <c:pt idx="2162">
                  <c:v>41612</c:v>
                </c:pt>
                <c:pt idx="2163">
                  <c:v>41613</c:v>
                </c:pt>
                <c:pt idx="2164">
                  <c:v>41614</c:v>
                </c:pt>
                <c:pt idx="2165">
                  <c:v>41617</c:v>
                </c:pt>
                <c:pt idx="2166">
                  <c:v>41618</c:v>
                </c:pt>
                <c:pt idx="2167">
                  <c:v>41619</c:v>
                </c:pt>
                <c:pt idx="2168">
                  <c:v>41620</c:v>
                </c:pt>
                <c:pt idx="2169">
                  <c:v>41621</c:v>
                </c:pt>
                <c:pt idx="2170">
                  <c:v>41624</c:v>
                </c:pt>
                <c:pt idx="2171">
                  <c:v>41625</c:v>
                </c:pt>
                <c:pt idx="2172">
                  <c:v>41626</c:v>
                </c:pt>
                <c:pt idx="2173">
                  <c:v>41627</c:v>
                </c:pt>
                <c:pt idx="2174">
                  <c:v>41628</c:v>
                </c:pt>
                <c:pt idx="2175">
                  <c:v>41631</c:v>
                </c:pt>
                <c:pt idx="2176">
                  <c:v>41632</c:v>
                </c:pt>
                <c:pt idx="2177">
                  <c:v>41633</c:v>
                </c:pt>
                <c:pt idx="2178">
                  <c:v>41634</c:v>
                </c:pt>
                <c:pt idx="2179">
                  <c:v>41635</c:v>
                </c:pt>
                <c:pt idx="2180">
                  <c:v>41638</c:v>
                </c:pt>
                <c:pt idx="2181">
                  <c:v>41639</c:v>
                </c:pt>
                <c:pt idx="2182">
                  <c:v>41641</c:v>
                </c:pt>
                <c:pt idx="2183">
                  <c:v>41642</c:v>
                </c:pt>
                <c:pt idx="2184">
                  <c:v>41645</c:v>
                </c:pt>
                <c:pt idx="2185">
                  <c:v>41646</c:v>
                </c:pt>
                <c:pt idx="2186">
                  <c:v>41647</c:v>
                </c:pt>
                <c:pt idx="2187">
                  <c:v>41648</c:v>
                </c:pt>
                <c:pt idx="2188">
                  <c:v>41649</c:v>
                </c:pt>
                <c:pt idx="2189">
                  <c:v>41652</c:v>
                </c:pt>
                <c:pt idx="2190">
                  <c:v>41653</c:v>
                </c:pt>
                <c:pt idx="2191">
                  <c:v>41654</c:v>
                </c:pt>
                <c:pt idx="2192">
                  <c:v>41655</c:v>
                </c:pt>
                <c:pt idx="2193">
                  <c:v>41656</c:v>
                </c:pt>
                <c:pt idx="2194">
                  <c:v>41659</c:v>
                </c:pt>
                <c:pt idx="2195">
                  <c:v>41660</c:v>
                </c:pt>
                <c:pt idx="2196">
                  <c:v>41661</c:v>
                </c:pt>
                <c:pt idx="2197">
                  <c:v>41662</c:v>
                </c:pt>
                <c:pt idx="2198">
                  <c:v>41663</c:v>
                </c:pt>
                <c:pt idx="2199">
                  <c:v>41666</c:v>
                </c:pt>
                <c:pt idx="2200">
                  <c:v>41667</c:v>
                </c:pt>
                <c:pt idx="2201">
                  <c:v>41668</c:v>
                </c:pt>
                <c:pt idx="2202">
                  <c:v>41669</c:v>
                </c:pt>
                <c:pt idx="2203">
                  <c:v>41677</c:v>
                </c:pt>
                <c:pt idx="2204">
                  <c:v>41680</c:v>
                </c:pt>
                <c:pt idx="2205">
                  <c:v>41681</c:v>
                </c:pt>
                <c:pt idx="2206">
                  <c:v>41682</c:v>
                </c:pt>
                <c:pt idx="2207">
                  <c:v>41683</c:v>
                </c:pt>
                <c:pt idx="2208">
                  <c:v>41684</c:v>
                </c:pt>
                <c:pt idx="2209">
                  <c:v>41687</c:v>
                </c:pt>
                <c:pt idx="2210">
                  <c:v>41688</c:v>
                </c:pt>
                <c:pt idx="2211">
                  <c:v>41689</c:v>
                </c:pt>
                <c:pt idx="2212">
                  <c:v>41690</c:v>
                </c:pt>
                <c:pt idx="2213">
                  <c:v>41691</c:v>
                </c:pt>
                <c:pt idx="2214">
                  <c:v>41694</c:v>
                </c:pt>
                <c:pt idx="2215">
                  <c:v>41695</c:v>
                </c:pt>
                <c:pt idx="2216">
                  <c:v>41696</c:v>
                </c:pt>
                <c:pt idx="2217">
                  <c:v>41697</c:v>
                </c:pt>
                <c:pt idx="2218">
                  <c:v>41698</c:v>
                </c:pt>
                <c:pt idx="2219">
                  <c:v>41701</c:v>
                </c:pt>
                <c:pt idx="2220">
                  <c:v>41702</c:v>
                </c:pt>
                <c:pt idx="2221">
                  <c:v>41703</c:v>
                </c:pt>
                <c:pt idx="2222">
                  <c:v>41704</c:v>
                </c:pt>
                <c:pt idx="2223">
                  <c:v>41705</c:v>
                </c:pt>
                <c:pt idx="2224">
                  <c:v>41708</c:v>
                </c:pt>
                <c:pt idx="2225">
                  <c:v>41709</c:v>
                </c:pt>
                <c:pt idx="2226">
                  <c:v>41710</c:v>
                </c:pt>
                <c:pt idx="2227">
                  <c:v>41711</c:v>
                </c:pt>
                <c:pt idx="2228">
                  <c:v>41712</c:v>
                </c:pt>
                <c:pt idx="2229">
                  <c:v>41715</c:v>
                </c:pt>
                <c:pt idx="2230">
                  <c:v>41716</c:v>
                </c:pt>
                <c:pt idx="2231">
                  <c:v>41717</c:v>
                </c:pt>
                <c:pt idx="2232">
                  <c:v>41718</c:v>
                </c:pt>
                <c:pt idx="2233">
                  <c:v>41719</c:v>
                </c:pt>
                <c:pt idx="2234">
                  <c:v>41722</c:v>
                </c:pt>
                <c:pt idx="2235">
                  <c:v>41723</c:v>
                </c:pt>
                <c:pt idx="2236">
                  <c:v>41724</c:v>
                </c:pt>
                <c:pt idx="2237">
                  <c:v>41725</c:v>
                </c:pt>
                <c:pt idx="2238">
                  <c:v>41726</c:v>
                </c:pt>
                <c:pt idx="2239">
                  <c:v>41729</c:v>
                </c:pt>
                <c:pt idx="2240">
                  <c:v>41730</c:v>
                </c:pt>
                <c:pt idx="2241">
                  <c:v>41731</c:v>
                </c:pt>
                <c:pt idx="2242">
                  <c:v>41732</c:v>
                </c:pt>
                <c:pt idx="2243">
                  <c:v>41733</c:v>
                </c:pt>
                <c:pt idx="2244">
                  <c:v>41737</c:v>
                </c:pt>
                <c:pt idx="2245">
                  <c:v>41738</c:v>
                </c:pt>
                <c:pt idx="2246">
                  <c:v>41739</c:v>
                </c:pt>
                <c:pt idx="2247">
                  <c:v>41740</c:v>
                </c:pt>
                <c:pt idx="2248">
                  <c:v>41743</c:v>
                </c:pt>
                <c:pt idx="2249">
                  <c:v>41744</c:v>
                </c:pt>
                <c:pt idx="2250">
                  <c:v>41745</c:v>
                </c:pt>
                <c:pt idx="2251">
                  <c:v>41746</c:v>
                </c:pt>
                <c:pt idx="2252">
                  <c:v>41747</c:v>
                </c:pt>
                <c:pt idx="2253">
                  <c:v>41750</c:v>
                </c:pt>
                <c:pt idx="2254">
                  <c:v>41751</c:v>
                </c:pt>
                <c:pt idx="2255">
                  <c:v>41752</c:v>
                </c:pt>
                <c:pt idx="2256">
                  <c:v>41753</c:v>
                </c:pt>
                <c:pt idx="2257">
                  <c:v>41754</c:v>
                </c:pt>
                <c:pt idx="2258">
                  <c:v>41757</c:v>
                </c:pt>
                <c:pt idx="2259">
                  <c:v>41758</c:v>
                </c:pt>
                <c:pt idx="2260">
                  <c:v>41759</c:v>
                </c:pt>
                <c:pt idx="2261">
                  <c:v>41764</c:v>
                </c:pt>
                <c:pt idx="2262">
                  <c:v>41765</c:v>
                </c:pt>
                <c:pt idx="2263">
                  <c:v>41766</c:v>
                </c:pt>
                <c:pt idx="2264">
                  <c:v>41767</c:v>
                </c:pt>
                <c:pt idx="2265">
                  <c:v>41768</c:v>
                </c:pt>
                <c:pt idx="2266">
                  <c:v>41771</c:v>
                </c:pt>
                <c:pt idx="2267">
                  <c:v>41772</c:v>
                </c:pt>
                <c:pt idx="2268">
                  <c:v>41773</c:v>
                </c:pt>
                <c:pt idx="2269">
                  <c:v>41774</c:v>
                </c:pt>
                <c:pt idx="2270">
                  <c:v>41775</c:v>
                </c:pt>
                <c:pt idx="2271">
                  <c:v>41778</c:v>
                </c:pt>
                <c:pt idx="2272">
                  <c:v>41779</c:v>
                </c:pt>
                <c:pt idx="2273">
                  <c:v>41780</c:v>
                </c:pt>
                <c:pt idx="2274">
                  <c:v>41781</c:v>
                </c:pt>
                <c:pt idx="2275">
                  <c:v>41782</c:v>
                </c:pt>
                <c:pt idx="2276">
                  <c:v>41785</c:v>
                </c:pt>
                <c:pt idx="2277">
                  <c:v>41786</c:v>
                </c:pt>
                <c:pt idx="2278">
                  <c:v>41787</c:v>
                </c:pt>
                <c:pt idx="2279">
                  <c:v>41788</c:v>
                </c:pt>
                <c:pt idx="2280">
                  <c:v>41789</c:v>
                </c:pt>
                <c:pt idx="2281">
                  <c:v>41793</c:v>
                </c:pt>
                <c:pt idx="2282">
                  <c:v>41794</c:v>
                </c:pt>
                <c:pt idx="2283">
                  <c:v>41795</c:v>
                </c:pt>
                <c:pt idx="2284">
                  <c:v>41796</c:v>
                </c:pt>
                <c:pt idx="2285">
                  <c:v>41799</c:v>
                </c:pt>
                <c:pt idx="2286">
                  <c:v>41800</c:v>
                </c:pt>
                <c:pt idx="2287">
                  <c:v>41801</c:v>
                </c:pt>
                <c:pt idx="2288">
                  <c:v>41802</c:v>
                </c:pt>
                <c:pt idx="2289">
                  <c:v>41803</c:v>
                </c:pt>
                <c:pt idx="2290">
                  <c:v>41806</c:v>
                </c:pt>
                <c:pt idx="2291">
                  <c:v>41807</c:v>
                </c:pt>
                <c:pt idx="2292">
                  <c:v>41808</c:v>
                </c:pt>
                <c:pt idx="2293">
                  <c:v>41809</c:v>
                </c:pt>
                <c:pt idx="2294">
                  <c:v>41810</c:v>
                </c:pt>
                <c:pt idx="2295">
                  <c:v>41813</c:v>
                </c:pt>
                <c:pt idx="2296">
                  <c:v>41814</c:v>
                </c:pt>
                <c:pt idx="2297">
                  <c:v>41815</c:v>
                </c:pt>
                <c:pt idx="2298">
                  <c:v>41816</c:v>
                </c:pt>
                <c:pt idx="2299">
                  <c:v>41817</c:v>
                </c:pt>
                <c:pt idx="2300">
                  <c:v>41820</c:v>
                </c:pt>
                <c:pt idx="2301">
                  <c:v>41821</c:v>
                </c:pt>
                <c:pt idx="2302">
                  <c:v>41822</c:v>
                </c:pt>
                <c:pt idx="2303">
                  <c:v>41823</c:v>
                </c:pt>
                <c:pt idx="2304">
                  <c:v>41824</c:v>
                </c:pt>
                <c:pt idx="2305">
                  <c:v>41827</c:v>
                </c:pt>
                <c:pt idx="2306">
                  <c:v>41828</c:v>
                </c:pt>
                <c:pt idx="2307">
                  <c:v>41829</c:v>
                </c:pt>
                <c:pt idx="2308">
                  <c:v>41830</c:v>
                </c:pt>
                <c:pt idx="2309">
                  <c:v>41831</c:v>
                </c:pt>
                <c:pt idx="2310">
                  <c:v>41834</c:v>
                </c:pt>
                <c:pt idx="2311">
                  <c:v>41835</c:v>
                </c:pt>
                <c:pt idx="2312">
                  <c:v>41836</c:v>
                </c:pt>
                <c:pt idx="2313">
                  <c:v>41837</c:v>
                </c:pt>
                <c:pt idx="2314">
                  <c:v>41838</c:v>
                </c:pt>
                <c:pt idx="2315">
                  <c:v>41841</c:v>
                </c:pt>
                <c:pt idx="2316">
                  <c:v>41842</c:v>
                </c:pt>
                <c:pt idx="2317">
                  <c:v>41843</c:v>
                </c:pt>
                <c:pt idx="2318">
                  <c:v>41844</c:v>
                </c:pt>
                <c:pt idx="2319">
                  <c:v>41845</c:v>
                </c:pt>
                <c:pt idx="2320">
                  <c:v>41848</c:v>
                </c:pt>
                <c:pt idx="2321">
                  <c:v>41849</c:v>
                </c:pt>
                <c:pt idx="2322">
                  <c:v>41850</c:v>
                </c:pt>
                <c:pt idx="2323">
                  <c:v>41851</c:v>
                </c:pt>
                <c:pt idx="2324">
                  <c:v>41852</c:v>
                </c:pt>
                <c:pt idx="2325">
                  <c:v>41855</c:v>
                </c:pt>
                <c:pt idx="2326">
                  <c:v>41856</c:v>
                </c:pt>
                <c:pt idx="2327">
                  <c:v>41857</c:v>
                </c:pt>
                <c:pt idx="2328">
                  <c:v>41858</c:v>
                </c:pt>
                <c:pt idx="2329">
                  <c:v>41859</c:v>
                </c:pt>
                <c:pt idx="2330">
                  <c:v>41862</c:v>
                </c:pt>
                <c:pt idx="2331">
                  <c:v>41863</c:v>
                </c:pt>
                <c:pt idx="2332">
                  <c:v>41864</c:v>
                </c:pt>
                <c:pt idx="2333">
                  <c:v>41865</c:v>
                </c:pt>
                <c:pt idx="2334">
                  <c:v>41866</c:v>
                </c:pt>
                <c:pt idx="2335">
                  <c:v>41869</c:v>
                </c:pt>
                <c:pt idx="2336">
                  <c:v>41870</c:v>
                </c:pt>
                <c:pt idx="2337">
                  <c:v>41871</c:v>
                </c:pt>
                <c:pt idx="2338">
                  <c:v>41872</c:v>
                </c:pt>
                <c:pt idx="2339">
                  <c:v>41873</c:v>
                </c:pt>
                <c:pt idx="2340">
                  <c:v>41876</c:v>
                </c:pt>
                <c:pt idx="2341">
                  <c:v>41877</c:v>
                </c:pt>
                <c:pt idx="2342">
                  <c:v>41878</c:v>
                </c:pt>
                <c:pt idx="2343">
                  <c:v>41879</c:v>
                </c:pt>
                <c:pt idx="2344">
                  <c:v>41880</c:v>
                </c:pt>
                <c:pt idx="2345">
                  <c:v>41883</c:v>
                </c:pt>
                <c:pt idx="2346">
                  <c:v>41884</c:v>
                </c:pt>
                <c:pt idx="2347">
                  <c:v>41885</c:v>
                </c:pt>
                <c:pt idx="2348">
                  <c:v>41886</c:v>
                </c:pt>
                <c:pt idx="2349">
                  <c:v>41887</c:v>
                </c:pt>
                <c:pt idx="2350">
                  <c:v>41891</c:v>
                </c:pt>
                <c:pt idx="2351">
                  <c:v>41892</c:v>
                </c:pt>
                <c:pt idx="2352">
                  <c:v>41893</c:v>
                </c:pt>
                <c:pt idx="2353">
                  <c:v>41894</c:v>
                </c:pt>
                <c:pt idx="2354">
                  <c:v>41897</c:v>
                </c:pt>
                <c:pt idx="2355">
                  <c:v>41898</c:v>
                </c:pt>
                <c:pt idx="2356">
                  <c:v>41899</c:v>
                </c:pt>
                <c:pt idx="2357">
                  <c:v>41900</c:v>
                </c:pt>
                <c:pt idx="2358">
                  <c:v>41901</c:v>
                </c:pt>
                <c:pt idx="2359">
                  <c:v>41904</c:v>
                </c:pt>
                <c:pt idx="2360">
                  <c:v>41905</c:v>
                </c:pt>
                <c:pt idx="2361">
                  <c:v>41906</c:v>
                </c:pt>
                <c:pt idx="2362">
                  <c:v>41907</c:v>
                </c:pt>
                <c:pt idx="2363">
                  <c:v>41908</c:v>
                </c:pt>
                <c:pt idx="2364">
                  <c:v>41911</c:v>
                </c:pt>
                <c:pt idx="2365">
                  <c:v>41912</c:v>
                </c:pt>
                <c:pt idx="2366">
                  <c:v>41920</c:v>
                </c:pt>
                <c:pt idx="2367">
                  <c:v>41921</c:v>
                </c:pt>
                <c:pt idx="2368">
                  <c:v>41922</c:v>
                </c:pt>
                <c:pt idx="2369">
                  <c:v>41925</c:v>
                </c:pt>
                <c:pt idx="2370">
                  <c:v>41926</c:v>
                </c:pt>
                <c:pt idx="2371">
                  <c:v>41927</c:v>
                </c:pt>
                <c:pt idx="2372">
                  <c:v>41928</c:v>
                </c:pt>
                <c:pt idx="2373">
                  <c:v>41929</c:v>
                </c:pt>
                <c:pt idx="2374">
                  <c:v>41932</c:v>
                </c:pt>
                <c:pt idx="2375">
                  <c:v>41933</c:v>
                </c:pt>
                <c:pt idx="2376">
                  <c:v>41934</c:v>
                </c:pt>
                <c:pt idx="2377">
                  <c:v>41935</c:v>
                </c:pt>
                <c:pt idx="2378">
                  <c:v>41936</c:v>
                </c:pt>
                <c:pt idx="2379">
                  <c:v>41939</c:v>
                </c:pt>
                <c:pt idx="2380">
                  <c:v>41940</c:v>
                </c:pt>
                <c:pt idx="2381">
                  <c:v>41941</c:v>
                </c:pt>
                <c:pt idx="2382">
                  <c:v>41942</c:v>
                </c:pt>
                <c:pt idx="2383">
                  <c:v>41943</c:v>
                </c:pt>
                <c:pt idx="2384">
                  <c:v>41946</c:v>
                </c:pt>
                <c:pt idx="2385">
                  <c:v>41947</c:v>
                </c:pt>
                <c:pt idx="2386">
                  <c:v>41948</c:v>
                </c:pt>
                <c:pt idx="2387">
                  <c:v>41949</c:v>
                </c:pt>
                <c:pt idx="2388">
                  <c:v>41950</c:v>
                </c:pt>
                <c:pt idx="2389">
                  <c:v>41953</c:v>
                </c:pt>
                <c:pt idx="2390">
                  <c:v>41954</c:v>
                </c:pt>
                <c:pt idx="2391">
                  <c:v>41955</c:v>
                </c:pt>
                <c:pt idx="2392">
                  <c:v>41956</c:v>
                </c:pt>
                <c:pt idx="2393">
                  <c:v>41957</c:v>
                </c:pt>
                <c:pt idx="2394">
                  <c:v>41960</c:v>
                </c:pt>
                <c:pt idx="2395">
                  <c:v>41961</c:v>
                </c:pt>
                <c:pt idx="2396">
                  <c:v>41962</c:v>
                </c:pt>
                <c:pt idx="2397">
                  <c:v>41963</c:v>
                </c:pt>
                <c:pt idx="2398">
                  <c:v>41964</c:v>
                </c:pt>
                <c:pt idx="2399">
                  <c:v>41967</c:v>
                </c:pt>
                <c:pt idx="2400">
                  <c:v>41968</c:v>
                </c:pt>
                <c:pt idx="2401">
                  <c:v>41969</c:v>
                </c:pt>
                <c:pt idx="2402">
                  <c:v>41970</c:v>
                </c:pt>
                <c:pt idx="2403">
                  <c:v>41971</c:v>
                </c:pt>
                <c:pt idx="2404">
                  <c:v>41974</c:v>
                </c:pt>
                <c:pt idx="2405">
                  <c:v>41975</c:v>
                </c:pt>
                <c:pt idx="2406">
                  <c:v>41976</c:v>
                </c:pt>
                <c:pt idx="2407">
                  <c:v>41977</c:v>
                </c:pt>
                <c:pt idx="2408">
                  <c:v>41978</c:v>
                </c:pt>
                <c:pt idx="2409">
                  <c:v>41981</c:v>
                </c:pt>
                <c:pt idx="2410">
                  <c:v>41982</c:v>
                </c:pt>
                <c:pt idx="2411">
                  <c:v>41983</c:v>
                </c:pt>
                <c:pt idx="2412">
                  <c:v>41984</c:v>
                </c:pt>
                <c:pt idx="2413">
                  <c:v>41985</c:v>
                </c:pt>
                <c:pt idx="2414">
                  <c:v>41988</c:v>
                </c:pt>
                <c:pt idx="2415">
                  <c:v>41989</c:v>
                </c:pt>
                <c:pt idx="2416">
                  <c:v>41990</c:v>
                </c:pt>
                <c:pt idx="2417">
                  <c:v>41991</c:v>
                </c:pt>
                <c:pt idx="2418">
                  <c:v>41992</c:v>
                </c:pt>
                <c:pt idx="2419">
                  <c:v>41995</c:v>
                </c:pt>
                <c:pt idx="2420">
                  <c:v>41996</c:v>
                </c:pt>
                <c:pt idx="2421">
                  <c:v>41997</c:v>
                </c:pt>
                <c:pt idx="2422">
                  <c:v>41998</c:v>
                </c:pt>
                <c:pt idx="2423">
                  <c:v>41999</c:v>
                </c:pt>
                <c:pt idx="2424">
                  <c:v>42002</c:v>
                </c:pt>
                <c:pt idx="2425">
                  <c:v>42003</c:v>
                </c:pt>
                <c:pt idx="2426">
                  <c:v>42004</c:v>
                </c:pt>
                <c:pt idx="2427">
                  <c:v>42009</c:v>
                </c:pt>
                <c:pt idx="2428">
                  <c:v>42010</c:v>
                </c:pt>
                <c:pt idx="2429">
                  <c:v>42011</c:v>
                </c:pt>
                <c:pt idx="2430">
                  <c:v>42012</c:v>
                </c:pt>
                <c:pt idx="2431">
                  <c:v>42013</c:v>
                </c:pt>
                <c:pt idx="2432">
                  <c:v>42016</c:v>
                </c:pt>
                <c:pt idx="2433">
                  <c:v>42017</c:v>
                </c:pt>
                <c:pt idx="2434">
                  <c:v>42018</c:v>
                </c:pt>
                <c:pt idx="2435">
                  <c:v>42019</c:v>
                </c:pt>
                <c:pt idx="2436">
                  <c:v>42020</c:v>
                </c:pt>
                <c:pt idx="2437">
                  <c:v>42023</c:v>
                </c:pt>
                <c:pt idx="2438">
                  <c:v>42024</c:v>
                </c:pt>
                <c:pt idx="2439">
                  <c:v>42025</c:v>
                </c:pt>
                <c:pt idx="2440">
                  <c:v>42026</c:v>
                </c:pt>
                <c:pt idx="2441">
                  <c:v>42027</c:v>
                </c:pt>
                <c:pt idx="2442">
                  <c:v>42030</c:v>
                </c:pt>
                <c:pt idx="2443">
                  <c:v>42031</c:v>
                </c:pt>
                <c:pt idx="2444">
                  <c:v>42032</c:v>
                </c:pt>
                <c:pt idx="2445">
                  <c:v>42033</c:v>
                </c:pt>
                <c:pt idx="2446">
                  <c:v>42034</c:v>
                </c:pt>
                <c:pt idx="2447">
                  <c:v>42037</c:v>
                </c:pt>
                <c:pt idx="2448">
                  <c:v>42038</c:v>
                </c:pt>
                <c:pt idx="2449">
                  <c:v>42039</c:v>
                </c:pt>
                <c:pt idx="2450">
                  <c:v>42040</c:v>
                </c:pt>
                <c:pt idx="2451">
                  <c:v>42041</c:v>
                </c:pt>
                <c:pt idx="2452">
                  <c:v>42044</c:v>
                </c:pt>
                <c:pt idx="2453">
                  <c:v>42045</c:v>
                </c:pt>
                <c:pt idx="2454">
                  <c:v>42046</c:v>
                </c:pt>
                <c:pt idx="2455">
                  <c:v>42047</c:v>
                </c:pt>
                <c:pt idx="2456">
                  <c:v>42048</c:v>
                </c:pt>
                <c:pt idx="2457">
                  <c:v>42051</c:v>
                </c:pt>
                <c:pt idx="2458">
                  <c:v>42052</c:v>
                </c:pt>
                <c:pt idx="2459">
                  <c:v>42060</c:v>
                </c:pt>
                <c:pt idx="2460">
                  <c:v>42061</c:v>
                </c:pt>
                <c:pt idx="2461">
                  <c:v>42062</c:v>
                </c:pt>
                <c:pt idx="2462">
                  <c:v>42065</c:v>
                </c:pt>
                <c:pt idx="2463">
                  <c:v>42066</c:v>
                </c:pt>
                <c:pt idx="2464">
                  <c:v>42067</c:v>
                </c:pt>
                <c:pt idx="2465">
                  <c:v>42068</c:v>
                </c:pt>
                <c:pt idx="2466">
                  <c:v>42069</c:v>
                </c:pt>
                <c:pt idx="2467">
                  <c:v>42072</c:v>
                </c:pt>
                <c:pt idx="2468">
                  <c:v>42073</c:v>
                </c:pt>
                <c:pt idx="2469">
                  <c:v>42074</c:v>
                </c:pt>
                <c:pt idx="2470">
                  <c:v>42075</c:v>
                </c:pt>
                <c:pt idx="2471">
                  <c:v>42076</c:v>
                </c:pt>
                <c:pt idx="2472">
                  <c:v>42079</c:v>
                </c:pt>
                <c:pt idx="2473">
                  <c:v>42080</c:v>
                </c:pt>
                <c:pt idx="2474">
                  <c:v>42081</c:v>
                </c:pt>
                <c:pt idx="2475">
                  <c:v>42082</c:v>
                </c:pt>
                <c:pt idx="2476">
                  <c:v>42083</c:v>
                </c:pt>
                <c:pt idx="2477">
                  <c:v>42086</c:v>
                </c:pt>
                <c:pt idx="2478">
                  <c:v>42087</c:v>
                </c:pt>
                <c:pt idx="2479">
                  <c:v>42088</c:v>
                </c:pt>
                <c:pt idx="2480">
                  <c:v>42089</c:v>
                </c:pt>
                <c:pt idx="2481">
                  <c:v>42090</c:v>
                </c:pt>
                <c:pt idx="2482">
                  <c:v>42093</c:v>
                </c:pt>
                <c:pt idx="2483">
                  <c:v>42094</c:v>
                </c:pt>
                <c:pt idx="2484">
                  <c:v>42095</c:v>
                </c:pt>
                <c:pt idx="2485">
                  <c:v>42096</c:v>
                </c:pt>
                <c:pt idx="2486">
                  <c:v>42097</c:v>
                </c:pt>
                <c:pt idx="2487">
                  <c:v>42101</c:v>
                </c:pt>
                <c:pt idx="2488">
                  <c:v>42102</c:v>
                </c:pt>
                <c:pt idx="2489">
                  <c:v>42103</c:v>
                </c:pt>
                <c:pt idx="2490">
                  <c:v>42104</c:v>
                </c:pt>
                <c:pt idx="2491">
                  <c:v>42107</c:v>
                </c:pt>
                <c:pt idx="2492">
                  <c:v>42108</c:v>
                </c:pt>
                <c:pt idx="2493">
                  <c:v>42109</c:v>
                </c:pt>
                <c:pt idx="2494">
                  <c:v>42110</c:v>
                </c:pt>
                <c:pt idx="2495">
                  <c:v>42111</c:v>
                </c:pt>
                <c:pt idx="2496">
                  <c:v>42114</c:v>
                </c:pt>
                <c:pt idx="2497">
                  <c:v>42115</c:v>
                </c:pt>
                <c:pt idx="2498">
                  <c:v>42116</c:v>
                </c:pt>
                <c:pt idx="2499">
                  <c:v>42117</c:v>
                </c:pt>
                <c:pt idx="2500">
                  <c:v>42118</c:v>
                </c:pt>
                <c:pt idx="2501">
                  <c:v>42121</c:v>
                </c:pt>
                <c:pt idx="2502">
                  <c:v>42122</c:v>
                </c:pt>
                <c:pt idx="2503">
                  <c:v>42123</c:v>
                </c:pt>
                <c:pt idx="2504">
                  <c:v>42124</c:v>
                </c:pt>
                <c:pt idx="2505">
                  <c:v>42128</c:v>
                </c:pt>
                <c:pt idx="2506">
                  <c:v>42129</c:v>
                </c:pt>
                <c:pt idx="2507">
                  <c:v>42130</c:v>
                </c:pt>
                <c:pt idx="2508">
                  <c:v>42131</c:v>
                </c:pt>
                <c:pt idx="2509">
                  <c:v>42132</c:v>
                </c:pt>
                <c:pt idx="2510">
                  <c:v>42135</c:v>
                </c:pt>
                <c:pt idx="2511">
                  <c:v>42136</c:v>
                </c:pt>
                <c:pt idx="2512">
                  <c:v>42137</c:v>
                </c:pt>
                <c:pt idx="2513">
                  <c:v>42138</c:v>
                </c:pt>
                <c:pt idx="2514">
                  <c:v>42139</c:v>
                </c:pt>
                <c:pt idx="2515">
                  <c:v>42142</c:v>
                </c:pt>
                <c:pt idx="2516">
                  <c:v>42143</c:v>
                </c:pt>
                <c:pt idx="2517">
                  <c:v>42144</c:v>
                </c:pt>
                <c:pt idx="2518">
                  <c:v>42145</c:v>
                </c:pt>
                <c:pt idx="2519">
                  <c:v>42146</c:v>
                </c:pt>
                <c:pt idx="2520">
                  <c:v>42149</c:v>
                </c:pt>
                <c:pt idx="2521">
                  <c:v>42150</c:v>
                </c:pt>
                <c:pt idx="2522">
                  <c:v>42151</c:v>
                </c:pt>
                <c:pt idx="2523">
                  <c:v>42152</c:v>
                </c:pt>
                <c:pt idx="2524">
                  <c:v>42153</c:v>
                </c:pt>
                <c:pt idx="2525">
                  <c:v>42156</c:v>
                </c:pt>
                <c:pt idx="2526">
                  <c:v>42157</c:v>
                </c:pt>
                <c:pt idx="2527">
                  <c:v>42158</c:v>
                </c:pt>
                <c:pt idx="2528">
                  <c:v>42159</c:v>
                </c:pt>
                <c:pt idx="2529">
                  <c:v>42160</c:v>
                </c:pt>
                <c:pt idx="2530">
                  <c:v>42163</c:v>
                </c:pt>
                <c:pt idx="2531">
                  <c:v>42164</c:v>
                </c:pt>
                <c:pt idx="2532">
                  <c:v>42165</c:v>
                </c:pt>
                <c:pt idx="2533">
                  <c:v>42166</c:v>
                </c:pt>
                <c:pt idx="2534">
                  <c:v>42167</c:v>
                </c:pt>
                <c:pt idx="2535">
                  <c:v>42170</c:v>
                </c:pt>
                <c:pt idx="2536">
                  <c:v>42171</c:v>
                </c:pt>
                <c:pt idx="2537">
                  <c:v>42172</c:v>
                </c:pt>
                <c:pt idx="2538">
                  <c:v>42173</c:v>
                </c:pt>
                <c:pt idx="2539">
                  <c:v>42174</c:v>
                </c:pt>
                <c:pt idx="2540">
                  <c:v>42178</c:v>
                </c:pt>
                <c:pt idx="2541">
                  <c:v>42179</c:v>
                </c:pt>
                <c:pt idx="2542">
                  <c:v>42180</c:v>
                </c:pt>
                <c:pt idx="2543">
                  <c:v>42181</c:v>
                </c:pt>
                <c:pt idx="2544">
                  <c:v>42184</c:v>
                </c:pt>
                <c:pt idx="2545">
                  <c:v>42185</c:v>
                </c:pt>
                <c:pt idx="2546">
                  <c:v>42186</c:v>
                </c:pt>
                <c:pt idx="2547">
                  <c:v>42187</c:v>
                </c:pt>
                <c:pt idx="2548">
                  <c:v>42188</c:v>
                </c:pt>
                <c:pt idx="2549">
                  <c:v>42191</c:v>
                </c:pt>
                <c:pt idx="2550">
                  <c:v>42192</c:v>
                </c:pt>
                <c:pt idx="2551">
                  <c:v>42193</c:v>
                </c:pt>
                <c:pt idx="2552">
                  <c:v>42194</c:v>
                </c:pt>
                <c:pt idx="2553">
                  <c:v>42195</c:v>
                </c:pt>
                <c:pt idx="2554">
                  <c:v>42198</c:v>
                </c:pt>
                <c:pt idx="2555">
                  <c:v>42199</c:v>
                </c:pt>
                <c:pt idx="2556">
                  <c:v>42200</c:v>
                </c:pt>
                <c:pt idx="2557">
                  <c:v>42201</c:v>
                </c:pt>
                <c:pt idx="2558">
                  <c:v>42202</c:v>
                </c:pt>
                <c:pt idx="2559">
                  <c:v>42205</c:v>
                </c:pt>
                <c:pt idx="2560">
                  <c:v>42206</c:v>
                </c:pt>
                <c:pt idx="2561">
                  <c:v>42207</c:v>
                </c:pt>
                <c:pt idx="2562">
                  <c:v>42208</c:v>
                </c:pt>
                <c:pt idx="2563">
                  <c:v>42209</c:v>
                </c:pt>
                <c:pt idx="2564">
                  <c:v>42212</c:v>
                </c:pt>
                <c:pt idx="2565">
                  <c:v>42213</c:v>
                </c:pt>
                <c:pt idx="2566">
                  <c:v>42214</c:v>
                </c:pt>
                <c:pt idx="2567">
                  <c:v>42215</c:v>
                </c:pt>
                <c:pt idx="2568">
                  <c:v>42216</c:v>
                </c:pt>
                <c:pt idx="2569">
                  <c:v>42219</c:v>
                </c:pt>
                <c:pt idx="2570">
                  <c:v>42220</c:v>
                </c:pt>
                <c:pt idx="2571">
                  <c:v>42221</c:v>
                </c:pt>
                <c:pt idx="2572">
                  <c:v>42222</c:v>
                </c:pt>
                <c:pt idx="2573">
                  <c:v>42223</c:v>
                </c:pt>
                <c:pt idx="2574">
                  <c:v>42226</c:v>
                </c:pt>
                <c:pt idx="2575">
                  <c:v>42227</c:v>
                </c:pt>
                <c:pt idx="2576">
                  <c:v>42228</c:v>
                </c:pt>
                <c:pt idx="2577">
                  <c:v>42229</c:v>
                </c:pt>
                <c:pt idx="2578">
                  <c:v>42230</c:v>
                </c:pt>
                <c:pt idx="2579">
                  <c:v>42233</c:v>
                </c:pt>
                <c:pt idx="2580">
                  <c:v>42234</c:v>
                </c:pt>
                <c:pt idx="2581">
                  <c:v>42235</c:v>
                </c:pt>
                <c:pt idx="2582">
                  <c:v>42236</c:v>
                </c:pt>
                <c:pt idx="2583">
                  <c:v>42237</c:v>
                </c:pt>
                <c:pt idx="2584">
                  <c:v>42240</c:v>
                </c:pt>
                <c:pt idx="2585">
                  <c:v>42241</c:v>
                </c:pt>
                <c:pt idx="2586">
                  <c:v>42242</c:v>
                </c:pt>
                <c:pt idx="2587">
                  <c:v>42243</c:v>
                </c:pt>
                <c:pt idx="2588">
                  <c:v>42244</c:v>
                </c:pt>
                <c:pt idx="2589">
                  <c:v>42247</c:v>
                </c:pt>
                <c:pt idx="2590">
                  <c:v>42248</c:v>
                </c:pt>
                <c:pt idx="2591">
                  <c:v>42249</c:v>
                </c:pt>
                <c:pt idx="2592">
                  <c:v>42254</c:v>
                </c:pt>
                <c:pt idx="2593">
                  <c:v>42255</c:v>
                </c:pt>
                <c:pt idx="2594">
                  <c:v>42256</c:v>
                </c:pt>
                <c:pt idx="2595">
                  <c:v>42257</c:v>
                </c:pt>
                <c:pt idx="2596">
                  <c:v>42258</c:v>
                </c:pt>
                <c:pt idx="2597">
                  <c:v>42261</c:v>
                </c:pt>
                <c:pt idx="2598">
                  <c:v>42262</c:v>
                </c:pt>
                <c:pt idx="2599">
                  <c:v>42263</c:v>
                </c:pt>
                <c:pt idx="2600">
                  <c:v>42264</c:v>
                </c:pt>
                <c:pt idx="2601">
                  <c:v>42265</c:v>
                </c:pt>
                <c:pt idx="2602">
                  <c:v>42268</c:v>
                </c:pt>
                <c:pt idx="2603">
                  <c:v>42269</c:v>
                </c:pt>
                <c:pt idx="2604">
                  <c:v>42270</c:v>
                </c:pt>
                <c:pt idx="2605">
                  <c:v>42271</c:v>
                </c:pt>
                <c:pt idx="2606">
                  <c:v>42272</c:v>
                </c:pt>
                <c:pt idx="2607">
                  <c:v>42275</c:v>
                </c:pt>
                <c:pt idx="2608">
                  <c:v>42276</c:v>
                </c:pt>
                <c:pt idx="2609">
                  <c:v>42277</c:v>
                </c:pt>
                <c:pt idx="2610">
                  <c:v>42285</c:v>
                </c:pt>
                <c:pt idx="2611">
                  <c:v>42286</c:v>
                </c:pt>
                <c:pt idx="2612">
                  <c:v>42289</c:v>
                </c:pt>
                <c:pt idx="2613">
                  <c:v>42290</c:v>
                </c:pt>
                <c:pt idx="2614">
                  <c:v>42291</c:v>
                </c:pt>
                <c:pt idx="2615">
                  <c:v>42292</c:v>
                </c:pt>
                <c:pt idx="2616">
                  <c:v>42293</c:v>
                </c:pt>
                <c:pt idx="2617">
                  <c:v>42296</c:v>
                </c:pt>
                <c:pt idx="2618">
                  <c:v>42297</c:v>
                </c:pt>
                <c:pt idx="2619">
                  <c:v>42298</c:v>
                </c:pt>
                <c:pt idx="2620">
                  <c:v>42299</c:v>
                </c:pt>
                <c:pt idx="2621">
                  <c:v>42300</c:v>
                </c:pt>
                <c:pt idx="2622">
                  <c:v>42303</c:v>
                </c:pt>
                <c:pt idx="2623">
                  <c:v>42304</c:v>
                </c:pt>
                <c:pt idx="2624">
                  <c:v>42305</c:v>
                </c:pt>
                <c:pt idx="2625">
                  <c:v>42306</c:v>
                </c:pt>
                <c:pt idx="2626">
                  <c:v>42307</c:v>
                </c:pt>
                <c:pt idx="2627">
                  <c:v>42310</c:v>
                </c:pt>
                <c:pt idx="2628">
                  <c:v>42311</c:v>
                </c:pt>
                <c:pt idx="2629">
                  <c:v>42312</c:v>
                </c:pt>
                <c:pt idx="2630">
                  <c:v>42313</c:v>
                </c:pt>
                <c:pt idx="2631">
                  <c:v>42314</c:v>
                </c:pt>
                <c:pt idx="2632">
                  <c:v>42317</c:v>
                </c:pt>
                <c:pt idx="2633">
                  <c:v>42318</c:v>
                </c:pt>
                <c:pt idx="2634">
                  <c:v>42319</c:v>
                </c:pt>
                <c:pt idx="2635">
                  <c:v>42320</c:v>
                </c:pt>
                <c:pt idx="2636">
                  <c:v>42321</c:v>
                </c:pt>
                <c:pt idx="2637">
                  <c:v>42324</c:v>
                </c:pt>
                <c:pt idx="2638">
                  <c:v>42325</c:v>
                </c:pt>
                <c:pt idx="2639">
                  <c:v>42326</c:v>
                </c:pt>
                <c:pt idx="2640">
                  <c:v>42327</c:v>
                </c:pt>
                <c:pt idx="2641">
                  <c:v>42328</c:v>
                </c:pt>
                <c:pt idx="2642">
                  <c:v>42331</c:v>
                </c:pt>
                <c:pt idx="2643">
                  <c:v>42332</c:v>
                </c:pt>
                <c:pt idx="2644">
                  <c:v>42333</c:v>
                </c:pt>
                <c:pt idx="2645">
                  <c:v>42334</c:v>
                </c:pt>
                <c:pt idx="2646">
                  <c:v>42335</c:v>
                </c:pt>
                <c:pt idx="2647">
                  <c:v>42338</c:v>
                </c:pt>
                <c:pt idx="2648">
                  <c:v>42339</c:v>
                </c:pt>
                <c:pt idx="2649">
                  <c:v>42340</c:v>
                </c:pt>
                <c:pt idx="2650">
                  <c:v>42341</c:v>
                </c:pt>
                <c:pt idx="2651">
                  <c:v>42342</c:v>
                </c:pt>
                <c:pt idx="2652">
                  <c:v>42345</c:v>
                </c:pt>
                <c:pt idx="2653">
                  <c:v>42346</c:v>
                </c:pt>
                <c:pt idx="2654">
                  <c:v>42347</c:v>
                </c:pt>
                <c:pt idx="2655">
                  <c:v>42348</c:v>
                </c:pt>
                <c:pt idx="2656">
                  <c:v>42349</c:v>
                </c:pt>
                <c:pt idx="2657">
                  <c:v>42352</c:v>
                </c:pt>
                <c:pt idx="2658">
                  <c:v>42353</c:v>
                </c:pt>
                <c:pt idx="2659">
                  <c:v>42354</c:v>
                </c:pt>
                <c:pt idx="2660">
                  <c:v>42355</c:v>
                </c:pt>
                <c:pt idx="2661">
                  <c:v>42356</c:v>
                </c:pt>
                <c:pt idx="2662">
                  <c:v>42359</c:v>
                </c:pt>
                <c:pt idx="2663">
                  <c:v>42360</c:v>
                </c:pt>
                <c:pt idx="2664">
                  <c:v>42361</c:v>
                </c:pt>
                <c:pt idx="2665">
                  <c:v>42362</c:v>
                </c:pt>
                <c:pt idx="2666">
                  <c:v>42363</c:v>
                </c:pt>
                <c:pt idx="2667">
                  <c:v>42366</c:v>
                </c:pt>
                <c:pt idx="2668">
                  <c:v>42367</c:v>
                </c:pt>
                <c:pt idx="2669">
                  <c:v>42368</c:v>
                </c:pt>
                <c:pt idx="2670">
                  <c:v>42369</c:v>
                </c:pt>
                <c:pt idx="2671">
                  <c:v>42373</c:v>
                </c:pt>
                <c:pt idx="2672">
                  <c:v>42374</c:v>
                </c:pt>
                <c:pt idx="2673">
                  <c:v>42375</c:v>
                </c:pt>
                <c:pt idx="2674">
                  <c:v>42376</c:v>
                </c:pt>
                <c:pt idx="2675">
                  <c:v>42377</c:v>
                </c:pt>
                <c:pt idx="2676">
                  <c:v>42380</c:v>
                </c:pt>
                <c:pt idx="2677">
                  <c:v>42381</c:v>
                </c:pt>
                <c:pt idx="2678">
                  <c:v>42382</c:v>
                </c:pt>
                <c:pt idx="2679">
                  <c:v>42383</c:v>
                </c:pt>
                <c:pt idx="2680">
                  <c:v>42384</c:v>
                </c:pt>
                <c:pt idx="2681">
                  <c:v>42387</c:v>
                </c:pt>
                <c:pt idx="2682">
                  <c:v>42388</c:v>
                </c:pt>
                <c:pt idx="2683">
                  <c:v>42389</c:v>
                </c:pt>
                <c:pt idx="2684">
                  <c:v>42390</c:v>
                </c:pt>
                <c:pt idx="2685">
                  <c:v>42391</c:v>
                </c:pt>
                <c:pt idx="2686">
                  <c:v>42394</c:v>
                </c:pt>
                <c:pt idx="2687">
                  <c:v>42395</c:v>
                </c:pt>
                <c:pt idx="2688">
                  <c:v>42396</c:v>
                </c:pt>
                <c:pt idx="2689">
                  <c:v>42397</c:v>
                </c:pt>
                <c:pt idx="2690">
                  <c:v>42398</c:v>
                </c:pt>
                <c:pt idx="2691">
                  <c:v>42401</c:v>
                </c:pt>
                <c:pt idx="2692">
                  <c:v>42402</c:v>
                </c:pt>
                <c:pt idx="2693">
                  <c:v>42403</c:v>
                </c:pt>
                <c:pt idx="2694">
                  <c:v>42404</c:v>
                </c:pt>
                <c:pt idx="2695">
                  <c:v>42405</c:v>
                </c:pt>
                <c:pt idx="2696">
                  <c:v>42415</c:v>
                </c:pt>
                <c:pt idx="2697">
                  <c:v>42416</c:v>
                </c:pt>
                <c:pt idx="2698">
                  <c:v>42417</c:v>
                </c:pt>
                <c:pt idx="2699">
                  <c:v>42418</c:v>
                </c:pt>
                <c:pt idx="2700">
                  <c:v>42419</c:v>
                </c:pt>
                <c:pt idx="2701">
                  <c:v>42422</c:v>
                </c:pt>
                <c:pt idx="2702">
                  <c:v>42423</c:v>
                </c:pt>
                <c:pt idx="2703">
                  <c:v>42424</c:v>
                </c:pt>
                <c:pt idx="2704">
                  <c:v>42425</c:v>
                </c:pt>
                <c:pt idx="2705">
                  <c:v>42426</c:v>
                </c:pt>
                <c:pt idx="2706">
                  <c:v>42429</c:v>
                </c:pt>
                <c:pt idx="2707">
                  <c:v>42430</c:v>
                </c:pt>
                <c:pt idx="2708">
                  <c:v>42431</c:v>
                </c:pt>
                <c:pt idx="2709">
                  <c:v>42432</c:v>
                </c:pt>
                <c:pt idx="2710">
                  <c:v>42433</c:v>
                </c:pt>
                <c:pt idx="2711">
                  <c:v>42436</c:v>
                </c:pt>
                <c:pt idx="2712">
                  <c:v>42437</c:v>
                </c:pt>
                <c:pt idx="2713">
                  <c:v>42438</c:v>
                </c:pt>
                <c:pt idx="2714">
                  <c:v>42439</c:v>
                </c:pt>
                <c:pt idx="2715">
                  <c:v>42440</c:v>
                </c:pt>
                <c:pt idx="2716">
                  <c:v>42443</c:v>
                </c:pt>
                <c:pt idx="2717">
                  <c:v>42444</c:v>
                </c:pt>
                <c:pt idx="2718">
                  <c:v>42445</c:v>
                </c:pt>
                <c:pt idx="2719">
                  <c:v>42446</c:v>
                </c:pt>
                <c:pt idx="2720">
                  <c:v>42447</c:v>
                </c:pt>
                <c:pt idx="2721">
                  <c:v>42450</c:v>
                </c:pt>
                <c:pt idx="2722">
                  <c:v>42451</c:v>
                </c:pt>
                <c:pt idx="2723">
                  <c:v>42452</c:v>
                </c:pt>
                <c:pt idx="2724">
                  <c:v>42453</c:v>
                </c:pt>
                <c:pt idx="2725">
                  <c:v>42454</c:v>
                </c:pt>
                <c:pt idx="2726">
                  <c:v>42457</c:v>
                </c:pt>
                <c:pt idx="2727">
                  <c:v>42458</c:v>
                </c:pt>
                <c:pt idx="2728">
                  <c:v>42459</c:v>
                </c:pt>
                <c:pt idx="2729">
                  <c:v>42460</c:v>
                </c:pt>
                <c:pt idx="2730">
                  <c:v>42461</c:v>
                </c:pt>
                <c:pt idx="2731">
                  <c:v>42465</c:v>
                </c:pt>
                <c:pt idx="2732">
                  <c:v>42466</c:v>
                </c:pt>
                <c:pt idx="2733">
                  <c:v>42467</c:v>
                </c:pt>
                <c:pt idx="2734">
                  <c:v>42468</c:v>
                </c:pt>
                <c:pt idx="2735">
                  <c:v>42471</c:v>
                </c:pt>
                <c:pt idx="2736">
                  <c:v>42472</c:v>
                </c:pt>
                <c:pt idx="2737">
                  <c:v>42473</c:v>
                </c:pt>
                <c:pt idx="2738">
                  <c:v>42474</c:v>
                </c:pt>
                <c:pt idx="2739">
                  <c:v>42475</c:v>
                </c:pt>
                <c:pt idx="2740">
                  <c:v>42478</c:v>
                </c:pt>
                <c:pt idx="2741">
                  <c:v>42479</c:v>
                </c:pt>
                <c:pt idx="2742">
                  <c:v>42480</c:v>
                </c:pt>
                <c:pt idx="2743">
                  <c:v>42481</c:v>
                </c:pt>
                <c:pt idx="2744">
                  <c:v>42482</c:v>
                </c:pt>
                <c:pt idx="2745">
                  <c:v>42485</c:v>
                </c:pt>
                <c:pt idx="2746">
                  <c:v>42486</c:v>
                </c:pt>
                <c:pt idx="2747">
                  <c:v>42487</c:v>
                </c:pt>
                <c:pt idx="2748">
                  <c:v>42488</c:v>
                </c:pt>
                <c:pt idx="2749">
                  <c:v>42489</c:v>
                </c:pt>
                <c:pt idx="2750">
                  <c:v>42493</c:v>
                </c:pt>
                <c:pt idx="2751">
                  <c:v>42494</c:v>
                </c:pt>
                <c:pt idx="2752">
                  <c:v>42495</c:v>
                </c:pt>
                <c:pt idx="2753">
                  <c:v>42496</c:v>
                </c:pt>
                <c:pt idx="2754">
                  <c:v>42499</c:v>
                </c:pt>
                <c:pt idx="2755">
                  <c:v>42500</c:v>
                </c:pt>
                <c:pt idx="2756">
                  <c:v>42501</c:v>
                </c:pt>
                <c:pt idx="2757">
                  <c:v>42502</c:v>
                </c:pt>
                <c:pt idx="2758">
                  <c:v>42503</c:v>
                </c:pt>
                <c:pt idx="2759">
                  <c:v>42506</c:v>
                </c:pt>
                <c:pt idx="2760">
                  <c:v>42507</c:v>
                </c:pt>
                <c:pt idx="2761">
                  <c:v>42508</c:v>
                </c:pt>
                <c:pt idx="2762">
                  <c:v>42509</c:v>
                </c:pt>
                <c:pt idx="2763">
                  <c:v>42510</c:v>
                </c:pt>
                <c:pt idx="2764">
                  <c:v>42513</c:v>
                </c:pt>
                <c:pt idx="2765">
                  <c:v>42514</c:v>
                </c:pt>
                <c:pt idx="2766">
                  <c:v>42515</c:v>
                </c:pt>
                <c:pt idx="2767">
                  <c:v>42516</c:v>
                </c:pt>
                <c:pt idx="2768">
                  <c:v>42517</c:v>
                </c:pt>
                <c:pt idx="2769">
                  <c:v>42520</c:v>
                </c:pt>
                <c:pt idx="2770">
                  <c:v>42521</c:v>
                </c:pt>
                <c:pt idx="2771">
                  <c:v>42522</c:v>
                </c:pt>
                <c:pt idx="2772">
                  <c:v>42523</c:v>
                </c:pt>
                <c:pt idx="2773">
                  <c:v>42524</c:v>
                </c:pt>
                <c:pt idx="2774">
                  <c:v>42527</c:v>
                </c:pt>
                <c:pt idx="2775">
                  <c:v>42528</c:v>
                </c:pt>
                <c:pt idx="2776">
                  <c:v>42529</c:v>
                </c:pt>
                <c:pt idx="2777">
                  <c:v>42534</c:v>
                </c:pt>
                <c:pt idx="2778">
                  <c:v>42535</c:v>
                </c:pt>
                <c:pt idx="2779">
                  <c:v>42536</c:v>
                </c:pt>
                <c:pt idx="2780">
                  <c:v>42537</c:v>
                </c:pt>
                <c:pt idx="2781">
                  <c:v>42538</c:v>
                </c:pt>
                <c:pt idx="2782">
                  <c:v>42541</c:v>
                </c:pt>
                <c:pt idx="2783">
                  <c:v>42542</c:v>
                </c:pt>
                <c:pt idx="2784">
                  <c:v>42543</c:v>
                </c:pt>
                <c:pt idx="2785">
                  <c:v>42544</c:v>
                </c:pt>
                <c:pt idx="2786">
                  <c:v>42545</c:v>
                </c:pt>
                <c:pt idx="2787">
                  <c:v>42548</c:v>
                </c:pt>
                <c:pt idx="2788">
                  <c:v>42549</c:v>
                </c:pt>
                <c:pt idx="2789">
                  <c:v>42550</c:v>
                </c:pt>
                <c:pt idx="2790">
                  <c:v>42551</c:v>
                </c:pt>
                <c:pt idx="2791">
                  <c:v>42552</c:v>
                </c:pt>
                <c:pt idx="2792">
                  <c:v>42555</c:v>
                </c:pt>
                <c:pt idx="2793">
                  <c:v>42556</c:v>
                </c:pt>
                <c:pt idx="2794">
                  <c:v>42557</c:v>
                </c:pt>
                <c:pt idx="2795">
                  <c:v>42558</c:v>
                </c:pt>
                <c:pt idx="2796">
                  <c:v>42559</c:v>
                </c:pt>
                <c:pt idx="2797">
                  <c:v>42562</c:v>
                </c:pt>
                <c:pt idx="2798">
                  <c:v>42563</c:v>
                </c:pt>
                <c:pt idx="2799">
                  <c:v>42564</c:v>
                </c:pt>
                <c:pt idx="2800">
                  <c:v>42565</c:v>
                </c:pt>
                <c:pt idx="2801">
                  <c:v>42566</c:v>
                </c:pt>
                <c:pt idx="2802">
                  <c:v>42569</c:v>
                </c:pt>
                <c:pt idx="2803">
                  <c:v>42570</c:v>
                </c:pt>
                <c:pt idx="2804">
                  <c:v>42571</c:v>
                </c:pt>
                <c:pt idx="2805">
                  <c:v>42572</c:v>
                </c:pt>
                <c:pt idx="2806">
                  <c:v>42573</c:v>
                </c:pt>
                <c:pt idx="2807">
                  <c:v>42576</c:v>
                </c:pt>
                <c:pt idx="2808">
                  <c:v>42577</c:v>
                </c:pt>
                <c:pt idx="2809">
                  <c:v>42578</c:v>
                </c:pt>
                <c:pt idx="2810">
                  <c:v>42579</c:v>
                </c:pt>
                <c:pt idx="2811">
                  <c:v>42580</c:v>
                </c:pt>
                <c:pt idx="2812">
                  <c:v>42583</c:v>
                </c:pt>
                <c:pt idx="2813">
                  <c:v>42584</c:v>
                </c:pt>
                <c:pt idx="2814">
                  <c:v>42585</c:v>
                </c:pt>
                <c:pt idx="2815">
                  <c:v>42586</c:v>
                </c:pt>
                <c:pt idx="2816">
                  <c:v>42587</c:v>
                </c:pt>
                <c:pt idx="2817">
                  <c:v>42590</c:v>
                </c:pt>
                <c:pt idx="2818">
                  <c:v>42591</c:v>
                </c:pt>
                <c:pt idx="2819">
                  <c:v>42592</c:v>
                </c:pt>
                <c:pt idx="2820">
                  <c:v>42593</c:v>
                </c:pt>
                <c:pt idx="2821">
                  <c:v>42594</c:v>
                </c:pt>
                <c:pt idx="2822">
                  <c:v>42597</c:v>
                </c:pt>
                <c:pt idx="2823">
                  <c:v>42598</c:v>
                </c:pt>
                <c:pt idx="2824">
                  <c:v>42599</c:v>
                </c:pt>
                <c:pt idx="2825">
                  <c:v>42600</c:v>
                </c:pt>
                <c:pt idx="2826">
                  <c:v>42601</c:v>
                </c:pt>
                <c:pt idx="2827">
                  <c:v>42604</c:v>
                </c:pt>
                <c:pt idx="2828">
                  <c:v>42605</c:v>
                </c:pt>
                <c:pt idx="2829">
                  <c:v>42606</c:v>
                </c:pt>
                <c:pt idx="2830">
                  <c:v>42607</c:v>
                </c:pt>
                <c:pt idx="2831">
                  <c:v>42608</c:v>
                </c:pt>
                <c:pt idx="2832">
                  <c:v>42611</c:v>
                </c:pt>
                <c:pt idx="2833">
                  <c:v>42612</c:v>
                </c:pt>
                <c:pt idx="2834">
                  <c:v>42613</c:v>
                </c:pt>
                <c:pt idx="2835">
                  <c:v>42614</c:v>
                </c:pt>
                <c:pt idx="2836">
                  <c:v>42615</c:v>
                </c:pt>
                <c:pt idx="2837">
                  <c:v>42618</c:v>
                </c:pt>
                <c:pt idx="2838">
                  <c:v>42619</c:v>
                </c:pt>
                <c:pt idx="2839">
                  <c:v>42620</c:v>
                </c:pt>
                <c:pt idx="2840">
                  <c:v>42621</c:v>
                </c:pt>
                <c:pt idx="2841">
                  <c:v>42622</c:v>
                </c:pt>
                <c:pt idx="2842">
                  <c:v>42625</c:v>
                </c:pt>
                <c:pt idx="2843">
                  <c:v>42626</c:v>
                </c:pt>
                <c:pt idx="2844">
                  <c:v>42627</c:v>
                </c:pt>
                <c:pt idx="2845">
                  <c:v>42632</c:v>
                </c:pt>
                <c:pt idx="2846">
                  <c:v>42633</c:v>
                </c:pt>
                <c:pt idx="2847">
                  <c:v>42634</c:v>
                </c:pt>
                <c:pt idx="2848">
                  <c:v>42635</c:v>
                </c:pt>
                <c:pt idx="2849">
                  <c:v>42636</c:v>
                </c:pt>
                <c:pt idx="2850">
                  <c:v>42639</c:v>
                </c:pt>
                <c:pt idx="2851">
                  <c:v>42640</c:v>
                </c:pt>
                <c:pt idx="2852">
                  <c:v>42641</c:v>
                </c:pt>
                <c:pt idx="2853">
                  <c:v>42642</c:v>
                </c:pt>
                <c:pt idx="2854">
                  <c:v>42643</c:v>
                </c:pt>
                <c:pt idx="2855">
                  <c:v>42653</c:v>
                </c:pt>
                <c:pt idx="2856">
                  <c:v>42654</c:v>
                </c:pt>
                <c:pt idx="2857">
                  <c:v>42655</c:v>
                </c:pt>
                <c:pt idx="2858">
                  <c:v>42656</c:v>
                </c:pt>
                <c:pt idx="2859">
                  <c:v>42657</c:v>
                </c:pt>
                <c:pt idx="2860">
                  <c:v>42660</c:v>
                </c:pt>
                <c:pt idx="2861">
                  <c:v>42661</c:v>
                </c:pt>
                <c:pt idx="2862">
                  <c:v>42662</c:v>
                </c:pt>
                <c:pt idx="2863">
                  <c:v>42663</c:v>
                </c:pt>
                <c:pt idx="2864">
                  <c:v>42664</c:v>
                </c:pt>
                <c:pt idx="2865">
                  <c:v>42667</c:v>
                </c:pt>
                <c:pt idx="2866">
                  <c:v>42668</c:v>
                </c:pt>
                <c:pt idx="2867">
                  <c:v>42669</c:v>
                </c:pt>
                <c:pt idx="2868">
                  <c:v>42670</c:v>
                </c:pt>
                <c:pt idx="2869">
                  <c:v>42671</c:v>
                </c:pt>
                <c:pt idx="2870">
                  <c:v>42674</c:v>
                </c:pt>
                <c:pt idx="2871">
                  <c:v>42675</c:v>
                </c:pt>
                <c:pt idx="2872">
                  <c:v>42676</c:v>
                </c:pt>
                <c:pt idx="2873">
                  <c:v>42677</c:v>
                </c:pt>
                <c:pt idx="2874">
                  <c:v>42678</c:v>
                </c:pt>
                <c:pt idx="2875">
                  <c:v>42681</c:v>
                </c:pt>
                <c:pt idx="2876">
                  <c:v>42682</c:v>
                </c:pt>
                <c:pt idx="2877">
                  <c:v>42683</c:v>
                </c:pt>
                <c:pt idx="2878">
                  <c:v>42684</c:v>
                </c:pt>
                <c:pt idx="2879">
                  <c:v>42685</c:v>
                </c:pt>
                <c:pt idx="2880">
                  <c:v>42688</c:v>
                </c:pt>
                <c:pt idx="2881">
                  <c:v>42689</c:v>
                </c:pt>
                <c:pt idx="2882">
                  <c:v>42690</c:v>
                </c:pt>
                <c:pt idx="2883">
                  <c:v>42691</c:v>
                </c:pt>
                <c:pt idx="2884">
                  <c:v>42692</c:v>
                </c:pt>
                <c:pt idx="2885">
                  <c:v>42695</c:v>
                </c:pt>
                <c:pt idx="2886">
                  <c:v>42696</c:v>
                </c:pt>
                <c:pt idx="2887">
                  <c:v>42697</c:v>
                </c:pt>
                <c:pt idx="2888">
                  <c:v>42698</c:v>
                </c:pt>
                <c:pt idx="2889">
                  <c:v>42699</c:v>
                </c:pt>
                <c:pt idx="2890">
                  <c:v>42702</c:v>
                </c:pt>
                <c:pt idx="2891">
                  <c:v>42703</c:v>
                </c:pt>
                <c:pt idx="2892">
                  <c:v>42704</c:v>
                </c:pt>
                <c:pt idx="2893">
                  <c:v>42705</c:v>
                </c:pt>
                <c:pt idx="2894">
                  <c:v>42706</c:v>
                </c:pt>
                <c:pt idx="2895">
                  <c:v>42709</c:v>
                </c:pt>
                <c:pt idx="2896">
                  <c:v>42710</c:v>
                </c:pt>
                <c:pt idx="2897">
                  <c:v>42711</c:v>
                </c:pt>
                <c:pt idx="2898">
                  <c:v>42712</c:v>
                </c:pt>
                <c:pt idx="2899">
                  <c:v>42713</c:v>
                </c:pt>
                <c:pt idx="2900">
                  <c:v>42716</c:v>
                </c:pt>
                <c:pt idx="2901">
                  <c:v>42717</c:v>
                </c:pt>
                <c:pt idx="2902">
                  <c:v>42718</c:v>
                </c:pt>
                <c:pt idx="2903">
                  <c:v>42719</c:v>
                </c:pt>
                <c:pt idx="2904">
                  <c:v>42720</c:v>
                </c:pt>
                <c:pt idx="2905">
                  <c:v>42723</c:v>
                </c:pt>
                <c:pt idx="2906">
                  <c:v>42724</c:v>
                </c:pt>
                <c:pt idx="2907">
                  <c:v>42725</c:v>
                </c:pt>
                <c:pt idx="2908">
                  <c:v>42726</c:v>
                </c:pt>
                <c:pt idx="2909">
                  <c:v>42727</c:v>
                </c:pt>
                <c:pt idx="2910">
                  <c:v>42730</c:v>
                </c:pt>
                <c:pt idx="2911">
                  <c:v>42731</c:v>
                </c:pt>
                <c:pt idx="2912">
                  <c:v>42732</c:v>
                </c:pt>
                <c:pt idx="2913">
                  <c:v>42733</c:v>
                </c:pt>
                <c:pt idx="2914">
                  <c:v>42734</c:v>
                </c:pt>
                <c:pt idx="2915">
                  <c:v>42738</c:v>
                </c:pt>
                <c:pt idx="2916">
                  <c:v>42739</c:v>
                </c:pt>
                <c:pt idx="2917">
                  <c:v>42740</c:v>
                </c:pt>
                <c:pt idx="2918">
                  <c:v>42741</c:v>
                </c:pt>
                <c:pt idx="2919">
                  <c:v>42744</c:v>
                </c:pt>
                <c:pt idx="2920">
                  <c:v>42745</c:v>
                </c:pt>
                <c:pt idx="2921">
                  <c:v>42746</c:v>
                </c:pt>
                <c:pt idx="2922">
                  <c:v>42747</c:v>
                </c:pt>
                <c:pt idx="2923">
                  <c:v>42748</c:v>
                </c:pt>
                <c:pt idx="2924">
                  <c:v>42751</c:v>
                </c:pt>
                <c:pt idx="2925">
                  <c:v>42752</c:v>
                </c:pt>
                <c:pt idx="2926">
                  <c:v>42753</c:v>
                </c:pt>
                <c:pt idx="2927">
                  <c:v>42754</c:v>
                </c:pt>
                <c:pt idx="2928">
                  <c:v>42755</c:v>
                </c:pt>
                <c:pt idx="2929">
                  <c:v>42758</c:v>
                </c:pt>
                <c:pt idx="2930">
                  <c:v>42759</c:v>
                </c:pt>
                <c:pt idx="2931">
                  <c:v>42760</c:v>
                </c:pt>
                <c:pt idx="2932">
                  <c:v>42761</c:v>
                </c:pt>
                <c:pt idx="2933">
                  <c:v>42769</c:v>
                </c:pt>
                <c:pt idx="2934">
                  <c:v>42772</c:v>
                </c:pt>
                <c:pt idx="2935">
                  <c:v>42773</c:v>
                </c:pt>
                <c:pt idx="2936">
                  <c:v>42774</c:v>
                </c:pt>
                <c:pt idx="2937">
                  <c:v>42775</c:v>
                </c:pt>
                <c:pt idx="2938">
                  <c:v>42776</c:v>
                </c:pt>
                <c:pt idx="2939">
                  <c:v>42779</c:v>
                </c:pt>
                <c:pt idx="2940">
                  <c:v>42780</c:v>
                </c:pt>
                <c:pt idx="2941">
                  <c:v>42781</c:v>
                </c:pt>
                <c:pt idx="2942">
                  <c:v>42782</c:v>
                </c:pt>
                <c:pt idx="2943">
                  <c:v>42783</c:v>
                </c:pt>
                <c:pt idx="2944">
                  <c:v>42786</c:v>
                </c:pt>
                <c:pt idx="2945">
                  <c:v>42787</c:v>
                </c:pt>
                <c:pt idx="2946">
                  <c:v>42788</c:v>
                </c:pt>
                <c:pt idx="2947">
                  <c:v>42789</c:v>
                </c:pt>
                <c:pt idx="2948">
                  <c:v>42790</c:v>
                </c:pt>
                <c:pt idx="2949">
                  <c:v>42793</c:v>
                </c:pt>
                <c:pt idx="2950">
                  <c:v>42794</c:v>
                </c:pt>
                <c:pt idx="2951">
                  <c:v>42795</c:v>
                </c:pt>
                <c:pt idx="2952">
                  <c:v>42796</c:v>
                </c:pt>
                <c:pt idx="2953">
                  <c:v>42797</c:v>
                </c:pt>
                <c:pt idx="2954">
                  <c:v>42800</c:v>
                </c:pt>
                <c:pt idx="2955">
                  <c:v>42801</c:v>
                </c:pt>
                <c:pt idx="2956">
                  <c:v>42802</c:v>
                </c:pt>
                <c:pt idx="2957">
                  <c:v>42803</c:v>
                </c:pt>
                <c:pt idx="2958">
                  <c:v>42804</c:v>
                </c:pt>
                <c:pt idx="2959">
                  <c:v>42807</c:v>
                </c:pt>
                <c:pt idx="2960">
                  <c:v>42808</c:v>
                </c:pt>
                <c:pt idx="2961">
                  <c:v>42809</c:v>
                </c:pt>
                <c:pt idx="2962">
                  <c:v>42810</c:v>
                </c:pt>
                <c:pt idx="2963">
                  <c:v>42811</c:v>
                </c:pt>
                <c:pt idx="2964">
                  <c:v>42814</c:v>
                </c:pt>
                <c:pt idx="2965">
                  <c:v>42815</c:v>
                </c:pt>
                <c:pt idx="2966">
                  <c:v>42816</c:v>
                </c:pt>
                <c:pt idx="2967">
                  <c:v>42817</c:v>
                </c:pt>
                <c:pt idx="2968">
                  <c:v>42818</c:v>
                </c:pt>
                <c:pt idx="2969">
                  <c:v>42821</c:v>
                </c:pt>
                <c:pt idx="2970">
                  <c:v>42822</c:v>
                </c:pt>
                <c:pt idx="2971">
                  <c:v>42823</c:v>
                </c:pt>
                <c:pt idx="2972">
                  <c:v>42824</c:v>
                </c:pt>
                <c:pt idx="2973">
                  <c:v>42825</c:v>
                </c:pt>
                <c:pt idx="2974">
                  <c:v>42830</c:v>
                </c:pt>
                <c:pt idx="2975">
                  <c:v>42831</c:v>
                </c:pt>
                <c:pt idx="2976">
                  <c:v>42832</c:v>
                </c:pt>
                <c:pt idx="2977">
                  <c:v>42835</c:v>
                </c:pt>
                <c:pt idx="2978">
                  <c:v>42836</c:v>
                </c:pt>
                <c:pt idx="2979">
                  <c:v>42837</c:v>
                </c:pt>
                <c:pt idx="2980">
                  <c:v>42838</c:v>
                </c:pt>
                <c:pt idx="2981">
                  <c:v>42839</c:v>
                </c:pt>
                <c:pt idx="2982">
                  <c:v>42842</c:v>
                </c:pt>
                <c:pt idx="2983">
                  <c:v>42843</c:v>
                </c:pt>
                <c:pt idx="2984">
                  <c:v>42844</c:v>
                </c:pt>
                <c:pt idx="2985">
                  <c:v>42845</c:v>
                </c:pt>
                <c:pt idx="2986">
                  <c:v>42846</c:v>
                </c:pt>
                <c:pt idx="2987">
                  <c:v>42849</c:v>
                </c:pt>
                <c:pt idx="2988">
                  <c:v>42850</c:v>
                </c:pt>
                <c:pt idx="2989">
                  <c:v>42851</c:v>
                </c:pt>
                <c:pt idx="2990">
                  <c:v>42852</c:v>
                </c:pt>
                <c:pt idx="2991">
                  <c:v>42853</c:v>
                </c:pt>
                <c:pt idx="2992">
                  <c:v>42857</c:v>
                </c:pt>
                <c:pt idx="2993">
                  <c:v>42858</c:v>
                </c:pt>
                <c:pt idx="2994">
                  <c:v>42859</c:v>
                </c:pt>
                <c:pt idx="2995">
                  <c:v>42860</c:v>
                </c:pt>
                <c:pt idx="2996">
                  <c:v>42863</c:v>
                </c:pt>
                <c:pt idx="2997">
                  <c:v>42864</c:v>
                </c:pt>
                <c:pt idx="2998">
                  <c:v>42865</c:v>
                </c:pt>
                <c:pt idx="2999">
                  <c:v>42866</c:v>
                </c:pt>
                <c:pt idx="3000">
                  <c:v>42867</c:v>
                </c:pt>
                <c:pt idx="3001">
                  <c:v>42870</c:v>
                </c:pt>
                <c:pt idx="3002">
                  <c:v>42871</c:v>
                </c:pt>
                <c:pt idx="3003">
                  <c:v>42872</c:v>
                </c:pt>
                <c:pt idx="3004">
                  <c:v>42873</c:v>
                </c:pt>
                <c:pt idx="3005">
                  <c:v>42874</c:v>
                </c:pt>
                <c:pt idx="3006">
                  <c:v>42877</c:v>
                </c:pt>
                <c:pt idx="3007">
                  <c:v>42878</c:v>
                </c:pt>
                <c:pt idx="3008">
                  <c:v>42879</c:v>
                </c:pt>
                <c:pt idx="3009">
                  <c:v>42880</c:v>
                </c:pt>
                <c:pt idx="3010">
                  <c:v>42881</c:v>
                </c:pt>
                <c:pt idx="3011">
                  <c:v>42886</c:v>
                </c:pt>
                <c:pt idx="3012">
                  <c:v>42887</c:v>
                </c:pt>
                <c:pt idx="3013">
                  <c:v>42888</c:v>
                </c:pt>
                <c:pt idx="3014">
                  <c:v>42891</c:v>
                </c:pt>
                <c:pt idx="3015">
                  <c:v>42892</c:v>
                </c:pt>
                <c:pt idx="3016">
                  <c:v>42893</c:v>
                </c:pt>
                <c:pt idx="3017">
                  <c:v>42894</c:v>
                </c:pt>
                <c:pt idx="3018">
                  <c:v>42895</c:v>
                </c:pt>
                <c:pt idx="3019">
                  <c:v>42898</c:v>
                </c:pt>
                <c:pt idx="3020">
                  <c:v>42899</c:v>
                </c:pt>
                <c:pt idx="3021">
                  <c:v>42900</c:v>
                </c:pt>
                <c:pt idx="3022">
                  <c:v>42901</c:v>
                </c:pt>
                <c:pt idx="3023">
                  <c:v>42902</c:v>
                </c:pt>
                <c:pt idx="3024">
                  <c:v>42905</c:v>
                </c:pt>
                <c:pt idx="3025">
                  <c:v>42906</c:v>
                </c:pt>
                <c:pt idx="3026">
                  <c:v>42907</c:v>
                </c:pt>
                <c:pt idx="3027">
                  <c:v>42908</c:v>
                </c:pt>
                <c:pt idx="3028">
                  <c:v>42909</c:v>
                </c:pt>
                <c:pt idx="3029">
                  <c:v>42912</c:v>
                </c:pt>
                <c:pt idx="3030">
                  <c:v>42913</c:v>
                </c:pt>
                <c:pt idx="3031">
                  <c:v>42914</c:v>
                </c:pt>
                <c:pt idx="3032">
                  <c:v>42915</c:v>
                </c:pt>
                <c:pt idx="3033">
                  <c:v>42916</c:v>
                </c:pt>
                <c:pt idx="3034">
                  <c:v>42919</c:v>
                </c:pt>
                <c:pt idx="3035">
                  <c:v>42920</c:v>
                </c:pt>
                <c:pt idx="3036">
                  <c:v>42921</c:v>
                </c:pt>
                <c:pt idx="3037">
                  <c:v>42922</c:v>
                </c:pt>
                <c:pt idx="3038">
                  <c:v>42923</c:v>
                </c:pt>
                <c:pt idx="3039">
                  <c:v>42926</c:v>
                </c:pt>
                <c:pt idx="3040">
                  <c:v>42927</c:v>
                </c:pt>
                <c:pt idx="3041">
                  <c:v>42928</c:v>
                </c:pt>
                <c:pt idx="3042">
                  <c:v>42929</c:v>
                </c:pt>
                <c:pt idx="3043">
                  <c:v>42930</c:v>
                </c:pt>
                <c:pt idx="3044">
                  <c:v>42933</c:v>
                </c:pt>
                <c:pt idx="3045">
                  <c:v>42934</c:v>
                </c:pt>
                <c:pt idx="3046">
                  <c:v>42935</c:v>
                </c:pt>
                <c:pt idx="3047">
                  <c:v>42936</c:v>
                </c:pt>
                <c:pt idx="3048">
                  <c:v>42937</c:v>
                </c:pt>
                <c:pt idx="3049">
                  <c:v>42940</c:v>
                </c:pt>
                <c:pt idx="3050">
                  <c:v>42941</c:v>
                </c:pt>
                <c:pt idx="3051">
                  <c:v>42942</c:v>
                </c:pt>
                <c:pt idx="3052">
                  <c:v>42943</c:v>
                </c:pt>
                <c:pt idx="3053">
                  <c:v>42944</c:v>
                </c:pt>
                <c:pt idx="3054">
                  <c:v>42947</c:v>
                </c:pt>
                <c:pt idx="3055">
                  <c:v>42948</c:v>
                </c:pt>
                <c:pt idx="3056">
                  <c:v>42949</c:v>
                </c:pt>
                <c:pt idx="3057">
                  <c:v>42950</c:v>
                </c:pt>
                <c:pt idx="3058">
                  <c:v>42951</c:v>
                </c:pt>
                <c:pt idx="3059">
                  <c:v>42954</c:v>
                </c:pt>
                <c:pt idx="3060">
                  <c:v>42955</c:v>
                </c:pt>
                <c:pt idx="3061">
                  <c:v>42956</c:v>
                </c:pt>
                <c:pt idx="3062">
                  <c:v>42957</c:v>
                </c:pt>
                <c:pt idx="3063">
                  <c:v>42958</c:v>
                </c:pt>
                <c:pt idx="3064">
                  <c:v>42961</c:v>
                </c:pt>
                <c:pt idx="3065">
                  <c:v>42962</c:v>
                </c:pt>
                <c:pt idx="3066">
                  <c:v>42963</c:v>
                </c:pt>
                <c:pt idx="3067">
                  <c:v>42964</c:v>
                </c:pt>
                <c:pt idx="3068">
                  <c:v>42965</c:v>
                </c:pt>
                <c:pt idx="3069">
                  <c:v>42968</c:v>
                </c:pt>
                <c:pt idx="3070">
                  <c:v>42969</c:v>
                </c:pt>
                <c:pt idx="3071">
                  <c:v>42970</c:v>
                </c:pt>
                <c:pt idx="3072">
                  <c:v>42971</c:v>
                </c:pt>
                <c:pt idx="3073">
                  <c:v>42972</c:v>
                </c:pt>
                <c:pt idx="3074">
                  <c:v>42975</c:v>
                </c:pt>
                <c:pt idx="3075">
                  <c:v>42976</c:v>
                </c:pt>
                <c:pt idx="3076">
                  <c:v>42977</c:v>
                </c:pt>
                <c:pt idx="3077">
                  <c:v>42978</c:v>
                </c:pt>
                <c:pt idx="3078">
                  <c:v>42979</c:v>
                </c:pt>
                <c:pt idx="3079">
                  <c:v>42982</c:v>
                </c:pt>
                <c:pt idx="3080">
                  <c:v>42983</c:v>
                </c:pt>
                <c:pt idx="3081">
                  <c:v>42984</c:v>
                </c:pt>
                <c:pt idx="3082">
                  <c:v>42985</c:v>
                </c:pt>
                <c:pt idx="3083">
                  <c:v>42986</c:v>
                </c:pt>
                <c:pt idx="3084">
                  <c:v>42989</c:v>
                </c:pt>
                <c:pt idx="3085">
                  <c:v>42990</c:v>
                </c:pt>
                <c:pt idx="3086">
                  <c:v>42991</c:v>
                </c:pt>
                <c:pt idx="3087">
                  <c:v>42992</c:v>
                </c:pt>
                <c:pt idx="3088">
                  <c:v>42993</c:v>
                </c:pt>
                <c:pt idx="3089">
                  <c:v>42996</c:v>
                </c:pt>
                <c:pt idx="3090">
                  <c:v>42997</c:v>
                </c:pt>
                <c:pt idx="3091">
                  <c:v>42998</c:v>
                </c:pt>
                <c:pt idx="3092">
                  <c:v>42999</c:v>
                </c:pt>
                <c:pt idx="3093">
                  <c:v>43000</c:v>
                </c:pt>
                <c:pt idx="3094">
                  <c:v>43003</c:v>
                </c:pt>
                <c:pt idx="3095">
                  <c:v>43004</c:v>
                </c:pt>
                <c:pt idx="3096">
                  <c:v>43005</c:v>
                </c:pt>
                <c:pt idx="3097">
                  <c:v>43006</c:v>
                </c:pt>
                <c:pt idx="3098">
                  <c:v>43007</c:v>
                </c:pt>
                <c:pt idx="3099">
                  <c:v>43017</c:v>
                </c:pt>
                <c:pt idx="3100">
                  <c:v>43018</c:v>
                </c:pt>
                <c:pt idx="3101">
                  <c:v>43019</c:v>
                </c:pt>
                <c:pt idx="3102">
                  <c:v>43020</c:v>
                </c:pt>
                <c:pt idx="3103">
                  <c:v>43021</c:v>
                </c:pt>
                <c:pt idx="3104">
                  <c:v>43024</c:v>
                </c:pt>
                <c:pt idx="3105">
                  <c:v>43025</c:v>
                </c:pt>
                <c:pt idx="3106">
                  <c:v>43026</c:v>
                </c:pt>
                <c:pt idx="3107">
                  <c:v>43027</c:v>
                </c:pt>
                <c:pt idx="3108">
                  <c:v>43028</c:v>
                </c:pt>
                <c:pt idx="3109">
                  <c:v>43031</c:v>
                </c:pt>
                <c:pt idx="3110">
                  <c:v>43032</c:v>
                </c:pt>
                <c:pt idx="3111">
                  <c:v>43033</c:v>
                </c:pt>
                <c:pt idx="3112">
                  <c:v>43034</c:v>
                </c:pt>
                <c:pt idx="3113">
                  <c:v>43035</c:v>
                </c:pt>
                <c:pt idx="3114">
                  <c:v>43038</c:v>
                </c:pt>
                <c:pt idx="3115">
                  <c:v>43039</c:v>
                </c:pt>
                <c:pt idx="3116">
                  <c:v>43040</c:v>
                </c:pt>
                <c:pt idx="3117">
                  <c:v>43041</c:v>
                </c:pt>
                <c:pt idx="3118">
                  <c:v>43042</c:v>
                </c:pt>
                <c:pt idx="3119">
                  <c:v>43045</c:v>
                </c:pt>
                <c:pt idx="3120">
                  <c:v>43046</c:v>
                </c:pt>
                <c:pt idx="3121">
                  <c:v>43047</c:v>
                </c:pt>
                <c:pt idx="3122">
                  <c:v>43048</c:v>
                </c:pt>
                <c:pt idx="3123">
                  <c:v>43049</c:v>
                </c:pt>
                <c:pt idx="3124">
                  <c:v>43052</c:v>
                </c:pt>
                <c:pt idx="3125">
                  <c:v>43053</c:v>
                </c:pt>
                <c:pt idx="3126">
                  <c:v>43054</c:v>
                </c:pt>
                <c:pt idx="3127">
                  <c:v>43055</c:v>
                </c:pt>
                <c:pt idx="3128">
                  <c:v>43056</c:v>
                </c:pt>
                <c:pt idx="3129">
                  <c:v>43059</c:v>
                </c:pt>
                <c:pt idx="3130">
                  <c:v>43060</c:v>
                </c:pt>
                <c:pt idx="3131">
                  <c:v>43061</c:v>
                </c:pt>
                <c:pt idx="3132">
                  <c:v>43062</c:v>
                </c:pt>
                <c:pt idx="3133">
                  <c:v>43063</c:v>
                </c:pt>
                <c:pt idx="3134">
                  <c:v>43066</c:v>
                </c:pt>
                <c:pt idx="3135">
                  <c:v>43067</c:v>
                </c:pt>
                <c:pt idx="3136">
                  <c:v>43068</c:v>
                </c:pt>
                <c:pt idx="3137">
                  <c:v>43069</c:v>
                </c:pt>
                <c:pt idx="3138">
                  <c:v>43070</c:v>
                </c:pt>
                <c:pt idx="3139">
                  <c:v>43073</c:v>
                </c:pt>
                <c:pt idx="3140">
                  <c:v>43074</c:v>
                </c:pt>
                <c:pt idx="3141">
                  <c:v>43075</c:v>
                </c:pt>
                <c:pt idx="3142">
                  <c:v>43076</c:v>
                </c:pt>
                <c:pt idx="3143">
                  <c:v>43077</c:v>
                </c:pt>
                <c:pt idx="3144">
                  <c:v>43080</c:v>
                </c:pt>
                <c:pt idx="3145">
                  <c:v>43081</c:v>
                </c:pt>
                <c:pt idx="3146">
                  <c:v>43082</c:v>
                </c:pt>
                <c:pt idx="3147">
                  <c:v>43083</c:v>
                </c:pt>
                <c:pt idx="3148">
                  <c:v>43084</c:v>
                </c:pt>
                <c:pt idx="3149">
                  <c:v>43087</c:v>
                </c:pt>
                <c:pt idx="3150">
                  <c:v>43088</c:v>
                </c:pt>
                <c:pt idx="3151">
                  <c:v>43089</c:v>
                </c:pt>
                <c:pt idx="3152">
                  <c:v>43090</c:v>
                </c:pt>
                <c:pt idx="3153">
                  <c:v>43091</c:v>
                </c:pt>
                <c:pt idx="3154">
                  <c:v>43094</c:v>
                </c:pt>
                <c:pt idx="3155">
                  <c:v>43095</c:v>
                </c:pt>
                <c:pt idx="3156">
                  <c:v>43096</c:v>
                </c:pt>
                <c:pt idx="3157">
                  <c:v>43097</c:v>
                </c:pt>
                <c:pt idx="3158">
                  <c:v>43098</c:v>
                </c:pt>
                <c:pt idx="3159">
                  <c:v>43102</c:v>
                </c:pt>
                <c:pt idx="3160">
                  <c:v>43103</c:v>
                </c:pt>
                <c:pt idx="3161">
                  <c:v>43104</c:v>
                </c:pt>
                <c:pt idx="3162">
                  <c:v>43105</c:v>
                </c:pt>
                <c:pt idx="3163">
                  <c:v>43108</c:v>
                </c:pt>
                <c:pt idx="3164">
                  <c:v>43109</c:v>
                </c:pt>
                <c:pt idx="3165">
                  <c:v>43110</c:v>
                </c:pt>
                <c:pt idx="3166">
                  <c:v>43111</c:v>
                </c:pt>
                <c:pt idx="3167">
                  <c:v>43112</c:v>
                </c:pt>
                <c:pt idx="3168">
                  <c:v>43115</c:v>
                </c:pt>
                <c:pt idx="3169">
                  <c:v>43116</c:v>
                </c:pt>
                <c:pt idx="3170">
                  <c:v>43117</c:v>
                </c:pt>
                <c:pt idx="3171">
                  <c:v>43118</c:v>
                </c:pt>
                <c:pt idx="3172">
                  <c:v>43119</c:v>
                </c:pt>
                <c:pt idx="3173">
                  <c:v>43122</c:v>
                </c:pt>
                <c:pt idx="3174">
                  <c:v>43123</c:v>
                </c:pt>
                <c:pt idx="3175">
                  <c:v>43124</c:v>
                </c:pt>
                <c:pt idx="3176">
                  <c:v>43125</c:v>
                </c:pt>
                <c:pt idx="3177">
                  <c:v>43126</c:v>
                </c:pt>
                <c:pt idx="3178">
                  <c:v>43129</c:v>
                </c:pt>
                <c:pt idx="3179">
                  <c:v>43130</c:v>
                </c:pt>
                <c:pt idx="3180">
                  <c:v>43131</c:v>
                </c:pt>
                <c:pt idx="3181">
                  <c:v>43132</c:v>
                </c:pt>
                <c:pt idx="3182">
                  <c:v>43133</c:v>
                </c:pt>
                <c:pt idx="3183">
                  <c:v>43136</c:v>
                </c:pt>
                <c:pt idx="3184">
                  <c:v>43137</c:v>
                </c:pt>
                <c:pt idx="3185">
                  <c:v>43138</c:v>
                </c:pt>
                <c:pt idx="3186">
                  <c:v>43139</c:v>
                </c:pt>
                <c:pt idx="3187">
                  <c:v>43140</c:v>
                </c:pt>
                <c:pt idx="3188">
                  <c:v>43143</c:v>
                </c:pt>
                <c:pt idx="3189">
                  <c:v>43144</c:v>
                </c:pt>
                <c:pt idx="3190">
                  <c:v>43145</c:v>
                </c:pt>
                <c:pt idx="3191">
                  <c:v>43153</c:v>
                </c:pt>
                <c:pt idx="3192">
                  <c:v>43154</c:v>
                </c:pt>
                <c:pt idx="3193">
                  <c:v>43157</c:v>
                </c:pt>
                <c:pt idx="3194">
                  <c:v>43158</c:v>
                </c:pt>
                <c:pt idx="3195">
                  <c:v>43159</c:v>
                </c:pt>
                <c:pt idx="3196">
                  <c:v>43160</c:v>
                </c:pt>
                <c:pt idx="3197">
                  <c:v>43161</c:v>
                </c:pt>
                <c:pt idx="3198">
                  <c:v>43164</c:v>
                </c:pt>
                <c:pt idx="3199">
                  <c:v>43165</c:v>
                </c:pt>
                <c:pt idx="3200">
                  <c:v>43166</c:v>
                </c:pt>
                <c:pt idx="3201">
                  <c:v>43167</c:v>
                </c:pt>
                <c:pt idx="3202">
                  <c:v>43168</c:v>
                </c:pt>
                <c:pt idx="3203">
                  <c:v>43171</c:v>
                </c:pt>
                <c:pt idx="3204">
                  <c:v>43172</c:v>
                </c:pt>
                <c:pt idx="3205">
                  <c:v>43173</c:v>
                </c:pt>
                <c:pt idx="3206">
                  <c:v>43174</c:v>
                </c:pt>
                <c:pt idx="3207">
                  <c:v>43175</c:v>
                </c:pt>
                <c:pt idx="3208">
                  <c:v>43178</c:v>
                </c:pt>
                <c:pt idx="3209">
                  <c:v>43179</c:v>
                </c:pt>
                <c:pt idx="3210">
                  <c:v>43180</c:v>
                </c:pt>
                <c:pt idx="3211">
                  <c:v>43181</c:v>
                </c:pt>
                <c:pt idx="3212">
                  <c:v>43182</c:v>
                </c:pt>
                <c:pt idx="3213">
                  <c:v>43185</c:v>
                </c:pt>
                <c:pt idx="3214">
                  <c:v>43186</c:v>
                </c:pt>
                <c:pt idx="3215">
                  <c:v>43187</c:v>
                </c:pt>
                <c:pt idx="3216">
                  <c:v>43188</c:v>
                </c:pt>
                <c:pt idx="3217">
                  <c:v>43189</c:v>
                </c:pt>
                <c:pt idx="3218">
                  <c:v>43192</c:v>
                </c:pt>
                <c:pt idx="3219">
                  <c:v>43193</c:v>
                </c:pt>
                <c:pt idx="3220">
                  <c:v>43194</c:v>
                </c:pt>
                <c:pt idx="3221">
                  <c:v>43199</c:v>
                </c:pt>
                <c:pt idx="3222">
                  <c:v>43200</c:v>
                </c:pt>
                <c:pt idx="3223">
                  <c:v>43201</c:v>
                </c:pt>
                <c:pt idx="3224">
                  <c:v>43202</c:v>
                </c:pt>
                <c:pt idx="3225">
                  <c:v>43203</c:v>
                </c:pt>
                <c:pt idx="3226">
                  <c:v>43206</c:v>
                </c:pt>
                <c:pt idx="3227">
                  <c:v>43207</c:v>
                </c:pt>
                <c:pt idx="3228">
                  <c:v>43208</c:v>
                </c:pt>
                <c:pt idx="3229">
                  <c:v>43209</c:v>
                </c:pt>
                <c:pt idx="3230">
                  <c:v>43210</c:v>
                </c:pt>
                <c:pt idx="3231">
                  <c:v>43213</c:v>
                </c:pt>
                <c:pt idx="3232">
                  <c:v>43214</c:v>
                </c:pt>
                <c:pt idx="3233">
                  <c:v>43215</c:v>
                </c:pt>
                <c:pt idx="3234">
                  <c:v>43216</c:v>
                </c:pt>
                <c:pt idx="3235">
                  <c:v>43217</c:v>
                </c:pt>
                <c:pt idx="3236">
                  <c:v>43222</c:v>
                </c:pt>
                <c:pt idx="3237">
                  <c:v>43223</c:v>
                </c:pt>
                <c:pt idx="3238">
                  <c:v>43224</c:v>
                </c:pt>
                <c:pt idx="3239">
                  <c:v>43227</c:v>
                </c:pt>
                <c:pt idx="3240">
                  <c:v>43228</c:v>
                </c:pt>
                <c:pt idx="3241">
                  <c:v>43229</c:v>
                </c:pt>
                <c:pt idx="3242">
                  <c:v>43230</c:v>
                </c:pt>
                <c:pt idx="3243">
                  <c:v>43231</c:v>
                </c:pt>
                <c:pt idx="3244">
                  <c:v>43234</c:v>
                </c:pt>
                <c:pt idx="3245">
                  <c:v>43235</c:v>
                </c:pt>
                <c:pt idx="3246">
                  <c:v>43236</c:v>
                </c:pt>
                <c:pt idx="3247">
                  <c:v>43237</c:v>
                </c:pt>
                <c:pt idx="3248">
                  <c:v>43238</c:v>
                </c:pt>
                <c:pt idx="3249">
                  <c:v>43241</c:v>
                </c:pt>
                <c:pt idx="3250">
                  <c:v>43242</c:v>
                </c:pt>
                <c:pt idx="3251">
                  <c:v>43243</c:v>
                </c:pt>
                <c:pt idx="3252">
                  <c:v>43244</c:v>
                </c:pt>
                <c:pt idx="3253">
                  <c:v>43245</c:v>
                </c:pt>
                <c:pt idx="3254">
                  <c:v>43248</c:v>
                </c:pt>
                <c:pt idx="3255">
                  <c:v>43249</c:v>
                </c:pt>
                <c:pt idx="3256">
                  <c:v>43250</c:v>
                </c:pt>
                <c:pt idx="3257">
                  <c:v>43251</c:v>
                </c:pt>
                <c:pt idx="3258">
                  <c:v>43252</c:v>
                </c:pt>
                <c:pt idx="3259">
                  <c:v>43255</c:v>
                </c:pt>
                <c:pt idx="3260">
                  <c:v>43256</c:v>
                </c:pt>
                <c:pt idx="3261">
                  <c:v>43257</c:v>
                </c:pt>
                <c:pt idx="3262">
                  <c:v>43258</c:v>
                </c:pt>
                <c:pt idx="3263">
                  <c:v>43259</c:v>
                </c:pt>
                <c:pt idx="3264">
                  <c:v>43262</c:v>
                </c:pt>
                <c:pt idx="3265">
                  <c:v>43263</c:v>
                </c:pt>
                <c:pt idx="3266">
                  <c:v>43264</c:v>
                </c:pt>
                <c:pt idx="3267">
                  <c:v>43265</c:v>
                </c:pt>
                <c:pt idx="3268">
                  <c:v>43266</c:v>
                </c:pt>
                <c:pt idx="3269">
                  <c:v>43270</c:v>
                </c:pt>
                <c:pt idx="3270">
                  <c:v>43271</c:v>
                </c:pt>
                <c:pt idx="3271">
                  <c:v>43272</c:v>
                </c:pt>
                <c:pt idx="3272">
                  <c:v>43273</c:v>
                </c:pt>
                <c:pt idx="3273">
                  <c:v>43276</c:v>
                </c:pt>
                <c:pt idx="3274">
                  <c:v>43277</c:v>
                </c:pt>
                <c:pt idx="3275">
                  <c:v>43278</c:v>
                </c:pt>
                <c:pt idx="3276">
                  <c:v>43279</c:v>
                </c:pt>
                <c:pt idx="3277">
                  <c:v>43280</c:v>
                </c:pt>
                <c:pt idx="3278">
                  <c:v>43283</c:v>
                </c:pt>
                <c:pt idx="3279">
                  <c:v>43284</c:v>
                </c:pt>
                <c:pt idx="3280">
                  <c:v>43285</c:v>
                </c:pt>
                <c:pt idx="3281">
                  <c:v>43286</c:v>
                </c:pt>
                <c:pt idx="3282">
                  <c:v>43287</c:v>
                </c:pt>
                <c:pt idx="3283">
                  <c:v>43290</c:v>
                </c:pt>
                <c:pt idx="3284">
                  <c:v>43291</c:v>
                </c:pt>
                <c:pt idx="3285">
                  <c:v>43292</c:v>
                </c:pt>
                <c:pt idx="3286">
                  <c:v>43293</c:v>
                </c:pt>
                <c:pt idx="3287">
                  <c:v>43294</c:v>
                </c:pt>
                <c:pt idx="3288">
                  <c:v>43297</c:v>
                </c:pt>
                <c:pt idx="3289">
                  <c:v>43298</c:v>
                </c:pt>
                <c:pt idx="3290">
                  <c:v>43299</c:v>
                </c:pt>
                <c:pt idx="3291">
                  <c:v>43300</c:v>
                </c:pt>
                <c:pt idx="3292">
                  <c:v>43301</c:v>
                </c:pt>
                <c:pt idx="3293">
                  <c:v>43304</c:v>
                </c:pt>
                <c:pt idx="3294">
                  <c:v>43305</c:v>
                </c:pt>
                <c:pt idx="3295">
                  <c:v>43306</c:v>
                </c:pt>
                <c:pt idx="3296">
                  <c:v>43307</c:v>
                </c:pt>
                <c:pt idx="3297">
                  <c:v>43308</c:v>
                </c:pt>
                <c:pt idx="3298">
                  <c:v>43311</c:v>
                </c:pt>
                <c:pt idx="3299">
                  <c:v>43312</c:v>
                </c:pt>
                <c:pt idx="3300">
                  <c:v>43313</c:v>
                </c:pt>
                <c:pt idx="3301">
                  <c:v>43314</c:v>
                </c:pt>
                <c:pt idx="3302">
                  <c:v>43315</c:v>
                </c:pt>
                <c:pt idx="3303">
                  <c:v>43318</c:v>
                </c:pt>
                <c:pt idx="3304">
                  <c:v>43319</c:v>
                </c:pt>
                <c:pt idx="3305">
                  <c:v>43320</c:v>
                </c:pt>
                <c:pt idx="3306">
                  <c:v>43321</c:v>
                </c:pt>
                <c:pt idx="3307">
                  <c:v>43322</c:v>
                </c:pt>
                <c:pt idx="3308">
                  <c:v>43325</c:v>
                </c:pt>
                <c:pt idx="3309">
                  <c:v>43326</c:v>
                </c:pt>
                <c:pt idx="3310">
                  <c:v>43327</c:v>
                </c:pt>
                <c:pt idx="3311">
                  <c:v>43328</c:v>
                </c:pt>
                <c:pt idx="3312">
                  <c:v>43329</c:v>
                </c:pt>
                <c:pt idx="3313">
                  <c:v>43332</c:v>
                </c:pt>
                <c:pt idx="3314">
                  <c:v>43333</c:v>
                </c:pt>
                <c:pt idx="3315">
                  <c:v>43334</c:v>
                </c:pt>
                <c:pt idx="3316">
                  <c:v>43335</c:v>
                </c:pt>
                <c:pt idx="3317">
                  <c:v>43336</c:v>
                </c:pt>
                <c:pt idx="3318">
                  <c:v>43339</c:v>
                </c:pt>
                <c:pt idx="3319">
                  <c:v>43340</c:v>
                </c:pt>
                <c:pt idx="3320">
                  <c:v>43341</c:v>
                </c:pt>
                <c:pt idx="3321">
                  <c:v>43342</c:v>
                </c:pt>
                <c:pt idx="3322">
                  <c:v>43343</c:v>
                </c:pt>
                <c:pt idx="3323">
                  <c:v>43346</c:v>
                </c:pt>
                <c:pt idx="3324">
                  <c:v>43347</c:v>
                </c:pt>
                <c:pt idx="3325">
                  <c:v>43348</c:v>
                </c:pt>
                <c:pt idx="3326">
                  <c:v>43349</c:v>
                </c:pt>
                <c:pt idx="3327">
                  <c:v>43350</c:v>
                </c:pt>
                <c:pt idx="3328">
                  <c:v>43353</c:v>
                </c:pt>
                <c:pt idx="3329">
                  <c:v>43354</c:v>
                </c:pt>
                <c:pt idx="3330">
                  <c:v>43355</c:v>
                </c:pt>
                <c:pt idx="3331">
                  <c:v>43356</c:v>
                </c:pt>
                <c:pt idx="3332">
                  <c:v>43357</c:v>
                </c:pt>
                <c:pt idx="3333">
                  <c:v>43360</c:v>
                </c:pt>
                <c:pt idx="3334">
                  <c:v>43361</c:v>
                </c:pt>
                <c:pt idx="3335">
                  <c:v>43362</c:v>
                </c:pt>
                <c:pt idx="3336">
                  <c:v>43363</c:v>
                </c:pt>
                <c:pt idx="3337">
                  <c:v>43364</c:v>
                </c:pt>
                <c:pt idx="3338">
                  <c:v>43368</c:v>
                </c:pt>
                <c:pt idx="3339">
                  <c:v>43369</c:v>
                </c:pt>
                <c:pt idx="3340">
                  <c:v>43370</c:v>
                </c:pt>
                <c:pt idx="3341">
                  <c:v>43371</c:v>
                </c:pt>
                <c:pt idx="3342">
                  <c:v>43381</c:v>
                </c:pt>
                <c:pt idx="3343">
                  <c:v>43382</c:v>
                </c:pt>
                <c:pt idx="3344">
                  <c:v>43383</c:v>
                </c:pt>
                <c:pt idx="3345">
                  <c:v>43384</c:v>
                </c:pt>
                <c:pt idx="3346">
                  <c:v>43385</c:v>
                </c:pt>
                <c:pt idx="3347">
                  <c:v>43388</c:v>
                </c:pt>
                <c:pt idx="3348">
                  <c:v>43389</c:v>
                </c:pt>
                <c:pt idx="3349">
                  <c:v>43390</c:v>
                </c:pt>
                <c:pt idx="3350">
                  <c:v>43391</c:v>
                </c:pt>
                <c:pt idx="3351">
                  <c:v>43392</c:v>
                </c:pt>
                <c:pt idx="3352">
                  <c:v>43395</c:v>
                </c:pt>
                <c:pt idx="3353">
                  <c:v>43396</c:v>
                </c:pt>
                <c:pt idx="3354">
                  <c:v>43397</c:v>
                </c:pt>
                <c:pt idx="3355">
                  <c:v>43398</c:v>
                </c:pt>
                <c:pt idx="3356">
                  <c:v>43399</c:v>
                </c:pt>
                <c:pt idx="3357">
                  <c:v>43402</c:v>
                </c:pt>
                <c:pt idx="3358">
                  <c:v>43403</c:v>
                </c:pt>
                <c:pt idx="3359">
                  <c:v>43404</c:v>
                </c:pt>
                <c:pt idx="3360">
                  <c:v>43405</c:v>
                </c:pt>
                <c:pt idx="3361">
                  <c:v>43406</c:v>
                </c:pt>
                <c:pt idx="3362">
                  <c:v>43409</c:v>
                </c:pt>
                <c:pt idx="3363">
                  <c:v>43410</c:v>
                </c:pt>
                <c:pt idx="3364">
                  <c:v>43411</c:v>
                </c:pt>
                <c:pt idx="3365">
                  <c:v>43412</c:v>
                </c:pt>
                <c:pt idx="3366">
                  <c:v>43413</c:v>
                </c:pt>
                <c:pt idx="3367">
                  <c:v>43416</c:v>
                </c:pt>
                <c:pt idx="3368">
                  <c:v>43417</c:v>
                </c:pt>
                <c:pt idx="3369">
                  <c:v>43418</c:v>
                </c:pt>
                <c:pt idx="3370">
                  <c:v>43419</c:v>
                </c:pt>
                <c:pt idx="3371">
                  <c:v>43420</c:v>
                </c:pt>
                <c:pt idx="3372">
                  <c:v>43423</c:v>
                </c:pt>
                <c:pt idx="3373">
                  <c:v>43424</c:v>
                </c:pt>
                <c:pt idx="3374">
                  <c:v>43425</c:v>
                </c:pt>
                <c:pt idx="3375">
                  <c:v>43426</c:v>
                </c:pt>
                <c:pt idx="3376">
                  <c:v>43427</c:v>
                </c:pt>
                <c:pt idx="3377">
                  <c:v>43430</c:v>
                </c:pt>
                <c:pt idx="3378">
                  <c:v>43431</c:v>
                </c:pt>
                <c:pt idx="3379">
                  <c:v>43432</c:v>
                </c:pt>
                <c:pt idx="3380">
                  <c:v>43433</c:v>
                </c:pt>
                <c:pt idx="3381">
                  <c:v>43434</c:v>
                </c:pt>
                <c:pt idx="3382">
                  <c:v>43437</c:v>
                </c:pt>
                <c:pt idx="3383">
                  <c:v>43438</c:v>
                </c:pt>
                <c:pt idx="3384">
                  <c:v>43439</c:v>
                </c:pt>
                <c:pt idx="3385">
                  <c:v>43440</c:v>
                </c:pt>
                <c:pt idx="3386">
                  <c:v>43441</c:v>
                </c:pt>
                <c:pt idx="3387">
                  <c:v>43444</c:v>
                </c:pt>
                <c:pt idx="3388">
                  <c:v>43445</c:v>
                </c:pt>
                <c:pt idx="3389">
                  <c:v>43446</c:v>
                </c:pt>
                <c:pt idx="3390">
                  <c:v>43447</c:v>
                </c:pt>
                <c:pt idx="3391">
                  <c:v>43448</c:v>
                </c:pt>
                <c:pt idx="3392">
                  <c:v>43451</c:v>
                </c:pt>
                <c:pt idx="3393">
                  <c:v>43452</c:v>
                </c:pt>
                <c:pt idx="3394">
                  <c:v>43453</c:v>
                </c:pt>
                <c:pt idx="3395">
                  <c:v>43454</c:v>
                </c:pt>
                <c:pt idx="3396">
                  <c:v>43455</c:v>
                </c:pt>
                <c:pt idx="3397">
                  <c:v>43458</c:v>
                </c:pt>
                <c:pt idx="3398">
                  <c:v>43459</c:v>
                </c:pt>
                <c:pt idx="3399">
                  <c:v>43460</c:v>
                </c:pt>
                <c:pt idx="3400">
                  <c:v>43461</c:v>
                </c:pt>
                <c:pt idx="3401">
                  <c:v>43462</c:v>
                </c:pt>
                <c:pt idx="3402">
                  <c:v>43467</c:v>
                </c:pt>
                <c:pt idx="3403">
                  <c:v>43468</c:v>
                </c:pt>
                <c:pt idx="3404">
                  <c:v>43469</c:v>
                </c:pt>
                <c:pt idx="3405">
                  <c:v>43472</c:v>
                </c:pt>
                <c:pt idx="3406">
                  <c:v>43473</c:v>
                </c:pt>
                <c:pt idx="3407">
                  <c:v>43474</c:v>
                </c:pt>
                <c:pt idx="3408">
                  <c:v>43475</c:v>
                </c:pt>
                <c:pt idx="3409">
                  <c:v>43476</c:v>
                </c:pt>
                <c:pt idx="3410">
                  <c:v>43479</c:v>
                </c:pt>
                <c:pt idx="3411">
                  <c:v>43480</c:v>
                </c:pt>
                <c:pt idx="3412">
                  <c:v>43481</c:v>
                </c:pt>
                <c:pt idx="3413">
                  <c:v>43482</c:v>
                </c:pt>
                <c:pt idx="3414">
                  <c:v>43483</c:v>
                </c:pt>
                <c:pt idx="3415">
                  <c:v>43486</c:v>
                </c:pt>
                <c:pt idx="3416">
                  <c:v>43487</c:v>
                </c:pt>
                <c:pt idx="3417">
                  <c:v>43488</c:v>
                </c:pt>
                <c:pt idx="3418">
                  <c:v>43489</c:v>
                </c:pt>
                <c:pt idx="3419">
                  <c:v>43490</c:v>
                </c:pt>
                <c:pt idx="3420">
                  <c:v>43493</c:v>
                </c:pt>
                <c:pt idx="3421">
                  <c:v>43494</c:v>
                </c:pt>
                <c:pt idx="3422">
                  <c:v>43495</c:v>
                </c:pt>
                <c:pt idx="3423">
                  <c:v>43496</c:v>
                </c:pt>
                <c:pt idx="3424">
                  <c:v>43497</c:v>
                </c:pt>
                <c:pt idx="3425">
                  <c:v>43507</c:v>
                </c:pt>
                <c:pt idx="3426">
                  <c:v>43508</c:v>
                </c:pt>
                <c:pt idx="3427">
                  <c:v>43509</c:v>
                </c:pt>
                <c:pt idx="3428">
                  <c:v>43510</c:v>
                </c:pt>
                <c:pt idx="3429">
                  <c:v>43511</c:v>
                </c:pt>
                <c:pt idx="3430">
                  <c:v>43514</c:v>
                </c:pt>
                <c:pt idx="3431">
                  <c:v>43515</c:v>
                </c:pt>
                <c:pt idx="3432">
                  <c:v>43516</c:v>
                </c:pt>
                <c:pt idx="3433">
                  <c:v>43517</c:v>
                </c:pt>
                <c:pt idx="3434">
                  <c:v>43518</c:v>
                </c:pt>
                <c:pt idx="3435">
                  <c:v>43521</c:v>
                </c:pt>
                <c:pt idx="3436">
                  <c:v>43522</c:v>
                </c:pt>
                <c:pt idx="3437">
                  <c:v>43523</c:v>
                </c:pt>
                <c:pt idx="3438">
                  <c:v>43524</c:v>
                </c:pt>
                <c:pt idx="3439">
                  <c:v>43525</c:v>
                </c:pt>
                <c:pt idx="3440">
                  <c:v>43528</c:v>
                </c:pt>
                <c:pt idx="3441">
                  <c:v>43529</c:v>
                </c:pt>
                <c:pt idx="3442">
                  <c:v>43530</c:v>
                </c:pt>
                <c:pt idx="3443">
                  <c:v>43531</c:v>
                </c:pt>
                <c:pt idx="3444">
                  <c:v>43532</c:v>
                </c:pt>
                <c:pt idx="3445">
                  <c:v>43535</c:v>
                </c:pt>
                <c:pt idx="3446">
                  <c:v>43536</c:v>
                </c:pt>
                <c:pt idx="3447">
                  <c:v>43537</c:v>
                </c:pt>
                <c:pt idx="3448">
                  <c:v>43538</c:v>
                </c:pt>
                <c:pt idx="3449">
                  <c:v>43539</c:v>
                </c:pt>
                <c:pt idx="3450">
                  <c:v>43542</c:v>
                </c:pt>
                <c:pt idx="3451">
                  <c:v>43543</c:v>
                </c:pt>
                <c:pt idx="3452">
                  <c:v>43544</c:v>
                </c:pt>
                <c:pt idx="3453">
                  <c:v>43545</c:v>
                </c:pt>
                <c:pt idx="3454">
                  <c:v>43546</c:v>
                </c:pt>
                <c:pt idx="3455">
                  <c:v>43549</c:v>
                </c:pt>
                <c:pt idx="3456">
                  <c:v>43550</c:v>
                </c:pt>
                <c:pt idx="3457">
                  <c:v>43551</c:v>
                </c:pt>
                <c:pt idx="3458">
                  <c:v>43552</c:v>
                </c:pt>
                <c:pt idx="3459">
                  <c:v>43553</c:v>
                </c:pt>
                <c:pt idx="3460">
                  <c:v>43556</c:v>
                </c:pt>
                <c:pt idx="3461">
                  <c:v>43557</c:v>
                </c:pt>
                <c:pt idx="3462">
                  <c:v>43558</c:v>
                </c:pt>
                <c:pt idx="3463">
                  <c:v>43559</c:v>
                </c:pt>
                <c:pt idx="3464">
                  <c:v>43563</c:v>
                </c:pt>
                <c:pt idx="3465">
                  <c:v>43564</c:v>
                </c:pt>
                <c:pt idx="3466">
                  <c:v>43565</c:v>
                </c:pt>
                <c:pt idx="3467">
                  <c:v>43566</c:v>
                </c:pt>
                <c:pt idx="3468">
                  <c:v>43567</c:v>
                </c:pt>
                <c:pt idx="3469">
                  <c:v>43570</c:v>
                </c:pt>
                <c:pt idx="3470">
                  <c:v>43571</c:v>
                </c:pt>
                <c:pt idx="3471">
                  <c:v>43572</c:v>
                </c:pt>
                <c:pt idx="3472">
                  <c:v>43573</c:v>
                </c:pt>
                <c:pt idx="3473">
                  <c:v>43574</c:v>
                </c:pt>
                <c:pt idx="3474">
                  <c:v>43577</c:v>
                </c:pt>
                <c:pt idx="3475">
                  <c:v>43578</c:v>
                </c:pt>
                <c:pt idx="3476">
                  <c:v>43579</c:v>
                </c:pt>
                <c:pt idx="3477">
                  <c:v>43580</c:v>
                </c:pt>
                <c:pt idx="3478">
                  <c:v>43581</c:v>
                </c:pt>
                <c:pt idx="3479">
                  <c:v>43584</c:v>
                </c:pt>
                <c:pt idx="3480">
                  <c:v>43585</c:v>
                </c:pt>
                <c:pt idx="3481">
                  <c:v>43591</c:v>
                </c:pt>
                <c:pt idx="3482">
                  <c:v>43592</c:v>
                </c:pt>
                <c:pt idx="3483">
                  <c:v>43593</c:v>
                </c:pt>
                <c:pt idx="3484">
                  <c:v>43594</c:v>
                </c:pt>
                <c:pt idx="3485">
                  <c:v>43595</c:v>
                </c:pt>
                <c:pt idx="3486">
                  <c:v>43598</c:v>
                </c:pt>
                <c:pt idx="3487">
                  <c:v>43599</c:v>
                </c:pt>
                <c:pt idx="3488">
                  <c:v>43600</c:v>
                </c:pt>
                <c:pt idx="3489">
                  <c:v>43601</c:v>
                </c:pt>
                <c:pt idx="3490">
                  <c:v>43602</c:v>
                </c:pt>
                <c:pt idx="3491">
                  <c:v>43605</c:v>
                </c:pt>
                <c:pt idx="3492">
                  <c:v>43606</c:v>
                </c:pt>
                <c:pt idx="3493">
                  <c:v>43607</c:v>
                </c:pt>
                <c:pt idx="3494">
                  <c:v>43608</c:v>
                </c:pt>
                <c:pt idx="3495">
                  <c:v>43609</c:v>
                </c:pt>
                <c:pt idx="3496">
                  <c:v>43612</c:v>
                </c:pt>
                <c:pt idx="3497">
                  <c:v>43613</c:v>
                </c:pt>
                <c:pt idx="3498">
                  <c:v>43614</c:v>
                </c:pt>
                <c:pt idx="3499">
                  <c:v>43615</c:v>
                </c:pt>
                <c:pt idx="3500">
                  <c:v>43616</c:v>
                </c:pt>
                <c:pt idx="3501">
                  <c:v>43619</c:v>
                </c:pt>
                <c:pt idx="3502">
                  <c:v>43620</c:v>
                </c:pt>
                <c:pt idx="3503">
                  <c:v>43621</c:v>
                </c:pt>
                <c:pt idx="3504">
                  <c:v>43622</c:v>
                </c:pt>
                <c:pt idx="3505">
                  <c:v>43626</c:v>
                </c:pt>
                <c:pt idx="3506">
                  <c:v>43627</c:v>
                </c:pt>
                <c:pt idx="3507">
                  <c:v>43628</c:v>
                </c:pt>
                <c:pt idx="3508">
                  <c:v>43629</c:v>
                </c:pt>
                <c:pt idx="3509">
                  <c:v>43630</c:v>
                </c:pt>
                <c:pt idx="3510">
                  <c:v>43633</c:v>
                </c:pt>
                <c:pt idx="3511">
                  <c:v>43634</c:v>
                </c:pt>
                <c:pt idx="3512">
                  <c:v>43635</c:v>
                </c:pt>
                <c:pt idx="3513">
                  <c:v>43636</c:v>
                </c:pt>
                <c:pt idx="3514">
                  <c:v>43637</c:v>
                </c:pt>
                <c:pt idx="3515">
                  <c:v>43640</c:v>
                </c:pt>
                <c:pt idx="3516">
                  <c:v>43641</c:v>
                </c:pt>
                <c:pt idx="3517">
                  <c:v>43642</c:v>
                </c:pt>
                <c:pt idx="3518">
                  <c:v>43643</c:v>
                </c:pt>
                <c:pt idx="3519">
                  <c:v>43644</c:v>
                </c:pt>
                <c:pt idx="3520">
                  <c:v>43647</c:v>
                </c:pt>
                <c:pt idx="3521">
                  <c:v>43648</c:v>
                </c:pt>
                <c:pt idx="3522">
                  <c:v>43649</c:v>
                </c:pt>
                <c:pt idx="3523">
                  <c:v>43650</c:v>
                </c:pt>
                <c:pt idx="3524">
                  <c:v>43651</c:v>
                </c:pt>
                <c:pt idx="3525">
                  <c:v>43654</c:v>
                </c:pt>
                <c:pt idx="3526">
                  <c:v>43655</c:v>
                </c:pt>
                <c:pt idx="3527">
                  <c:v>43656</c:v>
                </c:pt>
                <c:pt idx="3528">
                  <c:v>43657</c:v>
                </c:pt>
                <c:pt idx="3529">
                  <c:v>43658</c:v>
                </c:pt>
                <c:pt idx="3530">
                  <c:v>43661</c:v>
                </c:pt>
                <c:pt idx="3531">
                  <c:v>43662</c:v>
                </c:pt>
                <c:pt idx="3532">
                  <c:v>43663</c:v>
                </c:pt>
                <c:pt idx="3533">
                  <c:v>43664</c:v>
                </c:pt>
                <c:pt idx="3534">
                  <c:v>43665</c:v>
                </c:pt>
                <c:pt idx="3535">
                  <c:v>43668</c:v>
                </c:pt>
                <c:pt idx="3536">
                  <c:v>43669</c:v>
                </c:pt>
                <c:pt idx="3537">
                  <c:v>43670</c:v>
                </c:pt>
                <c:pt idx="3538">
                  <c:v>43671</c:v>
                </c:pt>
                <c:pt idx="3539">
                  <c:v>43672</c:v>
                </c:pt>
                <c:pt idx="3540">
                  <c:v>43675</c:v>
                </c:pt>
                <c:pt idx="3541">
                  <c:v>43676</c:v>
                </c:pt>
                <c:pt idx="3542">
                  <c:v>43677</c:v>
                </c:pt>
                <c:pt idx="3543">
                  <c:v>43678</c:v>
                </c:pt>
                <c:pt idx="3544">
                  <c:v>43679</c:v>
                </c:pt>
                <c:pt idx="3545">
                  <c:v>43682</c:v>
                </c:pt>
                <c:pt idx="3546">
                  <c:v>43683</c:v>
                </c:pt>
                <c:pt idx="3547">
                  <c:v>43684</c:v>
                </c:pt>
                <c:pt idx="3548">
                  <c:v>43685</c:v>
                </c:pt>
                <c:pt idx="3549">
                  <c:v>43686</c:v>
                </c:pt>
                <c:pt idx="3550">
                  <c:v>43689</c:v>
                </c:pt>
                <c:pt idx="3551">
                  <c:v>43690</c:v>
                </c:pt>
                <c:pt idx="3552">
                  <c:v>43691</c:v>
                </c:pt>
                <c:pt idx="3553">
                  <c:v>43692</c:v>
                </c:pt>
                <c:pt idx="3554">
                  <c:v>43693</c:v>
                </c:pt>
                <c:pt idx="3555">
                  <c:v>43696</c:v>
                </c:pt>
                <c:pt idx="3556">
                  <c:v>43697</c:v>
                </c:pt>
                <c:pt idx="3557">
                  <c:v>43698</c:v>
                </c:pt>
                <c:pt idx="3558">
                  <c:v>43699</c:v>
                </c:pt>
                <c:pt idx="3559">
                  <c:v>43700</c:v>
                </c:pt>
                <c:pt idx="3560">
                  <c:v>43703</c:v>
                </c:pt>
                <c:pt idx="3561">
                  <c:v>43704</c:v>
                </c:pt>
                <c:pt idx="3562">
                  <c:v>43705</c:v>
                </c:pt>
                <c:pt idx="3563">
                  <c:v>43706</c:v>
                </c:pt>
                <c:pt idx="3564">
                  <c:v>43707</c:v>
                </c:pt>
                <c:pt idx="3565">
                  <c:v>43710</c:v>
                </c:pt>
                <c:pt idx="3566">
                  <c:v>43711</c:v>
                </c:pt>
                <c:pt idx="3567">
                  <c:v>43712</c:v>
                </c:pt>
                <c:pt idx="3568">
                  <c:v>43713</c:v>
                </c:pt>
                <c:pt idx="3569">
                  <c:v>43714</c:v>
                </c:pt>
                <c:pt idx="3570">
                  <c:v>43717</c:v>
                </c:pt>
                <c:pt idx="3571">
                  <c:v>43718</c:v>
                </c:pt>
                <c:pt idx="3572">
                  <c:v>43719</c:v>
                </c:pt>
                <c:pt idx="3573">
                  <c:v>43720</c:v>
                </c:pt>
                <c:pt idx="3574">
                  <c:v>43724</c:v>
                </c:pt>
                <c:pt idx="3575">
                  <c:v>43725</c:v>
                </c:pt>
                <c:pt idx="3576">
                  <c:v>43726</c:v>
                </c:pt>
                <c:pt idx="3577">
                  <c:v>43727</c:v>
                </c:pt>
                <c:pt idx="3578">
                  <c:v>43728</c:v>
                </c:pt>
                <c:pt idx="3579">
                  <c:v>43731</c:v>
                </c:pt>
                <c:pt idx="3580">
                  <c:v>43732</c:v>
                </c:pt>
                <c:pt idx="3581">
                  <c:v>43733</c:v>
                </c:pt>
                <c:pt idx="3582">
                  <c:v>43734</c:v>
                </c:pt>
                <c:pt idx="3583">
                  <c:v>43735</c:v>
                </c:pt>
                <c:pt idx="3584">
                  <c:v>43738</c:v>
                </c:pt>
                <c:pt idx="3585">
                  <c:v>43746</c:v>
                </c:pt>
                <c:pt idx="3586">
                  <c:v>43747</c:v>
                </c:pt>
                <c:pt idx="3587">
                  <c:v>43748</c:v>
                </c:pt>
                <c:pt idx="3588">
                  <c:v>43749</c:v>
                </c:pt>
                <c:pt idx="3589">
                  <c:v>43752</c:v>
                </c:pt>
                <c:pt idx="3590">
                  <c:v>43753</c:v>
                </c:pt>
                <c:pt idx="3591">
                  <c:v>43754</c:v>
                </c:pt>
                <c:pt idx="3592">
                  <c:v>43755</c:v>
                </c:pt>
                <c:pt idx="3593">
                  <c:v>43756</c:v>
                </c:pt>
                <c:pt idx="3594">
                  <c:v>43759</c:v>
                </c:pt>
                <c:pt idx="3595">
                  <c:v>43760</c:v>
                </c:pt>
                <c:pt idx="3596">
                  <c:v>43761</c:v>
                </c:pt>
                <c:pt idx="3597">
                  <c:v>43762</c:v>
                </c:pt>
                <c:pt idx="3598">
                  <c:v>43763</c:v>
                </c:pt>
                <c:pt idx="3599">
                  <c:v>43766</c:v>
                </c:pt>
                <c:pt idx="3600">
                  <c:v>43767</c:v>
                </c:pt>
                <c:pt idx="3601">
                  <c:v>43768</c:v>
                </c:pt>
                <c:pt idx="3602">
                  <c:v>43769</c:v>
                </c:pt>
                <c:pt idx="3603">
                  <c:v>43770</c:v>
                </c:pt>
                <c:pt idx="3604">
                  <c:v>43773</c:v>
                </c:pt>
                <c:pt idx="3605">
                  <c:v>43774</c:v>
                </c:pt>
                <c:pt idx="3606">
                  <c:v>43775</c:v>
                </c:pt>
                <c:pt idx="3607">
                  <c:v>43776</c:v>
                </c:pt>
                <c:pt idx="3608">
                  <c:v>43777</c:v>
                </c:pt>
                <c:pt idx="3609">
                  <c:v>43780</c:v>
                </c:pt>
                <c:pt idx="3610">
                  <c:v>43781</c:v>
                </c:pt>
                <c:pt idx="3611">
                  <c:v>43782</c:v>
                </c:pt>
                <c:pt idx="3612">
                  <c:v>43783</c:v>
                </c:pt>
                <c:pt idx="3613">
                  <c:v>43784</c:v>
                </c:pt>
                <c:pt idx="3614">
                  <c:v>43787</c:v>
                </c:pt>
                <c:pt idx="3615">
                  <c:v>43788</c:v>
                </c:pt>
                <c:pt idx="3616">
                  <c:v>43789</c:v>
                </c:pt>
                <c:pt idx="3617">
                  <c:v>43790</c:v>
                </c:pt>
                <c:pt idx="3618">
                  <c:v>43791</c:v>
                </c:pt>
                <c:pt idx="3619">
                  <c:v>43794</c:v>
                </c:pt>
                <c:pt idx="3620">
                  <c:v>43795</c:v>
                </c:pt>
                <c:pt idx="3621">
                  <c:v>43796</c:v>
                </c:pt>
                <c:pt idx="3622">
                  <c:v>43797</c:v>
                </c:pt>
                <c:pt idx="3623">
                  <c:v>43798</c:v>
                </c:pt>
                <c:pt idx="3624">
                  <c:v>43801</c:v>
                </c:pt>
                <c:pt idx="3625">
                  <c:v>43802</c:v>
                </c:pt>
                <c:pt idx="3626">
                  <c:v>43803</c:v>
                </c:pt>
                <c:pt idx="3627">
                  <c:v>43804</c:v>
                </c:pt>
                <c:pt idx="3628">
                  <c:v>43805</c:v>
                </c:pt>
                <c:pt idx="3629">
                  <c:v>43808</c:v>
                </c:pt>
                <c:pt idx="3630">
                  <c:v>43809</c:v>
                </c:pt>
                <c:pt idx="3631">
                  <c:v>43810</c:v>
                </c:pt>
                <c:pt idx="3632">
                  <c:v>43811</c:v>
                </c:pt>
                <c:pt idx="3633">
                  <c:v>43812</c:v>
                </c:pt>
                <c:pt idx="3634">
                  <c:v>43815</c:v>
                </c:pt>
                <c:pt idx="3635">
                  <c:v>43816</c:v>
                </c:pt>
                <c:pt idx="3636">
                  <c:v>43817</c:v>
                </c:pt>
                <c:pt idx="3637">
                  <c:v>43818</c:v>
                </c:pt>
                <c:pt idx="3638">
                  <c:v>43819</c:v>
                </c:pt>
                <c:pt idx="3639">
                  <c:v>43822</c:v>
                </c:pt>
                <c:pt idx="3640">
                  <c:v>43823</c:v>
                </c:pt>
                <c:pt idx="3641">
                  <c:v>43824</c:v>
                </c:pt>
                <c:pt idx="3642">
                  <c:v>43825</c:v>
                </c:pt>
                <c:pt idx="3643">
                  <c:v>43826</c:v>
                </c:pt>
                <c:pt idx="3644">
                  <c:v>43829</c:v>
                </c:pt>
                <c:pt idx="3645">
                  <c:v>43830</c:v>
                </c:pt>
                <c:pt idx="3646">
                  <c:v>43832</c:v>
                </c:pt>
                <c:pt idx="3647">
                  <c:v>43833</c:v>
                </c:pt>
                <c:pt idx="3648">
                  <c:v>43836</c:v>
                </c:pt>
                <c:pt idx="3649">
                  <c:v>43837</c:v>
                </c:pt>
                <c:pt idx="3650">
                  <c:v>43838</c:v>
                </c:pt>
                <c:pt idx="3651">
                  <c:v>43839</c:v>
                </c:pt>
                <c:pt idx="3652">
                  <c:v>43840</c:v>
                </c:pt>
                <c:pt idx="3653">
                  <c:v>43843</c:v>
                </c:pt>
                <c:pt idx="3654">
                  <c:v>43844</c:v>
                </c:pt>
                <c:pt idx="3655">
                  <c:v>43845</c:v>
                </c:pt>
                <c:pt idx="3656">
                  <c:v>43846</c:v>
                </c:pt>
                <c:pt idx="3657">
                  <c:v>43847</c:v>
                </c:pt>
                <c:pt idx="3658">
                  <c:v>43850</c:v>
                </c:pt>
                <c:pt idx="3659">
                  <c:v>43851</c:v>
                </c:pt>
                <c:pt idx="3660">
                  <c:v>43852</c:v>
                </c:pt>
                <c:pt idx="3661">
                  <c:v>43853</c:v>
                </c:pt>
                <c:pt idx="3662">
                  <c:v>43864</c:v>
                </c:pt>
                <c:pt idx="3663">
                  <c:v>43865</c:v>
                </c:pt>
                <c:pt idx="3664">
                  <c:v>43866</c:v>
                </c:pt>
                <c:pt idx="3665">
                  <c:v>43867</c:v>
                </c:pt>
                <c:pt idx="3666">
                  <c:v>43868</c:v>
                </c:pt>
                <c:pt idx="3667">
                  <c:v>43871</c:v>
                </c:pt>
                <c:pt idx="3668">
                  <c:v>43872</c:v>
                </c:pt>
                <c:pt idx="3669">
                  <c:v>43873</c:v>
                </c:pt>
                <c:pt idx="3670">
                  <c:v>43874</c:v>
                </c:pt>
                <c:pt idx="3671">
                  <c:v>43875</c:v>
                </c:pt>
                <c:pt idx="3672">
                  <c:v>43878</c:v>
                </c:pt>
                <c:pt idx="3673">
                  <c:v>43879</c:v>
                </c:pt>
                <c:pt idx="3674">
                  <c:v>43880</c:v>
                </c:pt>
                <c:pt idx="3675">
                  <c:v>43881</c:v>
                </c:pt>
                <c:pt idx="3676">
                  <c:v>43882</c:v>
                </c:pt>
                <c:pt idx="3677">
                  <c:v>43885</c:v>
                </c:pt>
                <c:pt idx="3678">
                  <c:v>43886</c:v>
                </c:pt>
                <c:pt idx="3679">
                  <c:v>43887</c:v>
                </c:pt>
                <c:pt idx="3680">
                  <c:v>43888</c:v>
                </c:pt>
                <c:pt idx="3681">
                  <c:v>43889</c:v>
                </c:pt>
                <c:pt idx="3682">
                  <c:v>43892</c:v>
                </c:pt>
                <c:pt idx="3683">
                  <c:v>43893</c:v>
                </c:pt>
                <c:pt idx="3684">
                  <c:v>43894</c:v>
                </c:pt>
                <c:pt idx="3685">
                  <c:v>43895</c:v>
                </c:pt>
                <c:pt idx="3686">
                  <c:v>43896</c:v>
                </c:pt>
                <c:pt idx="3687">
                  <c:v>43899</c:v>
                </c:pt>
                <c:pt idx="3688">
                  <c:v>43900</c:v>
                </c:pt>
                <c:pt idx="3689">
                  <c:v>43901</c:v>
                </c:pt>
                <c:pt idx="3690">
                  <c:v>43902</c:v>
                </c:pt>
                <c:pt idx="3691">
                  <c:v>43903</c:v>
                </c:pt>
                <c:pt idx="3692">
                  <c:v>43906</c:v>
                </c:pt>
                <c:pt idx="3693">
                  <c:v>43907</c:v>
                </c:pt>
                <c:pt idx="3694">
                  <c:v>43908</c:v>
                </c:pt>
                <c:pt idx="3695">
                  <c:v>43909</c:v>
                </c:pt>
                <c:pt idx="3696">
                  <c:v>43910</c:v>
                </c:pt>
                <c:pt idx="3697">
                  <c:v>43913</c:v>
                </c:pt>
                <c:pt idx="3698">
                  <c:v>43914</c:v>
                </c:pt>
                <c:pt idx="3699">
                  <c:v>43915</c:v>
                </c:pt>
                <c:pt idx="3700">
                  <c:v>43916</c:v>
                </c:pt>
                <c:pt idx="3701">
                  <c:v>43917</c:v>
                </c:pt>
                <c:pt idx="3702">
                  <c:v>43920</c:v>
                </c:pt>
                <c:pt idx="3703">
                  <c:v>43921</c:v>
                </c:pt>
                <c:pt idx="3704">
                  <c:v>43922</c:v>
                </c:pt>
                <c:pt idx="3705">
                  <c:v>43923</c:v>
                </c:pt>
                <c:pt idx="3706">
                  <c:v>43924</c:v>
                </c:pt>
                <c:pt idx="3707">
                  <c:v>43928</c:v>
                </c:pt>
                <c:pt idx="3708">
                  <c:v>43929</c:v>
                </c:pt>
                <c:pt idx="3709">
                  <c:v>43930</c:v>
                </c:pt>
                <c:pt idx="3710">
                  <c:v>43931</c:v>
                </c:pt>
                <c:pt idx="3711">
                  <c:v>43934</c:v>
                </c:pt>
                <c:pt idx="3712">
                  <c:v>43935</c:v>
                </c:pt>
                <c:pt idx="3713">
                  <c:v>43936</c:v>
                </c:pt>
                <c:pt idx="3714">
                  <c:v>43937</c:v>
                </c:pt>
                <c:pt idx="3715">
                  <c:v>43938</c:v>
                </c:pt>
                <c:pt idx="3716">
                  <c:v>43941</c:v>
                </c:pt>
                <c:pt idx="3717">
                  <c:v>43942</c:v>
                </c:pt>
                <c:pt idx="3718">
                  <c:v>43943</c:v>
                </c:pt>
                <c:pt idx="3719">
                  <c:v>43944</c:v>
                </c:pt>
                <c:pt idx="3720">
                  <c:v>43945</c:v>
                </c:pt>
                <c:pt idx="3721">
                  <c:v>43948</c:v>
                </c:pt>
                <c:pt idx="3722">
                  <c:v>43949</c:v>
                </c:pt>
                <c:pt idx="3723">
                  <c:v>43950</c:v>
                </c:pt>
                <c:pt idx="3724">
                  <c:v>43951</c:v>
                </c:pt>
                <c:pt idx="3725">
                  <c:v>43957</c:v>
                </c:pt>
                <c:pt idx="3726">
                  <c:v>43958</c:v>
                </c:pt>
                <c:pt idx="3727">
                  <c:v>43959</c:v>
                </c:pt>
                <c:pt idx="3728">
                  <c:v>43962</c:v>
                </c:pt>
                <c:pt idx="3729">
                  <c:v>43963</c:v>
                </c:pt>
                <c:pt idx="3730">
                  <c:v>43964</c:v>
                </c:pt>
                <c:pt idx="3731">
                  <c:v>43965</c:v>
                </c:pt>
                <c:pt idx="3732">
                  <c:v>43966</c:v>
                </c:pt>
                <c:pt idx="3733">
                  <c:v>43969</c:v>
                </c:pt>
                <c:pt idx="3734">
                  <c:v>43970</c:v>
                </c:pt>
                <c:pt idx="3735">
                  <c:v>43971</c:v>
                </c:pt>
                <c:pt idx="3736">
                  <c:v>43972</c:v>
                </c:pt>
                <c:pt idx="3737">
                  <c:v>43973</c:v>
                </c:pt>
                <c:pt idx="3738">
                  <c:v>43976</c:v>
                </c:pt>
                <c:pt idx="3739">
                  <c:v>43977</c:v>
                </c:pt>
                <c:pt idx="3740">
                  <c:v>43978</c:v>
                </c:pt>
                <c:pt idx="3741">
                  <c:v>43979</c:v>
                </c:pt>
                <c:pt idx="3742">
                  <c:v>43980</c:v>
                </c:pt>
                <c:pt idx="3743">
                  <c:v>43983</c:v>
                </c:pt>
                <c:pt idx="3744">
                  <c:v>43984</c:v>
                </c:pt>
                <c:pt idx="3745">
                  <c:v>43985</c:v>
                </c:pt>
                <c:pt idx="3746">
                  <c:v>43986</c:v>
                </c:pt>
                <c:pt idx="3747">
                  <c:v>43987</c:v>
                </c:pt>
                <c:pt idx="3748">
                  <c:v>43990</c:v>
                </c:pt>
                <c:pt idx="3749">
                  <c:v>43991</c:v>
                </c:pt>
                <c:pt idx="3750">
                  <c:v>43992</c:v>
                </c:pt>
                <c:pt idx="3751">
                  <c:v>43993</c:v>
                </c:pt>
                <c:pt idx="3752">
                  <c:v>43994</c:v>
                </c:pt>
                <c:pt idx="3753">
                  <c:v>43997</c:v>
                </c:pt>
                <c:pt idx="3754">
                  <c:v>43998</c:v>
                </c:pt>
                <c:pt idx="3755">
                  <c:v>43999</c:v>
                </c:pt>
                <c:pt idx="3756">
                  <c:v>44000</c:v>
                </c:pt>
                <c:pt idx="3757">
                  <c:v>44001</c:v>
                </c:pt>
                <c:pt idx="3758">
                  <c:v>44004</c:v>
                </c:pt>
                <c:pt idx="3759">
                  <c:v>44005</c:v>
                </c:pt>
                <c:pt idx="3760">
                  <c:v>44006</c:v>
                </c:pt>
                <c:pt idx="3761">
                  <c:v>44011</c:v>
                </c:pt>
                <c:pt idx="3762">
                  <c:v>44012</c:v>
                </c:pt>
                <c:pt idx="3763">
                  <c:v>44013</c:v>
                </c:pt>
                <c:pt idx="3764">
                  <c:v>44014</c:v>
                </c:pt>
                <c:pt idx="3765">
                  <c:v>44015</c:v>
                </c:pt>
                <c:pt idx="3766">
                  <c:v>44018</c:v>
                </c:pt>
                <c:pt idx="3767">
                  <c:v>44019</c:v>
                </c:pt>
                <c:pt idx="3768">
                  <c:v>44020</c:v>
                </c:pt>
                <c:pt idx="3769">
                  <c:v>44021</c:v>
                </c:pt>
                <c:pt idx="3770">
                  <c:v>44022</c:v>
                </c:pt>
                <c:pt idx="3771">
                  <c:v>44025</c:v>
                </c:pt>
                <c:pt idx="3772">
                  <c:v>44026</c:v>
                </c:pt>
                <c:pt idx="3773">
                  <c:v>44027</c:v>
                </c:pt>
                <c:pt idx="3774">
                  <c:v>44028</c:v>
                </c:pt>
                <c:pt idx="3775">
                  <c:v>44029</c:v>
                </c:pt>
                <c:pt idx="3776">
                  <c:v>44032</c:v>
                </c:pt>
                <c:pt idx="3777">
                  <c:v>44033</c:v>
                </c:pt>
                <c:pt idx="3778">
                  <c:v>44034</c:v>
                </c:pt>
                <c:pt idx="3779">
                  <c:v>44035</c:v>
                </c:pt>
                <c:pt idx="3780">
                  <c:v>44036</c:v>
                </c:pt>
                <c:pt idx="3781">
                  <c:v>44039</c:v>
                </c:pt>
                <c:pt idx="3782">
                  <c:v>44040</c:v>
                </c:pt>
                <c:pt idx="3783">
                  <c:v>44041</c:v>
                </c:pt>
                <c:pt idx="3784">
                  <c:v>44042</c:v>
                </c:pt>
                <c:pt idx="3785">
                  <c:v>44043</c:v>
                </c:pt>
                <c:pt idx="3786">
                  <c:v>44046</c:v>
                </c:pt>
                <c:pt idx="3787">
                  <c:v>44047</c:v>
                </c:pt>
                <c:pt idx="3788">
                  <c:v>44048</c:v>
                </c:pt>
                <c:pt idx="3789">
                  <c:v>44049</c:v>
                </c:pt>
                <c:pt idx="3790">
                  <c:v>44050</c:v>
                </c:pt>
                <c:pt idx="3791">
                  <c:v>44053</c:v>
                </c:pt>
                <c:pt idx="3792">
                  <c:v>44054</c:v>
                </c:pt>
                <c:pt idx="3793">
                  <c:v>44055</c:v>
                </c:pt>
                <c:pt idx="3794">
                  <c:v>44056</c:v>
                </c:pt>
                <c:pt idx="3795">
                  <c:v>44057</c:v>
                </c:pt>
                <c:pt idx="3796">
                  <c:v>44060</c:v>
                </c:pt>
                <c:pt idx="3797">
                  <c:v>44061</c:v>
                </c:pt>
                <c:pt idx="3798">
                  <c:v>44062</c:v>
                </c:pt>
                <c:pt idx="3799">
                  <c:v>44063</c:v>
                </c:pt>
                <c:pt idx="3800">
                  <c:v>44064</c:v>
                </c:pt>
                <c:pt idx="3801">
                  <c:v>44067</c:v>
                </c:pt>
                <c:pt idx="3802">
                  <c:v>44068</c:v>
                </c:pt>
                <c:pt idx="3803">
                  <c:v>44069</c:v>
                </c:pt>
                <c:pt idx="3804">
                  <c:v>44070</c:v>
                </c:pt>
                <c:pt idx="3805">
                  <c:v>44071</c:v>
                </c:pt>
                <c:pt idx="3806">
                  <c:v>44074</c:v>
                </c:pt>
                <c:pt idx="3807">
                  <c:v>44075</c:v>
                </c:pt>
                <c:pt idx="3808">
                  <c:v>44076</c:v>
                </c:pt>
                <c:pt idx="3809">
                  <c:v>44077</c:v>
                </c:pt>
                <c:pt idx="3810">
                  <c:v>44078</c:v>
                </c:pt>
                <c:pt idx="3811">
                  <c:v>44081</c:v>
                </c:pt>
                <c:pt idx="3812">
                  <c:v>44082</c:v>
                </c:pt>
                <c:pt idx="3813">
                  <c:v>44083</c:v>
                </c:pt>
                <c:pt idx="3814">
                  <c:v>44084</c:v>
                </c:pt>
                <c:pt idx="3815">
                  <c:v>44085</c:v>
                </c:pt>
                <c:pt idx="3816">
                  <c:v>44088</c:v>
                </c:pt>
                <c:pt idx="3817">
                  <c:v>44089</c:v>
                </c:pt>
                <c:pt idx="3818">
                  <c:v>44090</c:v>
                </c:pt>
                <c:pt idx="3819">
                  <c:v>44091</c:v>
                </c:pt>
                <c:pt idx="3820">
                  <c:v>44092</c:v>
                </c:pt>
                <c:pt idx="3821">
                  <c:v>44095</c:v>
                </c:pt>
                <c:pt idx="3822">
                  <c:v>44096</c:v>
                </c:pt>
                <c:pt idx="3823">
                  <c:v>44097</c:v>
                </c:pt>
                <c:pt idx="3824">
                  <c:v>44098</c:v>
                </c:pt>
                <c:pt idx="3825">
                  <c:v>44099</c:v>
                </c:pt>
                <c:pt idx="3826">
                  <c:v>44102</c:v>
                </c:pt>
                <c:pt idx="3827">
                  <c:v>44103</c:v>
                </c:pt>
                <c:pt idx="3828">
                  <c:v>44104</c:v>
                </c:pt>
                <c:pt idx="3829">
                  <c:v>44113</c:v>
                </c:pt>
                <c:pt idx="3830">
                  <c:v>44116</c:v>
                </c:pt>
                <c:pt idx="3831">
                  <c:v>44117</c:v>
                </c:pt>
                <c:pt idx="3832">
                  <c:v>44118</c:v>
                </c:pt>
                <c:pt idx="3833">
                  <c:v>44119</c:v>
                </c:pt>
                <c:pt idx="3834">
                  <c:v>44120</c:v>
                </c:pt>
                <c:pt idx="3835">
                  <c:v>44123</c:v>
                </c:pt>
                <c:pt idx="3836">
                  <c:v>44124</c:v>
                </c:pt>
                <c:pt idx="3837">
                  <c:v>44125</c:v>
                </c:pt>
                <c:pt idx="3838">
                  <c:v>44126</c:v>
                </c:pt>
                <c:pt idx="3839">
                  <c:v>44127</c:v>
                </c:pt>
                <c:pt idx="3840">
                  <c:v>44130</c:v>
                </c:pt>
                <c:pt idx="3841">
                  <c:v>44131</c:v>
                </c:pt>
                <c:pt idx="3842">
                  <c:v>44132</c:v>
                </c:pt>
                <c:pt idx="3843">
                  <c:v>44133</c:v>
                </c:pt>
                <c:pt idx="3844">
                  <c:v>44134</c:v>
                </c:pt>
                <c:pt idx="3845">
                  <c:v>44137</c:v>
                </c:pt>
                <c:pt idx="3846">
                  <c:v>44138</c:v>
                </c:pt>
                <c:pt idx="3847">
                  <c:v>44139</c:v>
                </c:pt>
                <c:pt idx="3848">
                  <c:v>44140</c:v>
                </c:pt>
                <c:pt idx="3849">
                  <c:v>44141</c:v>
                </c:pt>
                <c:pt idx="3850">
                  <c:v>44144</c:v>
                </c:pt>
                <c:pt idx="3851">
                  <c:v>44145</c:v>
                </c:pt>
                <c:pt idx="3852">
                  <c:v>44146</c:v>
                </c:pt>
                <c:pt idx="3853">
                  <c:v>44147</c:v>
                </c:pt>
                <c:pt idx="3854">
                  <c:v>44148</c:v>
                </c:pt>
                <c:pt idx="3855">
                  <c:v>44151</c:v>
                </c:pt>
                <c:pt idx="3856">
                  <c:v>44152</c:v>
                </c:pt>
                <c:pt idx="3857">
                  <c:v>44153</c:v>
                </c:pt>
                <c:pt idx="3858">
                  <c:v>44154</c:v>
                </c:pt>
                <c:pt idx="3859">
                  <c:v>44155</c:v>
                </c:pt>
                <c:pt idx="3860">
                  <c:v>44158</c:v>
                </c:pt>
                <c:pt idx="3861">
                  <c:v>44159</c:v>
                </c:pt>
                <c:pt idx="3862">
                  <c:v>44160</c:v>
                </c:pt>
                <c:pt idx="3863">
                  <c:v>44161</c:v>
                </c:pt>
                <c:pt idx="3864">
                  <c:v>44162</c:v>
                </c:pt>
                <c:pt idx="3865">
                  <c:v>44165</c:v>
                </c:pt>
                <c:pt idx="3866">
                  <c:v>44166</c:v>
                </c:pt>
                <c:pt idx="3867">
                  <c:v>44167</c:v>
                </c:pt>
                <c:pt idx="3868">
                  <c:v>44168</c:v>
                </c:pt>
                <c:pt idx="3869">
                  <c:v>44169</c:v>
                </c:pt>
                <c:pt idx="3870">
                  <c:v>44172</c:v>
                </c:pt>
                <c:pt idx="3871">
                  <c:v>44173</c:v>
                </c:pt>
                <c:pt idx="3872">
                  <c:v>44174</c:v>
                </c:pt>
                <c:pt idx="3873">
                  <c:v>44175</c:v>
                </c:pt>
                <c:pt idx="3874">
                  <c:v>44176</c:v>
                </c:pt>
                <c:pt idx="3875">
                  <c:v>44179</c:v>
                </c:pt>
                <c:pt idx="3876">
                  <c:v>44180</c:v>
                </c:pt>
                <c:pt idx="3877">
                  <c:v>44181</c:v>
                </c:pt>
                <c:pt idx="3878">
                  <c:v>44182</c:v>
                </c:pt>
                <c:pt idx="3879">
                  <c:v>44183</c:v>
                </c:pt>
                <c:pt idx="3880">
                  <c:v>44186</c:v>
                </c:pt>
                <c:pt idx="3881">
                  <c:v>44187</c:v>
                </c:pt>
                <c:pt idx="3882">
                  <c:v>44188</c:v>
                </c:pt>
                <c:pt idx="3883">
                  <c:v>44189</c:v>
                </c:pt>
                <c:pt idx="3884">
                  <c:v>44190</c:v>
                </c:pt>
                <c:pt idx="3885">
                  <c:v>44193</c:v>
                </c:pt>
                <c:pt idx="3886">
                  <c:v>44194</c:v>
                </c:pt>
                <c:pt idx="3887">
                  <c:v>44195</c:v>
                </c:pt>
                <c:pt idx="3888">
                  <c:v>44196</c:v>
                </c:pt>
                <c:pt idx="3889">
                  <c:v>44200</c:v>
                </c:pt>
                <c:pt idx="3890">
                  <c:v>44201</c:v>
                </c:pt>
                <c:pt idx="3891">
                  <c:v>44202</c:v>
                </c:pt>
                <c:pt idx="3892">
                  <c:v>44203</c:v>
                </c:pt>
                <c:pt idx="3893">
                  <c:v>44204</c:v>
                </c:pt>
                <c:pt idx="3894">
                  <c:v>44207</c:v>
                </c:pt>
                <c:pt idx="3895">
                  <c:v>44208</c:v>
                </c:pt>
                <c:pt idx="3896">
                  <c:v>44209</c:v>
                </c:pt>
                <c:pt idx="3897">
                  <c:v>44210</c:v>
                </c:pt>
                <c:pt idx="3898">
                  <c:v>44211</c:v>
                </c:pt>
                <c:pt idx="3899">
                  <c:v>44214</c:v>
                </c:pt>
                <c:pt idx="3900">
                  <c:v>44215</c:v>
                </c:pt>
                <c:pt idx="3901">
                  <c:v>44216</c:v>
                </c:pt>
                <c:pt idx="3902">
                  <c:v>44217</c:v>
                </c:pt>
                <c:pt idx="3903">
                  <c:v>44218</c:v>
                </c:pt>
                <c:pt idx="3904">
                  <c:v>44221</c:v>
                </c:pt>
                <c:pt idx="3905">
                  <c:v>44222</c:v>
                </c:pt>
                <c:pt idx="3906">
                  <c:v>44223</c:v>
                </c:pt>
                <c:pt idx="3907">
                  <c:v>44224</c:v>
                </c:pt>
                <c:pt idx="3908">
                  <c:v>44225</c:v>
                </c:pt>
                <c:pt idx="3909">
                  <c:v>44228</c:v>
                </c:pt>
                <c:pt idx="3910">
                  <c:v>44229</c:v>
                </c:pt>
                <c:pt idx="3911">
                  <c:v>44230</c:v>
                </c:pt>
                <c:pt idx="3912">
                  <c:v>44231</c:v>
                </c:pt>
                <c:pt idx="3913">
                  <c:v>44232</c:v>
                </c:pt>
                <c:pt idx="3914">
                  <c:v>44235</c:v>
                </c:pt>
                <c:pt idx="3915">
                  <c:v>44236</c:v>
                </c:pt>
                <c:pt idx="3916">
                  <c:v>44237</c:v>
                </c:pt>
                <c:pt idx="3917">
                  <c:v>44245</c:v>
                </c:pt>
                <c:pt idx="3918">
                  <c:v>44246</c:v>
                </c:pt>
                <c:pt idx="3919">
                  <c:v>44249</c:v>
                </c:pt>
                <c:pt idx="3920">
                  <c:v>44250</c:v>
                </c:pt>
                <c:pt idx="3921">
                  <c:v>44251</c:v>
                </c:pt>
                <c:pt idx="3922">
                  <c:v>44252</c:v>
                </c:pt>
                <c:pt idx="3923">
                  <c:v>44253</c:v>
                </c:pt>
                <c:pt idx="3924">
                  <c:v>44256</c:v>
                </c:pt>
                <c:pt idx="3925">
                  <c:v>44257</c:v>
                </c:pt>
                <c:pt idx="3926">
                  <c:v>44258</c:v>
                </c:pt>
                <c:pt idx="3927">
                  <c:v>44259</c:v>
                </c:pt>
                <c:pt idx="3928">
                  <c:v>44260</c:v>
                </c:pt>
                <c:pt idx="3929">
                  <c:v>44263</c:v>
                </c:pt>
                <c:pt idx="3930">
                  <c:v>44264</c:v>
                </c:pt>
                <c:pt idx="3931">
                  <c:v>44265</c:v>
                </c:pt>
                <c:pt idx="3932">
                  <c:v>44266</c:v>
                </c:pt>
                <c:pt idx="3933">
                  <c:v>44267</c:v>
                </c:pt>
                <c:pt idx="3934">
                  <c:v>44270</c:v>
                </c:pt>
                <c:pt idx="3935">
                  <c:v>44271</c:v>
                </c:pt>
                <c:pt idx="3936">
                  <c:v>44272</c:v>
                </c:pt>
                <c:pt idx="3937">
                  <c:v>44273</c:v>
                </c:pt>
                <c:pt idx="3938">
                  <c:v>44274</c:v>
                </c:pt>
                <c:pt idx="3939">
                  <c:v>44277</c:v>
                </c:pt>
                <c:pt idx="3940">
                  <c:v>44278</c:v>
                </c:pt>
                <c:pt idx="3941">
                  <c:v>44279</c:v>
                </c:pt>
                <c:pt idx="3942">
                  <c:v>44280</c:v>
                </c:pt>
                <c:pt idx="3943">
                  <c:v>44281</c:v>
                </c:pt>
                <c:pt idx="3944">
                  <c:v>44284</c:v>
                </c:pt>
                <c:pt idx="3945">
                  <c:v>44285</c:v>
                </c:pt>
                <c:pt idx="3946">
                  <c:v>44286</c:v>
                </c:pt>
                <c:pt idx="3947">
                  <c:v>44287</c:v>
                </c:pt>
                <c:pt idx="3948">
                  <c:v>44288</c:v>
                </c:pt>
                <c:pt idx="3949">
                  <c:v>44292</c:v>
                </c:pt>
                <c:pt idx="3950">
                  <c:v>44293</c:v>
                </c:pt>
                <c:pt idx="3951">
                  <c:v>44294</c:v>
                </c:pt>
                <c:pt idx="3952">
                  <c:v>44295</c:v>
                </c:pt>
                <c:pt idx="3953">
                  <c:v>44298</c:v>
                </c:pt>
                <c:pt idx="3954">
                  <c:v>44299</c:v>
                </c:pt>
                <c:pt idx="3955">
                  <c:v>44300</c:v>
                </c:pt>
                <c:pt idx="3956">
                  <c:v>44301</c:v>
                </c:pt>
                <c:pt idx="3957">
                  <c:v>44302</c:v>
                </c:pt>
                <c:pt idx="3958">
                  <c:v>44305</c:v>
                </c:pt>
                <c:pt idx="3959">
                  <c:v>44306</c:v>
                </c:pt>
                <c:pt idx="3960">
                  <c:v>44307</c:v>
                </c:pt>
                <c:pt idx="3961">
                  <c:v>44308</c:v>
                </c:pt>
                <c:pt idx="3962">
                  <c:v>44309</c:v>
                </c:pt>
                <c:pt idx="3963">
                  <c:v>44312</c:v>
                </c:pt>
                <c:pt idx="3964">
                  <c:v>44313</c:v>
                </c:pt>
                <c:pt idx="3965">
                  <c:v>44314</c:v>
                </c:pt>
                <c:pt idx="3966">
                  <c:v>44315</c:v>
                </c:pt>
                <c:pt idx="3967">
                  <c:v>44316</c:v>
                </c:pt>
                <c:pt idx="3968">
                  <c:v>44322</c:v>
                </c:pt>
                <c:pt idx="3969">
                  <c:v>44323</c:v>
                </c:pt>
                <c:pt idx="3970">
                  <c:v>44326</c:v>
                </c:pt>
                <c:pt idx="3971">
                  <c:v>44327</c:v>
                </c:pt>
                <c:pt idx="3972">
                  <c:v>44328</c:v>
                </c:pt>
                <c:pt idx="3973">
                  <c:v>44329</c:v>
                </c:pt>
                <c:pt idx="3974">
                  <c:v>44330</c:v>
                </c:pt>
                <c:pt idx="3975">
                  <c:v>44333</c:v>
                </c:pt>
                <c:pt idx="3976">
                  <c:v>44334</c:v>
                </c:pt>
                <c:pt idx="3977">
                  <c:v>44335</c:v>
                </c:pt>
                <c:pt idx="3978">
                  <c:v>44336</c:v>
                </c:pt>
                <c:pt idx="3979">
                  <c:v>44337</c:v>
                </c:pt>
                <c:pt idx="3980">
                  <c:v>44340</c:v>
                </c:pt>
                <c:pt idx="3981">
                  <c:v>44341</c:v>
                </c:pt>
                <c:pt idx="3982">
                  <c:v>44342</c:v>
                </c:pt>
                <c:pt idx="3983">
                  <c:v>44343</c:v>
                </c:pt>
                <c:pt idx="3984">
                  <c:v>44344</c:v>
                </c:pt>
                <c:pt idx="3985">
                  <c:v>44347</c:v>
                </c:pt>
                <c:pt idx="3986">
                  <c:v>44348</c:v>
                </c:pt>
                <c:pt idx="3987">
                  <c:v>44349</c:v>
                </c:pt>
                <c:pt idx="3988">
                  <c:v>44350</c:v>
                </c:pt>
                <c:pt idx="3989">
                  <c:v>44351</c:v>
                </c:pt>
                <c:pt idx="3990">
                  <c:v>44354</c:v>
                </c:pt>
                <c:pt idx="3991">
                  <c:v>44355</c:v>
                </c:pt>
                <c:pt idx="3992">
                  <c:v>44356</c:v>
                </c:pt>
                <c:pt idx="3993">
                  <c:v>44357</c:v>
                </c:pt>
                <c:pt idx="3994">
                  <c:v>44358</c:v>
                </c:pt>
                <c:pt idx="3995">
                  <c:v>44362</c:v>
                </c:pt>
                <c:pt idx="3996">
                  <c:v>44363</c:v>
                </c:pt>
                <c:pt idx="3997">
                  <c:v>44364</c:v>
                </c:pt>
                <c:pt idx="3998">
                  <c:v>44365</c:v>
                </c:pt>
                <c:pt idx="3999">
                  <c:v>44368</c:v>
                </c:pt>
                <c:pt idx="4000">
                  <c:v>44369</c:v>
                </c:pt>
                <c:pt idx="4001">
                  <c:v>44370</c:v>
                </c:pt>
                <c:pt idx="4002">
                  <c:v>44371</c:v>
                </c:pt>
                <c:pt idx="4003">
                  <c:v>44372</c:v>
                </c:pt>
                <c:pt idx="4004">
                  <c:v>44375</c:v>
                </c:pt>
                <c:pt idx="4005">
                  <c:v>44376</c:v>
                </c:pt>
                <c:pt idx="4006">
                  <c:v>44377</c:v>
                </c:pt>
                <c:pt idx="4007">
                  <c:v>44378</c:v>
                </c:pt>
                <c:pt idx="4008">
                  <c:v>44379</c:v>
                </c:pt>
                <c:pt idx="4009">
                  <c:v>44382</c:v>
                </c:pt>
                <c:pt idx="4010">
                  <c:v>44383</c:v>
                </c:pt>
                <c:pt idx="4011">
                  <c:v>44384</c:v>
                </c:pt>
                <c:pt idx="4012">
                  <c:v>44385</c:v>
                </c:pt>
                <c:pt idx="4013">
                  <c:v>44386</c:v>
                </c:pt>
                <c:pt idx="4014">
                  <c:v>44389</c:v>
                </c:pt>
                <c:pt idx="4015">
                  <c:v>44390</c:v>
                </c:pt>
                <c:pt idx="4016">
                  <c:v>44391</c:v>
                </c:pt>
                <c:pt idx="4017">
                  <c:v>44392</c:v>
                </c:pt>
                <c:pt idx="4018">
                  <c:v>44393</c:v>
                </c:pt>
                <c:pt idx="4019">
                  <c:v>44396</c:v>
                </c:pt>
                <c:pt idx="4020">
                  <c:v>44397</c:v>
                </c:pt>
                <c:pt idx="4021">
                  <c:v>44398</c:v>
                </c:pt>
                <c:pt idx="4022">
                  <c:v>44399</c:v>
                </c:pt>
                <c:pt idx="4023">
                  <c:v>44400</c:v>
                </c:pt>
                <c:pt idx="4024">
                  <c:v>44403</c:v>
                </c:pt>
                <c:pt idx="4025">
                  <c:v>44404</c:v>
                </c:pt>
                <c:pt idx="4026">
                  <c:v>44405</c:v>
                </c:pt>
                <c:pt idx="4027">
                  <c:v>44406</c:v>
                </c:pt>
                <c:pt idx="4028">
                  <c:v>44407</c:v>
                </c:pt>
                <c:pt idx="4029">
                  <c:v>44410</c:v>
                </c:pt>
                <c:pt idx="4030">
                  <c:v>44411</c:v>
                </c:pt>
                <c:pt idx="4031">
                  <c:v>44412</c:v>
                </c:pt>
                <c:pt idx="4032">
                  <c:v>44413</c:v>
                </c:pt>
                <c:pt idx="4033">
                  <c:v>44414</c:v>
                </c:pt>
                <c:pt idx="4034">
                  <c:v>44417</c:v>
                </c:pt>
                <c:pt idx="4035">
                  <c:v>44418</c:v>
                </c:pt>
                <c:pt idx="4036">
                  <c:v>44419</c:v>
                </c:pt>
                <c:pt idx="4037">
                  <c:v>44420</c:v>
                </c:pt>
                <c:pt idx="4038">
                  <c:v>44421</c:v>
                </c:pt>
                <c:pt idx="4039">
                  <c:v>44424</c:v>
                </c:pt>
                <c:pt idx="4040">
                  <c:v>44425</c:v>
                </c:pt>
                <c:pt idx="4041">
                  <c:v>44426</c:v>
                </c:pt>
                <c:pt idx="4042">
                  <c:v>44427</c:v>
                </c:pt>
                <c:pt idx="4043">
                  <c:v>44428</c:v>
                </c:pt>
                <c:pt idx="4044">
                  <c:v>44431</c:v>
                </c:pt>
                <c:pt idx="4045">
                  <c:v>44432</c:v>
                </c:pt>
                <c:pt idx="4046">
                  <c:v>44433</c:v>
                </c:pt>
                <c:pt idx="4047">
                  <c:v>44434</c:v>
                </c:pt>
                <c:pt idx="4048">
                  <c:v>44435</c:v>
                </c:pt>
                <c:pt idx="4049">
                  <c:v>44438</c:v>
                </c:pt>
                <c:pt idx="4050">
                  <c:v>44439</c:v>
                </c:pt>
                <c:pt idx="4051">
                  <c:v>44440</c:v>
                </c:pt>
                <c:pt idx="4052">
                  <c:v>44441</c:v>
                </c:pt>
                <c:pt idx="4053">
                  <c:v>44442</c:v>
                </c:pt>
                <c:pt idx="4054">
                  <c:v>44445</c:v>
                </c:pt>
                <c:pt idx="4055">
                  <c:v>44446</c:v>
                </c:pt>
                <c:pt idx="4056">
                  <c:v>44447</c:v>
                </c:pt>
                <c:pt idx="4057">
                  <c:v>44448</c:v>
                </c:pt>
                <c:pt idx="4058">
                  <c:v>44449</c:v>
                </c:pt>
                <c:pt idx="4059">
                  <c:v>44452</c:v>
                </c:pt>
                <c:pt idx="4060">
                  <c:v>44453</c:v>
                </c:pt>
                <c:pt idx="4061">
                  <c:v>44454</c:v>
                </c:pt>
                <c:pt idx="4062">
                  <c:v>44455</c:v>
                </c:pt>
                <c:pt idx="4063">
                  <c:v>44456</c:v>
                </c:pt>
                <c:pt idx="4064">
                  <c:v>44461</c:v>
                </c:pt>
                <c:pt idx="4065">
                  <c:v>44462</c:v>
                </c:pt>
                <c:pt idx="4066">
                  <c:v>44463</c:v>
                </c:pt>
                <c:pt idx="4067">
                  <c:v>44466</c:v>
                </c:pt>
                <c:pt idx="4068">
                  <c:v>44467</c:v>
                </c:pt>
                <c:pt idx="4069">
                  <c:v>44468</c:v>
                </c:pt>
                <c:pt idx="4070">
                  <c:v>44469</c:v>
                </c:pt>
                <c:pt idx="4071">
                  <c:v>44477</c:v>
                </c:pt>
                <c:pt idx="4072">
                  <c:v>44480</c:v>
                </c:pt>
                <c:pt idx="4073">
                  <c:v>44481</c:v>
                </c:pt>
                <c:pt idx="4074">
                  <c:v>44482</c:v>
                </c:pt>
                <c:pt idx="4075">
                  <c:v>44483</c:v>
                </c:pt>
                <c:pt idx="4076">
                  <c:v>44484</c:v>
                </c:pt>
                <c:pt idx="4077">
                  <c:v>44487</c:v>
                </c:pt>
                <c:pt idx="4078">
                  <c:v>44488</c:v>
                </c:pt>
                <c:pt idx="4079">
                  <c:v>44489</c:v>
                </c:pt>
                <c:pt idx="4080">
                  <c:v>44490</c:v>
                </c:pt>
                <c:pt idx="4081">
                  <c:v>44491</c:v>
                </c:pt>
                <c:pt idx="4082">
                  <c:v>44494</c:v>
                </c:pt>
                <c:pt idx="4083">
                  <c:v>44495</c:v>
                </c:pt>
                <c:pt idx="4084">
                  <c:v>44496</c:v>
                </c:pt>
                <c:pt idx="4085">
                  <c:v>44497</c:v>
                </c:pt>
                <c:pt idx="4086">
                  <c:v>44498</c:v>
                </c:pt>
                <c:pt idx="4087">
                  <c:v>44501</c:v>
                </c:pt>
                <c:pt idx="4088">
                  <c:v>44502</c:v>
                </c:pt>
                <c:pt idx="4089">
                  <c:v>44503</c:v>
                </c:pt>
                <c:pt idx="4090">
                  <c:v>44504</c:v>
                </c:pt>
                <c:pt idx="4091">
                  <c:v>44505</c:v>
                </c:pt>
                <c:pt idx="4092">
                  <c:v>44508</c:v>
                </c:pt>
                <c:pt idx="4093">
                  <c:v>44509</c:v>
                </c:pt>
                <c:pt idx="4094">
                  <c:v>44510</c:v>
                </c:pt>
                <c:pt idx="4095">
                  <c:v>44511</c:v>
                </c:pt>
                <c:pt idx="4096">
                  <c:v>44512</c:v>
                </c:pt>
                <c:pt idx="4097">
                  <c:v>44515</c:v>
                </c:pt>
                <c:pt idx="4098">
                  <c:v>44516</c:v>
                </c:pt>
                <c:pt idx="4099">
                  <c:v>44517</c:v>
                </c:pt>
                <c:pt idx="4100">
                  <c:v>44518</c:v>
                </c:pt>
                <c:pt idx="4101">
                  <c:v>44519</c:v>
                </c:pt>
                <c:pt idx="4102">
                  <c:v>44522</c:v>
                </c:pt>
                <c:pt idx="4103">
                  <c:v>44523</c:v>
                </c:pt>
                <c:pt idx="4104">
                  <c:v>44524</c:v>
                </c:pt>
                <c:pt idx="4105">
                  <c:v>44525</c:v>
                </c:pt>
                <c:pt idx="4106">
                  <c:v>44526</c:v>
                </c:pt>
                <c:pt idx="4107">
                  <c:v>44529</c:v>
                </c:pt>
                <c:pt idx="4108">
                  <c:v>44530</c:v>
                </c:pt>
                <c:pt idx="4109">
                  <c:v>44531</c:v>
                </c:pt>
                <c:pt idx="4110">
                  <c:v>44532</c:v>
                </c:pt>
                <c:pt idx="4111">
                  <c:v>44533</c:v>
                </c:pt>
                <c:pt idx="4112">
                  <c:v>44536</c:v>
                </c:pt>
                <c:pt idx="4113">
                  <c:v>44537</c:v>
                </c:pt>
                <c:pt idx="4114">
                  <c:v>44538</c:v>
                </c:pt>
                <c:pt idx="4115">
                  <c:v>44539</c:v>
                </c:pt>
                <c:pt idx="4116">
                  <c:v>44540</c:v>
                </c:pt>
                <c:pt idx="4117">
                  <c:v>44543</c:v>
                </c:pt>
                <c:pt idx="4118">
                  <c:v>44544</c:v>
                </c:pt>
                <c:pt idx="4119">
                  <c:v>44545</c:v>
                </c:pt>
                <c:pt idx="4120">
                  <c:v>44546</c:v>
                </c:pt>
                <c:pt idx="4121">
                  <c:v>44547</c:v>
                </c:pt>
                <c:pt idx="4122">
                  <c:v>44550</c:v>
                </c:pt>
                <c:pt idx="4123">
                  <c:v>44551</c:v>
                </c:pt>
                <c:pt idx="4124">
                  <c:v>44552</c:v>
                </c:pt>
                <c:pt idx="4125">
                  <c:v>44553</c:v>
                </c:pt>
                <c:pt idx="4126">
                  <c:v>44554</c:v>
                </c:pt>
                <c:pt idx="4127">
                  <c:v>44557</c:v>
                </c:pt>
                <c:pt idx="4128">
                  <c:v>44558</c:v>
                </c:pt>
                <c:pt idx="4129">
                  <c:v>44559</c:v>
                </c:pt>
                <c:pt idx="4130">
                  <c:v>44560</c:v>
                </c:pt>
                <c:pt idx="4131">
                  <c:v>44561</c:v>
                </c:pt>
                <c:pt idx="4132">
                  <c:v>44565</c:v>
                </c:pt>
                <c:pt idx="4133">
                  <c:v>44566</c:v>
                </c:pt>
                <c:pt idx="4134">
                  <c:v>44567</c:v>
                </c:pt>
                <c:pt idx="4135">
                  <c:v>44568</c:v>
                </c:pt>
                <c:pt idx="4136">
                  <c:v>44571</c:v>
                </c:pt>
                <c:pt idx="4137">
                  <c:v>44572</c:v>
                </c:pt>
                <c:pt idx="4138">
                  <c:v>44573</c:v>
                </c:pt>
                <c:pt idx="4139">
                  <c:v>44574</c:v>
                </c:pt>
                <c:pt idx="4140">
                  <c:v>44575</c:v>
                </c:pt>
                <c:pt idx="4141">
                  <c:v>44578</c:v>
                </c:pt>
                <c:pt idx="4142">
                  <c:v>44579</c:v>
                </c:pt>
                <c:pt idx="4143">
                  <c:v>44580</c:v>
                </c:pt>
                <c:pt idx="4144">
                  <c:v>44581</c:v>
                </c:pt>
                <c:pt idx="4145">
                  <c:v>44582</c:v>
                </c:pt>
                <c:pt idx="4146">
                  <c:v>44585</c:v>
                </c:pt>
                <c:pt idx="4147">
                  <c:v>44586</c:v>
                </c:pt>
                <c:pt idx="4148">
                  <c:v>44587</c:v>
                </c:pt>
                <c:pt idx="4149">
                  <c:v>44588</c:v>
                </c:pt>
                <c:pt idx="4150">
                  <c:v>44589</c:v>
                </c:pt>
                <c:pt idx="4151">
                  <c:v>44599</c:v>
                </c:pt>
                <c:pt idx="4152">
                  <c:v>44600</c:v>
                </c:pt>
                <c:pt idx="4153">
                  <c:v>44601</c:v>
                </c:pt>
                <c:pt idx="4154">
                  <c:v>44602</c:v>
                </c:pt>
                <c:pt idx="4155">
                  <c:v>44603</c:v>
                </c:pt>
                <c:pt idx="4156">
                  <c:v>44606</c:v>
                </c:pt>
                <c:pt idx="4157">
                  <c:v>44607</c:v>
                </c:pt>
                <c:pt idx="4158">
                  <c:v>44608</c:v>
                </c:pt>
                <c:pt idx="4159">
                  <c:v>44609</c:v>
                </c:pt>
                <c:pt idx="4160">
                  <c:v>44610</c:v>
                </c:pt>
                <c:pt idx="4161">
                  <c:v>44613</c:v>
                </c:pt>
                <c:pt idx="4162">
                  <c:v>44614</c:v>
                </c:pt>
                <c:pt idx="4163">
                  <c:v>44615</c:v>
                </c:pt>
                <c:pt idx="4164">
                  <c:v>44616</c:v>
                </c:pt>
                <c:pt idx="4165">
                  <c:v>44617</c:v>
                </c:pt>
                <c:pt idx="4166">
                  <c:v>44620</c:v>
                </c:pt>
                <c:pt idx="4167">
                  <c:v>44621</c:v>
                </c:pt>
                <c:pt idx="4168">
                  <c:v>44622</c:v>
                </c:pt>
                <c:pt idx="4169">
                  <c:v>44623</c:v>
                </c:pt>
                <c:pt idx="4170">
                  <c:v>44624</c:v>
                </c:pt>
                <c:pt idx="4171">
                  <c:v>44627</c:v>
                </c:pt>
                <c:pt idx="4172">
                  <c:v>44628</c:v>
                </c:pt>
                <c:pt idx="4173">
                  <c:v>44629</c:v>
                </c:pt>
                <c:pt idx="4174">
                  <c:v>44630</c:v>
                </c:pt>
                <c:pt idx="4175">
                  <c:v>44631</c:v>
                </c:pt>
                <c:pt idx="4176">
                  <c:v>44634</c:v>
                </c:pt>
                <c:pt idx="4177">
                  <c:v>44635</c:v>
                </c:pt>
                <c:pt idx="4178">
                  <c:v>44636</c:v>
                </c:pt>
                <c:pt idx="4179">
                  <c:v>44637</c:v>
                </c:pt>
                <c:pt idx="4180">
                  <c:v>44638</c:v>
                </c:pt>
                <c:pt idx="4181">
                  <c:v>44641</c:v>
                </c:pt>
                <c:pt idx="4182">
                  <c:v>44642</c:v>
                </c:pt>
                <c:pt idx="4183">
                  <c:v>44643</c:v>
                </c:pt>
                <c:pt idx="4184">
                  <c:v>44644</c:v>
                </c:pt>
                <c:pt idx="4185">
                  <c:v>44645</c:v>
                </c:pt>
                <c:pt idx="4186">
                  <c:v>44648</c:v>
                </c:pt>
                <c:pt idx="4187">
                  <c:v>44649</c:v>
                </c:pt>
                <c:pt idx="4188">
                  <c:v>44650</c:v>
                </c:pt>
                <c:pt idx="4189">
                  <c:v>44651</c:v>
                </c:pt>
                <c:pt idx="4190">
                  <c:v>44652</c:v>
                </c:pt>
                <c:pt idx="4191">
                  <c:v>44657</c:v>
                </c:pt>
                <c:pt idx="4192">
                  <c:v>44658</c:v>
                </c:pt>
                <c:pt idx="4193">
                  <c:v>44659</c:v>
                </c:pt>
                <c:pt idx="4194">
                  <c:v>44662</c:v>
                </c:pt>
                <c:pt idx="4195">
                  <c:v>44663</c:v>
                </c:pt>
                <c:pt idx="4196">
                  <c:v>44664</c:v>
                </c:pt>
                <c:pt idx="4197">
                  <c:v>44665</c:v>
                </c:pt>
                <c:pt idx="4198">
                  <c:v>44666</c:v>
                </c:pt>
                <c:pt idx="4199">
                  <c:v>44669</c:v>
                </c:pt>
              </c:numCache>
            </c:numRef>
          </c:cat>
          <c:val>
            <c:numRef>
              <c:f>tr_60!$D$2:$D$4201</c:f>
              <c:numCache>
                <c:formatCode>General</c:formatCode>
                <c:ptCount val="4200"/>
                <c:pt idx="199">
                  <c:v>1.1188284999999999E-2</c:v>
                </c:pt>
                <c:pt idx="200">
                  <c:v>1.1197957E-2</c:v>
                </c:pt>
                <c:pt idx="201">
                  <c:v>1.1203776E-2</c:v>
                </c:pt>
                <c:pt idx="202">
                  <c:v>1.1202547E-2</c:v>
                </c:pt>
                <c:pt idx="203">
                  <c:v>1.1209973999999999E-2</c:v>
                </c:pt>
                <c:pt idx="204">
                  <c:v>1.1231333E-2</c:v>
                </c:pt>
                <c:pt idx="205">
                  <c:v>1.1251107E-2</c:v>
                </c:pt>
                <c:pt idx="206">
                  <c:v>1.1266603E-2</c:v>
                </c:pt>
                <c:pt idx="207">
                  <c:v>1.1263931E-2</c:v>
                </c:pt>
                <c:pt idx="208">
                  <c:v>1.1249577E-2</c:v>
                </c:pt>
                <c:pt idx="209">
                  <c:v>1.1243527999999999E-2</c:v>
                </c:pt>
                <c:pt idx="210">
                  <c:v>1.1232376000000001E-2</c:v>
                </c:pt>
                <c:pt idx="211">
                  <c:v>1.1258890000000001E-2</c:v>
                </c:pt>
                <c:pt idx="212">
                  <c:v>1.1246234000000001E-2</c:v>
                </c:pt>
                <c:pt idx="213">
                  <c:v>1.1194717E-2</c:v>
                </c:pt>
                <c:pt idx="214">
                  <c:v>1.1143498E-2</c:v>
                </c:pt>
                <c:pt idx="215">
                  <c:v>1.1143106E-2</c:v>
                </c:pt>
                <c:pt idx="216">
                  <c:v>1.1141096E-2</c:v>
                </c:pt>
                <c:pt idx="217">
                  <c:v>1.1138827E-2</c:v>
                </c:pt>
                <c:pt idx="218">
                  <c:v>1.1139293999999999E-2</c:v>
                </c:pt>
                <c:pt idx="219">
                  <c:v>1.114331E-2</c:v>
                </c:pt>
                <c:pt idx="220">
                  <c:v>1.1147483999999999E-2</c:v>
                </c:pt>
                <c:pt idx="221">
                  <c:v>1.1102473E-2</c:v>
                </c:pt>
                <c:pt idx="222">
                  <c:v>1.1057957E-2</c:v>
                </c:pt>
                <c:pt idx="223">
                  <c:v>1.1022405000000001E-2</c:v>
                </c:pt>
                <c:pt idx="224">
                  <c:v>1.1010053000000001E-2</c:v>
                </c:pt>
                <c:pt idx="225">
                  <c:v>1.1007222000000001E-2</c:v>
                </c:pt>
                <c:pt idx="226">
                  <c:v>1.1028530999999999E-2</c:v>
                </c:pt>
                <c:pt idx="227">
                  <c:v>1.1020201E-2</c:v>
                </c:pt>
                <c:pt idx="228">
                  <c:v>1.0978777E-2</c:v>
                </c:pt>
                <c:pt idx="229">
                  <c:v>1.0955592E-2</c:v>
                </c:pt>
                <c:pt idx="230">
                  <c:v>1.0966514E-2</c:v>
                </c:pt>
                <c:pt idx="231">
                  <c:v>1.0937923E-2</c:v>
                </c:pt>
                <c:pt idx="232">
                  <c:v>1.0913694999999999E-2</c:v>
                </c:pt>
                <c:pt idx="233">
                  <c:v>1.0911809E-2</c:v>
                </c:pt>
                <c:pt idx="234">
                  <c:v>1.0890979E-2</c:v>
                </c:pt>
                <c:pt idx="235">
                  <c:v>1.0886579E-2</c:v>
                </c:pt>
                <c:pt idx="236">
                  <c:v>1.0895663E-2</c:v>
                </c:pt>
                <c:pt idx="237">
                  <c:v>1.0921222E-2</c:v>
                </c:pt>
                <c:pt idx="238">
                  <c:v>1.0901886E-2</c:v>
                </c:pt>
                <c:pt idx="239">
                  <c:v>1.0868885999999999E-2</c:v>
                </c:pt>
                <c:pt idx="240">
                  <c:v>1.0871956E-2</c:v>
                </c:pt>
                <c:pt idx="241">
                  <c:v>1.0891003E-2</c:v>
                </c:pt>
                <c:pt idx="242">
                  <c:v>1.0921615000000001E-2</c:v>
                </c:pt>
                <c:pt idx="243">
                  <c:v>1.0982158000000001E-2</c:v>
                </c:pt>
                <c:pt idx="244">
                  <c:v>1.1062181000000001E-2</c:v>
                </c:pt>
                <c:pt idx="245">
                  <c:v>1.1112842E-2</c:v>
                </c:pt>
                <c:pt idx="246">
                  <c:v>1.1166420999999999E-2</c:v>
                </c:pt>
                <c:pt idx="247">
                  <c:v>1.1236428999999999E-2</c:v>
                </c:pt>
                <c:pt idx="248">
                  <c:v>1.1258429E-2</c:v>
                </c:pt>
                <c:pt idx="249">
                  <c:v>1.1285777E-2</c:v>
                </c:pt>
                <c:pt idx="250">
                  <c:v>1.1324683E-2</c:v>
                </c:pt>
                <c:pt idx="251">
                  <c:v>1.1359029E-2</c:v>
                </c:pt>
                <c:pt idx="252">
                  <c:v>1.1416908E-2</c:v>
                </c:pt>
                <c:pt idx="253">
                  <c:v>1.1486079999999999E-2</c:v>
                </c:pt>
                <c:pt idx="254">
                  <c:v>1.1540401E-2</c:v>
                </c:pt>
                <c:pt idx="255">
                  <c:v>1.1582165E-2</c:v>
                </c:pt>
                <c:pt idx="256">
                  <c:v>1.1585348000000001E-2</c:v>
                </c:pt>
                <c:pt idx="257">
                  <c:v>1.1610544E-2</c:v>
                </c:pt>
                <c:pt idx="258">
                  <c:v>1.1658942E-2</c:v>
                </c:pt>
                <c:pt idx="259">
                  <c:v>1.1721613000000001E-2</c:v>
                </c:pt>
                <c:pt idx="260">
                  <c:v>1.1728446E-2</c:v>
                </c:pt>
                <c:pt idx="261">
                  <c:v>1.1745652000000001E-2</c:v>
                </c:pt>
                <c:pt idx="262">
                  <c:v>1.1736287E-2</c:v>
                </c:pt>
                <c:pt idx="263">
                  <c:v>1.1761798E-2</c:v>
                </c:pt>
                <c:pt idx="264">
                  <c:v>1.1747798E-2</c:v>
                </c:pt>
                <c:pt idx="265">
                  <c:v>1.1792583000000001E-2</c:v>
                </c:pt>
                <c:pt idx="266">
                  <c:v>1.1832713999999999E-2</c:v>
                </c:pt>
                <c:pt idx="267">
                  <c:v>1.1858265E-2</c:v>
                </c:pt>
                <c:pt idx="268">
                  <c:v>1.1873913999999999E-2</c:v>
                </c:pt>
                <c:pt idx="269">
                  <c:v>1.1926954E-2</c:v>
                </c:pt>
                <c:pt idx="270">
                  <c:v>1.198276E-2</c:v>
                </c:pt>
                <c:pt idx="271">
                  <c:v>1.2006058999999999E-2</c:v>
                </c:pt>
                <c:pt idx="272">
                  <c:v>1.2023585999999999E-2</c:v>
                </c:pt>
                <c:pt idx="273">
                  <c:v>1.2083248E-2</c:v>
                </c:pt>
                <c:pt idx="274">
                  <c:v>1.2104752999999999E-2</c:v>
                </c:pt>
                <c:pt idx="275">
                  <c:v>1.2104013E-2</c:v>
                </c:pt>
                <c:pt idx="276">
                  <c:v>1.2146117E-2</c:v>
                </c:pt>
                <c:pt idx="277">
                  <c:v>1.2193300000000001E-2</c:v>
                </c:pt>
                <c:pt idx="278">
                  <c:v>1.2207869999999999E-2</c:v>
                </c:pt>
                <c:pt idx="279">
                  <c:v>1.2241083E-2</c:v>
                </c:pt>
                <c:pt idx="280">
                  <c:v>1.2254621E-2</c:v>
                </c:pt>
                <c:pt idx="281">
                  <c:v>1.2260149999999999E-2</c:v>
                </c:pt>
                <c:pt idx="282">
                  <c:v>1.2266895999999999E-2</c:v>
                </c:pt>
                <c:pt idx="283">
                  <c:v>1.2270433000000001E-2</c:v>
                </c:pt>
                <c:pt idx="284">
                  <c:v>1.2279721E-2</c:v>
                </c:pt>
                <c:pt idx="285">
                  <c:v>1.2295914999999999E-2</c:v>
                </c:pt>
                <c:pt idx="286">
                  <c:v>1.2322563999999999E-2</c:v>
                </c:pt>
                <c:pt idx="287">
                  <c:v>1.2348155E-2</c:v>
                </c:pt>
                <c:pt idx="288">
                  <c:v>1.236539E-2</c:v>
                </c:pt>
                <c:pt idx="289">
                  <c:v>1.2399484000000001E-2</c:v>
                </c:pt>
                <c:pt idx="290">
                  <c:v>1.2432989E-2</c:v>
                </c:pt>
                <c:pt idx="291">
                  <c:v>1.2460165E-2</c:v>
                </c:pt>
                <c:pt idx="292">
                  <c:v>1.2497728E-2</c:v>
                </c:pt>
                <c:pt idx="293">
                  <c:v>1.2517445E-2</c:v>
                </c:pt>
                <c:pt idx="294">
                  <c:v>1.2572750000000001E-2</c:v>
                </c:pt>
                <c:pt idx="295">
                  <c:v>1.2648095E-2</c:v>
                </c:pt>
                <c:pt idx="296">
                  <c:v>1.2692263000000001E-2</c:v>
                </c:pt>
                <c:pt idx="297">
                  <c:v>1.2732360999999999E-2</c:v>
                </c:pt>
                <c:pt idx="298">
                  <c:v>1.2768125E-2</c:v>
                </c:pt>
                <c:pt idx="299">
                  <c:v>1.2701308E-2</c:v>
                </c:pt>
                <c:pt idx="300">
                  <c:v>1.2648025E-2</c:v>
                </c:pt>
                <c:pt idx="301">
                  <c:v>1.2634988999999999E-2</c:v>
                </c:pt>
                <c:pt idx="302">
                  <c:v>1.2649441000000001E-2</c:v>
                </c:pt>
                <c:pt idx="303">
                  <c:v>1.2667759000000001E-2</c:v>
                </c:pt>
                <c:pt idx="304">
                  <c:v>1.2729044E-2</c:v>
                </c:pt>
                <c:pt idx="305">
                  <c:v>1.2755413E-2</c:v>
                </c:pt>
                <c:pt idx="306">
                  <c:v>1.2780236E-2</c:v>
                </c:pt>
                <c:pt idx="307">
                  <c:v>1.279948E-2</c:v>
                </c:pt>
                <c:pt idx="308">
                  <c:v>1.2886666E-2</c:v>
                </c:pt>
                <c:pt idx="309">
                  <c:v>1.2948657000000001E-2</c:v>
                </c:pt>
                <c:pt idx="310">
                  <c:v>1.3032825E-2</c:v>
                </c:pt>
                <c:pt idx="311">
                  <c:v>1.3115857E-2</c:v>
                </c:pt>
                <c:pt idx="312">
                  <c:v>1.3168139000000001E-2</c:v>
                </c:pt>
                <c:pt idx="313">
                  <c:v>1.3266442E-2</c:v>
                </c:pt>
                <c:pt idx="314">
                  <c:v>1.3307239E-2</c:v>
                </c:pt>
                <c:pt idx="315">
                  <c:v>1.3379083999999999E-2</c:v>
                </c:pt>
                <c:pt idx="316">
                  <c:v>1.3422303E-2</c:v>
                </c:pt>
                <c:pt idx="317">
                  <c:v>1.3535132E-2</c:v>
                </c:pt>
                <c:pt idx="318">
                  <c:v>1.3641851E-2</c:v>
                </c:pt>
                <c:pt idx="319">
                  <c:v>1.3769257999999999E-2</c:v>
                </c:pt>
                <c:pt idx="320">
                  <c:v>1.3883978E-2</c:v>
                </c:pt>
                <c:pt idx="321">
                  <c:v>1.4027647000000001E-2</c:v>
                </c:pt>
                <c:pt idx="322">
                  <c:v>1.4161020999999999E-2</c:v>
                </c:pt>
                <c:pt idx="323">
                  <c:v>1.431285E-2</c:v>
                </c:pt>
                <c:pt idx="324">
                  <c:v>1.4489930999999999E-2</c:v>
                </c:pt>
                <c:pt idx="325">
                  <c:v>1.4621063E-2</c:v>
                </c:pt>
                <c:pt idx="326">
                  <c:v>1.4738358E-2</c:v>
                </c:pt>
                <c:pt idx="327">
                  <c:v>1.4972836999999999E-2</c:v>
                </c:pt>
                <c:pt idx="328">
                  <c:v>1.5150963E-2</c:v>
                </c:pt>
                <c:pt idx="329">
                  <c:v>1.5296166E-2</c:v>
                </c:pt>
                <c:pt idx="330">
                  <c:v>1.5408699E-2</c:v>
                </c:pt>
                <c:pt idx="331">
                  <c:v>1.5406566999999999E-2</c:v>
                </c:pt>
                <c:pt idx="332">
                  <c:v>1.5477644E-2</c:v>
                </c:pt>
                <c:pt idx="333">
                  <c:v>1.5491375E-2</c:v>
                </c:pt>
                <c:pt idx="334">
                  <c:v>1.5539832E-2</c:v>
                </c:pt>
                <c:pt idx="335">
                  <c:v>1.5594528999999999E-2</c:v>
                </c:pt>
                <c:pt idx="336">
                  <c:v>1.5703769999999999E-2</c:v>
                </c:pt>
                <c:pt idx="337">
                  <c:v>1.5844733E-2</c:v>
                </c:pt>
                <c:pt idx="338">
                  <c:v>1.5975078E-2</c:v>
                </c:pt>
                <c:pt idx="339">
                  <c:v>1.6026466999999999E-2</c:v>
                </c:pt>
                <c:pt idx="340">
                  <c:v>1.6133585999999998E-2</c:v>
                </c:pt>
                <c:pt idx="341">
                  <c:v>1.6183837E-2</c:v>
                </c:pt>
                <c:pt idx="342">
                  <c:v>1.6207836999999999E-2</c:v>
                </c:pt>
                <c:pt idx="343">
                  <c:v>1.6214314000000001E-2</c:v>
                </c:pt>
                <c:pt idx="344">
                  <c:v>1.6212061E-2</c:v>
                </c:pt>
                <c:pt idx="345">
                  <c:v>1.6189779000000001E-2</c:v>
                </c:pt>
                <c:pt idx="346">
                  <c:v>1.6129197000000001E-2</c:v>
                </c:pt>
                <c:pt idx="347">
                  <c:v>1.6095483000000001E-2</c:v>
                </c:pt>
                <c:pt idx="348">
                  <c:v>1.6089500999999999E-2</c:v>
                </c:pt>
                <c:pt idx="349">
                  <c:v>1.6091294999999999E-2</c:v>
                </c:pt>
                <c:pt idx="350">
                  <c:v>1.6025422000000001E-2</c:v>
                </c:pt>
                <c:pt idx="351">
                  <c:v>1.6014185E-2</c:v>
                </c:pt>
                <c:pt idx="352">
                  <c:v>1.6019920999999999E-2</c:v>
                </c:pt>
                <c:pt idx="353">
                  <c:v>1.6049324E-2</c:v>
                </c:pt>
                <c:pt idx="354">
                  <c:v>1.6054432E-2</c:v>
                </c:pt>
                <c:pt idx="355">
                  <c:v>1.6063180999999999E-2</c:v>
                </c:pt>
                <c:pt idx="356">
                  <c:v>1.6125064000000001E-2</c:v>
                </c:pt>
                <c:pt idx="357">
                  <c:v>1.6177309000000001E-2</c:v>
                </c:pt>
                <c:pt idx="358">
                  <c:v>1.6261095999999999E-2</c:v>
                </c:pt>
                <c:pt idx="359">
                  <c:v>1.6325168000000001E-2</c:v>
                </c:pt>
                <c:pt idx="360">
                  <c:v>1.6477464000000001E-2</c:v>
                </c:pt>
                <c:pt idx="361">
                  <c:v>1.6520996E-2</c:v>
                </c:pt>
                <c:pt idx="362">
                  <c:v>1.6556365999999999E-2</c:v>
                </c:pt>
                <c:pt idx="363">
                  <c:v>1.6560254999999999E-2</c:v>
                </c:pt>
                <c:pt idx="364">
                  <c:v>1.6577835999999999E-2</c:v>
                </c:pt>
                <c:pt idx="365">
                  <c:v>1.6601774E-2</c:v>
                </c:pt>
                <c:pt idx="366">
                  <c:v>1.6693858999999998E-2</c:v>
                </c:pt>
                <c:pt idx="367">
                  <c:v>1.6753107999999999E-2</c:v>
                </c:pt>
                <c:pt idx="368">
                  <c:v>1.6756668999999998E-2</c:v>
                </c:pt>
                <c:pt idx="369">
                  <c:v>1.6745697E-2</c:v>
                </c:pt>
                <c:pt idx="370">
                  <c:v>1.6764988000000002E-2</c:v>
                </c:pt>
                <c:pt idx="371">
                  <c:v>1.6771432999999999E-2</c:v>
                </c:pt>
                <c:pt idx="372">
                  <c:v>1.6778951E-2</c:v>
                </c:pt>
                <c:pt idx="373">
                  <c:v>1.6770842000000001E-2</c:v>
                </c:pt>
                <c:pt idx="374">
                  <c:v>1.6753334000000002E-2</c:v>
                </c:pt>
                <c:pt idx="375">
                  <c:v>1.673469E-2</c:v>
                </c:pt>
                <c:pt idx="376">
                  <c:v>1.6759754000000002E-2</c:v>
                </c:pt>
                <c:pt idx="377">
                  <c:v>1.6775391000000001E-2</c:v>
                </c:pt>
                <c:pt idx="378">
                  <c:v>1.6803914E-2</c:v>
                </c:pt>
                <c:pt idx="379">
                  <c:v>1.6868885E-2</c:v>
                </c:pt>
                <c:pt idx="380">
                  <c:v>1.6887269E-2</c:v>
                </c:pt>
                <c:pt idx="381">
                  <c:v>1.6901471000000001E-2</c:v>
                </c:pt>
                <c:pt idx="382">
                  <c:v>1.6927149999999998E-2</c:v>
                </c:pt>
                <c:pt idx="383">
                  <c:v>1.6955955000000002E-2</c:v>
                </c:pt>
                <c:pt idx="384">
                  <c:v>1.6955195999999999E-2</c:v>
                </c:pt>
                <c:pt idx="385">
                  <c:v>1.6957976999999999E-2</c:v>
                </c:pt>
                <c:pt idx="386">
                  <c:v>1.6987214E-2</c:v>
                </c:pt>
                <c:pt idx="387">
                  <c:v>1.6993591999999998E-2</c:v>
                </c:pt>
                <c:pt idx="388">
                  <c:v>1.7006851E-2</c:v>
                </c:pt>
                <c:pt idx="389">
                  <c:v>1.7010431999999999E-2</c:v>
                </c:pt>
                <c:pt idx="390">
                  <c:v>1.7015107000000002E-2</c:v>
                </c:pt>
                <c:pt idx="391">
                  <c:v>1.7007089E-2</c:v>
                </c:pt>
                <c:pt idx="392">
                  <c:v>1.7009927000000001E-2</c:v>
                </c:pt>
                <c:pt idx="393">
                  <c:v>1.7003477999999999E-2</c:v>
                </c:pt>
                <c:pt idx="394">
                  <c:v>1.6988377999999998E-2</c:v>
                </c:pt>
                <c:pt idx="395">
                  <c:v>1.6989798E-2</c:v>
                </c:pt>
                <c:pt idx="396">
                  <c:v>1.6983805000000001E-2</c:v>
                </c:pt>
                <c:pt idx="397">
                  <c:v>1.6993173E-2</c:v>
                </c:pt>
                <c:pt idx="398">
                  <c:v>1.703066E-2</c:v>
                </c:pt>
                <c:pt idx="399">
                  <c:v>1.7067489000000002E-2</c:v>
                </c:pt>
                <c:pt idx="400">
                  <c:v>1.7077179000000001E-2</c:v>
                </c:pt>
                <c:pt idx="401">
                  <c:v>1.7098599999999999E-2</c:v>
                </c:pt>
                <c:pt idx="402">
                  <c:v>1.7135692000000001E-2</c:v>
                </c:pt>
                <c:pt idx="403">
                  <c:v>1.7159499000000002E-2</c:v>
                </c:pt>
                <c:pt idx="404">
                  <c:v>1.7194146E-2</c:v>
                </c:pt>
                <c:pt idx="405">
                  <c:v>1.7212940999999999E-2</c:v>
                </c:pt>
                <c:pt idx="406">
                  <c:v>1.7247888999999999E-2</c:v>
                </c:pt>
                <c:pt idx="407">
                  <c:v>1.7277536999999999E-2</c:v>
                </c:pt>
                <c:pt idx="408">
                  <c:v>1.7316708E-2</c:v>
                </c:pt>
                <c:pt idx="409">
                  <c:v>1.739545E-2</c:v>
                </c:pt>
                <c:pt idx="410">
                  <c:v>1.7491929999999999E-2</c:v>
                </c:pt>
                <c:pt idx="411">
                  <c:v>1.750403E-2</c:v>
                </c:pt>
                <c:pt idx="412">
                  <c:v>1.7615658999999999E-2</c:v>
                </c:pt>
                <c:pt idx="413">
                  <c:v>1.7684498999999999E-2</c:v>
                </c:pt>
                <c:pt idx="414">
                  <c:v>1.7736452999999999E-2</c:v>
                </c:pt>
                <c:pt idx="415">
                  <c:v>1.7766079000000001E-2</c:v>
                </c:pt>
                <c:pt idx="416">
                  <c:v>1.7815762999999998E-2</c:v>
                </c:pt>
                <c:pt idx="417">
                  <c:v>1.7876103000000001E-2</c:v>
                </c:pt>
                <c:pt idx="418">
                  <c:v>1.792527E-2</c:v>
                </c:pt>
                <c:pt idx="419">
                  <c:v>1.7952368E-2</c:v>
                </c:pt>
                <c:pt idx="420">
                  <c:v>1.7971078000000001E-2</c:v>
                </c:pt>
                <c:pt idx="421">
                  <c:v>1.7996096999999999E-2</c:v>
                </c:pt>
                <c:pt idx="422">
                  <c:v>1.8043803000000001E-2</c:v>
                </c:pt>
                <c:pt idx="423">
                  <c:v>1.8148085000000001E-2</c:v>
                </c:pt>
                <c:pt idx="424">
                  <c:v>1.8229820000000001E-2</c:v>
                </c:pt>
                <c:pt idx="425">
                  <c:v>1.82889E-2</c:v>
                </c:pt>
                <c:pt idx="426">
                  <c:v>1.8332556999999999E-2</c:v>
                </c:pt>
                <c:pt idx="427">
                  <c:v>1.8383255000000001E-2</c:v>
                </c:pt>
                <c:pt idx="428">
                  <c:v>1.8420543000000001E-2</c:v>
                </c:pt>
                <c:pt idx="429">
                  <c:v>1.8434948999999999E-2</c:v>
                </c:pt>
                <c:pt idx="430">
                  <c:v>1.8431072999999999E-2</c:v>
                </c:pt>
                <c:pt idx="431">
                  <c:v>1.8451123E-2</c:v>
                </c:pt>
                <c:pt idx="432">
                  <c:v>1.8489586999999998E-2</c:v>
                </c:pt>
                <c:pt idx="433">
                  <c:v>1.8540548E-2</c:v>
                </c:pt>
                <c:pt idx="434">
                  <c:v>1.8586044999999999E-2</c:v>
                </c:pt>
                <c:pt idx="435">
                  <c:v>1.8661384999999999E-2</c:v>
                </c:pt>
                <c:pt idx="436">
                  <c:v>1.8772954000000001E-2</c:v>
                </c:pt>
                <c:pt idx="437">
                  <c:v>1.8995715999999999E-2</c:v>
                </c:pt>
                <c:pt idx="438">
                  <c:v>1.9060981000000001E-2</c:v>
                </c:pt>
                <c:pt idx="439">
                  <c:v>1.9127567000000002E-2</c:v>
                </c:pt>
                <c:pt idx="440">
                  <c:v>1.9166855E-2</c:v>
                </c:pt>
                <c:pt idx="441">
                  <c:v>1.9227897000000001E-2</c:v>
                </c:pt>
                <c:pt idx="442">
                  <c:v>1.9271096000000001E-2</c:v>
                </c:pt>
                <c:pt idx="443">
                  <c:v>1.9283412E-2</c:v>
                </c:pt>
                <c:pt idx="444">
                  <c:v>1.9288870999999999E-2</c:v>
                </c:pt>
                <c:pt idx="445">
                  <c:v>1.9281342999999999E-2</c:v>
                </c:pt>
                <c:pt idx="446">
                  <c:v>1.9307931E-2</c:v>
                </c:pt>
                <c:pt idx="447">
                  <c:v>1.9409829E-2</c:v>
                </c:pt>
                <c:pt idx="448">
                  <c:v>1.9481899E-2</c:v>
                </c:pt>
                <c:pt idx="449">
                  <c:v>1.9533657999999999E-2</c:v>
                </c:pt>
                <c:pt idx="450">
                  <c:v>1.9585509000000001E-2</c:v>
                </c:pt>
                <c:pt idx="451">
                  <c:v>1.9738933E-2</c:v>
                </c:pt>
                <c:pt idx="452">
                  <c:v>1.9792666E-2</c:v>
                </c:pt>
                <c:pt idx="453">
                  <c:v>1.9861452000000002E-2</c:v>
                </c:pt>
                <c:pt idx="454">
                  <c:v>1.9910983E-2</c:v>
                </c:pt>
                <c:pt idx="455">
                  <c:v>2.0008593000000002E-2</c:v>
                </c:pt>
                <c:pt idx="456">
                  <c:v>2.0092088000000001E-2</c:v>
                </c:pt>
                <c:pt idx="457">
                  <c:v>2.0163606000000001E-2</c:v>
                </c:pt>
                <c:pt idx="458">
                  <c:v>2.0213954999999999E-2</c:v>
                </c:pt>
                <c:pt idx="459">
                  <c:v>2.0226530999999999E-2</c:v>
                </c:pt>
                <c:pt idx="460">
                  <c:v>2.0251366E-2</c:v>
                </c:pt>
                <c:pt idx="461">
                  <c:v>2.0325586999999999E-2</c:v>
                </c:pt>
                <c:pt idx="462">
                  <c:v>2.0399827999999998E-2</c:v>
                </c:pt>
                <c:pt idx="463">
                  <c:v>2.0538520000000001E-2</c:v>
                </c:pt>
                <c:pt idx="464">
                  <c:v>2.0665933000000001E-2</c:v>
                </c:pt>
                <c:pt idx="465">
                  <c:v>2.0794988E-2</c:v>
                </c:pt>
                <c:pt idx="466">
                  <c:v>2.0957608999999999E-2</c:v>
                </c:pt>
                <c:pt idx="467">
                  <c:v>2.1096637000000001E-2</c:v>
                </c:pt>
                <c:pt idx="468">
                  <c:v>2.1189376999999999E-2</c:v>
                </c:pt>
                <c:pt idx="469">
                  <c:v>2.1300858999999998E-2</c:v>
                </c:pt>
                <c:pt idx="470">
                  <c:v>2.1362806000000002E-2</c:v>
                </c:pt>
                <c:pt idx="471">
                  <c:v>2.1416865E-2</c:v>
                </c:pt>
                <c:pt idx="472">
                  <c:v>2.1474871999999999E-2</c:v>
                </c:pt>
                <c:pt idx="473">
                  <c:v>2.154435E-2</c:v>
                </c:pt>
                <c:pt idx="474">
                  <c:v>2.1668461999999999E-2</c:v>
                </c:pt>
                <c:pt idx="475">
                  <c:v>2.1733806000000001E-2</c:v>
                </c:pt>
                <c:pt idx="476">
                  <c:v>2.1780933999999998E-2</c:v>
                </c:pt>
                <c:pt idx="477">
                  <c:v>2.1812663999999999E-2</c:v>
                </c:pt>
                <c:pt idx="478">
                  <c:v>2.1932871999999999E-2</c:v>
                </c:pt>
                <c:pt idx="479">
                  <c:v>2.2045067000000002E-2</c:v>
                </c:pt>
                <c:pt idx="480">
                  <c:v>2.2166195E-2</c:v>
                </c:pt>
                <c:pt idx="481">
                  <c:v>2.2324618000000001E-2</c:v>
                </c:pt>
                <c:pt idx="482">
                  <c:v>2.2526655E-2</c:v>
                </c:pt>
                <c:pt idx="483">
                  <c:v>2.2827921000000001E-2</c:v>
                </c:pt>
                <c:pt idx="484">
                  <c:v>2.3070561E-2</c:v>
                </c:pt>
                <c:pt idx="485">
                  <c:v>2.3251667E-2</c:v>
                </c:pt>
                <c:pt idx="486">
                  <c:v>2.3448063000000002E-2</c:v>
                </c:pt>
                <c:pt idx="487">
                  <c:v>2.3630725000000002E-2</c:v>
                </c:pt>
                <c:pt idx="488">
                  <c:v>2.3798125999999999E-2</c:v>
                </c:pt>
                <c:pt idx="489">
                  <c:v>2.3938253999999999E-2</c:v>
                </c:pt>
                <c:pt idx="490">
                  <c:v>2.4064535000000001E-2</c:v>
                </c:pt>
                <c:pt idx="491">
                  <c:v>2.4212318E-2</c:v>
                </c:pt>
                <c:pt idx="492">
                  <c:v>2.4380374999999999E-2</c:v>
                </c:pt>
                <c:pt idx="493">
                  <c:v>2.4546200000000001E-2</c:v>
                </c:pt>
                <c:pt idx="494">
                  <c:v>2.4656688999999999E-2</c:v>
                </c:pt>
                <c:pt idx="495">
                  <c:v>2.4783592E-2</c:v>
                </c:pt>
                <c:pt idx="496">
                  <c:v>2.4979844000000001E-2</c:v>
                </c:pt>
                <c:pt idx="497">
                  <c:v>2.5131342000000001E-2</c:v>
                </c:pt>
                <c:pt idx="498">
                  <c:v>2.5258538000000001E-2</c:v>
                </c:pt>
                <c:pt idx="499">
                  <c:v>2.5379657E-2</c:v>
                </c:pt>
                <c:pt idx="500">
                  <c:v>2.5531400999999999E-2</c:v>
                </c:pt>
                <c:pt idx="501">
                  <c:v>2.5655632000000001E-2</c:v>
                </c:pt>
                <c:pt idx="502">
                  <c:v>2.5802114000000001E-2</c:v>
                </c:pt>
                <c:pt idx="503">
                  <c:v>2.5892915999999998E-2</c:v>
                </c:pt>
                <c:pt idx="504">
                  <c:v>2.5943816000000001E-2</c:v>
                </c:pt>
                <c:pt idx="505">
                  <c:v>2.6004553999999999E-2</c:v>
                </c:pt>
                <c:pt idx="506">
                  <c:v>2.6125190999999999E-2</c:v>
                </c:pt>
                <c:pt idx="507">
                  <c:v>2.622147E-2</c:v>
                </c:pt>
                <c:pt idx="508">
                  <c:v>2.6226077E-2</c:v>
                </c:pt>
                <c:pt idx="509">
                  <c:v>2.6254517000000002E-2</c:v>
                </c:pt>
                <c:pt idx="510">
                  <c:v>2.6276458999999999E-2</c:v>
                </c:pt>
                <c:pt idx="511">
                  <c:v>2.6273128999999999E-2</c:v>
                </c:pt>
                <c:pt idx="512">
                  <c:v>2.6301707000000001E-2</c:v>
                </c:pt>
                <c:pt idx="513">
                  <c:v>2.6335859999999999E-2</c:v>
                </c:pt>
                <c:pt idx="514">
                  <c:v>2.6423761E-2</c:v>
                </c:pt>
                <c:pt idx="515">
                  <c:v>2.6506517E-2</c:v>
                </c:pt>
                <c:pt idx="516">
                  <c:v>2.6682572000000002E-2</c:v>
                </c:pt>
                <c:pt idx="517">
                  <c:v>2.6730180999999999E-2</c:v>
                </c:pt>
                <c:pt idx="518">
                  <c:v>2.6773723999999999E-2</c:v>
                </c:pt>
                <c:pt idx="519">
                  <c:v>2.6761349E-2</c:v>
                </c:pt>
                <c:pt idx="520">
                  <c:v>2.6794423000000001E-2</c:v>
                </c:pt>
                <c:pt idx="521">
                  <c:v>2.6763255E-2</c:v>
                </c:pt>
                <c:pt idx="522">
                  <c:v>2.6740656000000002E-2</c:v>
                </c:pt>
                <c:pt idx="523">
                  <c:v>2.6630106000000001E-2</c:v>
                </c:pt>
                <c:pt idx="524">
                  <c:v>2.6592541000000001E-2</c:v>
                </c:pt>
                <c:pt idx="525">
                  <c:v>2.6567938999999999E-2</c:v>
                </c:pt>
                <c:pt idx="526">
                  <c:v>2.656058E-2</c:v>
                </c:pt>
                <c:pt idx="527">
                  <c:v>2.6440035000000001E-2</c:v>
                </c:pt>
                <c:pt idx="528">
                  <c:v>2.6361414999999999E-2</c:v>
                </c:pt>
                <c:pt idx="529">
                  <c:v>2.6341946000000001E-2</c:v>
                </c:pt>
                <c:pt idx="530">
                  <c:v>2.6399822999999999E-2</c:v>
                </c:pt>
                <c:pt idx="531">
                  <c:v>2.643185E-2</c:v>
                </c:pt>
                <c:pt idx="532">
                  <c:v>2.6454439999999999E-2</c:v>
                </c:pt>
                <c:pt idx="533">
                  <c:v>2.6535176000000001E-2</c:v>
                </c:pt>
                <c:pt idx="534">
                  <c:v>2.6586812000000001E-2</c:v>
                </c:pt>
                <c:pt idx="535">
                  <c:v>2.6648522000000001E-2</c:v>
                </c:pt>
                <c:pt idx="536">
                  <c:v>2.6697089E-2</c:v>
                </c:pt>
                <c:pt idx="537">
                  <c:v>2.6830856E-2</c:v>
                </c:pt>
                <c:pt idx="538">
                  <c:v>2.6994101E-2</c:v>
                </c:pt>
                <c:pt idx="539">
                  <c:v>2.7019997E-2</c:v>
                </c:pt>
                <c:pt idx="540">
                  <c:v>2.7028661999999998E-2</c:v>
                </c:pt>
                <c:pt idx="541">
                  <c:v>2.7078715E-2</c:v>
                </c:pt>
                <c:pt idx="542">
                  <c:v>2.7163422E-2</c:v>
                </c:pt>
                <c:pt idx="543">
                  <c:v>2.7268694999999999E-2</c:v>
                </c:pt>
                <c:pt idx="544">
                  <c:v>2.7354086999999999E-2</c:v>
                </c:pt>
                <c:pt idx="545">
                  <c:v>2.7474073000000002E-2</c:v>
                </c:pt>
                <c:pt idx="546">
                  <c:v>2.7659711E-2</c:v>
                </c:pt>
                <c:pt idx="547">
                  <c:v>2.7832220000000001E-2</c:v>
                </c:pt>
                <c:pt idx="548">
                  <c:v>2.7955313999999998E-2</c:v>
                </c:pt>
                <c:pt idx="549">
                  <c:v>2.8102945000000001E-2</c:v>
                </c:pt>
                <c:pt idx="550">
                  <c:v>2.8208566000000001E-2</c:v>
                </c:pt>
                <c:pt idx="551">
                  <c:v>2.8361094E-2</c:v>
                </c:pt>
                <c:pt idx="552">
                  <c:v>2.8514949000000001E-2</c:v>
                </c:pt>
                <c:pt idx="553">
                  <c:v>2.8680483999999999E-2</c:v>
                </c:pt>
                <c:pt idx="554">
                  <c:v>2.8821050000000001E-2</c:v>
                </c:pt>
                <c:pt idx="555">
                  <c:v>2.9030637000000001E-2</c:v>
                </c:pt>
                <c:pt idx="556">
                  <c:v>2.9158047999999999E-2</c:v>
                </c:pt>
                <c:pt idx="557">
                  <c:v>2.9288946999999999E-2</c:v>
                </c:pt>
                <c:pt idx="558">
                  <c:v>2.9338704E-2</c:v>
                </c:pt>
                <c:pt idx="559">
                  <c:v>2.9435629000000001E-2</c:v>
                </c:pt>
                <c:pt idx="560">
                  <c:v>2.9409907999999998E-2</c:v>
                </c:pt>
                <c:pt idx="561">
                  <c:v>2.9548465999999999E-2</c:v>
                </c:pt>
                <c:pt idx="562">
                  <c:v>2.9813169E-2</c:v>
                </c:pt>
                <c:pt idx="563">
                  <c:v>3.0035592E-2</c:v>
                </c:pt>
                <c:pt idx="564">
                  <c:v>3.0159691999999998E-2</c:v>
                </c:pt>
                <c:pt idx="565">
                  <c:v>3.0273841999999999E-2</c:v>
                </c:pt>
                <c:pt idx="566">
                  <c:v>3.0373509E-2</c:v>
                </c:pt>
                <c:pt idx="567">
                  <c:v>3.0461907999999999E-2</c:v>
                </c:pt>
                <c:pt idx="568">
                  <c:v>3.0585039000000001E-2</c:v>
                </c:pt>
                <c:pt idx="569">
                  <c:v>3.0698810999999999E-2</c:v>
                </c:pt>
                <c:pt idx="570">
                  <c:v>3.0851424999999998E-2</c:v>
                </c:pt>
                <c:pt idx="571">
                  <c:v>3.1006967E-2</c:v>
                </c:pt>
                <c:pt idx="572">
                  <c:v>3.1145095000000001E-2</c:v>
                </c:pt>
                <c:pt idx="573">
                  <c:v>3.1333452999999997E-2</c:v>
                </c:pt>
                <c:pt idx="574">
                  <c:v>3.1463695E-2</c:v>
                </c:pt>
                <c:pt idx="575">
                  <c:v>3.1634720999999998E-2</c:v>
                </c:pt>
                <c:pt idx="576">
                  <c:v>3.1801599E-2</c:v>
                </c:pt>
                <c:pt idx="577">
                  <c:v>3.2041137999999997E-2</c:v>
                </c:pt>
                <c:pt idx="578">
                  <c:v>3.2248529999999997E-2</c:v>
                </c:pt>
                <c:pt idx="579">
                  <c:v>3.2405662000000002E-2</c:v>
                </c:pt>
                <c:pt idx="580">
                  <c:v>3.2531954000000002E-2</c:v>
                </c:pt>
                <c:pt idx="581">
                  <c:v>3.2697643999999998E-2</c:v>
                </c:pt>
                <c:pt idx="582">
                  <c:v>3.2825074000000003E-2</c:v>
                </c:pt>
                <c:pt idx="583">
                  <c:v>3.2949588000000002E-2</c:v>
                </c:pt>
                <c:pt idx="584">
                  <c:v>3.3072141999999999E-2</c:v>
                </c:pt>
                <c:pt idx="585">
                  <c:v>3.3210498999999997E-2</c:v>
                </c:pt>
                <c:pt idx="586">
                  <c:v>3.3320020999999998E-2</c:v>
                </c:pt>
                <c:pt idx="587">
                  <c:v>3.3487587999999999E-2</c:v>
                </c:pt>
                <c:pt idx="588">
                  <c:v>3.3588443000000003E-2</c:v>
                </c:pt>
                <c:pt idx="589">
                  <c:v>3.3669850000000001E-2</c:v>
                </c:pt>
                <c:pt idx="590">
                  <c:v>3.3784341000000002E-2</c:v>
                </c:pt>
                <c:pt idx="591">
                  <c:v>3.3897044000000001E-2</c:v>
                </c:pt>
                <c:pt idx="592">
                  <c:v>3.3977388999999997E-2</c:v>
                </c:pt>
                <c:pt idx="593">
                  <c:v>3.4072057000000003E-2</c:v>
                </c:pt>
                <c:pt idx="594">
                  <c:v>3.4168717000000001E-2</c:v>
                </c:pt>
                <c:pt idx="595">
                  <c:v>3.4243277000000003E-2</c:v>
                </c:pt>
                <c:pt idx="596">
                  <c:v>3.4318293999999999E-2</c:v>
                </c:pt>
                <c:pt idx="597">
                  <c:v>3.4397443E-2</c:v>
                </c:pt>
                <c:pt idx="598">
                  <c:v>3.4464085999999998E-2</c:v>
                </c:pt>
                <c:pt idx="599">
                  <c:v>3.4499461000000002E-2</c:v>
                </c:pt>
                <c:pt idx="600">
                  <c:v>3.4559281999999997E-2</c:v>
                </c:pt>
                <c:pt idx="601">
                  <c:v>3.4602797999999997E-2</c:v>
                </c:pt>
                <c:pt idx="602">
                  <c:v>3.4617198000000002E-2</c:v>
                </c:pt>
                <c:pt idx="603">
                  <c:v>3.4643798000000003E-2</c:v>
                </c:pt>
                <c:pt idx="604">
                  <c:v>3.4659251000000002E-2</c:v>
                </c:pt>
                <c:pt idx="605">
                  <c:v>3.4709044000000001E-2</c:v>
                </c:pt>
                <c:pt idx="606">
                  <c:v>3.4761097999999997E-2</c:v>
                </c:pt>
                <c:pt idx="607">
                  <c:v>3.4780564E-2</c:v>
                </c:pt>
                <c:pt idx="608">
                  <c:v>3.4778379999999998E-2</c:v>
                </c:pt>
                <c:pt idx="609">
                  <c:v>3.4726073000000003E-2</c:v>
                </c:pt>
                <c:pt idx="610">
                  <c:v>3.4656847999999997E-2</c:v>
                </c:pt>
                <c:pt idx="611">
                  <c:v>3.4653294000000001E-2</c:v>
                </c:pt>
                <c:pt idx="612">
                  <c:v>3.4628101000000001E-2</c:v>
                </c:pt>
                <c:pt idx="613">
                  <c:v>3.4619403999999999E-2</c:v>
                </c:pt>
                <c:pt idx="614">
                  <c:v>3.4682526999999998E-2</c:v>
                </c:pt>
                <c:pt idx="615">
                  <c:v>3.4816655000000002E-2</c:v>
                </c:pt>
                <c:pt idx="616">
                  <c:v>3.4886255999999997E-2</c:v>
                </c:pt>
                <c:pt idx="617">
                  <c:v>3.4932489999999997E-2</c:v>
                </c:pt>
                <c:pt idx="618">
                  <c:v>3.4990783999999997E-2</c:v>
                </c:pt>
                <c:pt idx="619">
                  <c:v>3.5057853E-2</c:v>
                </c:pt>
                <c:pt idx="620">
                  <c:v>3.5162119999999998E-2</c:v>
                </c:pt>
                <c:pt idx="621">
                  <c:v>3.5231945000000001E-2</c:v>
                </c:pt>
                <c:pt idx="622">
                  <c:v>3.5311872000000001E-2</c:v>
                </c:pt>
                <c:pt idx="623">
                  <c:v>3.5287240999999997E-2</c:v>
                </c:pt>
                <c:pt idx="624">
                  <c:v>3.5348503000000003E-2</c:v>
                </c:pt>
                <c:pt idx="625">
                  <c:v>3.5409968E-2</c:v>
                </c:pt>
                <c:pt idx="626">
                  <c:v>3.5476212E-2</c:v>
                </c:pt>
                <c:pt idx="627">
                  <c:v>3.5622925999999999E-2</c:v>
                </c:pt>
                <c:pt idx="628">
                  <c:v>3.5732881000000001E-2</c:v>
                </c:pt>
                <c:pt idx="629">
                  <c:v>3.5832636000000001E-2</c:v>
                </c:pt>
                <c:pt idx="630">
                  <c:v>3.5990512000000002E-2</c:v>
                </c:pt>
                <c:pt idx="631">
                  <c:v>3.6055463000000003E-2</c:v>
                </c:pt>
                <c:pt idx="632">
                  <c:v>3.6117286999999998E-2</c:v>
                </c:pt>
                <c:pt idx="633">
                  <c:v>3.6177635999999999E-2</c:v>
                </c:pt>
                <c:pt idx="634">
                  <c:v>3.6245553E-2</c:v>
                </c:pt>
                <c:pt idx="635">
                  <c:v>3.6281172E-2</c:v>
                </c:pt>
                <c:pt idx="636">
                  <c:v>3.6283612E-2</c:v>
                </c:pt>
                <c:pt idx="637">
                  <c:v>3.6143366000000003E-2</c:v>
                </c:pt>
                <c:pt idx="638">
                  <c:v>3.6165393999999997E-2</c:v>
                </c:pt>
                <c:pt idx="639">
                  <c:v>3.6188340999999999E-2</c:v>
                </c:pt>
                <c:pt idx="640">
                  <c:v>3.6240389999999997E-2</c:v>
                </c:pt>
                <c:pt idx="641">
                  <c:v>3.6257939000000003E-2</c:v>
                </c:pt>
                <c:pt idx="642">
                  <c:v>3.6247066000000001E-2</c:v>
                </c:pt>
                <c:pt idx="643">
                  <c:v>3.6228112E-2</c:v>
                </c:pt>
                <c:pt idx="644">
                  <c:v>3.6217920000000001E-2</c:v>
                </c:pt>
                <c:pt idx="645">
                  <c:v>3.6287427999999997E-2</c:v>
                </c:pt>
                <c:pt idx="646">
                  <c:v>3.6340529000000003E-2</c:v>
                </c:pt>
                <c:pt idx="647">
                  <c:v>3.6275276000000002E-2</c:v>
                </c:pt>
                <c:pt idx="648">
                  <c:v>3.6285448999999997E-2</c:v>
                </c:pt>
                <c:pt idx="649">
                  <c:v>3.6324592000000003E-2</c:v>
                </c:pt>
                <c:pt idx="650">
                  <c:v>3.6322599999999997E-2</c:v>
                </c:pt>
                <c:pt idx="651">
                  <c:v>3.6246749000000002E-2</c:v>
                </c:pt>
                <c:pt idx="652">
                  <c:v>3.6232970000000003E-2</c:v>
                </c:pt>
                <c:pt idx="653">
                  <c:v>3.6184903999999997E-2</c:v>
                </c:pt>
                <c:pt idx="654">
                  <c:v>3.6164219999999997E-2</c:v>
                </c:pt>
                <c:pt idx="655">
                  <c:v>3.6123793000000001E-2</c:v>
                </c:pt>
                <c:pt idx="656">
                  <c:v>3.6098745000000002E-2</c:v>
                </c:pt>
                <c:pt idx="657">
                  <c:v>3.6077920999999999E-2</c:v>
                </c:pt>
                <c:pt idx="658">
                  <c:v>3.6047128999999997E-2</c:v>
                </c:pt>
                <c:pt idx="659">
                  <c:v>3.6038803000000001E-2</c:v>
                </c:pt>
                <c:pt idx="660">
                  <c:v>3.6023043999999997E-2</c:v>
                </c:pt>
                <c:pt idx="661">
                  <c:v>3.6068629999999997E-2</c:v>
                </c:pt>
                <c:pt idx="662">
                  <c:v>3.6023826000000002E-2</c:v>
                </c:pt>
                <c:pt idx="663">
                  <c:v>3.5909868999999997E-2</c:v>
                </c:pt>
                <c:pt idx="664">
                  <c:v>3.5853741000000001E-2</c:v>
                </c:pt>
                <c:pt idx="665">
                  <c:v>3.5816106E-2</c:v>
                </c:pt>
                <c:pt idx="666">
                  <c:v>3.5721019999999999E-2</c:v>
                </c:pt>
                <c:pt idx="667">
                  <c:v>3.5682049E-2</c:v>
                </c:pt>
                <c:pt idx="668">
                  <c:v>3.5703899999999997E-2</c:v>
                </c:pt>
                <c:pt idx="669">
                  <c:v>3.5695062999999999E-2</c:v>
                </c:pt>
                <c:pt idx="670">
                  <c:v>3.57098E-2</c:v>
                </c:pt>
                <c:pt idx="671">
                  <c:v>3.5762950000000002E-2</c:v>
                </c:pt>
                <c:pt idx="672">
                  <c:v>3.5749846000000002E-2</c:v>
                </c:pt>
                <c:pt idx="673">
                  <c:v>3.5686842000000003E-2</c:v>
                </c:pt>
                <c:pt idx="674">
                  <c:v>3.5575149E-2</c:v>
                </c:pt>
                <c:pt idx="675">
                  <c:v>3.5520417999999998E-2</c:v>
                </c:pt>
                <c:pt idx="676">
                  <c:v>3.5475245000000002E-2</c:v>
                </c:pt>
                <c:pt idx="677">
                  <c:v>3.5472050999999998E-2</c:v>
                </c:pt>
                <c:pt idx="678">
                  <c:v>3.5403651000000001E-2</c:v>
                </c:pt>
                <c:pt idx="679">
                  <c:v>3.5299544000000002E-2</c:v>
                </c:pt>
                <c:pt idx="680">
                  <c:v>3.5198598999999997E-2</c:v>
                </c:pt>
                <c:pt idx="681">
                  <c:v>3.5079540999999999E-2</c:v>
                </c:pt>
                <c:pt idx="682">
                  <c:v>3.4950075999999997E-2</c:v>
                </c:pt>
                <c:pt idx="683">
                  <c:v>3.4716204000000001E-2</c:v>
                </c:pt>
                <c:pt idx="684">
                  <c:v>3.4528569000000002E-2</c:v>
                </c:pt>
                <c:pt idx="685">
                  <c:v>3.4432257000000001E-2</c:v>
                </c:pt>
                <c:pt idx="686">
                  <c:v>3.4255637999999998E-2</c:v>
                </c:pt>
                <c:pt idx="687">
                  <c:v>3.4086541999999997E-2</c:v>
                </c:pt>
                <c:pt idx="688">
                  <c:v>3.3939562E-2</c:v>
                </c:pt>
                <c:pt idx="689">
                  <c:v>3.3813780000000002E-2</c:v>
                </c:pt>
                <c:pt idx="690">
                  <c:v>3.3720115000000002E-2</c:v>
                </c:pt>
                <c:pt idx="691">
                  <c:v>3.3592957999999999E-2</c:v>
                </c:pt>
                <c:pt idx="692">
                  <c:v>3.3437182000000003E-2</c:v>
                </c:pt>
                <c:pt idx="693">
                  <c:v>3.3284991999999999E-2</c:v>
                </c:pt>
                <c:pt idx="694">
                  <c:v>3.3135203000000002E-2</c:v>
                </c:pt>
                <c:pt idx="695">
                  <c:v>3.2939997999999998E-2</c:v>
                </c:pt>
                <c:pt idx="696">
                  <c:v>3.2724206999999998E-2</c:v>
                </c:pt>
                <c:pt idx="697">
                  <c:v>3.2539668000000001E-2</c:v>
                </c:pt>
                <c:pt idx="698">
                  <c:v>3.2377029000000002E-2</c:v>
                </c:pt>
                <c:pt idx="699">
                  <c:v>3.2208957000000003E-2</c:v>
                </c:pt>
                <c:pt idx="700">
                  <c:v>3.2016865999999998E-2</c:v>
                </c:pt>
                <c:pt idx="701">
                  <c:v>3.1836366999999997E-2</c:v>
                </c:pt>
                <c:pt idx="702">
                  <c:v>3.1651530999999997E-2</c:v>
                </c:pt>
                <c:pt idx="703">
                  <c:v>3.1556375999999997E-2</c:v>
                </c:pt>
                <c:pt idx="704">
                  <c:v>3.1456990999999997E-2</c:v>
                </c:pt>
                <c:pt idx="705">
                  <c:v>3.1428818999999997E-2</c:v>
                </c:pt>
                <c:pt idx="706">
                  <c:v>3.1292192000000003E-2</c:v>
                </c:pt>
                <c:pt idx="707">
                  <c:v>3.1175461000000002E-2</c:v>
                </c:pt>
                <c:pt idx="708">
                  <c:v>3.1085324000000001E-2</c:v>
                </c:pt>
                <c:pt idx="709">
                  <c:v>3.1008850000000001E-2</c:v>
                </c:pt>
                <c:pt idx="710">
                  <c:v>3.0950642E-2</c:v>
                </c:pt>
                <c:pt idx="711">
                  <c:v>3.0903468999999999E-2</c:v>
                </c:pt>
                <c:pt idx="712">
                  <c:v>3.0832432999999999E-2</c:v>
                </c:pt>
                <c:pt idx="713">
                  <c:v>3.0734817000000001E-2</c:v>
                </c:pt>
                <c:pt idx="714">
                  <c:v>3.0612526000000001E-2</c:v>
                </c:pt>
                <c:pt idx="715">
                  <c:v>3.0486985000000001E-2</c:v>
                </c:pt>
                <c:pt idx="716">
                  <c:v>3.0271302999999999E-2</c:v>
                </c:pt>
                <c:pt idx="717">
                  <c:v>3.013395E-2</c:v>
                </c:pt>
                <c:pt idx="718">
                  <c:v>3.0004685E-2</c:v>
                </c:pt>
                <c:pt idx="719">
                  <c:v>2.9932420000000001E-2</c:v>
                </c:pt>
                <c:pt idx="720">
                  <c:v>2.9856270000000001E-2</c:v>
                </c:pt>
                <c:pt idx="721">
                  <c:v>2.9802815999999999E-2</c:v>
                </c:pt>
                <c:pt idx="722">
                  <c:v>2.9740783E-2</c:v>
                </c:pt>
                <c:pt idx="723">
                  <c:v>2.9736470000000001E-2</c:v>
                </c:pt>
                <c:pt idx="724">
                  <c:v>2.9654926000000002E-2</c:v>
                </c:pt>
                <c:pt idx="725">
                  <c:v>2.9592953000000002E-2</c:v>
                </c:pt>
                <c:pt idx="726">
                  <c:v>2.9568091000000001E-2</c:v>
                </c:pt>
                <c:pt idx="727">
                  <c:v>2.9518388999999999E-2</c:v>
                </c:pt>
                <c:pt idx="728">
                  <c:v>2.9501181000000001E-2</c:v>
                </c:pt>
                <c:pt idx="729">
                  <c:v>2.9465597999999999E-2</c:v>
                </c:pt>
                <c:pt idx="730">
                  <c:v>2.9347233E-2</c:v>
                </c:pt>
                <c:pt idx="731">
                  <c:v>2.9320908E-2</c:v>
                </c:pt>
                <c:pt idx="732">
                  <c:v>2.9298131000000002E-2</c:v>
                </c:pt>
                <c:pt idx="733">
                  <c:v>2.9182669000000001E-2</c:v>
                </c:pt>
                <c:pt idx="734">
                  <c:v>2.9105408999999999E-2</c:v>
                </c:pt>
                <c:pt idx="735">
                  <c:v>2.9016950999999999E-2</c:v>
                </c:pt>
                <c:pt idx="736">
                  <c:v>2.8927240999999999E-2</c:v>
                </c:pt>
                <c:pt idx="737">
                  <c:v>2.8684835999999998E-2</c:v>
                </c:pt>
                <c:pt idx="738">
                  <c:v>2.8427376000000001E-2</c:v>
                </c:pt>
                <c:pt idx="739">
                  <c:v>2.8378860999999998E-2</c:v>
                </c:pt>
                <c:pt idx="740">
                  <c:v>2.8315798E-2</c:v>
                </c:pt>
                <c:pt idx="741">
                  <c:v>2.8234763E-2</c:v>
                </c:pt>
                <c:pt idx="742">
                  <c:v>2.8127536000000002E-2</c:v>
                </c:pt>
                <c:pt idx="743">
                  <c:v>2.8015299E-2</c:v>
                </c:pt>
                <c:pt idx="744">
                  <c:v>2.7893034000000001E-2</c:v>
                </c:pt>
                <c:pt idx="745">
                  <c:v>2.7749889E-2</c:v>
                </c:pt>
                <c:pt idx="746">
                  <c:v>2.7561465E-2</c:v>
                </c:pt>
                <c:pt idx="747">
                  <c:v>2.7393931E-2</c:v>
                </c:pt>
                <c:pt idx="748">
                  <c:v>2.728011E-2</c:v>
                </c:pt>
                <c:pt idx="749">
                  <c:v>2.7120663999999999E-2</c:v>
                </c:pt>
                <c:pt idx="750">
                  <c:v>2.6961506E-2</c:v>
                </c:pt>
                <c:pt idx="751">
                  <c:v>2.6768015999999999E-2</c:v>
                </c:pt>
                <c:pt idx="752">
                  <c:v>2.6587810999999999E-2</c:v>
                </c:pt>
                <c:pt idx="753">
                  <c:v>2.6386935E-2</c:v>
                </c:pt>
                <c:pt idx="754">
                  <c:v>2.6237242000000001E-2</c:v>
                </c:pt>
                <c:pt idx="755">
                  <c:v>2.6035464000000001E-2</c:v>
                </c:pt>
                <c:pt idx="756">
                  <c:v>2.5846733E-2</c:v>
                </c:pt>
                <c:pt idx="757">
                  <c:v>2.5677471E-2</c:v>
                </c:pt>
                <c:pt idx="758">
                  <c:v>2.5565656999999999E-2</c:v>
                </c:pt>
                <c:pt idx="759">
                  <c:v>2.5419852999999999E-2</c:v>
                </c:pt>
                <c:pt idx="760">
                  <c:v>2.5267033000000001E-2</c:v>
                </c:pt>
                <c:pt idx="761">
                  <c:v>2.5054881000000001E-2</c:v>
                </c:pt>
                <c:pt idx="762">
                  <c:v>2.4722925E-2</c:v>
                </c:pt>
                <c:pt idx="763">
                  <c:v>2.4497734E-2</c:v>
                </c:pt>
                <c:pt idx="764">
                  <c:v>2.4362176999999999E-2</c:v>
                </c:pt>
                <c:pt idx="765">
                  <c:v>2.4206219000000001E-2</c:v>
                </c:pt>
                <c:pt idx="766">
                  <c:v>2.4020498000000001E-2</c:v>
                </c:pt>
                <c:pt idx="767">
                  <c:v>2.3876563E-2</c:v>
                </c:pt>
                <c:pt idx="768">
                  <c:v>2.3784179999999999E-2</c:v>
                </c:pt>
                <c:pt idx="769">
                  <c:v>2.3672031999999999E-2</c:v>
                </c:pt>
                <c:pt idx="770">
                  <c:v>2.3509643E-2</c:v>
                </c:pt>
                <c:pt idx="771">
                  <c:v>2.3379745E-2</c:v>
                </c:pt>
                <c:pt idx="772">
                  <c:v>2.3239174000000001E-2</c:v>
                </c:pt>
                <c:pt idx="773">
                  <c:v>2.3049195000000001E-2</c:v>
                </c:pt>
                <c:pt idx="774">
                  <c:v>2.2926640000000002E-2</c:v>
                </c:pt>
                <c:pt idx="775">
                  <c:v>2.2774692999999999E-2</c:v>
                </c:pt>
                <c:pt idx="776">
                  <c:v>2.2625559999999999E-2</c:v>
                </c:pt>
                <c:pt idx="777">
                  <c:v>2.2400441E-2</c:v>
                </c:pt>
                <c:pt idx="778">
                  <c:v>2.2179673E-2</c:v>
                </c:pt>
                <c:pt idx="779">
                  <c:v>2.1982768E-2</c:v>
                </c:pt>
                <c:pt idx="780">
                  <c:v>2.1841829E-2</c:v>
                </c:pt>
                <c:pt idx="781">
                  <c:v>2.1694980999999999E-2</c:v>
                </c:pt>
                <c:pt idx="782">
                  <c:v>2.1607484999999999E-2</c:v>
                </c:pt>
                <c:pt idx="783">
                  <c:v>2.1491139999999999E-2</c:v>
                </c:pt>
                <c:pt idx="784">
                  <c:v>2.1397913000000001E-2</c:v>
                </c:pt>
                <c:pt idx="785">
                  <c:v>2.1319860999999999E-2</c:v>
                </c:pt>
                <c:pt idx="786">
                  <c:v>2.1214775000000002E-2</c:v>
                </c:pt>
                <c:pt idx="787">
                  <c:v>2.1083055E-2</c:v>
                </c:pt>
                <c:pt idx="788">
                  <c:v>2.1008477000000001E-2</c:v>
                </c:pt>
                <c:pt idx="789">
                  <c:v>2.0950995E-2</c:v>
                </c:pt>
                <c:pt idx="790">
                  <c:v>2.0816520000000002E-2</c:v>
                </c:pt>
                <c:pt idx="791">
                  <c:v>2.0701634999999999E-2</c:v>
                </c:pt>
                <c:pt idx="792">
                  <c:v>2.061665E-2</c:v>
                </c:pt>
                <c:pt idx="793">
                  <c:v>2.0534771E-2</c:v>
                </c:pt>
                <c:pt idx="794">
                  <c:v>2.0435993E-2</c:v>
                </c:pt>
                <c:pt idx="795">
                  <c:v>2.0352830999999998E-2</c:v>
                </c:pt>
                <c:pt idx="796">
                  <c:v>2.0280118999999999E-2</c:v>
                </c:pt>
                <c:pt idx="797">
                  <c:v>2.0221768000000001E-2</c:v>
                </c:pt>
                <c:pt idx="798">
                  <c:v>2.0139302000000001E-2</c:v>
                </c:pt>
                <c:pt idx="799">
                  <c:v>2.0110974E-2</c:v>
                </c:pt>
                <c:pt idx="800">
                  <c:v>2.0200744E-2</c:v>
                </c:pt>
                <c:pt idx="801">
                  <c:v>2.0282980999999999E-2</c:v>
                </c:pt>
                <c:pt idx="802">
                  <c:v>2.0288244E-2</c:v>
                </c:pt>
                <c:pt idx="803">
                  <c:v>2.0275503E-2</c:v>
                </c:pt>
                <c:pt idx="804">
                  <c:v>2.0325793000000002E-2</c:v>
                </c:pt>
                <c:pt idx="805">
                  <c:v>2.0330696999999998E-2</c:v>
                </c:pt>
                <c:pt idx="806">
                  <c:v>2.0321427999999999E-2</c:v>
                </c:pt>
                <c:pt idx="807">
                  <c:v>2.0348189999999999E-2</c:v>
                </c:pt>
                <c:pt idx="808">
                  <c:v>2.0359511E-2</c:v>
                </c:pt>
                <c:pt idx="809">
                  <c:v>2.0393413999999999E-2</c:v>
                </c:pt>
                <c:pt idx="810">
                  <c:v>2.0406144000000001E-2</c:v>
                </c:pt>
                <c:pt idx="811">
                  <c:v>2.0406725000000001E-2</c:v>
                </c:pt>
                <c:pt idx="812">
                  <c:v>2.0365068E-2</c:v>
                </c:pt>
                <c:pt idx="813">
                  <c:v>2.0344515000000001E-2</c:v>
                </c:pt>
                <c:pt idx="814">
                  <c:v>2.0254708999999999E-2</c:v>
                </c:pt>
                <c:pt idx="815">
                  <c:v>2.0082477000000001E-2</c:v>
                </c:pt>
                <c:pt idx="816">
                  <c:v>1.9983681E-2</c:v>
                </c:pt>
                <c:pt idx="817">
                  <c:v>1.9903573000000001E-2</c:v>
                </c:pt>
                <c:pt idx="818">
                  <c:v>1.9827055E-2</c:v>
                </c:pt>
                <c:pt idx="819">
                  <c:v>1.9750079E-2</c:v>
                </c:pt>
                <c:pt idx="820">
                  <c:v>1.9635759999999999E-2</c:v>
                </c:pt>
                <c:pt idx="821">
                  <c:v>1.9532720999999999E-2</c:v>
                </c:pt>
                <c:pt idx="822">
                  <c:v>1.9407832999999999E-2</c:v>
                </c:pt>
                <c:pt idx="823">
                  <c:v>1.9318511999999999E-2</c:v>
                </c:pt>
                <c:pt idx="824">
                  <c:v>1.916868E-2</c:v>
                </c:pt>
                <c:pt idx="825">
                  <c:v>1.9049771E-2</c:v>
                </c:pt>
                <c:pt idx="826">
                  <c:v>1.8942029999999999E-2</c:v>
                </c:pt>
                <c:pt idx="827">
                  <c:v>1.8750534999999999E-2</c:v>
                </c:pt>
                <c:pt idx="828">
                  <c:v>1.8595444999999999E-2</c:v>
                </c:pt>
                <c:pt idx="829">
                  <c:v>1.8454860999999999E-2</c:v>
                </c:pt>
                <c:pt idx="830">
                  <c:v>1.8286680999999999E-2</c:v>
                </c:pt>
                <c:pt idx="831">
                  <c:v>1.8196484999999998E-2</c:v>
                </c:pt>
                <c:pt idx="832">
                  <c:v>1.8101900000000001E-2</c:v>
                </c:pt>
                <c:pt idx="833">
                  <c:v>1.7988323000000001E-2</c:v>
                </c:pt>
                <c:pt idx="834">
                  <c:v>1.7873414000000001E-2</c:v>
                </c:pt>
                <c:pt idx="835">
                  <c:v>1.7769151E-2</c:v>
                </c:pt>
                <c:pt idx="836">
                  <c:v>1.7673043999999999E-2</c:v>
                </c:pt>
                <c:pt idx="837">
                  <c:v>1.7580239000000001E-2</c:v>
                </c:pt>
                <c:pt idx="838">
                  <c:v>1.7521452E-2</c:v>
                </c:pt>
                <c:pt idx="839">
                  <c:v>1.7413929000000002E-2</c:v>
                </c:pt>
                <c:pt idx="840">
                  <c:v>1.7291043999999998E-2</c:v>
                </c:pt>
                <c:pt idx="841">
                  <c:v>1.7200122000000002E-2</c:v>
                </c:pt>
                <c:pt idx="842">
                  <c:v>1.7125319999999999E-2</c:v>
                </c:pt>
                <c:pt idx="843">
                  <c:v>1.7072789000000001E-2</c:v>
                </c:pt>
                <c:pt idx="844">
                  <c:v>1.6989151000000001E-2</c:v>
                </c:pt>
                <c:pt idx="845">
                  <c:v>1.6870843E-2</c:v>
                </c:pt>
                <c:pt idx="846">
                  <c:v>1.6735773999999998E-2</c:v>
                </c:pt>
                <c:pt idx="847">
                  <c:v>1.6657656999999999E-2</c:v>
                </c:pt>
                <c:pt idx="848">
                  <c:v>1.6547913000000001E-2</c:v>
                </c:pt>
                <c:pt idx="849">
                  <c:v>1.6451365999999999E-2</c:v>
                </c:pt>
                <c:pt idx="850">
                  <c:v>1.6388869E-2</c:v>
                </c:pt>
                <c:pt idx="851">
                  <c:v>1.6341865000000001E-2</c:v>
                </c:pt>
                <c:pt idx="852">
                  <c:v>1.6297005999999999E-2</c:v>
                </c:pt>
                <c:pt idx="853">
                  <c:v>1.623318E-2</c:v>
                </c:pt>
                <c:pt idx="854">
                  <c:v>1.6154696999999999E-2</c:v>
                </c:pt>
                <c:pt idx="855">
                  <c:v>1.6079574999999999E-2</c:v>
                </c:pt>
                <c:pt idx="856">
                  <c:v>1.5989409E-2</c:v>
                </c:pt>
                <c:pt idx="857">
                  <c:v>1.5905824999999998E-2</c:v>
                </c:pt>
                <c:pt idx="858">
                  <c:v>1.5857340000000001E-2</c:v>
                </c:pt>
                <c:pt idx="859">
                  <c:v>1.5796325E-2</c:v>
                </c:pt>
                <c:pt idx="860">
                  <c:v>1.5733543999999999E-2</c:v>
                </c:pt>
                <c:pt idx="861">
                  <c:v>1.5582779E-2</c:v>
                </c:pt>
                <c:pt idx="862">
                  <c:v>1.5558554E-2</c:v>
                </c:pt>
                <c:pt idx="863">
                  <c:v>1.5524085E-2</c:v>
                </c:pt>
                <c:pt idx="864">
                  <c:v>1.5450808E-2</c:v>
                </c:pt>
                <c:pt idx="865">
                  <c:v>1.5304121E-2</c:v>
                </c:pt>
                <c:pt idx="866">
                  <c:v>1.5187431E-2</c:v>
                </c:pt>
                <c:pt idx="867">
                  <c:v>1.5054925E-2</c:v>
                </c:pt>
                <c:pt idx="868">
                  <c:v>1.4919438E-2</c:v>
                </c:pt>
                <c:pt idx="869">
                  <c:v>1.4756457000000001E-2</c:v>
                </c:pt>
                <c:pt idx="870">
                  <c:v>1.4620009999999999E-2</c:v>
                </c:pt>
                <c:pt idx="871">
                  <c:v>1.4478579E-2</c:v>
                </c:pt>
                <c:pt idx="872">
                  <c:v>1.4398075999999999E-2</c:v>
                </c:pt>
                <c:pt idx="873">
                  <c:v>1.4322398E-2</c:v>
                </c:pt>
                <c:pt idx="874">
                  <c:v>1.4278795E-2</c:v>
                </c:pt>
                <c:pt idx="875">
                  <c:v>1.4229316000000001E-2</c:v>
                </c:pt>
                <c:pt idx="876">
                  <c:v>1.4164443000000001E-2</c:v>
                </c:pt>
                <c:pt idx="877">
                  <c:v>1.4074675E-2</c:v>
                </c:pt>
                <c:pt idx="878">
                  <c:v>1.3983064999999999E-2</c:v>
                </c:pt>
                <c:pt idx="879">
                  <c:v>1.3976664999999999E-2</c:v>
                </c:pt>
                <c:pt idx="880">
                  <c:v>1.3929939000000001E-2</c:v>
                </c:pt>
                <c:pt idx="881">
                  <c:v>1.3911266E-2</c:v>
                </c:pt>
                <c:pt idx="882">
                  <c:v>1.3853603000000001E-2</c:v>
                </c:pt>
                <c:pt idx="883">
                  <c:v>1.3783073E-2</c:v>
                </c:pt>
                <c:pt idx="884">
                  <c:v>1.3709697E-2</c:v>
                </c:pt>
                <c:pt idx="885">
                  <c:v>1.3601312000000001E-2</c:v>
                </c:pt>
                <c:pt idx="886">
                  <c:v>1.3559246E-2</c:v>
                </c:pt>
                <c:pt idx="887">
                  <c:v>1.3519955E-2</c:v>
                </c:pt>
                <c:pt idx="888">
                  <c:v>1.3481662E-2</c:v>
                </c:pt>
                <c:pt idx="889">
                  <c:v>1.3428014E-2</c:v>
                </c:pt>
                <c:pt idx="890">
                  <c:v>1.3360268E-2</c:v>
                </c:pt>
                <c:pt idx="891">
                  <c:v>1.3306470000000001E-2</c:v>
                </c:pt>
                <c:pt idx="892">
                  <c:v>1.3253173E-2</c:v>
                </c:pt>
                <c:pt idx="893">
                  <c:v>1.3212966E-2</c:v>
                </c:pt>
                <c:pt idx="894">
                  <c:v>1.3194097E-2</c:v>
                </c:pt>
                <c:pt idx="895">
                  <c:v>1.3164032000000001E-2</c:v>
                </c:pt>
                <c:pt idx="896">
                  <c:v>1.3130608E-2</c:v>
                </c:pt>
                <c:pt idx="897">
                  <c:v>1.3115183000000001E-2</c:v>
                </c:pt>
                <c:pt idx="898">
                  <c:v>1.3086373E-2</c:v>
                </c:pt>
                <c:pt idx="899">
                  <c:v>1.3092762000000001E-2</c:v>
                </c:pt>
                <c:pt idx="900">
                  <c:v>1.3095347E-2</c:v>
                </c:pt>
                <c:pt idx="901">
                  <c:v>1.3124263000000001E-2</c:v>
                </c:pt>
                <c:pt idx="902">
                  <c:v>1.31243E-2</c:v>
                </c:pt>
                <c:pt idx="903">
                  <c:v>1.3185837000000001E-2</c:v>
                </c:pt>
                <c:pt idx="904">
                  <c:v>1.3245702E-2</c:v>
                </c:pt>
                <c:pt idx="905">
                  <c:v>1.3198748E-2</c:v>
                </c:pt>
                <c:pt idx="906">
                  <c:v>1.3227750999999999E-2</c:v>
                </c:pt>
                <c:pt idx="907">
                  <c:v>1.3220213E-2</c:v>
                </c:pt>
                <c:pt idx="908">
                  <c:v>1.3224823E-2</c:v>
                </c:pt>
                <c:pt idx="909">
                  <c:v>1.3226061000000001E-2</c:v>
                </c:pt>
                <c:pt idx="910">
                  <c:v>1.3194261000000001E-2</c:v>
                </c:pt>
                <c:pt idx="911">
                  <c:v>1.3166911999999999E-2</c:v>
                </c:pt>
                <c:pt idx="912">
                  <c:v>1.3139313999999999E-2</c:v>
                </c:pt>
                <c:pt idx="913">
                  <c:v>1.3123562E-2</c:v>
                </c:pt>
                <c:pt idx="914">
                  <c:v>1.3137124E-2</c:v>
                </c:pt>
                <c:pt idx="915">
                  <c:v>1.3106352E-2</c:v>
                </c:pt>
                <c:pt idx="916">
                  <c:v>1.3115315000000001E-2</c:v>
                </c:pt>
                <c:pt idx="917">
                  <c:v>1.3092464E-2</c:v>
                </c:pt>
                <c:pt idx="918">
                  <c:v>1.3073351E-2</c:v>
                </c:pt>
                <c:pt idx="919">
                  <c:v>1.3049144E-2</c:v>
                </c:pt>
                <c:pt idx="920">
                  <c:v>1.3000342E-2</c:v>
                </c:pt>
                <c:pt idx="921">
                  <c:v>1.2963509999999999E-2</c:v>
                </c:pt>
                <c:pt idx="922">
                  <c:v>1.2925623000000001E-2</c:v>
                </c:pt>
                <c:pt idx="923">
                  <c:v>1.2856751E-2</c:v>
                </c:pt>
                <c:pt idx="924">
                  <c:v>1.2821463999999999E-2</c:v>
                </c:pt>
                <c:pt idx="925">
                  <c:v>1.2786595E-2</c:v>
                </c:pt>
                <c:pt idx="926">
                  <c:v>1.2720763E-2</c:v>
                </c:pt>
                <c:pt idx="927">
                  <c:v>1.2657465999999999E-2</c:v>
                </c:pt>
                <c:pt idx="928">
                  <c:v>1.2574554E-2</c:v>
                </c:pt>
                <c:pt idx="929">
                  <c:v>1.2476757999999999E-2</c:v>
                </c:pt>
                <c:pt idx="930">
                  <c:v>1.2448417E-2</c:v>
                </c:pt>
                <c:pt idx="931">
                  <c:v>1.236634E-2</c:v>
                </c:pt>
                <c:pt idx="932">
                  <c:v>1.2283603000000001E-2</c:v>
                </c:pt>
                <c:pt idx="933">
                  <c:v>1.2287363000000001E-2</c:v>
                </c:pt>
                <c:pt idx="934">
                  <c:v>1.2266075E-2</c:v>
                </c:pt>
                <c:pt idx="935">
                  <c:v>1.2211443000000001E-2</c:v>
                </c:pt>
                <c:pt idx="936">
                  <c:v>1.2202417E-2</c:v>
                </c:pt>
                <c:pt idx="937">
                  <c:v>1.2231165E-2</c:v>
                </c:pt>
                <c:pt idx="938">
                  <c:v>1.2267208999999999E-2</c:v>
                </c:pt>
                <c:pt idx="939">
                  <c:v>1.2290357999999999E-2</c:v>
                </c:pt>
                <c:pt idx="940">
                  <c:v>1.2299048999999999E-2</c:v>
                </c:pt>
                <c:pt idx="941">
                  <c:v>1.2309145000000001E-2</c:v>
                </c:pt>
                <c:pt idx="942">
                  <c:v>1.2336811E-2</c:v>
                </c:pt>
                <c:pt idx="943">
                  <c:v>1.2333060999999999E-2</c:v>
                </c:pt>
                <c:pt idx="944">
                  <c:v>1.2337715000000001E-2</c:v>
                </c:pt>
                <c:pt idx="945">
                  <c:v>1.2328921E-2</c:v>
                </c:pt>
                <c:pt idx="946">
                  <c:v>1.2384216E-2</c:v>
                </c:pt>
                <c:pt idx="947">
                  <c:v>1.2359432E-2</c:v>
                </c:pt>
                <c:pt idx="948">
                  <c:v>1.2315453000000001E-2</c:v>
                </c:pt>
                <c:pt idx="949">
                  <c:v>1.2314755E-2</c:v>
                </c:pt>
                <c:pt idx="950">
                  <c:v>1.2373779999999999E-2</c:v>
                </c:pt>
                <c:pt idx="951">
                  <c:v>1.2482703E-2</c:v>
                </c:pt>
                <c:pt idx="952">
                  <c:v>1.2518298000000001E-2</c:v>
                </c:pt>
                <c:pt idx="953">
                  <c:v>1.2591955E-2</c:v>
                </c:pt>
                <c:pt idx="954">
                  <c:v>1.2630806E-2</c:v>
                </c:pt>
                <c:pt idx="955">
                  <c:v>1.2654179999999999E-2</c:v>
                </c:pt>
                <c:pt idx="956">
                  <c:v>1.2675463999999999E-2</c:v>
                </c:pt>
                <c:pt idx="957">
                  <c:v>1.2680342000000001E-2</c:v>
                </c:pt>
                <c:pt idx="958">
                  <c:v>1.2672508000000001E-2</c:v>
                </c:pt>
                <c:pt idx="959">
                  <c:v>1.2662598000000001E-2</c:v>
                </c:pt>
                <c:pt idx="960">
                  <c:v>1.2674499000000001E-2</c:v>
                </c:pt>
                <c:pt idx="961">
                  <c:v>1.2709547E-2</c:v>
                </c:pt>
                <c:pt idx="962">
                  <c:v>1.2749274E-2</c:v>
                </c:pt>
                <c:pt idx="963">
                  <c:v>1.2740263999999999E-2</c:v>
                </c:pt>
                <c:pt idx="964">
                  <c:v>1.2737673999999999E-2</c:v>
                </c:pt>
                <c:pt idx="965">
                  <c:v>1.2724381E-2</c:v>
                </c:pt>
                <c:pt idx="966">
                  <c:v>1.270026E-2</c:v>
                </c:pt>
                <c:pt idx="967">
                  <c:v>1.2694715000000001E-2</c:v>
                </c:pt>
                <c:pt idx="968">
                  <c:v>1.2646632999999999E-2</c:v>
                </c:pt>
                <c:pt idx="969">
                  <c:v>1.2630924999999999E-2</c:v>
                </c:pt>
                <c:pt idx="970">
                  <c:v>1.2615566999999999E-2</c:v>
                </c:pt>
                <c:pt idx="971">
                  <c:v>1.2601368999999999E-2</c:v>
                </c:pt>
                <c:pt idx="972">
                  <c:v>1.2641516E-2</c:v>
                </c:pt>
                <c:pt idx="973">
                  <c:v>1.2662048E-2</c:v>
                </c:pt>
                <c:pt idx="974">
                  <c:v>1.2662289E-2</c:v>
                </c:pt>
                <c:pt idx="975">
                  <c:v>1.2645025000000001E-2</c:v>
                </c:pt>
                <c:pt idx="976">
                  <c:v>1.2620376000000001E-2</c:v>
                </c:pt>
                <c:pt idx="977">
                  <c:v>1.2610588000000001E-2</c:v>
                </c:pt>
                <c:pt idx="978">
                  <c:v>1.262199E-2</c:v>
                </c:pt>
                <c:pt idx="979">
                  <c:v>1.2662968E-2</c:v>
                </c:pt>
                <c:pt idx="980">
                  <c:v>1.2739553000000001E-2</c:v>
                </c:pt>
                <c:pt idx="981">
                  <c:v>1.2788776999999999E-2</c:v>
                </c:pt>
                <c:pt idx="982">
                  <c:v>1.2764233999999999E-2</c:v>
                </c:pt>
                <c:pt idx="983">
                  <c:v>1.2787366E-2</c:v>
                </c:pt>
                <c:pt idx="984">
                  <c:v>1.2787395E-2</c:v>
                </c:pt>
                <c:pt idx="985">
                  <c:v>1.2759482000000001E-2</c:v>
                </c:pt>
                <c:pt idx="986">
                  <c:v>1.2749984000000001E-2</c:v>
                </c:pt>
                <c:pt idx="987">
                  <c:v>1.2783637E-2</c:v>
                </c:pt>
                <c:pt idx="988">
                  <c:v>1.2838294E-2</c:v>
                </c:pt>
                <c:pt idx="989">
                  <c:v>1.2913556E-2</c:v>
                </c:pt>
                <c:pt idx="990">
                  <c:v>1.2999036E-2</c:v>
                </c:pt>
                <c:pt idx="991">
                  <c:v>1.3114881E-2</c:v>
                </c:pt>
                <c:pt idx="992">
                  <c:v>1.3193932E-2</c:v>
                </c:pt>
                <c:pt idx="993">
                  <c:v>1.3326935999999999E-2</c:v>
                </c:pt>
                <c:pt idx="994">
                  <c:v>1.3422849000000001E-2</c:v>
                </c:pt>
                <c:pt idx="995">
                  <c:v>1.3554014E-2</c:v>
                </c:pt>
                <c:pt idx="996">
                  <c:v>1.3692457E-2</c:v>
                </c:pt>
                <c:pt idx="997">
                  <c:v>1.3787071999999999E-2</c:v>
                </c:pt>
                <c:pt idx="998">
                  <c:v>1.3871092E-2</c:v>
                </c:pt>
                <c:pt idx="999">
                  <c:v>1.3888800999999999E-2</c:v>
                </c:pt>
                <c:pt idx="1000">
                  <c:v>1.3791276E-2</c:v>
                </c:pt>
                <c:pt idx="1001">
                  <c:v>1.3749081999999999E-2</c:v>
                </c:pt>
                <c:pt idx="1002">
                  <c:v>1.3823756E-2</c:v>
                </c:pt>
                <c:pt idx="1003">
                  <c:v>1.3888061E-2</c:v>
                </c:pt>
                <c:pt idx="1004">
                  <c:v>1.3876004000000001E-2</c:v>
                </c:pt>
                <c:pt idx="1005">
                  <c:v>1.3871343E-2</c:v>
                </c:pt>
                <c:pt idx="1006">
                  <c:v>1.3840132E-2</c:v>
                </c:pt>
                <c:pt idx="1007">
                  <c:v>1.382092E-2</c:v>
                </c:pt>
                <c:pt idx="1008">
                  <c:v>1.3896027E-2</c:v>
                </c:pt>
                <c:pt idx="1009">
                  <c:v>1.398843E-2</c:v>
                </c:pt>
                <c:pt idx="1010">
                  <c:v>1.4027378E-2</c:v>
                </c:pt>
                <c:pt idx="1011">
                  <c:v>1.4066712E-2</c:v>
                </c:pt>
                <c:pt idx="1012">
                  <c:v>1.4062298000000001E-2</c:v>
                </c:pt>
                <c:pt idx="1013">
                  <c:v>1.4076305000000001E-2</c:v>
                </c:pt>
                <c:pt idx="1014">
                  <c:v>1.4092502E-2</c:v>
                </c:pt>
                <c:pt idx="1015">
                  <c:v>1.4122098E-2</c:v>
                </c:pt>
                <c:pt idx="1016">
                  <c:v>1.4128662E-2</c:v>
                </c:pt>
                <c:pt idx="1017">
                  <c:v>1.4182627E-2</c:v>
                </c:pt>
                <c:pt idx="1018">
                  <c:v>1.4238921999999999E-2</c:v>
                </c:pt>
                <c:pt idx="1019">
                  <c:v>1.4296279E-2</c:v>
                </c:pt>
                <c:pt idx="1020">
                  <c:v>1.4373435E-2</c:v>
                </c:pt>
                <c:pt idx="1021">
                  <c:v>1.4467288999999999E-2</c:v>
                </c:pt>
                <c:pt idx="1022">
                  <c:v>1.4558813E-2</c:v>
                </c:pt>
                <c:pt idx="1023">
                  <c:v>1.4628712E-2</c:v>
                </c:pt>
                <c:pt idx="1024">
                  <c:v>1.4728724E-2</c:v>
                </c:pt>
                <c:pt idx="1025">
                  <c:v>1.4846216000000001E-2</c:v>
                </c:pt>
                <c:pt idx="1026">
                  <c:v>1.4897517000000001E-2</c:v>
                </c:pt>
                <c:pt idx="1027">
                  <c:v>1.4961416999999999E-2</c:v>
                </c:pt>
                <c:pt idx="1028">
                  <c:v>1.5074094E-2</c:v>
                </c:pt>
                <c:pt idx="1029">
                  <c:v>1.5207571E-2</c:v>
                </c:pt>
                <c:pt idx="1030">
                  <c:v>1.5306551E-2</c:v>
                </c:pt>
                <c:pt idx="1031">
                  <c:v>1.5365625000000001E-2</c:v>
                </c:pt>
                <c:pt idx="1032">
                  <c:v>1.5438980999999999E-2</c:v>
                </c:pt>
                <c:pt idx="1033">
                  <c:v>1.5489948E-2</c:v>
                </c:pt>
                <c:pt idx="1034">
                  <c:v>1.5567526999999999E-2</c:v>
                </c:pt>
                <c:pt idx="1035">
                  <c:v>1.5690538E-2</c:v>
                </c:pt>
                <c:pt idx="1036">
                  <c:v>1.5760868000000001E-2</c:v>
                </c:pt>
                <c:pt idx="1037">
                  <c:v>1.5835024999999999E-2</c:v>
                </c:pt>
                <c:pt idx="1038">
                  <c:v>1.5892977999999999E-2</c:v>
                </c:pt>
                <c:pt idx="1039">
                  <c:v>1.5970070999999999E-2</c:v>
                </c:pt>
                <c:pt idx="1040">
                  <c:v>1.6037534999999999E-2</c:v>
                </c:pt>
                <c:pt idx="1041">
                  <c:v>1.6104164000000001E-2</c:v>
                </c:pt>
                <c:pt idx="1042">
                  <c:v>1.6201488E-2</c:v>
                </c:pt>
                <c:pt idx="1043">
                  <c:v>1.6242492000000001E-2</c:v>
                </c:pt>
                <c:pt idx="1044">
                  <c:v>1.6296812000000001E-2</c:v>
                </c:pt>
                <c:pt idx="1045">
                  <c:v>1.6351270000000001E-2</c:v>
                </c:pt>
                <c:pt idx="1046">
                  <c:v>1.6391505000000001E-2</c:v>
                </c:pt>
                <c:pt idx="1047">
                  <c:v>1.6443627999999998E-2</c:v>
                </c:pt>
                <c:pt idx="1048">
                  <c:v>1.6506511000000001E-2</c:v>
                </c:pt>
                <c:pt idx="1049">
                  <c:v>1.6567900999999999E-2</c:v>
                </c:pt>
                <c:pt idx="1050">
                  <c:v>1.6621924E-2</c:v>
                </c:pt>
                <c:pt idx="1051">
                  <c:v>1.6652984999999999E-2</c:v>
                </c:pt>
                <c:pt idx="1052">
                  <c:v>1.6719207999999999E-2</c:v>
                </c:pt>
                <c:pt idx="1053">
                  <c:v>1.6799631999999998E-2</c:v>
                </c:pt>
                <c:pt idx="1054">
                  <c:v>1.6921855999999999E-2</c:v>
                </c:pt>
                <c:pt idx="1055">
                  <c:v>1.6967339000000001E-2</c:v>
                </c:pt>
                <c:pt idx="1056">
                  <c:v>1.7047153999999998E-2</c:v>
                </c:pt>
                <c:pt idx="1057">
                  <c:v>1.7104555E-2</c:v>
                </c:pt>
                <c:pt idx="1058">
                  <c:v>1.7118969000000001E-2</c:v>
                </c:pt>
                <c:pt idx="1059">
                  <c:v>1.7147011E-2</c:v>
                </c:pt>
                <c:pt idx="1060">
                  <c:v>1.7202671999999999E-2</c:v>
                </c:pt>
                <c:pt idx="1061">
                  <c:v>1.7246932E-2</c:v>
                </c:pt>
                <c:pt idx="1062">
                  <c:v>1.7276165E-2</c:v>
                </c:pt>
                <c:pt idx="1063">
                  <c:v>1.7279880000000001E-2</c:v>
                </c:pt>
                <c:pt idx="1064">
                  <c:v>1.7304060999999999E-2</c:v>
                </c:pt>
                <c:pt idx="1065">
                  <c:v>1.7327192000000002E-2</c:v>
                </c:pt>
                <c:pt idx="1066">
                  <c:v>1.7369971000000001E-2</c:v>
                </c:pt>
                <c:pt idx="1067">
                  <c:v>1.7468874999999998E-2</c:v>
                </c:pt>
                <c:pt idx="1068">
                  <c:v>1.7548522E-2</c:v>
                </c:pt>
                <c:pt idx="1069">
                  <c:v>1.7647632E-2</c:v>
                </c:pt>
                <c:pt idx="1070">
                  <c:v>1.7756122999999999E-2</c:v>
                </c:pt>
                <c:pt idx="1071">
                  <c:v>1.7834958000000001E-2</c:v>
                </c:pt>
                <c:pt idx="1072">
                  <c:v>1.7919118000000001E-2</c:v>
                </c:pt>
                <c:pt idx="1073">
                  <c:v>1.7987708000000002E-2</c:v>
                </c:pt>
                <c:pt idx="1074">
                  <c:v>1.8062886E-2</c:v>
                </c:pt>
                <c:pt idx="1075">
                  <c:v>1.8128595000000001E-2</c:v>
                </c:pt>
                <c:pt idx="1076">
                  <c:v>1.8183251000000001E-2</c:v>
                </c:pt>
                <c:pt idx="1077">
                  <c:v>1.82493E-2</c:v>
                </c:pt>
                <c:pt idx="1078">
                  <c:v>1.8310410999999999E-2</c:v>
                </c:pt>
                <c:pt idx="1079">
                  <c:v>1.8326293E-2</c:v>
                </c:pt>
                <c:pt idx="1080">
                  <c:v>1.8401176000000002E-2</c:v>
                </c:pt>
                <c:pt idx="1081">
                  <c:v>1.8445725999999999E-2</c:v>
                </c:pt>
                <c:pt idx="1082">
                  <c:v>1.8512846999999999E-2</c:v>
                </c:pt>
                <c:pt idx="1083">
                  <c:v>1.8602392999999998E-2</c:v>
                </c:pt>
                <c:pt idx="1084">
                  <c:v>1.8693543E-2</c:v>
                </c:pt>
                <c:pt idx="1085">
                  <c:v>1.8753840000000001E-2</c:v>
                </c:pt>
                <c:pt idx="1086">
                  <c:v>1.8794102E-2</c:v>
                </c:pt>
                <c:pt idx="1087">
                  <c:v>1.8849314999999998E-2</c:v>
                </c:pt>
                <c:pt idx="1088">
                  <c:v>1.8910070000000001E-2</c:v>
                </c:pt>
                <c:pt idx="1089">
                  <c:v>1.8991178000000001E-2</c:v>
                </c:pt>
                <c:pt idx="1090">
                  <c:v>1.9092194999999999E-2</c:v>
                </c:pt>
                <c:pt idx="1091">
                  <c:v>1.9168339E-2</c:v>
                </c:pt>
                <c:pt idx="1092">
                  <c:v>1.9227147999999999E-2</c:v>
                </c:pt>
                <c:pt idx="1093">
                  <c:v>1.9281568999999998E-2</c:v>
                </c:pt>
                <c:pt idx="1094">
                  <c:v>1.9330977999999999E-2</c:v>
                </c:pt>
                <c:pt idx="1095">
                  <c:v>1.9378183E-2</c:v>
                </c:pt>
                <c:pt idx="1096">
                  <c:v>1.9412245000000002E-2</c:v>
                </c:pt>
                <c:pt idx="1097">
                  <c:v>1.9441546000000001E-2</c:v>
                </c:pt>
                <c:pt idx="1098">
                  <c:v>1.9482181000000001E-2</c:v>
                </c:pt>
                <c:pt idx="1099">
                  <c:v>1.9510631000000001E-2</c:v>
                </c:pt>
                <c:pt idx="1100">
                  <c:v>1.9542039000000001E-2</c:v>
                </c:pt>
                <c:pt idx="1101">
                  <c:v>1.9535377E-2</c:v>
                </c:pt>
                <c:pt idx="1102">
                  <c:v>1.9569867000000001E-2</c:v>
                </c:pt>
                <c:pt idx="1103">
                  <c:v>1.9505867999999999E-2</c:v>
                </c:pt>
                <c:pt idx="1104">
                  <c:v>1.9454407E-2</c:v>
                </c:pt>
                <c:pt idx="1105">
                  <c:v>1.9463093000000001E-2</c:v>
                </c:pt>
                <c:pt idx="1106">
                  <c:v>1.9441864E-2</c:v>
                </c:pt>
                <c:pt idx="1107">
                  <c:v>1.9450470000000001E-2</c:v>
                </c:pt>
                <c:pt idx="1108">
                  <c:v>1.9477542E-2</c:v>
                </c:pt>
                <c:pt idx="1109">
                  <c:v>1.9575830999999998E-2</c:v>
                </c:pt>
                <c:pt idx="1110">
                  <c:v>1.9637417000000001E-2</c:v>
                </c:pt>
                <c:pt idx="1111">
                  <c:v>1.9684377999999999E-2</c:v>
                </c:pt>
                <c:pt idx="1112">
                  <c:v>1.9716515E-2</c:v>
                </c:pt>
                <c:pt idx="1113">
                  <c:v>1.9742099999999999E-2</c:v>
                </c:pt>
                <c:pt idx="1114">
                  <c:v>1.9747048999999999E-2</c:v>
                </c:pt>
                <c:pt idx="1115">
                  <c:v>1.9776649E-2</c:v>
                </c:pt>
                <c:pt idx="1116">
                  <c:v>1.9783684999999999E-2</c:v>
                </c:pt>
                <c:pt idx="1117">
                  <c:v>1.9798387000000001E-2</c:v>
                </c:pt>
                <c:pt idx="1118">
                  <c:v>1.9796446999999998E-2</c:v>
                </c:pt>
                <c:pt idx="1119">
                  <c:v>1.9806811000000001E-2</c:v>
                </c:pt>
                <c:pt idx="1120">
                  <c:v>1.9811537000000001E-2</c:v>
                </c:pt>
                <c:pt idx="1121">
                  <c:v>1.9813588E-2</c:v>
                </c:pt>
                <c:pt idx="1122">
                  <c:v>1.9824946E-2</c:v>
                </c:pt>
                <c:pt idx="1123">
                  <c:v>1.9826658E-2</c:v>
                </c:pt>
                <c:pt idx="1124">
                  <c:v>1.9812865999999998E-2</c:v>
                </c:pt>
                <c:pt idx="1125">
                  <c:v>1.9809350999999999E-2</c:v>
                </c:pt>
                <c:pt idx="1126">
                  <c:v>1.9804077999999999E-2</c:v>
                </c:pt>
                <c:pt idx="1127">
                  <c:v>1.9816903E-2</c:v>
                </c:pt>
                <c:pt idx="1128">
                  <c:v>1.9845560000000002E-2</c:v>
                </c:pt>
                <c:pt idx="1129">
                  <c:v>1.9862217000000001E-2</c:v>
                </c:pt>
                <c:pt idx="1130">
                  <c:v>1.9853045E-2</c:v>
                </c:pt>
                <c:pt idx="1131">
                  <c:v>1.9868844E-2</c:v>
                </c:pt>
                <c:pt idx="1132">
                  <c:v>1.9881986000000001E-2</c:v>
                </c:pt>
                <c:pt idx="1133">
                  <c:v>1.9837823000000001E-2</c:v>
                </c:pt>
                <c:pt idx="1134">
                  <c:v>1.9797822999999999E-2</c:v>
                </c:pt>
                <c:pt idx="1135">
                  <c:v>1.9804753000000001E-2</c:v>
                </c:pt>
                <c:pt idx="1136">
                  <c:v>1.9748172000000001E-2</c:v>
                </c:pt>
                <c:pt idx="1137">
                  <c:v>1.9691067E-2</c:v>
                </c:pt>
                <c:pt idx="1138">
                  <c:v>1.9619779E-2</c:v>
                </c:pt>
                <c:pt idx="1139">
                  <c:v>1.9529861999999999E-2</c:v>
                </c:pt>
                <c:pt idx="1140">
                  <c:v>1.9454922999999999E-2</c:v>
                </c:pt>
                <c:pt idx="1141">
                  <c:v>1.9393852E-2</c:v>
                </c:pt>
                <c:pt idx="1142">
                  <c:v>1.9332849999999999E-2</c:v>
                </c:pt>
                <c:pt idx="1143">
                  <c:v>1.9309976E-2</c:v>
                </c:pt>
                <c:pt idx="1144">
                  <c:v>1.9305184999999999E-2</c:v>
                </c:pt>
                <c:pt idx="1145">
                  <c:v>1.9300734E-2</c:v>
                </c:pt>
                <c:pt idx="1146">
                  <c:v>1.9244454000000001E-2</c:v>
                </c:pt>
                <c:pt idx="1147">
                  <c:v>1.9237902000000001E-2</c:v>
                </c:pt>
                <c:pt idx="1148">
                  <c:v>1.9232485000000001E-2</c:v>
                </c:pt>
                <c:pt idx="1149">
                  <c:v>1.9204156999999999E-2</c:v>
                </c:pt>
                <c:pt idx="1150">
                  <c:v>1.9145820000000001E-2</c:v>
                </c:pt>
                <c:pt idx="1151">
                  <c:v>1.9028753999999998E-2</c:v>
                </c:pt>
                <c:pt idx="1152">
                  <c:v>1.8972822E-2</c:v>
                </c:pt>
                <c:pt idx="1153">
                  <c:v>1.8872277E-2</c:v>
                </c:pt>
                <c:pt idx="1154">
                  <c:v>1.8819545999999999E-2</c:v>
                </c:pt>
                <c:pt idx="1155">
                  <c:v>1.8784117999999999E-2</c:v>
                </c:pt>
                <c:pt idx="1156">
                  <c:v>1.8763182E-2</c:v>
                </c:pt>
                <c:pt idx="1157">
                  <c:v>1.8729214000000001E-2</c:v>
                </c:pt>
                <c:pt idx="1158">
                  <c:v>1.876661E-2</c:v>
                </c:pt>
                <c:pt idx="1159">
                  <c:v>1.8776972999999999E-2</c:v>
                </c:pt>
                <c:pt idx="1160">
                  <c:v>1.8756129E-2</c:v>
                </c:pt>
                <c:pt idx="1161">
                  <c:v>1.8747162000000001E-2</c:v>
                </c:pt>
                <c:pt idx="1162">
                  <c:v>1.8750109000000001E-2</c:v>
                </c:pt>
                <c:pt idx="1163">
                  <c:v>1.8756465999999999E-2</c:v>
                </c:pt>
                <c:pt idx="1164">
                  <c:v>1.8730991999999998E-2</c:v>
                </c:pt>
                <c:pt idx="1165">
                  <c:v>1.875247E-2</c:v>
                </c:pt>
                <c:pt idx="1166">
                  <c:v>1.8761954000000001E-2</c:v>
                </c:pt>
                <c:pt idx="1167">
                  <c:v>1.8757446000000001E-2</c:v>
                </c:pt>
                <c:pt idx="1168">
                  <c:v>1.8739446E-2</c:v>
                </c:pt>
                <c:pt idx="1169">
                  <c:v>1.8735281999999999E-2</c:v>
                </c:pt>
                <c:pt idx="1170">
                  <c:v>1.8721541000000001E-2</c:v>
                </c:pt>
                <c:pt idx="1171">
                  <c:v>1.8700532999999998E-2</c:v>
                </c:pt>
                <c:pt idx="1172">
                  <c:v>1.8646598E-2</c:v>
                </c:pt>
                <c:pt idx="1173">
                  <c:v>1.8612019E-2</c:v>
                </c:pt>
                <c:pt idx="1174">
                  <c:v>1.8581960000000002E-2</c:v>
                </c:pt>
                <c:pt idx="1175">
                  <c:v>1.8566910999999998E-2</c:v>
                </c:pt>
                <c:pt idx="1176">
                  <c:v>1.8538474999999999E-2</c:v>
                </c:pt>
                <c:pt idx="1177">
                  <c:v>1.8515196000000001E-2</c:v>
                </c:pt>
                <c:pt idx="1178">
                  <c:v>1.8474015E-2</c:v>
                </c:pt>
                <c:pt idx="1179">
                  <c:v>1.8408832999999999E-2</c:v>
                </c:pt>
                <c:pt idx="1180">
                  <c:v>1.8318192000000001E-2</c:v>
                </c:pt>
                <c:pt idx="1181">
                  <c:v>1.825773E-2</c:v>
                </c:pt>
                <c:pt idx="1182">
                  <c:v>1.8234951999999999E-2</c:v>
                </c:pt>
                <c:pt idx="1183">
                  <c:v>1.8190283000000002E-2</c:v>
                </c:pt>
                <c:pt idx="1184">
                  <c:v>1.8165697000000001E-2</c:v>
                </c:pt>
                <c:pt idx="1185">
                  <c:v>1.8136461E-2</c:v>
                </c:pt>
                <c:pt idx="1186">
                  <c:v>1.8117192000000001E-2</c:v>
                </c:pt>
                <c:pt idx="1187">
                  <c:v>1.8072662999999999E-2</c:v>
                </c:pt>
                <c:pt idx="1188">
                  <c:v>1.7998375E-2</c:v>
                </c:pt>
                <c:pt idx="1189">
                  <c:v>1.7918561999999999E-2</c:v>
                </c:pt>
                <c:pt idx="1190">
                  <c:v>1.7830912000000001E-2</c:v>
                </c:pt>
                <c:pt idx="1191">
                  <c:v>1.7715464E-2</c:v>
                </c:pt>
                <c:pt idx="1192">
                  <c:v>1.7625027000000001E-2</c:v>
                </c:pt>
                <c:pt idx="1193">
                  <c:v>1.7485166E-2</c:v>
                </c:pt>
                <c:pt idx="1194">
                  <c:v>1.7384673E-2</c:v>
                </c:pt>
                <c:pt idx="1195">
                  <c:v>1.7277948000000001E-2</c:v>
                </c:pt>
                <c:pt idx="1196">
                  <c:v>1.7135436E-2</c:v>
                </c:pt>
                <c:pt idx="1197">
                  <c:v>1.7007636E-2</c:v>
                </c:pt>
                <c:pt idx="1198">
                  <c:v>1.6896001000000001E-2</c:v>
                </c:pt>
                <c:pt idx="1199">
                  <c:v>1.6813040000000001E-2</c:v>
                </c:pt>
                <c:pt idx="1200">
                  <c:v>1.6731698999999999E-2</c:v>
                </c:pt>
                <c:pt idx="1201">
                  <c:v>1.6632658000000002E-2</c:v>
                </c:pt>
                <c:pt idx="1202">
                  <c:v>1.6507121999999999E-2</c:v>
                </c:pt>
                <c:pt idx="1203">
                  <c:v>1.6405047999999998E-2</c:v>
                </c:pt>
                <c:pt idx="1204">
                  <c:v>1.6306725000000001E-2</c:v>
                </c:pt>
                <c:pt idx="1205">
                  <c:v>1.6233188999999999E-2</c:v>
                </c:pt>
                <c:pt idx="1206">
                  <c:v>1.6179595000000001E-2</c:v>
                </c:pt>
                <c:pt idx="1207">
                  <c:v>1.6130097999999999E-2</c:v>
                </c:pt>
                <c:pt idx="1208">
                  <c:v>1.6007179999999999E-2</c:v>
                </c:pt>
                <c:pt idx="1209">
                  <c:v>1.5858309000000001E-2</c:v>
                </c:pt>
                <c:pt idx="1210">
                  <c:v>1.5772251000000001E-2</c:v>
                </c:pt>
                <c:pt idx="1211">
                  <c:v>1.5687481999999999E-2</c:v>
                </c:pt>
                <c:pt idx="1212">
                  <c:v>1.5647244000000001E-2</c:v>
                </c:pt>
                <c:pt idx="1213">
                  <c:v>1.5613386999999999E-2</c:v>
                </c:pt>
                <c:pt idx="1214">
                  <c:v>1.5639187999999998E-2</c:v>
                </c:pt>
                <c:pt idx="1215">
                  <c:v>1.5647847999999999E-2</c:v>
                </c:pt>
                <c:pt idx="1216">
                  <c:v>1.5683572999999999E-2</c:v>
                </c:pt>
                <c:pt idx="1217">
                  <c:v>1.5656078E-2</c:v>
                </c:pt>
                <c:pt idx="1218">
                  <c:v>1.5631459E-2</c:v>
                </c:pt>
                <c:pt idx="1219">
                  <c:v>1.5588177999999999E-2</c:v>
                </c:pt>
                <c:pt idx="1220">
                  <c:v>1.5581597000000001E-2</c:v>
                </c:pt>
                <c:pt idx="1221">
                  <c:v>1.5555439000000001E-2</c:v>
                </c:pt>
                <c:pt idx="1222">
                  <c:v>1.5547313E-2</c:v>
                </c:pt>
                <c:pt idx="1223">
                  <c:v>1.5529665999999999E-2</c:v>
                </c:pt>
                <c:pt idx="1224">
                  <c:v>1.5467401E-2</c:v>
                </c:pt>
                <c:pt idx="1225">
                  <c:v>1.5393382000000001E-2</c:v>
                </c:pt>
                <c:pt idx="1226">
                  <c:v>1.5357584000000001E-2</c:v>
                </c:pt>
                <c:pt idx="1227">
                  <c:v>1.5342939E-2</c:v>
                </c:pt>
                <c:pt idx="1228">
                  <c:v>1.5273462999999999E-2</c:v>
                </c:pt>
                <c:pt idx="1229">
                  <c:v>1.5213508000000001E-2</c:v>
                </c:pt>
                <c:pt idx="1230">
                  <c:v>1.5113161999999999E-2</c:v>
                </c:pt>
                <c:pt idx="1231">
                  <c:v>1.508114E-2</c:v>
                </c:pt>
                <c:pt idx="1232">
                  <c:v>1.5021882E-2</c:v>
                </c:pt>
                <c:pt idx="1233">
                  <c:v>1.4986605E-2</c:v>
                </c:pt>
                <c:pt idx="1234">
                  <c:v>1.4923572E-2</c:v>
                </c:pt>
                <c:pt idx="1235">
                  <c:v>1.4824555999999999E-2</c:v>
                </c:pt>
                <c:pt idx="1236">
                  <c:v>1.4747029E-2</c:v>
                </c:pt>
                <c:pt idx="1237">
                  <c:v>1.4690807E-2</c:v>
                </c:pt>
                <c:pt idx="1238">
                  <c:v>1.461117E-2</c:v>
                </c:pt>
                <c:pt idx="1239">
                  <c:v>1.4548960999999999E-2</c:v>
                </c:pt>
                <c:pt idx="1240">
                  <c:v>1.4471322E-2</c:v>
                </c:pt>
                <c:pt idx="1241">
                  <c:v>1.4379378999999999E-2</c:v>
                </c:pt>
                <c:pt idx="1242">
                  <c:v>1.4258974000000001E-2</c:v>
                </c:pt>
                <c:pt idx="1243">
                  <c:v>1.4196412E-2</c:v>
                </c:pt>
                <c:pt idx="1244">
                  <c:v>1.4141209E-2</c:v>
                </c:pt>
                <c:pt idx="1245">
                  <c:v>1.4084759000000001E-2</c:v>
                </c:pt>
                <c:pt idx="1246">
                  <c:v>1.4050605000000001E-2</c:v>
                </c:pt>
                <c:pt idx="1247">
                  <c:v>1.3988804000000001E-2</c:v>
                </c:pt>
                <c:pt idx="1248">
                  <c:v>1.3948388000000001E-2</c:v>
                </c:pt>
                <c:pt idx="1249">
                  <c:v>1.3870318E-2</c:v>
                </c:pt>
                <c:pt idx="1250">
                  <c:v>1.3803241000000001E-2</c:v>
                </c:pt>
                <c:pt idx="1251">
                  <c:v>1.3725471E-2</c:v>
                </c:pt>
                <c:pt idx="1252">
                  <c:v>1.363121E-2</c:v>
                </c:pt>
                <c:pt idx="1253">
                  <c:v>1.3557046E-2</c:v>
                </c:pt>
                <c:pt idx="1254">
                  <c:v>1.343567E-2</c:v>
                </c:pt>
                <c:pt idx="1255">
                  <c:v>1.3370204E-2</c:v>
                </c:pt>
                <c:pt idx="1256">
                  <c:v>1.3297658E-2</c:v>
                </c:pt>
                <c:pt idx="1257">
                  <c:v>1.3247551E-2</c:v>
                </c:pt>
                <c:pt idx="1258">
                  <c:v>1.3222835E-2</c:v>
                </c:pt>
                <c:pt idx="1259">
                  <c:v>1.3172451E-2</c:v>
                </c:pt>
                <c:pt idx="1260">
                  <c:v>1.3108905000000001E-2</c:v>
                </c:pt>
                <c:pt idx="1261">
                  <c:v>1.3051076999999999E-2</c:v>
                </c:pt>
                <c:pt idx="1262">
                  <c:v>1.3003169E-2</c:v>
                </c:pt>
                <c:pt idx="1263">
                  <c:v>1.2993091999999999E-2</c:v>
                </c:pt>
                <c:pt idx="1264">
                  <c:v>1.2962632E-2</c:v>
                </c:pt>
                <c:pt idx="1265">
                  <c:v>1.2951297000000001E-2</c:v>
                </c:pt>
                <c:pt idx="1266">
                  <c:v>1.2918317E-2</c:v>
                </c:pt>
                <c:pt idx="1267">
                  <c:v>1.2832422E-2</c:v>
                </c:pt>
                <c:pt idx="1268">
                  <c:v>1.2755143E-2</c:v>
                </c:pt>
                <c:pt idx="1269">
                  <c:v>1.2679421999999999E-2</c:v>
                </c:pt>
                <c:pt idx="1270">
                  <c:v>1.2634453E-2</c:v>
                </c:pt>
                <c:pt idx="1271">
                  <c:v>1.2578892E-2</c:v>
                </c:pt>
                <c:pt idx="1272">
                  <c:v>1.2521508000000001E-2</c:v>
                </c:pt>
                <c:pt idx="1273">
                  <c:v>1.2484777000000001E-2</c:v>
                </c:pt>
                <c:pt idx="1274">
                  <c:v>1.2434852E-2</c:v>
                </c:pt>
                <c:pt idx="1275">
                  <c:v>1.2403895E-2</c:v>
                </c:pt>
                <c:pt idx="1276">
                  <c:v>1.2371454E-2</c:v>
                </c:pt>
                <c:pt idx="1277">
                  <c:v>1.2347669E-2</c:v>
                </c:pt>
                <c:pt idx="1278">
                  <c:v>1.2315675999999999E-2</c:v>
                </c:pt>
                <c:pt idx="1279">
                  <c:v>1.2307985E-2</c:v>
                </c:pt>
                <c:pt idx="1280">
                  <c:v>1.2282079E-2</c:v>
                </c:pt>
                <c:pt idx="1281">
                  <c:v>1.2225224E-2</c:v>
                </c:pt>
                <c:pt idx="1282">
                  <c:v>1.2166087000000001E-2</c:v>
                </c:pt>
                <c:pt idx="1283">
                  <c:v>1.2085614E-2</c:v>
                </c:pt>
                <c:pt idx="1284">
                  <c:v>1.2065602E-2</c:v>
                </c:pt>
                <c:pt idx="1285">
                  <c:v>1.2044232E-2</c:v>
                </c:pt>
                <c:pt idx="1286">
                  <c:v>1.2041668E-2</c:v>
                </c:pt>
                <c:pt idx="1287">
                  <c:v>1.2035002E-2</c:v>
                </c:pt>
                <c:pt idx="1288">
                  <c:v>1.2000815E-2</c:v>
                </c:pt>
                <c:pt idx="1289">
                  <c:v>1.1946445E-2</c:v>
                </c:pt>
                <c:pt idx="1290">
                  <c:v>1.1892918000000001E-2</c:v>
                </c:pt>
                <c:pt idx="1291">
                  <c:v>1.1829101999999999E-2</c:v>
                </c:pt>
                <c:pt idx="1292">
                  <c:v>1.1791055E-2</c:v>
                </c:pt>
                <c:pt idx="1293">
                  <c:v>1.176488E-2</c:v>
                </c:pt>
                <c:pt idx="1294">
                  <c:v>1.1727985E-2</c:v>
                </c:pt>
                <c:pt idx="1295">
                  <c:v>1.1722501E-2</c:v>
                </c:pt>
                <c:pt idx="1296">
                  <c:v>1.1714560000000001E-2</c:v>
                </c:pt>
                <c:pt idx="1297">
                  <c:v>1.1710847E-2</c:v>
                </c:pt>
                <c:pt idx="1298">
                  <c:v>1.1691726E-2</c:v>
                </c:pt>
                <c:pt idx="1299">
                  <c:v>1.1670583E-2</c:v>
                </c:pt>
                <c:pt idx="1300">
                  <c:v>1.1642669E-2</c:v>
                </c:pt>
                <c:pt idx="1301">
                  <c:v>1.1634535999999999E-2</c:v>
                </c:pt>
                <c:pt idx="1302">
                  <c:v>1.1588628E-2</c:v>
                </c:pt>
                <c:pt idx="1303">
                  <c:v>1.1554539000000001E-2</c:v>
                </c:pt>
                <c:pt idx="1304">
                  <c:v>1.1533065E-2</c:v>
                </c:pt>
                <c:pt idx="1305">
                  <c:v>1.1499591999999999E-2</c:v>
                </c:pt>
                <c:pt idx="1306">
                  <c:v>1.1457395E-2</c:v>
                </c:pt>
                <c:pt idx="1307">
                  <c:v>1.1420701E-2</c:v>
                </c:pt>
                <c:pt idx="1308">
                  <c:v>1.1402559E-2</c:v>
                </c:pt>
                <c:pt idx="1309">
                  <c:v>1.1293045E-2</c:v>
                </c:pt>
                <c:pt idx="1310">
                  <c:v>1.1214E-2</c:v>
                </c:pt>
                <c:pt idx="1311">
                  <c:v>1.1165448E-2</c:v>
                </c:pt>
                <c:pt idx="1312">
                  <c:v>1.112429E-2</c:v>
                </c:pt>
                <c:pt idx="1313">
                  <c:v>1.1077309E-2</c:v>
                </c:pt>
                <c:pt idx="1314">
                  <c:v>1.1035912E-2</c:v>
                </c:pt>
                <c:pt idx="1315">
                  <c:v>1.1001352000000001E-2</c:v>
                </c:pt>
                <c:pt idx="1316">
                  <c:v>1.0977973E-2</c:v>
                </c:pt>
                <c:pt idx="1317">
                  <c:v>1.0957204E-2</c:v>
                </c:pt>
                <c:pt idx="1318">
                  <c:v>1.0953757E-2</c:v>
                </c:pt>
                <c:pt idx="1319">
                  <c:v>1.0925176E-2</c:v>
                </c:pt>
                <c:pt idx="1320">
                  <c:v>1.0929380000000001E-2</c:v>
                </c:pt>
                <c:pt idx="1321">
                  <c:v>1.0926651000000001E-2</c:v>
                </c:pt>
                <c:pt idx="1322">
                  <c:v>1.0908325999999999E-2</c:v>
                </c:pt>
                <c:pt idx="1323">
                  <c:v>1.089006E-2</c:v>
                </c:pt>
                <c:pt idx="1324">
                  <c:v>1.0877691E-2</c:v>
                </c:pt>
                <c:pt idx="1325">
                  <c:v>1.0883386E-2</c:v>
                </c:pt>
                <c:pt idx="1326">
                  <c:v>1.086669E-2</c:v>
                </c:pt>
                <c:pt idx="1327">
                  <c:v>1.0851359E-2</c:v>
                </c:pt>
                <c:pt idx="1328">
                  <c:v>1.081701E-2</c:v>
                </c:pt>
                <c:pt idx="1329">
                  <c:v>1.0796592000000001E-2</c:v>
                </c:pt>
                <c:pt idx="1330">
                  <c:v>1.0773428999999999E-2</c:v>
                </c:pt>
                <c:pt idx="1331">
                  <c:v>1.0769610000000001E-2</c:v>
                </c:pt>
                <c:pt idx="1332">
                  <c:v>1.0756003E-2</c:v>
                </c:pt>
                <c:pt idx="1333">
                  <c:v>1.0742821E-2</c:v>
                </c:pt>
                <c:pt idx="1334">
                  <c:v>1.0749648000000001E-2</c:v>
                </c:pt>
                <c:pt idx="1335">
                  <c:v>1.0721321000000001E-2</c:v>
                </c:pt>
                <c:pt idx="1336">
                  <c:v>1.0708878999999999E-2</c:v>
                </c:pt>
                <c:pt idx="1337">
                  <c:v>1.0692856000000001E-2</c:v>
                </c:pt>
                <c:pt idx="1338">
                  <c:v>1.0674176E-2</c:v>
                </c:pt>
                <c:pt idx="1339">
                  <c:v>1.0676115999999999E-2</c:v>
                </c:pt>
                <c:pt idx="1340">
                  <c:v>1.0692244E-2</c:v>
                </c:pt>
                <c:pt idx="1341">
                  <c:v>1.0680597E-2</c:v>
                </c:pt>
                <c:pt idx="1342">
                  <c:v>1.0675339000000001E-2</c:v>
                </c:pt>
                <c:pt idx="1343">
                  <c:v>1.0734257000000001E-2</c:v>
                </c:pt>
                <c:pt idx="1344">
                  <c:v>1.0741525E-2</c:v>
                </c:pt>
                <c:pt idx="1345">
                  <c:v>1.0756366999999999E-2</c:v>
                </c:pt>
                <c:pt idx="1346">
                  <c:v>1.0778648E-2</c:v>
                </c:pt>
                <c:pt idx="1347">
                  <c:v>1.0788417E-2</c:v>
                </c:pt>
                <c:pt idx="1348">
                  <c:v>1.0808130000000001E-2</c:v>
                </c:pt>
                <c:pt idx="1349">
                  <c:v>1.0852687999999999E-2</c:v>
                </c:pt>
                <c:pt idx="1350">
                  <c:v>1.0863372E-2</c:v>
                </c:pt>
                <c:pt idx="1351">
                  <c:v>1.0878560000000001E-2</c:v>
                </c:pt>
                <c:pt idx="1352">
                  <c:v>1.0938272000000001E-2</c:v>
                </c:pt>
                <c:pt idx="1353">
                  <c:v>1.0998343000000001E-2</c:v>
                </c:pt>
                <c:pt idx="1354">
                  <c:v>1.1002802000000001E-2</c:v>
                </c:pt>
                <c:pt idx="1355">
                  <c:v>1.1003895E-2</c:v>
                </c:pt>
                <c:pt idx="1356">
                  <c:v>1.1010850000000001E-2</c:v>
                </c:pt>
                <c:pt idx="1357">
                  <c:v>1.1025482E-2</c:v>
                </c:pt>
                <c:pt idx="1358">
                  <c:v>1.0988838000000001E-2</c:v>
                </c:pt>
                <c:pt idx="1359">
                  <c:v>1.098324E-2</c:v>
                </c:pt>
                <c:pt idx="1360">
                  <c:v>1.1000385E-2</c:v>
                </c:pt>
                <c:pt idx="1361">
                  <c:v>1.1008295E-2</c:v>
                </c:pt>
                <c:pt idx="1362">
                  <c:v>1.0982188E-2</c:v>
                </c:pt>
                <c:pt idx="1363">
                  <c:v>1.0966152999999999E-2</c:v>
                </c:pt>
                <c:pt idx="1364">
                  <c:v>1.0973971000000001E-2</c:v>
                </c:pt>
                <c:pt idx="1365">
                  <c:v>1.0975779E-2</c:v>
                </c:pt>
                <c:pt idx="1366">
                  <c:v>1.0987304999999999E-2</c:v>
                </c:pt>
                <c:pt idx="1367">
                  <c:v>1.1047667000000001E-2</c:v>
                </c:pt>
                <c:pt idx="1368">
                  <c:v>1.1099771E-2</c:v>
                </c:pt>
                <c:pt idx="1369">
                  <c:v>1.1127671E-2</c:v>
                </c:pt>
                <c:pt idx="1370">
                  <c:v>1.1144638E-2</c:v>
                </c:pt>
                <c:pt idx="1371">
                  <c:v>1.1156559E-2</c:v>
                </c:pt>
                <c:pt idx="1372">
                  <c:v>1.1175022E-2</c:v>
                </c:pt>
                <c:pt idx="1373">
                  <c:v>1.1181730000000001E-2</c:v>
                </c:pt>
                <c:pt idx="1374">
                  <c:v>1.1181712E-2</c:v>
                </c:pt>
                <c:pt idx="1375">
                  <c:v>1.1206051E-2</c:v>
                </c:pt>
                <c:pt idx="1376">
                  <c:v>1.1236484E-2</c:v>
                </c:pt>
                <c:pt idx="1377">
                  <c:v>1.1276077000000001E-2</c:v>
                </c:pt>
                <c:pt idx="1378">
                  <c:v>1.1309092999999999E-2</c:v>
                </c:pt>
                <c:pt idx="1379">
                  <c:v>1.1342461E-2</c:v>
                </c:pt>
                <c:pt idx="1380">
                  <c:v>1.1384114000000001E-2</c:v>
                </c:pt>
                <c:pt idx="1381">
                  <c:v>1.1387044000000001E-2</c:v>
                </c:pt>
                <c:pt idx="1382">
                  <c:v>1.1407364999999999E-2</c:v>
                </c:pt>
                <c:pt idx="1383">
                  <c:v>1.1438202E-2</c:v>
                </c:pt>
                <c:pt idx="1384">
                  <c:v>1.1447659000000001E-2</c:v>
                </c:pt>
                <c:pt idx="1385">
                  <c:v>1.146542E-2</c:v>
                </c:pt>
                <c:pt idx="1386">
                  <c:v>1.1489137999999999E-2</c:v>
                </c:pt>
                <c:pt idx="1387">
                  <c:v>1.1478231E-2</c:v>
                </c:pt>
                <c:pt idx="1388">
                  <c:v>1.148793E-2</c:v>
                </c:pt>
                <c:pt idx="1389">
                  <c:v>1.1471525999999999E-2</c:v>
                </c:pt>
                <c:pt idx="1390">
                  <c:v>1.147603E-2</c:v>
                </c:pt>
                <c:pt idx="1391">
                  <c:v>1.1467148999999999E-2</c:v>
                </c:pt>
                <c:pt idx="1392">
                  <c:v>1.1465421E-2</c:v>
                </c:pt>
                <c:pt idx="1393">
                  <c:v>1.1476366999999999E-2</c:v>
                </c:pt>
                <c:pt idx="1394">
                  <c:v>1.1490096E-2</c:v>
                </c:pt>
                <c:pt idx="1395">
                  <c:v>1.1477116000000001E-2</c:v>
                </c:pt>
                <c:pt idx="1396">
                  <c:v>1.1521069E-2</c:v>
                </c:pt>
                <c:pt idx="1397">
                  <c:v>1.1630477E-2</c:v>
                </c:pt>
                <c:pt idx="1398">
                  <c:v>1.1712769E-2</c:v>
                </c:pt>
                <c:pt idx="1399">
                  <c:v>1.1823563E-2</c:v>
                </c:pt>
                <c:pt idx="1400">
                  <c:v>1.1992408E-2</c:v>
                </c:pt>
                <c:pt idx="1401">
                  <c:v>1.2148315E-2</c:v>
                </c:pt>
                <c:pt idx="1402">
                  <c:v>1.2325671999999999E-2</c:v>
                </c:pt>
                <c:pt idx="1403">
                  <c:v>1.2413387999999999E-2</c:v>
                </c:pt>
                <c:pt idx="1404">
                  <c:v>1.2536814E-2</c:v>
                </c:pt>
                <c:pt idx="1405">
                  <c:v>1.2616296000000001E-2</c:v>
                </c:pt>
                <c:pt idx="1406">
                  <c:v>1.2694772999999999E-2</c:v>
                </c:pt>
                <c:pt idx="1407">
                  <c:v>1.279869E-2</c:v>
                </c:pt>
                <c:pt idx="1408">
                  <c:v>1.2899427999999999E-2</c:v>
                </c:pt>
                <c:pt idx="1409">
                  <c:v>1.2976009E-2</c:v>
                </c:pt>
                <c:pt idx="1410">
                  <c:v>1.3041127E-2</c:v>
                </c:pt>
                <c:pt idx="1411">
                  <c:v>1.3100779999999999E-2</c:v>
                </c:pt>
                <c:pt idx="1412">
                  <c:v>1.3176770000000001E-2</c:v>
                </c:pt>
                <c:pt idx="1413">
                  <c:v>1.3247903E-2</c:v>
                </c:pt>
                <c:pt idx="1414">
                  <c:v>1.3271926E-2</c:v>
                </c:pt>
                <c:pt idx="1415">
                  <c:v>1.3302288000000001E-2</c:v>
                </c:pt>
                <c:pt idx="1416">
                  <c:v>1.3327373E-2</c:v>
                </c:pt>
                <c:pt idx="1417">
                  <c:v>1.334865E-2</c:v>
                </c:pt>
                <c:pt idx="1418">
                  <c:v>1.3367700999999999E-2</c:v>
                </c:pt>
                <c:pt idx="1419">
                  <c:v>1.3408817999999999E-2</c:v>
                </c:pt>
                <c:pt idx="1420">
                  <c:v>1.3419945000000001E-2</c:v>
                </c:pt>
                <c:pt idx="1421">
                  <c:v>1.346372E-2</c:v>
                </c:pt>
                <c:pt idx="1422">
                  <c:v>1.3434198E-2</c:v>
                </c:pt>
                <c:pt idx="1423">
                  <c:v>1.3433418000000001E-2</c:v>
                </c:pt>
                <c:pt idx="1424">
                  <c:v>1.3430284000000001E-2</c:v>
                </c:pt>
                <c:pt idx="1425">
                  <c:v>1.3410039E-2</c:v>
                </c:pt>
                <c:pt idx="1426">
                  <c:v>1.3410491E-2</c:v>
                </c:pt>
                <c:pt idx="1427">
                  <c:v>1.3386435E-2</c:v>
                </c:pt>
                <c:pt idx="1428">
                  <c:v>1.3378625999999999E-2</c:v>
                </c:pt>
                <c:pt idx="1429">
                  <c:v>1.3344926999999999E-2</c:v>
                </c:pt>
                <c:pt idx="1430">
                  <c:v>1.3367505E-2</c:v>
                </c:pt>
                <c:pt idx="1431">
                  <c:v>1.3352630000000001E-2</c:v>
                </c:pt>
                <c:pt idx="1432">
                  <c:v>1.3344599E-2</c:v>
                </c:pt>
                <c:pt idx="1433">
                  <c:v>1.3370173000000001E-2</c:v>
                </c:pt>
                <c:pt idx="1434">
                  <c:v>1.336002E-2</c:v>
                </c:pt>
                <c:pt idx="1435">
                  <c:v>1.3353380999999999E-2</c:v>
                </c:pt>
                <c:pt idx="1436">
                  <c:v>1.3339425E-2</c:v>
                </c:pt>
                <c:pt idx="1437">
                  <c:v>1.3326393000000001E-2</c:v>
                </c:pt>
                <c:pt idx="1438">
                  <c:v>1.3327510000000001E-2</c:v>
                </c:pt>
                <c:pt idx="1439">
                  <c:v>1.3329234000000001E-2</c:v>
                </c:pt>
                <c:pt idx="1440">
                  <c:v>1.3332314E-2</c:v>
                </c:pt>
                <c:pt idx="1441">
                  <c:v>1.3333513E-2</c:v>
                </c:pt>
                <c:pt idx="1442">
                  <c:v>1.3356982E-2</c:v>
                </c:pt>
                <c:pt idx="1443">
                  <c:v>1.3369928999999999E-2</c:v>
                </c:pt>
                <c:pt idx="1444">
                  <c:v>1.3375023E-2</c:v>
                </c:pt>
                <c:pt idx="1445">
                  <c:v>1.3370319E-2</c:v>
                </c:pt>
                <c:pt idx="1446">
                  <c:v>1.3351450000000001E-2</c:v>
                </c:pt>
                <c:pt idx="1447">
                  <c:v>1.3343446E-2</c:v>
                </c:pt>
                <c:pt idx="1448">
                  <c:v>1.3320679E-2</c:v>
                </c:pt>
                <c:pt idx="1449">
                  <c:v>1.3305267000000001E-2</c:v>
                </c:pt>
                <c:pt idx="1450">
                  <c:v>1.3285972E-2</c:v>
                </c:pt>
                <c:pt idx="1451">
                  <c:v>1.3271361000000001E-2</c:v>
                </c:pt>
                <c:pt idx="1452">
                  <c:v>1.3263614E-2</c:v>
                </c:pt>
                <c:pt idx="1453">
                  <c:v>1.3237993999999999E-2</c:v>
                </c:pt>
                <c:pt idx="1454">
                  <c:v>1.3222296999999999E-2</c:v>
                </c:pt>
                <c:pt idx="1455">
                  <c:v>1.3216105000000001E-2</c:v>
                </c:pt>
                <c:pt idx="1456">
                  <c:v>1.3215559999999999E-2</c:v>
                </c:pt>
                <c:pt idx="1457">
                  <c:v>1.3239861E-2</c:v>
                </c:pt>
                <c:pt idx="1458">
                  <c:v>1.3261399E-2</c:v>
                </c:pt>
                <c:pt idx="1459">
                  <c:v>1.3272271E-2</c:v>
                </c:pt>
                <c:pt idx="1460">
                  <c:v>1.3315077999999999E-2</c:v>
                </c:pt>
                <c:pt idx="1461">
                  <c:v>1.3340807E-2</c:v>
                </c:pt>
                <c:pt idx="1462">
                  <c:v>1.3345101999999999E-2</c:v>
                </c:pt>
                <c:pt idx="1463">
                  <c:v>1.3348205E-2</c:v>
                </c:pt>
                <c:pt idx="1464">
                  <c:v>1.3349315E-2</c:v>
                </c:pt>
                <c:pt idx="1465">
                  <c:v>1.3338974999999999E-2</c:v>
                </c:pt>
                <c:pt idx="1466">
                  <c:v>1.3352602999999999E-2</c:v>
                </c:pt>
                <c:pt idx="1467">
                  <c:v>1.3344641000000001E-2</c:v>
                </c:pt>
                <c:pt idx="1468">
                  <c:v>1.334655E-2</c:v>
                </c:pt>
                <c:pt idx="1469">
                  <c:v>1.3345199E-2</c:v>
                </c:pt>
                <c:pt idx="1470">
                  <c:v>1.3308303E-2</c:v>
                </c:pt>
                <c:pt idx="1471">
                  <c:v>1.3306923999999999E-2</c:v>
                </c:pt>
                <c:pt idx="1472">
                  <c:v>1.3290194E-2</c:v>
                </c:pt>
                <c:pt idx="1473">
                  <c:v>1.3253275E-2</c:v>
                </c:pt>
                <c:pt idx="1474">
                  <c:v>1.3253123E-2</c:v>
                </c:pt>
                <c:pt idx="1475">
                  <c:v>1.3242771E-2</c:v>
                </c:pt>
                <c:pt idx="1476">
                  <c:v>1.3239875E-2</c:v>
                </c:pt>
                <c:pt idx="1477">
                  <c:v>1.3213009E-2</c:v>
                </c:pt>
                <c:pt idx="1478">
                  <c:v>1.3205253E-2</c:v>
                </c:pt>
                <c:pt idx="1479">
                  <c:v>1.3176355000000001E-2</c:v>
                </c:pt>
                <c:pt idx="1480">
                  <c:v>1.3151008E-2</c:v>
                </c:pt>
                <c:pt idx="1481">
                  <c:v>1.3196947000000001E-2</c:v>
                </c:pt>
                <c:pt idx="1482">
                  <c:v>1.3229536E-2</c:v>
                </c:pt>
                <c:pt idx="1483">
                  <c:v>1.3258684E-2</c:v>
                </c:pt>
                <c:pt idx="1484">
                  <c:v>1.3231753000000001E-2</c:v>
                </c:pt>
                <c:pt idx="1485">
                  <c:v>1.3223274E-2</c:v>
                </c:pt>
                <c:pt idx="1486">
                  <c:v>1.3217158999999999E-2</c:v>
                </c:pt>
                <c:pt idx="1487">
                  <c:v>1.3227406000000001E-2</c:v>
                </c:pt>
                <c:pt idx="1488">
                  <c:v>1.3219900999999999E-2</c:v>
                </c:pt>
                <c:pt idx="1489">
                  <c:v>1.3218878999999999E-2</c:v>
                </c:pt>
                <c:pt idx="1490">
                  <c:v>1.3194747999999999E-2</c:v>
                </c:pt>
                <c:pt idx="1491">
                  <c:v>1.3212656999999999E-2</c:v>
                </c:pt>
                <c:pt idx="1492">
                  <c:v>1.3242588E-2</c:v>
                </c:pt>
                <c:pt idx="1493">
                  <c:v>1.3260020000000001E-2</c:v>
                </c:pt>
                <c:pt idx="1494">
                  <c:v>1.3317712000000001E-2</c:v>
                </c:pt>
                <c:pt idx="1495">
                  <c:v>1.3321853E-2</c:v>
                </c:pt>
                <c:pt idx="1496">
                  <c:v>1.3364791000000001E-2</c:v>
                </c:pt>
                <c:pt idx="1497">
                  <c:v>1.3377639E-2</c:v>
                </c:pt>
                <c:pt idx="1498">
                  <c:v>1.3395852999999999E-2</c:v>
                </c:pt>
                <c:pt idx="1499">
                  <c:v>1.3406246E-2</c:v>
                </c:pt>
                <c:pt idx="1500">
                  <c:v>1.3407733999999999E-2</c:v>
                </c:pt>
                <c:pt idx="1501">
                  <c:v>1.3402592E-2</c:v>
                </c:pt>
                <c:pt idx="1502">
                  <c:v>1.3443612000000001E-2</c:v>
                </c:pt>
                <c:pt idx="1503">
                  <c:v>1.3458865E-2</c:v>
                </c:pt>
                <c:pt idx="1504">
                  <c:v>1.3477437E-2</c:v>
                </c:pt>
                <c:pt idx="1505">
                  <c:v>1.3487109000000001E-2</c:v>
                </c:pt>
                <c:pt idx="1506">
                  <c:v>1.3496330000000001E-2</c:v>
                </c:pt>
                <c:pt idx="1507">
                  <c:v>1.3494973E-2</c:v>
                </c:pt>
                <c:pt idx="1508">
                  <c:v>1.3484711999999999E-2</c:v>
                </c:pt>
                <c:pt idx="1509">
                  <c:v>1.3481373E-2</c:v>
                </c:pt>
                <c:pt idx="1510">
                  <c:v>1.3518031999999999E-2</c:v>
                </c:pt>
                <c:pt idx="1511">
                  <c:v>1.3552501E-2</c:v>
                </c:pt>
                <c:pt idx="1512">
                  <c:v>1.3594498999999999E-2</c:v>
                </c:pt>
                <c:pt idx="1513">
                  <c:v>1.3617827000000001E-2</c:v>
                </c:pt>
                <c:pt idx="1514">
                  <c:v>1.3629095000000001E-2</c:v>
                </c:pt>
                <c:pt idx="1515">
                  <c:v>1.3645880000000001E-2</c:v>
                </c:pt>
                <c:pt idx="1516">
                  <c:v>1.3711355E-2</c:v>
                </c:pt>
                <c:pt idx="1517">
                  <c:v>1.3753243E-2</c:v>
                </c:pt>
                <c:pt idx="1518">
                  <c:v>1.3774987000000001E-2</c:v>
                </c:pt>
                <c:pt idx="1519">
                  <c:v>1.3827183E-2</c:v>
                </c:pt>
                <c:pt idx="1520">
                  <c:v>1.3847872000000001E-2</c:v>
                </c:pt>
                <c:pt idx="1521">
                  <c:v>1.3866369999999999E-2</c:v>
                </c:pt>
                <c:pt idx="1522">
                  <c:v>1.3903373E-2</c:v>
                </c:pt>
                <c:pt idx="1523">
                  <c:v>1.3935708999999999E-2</c:v>
                </c:pt>
                <c:pt idx="1524">
                  <c:v>1.3966935E-2</c:v>
                </c:pt>
                <c:pt idx="1525">
                  <c:v>1.3980602E-2</c:v>
                </c:pt>
                <c:pt idx="1526">
                  <c:v>1.400501E-2</c:v>
                </c:pt>
                <c:pt idx="1527">
                  <c:v>1.4028764000000001E-2</c:v>
                </c:pt>
                <c:pt idx="1528">
                  <c:v>1.4055559E-2</c:v>
                </c:pt>
                <c:pt idx="1529">
                  <c:v>1.4088517E-2</c:v>
                </c:pt>
                <c:pt idx="1530">
                  <c:v>1.4112803E-2</c:v>
                </c:pt>
                <c:pt idx="1531">
                  <c:v>1.4118959E-2</c:v>
                </c:pt>
                <c:pt idx="1532">
                  <c:v>1.4137913E-2</c:v>
                </c:pt>
                <c:pt idx="1533">
                  <c:v>1.4155199E-2</c:v>
                </c:pt>
                <c:pt idx="1534">
                  <c:v>1.4154165E-2</c:v>
                </c:pt>
                <c:pt idx="1535">
                  <c:v>1.4177313E-2</c:v>
                </c:pt>
                <c:pt idx="1536">
                  <c:v>1.4181750999999999E-2</c:v>
                </c:pt>
                <c:pt idx="1537">
                  <c:v>1.4195568E-2</c:v>
                </c:pt>
                <c:pt idx="1538">
                  <c:v>1.4202443E-2</c:v>
                </c:pt>
                <c:pt idx="1539">
                  <c:v>1.4180155999999999E-2</c:v>
                </c:pt>
                <c:pt idx="1540">
                  <c:v>1.4164368E-2</c:v>
                </c:pt>
                <c:pt idx="1541">
                  <c:v>1.4161798E-2</c:v>
                </c:pt>
                <c:pt idx="1542">
                  <c:v>1.4156693E-2</c:v>
                </c:pt>
                <c:pt idx="1543">
                  <c:v>1.4085785999999999E-2</c:v>
                </c:pt>
                <c:pt idx="1544">
                  <c:v>1.4065872E-2</c:v>
                </c:pt>
                <c:pt idx="1545">
                  <c:v>1.4028947999999999E-2</c:v>
                </c:pt>
                <c:pt idx="1546">
                  <c:v>1.3981491E-2</c:v>
                </c:pt>
                <c:pt idx="1547">
                  <c:v>1.3944151E-2</c:v>
                </c:pt>
                <c:pt idx="1548">
                  <c:v>1.3920224E-2</c:v>
                </c:pt>
                <c:pt idx="1549">
                  <c:v>1.3866747E-2</c:v>
                </c:pt>
                <c:pt idx="1550">
                  <c:v>1.3842577E-2</c:v>
                </c:pt>
                <c:pt idx="1551">
                  <c:v>1.382592E-2</c:v>
                </c:pt>
                <c:pt idx="1552">
                  <c:v>1.3772703000000001E-2</c:v>
                </c:pt>
                <c:pt idx="1553">
                  <c:v>1.3709324E-2</c:v>
                </c:pt>
                <c:pt idx="1554">
                  <c:v>1.3685358999999999E-2</c:v>
                </c:pt>
                <c:pt idx="1555">
                  <c:v>1.365158E-2</c:v>
                </c:pt>
                <c:pt idx="1556">
                  <c:v>1.3627748E-2</c:v>
                </c:pt>
                <c:pt idx="1557">
                  <c:v>1.3596018E-2</c:v>
                </c:pt>
                <c:pt idx="1558">
                  <c:v>1.3564078E-2</c:v>
                </c:pt>
                <c:pt idx="1559">
                  <c:v>1.3534852E-2</c:v>
                </c:pt>
                <c:pt idx="1560">
                  <c:v>1.3511251E-2</c:v>
                </c:pt>
                <c:pt idx="1561">
                  <c:v>1.347568E-2</c:v>
                </c:pt>
                <c:pt idx="1562">
                  <c:v>1.3455042E-2</c:v>
                </c:pt>
                <c:pt idx="1563">
                  <c:v>1.3448086E-2</c:v>
                </c:pt>
                <c:pt idx="1564">
                  <c:v>1.3427527E-2</c:v>
                </c:pt>
                <c:pt idx="1565">
                  <c:v>1.3388761000000001E-2</c:v>
                </c:pt>
                <c:pt idx="1566">
                  <c:v>1.3359525000000001E-2</c:v>
                </c:pt>
                <c:pt idx="1567">
                  <c:v>1.329471E-2</c:v>
                </c:pt>
                <c:pt idx="1568">
                  <c:v>1.3248939E-2</c:v>
                </c:pt>
                <c:pt idx="1569">
                  <c:v>1.3211530000000001E-2</c:v>
                </c:pt>
                <c:pt idx="1570">
                  <c:v>1.3200617E-2</c:v>
                </c:pt>
                <c:pt idx="1571">
                  <c:v>1.3218818E-2</c:v>
                </c:pt>
                <c:pt idx="1572">
                  <c:v>1.3212984000000001E-2</c:v>
                </c:pt>
                <c:pt idx="1573">
                  <c:v>1.3209824E-2</c:v>
                </c:pt>
                <c:pt idx="1574">
                  <c:v>1.3215996000000001E-2</c:v>
                </c:pt>
                <c:pt idx="1575">
                  <c:v>1.3204112E-2</c:v>
                </c:pt>
                <c:pt idx="1576">
                  <c:v>1.3184186000000001E-2</c:v>
                </c:pt>
                <c:pt idx="1577">
                  <c:v>1.3172395999999999E-2</c:v>
                </c:pt>
                <c:pt idx="1578">
                  <c:v>1.3163622E-2</c:v>
                </c:pt>
                <c:pt idx="1579">
                  <c:v>1.3146985999999999E-2</c:v>
                </c:pt>
                <c:pt idx="1580">
                  <c:v>1.3125184999999999E-2</c:v>
                </c:pt>
                <c:pt idx="1581">
                  <c:v>1.3109262999999999E-2</c:v>
                </c:pt>
                <c:pt idx="1582">
                  <c:v>1.308106E-2</c:v>
                </c:pt>
                <c:pt idx="1583">
                  <c:v>1.3052939E-2</c:v>
                </c:pt>
                <c:pt idx="1584">
                  <c:v>1.304051E-2</c:v>
                </c:pt>
                <c:pt idx="1585">
                  <c:v>1.3026338E-2</c:v>
                </c:pt>
                <c:pt idx="1586">
                  <c:v>1.3012197E-2</c:v>
                </c:pt>
                <c:pt idx="1587">
                  <c:v>1.3000051E-2</c:v>
                </c:pt>
                <c:pt idx="1588">
                  <c:v>1.2974542E-2</c:v>
                </c:pt>
                <c:pt idx="1589">
                  <c:v>1.2961574999999999E-2</c:v>
                </c:pt>
                <c:pt idx="1590">
                  <c:v>1.2947877999999999E-2</c:v>
                </c:pt>
                <c:pt idx="1591">
                  <c:v>1.2943957000000001E-2</c:v>
                </c:pt>
                <c:pt idx="1592">
                  <c:v>1.2951221000000001E-2</c:v>
                </c:pt>
                <c:pt idx="1593">
                  <c:v>1.2929418999999999E-2</c:v>
                </c:pt>
                <c:pt idx="1594">
                  <c:v>1.2914727000000001E-2</c:v>
                </c:pt>
                <c:pt idx="1595">
                  <c:v>1.2890614E-2</c:v>
                </c:pt>
                <c:pt idx="1596">
                  <c:v>1.2839118E-2</c:v>
                </c:pt>
                <c:pt idx="1597">
                  <c:v>1.271304E-2</c:v>
                </c:pt>
                <c:pt idx="1598">
                  <c:v>1.2625535E-2</c:v>
                </c:pt>
                <c:pt idx="1599">
                  <c:v>1.2515755999999999E-2</c:v>
                </c:pt>
                <c:pt idx="1600">
                  <c:v>1.234961E-2</c:v>
                </c:pt>
                <c:pt idx="1601">
                  <c:v>1.2190144E-2</c:v>
                </c:pt>
                <c:pt idx="1602">
                  <c:v>1.20406E-2</c:v>
                </c:pt>
                <c:pt idx="1603">
                  <c:v>1.1977977000000001E-2</c:v>
                </c:pt>
                <c:pt idx="1604">
                  <c:v>1.1877448000000001E-2</c:v>
                </c:pt>
                <c:pt idx="1605">
                  <c:v>1.1818476E-2</c:v>
                </c:pt>
                <c:pt idx="1606">
                  <c:v>1.1766966E-2</c:v>
                </c:pt>
                <c:pt idx="1607">
                  <c:v>1.1690568E-2</c:v>
                </c:pt>
                <c:pt idx="1608">
                  <c:v>1.1604306999999999E-2</c:v>
                </c:pt>
                <c:pt idx="1609">
                  <c:v>1.1528231999999999E-2</c:v>
                </c:pt>
                <c:pt idx="1610">
                  <c:v>1.1472527999999999E-2</c:v>
                </c:pt>
                <c:pt idx="1611">
                  <c:v>1.1420072E-2</c:v>
                </c:pt>
                <c:pt idx="1612">
                  <c:v>1.1342873999999999E-2</c:v>
                </c:pt>
                <c:pt idx="1613">
                  <c:v>1.1248088E-2</c:v>
                </c:pt>
                <c:pt idx="1614">
                  <c:v>1.1160196000000001E-2</c:v>
                </c:pt>
                <c:pt idx="1615">
                  <c:v>1.1121516E-2</c:v>
                </c:pt>
                <c:pt idx="1616">
                  <c:v>1.1038582999999999E-2</c:v>
                </c:pt>
                <c:pt idx="1617">
                  <c:v>1.0969351E-2</c:v>
                </c:pt>
                <c:pt idx="1618">
                  <c:v>1.0899514000000001E-2</c:v>
                </c:pt>
                <c:pt idx="1619">
                  <c:v>1.0819987E-2</c:v>
                </c:pt>
                <c:pt idx="1620">
                  <c:v>1.0723452E-2</c:v>
                </c:pt>
                <c:pt idx="1621">
                  <c:v>1.0603862E-2</c:v>
                </c:pt>
                <c:pt idx="1622">
                  <c:v>1.0533363E-2</c:v>
                </c:pt>
                <c:pt idx="1623">
                  <c:v>1.0466155E-2</c:v>
                </c:pt>
                <c:pt idx="1624">
                  <c:v>1.0422153E-2</c:v>
                </c:pt>
                <c:pt idx="1625">
                  <c:v>1.0379545E-2</c:v>
                </c:pt>
                <c:pt idx="1626">
                  <c:v>1.0328452E-2</c:v>
                </c:pt>
                <c:pt idx="1627">
                  <c:v>1.0280927E-2</c:v>
                </c:pt>
                <c:pt idx="1628">
                  <c:v>1.0242236E-2</c:v>
                </c:pt>
                <c:pt idx="1629">
                  <c:v>1.0201788999999999E-2</c:v>
                </c:pt>
                <c:pt idx="1630">
                  <c:v>1.0148844000000001E-2</c:v>
                </c:pt>
                <c:pt idx="1631">
                  <c:v>1.0119481E-2</c:v>
                </c:pt>
                <c:pt idx="1632">
                  <c:v>1.0090567E-2</c:v>
                </c:pt>
                <c:pt idx="1633">
                  <c:v>1.0060713000000001E-2</c:v>
                </c:pt>
                <c:pt idx="1634">
                  <c:v>1.0055835000000001E-2</c:v>
                </c:pt>
                <c:pt idx="1635">
                  <c:v>1.0036191999999999E-2</c:v>
                </c:pt>
                <c:pt idx="1636">
                  <c:v>1.0029138E-2</c:v>
                </c:pt>
                <c:pt idx="1637">
                  <c:v>1.0003794E-2</c:v>
                </c:pt>
                <c:pt idx="1638">
                  <c:v>9.9790480000000008E-3</c:v>
                </c:pt>
                <c:pt idx="1639">
                  <c:v>9.9554440000000008E-3</c:v>
                </c:pt>
                <c:pt idx="1640">
                  <c:v>9.9415400000000004E-3</c:v>
                </c:pt>
                <c:pt idx="1641">
                  <c:v>9.9299969999999994E-3</c:v>
                </c:pt>
                <c:pt idx="1642">
                  <c:v>9.9082679999999996E-3</c:v>
                </c:pt>
                <c:pt idx="1643">
                  <c:v>9.9120049999999998E-3</c:v>
                </c:pt>
                <c:pt idx="1644">
                  <c:v>9.9162130000000001E-3</c:v>
                </c:pt>
                <c:pt idx="1645">
                  <c:v>9.9115910000000008E-3</c:v>
                </c:pt>
                <c:pt idx="1646">
                  <c:v>9.9144300000000001E-3</c:v>
                </c:pt>
                <c:pt idx="1647">
                  <c:v>9.9188709999999992E-3</c:v>
                </c:pt>
                <c:pt idx="1648">
                  <c:v>9.9046819999999997E-3</c:v>
                </c:pt>
                <c:pt idx="1649">
                  <c:v>9.9003839999999999E-3</c:v>
                </c:pt>
                <c:pt idx="1650">
                  <c:v>9.88904E-3</c:v>
                </c:pt>
                <c:pt idx="1651">
                  <c:v>9.8943099999999999E-3</c:v>
                </c:pt>
                <c:pt idx="1652">
                  <c:v>9.8986409999999997E-3</c:v>
                </c:pt>
                <c:pt idx="1653">
                  <c:v>9.9191739999999994E-3</c:v>
                </c:pt>
                <c:pt idx="1654">
                  <c:v>9.9281500000000002E-3</c:v>
                </c:pt>
                <c:pt idx="1655">
                  <c:v>9.9509360000000005E-3</c:v>
                </c:pt>
                <c:pt idx="1656">
                  <c:v>9.9350889999999994E-3</c:v>
                </c:pt>
                <c:pt idx="1657">
                  <c:v>9.9060439999999993E-3</c:v>
                </c:pt>
                <c:pt idx="1658">
                  <c:v>9.8841520000000002E-3</c:v>
                </c:pt>
                <c:pt idx="1659">
                  <c:v>9.8946799999999994E-3</c:v>
                </c:pt>
                <c:pt idx="1660">
                  <c:v>9.8546640000000008E-3</c:v>
                </c:pt>
                <c:pt idx="1661">
                  <c:v>9.8245929999999995E-3</c:v>
                </c:pt>
                <c:pt idx="1662">
                  <c:v>9.8037320000000008E-3</c:v>
                </c:pt>
                <c:pt idx="1663">
                  <c:v>9.7818980000000007E-3</c:v>
                </c:pt>
                <c:pt idx="1664">
                  <c:v>9.7740499999999994E-3</c:v>
                </c:pt>
                <c:pt idx="1665">
                  <c:v>9.7539640000000004E-3</c:v>
                </c:pt>
                <c:pt idx="1666">
                  <c:v>9.7269030000000003E-3</c:v>
                </c:pt>
                <c:pt idx="1667">
                  <c:v>9.7165659999999994E-3</c:v>
                </c:pt>
                <c:pt idx="1668">
                  <c:v>9.7094069999999998E-3</c:v>
                </c:pt>
                <c:pt idx="1669">
                  <c:v>9.6825809999999991E-3</c:v>
                </c:pt>
                <c:pt idx="1670">
                  <c:v>9.6482489999999994E-3</c:v>
                </c:pt>
                <c:pt idx="1671">
                  <c:v>9.6116020000000003E-3</c:v>
                </c:pt>
                <c:pt idx="1672">
                  <c:v>9.5919300000000002E-3</c:v>
                </c:pt>
                <c:pt idx="1673">
                  <c:v>9.5800780000000006E-3</c:v>
                </c:pt>
                <c:pt idx="1674">
                  <c:v>9.5332569999999998E-3</c:v>
                </c:pt>
                <c:pt idx="1675">
                  <c:v>9.4963819999999994E-3</c:v>
                </c:pt>
                <c:pt idx="1676">
                  <c:v>9.4617690000000001E-3</c:v>
                </c:pt>
                <c:pt idx="1677">
                  <c:v>9.4439829999999995E-3</c:v>
                </c:pt>
                <c:pt idx="1678">
                  <c:v>9.4295420000000008E-3</c:v>
                </c:pt>
                <c:pt idx="1679">
                  <c:v>9.4284050000000008E-3</c:v>
                </c:pt>
                <c:pt idx="1680">
                  <c:v>9.3907880000000006E-3</c:v>
                </c:pt>
                <c:pt idx="1681">
                  <c:v>9.3089590000000003E-3</c:v>
                </c:pt>
                <c:pt idx="1682">
                  <c:v>9.2342299999999995E-3</c:v>
                </c:pt>
                <c:pt idx="1683">
                  <c:v>9.1738510000000002E-3</c:v>
                </c:pt>
                <c:pt idx="1684">
                  <c:v>9.1232499999999994E-3</c:v>
                </c:pt>
                <c:pt idx="1685">
                  <c:v>9.0793209999999996E-3</c:v>
                </c:pt>
                <c:pt idx="1686">
                  <c:v>9.0295519999999997E-3</c:v>
                </c:pt>
                <c:pt idx="1687">
                  <c:v>8.9672810000000006E-3</c:v>
                </c:pt>
                <c:pt idx="1688">
                  <c:v>8.9262100000000004E-3</c:v>
                </c:pt>
                <c:pt idx="1689">
                  <c:v>8.8989359999999997E-3</c:v>
                </c:pt>
                <c:pt idx="1690">
                  <c:v>8.8782240000000005E-3</c:v>
                </c:pt>
                <c:pt idx="1691">
                  <c:v>8.8455010000000004E-3</c:v>
                </c:pt>
                <c:pt idx="1692">
                  <c:v>8.7942409999999995E-3</c:v>
                </c:pt>
                <c:pt idx="1693">
                  <c:v>8.7445720000000008E-3</c:v>
                </c:pt>
                <c:pt idx="1694">
                  <c:v>8.6729189999999994E-3</c:v>
                </c:pt>
                <c:pt idx="1695">
                  <c:v>8.6288630000000005E-3</c:v>
                </c:pt>
                <c:pt idx="1696">
                  <c:v>8.5500190000000007E-3</c:v>
                </c:pt>
                <c:pt idx="1697">
                  <c:v>8.5009690000000006E-3</c:v>
                </c:pt>
                <c:pt idx="1698">
                  <c:v>8.4615609999999994E-3</c:v>
                </c:pt>
                <c:pt idx="1699">
                  <c:v>8.416336E-3</c:v>
                </c:pt>
                <c:pt idx="1700">
                  <c:v>8.3879039999999998E-3</c:v>
                </c:pt>
                <c:pt idx="1701">
                  <c:v>8.3615579999999998E-3</c:v>
                </c:pt>
                <c:pt idx="1702">
                  <c:v>8.3163820000000006E-3</c:v>
                </c:pt>
                <c:pt idx="1703">
                  <c:v>8.2811039999999992E-3</c:v>
                </c:pt>
                <c:pt idx="1704">
                  <c:v>8.2610259999999994E-3</c:v>
                </c:pt>
                <c:pt idx="1705">
                  <c:v>8.2790169999999996E-3</c:v>
                </c:pt>
                <c:pt idx="1706">
                  <c:v>8.2787569999999994E-3</c:v>
                </c:pt>
                <c:pt idx="1707">
                  <c:v>8.2695049999999999E-3</c:v>
                </c:pt>
                <c:pt idx="1708">
                  <c:v>8.2480490000000004E-3</c:v>
                </c:pt>
                <c:pt idx="1709">
                  <c:v>8.2267520000000004E-3</c:v>
                </c:pt>
                <c:pt idx="1710">
                  <c:v>8.2070029999999992E-3</c:v>
                </c:pt>
                <c:pt idx="1711">
                  <c:v>8.1763730000000007E-3</c:v>
                </c:pt>
                <c:pt idx="1712">
                  <c:v>8.1356210000000009E-3</c:v>
                </c:pt>
                <c:pt idx="1713">
                  <c:v>8.1181780000000002E-3</c:v>
                </c:pt>
                <c:pt idx="1714">
                  <c:v>8.1041540000000006E-3</c:v>
                </c:pt>
                <c:pt idx="1715">
                  <c:v>8.0752500000000008E-3</c:v>
                </c:pt>
                <c:pt idx="1716">
                  <c:v>8.0014539999999999E-3</c:v>
                </c:pt>
                <c:pt idx="1717">
                  <c:v>7.9633959999999993E-3</c:v>
                </c:pt>
                <c:pt idx="1718">
                  <c:v>7.9460680000000006E-3</c:v>
                </c:pt>
                <c:pt idx="1719">
                  <c:v>7.8987989999999998E-3</c:v>
                </c:pt>
                <c:pt idx="1720">
                  <c:v>7.8516560000000003E-3</c:v>
                </c:pt>
                <c:pt idx="1721">
                  <c:v>7.8245529999999997E-3</c:v>
                </c:pt>
                <c:pt idx="1722">
                  <c:v>7.7913349999999999E-3</c:v>
                </c:pt>
                <c:pt idx="1723">
                  <c:v>7.7795529999999998E-3</c:v>
                </c:pt>
                <c:pt idx="1724">
                  <c:v>7.7503729999999996E-3</c:v>
                </c:pt>
                <c:pt idx="1725">
                  <c:v>7.7123000000000001E-3</c:v>
                </c:pt>
                <c:pt idx="1726">
                  <c:v>7.6991489999999997E-3</c:v>
                </c:pt>
                <c:pt idx="1727">
                  <c:v>7.6848539999999996E-3</c:v>
                </c:pt>
                <c:pt idx="1728">
                  <c:v>7.6611739999999998E-3</c:v>
                </c:pt>
                <c:pt idx="1729">
                  <c:v>7.6454490000000003E-3</c:v>
                </c:pt>
                <c:pt idx="1730">
                  <c:v>7.6323160000000001E-3</c:v>
                </c:pt>
                <c:pt idx="1731">
                  <c:v>7.6417899999999999E-3</c:v>
                </c:pt>
                <c:pt idx="1732">
                  <c:v>7.6398350000000002E-3</c:v>
                </c:pt>
                <c:pt idx="1733">
                  <c:v>7.6624010000000001E-3</c:v>
                </c:pt>
                <c:pt idx="1734">
                  <c:v>7.7031290000000004E-3</c:v>
                </c:pt>
                <c:pt idx="1735">
                  <c:v>7.7124799999999999E-3</c:v>
                </c:pt>
                <c:pt idx="1736">
                  <c:v>7.7177160000000003E-3</c:v>
                </c:pt>
                <c:pt idx="1737">
                  <c:v>7.7062349999999996E-3</c:v>
                </c:pt>
                <c:pt idx="1738">
                  <c:v>7.7242669999999999E-3</c:v>
                </c:pt>
                <c:pt idx="1739">
                  <c:v>7.7548069999999998E-3</c:v>
                </c:pt>
                <c:pt idx="1740">
                  <c:v>7.7702680000000003E-3</c:v>
                </c:pt>
                <c:pt idx="1741">
                  <c:v>7.7829989999999996E-3</c:v>
                </c:pt>
                <c:pt idx="1742">
                  <c:v>7.7935089999999997E-3</c:v>
                </c:pt>
                <c:pt idx="1743">
                  <c:v>7.8122790000000001E-3</c:v>
                </c:pt>
                <c:pt idx="1744">
                  <c:v>7.8277339999999994E-3</c:v>
                </c:pt>
                <c:pt idx="1745">
                  <c:v>7.8415810000000002E-3</c:v>
                </c:pt>
                <c:pt idx="1746">
                  <c:v>7.8953510000000001E-3</c:v>
                </c:pt>
                <c:pt idx="1747">
                  <c:v>7.9246049999999995E-3</c:v>
                </c:pt>
                <c:pt idx="1748">
                  <c:v>7.9280199999999992E-3</c:v>
                </c:pt>
                <c:pt idx="1749">
                  <c:v>7.9394749999999997E-3</c:v>
                </c:pt>
                <c:pt idx="1750">
                  <c:v>7.9534240000000006E-3</c:v>
                </c:pt>
                <c:pt idx="1751">
                  <c:v>7.9674889999999995E-3</c:v>
                </c:pt>
                <c:pt idx="1752">
                  <c:v>7.9698000000000008E-3</c:v>
                </c:pt>
                <c:pt idx="1753">
                  <c:v>7.977563E-3</c:v>
                </c:pt>
                <c:pt idx="1754">
                  <c:v>7.9709220000000001E-3</c:v>
                </c:pt>
                <c:pt idx="1755">
                  <c:v>7.9677689999999995E-3</c:v>
                </c:pt>
                <c:pt idx="1756">
                  <c:v>7.9597420000000006E-3</c:v>
                </c:pt>
                <c:pt idx="1757">
                  <c:v>7.9693549999999991E-3</c:v>
                </c:pt>
                <c:pt idx="1758">
                  <c:v>7.9722899999999999E-3</c:v>
                </c:pt>
                <c:pt idx="1759">
                  <c:v>7.9863499999999997E-3</c:v>
                </c:pt>
                <c:pt idx="1760">
                  <c:v>7.9806619999999995E-3</c:v>
                </c:pt>
                <c:pt idx="1761">
                  <c:v>7.9691919999999999E-3</c:v>
                </c:pt>
                <c:pt idx="1762">
                  <c:v>7.9689140000000006E-3</c:v>
                </c:pt>
                <c:pt idx="1763">
                  <c:v>7.9575110000000004E-3</c:v>
                </c:pt>
                <c:pt idx="1764">
                  <c:v>7.9696349999999992E-3</c:v>
                </c:pt>
                <c:pt idx="1765">
                  <c:v>7.978186E-3</c:v>
                </c:pt>
                <c:pt idx="1766">
                  <c:v>7.9749690000000002E-3</c:v>
                </c:pt>
                <c:pt idx="1767">
                  <c:v>7.9740939999999993E-3</c:v>
                </c:pt>
                <c:pt idx="1768">
                  <c:v>7.9893489999999998E-3</c:v>
                </c:pt>
                <c:pt idx="1769">
                  <c:v>7.9998050000000005E-3</c:v>
                </c:pt>
                <c:pt idx="1770">
                  <c:v>8.019254E-3</c:v>
                </c:pt>
                <c:pt idx="1771">
                  <c:v>7.999272E-3</c:v>
                </c:pt>
                <c:pt idx="1772">
                  <c:v>8.0139310000000002E-3</c:v>
                </c:pt>
                <c:pt idx="1773">
                  <c:v>8.0236730000000003E-3</c:v>
                </c:pt>
                <c:pt idx="1774">
                  <c:v>8.0207760000000003E-3</c:v>
                </c:pt>
                <c:pt idx="1775">
                  <c:v>8.0078560000000007E-3</c:v>
                </c:pt>
                <c:pt idx="1776">
                  <c:v>8.0298729999999999E-3</c:v>
                </c:pt>
                <c:pt idx="1777">
                  <c:v>8.0124480000000001E-3</c:v>
                </c:pt>
                <c:pt idx="1778">
                  <c:v>8.0067409999999995E-3</c:v>
                </c:pt>
                <c:pt idx="1779">
                  <c:v>8.0092779999999999E-3</c:v>
                </c:pt>
                <c:pt idx="1780">
                  <c:v>8.000208E-3</c:v>
                </c:pt>
                <c:pt idx="1781">
                  <c:v>8.0026790000000004E-3</c:v>
                </c:pt>
                <c:pt idx="1782">
                  <c:v>8.0050429999999999E-3</c:v>
                </c:pt>
                <c:pt idx="1783">
                  <c:v>7.9926509999999999E-3</c:v>
                </c:pt>
                <c:pt idx="1784">
                  <c:v>7.9905659999999993E-3</c:v>
                </c:pt>
                <c:pt idx="1785">
                  <c:v>7.9808320000000002E-3</c:v>
                </c:pt>
                <c:pt idx="1786">
                  <c:v>7.9697369999999993E-3</c:v>
                </c:pt>
                <c:pt idx="1787">
                  <c:v>7.9622340000000003E-3</c:v>
                </c:pt>
                <c:pt idx="1788">
                  <c:v>7.9548880000000002E-3</c:v>
                </c:pt>
                <c:pt idx="1789">
                  <c:v>7.9497130000000006E-3</c:v>
                </c:pt>
                <c:pt idx="1790">
                  <c:v>7.9495079999999992E-3</c:v>
                </c:pt>
                <c:pt idx="1791">
                  <c:v>7.9580169999999995E-3</c:v>
                </c:pt>
                <c:pt idx="1792">
                  <c:v>7.9399829999999994E-3</c:v>
                </c:pt>
                <c:pt idx="1793">
                  <c:v>7.9360300000000002E-3</c:v>
                </c:pt>
                <c:pt idx="1794">
                  <c:v>7.9418860000000004E-3</c:v>
                </c:pt>
                <c:pt idx="1795">
                  <c:v>7.9602049999999997E-3</c:v>
                </c:pt>
                <c:pt idx="1796">
                  <c:v>7.9576219999999993E-3</c:v>
                </c:pt>
                <c:pt idx="1797">
                  <c:v>7.9655850000000007E-3</c:v>
                </c:pt>
                <c:pt idx="1798">
                  <c:v>7.9739059999999994E-3</c:v>
                </c:pt>
                <c:pt idx="1799">
                  <c:v>7.9902819999999996E-3</c:v>
                </c:pt>
                <c:pt idx="1800">
                  <c:v>7.9967920000000008E-3</c:v>
                </c:pt>
                <c:pt idx="1801">
                  <c:v>7.9850870000000001E-3</c:v>
                </c:pt>
                <c:pt idx="1802">
                  <c:v>7.9512960000000001E-3</c:v>
                </c:pt>
                <c:pt idx="1803">
                  <c:v>7.9309529999999993E-3</c:v>
                </c:pt>
                <c:pt idx="1804">
                  <c:v>7.907809E-3</c:v>
                </c:pt>
                <c:pt idx="1805">
                  <c:v>7.8841650000000003E-3</c:v>
                </c:pt>
                <c:pt idx="1806">
                  <c:v>7.8715810000000008E-3</c:v>
                </c:pt>
                <c:pt idx="1807">
                  <c:v>7.8490120000000007E-3</c:v>
                </c:pt>
                <c:pt idx="1808">
                  <c:v>7.8419000000000006E-3</c:v>
                </c:pt>
                <c:pt idx="1809">
                  <c:v>7.8362620000000001E-3</c:v>
                </c:pt>
                <c:pt idx="1810">
                  <c:v>7.8302819999999992E-3</c:v>
                </c:pt>
                <c:pt idx="1811">
                  <c:v>7.8182349999999998E-3</c:v>
                </c:pt>
                <c:pt idx="1812">
                  <c:v>7.8182080000000001E-3</c:v>
                </c:pt>
                <c:pt idx="1813">
                  <c:v>7.82156E-3</c:v>
                </c:pt>
                <c:pt idx="1814">
                  <c:v>7.8171750000000009E-3</c:v>
                </c:pt>
                <c:pt idx="1815">
                  <c:v>7.773935E-3</c:v>
                </c:pt>
                <c:pt idx="1816">
                  <c:v>7.7573529999999998E-3</c:v>
                </c:pt>
                <c:pt idx="1817">
                  <c:v>7.7511389999999998E-3</c:v>
                </c:pt>
                <c:pt idx="1818">
                  <c:v>7.7452399999999996E-3</c:v>
                </c:pt>
                <c:pt idx="1819">
                  <c:v>7.7492619999999998E-3</c:v>
                </c:pt>
                <c:pt idx="1820">
                  <c:v>7.7492569999999998E-3</c:v>
                </c:pt>
                <c:pt idx="1821">
                  <c:v>7.7511029999999996E-3</c:v>
                </c:pt>
                <c:pt idx="1822">
                  <c:v>7.7662520000000004E-3</c:v>
                </c:pt>
                <c:pt idx="1823">
                  <c:v>7.7821840000000001E-3</c:v>
                </c:pt>
                <c:pt idx="1824">
                  <c:v>7.781746E-3</c:v>
                </c:pt>
                <c:pt idx="1825">
                  <c:v>7.7897590000000003E-3</c:v>
                </c:pt>
                <c:pt idx="1826">
                  <c:v>7.8094719999999996E-3</c:v>
                </c:pt>
                <c:pt idx="1827">
                  <c:v>7.8138470000000005E-3</c:v>
                </c:pt>
                <c:pt idx="1828">
                  <c:v>7.8192090000000006E-3</c:v>
                </c:pt>
                <c:pt idx="1829">
                  <c:v>7.8159590000000008E-3</c:v>
                </c:pt>
                <c:pt idx="1830">
                  <c:v>7.8245220000000004E-3</c:v>
                </c:pt>
                <c:pt idx="1831">
                  <c:v>7.8354480000000001E-3</c:v>
                </c:pt>
                <c:pt idx="1832">
                  <c:v>7.8432910000000005E-3</c:v>
                </c:pt>
                <c:pt idx="1833">
                  <c:v>7.8210450000000004E-3</c:v>
                </c:pt>
                <c:pt idx="1834">
                  <c:v>7.8071369999999996E-3</c:v>
                </c:pt>
                <c:pt idx="1835">
                  <c:v>7.791081E-3</c:v>
                </c:pt>
                <c:pt idx="1836">
                  <c:v>7.7828280000000003E-3</c:v>
                </c:pt>
                <c:pt idx="1837">
                  <c:v>7.7792139999999996E-3</c:v>
                </c:pt>
                <c:pt idx="1838">
                  <c:v>7.776687E-3</c:v>
                </c:pt>
                <c:pt idx="1839">
                  <c:v>7.7747170000000004E-3</c:v>
                </c:pt>
                <c:pt idx="1840">
                  <c:v>7.777305E-3</c:v>
                </c:pt>
                <c:pt idx="1841">
                  <c:v>7.7820889999999998E-3</c:v>
                </c:pt>
                <c:pt idx="1842">
                  <c:v>7.7717159999999997E-3</c:v>
                </c:pt>
                <c:pt idx="1843">
                  <c:v>7.7539169999999999E-3</c:v>
                </c:pt>
                <c:pt idx="1844">
                  <c:v>7.7403599999999999E-3</c:v>
                </c:pt>
                <c:pt idx="1845">
                  <c:v>7.7416439999999998E-3</c:v>
                </c:pt>
                <c:pt idx="1846">
                  <c:v>7.7415979999999997E-3</c:v>
                </c:pt>
                <c:pt idx="1847">
                  <c:v>7.724135E-3</c:v>
                </c:pt>
                <c:pt idx="1848">
                  <c:v>7.7288879999999997E-3</c:v>
                </c:pt>
                <c:pt idx="1849">
                  <c:v>7.7272119999999998E-3</c:v>
                </c:pt>
                <c:pt idx="1850">
                  <c:v>7.7278440000000002E-3</c:v>
                </c:pt>
                <c:pt idx="1851">
                  <c:v>7.7080350000000002E-3</c:v>
                </c:pt>
                <c:pt idx="1852">
                  <c:v>7.6819540000000004E-3</c:v>
                </c:pt>
                <c:pt idx="1853">
                  <c:v>7.6491579999999997E-3</c:v>
                </c:pt>
                <c:pt idx="1854">
                  <c:v>7.6402060000000001E-3</c:v>
                </c:pt>
                <c:pt idx="1855">
                  <c:v>7.6098149999999998E-3</c:v>
                </c:pt>
                <c:pt idx="1856">
                  <c:v>7.5965410000000001E-3</c:v>
                </c:pt>
                <c:pt idx="1857">
                  <c:v>7.5783830000000002E-3</c:v>
                </c:pt>
                <c:pt idx="1858">
                  <c:v>7.5596320000000002E-3</c:v>
                </c:pt>
                <c:pt idx="1859">
                  <c:v>7.5269550000000001E-3</c:v>
                </c:pt>
                <c:pt idx="1860">
                  <c:v>7.5108190000000002E-3</c:v>
                </c:pt>
                <c:pt idx="1861">
                  <c:v>7.5112570000000004E-3</c:v>
                </c:pt>
                <c:pt idx="1862">
                  <c:v>7.5009860000000003E-3</c:v>
                </c:pt>
                <c:pt idx="1863">
                  <c:v>7.5017929999999997E-3</c:v>
                </c:pt>
                <c:pt idx="1864">
                  <c:v>7.4913030000000004E-3</c:v>
                </c:pt>
                <c:pt idx="1865">
                  <c:v>7.4952329999999996E-3</c:v>
                </c:pt>
                <c:pt idx="1866">
                  <c:v>7.4882250000000003E-3</c:v>
                </c:pt>
                <c:pt idx="1867">
                  <c:v>7.5375520000000003E-3</c:v>
                </c:pt>
                <c:pt idx="1868">
                  <c:v>7.5464779999999997E-3</c:v>
                </c:pt>
                <c:pt idx="1869">
                  <c:v>7.5565399999999996E-3</c:v>
                </c:pt>
                <c:pt idx="1870">
                  <c:v>7.5624560000000004E-3</c:v>
                </c:pt>
                <c:pt idx="1871">
                  <c:v>7.5732569999999999E-3</c:v>
                </c:pt>
                <c:pt idx="1872">
                  <c:v>7.6005279999999996E-3</c:v>
                </c:pt>
                <c:pt idx="1873">
                  <c:v>7.6186520000000001E-3</c:v>
                </c:pt>
                <c:pt idx="1874">
                  <c:v>7.6240209999999999E-3</c:v>
                </c:pt>
                <c:pt idx="1875">
                  <c:v>7.6363689999999996E-3</c:v>
                </c:pt>
                <c:pt idx="1876">
                  <c:v>7.6539479999999998E-3</c:v>
                </c:pt>
                <c:pt idx="1877">
                  <c:v>7.6653190000000003E-3</c:v>
                </c:pt>
                <c:pt idx="1878">
                  <c:v>7.6637739999999999E-3</c:v>
                </c:pt>
                <c:pt idx="1879">
                  <c:v>7.6350109999999997E-3</c:v>
                </c:pt>
                <c:pt idx="1880">
                  <c:v>7.6318669999999996E-3</c:v>
                </c:pt>
                <c:pt idx="1881">
                  <c:v>7.649192E-3</c:v>
                </c:pt>
                <c:pt idx="1882">
                  <c:v>7.6760760000000004E-3</c:v>
                </c:pt>
                <c:pt idx="1883">
                  <c:v>7.6752089999999997E-3</c:v>
                </c:pt>
                <c:pt idx="1884">
                  <c:v>7.6805770000000001E-3</c:v>
                </c:pt>
                <c:pt idx="1885">
                  <c:v>7.6980379999999999E-3</c:v>
                </c:pt>
                <c:pt idx="1886">
                  <c:v>7.7142909999999999E-3</c:v>
                </c:pt>
                <c:pt idx="1887">
                  <c:v>7.7182049999999997E-3</c:v>
                </c:pt>
                <c:pt idx="1888">
                  <c:v>7.7242589999999998E-3</c:v>
                </c:pt>
                <c:pt idx="1889">
                  <c:v>7.7238799999999998E-3</c:v>
                </c:pt>
                <c:pt idx="1890">
                  <c:v>7.7247330000000001E-3</c:v>
                </c:pt>
                <c:pt idx="1891">
                  <c:v>7.7378519999999999E-3</c:v>
                </c:pt>
                <c:pt idx="1892">
                  <c:v>7.7425829999999999E-3</c:v>
                </c:pt>
                <c:pt idx="1893">
                  <c:v>7.747477E-3</c:v>
                </c:pt>
                <c:pt idx="1894">
                  <c:v>7.74984E-3</c:v>
                </c:pt>
                <c:pt idx="1895">
                  <c:v>7.7556229999999997E-3</c:v>
                </c:pt>
                <c:pt idx="1896">
                  <c:v>7.7695020000000002E-3</c:v>
                </c:pt>
                <c:pt idx="1897">
                  <c:v>7.7802169999999999E-3</c:v>
                </c:pt>
                <c:pt idx="1898">
                  <c:v>7.7776620000000003E-3</c:v>
                </c:pt>
                <c:pt idx="1899">
                  <c:v>7.7845450000000004E-3</c:v>
                </c:pt>
                <c:pt idx="1900">
                  <c:v>7.7902429999999996E-3</c:v>
                </c:pt>
                <c:pt idx="1901">
                  <c:v>7.8089259999999999E-3</c:v>
                </c:pt>
                <c:pt idx="1902">
                  <c:v>7.8088009999999998E-3</c:v>
                </c:pt>
                <c:pt idx="1903">
                  <c:v>7.8156270000000003E-3</c:v>
                </c:pt>
                <c:pt idx="1904">
                  <c:v>7.8007909999999996E-3</c:v>
                </c:pt>
                <c:pt idx="1905">
                  <c:v>7.7592030000000001E-3</c:v>
                </c:pt>
                <c:pt idx="1906">
                  <c:v>7.7394530000000003E-3</c:v>
                </c:pt>
                <c:pt idx="1907">
                  <c:v>7.7246349999999997E-3</c:v>
                </c:pt>
                <c:pt idx="1908">
                  <c:v>7.7171949999999996E-3</c:v>
                </c:pt>
                <c:pt idx="1909">
                  <c:v>7.7209239999999997E-3</c:v>
                </c:pt>
                <c:pt idx="1910">
                  <c:v>7.6895080000000003E-3</c:v>
                </c:pt>
                <c:pt idx="1911">
                  <c:v>7.6617009999999999E-3</c:v>
                </c:pt>
                <c:pt idx="1912">
                  <c:v>7.6382059999999998E-3</c:v>
                </c:pt>
                <c:pt idx="1913">
                  <c:v>7.6118230000000002E-3</c:v>
                </c:pt>
                <c:pt idx="1914">
                  <c:v>7.5912269999999999E-3</c:v>
                </c:pt>
                <c:pt idx="1915">
                  <c:v>7.588628E-3</c:v>
                </c:pt>
                <c:pt idx="1916">
                  <c:v>7.5766369999999998E-3</c:v>
                </c:pt>
                <c:pt idx="1917">
                  <c:v>7.5631780000000003E-3</c:v>
                </c:pt>
                <c:pt idx="1918">
                  <c:v>7.5390020000000004E-3</c:v>
                </c:pt>
                <c:pt idx="1919">
                  <c:v>7.5254750000000002E-3</c:v>
                </c:pt>
                <c:pt idx="1920">
                  <c:v>7.5151250000000001E-3</c:v>
                </c:pt>
                <c:pt idx="1921">
                  <c:v>7.4938629999999999E-3</c:v>
                </c:pt>
                <c:pt idx="1922">
                  <c:v>7.477834E-3</c:v>
                </c:pt>
                <c:pt idx="1923">
                  <c:v>7.4609860000000002E-3</c:v>
                </c:pt>
                <c:pt idx="1924">
                  <c:v>7.4481620000000004E-3</c:v>
                </c:pt>
                <c:pt idx="1925">
                  <c:v>7.489183E-3</c:v>
                </c:pt>
                <c:pt idx="1926">
                  <c:v>7.4827590000000003E-3</c:v>
                </c:pt>
                <c:pt idx="1927">
                  <c:v>7.5036929999999996E-3</c:v>
                </c:pt>
                <c:pt idx="1928">
                  <c:v>7.5333689999999998E-3</c:v>
                </c:pt>
                <c:pt idx="1929">
                  <c:v>7.5254720000000001E-3</c:v>
                </c:pt>
                <c:pt idx="1930">
                  <c:v>7.5238570000000001E-3</c:v>
                </c:pt>
                <c:pt idx="1931">
                  <c:v>7.4925199999999999E-3</c:v>
                </c:pt>
                <c:pt idx="1932">
                  <c:v>7.5283010000000003E-3</c:v>
                </c:pt>
                <c:pt idx="1933">
                  <c:v>7.5333199999999996E-3</c:v>
                </c:pt>
                <c:pt idx="1934">
                  <c:v>7.5166579999999998E-3</c:v>
                </c:pt>
                <c:pt idx="1935">
                  <c:v>7.5040899999999997E-3</c:v>
                </c:pt>
                <c:pt idx="1936">
                  <c:v>7.5063020000000003E-3</c:v>
                </c:pt>
                <c:pt idx="1937">
                  <c:v>7.521827E-3</c:v>
                </c:pt>
                <c:pt idx="1938">
                  <c:v>7.5080959999999997E-3</c:v>
                </c:pt>
                <c:pt idx="1939">
                  <c:v>7.5217890000000001E-3</c:v>
                </c:pt>
                <c:pt idx="1940">
                  <c:v>7.5220310000000002E-3</c:v>
                </c:pt>
                <c:pt idx="1941">
                  <c:v>7.5269150000000003E-3</c:v>
                </c:pt>
                <c:pt idx="1942">
                  <c:v>7.5292839999999998E-3</c:v>
                </c:pt>
                <c:pt idx="1943">
                  <c:v>7.5422459999999998E-3</c:v>
                </c:pt>
                <c:pt idx="1944">
                  <c:v>7.5676340000000002E-3</c:v>
                </c:pt>
                <c:pt idx="1945">
                  <c:v>7.5850869999999999E-3</c:v>
                </c:pt>
                <c:pt idx="1946">
                  <c:v>7.552474E-3</c:v>
                </c:pt>
                <c:pt idx="1947">
                  <c:v>7.5458239999999996E-3</c:v>
                </c:pt>
                <c:pt idx="1948">
                  <c:v>7.5501919999999998E-3</c:v>
                </c:pt>
                <c:pt idx="1949">
                  <c:v>7.5629269999999997E-3</c:v>
                </c:pt>
                <c:pt idx="1950">
                  <c:v>7.5939689999999999E-3</c:v>
                </c:pt>
                <c:pt idx="1951">
                  <c:v>7.6246650000000001E-3</c:v>
                </c:pt>
                <c:pt idx="1952">
                  <c:v>7.6595580000000003E-3</c:v>
                </c:pt>
                <c:pt idx="1953">
                  <c:v>7.679038E-3</c:v>
                </c:pt>
                <c:pt idx="1954">
                  <c:v>7.715647E-3</c:v>
                </c:pt>
                <c:pt idx="1955">
                  <c:v>7.7559100000000004E-3</c:v>
                </c:pt>
                <c:pt idx="1956">
                  <c:v>7.8064550000000003E-3</c:v>
                </c:pt>
                <c:pt idx="1957">
                  <c:v>7.8264340000000002E-3</c:v>
                </c:pt>
                <c:pt idx="1958">
                  <c:v>7.8874329999999993E-3</c:v>
                </c:pt>
                <c:pt idx="1959">
                  <c:v>7.8854730000000005E-3</c:v>
                </c:pt>
                <c:pt idx="1960">
                  <c:v>7.9308020000000007E-3</c:v>
                </c:pt>
                <c:pt idx="1961">
                  <c:v>7.9923849999999994E-3</c:v>
                </c:pt>
                <c:pt idx="1962">
                  <c:v>8.0447709999999992E-3</c:v>
                </c:pt>
                <c:pt idx="1963">
                  <c:v>8.0868290000000002E-3</c:v>
                </c:pt>
                <c:pt idx="1964">
                  <c:v>8.1254310000000007E-3</c:v>
                </c:pt>
                <c:pt idx="1965">
                  <c:v>8.1895000000000006E-3</c:v>
                </c:pt>
                <c:pt idx="1966">
                  <c:v>8.252512E-3</c:v>
                </c:pt>
                <c:pt idx="1967">
                  <c:v>8.2900820000000007E-3</c:v>
                </c:pt>
                <c:pt idx="1968">
                  <c:v>8.3198609999999996E-3</c:v>
                </c:pt>
                <c:pt idx="1969">
                  <c:v>8.3447020000000007E-3</c:v>
                </c:pt>
                <c:pt idx="1970">
                  <c:v>8.3515699999999991E-3</c:v>
                </c:pt>
                <c:pt idx="1971">
                  <c:v>8.3624000000000007E-3</c:v>
                </c:pt>
                <c:pt idx="1972">
                  <c:v>8.3553129999999996E-3</c:v>
                </c:pt>
                <c:pt idx="1973">
                  <c:v>8.3882929999999998E-3</c:v>
                </c:pt>
                <c:pt idx="1974">
                  <c:v>8.3966219999999994E-3</c:v>
                </c:pt>
                <c:pt idx="1975">
                  <c:v>8.4012380000000001E-3</c:v>
                </c:pt>
                <c:pt idx="1976">
                  <c:v>8.4053249999999999E-3</c:v>
                </c:pt>
                <c:pt idx="1977">
                  <c:v>8.4148069999999998E-3</c:v>
                </c:pt>
                <c:pt idx="1978">
                  <c:v>8.4424889999999992E-3</c:v>
                </c:pt>
                <c:pt idx="1979">
                  <c:v>8.4525620000000003E-3</c:v>
                </c:pt>
                <c:pt idx="1980">
                  <c:v>8.4978520000000002E-3</c:v>
                </c:pt>
                <c:pt idx="1981">
                  <c:v>8.5312779999999998E-3</c:v>
                </c:pt>
                <c:pt idx="1982">
                  <c:v>8.5761110000000008E-3</c:v>
                </c:pt>
                <c:pt idx="1983">
                  <c:v>8.6228980000000004E-3</c:v>
                </c:pt>
                <c:pt idx="1984">
                  <c:v>8.6298069999999998E-3</c:v>
                </c:pt>
                <c:pt idx="1985">
                  <c:v>8.6350039999999999E-3</c:v>
                </c:pt>
                <c:pt idx="1986">
                  <c:v>8.6575290000000006E-3</c:v>
                </c:pt>
                <c:pt idx="1987">
                  <c:v>8.6647019999999998E-3</c:v>
                </c:pt>
                <c:pt idx="1988">
                  <c:v>8.6692609999999993E-3</c:v>
                </c:pt>
                <c:pt idx="1989">
                  <c:v>8.7112849999999992E-3</c:v>
                </c:pt>
                <c:pt idx="1990">
                  <c:v>8.7269349999999999E-3</c:v>
                </c:pt>
                <c:pt idx="1991">
                  <c:v>8.7353340000000008E-3</c:v>
                </c:pt>
                <c:pt idx="1992">
                  <c:v>8.7803269999999992E-3</c:v>
                </c:pt>
                <c:pt idx="1993">
                  <c:v>8.8060819999999998E-3</c:v>
                </c:pt>
                <c:pt idx="1994">
                  <c:v>8.8061719999999993E-3</c:v>
                </c:pt>
                <c:pt idx="1995">
                  <c:v>8.7974720000000006E-3</c:v>
                </c:pt>
                <c:pt idx="1996">
                  <c:v>8.8154419999999997E-3</c:v>
                </c:pt>
                <c:pt idx="1997">
                  <c:v>8.8309219999999997E-3</c:v>
                </c:pt>
                <c:pt idx="1998">
                  <c:v>8.8750570000000004E-3</c:v>
                </c:pt>
                <c:pt idx="1999">
                  <c:v>8.8768960000000004E-3</c:v>
                </c:pt>
                <c:pt idx="2000">
                  <c:v>8.8838660000000007E-3</c:v>
                </c:pt>
                <c:pt idx="2001">
                  <c:v>8.9016670000000003E-3</c:v>
                </c:pt>
                <c:pt idx="2002">
                  <c:v>8.9120320000000003E-3</c:v>
                </c:pt>
                <c:pt idx="2003">
                  <c:v>8.9136330000000007E-3</c:v>
                </c:pt>
                <c:pt idx="2004">
                  <c:v>8.9189839999999996E-3</c:v>
                </c:pt>
                <c:pt idx="2005">
                  <c:v>8.9220540000000004E-3</c:v>
                </c:pt>
                <c:pt idx="2006">
                  <c:v>8.9138140000000008E-3</c:v>
                </c:pt>
                <c:pt idx="2007">
                  <c:v>8.9114989999999998E-3</c:v>
                </c:pt>
                <c:pt idx="2008">
                  <c:v>8.9107630000000004E-3</c:v>
                </c:pt>
                <c:pt idx="2009">
                  <c:v>8.9265490000000006E-3</c:v>
                </c:pt>
                <c:pt idx="2010">
                  <c:v>8.9354670000000008E-3</c:v>
                </c:pt>
                <c:pt idx="2011">
                  <c:v>8.9464209999999995E-3</c:v>
                </c:pt>
                <c:pt idx="2012">
                  <c:v>8.9822789999999993E-3</c:v>
                </c:pt>
                <c:pt idx="2013">
                  <c:v>8.9994640000000004E-3</c:v>
                </c:pt>
                <c:pt idx="2014">
                  <c:v>9.0246949999999992E-3</c:v>
                </c:pt>
                <c:pt idx="2015">
                  <c:v>9.0521539999999998E-3</c:v>
                </c:pt>
                <c:pt idx="2016">
                  <c:v>9.0760029999999992E-3</c:v>
                </c:pt>
                <c:pt idx="2017">
                  <c:v>9.080042E-3</c:v>
                </c:pt>
                <c:pt idx="2018">
                  <c:v>9.0858399999999995E-3</c:v>
                </c:pt>
                <c:pt idx="2019">
                  <c:v>9.1062569999999995E-3</c:v>
                </c:pt>
                <c:pt idx="2020">
                  <c:v>9.1285199999999993E-3</c:v>
                </c:pt>
                <c:pt idx="2021">
                  <c:v>9.1444720000000007E-3</c:v>
                </c:pt>
                <c:pt idx="2022">
                  <c:v>9.1516089999999998E-3</c:v>
                </c:pt>
                <c:pt idx="2023">
                  <c:v>9.1558820000000006E-3</c:v>
                </c:pt>
                <c:pt idx="2024">
                  <c:v>9.1650610000000004E-3</c:v>
                </c:pt>
                <c:pt idx="2025">
                  <c:v>9.1789639999999995E-3</c:v>
                </c:pt>
                <c:pt idx="2026">
                  <c:v>9.1778769999999992E-3</c:v>
                </c:pt>
                <c:pt idx="2027">
                  <c:v>9.1828959999999994E-3</c:v>
                </c:pt>
                <c:pt idx="2028">
                  <c:v>9.2040899999999998E-3</c:v>
                </c:pt>
                <c:pt idx="2029">
                  <c:v>9.2405739999999997E-3</c:v>
                </c:pt>
                <c:pt idx="2030">
                  <c:v>9.2769129999999995E-3</c:v>
                </c:pt>
                <c:pt idx="2031">
                  <c:v>9.2962970000000002E-3</c:v>
                </c:pt>
                <c:pt idx="2032">
                  <c:v>9.3214370000000001E-3</c:v>
                </c:pt>
                <c:pt idx="2033">
                  <c:v>9.3633829999999994E-3</c:v>
                </c:pt>
                <c:pt idx="2034">
                  <c:v>9.3839860000000004E-3</c:v>
                </c:pt>
                <c:pt idx="2035">
                  <c:v>9.4133970000000004E-3</c:v>
                </c:pt>
                <c:pt idx="2036">
                  <c:v>9.4550869999999992E-3</c:v>
                </c:pt>
                <c:pt idx="2037">
                  <c:v>9.4900200000000001E-3</c:v>
                </c:pt>
                <c:pt idx="2038">
                  <c:v>9.5191609999999999E-3</c:v>
                </c:pt>
                <c:pt idx="2039">
                  <c:v>9.5374489999999999E-3</c:v>
                </c:pt>
                <c:pt idx="2040">
                  <c:v>9.5547459999999994E-3</c:v>
                </c:pt>
                <c:pt idx="2041">
                  <c:v>9.5804659999999993E-3</c:v>
                </c:pt>
                <c:pt idx="2042">
                  <c:v>9.5906829999999992E-3</c:v>
                </c:pt>
                <c:pt idx="2043">
                  <c:v>9.5954349999999994E-3</c:v>
                </c:pt>
                <c:pt idx="2044">
                  <c:v>9.6115980000000007E-3</c:v>
                </c:pt>
                <c:pt idx="2045">
                  <c:v>9.6392609999999997E-3</c:v>
                </c:pt>
                <c:pt idx="2046">
                  <c:v>9.6559179999999994E-3</c:v>
                </c:pt>
                <c:pt idx="2047">
                  <c:v>9.6652860000000004E-3</c:v>
                </c:pt>
                <c:pt idx="2048">
                  <c:v>9.6659299999999997E-3</c:v>
                </c:pt>
                <c:pt idx="2049">
                  <c:v>9.6732720000000001E-3</c:v>
                </c:pt>
                <c:pt idx="2050">
                  <c:v>9.6921690000000005E-3</c:v>
                </c:pt>
                <c:pt idx="2051">
                  <c:v>9.7208840000000008E-3</c:v>
                </c:pt>
                <c:pt idx="2052">
                  <c:v>9.7732840000000001E-3</c:v>
                </c:pt>
                <c:pt idx="2053">
                  <c:v>9.8407860000000007E-3</c:v>
                </c:pt>
                <c:pt idx="2054">
                  <c:v>9.8785339999999996E-3</c:v>
                </c:pt>
                <c:pt idx="2055">
                  <c:v>9.9135739999999997E-3</c:v>
                </c:pt>
                <c:pt idx="2056">
                  <c:v>9.9509019999999993E-3</c:v>
                </c:pt>
                <c:pt idx="2057">
                  <c:v>9.9734049999999994E-3</c:v>
                </c:pt>
                <c:pt idx="2058">
                  <c:v>9.9942299999999998E-3</c:v>
                </c:pt>
                <c:pt idx="2059">
                  <c:v>1.0018005999999999E-2</c:v>
                </c:pt>
                <c:pt idx="2060">
                  <c:v>1.0045531E-2</c:v>
                </c:pt>
                <c:pt idx="2061">
                  <c:v>1.005928E-2</c:v>
                </c:pt>
                <c:pt idx="2062">
                  <c:v>1.0080132E-2</c:v>
                </c:pt>
                <c:pt idx="2063">
                  <c:v>1.0079816E-2</c:v>
                </c:pt>
                <c:pt idx="2064">
                  <c:v>1.0098350000000001E-2</c:v>
                </c:pt>
                <c:pt idx="2065">
                  <c:v>1.0173049E-2</c:v>
                </c:pt>
                <c:pt idx="2066">
                  <c:v>1.0218675E-2</c:v>
                </c:pt>
                <c:pt idx="2067">
                  <c:v>1.0200766E-2</c:v>
                </c:pt>
                <c:pt idx="2068">
                  <c:v>1.0204059999999999E-2</c:v>
                </c:pt>
                <c:pt idx="2069">
                  <c:v>1.0221533E-2</c:v>
                </c:pt>
                <c:pt idx="2070">
                  <c:v>1.0231195E-2</c:v>
                </c:pt>
                <c:pt idx="2071">
                  <c:v>1.0254812E-2</c:v>
                </c:pt>
                <c:pt idx="2072">
                  <c:v>1.0248039E-2</c:v>
                </c:pt>
                <c:pt idx="2073">
                  <c:v>1.0266169E-2</c:v>
                </c:pt>
                <c:pt idx="2074">
                  <c:v>1.0293794E-2</c:v>
                </c:pt>
                <c:pt idx="2075">
                  <c:v>1.0315695E-2</c:v>
                </c:pt>
                <c:pt idx="2076">
                  <c:v>1.0317834999999999E-2</c:v>
                </c:pt>
                <c:pt idx="2077">
                  <c:v>1.0327543E-2</c:v>
                </c:pt>
                <c:pt idx="2078">
                  <c:v>1.0341952999999999E-2</c:v>
                </c:pt>
                <c:pt idx="2079">
                  <c:v>1.0358802E-2</c:v>
                </c:pt>
                <c:pt idx="2080">
                  <c:v>1.0384163E-2</c:v>
                </c:pt>
                <c:pt idx="2081">
                  <c:v>1.0386941E-2</c:v>
                </c:pt>
                <c:pt idx="2082">
                  <c:v>1.0380276000000001E-2</c:v>
                </c:pt>
                <c:pt idx="2083">
                  <c:v>1.041855E-2</c:v>
                </c:pt>
                <c:pt idx="2084">
                  <c:v>1.0446657E-2</c:v>
                </c:pt>
                <c:pt idx="2085">
                  <c:v>1.0451293E-2</c:v>
                </c:pt>
                <c:pt idx="2086">
                  <c:v>1.0467127E-2</c:v>
                </c:pt>
                <c:pt idx="2087">
                  <c:v>1.0511352999999999E-2</c:v>
                </c:pt>
                <c:pt idx="2088">
                  <c:v>1.0544593E-2</c:v>
                </c:pt>
                <c:pt idx="2089">
                  <c:v>1.0575516E-2</c:v>
                </c:pt>
                <c:pt idx="2090">
                  <c:v>1.0591595000000001E-2</c:v>
                </c:pt>
                <c:pt idx="2091">
                  <c:v>1.0650313E-2</c:v>
                </c:pt>
                <c:pt idx="2092">
                  <c:v>1.0678643E-2</c:v>
                </c:pt>
                <c:pt idx="2093">
                  <c:v>1.0710747E-2</c:v>
                </c:pt>
                <c:pt idx="2094">
                  <c:v>1.0726515000000001E-2</c:v>
                </c:pt>
                <c:pt idx="2095">
                  <c:v>1.0739535E-2</c:v>
                </c:pt>
                <c:pt idx="2096">
                  <c:v>1.075841E-2</c:v>
                </c:pt>
                <c:pt idx="2097">
                  <c:v>1.0781562999999999E-2</c:v>
                </c:pt>
                <c:pt idx="2098">
                  <c:v>1.0809185000000001E-2</c:v>
                </c:pt>
                <c:pt idx="2099">
                  <c:v>1.0845133E-2</c:v>
                </c:pt>
                <c:pt idx="2100">
                  <c:v>1.0860023999999999E-2</c:v>
                </c:pt>
                <c:pt idx="2101">
                  <c:v>1.0874351000000001E-2</c:v>
                </c:pt>
                <c:pt idx="2102">
                  <c:v>1.090265E-2</c:v>
                </c:pt>
                <c:pt idx="2103">
                  <c:v>1.0929276E-2</c:v>
                </c:pt>
                <c:pt idx="2104">
                  <c:v>1.0952788999999999E-2</c:v>
                </c:pt>
                <c:pt idx="2105">
                  <c:v>1.0969985E-2</c:v>
                </c:pt>
                <c:pt idx="2106">
                  <c:v>1.0996723999999999E-2</c:v>
                </c:pt>
                <c:pt idx="2107">
                  <c:v>1.110325E-2</c:v>
                </c:pt>
                <c:pt idx="2108">
                  <c:v>1.1198534E-2</c:v>
                </c:pt>
                <c:pt idx="2109">
                  <c:v>1.1298229E-2</c:v>
                </c:pt>
                <c:pt idx="2110">
                  <c:v>1.139563E-2</c:v>
                </c:pt>
                <c:pt idx="2111">
                  <c:v>1.1455636E-2</c:v>
                </c:pt>
                <c:pt idx="2112">
                  <c:v>1.1518700999999999E-2</c:v>
                </c:pt>
                <c:pt idx="2113">
                  <c:v>1.1577499999999999E-2</c:v>
                </c:pt>
                <c:pt idx="2114">
                  <c:v>1.1618135999999999E-2</c:v>
                </c:pt>
                <c:pt idx="2115">
                  <c:v>1.1657192E-2</c:v>
                </c:pt>
                <c:pt idx="2116">
                  <c:v>1.171899E-2</c:v>
                </c:pt>
                <c:pt idx="2117">
                  <c:v>1.1767173000000001E-2</c:v>
                </c:pt>
                <c:pt idx="2118">
                  <c:v>1.1814758999999999E-2</c:v>
                </c:pt>
                <c:pt idx="2119">
                  <c:v>1.1841309E-2</c:v>
                </c:pt>
                <c:pt idx="2120">
                  <c:v>1.1859761E-2</c:v>
                </c:pt>
                <c:pt idx="2121">
                  <c:v>1.1900344E-2</c:v>
                </c:pt>
                <c:pt idx="2122">
                  <c:v>1.192641E-2</c:v>
                </c:pt>
                <c:pt idx="2123">
                  <c:v>1.1957107999999999E-2</c:v>
                </c:pt>
                <c:pt idx="2124">
                  <c:v>1.1997923000000001E-2</c:v>
                </c:pt>
                <c:pt idx="2125">
                  <c:v>1.1997214000000001E-2</c:v>
                </c:pt>
                <c:pt idx="2126">
                  <c:v>1.2016338E-2</c:v>
                </c:pt>
                <c:pt idx="2127">
                  <c:v>1.2015523E-2</c:v>
                </c:pt>
                <c:pt idx="2128">
                  <c:v>1.2002831E-2</c:v>
                </c:pt>
                <c:pt idx="2129">
                  <c:v>1.2005452999999999E-2</c:v>
                </c:pt>
                <c:pt idx="2130">
                  <c:v>1.2028057999999999E-2</c:v>
                </c:pt>
                <c:pt idx="2131">
                  <c:v>1.2054225999999999E-2</c:v>
                </c:pt>
                <c:pt idx="2132">
                  <c:v>1.2025063000000001E-2</c:v>
                </c:pt>
                <c:pt idx="2133">
                  <c:v>1.1995257E-2</c:v>
                </c:pt>
                <c:pt idx="2134">
                  <c:v>1.1984051000000001E-2</c:v>
                </c:pt>
                <c:pt idx="2135">
                  <c:v>1.1976245E-2</c:v>
                </c:pt>
                <c:pt idx="2136">
                  <c:v>1.2011628999999999E-2</c:v>
                </c:pt>
                <c:pt idx="2137">
                  <c:v>1.2032912999999999E-2</c:v>
                </c:pt>
                <c:pt idx="2138">
                  <c:v>1.2055084000000001E-2</c:v>
                </c:pt>
                <c:pt idx="2139">
                  <c:v>1.2029003999999999E-2</c:v>
                </c:pt>
                <c:pt idx="2140">
                  <c:v>1.2014181000000001E-2</c:v>
                </c:pt>
                <c:pt idx="2141">
                  <c:v>1.2006507E-2</c:v>
                </c:pt>
                <c:pt idx="2142">
                  <c:v>1.2000288E-2</c:v>
                </c:pt>
                <c:pt idx="2143">
                  <c:v>1.1972284E-2</c:v>
                </c:pt>
                <c:pt idx="2144">
                  <c:v>1.1932368E-2</c:v>
                </c:pt>
                <c:pt idx="2145">
                  <c:v>1.1903123E-2</c:v>
                </c:pt>
                <c:pt idx="2146">
                  <c:v>1.1882811E-2</c:v>
                </c:pt>
                <c:pt idx="2147">
                  <c:v>1.1871469000000001E-2</c:v>
                </c:pt>
                <c:pt idx="2148">
                  <c:v>1.1857144E-2</c:v>
                </c:pt>
                <c:pt idx="2149">
                  <c:v>1.1861490000000001E-2</c:v>
                </c:pt>
                <c:pt idx="2150">
                  <c:v>1.1870659E-2</c:v>
                </c:pt>
                <c:pt idx="2151">
                  <c:v>1.1855424999999999E-2</c:v>
                </c:pt>
                <c:pt idx="2152">
                  <c:v>1.1835033E-2</c:v>
                </c:pt>
                <c:pt idx="2153">
                  <c:v>1.1842245E-2</c:v>
                </c:pt>
                <c:pt idx="2154">
                  <c:v>1.1835841E-2</c:v>
                </c:pt>
                <c:pt idx="2155">
                  <c:v>1.1816355000000001E-2</c:v>
                </c:pt>
                <c:pt idx="2156">
                  <c:v>1.1764442E-2</c:v>
                </c:pt>
                <c:pt idx="2157">
                  <c:v>1.1755174E-2</c:v>
                </c:pt>
                <c:pt idx="2158">
                  <c:v>1.172307E-2</c:v>
                </c:pt>
                <c:pt idx="2159">
                  <c:v>1.1720763E-2</c:v>
                </c:pt>
                <c:pt idx="2160">
                  <c:v>1.1734949E-2</c:v>
                </c:pt>
                <c:pt idx="2161">
                  <c:v>1.1703641000000001E-2</c:v>
                </c:pt>
                <c:pt idx="2162">
                  <c:v>1.1695702000000001E-2</c:v>
                </c:pt>
                <c:pt idx="2163">
                  <c:v>1.1676005999999999E-2</c:v>
                </c:pt>
                <c:pt idx="2164">
                  <c:v>1.1637546E-2</c:v>
                </c:pt>
                <c:pt idx="2165">
                  <c:v>1.1572211000000001E-2</c:v>
                </c:pt>
                <c:pt idx="2166">
                  <c:v>1.1524057000000001E-2</c:v>
                </c:pt>
                <c:pt idx="2167">
                  <c:v>1.1505792000000001E-2</c:v>
                </c:pt>
                <c:pt idx="2168">
                  <c:v>1.1461041999999999E-2</c:v>
                </c:pt>
                <c:pt idx="2169">
                  <c:v>1.143044E-2</c:v>
                </c:pt>
                <c:pt idx="2170">
                  <c:v>1.1410653E-2</c:v>
                </c:pt>
                <c:pt idx="2171">
                  <c:v>1.1378965E-2</c:v>
                </c:pt>
                <c:pt idx="2172">
                  <c:v>1.1347085999999999E-2</c:v>
                </c:pt>
                <c:pt idx="2173">
                  <c:v>1.1296537000000001E-2</c:v>
                </c:pt>
                <c:pt idx="2174">
                  <c:v>1.1297925E-2</c:v>
                </c:pt>
                <c:pt idx="2175">
                  <c:v>1.1286384E-2</c:v>
                </c:pt>
                <c:pt idx="2176">
                  <c:v>1.1248213999999999E-2</c:v>
                </c:pt>
                <c:pt idx="2177">
                  <c:v>1.1224207E-2</c:v>
                </c:pt>
                <c:pt idx="2178">
                  <c:v>1.1182602E-2</c:v>
                </c:pt>
                <c:pt idx="2179">
                  <c:v>1.1158741999999999E-2</c:v>
                </c:pt>
                <c:pt idx="2180">
                  <c:v>1.1099927000000001E-2</c:v>
                </c:pt>
                <c:pt idx="2181">
                  <c:v>1.1065113E-2</c:v>
                </c:pt>
                <c:pt idx="2182">
                  <c:v>1.1013775E-2</c:v>
                </c:pt>
                <c:pt idx="2183">
                  <c:v>1.0979108E-2</c:v>
                </c:pt>
                <c:pt idx="2184">
                  <c:v>1.0980554E-2</c:v>
                </c:pt>
                <c:pt idx="2185">
                  <c:v>1.0970047E-2</c:v>
                </c:pt>
                <c:pt idx="2186">
                  <c:v>1.0947237E-2</c:v>
                </c:pt>
                <c:pt idx="2187">
                  <c:v>1.0939602E-2</c:v>
                </c:pt>
                <c:pt idx="2188">
                  <c:v>1.0936718E-2</c:v>
                </c:pt>
                <c:pt idx="2189">
                  <c:v>1.0900633999999999E-2</c:v>
                </c:pt>
                <c:pt idx="2190">
                  <c:v>1.0887439E-2</c:v>
                </c:pt>
                <c:pt idx="2191">
                  <c:v>1.087657E-2</c:v>
                </c:pt>
                <c:pt idx="2192">
                  <c:v>1.0832184999999999E-2</c:v>
                </c:pt>
                <c:pt idx="2193">
                  <c:v>1.0810668000000001E-2</c:v>
                </c:pt>
                <c:pt idx="2194">
                  <c:v>1.0793301E-2</c:v>
                </c:pt>
                <c:pt idx="2195">
                  <c:v>1.0774601E-2</c:v>
                </c:pt>
                <c:pt idx="2196">
                  <c:v>1.0770745E-2</c:v>
                </c:pt>
                <c:pt idx="2197">
                  <c:v>1.0760761000000001E-2</c:v>
                </c:pt>
                <c:pt idx="2198">
                  <c:v>1.0723238E-2</c:v>
                </c:pt>
                <c:pt idx="2199">
                  <c:v>1.0731889E-2</c:v>
                </c:pt>
                <c:pt idx="2200">
                  <c:v>1.0735187E-2</c:v>
                </c:pt>
                <c:pt idx="2201">
                  <c:v>1.0728105999999999E-2</c:v>
                </c:pt>
                <c:pt idx="2202">
                  <c:v>1.0721596999999999E-2</c:v>
                </c:pt>
                <c:pt idx="2203">
                  <c:v>1.0715992000000001E-2</c:v>
                </c:pt>
                <c:pt idx="2204">
                  <c:v>1.0734697E-2</c:v>
                </c:pt>
                <c:pt idx="2205">
                  <c:v>1.0772762E-2</c:v>
                </c:pt>
                <c:pt idx="2206">
                  <c:v>1.0796105E-2</c:v>
                </c:pt>
                <c:pt idx="2207">
                  <c:v>1.0838360999999999E-2</c:v>
                </c:pt>
                <c:pt idx="2208">
                  <c:v>1.0848404000000001E-2</c:v>
                </c:pt>
                <c:pt idx="2209">
                  <c:v>1.0865540999999999E-2</c:v>
                </c:pt>
                <c:pt idx="2210">
                  <c:v>1.0889922E-2</c:v>
                </c:pt>
                <c:pt idx="2211">
                  <c:v>1.0930868999999999E-2</c:v>
                </c:pt>
                <c:pt idx="2212">
                  <c:v>1.0946795E-2</c:v>
                </c:pt>
                <c:pt idx="2213">
                  <c:v>1.0952213000000001E-2</c:v>
                </c:pt>
                <c:pt idx="2214">
                  <c:v>1.0971075E-2</c:v>
                </c:pt>
                <c:pt idx="2215">
                  <c:v>1.0990376E-2</c:v>
                </c:pt>
                <c:pt idx="2216">
                  <c:v>1.1003832999999999E-2</c:v>
                </c:pt>
                <c:pt idx="2217">
                  <c:v>1.1035249E-2</c:v>
                </c:pt>
                <c:pt idx="2218">
                  <c:v>1.1053520000000001E-2</c:v>
                </c:pt>
                <c:pt idx="2219">
                  <c:v>1.1064083000000001E-2</c:v>
                </c:pt>
                <c:pt idx="2220">
                  <c:v>1.1072159999999999E-2</c:v>
                </c:pt>
                <c:pt idx="2221">
                  <c:v>1.1073995E-2</c:v>
                </c:pt>
                <c:pt idx="2222">
                  <c:v>1.1078386000000001E-2</c:v>
                </c:pt>
                <c:pt idx="2223">
                  <c:v>1.1080504E-2</c:v>
                </c:pt>
                <c:pt idx="2224">
                  <c:v>1.1097572E-2</c:v>
                </c:pt>
                <c:pt idx="2225">
                  <c:v>1.1099009E-2</c:v>
                </c:pt>
                <c:pt idx="2226">
                  <c:v>1.1108655E-2</c:v>
                </c:pt>
                <c:pt idx="2227">
                  <c:v>1.1131652000000001E-2</c:v>
                </c:pt>
                <c:pt idx="2228">
                  <c:v>1.112118E-2</c:v>
                </c:pt>
                <c:pt idx="2229">
                  <c:v>1.1097231000000001E-2</c:v>
                </c:pt>
                <c:pt idx="2230">
                  <c:v>1.1068250999999999E-2</c:v>
                </c:pt>
                <c:pt idx="2231">
                  <c:v>1.1054401E-2</c:v>
                </c:pt>
                <c:pt idx="2232">
                  <c:v>1.1044465E-2</c:v>
                </c:pt>
                <c:pt idx="2233">
                  <c:v>1.1058287E-2</c:v>
                </c:pt>
                <c:pt idx="2234">
                  <c:v>1.1089607E-2</c:v>
                </c:pt>
                <c:pt idx="2235">
                  <c:v>1.1099242E-2</c:v>
                </c:pt>
                <c:pt idx="2236">
                  <c:v>1.1072513000000001E-2</c:v>
                </c:pt>
                <c:pt idx="2237">
                  <c:v>1.1065993E-2</c:v>
                </c:pt>
                <c:pt idx="2238">
                  <c:v>1.1065653999999999E-2</c:v>
                </c:pt>
                <c:pt idx="2239">
                  <c:v>1.1062674E-2</c:v>
                </c:pt>
                <c:pt idx="2240">
                  <c:v>1.1055334999999999E-2</c:v>
                </c:pt>
                <c:pt idx="2241">
                  <c:v>1.1050966000000001E-2</c:v>
                </c:pt>
                <c:pt idx="2242">
                  <c:v>1.1070587E-2</c:v>
                </c:pt>
                <c:pt idx="2243">
                  <c:v>1.1068389E-2</c:v>
                </c:pt>
                <c:pt idx="2244">
                  <c:v>1.110132E-2</c:v>
                </c:pt>
                <c:pt idx="2245">
                  <c:v>1.1094135999999999E-2</c:v>
                </c:pt>
                <c:pt idx="2246">
                  <c:v>1.1146589E-2</c:v>
                </c:pt>
                <c:pt idx="2247">
                  <c:v>1.1185466999999999E-2</c:v>
                </c:pt>
                <c:pt idx="2248">
                  <c:v>1.1194426E-2</c:v>
                </c:pt>
                <c:pt idx="2249">
                  <c:v>1.1208175000000001E-2</c:v>
                </c:pt>
                <c:pt idx="2250">
                  <c:v>1.1201656000000001E-2</c:v>
                </c:pt>
                <c:pt idx="2251">
                  <c:v>1.1187846E-2</c:v>
                </c:pt>
                <c:pt idx="2252">
                  <c:v>1.1150738E-2</c:v>
                </c:pt>
                <c:pt idx="2253">
                  <c:v>1.1102392000000001E-2</c:v>
                </c:pt>
                <c:pt idx="2254">
                  <c:v>1.1080494E-2</c:v>
                </c:pt>
                <c:pt idx="2255">
                  <c:v>1.105798E-2</c:v>
                </c:pt>
                <c:pt idx="2256">
                  <c:v>1.1028779000000001E-2</c:v>
                </c:pt>
                <c:pt idx="2257">
                  <c:v>1.102675E-2</c:v>
                </c:pt>
                <c:pt idx="2258">
                  <c:v>1.1019648999999999E-2</c:v>
                </c:pt>
                <c:pt idx="2259">
                  <c:v>1.1003598E-2</c:v>
                </c:pt>
                <c:pt idx="2260">
                  <c:v>1.0986248000000001E-2</c:v>
                </c:pt>
                <c:pt idx="2261">
                  <c:v>1.0979085E-2</c:v>
                </c:pt>
                <c:pt idx="2262">
                  <c:v>1.0970595E-2</c:v>
                </c:pt>
                <c:pt idx="2263">
                  <c:v>1.0969806E-2</c:v>
                </c:pt>
                <c:pt idx="2264">
                  <c:v>1.0956764000000001E-2</c:v>
                </c:pt>
                <c:pt idx="2265">
                  <c:v>1.0885692000000001E-2</c:v>
                </c:pt>
                <c:pt idx="2266">
                  <c:v>1.0871466E-2</c:v>
                </c:pt>
                <c:pt idx="2267">
                  <c:v>1.0855125E-2</c:v>
                </c:pt>
                <c:pt idx="2268">
                  <c:v>1.083544E-2</c:v>
                </c:pt>
                <c:pt idx="2269">
                  <c:v>1.0816744E-2</c:v>
                </c:pt>
                <c:pt idx="2270">
                  <c:v>1.0803237E-2</c:v>
                </c:pt>
                <c:pt idx="2271">
                  <c:v>1.0779603E-2</c:v>
                </c:pt>
                <c:pt idx="2272">
                  <c:v>1.0765126E-2</c:v>
                </c:pt>
                <c:pt idx="2273">
                  <c:v>1.0735374000000001E-2</c:v>
                </c:pt>
                <c:pt idx="2274">
                  <c:v>1.0715673E-2</c:v>
                </c:pt>
                <c:pt idx="2275">
                  <c:v>1.0692613E-2</c:v>
                </c:pt>
                <c:pt idx="2276">
                  <c:v>1.0684568E-2</c:v>
                </c:pt>
                <c:pt idx="2277">
                  <c:v>1.0669659999999999E-2</c:v>
                </c:pt>
                <c:pt idx="2278">
                  <c:v>1.0665351999999999E-2</c:v>
                </c:pt>
                <c:pt idx="2279">
                  <c:v>1.0662401E-2</c:v>
                </c:pt>
                <c:pt idx="2280">
                  <c:v>1.0649749999999999E-2</c:v>
                </c:pt>
                <c:pt idx="2281">
                  <c:v>1.0636474E-2</c:v>
                </c:pt>
                <c:pt idx="2282">
                  <c:v>1.0628314999999999E-2</c:v>
                </c:pt>
                <c:pt idx="2283">
                  <c:v>1.0601798000000001E-2</c:v>
                </c:pt>
                <c:pt idx="2284">
                  <c:v>1.0576261999999999E-2</c:v>
                </c:pt>
                <c:pt idx="2285">
                  <c:v>1.0569326E-2</c:v>
                </c:pt>
                <c:pt idx="2286">
                  <c:v>1.0563177999999999E-2</c:v>
                </c:pt>
                <c:pt idx="2287">
                  <c:v>1.0521048999999999E-2</c:v>
                </c:pt>
                <c:pt idx="2288">
                  <c:v>1.0496592000000001E-2</c:v>
                </c:pt>
                <c:pt idx="2289">
                  <c:v>1.0488725000000001E-2</c:v>
                </c:pt>
                <c:pt idx="2290">
                  <c:v>1.0496727000000001E-2</c:v>
                </c:pt>
                <c:pt idx="2291">
                  <c:v>1.0433316999999999E-2</c:v>
                </c:pt>
                <c:pt idx="2292">
                  <c:v>1.0412164999999999E-2</c:v>
                </c:pt>
                <c:pt idx="2293">
                  <c:v>1.0390508999999999E-2</c:v>
                </c:pt>
                <c:pt idx="2294">
                  <c:v>1.0378403E-2</c:v>
                </c:pt>
                <c:pt idx="2295">
                  <c:v>1.0364936E-2</c:v>
                </c:pt>
                <c:pt idx="2296">
                  <c:v>1.0339269E-2</c:v>
                </c:pt>
                <c:pt idx="2297">
                  <c:v>1.0309407E-2</c:v>
                </c:pt>
                <c:pt idx="2298">
                  <c:v>1.0289471E-2</c:v>
                </c:pt>
                <c:pt idx="2299">
                  <c:v>1.0261576E-2</c:v>
                </c:pt>
                <c:pt idx="2300">
                  <c:v>1.0253366E-2</c:v>
                </c:pt>
                <c:pt idx="2301">
                  <c:v>1.0230357000000001E-2</c:v>
                </c:pt>
                <c:pt idx="2302">
                  <c:v>1.0207332E-2</c:v>
                </c:pt>
                <c:pt idx="2303">
                  <c:v>1.0188357E-2</c:v>
                </c:pt>
                <c:pt idx="2304">
                  <c:v>1.0166003999999999E-2</c:v>
                </c:pt>
                <c:pt idx="2305">
                  <c:v>1.0153633E-2</c:v>
                </c:pt>
                <c:pt idx="2306">
                  <c:v>1.0133812000000001E-2</c:v>
                </c:pt>
                <c:pt idx="2307">
                  <c:v>1.0045752999999999E-2</c:v>
                </c:pt>
                <c:pt idx="2308">
                  <c:v>9.9608140000000001E-3</c:v>
                </c:pt>
                <c:pt idx="2309">
                  <c:v>9.8747650000000006E-3</c:v>
                </c:pt>
                <c:pt idx="2310">
                  <c:v>9.7997910000000004E-3</c:v>
                </c:pt>
                <c:pt idx="2311">
                  <c:v>9.7662280000000001E-3</c:v>
                </c:pt>
                <c:pt idx="2312">
                  <c:v>9.7348049999999992E-3</c:v>
                </c:pt>
                <c:pt idx="2313">
                  <c:v>9.6901290000000005E-3</c:v>
                </c:pt>
                <c:pt idx="2314">
                  <c:v>9.673826E-3</c:v>
                </c:pt>
                <c:pt idx="2315">
                  <c:v>9.6469030000000001E-3</c:v>
                </c:pt>
                <c:pt idx="2316">
                  <c:v>9.6187449999999997E-3</c:v>
                </c:pt>
                <c:pt idx="2317">
                  <c:v>9.6032289999999996E-3</c:v>
                </c:pt>
                <c:pt idx="2318">
                  <c:v>9.6228310000000001E-3</c:v>
                </c:pt>
                <c:pt idx="2319">
                  <c:v>9.6374300000000006E-3</c:v>
                </c:pt>
                <c:pt idx="2320">
                  <c:v>9.7233670000000001E-3</c:v>
                </c:pt>
                <c:pt idx="2321">
                  <c:v>9.7532780000000006E-3</c:v>
                </c:pt>
                <c:pt idx="2322">
                  <c:v>9.7835519999999992E-3</c:v>
                </c:pt>
                <c:pt idx="2323">
                  <c:v>9.7903820000000003E-3</c:v>
                </c:pt>
                <c:pt idx="2324">
                  <c:v>9.8083270000000004E-3</c:v>
                </c:pt>
                <c:pt idx="2325">
                  <c:v>9.8201469999999996E-3</c:v>
                </c:pt>
                <c:pt idx="2326">
                  <c:v>9.8301229999999996E-3</c:v>
                </c:pt>
                <c:pt idx="2327">
                  <c:v>9.842043E-3</c:v>
                </c:pt>
                <c:pt idx="2328">
                  <c:v>9.8700449999999992E-3</c:v>
                </c:pt>
                <c:pt idx="2329">
                  <c:v>9.8877940000000001E-3</c:v>
                </c:pt>
                <c:pt idx="2330">
                  <c:v>9.8878730000000001E-3</c:v>
                </c:pt>
                <c:pt idx="2331">
                  <c:v>9.8838539999999992E-3</c:v>
                </c:pt>
                <c:pt idx="2332">
                  <c:v>9.8833370000000007E-3</c:v>
                </c:pt>
                <c:pt idx="2333">
                  <c:v>9.8953370000000006E-3</c:v>
                </c:pt>
                <c:pt idx="2334">
                  <c:v>9.8987250000000006E-3</c:v>
                </c:pt>
                <c:pt idx="2335">
                  <c:v>9.9214130000000005E-3</c:v>
                </c:pt>
                <c:pt idx="2336">
                  <c:v>9.8981320000000005E-3</c:v>
                </c:pt>
                <c:pt idx="2337">
                  <c:v>9.8811130000000004E-3</c:v>
                </c:pt>
                <c:pt idx="2338">
                  <c:v>9.87648E-3</c:v>
                </c:pt>
                <c:pt idx="2339">
                  <c:v>9.8785920000000003E-3</c:v>
                </c:pt>
                <c:pt idx="2340">
                  <c:v>9.8998260000000005E-3</c:v>
                </c:pt>
                <c:pt idx="2341">
                  <c:v>9.9091400000000003E-3</c:v>
                </c:pt>
                <c:pt idx="2342">
                  <c:v>9.9024030000000006E-3</c:v>
                </c:pt>
                <c:pt idx="2343">
                  <c:v>9.9090170000000009E-3</c:v>
                </c:pt>
                <c:pt idx="2344">
                  <c:v>9.9097249999999994E-3</c:v>
                </c:pt>
                <c:pt idx="2345">
                  <c:v>9.9263939999999998E-3</c:v>
                </c:pt>
                <c:pt idx="2346">
                  <c:v>9.9622849999999995E-3</c:v>
                </c:pt>
                <c:pt idx="2347">
                  <c:v>9.9987759999999992E-3</c:v>
                </c:pt>
                <c:pt idx="2348">
                  <c:v>1.0029043E-2</c:v>
                </c:pt>
                <c:pt idx="2349">
                  <c:v>1.0052688000000001E-2</c:v>
                </c:pt>
                <c:pt idx="2350">
                  <c:v>1.0035540000000001E-2</c:v>
                </c:pt>
                <c:pt idx="2351">
                  <c:v>1.0038755E-2</c:v>
                </c:pt>
                <c:pt idx="2352">
                  <c:v>1.0066983999999999E-2</c:v>
                </c:pt>
                <c:pt idx="2353">
                  <c:v>1.0074949E-2</c:v>
                </c:pt>
                <c:pt idx="2354">
                  <c:v>1.0097996999999999E-2</c:v>
                </c:pt>
                <c:pt idx="2355">
                  <c:v>1.0177277E-2</c:v>
                </c:pt>
                <c:pt idx="2356">
                  <c:v>1.0223939E-2</c:v>
                </c:pt>
                <c:pt idx="2357">
                  <c:v>1.0251045E-2</c:v>
                </c:pt>
                <c:pt idx="2358">
                  <c:v>1.0259008999999999E-2</c:v>
                </c:pt>
                <c:pt idx="2359">
                  <c:v>1.0285345E-2</c:v>
                </c:pt>
                <c:pt idx="2360">
                  <c:v>1.0246722E-2</c:v>
                </c:pt>
                <c:pt idx="2361">
                  <c:v>1.0290128000000001E-2</c:v>
                </c:pt>
                <c:pt idx="2362">
                  <c:v>1.0307103E-2</c:v>
                </c:pt>
                <c:pt idx="2363">
                  <c:v>1.030932E-2</c:v>
                </c:pt>
                <c:pt idx="2364">
                  <c:v>1.0343890999999999E-2</c:v>
                </c:pt>
                <c:pt idx="2365">
                  <c:v>1.037385E-2</c:v>
                </c:pt>
                <c:pt idx="2366">
                  <c:v>1.040717E-2</c:v>
                </c:pt>
                <c:pt idx="2367">
                  <c:v>1.0450509E-2</c:v>
                </c:pt>
                <c:pt idx="2368">
                  <c:v>1.0517156E-2</c:v>
                </c:pt>
                <c:pt idx="2369">
                  <c:v>1.0573281E-2</c:v>
                </c:pt>
                <c:pt idx="2370">
                  <c:v>1.0612758999999999E-2</c:v>
                </c:pt>
                <c:pt idx="2371">
                  <c:v>1.0672103E-2</c:v>
                </c:pt>
                <c:pt idx="2372">
                  <c:v>1.0763208999999999E-2</c:v>
                </c:pt>
                <c:pt idx="2373">
                  <c:v>1.0822284E-2</c:v>
                </c:pt>
                <c:pt idx="2374">
                  <c:v>1.0836775E-2</c:v>
                </c:pt>
                <c:pt idx="2375">
                  <c:v>1.0870395E-2</c:v>
                </c:pt>
                <c:pt idx="2376">
                  <c:v>1.0899284E-2</c:v>
                </c:pt>
                <c:pt idx="2377">
                  <c:v>1.0936779000000001E-2</c:v>
                </c:pt>
                <c:pt idx="2378">
                  <c:v>1.095056E-2</c:v>
                </c:pt>
                <c:pt idx="2379">
                  <c:v>1.0965170999999999E-2</c:v>
                </c:pt>
                <c:pt idx="2380">
                  <c:v>1.1000301000000001E-2</c:v>
                </c:pt>
                <c:pt idx="2381">
                  <c:v>1.1068997000000001E-2</c:v>
                </c:pt>
                <c:pt idx="2382">
                  <c:v>1.1172616999999999E-2</c:v>
                </c:pt>
                <c:pt idx="2383">
                  <c:v>1.1313602000000001E-2</c:v>
                </c:pt>
                <c:pt idx="2384">
                  <c:v>1.1413726000000001E-2</c:v>
                </c:pt>
                <c:pt idx="2385">
                  <c:v>1.1533860999999999E-2</c:v>
                </c:pt>
                <c:pt idx="2386">
                  <c:v>1.1622789999999999E-2</c:v>
                </c:pt>
                <c:pt idx="2387">
                  <c:v>1.168487E-2</c:v>
                </c:pt>
                <c:pt idx="2388">
                  <c:v>1.1802226000000001E-2</c:v>
                </c:pt>
                <c:pt idx="2389">
                  <c:v>1.1945318E-2</c:v>
                </c:pt>
                <c:pt idx="2390">
                  <c:v>1.2164868000000001E-2</c:v>
                </c:pt>
                <c:pt idx="2391">
                  <c:v>1.2268087E-2</c:v>
                </c:pt>
                <c:pt idx="2392">
                  <c:v>1.2389987E-2</c:v>
                </c:pt>
                <c:pt idx="2393">
                  <c:v>1.2475761E-2</c:v>
                </c:pt>
                <c:pt idx="2394">
                  <c:v>1.2563929999999999E-2</c:v>
                </c:pt>
                <c:pt idx="2395">
                  <c:v>1.2642029000000001E-2</c:v>
                </c:pt>
                <c:pt idx="2396">
                  <c:v>1.2674316999999999E-2</c:v>
                </c:pt>
                <c:pt idx="2397">
                  <c:v>1.2706652000000001E-2</c:v>
                </c:pt>
                <c:pt idx="2398">
                  <c:v>1.2771522E-2</c:v>
                </c:pt>
                <c:pt idx="2399">
                  <c:v>1.2925602E-2</c:v>
                </c:pt>
                <c:pt idx="2400">
                  <c:v>1.3042784999999999E-2</c:v>
                </c:pt>
                <c:pt idx="2401">
                  <c:v>1.3184825000000001E-2</c:v>
                </c:pt>
                <c:pt idx="2402">
                  <c:v>1.3353342000000001E-2</c:v>
                </c:pt>
                <c:pt idx="2403">
                  <c:v>1.3528986999999999E-2</c:v>
                </c:pt>
                <c:pt idx="2404">
                  <c:v>1.3673819E-2</c:v>
                </c:pt>
                <c:pt idx="2405">
                  <c:v>1.3804790000000001E-2</c:v>
                </c:pt>
                <c:pt idx="2406">
                  <c:v>1.4007755E-2</c:v>
                </c:pt>
                <c:pt idx="2407">
                  <c:v>1.416602E-2</c:v>
                </c:pt>
                <c:pt idx="2408">
                  <c:v>1.4421407000000001E-2</c:v>
                </c:pt>
                <c:pt idx="2409">
                  <c:v>1.4640347E-2</c:v>
                </c:pt>
                <c:pt idx="2410">
                  <c:v>1.4939528000000001E-2</c:v>
                </c:pt>
                <c:pt idx="2411">
                  <c:v>1.5109433E-2</c:v>
                </c:pt>
                <c:pt idx="2412">
                  <c:v>1.5224613E-2</c:v>
                </c:pt>
                <c:pt idx="2413">
                  <c:v>1.5327406999999999E-2</c:v>
                </c:pt>
                <c:pt idx="2414">
                  <c:v>1.5411924E-2</c:v>
                </c:pt>
                <c:pt idx="2415">
                  <c:v>1.5542368000000001E-2</c:v>
                </c:pt>
                <c:pt idx="2416">
                  <c:v>1.5748036999999999E-2</c:v>
                </c:pt>
                <c:pt idx="2417">
                  <c:v>1.5888262E-2</c:v>
                </c:pt>
                <c:pt idx="2418">
                  <c:v>1.6061031E-2</c:v>
                </c:pt>
                <c:pt idx="2419">
                  <c:v>1.6318492E-2</c:v>
                </c:pt>
                <c:pt idx="2420">
                  <c:v>1.6484525E-2</c:v>
                </c:pt>
                <c:pt idx="2421">
                  <c:v>1.6626661000000001E-2</c:v>
                </c:pt>
                <c:pt idx="2422">
                  <c:v>1.6756942E-2</c:v>
                </c:pt>
                <c:pt idx="2423">
                  <c:v>1.6938278000000001E-2</c:v>
                </c:pt>
                <c:pt idx="2424">
                  <c:v>1.7138219E-2</c:v>
                </c:pt>
                <c:pt idx="2425">
                  <c:v>1.7288794999999999E-2</c:v>
                </c:pt>
                <c:pt idx="2426">
                  <c:v>1.7479113000000001E-2</c:v>
                </c:pt>
                <c:pt idx="2427">
                  <c:v>1.7727667999999999E-2</c:v>
                </c:pt>
                <c:pt idx="2428">
                  <c:v>1.7963515999999999E-2</c:v>
                </c:pt>
                <c:pt idx="2429">
                  <c:v>1.8137244E-2</c:v>
                </c:pt>
                <c:pt idx="2430">
                  <c:v>1.8291180000000001E-2</c:v>
                </c:pt>
                <c:pt idx="2431">
                  <c:v>1.8490619999999999E-2</c:v>
                </c:pt>
                <c:pt idx="2432">
                  <c:v>1.8621024999999999E-2</c:v>
                </c:pt>
                <c:pt idx="2433">
                  <c:v>1.8661127999999999E-2</c:v>
                </c:pt>
                <c:pt idx="2434">
                  <c:v>1.872147E-2</c:v>
                </c:pt>
                <c:pt idx="2435">
                  <c:v>1.8834274000000002E-2</c:v>
                </c:pt>
                <c:pt idx="2436">
                  <c:v>1.8989174000000001E-2</c:v>
                </c:pt>
                <c:pt idx="2437">
                  <c:v>1.9156216E-2</c:v>
                </c:pt>
                <c:pt idx="2438">
                  <c:v>1.930604E-2</c:v>
                </c:pt>
                <c:pt idx="2439">
                  <c:v>1.9492414999999999E-2</c:v>
                </c:pt>
                <c:pt idx="2440">
                  <c:v>1.9632469999999999E-2</c:v>
                </c:pt>
                <c:pt idx="2441">
                  <c:v>1.9770969999999999E-2</c:v>
                </c:pt>
                <c:pt idx="2442">
                  <c:v>1.9873900999999999E-2</c:v>
                </c:pt>
                <c:pt idx="2443">
                  <c:v>2.0028767999999999E-2</c:v>
                </c:pt>
                <c:pt idx="2444">
                  <c:v>2.0085591999999999E-2</c:v>
                </c:pt>
                <c:pt idx="2445">
                  <c:v>2.0168160000000001E-2</c:v>
                </c:pt>
                <c:pt idx="2446">
                  <c:v>2.0193483000000002E-2</c:v>
                </c:pt>
                <c:pt idx="2447">
                  <c:v>2.0264383E-2</c:v>
                </c:pt>
                <c:pt idx="2448">
                  <c:v>2.0368173999999999E-2</c:v>
                </c:pt>
                <c:pt idx="2449">
                  <c:v>2.0459517E-2</c:v>
                </c:pt>
                <c:pt idx="2450">
                  <c:v>2.0616323999999998E-2</c:v>
                </c:pt>
                <c:pt idx="2451">
                  <c:v>2.0728182000000001E-2</c:v>
                </c:pt>
                <c:pt idx="2452">
                  <c:v>2.0827267E-2</c:v>
                </c:pt>
                <c:pt idx="2453">
                  <c:v>2.0910379E-2</c:v>
                </c:pt>
                <c:pt idx="2454">
                  <c:v>2.0972946999999999E-2</c:v>
                </c:pt>
                <c:pt idx="2455">
                  <c:v>2.1051120999999999E-2</c:v>
                </c:pt>
                <c:pt idx="2456">
                  <c:v>2.11655E-2</c:v>
                </c:pt>
                <c:pt idx="2457">
                  <c:v>2.1235021999999999E-2</c:v>
                </c:pt>
                <c:pt idx="2458">
                  <c:v>2.1304699999999999E-2</c:v>
                </c:pt>
                <c:pt idx="2459">
                  <c:v>2.1386790999999999E-2</c:v>
                </c:pt>
                <c:pt idx="2460">
                  <c:v>2.1524657999999999E-2</c:v>
                </c:pt>
                <c:pt idx="2461">
                  <c:v>2.1651905999999999E-2</c:v>
                </c:pt>
                <c:pt idx="2462">
                  <c:v>2.1791260999999999E-2</c:v>
                </c:pt>
                <c:pt idx="2463">
                  <c:v>2.1939697000000001E-2</c:v>
                </c:pt>
                <c:pt idx="2464">
                  <c:v>2.2038179000000001E-2</c:v>
                </c:pt>
                <c:pt idx="2465">
                  <c:v>2.2157834000000001E-2</c:v>
                </c:pt>
                <c:pt idx="2466">
                  <c:v>2.2220476999999999E-2</c:v>
                </c:pt>
                <c:pt idx="2467">
                  <c:v>2.2359732E-2</c:v>
                </c:pt>
                <c:pt idx="2468">
                  <c:v>2.2465659999999998E-2</c:v>
                </c:pt>
                <c:pt idx="2469">
                  <c:v>2.2568279E-2</c:v>
                </c:pt>
                <c:pt idx="2470">
                  <c:v>2.2744903E-2</c:v>
                </c:pt>
                <c:pt idx="2471">
                  <c:v>2.2899286000000001E-2</c:v>
                </c:pt>
                <c:pt idx="2472">
                  <c:v>2.3067081999999999E-2</c:v>
                </c:pt>
                <c:pt idx="2473">
                  <c:v>2.3308718999999999E-2</c:v>
                </c:pt>
                <c:pt idx="2474">
                  <c:v>2.3574523999999999E-2</c:v>
                </c:pt>
                <c:pt idx="2475">
                  <c:v>2.382076E-2</c:v>
                </c:pt>
                <c:pt idx="2476">
                  <c:v>2.4088493999999998E-2</c:v>
                </c:pt>
                <c:pt idx="2477">
                  <c:v>2.4339195000000001E-2</c:v>
                </c:pt>
                <c:pt idx="2478">
                  <c:v>2.4626785000000002E-2</c:v>
                </c:pt>
                <c:pt idx="2479">
                  <c:v>2.4862286000000001E-2</c:v>
                </c:pt>
                <c:pt idx="2480">
                  <c:v>2.5075871E-2</c:v>
                </c:pt>
                <c:pt idx="2481">
                  <c:v>2.5263117000000002E-2</c:v>
                </c:pt>
                <c:pt idx="2482">
                  <c:v>2.5564407000000001E-2</c:v>
                </c:pt>
                <c:pt idx="2483">
                  <c:v>2.5867550999999999E-2</c:v>
                </c:pt>
                <c:pt idx="2484">
                  <c:v>2.6081765999999999E-2</c:v>
                </c:pt>
                <c:pt idx="2485">
                  <c:v>2.6289837999999999E-2</c:v>
                </c:pt>
                <c:pt idx="2486">
                  <c:v>2.6472591E-2</c:v>
                </c:pt>
                <c:pt idx="2487">
                  <c:v>2.6746880000000001E-2</c:v>
                </c:pt>
                <c:pt idx="2488">
                  <c:v>2.7060793E-2</c:v>
                </c:pt>
                <c:pt idx="2489">
                  <c:v>2.7342687000000001E-2</c:v>
                </c:pt>
                <c:pt idx="2490">
                  <c:v>2.7547064E-2</c:v>
                </c:pt>
                <c:pt idx="2491">
                  <c:v>2.783946E-2</c:v>
                </c:pt>
                <c:pt idx="2492">
                  <c:v>2.8124640999999999E-2</c:v>
                </c:pt>
                <c:pt idx="2493">
                  <c:v>2.8437738000000001E-2</c:v>
                </c:pt>
                <c:pt idx="2494">
                  <c:v>2.8705042E-2</c:v>
                </c:pt>
                <c:pt idx="2495">
                  <c:v>2.9069591999999998E-2</c:v>
                </c:pt>
                <c:pt idx="2496">
                  <c:v>2.9524629E-2</c:v>
                </c:pt>
                <c:pt idx="2497">
                  <c:v>2.9849475E-2</c:v>
                </c:pt>
                <c:pt idx="2498">
                  <c:v>3.0180462000000002E-2</c:v>
                </c:pt>
                <c:pt idx="2499">
                  <c:v>3.0479638999999999E-2</c:v>
                </c:pt>
                <c:pt idx="2500">
                  <c:v>3.0768325999999999E-2</c:v>
                </c:pt>
                <c:pt idx="2501">
                  <c:v>3.1092186000000001E-2</c:v>
                </c:pt>
                <c:pt idx="2502">
                  <c:v>3.1503573E-2</c:v>
                </c:pt>
                <c:pt idx="2503">
                  <c:v>3.1747933999999998E-2</c:v>
                </c:pt>
                <c:pt idx="2504">
                  <c:v>3.1996524999999998E-2</c:v>
                </c:pt>
                <c:pt idx="2505">
                  <c:v>3.2229012000000001E-2</c:v>
                </c:pt>
                <c:pt idx="2506">
                  <c:v>3.2519462999999998E-2</c:v>
                </c:pt>
                <c:pt idx="2507">
                  <c:v>3.2744875E-2</c:v>
                </c:pt>
                <c:pt idx="2508">
                  <c:v>3.2914696E-2</c:v>
                </c:pt>
                <c:pt idx="2509">
                  <c:v>3.3087073000000002E-2</c:v>
                </c:pt>
                <c:pt idx="2510">
                  <c:v>3.3304958000000003E-2</c:v>
                </c:pt>
                <c:pt idx="2511">
                  <c:v>3.3516063999999998E-2</c:v>
                </c:pt>
                <c:pt idx="2512">
                  <c:v>3.3707071999999998E-2</c:v>
                </c:pt>
                <c:pt idx="2513">
                  <c:v>3.3900054999999998E-2</c:v>
                </c:pt>
                <c:pt idx="2514">
                  <c:v>3.4081076000000002E-2</c:v>
                </c:pt>
                <c:pt idx="2515">
                  <c:v>3.4221808999999999E-2</c:v>
                </c:pt>
                <c:pt idx="2516">
                  <c:v>3.4384184999999998E-2</c:v>
                </c:pt>
                <c:pt idx="2517">
                  <c:v>3.4568528000000001E-2</c:v>
                </c:pt>
                <c:pt idx="2518">
                  <c:v>3.4674710999999997E-2</c:v>
                </c:pt>
                <c:pt idx="2519">
                  <c:v>3.4912758000000002E-2</c:v>
                </c:pt>
                <c:pt idx="2520">
                  <c:v>3.5097915E-2</c:v>
                </c:pt>
                <c:pt idx="2521">
                  <c:v>3.5330176999999997E-2</c:v>
                </c:pt>
                <c:pt idx="2522">
                  <c:v>3.5552107999999999E-2</c:v>
                </c:pt>
                <c:pt idx="2523">
                  <c:v>3.5867839999999998E-2</c:v>
                </c:pt>
                <c:pt idx="2524">
                  <c:v>3.6073264000000001E-2</c:v>
                </c:pt>
                <c:pt idx="2525">
                  <c:v>3.6282040000000002E-2</c:v>
                </c:pt>
                <c:pt idx="2526">
                  <c:v>3.6486926000000003E-2</c:v>
                </c:pt>
                <c:pt idx="2527">
                  <c:v>3.6683288000000001E-2</c:v>
                </c:pt>
                <c:pt idx="2528">
                  <c:v>3.6936016000000002E-2</c:v>
                </c:pt>
                <c:pt idx="2529">
                  <c:v>3.7226953E-2</c:v>
                </c:pt>
                <c:pt idx="2530">
                  <c:v>3.7610515999999997E-2</c:v>
                </c:pt>
                <c:pt idx="2531">
                  <c:v>3.7948338999999998E-2</c:v>
                </c:pt>
                <c:pt idx="2532">
                  <c:v>3.8165404999999999E-2</c:v>
                </c:pt>
                <c:pt idx="2533">
                  <c:v>3.8351497999999998E-2</c:v>
                </c:pt>
                <c:pt idx="2534">
                  <c:v>3.8559709999999997E-2</c:v>
                </c:pt>
                <c:pt idx="2535">
                  <c:v>3.8780239000000001E-2</c:v>
                </c:pt>
                <c:pt idx="2536">
                  <c:v>3.8967727000000001E-2</c:v>
                </c:pt>
                <c:pt idx="2537">
                  <c:v>3.916037E-2</c:v>
                </c:pt>
                <c:pt idx="2538">
                  <c:v>3.9316292000000003E-2</c:v>
                </c:pt>
                <c:pt idx="2539">
                  <c:v>3.9490656999999998E-2</c:v>
                </c:pt>
                <c:pt idx="2540">
                  <c:v>3.9655375E-2</c:v>
                </c:pt>
                <c:pt idx="2541">
                  <c:v>3.9858379999999999E-2</c:v>
                </c:pt>
                <c:pt idx="2542">
                  <c:v>4.00878E-2</c:v>
                </c:pt>
                <c:pt idx="2543">
                  <c:v>4.0336432999999998E-2</c:v>
                </c:pt>
                <c:pt idx="2544">
                  <c:v>4.0640515000000002E-2</c:v>
                </c:pt>
                <c:pt idx="2545">
                  <c:v>4.0940956000000001E-2</c:v>
                </c:pt>
                <c:pt idx="2546">
                  <c:v>4.1140826999999998E-2</c:v>
                </c:pt>
                <c:pt idx="2547">
                  <c:v>4.1361250000000002E-2</c:v>
                </c:pt>
                <c:pt idx="2548">
                  <c:v>4.1560878000000002E-2</c:v>
                </c:pt>
                <c:pt idx="2549">
                  <c:v>4.1912167E-2</c:v>
                </c:pt>
                <c:pt idx="2550">
                  <c:v>4.2291484999999997E-2</c:v>
                </c:pt>
                <c:pt idx="2551">
                  <c:v>4.2654135000000003E-2</c:v>
                </c:pt>
                <c:pt idx="2552">
                  <c:v>4.2926276999999999E-2</c:v>
                </c:pt>
                <c:pt idx="2553">
                  <c:v>4.3217642000000001E-2</c:v>
                </c:pt>
                <c:pt idx="2554">
                  <c:v>4.3474404000000001E-2</c:v>
                </c:pt>
                <c:pt idx="2555">
                  <c:v>4.3636263000000002E-2</c:v>
                </c:pt>
                <c:pt idx="2556">
                  <c:v>4.3811742000000001E-2</c:v>
                </c:pt>
                <c:pt idx="2557">
                  <c:v>4.3934943999999997E-2</c:v>
                </c:pt>
                <c:pt idx="2558">
                  <c:v>4.4066013000000001E-2</c:v>
                </c:pt>
                <c:pt idx="2559">
                  <c:v>4.4204474000000001E-2</c:v>
                </c:pt>
                <c:pt idx="2560">
                  <c:v>4.4339180999999998E-2</c:v>
                </c:pt>
                <c:pt idx="2561">
                  <c:v>4.4422757E-2</c:v>
                </c:pt>
                <c:pt idx="2562">
                  <c:v>4.4526785999999999E-2</c:v>
                </c:pt>
                <c:pt idx="2563">
                  <c:v>4.4684630000000003E-2</c:v>
                </c:pt>
                <c:pt idx="2564">
                  <c:v>4.4814094999999998E-2</c:v>
                </c:pt>
                <c:pt idx="2565">
                  <c:v>4.4969083999999999E-2</c:v>
                </c:pt>
                <c:pt idx="2566">
                  <c:v>4.5043475999999999E-2</c:v>
                </c:pt>
                <c:pt idx="2567">
                  <c:v>4.5098200999999997E-2</c:v>
                </c:pt>
                <c:pt idx="2568">
                  <c:v>4.5119447999999999E-2</c:v>
                </c:pt>
                <c:pt idx="2569">
                  <c:v>4.5166059000000001E-2</c:v>
                </c:pt>
                <c:pt idx="2570">
                  <c:v>4.5201226999999997E-2</c:v>
                </c:pt>
                <c:pt idx="2571">
                  <c:v>4.5219496999999997E-2</c:v>
                </c:pt>
                <c:pt idx="2572">
                  <c:v>4.5181872999999997E-2</c:v>
                </c:pt>
                <c:pt idx="2573">
                  <c:v>4.5190217999999997E-2</c:v>
                </c:pt>
                <c:pt idx="2574">
                  <c:v>4.5301846999999999E-2</c:v>
                </c:pt>
                <c:pt idx="2575">
                  <c:v>4.5422108000000003E-2</c:v>
                </c:pt>
                <c:pt idx="2576">
                  <c:v>4.5506599000000002E-2</c:v>
                </c:pt>
                <c:pt idx="2577">
                  <c:v>4.5574011999999997E-2</c:v>
                </c:pt>
                <c:pt idx="2578">
                  <c:v>4.5661790000000001E-2</c:v>
                </c:pt>
                <c:pt idx="2579">
                  <c:v>4.5748368999999997E-2</c:v>
                </c:pt>
                <c:pt idx="2580">
                  <c:v>4.5858977000000002E-2</c:v>
                </c:pt>
                <c:pt idx="2581">
                  <c:v>4.5899207999999997E-2</c:v>
                </c:pt>
                <c:pt idx="2582">
                  <c:v>4.5877233000000003E-2</c:v>
                </c:pt>
                <c:pt idx="2583">
                  <c:v>4.5814905000000003E-2</c:v>
                </c:pt>
                <c:pt idx="2584">
                  <c:v>4.5829134000000001E-2</c:v>
                </c:pt>
                <c:pt idx="2585">
                  <c:v>4.5848261000000001E-2</c:v>
                </c:pt>
                <c:pt idx="2586">
                  <c:v>4.5906550999999997E-2</c:v>
                </c:pt>
                <c:pt idx="2587">
                  <c:v>4.5970437000000003E-2</c:v>
                </c:pt>
                <c:pt idx="2588">
                  <c:v>4.5990496999999998E-2</c:v>
                </c:pt>
                <c:pt idx="2589">
                  <c:v>4.5975021999999997E-2</c:v>
                </c:pt>
                <c:pt idx="2590">
                  <c:v>4.5931328E-2</c:v>
                </c:pt>
                <c:pt idx="2591">
                  <c:v>4.6010298999999998E-2</c:v>
                </c:pt>
                <c:pt idx="2592">
                  <c:v>4.5975673000000002E-2</c:v>
                </c:pt>
                <c:pt idx="2593">
                  <c:v>4.5946745999999997E-2</c:v>
                </c:pt>
                <c:pt idx="2594">
                  <c:v>4.5960320999999998E-2</c:v>
                </c:pt>
                <c:pt idx="2595">
                  <c:v>4.5937583999999997E-2</c:v>
                </c:pt>
                <c:pt idx="2596">
                  <c:v>4.5914781000000002E-2</c:v>
                </c:pt>
                <c:pt idx="2597">
                  <c:v>4.5965489999999998E-2</c:v>
                </c:pt>
                <c:pt idx="2598">
                  <c:v>4.5942337999999999E-2</c:v>
                </c:pt>
                <c:pt idx="2599">
                  <c:v>4.5825915000000002E-2</c:v>
                </c:pt>
                <c:pt idx="2600">
                  <c:v>4.5763769000000003E-2</c:v>
                </c:pt>
                <c:pt idx="2601">
                  <c:v>4.5643174000000002E-2</c:v>
                </c:pt>
                <c:pt idx="2602">
                  <c:v>4.5509677999999998E-2</c:v>
                </c:pt>
                <c:pt idx="2603">
                  <c:v>4.5377156000000002E-2</c:v>
                </c:pt>
                <c:pt idx="2604">
                  <c:v>4.5240904999999998E-2</c:v>
                </c:pt>
                <c:pt idx="2605">
                  <c:v>4.5091170999999999E-2</c:v>
                </c:pt>
                <c:pt idx="2606">
                  <c:v>4.4899328000000002E-2</c:v>
                </c:pt>
                <c:pt idx="2607">
                  <c:v>4.4706625E-2</c:v>
                </c:pt>
                <c:pt idx="2608">
                  <c:v>4.4450870000000003E-2</c:v>
                </c:pt>
                <c:pt idx="2609">
                  <c:v>4.4215674000000003E-2</c:v>
                </c:pt>
                <c:pt idx="2610">
                  <c:v>4.3932898999999997E-2</c:v>
                </c:pt>
                <c:pt idx="2611">
                  <c:v>4.3756171000000003E-2</c:v>
                </c:pt>
                <c:pt idx="2612">
                  <c:v>4.3689378000000001E-2</c:v>
                </c:pt>
                <c:pt idx="2613">
                  <c:v>4.3613578E-2</c:v>
                </c:pt>
                <c:pt idx="2614">
                  <c:v>4.3546593000000001E-2</c:v>
                </c:pt>
                <c:pt idx="2615">
                  <c:v>4.3439988999999998E-2</c:v>
                </c:pt>
                <c:pt idx="2616">
                  <c:v>4.3289501000000001E-2</c:v>
                </c:pt>
                <c:pt idx="2617">
                  <c:v>4.3192824999999997E-2</c:v>
                </c:pt>
                <c:pt idx="2618">
                  <c:v>4.3062788999999997E-2</c:v>
                </c:pt>
                <c:pt idx="2619">
                  <c:v>4.2912835000000003E-2</c:v>
                </c:pt>
                <c:pt idx="2620">
                  <c:v>4.2798266000000001E-2</c:v>
                </c:pt>
                <c:pt idx="2621">
                  <c:v>4.2718398999999997E-2</c:v>
                </c:pt>
                <c:pt idx="2622">
                  <c:v>4.2647580999999997E-2</c:v>
                </c:pt>
                <c:pt idx="2623">
                  <c:v>4.2512063000000003E-2</c:v>
                </c:pt>
                <c:pt idx="2624">
                  <c:v>4.2342162000000003E-2</c:v>
                </c:pt>
                <c:pt idx="2625">
                  <c:v>4.2210956000000001E-2</c:v>
                </c:pt>
                <c:pt idx="2626">
                  <c:v>4.2040252E-2</c:v>
                </c:pt>
                <c:pt idx="2627">
                  <c:v>4.1805888999999999E-2</c:v>
                </c:pt>
                <c:pt idx="2628">
                  <c:v>4.158013E-2</c:v>
                </c:pt>
                <c:pt idx="2629">
                  <c:v>4.148607E-2</c:v>
                </c:pt>
                <c:pt idx="2630">
                  <c:v>4.1534124999999998E-2</c:v>
                </c:pt>
                <c:pt idx="2631">
                  <c:v>4.1469923999999998E-2</c:v>
                </c:pt>
                <c:pt idx="2632">
                  <c:v>4.1509982000000001E-2</c:v>
                </c:pt>
                <c:pt idx="2633">
                  <c:v>4.1549819000000002E-2</c:v>
                </c:pt>
                <c:pt idx="2634">
                  <c:v>4.1541472000000003E-2</c:v>
                </c:pt>
                <c:pt idx="2635">
                  <c:v>4.1488796000000001E-2</c:v>
                </c:pt>
                <c:pt idx="2636">
                  <c:v>4.1403688000000001E-2</c:v>
                </c:pt>
                <c:pt idx="2637">
                  <c:v>4.1273087999999999E-2</c:v>
                </c:pt>
                <c:pt idx="2638">
                  <c:v>4.1205512999999999E-2</c:v>
                </c:pt>
                <c:pt idx="2639">
                  <c:v>4.1086507000000001E-2</c:v>
                </c:pt>
                <c:pt idx="2640">
                  <c:v>4.1000765000000002E-2</c:v>
                </c:pt>
                <c:pt idx="2641">
                  <c:v>4.0918008999999998E-2</c:v>
                </c:pt>
                <c:pt idx="2642">
                  <c:v>4.0858539999999999E-2</c:v>
                </c:pt>
                <c:pt idx="2643">
                  <c:v>4.0749761000000002E-2</c:v>
                </c:pt>
                <c:pt idx="2644">
                  <c:v>4.0699348000000003E-2</c:v>
                </c:pt>
                <c:pt idx="2645">
                  <c:v>4.0660248000000003E-2</c:v>
                </c:pt>
                <c:pt idx="2646">
                  <c:v>4.0620863E-2</c:v>
                </c:pt>
                <c:pt idx="2647">
                  <c:v>4.0544096000000002E-2</c:v>
                </c:pt>
                <c:pt idx="2648">
                  <c:v>4.0449901000000003E-2</c:v>
                </c:pt>
                <c:pt idx="2649">
                  <c:v>4.0402235000000002E-2</c:v>
                </c:pt>
                <c:pt idx="2650">
                  <c:v>4.0298028999999999E-2</c:v>
                </c:pt>
                <c:pt idx="2651">
                  <c:v>4.0213680000000002E-2</c:v>
                </c:pt>
                <c:pt idx="2652">
                  <c:v>4.0123391000000001E-2</c:v>
                </c:pt>
                <c:pt idx="2653">
                  <c:v>4.0049387999999998E-2</c:v>
                </c:pt>
                <c:pt idx="2654">
                  <c:v>3.9990092999999997E-2</c:v>
                </c:pt>
                <c:pt idx="2655">
                  <c:v>3.9923722000000002E-2</c:v>
                </c:pt>
                <c:pt idx="2656">
                  <c:v>3.9818939999999997E-2</c:v>
                </c:pt>
                <c:pt idx="2657">
                  <c:v>3.9764496000000003E-2</c:v>
                </c:pt>
                <c:pt idx="2658">
                  <c:v>3.9699758000000002E-2</c:v>
                </c:pt>
                <c:pt idx="2659">
                  <c:v>3.9621824999999999E-2</c:v>
                </c:pt>
                <c:pt idx="2660">
                  <c:v>3.9513442000000003E-2</c:v>
                </c:pt>
                <c:pt idx="2661">
                  <c:v>3.9417045999999997E-2</c:v>
                </c:pt>
                <c:pt idx="2662">
                  <c:v>3.9330845000000003E-2</c:v>
                </c:pt>
                <c:pt idx="2663">
                  <c:v>3.9217785999999998E-2</c:v>
                </c:pt>
                <c:pt idx="2664">
                  <c:v>3.9165232000000001E-2</c:v>
                </c:pt>
                <c:pt idx="2665">
                  <c:v>3.9070378000000003E-2</c:v>
                </c:pt>
                <c:pt idx="2666">
                  <c:v>3.8992561000000002E-2</c:v>
                </c:pt>
                <c:pt idx="2667">
                  <c:v>3.8870719999999997E-2</c:v>
                </c:pt>
                <c:pt idx="2668">
                  <c:v>3.8786555E-2</c:v>
                </c:pt>
                <c:pt idx="2669">
                  <c:v>3.8710158000000001E-2</c:v>
                </c:pt>
                <c:pt idx="2670">
                  <c:v>3.8559665999999999E-2</c:v>
                </c:pt>
                <c:pt idx="2671">
                  <c:v>3.8437868E-2</c:v>
                </c:pt>
                <c:pt idx="2672">
                  <c:v>3.8332418E-2</c:v>
                </c:pt>
                <c:pt idx="2673">
                  <c:v>3.8138426000000003E-2</c:v>
                </c:pt>
                <c:pt idx="2674">
                  <c:v>3.7860386000000003E-2</c:v>
                </c:pt>
                <c:pt idx="2675">
                  <c:v>3.7685067000000003E-2</c:v>
                </c:pt>
                <c:pt idx="2676">
                  <c:v>3.7479542999999997E-2</c:v>
                </c:pt>
                <c:pt idx="2677">
                  <c:v>3.7269645999999997E-2</c:v>
                </c:pt>
                <c:pt idx="2678">
                  <c:v>3.7004020999999998E-2</c:v>
                </c:pt>
                <c:pt idx="2679">
                  <c:v>3.6804000000000003E-2</c:v>
                </c:pt>
                <c:pt idx="2680">
                  <c:v>3.6622734999999997E-2</c:v>
                </c:pt>
                <c:pt idx="2681">
                  <c:v>3.6457213000000002E-2</c:v>
                </c:pt>
                <c:pt idx="2682">
                  <c:v>3.6193659000000003E-2</c:v>
                </c:pt>
                <c:pt idx="2683">
                  <c:v>3.5933985000000002E-2</c:v>
                </c:pt>
                <c:pt idx="2684">
                  <c:v>3.5753638999999997E-2</c:v>
                </c:pt>
                <c:pt idx="2685">
                  <c:v>3.5562437000000002E-2</c:v>
                </c:pt>
                <c:pt idx="2686">
                  <c:v>3.5379646000000001E-2</c:v>
                </c:pt>
                <c:pt idx="2687">
                  <c:v>3.5141055999999997E-2</c:v>
                </c:pt>
                <c:pt idx="2688">
                  <c:v>3.4864963999999998E-2</c:v>
                </c:pt>
                <c:pt idx="2689">
                  <c:v>3.4587666000000003E-2</c:v>
                </c:pt>
                <c:pt idx="2690">
                  <c:v>3.4394144000000001E-2</c:v>
                </c:pt>
                <c:pt idx="2691">
                  <c:v>3.4112047999999999E-2</c:v>
                </c:pt>
                <c:pt idx="2692">
                  <c:v>3.3838600000000003E-2</c:v>
                </c:pt>
                <c:pt idx="2693">
                  <c:v>3.3529258999999999E-2</c:v>
                </c:pt>
                <c:pt idx="2694">
                  <c:v>3.3277060999999997E-2</c:v>
                </c:pt>
                <c:pt idx="2695">
                  <c:v>3.2922793999999998E-2</c:v>
                </c:pt>
                <c:pt idx="2696">
                  <c:v>3.2479587999999997E-2</c:v>
                </c:pt>
                <c:pt idx="2697">
                  <c:v>3.2189862999999999E-2</c:v>
                </c:pt>
                <c:pt idx="2698">
                  <c:v>3.1898524999999997E-2</c:v>
                </c:pt>
                <c:pt idx="2699">
                  <c:v>3.1628811E-2</c:v>
                </c:pt>
                <c:pt idx="2700">
                  <c:v>3.1347642000000002E-2</c:v>
                </c:pt>
                <c:pt idx="2701">
                  <c:v>3.1059920000000001E-2</c:v>
                </c:pt>
                <c:pt idx="2702">
                  <c:v>3.0663592999999999E-2</c:v>
                </c:pt>
                <c:pt idx="2703">
                  <c:v>3.0433997000000001E-2</c:v>
                </c:pt>
                <c:pt idx="2704">
                  <c:v>3.0230955E-2</c:v>
                </c:pt>
                <c:pt idx="2705">
                  <c:v>3.0017081000000001E-2</c:v>
                </c:pt>
                <c:pt idx="2706">
                  <c:v>2.9758301000000001E-2</c:v>
                </c:pt>
                <c:pt idx="2707">
                  <c:v>2.9547993000000002E-2</c:v>
                </c:pt>
                <c:pt idx="2708">
                  <c:v>2.9427961999999998E-2</c:v>
                </c:pt>
                <c:pt idx="2709">
                  <c:v>2.9299202E-2</c:v>
                </c:pt>
                <c:pt idx="2710">
                  <c:v>2.9164669000000001E-2</c:v>
                </c:pt>
                <c:pt idx="2711">
                  <c:v>2.8974255000000001E-2</c:v>
                </c:pt>
                <c:pt idx="2712">
                  <c:v>2.8796604E-2</c:v>
                </c:pt>
                <c:pt idx="2713">
                  <c:v>2.8625171000000001E-2</c:v>
                </c:pt>
                <c:pt idx="2714">
                  <c:v>2.8439717E-2</c:v>
                </c:pt>
                <c:pt idx="2715">
                  <c:v>2.8303155E-2</c:v>
                </c:pt>
                <c:pt idx="2716">
                  <c:v>2.8151281E-2</c:v>
                </c:pt>
                <c:pt idx="2717">
                  <c:v>2.7964994E-2</c:v>
                </c:pt>
                <c:pt idx="2718">
                  <c:v>2.7848264000000001E-2</c:v>
                </c:pt>
                <c:pt idx="2719">
                  <c:v>2.7609917000000001E-2</c:v>
                </c:pt>
                <c:pt idx="2720">
                  <c:v>2.7400885999999999E-2</c:v>
                </c:pt>
                <c:pt idx="2721">
                  <c:v>2.7200643E-2</c:v>
                </c:pt>
                <c:pt idx="2722">
                  <c:v>2.6977248999999998E-2</c:v>
                </c:pt>
                <c:pt idx="2723">
                  <c:v>2.6653026E-2</c:v>
                </c:pt>
                <c:pt idx="2724">
                  <c:v>2.6423350000000002E-2</c:v>
                </c:pt>
                <c:pt idx="2725">
                  <c:v>2.6177526999999999E-2</c:v>
                </c:pt>
                <c:pt idx="2726">
                  <c:v>2.5954689E-2</c:v>
                </c:pt>
                <c:pt idx="2727">
                  <c:v>2.5731468E-2</c:v>
                </c:pt>
                <c:pt idx="2728">
                  <c:v>2.5464324999999999E-2</c:v>
                </c:pt>
                <c:pt idx="2729">
                  <c:v>2.5172564000000001E-2</c:v>
                </c:pt>
                <c:pt idx="2730">
                  <c:v>2.4787274000000002E-2</c:v>
                </c:pt>
                <c:pt idx="2731">
                  <c:v>2.4465694E-2</c:v>
                </c:pt>
                <c:pt idx="2732">
                  <c:v>2.4238939000000001E-2</c:v>
                </c:pt>
                <c:pt idx="2733">
                  <c:v>2.404506E-2</c:v>
                </c:pt>
                <c:pt idx="2734">
                  <c:v>2.3824196999999998E-2</c:v>
                </c:pt>
                <c:pt idx="2735">
                  <c:v>2.3600288000000001E-2</c:v>
                </c:pt>
                <c:pt idx="2736">
                  <c:v>2.3392784E-2</c:v>
                </c:pt>
                <c:pt idx="2737">
                  <c:v>2.3239728000000001E-2</c:v>
                </c:pt>
                <c:pt idx="2738">
                  <c:v>2.3075674000000001E-2</c:v>
                </c:pt>
                <c:pt idx="2739">
                  <c:v>2.2897770000000001E-2</c:v>
                </c:pt>
                <c:pt idx="2740">
                  <c:v>2.2720411999999999E-2</c:v>
                </c:pt>
                <c:pt idx="2741">
                  <c:v>2.2499668E-2</c:v>
                </c:pt>
                <c:pt idx="2742">
                  <c:v>2.2317197E-2</c:v>
                </c:pt>
                <c:pt idx="2743">
                  <c:v>2.2076162E-2</c:v>
                </c:pt>
                <c:pt idx="2744">
                  <c:v>2.1772149000000001E-2</c:v>
                </c:pt>
                <c:pt idx="2745">
                  <c:v>2.1455796999999999E-2</c:v>
                </c:pt>
                <c:pt idx="2746">
                  <c:v>2.1211885E-2</c:v>
                </c:pt>
                <c:pt idx="2747">
                  <c:v>2.0942028000000001E-2</c:v>
                </c:pt>
                <c:pt idx="2748">
                  <c:v>2.0708211000000001E-2</c:v>
                </c:pt>
                <c:pt idx="2749">
                  <c:v>2.0302089999999998E-2</c:v>
                </c:pt>
                <c:pt idx="2750">
                  <c:v>1.9905472E-2</c:v>
                </c:pt>
                <c:pt idx="2751">
                  <c:v>1.9524705999999999E-2</c:v>
                </c:pt>
                <c:pt idx="2752">
                  <c:v>1.9210088E-2</c:v>
                </c:pt>
                <c:pt idx="2753">
                  <c:v>1.8903987000000001E-2</c:v>
                </c:pt>
                <c:pt idx="2754">
                  <c:v>1.8618111999999999E-2</c:v>
                </c:pt>
                <c:pt idx="2755">
                  <c:v>1.8363027000000001E-2</c:v>
                </c:pt>
                <c:pt idx="2756">
                  <c:v>1.8141755999999998E-2</c:v>
                </c:pt>
                <c:pt idx="2757">
                  <c:v>1.7977911999999999E-2</c:v>
                </c:pt>
                <c:pt idx="2758">
                  <c:v>1.7809675000000001E-2</c:v>
                </c:pt>
                <c:pt idx="2759">
                  <c:v>1.7631104000000002E-2</c:v>
                </c:pt>
                <c:pt idx="2760">
                  <c:v>1.7473336999999999E-2</c:v>
                </c:pt>
                <c:pt idx="2761">
                  <c:v>1.7333277000000001E-2</c:v>
                </c:pt>
                <c:pt idx="2762">
                  <c:v>1.7164771999999998E-2</c:v>
                </c:pt>
                <c:pt idx="2763">
                  <c:v>1.6973655000000001E-2</c:v>
                </c:pt>
                <c:pt idx="2764">
                  <c:v>1.6790765999999999E-2</c:v>
                </c:pt>
                <c:pt idx="2765">
                  <c:v>1.659153E-2</c:v>
                </c:pt>
                <c:pt idx="2766">
                  <c:v>1.6461718E-2</c:v>
                </c:pt>
                <c:pt idx="2767">
                  <c:v>1.6342302E-2</c:v>
                </c:pt>
                <c:pt idx="2768">
                  <c:v>1.6250176000000002E-2</c:v>
                </c:pt>
                <c:pt idx="2769">
                  <c:v>1.6143751000000001E-2</c:v>
                </c:pt>
                <c:pt idx="2770">
                  <c:v>1.609822E-2</c:v>
                </c:pt>
                <c:pt idx="2771">
                  <c:v>1.6043307999999999E-2</c:v>
                </c:pt>
                <c:pt idx="2772">
                  <c:v>1.6004606000000001E-2</c:v>
                </c:pt>
                <c:pt idx="2773">
                  <c:v>1.5954356999999999E-2</c:v>
                </c:pt>
                <c:pt idx="2774">
                  <c:v>1.5816609999999998E-2</c:v>
                </c:pt>
                <c:pt idx="2775">
                  <c:v>1.5664827999999999E-2</c:v>
                </c:pt>
                <c:pt idx="2776">
                  <c:v>1.5556828E-2</c:v>
                </c:pt>
                <c:pt idx="2777">
                  <c:v>1.5465458E-2</c:v>
                </c:pt>
                <c:pt idx="2778">
                  <c:v>1.5360716999999999E-2</c:v>
                </c:pt>
                <c:pt idx="2779">
                  <c:v>1.5263886000000001E-2</c:v>
                </c:pt>
                <c:pt idx="2780">
                  <c:v>1.5125658E-2</c:v>
                </c:pt>
                <c:pt idx="2781">
                  <c:v>1.5016412999999999E-2</c:v>
                </c:pt>
                <c:pt idx="2782">
                  <c:v>1.493448E-2</c:v>
                </c:pt>
                <c:pt idx="2783">
                  <c:v>1.4856505000000001E-2</c:v>
                </c:pt>
                <c:pt idx="2784">
                  <c:v>1.4724713E-2</c:v>
                </c:pt>
                <c:pt idx="2785">
                  <c:v>1.4587545E-2</c:v>
                </c:pt>
                <c:pt idx="2786">
                  <c:v>1.4456727000000001E-2</c:v>
                </c:pt>
                <c:pt idx="2787">
                  <c:v>1.4333331E-2</c:v>
                </c:pt>
                <c:pt idx="2788">
                  <c:v>1.4203986E-2</c:v>
                </c:pt>
                <c:pt idx="2789">
                  <c:v>1.4093621000000001E-2</c:v>
                </c:pt>
                <c:pt idx="2790">
                  <c:v>1.3921566E-2</c:v>
                </c:pt>
                <c:pt idx="2791">
                  <c:v>1.3741943E-2</c:v>
                </c:pt>
                <c:pt idx="2792">
                  <c:v>1.3686144000000001E-2</c:v>
                </c:pt>
                <c:pt idx="2793">
                  <c:v>1.3657091999999999E-2</c:v>
                </c:pt>
                <c:pt idx="2794">
                  <c:v>1.3595904000000001E-2</c:v>
                </c:pt>
                <c:pt idx="2795">
                  <c:v>1.3575307E-2</c:v>
                </c:pt>
                <c:pt idx="2796">
                  <c:v>1.3560641999999999E-2</c:v>
                </c:pt>
                <c:pt idx="2797">
                  <c:v>1.3512659999999999E-2</c:v>
                </c:pt>
                <c:pt idx="2798">
                  <c:v>1.3514711E-2</c:v>
                </c:pt>
                <c:pt idx="2799">
                  <c:v>1.3505781E-2</c:v>
                </c:pt>
                <c:pt idx="2800">
                  <c:v>1.3458974E-2</c:v>
                </c:pt>
                <c:pt idx="2801">
                  <c:v>1.344765E-2</c:v>
                </c:pt>
                <c:pt idx="2802">
                  <c:v>1.3435697E-2</c:v>
                </c:pt>
                <c:pt idx="2803">
                  <c:v>1.3401563999999999E-2</c:v>
                </c:pt>
                <c:pt idx="2804">
                  <c:v>1.3369183E-2</c:v>
                </c:pt>
                <c:pt idx="2805">
                  <c:v>1.3355898999999999E-2</c:v>
                </c:pt>
                <c:pt idx="2806">
                  <c:v>1.3331288E-2</c:v>
                </c:pt>
                <c:pt idx="2807">
                  <c:v>1.3328112E-2</c:v>
                </c:pt>
                <c:pt idx="2808">
                  <c:v>1.3321487999999999E-2</c:v>
                </c:pt>
                <c:pt idx="2809">
                  <c:v>1.3352986000000001E-2</c:v>
                </c:pt>
                <c:pt idx="2810">
                  <c:v>1.3331777E-2</c:v>
                </c:pt>
                <c:pt idx="2811">
                  <c:v>1.3305709000000001E-2</c:v>
                </c:pt>
                <c:pt idx="2812">
                  <c:v>1.3218986E-2</c:v>
                </c:pt>
                <c:pt idx="2813">
                  <c:v>1.3164672000000001E-2</c:v>
                </c:pt>
                <c:pt idx="2814">
                  <c:v>1.3111304000000001E-2</c:v>
                </c:pt>
                <c:pt idx="2815">
                  <c:v>1.3050847000000001E-2</c:v>
                </c:pt>
                <c:pt idx="2816">
                  <c:v>1.2975507000000001E-2</c:v>
                </c:pt>
                <c:pt idx="2817">
                  <c:v>1.2908197E-2</c:v>
                </c:pt>
                <c:pt idx="2818">
                  <c:v>1.2855180000000001E-2</c:v>
                </c:pt>
                <c:pt idx="2819">
                  <c:v>1.2728176000000001E-2</c:v>
                </c:pt>
                <c:pt idx="2820">
                  <c:v>1.2670241E-2</c:v>
                </c:pt>
                <c:pt idx="2821">
                  <c:v>1.2625218000000001E-2</c:v>
                </c:pt>
                <c:pt idx="2822">
                  <c:v>1.2623244E-2</c:v>
                </c:pt>
                <c:pt idx="2823">
                  <c:v>1.2632582E-2</c:v>
                </c:pt>
                <c:pt idx="2824">
                  <c:v>1.2612386999999999E-2</c:v>
                </c:pt>
                <c:pt idx="2825">
                  <c:v>1.26144E-2</c:v>
                </c:pt>
                <c:pt idx="2826">
                  <c:v>1.2593816000000001E-2</c:v>
                </c:pt>
                <c:pt idx="2827">
                  <c:v>1.2572231E-2</c:v>
                </c:pt>
                <c:pt idx="2828">
                  <c:v>1.2562551E-2</c:v>
                </c:pt>
                <c:pt idx="2829">
                  <c:v>1.2484225999999999E-2</c:v>
                </c:pt>
                <c:pt idx="2830">
                  <c:v>1.2288059E-2</c:v>
                </c:pt>
                <c:pt idx="2831">
                  <c:v>1.2149566000000001E-2</c:v>
                </c:pt>
                <c:pt idx="2832">
                  <c:v>1.1970432E-2</c:v>
                </c:pt>
                <c:pt idx="2833">
                  <c:v>1.1846189E-2</c:v>
                </c:pt>
                <c:pt idx="2834">
                  <c:v>1.1756166E-2</c:v>
                </c:pt>
                <c:pt idx="2835">
                  <c:v>1.1677108E-2</c:v>
                </c:pt>
                <c:pt idx="2836">
                  <c:v>1.1605593000000001E-2</c:v>
                </c:pt>
                <c:pt idx="2837">
                  <c:v>1.1550959E-2</c:v>
                </c:pt>
                <c:pt idx="2838">
                  <c:v>1.1461473999999999E-2</c:v>
                </c:pt>
                <c:pt idx="2839">
                  <c:v>1.1400064E-2</c:v>
                </c:pt>
                <c:pt idx="2840">
                  <c:v>1.1342813E-2</c:v>
                </c:pt>
                <c:pt idx="2841">
                  <c:v>1.1279271E-2</c:v>
                </c:pt>
                <c:pt idx="2842">
                  <c:v>1.1245374000000001E-2</c:v>
                </c:pt>
                <c:pt idx="2843">
                  <c:v>1.1195988E-2</c:v>
                </c:pt>
                <c:pt idx="2844">
                  <c:v>1.1146339E-2</c:v>
                </c:pt>
                <c:pt idx="2845">
                  <c:v>1.1083633000000001E-2</c:v>
                </c:pt>
                <c:pt idx="2846">
                  <c:v>1.1027736E-2</c:v>
                </c:pt>
                <c:pt idx="2847">
                  <c:v>1.0985979E-2</c:v>
                </c:pt>
                <c:pt idx="2848">
                  <c:v>1.0970371E-2</c:v>
                </c:pt>
                <c:pt idx="2849">
                  <c:v>1.0902555E-2</c:v>
                </c:pt>
                <c:pt idx="2850">
                  <c:v>1.0847615E-2</c:v>
                </c:pt>
                <c:pt idx="2851">
                  <c:v>1.0813987000000001E-2</c:v>
                </c:pt>
                <c:pt idx="2852">
                  <c:v>1.0790826E-2</c:v>
                </c:pt>
                <c:pt idx="2853">
                  <c:v>1.0767107E-2</c:v>
                </c:pt>
                <c:pt idx="2854">
                  <c:v>1.0742425999999999E-2</c:v>
                </c:pt>
                <c:pt idx="2855">
                  <c:v>1.0735771E-2</c:v>
                </c:pt>
                <c:pt idx="2856">
                  <c:v>1.0736806E-2</c:v>
                </c:pt>
                <c:pt idx="2857">
                  <c:v>1.0709872E-2</c:v>
                </c:pt>
                <c:pt idx="2858">
                  <c:v>1.0700741E-2</c:v>
                </c:pt>
                <c:pt idx="2859">
                  <c:v>1.0700006E-2</c:v>
                </c:pt>
                <c:pt idx="2860">
                  <c:v>1.0677828E-2</c:v>
                </c:pt>
                <c:pt idx="2861">
                  <c:v>1.0661194000000001E-2</c:v>
                </c:pt>
                <c:pt idx="2862">
                  <c:v>1.0623627E-2</c:v>
                </c:pt>
                <c:pt idx="2863">
                  <c:v>1.0593483000000001E-2</c:v>
                </c:pt>
                <c:pt idx="2864">
                  <c:v>1.0568395E-2</c:v>
                </c:pt>
                <c:pt idx="2865">
                  <c:v>1.0587101999999999E-2</c:v>
                </c:pt>
                <c:pt idx="2866">
                  <c:v>1.060124E-2</c:v>
                </c:pt>
                <c:pt idx="2867">
                  <c:v>1.0591066999999999E-2</c:v>
                </c:pt>
                <c:pt idx="2868">
                  <c:v>1.0575976000000001E-2</c:v>
                </c:pt>
                <c:pt idx="2869">
                  <c:v>1.0564303000000001E-2</c:v>
                </c:pt>
                <c:pt idx="2870">
                  <c:v>1.0543639E-2</c:v>
                </c:pt>
                <c:pt idx="2871">
                  <c:v>1.0520236000000001E-2</c:v>
                </c:pt>
                <c:pt idx="2872">
                  <c:v>1.0478189000000001E-2</c:v>
                </c:pt>
                <c:pt idx="2873">
                  <c:v>1.0467248E-2</c:v>
                </c:pt>
                <c:pt idx="2874">
                  <c:v>1.0500829999999999E-2</c:v>
                </c:pt>
                <c:pt idx="2875">
                  <c:v>1.0455291E-2</c:v>
                </c:pt>
                <c:pt idx="2876">
                  <c:v>1.0418210000000001E-2</c:v>
                </c:pt>
                <c:pt idx="2877">
                  <c:v>1.0427512E-2</c:v>
                </c:pt>
                <c:pt idx="2878">
                  <c:v>1.043559E-2</c:v>
                </c:pt>
                <c:pt idx="2879">
                  <c:v>1.0465264E-2</c:v>
                </c:pt>
                <c:pt idx="2880">
                  <c:v>1.0508514E-2</c:v>
                </c:pt>
                <c:pt idx="2881">
                  <c:v>1.0519969000000001E-2</c:v>
                </c:pt>
                <c:pt idx="2882">
                  <c:v>1.0511058E-2</c:v>
                </c:pt>
                <c:pt idx="2883">
                  <c:v>1.0497863E-2</c:v>
                </c:pt>
                <c:pt idx="2884">
                  <c:v>1.0495836E-2</c:v>
                </c:pt>
                <c:pt idx="2885">
                  <c:v>1.0526735000000001E-2</c:v>
                </c:pt>
                <c:pt idx="2886">
                  <c:v>1.0576617E-2</c:v>
                </c:pt>
                <c:pt idx="2887">
                  <c:v>1.0597397999999999E-2</c:v>
                </c:pt>
                <c:pt idx="2888">
                  <c:v>1.0601543E-2</c:v>
                </c:pt>
                <c:pt idx="2889">
                  <c:v>1.0626966999999999E-2</c:v>
                </c:pt>
                <c:pt idx="2890">
                  <c:v>1.0680679E-2</c:v>
                </c:pt>
                <c:pt idx="2891">
                  <c:v>1.0762127E-2</c:v>
                </c:pt>
                <c:pt idx="2892">
                  <c:v>1.0808561E-2</c:v>
                </c:pt>
                <c:pt idx="2893">
                  <c:v>1.086613E-2</c:v>
                </c:pt>
                <c:pt idx="2894">
                  <c:v>1.0924695E-2</c:v>
                </c:pt>
                <c:pt idx="2895">
                  <c:v>1.0986384E-2</c:v>
                </c:pt>
                <c:pt idx="2896">
                  <c:v>1.1009656E-2</c:v>
                </c:pt>
                <c:pt idx="2897">
                  <c:v>1.1006512E-2</c:v>
                </c:pt>
                <c:pt idx="2898">
                  <c:v>1.0998969000000001E-2</c:v>
                </c:pt>
                <c:pt idx="2899">
                  <c:v>1.1020281E-2</c:v>
                </c:pt>
                <c:pt idx="2900">
                  <c:v>1.1076892E-2</c:v>
                </c:pt>
                <c:pt idx="2901">
                  <c:v>1.1070903999999999E-2</c:v>
                </c:pt>
                <c:pt idx="2902">
                  <c:v>1.1084208999999999E-2</c:v>
                </c:pt>
                <c:pt idx="2903">
                  <c:v>1.1093452E-2</c:v>
                </c:pt>
                <c:pt idx="2904">
                  <c:v>1.1063109999999999E-2</c:v>
                </c:pt>
                <c:pt idx="2905">
                  <c:v>1.1053973999999999E-2</c:v>
                </c:pt>
                <c:pt idx="2906">
                  <c:v>1.1035870999999999E-2</c:v>
                </c:pt>
                <c:pt idx="2907">
                  <c:v>1.1036407999999999E-2</c:v>
                </c:pt>
                <c:pt idx="2908">
                  <c:v>1.0994011999999999E-2</c:v>
                </c:pt>
                <c:pt idx="2909">
                  <c:v>1.0958030000000001E-2</c:v>
                </c:pt>
                <c:pt idx="2910">
                  <c:v>1.0876607999999999E-2</c:v>
                </c:pt>
                <c:pt idx="2911">
                  <c:v>1.0845977E-2</c:v>
                </c:pt>
                <c:pt idx="2912">
                  <c:v>1.0811911E-2</c:v>
                </c:pt>
                <c:pt idx="2913">
                  <c:v>1.0789244E-2</c:v>
                </c:pt>
                <c:pt idx="2914">
                  <c:v>1.0788707999999999E-2</c:v>
                </c:pt>
                <c:pt idx="2915">
                  <c:v>1.0797463E-2</c:v>
                </c:pt>
                <c:pt idx="2916">
                  <c:v>1.0783473E-2</c:v>
                </c:pt>
                <c:pt idx="2917">
                  <c:v>1.0776394E-2</c:v>
                </c:pt>
                <c:pt idx="2918">
                  <c:v>1.0745706000000001E-2</c:v>
                </c:pt>
                <c:pt idx="2919">
                  <c:v>1.0726504E-2</c:v>
                </c:pt>
                <c:pt idx="2920">
                  <c:v>1.0666247E-2</c:v>
                </c:pt>
                <c:pt idx="2921">
                  <c:v>1.058954E-2</c:v>
                </c:pt>
                <c:pt idx="2922">
                  <c:v>1.0550708000000001E-2</c:v>
                </c:pt>
                <c:pt idx="2923">
                  <c:v>1.0534711E-2</c:v>
                </c:pt>
                <c:pt idx="2924">
                  <c:v>1.0560893E-2</c:v>
                </c:pt>
                <c:pt idx="2925">
                  <c:v>1.0550812E-2</c:v>
                </c:pt>
                <c:pt idx="2926">
                  <c:v>1.0537800999999999E-2</c:v>
                </c:pt>
                <c:pt idx="2927">
                  <c:v>1.0527786000000001E-2</c:v>
                </c:pt>
                <c:pt idx="2928">
                  <c:v>1.0501073E-2</c:v>
                </c:pt>
                <c:pt idx="2929">
                  <c:v>1.0481570000000001E-2</c:v>
                </c:pt>
                <c:pt idx="2930">
                  <c:v>1.0459387000000001E-2</c:v>
                </c:pt>
                <c:pt idx="2931">
                  <c:v>1.0418159E-2</c:v>
                </c:pt>
                <c:pt idx="2932">
                  <c:v>1.0401219999999999E-2</c:v>
                </c:pt>
                <c:pt idx="2933">
                  <c:v>1.0381303999999999E-2</c:v>
                </c:pt>
                <c:pt idx="2934">
                  <c:v>1.0371511E-2</c:v>
                </c:pt>
                <c:pt idx="2935">
                  <c:v>1.0343645E-2</c:v>
                </c:pt>
                <c:pt idx="2936">
                  <c:v>1.0344027E-2</c:v>
                </c:pt>
                <c:pt idx="2937">
                  <c:v>1.0303118999999999E-2</c:v>
                </c:pt>
                <c:pt idx="2938">
                  <c:v>1.0320424999999999E-2</c:v>
                </c:pt>
                <c:pt idx="2939">
                  <c:v>1.0341114E-2</c:v>
                </c:pt>
                <c:pt idx="2940">
                  <c:v>1.0344483999999999E-2</c:v>
                </c:pt>
                <c:pt idx="2941">
                  <c:v>1.0377684E-2</c:v>
                </c:pt>
                <c:pt idx="2942">
                  <c:v>1.0354565E-2</c:v>
                </c:pt>
                <c:pt idx="2943">
                  <c:v>1.0362153000000001E-2</c:v>
                </c:pt>
                <c:pt idx="2944">
                  <c:v>1.0398899E-2</c:v>
                </c:pt>
                <c:pt idx="2945">
                  <c:v>1.0429094999999999E-2</c:v>
                </c:pt>
                <c:pt idx="2946">
                  <c:v>1.0456073999999999E-2</c:v>
                </c:pt>
                <c:pt idx="2947">
                  <c:v>1.0479555E-2</c:v>
                </c:pt>
                <c:pt idx="2948">
                  <c:v>1.0496049E-2</c:v>
                </c:pt>
                <c:pt idx="2949">
                  <c:v>1.0519483E-2</c:v>
                </c:pt>
                <c:pt idx="2950">
                  <c:v>1.0509459000000001E-2</c:v>
                </c:pt>
                <c:pt idx="2951">
                  <c:v>1.0523368E-2</c:v>
                </c:pt>
                <c:pt idx="2952">
                  <c:v>1.0537401E-2</c:v>
                </c:pt>
                <c:pt idx="2953">
                  <c:v>1.0527774E-2</c:v>
                </c:pt>
                <c:pt idx="2954">
                  <c:v>1.0526430999999999E-2</c:v>
                </c:pt>
                <c:pt idx="2955">
                  <c:v>1.0535812E-2</c:v>
                </c:pt>
                <c:pt idx="2956">
                  <c:v>1.0539694E-2</c:v>
                </c:pt>
                <c:pt idx="2957">
                  <c:v>1.0548096E-2</c:v>
                </c:pt>
                <c:pt idx="2958">
                  <c:v>1.0552295E-2</c:v>
                </c:pt>
                <c:pt idx="2959">
                  <c:v>1.0573648E-2</c:v>
                </c:pt>
                <c:pt idx="2960">
                  <c:v>1.0581462999999999E-2</c:v>
                </c:pt>
                <c:pt idx="2961">
                  <c:v>1.0581231999999999E-2</c:v>
                </c:pt>
                <c:pt idx="2962">
                  <c:v>1.0608536E-2</c:v>
                </c:pt>
                <c:pt idx="2963">
                  <c:v>1.0638888000000001E-2</c:v>
                </c:pt>
                <c:pt idx="2964">
                  <c:v>1.0657342E-2</c:v>
                </c:pt>
                <c:pt idx="2965">
                  <c:v>1.0680162E-2</c:v>
                </c:pt>
                <c:pt idx="2966">
                  <c:v>1.0713063E-2</c:v>
                </c:pt>
                <c:pt idx="2967">
                  <c:v>1.0736216999999999E-2</c:v>
                </c:pt>
                <c:pt idx="2968">
                  <c:v>1.0777368000000001E-2</c:v>
                </c:pt>
                <c:pt idx="2969">
                  <c:v>1.0808422E-2</c:v>
                </c:pt>
                <c:pt idx="2970">
                  <c:v>1.0781335E-2</c:v>
                </c:pt>
                <c:pt idx="2971">
                  <c:v>1.0779212999999999E-2</c:v>
                </c:pt>
                <c:pt idx="2972">
                  <c:v>1.0798643E-2</c:v>
                </c:pt>
                <c:pt idx="2973">
                  <c:v>1.0798373999999999E-2</c:v>
                </c:pt>
                <c:pt idx="2974">
                  <c:v>1.0842879999999999E-2</c:v>
                </c:pt>
                <c:pt idx="2975">
                  <c:v>1.0878222E-2</c:v>
                </c:pt>
                <c:pt idx="2976">
                  <c:v>1.0908991999999999E-2</c:v>
                </c:pt>
                <c:pt idx="2977">
                  <c:v>1.0929223E-2</c:v>
                </c:pt>
                <c:pt idx="2978">
                  <c:v>1.0977338999999999E-2</c:v>
                </c:pt>
                <c:pt idx="2979">
                  <c:v>1.1001489999999999E-2</c:v>
                </c:pt>
                <c:pt idx="2980">
                  <c:v>1.1003807000000001E-2</c:v>
                </c:pt>
                <c:pt idx="2981">
                  <c:v>1.1015291999999999E-2</c:v>
                </c:pt>
                <c:pt idx="2982">
                  <c:v>1.1033803E-2</c:v>
                </c:pt>
                <c:pt idx="2983">
                  <c:v>1.103751E-2</c:v>
                </c:pt>
                <c:pt idx="2984">
                  <c:v>1.1060706E-2</c:v>
                </c:pt>
                <c:pt idx="2985">
                  <c:v>1.1077632E-2</c:v>
                </c:pt>
                <c:pt idx="2986">
                  <c:v>1.1072927E-2</c:v>
                </c:pt>
                <c:pt idx="2987">
                  <c:v>1.1089139E-2</c:v>
                </c:pt>
                <c:pt idx="2988">
                  <c:v>1.1086156999999999E-2</c:v>
                </c:pt>
                <c:pt idx="2989">
                  <c:v>1.1084271E-2</c:v>
                </c:pt>
                <c:pt idx="2990">
                  <c:v>1.1098156E-2</c:v>
                </c:pt>
                <c:pt idx="2991">
                  <c:v>1.110272E-2</c:v>
                </c:pt>
                <c:pt idx="2992">
                  <c:v>1.1072109E-2</c:v>
                </c:pt>
                <c:pt idx="2993">
                  <c:v>1.104926E-2</c:v>
                </c:pt>
                <c:pt idx="2994">
                  <c:v>1.1024483999999999E-2</c:v>
                </c:pt>
                <c:pt idx="2995">
                  <c:v>1.1012921E-2</c:v>
                </c:pt>
                <c:pt idx="2996">
                  <c:v>1.1029369000000001E-2</c:v>
                </c:pt>
                <c:pt idx="2997">
                  <c:v>1.0992975E-2</c:v>
                </c:pt>
                <c:pt idx="2998">
                  <c:v>1.0951252999999999E-2</c:v>
                </c:pt>
                <c:pt idx="2999">
                  <c:v>1.0920631E-2</c:v>
                </c:pt>
                <c:pt idx="3000">
                  <c:v>1.0915746E-2</c:v>
                </c:pt>
                <c:pt idx="3001">
                  <c:v>1.0906585999999999E-2</c:v>
                </c:pt>
                <c:pt idx="3002">
                  <c:v>1.0901989000000001E-2</c:v>
                </c:pt>
                <c:pt idx="3003">
                  <c:v>1.0901782E-2</c:v>
                </c:pt>
                <c:pt idx="3004">
                  <c:v>1.0902913E-2</c:v>
                </c:pt>
                <c:pt idx="3005">
                  <c:v>1.0891154E-2</c:v>
                </c:pt>
                <c:pt idx="3006">
                  <c:v>1.0893096E-2</c:v>
                </c:pt>
                <c:pt idx="3007">
                  <c:v>1.0916567E-2</c:v>
                </c:pt>
                <c:pt idx="3008">
                  <c:v>1.0917199000000001E-2</c:v>
                </c:pt>
                <c:pt idx="3009">
                  <c:v>1.0910282E-2</c:v>
                </c:pt>
                <c:pt idx="3010">
                  <c:v>1.0905178E-2</c:v>
                </c:pt>
                <c:pt idx="3011">
                  <c:v>1.0918198E-2</c:v>
                </c:pt>
                <c:pt idx="3012">
                  <c:v>1.0929319E-2</c:v>
                </c:pt>
                <c:pt idx="3013">
                  <c:v>1.0945282000000001E-2</c:v>
                </c:pt>
                <c:pt idx="3014">
                  <c:v>1.0955647000000001E-2</c:v>
                </c:pt>
                <c:pt idx="3015">
                  <c:v>1.0954376E-2</c:v>
                </c:pt>
                <c:pt idx="3016">
                  <c:v>1.0964546E-2</c:v>
                </c:pt>
                <c:pt idx="3017">
                  <c:v>1.0965912E-2</c:v>
                </c:pt>
                <c:pt idx="3018">
                  <c:v>1.0974462000000001E-2</c:v>
                </c:pt>
                <c:pt idx="3019">
                  <c:v>1.0980324E-2</c:v>
                </c:pt>
                <c:pt idx="3020">
                  <c:v>1.0970035E-2</c:v>
                </c:pt>
                <c:pt idx="3021">
                  <c:v>1.0952745999999999E-2</c:v>
                </c:pt>
                <c:pt idx="3022">
                  <c:v>1.0882185000000001E-2</c:v>
                </c:pt>
                <c:pt idx="3023">
                  <c:v>1.0817963E-2</c:v>
                </c:pt>
                <c:pt idx="3024">
                  <c:v>1.0794628000000001E-2</c:v>
                </c:pt>
                <c:pt idx="3025">
                  <c:v>1.076885E-2</c:v>
                </c:pt>
                <c:pt idx="3026">
                  <c:v>1.0758301E-2</c:v>
                </c:pt>
                <c:pt idx="3027">
                  <c:v>1.0781714E-2</c:v>
                </c:pt>
                <c:pt idx="3028">
                  <c:v>1.0789283E-2</c:v>
                </c:pt>
                <c:pt idx="3029">
                  <c:v>1.0824425E-2</c:v>
                </c:pt>
                <c:pt idx="3030">
                  <c:v>1.0830599E-2</c:v>
                </c:pt>
                <c:pt idx="3031">
                  <c:v>1.0843764000000001E-2</c:v>
                </c:pt>
                <c:pt idx="3032">
                  <c:v>1.0852329000000001E-2</c:v>
                </c:pt>
                <c:pt idx="3033">
                  <c:v>1.0859028E-2</c:v>
                </c:pt>
                <c:pt idx="3034">
                  <c:v>1.0866887E-2</c:v>
                </c:pt>
                <c:pt idx="3035">
                  <c:v>1.0878527000000001E-2</c:v>
                </c:pt>
                <c:pt idx="3036">
                  <c:v>1.0885989E-2</c:v>
                </c:pt>
                <c:pt idx="3037">
                  <c:v>1.0903837E-2</c:v>
                </c:pt>
                <c:pt idx="3038">
                  <c:v>1.0910448E-2</c:v>
                </c:pt>
                <c:pt idx="3039">
                  <c:v>1.0922849E-2</c:v>
                </c:pt>
                <c:pt idx="3040">
                  <c:v>1.0955219E-2</c:v>
                </c:pt>
                <c:pt idx="3041">
                  <c:v>1.0985194E-2</c:v>
                </c:pt>
                <c:pt idx="3042">
                  <c:v>1.0993454E-2</c:v>
                </c:pt>
                <c:pt idx="3043">
                  <c:v>1.1020241E-2</c:v>
                </c:pt>
                <c:pt idx="3044">
                  <c:v>1.1084197E-2</c:v>
                </c:pt>
                <c:pt idx="3045">
                  <c:v>1.1124780000000001E-2</c:v>
                </c:pt>
                <c:pt idx="3046">
                  <c:v>1.1196965E-2</c:v>
                </c:pt>
                <c:pt idx="3047">
                  <c:v>1.1244382000000001E-2</c:v>
                </c:pt>
                <c:pt idx="3048">
                  <c:v>1.1266241999999999E-2</c:v>
                </c:pt>
                <c:pt idx="3049">
                  <c:v>1.1308597E-2</c:v>
                </c:pt>
                <c:pt idx="3050">
                  <c:v>1.1335954000000001E-2</c:v>
                </c:pt>
                <c:pt idx="3051">
                  <c:v>1.1379267E-2</c:v>
                </c:pt>
                <c:pt idx="3052">
                  <c:v>1.1426202E-2</c:v>
                </c:pt>
                <c:pt idx="3053">
                  <c:v>1.1452476E-2</c:v>
                </c:pt>
                <c:pt idx="3054">
                  <c:v>1.1505401E-2</c:v>
                </c:pt>
                <c:pt idx="3055">
                  <c:v>1.1539046000000001E-2</c:v>
                </c:pt>
                <c:pt idx="3056">
                  <c:v>1.1576955E-2</c:v>
                </c:pt>
                <c:pt idx="3057">
                  <c:v>1.1615274E-2</c:v>
                </c:pt>
                <c:pt idx="3058">
                  <c:v>1.1651051000000001E-2</c:v>
                </c:pt>
                <c:pt idx="3059">
                  <c:v>1.1673805000000001E-2</c:v>
                </c:pt>
                <c:pt idx="3060">
                  <c:v>1.1698785999999999E-2</c:v>
                </c:pt>
                <c:pt idx="3061">
                  <c:v>1.1710775E-2</c:v>
                </c:pt>
                <c:pt idx="3062">
                  <c:v>1.1727319E-2</c:v>
                </c:pt>
                <c:pt idx="3063">
                  <c:v>1.1768328E-2</c:v>
                </c:pt>
                <c:pt idx="3064">
                  <c:v>1.1775330000000001E-2</c:v>
                </c:pt>
                <c:pt idx="3065">
                  <c:v>1.1755740000000001E-2</c:v>
                </c:pt>
                <c:pt idx="3066">
                  <c:v>1.1753100000000001E-2</c:v>
                </c:pt>
                <c:pt idx="3067">
                  <c:v>1.1759097E-2</c:v>
                </c:pt>
                <c:pt idx="3068">
                  <c:v>1.1767877E-2</c:v>
                </c:pt>
                <c:pt idx="3069">
                  <c:v>1.1770968999999999E-2</c:v>
                </c:pt>
                <c:pt idx="3070">
                  <c:v>1.1789844000000001E-2</c:v>
                </c:pt>
                <c:pt idx="3071">
                  <c:v>1.1808193999999999E-2</c:v>
                </c:pt>
                <c:pt idx="3072">
                  <c:v>1.1809823000000001E-2</c:v>
                </c:pt>
                <c:pt idx="3073">
                  <c:v>1.1819273E-2</c:v>
                </c:pt>
                <c:pt idx="3074">
                  <c:v>1.1862262E-2</c:v>
                </c:pt>
                <c:pt idx="3075">
                  <c:v>1.1876964E-2</c:v>
                </c:pt>
                <c:pt idx="3076">
                  <c:v>1.1898943E-2</c:v>
                </c:pt>
                <c:pt idx="3077">
                  <c:v>1.1893892999999999E-2</c:v>
                </c:pt>
                <c:pt idx="3078">
                  <c:v>1.1911142E-2</c:v>
                </c:pt>
                <c:pt idx="3079">
                  <c:v>1.189345E-2</c:v>
                </c:pt>
                <c:pt idx="3080">
                  <c:v>1.1854211E-2</c:v>
                </c:pt>
                <c:pt idx="3081">
                  <c:v>1.1860094E-2</c:v>
                </c:pt>
                <c:pt idx="3082">
                  <c:v>1.1863548999999999E-2</c:v>
                </c:pt>
                <c:pt idx="3083">
                  <c:v>1.1861768E-2</c:v>
                </c:pt>
                <c:pt idx="3084">
                  <c:v>1.1870332000000001E-2</c:v>
                </c:pt>
                <c:pt idx="3085">
                  <c:v>1.1866229000000001E-2</c:v>
                </c:pt>
                <c:pt idx="3086">
                  <c:v>1.1824486E-2</c:v>
                </c:pt>
                <c:pt idx="3087">
                  <c:v>1.1793322E-2</c:v>
                </c:pt>
                <c:pt idx="3088">
                  <c:v>1.1777864000000001E-2</c:v>
                </c:pt>
                <c:pt idx="3089">
                  <c:v>1.1760810999999999E-2</c:v>
                </c:pt>
                <c:pt idx="3090">
                  <c:v>1.1701204E-2</c:v>
                </c:pt>
                <c:pt idx="3091">
                  <c:v>1.1624265999999999E-2</c:v>
                </c:pt>
                <c:pt idx="3092">
                  <c:v>1.1587093999999999E-2</c:v>
                </c:pt>
                <c:pt idx="3093">
                  <c:v>1.1538484E-2</c:v>
                </c:pt>
                <c:pt idx="3094">
                  <c:v>1.1486624000000001E-2</c:v>
                </c:pt>
                <c:pt idx="3095">
                  <c:v>1.143009E-2</c:v>
                </c:pt>
                <c:pt idx="3096">
                  <c:v>1.1414181000000001E-2</c:v>
                </c:pt>
                <c:pt idx="3097">
                  <c:v>1.1407972000000001E-2</c:v>
                </c:pt>
                <c:pt idx="3098">
                  <c:v>1.1398577999999999E-2</c:v>
                </c:pt>
                <c:pt idx="3099">
                  <c:v>1.1388377999999999E-2</c:v>
                </c:pt>
                <c:pt idx="3100">
                  <c:v>1.134629E-2</c:v>
                </c:pt>
                <c:pt idx="3101">
                  <c:v>1.1335714E-2</c:v>
                </c:pt>
                <c:pt idx="3102">
                  <c:v>1.1319930000000001E-2</c:v>
                </c:pt>
                <c:pt idx="3103">
                  <c:v>1.1304764E-2</c:v>
                </c:pt>
                <c:pt idx="3104">
                  <c:v>1.1320531E-2</c:v>
                </c:pt>
                <c:pt idx="3105">
                  <c:v>1.1322321E-2</c:v>
                </c:pt>
                <c:pt idx="3106">
                  <c:v>1.1331529999999999E-2</c:v>
                </c:pt>
                <c:pt idx="3107">
                  <c:v>1.1330975E-2</c:v>
                </c:pt>
                <c:pt idx="3108">
                  <c:v>1.132318E-2</c:v>
                </c:pt>
                <c:pt idx="3109">
                  <c:v>1.1318945E-2</c:v>
                </c:pt>
                <c:pt idx="3110">
                  <c:v>1.1322723999999999E-2</c:v>
                </c:pt>
                <c:pt idx="3111">
                  <c:v>1.1333852E-2</c:v>
                </c:pt>
                <c:pt idx="3112">
                  <c:v>1.1374192999999999E-2</c:v>
                </c:pt>
                <c:pt idx="3113">
                  <c:v>1.1411704E-2</c:v>
                </c:pt>
                <c:pt idx="3114">
                  <c:v>1.1463989000000001E-2</c:v>
                </c:pt>
                <c:pt idx="3115">
                  <c:v>1.1479088E-2</c:v>
                </c:pt>
                <c:pt idx="3116">
                  <c:v>1.1507755E-2</c:v>
                </c:pt>
                <c:pt idx="3117">
                  <c:v>1.1534187E-2</c:v>
                </c:pt>
                <c:pt idx="3118">
                  <c:v>1.1561399E-2</c:v>
                </c:pt>
                <c:pt idx="3119">
                  <c:v>1.15896E-2</c:v>
                </c:pt>
                <c:pt idx="3120">
                  <c:v>1.1634653E-2</c:v>
                </c:pt>
                <c:pt idx="3121">
                  <c:v>1.1671681E-2</c:v>
                </c:pt>
                <c:pt idx="3122">
                  <c:v>1.1696079E-2</c:v>
                </c:pt>
                <c:pt idx="3123">
                  <c:v>1.1731161E-2</c:v>
                </c:pt>
                <c:pt idx="3124">
                  <c:v>1.1730925E-2</c:v>
                </c:pt>
                <c:pt idx="3125">
                  <c:v>1.1777503999999999E-2</c:v>
                </c:pt>
                <c:pt idx="3126">
                  <c:v>1.1808299E-2</c:v>
                </c:pt>
                <c:pt idx="3127">
                  <c:v>1.1843457999999999E-2</c:v>
                </c:pt>
                <c:pt idx="3128">
                  <c:v>1.1919966000000001E-2</c:v>
                </c:pt>
                <c:pt idx="3129">
                  <c:v>1.196173E-2</c:v>
                </c:pt>
                <c:pt idx="3130">
                  <c:v>1.203545E-2</c:v>
                </c:pt>
                <c:pt idx="3131">
                  <c:v>1.2119177E-2</c:v>
                </c:pt>
                <c:pt idx="3132">
                  <c:v>1.2190403000000001E-2</c:v>
                </c:pt>
                <c:pt idx="3133">
                  <c:v>1.2237883999999999E-2</c:v>
                </c:pt>
                <c:pt idx="3134">
                  <c:v>1.2286833E-2</c:v>
                </c:pt>
                <c:pt idx="3135">
                  <c:v>1.2312165E-2</c:v>
                </c:pt>
                <c:pt idx="3136">
                  <c:v>1.2340535999999999E-2</c:v>
                </c:pt>
                <c:pt idx="3137">
                  <c:v>1.2349344E-2</c:v>
                </c:pt>
                <c:pt idx="3138">
                  <c:v>1.2339554000000001E-2</c:v>
                </c:pt>
                <c:pt idx="3139">
                  <c:v>1.2331454E-2</c:v>
                </c:pt>
                <c:pt idx="3140">
                  <c:v>1.2371907E-2</c:v>
                </c:pt>
                <c:pt idx="3141">
                  <c:v>1.2365253E-2</c:v>
                </c:pt>
                <c:pt idx="3142">
                  <c:v>1.2353589E-2</c:v>
                </c:pt>
                <c:pt idx="3143">
                  <c:v>1.2347096E-2</c:v>
                </c:pt>
                <c:pt idx="3144">
                  <c:v>1.2329761999999999E-2</c:v>
                </c:pt>
                <c:pt idx="3145">
                  <c:v>1.2317085E-2</c:v>
                </c:pt>
                <c:pt idx="3146">
                  <c:v>1.2307669E-2</c:v>
                </c:pt>
                <c:pt idx="3147">
                  <c:v>1.2302887E-2</c:v>
                </c:pt>
                <c:pt idx="3148">
                  <c:v>1.230475E-2</c:v>
                </c:pt>
                <c:pt idx="3149">
                  <c:v>1.2295805E-2</c:v>
                </c:pt>
                <c:pt idx="3150">
                  <c:v>1.2301314000000001E-2</c:v>
                </c:pt>
                <c:pt idx="3151">
                  <c:v>1.2296745E-2</c:v>
                </c:pt>
                <c:pt idx="3152">
                  <c:v>1.2309188E-2</c:v>
                </c:pt>
                <c:pt idx="3153">
                  <c:v>1.2311269E-2</c:v>
                </c:pt>
                <c:pt idx="3154">
                  <c:v>1.2324300999999999E-2</c:v>
                </c:pt>
                <c:pt idx="3155">
                  <c:v>1.2339196E-2</c:v>
                </c:pt>
                <c:pt idx="3156">
                  <c:v>1.2361221E-2</c:v>
                </c:pt>
                <c:pt idx="3157">
                  <c:v>1.2383069999999999E-2</c:v>
                </c:pt>
                <c:pt idx="3158">
                  <c:v>1.2401204000000001E-2</c:v>
                </c:pt>
                <c:pt idx="3159">
                  <c:v>1.2437526000000001E-2</c:v>
                </c:pt>
                <c:pt idx="3160">
                  <c:v>1.2482849000000001E-2</c:v>
                </c:pt>
                <c:pt idx="3161">
                  <c:v>1.2516408999999999E-2</c:v>
                </c:pt>
                <c:pt idx="3162">
                  <c:v>1.2542526E-2</c:v>
                </c:pt>
                <c:pt idx="3163">
                  <c:v>1.2581675E-2</c:v>
                </c:pt>
                <c:pt idx="3164">
                  <c:v>1.2614027E-2</c:v>
                </c:pt>
                <c:pt idx="3165">
                  <c:v>1.2654802999999999E-2</c:v>
                </c:pt>
                <c:pt idx="3166">
                  <c:v>1.2666096999999999E-2</c:v>
                </c:pt>
                <c:pt idx="3167">
                  <c:v>1.2678294E-2</c:v>
                </c:pt>
                <c:pt idx="3168">
                  <c:v>1.2707474E-2</c:v>
                </c:pt>
                <c:pt idx="3169">
                  <c:v>1.2741733E-2</c:v>
                </c:pt>
                <c:pt idx="3170">
                  <c:v>1.2824723E-2</c:v>
                </c:pt>
                <c:pt idx="3171">
                  <c:v>1.2875693000000001E-2</c:v>
                </c:pt>
                <c:pt idx="3172">
                  <c:v>1.2934607000000001E-2</c:v>
                </c:pt>
                <c:pt idx="3173">
                  <c:v>1.2983082999999999E-2</c:v>
                </c:pt>
                <c:pt idx="3174">
                  <c:v>1.3018458E-2</c:v>
                </c:pt>
                <c:pt idx="3175">
                  <c:v>1.3073332E-2</c:v>
                </c:pt>
                <c:pt idx="3176">
                  <c:v>1.3113703000000001E-2</c:v>
                </c:pt>
                <c:pt idx="3177">
                  <c:v>1.3148607E-2</c:v>
                </c:pt>
                <c:pt idx="3178">
                  <c:v>1.3174276E-2</c:v>
                </c:pt>
                <c:pt idx="3179">
                  <c:v>1.318067E-2</c:v>
                </c:pt>
                <c:pt idx="3180">
                  <c:v>1.3212010999999999E-2</c:v>
                </c:pt>
                <c:pt idx="3181">
                  <c:v>1.3262439000000001E-2</c:v>
                </c:pt>
                <c:pt idx="3182">
                  <c:v>1.3288835000000001E-2</c:v>
                </c:pt>
                <c:pt idx="3183">
                  <c:v>1.3332406E-2</c:v>
                </c:pt>
                <c:pt idx="3184">
                  <c:v>1.3400677E-2</c:v>
                </c:pt>
                <c:pt idx="3185">
                  <c:v>1.3467432E-2</c:v>
                </c:pt>
                <c:pt idx="3186">
                  <c:v>1.3509949E-2</c:v>
                </c:pt>
                <c:pt idx="3187">
                  <c:v>1.3571517999999999E-2</c:v>
                </c:pt>
                <c:pt idx="3188">
                  <c:v>1.3597013E-2</c:v>
                </c:pt>
                <c:pt idx="3189">
                  <c:v>1.3611913999999999E-2</c:v>
                </c:pt>
                <c:pt idx="3190">
                  <c:v>1.3596267E-2</c:v>
                </c:pt>
                <c:pt idx="3191">
                  <c:v>1.3612552999999999E-2</c:v>
                </c:pt>
                <c:pt idx="3192">
                  <c:v>1.3628674E-2</c:v>
                </c:pt>
                <c:pt idx="3193">
                  <c:v>1.3666116000000001E-2</c:v>
                </c:pt>
                <c:pt idx="3194">
                  <c:v>1.3694115E-2</c:v>
                </c:pt>
                <c:pt idx="3195">
                  <c:v>1.3703653999999999E-2</c:v>
                </c:pt>
                <c:pt idx="3196">
                  <c:v>1.3704058E-2</c:v>
                </c:pt>
                <c:pt idx="3197">
                  <c:v>1.3720249E-2</c:v>
                </c:pt>
                <c:pt idx="3198">
                  <c:v>1.3726445E-2</c:v>
                </c:pt>
                <c:pt idx="3199">
                  <c:v>1.3753971E-2</c:v>
                </c:pt>
                <c:pt idx="3200">
                  <c:v>1.3770431E-2</c:v>
                </c:pt>
                <c:pt idx="3201">
                  <c:v>1.3781666999999999E-2</c:v>
                </c:pt>
                <c:pt idx="3202">
                  <c:v>1.3793165E-2</c:v>
                </c:pt>
                <c:pt idx="3203">
                  <c:v>1.3827506E-2</c:v>
                </c:pt>
                <c:pt idx="3204">
                  <c:v>1.3853419E-2</c:v>
                </c:pt>
                <c:pt idx="3205">
                  <c:v>1.3877017E-2</c:v>
                </c:pt>
                <c:pt idx="3206">
                  <c:v>1.3881856E-2</c:v>
                </c:pt>
                <c:pt idx="3207">
                  <c:v>1.3869229E-2</c:v>
                </c:pt>
                <c:pt idx="3208">
                  <c:v>1.3874567000000001E-2</c:v>
                </c:pt>
                <c:pt idx="3209">
                  <c:v>1.3848736E-2</c:v>
                </c:pt>
                <c:pt idx="3210">
                  <c:v>1.3851909000000001E-2</c:v>
                </c:pt>
                <c:pt idx="3211">
                  <c:v>1.3845206000000001E-2</c:v>
                </c:pt>
                <c:pt idx="3212">
                  <c:v>1.3891874E-2</c:v>
                </c:pt>
                <c:pt idx="3213">
                  <c:v>1.3915540000000001E-2</c:v>
                </c:pt>
                <c:pt idx="3214">
                  <c:v>1.3939686999999999E-2</c:v>
                </c:pt>
                <c:pt idx="3215">
                  <c:v>1.3965296E-2</c:v>
                </c:pt>
                <c:pt idx="3216">
                  <c:v>1.3980704E-2</c:v>
                </c:pt>
                <c:pt idx="3217">
                  <c:v>1.3989602E-2</c:v>
                </c:pt>
                <c:pt idx="3218">
                  <c:v>1.3998342E-2</c:v>
                </c:pt>
                <c:pt idx="3219">
                  <c:v>1.4005144000000001E-2</c:v>
                </c:pt>
                <c:pt idx="3220">
                  <c:v>1.4016623000000001E-2</c:v>
                </c:pt>
                <c:pt idx="3221">
                  <c:v>1.4019846000000001E-2</c:v>
                </c:pt>
                <c:pt idx="3222">
                  <c:v>1.4041049999999999E-2</c:v>
                </c:pt>
                <c:pt idx="3223">
                  <c:v>1.4064488999999999E-2</c:v>
                </c:pt>
                <c:pt idx="3224">
                  <c:v>1.4067718999999999E-2</c:v>
                </c:pt>
                <c:pt idx="3225">
                  <c:v>1.4066922000000001E-2</c:v>
                </c:pt>
                <c:pt idx="3226">
                  <c:v>1.4082803E-2</c:v>
                </c:pt>
                <c:pt idx="3227">
                  <c:v>1.4062124E-2</c:v>
                </c:pt>
                <c:pt idx="3228">
                  <c:v>1.4073125000000001E-2</c:v>
                </c:pt>
                <c:pt idx="3229">
                  <c:v>1.4055826E-2</c:v>
                </c:pt>
                <c:pt idx="3230">
                  <c:v>1.4058793E-2</c:v>
                </c:pt>
                <c:pt idx="3231">
                  <c:v>1.4059277E-2</c:v>
                </c:pt>
                <c:pt idx="3232">
                  <c:v>1.4080985000000001E-2</c:v>
                </c:pt>
                <c:pt idx="3233">
                  <c:v>1.4082348E-2</c:v>
                </c:pt>
                <c:pt idx="3234">
                  <c:v>1.4085105000000001E-2</c:v>
                </c:pt>
                <c:pt idx="3235">
                  <c:v>1.4085172E-2</c:v>
                </c:pt>
                <c:pt idx="3236">
                  <c:v>1.4086248000000001E-2</c:v>
                </c:pt>
                <c:pt idx="3237">
                  <c:v>1.4085881999999999E-2</c:v>
                </c:pt>
                <c:pt idx="3238">
                  <c:v>1.4072398E-2</c:v>
                </c:pt>
                <c:pt idx="3239">
                  <c:v>1.4061140999999999E-2</c:v>
                </c:pt>
                <c:pt idx="3240">
                  <c:v>1.4051691999999999E-2</c:v>
                </c:pt>
                <c:pt idx="3241">
                  <c:v>1.4019759E-2</c:v>
                </c:pt>
                <c:pt idx="3242">
                  <c:v>1.3988110999999999E-2</c:v>
                </c:pt>
                <c:pt idx="3243">
                  <c:v>1.3971590000000001E-2</c:v>
                </c:pt>
                <c:pt idx="3244">
                  <c:v>1.3920187000000001E-2</c:v>
                </c:pt>
                <c:pt idx="3245">
                  <c:v>1.3894082E-2</c:v>
                </c:pt>
                <c:pt idx="3246">
                  <c:v>1.3837332000000001E-2</c:v>
                </c:pt>
                <c:pt idx="3247">
                  <c:v>1.3794994E-2</c:v>
                </c:pt>
                <c:pt idx="3248">
                  <c:v>1.377508E-2</c:v>
                </c:pt>
                <c:pt idx="3249">
                  <c:v>1.3755144E-2</c:v>
                </c:pt>
                <c:pt idx="3250">
                  <c:v>1.3734028000000001E-2</c:v>
                </c:pt>
                <c:pt idx="3251">
                  <c:v>1.3709874E-2</c:v>
                </c:pt>
                <c:pt idx="3252">
                  <c:v>1.3679675000000001E-2</c:v>
                </c:pt>
                <c:pt idx="3253">
                  <c:v>1.3668865000000001E-2</c:v>
                </c:pt>
                <c:pt idx="3254">
                  <c:v>1.3634755E-2</c:v>
                </c:pt>
                <c:pt idx="3255">
                  <c:v>1.3604385E-2</c:v>
                </c:pt>
                <c:pt idx="3256">
                  <c:v>1.357069E-2</c:v>
                </c:pt>
                <c:pt idx="3257">
                  <c:v>1.3553356000000001E-2</c:v>
                </c:pt>
                <c:pt idx="3258">
                  <c:v>1.352078E-2</c:v>
                </c:pt>
                <c:pt idx="3259">
                  <c:v>1.3501766E-2</c:v>
                </c:pt>
                <c:pt idx="3260">
                  <c:v>1.3479859E-2</c:v>
                </c:pt>
                <c:pt idx="3261">
                  <c:v>1.3460664000000001E-2</c:v>
                </c:pt>
                <c:pt idx="3262">
                  <c:v>1.3439066E-2</c:v>
                </c:pt>
                <c:pt idx="3263">
                  <c:v>1.3406599E-2</c:v>
                </c:pt>
                <c:pt idx="3264">
                  <c:v>1.3381730999999999E-2</c:v>
                </c:pt>
                <c:pt idx="3265">
                  <c:v>1.3366986000000001E-2</c:v>
                </c:pt>
                <c:pt idx="3266">
                  <c:v>1.3354658E-2</c:v>
                </c:pt>
                <c:pt idx="3267">
                  <c:v>1.3337542000000001E-2</c:v>
                </c:pt>
                <c:pt idx="3268">
                  <c:v>1.333704E-2</c:v>
                </c:pt>
                <c:pt idx="3269">
                  <c:v>1.3377253E-2</c:v>
                </c:pt>
                <c:pt idx="3270">
                  <c:v>1.3371060000000001E-2</c:v>
                </c:pt>
                <c:pt idx="3271">
                  <c:v>1.3364661999999999E-2</c:v>
                </c:pt>
                <c:pt idx="3272">
                  <c:v>1.3357832E-2</c:v>
                </c:pt>
                <c:pt idx="3273">
                  <c:v>1.3331727999999999E-2</c:v>
                </c:pt>
                <c:pt idx="3274">
                  <c:v>1.3284363E-2</c:v>
                </c:pt>
                <c:pt idx="3275">
                  <c:v>1.3268102E-2</c:v>
                </c:pt>
                <c:pt idx="3276">
                  <c:v>1.3237659000000001E-2</c:v>
                </c:pt>
                <c:pt idx="3277">
                  <c:v>1.3212499000000001E-2</c:v>
                </c:pt>
                <c:pt idx="3278">
                  <c:v>1.3177070000000001E-2</c:v>
                </c:pt>
                <c:pt idx="3279">
                  <c:v>1.3150935000000001E-2</c:v>
                </c:pt>
                <c:pt idx="3280">
                  <c:v>1.3125711999999999E-2</c:v>
                </c:pt>
                <c:pt idx="3281">
                  <c:v>1.3102997E-2</c:v>
                </c:pt>
                <c:pt idx="3282">
                  <c:v>1.3090249E-2</c:v>
                </c:pt>
                <c:pt idx="3283">
                  <c:v>1.307932E-2</c:v>
                </c:pt>
                <c:pt idx="3284">
                  <c:v>1.3051406E-2</c:v>
                </c:pt>
                <c:pt idx="3285">
                  <c:v>1.3018731E-2</c:v>
                </c:pt>
                <c:pt idx="3286">
                  <c:v>1.3026503E-2</c:v>
                </c:pt>
                <c:pt idx="3287">
                  <c:v>1.3013188E-2</c:v>
                </c:pt>
                <c:pt idx="3288">
                  <c:v>1.2994425E-2</c:v>
                </c:pt>
                <c:pt idx="3289">
                  <c:v>1.2968898E-2</c:v>
                </c:pt>
                <c:pt idx="3290">
                  <c:v>1.2950643E-2</c:v>
                </c:pt>
                <c:pt idx="3291">
                  <c:v>1.2937143E-2</c:v>
                </c:pt>
                <c:pt idx="3292">
                  <c:v>1.2939482E-2</c:v>
                </c:pt>
                <c:pt idx="3293">
                  <c:v>1.2955024000000001E-2</c:v>
                </c:pt>
                <c:pt idx="3294">
                  <c:v>1.2987063E-2</c:v>
                </c:pt>
                <c:pt idx="3295">
                  <c:v>1.2995922E-2</c:v>
                </c:pt>
                <c:pt idx="3296">
                  <c:v>1.2997694000000001E-2</c:v>
                </c:pt>
                <c:pt idx="3297">
                  <c:v>1.2983355E-2</c:v>
                </c:pt>
                <c:pt idx="3298">
                  <c:v>1.2974075E-2</c:v>
                </c:pt>
                <c:pt idx="3299">
                  <c:v>1.2934085E-2</c:v>
                </c:pt>
                <c:pt idx="3300">
                  <c:v>1.2921238E-2</c:v>
                </c:pt>
                <c:pt idx="3301">
                  <c:v>1.2920928999999999E-2</c:v>
                </c:pt>
                <c:pt idx="3302">
                  <c:v>1.2907696E-2</c:v>
                </c:pt>
                <c:pt idx="3303">
                  <c:v>1.2900567E-2</c:v>
                </c:pt>
                <c:pt idx="3304">
                  <c:v>1.2885709E-2</c:v>
                </c:pt>
                <c:pt idx="3305">
                  <c:v>1.2883129E-2</c:v>
                </c:pt>
                <c:pt idx="3306">
                  <c:v>1.2876146999999999E-2</c:v>
                </c:pt>
                <c:pt idx="3307">
                  <c:v>1.2855264E-2</c:v>
                </c:pt>
                <c:pt idx="3308">
                  <c:v>1.2857644999999999E-2</c:v>
                </c:pt>
                <c:pt idx="3309">
                  <c:v>1.2844608E-2</c:v>
                </c:pt>
                <c:pt idx="3310">
                  <c:v>1.2831297E-2</c:v>
                </c:pt>
                <c:pt idx="3311">
                  <c:v>1.2821348E-2</c:v>
                </c:pt>
                <c:pt idx="3312">
                  <c:v>1.2781951999999999E-2</c:v>
                </c:pt>
                <c:pt idx="3313">
                  <c:v>1.2747173000000001E-2</c:v>
                </c:pt>
                <c:pt idx="3314">
                  <c:v>1.2697490000000001E-2</c:v>
                </c:pt>
                <c:pt idx="3315">
                  <c:v>1.2660954E-2</c:v>
                </c:pt>
                <c:pt idx="3316">
                  <c:v>1.2618384E-2</c:v>
                </c:pt>
                <c:pt idx="3317">
                  <c:v>1.2580004000000001E-2</c:v>
                </c:pt>
                <c:pt idx="3318">
                  <c:v>1.2559806E-2</c:v>
                </c:pt>
                <c:pt idx="3319">
                  <c:v>1.2526216999999999E-2</c:v>
                </c:pt>
                <c:pt idx="3320">
                  <c:v>1.2473267999999999E-2</c:v>
                </c:pt>
                <c:pt idx="3321">
                  <c:v>1.2423106999999999E-2</c:v>
                </c:pt>
                <c:pt idx="3322">
                  <c:v>1.2393629999999999E-2</c:v>
                </c:pt>
                <c:pt idx="3323">
                  <c:v>1.2344278E-2</c:v>
                </c:pt>
                <c:pt idx="3324">
                  <c:v>1.2289448E-2</c:v>
                </c:pt>
                <c:pt idx="3325">
                  <c:v>1.2240031E-2</c:v>
                </c:pt>
                <c:pt idx="3326">
                  <c:v>1.2204764999999999E-2</c:v>
                </c:pt>
                <c:pt idx="3327">
                  <c:v>1.2167786999999999E-2</c:v>
                </c:pt>
                <c:pt idx="3328">
                  <c:v>1.2091526999999999E-2</c:v>
                </c:pt>
                <c:pt idx="3329">
                  <c:v>1.2040054E-2</c:v>
                </c:pt>
                <c:pt idx="3330">
                  <c:v>1.195945E-2</c:v>
                </c:pt>
                <c:pt idx="3331">
                  <c:v>1.1881195000000001E-2</c:v>
                </c:pt>
                <c:pt idx="3332">
                  <c:v>1.1805038E-2</c:v>
                </c:pt>
                <c:pt idx="3333">
                  <c:v>1.1752215999999999E-2</c:v>
                </c:pt>
                <c:pt idx="3334">
                  <c:v>1.170185E-2</c:v>
                </c:pt>
                <c:pt idx="3335">
                  <c:v>1.168842E-2</c:v>
                </c:pt>
                <c:pt idx="3336">
                  <c:v>1.1650739E-2</c:v>
                </c:pt>
                <c:pt idx="3337">
                  <c:v>1.1647370000000001E-2</c:v>
                </c:pt>
                <c:pt idx="3338">
                  <c:v>1.1624727E-2</c:v>
                </c:pt>
                <c:pt idx="3339">
                  <c:v>1.1614279E-2</c:v>
                </c:pt>
                <c:pt idx="3340">
                  <c:v>1.1559112E-2</c:v>
                </c:pt>
                <c:pt idx="3341">
                  <c:v>1.1540297E-2</c:v>
                </c:pt>
                <c:pt idx="3342">
                  <c:v>1.1543247E-2</c:v>
                </c:pt>
                <c:pt idx="3343">
                  <c:v>1.1525946E-2</c:v>
                </c:pt>
                <c:pt idx="3344">
                  <c:v>1.1502039E-2</c:v>
                </c:pt>
                <c:pt idx="3345">
                  <c:v>1.1514351000000001E-2</c:v>
                </c:pt>
                <c:pt idx="3346">
                  <c:v>1.151859E-2</c:v>
                </c:pt>
                <c:pt idx="3347">
                  <c:v>1.1506225E-2</c:v>
                </c:pt>
                <c:pt idx="3348">
                  <c:v>1.1487024E-2</c:v>
                </c:pt>
                <c:pt idx="3349">
                  <c:v>1.1480522999999999E-2</c:v>
                </c:pt>
                <c:pt idx="3350">
                  <c:v>1.1471039000000001E-2</c:v>
                </c:pt>
                <c:pt idx="3351">
                  <c:v>1.1470370000000001E-2</c:v>
                </c:pt>
                <c:pt idx="3352">
                  <c:v>1.1481982999999999E-2</c:v>
                </c:pt>
                <c:pt idx="3353">
                  <c:v>1.1495626E-2</c:v>
                </c:pt>
                <c:pt idx="3354">
                  <c:v>1.1491839E-2</c:v>
                </c:pt>
                <c:pt idx="3355">
                  <c:v>1.1485761000000001E-2</c:v>
                </c:pt>
                <c:pt idx="3356">
                  <c:v>1.1467672999999999E-2</c:v>
                </c:pt>
                <c:pt idx="3357">
                  <c:v>1.1444202000000001E-2</c:v>
                </c:pt>
                <c:pt idx="3358">
                  <c:v>1.1445467000000001E-2</c:v>
                </c:pt>
                <c:pt idx="3359">
                  <c:v>1.1412894999999999E-2</c:v>
                </c:pt>
                <c:pt idx="3360">
                  <c:v>1.1393024999999999E-2</c:v>
                </c:pt>
                <c:pt idx="3361">
                  <c:v>1.1397284000000001E-2</c:v>
                </c:pt>
                <c:pt idx="3362">
                  <c:v>1.1368356E-2</c:v>
                </c:pt>
                <c:pt idx="3363">
                  <c:v>1.1314991E-2</c:v>
                </c:pt>
                <c:pt idx="3364">
                  <c:v>1.1282655000000001E-2</c:v>
                </c:pt>
                <c:pt idx="3365">
                  <c:v>1.1232012E-2</c:v>
                </c:pt>
                <c:pt idx="3366">
                  <c:v>1.1205194E-2</c:v>
                </c:pt>
                <c:pt idx="3367">
                  <c:v>1.1185934E-2</c:v>
                </c:pt>
                <c:pt idx="3368">
                  <c:v>1.1143541999999999E-2</c:v>
                </c:pt>
                <c:pt idx="3369">
                  <c:v>1.1098291E-2</c:v>
                </c:pt>
                <c:pt idx="3370">
                  <c:v>1.1015676E-2</c:v>
                </c:pt>
                <c:pt idx="3371">
                  <c:v>1.0969994E-2</c:v>
                </c:pt>
                <c:pt idx="3372">
                  <c:v>1.0902167000000001E-2</c:v>
                </c:pt>
                <c:pt idx="3373">
                  <c:v>1.0853121E-2</c:v>
                </c:pt>
                <c:pt idx="3374">
                  <c:v>1.0775069999999999E-2</c:v>
                </c:pt>
                <c:pt idx="3375">
                  <c:v>1.0681256E-2</c:v>
                </c:pt>
                <c:pt idx="3376">
                  <c:v>1.0616838999999999E-2</c:v>
                </c:pt>
                <c:pt idx="3377">
                  <c:v>1.0546013999999999E-2</c:v>
                </c:pt>
                <c:pt idx="3378">
                  <c:v>1.0467155000000001E-2</c:v>
                </c:pt>
                <c:pt idx="3379">
                  <c:v>1.0428124E-2</c:v>
                </c:pt>
                <c:pt idx="3380">
                  <c:v>1.0388074000000001E-2</c:v>
                </c:pt>
                <c:pt idx="3381">
                  <c:v>1.0318469E-2</c:v>
                </c:pt>
                <c:pt idx="3382">
                  <c:v>1.030441E-2</c:v>
                </c:pt>
                <c:pt idx="3383">
                  <c:v>1.0252430999999999E-2</c:v>
                </c:pt>
                <c:pt idx="3384">
                  <c:v>1.0165462E-2</c:v>
                </c:pt>
                <c:pt idx="3385">
                  <c:v>1.0086987E-2</c:v>
                </c:pt>
                <c:pt idx="3386">
                  <c:v>1.0020829E-2</c:v>
                </c:pt>
                <c:pt idx="3387">
                  <c:v>9.9328520000000007E-3</c:v>
                </c:pt>
                <c:pt idx="3388">
                  <c:v>9.8897710000000003E-3</c:v>
                </c:pt>
                <c:pt idx="3389">
                  <c:v>9.8484799999999997E-3</c:v>
                </c:pt>
                <c:pt idx="3390">
                  <c:v>9.8535989999999993E-3</c:v>
                </c:pt>
                <c:pt idx="3391">
                  <c:v>9.8358200000000003E-3</c:v>
                </c:pt>
                <c:pt idx="3392">
                  <c:v>9.8146650000000002E-3</c:v>
                </c:pt>
                <c:pt idx="3393">
                  <c:v>9.7673050000000004E-3</c:v>
                </c:pt>
                <c:pt idx="3394">
                  <c:v>9.7239790000000006E-3</c:v>
                </c:pt>
                <c:pt idx="3395">
                  <c:v>9.6994420000000008E-3</c:v>
                </c:pt>
                <c:pt idx="3396">
                  <c:v>9.6773129999999999E-3</c:v>
                </c:pt>
                <c:pt idx="3397">
                  <c:v>9.6526170000000005E-3</c:v>
                </c:pt>
                <c:pt idx="3398">
                  <c:v>9.6414299999999994E-3</c:v>
                </c:pt>
                <c:pt idx="3399">
                  <c:v>9.588358E-3</c:v>
                </c:pt>
                <c:pt idx="3400">
                  <c:v>9.5668479999999993E-3</c:v>
                </c:pt>
                <c:pt idx="3401">
                  <c:v>9.5513839999999996E-3</c:v>
                </c:pt>
                <c:pt idx="3402">
                  <c:v>9.5241849999999992E-3</c:v>
                </c:pt>
                <c:pt idx="3403">
                  <c:v>9.479899E-3</c:v>
                </c:pt>
                <c:pt idx="3404">
                  <c:v>9.467385E-3</c:v>
                </c:pt>
                <c:pt idx="3405">
                  <c:v>9.4611439999999995E-3</c:v>
                </c:pt>
                <c:pt idx="3406">
                  <c:v>9.4529920000000003E-3</c:v>
                </c:pt>
                <c:pt idx="3407">
                  <c:v>9.4595979999999996E-3</c:v>
                </c:pt>
                <c:pt idx="3408">
                  <c:v>9.4535660000000001E-3</c:v>
                </c:pt>
                <c:pt idx="3409">
                  <c:v>9.4413780000000003E-3</c:v>
                </c:pt>
                <c:pt idx="3410">
                  <c:v>9.4187920000000005E-3</c:v>
                </c:pt>
                <c:pt idx="3411">
                  <c:v>9.4107340000000005E-3</c:v>
                </c:pt>
                <c:pt idx="3412">
                  <c:v>9.3452069999999995E-3</c:v>
                </c:pt>
                <c:pt idx="3413">
                  <c:v>9.3131689999999996E-3</c:v>
                </c:pt>
                <c:pt idx="3414">
                  <c:v>9.2907440000000001E-3</c:v>
                </c:pt>
                <c:pt idx="3415">
                  <c:v>9.2747669999999997E-3</c:v>
                </c:pt>
                <c:pt idx="3416">
                  <c:v>9.2402960000000003E-3</c:v>
                </c:pt>
                <c:pt idx="3417">
                  <c:v>9.2115080000000002E-3</c:v>
                </c:pt>
                <c:pt idx="3418">
                  <c:v>9.1839409999999993E-3</c:v>
                </c:pt>
                <c:pt idx="3419">
                  <c:v>9.1706210000000003E-3</c:v>
                </c:pt>
                <c:pt idx="3420">
                  <c:v>9.1594160000000001E-3</c:v>
                </c:pt>
                <c:pt idx="3421">
                  <c:v>9.1503699999999997E-3</c:v>
                </c:pt>
                <c:pt idx="3422">
                  <c:v>9.1207690000000008E-3</c:v>
                </c:pt>
                <c:pt idx="3423">
                  <c:v>9.1023760000000006E-3</c:v>
                </c:pt>
                <c:pt idx="3424">
                  <c:v>9.0973470000000004E-3</c:v>
                </c:pt>
                <c:pt idx="3425">
                  <c:v>9.1068590000000001E-3</c:v>
                </c:pt>
                <c:pt idx="3426">
                  <c:v>9.1106339999999994E-3</c:v>
                </c:pt>
                <c:pt idx="3427">
                  <c:v>9.1405480000000001E-3</c:v>
                </c:pt>
                <c:pt idx="3428">
                  <c:v>9.1555869999999998E-3</c:v>
                </c:pt>
                <c:pt idx="3429">
                  <c:v>9.169969E-3</c:v>
                </c:pt>
                <c:pt idx="3430">
                  <c:v>9.2079629999999996E-3</c:v>
                </c:pt>
                <c:pt idx="3431">
                  <c:v>9.2468859999999993E-3</c:v>
                </c:pt>
                <c:pt idx="3432">
                  <c:v>9.2529329999999996E-3</c:v>
                </c:pt>
                <c:pt idx="3433">
                  <c:v>9.2964339999999993E-3</c:v>
                </c:pt>
                <c:pt idx="3434">
                  <c:v>9.3405650000000003E-3</c:v>
                </c:pt>
                <c:pt idx="3435">
                  <c:v>9.4613340000000001E-3</c:v>
                </c:pt>
                <c:pt idx="3436">
                  <c:v>9.5941129999999996E-3</c:v>
                </c:pt>
                <c:pt idx="3437">
                  <c:v>9.6868470000000002E-3</c:v>
                </c:pt>
                <c:pt idx="3438">
                  <c:v>9.7410919999999998E-3</c:v>
                </c:pt>
                <c:pt idx="3439">
                  <c:v>9.7961990000000002E-3</c:v>
                </c:pt>
                <c:pt idx="3440">
                  <c:v>9.9029589999999994E-3</c:v>
                </c:pt>
                <c:pt idx="3441">
                  <c:v>9.9820140000000009E-3</c:v>
                </c:pt>
                <c:pt idx="3442">
                  <c:v>1.0095856E-2</c:v>
                </c:pt>
                <c:pt idx="3443">
                  <c:v>1.0204072E-2</c:v>
                </c:pt>
                <c:pt idx="3444">
                  <c:v>1.0306258E-2</c:v>
                </c:pt>
                <c:pt idx="3445">
                  <c:v>1.0376674000000001E-2</c:v>
                </c:pt>
                <c:pt idx="3446">
                  <c:v>1.0464881000000001E-2</c:v>
                </c:pt>
                <c:pt idx="3447">
                  <c:v>1.0543914E-2</c:v>
                </c:pt>
                <c:pt idx="3448">
                  <c:v>1.0596639E-2</c:v>
                </c:pt>
                <c:pt idx="3449">
                  <c:v>1.0632753999999999E-2</c:v>
                </c:pt>
                <c:pt idx="3450">
                  <c:v>1.0701466999999999E-2</c:v>
                </c:pt>
                <c:pt idx="3451">
                  <c:v>1.0741845999999999E-2</c:v>
                </c:pt>
                <c:pt idx="3452">
                  <c:v>1.0789748E-2</c:v>
                </c:pt>
                <c:pt idx="3453">
                  <c:v>1.0841327E-2</c:v>
                </c:pt>
                <c:pt idx="3454">
                  <c:v>1.0883818999999999E-2</c:v>
                </c:pt>
                <c:pt idx="3455">
                  <c:v>1.0936654000000001E-2</c:v>
                </c:pt>
                <c:pt idx="3456">
                  <c:v>1.0973607999999999E-2</c:v>
                </c:pt>
                <c:pt idx="3457">
                  <c:v>1.0988859E-2</c:v>
                </c:pt>
                <c:pt idx="3458">
                  <c:v>1.1011600999999999E-2</c:v>
                </c:pt>
                <c:pt idx="3459">
                  <c:v>1.1078386000000001E-2</c:v>
                </c:pt>
                <c:pt idx="3460">
                  <c:v>1.1167826E-2</c:v>
                </c:pt>
                <c:pt idx="3461">
                  <c:v>1.1232312E-2</c:v>
                </c:pt>
                <c:pt idx="3462">
                  <c:v>1.1296874E-2</c:v>
                </c:pt>
                <c:pt idx="3463">
                  <c:v>1.1374665000000001E-2</c:v>
                </c:pt>
                <c:pt idx="3464">
                  <c:v>1.1466393E-2</c:v>
                </c:pt>
                <c:pt idx="3465">
                  <c:v>1.1510934E-2</c:v>
                </c:pt>
                <c:pt idx="3466">
                  <c:v>1.156132E-2</c:v>
                </c:pt>
                <c:pt idx="3467">
                  <c:v>1.1605641999999999E-2</c:v>
                </c:pt>
                <c:pt idx="3468">
                  <c:v>1.1622541E-2</c:v>
                </c:pt>
                <c:pt idx="3469">
                  <c:v>1.1621337000000001E-2</c:v>
                </c:pt>
                <c:pt idx="3470">
                  <c:v>1.1672152E-2</c:v>
                </c:pt>
                <c:pt idx="3471">
                  <c:v>1.1707946E-2</c:v>
                </c:pt>
                <c:pt idx="3472">
                  <c:v>1.1734001000000001E-2</c:v>
                </c:pt>
                <c:pt idx="3473">
                  <c:v>1.1752304999999999E-2</c:v>
                </c:pt>
                <c:pt idx="3474">
                  <c:v>1.1789341E-2</c:v>
                </c:pt>
                <c:pt idx="3475">
                  <c:v>1.1811802E-2</c:v>
                </c:pt>
                <c:pt idx="3476">
                  <c:v>1.1838286E-2</c:v>
                </c:pt>
                <c:pt idx="3477">
                  <c:v>1.1870218E-2</c:v>
                </c:pt>
                <c:pt idx="3478">
                  <c:v>1.1890203E-2</c:v>
                </c:pt>
                <c:pt idx="3479">
                  <c:v>1.1910482999999999E-2</c:v>
                </c:pt>
                <c:pt idx="3480">
                  <c:v>1.1924517000000001E-2</c:v>
                </c:pt>
                <c:pt idx="3481">
                  <c:v>1.1977237E-2</c:v>
                </c:pt>
                <c:pt idx="3482">
                  <c:v>1.1994708999999999E-2</c:v>
                </c:pt>
                <c:pt idx="3483">
                  <c:v>1.2008173E-2</c:v>
                </c:pt>
                <c:pt idx="3484">
                  <c:v>1.2021311999999999E-2</c:v>
                </c:pt>
                <c:pt idx="3485">
                  <c:v>1.2053022E-2</c:v>
                </c:pt>
                <c:pt idx="3486">
                  <c:v>1.2046401999999999E-2</c:v>
                </c:pt>
                <c:pt idx="3487">
                  <c:v>1.2052667E-2</c:v>
                </c:pt>
                <c:pt idx="3488">
                  <c:v>1.2066446E-2</c:v>
                </c:pt>
                <c:pt idx="3489">
                  <c:v>1.2086776E-2</c:v>
                </c:pt>
                <c:pt idx="3490">
                  <c:v>1.2111155E-2</c:v>
                </c:pt>
                <c:pt idx="3491">
                  <c:v>1.2129582999999999E-2</c:v>
                </c:pt>
                <c:pt idx="3492">
                  <c:v>1.2130162E-2</c:v>
                </c:pt>
                <c:pt idx="3493">
                  <c:v>1.2116274999999999E-2</c:v>
                </c:pt>
                <c:pt idx="3494">
                  <c:v>1.2083066999999999E-2</c:v>
                </c:pt>
                <c:pt idx="3495">
                  <c:v>1.2073566000000001E-2</c:v>
                </c:pt>
                <c:pt idx="3496">
                  <c:v>1.2083636E-2</c:v>
                </c:pt>
                <c:pt idx="3497">
                  <c:v>1.2110513E-2</c:v>
                </c:pt>
                <c:pt idx="3498">
                  <c:v>1.2117675E-2</c:v>
                </c:pt>
                <c:pt idx="3499">
                  <c:v>1.2130798999999999E-2</c:v>
                </c:pt>
                <c:pt idx="3500">
                  <c:v>1.2130914E-2</c:v>
                </c:pt>
                <c:pt idx="3501">
                  <c:v>1.2130192999999999E-2</c:v>
                </c:pt>
                <c:pt idx="3502">
                  <c:v>1.2136129000000001E-2</c:v>
                </c:pt>
                <c:pt idx="3503">
                  <c:v>1.2138738E-2</c:v>
                </c:pt>
                <c:pt idx="3504">
                  <c:v>1.213115E-2</c:v>
                </c:pt>
                <c:pt idx="3505">
                  <c:v>1.2135880999999999E-2</c:v>
                </c:pt>
                <c:pt idx="3506">
                  <c:v>1.2159592E-2</c:v>
                </c:pt>
                <c:pt idx="3507">
                  <c:v>1.2183146000000001E-2</c:v>
                </c:pt>
                <c:pt idx="3508">
                  <c:v>1.2189001E-2</c:v>
                </c:pt>
                <c:pt idx="3509">
                  <c:v>1.2207846E-2</c:v>
                </c:pt>
                <c:pt idx="3510">
                  <c:v>1.2208497E-2</c:v>
                </c:pt>
                <c:pt idx="3511">
                  <c:v>1.2203986E-2</c:v>
                </c:pt>
                <c:pt idx="3512">
                  <c:v>1.2233093E-2</c:v>
                </c:pt>
                <c:pt idx="3513">
                  <c:v>1.2281349E-2</c:v>
                </c:pt>
                <c:pt idx="3514">
                  <c:v>1.2319564999999999E-2</c:v>
                </c:pt>
                <c:pt idx="3515">
                  <c:v>1.2343187E-2</c:v>
                </c:pt>
                <c:pt idx="3516">
                  <c:v>1.2373138000000001E-2</c:v>
                </c:pt>
                <c:pt idx="3517">
                  <c:v>1.2380288E-2</c:v>
                </c:pt>
                <c:pt idx="3518">
                  <c:v>1.2382819999999999E-2</c:v>
                </c:pt>
                <c:pt idx="3519">
                  <c:v>1.2386256999999999E-2</c:v>
                </c:pt>
                <c:pt idx="3520">
                  <c:v>1.2433827E-2</c:v>
                </c:pt>
                <c:pt idx="3521">
                  <c:v>1.2466323E-2</c:v>
                </c:pt>
                <c:pt idx="3522">
                  <c:v>1.2484294999999999E-2</c:v>
                </c:pt>
                <c:pt idx="3523">
                  <c:v>1.2502407E-2</c:v>
                </c:pt>
                <c:pt idx="3524">
                  <c:v>1.2506945E-2</c:v>
                </c:pt>
                <c:pt idx="3525">
                  <c:v>1.2529281E-2</c:v>
                </c:pt>
                <c:pt idx="3526">
                  <c:v>1.2533956000000001E-2</c:v>
                </c:pt>
                <c:pt idx="3527">
                  <c:v>1.2535797E-2</c:v>
                </c:pt>
                <c:pt idx="3528">
                  <c:v>1.2540552999999999E-2</c:v>
                </c:pt>
                <c:pt idx="3529">
                  <c:v>1.2550578999999999E-2</c:v>
                </c:pt>
                <c:pt idx="3530">
                  <c:v>1.2574897E-2</c:v>
                </c:pt>
                <c:pt idx="3531">
                  <c:v>1.2581192E-2</c:v>
                </c:pt>
                <c:pt idx="3532">
                  <c:v>1.2602199999999999E-2</c:v>
                </c:pt>
                <c:pt idx="3533">
                  <c:v>1.2623763E-2</c:v>
                </c:pt>
                <c:pt idx="3534">
                  <c:v>1.2632958999999999E-2</c:v>
                </c:pt>
                <c:pt idx="3535">
                  <c:v>1.2641578000000001E-2</c:v>
                </c:pt>
                <c:pt idx="3536">
                  <c:v>1.2649051999999999E-2</c:v>
                </c:pt>
                <c:pt idx="3537">
                  <c:v>1.2639714999999999E-2</c:v>
                </c:pt>
                <c:pt idx="3538">
                  <c:v>1.2657939E-2</c:v>
                </c:pt>
                <c:pt idx="3539">
                  <c:v>1.2654897999999999E-2</c:v>
                </c:pt>
                <c:pt idx="3540">
                  <c:v>1.2664648000000001E-2</c:v>
                </c:pt>
                <c:pt idx="3541">
                  <c:v>1.2670535E-2</c:v>
                </c:pt>
                <c:pt idx="3542">
                  <c:v>1.2662354000000001E-2</c:v>
                </c:pt>
                <c:pt idx="3543">
                  <c:v>1.2672658E-2</c:v>
                </c:pt>
                <c:pt idx="3544">
                  <c:v>1.2699713E-2</c:v>
                </c:pt>
                <c:pt idx="3545">
                  <c:v>1.269433E-2</c:v>
                </c:pt>
                <c:pt idx="3546">
                  <c:v>1.2716055E-2</c:v>
                </c:pt>
                <c:pt idx="3547">
                  <c:v>1.2728504E-2</c:v>
                </c:pt>
                <c:pt idx="3548">
                  <c:v>1.2743668999999999E-2</c:v>
                </c:pt>
                <c:pt idx="3549">
                  <c:v>1.2751917999999999E-2</c:v>
                </c:pt>
                <c:pt idx="3550">
                  <c:v>1.2759675999999999E-2</c:v>
                </c:pt>
                <c:pt idx="3551">
                  <c:v>1.2748012E-2</c:v>
                </c:pt>
                <c:pt idx="3552">
                  <c:v>1.2723236000000001E-2</c:v>
                </c:pt>
                <c:pt idx="3553">
                  <c:v>1.2711531999999999E-2</c:v>
                </c:pt>
                <c:pt idx="3554">
                  <c:v>1.2704768999999999E-2</c:v>
                </c:pt>
                <c:pt idx="3555">
                  <c:v>1.2730231999999999E-2</c:v>
                </c:pt>
                <c:pt idx="3556">
                  <c:v>1.2740525000000001E-2</c:v>
                </c:pt>
                <c:pt idx="3557">
                  <c:v>1.2740909E-2</c:v>
                </c:pt>
                <c:pt idx="3558">
                  <c:v>1.2732718000000001E-2</c:v>
                </c:pt>
                <c:pt idx="3559">
                  <c:v>1.2725612000000001E-2</c:v>
                </c:pt>
                <c:pt idx="3560">
                  <c:v>1.2711676999999999E-2</c:v>
                </c:pt>
                <c:pt idx="3561">
                  <c:v>1.2700347000000001E-2</c:v>
                </c:pt>
                <c:pt idx="3562">
                  <c:v>1.2695778E-2</c:v>
                </c:pt>
                <c:pt idx="3563">
                  <c:v>1.2700375E-2</c:v>
                </c:pt>
                <c:pt idx="3564">
                  <c:v>1.2714391E-2</c:v>
                </c:pt>
                <c:pt idx="3565">
                  <c:v>1.2739129E-2</c:v>
                </c:pt>
                <c:pt idx="3566">
                  <c:v>1.2754781999999999E-2</c:v>
                </c:pt>
                <c:pt idx="3567">
                  <c:v>1.2780447E-2</c:v>
                </c:pt>
                <c:pt idx="3568">
                  <c:v>1.2819646000000001E-2</c:v>
                </c:pt>
                <c:pt idx="3569">
                  <c:v>1.2834668E-2</c:v>
                </c:pt>
                <c:pt idx="3570">
                  <c:v>1.2867264999999999E-2</c:v>
                </c:pt>
                <c:pt idx="3571">
                  <c:v>1.2878396E-2</c:v>
                </c:pt>
                <c:pt idx="3572">
                  <c:v>1.2897972000000001E-2</c:v>
                </c:pt>
                <c:pt idx="3573">
                  <c:v>1.2904014E-2</c:v>
                </c:pt>
                <c:pt idx="3574">
                  <c:v>1.2920478000000001E-2</c:v>
                </c:pt>
                <c:pt idx="3575">
                  <c:v>1.2948975E-2</c:v>
                </c:pt>
                <c:pt idx="3576">
                  <c:v>1.2949379E-2</c:v>
                </c:pt>
                <c:pt idx="3577">
                  <c:v>1.2963303000000001E-2</c:v>
                </c:pt>
                <c:pt idx="3578">
                  <c:v>1.2989641999999999E-2</c:v>
                </c:pt>
                <c:pt idx="3579">
                  <c:v>1.3002903999999999E-2</c:v>
                </c:pt>
                <c:pt idx="3580">
                  <c:v>1.3013317E-2</c:v>
                </c:pt>
                <c:pt idx="3581">
                  <c:v>1.3026434E-2</c:v>
                </c:pt>
                <c:pt idx="3582">
                  <c:v>1.3019497999999999E-2</c:v>
                </c:pt>
                <c:pt idx="3583">
                  <c:v>1.301896E-2</c:v>
                </c:pt>
                <c:pt idx="3584">
                  <c:v>1.3014800999999999E-2</c:v>
                </c:pt>
                <c:pt idx="3585">
                  <c:v>1.3014263999999999E-2</c:v>
                </c:pt>
                <c:pt idx="3586">
                  <c:v>1.3027206E-2</c:v>
                </c:pt>
                <c:pt idx="3587">
                  <c:v>1.3036793E-2</c:v>
                </c:pt>
                <c:pt idx="3588">
                  <c:v>1.3061082E-2</c:v>
                </c:pt>
                <c:pt idx="3589">
                  <c:v>1.3098947999999999E-2</c:v>
                </c:pt>
                <c:pt idx="3590">
                  <c:v>1.3097433E-2</c:v>
                </c:pt>
                <c:pt idx="3591">
                  <c:v>1.3098888E-2</c:v>
                </c:pt>
                <c:pt idx="3592">
                  <c:v>1.3099230999999999E-2</c:v>
                </c:pt>
                <c:pt idx="3593">
                  <c:v>1.3108932E-2</c:v>
                </c:pt>
                <c:pt idx="3594">
                  <c:v>1.3118797E-2</c:v>
                </c:pt>
                <c:pt idx="3595">
                  <c:v>1.3116535E-2</c:v>
                </c:pt>
                <c:pt idx="3596">
                  <c:v>1.3112537E-2</c:v>
                </c:pt>
                <c:pt idx="3597">
                  <c:v>1.3119418000000001E-2</c:v>
                </c:pt>
                <c:pt idx="3598">
                  <c:v>1.3119696E-2</c:v>
                </c:pt>
                <c:pt idx="3599">
                  <c:v>1.3141355E-2</c:v>
                </c:pt>
                <c:pt idx="3600">
                  <c:v>1.3144579E-2</c:v>
                </c:pt>
                <c:pt idx="3601">
                  <c:v>1.3149246E-2</c:v>
                </c:pt>
                <c:pt idx="3602">
                  <c:v>1.3160458999999999E-2</c:v>
                </c:pt>
                <c:pt idx="3603">
                  <c:v>1.3173529E-2</c:v>
                </c:pt>
                <c:pt idx="3604">
                  <c:v>1.3174659999999999E-2</c:v>
                </c:pt>
                <c:pt idx="3605">
                  <c:v>1.3183376E-2</c:v>
                </c:pt>
                <c:pt idx="3606">
                  <c:v>1.3192258E-2</c:v>
                </c:pt>
                <c:pt idx="3607">
                  <c:v>1.3181349E-2</c:v>
                </c:pt>
                <c:pt idx="3608">
                  <c:v>1.3189833999999999E-2</c:v>
                </c:pt>
                <c:pt idx="3609">
                  <c:v>1.3203931E-2</c:v>
                </c:pt>
                <c:pt idx="3610">
                  <c:v>1.3210873999999999E-2</c:v>
                </c:pt>
                <c:pt idx="3611">
                  <c:v>1.3206541E-2</c:v>
                </c:pt>
                <c:pt idx="3612">
                  <c:v>1.3214198E-2</c:v>
                </c:pt>
                <c:pt idx="3613">
                  <c:v>1.3221105E-2</c:v>
                </c:pt>
                <c:pt idx="3614">
                  <c:v>1.3214702E-2</c:v>
                </c:pt>
                <c:pt idx="3615">
                  <c:v>1.3213084999999999E-2</c:v>
                </c:pt>
                <c:pt idx="3616">
                  <c:v>1.3220256999999999E-2</c:v>
                </c:pt>
                <c:pt idx="3617">
                  <c:v>1.3229694E-2</c:v>
                </c:pt>
                <c:pt idx="3618">
                  <c:v>1.3242182999999999E-2</c:v>
                </c:pt>
                <c:pt idx="3619">
                  <c:v>1.3253801000000001E-2</c:v>
                </c:pt>
                <c:pt idx="3620">
                  <c:v>1.3276273E-2</c:v>
                </c:pt>
                <c:pt idx="3621">
                  <c:v>1.3279147999999999E-2</c:v>
                </c:pt>
                <c:pt idx="3622">
                  <c:v>1.3281635E-2</c:v>
                </c:pt>
                <c:pt idx="3623">
                  <c:v>1.3276748E-2</c:v>
                </c:pt>
                <c:pt idx="3624">
                  <c:v>1.3276980000000001E-2</c:v>
                </c:pt>
                <c:pt idx="3625">
                  <c:v>1.3265426E-2</c:v>
                </c:pt>
                <c:pt idx="3626">
                  <c:v>1.3246407E-2</c:v>
                </c:pt>
                <c:pt idx="3627">
                  <c:v>1.321101E-2</c:v>
                </c:pt>
                <c:pt idx="3628">
                  <c:v>1.3172834E-2</c:v>
                </c:pt>
                <c:pt idx="3629">
                  <c:v>1.3150622000000001E-2</c:v>
                </c:pt>
                <c:pt idx="3630">
                  <c:v>1.3110452999999999E-2</c:v>
                </c:pt>
                <c:pt idx="3631">
                  <c:v>1.3072907E-2</c:v>
                </c:pt>
                <c:pt idx="3632">
                  <c:v>1.3042101E-2</c:v>
                </c:pt>
                <c:pt idx="3633">
                  <c:v>1.3027693E-2</c:v>
                </c:pt>
                <c:pt idx="3634">
                  <c:v>1.3010491000000001E-2</c:v>
                </c:pt>
                <c:pt idx="3635">
                  <c:v>1.2942607E-2</c:v>
                </c:pt>
                <c:pt idx="3636">
                  <c:v>1.2838465E-2</c:v>
                </c:pt>
                <c:pt idx="3637">
                  <c:v>1.2753376E-2</c:v>
                </c:pt>
                <c:pt idx="3638">
                  <c:v>1.2721398E-2</c:v>
                </c:pt>
                <c:pt idx="3639">
                  <c:v>1.2681250999999999E-2</c:v>
                </c:pt>
                <c:pt idx="3640">
                  <c:v>1.2567154000000001E-2</c:v>
                </c:pt>
                <c:pt idx="3641">
                  <c:v>1.2501942E-2</c:v>
                </c:pt>
                <c:pt idx="3642">
                  <c:v>1.2403613000000001E-2</c:v>
                </c:pt>
                <c:pt idx="3643">
                  <c:v>1.2328517000000001E-2</c:v>
                </c:pt>
                <c:pt idx="3644">
                  <c:v>1.2257062000000001E-2</c:v>
                </c:pt>
                <c:pt idx="3645">
                  <c:v>1.2202634E-2</c:v>
                </c:pt>
                <c:pt idx="3646">
                  <c:v>1.2163164000000001E-2</c:v>
                </c:pt>
                <c:pt idx="3647">
                  <c:v>1.2121516000000001E-2</c:v>
                </c:pt>
                <c:pt idx="3648">
                  <c:v>1.2113811E-2</c:v>
                </c:pt>
                <c:pt idx="3649">
                  <c:v>1.2092937999999999E-2</c:v>
                </c:pt>
                <c:pt idx="3650">
                  <c:v>1.206497E-2</c:v>
                </c:pt>
                <c:pt idx="3651">
                  <c:v>1.2043880999999999E-2</c:v>
                </c:pt>
                <c:pt idx="3652">
                  <c:v>1.201312E-2</c:v>
                </c:pt>
                <c:pt idx="3653">
                  <c:v>1.1979205999999999E-2</c:v>
                </c:pt>
                <c:pt idx="3654">
                  <c:v>1.1957979000000001E-2</c:v>
                </c:pt>
                <c:pt idx="3655">
                  <c:v>1.1909912E-2</c:v>
                </c:pt>
                <c:pt idx="3656">
                  <c:v>1.1882511E-2</c:v>
                </c:pt>
                <c:pt idx="3657">
                  <c:v>1.1865539E-2</c:v>
                </c:pt>
                <c:pt idx="3658">
                  <c:v>1.1863909000000001E-2</c:v>
                </c:pt>
                <c:pt idx="3659">
                  <c:v>1.182181E-2</c:v>
                </c:pt>
                <c:pt idx="3660">
                  <c:v>1.1753120000000001E-2</c:v>
                </c:pt>
                <c:pt idx="3661">
                  <c:v>1.1726621E-2</c:v>
                </c:pt>
                <c:pt idx="3662">
                  <c:v>1.1699787E-2</c:v>
                </c:pt>
                <c:pt idx="3663">
                  <c:v>1.1683864E-2</c:v>
                </c:pt>
                <c:pt idx="3664">
                  <c:v>1.1644042E-2</c:v>
                </c:pt>
                <c:pt idx="3665">
                  <c:v>1.1647530999999999E-2</c:v>
                </c:pt>
                <c:pt idx="3666">
                  <c:v>1.1635550999999999E-2</c:v>
                </c:pt>
                <c:pt idx="3667">
                  <c:v>1.1629927999999999E-2</c:v>
                </c:pt>
                <c:pt idx="3668">
                  <c:v>1.1638872999999999E-2</c:v>
                </c:pt>
                <c:pt idx="3669">
                  <c:v>1.1615209E-2</c:v>
                </c:pt>
                <c:pt idx="3670">
                  <c:v>1.1589054999999999E-2</c:v>
                </c:pt>
                <c:pt idx="3671">
                  <c:v>1.1573261E-2</c:v>
                </c:pt>
                <c:pt idx="3672">
                  <c:v>1.1594709999999999E-2</c:v>
                </c:pt>
                <c:pt idx="3673">
                  <c:v>1.1611420000000001E-2</c:v>
                </c:pt>
                <c:pt idx="3674">
                  <c:v>1.1606554999999999E-2</c:v>
                </c:pt>
                <c:pt idx="3675">
                  <c:v>1.1637122E-2</c:v>
                </c:pt>
                <c:pt idx="3676">
                  <c:v>1.1669917E-2</c:v>
                </c:pt>
                <c:pt idx="3677">
                  <c:v>1.1694529E-2</c:v>
                </c:pt>
                <c:pt idx="3678">
                  <c:v>1.1739846E-2</c:v>
                </c:pt>
                <c:pt idx="3679">
                  <c:v>1.1786438E-2</c:v>
                </c:pt>
                <c:pt idx="3680">
                  <c:v>1.1817031E-2</c:v>
                </c:pt>
                <c:pt idx="3681">
                  <c:v>1.1830357999999999E-2</c:v>
                </c:pt>
                <c:pt idx="3682">
                  <c:v>1.1868281E-2</c:v>
                </c:pt>
                <c:pt idx="3683">
                  <c:v>1.1914674E-2</c:v>
                </c:pt>
                <c:pt idx="3684">
                  <c:v>1.1949784E-2</c:v>
                </c:pt>
                <c:pt idx="3685">
                  <c:v>1.1987154E-2</c:v>
                </c:pt>
                <c:pt idx="3686">
                  <c:v>1.2021637999999999E-2</c:v>
                </c:pt>
                <c:pt idx="3687">
                  <c:v>1.2074249E-2</c:v>
                </c:pt>
                <c:pt idx="3688">
                  <c:v>1.2116287E-2</c:v>
                </c:pt>
                <c:pt idx="3689">
                  <c:v>1.2134248E-2</c:v>
                </c:pt>
                <c:pt idx="3690">
                  <c:v>1.2145642E-2</c:v>
                </c:pt>
                <c:pt idx="3691">
                  <c:v>1.2179575E-2</c:v>
                </c:pt>
                <c:pt idx="3692">
                  <c:v>1.2211034000000001E-2</c:v>
                </c:pt>
                <c:pt idx="3693">
                  <c:v>1.2239778999999999E-2</c:v>
                </c:pt>
                <c:pt idx="3694">
                  <c:v>1.2262182999999999E-2</c:v>
                </c:pt>
                <c:pt idx="3695">
                  <c:v>1.2308583E-2</c:v>
                </c:pt>
                <c:pt idx="3696">
                  <c:v>1.2318493E-2</c:v>
                </c:pt>
                <c:pt idx="3697">
                  <c:v>1.2322692E-2</c:v>
                </c:pt>
                <c:pt idx="3698">
                  <c:v>1.2342848999999999E-2</c:v>
                </c:pt>
                <c:pt idx="3699">
                  <c:v>1.2369290999999999E-2</c:v>
                </c:pt>
                <c:pt idx="3700">
                  <c:v>1.2376750000000001E-2</c:v>
                </c:pt>
                <c:pt idx="3701">
                  <c:v>1.2383425E-2</c:v>
                </c:pt>
                <c:pt idx="3702">
                  <c:v>1.2399901E-2</c:v>
                </c:pt>
                <c:pt idx="3703">
                  <c:v>1.2407609E-2</c:v>
                </c:pt>
                <c:pt idx="3704">
                  <c:v>1.2423495999999999E-2</c:v>
                </c:pt>
                <c:pt idx="3705">
                  <c:v>1.2433058E-2</c:v>
                </c:pt>
                <c:pt idx="3706">
                  <c:v>1.2406861E-2</c:v>
                </c:pt>
                <c:pt idx="3707">
                  <c:v>1.2416379E-2</c:v>
                </c:pt>
                <c:pt idx="3708">
                  <c:v>1.2421959999999999E-2</c:v>
                </c:pt>
                <c:pt idx="3709">
                  <c:v>1.2418957E-2</c:v>
                </c:pt>
                <c:pt idx="3710">
                  <c:v>1.2432356E-2</c:v>
                </c:pt>
                <c:pt idx="3711">
                  <c:v>1.243645E-2</c:v>
                </c:pt>
                <c:pt idx="3712">
                  <c:v>1.2426764999999999E-2</c:v>
                </c:pt>
                <c:pt idx="3713">
                  <c:v>1.2393331E-2</c:v>
                </c:pt>
                <c:pt idx="3714">
                  <c:v>1.2360011000000001E-2</c:v>
                </c:pt>
                <c:pt idx="3715">
                  <c:v>1.2374563E-2</c:v>
                </c:pt>
                <c:pt idx="3716">
                  <c:v>1.2360926E-2</c:v>
                </c:pt>
                <c:pt idx="3717">
                  <c:v>1.2368796E-2</c:v>
                </c:pt>
                <c:pt idx="3718">
                  <c:v>1.2355589E-2</c:v>
                </c:pt>
                <c:pt idx="3719">
                  <c:v>1.2357724E-2</c:v>
                </c:pt>
                <c:pt idx="3720">
                  <c:v>1.2318137999999999E-2</c:v>
                </c:pt>
                <c:pt idx="3721">
                  <c:v>1.2293824E-2</c:v>
                </c:pt>
                <c:pt idx="3722">
                  <c:v>1.2294793E-2</c:v>
                </c:pt>
                <c:pt idx="3723">
                  <c:v>1.2290867E-2</c:v>
                </c:pt>
                <c:pt idx="3724">
                  <c:v>1.2318594E-2</c:v>
                </c:pt>
                <c:pt idx="3725">
                  <c:v>1.2333578E-2</c:v>
                </c:pt>
                <c:pt idx="3726">
                  <c:v>1.2348612E-2</c:v>
                </c:pt>
                <c:pt idx="3727">
                  <c:v>1.2369913999999999E-2</c:v>
                </c:pt>
                <c:pt idx="3728">
                  <c:v>1.2390114000000001E-2</c:v>
                </c:pt>
                <c:pt idx="3729">
                  <c:v>1.2397495E-2</c:v>
                </c:pt>
                <c:pt idx="3730">
                  <c:v>1.2387762E-2</c:v>
                </c:pt>
                <c:pt idx="3731">
                  <c:v>1.2388912E-2</c:v>
                </c:pt>
                <c:pt idx="3732">
                  <c:v>1.2383003E-2</c:v>
                </c:pt>
                <c:pt idx="3733">
                  <c:v>1.2391795000000001E-2</c:v>
                </c:pt>
                <c:pt idx="3734">
                  <c:v>1.2393258000000001E-2</c:v>
                </c:pt>
                <c:pt idx="3735">
                  <c:v>1.2388145E-2</c:v>
                </c:pt>
                <c:pt idx="3736">
                  <c:v>1.2392451000000001E-2</c:v>
                </c:pt>
                <c:pt idx="3737">
                  <c:v>1.2392668000000001E-2</c:v>
                </c:pt>
                <c:pt idx="3738">
                  <c:v>1.2375598E-2</c:v>
                </c:pt>
                <c:pt idx="3739">
                  <c:v>1.2368281E-2</c:v>
                </c:pt>
                <c:pt idx="3740">
                  <c:v>1.2363648E-2</c:v>
                </c:pt>
                <c:pt idx="3741">
                  <c:v>1.2358213999999999E-2</c:v>
                </c:pt>
                <c:pt idx="3742">
                  <c:v>1.2357949E-2</c:v>
                </c:pt>
                <c:pt idx="3743">
                  <c:v>1.2377463999999999E-2</c:v>
                </c:pt>
                <c:pt idx="3744">
                  <c:v>1.238583E-2</c:v>
                </c:pt>
                <c:pt idx="3745">
                  <c:v>1.2394844E-2</c:v>
                </c:pt>
                <c:pt idx="3746">
                  <c:v>1.2373986E-2</c:v>
                </c:pt>
                <c:pt idx="3747">
                  <c:v>1.2374539E-2</c:v>
                </c:pt>
                <c:pt idx="3748">
                  <c:v>1.2392296000000001E-2</c:v>
                </c:pt>
                <c:pt idx="3749">
                  <c:v>1.2399524E-2</c:v>
                </c:pt>
                <c:pt idx="3750">
                  <c:v>1.2410816999999999E-2</c:v>
                </c:pt>
                <c:pt idx="3751">
                  <c:v>1.2432639000000001E-2</c:v>
                </c:pt>
                <c:pt idx="3752">
                  <c:v>1.2447794E-2</c:v>
                </c:pt>
                <c:pt idx="3753">
                  <c:v>1.2462589E-2</c:v>
                </c:pt>
                <c:pt idx="3754">
                  <c:v>1.2468099E-2</c:v>
                </c:pt>
                <c:pt idx="3755">
                  <c:v>1.2442129999999999E-2</c:v>
                </c:pt>
                <c:pt idx="3756">
                  <c:v>1.2451383999999999E-2</c:v>
                </c:pt>
                <c:pt idx="3757">
                  <c:v>1.2480731E-2</c:v>
                </c:pt>
                <c:pt idx="3758">
                  <c:v>1.2510953E-2</c:v>
                </c:pt>
                <c:pt idx="3759">
                  <c:v>1.2526338999999999E-2</c:v>
                </c:pt>
                <c:pt idx="3760">
                  <c:v>1.2534761E-2</c:v>
                </c:pt>
                <c:pt idx="3761">
                  <c:v>1.2531515E-2</c:v>
                </c:pt>
                <c:pt idx="3762">
                  <c:v>1.2543736999999999E-2</c:v>
                </c:pt>
                <c:pt idx="3763">
                  <c:v>1.25772E-2</c:v>
                </c:pt>
                <c:pt idx="3764">
                  <c:v>1.2636301000000001E-2</c:v>
                </c:pt>
                <c:pt idx="3765">
                  <c:v>1.2708756E-2</c:v>
                </c:pt>
                <c:pt idx="3766">
                  <c:v>1.2838319000000001E-2</c:v>
                </c:pt>
                <c:pt idx="3767">
                  <c:v>1.2959882000000001E-2</c:v>
                </c:pt>
                <c:pt idx="3768">
                  <c:v>1.3023911000000001E-2</c:v>
                </c:pt>
                <c:pt idx="3769">
                  <c:v>1.3119405000000001E-2</c:v>
                </c:pt>
                <c:pt idx="3770">
                  <c:v>1.3188017E-2</c:v>
                </c:pt>
                <c:pt idx="3771">
                  <c:v>1.3269078E-2</c:v>
                </c:pt>
                <c:pt idx="3772">
                  <c:v>1.3337035000000001E-2</c:v>
                </c:pt>
                <c:pt idx="3773">
                  <c:v>1.341002E-2</c:v>
                </c:pt>
                <c:pt idx="3774">
                  <c:v>1.3488249000000001E-2</c:v>
                </c:pt>
                <c:pt idx="3775">
                  <c:v>1.3527323000000001E-2</c:v>
                </c:pt>
                <c:pt idx="3776">
                  <c:v>1.3597699E-2</c:v>
                </c:pt>
                <c:pt idx="3777">
                  <c:v>1.3645203E-2</c:v>
                </c:pt>
                <c:pt idx="3778">
                  <c:v>1.3692721999999999E-2</c:v>
                </c:pt>
                <c:pt idx="3779">
                  <c:v>1.3752835999999999E-2</c:v>
                </c:pt>
                <c:pt idx="3780">
                  <c:v>1.3819570999999999E-2</c:v>
                </c:pt>
                <c:pt idx="3781">
                  <c:v>1.3851240000000001E-2</c:v>
                </c:pt>
                <c:pt idx="3782">
                  <c:v>1.3870535999999999E-2</c:v>
                </c:pt>
                <c:pt idx="3783">
                  <c:v>1.3919383E-2</c:v>
                </c:pt>
                <c:pt idx="3784">
                  <c:v>1.3963279E-2</c:v>
                </c:pt>
                <c:pt idx="3785">
                  <c:v>1.4011872999999999E-2</c:v>
                </c:pt>
                <c:pt idx="3786">
                  <c:v>1.4073614E-2</c:v>
                </c:pt>
                <c:pt idx="3787">
                  <c:v>1.4144815999999999E-2</c:v>
                </c:pt>
                <c:pt idx="3788">
                  <c:v>1.4188871E-2</c:v>
                </c:pt>
                <c:pt idx="3789">
                  <c:v>1.4232483000000001E-2</c:v>
                </c:pt>
                <c:pt idx="3790">
                  <c:v>1.4289358E-2</c:v>
                </c:pt>
                <c:pt idx="3791">
                  <c:v>1.4343791999999999E-2</c:v>
                </c:pt>
                <c:pt idx="3792">
                  <c:v>1.4407216E-2</c:v>
                </c:pt>
                <c:pt idx="3793">
                  <c:v>1.4461839000000001E-2</c:v>
                </c:pt>
                <c:pt idx="3794">
                  <c:v>1.4494946999999999E-2</c:v>
                </c:pt>
                <c:pt idx="3795">
                  <c:v>1.4529286000000001E-2</c:v>
                </c:pt>
                <c:pt idx="3796">
                  <c:v>1.4616684E-2</c:v>
                </c:pt>
                <c:pt idx="3797">
                  <c:v>1.4665966000000001E-2</c:v>
                </c:pt>
                <c:pt idx="3798">
                  <c:v>1.471393E-2</c:v>
                </c:pt>
                <c:pt idx="3799">
                  <c:v>1.4735738E-2</c:v>
                </c:pt>
                <c:pt idx="3800">
                  <c:v>1.4756752E-2</c:v>
                </c:pt>
                <c:pt idx="3801">
                  <c:v>1.4787638000000001E-2</c:v>
                </c:pt>
                <c:pt idx="3802">
                  <c:v>1.480746E-2</c:v>
                </c:pt>
                <c:pt idx="3803">
                  <c:v>1.4829515999999999E-2</c:v>
                </c:pt>
                <c:pt idx="3804">
                  <c:v>1.4833359000000001E-2</c:v>
                </c:pt>
                <c:pt idx="3805">
                  <c:v>1.4851072999999999E-2</c:v>
                </c:pt>
                <c:pt idx="3806">
                  <c:v>1.4895660999999999E-2</c:v>
                </c:pt>
                <c:pt idx="3807">
                  <c:v>1.4915098999999999E-2</c:v>
                </c:pt>
                <c:pt idx="3808">
                  <c:v>1.4939475000000001E-2</c:v>
                </c:pt>
                <c:pt idx="3809">
                  <c:v>1.4959569000000001E-2</c:v>
                </c:pt>
                <c:pt idx="3810">
                  <c:v>1.4976377000000001E-2</c:v>
                </c:pt>
                <c:pt idx="3811">
                  <c:v>1.5008613000000001E-2</c:v>
                </c:pt>
                <c:pt idx="3812">
                  <c:v>1.5029516999999999E-2</c:v>
                </c:pt>
                <c:pt idx="3813">
                  <c:v>1.5057724999999999E-2</c:v>
                </c:pt>
                <c:pt idx="3814">
                  <c:v>1.5084451E-2</c:v>
                </c:pt>
                <c:pt idx="3815">
                  <c:v>1.5093515E-2</c:v>
                </c:pt>
                <c:pt idx="3816">
                  <c:v>1.5103159E-2</c:v>
                </c:pt>
                <c:pt idx="3817">
                  <c:v>1.5113935E-2</c:v>
                </c:pt>
                <c:pt idx="3818">
                  <c:v>1.5113428999999999E-2</c:v>
                </c:pt>
                <c:pt idx="3819">
                  <c:v>1.5109225E-2</c:v>
                </c:pt>
                <c:pt idx="3820">
                  <c:v>1.5120394000000001E-2</c:v>
                </c:pt>
                <c:pt idx="3821">
                  <c:v>1.5134929E-2</c:v>
                </c:pt>
                <c:pt idx="3822">
                  <c:v>1.515386E-2</c:v>
                </c:pt>
                <c:pt idx="3823">
                  <c:v>1.5158395999999999E-2</c:v>
                </c:pt>
                <c:pt idx="3824">
                  <c:v>1.5169429999999999E-2</c:v>
                </c:pt>
                <c:pt idx="3825">
                  <c:v>1.5173508E-2</c:v>
                </c:pt>
                <c:pt idx="3826">
                  <c:v>1.5170123000000001E-2</c:v>
                </c:pt>
                <c:pt idx="3827">
                  <c:v>1.5164074E-2</c:v>
                </c:pt>
                <c:pt idx="3828">
                  <c:v>1.5164637E-2</c:v>
                </c:pt>
                <c:pt idx="3829">
                  <c:v>1.5167079999999999E-2</c:v>
                </c:pt>
                <c:pt idx="3830">
                  <c:v>1.5187366000000001E-2</c:v>
                </c:pt>
                <c:pt idx="3831">
                  <c:v>1.5189161E-2</c:v>
                </c:pt>
                <c:pt idx="3832">
                  <c:v>1.5200562000000001E-2</c:v>
                </c:pt>
                <c:pt idx="3833">
                  <c:v>1.5180864000000001E-2</c:v>
                </c:pt>
                <c:pt idx="3834">
                  <c:v>1.5161163E-2</c:v>
                </c:pt>
                <c:pt idx="3835">
                  <c:v>1.5118672999999999E-2</c:v>
                </c:pt>
                <c:pt idx="3836">
                  <c:v>1.5090041E-2</c:v>
                </c:pt>
                <c:pt idx="3837">
                  <c:v>1.5077449999999999E-2</c:v>
                </c:pt>
                <c:pt idx="3838">
                  <c:v>1.5062625E-2</c:v>
                </c:pt>
                <c:pt idx="3839">
                  <c:v>1.5049610999999999E-2</c:v>
                </c:pt>
                <c:pt idx="3840">
                  <c:v>1.5052598E-2</c:v>
                </c:pt>
                <c:pt idx="3841">
                  <c:v>1.5045561000000001E-2</c:v>
                </c:pt>
                <c:pt idx="3842">
                  <c:v>1.5042282000000001E-2</c:v>
                </c:pt>
                <c:pt idx="3843">
                  <c:v>1.5023348000000001E-2</c:v>
                </c:pt>
                <c:pt idx="3844">
                  <c:v>1.5008776E-2</c:v>
                </c:pt>
                <c:pt idx="3845">
                  <c:v>1.5018208E-2</c:v>
                </c:pt>
                <c:pt idx="3846">
                  <c:v>1.4994518E-2</c:v>
                </c:pt>
                <c:pt idx="3847">
                  <c:v>1.4979908E-2</c:v>
                </c:pt>
                <c:pt idx="3848">
                  <c:v>1.4960899999999999E-2</c:v>
                </c:pt>
                <c:pt idx="3849">
                  <c:v>1.4969829E-2</c:v>
                </c:pt>
                <c:pt idx="3850">
                  <c:v>1.4981576999999999E-2</c:v>
                </c:pt>
                <c:pt idx="3851">
                  <c:v>1.5000536E-2</c:v>
                </c:pt>
                <c:pt idx="3852">
                  <c:v>1.5024533E-2</c:v>
                </c:pt>
                <c:pt idx="3853">
                  <c:v>1.5023359999999999E-2</c:v>
                </c:pt>
                <c:pt idx="3854">
                  <c:v>1.5025666E-2</c:v>
                </c:pt>
                <c:pt idx="3855">
                  <c:v>1.5044299000000001E-2</c:v>
                </c:pt>
                <c:pt idx="3856">
                  <c:v>1.5056811999999999E-2</c:v>
                </c:pt>
                <c:pt idx="3857">
                  <c:v>1.5081753999999999E-2</c:v>
                </c:pt>
                <c:pt idx="3858">
                  <c:v>1.5080647000000001E-2</c:v>
                </c:pt>
                <c:pt idx="3859">
                  <c:v>1.5071434E-2</c:v>
                </c:pt>
                <c:pt idx="3860">
                  <c:v>1.5099171999999999E-2</c:v>
                </c:pt>
                <c:pt idx="3861">
                  <c:v>1.5088717E-2</c:v>
                </c:pt>
                <c:pt idx="3862">
                  <c:v>1.5084190000000001E-2</c:v>
                </c:pt>
                <c:pt idx="3863">
                  <c:v>1.5039807000000001E-2</c:v>
                </c:pt>
                <c:pt idx="3864">
                  <c:v>1.502618E-2</c:v>
                </c:pt>
                <c:pt idx="3865">
                  <c:v>1.5061052E-2</c:v>
                </c:pt>
                <c:pt idx="3866">
                  <c:v>1.5076104999999999E-2</c:v>
                </c:pt>
                <c:pt idx="3867">
                  <c:v>1.5089946E-2</c:v>
                </c:pt>
                <c:pt idx="3868">
                  <c:v>1.5098001999999999E-2</c:v>
                </c:pt>
                <c:pt idx="3869">
                  <c:v>1.5099176000000001E-2</c:v>
                </c:pt>
                <c:pt idx="3870">
                  <c:v>1.5090661999999999E-2</c:v>
                </c:pt>
                <c:pt idx="3871">
                  <c:v>1.5075880999999999E-2</c:v>
                </c:pt>
                <c:pt idx="3872">
                  <c:v>1.5048845999999999E-2</c:v>
                </c:pt>
                <c:pt idx="3873">
                  <c:v>1.5022838E-2</c:v>
                </c:pt>
                <c:pt idx="3874">
                  <c:v>1.5011949E-2</c:v>
                </c:pt>
                <c:pt idx="3875">
                  <c:v>1.4966162999999999E-2</c:v>
                </c:pt>
                <c:pt idx="3876">
                  <c:v>1.4919089E-2</c:v>
                </c:pt>
                <c:pt idx="3877">
                  <c:v>1.4867975E-2</c:v>
                </c:pt>
                <c:pt idx="3878">
                  <c:v>1.481614E-2</c:v>
                </c:pt>
                <c:pt idx="3879">
                  <c:v>1.4755417E-2</c:v>
                </c:pt>
                <c:pt idx="3880">
                  <c:v>1.4735157E-2</c:v>
                </c:pt>
                <c:pt idx="3881">
                  <c:v>1.4700098999999999E-2</c:v>
                </c:pt>
                <c:pt idx="3882">
                  <c:v>1.4662184999999999E-2</c:v>
                </c:pt>
                <c:pt idx="3883">
                  <c:v>1.4611404E-2</c:v>
                </c:pt>
                <c:pt idx="3884">
                  <c:v>1.4579879E-2</c:v>
                </c:pt>
                <c:pt idx="3885">
                  <c:v>1.4533592E-2</c:v>
                </c:pt>
                <c:pt idx="3886">
                  <c:v>1.4516506E-2</c:v>
                </c:pt>
                <c:pt idx="3887">
                  <c:v>1.4485365E-2</c:v>
                </c:pt>
                <c:pt idx="3888">
                  <c:v>1.4470653E-2</c:v>
                </c:pt>
                <c:pt idx="3889">
                  <c:v>1.4497464E-2</c:v>
                </c:pt>
                <c:pt idx="3890">
                  <c:v>1.4530319999999999E-2</c:v>
                </c:pt>
                <c:pt idx="3891">
                  <c:v>1.4532669999999999E-2</c:v>
                </c:pt>
                <c:pt idx="3892">
                  <c:v>1.4547121999999999E-2</c:v>
                </c:pt>
                <c:pt idx="3893">
                  <c:v>1.4563803E-2</c:v>
                </c:pt>
                <c:pt idx="3894">
                  <c:v>1.4599378999999999E-2</c:v>
                </c:pt>
                <c:pt idx="3895">
                  <c:v>1.4617302E-2</c:v>
                </c:pt>
                <c:pt idx="3896">
                  <c:v>1.4674486E-2</c:v>
                </c:pt>
                <c:pt idx="3897">
                  <c:v>1.4723931000000001E-2</c:v>
                </c:pt>
                <c:pt idx="3898">
                  <c:v>1.4770058000000001E-2</c:v>
                </c:pt>
                <c:pt idx="3899">
                  <c:v>1.4795134E-2</c:v>
                </c:pt>
                <c:pt idx="3900">
                  <c:v>1.4841998E-2</c:v>
                </c:pt>
                <c:pt idx="3901">
                  <c:v>1.4865458E-2</c:v>
                </c:pt>
                <c:pt idx="3902">
                  <c:v>1.4902209E-2</c:v>
                </c:pt>
                <c:pt idx="3903">
                  <c:v>1.4941749000000001E-2</c:v>
                </c:pt>
                <c:pt idx="3904">
                  <c:v>1.4976183000000001E-2</c:v>
                </c:pt>
                <c:pt idx="3905">
                  <c:v>1.5000299E-2</c:v>
                </c:pt>
                <c:pt idx="3906">
                  <c:v>1.5026815000000001E-2</c:v>
                </c:pt>
                <c:pt idx="3907">
                  <c:v>1.5035859E-2</c:v>
                </c:pt>
                <c:pt idx="3908">
                  <c:v>1.5067215E-2</c:v>
                </c:pt>
                <c:pt idx="3909">
                  <c:v>1.5095941E-2</c:v>
                </c:pt>
                <c:pt idx="3910">
                  <c:v>1.5121323000000001E-2</c:v>
                </c:pt>
                <c:pt idx="3911">
                  <c:v>1.5168734E-2</c:v>
                </c:pt>
                <c:pt idx="3912">
                  <c:v>1.5196095999999999E-2</c:v>
                </c:pt>
                <c:pt idx="3913">
                  <c:v>1.5230739E-2</c:v>
                </c:pt>
                <c:pt idx="3914">
                  <c:v>1.5260809E-2</c:v>
                </c:pt>
                <c:pt idx="3915">
                  <c:v>1.5270149E-2</c:v>
                </c:pt>
                <c:pt idx="3916">
                  <c:v>1.5298186E-2</c:v>
                </c:pt>
                <c:pt idx="3917">
                  <c:v>1.5348769E-2</c:v>
                </c:pt>
                <c:pt idx="3918">
                  <c:v>1.5405565E-2</c:v>
                </c:pt>
                <c:pt idx="3919">
                  <c:v>1.5489503999999999E-2</c:v>
                </c:pt>
                <c:pt idx="3920">
                  <c:v>1.5553328E-2</c:v>
                </c:pt>
                <c:pt idx="3921">
                  <c:v>1.5612988E-2</c:v>
                </c:pt>
                <c:pt idx="3922">
                  <c:v>1.5658828E-2</c:v>
                </c:pt>
                <c:pt idx="3923">
                  <c:v>1.570765E-2</c:v>
                </c:pt>
                <c:pt idx="3924">
                  <c:v>1.5721563000000001E-2</c:v>
                </c:pt>
                <c:pt idx="3925">
                  <c:v>1.5742519E-2</c:v>
                </c:pt>
                <c:pt idx="3926">
                  <c:v>1.5778818E-2</c:v>
                </c:pt>
                <c:pt idx="3927">
                  <c:v>1.5819521E-2</c:v>
                </c:pt>
                <c:pt idx="3928">
                  <c:v>1.5854138E-2</c:v>
                </c:pt>
                <c:pt idx="3929">
                  <c:v>1.5913361000000001E-2</c:v>
                </c:pt>
                <c:pt idx="3930">
                  <c:v>1.5976860999999998E-2</c:v>
                </c:pt>
                <c:pt idx="3931">
                  <c:v>1.6011217000000001E-2</c:v>
                </c:pt>
                <c:pt idx="3932">
                  <c:v>1.6052547E-2</c:v>
                </c:pt>
                <c:pt idx="3933">
                  <c:v>1.6088491E-2</c:v>
                </c:pt>
                <c:pt idx="3934">
                  <c:v>1.6135203000000001E-2</c:v>
                </c:pt>
                <c:pt idx="3935">
                  <c:v>1.6156969E-2</c:v>
                </c:pt>
                <c:pt idx="3936">
                  <c:v>1.6177964999999999E-2</c:v>
                </c:pt>
                <c:pt idx="3937">
                  <c:v>1.6191759999999999E-2</c:v>
                </c:pt>
                <c:pt idx="3938">
                  <c:v>1.6228906000000001E-2</c:v>
                </c:pt>
                <c:pt idx="3939">
                  <c:v>1.6264504999999999E-2</c:v>
                </c:pt>
                <c:pt idx="3940">
                  <c:v>1.6294797E-2</c:v>
                </c:pt>
                <c:pt idx="3941">
                  <c:v>1.6321282999999999E-2</c:v>
                </c:pt>
                <c:pt idx="3942">
                  <c:v>1.6337022999999999E-2</c:v>
                </c:pt>
                <c:pt idx="3943">
                  <c:v>1.6338254E-2</c:v>
                </c:pt>
                <c:pt idx="3944">
                  <c:v>1.6333520000000001E-2</c:v>
                </c:pt>
                <c:pt idx="3945">
                  <c:v>1.6330396E-2</c:v>
                </c:pt>
                <c:pt idx="3946">
                  <c:v>1.6342134000000001E-2</c:v>
                </c:pt>
                <c:pt idx="3947">
                  <c:v>1.6346353000000001E-2</c:v>
                </c:pt>
                <c:pt idx="3948">
                  <c:v>1.6335095000000001E-2</c:v>
                </c:pt>
                <c:pt idx="3949">
                  <c:v>1.6328068000000001E-2</c:v>
                </c:pt>
                <c:pt idx="3950">
                  <c:v>1.6334225000000001E-2</c:v>
                </c:pt>
                <c:pt idx="3951">
                  <c:v>1.6332677E-2</c:v>
                </c:pt>
                <c:pt idx="3952">
                  <c:v>1.6324074000000001E-2</c:v>
                </c:pt>
                <c:pt idx="3953">
                  <c:v>1.6327683999999999E-2</c:v>
                </c:pt>
                <c:pt idx="3954">
                  <c:v>1.6330869000000001E-2</c:v>
                </c:pt>
                <c:pt idx="3955">
                  <c:v>1.6333187999999998E-2</c:v>
                </c:pt>
                <c:pt idx="3956">
                  <c:v>1.6314122E-2</c:v>
                </c:pt>
                <c:pt idx="3957">
                  <c:v>1.6287499E-2</c:v>
                </c:pt>
                <c:pt idx="3958">
                  <c:v>1.6276789E-2</c:v>
                </c:pt>
                <c:pt idx="3959">
                  <c:v>1.6273225999999998E-2</c:v>
                </c:pt>
                <c:pt idx="3960">
                  <c:v>1.6268314999999998E-2</c:v>
                </c:pt>
                <c:pt idx="3961">
                  <c:v>1.6257269000000001E-2</c:v>
                </c:pt>
                <c:pt idx="3962">
                  <c:v>1.6250766999999999E-2</c:v>
                </c:pt>
                <c:pt idx="3963">
                  <c:v>1.6237966999999999E-2</c:v>
                </c:pt>
                <c:pt idx="3964">
                  <c:v>1.6172188000000001E-2</c:v>
                </c:pt>
                <c:pt idx="3965">
                  <c:v>1.6089889E-2</c:v>
                </c:pt>
                <c:pt idx="3966">
                  <c:v>1.5964961E-2</c:v>
                </c:pt>
                <c:pt idx="3967">
                  <c:v>1.5845484E-2</c:v>
                </c:pt>
                <c:pt idx="3968">
                  <c:v>1.5755853E-2</c:v>
                </c:pt>
                <c:pt idx="3969">
                  <c:v>1.5672176999999999E-2</c:v>
                </c:pt>
                <c:pt idx="3970">
                  <c:v>1.5602519E-2</c:v>
                </c:pt>
                <c:pt idx="3971">
                  <c:v>1.5520819E-2</c:v>
                </c:pt>
                <c:pt idx="3972">
                  <c:v>1.5438077E-2</c:v>
                </c:pt>
                <c:pt idx="3973">
                  <c:v>1.5368355E-2</c:v>
                </c:pt>
                <c:pt idx="3974">
                  <c:v>1.5304448999999999E-2</c:v>
                </c:pt>
                <c:pt idx="3975">
                  <c:v>1.5275706E-2</c:v>
                </c:pt>
                <c:pt idx="3976">
                  <c:v>1.5213901E-2</c:v>
                </c:pt>
                <c:pt idx="3977">
                  <c:v>1.5175746E-2</c:v>
                </c:pt>
                <c:pt idx="3978">
                  <c:v>1.5136317E-2</c:v>
                </c:pt>
                <c:pt idx="3979">
                  <c:v>1.5083012E-2</c:v>
                </c:pt>
                <c:pt idx="3980">
                  <c:v>1.5024874000000001E-2</c:v>
                </c:pt>
                <c:pt idx="3981">
                  <c:v>1.5026388E-2</c:v>
                </c:pt>
                <c:pt idx="3982">
                  <c:v>1.5026835000000001E-2</c:v>
                </c:pt>
                <c:pt idx="3983">
                  <c:v>1.5005116000000001E-2</c:v>
                </c:pt>
                <c:pt idx="3984">
                  <c:v>1.5001796E-2</c:v>
                </c:pt>
                <c:pt idx="3985">
                  <c:v>1.4979197E-2</c:v>
                </c:pt>
                <c:pt idx="3986">
                  <c:v>1.4941942E-2</c:v>
                </c:pt>
                <c:pt idx="3987">
                  <c:v>1.4891214E-2</c:v>
                </c:pt>
                <c:pt idx="3988">
                  <c:v>1.4862119999999999E-2</c:v>
                </c:pt>
                <c:pt idx="3989">
                  <c:v>1.4818886999999999E-2</c:v>
                </c:pt>
                <c:pt idx="3990">
                  <c:v>1.477435E-2</c:v>
                </c:pt>
                <c:pt idx="3991">
                  <c:v>1.4734439E-2</c:v>
                </c:pt>
                <c:pt idx="3992">
                  <c:v>1.4691064E-2</c:v>
                </c:pt>
                <c:pt idx="3993">
                  <c:v>1.4657475E-2</c:v>
                </c:pt>
                <c:pt idx="3994">
                  <c:v>1.4665226E-2</c:v>
                </c:pt>
                <c:pt idx="3995">
                  <c:v>1.4678851999999999E-2</c:v>
                </c:pt>
                <c:pt idx="3996">
                  <c:v>1.4626511999999999E-2</c:v>
                </c:pt>
                <c:pt idx="3997">
                  <c:v>1.4600292000000001E-2</c:v>
                </c:pt>
                <c:pt idx="3998">
                  <c:v>1.4581825E-2</c:v>
                </c:pt>
                <c:pt idx="3999">
                  <c:v>1.4570761999999999E-2</c:v>
                </c:pt>
                <c:pt idx="4000">
                  <c:v>1.4565252000000001E-2</c:v>
                </c:pt>
                <c:pt idx="4001">
                  <c:v>1.4554548E-2</c:v>
                </c:pt>
                <c:pt idx="4002">
                  <c:v>1.4561727E-2</c:v>
                </c:pt>
                <c:pt idx="4003">
                  <c:v>1.4571505E-2</c:v>
                </c:pt>
                <c:pt idx="4004">
                  <c:v>1.4585429E-2</c:v>
                </c:pt>
                <c:pt idx="4005">
                  <c:v>1.4576185E-2</c:v>
                </c:pt>
                <c:pt idx="4006">
                  <c:v>1.4535627000000001E-2</c:v>
                </c:pt>
                <c:pt idx="4007">
                  <c:v>1.4537026E-2</c:v>
                </c:pt>
                <c:pt idx="4008">
                  <c:v>1.4530271000000001E-2</c:v>
                </c:pt>
                <c:pt idx="4009">
                  <c:v>1.4528872999999999E-2</c:v>
                </c:pt>
                <c:pt idx="4010">
                  <c:v>1.4547088E-2</c:v>
                </c:pt>
                <c:pt idx="4011">
                  <c:v>1.4554708E-2</c:v>
                </c:pt>
                <c:pt idx="4012">
                  <c:v>1.4579724000000001E-2</c:v>
                </c:pt>
                <c:pt idx="4013">
                  <c:v>1.4591712E-2</c:v>
                </c:pt>
                <c:pt idx="4014">
                  <c:v>1.462926E-2</c:v>
                </c:pt>
                <c:pt idx="4015">
                  <c:v>1.4663096E-2</c:v>
                </c:pt>
                <c:pt idx="4016">
                  <c:v>1.4708657999999999E-2</c:v>
                </c:pt>
                <c:pt idx="4017">
                  <c:v>1.4752217999999999E-2</c:v>
                </c:pt>
                <c:pt idx="4018">
                  <c:v>1.4789017999999999E-2</c:v>
                </c:pt>
                <c:pt idx="4019">
                  <c:v>1.4815594E-2</c:v>
                </c:pt>
                <c:pt idx="4020">
                  <c:v>1.4804388999999999E-2</c:v>
                </c:pt>
                <c:pt idx="4021">
                  <c:v>1.4829070999999999E-2</c:v>
                </c:pt>
                <c:pt idx="4022">
                  <c:v>1.4866040000000001E-2</c:v>
                </c:pt>
                <c:pt idx="4023">
                  <c:v>1.49277E-2</c:v>
                </c:pt>
                <c:pt idx="4024">
                  <c:v>1.4984983E-2</c:v>
                </c:pt>
                <c:pt idx="4025">
                  <c:v>1.5059621E-2</c:v>
                </c:pt>
                <c:pt idx="4026">
                  <c:v>1.5113036999999999E-2</c:v>
                </c:pt>
                <c:pt idx="4027">
                  <c:v>1.5156115E-2</c:v>
                </c:pt>
                <c:pt idx="4028">
                  <c:v>1.5203039999999999E-2</c:v>
                </c:pt>
                <c:pt idx="4029">
                  <c:v>1.5259419999999999E-2</c:v>
                </c:pt>
                <c:pt idx="4030">
                  <c:v>1.5283557E-2</c:v>
                </c:pt>
                <c:pt idx="4031">
                  <c:v>1.5313119E-2</c:v>
                </c:pt>
                <c:pt idx="4032">
                  <c:v>1.5339498999999999E-2</c:v>
                </c:pt>
                <c:pt idx="4033">
                  <c:v>1.5359543E-2</c:v>
                </c:pt>
                <c:pt idx="4034">
                  <c:v>1.5390009E-2</c:v>
                </c:pt>
                <c:pt idx="4035">
                  <c:v>1.5406843999999999E-2</c:v>
                </c:pt>
                <c:pt idx="4036">
                  <c:v>1.5445197000000001E-2</c:v>
                </c:pt>
                <c:pt idx="4037">
                  <c:v>1.5474570999999999E-2</c:v>
                </c:pt>
                <c:pt idx="4038">
                  <c:v>1.5500771999999999E-2</c:v>
                </c:pt>
                <c:pt idx="4039">
                  <c:v>1.5528093E-2</c:v>
                </c:pt>
                <c:pt idx="4040">
                  <c:v>1.5563173E-2</c:v>
                </c:pt>
                <c:pt idx="4041">
                  <c:v>1.5608474000000001E-2</c:v>
                </c:pt>
                <c:pt idx="4042">
                  <c:v>1.5648779000000002E-2</c:v>
                </c:pt>
                <c:pt idx="4043">
                  <c:v>1.5692016999999999E-2</c:v>
                </c:pt>
                <c:pt idx="4044">
                  <c:v>1.5705302000000001E-2</c:v>
                </c:pt>
                <c:pt idx="4045">
                  <c:v>1.5729757E-2</c:v>
                </c:pt>
                <c:pt idx="4046">
                  <c:v>1.5763022000000002E-2</c:v>
                </c:pt>
                <c:pt idx="4047">
                  <c:v>1.5806938999999999E-2</c:v>
                </c:pt>
                <c:pt idx="4048">
                  <c:v>1.5829969999999999E-2</c:v>
                </c:pt>
                <c:pt idx="4049">
                  <c:v>1.5863199000000001E-2</c:v>
                </c:pt>
                <c:pt idx="4050">
                  <c:v>1.5882589999999999E-2</c:v>
                </c:pt>
                <c:pt idx="4051">
                  <c:v>1.5952192E-2</c:v>
                </c:pt>
                <c:pt idx="4052">
                  <c:v>1.6003951999999998E-2</c:v>
                </c:pt>
                <c:pt idx="4053">
                  <c:v>1.6079729000000001E-2</c:v>
                </c:pt>
                <c:pt idx="4054">
                  <c:v>1.6134598999999999E-2</c:v>
                </c:pt>
                <c:pt idx="4055">
                  <c:v>1.6184942000000001E-2</c:v>
                </c:pt>
                <c:pt idx="4056">
                  <c:v>1.6243014E-2</c:v>
                </c:pt>
                <c:pt idx="4057">
                  <c:v>1.6290069000000001E-2</c:v>
                </c:pt>
                <c:pt idx="4058">
                  <c:v>1.6364605000000001E-2</c:v>
                </c:pt>
                <c:pt idx="4059">
                  <c:v>1.6424548000000001E-2</c:v>
                </c:pt>
                <c:pt idx="4060">
                  <c:v>1.6446621000000002E-2</c:v>
                </c:pt>
                <c:pt idx="4061">
                  <c:v>1.6463078999999999E-2</c:v>
                </c:pt>
                <c:pt idx="4062">
                  <c:v>1.6487938000000001E-2</c:v>
                </c:pt>
                <c:pt idx="4063">
                  <c:v>1.6527212999999999E-2</c:v>
                </c:pt>
                <c:pt idx="4064">
                  <c:v>1.6547991000000001E-2</c:v>
                </c:pt>
                <c:pt idx="4065">
                  <c:v>1.6534622999999998E-2</c:v>
                </c:pt>
                <c:pt idx="4066">
                  <c:v>1.6541403999999999E-2</c:v>
                </c:pt>
                <c:pt idx="4067">
                  <c:v>1.6554552E-2</c:v>
                </c:pt>
                <c:pt idx="4068">
                  <c:v>1.6569561E-2</c:v>
                </c:pt>
                <c:pt idx="4069">
                  <c:v>1.6597199E-2</c:v>
                </c:pt>
                <c:pt idx="4070">
                  <c:v>1.6618991E-2</c:v>
                </c:pt>
                <c:pt idx="4071">
                  <c:v>1.6650872000000001E-2</c:v>
                </c:pt>
                <c:pt idx="4072">
                  <c:v>1.6672504000000001E-2</c:v>
                </c:pt>
                <c:pt idx="4073">
                  <c:v>1.6702644999999999E-2</c:v>
                </c:pt>
                <c:pt idx="4074">
                  <c:v>1.6697604000000001E-2</c:v>
                </c:pt>
                <c:pt idx="4075">
                  <c:v>1.6699673000000002E-2</c:v>
                </c:pt>
                <c:pt idx="4076">
                  <c:v>1.6711365999999998E-2</c:v>
                </c:pt>
                <c:pt idx="4077">
                  <c:v>1.6730317000000001E-2</c:v>
                </c:pt>
                <c:pt idx="4078">
                  <c:v>1.6733424E-2</c:v>
                </c:pt>
                <c:pt idx="4079">
                  <c:v>1.6743541000000001E-2</c:v>
                </c:pt>
                <c:pt idx="4080">
                  <c:v>1.6748893000000001E-2</c:v>
                </c:pt>
                <c:pt idx="4081">
                  <c:v>1.674165E-2</c:v>
                </c:pt>
                <c:pt idx="4082">
                  <c:v>1.6743661999999999E-2</c:v>
                </c:pt>
                <c:pt idx="4083">
                  <c:v>1.6760168999999998E-2</c:v>
                </c:pt>
                <c:pt idx="4084">
                  <c:v>1.6777582999999999E-2</c:v>
                </c:pt>
                <c:pt idx="4085">
                  <c:v>1.6793054000000002E-2</c:v>
                </c:pt>
                <c:pt idx="4086">
                  <c:v>1.680504E-2</c:v>
                </c:pt>
                <c:pt idx="4087">
                  <c:v>1.682026E-2</c:v>
                </c:pt>
                <c:pt idx="4088">
                  <c:v>1.6830542E-2</c:v>
                </c:pt>
                <c:pt idx="4089">
                  <c:v>1.6796821999999999E-2</c:v>
                </c:pt>
                <c:pt idx="4090">
                  <c:v>1.6753462E-2</c:v>
                </c:pt>
                <c:pt idx="4091">
                  <c:v>1.6732100999999999E-2</c:v>
                </c:pt>
                <c:pt idx="4092">
                  <c:v>1.6691626000000001E-2</c:v>
                </c:pt>
                <c:pt idx="4093">
                  <c:v>1.6651162000000001E-2</c:v>
                </c:pt>
                <c:pt idx="4094">
                  <c:v>1.6603616000000002E-2</c:v>
                </c:pt>
                <c:pt idx="4095">
                  <c:v>1.6569629999999998E-2</c:v>
                </c:pt>
                <c:pt idx="4096">
                  <c:v>1.6505097E-2</c:v>
                </c:pt>
                <c:pt idx="4097">
                  <c:v>1.6445352999999999E-2</c:v>
                </c:pt>
                <c:pt idx="4098">
                  <c:v>1.6386456000000001E-2</c:v>
                </c:pt>
                <c:pt idx="4099">
                  <c:v>1.6334893999999999E-2</c:v>
                </c:pt>
                <c:pt idx="4100">
                  <c:v>1.6285912999999999E-2</c:v>
                </c:pt>
                <c:pt idx="4101">
                  <c:v>1.6259645E-2</c:v>
                </c:pt>
                <c:pt idx="4102">
                  <c:v>1.6224485E-2</c:v>
                </c:pt>
                <c:pt idx="4103">
                  <c:v>1.620106E-2</c:v>
                </c:pt>
                <c:pt idx="4104">
                  <c:v>1.6170745E-2</c:v>
                </c:pt>
                <c:pt idx="4105">
                  <c:v>1.6143989000000001E-2</c:v>
                </c:pt>
                <c:pt idx="4106">
                  <c:v>1.6123934999999999E-2</c:v>
                </c:pt>
                <c:pt idx="4107">
                  <c:v>1.6107463999999998E-2</c:v>
                </c:pt>
                <c:pt idx="4108">
                  <c:v>1.6088930000000001E-2</c:v>
                </c:pt>
                <c:pt idx="4109">
                  <c:v>1.6071906E-2</c:v>
                </c:pt>
                <c:pt idx="4110">
                  <c:v>1.6067377000000001E-2</c:v>
                </c:pt>
                <c:pt idx="4111">
                  <c:v>1.605347E-2</c:v>
                </c:pt>
                <c:pt idx="4112">
                  <c:v>1.6057941999999999E-2</c:v>
                </c:pt>
                <c:pt idx="4113">
                  <c:v>1.6055387000000001E-2</c:v>
                </c:pt>
                <c:pt idx="4114">
                  <c:v>1.6053420999999998E-2</c:v>
                </c:pt>
                <c:pt idx="4115">
                  <c:v>1.6080746999999999E-2</c:v>
                </c:pt>
                <c:pt idx="4116">
                  <c:v>1.6094012000000001E-2</c:v>
                </c:pt>
                <c:pt idx="4117">
                  <c:v>1.6089583000000001E-2</c:v>
                </c:pt>
                <c:pt idx="4118">
                  <c:v>1.6062893000000002E-2</c:v>
                </c:pt>
                <c:pt idx="4119">
                  <c:v>1.6000842000000001E-2</c:v>
                </c:pt>
                <c:pt idx="4120">
                  <c:v>1.5957829999999999E-2</c:v>
                </c:pt>
                <c:pt idx="4121">
                  <c:v>1.5920643000000002E-2</c:v>
                </c:pt>
                <c:pt idx="4122">
                  <c:v>1.5892027999999999E-2</c:v>
                </c:pt>
                <c:pt idx="4123">
                  <c:v>1.5859568000000001E-2</c:v>
                </c:pt>
                <c:pt idx="4124">
                  <c:v>1.5838036999999999E-2</c:v>
                </c:pt>
                <c:pt idx="4125">
                  <c:v>1.5808880000000001E-2</c:v>
                </c:pt>
                <c:pt idx="4126">
                  <c:v>1.5783021000000001E-2</c:v>
                </c:pt>
                <c:pt idx="4127">
                  <c:v>1.5739323E-2</c:v>
                </c:pt>
                <c:pt idx="4128">
                  <c:v>1.5703954999999999E-2</c:v>
                </c:pt>
                <c:pt idx="4129">
                  <c:v>1.5647728E-2</c:v>
                </c:pt>
                <c:pt idx="4130">
                  <c:v>1.5595285E-2</c:v>
                </c:pt>
                <c:pt idx="4131">
                  <c:v>1.5572684999999999E-2</c:v>
                </c:pt>
                <c:pt idx="4132">
                  <c:v>1.5554557E-2</c:v>
                </c:pt>
                <c:pt idx="4133">
                  <c:v>1.5544453E-2</c:v>
                </c:pt>
                <c:pt idx="4134">
                  <c:v>1.5522665999999999E-2</c:v>
                </c:pt>
                <c:pt idx="4135">
                  <c:v>1.5536839E-2</c:v>
                </c:pt>
                <c:pt idx="4136">
                  <c:v>1.5541919E-2</c:v>
                </c:pt>
                <c:pt idx="4137">
                  <c:v>1.5544998000000001E-2</c:v>
                </c:pt>
                <c:pt idx="4138">
                  <c:v>1.5535879000000001E-2</c:v>
                </c:pt>
                <c:pt idx="4139">
                  <c:v>1.5526061000000001E-2</c:v>
                </c:pt>
                <c:pt idx="4140">
                  <c:v>1.5521916E-2</c:v>
                </c:pt>
                <c:pt idx="4141">
                  <c:v>1.5502317999999999E-2</c:v>
                </c:pt>
                <c:pt idx="4142">
                  <c:v>1.5511E-2</c:v>
                </c:pt>
                <c:pt idx="4143">
                  <c:v>1.5505619E-2</c:v>
                </c:pt>
                <c:pt idx="4144">
                  <c:v>1.5516129E-2</c:v>
                </c:pt>
                <c:pt idx="4145">
                  <c:v>1.5516112E-2</c:v>
                </c:pt>
                <c:pt idx="4146">
                  <c:v>1.550519E-2</c:v>
                </c:pt>
                <c:pt idx="4147">
                  <c:v>1.5512974000000001E-2</c:v>
                </c:pt>
                <c:pt idx="4148">
                  <c:v>1.5504883000000001E-2</c:v>
                </c:pt>
                <c:pt idx="4149">
                  <c:v>1.5511907E-2</c:v>
                </c:pt>
                <c:pt idx="4150">
                  <c:v>1.5506526E-2</c:v>
                </c:pt>
                <c:pt idx="4151">
                  <c:v>1.5511492E-2</c:v>
                </c:pt>
                <c:pt idx="4152">
                  <c:v>1.5526438E-2</c:v>
                </c:pt>
                <c:pt idx="4153">
                  <c:v>1.5526827E-2</c:v>
                </c:pt>
                <c:pt idx="4154">
                  <c:v>1.5537535999999999E-2</c:v>
                </c:pt>
                <c:pt idx="4155">
                  <c:v>1.5554637E-2</c:v>
                </c:pt>
                <c:pt idx="4156">
                  <c:v>1.5571926E-2</c:v>
                </c:pt>
                <c:pt idx="4157">
                  <c:v>1.5575426E-2</c:v>
                </c:pt>
                <c:pt idx="4158">
                  <c:v>1.5556018E-2</c:v>
                </c:pt>
                <c:pt idx="4159">
                  <c:v>1.5545326E-2</c:v>
                </c:pt>
                <c:pt idx="4160">
                  <c:v>1.5536477999999999E-2</c:v>
                </c:pt>
                <c:pt idx="4161">
                  <c:v>1.5532746E-2</c:v>
                </c:pt>
                <c:pt idx="4162">
                  <c:v>1.5533182E-2</c:v>
                </c:pt>
                <c:pt idx="4163">
                  <c:v>1.5519378E-2</c:v>
                </c:pt>
                <c:pt idx="4164">
                  <c:v>1.5548153E-2</c:v>
                </c:pt>
                <c:pt idx="4165">
                  <c:v>1.5561814E-2</c:v>
                </c:pt>
                <c:pt idx="4166">
                  <c:v>1.555964E-2</c:v>
                </c:pt>
                <c:pt idx="4167">
                  <c:v>1.5542576000000001E-2</c:v>
                </c:pt>
                <c:pt idx="4168">
                  <c:v>1.5520496E-2</c:v>
                </c:pt>
                <c:pt idx="4169">
                  <c:v>1.5503970000000001E-2</c:v>
                </c:pt>
                <c:pt idx="4170">
                  <c:v>1.5483337E-2</c:v>
                </c:pt>
                <c:pt idx="4171">
                  <c:v>1.548824E-2</c:v>
                </c:pt>
                <c:pt idx="4172">
                  <c:v>1.5507093E-2</c:v>
                </c:pt>
                <c:pt idx="4173">
                  <c:v>1.5535049E-2</c:v>
                </c:pt>
                <c:pt idx="4174">
                  <c:v>1.5528699E-2</c:v>
                </c:pt>
                <c:pt idx="4175">
                  <c:v>1.5527703E-2</c:v>
                </c:pt>
                <c:pt idx="4176">
                  <c:v>1.5533175E-2</c:v>
                </c:pt>
                <c:pt idx="4177">
                  <c:v>1.5572048E-2</c:v>
                </c:pt>
                <c:pt idx="4178">
                  <c:v>1.5599000999999999E-2</c:v>
                </c:pt>
                <c:pt idx="4179">
                  <c:v>1.5624411E-2</c:v>
                </c:pt>
                <c:pt idx="4180">
                  <c:v>1.5634227000000001E-2</c:v>
                </c:pt>
                <c:pt idx="4181">
                  <c:v>1.5609443000000001E-2</c:v>
                </c:pt>
                <c:pt idx="4182">
                  <c:v>1.5590244E-2</c:v>
                </c:pt>
                <c:pt idx="4183">
                  <c:v>1.5576066E-2</c:v>
                </c:pt>
                <c:pt idx="4184">
                  <c:v>1.5550914000000001E-2</c:v>
                </c:pt>
                <c:pt idx="4185">
                  <c:v>1.5534910000000001E-2</c:v>
                </c:pt>
                <c:pt idx="4186">
                  <c:v>1.5524712E-2</c:v>
                </c:pt>
                <c:pt idx="4187">
                  <c:v>1.5508325E-2</c:v>
                </c:pt>
                <c:pt idx="4188">
                  <c:v>1.550786E-2</c:v>
                </c:pt>
                <c:pt idx="4189">
                  <c:v>1.5505438999999999E-2</c:v>
                </c:pt>
                <c:pt idx="4190">
                  <c:v>1.5510797999999999E-2</c:v>
                </c:pt>
                <c:pt idx="4191">
                  <c:v>1.5526804999999999E-2</c:v>
                </c:pt>
                <c:pt idx="4192">
                  <c:v>1.553497E-2</c:v>
                </c:pt>
                <c:pt idx="4193">
                  <c:v>1.5537818E-2</c:v>
                </c:pt>
                <c:pt idx="4194">
                  <c:v>1.5526415E-2</c:v>
                </c:pt>
                <c:pt idx="4195">
                  <c:v>1.5509712E-2</c:v>
                </c:pt>
                <c:pt idx="4196">
                  <c:v>1.5494310000000001E-2</c:v>
                </c:pt>
                <c:pt idx="4197">
                  <c:v>1.5490945000000001E-2</c:v>
                </c:pt>
                <c:pt idx="4198">
                  <c:v>1.5477523999999999E-2</c:v>
                </c:pt>
                <c:pt idx="4199">
                  <c:v>1.5415201E-2</c:v>
                </c:pt>
              </c:numCache>
            </c:numRef>
          </c:val>
          <c:smooth val="0"/>
          <c:extLst>
            <c:ext xmlns:c16="http://schemas.microsoft.com/office/drawing/2014/chart" uri="{C3380CC4-5D6E-409C-BE32-E72D297353CC}">
              <c16:uniqueId val="{00000003-B7DC-44E8-9D34-858C6F26CBCB}"/>
            </c:ext>
          </c:extLst>
        </c:ser>
        <c:ser>
          <c:idx val="3"/>
          <c:order val="3"/>
          <c:tx>
            <c:strRef>
              <c:f>tr_60!$E$1</c:f>
              <c:strCache>
                <c:ptCount val="1"/>
                <c:pt idx="0">
                  <c:v>250 turnover rate</c:v>
                </c:pt>
              </c:strCache>
            </c:strRef>
          </c:tx>
          <c:spPr>
            <a:ln w="28575" cap="rnd">
              <a:solidFill>
                <a:schemeClr val="accent4"/>
              </a:solidFill>
              <a:round/>
            </a:ln>
            <a:effectLst/>
          </c:spPr>
          <c:marker>
            <c:symbol val="none"/>
          </c:marker>
          <c:cat>
            <c:numRef>
              <c:f>tr_60!$A$2:$A$4201</c:f>
              <c:numCache>
                <c:formatCode>m/d/yyyy</c:formatCode>
                <c:ptCount val="4200"/>
                <c:pt idx="0">
                  <c:v>38356</c:v>
                </c:pt>
                <c:pt idx="1">
                  <c:v>38357</c:v>
                </c:pt>
                <c:pt idx="2">
                  <c:v>38358</c:v>
                </c:pt>
                <c:pt idx="3">
                  <c:v>38359</c:v>
                </c:pt>
                <c:pt idx="4">
                  <c:v>38362</c:v>
                </c:pt>
                <c:pt idx="5">
                  <c:v>38363</c:v>
                </c:pt>
                <c:pt idx="6">
                  <c:v>38364</c:v>
                </c:pt>
                <c:pt idx="7">
                  <c:v>38365</c:v>
                </c:pt>
                <c:pt idx="8">
                  <c:v>38366</c:v>
                </c:pt>
                <c:pt idx="9">
                  <c:v>38369</c:v>
                </c:pt>
                <c:pt idx="10">
                  <c:v>38370</c:v>
                </c:pt>
                <c:pt idx="11">
                  <c:v>38371</c:v>
                </c:pt>
                <c:pt idx="12">
                  <c:v>38372</c:v>
                </c:pt>
                <c:pt idx="13">
                  <c:v>38373</c:v>
                </c:pt>
                <c:pt idx="14">
                  <c:v>38376</c:v>
                </c:pt>
                <c:pt idx="15">
                  <c:v>38377</c:v>
                </c:pt>
                <c:pt idx="16">
                  <c:v>38378</c:v>
                </c:pt>
                <c:pt idx="17">
                  <c:v>38379</c:v>
                </c:pt>
                <c:pt idx="18">
                  <c:v>38380</c:v>
                </c:pt>
                <c:pt idx="19">
                  <c:v>38383</c:v>
                </c:pt>
                <c:pt idx="20">
                  <c:v>38384</c:v>
                </c:pt>
                <c:pt idx="21">
                  <c:v>38385</c:v>
                </c:pt>
                <c:pt idx="22">
                  <c:v>38386</c:v>
                </c:pt>
                <c:pt idx="23">
                  <c:v>38387</c:v>
                </c:pt>
                <c:pt idx="24">
                  <c:v>38399</c:v>
                </c:pt>
                <c:pt idx="25">
                  <c:v>38400</c:v>
                </c:pt>
                <c:pt idx="26">
                  <c:v>38401</c:v>
                </c:pt>
                <c:pt idx="27">
                  <c:v>38404</c:v>
                </c:pt>
                <c:pt idx="28">
                  <c:v>38405</c:v>
                </c:pt>
                <c:pt idx="29">
                  <c:v>38406</c:v>
                </c:pt>
                <c:pt idx="30">
                  <c:v>38407</c:v>
                </c:pt>
                <c:pt idx="31">
                  <c:v>38408</c:v>
                </c:pt>
                <c:pt idx="32">
                  <c:v>38411</c:v>
                </c:pt>
                <c:pt idx="33">
                  <c:v>38412</c:v>
                </c:pt>
                <c:pt idx="34">
                  <c:v>38413</c:v>
                </c:pt>
                <c:pt idx="35">
                  <c:v>38414</c:v>
                </c:pt>
                <c:pt idx="36">
                  <c:v>38415</c:v>
                </c:pt>
                <c:pt idx="37">
                  <c:v>38418</c:v>
                </c:pt>
                <c:pt idx="38">
                  <c:v>38419</c:v>
                </c:pt>
                <c:pt idx="39">
                  <c:v>38420</c:v>
                </c:pt>
                <c:pt idx="40">
                  <c:v>38421</c:v>
                </c:pt>
                <c:pt idx="41">
                  <c:v>38422</c:v>
                </c:pt>
                <c:pt idx="42">
                  <c:v>38425</c:v>
                </c:pt>
                <c:pt idx="43">
                  <c:v>38426</c:v>
                </c:pt>
                <c:pt idx="44">
                  <c:v>38427</c:v>
                </c:pt>
                <c:pt idx="45">
                  <c:v>38428</c:v>
                </c:pt>
                <c:pt idx="46">
                  <c:v>38429</c:v>
                </c:pt>
                <c:pt idx="47">
                  <c:v>38432</c:v>
                </c:pt>
                <c:pt idx="48">
                  <c:v>38433</c:v>
                </c:pt>
                <c:pt idx="49">
                  <c:v>38434</c:v>
                </c:pt>
                <c:pt idx="50">
                  <c:v>38435</c:v>
                </c:pt>
                <c:pt idx="51">
                  <c:v>38436</c:v>
                </c:pt>
                <c:pt idx="52">
                  <c:v>38439</c:v>
                </c:pt>
                <c:pt idx="53">
                  <c:v>38440</c:v>
                </c:pt>
                <c:pt idx="54">
                  <c:v>38441</c:v>
                </c:pt>
                <c:pt idx="55">
                  <c:v>38442</c:v>
                </c:pt>
                <c:pt idx="56">
                  <c:v>38443</c:v>
                </c:pt>
                <c:pt idx="57">
                  <c:v>38446</c:v>
                </c:pt>
                <c:pt idx="58">
                  <c:v>38447</c:v>
                </c:pt>
                <c:pt idx="59">
                  <c:v>38448</c:v>
                </c:pt>
                <c:pt idx="60">
                  <c:v>38449</c:v>
                </c:pt>
                <c:pt idx="61">
                  <c:v>38450</c:v>
                </c:pt>
                <c:pt idx="62">
                  <c:v>38453</c:v>
                </c:pt>
                <c:pt idx="63">
                  <c:v>38454</c:v>
                </c:pt>
                <c:pt idx="64">
                  <c:v>38455</c:v>
                </c:pt>
                <c:pt idx="65">
                  <c:v>38456</c:v>
                </c:pt>
                <c:pt idx="66">
                  <c:v>38457</c:v>
                </c:pt>
                <c:pt idx="67">
                  <c:v>38460</c:v>
                </c:pt>
                <c:pt idx="68">
                  <c:v>38461</c:v>
                </c:pt>
                <c:pt idx="69">
                  <c:v>38462</c:v>
                </c:pt>
                <c:pt idx="70">
                  <c:v>38463</c:v>
                </c:pt>
                <c:pt idx="71">
                  <c:v>38464</c:v>
                </c:pt>
                <c:pt idx="72">
                  <c:v>38467</c:v>
                </c:pt>
                <c:pt idx="73">
                  <c:v>38468</c:v>
                </c:pt>
                <c:pt idx="74">
                  <c:v>38469</c:v>
                </c:pt>
                <c:pt idx="75">
                  <c:v>38470</c:v>
                </c:pt>
                <c:pt idx="76">
                  <c:v>38471</c:v>
                </c:pt>
                <c:pt idx="77">
                  <c:v>38481</c:v>
                </c:pt>
                <c:pt idx="78">
                  <c:v>38482</c:v>
                </c:pt>
                <c:pt idx="79">
                  <c:v>38483</c:v>
                </c:pt>
                <c:pt idx="80">
                  <c:v>38484</c:v>
                </c:pt>
                <c:pt idx="81">
                  <c:v>38485</c:v>
                </c:pt>
                <c:pt idx="82">
                  <c:v>38488</c:v>
                </c:pt>
                <c:pt idx="83">
                  <c:v>38489</c:v>
                </c:pt>
                <c:pt idx="84">
                  <c:v>38490</c:v>
                </c:pt>
                <c:pt idx="85">
                  <c:v>38491</c:v>
                </c:pt>
                <c:pt idx="86">
                  <c:v>38492</c:v>
                </c:pt>
                <c:pt idx="87">
                  <c:v>38495</c:v>
                </c:pt>
                <c:pt idx="88">
                  <c:v>38496</c:v>
                </c:pt>
                <c:pt idx="89">
                  <c:v>38497</c:v>
                </c:pt>
                <c:pt idx="90">
                  <c:v>38498</c:v>
                </c:pt>
                <c:pt idx="91">
                  <c:v>38499</c:v>
                </c:pt>
                <c:pt idx="92">
                  <c:v>38502</c:v>
                </c:pt>
                <c:pt idx="93">
                  <c:v>38503</c:v>
                </c:pt>
                <c:pt idx="94">
                  <c:v>38504</c:v>
                </c:pt>
                <c:pt idx="95">
                  <c:v>38505</c:v>
                </c:pt>
                <c:pt idx="96">
                  <c:v>38506</c:v>
                </c:pt>
                <c:pt idx="97">
                  <c:v>38509</c:v>
                </c:pt>
                <c:pt idx="98">
                  <c:v>38510</c:v>
                </c:pt>
                <c:pt idx="99">
                  <c:v>38511</c:v>
                </c:pt>
                <c:pt idx="100">
                  <c:v>38512</c:v>
                </c:pt>
                <c:pt idx="101">
                  <c:v>38513</c:v>
                </c:pt>
                <c:pt idx="102">
                  <c:v>38516</c:v>
                </c:pt>
                <c:pt idx="103">
                  <c:v>38517</c:v>
                </c:pt>
                <c:pt idx="104">
                  <c:v>38518</c:v>
                </c:pt>
                <c:pt idx="105">
                  <c:v>38519</c:v>
                </c:pt>
                <c:pt idx="106">
                  <c:v>38520</c:v>
                </c:pt>
                <c:pt idx="107">
                  <c:v>38523</c:v>
                </c:pt>
                <c:pt idx="108">
                  <c:v>38524</c:v>
                </c:pt>
                <c:pt idx="109">
                  <c:v>38525</c:v>
                </c:pt>
                <c:pt idx="110">
                  <c:v>38526</c:v>
                </c:pt>
                <c:pt idx="111">
                  <c:v>38527</c:v>
                </c:pt>
                <c:pt idx="112">
                  <c:v>38530</c:v>
                </c:pt>
                <c:pt idx="113">
                  <c:v>38531</c:v>
                </c:pt>
                <c:pt idx="114">
                  <c:v>38532</c:v>
                </c:pt>
                <c:pt idx="115">
                  <c:v>38533</c:v>
                </c:pt>
                <c:pt idx="116">
                  <c:v>38534</c:v>
                </c:pt>
                <c:pt idx="117">
                  <c:v>38537</c:v>
                </c:pt>
                <c:pt idx="118">
                  <c:v>38538</c:v>
                </c:pt>
                <c:pt idx="119">
                  <c:v>38539</c:v>
                </c:pt>
                <c:pt idx="120">
                  <c:v>38540</c:v>
                </c:pt>
                <c:pt idx="121">
                  <c:v>38541</c:v>
                </c:pt>
                <c:pt idx="122">
                  <c:v>38544</c:v>
                </c:pt>
                <c:pt idx="123">
                  <c:v>38545</c:v>
                </c:pt>
                <c:pt idx="124">
                  <c:v>38546</c:v>
                </c:pt>
                <c:pt idx="125">
                  <c:v>38547</c:v>
                </c:pt>
                <c:pt idx="126">
                  <c:v>38548</c:v>
                </c:pt>
                <c:pt idx="127">
                  <c:v>38551</c:v>
                </c:pt>
                <c:pt idx="128">
                  <c:v>38552</c:v>
                </c:pt>
                <c:pt idx="129">
                  <c:v>38553</c:v>
                </c:pt>
                <c:pt idx="130">
                  <c:v>38554</c:v>
                </c:pt>
                <c:pt idx="131">
                  <c:v>38555</c:v>
                </c:pt>
                <c:pt idx="132">
                  <c:v>38558</c:v>
                </c:pt>
                <c:pt idx="133">
                  <c:v>38559</c:v>
                </c:pt>
                <c:pt idx="134">
                  <c:v>38560</c:v>
                </c:pt>
                <c:pt idx="135">
                  <c:v>38561</c:v>
                </c:pt>
                <c:pt idx="136">
                  <c:v>38562</c:v>
                </c:pt>
                <c:pt idx="137">
                  <c:v>38565</c:v>
                </c:pt>
                <c:pt idx="138">
                  <c:v>38566</c:v>
                </c:pt>
                <c:pt idx="139">
                  <c:v>38567</c:v>
                </c:pt>
                <c:pt idx="140">
                  <c:v>38568</c:v>
                </c:pt>
                <c:pt idx="141">
                  <c:v>38569</c:v>
                </c:pt>
                <c:pt idx="142">
                  <c:v>38572</c:v>
                </c:pt>
                <c:pt idx="143">
                  <c:v>38573</c:v>
                </c:pt>
                <c:pt idx="144">
                  <c:v>38574</c:v>
                </c:pt>
                <c:pt idx="145">
                  <c:v>38575</c:v>
                </c:pt>
                <c:pt idx="146">
                  <c:v>38576</c:v>
                </c:pt>
                <c:pt idx="147">
                  <c:v>38579</c:v>
                </c:pt>
                <c:pt idx="148">
                  <c:v>38580</c:v>
                </c:pt>
                <c:pt idx="149">
                  <c:v>38581</c:v>
                </c:pt>
                <c:pt idx="150">
                  <c:v>38582</c:v>
                </c:pt>
                <c:pt idx="151">
                  <c:v>38583</c:v>
                </c:pt>
                <c:pt idx="152">
                  <c:v>38586</c:v>
                </c:pt>
                <c:pt idx="153">
                  <c:v>38587</c:v>
                </c:pt>
                <c:pt idx="154">
                  <c:v>38588</c:v>
                </c:pt>
                <c:pt idx="155">
                  <c:v>38589</c:v>
                </c:pt>
                <c:pt idx="156">
                  <c:v>38590</c:v>
                </c:pt>
                <c:pt idx="157">
                  <c:v>38593</c:v>
                </c:pt>
                <c:pt idx="158">
                  <c:v>38594</c:v>
                </c:pt>
                <c:pt idx="159">
                  <c:v>38595</c:v>
                </c:pt>
                <c:pt idx="160">
                  <c:v>38596</c:v>
                </c:pt>
                <c:pt idx="161">
                  <c:v>38597</c:v>
                </c:pt>
                <c:pt idx="162">
                  <c:v>38600</c:v>
                </c:pt>
                <c:pt idx="163">
                  <c:v>38601</c:v>
                </c:pt>
                <c:pt idx="164">
                  <c:v>38602</c:v>
                </c:pt>
                <c:pt idx="165">
                  <c:v>38603</c:v>
                </c:pt>
                <c:pt idx="166">
                  <c:v>38604</c:v>
                </c:pt>
                <c:pt idx="167">
                  <c:v>38607</c:v>
                </c:pt>
                <c:pt idx="168">
                  <c:v>38608</c:v>
                </c:pt>
                <c:pt idx="169">
                  <c:v>38609</c:v>
                </c:pt>
                <c:pt idx="170">
                  <c:v>38610</c:v>
                </c:pt>
                <c:pt idx="171">
                  <c:v>38611</c:v>
                </c:pt>
                <c:pt idx="172">
                  <c:v>38614</c:v>
                </c:pt>
                <c:pt idx="173">
                  <c:v>38615</c:v>
                </c:pt>
                <c:pt idx="174">
                  <c:v>38616</c:v>
                </c:pt>
                <c:pt idx="175">
                  <c:v>38617</c:v>
                </c:pt>
                <c:pt idx="176">
                  <c:v>38618</c:v>
                </c:pt>
                <c:pt idx="177">
                  <c:v>38621</c:v>
                </c:pt>
                <c:pt idx="178">
                  <c:v>38622</c:v>
                </c:pt>
                <c:pt idx="179">
                  <c:v>38623</c:v>
                </c:pt>
                <c:pt idx="180">
                  <c:v>38624</c:v>
                </c:pt>
                <c:pt idx="181">
                  <c:v>38625</c:v>
                </c:pt>
                <c:pt idx="182">
                  <c:v>38635</c:v>
                </c:pt>
                <c:pt idx="183">
                  <c:v>38636</c:v>
                </c:pt>
                <c:pt idx="184">
                  <c:v>38637</c:v>
                </c:pt>
                <c:pt idx="185">
                  <c:v>38638</c:v>
                </c:pt>
                <c:pt idx="186">
                  <c:v>38639</c:v>
                </c:pt>
                <c:pt idx="187">
                  <c:v>38642</c:v>
                </c:pt>
                <c:pt idx="188">
                  <c:v>38643</c:v>
                </c:pt>
                <c:pt idx="189">
                  <c:v>38644</c:v>
                </c:pt>
                <c:pt idx="190">
                  <c:v>38645</c:v>
                </c:pt>
                <c:pt idx="191">
                  <c:v>38646</c:v>
                </c:pt>
                <c:pt idx="192">
                  <c:v>38649</c:v>
                </c:pt>
                <c:pt idx="193">
                  <c:v>38650</c:v>
                </c:pt>
                <c:pt idx="194">
                  <c:v>38651</c:v>
                </c:pt>
                <c:pt idx="195">
                  <c:v>38652</c:v>
                </c:pt>
                <c:pt idx="196">
                  <c:v>38653</c:v>
                </c:pt>
                <c:pt idx="197">
                  <c:v>38656</c:v>
                </c:pt>
                <c:pt idx="198">
                  <c:v>38657</c:v>
                </c:pt>
                <c:pt idx="199">
                  <c:v>38658</c:v>
                </c:pt>
                <c:pt idx="200">
                  <c:v>38659</c:v>
                </c:pt>
                <c:pt idx="201">
                  <c:v>38660</c:v>
                </c:pt>
                <c:pt idx="202">
                  <c:v>38663</c:v>
                </c:pt>
                <c:pt idx="203">
                  <c:v>38664</c:v>
                </c:pt>
                <c:pt idx="204">
                  <c:v>38665</c:v>
                </c:pt>
                <c:pt idx="205">
                  <c:v>38666</c:v>
                </c:pt>
                <c:pt idx="206">
                  <c:v>38667</c:v>
                </c:pt>
                <c:pt idx="207">
                  <c:v>38670</c:v>
                </c:pt>
                <c:pt idx="208">
                  <c:v>38671</c:v>
                </c:pt>
                <c:pt idx="209">
                  <c:v>38672</c:v>
                </c:pt>
                <c:pt idx="210">
                  <c:v>38673</c:v>
                </c:pt>
                <c:pt idx="211">
                  <c:v>38674</c:v>
                </c:pt>
                <c:pt idx="212">
                  <c:v>38677</c:v>
                </c:pt>
                <c:pt idx="213">
                  <c:v>38678</c:v>
                </c:pt>
                <c:pt idx="214">
                  <c:v>38679</c:v>
                </c:pt>
                <c:pt idx="215">
                  <c:v>38680</c:v>
                </c:pt>
                <c:pt idx="216">
                  <c:v>38681</c:v>
                </c:pt>
                <c:pt idx="217">
                  <c:v>38684</c:v>
                </c:pt>
                <c:pt idx="218">
                  <c:v>38685</c:v>
                </c:pt>
                <c:pt idx="219">
                  <c:v>38686</c:v>
                </c:pt>
                <c:pt idx="220">
                  <c:v>38687</c:v>
                </c:pt>
                <c:pt idx="221">
                  <c:v>38688</c:v>
                </c:pt>
                <c:pt idx="222">
                  <c:v>38691</c:v>
                </c:pt>
                <c:pt idx="223">
                  <c:v>38692</c:v>
                </c:pt>
                <c:pt idx="224">
                  <c:v>38693</c:v>
                </c:pt>
                <c:pt idx="225">
                  <c:v>38694</c:v>
                </c:pt>
                <c:pt idx="226">
                  <c:v>38695</c:v>
                </c:pt>
                <c:pt idx="227">
                  <c:v>38698</c:v>
                </c:pt>
                <c:pt idx="228">
                  <c:v>38699</c:v>
                </c:pt>
                <c:pt idx="229">
                  <c:v>38700</c:v>
                </c:pt>
                <c:pt idx="230">
                  <c:v>38701</c:v>
                </c:pt>
                <c:pt idx="231">
                  <c:v>38702</c:v>
                </c:pt>
                <c:pt idx="232">
                  <c:v>38705</c:v>
                </c:pt>
                <c:pt idx="233">
                  <c:v>38706</c:v>
                </c:pt>
                <c:pt idx="234">
                  <c:v>38707</c:v>
                </c:pt>
                <c:pt idx="235">
                  <c:v>38708</c:v>
                </c:pt>
                <c:pt idx="236">
                  <c:v>38709</c:v>
                </c:pt>
                <c:pt idx="237">
                  <c:v>38712</c:v>
                </c:pt>
                <c:pt idx="238">
                  <c:v>38713</c:v>
                </c:pt>
                <c:pt idx="239">
                  <c:v>38714</c:v>
                </c:pt>
                <c:pt idx="240">
                  <c:v>38715</c:v>
                </c:pt>
                <c:pt idx="241">
                  <c:v>38716</c:v>
                </c:pt>
                <c:pt idx="242">
                  <c:v>38721</c:v>
                </c:pt>
                <c:pt idx="243">
                  <c:v>38722</c:v>
                </c:pt>
                <c:pt idx="244">
                  <c:v>38723</c:v>
                </c:pt>
                <c:pt idx="245">
                  <c:v>38726</c:v>
                </c:pt>
                <c:pt idx="246">
                  <c:v>38727</c:v>
                </c:pt>
                <c:pt idx="247">
                  <c:v>38728</c:v>
                </c:pt>
                <c:pt idx="248">
                  <c:v>38729</c:v>
                </c:pt>
                <c:pt idx="249">
                  <c:v>38730</c:v>
                </c:pt>
                <c:pt idx="250">
                  <c:v>38733</c:v>
                </c:pt>
                <c:pt idx="251">
                  <c:v>38734</c:v>
                </c:pt>
                <c:pt idx="252">
                  <c:v>38735</c:v>
                </c:pt>
                <c:pt idx="253">
                  <c:v>38736</c:v>
                </c:pt>
                <c:pt idx="254">
                  <c:v>38737</c:v>
                </c:pt>
                <c:pt idx="255">
                  <c:v>38740</c:v>
                </c:pt>
                <c:pt idx="256">
                  <c:v>38741</c:v>
                </c:pt>
                <c:pt idx="257">
                  <c:v>38742</c:v>
                </c:pt>
                <c:pt idx="258">
                  <c:v>38754</c:v>
                </c:pt>
                <c:pt idx="259">
                  <c:v>38755</c:v>
                </c:pt>
                <c:pt idx="260">
                  <c:v>38756</c:v>
                </c:pt>
                <c:pt idx="261">
                  <c:v>38757</c:v>
                </c:pt>
                <c:pt idx="262">
                  <c:v>38758</c:v>
                </c:pt>
                <c:pt idx="263">
                  <c:v>38761</c:v>
                </c:pt>
                <c:pt idx="264">
                  <c:v>38762</c:v>
                </c:pt>
                <c:pt idx="265">
                  <c:v>38763</c:v>
                </c:pt>
                <c:pt idx="266">
                  <c:v>38764</c:v>
                </c:pt>
                <c:pt idx="267">
                  <c:v>38765</c:v>
                </c:pt>
                <c:pt idx="268">
                  <c:v>38768</c:v>
                </c:pt>
                <c:pt idx="269">
                  <c:v>38769</c:v>
                </c:pt>
                <c:pt idx="270">
                  <c:v>38770</c:v>
                </c:pt>
                <c:pt idx="271">
                  <c:v>38771</c:v>
                </c:pt>
                <c:pt idx="272">
                  <c:v>38772</c:v>
                </c:pt>
                <c:pt idx="273">
                  <c:v>38775</c:v>
                </c:pt>
                <c:pt idx="274">
                  <c:v>38776</c:v>
                </c:pt>
                <c:pt idx="275">
                  <c:v>38777</c:v>
                </c:pt>
                <c:pt idx="276">
                  <c:v>38778</c:v>
                </c:pt>
                <c:pt idx="277">
                  <c:v>38779</c:v>
                </c:pt>
                <c:pt idx="278">
                  <c:v>38782</c:v>
                </c:pt>
                <c:pt idx="279">
                  <c:v>38783</c:v>
                </c:pt>
                <c:pt idx="280">
                  <c:v>38784</c:v>
                </c:pt>
                <c:pt idx="281">
                  <c:v>38785</c:v>
                </c:pt>
                <c:pt idx="282">
                  <c:v>38786</c:v>
                </c:pt>
                <c:pt idx="283">
                  <c:v>38789</c:v>
                </c:pt>
                <c:pt idx="284">
                  <c:v>38790</c:v>
                </c:pt>
                <c:pt idx="285">
                  <c:v>38791</c:v>
                </c:pt>
                <c:pt idx="286">
                  <c:v>38792</c:v>
                </c:pt>
                <c:pt idx="287">
                  <c:v>38793</c:v>
                </c:pt>
                <c:pt idx="288">
                  <c:v>38796</c:v>
                </c:pt>
                <c:pt idx="289">
                  <c:v>38797</c:v>
                </c:pt>
                <c:pt idx="290">
                  <c:v>38798</c:v>
                </c:pt>
                <c:pt idx="291">
                  <c:v>38799</c:v>
                </c:pt>
                <c:pt idx="292">
                  <c:v>38800</c:v>
                </c:pt>
                <c:pt idx="293">
                  <c:v>38803</c:v>
                </c:pt>
                <c:pt idx="294">
                  <c:v>38804</c:v>
                </c:pt>
                <c:pt idx="295">
                  <c:v>38805</c:v>
                </c:pt>
                <c:pt idx="296">
                  <c:v>38806</c:v>
                </c:pt>
                <c:pt idx="297">
                  <c:v>38807</c:v>
                </c:pt>
                <c:pt idx="298">
                  <c:v>38810</c:v>
                </c:pt>
                <c:pt idx="299">
                  <c:v>38811</c:v>
                </c:pt>
                <c:pt idx="300">
                  <c:v>38812</c:v>
                </c:pt>
                <c:pt idx="301">
                  <c:v>38813</c:v>
                </c:pt>
                <c:pt idx="302">
                  <c:v>38814</c:v>
                </c:pt>
                <c:pt idx="303">
                  <c:v>38817</c:v>
                </c:pt>
                <c:pt idx="304">
                  <c:v>38818</c:v>
                </c:pt>
                <c:pt idx="305">
                  <c:v>38819</c:v>
                </c:pt>
                <c:pt idx="306">
                  <c:v>38820</c:v>
                </c:pt>
                <c:pt idx="307">
                  <c:v>38821</c:v>
                </c:pt>
                <c:pt idx="308">
                  <c:v>38824</c:v>
                </c:pt>
                <c:pt idx="309">
                  <c:v>38825</c:v>
                </c:pt>
                <c:pt idx="310">
                  <c:v>38826</c:v>
                </c:pt>
                <c:pt idx="311">
                  <c:v>38827</c:v>
                </c:pt>
                <c:pt idx="312">
                  <c:v>38828</c:v>
                </c:pt>
                <c:pt idx="313">
                  <c:v>38831</c:v>
                </c:pt>
                <c:pt idx="314">
                  <c:v>38832</c:v>
                </c:pt>
                <c:pt idx="315">
                  <c:v>38833</c:v>
                </c:pt>
                <c:pt idx="316">
                  <c:v>38834</c:v>
                </c:pt>
                <c:pt idx="317">
                  <c:v>38835</c:v>
                </c:pt>
                <c:pt idx="318">
                  <c:v>38845</c:v>
                </c:pt>
                <c:pt idx="319">
                  <c:v>38846</c:v>
                </c:pt>
                <c:pt idx="320">
                  <c:v>38847</c:v>
                </c:pt>
                <c:pt idx="321">
                  <c:v>38848</c:v>
                </c:pt>
                <c:pt idx="322">
                  <c:v>38849</c:v>
                </c:pt>
                <c:pt idx="323">
                  <c:v>38852</c:v>
                </c:pt>
                <c:pt idx="324">
                  <c:v>38853</c:v>
                </c:pt>
                <c:pt idx="325">
                  <c:v>38854</c:v>
                </c:pt>
                <c:pt idx="326">
                  <c:v>38855</c:v>
                </c:pt>
                <c:pt idx="327">
                  <c:v>38856</c:v>
                </c:pt>
                <c:pt idx="328">
                  <c:v>38859</c:v>
                </c:pt>
                <c:pt idx="329">
                  <c:v>38860</c:v>
                </c:pt>
                <c:pt idx="330">
                  <c:v>38861</c:v>
                </c:pt>
                <c:pt idx="331">
                  <c:v>38862</c:v>
                </c:pt>
                <c:pt idx="332">
                  <c:v>38863</c:v>
                </c:pt>
                <c:pt idx="333">
                  <c:v>38866</c:v>
                </c:pt>
                <c:pt idx="334">
                  <c:v>38867</c:v>
                </c:pt>
                <c:pt idx="335">
                  <c:v>38868</c:v>
                </c:pt>
                <c:pt idx="336">
                  <c:v>38869</c:v>
                </c:pt>
                <c:pt idx="337">
                  <c:v>38870</c:v>
                </c:pt>
                <c:pt idx="338">
                  <c:v>38873</c:v>
                </c:pt>
                <c:pt idx="339">
                  <c:v>38874</c:v>
                </c:pt>
                <c:pt idx="340">
                  <c:v>38875</c:v>
                </c:pt>
                <c:pt idx="341">
                  <c:v>38876</c:v>
                </c:pt>
                <c:pt idx="342">
                  <c:v>38877</c:v>
                </c:pt>
                <c:pt idx="343">
                  <c:v>38880</c:v>
                </c:pt>
                <c:pt idx="344">
                  <c:v>38881</c:v>
                </c:pt>
                <c:pt idx="345">
                  <c:v>38882</c:v>
                </c:pt>
                <c:pt idx="346">
                  <c:v>38883</c:v>
                </c:pt>
                <c:pt idx="347">
                  <c:v>38884</c:v>
                </c:pt>
                <c:pt idx="348">
                  <c:v>38887</c:v>
                </c:pt>
                <c:pt idx="349">
                  <c:v>38888</c:v>
                </c:pt>
                <c:pt idx="350">
                  <c:v>38889</c:v>
                </c:pt>
                <c:pt idx="351">
                  <c:v>38890</c:v>
                </c:pt>
                <c:pt idx="352">
                  <c:v>38891</c:v>
                </c:pt>
                <c:pt idx="353">
                  <c:v>38894</c:v>
                </c:pt>
                <c:pt idx="354">
                  <c:v>38895</c:v>
                </c:pt>
                <c:pt idx="355">
                  <c:v>38896</c:v>
                </c:pt>
                <c:pt idx="356">
                  <c:v>38897</c:v>
                </c:pt>
                <c:pt idx="357">
                  <c:v>38898</c:v>
                </c:pt>
                <c:pt idx="358">
                  <c:v>38901</c:v>
                </c:pt>
                <c:pt idx="359">
                  <c:v>38902</c:v>
                </c:pt>
                <c:pt idx="360">
                  <c:v>38903</c:v>
                </c:pt>
                <c:pt idx="361">
                  <c:v>38904</c:v>
                </c:pt>
                <c:pt idx="362">
                  <c:v>38905</c:v>
                </c:pt>
                <c:pt idx="363">
                  <c:v>38908</c:v>
                </c:pt>
                <c:pt idx="364">
                  <c:v>38909</c:v>
                </c:pt>
                <c:pt idx="365">
                  <c:v>38910</c:v>
                </c:pt>
                <c:pt idx="366">
                  <c:v>38911</c:v>
                </c:pt>
                <c:pt idx="367">
                  <c:v>38912</c:v>
                </c:pt>
                <c:pt idx="368">
                  <c:v>38915</c:v>
                </c:pt>
                <c:pt idx="369">
                  <c:v>38916</c:v>
                </c:pt>
                <c:pt idx="370">
                  <c:v>38917</c:v>
                </c:pt>
                <c:pt idx="371">
                  <c:v>38918</c:v>
                </c:pt>
                <c:pt idx="372">
                  <c:v>38919</c:v>
                </c:pt>
                <c:pt idx="373">
                  <c:v>38922</c:v>
                </c:pt>
                <c:pt idx="374">
                  <c:v>38923</c:v>
                </c:pt>
                <c:pt idx="375">
                  <c:v>38924</c:v>
                </c:pt>
                <c:pt idx="376">
                  <c:v>38925</c:v>
                </c:pt>
                <c:pt idx="377">
                  <c:v>38926</c:v>
                </c:pt>
                <c:pt idx="378">
                  <c:v>38929</c:v>
                </c:pt>
                <c:pt idx="379">
                  <c:v>38930</c:v>
                </c:pt>
                <c:pt idx="380">
                  <c:v>38931</c:v>
                </c:pt>
                <c:pt idx="381">
                  <c:v>38932</c:v>
                </c:pt>
                <c:pt idx="382">
                  <c:v>38933</c:v>
                </c:pt>
                <c:pt idx="383">
                  <c:v>38936</c:v>
                </c:pt>
                <c:pt idx="384">
                  <c:v>38937</c:v>
                </c:pt>
                <c:pt idx="385">
                  <c:v>38938</c:v>
                </c:pt>
                <c:pt idx="386">
                  <c:v>38939</c:v>
                </c:pt>
                <c:pt idx="387">
                  <c:v>38940</c:v>
                </c:pt>
                <c:pt idx="388">
                  <c:v>38943</c:v>
                </c:pt>
                <c:pt idx="389">
                  <c:v>38944</c:v>
                </c:pt>
                <c:pt idx="390">
                  <c:v>38945</c:v>
                </c:pt>
                <c:pt idx="391">
                  <c:v>38946</c:v>
                </c:pt>
                <c:pt idx="392">
                  <c:v>38947</c:v>
                </c:pt>
                <c:pt idx="393">
                  <c:v>38950</c:v>
                </c:pt>
                <c:pt idx="394">
                  <c:v>38951</c:v>
                </c:pt>
                <c:pt idx="395">
                  <c:v>38952</c:v>
                </c:pt>
                <c:pt idx="396">
                  <c:v>38953</c:v>
                </c:pt>
                <c:pt idx="397">
                  <c:v>38954</c:v>
                </c:pt>
                <c:pt idx="398">
                  <c:v>38957</c:v>
                </c:pt>
                <c:pt idx="399">
                  <c:v>38958</c:v>
                </c:pt>
                <c:pt idx="400">
                  <c:v>38959</c:v>
                </c:pt>
                <c:pt idx="401">
                  <c:v>38960</c:v>
                </c:pt>
                <c:pt idx="402">
                  <c:v>38961</c:v>
                </c:pt>
                <c:pt idx="403">
                  <c:v>38964</c:v>
                </c:pt>
                <c:pt idx="404">
                  <c:v>38965</c:v>
                </c:pt>
                <c:pt idx="405">
                  <c:v>38966</c:v>
                </c:pt>
                <c:pt idx="406">
                  <c:v>38967</c:v>
                </c:pt>
                <c:pt idx="407">
                  <c:v>38968</c:v>
                </c:pt>
                <c:pt idx="408">
                  <c:v>38971</c:v>
                </c:pt>
                <c:pt idx="409">
                  <c:v>38972</c:v>
                </c:pt>
                <c:pt idx="410">
                  <c:v>38973</c:v>
                </c:pt>
                <c:pt idx="411">
                  <c:v>38974</c:v>
                </c:pt>
                <c:pt idx="412">
                  <c:v>38975</c:v>
                </c:pt>
                <c:pt idx="413">
                  <c:v>38978</c:v>
                </c:pt>
                <c:pt idx="414">
                  <c:v>38979</c:v>
                </c:pt>
                <c:pt idx="415">
                  <c:v>38980</c:v>
                </c:pt>
                <c:pt idx="416">
                  <c:v>38981</c:v>
                </c:pt>
                <c:pt idx="417">
                  <c:v>38982</c:v>
                </c:pt>
                <c:pt idx="418">
                  <c:v>38985</c:v>
                </c:pt>
                <c:pt idx="419">
                  <c:v>38986</c:v>
                </c:pt>
                <c:pt idx="420">
                  <c:v>38987</c:v>
                </c:pt>
                <c:pt idx="421">
                  <c:v>38988</c:v>
                </c:pt>
                <c:pt idx="422">
                  <c:v>38989</c:v>
                </c:pt>
                <c:pt idx="423">
                  <c:v>38999</c:v>
                </c:pt>
                <c:pt idx="424">
                  <c:v>39000</c:v>
                </c:pt>
                <c:pt idx="425">
                  <c:v>39001</c:v>
                </c:pt>
                <c:pt idx="426">
                  <c:v>39002</c:v>
                </c:pt>
                <c:pt idx="427">
                  <c:v>39003</c:v>
                </c:pt>
                <c:pt idx="428">
                  <c:v>39006</c:v>
                </c:pt>
                <c:pt idx="429">
                  <c:v>39007</c:v>
                </c:pt>
                <c:pt idx="430">
                  <c:v>39008</c:v>
                </c:pt>
                <c:pt idx="431">
                  <c:v>39009</c:v>
                </c:pt>
                <c:pt idx="432">
                  <c:v>39010</c:v>
                </c:pt>
                <c:pt idx="433">
                  <c:v>39013</c:v>
                </c:pt>
                <c:pt idx="434">
                  <c:v>39014</c:v>
                </c:pt>
                <c:pt idx="435">
                  <c:v>39015</c:v>
                </c:pt>
                <c:pt idx="436">
                  <c:v>39016</c:v>
                </c:pt>
                <c:pt idx="437">
                  <c:v>39017</c:v>
                </c:pt>
                <c:pt idx="438">
                  <c:v>39020</c:v>
                </c:pt>
                <c:pt idx="439">
                  <c:v>39021</c:v>
                </c:pt>
                <c:pt idx="440">
                  <c:v>39022</c:v>
                </c:pt>
                <c:pt idx="441">
                  <c:v>39023</c:v>
                </c:pt>
                <c:pt idx="442">
                  <c:v>39024</c:v>
                </c:pt>
                <c:pt idx="443">
                  <c:v>39027</c:v>
                </c:pt>
                <c:pt idx="444">
                  <c:v>39028</c:v>
                </c:pt>
                <c:pt idx="445">
                  <c:v>39029</c:v>
                </c:pt>
                <c:pt idx="446">
                  <c:v>39030</c:v>
                </c:pt>
                <c:pt idx="447">
                  <c:v>39031</c:v>
                </c:pt>
                <c:pt idx="448">
                  <c:v>39034</c:v>
                </c:pt>
                <c:pt idx="449">
                  <c:v>39035</c:v>
                </c:pt>
                <c:pt idx="450">
                  <c:v>39036</c:v>
                </c:pt>
                <c:pt idx="451">
                  <c:v>39037</c:v>
                </c:pt>
                <c:pt idx="452">
                  <c:v>39038</c:v>
                </c:pt>
                <c:pt idx="453">
                  <c:v>39041</c:v>
                </c:pt>
                <c:pt idx="454">
                  <c:v>39042</c:v>
                </c:pt>
                <c:pt idx="455">
                  <c:v>39043</c:v>
                </c:pt>
                <c:pt idx="456">
                  <c:v>39044</c:v>
                </c:pt>
                <c:pt idx="457">
                  <c:v>39045</c:v>
                </c:pt>
                <c:pt idx="458">
                  <c:v>39048</c:v>
                </c:pt>
                <c:pt idx="459">
                  <c:v>39049</c:v>
                </c:pt>
                <c:pt idx="460">
                  <c:v>39050</c:v>
                </c:pt>
                <c:pt idx="461">
                  <c:v>39051</c:v>
                </c:pt>
                <c:pt idx="462">
                  <c:v>39052</c:v>
                </c:pt>
                <c:pt idx="463">
                  <c:v>39055</c:v>
                </c:pt>
                <c:pt idx="464">
                  <c:v>39056</c:v>
                </c:pt>
                <c:pt idx="465">
                  <c:v>39057</c:v>
                </c:pt>
                <c:pt idx="466">
                  <c:v>39058</c:v>
                </c:pt>
                <c:pt idx="467">
                  <c:v>39059</c:v>
                </c:pt>
                <c:pt idx="468">
                  <c:v>39062</c:v>
                </c:pt>
                <c:pt idx="469">
                  <c:v>39063</c:v>
                </c:pt>
                <c:pt idx="470">
                  <c:v>39064</c:v>
                </c:pt>
                <c:pt idx="471">
                  <c:v>39065</c:v>
                </c:pt>
                <c:pt idx="472">
                  <c:v>39066</c:v>
                </c:pt>
                <c:pt idx="473">
                  <c:v>39069</c:v>
                </c:pt>
                <c:pt idx="474">
                  <c:v>39070</c:v>
                </c:pt>
                <c:pt idx="475">
                  <c:v>39071</c:v>
                </c:pt>
                <c:pt idx="476">
                  <c:v>39072</c:v>
                </c:pt>
                <c:pt idx="477">
                  <c:v>39073</c:v>
                </c:pt>
                <c:pt idx="478">
                  <c:v>39076</c:v>
                </c:pt>
                <c:pt idx="479">
                  <c:v>39077</c:v>
                </c:pt>
                <c:pt idx="480">
                  <c:v>39078</c:v>
                </c:pt>
                <c:pt idx="481">
                  <c:v>39079</c:v>
                </c:pt>
                <c:pt idx="482">
                  <c:v>39080</c:v>
                </c:pt>
                <c:pt idx="483">
                  <c:v>39086</c:v>
                </c:pt>
                <c:pt idx="484">
                  <c:v>39087</c:v>
                </c:pt>
                <c:pt idx="485">
                  <c:v>39090</c:v>
                </c:pt>
                <c:pt idx="486">
                  <c:v>39091</c:v>
                </c:pt>
                <c:pt idx="487">
                  <c:v>39092</c:v>
                </c:pt>
                <c:pt idx="488">
                  <c:v>39093</c:v>
                </c:pt>
                <c:pt idx="489">
                  <c:v>39094</c:v>
                </c:pt>
                <c:pt idx="490">
                  <c:v>39097</c:v>
                </c:pt>
                <c:pt idx="491">
                  <c:v>39098</c:v>
                </c:pt>
                <c:pt idx="492">
                  <c:v>39099</c:v>
                </c:pt>
                <c:pt idx="493">
                  <c:v>39100</c:v>
                </c:pt>
                <c:pt idx="494">
                  <c:v>39101</c:v>
                </c:pt>
                <c:pt idx="495">
                  <c:v>39104</c:v>
                </c:pt>
                <c:pt idx="496">
                  <c:v>39105</c:v>
                </c:pt>
                <c:pt idx="497">
                  <c:v>39106</c:v>
                </c:pt>
                <c:pt idx="498">
                  <c:v>39107</c:v>
                </c:pt>
                <c:pt idx="499">
                  <c:v>39108</c:v>
                </c:pt>
                <c:pt idx="500">
                  <c:v>39111</c:v>
                </c:pt>
                <c:pt idx="501">
                  <c:v>39112</c:v>
                </c:pt>
                <c:pt idx="502">
                  <c:v>39113</c:v>
                </c:pt>
                <c:pt idx="503">
                  <c:v>39114</c:v>
                </c:pt>
                <c:pt idx="504">
                  <c:v>39115</c:v>
                </c:pt>
                <c:pt idx="505">
                  <c:v>39118</c:v>
                </c:pt>
                <c:pt idx="506">
                  <c:v>39119</c:v>
                </c:pt>
                <c:pt idx="507">
                  <c:v>39120</c:v>
                </c:pt>
                <c:pt idx="508">
                  <c:v>39121</c:v>
                </c:pt>
                <c:pt idx="509">
                  <c:v>39122</c:v>
                </c:pt>
                <c:pt idx="510">
                  <c:v>39125</c:v>
                </c:pt>
                <c:pt idx="511">
                  <c:v>39126</c:v>
                </c:pt>
                <c:pt idx="512">
                  <c:v>39127</c:v>
                </c:pt>
                <c:pt idx="513">
                  <c:v>39128</c:v>
                </c:pt>
                <c:pt idx="514">
                  <c:v>39129</c:v>
                </c:pt>
                <c:pt idx="515">
                  <c:v>39139</c:v>
                </c:pt>
                <c:pt idx="516">
                  <c:v>39140</c:v>
                </c:pt>
                <c:pt idx="517">
                  <c:v>39141</c:v>
                </c:pt>
                <c:pt idx="518">
                  <c:v>39142</c:v>
                </c:pt>
                <c:pt idx="519">
                  <c:v>39143</c:v>
                </c:pt>
                <c:pt idx="520">
                  <c:v>39146</c:v>
                </c:pt>
                <c:pt idx="521">
                  <c:v>39147</c:v>
                </c:pt>
                <c:pt idx="522">
                  <c:v>39148</c:v>
                </c:pt>
                <c:pt idx="523">
                  <c:v>39149</c:v>
                </c:pt>
                <c:pt idx="524">
                  <c:v>39150</c:v>
                </c:pt>
                <c:pt idx="525">
                  <c:v>39153</c:v>
                </c:pt>
                <c:pt idx="526">
                  <c:v>39154</c:v>
                </c:pt>
                <c:pt idx="527">
                  <c:v>39155</c:v>
                </c:pt>
                <c:pt idx="528">
                  <c:v>39156</c:v>
                </c:pt>
                <c:pt idx="529">
                  <c:v>39157</c:v>
                </c:pt>
                <c:pt idx="530">
                  <c:v>39160</c:v>
                </c:pt>
                <c:pt idx="531">
                  <c:v>39161</c:v>
                </c:pt>
                <c:pt idx="532">
                  <c:v>39162</c:v>
                </c:pt>
                <c:pt idx="533">
                  <c:v>39163</c:v>
                </c:pt>
                <c:pt idx="534">
                  <c:v>39164</c:v>
                </c:pt>
                <c:pt idx="535">
                  <c:v>39167</c:v>
                </c:pt>
                <c:pt idx="536">
                  <c:v>39168</c:v>
                </c:pt>
                <c:pt idx="537">
                  <c:v>39169</c:v>
                </c:pt>
                <c:pt idx="538">
                  <c:v>39170</c:v>
                </c:pt>
                <c:pt idx="539">
                  <c:v>39171</c:v>
                </c:pt>
                <c:pt idx="540">
                  <c:v>39174</c:v>
                </c:pt>
                <c:pt idx="541">
                  <c:v>39175</c:v>
                </c:pt>
                <c:pt idx="542">
                  <c:v>39176</c:v>
                </c:pt>
                <c:pt idx="543">
                  <c:v>39177</c:v>
                </c:pt>
                <c:pt idx="544">
                  <c:v>39178</c:v>
                </c:pt>
                <c:pt idx="545">
                  <c:v>39181</c:v>
                </c:pt>
                <c:pt idx="546">
                  <c:v>39182</c:v>
                </c:pt>
                <c:pt idx="547">
                  <c:v>39183</c:v>
                </c:pt>
                <c:pt idx="548">
                  <c:v>39184</c:v>
                </c:pt>
                <c:pt idx="549">
                  <c:v>39185</c:v>
                </c:pt>
                <c:pt idx="550">
                  <c:v>39188</c:v>
                </c:pt>
                <c:pt idx="551">
                  <c:v>39189</c:v>
                </c:pt>
                <c:pt idx="552">
                  <c:v>39190</c:v>
                </c:pt>
                <c:pt idx="553">
                  <c:v>39191</c:v>
                </c:pt>
                <c:pt idx="554">
                  <c:v>39192</c:v>
                </c:pt>
                <c:pt idx="555">
                  <c:v>39195</c:v>
                </c:pt>
                <c:pt idx="556">
                  <c:v>39196</c:v>
                </c:pt>
                <c:pt idx="557">
                  <c:v>39197</c:v>
                </c:pt>
                <c:pt idx="558">
                  <c:v>39198</c:v>
                </c:pt>
                <c:pt idx="559">
                  <c:v>39199</c:v>
                </c:pt>
                <c:pt idx="560">
                  <c:v>39202</c:v>
                </c:pt>
                <c:pt idx="561">
                  <c:v>39210</c:v>
                </c:pt>
                <c:pt idx="562">
                  <c:v>39211</c:v>
                </c:pt>
                <c:pt idx="563">
                  <c:v>39212</c:v>
                </c:pt>
                <c:pt idx="564">
                  <c:v>39213</c:v>
                </c:pt>
                <c:pt idx="565">
                  <c:v>39216</c:v>
                </c:pt>
                <c:pt idx="566">
                  <c:v>39217</c:v>
                </c:pt>
                <c:pt idx="567">
                  <c:v>39218</c:v>
                </c:pt>
                <c:pt idx="568">
                  <c:v>39219</c:v>
                </c:pt>
                <c:pt idx="569">
                  <c:v>39220</c:v>
                </c:pt>
                <c:pt idx="570">
                  <c:v>39223</c:v>
                </c:pt>
                <c:pt idx="571">
                  <c:v>39224</c:v>
                </c:pt>
                <c:pt idx="572">
                  <c:v>39225</c:v>
                </c:pt>
                <c:pt idx="573">
                  <c:v>39226</c:v>
                </c:pt>
                <c:pt idx="574">
                  <c:v>39227</c:v>
                </c:pt>
                <c:pt idx="575">
                  <c:v>39230</c:v>
                </c:pt>
                <c:pt idx="576">
                  <c:v>39231</c:v>
                </c:pt>
                <c:pt idx="577">
                  <c:v>39232</c:v>
                </c:pt>
                <c:pt idx="578">
                  <c:v>39233</c:v>
                </c:pt>
                <c:pt idx="579">
                  <c:v>39234</c:v>
                </c:pt>
                <c:pt idx="580">
                  <c:v>39237</c:v>
                </c:pt>
                <c:pt idx="581">
                  <c:v>39238</c:v>
                </c:pt>
                <c:pt idx="582">
                  <c:v>39239</c:v>
                </c:pt>
                <c:pt idx="583">
                  <c:v>39240</c:v>
                </c:pt>
                <c:pt idx="584">
                  <c:v>39241</c:v>
                </c:pt>
                <c:pt idx="585">
                  <c:v>39244</c:v>
                </c:pt>
                <c:pt idx="586">
                  <c:v>39245</c:v>
                </c:pt>
                <c:pt idx="587">
                  <c:v>39246</c:v>
                </c:pt>
                <c:pt idx="588">
                  <c:v>39247</c:v>
                </c:pt>
                <c:pt idx="589">
                  <c:v>39248</c:v>
                </c:pt>
                <c:pt idx="590">
                  <c:v>39251</c:v>
                </c:pt>
                <c:pt idx="591">
                  <c:v>39252</c:v>
                </c:pt>
                <c:pt idx="592">
                  <c:v>39253</c:v>
                </c:pt>
                <c:pt idx="593">
                  <c:v>39254</c:v>
                </c:pt>
                <c:pt idx="594">
                  <c:v>39255</c:v>
                </c:pt>
                <c:pt idx="595">
                  <c:v>39258</c:v>
                </c:pt>
                <c:pt idx="596">
                  <c:v>39259</c:v>
                </c:pt>
                <c:pt idx="597">
                  <c:v>39260</c:v>
                </c:pt>
                <c:pt idx="598">
                  <c:v>39261</c:v>
                </c:pt>
                <c:pt idx="599">
                  <c:v>39262</c:v>
                </c:pt>
                <c:pt idx="600">
                  <c:v>39265</c:v>
                </c:pt>
                <c:pt idx="601">
                  <c:v>39266</c:v>
                </c:pt>
                <c:pt idx="602">
                  <c:v>39267</c:v>
                </c:pt>
                <c:pt idx="603">
                  <c:v>39268</c:v>
                </c:pt>
                <c:pt idx="604">
                  <c:v>39269</c:v>
                </c:pt>
                <c:pt idx="605">
                  <c:v>39272</c:v>
                </c:pt>
                <c:pt idx="606">
                  <c:v>39273</c:v>
                </c:pt>
                <c:pt idx="607">
                  <c:v>39274</c:v>
                </c:pt>
                <c:pt idx="608">
                  <c:v>39275</c:v>
                </c:pt>
                <c:pt idx="609">
                  <c:v>39276</c:v>
                </c:pt>
                <c:pt idx="610">
                  <c:v>39279</c:v>
                </c:pt>
                <c:pt idx="611">
                  <c:v>39280</c:v>
                </c:pt>
                <c:pt idx="612">
                  <c:v>39281</c:v>
                </c:pt>
                <c:pt idx="613">
                  <c:v>39282</c:v>
                </c:pt>
                <c:pt idx="614">
                  <c:v>39283</c:v>
                </c:pt>
                <c:pt idx="615">
                  <c:v>39286</c:v>
                </c:pt>
                <c:pt idx="616">
                  <c:v>39287</c:v>
                </c:pt>
                <c:pt idx="617">
                  <c:v>39288</c:v>
                </c:pt>
                <c:pt idx="618">
                  <c:v>39289</c:v>
                </c:pt>
                <c:pt idx="619">
                  <c:v>39290</c:v>
                </c:pt>
                <c:pt idx="620">
                  <c:v>39293</c:v>
                </c:pt>
                <c:pt idx="621">
                  <c:v>39294</c:v>
                </c:pt>
                <c:pt idx="622">
                  <c:v>39295</c:v>
                </c:pt>
                <c:pt idx="623">
                  <c:v>39296</c:v>
                </c:pt>
                <c:pt idx="624">
                  <c:v>39297</c:v>
                </c:pt>
                <c:pt idx="625">
                  <c:v>39300</c:v>
                </c:pt>
                <c:pt idx="626">
                  <c:v>39301</c:v>
                </c:pt>
                <c:pt idx="627">
                  <c:v>39302</c:v>
                </c:pt>
                <c:pt idx="628">
                  <c:v>39303</c:v>
                </c:pt>
                <c:pt idx="629">
                  <c:v>39304</c:v>
                </c:pt>
                <c:pt idx="630">
                  <c:v>39307</c:v>
                </c:pt>
                <c:pt idx="631">
                  <c:v>39308</c:v>
                </c:pt>
                <c:pt idx="632">
                  <c:v>39309</c:v>
                </c:pt>
                <c:pt idx="633">
                  <c:v>39310</c:v>
                </c:pt>
                <c:pt idx="634">
                  <c:v>39311</c:v>
                </c:pt>
                <c:pt idx="635">
                  <c:v>39314</c:v>
                </c:pt>
                <c:pt idx="636">
                  <c:v>39315</c:v>
                </c:pt>
                <c:pt idx="637">
                  <c:v>39316</c:v>
                </c:pt>
                <c:pt idx="638">
                  <c:v>39317</c:v>
                </c:pt>
                <c:pt idx="639">
                  <c:v>39318</c:v>
                </c:pt>
                <c:pt idx="640">
                  <c:v>39321</c:v>
                </c:pt>
                <c:pt idx="641">
                  <c:v>39322</c:v>
                </c:pt>
                <c:pt idx="642">
                  <c:v>39323</c:v>
                </c:pt>
                <c:pt idx="643">
                  <c:v>39324</c:v>
                </c:pt>
                <c:pt idx="644">
                  <c:v>39325</c:v>
                </c:pt>
                <c:pt idx="645">
                  <c:v>39328</c:v>
                </c:pt>
                <c:pt idx="646">
                  <c:v>39329</c:v>
                </c:pt>
                <c:pt idx="647">
                  <c:v>39330</c:v>
                </c:pt>
                <c:pt idx="648">
                  <c:v>39331</c:v>
                </c:pt>
                <c:pt idx="649">
                  <c:v>39332</c:v>
                </c:pt>
                <c:pt idx="650">
                  <c:v>39335</c:v>
                </c:pt>
                <c:pt idx="651">
                  <c:v>39336</c:v>
                </c:pt>
                <c:pt idx="652">
                  <c:v>39337</c:v>
                </c:pt>
                <c:pt idx="653">
                  <c:v>39338</c:v>
                </c:pt>
                <c:pt idx="654">
                  <c:v>39339</c:v>
                </c:pt>
                <c:pt idx="655">
                  <c:v>39342</c:v>
                </c:pt>
                <c:pt idx="656">
                  <c:v>39343</c:v>
                </c:pt>
                <c:pt idx="657">
                  <c:v>39344</c:v>
                </c:pt>
                <c:pt idx="658">
                  <c:v>39345</c:v>
                </c:pt>
                <c:pt idx="659">
                  <c:v>39346</c:v>
                </c:pt>
                <c:pt idx="660">
                  <c:v>39349</c:v>
                </c:pt>
                <c:pt idx="661">
                  <c:v>39350</c:v>
                </c:pt>
                <c:pt idx="662">
                  <c:v>39351</c:v>
                </c:pt>
                <c:pt idx="663">
                  <c:v>39352</c:v>
                </c:pt>
                <c:pt idx="664">
                  <c:v>39353</c:v>
                </c:pt>
                <c:pt idx="665">
                  <c:v>39363</c:v>
                </c:pt>
                <c:pt idx="666">
                  <c:v>39364</c:v>
                </c:pt>
                <c:pt idx="667">
                  <c:v>39365</c:v>
                </c:pt>
                <c:pt idx="668">
                  <c:v>39366</c:v>
                </c:pt>
                <c:pt idx="669">
                  <c:v>39367</c:v>
                </c:pt>
                <c:pt idx="670">
                  <c:v>39370</c:v>
                </c:pt>
                <c:pt idx="671">
                  <c:v>39371</c:v>
                </c:pt>
                <c:pt idx="672">
                  <c:v>39372</c:v>
                </c:pt>
                <c:pt idx="673">
                  <c:v>39373</c:v>
                </c:pt>
                <c:pt idx="674">
                  <c:v>39374</c:v>
                </c:pt>
                <c:pt idx="675">
                  <c:v>39377</c:v>
                </c:pt>
                <c:pt idx="676">
                  <c:v>39378</c:v>
                </c:pt>
                <c:pt idx="677">
                  <c:v>39379</c:v>
                </c:pt>
                <c:pt idx="678">
                  <c:v>39380</c:v>
                </c:pt>
                <c:pt idx="679">
                  <c:v>39381</c:v>
                </c:pt>
                <c:pt idx="680">
                  <c:v>39384</c:v>
                </c:pt>
                <c:pt idx="681">
                  <c:v>39385</c:v>
                </c:pt>
                <c:pt idx="682">
                  <c:v>39386</c:v>
                </c:pt>
                <c:pt idx="683">
                  <c:v>39387</c:v>
                </c:pt>
                <c:pt idx="684">
                  <c:v>39388</c:v>
                </c:pt>
                <c:pt idx="685">
                  <c:v>39391</c:v>
                </c:pt>
                <c:pt idx="686">
                  <c:v>39392</c:v>
                </c:pt>
                <c:pt idx="687">
                  <c:v>39393</c:v>
                </c:pt>
                <c:pt idx="688">
                  <c:v>39394</c:v>
                </c:pt>
                <c:pt idx="689">
                  <c:v>39395</c:v>
                </c:pt>
                <c:pt idx="690">
                  <c:v>39398</c:v>
                </c:pt>
                <c:pt idx="691">
                  <c:v>39399</c:v>
                </c:pt>
                <c:pt idx="692">
                  <c:v>39400</c:v>
                </c:pt>
                <c:pt idx="693">
                  <c:v>39401</c:v>
                </c:pt>
                <c:pt idx="694">
                  <c:v>39402</c:v>
                </c:pt>
                <c:pt idx="695">
                  <c:v>39405</c:v>
                </c:pt>
                <c:pt idx="696">
                  <c:v>39406</c:v>
                </c:pt>
                <c:pt idx="697">
                  <c:v>39407</c:v>
                </c:pt>
                <c:pt idx="698">
                  <c:v>39408</c:v>
                </c:pt>
                <c:pt idx="699">
                  <c:v>39409</c:v>
                </c:pt>
                <c:pt idx="700">
                  <c:v>39412</c:v>
                </c:pt>
                <c:pt idx="701">
                  <c:v>39413</c:v>
                </c:pt>
                <c:pt idx="702">
                  <c:v>39414</c:v>
                </c:pt>
                <c:pt idx="703">
                  <c:v>39415</c:v>
                </c:pt>
                <c:pt idx="704">
                  <c:v>39416</c:v>
                </c:pt>
                <c:pt idx="705">
                  <c:v>39419</c:v>
                </c:pt>
                <c:pt idx="706">
                  <c:v>39420</c:v>
                </c:pt>
                <c:pt idx="707">
                  <c:v>39421</c:v>
                </c:pt>
                <c:pt idx="708">
                  <c:v>39422</c:v>
                </c:pt>
                <c:pt idx="709">
                  <c:v>39423</c:v>
                </c:pt>
                <c:pt idx="710">
                  <c:v>39426</c:v>
                </c:pt>
                <c:pt idx="711">
                  <c:v>39427</c:v>
                </c:pt>
                <c:pt idx="712">
                  <c:v>39428</c:v>
                </c:pt>
                <c:pt idx="713">
                  <c:v>39429</c:v>
                </c:pt>
                <c:pt idx="714">
                  <c:v>39430</c:v>
                </c:pt>
                <c:pt idx="715">
                  <c:v>39433</c:v>
                </c:pt>
                <c:pt idx="716">
                  <c:v>39434</c:v>
                </c:pt>
                <c:pt idx="717">
                  <c:v>39435</c:v>
                </c:pt>
                <c:pt idx="718">
                  <c:v>39436</c:v>
                </c:pt>
                <c:pt idx="719">
                  <c:v>39437</c:v>
                </c:pt>
                <c:pt idx="720">
                  <c:v>39440</c:v>
                </c:pt>
                <c:pt idx="721">
                  <c:v>39441</c:v>
                </c:pt>
                <c:pt idx="722">
                  <c:v>39442</c:v>
                </c:pt>
                <c:pt idx="723">
                  <c:v>39443</c:v>
                </c:pt>
                <c:pt idx="724">
                  <c:v>39444</c:v>
                </c:pt>
                <c:pt idx="725">
                  <c:v>39449</c:v>
                </c:pt>
                <c:pt idx="726">
                  <c:v>39450</c:v>
                </c:pt>
                <c:pt idx="727">
                  <c:v>39451</c:v>
                </c:pt>
                <c:pt idx="728">
                  <c:v>39454</c:v>
                </c:pt>
                <c:pt idx="729">
                  <c:v>39455</c:v>
                </c:pt>
                <c:pt idx="730">
                  <c:v>39456</c:v>
                </c:pt>
                <c:pt idx="731">
                  <c:v>39457</c:v>
                </c:pt>
                <c:pt idx="732">
                  <c:v>39458</c:v>
                </c:pt>
                <c:pt idx="733">
                  <c:v>39461</c:v>
                </c:pt>
                <c:pt idx="734">
                  <c:v>39462</c:v>
                </c:pt>
                <c:pt idx="735">
                  <c:v>39463</c:v>
                </c:pt>
                <c:pt idx="736">
                  <c:v>39464</c:v>
                </c:pt>
                <c:pt idx="737">
                  <c:v>39465</c:v>
                </c:pt>
                <c:pt idx="738">
                  <c:v>39468</c:v>
                </c:pt>
                <c:pt idx="739">
                  <c:v>39469</c:v>
                </c:pt>
                <c:pt idx="740">
                  <c:v>39470</c:v>
                </c:pt>
                <c:pt idx="741">
                  <c:v>39471</c:v>
                </c:pt>
                <c:pt idx="742">
                  <c:v>39472</c:v>
                </c:pt>
                <c:pt idx="743">
                  <c:v>39475</c:v>
                </c:pt>
                <c:pt idx="744">
                  <c:v>39476</c:v>
                </c:pt>
                <c:pt idx="745">
                  <c:v>39477</c:v>
                </c:pt>
                <c:pt idx="746">
                  <c:v>39478</c:v>
                </c:pt>
                <c:pt idx="747">
                  <c:v>39479</c:v>
                </c:pt>
                <c:pt idx="748">
                  <c:v>39482</c:v>
                </c:pt>
                <c:pt idx="749">
                  <c:v>39483</c:v>
                </c:pt>
                <c:pt idx="750">
                  <c:v>39491</c:v>
                </c:pt>
                <c:pt idx="751">
                  <c:v>39492</c:v>
                </c:pt>
                <c:pt idx="752">
                  <c:v>39493</c:v>
                </c:pt>
                <c:pt idx="753">
                  <c:v>39496</c:v>
                </c:pt>
                <c:pt idx="754">
                  <c:v>39497</c:v>
                </c:pt>
                <c:pt idx="755">
                  <c:v>39498</c:v>
                </c:pt>
                <c:pt idx="756">
                  <c:v>39499</c:v>
                </c:pt>
                <c:pt idx="757">
                  <c:v>39500</c:v>
                </c:pt>
                <c:pt idx="758">
                  <c:v>39503</c:v>
                </c:pt>
                <c:pt idx="759">
                  <c:v>39504</c:v>
                </c:pt>
                <c:pt idx="760">
                  <c:v>39505</c:v>
                </c:pt>
                <c:pt idx="761">
                  <c:v>39506</c:v>
                </c:pt>
                <c:pt idx="762">
                  <c:v>39507</c:v>
                </c:pt>
                <c:pt idx="763">
                  <c:v>39510</c:v>
                </c:pt>
                <c:pt idx="764">
                  <c:v>39511</c:v>
                </c:pt>
                <c:pt idx="765">
                  <c:v>39512</c:v>
                </c:pt>
                <c:pt idx="766">
                  <c:v>39513</c:v>
                </c:pt>
                <c:pt idx="767">
                  <c:v>39514</c:v>
                </c:pt>
                <c:pt idx="768">
                  <c:v>39517</c:v>
                </c:pt>
                <c:pt idx="769">
                  <c:v>39518</c:v>
                </c:pt>
                <c:pt idx="770">
                  <c:v>39519</c:v>
                </c:pt>
                <c:pt idx="771">
                  <c:v>39520</c:v>
                </c:pt>
                <c:pt idx="772">
                  <c:v>39521</c:v>
                </c:pt>
                <c:pt idx="773">
                  <c:v>39524</c:v>
                </c:pt>
                <c:pt idx="774">
                  <c:v>39525</c:v>
                </c:pt>
                <c:pt idx="775">
                  <c:v>39526</c:v>
                </c:pt>
                <c:pt idx="776">
                  <c:v>39527</c:v>
                </c:pt>
                <c:pt idx="777">
                  <c:v>39528</c:v>
                </c:pt>
                <c:pt idx="778">
                  <c:v>39531</c:v>
                </c:pt>
                <c:pt idx="779">
                  <c:v>39532</c:v>
                </c:pt>
                <c:pt idx="780">
                  <c:v>39533</c:v>
                </c:pt>
                <c:pt idx="781">
                  <c:v>39534</c:v>
                </c:pt>
                <c:pt idx="782">
                  <c:v>39535</c:v>
                </c:pt>
                <c:pt idx="783">
                  <c:v>39538</c:v>
                </c:pt>
                <c:pt idx="784">
                  <c:v>39539</c:v>
                </c:pt>
                <c:pt idx="785">
                  <c:v>39540</c:v>
                </c:pt>
                <c:pt idx="786">
                  <c:v>39541</c:v>
                </c:pt>
                <c:pt idx="787">
                  <c:v>39545</c:v>
                </c:pt>
                <c:pt idx="788">
                  <c:v>39546</c:v>
                </c:pt>
                <c:pt idx="789">
                  <c:v>39547</c:v>
                </c:pt>
                <c:pt idx="790">
                  <c:v>39548</c:v>
                </c:pt>
                <c:pt idx="791">
                  <c:v>39549</c:v>
                </c:pt>
                <c:pt idx="792">
                  <c:v>39552</c:v>
                </c:pt>
                <c:pt idx="793">
                  <c:v>39553</c:v>
                </c:pt>
                <c:pt idx="794">
                  <c:v>39554</c:v>
                </c:pt>
                <c:pt idx="795">
                  <c:v>39555</c:v>
                </c:pt>
                <c:pt idx="796">
                  <c:v>39556</c:v>
                </c:pt>
                <c:pt idx="797">
                  <c:v>39559</c:v>
                </c:pt>
                <c:pt idx="798">
                  <c:v>39560</c:v>
                </c:pt>
                <c:pt idx="799">
                  <c:v>39561</c:v>
                </c:pt>
                <c:pt idx="800">
                  <c:v>39562</c:v>
                </c:pt>
                <c:pt idx="801">
                  <c:v>39563</c:v>
                </c:pt>
                <c:pt idx="802">
                  <c:v>39566</c:v>
                </c:pt>
                <c:pt idx="803">
                  <c:v>39567</c:v>
                </c:pt>
                <c:pt idx="804">
                  <c:v>39568</c:v>
                </c:pt>
                <c:pt idx="805">
                  <c:v>39573</c:v>
                </c:pt>
                <c:pt idx="806">
                  <c:v>39574</c:v>
                </c:pt>
                <c:pt idx="807">
                  <c:v>39575</c:v>
                </c:pt>
                <c:pt idx="808">
                  <c:v>39576</c:v>
                </c:pt>
                <c:pt idx="809">
                  <c:v>39577</c:v>
                </c:pt>
                <c:pt idx="810">
                  <c:v>39580</c:v>
                </c:pt>
                <c:pt idx="811">
                  <c:v>39581</c:v>
                </c:pt>
                <c:pt idx="812">
                  <c:v>39582</c:v>
                </c:pt>
                <c:pt idx="813">
                  <c:v>39583</c:v>
                </c:pt>
                <c:pt idx="814">
                  <c:v>39584</c:v>
                </c:pt>
                <c:pt idx="815">
                  <c:v>39587</c:v>
                </c:pt>
                <c:pt idx="816">
                  <c:v>39588</c:v>
                </c:pt>
                <c:pt idx="817">
                  <c:v>39589</c:v>
                </c:pt>
                <c:pt idx="818">
                  <c:v>39590</c:v>
                </c:pt>
                <c:pt idx="819">
                  <c:v>39591</c:v>
                </c:pt>
                <c:pt idx="820">
                  <c:v>39594</c:v>
                </c:pt>
                <c:pt idx="821">
                  <c:v>39595</c:v>
                </c:pt>
                <c:pt idx="822">
                  <c:v>39596</c:v>
                </c:pt>
                <c:pt idx="823">
                  <c:v>39597</c:v>
                </c:pt>
                <c:pt idx="824">
                  <c:v>39598</c:v>
                </c:pt>
                <c:pt idx="825">
                  <c:v>39601</c:v>
                </c:pt>
                <c:pt idx="826">
                  <c:v>39602</c:v>
                </c:pt>
                <c:pt idx="827">
                  <c:v>39603</c:v>
                </c:pt>
                <c:pt idx="828">
                  <c:v>39604</c:v>
                </c:pt>
                <c:pt idx="829">
                  <c:v>39605</c:v>
                </c:pt>
                <c:pt idx="830">
                  <c:v>39609</c:v>
                </c:pt>
                <c:pt idx="831">
                  <c:v>39610</c:v>
                </c:pt>
                <c:pt idx="832">
                  <c:v>39611</c:v>
                </c:pt>
                <c:pt idx="833">
                  <c:v>39612</c:v>
                </c:pt>
                <c:pt idx="834">
                  <c:v>39615</c:v>
                </c:pt>
                <c:pt idx="835">
                  <c:v>39616</c:v>
                </c:pt>
                <c:pt idx="836">
                  <c:v>39617</c:v>
                </c:pt>
                <c:pt idx="837">
                  <c:v>39618</c:v>
                </c:pt>
                <c:pt idx="838">
                  <c:v>39619</c:v>
                </c:pt>
                <c:pt idx="839">
                  <c:v>39622</c:v>
                </c:pt>
                <c:pt idx="840">
                  <c:v>39623</c:v>
                </c:pt>
                <c:pt idx="841">
                  <c:v>39624</c:v>
                </c:pt>
                <c:pt idx="842">
                  <c:v>39625</c:v>
                </c:pt>
                <c:pt idx="843">
                  <c:v>39626</c:v>
                </c:pt>
                <c:pt idx="844">
                  <c:v>39629</c:v>
                </c:pt>
                <c:pt idx="845">
                  <c:v>39630</c:v>
                </c:pt>
                <c:pt idx="846">
                  <c:v>39631</c:v>
                </c:pt>
                <c:pt idx="847">
                  <c:v>39632</c:v>
                </c:pt>
                <c:pt idx="848">
                  <c:v>39633</c:v>
                </c:pt>
                <c:pt idx="849">
                  <c:v>39636</c:v>
                </c:pt>
                <c:pt idx="850">
                  <c:v>39637</c:v>
                </c:pt>
                <c:pt idx="851">
                  <c:v>39638</c:v>
                </c:pt>
                <c:pt idx="852">
                  <c:v>39639</c:v>
                </c:pt>
                <c:pt idx="853">
                  <c:v>39640</c:v>
                </c:pt>
                <c:pt idx="854">
                  <c:v>39643</c:v>
                </c:pt>
                <c:pt idx="855">
                  <c:v>39644</c:v>
                </c:pt>
                <c:pt idx="856">
                  <c:v>39645</c:v>
                </c:pt>
                <c:pt idx="857">
                  <c:v>39646</c:v>
                </c:pt>
                <c:pt idx="858">
                  <c:v>39647</c:v>
                </c:pt>
                <c:pt idx="859">
                  <c:v>39650</c:v>
                </c:pt>
                <c:pt idx="860">
                  <c:v>39651</c:v>
                </c:pt>
                <c:pt idx="861">
                  <c:v>39652</c:v>
                </c:pt>
                <c:pt idx="862">
                  <c:v>39653</c:v>
                </c:pt>
                <c:pt idx="863">
                  <c:v>39654</c:v>
                </c:pt>
                <c:pt idx="864">
                  <c:v>39657</c:v>
                </c:pt>
                <c:pt idx="865">
                  <c:v>39658</c:v>
                </c:pt>
                <c:pt idx="866">
                  <c:v>39659</c:v>
                </c:pt>
                <c:pt idx="867">
                  <c:v>39660</c:v>
                </c:pt>
                <c:pt idx="868">
                  <c:v>39661</c:v>
                </c:pt>
                <c:pt idx="869">
                  <c:v>39664</c:v>
                </c:pt>
                <c:pt idx="870">
                  <c:v>39665</c:v>
                </c:pt>
                <c:pt idx="871">
                  <c:v>39666</c:v>
                </c:pt>
                <c:pt idx="872">
                  <c:v>39667</c:v>
                </c:pt>
                <c:pt idx="873">
                  <c:v>39668</c:v>
                </c:pt>
                <c:pt idx="874">
                  <c:v>39671</c:v>
                </c:pt>
                <c:pt idx="875">
                  <c:v>39672</c:v>
                </c:pt>
                <c:pt idx="876">
                  <c:v>39673</c:v>
                </c:pt>
                <c:pt idx="877">
                  <c:v>39674</c:v>
                </c:pt>
                <c:pt idx="878">
                  <c:v>39675</c:v>
                </c:pt>
                <c:pt idx="879">
                  <c:v>39678</c:v>
                </c:pt>
                <c:pt idx="880">
                  <c:v>39679</c:v>
                </c:pt>
                <c:pt idx="881">
                  <c:v>39680</c:v>
                </c:pt>
                <c:pt idx="882">
                  <c:v>39681</c:v>
                </c:pt>
                <c:pt idx="883">
                  <c:v>39682</c:v>
                </c:pt>
                <c:pt idx="884">
                  <c:v>39685</c:v>
                </c:pt>
                <c:pt idx="885">
                  <c:v>39686</c:v>
                </c:pt>
                <c:pt idx="886">
                  <c:v>39687</c:v>
                </c:pt>
                <c:pt idx="887">
                  <c:v>39688</c:v>
                </c:pt>
                <c:pt idx="888">
                  <c:v>39689</c:v>
                </c:pt>
                <c:pt idx="889">
                  <c:v>39692</c:v>
                </c:pt>
                <c:pt idx="890">
                  <c:v>39693</c:v>
                </c:pt>
                <c:pt idx="891">
                  <c:v>39694</c:v>
                </c:pt>
                <c:pt idx="892">
                  <c:v>39695</c:v>
                </c:pt>
                <c:pt idx="893">
                  <c:v>39696</c:v>
                </c:pt>
                <c:pt idx="894">
                  <c:v>39699</c:v>
                </c:pt>
                <c:pt idx="895">
                  <c:v>39700</c:v>
                </c:pt>
                <c:pt idx="896">
                  <c:v>39701</c:v>
                </c:pt>
                <c:pt idx="897">
                  <c:v>39702</c:v>
                </c:pt>
                <c:pt idx="898">
                  <c:v>39703</c:v>
                </c:pt>
                <c:pt idx="899">
                  <c:v>39707</c:v>
                </c:pt>
                <c:pt idx="900">
                  <c:v>39708</c:v>
                </c:pt>
                <c:pt idx="901">
                  <c:v>39709</c:v>
                </c:pt>
                <c:pt idx="902">
                  <c:v>39710</c:v>
                </c:pt>
                <c:pt idx="903">
                  <c:v>39713</c:v>
                </c:pt>
                <c:pt idx="904">
                  <c:v>39714</c:v>
                </c:pt>
                <c:pt idx="905">
                  <c:v>39715</c:v>
                </c:pt>
                <c:pt idx="906">
                  <c:v>39716</c:v>
                </c:pt>
                <c:pt idx="907">
                  <c:v>39717</c:v>
                </c:pt>
                <c:pt idx="908">
                  <c:v>39727</c:v>
                </c:pt>
                <c:pt idx="909">
                  <c:v>39728</c:v>
                </c:pt>
                <c:pt idx="910">
                  <c:v>39729</c:v>
                </c:pt>
                <c:pt idx="911">
                  <c:v>39730</c:v>
                </c:pt>
                <c:pt idx="912">
                  <c:v>39731</c:v>
                </c:pt>
                <c:pt idx="913">
                  <c:v>39734</c:v>
                </c:pt>
                <c:pt idx="914">
                  <c:v>39735</c:v>
                </c:pt>
                <c:pt idx="915">
                  <c:v>39736</c:v>
                </c:pt>
                <c:pt idx="916">
                  <c:v>39737</c:v>
                </c:pt>
                <c:pt idx="917">
                  <c:v>39738</c:v>
                </c:pt>
                <c:pt idx="918">
                  <c:v>39741</c:v>
                </c:pt>
                <c:pt idx="919">
                  <c:v>39742</c:v>
                </c:pt>
                <c:pt idx="920">
                  <c:v>39743</c:v>
                </c:pt>
                <c:pt idx="921">
                  <c:v>39744</c:v>
                </c:pt>
                <c:pt idx="922">
                  <c:v>39745</c:v>
                </c:pt>
                <c:pt idx="923">
                  <c:v>39748</c:v>
                </c:pt>
                <c:pt idx="924">
                  <c:v>39749</c:v>
                </c:pt>
                <c:pt idx="925">
                  <c:v>39750</c:v>
                </c:pt>
                <c:pt idx="926">
                  <c:v>39751</c:v>
                </c:pt>
                <c:pt idx="927">
                  <c:v>39752</c:v>
                </c:pt>
                <c:pt idx="928">
                  <c:v>39755</c:v>
                </c:pt>
                <c:pt idx="929">
                  <c:v>39756</c:v>
                </c:pt>
                <c:pt idx="930">
                  <c:v>39757</c:v>
                </c:pt>
                <c:pt idx="931">
                  <c:v>39758</c:v>
                </c:pt>
                <c:pt idx="932">
                  <c:v>39759</c:v>
                </c:pt>
                <c:pt idx="933">
                  <c:v>39762</c:v>
                </c:pt>
                <c:pt idx="934">
                  <c:v>39763</c:v>
                </c:pt>
                <c:pt idx="935">
                  <c:v>39764</c:v>
                </c:pt>
                <c:pt idx="936">
                  <c:v>39765</c:v>
                </c:pt>
                <c:pt idx="937">
                  <c:v>39766</c:v>
                </c:pt>
                <c:pt idx="938">
                  <c:v>39769</c:v>
                </c:pt>
                <c:pt idx="939">
                  <c:v>39770</c:v>
                </c:pt>
                <c:pt idx="940">
                  <c:v>39771</c:v>
                </c:pt>
                <c:pt idx="941">
                  <c:v>39772</c:v>
                </c:pt>
                <c:pt idx="942">
                  <c:v>39773</c:v>
                </c:pt>
                <c:pt idx="943">
                  <c:v>39776</c:v>
                </c:pt>
                <c:pt idx="944">
                  <c:v>39777</c:v>
                </c:pt>
                <c:pt idx="945">
                  <c:v>39778</c:v>
                </c:pt>
                <c:pt idx="946">
                  <c:v>39779</c:v>
                </c:pt>
                <c:pt idx="947">
                  <c:v>39780</c:v>
                </c:pt>
                <c:pt idx="948">
                  <c:v>39783</c:v>
                </c:pt>
                <c:pt idx="949">
                  <c:v>39784</c:v>
                </c:pt>
                <c:pt idx="950">
                  <c:v>39785</c:v>
                </c:pt>
                <c:pt idx="951">
                  <c:v>39786</c:v>
                </c:pt>
                <c:pt idx="952">
                  <c:v>39787</c:v>
                </c:pt>
                <c:pt idx="953">
                  <c:v>39790</c:v>
                </c:pt>
                <c:pt idx="954">
                  <c:v>39791</c:v>
                </c:pt>
                <c:pt idx="955">
                  <c:v>39792</c:v>
                </c:pt>
                <c:pt idx="956">
                  <c:v>39793</c:v>
                </c:pt>
                <c:pt idx="957">
                  <c:v>39794</c:v>
                </c:pt>
                <c:pt idx="958">
                  <c:v>39797</c:v>
                </c:pt>
                <c:pt idx="959">
                  <c:v>39798</c:v>
                </c:pt>
                <c:pt idx="960">
                  <c:v>39799</c:v>
                </c:pt>
                <c:pt idx="961">
                  <c:v>39800</c:v>
                </c:pt>
                <c:pt idx="962">
                  <c:v>39801</c:v>
                </c:pt>
                <c:pt idx="963">
                  <c:v>39804</c:v>
                </c:pt>
                <c:pt idx="964">
                  <c:v>39805</c:v>
                </c:pt>
                <c:pt idx="965">
                  <c:v>39806</c:v>
                </c:pt>
                <c:pt idx="966">
                  <c:v>39807</c:v>
                </c:pt>
                <c:pt idx="967">
                  <c:v>39808</c:v>
                </c:pt>
                <c:pt idx="968">
                  <c:v>39811</c:v>
                </c:pt>
                <c:pt idx="969">
                  <c:v>39812</c:v>
                </c:pt>
                <c:pt idx="970">
                  <c:v>39813</c:v>
                </c:pt>
                <c:pt idx="971">
                  <c:v>39818</c:v>
                </c:pt>
                <c:pt idx="972">
                  <c:v>39819</c:v>
                </c:pt>
                <c:pt idx="973">
                  <c:v>39820</c:v>
                </c:pt>
                <c:pt idx="974">
                  <c:v>39821</c:v>
                </c:pt>
                <c:pt idx="975">
                  <c:v>39822</c:v>
                </c:pt>
                <c:pt idx="976">
                  <c:v>39825</c:v>
                </c:pt>
                <c:pt idx="977">
                  <c:v>39826</c:v>
                </c:pt>
                <c:pt idx="978">
                  <c:v>39827</c:v>
                </c:pt>
                <c:pt idx="979">
                  <c:v>39828</c:v>
                </c:pt>
                <c:pt idx="980">
                  <c:v>39829</c:v>
                </c:pt>
                <c:pt idx="981">
                  <c:v>39832</c:v>
                </c:pt>
                <c:pt idx="982">
                  <c:v>39833</c:v>
                </c:pt>
                <c:pt idx="983">
                  <c:v>39834</c:v>
                </c:pt>
                <c:pt idx="984">
                  <c:v>39835</c:v>
                </c:pt>
                <c:pt idx="985">
                  <c:v>39836</c:v>
                </c:pt>
                <c:pt idx="986">
                  <c:v>39846</c:v>
                </c:pt>
                <c:pt idx="987">
                  <c:v>39847</c:v>
                </c:pt>
                <c:pt idx="988">
                  <c:v>39848</c:v>
                </c:pt>
                <c:pt idx="989">
                  <c:v>39849</c:v>
                </c:pt>
                <c:pt idx="990">
                  <c:v>39850</c:v>
                </c:pt>
                <c:pt idx="991">
                  <c:v>39853</c:v>
                </c:pt>
                <c:pt idx="992">
                  <c:v>39854</c:v>
                </c:pt>
                <c:pt idx="993">
                  <c:v>39855</c:v>
                </c:pt>
                <c:pt idx="994">
                  <c:v>39856</c:v>
                </c:pt>
                <c:pt idx="995">
                  <c:v>39857</c:v>
                </c:pt>
                <c:pt idx="996">
                  <c:v>39860</c:v>
                </c:pt>
                <c:pt idx="997">
                  <c:v>39861</c:v>
                </c:pt>
                <c:pt idx="998">
                  <c:v>39862</c:v>
                </c:pt>
                <c:pt idx="999">
                  <c:v>39863</c:v>
                </c:pt>
                <c:pt idx="1000">
                  <c:v>39864</c:v>
                </c:pt>
                <c:pt idx="1001">
                  <c:v>39867</c:v>
                </c:pt>
                <c:pt idx="1002">
                  <c:v>39868</c:v>
                </c:pt>
                <c:pt idx="1003">
                  <c:v>39869</c:v>
                </c:pt>
                <c:pt idx="1004">
                  <c:v>39870</c:v>
                </c:pt>
                <c:pt idx="1005">
                  <c:v>39871</c:v>
                </c:pt>
                <c:pt idx="1006">
                  <c:v>39874</c:v>
                </c:pt>
                <c:pt idx="1007">
                  <c:v>39875</c:v>
                </c:pt>
                <c:pt idx="1008">
                  <c:v>39876</c:v>
                </c:pt>
                <c:pt idx="1009">
                  <c:v>39877</c:v>
                </c:pt>
                <c:pt idx="1010">
                  <c:v>39878</c:v>
                </c:pt>
                <c:pt idx="1011">
                  <c:v>39881</c:v>
                </c:pt>
                <c:pt idx="1012">
                  <c:v>39882</c:v>
                </c:pt>
                <c:pt idx="1013">
                  <c:v>39883</c:v>
                </c:pt>
                <c:pt idx="1014">
                  <c:v>39884</c:v>
                </c:pt>
                <c:pt idx="1015">
                  <c:v>39885</c:v>
                </c:pt>
                <c:pt idx="1016">
                  <c:v>39888</c:v>
                </c:pt>
                <c:pt idx="1017">
                  <c:v>39889</c:v>
                </c:pt>
                <c:pt idx="1018">
                  <c:v>39890</c:v>
                </c:pt>
                <c:pt idx="1019">
                  <c:v>39891</c:v>
                </c:pt>
                <c:pt idx="1020">
                  <c:v>39892</c:v>
                </c:pt>
                <c:pt idx="1021">
                  <c:v>39895</c:v>
                </c:pt>
                <c:pt idx="1022">
                  <c:v>39896</c:v>
                </c:pt>
                <c:pt idx="1023">
                  <c:v>39897</c:v>
                </c:pt>
                <c:pt idx="1024">
                  <c:v>39898</c:v>
                </c:pt>
                <c:pt idx="1025">
                  <c:v>39899</c:v>
                </c:pt>
                <c:pt idx="1026">
                  <c:v>39902</c:v>
                </c:pt>
                <c:pt idx="1027">
                  <c:v>39903</c:v>
                </c:pt>
                <c:pt idx="1028">
                  <c:v>39904</c:v>
                </c:pt>
                <c:pt idx="1029">
                  <c:v>39905</c:v>
                </c:pt>
                <c:pt idx="1030">
                  <c:v>39906</c:v>
                </c:pt>
                <c:pt idx="1031">
                  <c:v>39910</c:v>
                </c:pt>
                <c:pt idx="1032">
                  <c:v>39911</c:v>
                </c:pt>
                <c:pt idx="1033">
                  <c:v>39912</c:v>
                </c:pt>
                <c:pt idx="1034">
                  <c:v>39913</c:v>
                </c:pt>
                <c:pt idx="1035">
                  <c:v>39916</c:v>
                </c:pt>
                <c:pt idx="1036">
                  <c:v>39917</c:v>
                </c:pt>
                <c:pt idx="1037">
                  <c:v>39918</c:v>
                </c:pt>
                <c:pt idx="1038">
                  <c:v>39919</c:v>
                </c:pt>
                <c:pt idx="1039">
                  <c:v>39920</c:v>
                </c:pt>
                <c:pt idx="1040">
                  <c:v>39923</c:v>
                </c:pt>
                <c:pt idx="1041">
                  <c:v>39924</c:v>
                </c:pt>
                <c:pt idx="1042">
                  <c:v>39925</c:v>
                </c:pt>
                <c:pt idx="1043">
                  <c:v>39926</c:v>
                </c:pt>
                <c:pt idx="1044">
                  <c:v>39927</c:v>
                </c:pt>
                <c:pt idx="1045">
                  <c:v>39930</c:v>
                </c:pt>
                <c:pt idx="1046">
                  <c:v>39931</c:v>
                </c:pt>
                <c:pt idx="1047">
                  <c:v>39932</c:v>
                </c:pt>
                <c:pt idx="1048">
                  <c:v>39933</c:v>
                </c:pt>
                <c:pt idx="1049">
                  <c:v>39937</c:v>
                </c:pt>
                <c:pt idx="1050">
                  <c:v>39938</c:v>
                </c:pt>
                <c:pt idx="1051">
                  <c:v>39939</c:v>
                </c:pt>
                <c:pt idx="1052">
                  <c:v>39940</c:v>
                </c:pt>
                <c:pt idx="1053">
                  <c:v>39941</c:v>
                </c:pt>
                <c:pt idx="1054">
                  <c:v>39944</c:v>
                </c:pt>
                <c:pt idx="1055">
                  <c:v>39945</c:v>
                </c:pt>
                <c:pt idx="1056">
                  <c:v>39946</c:v>
                </c:pt>
                <c:pt idx="1057">
                  <c:v>39947</c:v>
                </c:pt>
                <c:pt idx="1058">
                  <c:v>39948</c:v>
                </c:pt>
                <c:pt idx="1059">
                  <c:v>39951</c:v>
                </c:pt>
                <c:pt idx="1060">
                  <c:v>39952</c:v>
                </c:pt>
                <c:pt idx="1061">
                  <c:v>39953</c:v>
                </c:pt>
                <c:pt idx="1062">
                  <c:v>39954</c:v>
                </c:pt>
                <c:pt idx="1063">
                  <c:v>39955</c:v>
                </c:pt>
                <c:pt idx="1064">
                  <c:v>39958</c:v>
                </c:pt>
                <c:pt idx="1065">
                  <c:v>39959</c:v>
                </c:pt>
                <c:pt idx="1066">
                  <c:v>39960</c:v>
                </c:pt>
                <c:pt idx="1067">
                  <c:v>39965</c:v>
                </c:pt>
                <c:pt idx="1068">
                  <c:v>39966</c:v>
                </c:pt>
                <c:pt idx="1069">
                  <c:v>39967</c:v>
                </c:pt>
                <c:pt idx="1070">
                  <c:v>39968</c:v>
                </c:pt>
                <c:pt idx="1071">
                  <c:v>39969</c:v>
                </c:pt>
                <c:pt idx="1072">
                  <c:v>39972</c:v>
                </c:pt>
                <c:pt idx="1073">
                  <c:v>39973</c:v>
                </c:pt>
                <c:pt idx="1074">
                  <c:v>39974</c:v>
                </c:pt>
                <c:pt idx="1075">
                  <c:v>39975</c:v>
                </c:pt>
                <c:pt idx="1076">
                  <c:v>39976</c:v>
                </c:pt>
                <c:pt idx="1077">
                  <c:v>39979</c:v>
                </c:pt>
                <c:pt idx="1078">
                  <c:v>39980</c:v>
                </c:pt>
                <c:pt idx="1079">
                  <c:v>39981</c:v>
                </c:pt>
                <c:pt idx="1080">
                  <c:v>39982</c:v>
                </c:pt>
                <c:pt idx="1081">
                  <c:v>39983</c:v>
                </c:pt>
                <c:pt idx="1082">
                  <c:v>39986</c:v>
                </c:pt>
                <c:pt idx="1083">
                  <c:v>39987</c:v>
                </c:pt>
                <c:pt idx="1084">
                  <c:v>39988</c:v>
                </c:pt>
                <c:pt idx="1085">
                  <c:v>39989</c:v>
                </c:pt>
                <c:pt idx="1086">
                  <c:v>39990</c:v>
                </c:pt>
                <c:pt idx="1087">
                  <c:v>39993</c:v>
                </c:pt>
                <c:pt idx="1088">
                  <c:v>39994</c:v>
                </c:pt>
                <c:pt idx="1089">
                  <c:v>39995</c:v>
                </c:pt>
                <c:pt idx="1090">
                  <c:v>39996</c:v>
                </c:pt>
                <c:pt idx="1091">
                  <c:v>39997</c:v>
                </c:pt>
                <c:pt idx="1092">
                  <c:v>40000</c:v>
                </c:pt>
                <c:pt idx="1093">
                  <c:v>40001</c:v>
                </c:pt>
                <c:pt idx="1094">
                  <c:v>40002</c:v>
                </c:pt>
                <c:pt idx="1095">
                  <c:v>40003</c:v>
                </c:pt>
                <c:pt idx="1096">
                  <c:v>40004</c:v>
                </c:pt>
                <c:pt idx="1097">
                  <c:v>40007</c:v>
                </c:pt>
                <c:pt idx="1098">
                  <c:v>40008</c:v>
                </c:pt>
                <c:pt idx="1099">
                  <c:v>40009</c:v>
                </c:pt>
                <c:pt idx="1100">
                  <c:v>40010</c:v>
                </c:pt>
                <c:pt idx="1101">
                  <c:v>40011</c:v>
                </c:pt>
                <c:pt idx="1102">
                  <c:v>40014</c:v>
                </c:pt>
                <c:pt idx="1103">
                  <c:v>40015</c:v>
                </c:pt>
                <c:pt idx="1104">
                  <c:v>40016</c:v>
                </c:pt>
                <c:pt idx="1105">
                  <c:v>40017</c:v>
                </c:pt>
                <c:pt idx="1106">
                  <c:v>40018</c:v>
                </c:pt>
                <c:pt idx="1107">
                  <c:v>40021</c:v>
                </c:pt>
                <c:pt idx="1108">
                  <c:v>40022</c:v>
                </c:pt>
                <c:pt idx="1109">
                  <c:v>40023</c:v>
                </c:pt>
                <c:pt idx="1110">
                  <c:v>40024</c:v>
                </c:pt>
                <c:pt idx="1111">
                  <c:v>40025</c:v>
                </c:pt>
                <c:pt idx="1112">
                  <c:v>40028</c:v>
                </c:pt>
                <c:pt idx="1113">
                  <c:v>40029</c:v>
                </c:pt>
                <c:pt idx="1114">
                  <c:v>40030</c:v>
                </c:pt>
                <c:pt idx="1115">
                  <c:v>40031</c:v>
                </c:pt>
                <c:pt idx="1116">
                  <c:v>40032</c:v>
                </c:pt>
                <c:pt idx="1117">
                  <c:v>40035</c:v>
                </c:pt>
                <c:pt idx="1118">
                  <c:v>40036</c:v>
                </c:pt>
                <c:pt idx="1119">
                  <c:v>40037</c:v>
                </c:pt>
                <c:pt idx="1120">
                  <c:v>40038</c:v>
                </c:pt>
                <c:pt idx="1121">
                  <c:v>40039</c:v>
                </c:pt>
                <c:pt idx="1122">
                  <c:v>40042</c:v>
                </c:pt>
                <c:pt idx="1123">
                  <c:v>40043</c:v>
                </c:pt>
                <c:pt idx="1124">
                  <c:v>40044</c:v>
                </c:pt>
                <c:pt idx="1125">
                  <c:v>40045</c:v>
                </c:pt>
                <c:pt idx="1126">
                  <c:v>40046</c:v>
                </c:pt>
                <c:pt idx="1127">
                  <c:v>40049</c:v>
                </c:pt>
                <c:pt idx="1128">
                  <c:v>40050</c:v>
                </c:pt>
                <c:pt idx="1129">
                  <c:v>40051</c:v>
                </c:pt>
                <c:pt idx="1130">
                  <c:v>40052</c:v>
                </c:pt>
                <c:pt idx="1131">
                  <c:v>40053</c:v>
                </c:pt>
                <c:pt idx="1132">
                  <c:v>40056</c:v>
                </c:pt>
                <c:pt idx="1133">
                  <c:v>40057</c:v>
                </c:pt>
                <c:pt idx="1134">
                  <c:v>40058</c:v>
                </c:pt>
                <c:pt idx="1135">
                  <c:v>40059</c:v>
                </c:pt>
                <c:pt idx="1136">
                  <c:v>40060</c:v>
                </c:pt>
                <c:pt idx="1137">
                  <c:v>40063</c:v>
                </c:pt>
                <c:pt idx="1138">
                  <c:v>40064</c:v>
                </c:pt>
                <c:pt idx="1139">
                  <c:v>40065</c:v>
                </c:pt>
                <c:pt idx="1140">
                  <c:v>40066</c:v>
                </c:pt>
                <c:pt idx="1141">
                  <c:v>40067</c:v>
                </c:pt>
                <c:pt idx="1142">
                  <c:v>40070</c:v>
                </c:pt>
                <c:pt idx="1143">
                  <c:v>40071</c:v>
                </c:pt>
                <c:pt idx="1144">
                  <c:v>40072</c:v>
                </c:pt>
                <c:pt idx="1145">
                  <c:v>40073</c:v>
                </c:pt>
                <c:pt idx="1146">
                  <c:v>40074</c:v>
                </c:pt>
                <c:pt idx="1147">
                  <c:v>40077</c:v>
                </c:pt>
                <c:pt idx="1148">
                  <c:v>40078</c:v>
                </c:pt>
                <c:pt idx="1149">
                  <c:v>40079</c:v>
                </c:pt>
                <c:pt idx="1150">
                  <c:v>40080</c:v>
                </c:pt>
                <c:pt idx="1151">
                  <c:v>40081</c:v>
                </c:pt>
                <c:pt idx="1152">
                  <c:v>40084</c:v>
                </c:pt>
                <c:pt idx="1153">
                  <c:v>40085</c:v>
                </c:pt>
                <c:pt idx="1154">
                  <c:v>40086</c:v>
                </c:pt>
                <c:pt idx="1155">
                  <c:v>40095</c:v>
                </c:pt>
                <c:pt idx="1156">
                  <c:v>40098</c:v>
                </c:pt>
                <c:pt idx="1157">
                  <c:v>40099</c:v>
                </c:pt>
                <c:pt idx="1158">
                  <c:v>40100</c:v>
                </c:pt>
                <c:pt idx="1159">
                  <c:v>40101</c:v>
                </c:pt>
                <c:pt idx="1160">
                  <c:v>40102</c:v>
                </c:pt>
                <c:pt idx="1161">
                  <c:v>40105</c:v>
                </c:pt>
                <c:pt idx="1162">
                  <c:v>40106</c:v>
                </c:pt>
                <c:pt idx="1163">
                  <c:v>40107</c:v>
                </c:pt>
                <c:pt idx="1164">
                  <c:v>40108</c:v>
                </c:pt>
                <c:pt idx="1165">
                  <c:v>40109</c:v>
                </c:pt>
                <c:pt idx="1166">
                  <c:v>40112</c:v>
                </c:pt>
                <c:pt idx="1167">
                  <c:v>40113</c:v>
                </c:pt>
                <c:pt idx="1168">
                  <c:v>40114</c:v>
                </c:pt>
                <c:pt idx="1169">
                  <c:v>40115</c:v>
                </c:pt>
                <c:pt idx="1170">
                  <c:v>40116</c:v>
                </c:pt>
                <c:pt idx="1171">
                  <c:v>40119</c:v>
                </c:pt>
                <c:pt idx="1172">
                  <c:v>40120</c:v>
                </c:pt>
                <c:pt idx="1173">
                  <c:v>40121</c:v>
                </c:pt>
                <c:pt idx="1174">
                  <c:v>40122</c:v>
                </c:pt>
                <c:pt idx="1175">
                  <c:v>40123</c:v>
                </c:pt>
                <c:pt idx="1176">
                  <c:v>40126</c:v>
                </c:pt>
                <c:pt idx="1177">
                  <c:v>40127</c:v>
                </c:pt>
                <c:pt idx="1178">
                  <c:v>40128</c:v>
                </c:pt>
                <c:pt idx="1179">
                  <c:v>40129</c:v>
                </c:pt>
                <c:pt idx="1180">
                  <c:v>40130</c:v>
                </c:pt>
                <c:pt idx="1181">
                  <c:v>40133</c:v>
                </c:pt>
                <c:pt idx="1182">
                  <c:v>40134</c:v>
                </c:pt>
                <c:pt idx="1183">
                  <c:v>40135</c:v>
                </c:pt>
                <c:pt idx="1184">
                  <c:v>40136</c:v>
                </c:pt>
                <c:pt idx="1185">
                  <c:v>40137</c:v>
                </c:pt>
                <c:pt idx="1186">
                  <c:v>40140</c:v>
                </c:pt>
                <c:pt idx="1187">
                  <c:v>40141</c:v>
                </c:pt>
                <c:pt idx="1188">
                  <c:v>40142</c:v>
                </c:pt>
                <c:pt idx="1189">
                  <c:v>40143</c:v>
                </c:pt>
                <c:pt idx="1190">
                  <c:v>40144</c:v>
                </c:pt>
                <c:pt idx="1191">
                  <c:v>40147</c:v>
                </c:pt>
                <c:pt idx="1192">
                  <c:v>40148</c:v>
                </c:pt>
                <c:pt idx="1193">
                  <c:v>40149</c:v>
                </c:pt>
                <c:pt idx="1194">
                  <c:v>40150</c:v>
                </c:pt>
                <c:pt idx="1195">
                  <c:v>40151</c:v>
                </c:pt>
                <c:pt idx="1196">
                  <c:v>40154</c:v>
                </c:pt>
                <c:pt idx="1197">
                  <c:v>40155</c:v>
                </c:pt>
                <c:pt idx="1198">
                  <c:v>40156</c:v>
                </c:pt>
                <c:pt idx="1199">
                  <c:v>40157</c:v>
                </c:pt>
                <c:pt idx="1200">
                  <c:v>40158</c:v>
                </c:pt>
                <c:pt idx="1201">
                  <c:v>40161</c:v>
                </c:pt>
                <c:pt idx="1202">
                  <c:v>40162</c:v>
                </c:pt>
                <c:pt idx="1203">
                  <c:v>40163</c:v>
                </c:pt>
                <c:pt idx="1204">
                  <c:v>40164</c:v>
                </c:pt>
                <c:pt idx="1205">
                  <c:v>40165</c:v>
                </c:pt>
                <c:pt idx="1206">
                  <c:v>40168</c:v>
                </c:pt>
                <c:pt idx="1207">
                  <c:v>40169</c:v>
                </c:pt>
                <c:pt idx="1208">
                  <c:v>40170</c:v>
                </c:pt>
                <c:pt idx="1209">
                  <c:v>40171</c:v>
                </c:pt>
                <c:pt idx="1210">
                  <c:v>40172</c:v>
                </c:pt>
                <c:pt idx="1211">
                  <c:v>40175</c:v>
                </c:pt>
                <c:pt idx="1212">
                  <c:v>40176</c:v>
                </c:pt>
                <c:pt idx="1213">
                  <c:v>40177</c:v>
                </c:pt>
                <c:pt idx="1214">
                  <c:v>40178</c:v>
                </c:pt>
                <c:pt idx="1215">
                  <c:v>40182</c:v>
                </c:pt>
                <c:pt idx="1216">
                  <c:v>40183</c:v>
                </c:pt>
                <c:pt idx="1217">
                  <c:v>40184</c:v>
                </c:pt>
                <c:pt idx="1218">
                  <c:v>40185</c:v>
                </c:pt>
                <c:pt idx="1219">
                  <c:v>40186</c:v>
                </c:pt>
                <c:pt idx="1220">
                  <c:v>40189</c:v>
                </c:pt>
                <c:pt idx="1221">
                  <c:v>40190</c:v>
                </c:pt>
                <c:pt idx="1222">
                  <c:v>40191</c:v>
                </c:pt>
                <c:pt idx="1223">
                  <c:v>40192</c:v>
                </c:pt>
                <c:pt idx="1224">
                  <c:v>40193</c:v>
                </c:pt>
                <c:pt idx="1225">
                  <c:v>40196</c:v>
                </c:pt>
                <c:pt idx="1226">
                  <c:v>40197</c:v>
                </c:pt>
                <c:pt idx="1227">
                  <c:v>40198</c:v>
                </c:pt>
                <c:pt idx="1228">
                  <c:v>40199</c:v>
                </c:pt>
                <c:pt idx="1229">
                  <c:v>40200</c:v>
                </c:pt>
                <c:pt idx="1230">
                  <c:v>40203</c:v>
                </c:pt>
                <c:pt idx="1231">
                  <c:v>40204</c:v>
                </c:pt>
                <c:pt idx="1232">
                  <c:v>40205</c:v>
                </c:pt>
                <c:pt idx="1233">
                  <c:v>40206</c:v>
                </c:pt>
                <c:pt idx="1234">
                  <c:v>40207</c:v>
                </c:pt>
                <c:pt idx="1235">
                  <c:v>40210</c:v>
                </c:pt>
                <c:pt idx="1236">
                  <c:v>40211</c:v>
                </c:pt>
                <c:pt idx="1237">
                  <c:v>40212</c:v>
                </c:pt>
                <c:pt idx="1238">
                  <c:v>40213</c:v>
                </c:pt>
                <c:pt idx="1239">
                  <c:v>40214</c:v>
                </c:pt>
                <c:pt idx="1240">
                  <c:v>40217</c:v>
                </c:pt>
                <c:pt idx="1241">
                  <c:v>40218</c:v>
                </c:pt>
                <c:pt idx="1242">
                  <c:v>40219</c:v>
                </c:pt>
                <c:pt idx="1243">
                  <c:v>40220</c:v>
                </c:pt>
                <c:pt idx="1244">
                  <c:v>40221</c:v>
                </c:pt>
                <c:pt idx="1245">
                  <c:v>40231</c:v>
                </c:pt>
                <c:pt idx="1246">
                  <c:v>40232</c:v>
                </c:pt>
                <c:pt idx="1247">
                  <c:v>40233</c:v>
                </c:pt>
                <c:pt idx="1248">
                  <c:v>40234</c:v>
                </c:pt>
                <c:pt idx="1249">
                  <c:v>40235</c:v>
                </c:pt>
                <c:pt idx="1250">
                  <c:v>40238</c:v>
                </c:pt>
                <c:pt idx="1251">
                  <c:v>40239</c:v>
                </c:pt>
                <c:pt idx="1252">
                  <c:v>40240</c:v>
                </c:pt>
                <c:pt idx="1253">
                  <c:v>40241</c:v>
                </c:pt>
                <c:pt idx="1254">
                  <c:v>40242</c:v>
                </c:pt>
                <c:pt idx="1255">
                  <c:v>40245</c:v>
                </c:pt>
                <c:pt idx="1256">
                  <c:v>40246</c:v>
                </c:pt>
                <c:pt idx="1257">
                  <c:v>40247</c:v>
                </c:pt>
                <c:pt idx="1258">
                  <c:v>40248</c:v>
                </c:pt>
                <c:pt idx="1259">
                  <c:v>40249</c:v>
                </c:pt>
                <c:pt idx="1260">
                  <c:v>40252</c:v>
                </c:pt>
                <c:pt idx="1261">
                  <c:v>40253</c:v>
                </c:pt>
                <c:pt idx="1262">
                  <c:v>40254</c:v>
                </c:pt>
                <c:pt idx="1263">
                  <c:v>40255</c:v>
                </c:pt>
                <c:pt idx="1264">
                  <c:v>40256</c:v>
                </c:pt>
                <c:pt idx="1265">
                  <c:v>40259</c:v>
                </c:pt>
                <c:pt idx="1266">
                  <c:v>40260</c:v>
                </c:pt>
                <c:pt idx="1267">
                  <c:v>40261</c:v>
                </c:pt>
                <c:pt idx="1268">
                  <c:v>40262</c:v>
                </c:pt>
                <c:pt idx="1269">
                  <c:v>40263</c:v>
                </c:pt>
                <c:pt idx="1270">
                  <c:v>40266</c:v>
                </c:pt>
                <c:pt idx="1271">
                  <c:v>40267</c:v>
                </c:pt>
                <c:pt idx="1272">
                  <c:v>40268</c:v>
                </c:pt>
                <c:pt idx="1273">
                  <c:v>40269</c:v>
                </c:pt>
                <c:pt idx="1274">
                  <c:v>40270</c:v>
                </c:pt>
                <c:pt idx="1275">
                  <c:v>40274</c:v>
                </c:pt>
                <c:pt idx="1276">
                  <c:v>40275</c:v>
                </c:pt>
                <c:pt idx="1277">
                  <c:v>40276</c:v>
                </c:pt>
                <c:pt idx="1278">
                  <c:v>40277</c:v>
                </c:pt>
                <c:pt idx="1279">
                  <c:v>40280</c:v>
                </c:pt>
                <c:pt idx="1280">
                  <c:v>40281</c:v>
                </c:pt>
                <c:pt idx="1281">
                  <c:v>40282</c:v>
                </c:pt>
                <c:pt idx="1282">
                  <c:v>40283</c:v>
                </c:pt>
                <c:pt idx="1283">
                  <c:v>40284</c:v>
                </c:pt>
                <c:pt idx="1284">
                  <c:v>40287</c:v>
                </c:pt>
                <c:pt idx="1285">
                  <c:v>40288</c:v>
                </c:pt>
                <c:pt idx="1286">
                  <c:v>40289</c:v>
                </c:pt>
                <c:pt idx="1287">
                  <c:v>40290</c:v>
                </c:pt>
                <c:pt idx="1288">
                  <c:v>40291</c:v>
                </c:pt>
                <c:pt idx="1289">
                  <c:v>40294</c:v>
                </c:pt>
                <c:pt idx="1290">
                  <c:v>40295</c:v>
                </c:pt>
                <c:pt idx="1291">
                  <c:v>40296</c:v>
                </c:pt>
                <c:pt idx="1292">
                  <c:v>40297</c:v>
                </c:pt>
                <c:pt idx="1293">
                  <c:v>40298</c:v>
                </c:pt>
                <c:pt idx="1294">
                  <c:v>40302</c:v>
                </c:pt>
                <c:pt idx="1295">
                  <c:v>40303</c:v>
                </c:pt>
                <c:pt idx="1296">
                  <c:v>40304</c:v>
                </c:pt>
                <c:pt idx="1297">
                  <c:v>40305</c:v>
                </c:pt>
                <c:pt idx="1298">
                  <c:v>40308</c:v>
                </c:pt>
                <c:pt idx="1299">
                  <c:v>40309</c:v>
                </c:pt>
                <c:pt idx="1300">
                  <c:v>40310</c:v>
                </c:pt>
                <c:pt idx="1301">
                  <c:v>40311</c:v>
                </c:pt>
                <c:pt idx="1302">
                  <c:v>40312</c:v>
                </c:pt>
                <c:pt idx="1303">
                  <c:v>40315</c:v>
                </c:pt>
                <c:pt idx="1304">
                  <c:v>40316</c:v>
                </c:pt>
                <c:pt idx="1305">
                  <c:v>40317</c:v>
                </c:pt>
                <c:pt idx="1306">
                  <c:v>40318</c:v>
                </c:pt>
                <c:pt idx="1307">
                  <c:v>40319</c:v>
                </c:pt>
                <c:pt idx="1308">
                  <c:v>40322</c:v>
                </c:pt>
                <c:pt idx="1309">
                  <c:v>40323</c:v>
                </c:pt>
                <c:pt idx="1310">
                  <c:v>40324</c:v>
                </c:pt>
                <c:pt idx="1311">
                  <c:v>40325</c:v>
                </c:pt>
                <c:pt idx="1312">
                  <c:v>40326</c:v>
                </c:pt>
                <c:pt idx="1313">
                  <c:v>40329</c:v>
                </c:pt>
                <c:pt idx="1314">
                  <c:v>40330</c:v>
                </c:pt>
                <c:pt idx="1315">
                  <c:v>40331</c:v>
                </c:pt>
                <c:pt idx="1316">
                  <c:v>40332</c:v>
                </c:pt>
                <c:pt idx="1317">
                  <c:v>40333</c:v>
                </c:pt>
                <c:pt idx="1318">
                  <c:v>40336</c:v>
                </c:pt>
                <c:pt idx="1319">
                  <c:v>40337</c:v>
                </c:pt>
                <c:pt idx="1320">
                  <c:v>40338</c:v>
                </c:pt>
                <c:pt idx="1321">
                  <c:v>40339</c:v>
                </c:pt>
                <c:pt idx="1322">
                  <c:v>40340</c:v>
                </c:pt>
                <c:pt idx="1323">
                  <c:v>40346</c:v>
                </c:pt>
                <c:pt idx="1324">
                  <c:v>40347</c:v>
                </c:pt>
                <c:pt idx="1325">
                  <c:v>40350</c:v>
                </c:pt>
                <c:pt idx="1326">
                  <c:v>40351</c:v>
                </c:pt>
                <c:pt idx="1327">
                  <c:v>40352</c:v>
                </c:pt>
                <c:pt idx="1328">
                  <c:v>40353</c:v>
                </c:pt>
                <c:pt idx="1329">
                  <c:v>40354</c:v>
                </c:pt>
                <c:pt idx="1330">
                  <c:v>40357</c:v>
                </c:pt>
                <c:pt idx="1331">
                  <c:v>40358</c:v>
                </c:pt>
                <c:pt idx="1332">
                  <c:v>40359</c:v>
                </c:pt>
                <c:pt idx="1333">
                  <c:v>40360</c:v>
                </c:pt>
                <c:pt idx="1334">
                  <c:v>40361</c:v>
                </c:pt>
                <c:pt idx="1335">
                  <c:v>40364</c:v>
                </c:pt>
                <c:pt idx="1336">
                  <c:v>40365</c:v>
                </c:pt>
                <c:pt idx="1337">
                  <c:v>40366</c:v>
                </c:pt>
                <c:pt idx="1338">
                  <c:v>40367</c:v>
                </c:pt>
                <c:pt idx="1339">
                  <c:v>40368</c:v>
                </c:pt>
                <c:pt idx="1340">
                  <c:v>40371</c:v>
                </c:pt>
                <c:pt idx="1341">
                  <c:v>40372</c:v>
                </c:pt>
                <c:pt idx="1342">
                  <c:v>40373</c:v>
                </c:pt>
                <c:pt idx="1343">
                  <c:v>40374</c:v>
                </c:pt>
                <c:pt idx="1344">
                  <c:v>40375</c:v>
                </c:pt>
                <c:pt idx="1345">
                  <c:v>40378</c:v>
                </c:pt>
                <c:pt idx="1346">
                  <c:v>40379</c:v>
                </c:pt>
                <c:pt idx="1347">
                  <c:v>40380</c:v>
                </c:pt>
                <c:pt idx="1348">
                  <c:v>40381</c:v>
                </c:pt>
                <c:pt idx="1349">
                  <c:v>40382</c:v>
                </c:pt>
                <c:pt idx="1350">
                  <c:v>40385</c:v>
                </c:pt>
                <c:pt idx="1351">
                  <c:v>40386</c:v>
                </c:pt>
                <c:pt idx="1352">
                  <c:v>40387</c:v>
                </c:pt>
                <c:pt idx="1353">
                  <c:v>40388</c:v>
                </c:pt>
                <c:pt idx="1354">
                  <c:v>40389</c:v>
                </c:pt>
                <c:pt idx="1355">
                  <c:v>40392</c:v>
                </c:pt>
                <c:pt idx="1356">
                  <c:v>40393</c:v>
                </c:pt>
                <c:pt idx="1357">
                  <c:v>40394</c:v>
                </c:pt>
                <c:pt idx="1358">
                  <c:v>40395</c:v>
                </c:pt>
                <c:pt idx="1359">
                  <c:v>40396</c:v>
                </c:pt>
                <c:pt idx="1360">
                  <c:v>40399</c:v>
                </c:pt>
                <c:pt idx="1361">
                  <c:v>40400</c:v>
                </c:pt>
                <c:pt idx="1362">
                  <c:v>40401</c:v>
                </c:pt>
                <c:pt idx="1363">
                  <c:v>40402</c:v>
                </c:pt>
                <c:pt idx="1364">
                  <c:v>40403</c:v>
                </c:pt>
                <c:pt idx="1365">
                  <c:v>40406</c:v>
                </c:pt>
                <c:pt idx="1366">
                  <c:v>40407</c:v>
                </c:pt>
                <c:pt idx="1367">
                  <c:v>40408</c:v>
                </c:pt>
                <c:pt idx="1368">
                  <c:v>40409</c:v>
                </c:pt>
                <c:pt idx="1369">
                  <c:v>40410</c:v>
                </c:pt>
                <c:pt idx="1370">
                  <c:v>40413</c:v>
                </c:pt>
                <c:pt idx="1371">
                  <c:v>40414</c:v>
                </c:pt>
                <c:pt idx="1372">
                  <c:v>40415</c:v>
                </c:pt>
                <c:pt idx="1373">
                  <c:v>40416</c:v>
                </c:pt>
                <c:pt idx="1374">
                  <c:v>40417</c:v>
                </c:pt>
                <c:pt idx="1375">
                  <c:v>40420</c:v>
                </c:pt>
                <c:pt idx="1376">
                  <c:v>40421</c:v>
                </c:pt>
                <c:pt idx="1377">
                  <c:v>40422</c:v>
                </c:pt>
                <c:pt idx="1378">
                  <c:v>40423</c:v>
                </c:pt>
                <c:pt idx="1379">
                  <c:v>40424</c:v>
                </c:pt>
                <c:pt idx="1380">
                  <c:v>40427</c:v>
                </c:pt>
                <c:pt idx="1381">
                  <c:v>40428</c:v>
                </c:pt>
                <c:pt idx="1382">
                  <c:v>40429</c:v>
                </c:pt>
                <c:pt idx="1383">
                  <c:v>40430</c:v>
                </c:pt>
                <c:pt idx="1384">
                  <c:v>40431</c:v>
                </c:pt>
                <c:pt idx="1385">
                  <c:v>40434</c:v>
                </c:pt>
                <c:pt idx="1386">
                  <c:v>40435</c:v>
                </c:pt>
                <c:pt idx="1387">
                  <c:v>40436</c:v>
                </c:pt>
                <c:pt idx="1388">
                  <c:v>40437</c:v>
                </c:pt>
                <c:pt idx="1389">
                  <c:v>40438</c:v>
                </c:pt>
                <c:pt idx="1390">
                  <c:v>40441</c:v>
                </c:pt>
                <c:pt idx="1391">
                  <c:v>40442</c:v>
                </c:pt>
                <c:pt idx="1392">
                  <c:v>40448</c:v>
                </c:pt>
                <c:pt idx="1393">
                  <c:v>40449</c:v>
                </c:pt>
                <c:pt idx="1394">
                  <c:v>40450</c:v>
                </c:pt>
                <c:pt idx="1395">
                  <c:v>40451</c:v>
                </c:pt>
                <c:pt idx="1396">
                  <c:v>40459</c:v>
                </c:pt>
                <c:pt idx="1397">
                  <c:v>40462</c:v>
                </c:pt>
                <c:pt idx="1398">
                  <c:v>40463</c:v>
                </c:pt>
                <c:pt idx="1399">
                  <c:v>40464</c:v>
                </c:pt>
                <c:pt idx="1400">
                  <c:v>40465</c:v>
                </c:pt>
                <c:pt idx="1401">
                  <c:v>40466</c:v>
                </c:pt>
                <c:pt idx="1402">
                  <c:v>40469</c:v>
                </c:pt>
                <c:pt idx="1403">
                  <c:v>40470</c:v>
                </c:pt>
                <c:pt idx="1404">
                  <c:v>40471</c:v>
                </c:pt>
                <c:pt idx="1405">
                  <c:v>40472</c:v>
                </c:pt>
                <c:pt idx="1406">
                  <c:v>40473</c:v>
                </c:pt>
                <c:pt idx="1407">
                  <c:v>40476</c:v>
                </c:pt>
                <c:pt idx="1408">
                  <c:v>40477</c:v>
                </c:pt>
                <c:pt idx="1409">
                  <c:v>40478</c:v>
                </c:pt>
                <c:pt idx="1410">
                  <c:v>40479</c:v>
                </c:pt>
                <c:pt idx="1411">
                  <c:v>40480</c:v>
                </c:pt>
                <c:pt idx="1412">
                  <c:v>40483</c:v>
                </c:pt>
                <c:pt idx="1413">
                  <c:v>40484</c:v>
                </c:pt>
                <c:pt idx="1414">
                  <c:v>40485</c:v>
                </c:pt>
                <c:pt idx="1415">
                  <c:v>40486</c:v>
                </c:pt>
                <c:pt idx="1416">
                  <c:v>40487</c:v>
                </c:pt>
                <c:pt idx="1417">
                  <c:v>40490</c:v>
                </c:pt>
                <c:pt idx="1418">
                  <c:v>40491</c:v>
                </c:pt>
                <c:pt idx="1419">
                  <c:v>40492</c:v>
                </c:pt>
                <c:pt idx="1420">
                  <c:v>40493</c:v>
                </c:pt>
                <c:pt idx="1421">
                  <c:v>40494</c:v>
                </c:pt>
                <c:pt idx="1422">
                  <c:v>40497</c:v>
                </c:pt>
                <c:pt idx="1423">
                  <c:v>40498</c:v>
                </c:pt>
                <c:pt idx="1424">
                  <c:v>40499</c:v>
                </c:pt>
                <c:pt idx="1425">
                  <c:v>40500</c:v>
                </c:pt>
                <c:pt idx="1426">
                  <c:v>40501</c:v>
                </c:pt>
                <c:pt idx="1427">
                  <c:v>40504</c:v>
                </c:pt>
                <c:pt idx="1428">
                  <c:v>40505</c:v>
                </c:pt>
                <c:pt idx="1429">
                  <c:v>40506</c:v>
                </c:pt>
                <c:pt idx="1430">
                  <c:v>40507</c:v>
                </c:pt>
                <c:pt idx="1431">
                  <c:v>40508</c:v>
                </c:pt>
                <c:pt idx="1432">
                  <c:v>40511</c:v>
                </c:pt>
                <c:pt idx="1433">
                  <c:v>40512</c:v>
                </c:pt>
                <c:pt idx="1434">
                  <c:v>40513</c:v>
                </c:pt>
                <c:pt idx="1435">
                  <c:v>40514</c:v>
                </c:pt>
                <c:pt idx="1436">
                  <c:v>40515</c:v>
                </c:pt>
                <c:pt idx="1437">
                  <c:v>40518</c:v>
                </c:pt>
                <c:pt idx="1438">
                  <c:v>40519</c:v>
                </c:pt>
                <c:pt idx="1439">
                  <c:v>40520</c:v>
                </c:pt>
                <c:pt idx="1440">
                  <c:v>40521</c:v>
                </c:pt>
                <c:pt idx="1441">
                  <c:v>40522</c:v>
                </c:pt>
                <c:pt idx="1442">
                  <c:v>40525</c:v>
                </c:pt>
                <c:pt idx="1443">
                  <c:v>40526</c:v>
                </c:pt>
                <c:pt idx="1444">
                  <c:v>40527</c:v>
                </c:pt>
                <c:pt idx="1445">
                  <c:v>40528</c:v>
                </c:pt>
                <c:pt idx="1446">
                  <c:v>40529</c:v>
                </c:pt>
                <c:pt idx="1447">
                  <c:v>40532</c:v>
                </c:pt>
                <c:pt idx="1448">
                  <c:v>40533</c:v>
                </c:pt>
                <c:pt idx="1449">
                  <c:v>40534</c:v>
                </c:pt>
                <c:pt idx="1450">
                  <c:v>40535</c:v>
                </c:pt>
                <c:pt idx="1451">
                  <c:v>40536</c:v>
                </c:pt>
                <c:pt idx="1452">
                  <c:v>40539</c:v>
                </c:pt>
                <c:pt idx="1453">
                  <c:v>40540</c:v>
                </c:pt>
                <c:pt idx="1454">
                  <c:v>40541</c:v>
                </c:pt>
                <c:pt idx="1455">
                  <c:v>40542</c:v>
                </c:pt>
                <c:pt idx="1456">
                  <c:v>40543</c:v>
                </c:pt>
                <c:pt idx="1457">
                  <c:v>40547</c:v>
                </c:pt>
                <c:pt idx="1458">
                  <c:v>40548</c:v>
                </c:pt>
                <c:pt idx="1459">
                  <c:v>40549</c:v>
                </c:pt>
                <c:pt idx="1460">
                  <c:v>40550</c:v>
                </c:pt>
                <c:pt idx="1461">
                  <c:v>40553</c:v>
                </c:pt>
                <c:pt idx="1462">
                  <c:v>40554</c:v>
                </c:pt>
                <c:pt idx="1463">
                  <c:v>40555</c:v>
                </c:pt>
                <c:pt idx="1464">
                  <c:v>40556</c:v>
                </c:pt>
                <c:pt idx="1465">
                  <c:v>40557</c:v>
                </c:pt>
                <c:pt idx="1466">
                  <c:v>40560</c:v>
                </c:pt>
                <c:pt idx="1467">
                  <c:v>40561</c:v>
                </c:pt>
                <c:pt idx="1468">
                  <c:v>40562</c:v>
                </c:pt>
                <c:pt idx="1469">
                  <c:v>40563</c:v>
                </c:pt>
                <c:pt idx="1470">
                  <c:v>40564</c:v>
                </c:pt>
                <c:pt idx="1471">
                  <c:v>40567</c:v>
                </c:pt>
                <c:pt idx="1472">
                  <c:v>40568</c:v>
                </c:pt>
                <c:pt idx="1473">
                  <c:v>40569</c:v>
                </c:pt>
                <c:pt idx="1474">
                  <c:v>40570</c:v>
                </c:pt>
                <c:pt idx="1475">
                  <c:v>40571</c:v>
                </c:pt>
                <c:pt idx="1476">
                  <c:v>40574</c:v>
                </c:pt>
                <c:pt idx="1477">
                  <c:v>40575</c:v>
                </c:pt>
                <c:pt idx="1478">
                  <c:v>40583</c:v>
                </c:pt>
                <c:pt idx="1479">
                  <c:v>40584</c:v>
                </c:pt>
                <c:pt idx="1480">
                  <c:v>40585</c:v>
                </c:pt>
                <c:pt idx="1481">
                  <c:v>40588</c:v>
                </c:pt>
                <c:pt idx="1482">
                  <c:v>40589</c:v>
                </c:pt>
                <c:pt idx="1483">
                  <c:v>40590</c:v>
                </c:pt>
                <c:pt idx="1484">
                  <c:v>40591</c:v>
                </c:pt>
                <c:pt idx="1485">
                  <c:v>40592</c:v>
                </c:pt>
                <c:pt idx="1486">
                  <c:v>40595</c:v>
                </c:pt>
                <c:pt idx="1487">
                  <c:v>40596</c:v>
                </c:pt>
                <c:pt idx="1488">
                  <c:v>40597</c:v>
                </c:pt>
                <c:pt idx="1489">
                  <c:v>40598</c:v>
                </c:pt>
                <c:pt idx="1490">
                  <c:v>40599</c:v>
                </c:pt>
                <c:pt idx="1491">
                  <c:v>40602</c:v>
                </c:pt>
                <c:pt idx="1492">
                  <c:v>40603</c:v>
                </c:pt>
                <c:pt idx="1493">
                  <c:v>40604</c:v>
                </c:pt>
                <c:pt idx="1494">
                  <c:v>40605</c:v>
                </c:pt>
                <c:pt idx="1495">
                  <c:v>40606</c:v>
                </c:pt>
                <c:pt idx="1496">
                  <c:v>40609</c:v>
                </c:pt>
                <c:pt idx="1497">
                  <c:v>40610</c:v>
                </c:pt>
                <c:pt idx="1498">
                  <c:v>40611</c:v>
                </c:pt>
                <c:pt idx="1499">
                  <c:v>40612</c:v>
                </c:pt>
                <c:pt idx="1500">
                  <c:v>40613</c:v>
                </c:pt>
                <c:pt idx="1501">
                  <c:v>40616</c:v>
                </c:pt>
                <c:pt idx="1502">
                  <c:v>40617</c:v>
                </c:pt>
                <c:pt idx="1503">
                  <c:v>40618</c:v>
                </c:pt>
                <c:pt idx="1504">
                  <c:v>40619</c:v>
                </c:pt>
                <c:pt idx="1505">
                  <c:v>40620</c:v>
                </c:pt>
                <c:pt idx="1506">
                  <c:v>40623</c:v>
                </c:pt>
                <c:pt idx="1507">
                  <c:v>40624</c:v>
                </c:pt>
                <c:pt idx="1508">
                  <c:v>40625</c:v>
                </c:pt>
                <c:pt idx="1509">
                  <c:v>40626</c:v>
                </c:pt>
                <c:pt idx="1510">
                  <c:v>40627</c:v>
                </c:pt>
                <c:pt idx="1511">
                  <c:v>40630</c:v>
                </c:pt>
                <c:pt idx="1512">
                  <c:v>40631</c:v>
                </c:pt>
                <c:pt idx="1513">
                  <c:v>40632</c:v>
                </c:pt>
                <c:pt idx="1514">
                  <c:v>40633</c:v>
                </c:pt>
                <c:pt idx="1515">
                  <c:v>40634</c:v>
                </c:pt>
                <c:pt idx="1516">
                  <c:v>40639</c:v>
                </c:pt>
                <c:pt idx="1517">
                  <c:v>40640</c:v>
                </c:pt>
                <c:pt idx="1518">
                  <c:v>40641</c:v>
                </c:pt>
                <c:pt idx="1519">
                  <c:v>40644</c:v>
                </c:pt>
                <c:pt idx="1520">
                  <c:v>40645</c:v>
                </c:pt>
                <c:pt idx="1521">
                  <c:v>40646</c:v>
                </c:pt>
                <c:pt idx="1522">
                  <c:v>40647</c:v>
                </c:pt>
                <c:pt idx="1523">
                  <c:v>40648</c:v>
                </c:pt>
                <c:pt idx="1524">
                  <c:v>40651</c:v>
                </c:pt>
                <c:pt idx="1525">
                  <c:v>40652</c:v>
                </c:pt>
                <c:pt idx="1526">
                  <c:v>40653</c:v>
                </c:pt>
                <c:pt idx="1527">
                  <c:v>40654</c:v>
                </c:pt>
                <c:pt idx="1528">
                  <c:v>40655</c:v>
                </c:pt>
                <c:pt idx="1529">
                  <c:v>40658</c:v>
                </c:pt>
                <c:pt idx="1530">
                  <c:v>40659</c:v>
                </c:pt>
                <c:pt idx="1531">
                  <c:v>40660</c:v>
                </c:pt>
                <c:pt idx="1532">
                  <c:v>40661</c:v>
                </c:pt>
                <c:pt idx="1533">
                  <c:v>40662</c:v>
                </c:pt>
                <c:pt idx="1534">
                  <c:v>40666</c:v>
                </c:pt>
                <c:pt idx="1535">
                  <c:v>40667</c:v>
                </c:pt>
                <c:pt idx="1536">
                  <c:v>40668</c:v>
                </c:pt>
                <c:pt idx="1537">
                  <c:v>40669</c:v>
                </c:pt>
                <c:pt idx="1538">
                  <c:v>40672</c:v>
                </c:pt>
                <c:pt idx="1539">
                  <c:v>40673</c:v>
                </c:pt>
                <c:pt idx="1540">
                  <c:v>40674</c:v>
                </c:pt>
                <c:pt idx="1541">
                  <c:v>40675</c:v>
                </c:pt>
                <c:pt idx="1542">
                  <c:v>40676</c:v>
                </c:pt>
                <c:pt idx="1543">
                  <c:v>40679</c:v>
                </c:pt>
                <c:pt idx="1544">
                  <c:v>40680</c:v>
                </c:pt>
                <c:pt idx="1545">
                  <c:v>40681</c:v>
                </c:pt>
                <c:pt idx="1546">
                  <c:v>40682</c:v>
                </c:pt>
                <c:pt idx="1547">
                  <c:v>40683</c:v>
                </c:pt>
                <c:pt idx="1548">
                  <c:v>40686</c:v>
                </c:pt>
                <c:pt idx="1549">
                  <c:v>40687</c:v>
                </c:pt>
                <c:pt idx="1550">
                  <c:v>40688</c:v>
                </c:pt>
                <c:pt idx="1551">
                  <c:v>40689</c:v>
                </c:pt>
                <c:pt idx="1552">
                  <c:v>40690</c:v>
                </c:pt>
                <c:pt idx="1553">
                  <c:v>40693</c:v>
                </c:pt>
                <c:pt idx="1554">
                  <c:v>40694</c:v>
                </c:pt>
                <c:pt idx="1555">
                  <c:v>40695</c:v>
                </c:pt>
                <c:pt idx="1556">
                  <c:v>40696</c:v>
                </c:pt>
                <c:pt idx="1557">
                  <c:v>40697</c:v>
                </c:pt>
                <c:pt idx="1558">
                  <c:v>40701</c:v>
                </c:pt>
                <c:pt idx="1559">
                  <c:v>40702</c:v>
                </c:pt>
                <c:pt idx="1560">
                  <c:v>40703</c:v>
                </c:pt>
                <c:pt idx="1561">
                  <c:v>40704</c:v>
                </c:pt>
                <c:pt idx="1562">
                  <c:v>40707</c:v>
                </c:pt>
                <c:pt idx="1563">
                  <c:v>40708</c:v>
                </c:pt>
                <c:pt idx="1564">
                  <c:v>40709</c:v>
                </c:pt>
                <c:pt idx="1565">
                  <c:v>40710</c:v>
                </c:pt>
                <c:pt idx="1566">
                  <c:v>40711</c:v>
                </c:pt>
                <c:pt idx="1567">
                  <c:v>40714</c:v>
                </c:pt>
                <c:pt idx="1568">
                  <c:v>40715</c:v>
                </c:pt>
                <c:pt idx="1569">
                  <c:v>40716</c:v>
                </c:pt>
                <c:pt idx="1570">
                  <c:v>40717</c:v>
                </c:pt>
                <c:pt idx="1571">
                  <c:v>40718</c:v>
                </c:pt>
                <c:pt idx="1572">
                  <c:v>40721</c:v>
                </c:pt>
                <c:pt idx="1573">
                  <c:v>40722</c:v>
                </c:pt>
                <c:pt idx="1574">
                  <c:v>40723</c:v>
                </c:pt>
                <c:pt idx="1575">
                  <c:v>40724</c:v>
                </c:pt>
                <c:pt idx="1576">
                  <c:v>40725</c:v>
                </c:pt>
                <c:pt idx="1577">
                  <c:v>40728</c:v>
                </c:pt>
                <c:pt idx="1578">
                  <c:v>40729</c:v>
                </c:pt>
                <c:pt idx="1579">
                  <c:v>40730</c:v>
                </c:pt>
                <c:pt idx="1580">
                  <c:v>40731</c:v>
                </c:pt>
                <c:pt idx="1581">
                  <c:v>40732</c:v>
                </c:pt>
                <c:pt idx="1582">
                  <c:v>40735</c:v>
                </c:pt>
                <c:pt idx="1583">
                  <c:v>40736</c:v>
                </c:pt>
                <c:pt idx="1584">
                  <c:v>40737</c:v>
                </c:pt>
                <c:pt idx="1585">
                  <c:v>40738</c:v>
                </c:pt>
                <c:pt idx="1586">
                  <c:v>40739</c:v>
                </c:pt>
                <c:pt idx="1587">
                  <c:v>40742</c:v>
                </c:pt>
                <c:pt idx="1588">
                  <c:v>40743</c:v>
                </c:pt>
                <c:pt idx="1589">
                  <c:v>40744</c:v>
                </c:pt>
                <c:pt idx="1590">
                  <c:v>40745</c:v>
                </c:pt>
                <c:pt idx="1591">
                  <c:v>40746</c:v>
                </c:pt>
                <c:pt idx="1592">
                  <c:v>40749</c:v>
                </c:pt>
                <c:pt idx="1593">
                  <c:v>40750</c:v>
                </c:pt>
                <c:pt idx="1594">
                  <c:v>40751</c:v>
                </c:pt>
                <c:pt idx="1595">
                  <c:v>40752</c:v>
                </c:pt>
                <c:pt idx="1596">
                  <c:v>40753</c:v>
                </c:pt>
                <c:pt idx="1597">
                  <c:v>40756</c:v>
                </c:pt>
                <c:pt idx="1598">
                  <c:v>40757</c:v>
                </c:pt>
                <c:pt idx="1599">
                  <c:v>40758</c:v>
                </c:pt>
                <c:pt idx="1600">
                  <c:v>40759</c:v>
                </c:pt>
                <c:pt idx="1601">
                  <c:v>40760</c:v>
                </c:pt>
                <c:pt idx="1602">
                  <c:v>40763</c:v>
                </c:pt>
                <c:pt idx="1603">
                  <c:v>40764</c:v>
                </c:pt>
                <c:pt idx="1604">
                  <c:v>40765</c:v>
                </c:pt>
                <c:pt idx="1605">
                  <c:v>40766</c:v>
                </c:pt>
                <c:pt idx="1606">
                  <c:v>40767</c:v>
                </c:pt>
                <c:pt idx="1607">
                  <c:v>40770</c:v>
                </c:pt>
                <c:pt idx="1608">
                  <c:v>40771</c:v>
                </c:pt>
                <c:pt idx="1609">
                  <c:v>40772</c:v>
                </c:pt>
                <c:pt idx="1610">
                  <c:v>40773</c:v>
                </c:pt>
                <c:pt idx="1611">
                  <c:v>40774</c:v>
                </c:pt>
                <c:pt idx="1612">
                  <c:v>40777</c:v>
                </c:pt>
                <c:pt idx="1613">
                  <c:v>40778</c:v>
                </c:pt>
                <c:pt idx="1614">
                  <c:v>40779</c:v>
                </c:pt>
                <c:pt idx="1615">
                  <c:v>40780</c:v>
                </c:pt>
                <c:pt idx="1616">
                  <c:v>40781</c:v>
                </c:pt>
                <c:pt idx="1617">
                  <c:v>40784</c:v>
                </c:pt>
                <c:pt idx="1618">
                  <c:v>40785</c:v>
                </c:pt>
                <c:pt idx="1619">
                  <c:v>40786</c:v>
                </c:pt>
                <c:pt idx="1620">
                  <c:v>40787</c:v>
                </c:pt>
                <c:pt idx="1621">
                  <c:v>40788</c:v>
                </c:pt>
                <c:pt idx="1622">
                  <c:v>40791</c:v>
                </c:pt>
                <c:pt idx="1623">
                  <c:v>40792</c:v>
                </c:pt>
                <c:pt idx="1624">
                  <c:v>40793</c:v>
                </c:pt>
                <c:pt idx="1625">
                  <c:v>40794</c:v>
                </c:pt>
                <c:pt idx="1626">
                  <c:v>40795</c:v>
                </c:pt>
                <c:pt idx="1627">
                  <c:v>40799</c:v>
                </c:pt>
                <c:pt idx="1628">
                  <c:v>40800</c:v>
                </c:pt>
                <c:pt idx="1629">
                  <c:v>40801</c:v>
                </c:pt>
                <c:pt idx="1630">
                  <c:v>40802</c:v>
                </c:pt>
                <c:pt idx="1631">
                  <c:v>40805</c:v>
                </c:pt>
                <c:pt idx="1632">
                  <c:v>40806</c:v>
                </c:pt>
                <c:pt idx="1633">
                  <c:v>40807</c:v>
                </c:pt>
                <c:pt idx="1634">
                  <c:v>40808</c:v>
                </c:pt>
                <c:pt idx="1635">
                  <c:v>40809</c:v>
                </c:pt>
                <c:pt idx="1636">
                  <c:v>40812</c:v>
                </c:pt>
                <c:pt idx="1637">
                  <c:v>40813</c:v>
                </c:pt>
                <c:pt idx="1638">
                  <c:v>40814</c:v>
                </c:pt>
                <c:pt idx="1639">
                  <c:v>40815</c:v>
                </c:pt>
                <c:pt idx="1640">
                  <c:v>40816</c:v>
                </c:pt>
                <c:pt idx="1641">
                  <c:v>40826</c:v>
                </c:pt>
                <c:pt idx="1642">
                  <c:v>40827</c:v>
                </c:pt>
                <c:pt idx="1643">
                  <c:v>40828</c:v>
                </c:pt>
                <c:pt idx="1644">
                  <c:v>40829</c:v>
                </c:pt>
                <c:pt idx="1645">
                  <c:v>40830</c:v>
                </c:pt>
                <c:pt idx="1646">
                  <c:v>40833</c:v>
                </c:pt>
                <c:pt idx="1647">
                  <c:v>40834</c:v>
                </c:pt>
                <c:pt idx="1648">
                  <c:v>40835</c:v>
                </c:pt>
                <c:pt idx="1649">
                  <c:v>40836</c:v>
                </c:pt>
                <c:pt idx="1650">
                  <c:v>40837</c:v>
                </c:pt>
                <c:pt idx="1651">
                  <c:v>40840</c:v>
                </c:pt>
                <c:pt idx="1652">
                  <c:v>40841</c:v>
                </c:pt>
                <c:pt idx="1653">
                  <c:v>40842</c:v>
                </c:pt>
                <c:pt idx="1654">
                  <c:v>40843</c:v>
                </c:pt>
                <c:pt idx="1655">
                  <c:v>40844</c:v>
                </c:pt>
                <c:pt idx="1656">
                  <c:v>40847</c:v>
                </c:pt>
                <c:pt idx="1657">
                  <c:v>40848</c:v>
                </c:pt>
                <c:pt idx="1658">
                  <c:v>40849</c:v>
                </c:pt>
                <c:pt idx="1659">
                  <c:v>40850</c:v>
                </c:pt>
                <c:pt idx="1660">
                  <c:v>40851</c:v>
                </c:pt>
                <c:pt idx="1661">
                  <c:v>40854</c:v>
                </c:pt>
                <c:pt idx="1662">
                  <c:v>40855</c:v>
                </c:pt>
                <c:pt idx="1663">
                  <c:v>40856</c:v>
                </c:pt>
                <c:pt idx="1664">
                  <c:v>40857</c:v>
                </c:pt>
                <c:pt idx="1665">
                  <c:v>40858</c:v>
                </c:pt>
                <c:pt idx="1666">
                  <c:v>40861</c:v>
                </c:pt>
                <c:pt idx="1667">
                  <c:v>40862</c:v>
                </c:pt>
                <c:pt idx="1668">
                  <c:v>40863</c:v>
                </c:pt>
                <c:pt idx="1669">
                  <c:v>40864</c:v>
                </c:pt>
                <c:pt idx="1670">
                  <c:v>40865</c:v>
                </c:pt>
                <c:pt idx="1671">
                  <c:v>40868</c:v>
                </c:pt>
                <c:pt idx="1672">
                  <c:v>40869</c:v>
                </c:pt>
                <c:pt idx="1673">
                  <c:v>40870</c:v>
                </c:pt>
                <c:pt idx="1674">
                  <c:v>40871</c:v>
                </c:pt>
                <c:pt idx="1675">
                  <c:v>40872</c:v>
                </c:pt>
                <c:pt idx="1676">
                  <c:v>40875</c:v>
                </c:pt>
                <c:pt idx="1677">
                  <c:v>40876</c:v>
                </c:pt>
                <c:pt idx="1678">
                  <c:v>40877</c:v>
                </c:pt>
                <c:pt idx="1679">
                  <c:v>40878</c:v>
                </c:pt>
                <c:pt idx="1680">
                  <c:v>40879</c:v>
                </c:pt>
                <c:pt idx="1681">
                  <c:v>40882</c:v>
                </c:pt>
                <c:pt idx="1682">
                  <c:v>40883</c:v>
                </c:pt>
                <c:pt idx="1683">
                  <c:v>40884</c:v>
                </c:pt>
                <c:pt idx="1684">
                  <c:v>40885</c:v>
                </c:pt>
                <c:pt idx="1685">
                  <c:v>40886</c:v>
                </c:pt>
                <c:pt idx="1686">
                  <c:v>40889</c:v>
                </c:pt>
                <c:pt idx="1687">
                  <c:v>40890</c:v>
                </c:pt>
                <c:pt idx="1688">
                  <c:v>40891</c:v>
                </c:pt>
                <c:pt idx="1689">
                  <c:v>40892</c:v>
                </c:pt>
                <c:pt idx="1690">
                  <c:v>40893</c:v>
                </c:pt>
                <c:pt idx="1691">
                  <c:v>40896</c:v>
                </c:pt>
                <c:pt idx="1692">
                  <c:v>40897</c:v>
                </c:pt>
                <c:pt idx="1693">
                  <c:v>40898</c:v>
                </c:pt>
                <c:pt idx="1694">
                  <c:v>40899</c:v>
                </c:pt>
                <c:pt idx="1695">
                  <c:v>40900</c:v>
                </c:pt>
                <c:pt idx="1696">
                  <c:v>40903</c:v>
                </c:pt>
                <c:pt idx="1697">
                  <c:v>40904</c:v>
                </c:pt>
                <c:pt idx="1698">
                  <c:v>40905</c:v>
                </c:pt>
                <c:pt idx="1699">
                  <c:v>40906</c:v>
                </c:pt>
                <c:pt idx="1700">
                  <c:v>40907</c:v>
                </c:pt>
                <c:pt idx="1701">
                  <c:v>40912</c:v>
                </c:pt>
                <c:pt idx="1702">
                  <c:v>40913</c:v>
                </c:pt>
                <c:pt idx="1703">
                  <c:v>40914</c:v>
                </c:pt>
                <c:pt idx="1704">
                  <c:v>40917</c:v>
                </c:pt>
                <c:pt idx="1705">
                  <c:v>40918</c:v>
                </c:pt>
                <c:pt idx="1706">
                  <c:v>40919</c:v>
                </c:pt>
                <c:pt idx="1707">
                  <c:v>40920</c:v>
                </c:pt>
                <c:pt idx="1708">
                  <c:v>40921</c:v>
                </c:pt>
                <c:pt idx="1709">
                  <c:v>40924</c:v>
                </c:pt>
                <c:pt idx="1710">
                  <c:v>40925</c:v>
                </c:pt>
                <c:pt idx="1711">
                  <c:v>40926</c:v>
                </c:pt>
                <c:pt idx="1712">
                  <c:v>40927</c:v>
                </c:pt>
                <c:pt idx="1713">
                  <c:v>40928</c:v>
                </c:pt>
                <c:pt idx="1714">
                  <c:v>40938</c:v>
                </c:pt>
                <c:pt idx="1715">
                  <c:v>40939</c:v>
                </c:pt>
                <c:pt idx="1716">
                  <c:v>40940</c:v>
                </c:pt>
                <c:pt idx="1717">
                  <c:v>40941</c:v>
                </c:pt>
                <c:pt idx="1718">
                  <c:v>40942</c:v>
                </c:pt>
                <c:pt idx="1719">
                  <c:v>40945</c:v>
                </c:pt>
                <c:pt idx="1720">
                  <c:v>40946</c:v>
                </c:pt>
                <c:pt idx="1721">
                  <c:v>40947</c:v>
                </c:pt>
                <c:pt idx="1722">
                  <c:v>40948</c:v>
                </c:pt>
                <c:pt idx="1723">
                  <c:v>40949</c:v>
                </c:pt>
                <c:pt idx="1724">
                  <c:v>40952</c:v>
                </c:pt>
                <c:pt idx="1725">
                  <c:v>40953</c:v>
                </c:pt>
                <c:pt idx="1726">
                  <c:v>40954</c:v>
                </c:pt>
                <c:pt idx="1727">
                  <c:v>40955</c:v>
                </c:pt>
                <c:pt idx="1728">
                  <c:v>40956</c:v>
                </c:pt>
                <c:pt idx="1729">
                  <c:v>40959</c:v>
                </c:pt>
                <c:pt idx="1730">
                  <c:v>40960</c:v>
                </c:pt>
                <c:pt idx="1731">
                  <c:v>40961</c:v>
                </c:pt>
                <c:pt idx="1732">
                  <c:v>40962</c:v>
                </c:pt>
                <c:pt idx="1733">
                  <c:v>40963</c:v>
                </c:pt>
                <c:pt idx="1734">
                  <c:v>40966</c:v>
                </c:pt>
                <c:pt idx="1735">
                  <c:v>40967</c:v>
                </c:pt>
                <c:pt idx="1736">
                  <c:v>40968</c:v>
                </c:pt>
                <c:pt idx="1737">
                  <c:v>40969</c:v>
                </c:pt>
                <c:pt idx="1738">
                  <c:v>40970</c:v>
                </c:pt>
                <c:pt idx="1739">
                  <c:v>40973</c:v>
                </c:pt>
                <c:pt idx="1740">
                  <c:v>40974</c:v>
                </c:pt>
                <c:pt idx="1741">
                  <c:v>40975</c:v>
                </c:pt>
                <c:pt idx="1742">
                  <c:v>40976</c:v>
                </c:pt>
                <c:pt idx="1743">
                  <c:v>40977</c:v>
                </c:pt>
                <c:pt idx="1744">
                  <c:v>40980</c:v>
                </c:pt>
                <c:pt idx="1745">
                  <c:v>40981</c:v>
                </c:pt>
                <c:pt idx="1746">
                  <c:v>40982</c:v>
                </c:pt>
                <c:pt idx="1747">
                  <c:v>40983</c:v>
                </c:pt>
                <c:pt idx="1748">
                  <c:v>40984</c:v>
                </c:pt>
                <c:pt idx="1749">
                  <c:v>40987</c:v>
                </c:pt>
                <c:pt idx="1750">
                  <c:v>40988</c:v>
                </c:pt>
                <c:pt idx="1751">
                  <c:v>40989</c:v>
                </c:pt>
                <c:pt idx="1752">
                  <c:v>40990</c:v>
                </c:pt>
                <c:pt idx="1753">
                  <c:v>40991</c:v>
                </c:pt>
                <c:pt idx="1754">
                  <c:v>40994</c:v>
                </c:pt>
                <c:pt idx="1755">
                  <c:v>40995</c:v>
                </c:pt>
                <c:pt idx="1756">
                  <c:v>40996</c:v>
                </c:pt>
                <c:pt idx="1757">
                  <c:v>40997</c:v>
                </c:pt>
                <c:pt idx="1758">
                  <c:v>40998</c:v>
                </c:pt>
                <c:pt idx="1759">
                  <c:v>41004</c:v>
                </c:pt>
                <c:pt idx="1760">
                  <c:v>41005</c:v>
                </c:pt>
                <c:pt idx="1761">
                  <c:v>41008</c:v>
                </c:pt>
                <c:pt idx="1762">
                  <c:v>41009</c:v>
                </c:pt>
                <c:pt idx="1763">
                  <c:v>41010</c:v>
                </c:pt>
                <c:pt idx="1764">
                  <c:v>41011</c:v>
                </c:pt>
                <c:pt idx="1765">
                  <c:v>41012</c:v>
                </c:pt>
                <c:pt idx="1766">
                  <c:v>41015</c:v>
                </c:pt>
                <c:pt idx="1767">
                  <c:v>41016</c:v>
                </c:pt>
                <c:pt idx="1768">
                  <c:v>41017</c:v>
                </c:pt>
                <c:pt idx="1769">
                  <c:v>41018</c:v>
                </c:pt>
                <c:pt idx="1770">
                  <c:v>41019</c:v>
                </c:pt>
                <c:pt idx="1771">
                  <c:v>41022</c:v>
                </c:pt>
                <c:pt idx="1772">
                  <c:v>41023</c:v>
                </c:pt>
                <c:pt idx="1773">
                  <c:v>41024</c:v>
                </c:pt>
                <c:pt idx="1774">
                  <c:v>41025</c:v>
                </c:pt>
                <c:pt idx="1775">
                  <c:v>41026</c:v>
                </c:pt>
                <c:pt idx="1776">
                  <c:v>41031</c:v>
                </c:pt>
                <c:pt idx="1777">
                  <c:v>41032</c:v>
                </c:pt>
                <c:pt idx="1778">
                  <c:v>41033</c:v>
                </c:pt>
                <c:pt idx="1779">
                  <c:v>41036</c:v>
                </c:pt>
                <c:pt idx="1780">
                  <c:v>41037</c:v>
                </c:pt>
                <c:pt idx="1781">
                  <c:v>41038</c:v>
                </c:pt>
                <c:pt idx="1782">
                  <c:v>41039</c:v>
                </c:pt>
                <c:pt idx="1783">
                  <c:v>41040</c:v>
                </c:pt>
                <c:pt idx="1784">
                  <c:v>41043</c:v>
                </c:pt>
                <c:pt idx="1785">
                  <c:v>41044</c:v>
                </c:pt>
                <c:pt idx="1786">
                  <c:v>41045</c:v>
                </c:pt>
                <c:pt idx="1787">
                  <c:v>41046</c:v>
                </c:pt>
                <c:pt idx="1788">
                  <c:v>41047</c:v>
                </c:pt>
                <c:pt idx="1789">
                  <c:v>41050</c:v>
                </c:pt>
                <c:pt idx="1790">
                  <c:v>41051</c:v>
                </c:pt>
                <c:pt idx="1791">
                  <c:v>41052</c:v>
                </c:pt>
                <c:pt idx="1792">
                  <c:v>41053</c:v>
                </c:pt>
                <c:pt idx="1793">
                  <c:v>41054</c:v>
                </c:pt>
                <c:pt idx="1794">
                  <c:v>41057</c:v>
                </c:pt>
                <c:pt idx="1795">
                  <c:v>41058</c:v>
                </c:pt>
                <c:pt idx="1796">
                  <c:v>41059</c:v>
                </c:pt>
                <c:pt idx="1797">
                  <c:v>41060</c:v>
                </c:pt>
                <c:pt idx="1798">
                  <c:v>41061</c:v>
                </c:pt>
                <c:pt idx="1799">
                  <c:v>41064</c:v>
                </c:pt>
                <c:pt idx="1800">
                  <c:v>41065</c:v>
                </c:pt>
                <c:pt idx="1801">
                  <c:v>41066</c:v>
                </c:pt>
                <c:pt idx="1802">
                  <c:v>41067</c:v>
                </c:pt>
                <c:pt idx="1803">
                  <c:v>41068</c:v>
                </c:pt>
                <c:pt idx="1804">
                  <c:v>41071</c:v>
                </c:pt>
                <c:pt idx="1805">
                  <c:v>41072</c:v>
                </c:pt>
                <c:pt idx="1806">
                  <c:v>41073</c:v>
                </c:pt>
                <c:pt idx="1807">
                  <c:v>41074</c:v>
                </c:pt>
                <c:pt idx="1808">
                  <c:v>41075</c:v>
                </c:pt>
                <c:pt idx="1809">
                  <c:v>41078</c:v>
                </c:pt>
                <c:pt idx="1810">
                  <c:v>41079</c:v>
                </c:pt>
                <c:pt idx="1811">
                  <c:v>41080</c:v>
                </c:pt>
                <c:pt idx="1812">
                  <c:v>41081</c:v>
                </c:pt>
                <c:pt idx="1813">
                  <c:v>41085</c:v>
                </c:pt>
                <c:pt idx="1814">
                  <c:v>41086</c:v>
                </c:pt>
                <c:pt idx="1815">
                  <c:v>41087</c:v>
                </c:pt>
                <c:pt idx="1816">
                  <c:v>41088</c:v>
                </c:pt>
                <c:pt idx="1817">
                  <c:v>41089</c:v>
                </c:pt>
                <c:pt idx="1818">
                  <c:v>41092</c:v>
                </c:pt>
                <c:pt idx="1819">
                  <c:v>41093</c:v>
                </c:pt>
                <c:pt idx="1820">
                  <c:v>41094</c:v>
                </c:pt>
                <c:pt idx="1821">
                  <c:v>41095</c:v>
                </c:pt>
                <c:pt idx="1822">
                  <c:v>41096</c:v>
                </c:pt>
                <c:pt idx="1823">
                  <c:v>41099</c:v>
                </c:pt>
                <c:pt idx="1824">
                  <c:v>41100</c:v>
                </c:pt>
                <c:pt idx="1825">
                  <c:v>41101</c:v>
                </c:pt>
                <c:pt idx="1826">
                  <c:v>41102</c:v>
                </c:pt>
                <c:pt idx="1827">
                  <c:v>41103</c:v>
                </c:pt>
                <c:pt idx="1828">
                  <c:v>41106</c:v>
                </c:pt>
                <c:pt idx="1829">
                  <c:v>41107</c:v>
                </c:pt>
                <c:pt idx="1830">
                  <c:v>41108</c:v>
                </c:pt>
                <c:pt idx="1831">
                  <c:v>41109</c:v>
                </c:pt>
                <c:pt idx="1832">
                  <c:v>41110</c:v>
                </c:pt>
                <c:pt idx="1833">
                  <c:v>41113</c:v>
                </c:pt>
                <c:pt idx="1834">
                  <c:v>41114</c:v>
                </c:pt>
                <c:pt idx="1835">
                  <c:v>41115</c:v>
                </c:pt>
                <c:pt idx="1836">
                  <c:v>41116</c:v>
                </c:pt>
                <c:pt idx="1837">
                  <c:v>41117</c:v>
                </c:pt>
                <c:pt idx="1838">
                  <c:v>41120</c:v>
                </c:pt>
                <c:pt idx="1839">
                  <c:v>41121</c:v>
                </c:pt>
                <c:pt idx="1840">
                  <c:v>41122</c:v>
                </c:pt>
                <c:pt idx="1841">
                  <c:v>41123</c:v>
                </c:pt>
                <c:pt idx="1842">
                  <c:v>41124</c:v>
                </c:pt>
                <c:pt idx="1843">
                  <c:v>41127</c:v>
                </c:pt>
                <c:pt idx="1844">
                  <c:v>41128</c:v>
                </c:pt>
                <c:pt idx="1845">
                  <c:v>41129</c:v>
                </c:pt>
                <c:pt idx="1846">
                  <c:v>41130</c:v>
                </c:pt>
                <c:pt idx="1847">
                  <c:v>41131</c:v>
                </c:pt>
                <c:pt idx="1848">
                  <c:v>41134</c:v>
                </c:pt>
                <c:pt idx="1849">
                  <c:v>41135</c:v>
                </c:pt>
                <c:pt idx="1850">
                  <c:v>41136</c:v>
                </c:pt>
                <c:pt idx="1851">
                  <c:v>41137</c:v>
                </c:pt>
                <c:pt idx="1852">
                  <c:v>41138</c:v>
                </c:pt>
                <c:pt idx="1853">
                  <c:v>41141</c:v>
                </c:pt>
                <c:pt idx="1854">
                  <c:v>41142</c:v>
                </c:pt>
                <c:pt idx="1855">
                  <c:v>41143</c:v>
                </c:pt>
                <c:pt idx="1856">
                  <c:v>41144</c:v>
                </c:pt>
                <c:pt idx="1857">
                  <c:v>41145</c:v>
                </c:pt>
                <c:pt idx="1858">
                  <c:v>41148</c:v>
                </c:pt>
                <c:pt idx="1859">
                  <c:v>41149</c:v>
                </c:pt>
                <c:pt idx="1860">
                  <c:v>41150</c:v>
                </c:pt>
                <c:pt idx="1861">
                  <c:v>41151</c:v>
                </c:pt>
                <c:pt idx="1862">
                  <c:v>41152</c:v>
                </c:pt>
                <c:pt idx="1863">
                  <c:v>41155</c:v>
                </c:pt>
                <c:pt idx="1864">
                  <c:v>41156</c:v>
                </c:pt>
                <c:pt idx="1865">
                  <c:v>41157</c:v>
                </c:pt>
                <c:pt idx="1866">
                  <c:v>41158</c:v>
                </c:pt>
                <c:pt idx="1867">
                  <c:v>41159</c:v>
                </c:pt>
                <c:pt idx="1868">
                  <c:v>41162</c:v>
                </c:pt>
                <c:pt idx="1869">
                  <c:v>41163</c:v>
                </c:pt>
                <c:pt idx="1870">
                  <c:v>41164</c:v>
                </c:pt>
                <c:pt idx="1871">
                  <c:v>41165</c:v>
                </c:pt>
                <c:pt idx="1872">
                  <c:v>41166</c:v>
                </c:pt>
                <c:pt idx="1873">
                  <c:v>41169</c:v>
                </c:pt>
                <c:pt idx="1874">
                  <c:v>41170</c:v>
                </c:pt>
                <c:pt idx="1875">
                  <c:v>41171</c:v>
                </c:pt>
                <c:pt idx="1876">
                  <c:v>41172</c:v>
                </c:pt>
                <c:pt idx="1877">
                  <c:v>41173</c:v>
                </c:pt>
                <c:pt idx="1878">
                  <c:v>41176</c:v>
                </c:pt>
                <c:pt idx="1879">
                  <c:v>41177</c:v>
                </c:pt>
                <c:pt idx="1880">
                  <c:v>41178</c:v>
                </c:pt>
                <c:pt idx="1881">
                  <c:v>41179</c:v>
                </c:pt>
                <c:pt idx="1882">
                  <c:v>41180</c:v>
                </c:pt>
                <c:pt idx="1883">
                  <c:v>41190</c:v>
                </c:pt>
                <c:pt idx="1884">
                  <c:v>41191</c:v>
                </c:pt>
                <c:pt idx="1885">
                  <c:v>41192</c:v>
                </c:pt>
                <c:pt idx="1886">
                  <c:v>41193</c:v>
                </c:pt>
                <c:pt idx="1887">
                  <c:v>41194</c:v>
                </c:pt>
                <c:pt idx="1888">
                  <c:v>41197</c:v>
                </c:pt>
                <c:pt idx="1889">
                  <c:v>41198</c:v>
                </c:pt>
                <c:pt idx="1890">
                  <c:v>41199</c:v>
                </c:pt>
                <c:pt idx="1891">
                  <c:v>41200</c:v>
                </c:pt>
                <c:pt idx="1892">
                  <c:v>41201</c:v>
                </c:pt>
                <c:pt idx="1893">
                  <c:v>41204</c:v>
                </c:pt>
                <c:pt idx="1894">
                  <c:v>41205</c:v>
                </c:pt>
                <c:pt idx="1895">
                  <c:v>41206</c:v>
                </c:pt>
                <c:pt idx="1896">
                  <c:v>41207</c:v>
                </c:pt>
                <c:pt idx="1897">
                  <c:v>41208</c:v>
                </c:pt>
                <c:pt idx="1898">
                  <c:v>41211</c:v>
                </c:pt>
                <c:pt idx="1899">
                  <c:v>41212</c:v>
                </c:pt>
                <c:pt idx="1900">
                  <c:v>41213</c:v>
                </c:pt>
                <c:pt idx="1901">
                  <c:v>41214</c:v>
                </c:pt>
                <c:pt idx="1902">
                  <c:v>41215</c:v>
                </c:pt>
                <c:pt idx="1903">
                  <c:v>41218</c:v>
                </c:pt>
                <c:pt idx="1904">
                  <c:v>41219</c:v>
                </c:pt>
                <c:pt idx="1905">
                  <c:v>41220</c:v>
                </c:pt>
                <c:pt idx="1906">
                  <c:v>41221</c:v>
                </c:pt>
                <c:pt idx="1907">
                  <c:v>41222</c:v>
                </c:pt>
                <c:pt idx="1908">
                  <c:v>41225</c:v>
                </c:pt>
                <c:pt idx="1909">
                  <c:v>41226</c:v>
                </c:pt>
                <c:pt idx="1910">
                  <c:v>41227</c:v>
                </c:pt>
                <c:pt idx="1911">
                  <c:v>41228</c:v>
                </c:pt>
                <c:pt idx="1912">
                  <c:v>41229</c:v>
                </c:pt>
                <c:pt idx="1913">
                  <c:v>41232</c:v>
                </c:pt>
                <c:pt idx="1914">
                  <c:v>41233</c:v>
                </c:pt>
                <c:pt idx="1915">
                  <c:v>41234</c:v>
                </c:pt>
                <c:pt idx="1916">
                  <c:v>41235</c:v>
                </c:pt>
                <c:pt idx="1917">
                  <c:v>41236</c:v>
                </c:pt>
                <c:pt idx="1918">
                  <c:v>41239</c:v>
                </c:pt>
                <c:pt idx="1919">
                  <c:v>41240</c:v>
                </c:pt>
                <c:pt idx="1920">
                  <c:v>41241</c:v>
                </c:pt>
                <c:pt idx="1921">
                  <c:v>41242</c:v>
                </c:pt>
                <c:pt idx="1922">
                  <c:v>41243</c:v>
                </c:pt>
                <c:pt idx="1923">
                  <c:v>41246</c:v>
                </c:pt>
                <c:pt idx="1924">
                  <c:v>41247</c:v>
                </c:pt>
                <c:pt idx="1925">
                  <c:v>41248</c:v>
                </c:pt>
                <c:pt idx="1926">
                  <c:v>41249</c:v>
                </c:pt>
                <c:pt idx="1927">
                  <c:v>41250</c:v>
                </c:pt>
                <c:pt idx="1928">
                  <c:v>41253</c:v>
                </c:pt>
                <c:pt idx="1929">
                  <c:v>41254</c:v>
                </c:pt>
                <c:pt idx="1930">
                  <c:v>41255</c:v>
                </c:pt>
                <c:pt idx="1931">
                  <c:v>41256</c:v>
                </c:pt>
                <c:pt idx="1932">
                  <c:v>41257</c:v>
                </c:pt>
                <c:pt idx="1933">
                  <c:v>41260</c:v>
                </c:pt>
                <c:pt idx="1934">
                  <c:v>41261</c:v>
                </c:pt>
                <c:pt idx="1935">
                  <c:v>41262</c:v>
                </c:pt>
                <c:pt idx="1936">
                  <c:v>41263</c:v>
                </c:pt>
                <c:pt idx="1937">
                  <c:v>41264</c:v>
                </c:pt>
                <c:pt idx="1938">
                  <c:v>41267</c:v>
                </c:pt>
                <c:pt idx="1939">
                  <c:v>41268</c:v>
                </c:pt>
                <c:pt idx="1940">
                  <c:v>41269</c:v>
                </c:pt>
                <c:pt idx="1941">
                  <c:v>41270</c:v>
                </c:pt>
                <c:pt idx="1942">
                  <c:v>41271</c:v>
                </c:pt>
                <c:pt idx="1943">
                  <c:v>41274</c:v>
                </c:pt>
                <c:pt idx="1944">
                  <c:v>41278</c:v>
                </c:pt>
                <c:pt idx="1945">
                  <c:v>41281</c:v>
                </c:pt>
                <c:pt idx="1946">
                  <c:v>41282</c:v>
                </c:pt>
                <c:pt idx="1947">
                  <c:v>41283</c:v>
                </c:pt>
                <c:pt idx="1948">
                  <c:v>41284</c:v>
                </c:pt>
                <c:pt idx="1949">
                  <c:v>41285</c:v>
                </c:pt>
                <c:pt idx="1950">
                  <c:v>41288</c:v>
                </c:pt>
                <c:pt idx="1951">
                  <c:v>41289</c:v>
                </c:pt>
                <c:pt idx="1952">
                  <c:v>41290</c:v>
                </c:pt>
                <c:pt idx="1953">
                  <c:v>41291</c:v>
                </c:pt>
                <c:pt idx="1954">
                  <c:v>41292</c:v>
                </c:pt>
                <c:pt idx="1955">
                  <c:v>41295</c:v>
                </c:pt>
                <c:pt idx="1956">
                  <c:v>41296</c:v>
                </c:pt>
                <c:pt idx="1957">
                  <c:v>41297</c:v>
                </c:pt>
                <c:pt idx="1958">
                  <c:v>41298</c:v>
                </c:pt>
                <c:pt idx="1959">
                  <c:v>41299</c:v>
                </c:pt>
                <c:pt idx="1960">
                  <c:v>41302</c:v>
                </c:pt>
                <c:pt idx="1961">
                  <c:v>41303</c:v>
                </c:pt>
                <c:pt idx="1962">
                  <c:v>41304</c:v>
                </c:pt>
                <c:pt idx="1963">
                  <c:v>41305</c:v>
                </c:pt>
                <c:pt idx="1964">
                  <c:v>41306</c:v>
                </c:pt>
                <c:pt idx="1965">
                  <c:v>41309</c:v>
                </c:pt>
                <c:pt idx="1966">
                  <c:v>41310</c:v>
                </c:pt>
                <c:pt idx="1967">
                  <c:v>41311</c:v>
                </c:pt>
                <c:pt idx="1968">
                  <c:v>41312</c:v>
                </c:pt>
                <c:pt idx="1969">
                  <c:v>41313</c:v>
                </c:pt>
                <c:pt idx="1970">
                  <c:v>41323</c:v>
                </c:pt>
                <c:pt idx="1971">
                  <c:v>41324</c:v>
                </c:pt>
                <c:pt idx="1972">
                  <c:v>41325</c:v>
                </c:pt>
                <c:pt idx="1973">
                  <c:v>41326</c:v>
                </c:pt>
                <c:pt idx="1974">
                  <c:v>41327</c:v>
                </c:pt>
                <c:pt idx="1975">
                  <c:v>41330</c:v>
                </c:pt>
                <c:pt idx="1976">
                  <c:v>41331</c:v>
                </c:pt>
                <c:pt idx="1977">
                  <c:v>41332</c:v>
                </c:pt>
                <c:pt idx="1978">
                  <c:v>41333</c:v>
                </c:pt>
                <c:pt idx="1979">
                  <c:v>41334</c:v>
                </c:pt>
                <c:pt idx="1980">
                  <c:v>41337</c:v>
                </c:pt>
                <c:pt idx="1981">
                  <c:v>41338</c:v>
                </c:pt>
                <c:pt idx="1982">
                  <c:v>41339</c:v>
                </c:pt>
                <c:pt idx="1983">
                  <c:v>41340</c:v>
                </c:pt>
                <c:pt idx="1984">
                  <c:v>41341</c:v>
                </c:pt>
                <c:pt idx="1985">
                  <c:v>41344</c:v>
                </c:pt>
                <c:pt idx="1986">
                  <c:v>41345</c:v>
                </c:pt>
                <c:pt idx="1987">
                  <c:v>41346</c:v>
                </c:pt>
                <c:pt idx="1988">
                  <c:v>41347</c:v>
                </c:pt>
                <c:pt idx="1989">
                  <c:v>41348</c:v>
                </c:pt>
                <c:pt idx="1990">
                  <c:v>41351</c:v>
                </c:pt>
                <c:pt idx="1991">
                  <c:v>41352</c:v>
                </c:pt>
                <c:pt idx="1992">
                  <c:v>41353</c:v>
                </c:pt>
                <c:pt idx="1993">
                  <c:v>41354</c:v>
                </c:pt>
                <c:pt idx="1994">
                  <c:v>41355</c:v>
                </c:pt>
                <c:pt idx="1995">
                  <c:v>41358</c:v>
                </c:pt>
                <c:pt idx="1996">
                  <c:v>41359</c:v>
                </c:pt>
                <c:pt idx="1997">
                  <c:v>41360</c:v>
                </c:pt>
                <c:pt idx="1998">
                  <c:v>41361</c:v>
                </c:pt>
                <c:pt idx="1999">
                  <c:v>41362</c:v>
                </c:pt>
                <c:pt idx="2000">
                  <c:v>41365</c:v>
                </c:pt>
                <c:pt idx="2001">
                  <c:v>41366</c:v>
                </c:pt>
                <c:pt idx="2002">
                  <c:v>41367</c:v>
                </c:pt>
                <c:pt idx="2003">
                  <c:v>41372</c:v>
                </c:pt>
                <c:pt idx="2004">
                  <c:v>41373</c:v>
                </c:pt>
                <c:pt idx="2005">
                  <c:v>41374</c:v>
                </c:pt>
                <c:pt idx="2006">
                  <c:v>41375</c:v>
                </c:pt>
                <c:pt idx="2007">
                  <c:v>41376</c:v>
                </c:pt>
                <c:pt idx="2008">
                  <c:v>41379</c:v>
                </c:pt>
                <c:pt idx="2009">
                  <c:v>41380</c:v>
                </c:pt>
                <c:pt idx="2010">
                  <c:v>41381</c:v>
                </c:pt>
                <c:pt idx="2011">
                  <c:v>41382</c:v>
                </c:pt>
                <c:pt idx="2012">
                  <c:v>41383</c:v>
                </c:pt>
                <c:pt idx="2013">
                  <c:v>41386</c:v>
                </c:pt>
                <c:pt idx="2014">
                  <c:v>41387</c:v>
                </c:pt>
                <c:pt idx="2015">
                  <c:v>41388</c:v>
                </c:pt>
                <c:pt idx="2016">
                  <c:v>41389</c:v>
                </c:pt>
                <c:pt idx="2017">
                  <c:v>41390</c:v>
                </c:pt>
                <c:pt idx="2018">
                  <c:v>41396</c:v>
                </c:pt>
                <c:pt idx="2019">
                  <c:v>41397</c:v>
                </c:pt>
                <c:pt idx="2020">
                  <c:v>41400</c:v>
                </c:pt>
                <c:pt idx="2021">
                  <c:v>41401</c:v>
                </c:pt>
                <c:pt idx="2022">
                  <c:v>41402</c:v>
                </c:pt>
                <c:pt idx="2023">
                  <c:v>41403</c:v>
                </c:pt>
                <c:pt idx="2024">
                  <c:v>41404</c:v>
                </c:pt>
                <c:pt idx="2025">
                  <c:v>41407</c:v>
                </c:pt>
                <c:pt idx="2026">
                  <c:v>41408</c:v>
                </c:pt>
                <c:pt idx="2027">
                  <c:v>41409</c:v>
                </c:pt>
                <c:pt idx="2028">
                  <c:v>41410</c:v>
                </c:pt>
                <c:pt idx="2029">
                  <c:v>41411</c:v>
                </c:pt>
                <c:pt idx="2030">
                  <c:v>41414</c:v>
                </c:pt>
                <c:pt idx="2031">
                  <c:v>41415</c:v>
                </c:pt>
                <c:pt idx="2032">
                  <c:v>41416</c:v>
                </c:pt>
                <c:pt idx="2033">
                  <c:v>41417</c:v>
                </c:pt>
                <c:pt idx="2034">
                  <c:v>41418</c:v>
                </c:pt>
                <c:pt idx="2035">
                  <c:v>41421</c:v>
                </c:pt>
                <c:pt idx="2036">
                  <c:v>41422</c:v>
                </c:pt>
                <c:pt idx="2037">
                  <c:v>41423</c:v>
                </c:pt>
                <c:pt idx="2038">
                  <c:v>41424</c:v>
                </c:pt>
                <c:pt idx="2039">
                  <c:v>41425</c:v>
                </c:pt>
                <c:pt idx="2040">
                  <c:v>41428</c:v>
                </c:pt>
                <c:pt idx="2041">
                  <c:v>41429</c:v>
                </c:pt>
                <c:pt idx="2042">
                  <c:v>41430</c:v>
                </c:pt>
                <c:pt idx="2043">
                  <c:v>41431</c:v>
                </c:pt>
                <c:pt idx="2044">
                  <c:v>41432</c:v>
                </c:pt>
                <c:pt idx="2045">
                  <c:v>41438</c:v>
                </c:pt>
                <c:pt idx="2046">
                  <c:v>41439</c:v>
                </c:pt>
                <c:pt idx="2047">
                  <c:v>41442</c:v>
                </c:pt>
                <c:pt idx="2048">
                  <c:v>41443</c:v>
                </c:pt>
                <c:pt idx="2049">
                  <c:v>41444</c:v>
                </c:pt>
                <c:pt idx="2050">
                  <c:v>41445</c:v>
                </c:pt>
                <c:pt idx="2051">
                  <c:v>41446</c:v>
                </c:pt>
                <c:pt idx="2052">
                  <c:v>41449</c:v>
                </c:pt>
                <c:pt idx="2053">
                  <c:v>41450</c:v>
                </c:pt>
                <c:pt idx="2054">
                  <c:v>41451</c:v>
                </c:pt>
                <c:pt idx="2055">
                  <c:v>41452</c:v>
                </c:pt>
                <c:pt idx="2056">
                  <c:v>41453</c:v>
                </c:pt>
                <c:pt idx="2057">
                  <c:v>41456</c:v>
                </c:pt>
                <c:pt idx="2058">
                  <c:v>41457</c:v>
                </c:pt>
                <c:pt idx="2059">
                  <c:v>41458</c:v>
                </c:pt>
                <c:pt idx="2060">
                  <c:v>41459</c:v>
                </c:pt>
                <c:pt idx="2061">
                  <c:v>41460</c:v>
                </c:pt>
                <c:pt idx="2062">
                  <c:v>41463</c:v>
                </c:pt>
                <c:pt idx="2063">
                  <c:v>41464</c:v>
                </c:pt>
                <c:pt idx="2064">
                  <c:v>41465</c:v>
                </c:pt>
                <c:pt idx="2065">
                  <c:v>41466</c:v>
                </c:pt>
                <c:pt idx="2066">
                  <c:v>41467</c:v>
                </c:pt>
                <c:pt idx="2067">
                  <c:v>41470</c:v>
                </c:pt>
                <c:pt idx="2068">
                  <c:v>41471</c:v>
                </c:pt>
                <c:pt idx="2069">
                  <c:v>41472</c:v>
                </c:pt>
                <c:pt idx="2070">
                  <c:v>41473</c:v>
                </c:pt>
                <c:pt idx="2071">
                  <c:v>41474</c:v>
                </c:pt>
                <c:pt idx="2072">
                  <c:v>41477</c:v>
                </c:pt>
                <c:pt idx="2073">
                  <c:v>41478</c:v>
                </c:pt>
                <c:pt idx="2074">
                  <c:v>41479</c:v>
                </c:pt>
                <c:pt idx="2075">
                  <c:v>41480</c:v>
                </c:pt>
                <c:pt idx="2076">
                  <c:v>41481</c:v>
                </c:pt>
                <c:pt idx="2077">
                  <c:v>41484</c:v>
                </c:pt>
                <c:pt idx="2078">
                  <c:v>41485</c:v>
                </c:pt>
                <c:pt idx="2079">
                  <c:v>41486</c:v>
                </c:pt>
                <c:pt idx="2080">
                  <c:v>41487</c:v>
                </c:pt>
                <c:pt idx="2081">
                  <c:v>41488</c:v>
                </c:pt>
                <c:pt idx="2082">
                  <c:v>41491</c:v>
                </c:pt>
                <c:pt idx="2083">
                  <c:v>41492</c:v>
                </c:pt>
                <c:pt idx="2084">
                  <c:v>41493</c:v>
                </c:pt>
                <c:pt idx="2085">
                  <c:v>41494</c:v>
                </c:pt>
                <c:pt idx="2086">
                  <c:v>41495</c:v>
                </c:pt>
                <c:pt idx="2087">
                  <c:v>41498</c:v>
                </c:pt>
                <c:pt idx="2088">
                  <c:v>41499</c:v>
                </c:pt>
                <c:pt idx="2089">
                  <c:v>41500</c:v>
                </c:pt>
                <c:pt idx="2090">
                  <c:v>41501</c:v>
                </c:pt>
                <c:pt idx="2091">
                  <c:v>41502</c:v>
                </c:pt>
                <c:pt idx="2092">
                  <c:v>41505</c:v>
                </c:pt>
                <c:pt idx="2093">
                  <c:v>41506</c:v>
                </c:pt>
                <c:pt idx="2094">
                  <c:v>41507</c:v>
                </c:pt>
                <c:pt idx="2095">
                  <c:v>41508</c:v>
                </c:pt>
                <c:pt idx="2096">
                  <c:v>41509</c:v>
                </c:pt>
                <c:pt idx="2097">
                  <c:v>41512</c:v>
                </c:pt>
                <c:pt idx="2098">
                  <c:v>41513</c:v>
                </c:pt>
                <c:pt idx="2099">
                  <c:v>41514</c:v>
                </c:pt>
                <c:pt idx="2100">
                  <c:v>41515</c:v>
                </c:pt>
                <c:pt idx="2101">
                  <c:v>41516</c:v>
                </c:pt>
                <c:pt idx="2102">
                  <c:v>41519</c:v>
                </c:pt>
                <c:pt idx="2103">
                  <c:v>41520</c:v>
                </c:pt>
                <c:pt idx="2104">
                  <c:v>41521</c:v>
                </c:pt>
                <c:pt idx="2105">
                  <c:v>41522</c:v>
                </c:pt>
                <c:pt idx="2106">
                  <c:v>41523</c:v>
                </c:pt>
                <c:pt idx="2107">
                  <c:v>41526</c:v>
                </c:pt>
                <c:pt idx="2108">
                  <c:v>41527</c:v>
                </c:pt>
                <c:pt idx="2109">
                  <c:v>41528</c:v>
                </c:pt>
                <c:pt idx="2110">
                  <c:v>41529</c:v>
                </c:pt>
                <c:pt idx="2111">
                  <c:v>41530</c:v>
                </c:pt>
                <c:pt idx="2112">
                  <c:v>41533</c:v>
                </c:pt>
                <c:pt idx="2113">
                  <c:v>41534</c:v>
                </c:pt>
                <c:pt idx="2114">
                  <c:v>41535</c:v>
                </c:pt>
                <c:pt idx="2115">
                  <c:v>41540</c:v>
                </c:pt>
                <c:pt idx="2116">
                  <c:v>41541</c:v>
                </c:pt>
                <c:pt idx="2117">
                  <c:v>41542</c:v>
                </c:pt>
                <c:pt idx="2118">
                  <c:v>41543</c:v>
                </c:pt>
                <c:pt idx="2119">
                  <c:v>41544</c:v>
                </c:pt>
                <c:pt idx="2120">
                  <c:v>41547</c:v>
                </c:pt>
                <c:pt idx="2121">
                  <c:v>41555</c:v>
                </c:pt>
                <c:pt idx="2122">
                  <c:v>41556</c:v>
                </c:pt>
                <c:pt idx="2123">
                  <c:v>41557</c:v>
                </c:pt>
                <c:pt idx="2124">
                  <c:v>41558</c:v>
                </c:pt>
                <c:pt idx="2125">
                  <c:v>41561</c:v>
                </c:pt>
                <c:pt idx="2126">
                  <c:v>41562</c:v>
                </c:pt>
                <c:pt idx="2127">
                  <c:v>41563</c:v>
                </c:pt>
                <c:pt idx="2128">
                  <c:v>41564</c:v>
                </c:pt>
                <c:pt idx="2129">
                  <c:v>41565</c:v>
                </c:pt>
                <c:pt idx="2130">
                  <c:v>41568</c:v>
                </c:pt>
                <c:pt idx="2131">
                  <c:v>41569</c:v>
                </c:pt>
                <c:pt idx="2132">
                  <c:v>41570</c:v>
                </c:pt>
                <c:pt idx="2133">
                  <c:v>41571</c:v>
                </c:pt>
                <c:pt idx="2134">
                  <c:v>41572</c:v>
                </c:pt>
                <c:pt idx="2135">
                  <c:v>41575</c:v>
                </c:pt>
                <c:pt idx="2136">
                  <c:v>41576</c:v>
                </c:pt>
                <c:pt idx="2137">
                  <c:v>41577</c:v>
                </c:pt>
                <c:pt idx="2138">
                  <c:v>41578</c:v>
                </c:pt>
                <c:pt idx="2139">
                  <c:v>41579</c:v>
                </c:pt>
                <c:pt idx="2140">
                  <c:v>41582</c:v>
                </c:pt>
                <c:pt idx="2141">
                  <c:v>41583</c:v>
                </c:pt>
                <c:pt idx="2142">
                  <c:v>41584</c:v>
                </c:pt>
                <c:pt idx="2143">
                  <c:v>41585</c:v>
                </c:pt>
                <c:pt idx="2144">
                  <c:v>41586</c:v>
                </c:pt>
                <c:pt idx="2145">
                  <c:v>41589</c:v>
                </c:pt>
                <c:pt idx="2146">
                  <c:v>41590</c:v>
                </c:pt>
                <c:pt idx="2147">
                  <c:v>41591</c:v>
                </c:pt>
                <c:pt idx="2148">
                  <c:v>41592</c:v>
                </c:pt>
                <c:pt idx="2149">
                  <c:v>41593</c:v>
                </c:pt>
                <c:pt idx="2150">
                  <c:v>41596</c:v>
                </c:pt>
                <c:pt idx="2151">
                  <c:v>41597</c:v>
                </c:pt>
                <c:pt idx="2152">
                  <c:v>41598</c:v>
                </c:pt>
                <c:pt idx="2153">
                  <c:v>41599</c:v>
                </c:pt>
                <c:pt idx="2154">
                  <c:v>41600</c:v>
                </c:pt>
                <c:pt idx="2155">
                  <c:v>41603</c:v>
                </c:pt>
                <c:pt idx="2156">
                  <c:v>41604</c:v>
                </c:pt>
                <c:pt idx="2157">
                  <c:v>41605</c:v>
                </c:pt>
                <c:pt idx="2158">
                  <c:v>41606</c:v>
                </c:pt>
                <c:pt idx="2159">
                  <c:v>41607</c:v>
                </c:pt>
                <c:pt idx="2160">
                  <c:v>41610</c:v>
                </c:pt>
                <c:pt idx="2161">
                  <c:v>41611</c:v>
                </c:pt>
                <c:pt idx="2162">
                  <c:v>41612</c:v>
                </c:pt>
                <c:pt idx="2163">
                  <c:v>41613</c:v>
                </c:pt>
                <c:pt idx="2164">
                  <c:v>41614</c:v>
                </c:pt>
                <c:pt idx="2165">
                  <c:v>41617</c:v>
                </c:pt>
                <c:pt idx="2166">
                  <c:v>41618</c:v>
                </c:pt>
                <c:pt idx="2167">
                  <c:v>41619</c:v>
                </c:pt>
                <c:pt idx="2168">
                  <c:v>41620</c:v>
                </c:pt>
                <c:pt idx="2169">
                  <c:v>41621</c:v>
                </c:pt>
                <c:pt idx="2170">
                  <c:v>41624</c:v>
                </c:pt>
                <c:pt idx="2171">
                  <c:v>41625</c:v>
                </c:pt>
                <c:pt idx="2172">
                  <c:v>41626</c:v>
                </c:pt>
                <c:pt idx="2173">
                  <c:v>41627</c:v>
                </c:pt>
                <c:pt idx="2174">
                  <c:v>41628</c:v>
                </c:pt>
                <c:pt idx="2175">
                  <c:v>41631</c:v>
                </c:pt>
                <c:pt idx="2176">
                  <c:v>41632</c:v>
                </c:pt>
                <c:pt idx="2177">
                  <c:v>41633</c:v>
                </c:pt>
                <c:pt idx="2178">
                  <c:v>41634</c:v>
                </c:pt>
                <c:pt idx="2179">
                  <c:v>41635</c:v>
                </c:pt>
                <c:pt idx="2180">
                  <c:v>41638</c:v>
                </c:pt>
                <c:pt idx="2181">
                  <c:v>41639</c:v>
                </c:pt>
                <c:pt idx="2182">
                  <c:v>41641</c:v>
                </c:pt>
                <c:pt idx="2183">
                  <c:v>41642</c:v>
                </c:pt>
                <c:pt idx="2184">
                  <c:v>41645</c:v>
                </c:pt>
                <c:pt idx="2185">
                  <c:v>41646</c:v>
                </c:pt>
                <c:pt idx="2186">
                  <c:v>41647</c:v>
                </c:pt>
                <c:pt idx="2187">
                  <c:v>41648</c:v>
                </c:pt>
                <c:pt idx="2188">
                  <c:v>41649</c:v>
                </c:pt>
                <c:pt idx="2189">
                  <c:v>41652</c:v>
                </c:pt>
                <c:pt idx="2190">
                  <c:v>41653</c:v>
                </c:pt>
                <c:pt idx="2191">
                  <c:v>41654</c:v>
                </c:pt>
                <c:pt idx="2192">
                  <c:v>41655</c:v>
                </c:pt>
                <c:pt idx="2193">
                  <c:v>41656</c:v>
                </c:pt>
                <c:pt idx="2194">
                  <c:v>41659</c:v>
                </c:pt>
                <c:pt idx="2195">
                  <c:v>41660</c:v>
                </c:pt>
                <c:pt idx="2196">
                  <c:v>41661</c:v>
                </c:pt>
                <c:pt idx="2197">
                  <c:v>41662</c:v>
                </c:pt>
                <c:pt idx="2198">
                  <c:v>41663</c:v>
                </c:pt>
                <c:pt idx="2199">
                  <c:v>41666</c:v>
                </c:pt>
                <c:pt idx="2200">
                  <c:v>41667</c:v>
                </c:pt>
                <c:pt idx="2201">
                  <c:v>41668</c:v>
                </c:pt>
                <c:pt idx="2202">
                  <c:v>41669</c:v>
                </c:pt>
                <c:pt idx="2203">
                  <c:v>41677</c:v>
                </c:pt>
                <c:pt idx="2204">
                  <c:v>41680</c:v>
                </c:pt>
                <c:pt idx="2205">
                  <c:v>41681</c:v>
                </c:pt>
                <c:pt idx="2206">
                  <c:v>41682</c:v>
                </c:pt>
                <c:pt idx="2207">
                  <c:v>41683</c:v>
                </c:pt>
                <c:pt idx="2208">
                  <c:v>41684</c:v>
                </c:pt>
                <c:pt idx="2209">
                  <c:v>41687</c:v>
                </c:pt>
                <c:pt idx="2210">
                  <c:v>41688</c:v>
                </c:pt>
                <c:pt idx="2211">
                  <c:v>41689</c:v>
                </c:pt>
                <c:pt idx="2212">
                  <c:v>41690</c:v>
                </c:pt>
                <c:pt idx="2213">
                  <c:v>41691</c:v>
                </c:pt>
                <c:pt idx="2214">
                  <c:v>41694</c:v>
                </c:pt>
                <c:pt idx="2215">
                  <c:v>41695</c:v>
                </c:pt>
                <c:pt idx="2216">
                  <c:v>41696</c:v>
                </c:pt>
                <c:pt idx="2217">
                  <c:v>41697</c:v>
                </c:pt>
                <c:pt idx="2218">
                  <c:v>41698</c:v>
                </c:pt>
                <c:pt idx="2219">
                  <c:v>41701</c:v>
                </c:pt>
                <c:pt idx="2220">
                  <c:v>41702</c:v>
                </c:pt>
                <c:pt idx="2221">
                  <c:v>41703</c:v>
                </c:pt>
                <c:pt idx="2222">
                  <c:v>41704</c:v>
                </c:pt>
                <c:pt idx="2223">
                  <c:v>41705</c:v>
                </c:pt>
                <c:pt idx="2224">
                  <c:v>41708</c:v>
                </c:pt>
                <c:pt idx="2225">
                  <c:v>41709</c:v>
                </c:pt>
                <c:pt idx="2226">
                  <c:v>41710</c:v>
                </c:pt>
                <c:pt idx="2227">
                  <c:v>41711</c:v>
                </c:pt>
                <c:pt idx="2228">
                  <c:v>41712</c:v>
                </c:pt>
                <c:pt idx="2229">
                  <c:v>41715</c:v>
                </c:pt>
                <c:pt idx="2230">
                  <c:v>41716</c:v>
                </c:pt>
                <c:pt idx="2231">
                  <c:v>41717</c:v>
                </c:pt>
                <c:pt idx="2232">
                  <c:v>41718</c:v>
                </c:pt>
                <c:pt idx="2233">
                  <c:v>41719</c:v>
                </c:pt>
                <c:pt idx="2234">
                  <c:v>41722</c:v>
                </c:pt>
                <c:pt idx="2235">
                  <c:v>41723</c:v>
                </c:pt>
                <c:pt idx="2236">
                  <c:v>41724</c:v>
                </c:pt>
                <c:pt idx="2237">
                  <c:v>41725</c:v>
                </c:pt>
                <c:pt idx="2238">
                  <c:v>41726</c:v>
                </c:pt>
                <c:pt idx="2239">
                  <c:v>41729</c:v>
                </c:pt>
                <c:pt idx="2240">
                  <c:v>41730</c:v>
                </c:pt>
                <c:pt idx="2241">
                  <c:v>41731</c:v>
                </c:pt>
                <c:pt idx="2242">
                  <c:v>41732</c:v>
                </c:pt>
                <c:pt idx="2243">
                  <c:v>41733</c:v>
                </c:pt>
                <c:pt idx="2244">
                  <c:v>41737</c:v>
                </c:pt>
                <c:pt idx="2245">
                  <c:v>41738</c:v>
                </c:pt>
                <c:pt idx="2246">
                  <c:v>41739</c:v>
                </c:pt>
                <c:pt idx="2247">
                  <c:v>41740</c:v>
                </c:pt>
                <c:pt idx="2248">
                  <c:v>41743</c:v>
                </c:pt>
                <c:pt idx="2249">
                  <c:v>41744</c:v>
                </c:pt>
                <c:pt idx="2250">
                  <c:v>41745</c:v>
                </c:pt>
                <c:pt idx="2251">
                  <c:v>41746</c:v>
                </c:pt>
                <c:pt idx="2252">
                  <c:v>41747</c:v>
                </c:pt>
                <c:pt idx="2253">
                  <c:v>41750</c:v>
                </c:pt>
                <c:pt idx="2254">
                  <c:v>41751</c:v>
                </c:pt>
                <c:pt idx="2255">
                  <c:v>41752</c:v>
                </c:pt>
                <c:pt idx="2256">
                  <c:v>41753</c:v>
                </c:pt>
                <c:pt idx="2257">
                  <c:v>41754</c:v>
                </c:pt>
                <c:pt idx="2258">
                  <c:v>41757</c:v>
                </c:pt>
                <c:pt idx="2259">
                  <c:v>41758</c:v>
                </c:pt>
                <c:pt idx="2260">
                  <c:v>41759</c:v>
                </c:pt>
                <c:pt idx="2261">
                  <c:v>41764</c:v>
                </c:pt>
                <c:pt idx="2262">
                  <c:v>41765</c:v>
                </c:pt>
                <c:pt idx="2263">
                  <c:v>41766</c:v>
                </c:pt>
                <c:pt idx="2264">
                  <c:v>41767</c:v>
                </c:pt>
                <c:pt idx="2265">
                  <c:v>41768</c:v>
                </c:pt>
                <c:pt idx="2266">
                  <c:v>41771</c:v>
                </c:pt>
                <c:pt idx="2267">
                  <c:v>41772</c:v>
                </c:pt>
                <c:pt idx="2268">
                  <c:v>41773</c:v>
                </c:pt>
                <c:pt idx="2269">
                  <c:v>41774</c:v>
                </c:pt>
                <c:pt idx="2270">
                  <c:v>41775</c:v>
                </c:pt>
                <c:pt idx="2271">
                  <c:v>41778</c:v>
                </c:pt>
                <c:pt idx="2272">
                  <c:v>41779</c:v>
                </c:pt>
                <c:pt idx="2273">
                  <c:v>41780</c:v>
                </c:pt>
                <c:pt idx="2274">
                  <c:v>41781</c:v>
                </c:pt>
                <c:pt idx="2275">
                  <c:v>41782</c:v>
                </c:pt>
                <c:pt idx="2276">
                  <c:v>41785</c:v>
                </c:pt>
                <c:pt idx="2277">
                  <c:v>41786</c:v>
                </c:pt>
                <c:pt idx="2278">
                  <c:v>41787</c:v>
                </c:pt>
                <c:pt idx="2279">
                  <c:v>41788</c:v>
                </c:pt>
                <c:pt idx="2280">
                  <c:v>41789</c:v>
                </c:pt>
                <c:pt idx="2281">
                  <c:v>41793</c:v>
                </c:pt>
                <c:pt idx="2282">
                  <c:v>41794</c:v>
                </c:pt>
                <c:pt idx="2283">
                  <c:v>41795</c:v>
                </c:pt>
                <c:pt idx="2284">
                  <c:v>41796</c:v>
                </c:pt>
                <c:pt idx="2285">
                  <c:v>41799</c:v>
                </c:pt>
                <c:pt idx="2286">
                  <c:v>41800</c:v>
                </c:pt>
                <c:pt idx="2287">
                  <c:v>41801</c:v>
                </c:pt>
                <c:pt idx="2288">
                  <c:v>41802</c:v>
                </c:pt>
                <c:pt idx="2289">
                  <c:v>41803</c:v>
                </c:pt>
                <c:pt idx="2290">
                  <c:v>41806</c:v>
                </c:pt>
                <c:pt idx="2291">
                  <c:v>41807</c:v>
                </c:pt>
                <c:pt idx="2292">
                  <c:v>41808</c:v>
                </c:pt>
                <c:pt idx="2293">
                  <c:v>41809</c:v>
                </c:pt>
                <c:pt idx="2294">
                  <c:v>41810</c:v>
                </c:pt>
                <c:pt idx="2295">
                  <c:v>41813</c:v>
                </c:pt>
                <c:pt idx="2296">
                  <c:v>41814</c:v>
                </c:pt>
                <c:pt idx="2297">
                  <c:v>41815</c:v>
                </c:pt>
                <c:pt idx="2298">
                  <c:v>41816</c:v>
                </c:pt>
                <c:pt idx="2299">
                  <c:v>41817</c:v>
                </c:pt>
                <c:pt idx="2300">
                  <c:v>41820</c:v>
                </c:pt>
                <c:pt idx="2301">
                  <c:v>41821</c:v>
                </c:pt>
                <c:pt idx="2302">
                  <c:v>41822</c:v>
                </c:pt>
                <c:pt idx="2303">
                  <c:v>41823</c:v>
                </c:pt>
                <c:pt idx="2304">
                  <c:v>41824</c:v>
                </c:pt>
                <c:pt idx="2305">
                  <c:v>41827</c:v>
                </c:pt>
                <c:pt idx="2306">
                  <c:v>41828</c:v>
                </c:pt>
                <c:pt idx="2307">
                  <c:v>41829</c:v>
                </c:pt>
                <c:pt idx="2308">
                  <c:v>41830</c:v>
                </c:pt>
                <c:pt idx="2309">
                  <c:v>41831</c:v>
                </c:pt>
                <c:pt idx="2310">
                  <c:v>41834</c:v>
                </c:pt>
                <c:pt idx="2311">
                  <c:v>41835</c:v>
                </c:pt>
                <c:pt idx="2312">
                  <c:v>41836</c:v>
                </c:pt>
                <c:pt idx="2313">
                  <c:v>41837</c:v>
                </c:pt>
                <c:pt idx="2314">
                  <c:v>41838</c:v>
                </c:pt>
                <c:pt idx="2315">
                  <c:v>41841</c:v>
                </c:pt>
                <c:pt idx="2316">
                  <c:v>41842</c:v>
                </c:pt>
                <c:pt idx="2317">
                  <c:v>41843</c:v>
                </c:pt>
                <c:pt idx="2318">
                  <c:v>41844</c:v>
                </c:pt>
                <c:pt idx="2319">
                  <c:v>41845</c:v>
                </c:pt>
                <c:pt idx="2320">
                  <c:v>41848</c:v>
                </c:pt>
                <c:pt idx="2321">
                  <c:v>41849</c:v>
                </c:pt>
                <c:pt idx="2322">
                  <c:v>41850</c:v>
                </c:pt>
                <c:pt idx="2323">
                  <c:v>41851</c:v>
                </c:pt>
                <c:pt idx="2324">
                  <c:v>41852</c:v>
                </c:pt>
                <c:pt idx="2325">
                  <c:v>41855</c:v>
                </c:pt>
                <c:pt idx="2326">
                  <c:v>41856</c:v>
                </c:pt>
                <c:pt idx="2327">
                  <c:v>41857</c:v>
                </c:pt>
                <c:pt idx="2328">
                  <c:v>41858</c:v>
                </c:pt>
                <c:pt idx="2329">
                  <c:v>41859</c:v>
                </c:pt>
                <c:pt idx="2330">
                  <c:v>41862</c:v>
                </c:pt>
                <c:pt idx="2331">
                  <c:v>41863</c:v>
                </c:pt>
                <c:pt idx="2332">
                  <c:v>41864</c:v>
                </c:pt>
                <c:pt idx="2333">
                  <c:v>41865</c:v>
                </c:pt>
                <c:pt idx="2334">
                  <c:v>41866</c:v>
                </c:pt>
                <c:pt idx="2335">
                  <c:v>41869</c:v>
                </c:pt>
                <c:pt idx="2336">
                  <c:v>41870</c:v>
                </c:pt>
                <c:pt idx="2337">
                  <c:v>41871</c:v>
                </c:pt>
                <c:pt idx="2338">
                  <c:v>41872</c:v>
                </c:pt>
                <c:pt idx="2339">
                  <c:v>41873</c:v>
                </c:pt>
                <c:pt idx="2340">
                  <c:v>41876</c:v>
                </c:pt>
                <c:pt idx="2341">
                  <c:v>41877</c:v>
                </c:pt>
                <c:pt idx="2342">
                  <c:v>41878</c:v>
                </c:pt>
                <c:pt idx="2343">
                  <c:v>41879</c:v>
                </c:pt>
                <c:pt idx="2344">
                  <c:v>41880</c:v>
                </c:pt>
                <c:pt idx="2345">
                  <c:v>41883</c:v>
                </c:pt>
                <c:pt idx="2346">
                  <c:v>41884</c:v>
                </c:pt>
                <c:pt idx="2347">
                  <c:v>41885</c:v>
                </c:pt>
                <c:pt idx="2348">
                  <c:v>41886</c:v>
                </c:pt>
                <c:pt idx="2349">
                  <c:v>41887</c:v>
                </c:pt>
                <c:pt idx="2350">
                  <c:v>41891</c:v>
                </c:pt>
                <c:pt idx="2351">
                  <c:v>41892</c:v>
                </c:pt>
                <c:pt idx="2352">
                  <c:v>41893</c:v>
                </c:pt>
                <c:pt idx="2353">
                  <c:v>41894</c:v>
                </c:pt>
                <c:pt idx="2354">
                  <c:v>41897</c:v>
                </c:pt>
                <c:pt idx="2355">
                  <c:v>41898</c:v>
                </c:pt>
                <c:pt idx="2356">
                  <c:v>41899</c:v>
                </c:pt>
                <c:pt idx="2357">
                  <c:v>41900</c:v>
                </c:pt>
                <c:pt idx="2358">
                  <c:v>41901</c:v>
                </c:pt>
                <c:pt idx="2359">
                  <c:v>41904</c:v>
                </c:pt>
                <c:pt idx="2360">
                  <c:v>41905</c:v>
                </c:pt>
                <c:pt idx="2361">
                  <c:v>41906</c:v>
                </c:pt>
                <c:pt idx="2362">
                  <c:v>41907</c:v>
                </c:pt>
                <c:pt idx="2363">
                  <c:v>41908</c:v>
                </c:pt>
                <c:pt idx="2364">
                  <c:v>41911</c:v>
                </c:pt>
                <c:pt idx="2365">
                  <c:v>41912</c:v>
                </c:pt>
                <c:pt idx="2366">
                  <c:v>41920</c:v>
                </c:pt>
                <c:pt idx="2367">
                  <c:v>41921</c:v>
                </c:pt>
                <c:pt idx="2368">
                  <c:v>41922</c:v>
                </c:pt>
                <c:pt idx="2369">
                  <c:v>41925</c:v>
                </c:pt>
                <c:pt idx="2370">
                  <c:v>41926</c:v>
                </c:pt>
                <c:pt idx="2371">
                  <c:v>41927</c:v>
                </c:pt>
                <c:pt idx="2372">
                  <c:v>41928</c:v>
                </c:pt>
                <c:pt idx="2373">
                  <c:v>41929</c:v>
                </c:pt>
                <c:pt idx="2374">
                  <c:v>41932</c:v>
                </c:pt>
                <c:pt idx="2375">
                  <c:v>41933</c:v>
                </c:pt>
                <c:pt idx="2376">
                  <c:v>41934</c:v>
                </c:pt>
                <c:pt idx="2377">
                  <c:v>41935</c:v>
                </c:pt>
                <c:pt idx="2378">
                  <c:v>41936</c:v>
                </c:pt>
                <c:pt idx="2379">
                  <c:v>41939</c:v>
                </c:pt>
                <c:pt idx="2380">
                  <c:v>41940</c:v>
                </c:pt>
                <c:pt idx="2381">
                  <c:v>41941</c:v>
                </c:pt>
                <c:pt idx="2382">
                  <c:v>41942</c:v>
                </c:pt>
                <c:pt idx="2383">
                  <c:v>41943</c:v>
                </c:pt>
                <c:pt idx="2384">
                  <c:v>41946</c:v>
                </c:pt>
                <c:pt idx="2385">
                  <c:v>41947</c:v>
                </c:pt>
                <c:pt idx="2386">
                  <c:v>41948</c:v>
                </c:pt>
                <c:pt idx="2387">
                  <c:v>41949</c:v>
                </c:pt>
                <c:pt idx="2388">
                  <c:v>41950</c:v>
                </c:pt>
                <c:pt idx="2389">
                  <c:v>41953</c:v>
                </c:pt>
                <c:pt idx="2390">
                  <c:v>41954</c:v>
                </c:pt>
                <c:pt idx="2391">
                  <c:v>41955</c:v>
                </c:pt>
                <c:pt idx="2392">
                  <c:v>41956</c:v>
                </c:pt>
                <c:pt idx="2393">
                  <c:v>41957</c:v>
                </c:pt>
                <c:pt idx="2394">
                  <c:v>41960</c:v>
                </c:pt>
                <c:pt idx="2395">
                  <c:v>41961</c:v>
                </c:pt>
                <c:pt idx="2396">
                  <c:v>41962</c:v>
                </c:pt>
                <c:pt idx="2397">
                  <c:v>41963</c:v>
                </c:pt>
                <c:pt idx="2398">
                  <c:v>41964</c:v>
                </c:pt>
                <c:pt idx="2399">
                  <c:v>41967</c:v>
                </c:pt>
                <c:pt idx="2400">
                  <c:v>41968</c:v>
                </c:pt>
                <c:pt idx="2401">
                  <c:v>41969</c:v>
                </c:pt>
                <c:pt idx="2402">
                  <c:v>41970</c:v>
                </c:pt>
                <c:pt idx="2403">
                  <c:v>41971</c:v>
                </c:pt>
                <c:pt idx="2404">
                  <c:v>41974</c:v>
                </c:pt>
                <c:pt idx="2405">
                  <c:v>41975</c:v>
                </c:pt>
                <c:pt idx="2406">
                  <c:v>41976</c:v>
                </c:pt>
                <c:pt idx="2407">
                  <c:v>41977</c:v>
                </c:pt>
                <c:pt idx="2408">
                  <c:v>41978</c:v>
                </c:pt>
                <c:pt idx="2409">
                  <c:v>41981</c:v>
                </c:pt>
                <c:pt idx="2410">
                  <c:v>41982</c:v>
                </c:pt>
                <c:pt idx="2411">
                  <c:v>41983</c:v>
                </c:pt>
                <c:pt idx="2412">
                  <c:v>41984</c:v>
                </c:pt>
                <c:pt idx="2413">
                  <c:v>41985</c:v>
                </c:pt>
                <c:pt idx="2414">
                  <c:v>41988</c:v>
                </c:pt>
                <c:pt idx="2415">
                  <c:v>41989</c:v>
                </c:pt>
                <c:pt idx="2416">
                  <c:v>41990</c:v>
                </c:pt>
                <c:pt idx="2417">
                  <c:v>41991</c:v>
                </c:pt>
                <c:pt idx="2418">
                  <c:v>41992</c:v>
                </c:pt>
                <c:pt idx="2419">
                  <c:v>41995</c:v>
                </c:pt>
                <c:pt idx="2420">
                  <c:v>41996</c:v>
                </c:pt>
                <c:pt idx="2421">
                  <c:v>41997</c:v>
                </c:pt>
                <c:pt idx="2422">
                  <c:v>41998</c:v>
                </c:pt>
                <c:pt idx="2423">
                  <c:v>41999</c:v>
                </c:pt>
                <c:pt idx="2424">
                  <c:v>42002</c:v>
                </c:pt>
                <c:pt idx="2425">
                  <c:v>42003</c:v>
                </c:pt>
                <c:pt idx="2426">
                  <c:v>42004</c:v>
                </c:pt>
                <c:pt idx="2427">
                  <c:v>42009</c:v>
                </c:pt>
                <c:pt idx="2428">
                  <c:v>42010</c:v>
                </c:pt>
                <c:pt idx="2429">
                  <c:v>42011</c:v>
                </c:pt>
                <c:pt idx="2430">
                  <c:v>42012</c:v>
                </c:pt>
                <c:pt idx="2431">
                  <c:v>42013</c:v>
                </c:pt>
                <c:pt idx="2432">
                  <c:v>42016</c:v>
                </c:pt>
                <c:pt idx="2433">
                  <c:v>42017</c:v>
                </c:pt>
                <c:pt idx="2434">
                  <c:v>42018</c:v>
                </c:pt>
                <c:pt idx="2435">
                  <c:v>42019</c:v>
                </c:pt>
                <c:pt idx="2436">
                  <c:v>42020</c:v>
                </c:pt>
                <c:pt idx="2437">
                  <c:v>42023</c:v>
                </c:pt>
                <c:pt idx="2438">
                  <c:v>42024</c:v>
                </c:pt>
                <c:pt idx="2439">
                  <c:v>42025</c:v>
                </c:pt>
                <c:pt idx="2440">
                  <c:v>42026</c:v>
                </c:pt>
                <c:pt idx="2441">
                  <c:v>42027</c:v>
                </c:pt>
                <c:pt idx="2442">
                  <c:v>42030</c:v>
                </c:pt>
                <c:pt idx="2443">
                  <c:v>42031</c:v>
                </c:pt>
                <c:pt idx="2444">
                  <c:v>42032</c:v>
                </c:pt>
                <c:pt idx="2445">
                  <c:v>42033</c:v>
                </c:pt>
                <c:pt idx="2446">
                  <c:v>42034</c:v>
                </c:pt>
                <c:pt idx="2447">
                  <c:v>42037</c:v>
                </c:pt>
                <c:pt idx="2448">
                  <c:v>42038</c:v>
                </c:pt>
                <c:pt idx="2449">
                  <c:v>42039</c:v>
                </c:pt>
                <c:pt idx="2450">
                  <c:v>42040</c:v>
                </c:pt>
                <c:pt idx="2451">
                  <c:v>42041</c:v>
                </c:pt>
                <c:pt idx="2452">
                  <c:v>42044</c:v>
                </c:pt>
                <c:pt idx="2453">
                  <c:v>42045</c:v>
                </c:pt>
                <c:pt idx="2454">
                  <c:v>42046</c:v>
                </c:pt>
                <c:pt idx="2455">
                  <c:v>42047</c:v>
                </c:pt>
                <c:pt idx="2456">
                  <c:v>42048</c:v>
                </c:pt>
                <c:pt idx="2457">
                  <c:v>42051</c:v>
                </c:pt>
                <c:pt idx="2458">
                  <c:v>42052</c:v>
                </c:pt>
                <c:pt idx="2459">
                  <c:v>42060</c:v>
                </c:pt>
                <c:pt idx="2460">
                  <c:v>42061</c:v>
                </c:pt>
                <c:pt idx="2461">
                  <c:v>42062</c:v>
                </c:pt>
                <c:pt idx="2462">
                  <c:v>42065</c:v>
                </c:pt>
                <c:pt idx="2463">
                  <c:v>42066</c:v>
                </c:pt>
                <c:pt idx="2464">
                  <c:v>42067</c:v>
                </c:pt>
                <c:pt idx="2465">
                  <c:v>42068</c:v>
                </c:pt>
                <c:pt idx="2466">
                  <c:v>42069</c:v>
                </c:pt>
                <c:pt idx="2467">
                  <c:v>42072</c:v>
                </c:pt>
                <c:pt idx="2468">
                  <c:v>42073</c:v>
                </c:pt>
                <c:pt idx="2469">
                  <c:v>42074</c:v>
                </c:pt>
                <c:pt idx="2470">
                  <c:v>42075</c:v>
                </c:pt>
                <c:pt idx="2471">
                  <c:v>42076</c:v>
                </c:pt>
                <c:pt idx="2472">
                  <c:v>42079</c:v>
                </c:pt>
                <c:pt idx="2473">
                  <c:v>42080</c:v>
                </c:pt>
                <c:pt idx="2474">
                  <c:v>42081</c:v>
                </c:pt>
                <c:pt idx="2475">
                  <c:v>42082</c:v>
                </c:pt>
                <c:pt idx="2476">
                  <c:v>42083</c:v>
                </c:pt>
                <c:pt idx="2477">
                  <c:v>42086</c:v>
                </c:pt>
                <c:pt idx="2478">
                  <c:v>42087</c:v>
                </c:pt>
                <c:pt idx="2479">
                  <c:v>42088</c:v>
                </c:pt>
                <c:pt idx="2480">
                  <c:v>42089</c:v>
                </c:pt>
                <c:pt idx="2481">
                  <c:v>42090</c:v>
                </c:pt>
                <c:pt idx="2482">
                  <c:v>42093</c:v>
                </c:pt>
                <c:pt idx="2483">
                  <c:v>42094</c:v>
                </c:pt>
                <c:pt idx="2484">
                  <c:v>42095</c:v>
                </c:pt>
                <c:pt idx="2485">
                  <c:v>42096</c:v>
                </c:pt>
                <c:pt idx="2486">
                  <c:v>42097</c:v>
                </c:pt>
                <c:pt idx="2487">
                  <c:v>42101</c:v>
                </c:pt>
                <c:pt idx="2488">
                  <c:v>42102</c:v>
                </c:pt>
                <c:pt idx="2489">
                  <c:v>42103</c:v>
                </c:pt>
                <c:pt idx="2490">
                  <c:v>42104</c:v>
                </c:pt>
                <c:pt idx="2491">
                  <c:v>42107</c:v>
                </c:pt>
                <c:pt idx="2492">
                  <c:v>42108</c:v>
                </c:pt>
                <c:pt idx="2493">
                  <c:v>42109</c:v>
                </c:pt>
                <c:pt idx="2494">
                  <c:v>42110</c:v>
                </c:pt>
                <c:pt idx="2495">
                  <c:v>42111</c:v>
                </c:pt>
                <c:pt idx="2496">
                  <c:v>42114</c:v>
                </c:pt>
                <c:pt idx="2497">
                  <c:v>42115</c:v>
                </c:pt>
                <c:pt idx="2498">
                  <c:v>42116</c:v>
                </c:pt>
                <c:pt idx="2499">
                  <c:v>42117</c:v>
                </c:pt>
                <c:pt idx="2500">
                  <c:v>42118</c:v>
                </c:pt>
                <c:pt idx="2501">
                  <c:v>42121</c:v>
                </c:pt>
                <c:pt idx="2502">
                  <c:v>42122</c:v>
                </c:pt>
                <c:pt idx="2503">
                  <c:v>42123</c:v>
                </c:pt>
                <c:pt idx="2504">
                  <c:v>42124</c:v>
                </c:pt>
                <c:pt idx="2505">
                  <c:v>42128</c:v>
                </c:pt>
                <c:pt idx="2506">
                  <c:v>42129</c:v>
                </c:pt>
                <c:pt idx="2507">
                  <c:v>42130</c:v>
                </c:pt>
                <c:pt idx="2508">
                  <c:v>42131</c:v>
                </c:pt>
                <c:pt idx="2509">
                  <c:v>42132</c:v>
                </c:pt>
                <c:pt idx="2510">
                  <c:v>42135</c:v>
                </c:pt>
                <c:pt idx="2511">
                  <c:v>42136</c:v>
                </c:pt>
                <c:pt idx="2512">
                  <c:v>42137</c:v>
                </c:pt>
                <c:pt idx="2513">
                  <c:v>42138</c:v>
                </c:pt>
                <c:pt idx="2514">
                  <c:v>42139</c:v>
                </c:pt>
                <c:pt idx="2515">
                  <c:v>42142</c:v>
                </c:pt>
                <c:pt idx="2516">
                  <c:v>42143</c:v>
                </c:pt>
                <c:pt idx="2517">
                  <c:v>42144</c:v>
                </c:pt>
                <c:pt idx="2518">
                  <c:v>42145</c:v>
                </c:pt>
                <c:pt idx="2519">
                  <c:v>42146</c:v>
                </c:pt>
                <c:pt idx="2520">
                  <c:v>42149</c:v>
                </c:pt>
                <c:pt idx="2521">
                  <c:v>42150</c:v>
                </c:pt>
                <c:pt idx="2522">
                  <c:v>42151</c:v>
                </c:pt>
                <c:pt idx="2523">
                  <c:v>42152</c:v>
                </c:pt>
                <c:pt idx="2524">
                  <c:v>42153</c:v>
                </c:pt>
                <c:pt idx="2525">
                  <c:v>42156</c:v>
                </c:pt>
                <c:pt idx="2526">
                  <c:v>42157</c:v>
                </c:pt>
                <c:pt idx="2527">
                  <c:v>42158</c:v>
                </c:pt>
                <c:pt idx="2528">
                  <c:v>42159</c:v>
                </c:pt>
                <c:pt idx="2529">
                  <c:v>42160</c:v>
                </c:pt>
                <c:pt idx="2530">
                  <c:v>42163</c:v>
                </c:pt>
                <c:pt idx="2531">
                  <c:v>42164</c:v>
                </c:pt>
                <c:pt idx="2532">
                  <c:v>42165</c:v>
                </c:pt>
                <c:pt idx="2533">
                  <c:v>42166</c:v>
                </c:pt>
                <c:pt idx="2534">
                  <c:v>42167</c:v>
                </c:pt>
                <c:pt idx="2535">
                  <c:v>42170</c:v>
                </c:pt>
                <c:pt idx="2536">
                  <c:v>42171</c:v>
                </c:pt>
                <c:pt idx="2537">
                  <c:v>42172</c:v>
                </c:pt>
                <c:pt idx="2538">
                  <c:v>42173</c:v>
                </c:pt>
                <c:pt idx="2539">
                  <c:v>42174</c:v>
                </c:pt>
                <c:pt idx="2540">
                  <c:v>42178</c:v>
                </c:pt>
                <c:pt idx="2541">
                  <c:v>42179</c:v>
                </c:pt>
                <c:pt idx="2542">
                  <c:v>42180</c:v>
                </c:pt>
                <c:pt idx="2543">
                  <c:v>42181</c:v>
                </c:pt>
                <c:pt idx="2544">
                  <c:v>42184</c:v>
                </c:pt>
                <c:pt idx="2545">
                  <c:v>42185</c:v>
                </c:pt>
                <c:pt idx="2546">
                  <c:v>42186</c:v>
                </c:pt>
                <c:pt idx="2547">
                  <c:v>42187</c:v>
                </c:pt>
                <c:pt idx="2548">
                  <c:v>42188</c:v>
                </c:pt>
                <c:pt idx="2549">
                  <c:v>42191</c:v>
                </c:pt>
                <c:pt idx="2550">
                  <c:v>42192</c:v>
                </c:pt>
                <c:pt idx="2551">
                  <c:v>42193</c:v>
                </c:pt>
                <c:pt idx="2552">
                  <c:v>42194</c:v>
                </c:pt>
                <c:pt idx="2553">
                  <c:v>42195</c:v>
                </c:pt>
                <c:pt idx="2554">
                  <c:v>42198</c:v>
                </c:pt>
                <c:pt idx="2555">
                  <c:v>42199</c:v>
                </c:pt>
                <c:pt idx="2556">
                  <c:v>42200</c:v>
                </c:pt>
                <c:pt idx="2557">
                  <c:v>42201</c:v>
                </c:pt>
                <c:pt idx="2558">
                  <c:v>42202</c:v>
                </c:pt>
                <c:pt idx="2559">
                  <c:v>42205</c:v>
                </c:pt>
                <c:pt idx="2560">
                  <c:v>42206</c:v>
                </c:pt>
                <c:pt idx="2561">
                  <c:v>42207</c:v>
                </c:pt>
                <c:pt idx="2562">
                  <c:v>42208</c:v>
                </c:pt>
                <c:pt idx="2563">
                  <c:v>42209</c:v>
                </c:pt>
                <c:pt idx="2564">
                  <c:v>42212</c:v>
                </c:pt>
                <c:pt idx="2565">
                  <c:v>42213</c:v>
                </c:pt>
                <c:pt idx="2566">
                  <c:v>42214</c:v>
                </c:pt>
                <c:pt idx="2567">
                  <c:v>42215</c:v>
                </c:pt>
                <c:pt idx="2568">
                  <c:v>42216</c:v>
                </c:pt>
                <c:pt idx="2569">
                  <c:v>42219</c:v>
                </c:pt>
                <c:pt idx="2570">
                  <c:v>42220</c:v>
                </c:pt>
                <c:pt idx="2571">
                  <c:v>42221</c:v>
                </c:pt>
                <c:pt idx="2572">
                  <c:v>42222</c:v>
                </c:pt>
                <c:pt idx="2573">
                  <c:v>42223</c:v>
                </c:pt>
                <c:pt idx="2574">
                  <c:v>42226</c:v>
                </c:pt>
                <c:pt idx="2575">
                  <c:v>42227</c:v>
                </c:pt>
                <c:pt idx="2576">
                  <c:v>42228</c:v>
                </c:pt>
                <c:pt idx="2577">
                  <c:v>42229</c:v>
                </c:pt>
                <c:pt idx="2578">
                  <c:v>42230</c:v>
                </c:pt>
                <c:pt idx="2579">
                  <c:v>42233</c:v>
                </c:pt>
                <c:pt idx="2580">
                  <c:v>42234</c:v>
                </c:pt>
                <c:pt idx="2581">
                  <c:v>42235</c:v>
                </c:pt>
                <c:pt idx="2582">
                  <c:v>42236</c:v>
                </c:pt>
                <c:pt idx="2583">
                  <c:v>42237</c:v>
                </c:pt>
                <c:pt idx="2584">
                  <c:v>42240</c:v>
                </c:pt>
                <c:pt idx="2585">
                  <c:v>42241</c:v>
                </c:pt>
                <c:pt idx="2586">
                  <c:v>42242</c:v>
                </c:pt>
                <c:pt idx="2587">
                  <c:v>42243</c:v>
                </c:pt>
                <c:pt idx="2588">
                  <c:v>42244</c:v>
                </c:pt>
                <c:pt idx="2589">
                  <c:v>42247</c:v>
                </c:pt>
                <c:pt idx="2590">
                  <c:v>42248</c:v>
                </c:pt>
                <c:pt idx="2591">
                  <c:v>42249</c:v>
                </c:pt>
                <c:pt idx="2592">
                  <c:v>42254</c:v>
                </c:pt>
                <c:pt idx="2593">
                  <c:v>42255</c:v>
                </c:pt>
                <c:pt idx="2594">
                  <c:v>42256</c:v>
                </c:pt>
                <c:pt idx="2595">
                  <c:v>42257</c:v>
                </c:pt>
                <c:pt idx="2596">
                  <c:v>42258</c:v>
                </c:pt>
                <c:pt idx="2597">
                  <c:v>42261</c:v>
                </c:pt>
                <c:pt idx="2598">
                  <c:v>42262</c:v>
                </c:pt>
                <c:pt idx="2599">
                  <c:v>42263</c:v>
                </c:pt>
                <c:pt idx="2600">
                  <c:v>42264</c:v>
                </c:pt>
                <c:pt idx="2601">
                  <c:v>42265</c:v>
                </c:pt>
                <c:pt idx="2602">
                  <c:v>42268</c:v>
                </c:pt>
                <c:pt idx="2603">
                  <c:v>42269</c:v>
                </c:pt>
                <c:pt idx="2604">
                  <c:v>42270</c:v>
                </c:pt>
                <c:pt idx="2605">
                  <c:v>42271</c:v>
                </c:pt>
                <c:pt idx="2606">
                  <c:v>42272</c:v>
                </c:pt>
                <c:pt idx="2607">
                  <c:v>42275</c:v>
                </c:pt>
                <c:pt idx="2608">
                  <c:v>42276</c:v>
                </c:pt>
                <c:pt idx="2609">
                  <c:v>42277</c:v>
                </c:pt>
                <c:pt idx="2610">
                  <c:v>42285</c:v>
                </c:pt>
                <c:pt idx="2611">
                  <c:v>42286</c:v>
                </c:pt>
                <c:pt idx="2612">
                  <c:v>42289</c:v>
                </c:pt>
                <c:pt idx="2613">
                  <c:v>42290</c:v>
                </c:pt>
                <c:pt idx="2614">
                  <c:v>42291</c:v>
                </c:pt>
                <c:pt idx="2615">
                  <c:v>42292</c:v>
                </c:pt>
                <c:pt idx="2616">
                  <c:v>42293</c:v>
                </c:pt>
                <c:pt idx="2617">
                  <c:v>42296</c:v>
                </c:pt>
                <c:pt idx="2618">
                  <c:v>42297</c:v>
                </c:pt>
                <c:pt idx="2619">
                  <c:v>42298</c:v>
                </c:pt>
                <c:pt idx="2620">
                  <c:v>42299</c:v>
                </c:pt>
                <c:pt idx="2621">
                  <c:v>42300</c:v>
                </c:pt>
                <c:pt idx="2622">
                  <c:v>42303</c:v>
                </c:pt>
                <c:pt idx="2623">
                  <c:v>42304</c:v>
                </c:pt>
                <c:pt idx="2624">
                  <c:v>42305</c:v>
                </c:pt>
                <c:pt idx="2625">
                  <c:v>42306</c:v>
                </c:pt>
                <c:pt idx="2626">
                  <c:v>42307</c:v>
                </c:pt>
                <c:pt idx="2627">
                  <c:v>42310</c:v>
                </c:pt>
                <c:pt idx="2628">
                  <c:v>42311</c:v>
                </c:pt>
                <c:pt idx="2629">
                  <c:v>42312</c:v>
                </c:pt>
                <c:pt idx="2630">
                  <c:v>42313</c:v>
                </c:pt>
                <c:pt idx="2631">
                  <c:v>42314</c:v>
                </c:pt>
                <c:pt idx="2632">
                  <c:v>42317</c:v>
                </c:pt>
                <c:pt idx="2633">
                  <c:v>42318</c:v>
                </c:pt>
                <c:pt idx="2634">
                  <c:v>42319</c:v>
                </c:pt>
                <c:pt idx="2635">
                  <c:v>42320</c:v>
                </c:pt>
                <c:pt idx="2636">
                  <c:v>42321</c:v>
                </c:pt>
                <c:pt idx="2637">
                  <c:v>42324</c:v>
                </c:pt>
                <c:pt idx="2638">
                  <c:v>42325</c:v>
                </c:pt>
                <c:pt idx="2639">
                  <c:v>42326</c:v>
                </c:pt>
                <c:pt idx="2640">
                  <c:v>42327</c:v>
                </c:pt>
                <c:pt idx="2641">
                  <c:v>42328</c:v>
                </c:pt>
                <c:pt idx="2642">
                  <c:v>42331</c:v>
                </c:pt>
                <c:pt idx="2643">
                  <c:v>42332</c:v>
                </c:pt>
                <c:pt idx="2644">
                  <c:v>42333</c:v>
                </c:pt>
                <c:pt idx="2645">
                  <c:v>42334</c:v>
                </c:pt>
                <c:pt idx="2646">
                  <c:v>42335</c:v>
                </c:pt>
                <c:pt idx="2647">
                  <c:v>42338</c:v>
                </c:pt>
                <c:pt idx="2648">
                  <c:v>42339</c:v>
                </c:pt>
                <c:pt idx="2649">
                  <c:v>42340</c:v>
                </c:pt>
                <c:pt idx="2650">
                  <c:v>42341</c:v>
                </c:pt>
                <c:pt idx="2651">
                  <c:v>42342</c:v>
                </c:pt>
                <c:pt idx="2652">
                  <c:v>42345</c:v>
                </c:pt>
                <c:pt idx="2653">
                  <c:v>42346</c:v>
                </c:pt>
                <c:pt idx="2654">
                  <c:v>42347</c:v>
                </c:pt>
                <c:pt idx="2655">
                  <c:v>42348</c:v>
                </c:pt>
                <c:pt idx="2656">
                  <c:v>42349</c:v>
                </c:pt>
                <c:pt idx="2657">
                  <c:v>42352</c:v>
                </c:pt>
                <c:pt idx="2658">
                  <c:v>42353</c:v>
                </c:pt>
                <c:pt idx="2659">
                  <c:v>42354</c:v>
                </c:pt>
                <c:pt idx="2660">
                  <c:v>42355</c:v>
                </c:pt>
                <c:pt idx="2661">
                  <c:v>42356</c:v>
                </c:pt>
                <c:pt idx="2662">
                  <c:v>42359</c:v>
                </c:pt>
                <c:pt idx="2663">
                  <c:v>42360</c:v>
                </c:pt>
                <c:pt idx="2664">
                  <c:v>42361</c:v>
                </c:pt>
                <c:pt idx="2665">
                  <c:v>42362</c:v>
                </c:pt>
                <c:pt idx="2666">
                  <c:v>42363</c:v>
                </c:pt>
                <c:pt idx="2667">
                  <c:v>42366</c:v>
                </c:pt>
                <c:pt idx="2668">
                  <c:v>42367</c:v>
                </c:pt>
                <c:pt idx="2669">
                  <c:v>42368</c:v>
                </c:pt>
                <c:pt idx="2670">
                  <c:v>42369</c:v>
                </c:pt>
                <c:pt idx="2671">
                  <c:v>42373</c:v>
                </c:pt>
                <c:pt idx="2672">
                  <c:v>42374</c:v>
                </c:pt>
                <c:pt idx="2673">
                  <c:v>42375</c:v>
                </c:pt>
                <c:pt idx="2674">
                  <c:v>42376</c:v>
                </c:pt>
                <c:pt idx="2675">
                  <c:v>42377</c:v>
                </c:pt>
                <c:pt idx="2676">
                  <c:v>42380</c:v>
                </c:pt>
                <c:pt idx="2677">
                  <c:v>42381</c:v>
                </c:pt>
                <c:pt idx="2678">
                  <c:v>42382</c:v>
                </c:pt>
                <c:pt idx="2679">
                  <c:v>42383</c:v>
                </c:pt>
                <c:pt idx="2680">
                  <c:v>42384</c:v>
                </c:pt>
                <c:pt idx="2681">
                  <c:v>42387</c:v>
                </c:pt>
                <c:pt idx="2682">
                  <c:v>42388</c:v>
                </c:pt>
                <c:pt idx="2683">
                  <c:v>42389</c:v>
                </c:pt>
                <c:pt idx="2684">
                  <c:v>42390</c:v>
                </c:pt>
                <c:pt idx="2685">
                  <c:v>42391</c:v>
                </c:pt>
                <c:pt idx="2686">
                  <c:v>42394</c:v>
                </c:pt>
                <c:pt idx="2687">
                  <c:v>42395</c:v>
                </c:pt>
                <c:pt idx="2688">
                  <c:v>42396</c:v>
                </c:pt>
                <c:pt idx="2689">
                  <c:v>42397</c:v>
                </c:pt>
                <c:pt idx="2690">
                  <c:v>42398</c:v>
                </c:pt>
                <c:pt idx="2691">
                  <c:v>42401</c:v>
                </c:pt>
                <c:pt idx="2692">
                  <c:v>42402</c:v>
                </c:pt>
                <c:pt idx="2693">
                  <c:v>42403</c:v>
                </c:pt>
                <c:pt idx="2694">
                  <c:v>42404</c:v>
                </c:pt>
                <c:pt idx="2695">
                  <c:v>42405</c:v>
                </c:pt>
                <c:pt idx="2696">
                  <c:v>42415</c:v>
                </c:pt>
                <c:pt idx="2697">
                  <c:v>42416</c:v>
                </c:pt>
                <c:pt idx="2698">
                  <c:v>42417</c:v>
                </c:pt>
                <c:pt idx="2699">
                  <c:v>42418</c:v>
                </c:pt>
                <c:pt idx="2700">
                  <c:v>42419</c:v>
                </c:pt>
                <c:pt idx="2701">
                  <c:v>42422</c:v>
                </c:pt>
                <c:pt idx="2702">
                  <c:v>42423</c:v>
                </c:pt>
                <c:pt idx="2703">
                  <c:v>42424</c:v>
                </c:pt>
                <c:pt idx="2704">
                  <c:v>42425</c:v>
                </c:pt>
                <c:pt idx="2705">
                  <c:v>42426</c:v>
                </c:pt>
                <c:pt idx="2706">
                  <c:v>42429</c:v>
                </c:pt>
                <c:pt idx="2707">
                  <c:v>42430</c:v>
                </c:pt>
                <c:pt idx="2708">
                  <c:v>42431</c:v>
                </c:pt>
                <c:pt idx="2709">
                  <c:v>42432</c:v>
                </c:pt>
                <c:pt idx="2710">
                  <c:v>42433</c:v>
                </c:pt>
                <c:pt idx="2711">
                  <c:v>42436</c:v>
                </c:pt>
                <c:pt idx="2712">
                  <c:v>42437</c:v>
                </c:pt>
                <c:pt idx="2713">
                  <c:v>42438</c:v>
                </c:pt>
                <c:pt idx="2714">
                  <c:v>42439</c:v>
                </c:pt>
                <c:pt idx="2715">
                  <c:v>42440</c:v>
                </c:pt>
                <c:pt idx="2716">
                  <c:v>42443</c:v>
                </c:pt>
                <c:pt idx="2717">
                  <c:v>42444</c:v>
                </c:pt>
                <c:pt idx="2718">
                  <c:v>42445</c:v>
                </c:pt>
                <c:pt idx="2719">
                  <c:v>42446</c:v>
                </c:pt>
                <c:pt idx="2720">
                  <c:v>42447</c:v>
                </c:pt>
                <c:pt idx="2721">
                  <c:v>42450</c:v>
                </c:pt>
                <c:pt idx="2722">
                  <c:v>42451</c:v>
                </c:pt>
                <c:pt idx="2723">
                  <c:v>42452</c:v>
                </c:pt>
                <c:pt idx="2724">
                  <c:v>42453</c:v>
                </c:pt>
                <c:pt idx="2725">
                  <c:v>42454</c:v>
                </c:pt>
                <c:pt idx="2726">
                  <c:v>42457</c:v>
                </c:pt>
                <c:pt idx="2727">
                  <c:v>42458</c:v>
                </c:pt>
                <c:pt idx="2728">
                  <c:v>42459</c:v>
                </c:pt>
                <c:pt idx="2729">
                  <c:v>42460</c:v>
                </c:pt>
                <c:pt idx="2730">
                  <c:v>42461</c:v>
                </c:pt>
                <c:pt idx="2731">
                  <c:v>42465</c:v>
                </c:pt>
                <c:pt idx="2732">
                  <c:v>42466</c:v>
                </c:pt>
                <c:pt idx="2733">
                  <c:v>42467</c:v>
                </c:pt>
                <c:pt idx="2734">
                  <c:v>42468</c:v>
                </c:pt>
                <c:pt idx="2735">
                  <c:v>42471</c:v>
                </c:pt>
                <c:pt idx="2736">
                  <c:v>42472</c:v>
                </c:pt>
                <c:pt idx="2737">
                  <c:v>42473</c:v>
                </c:pt>
                <c:pt idx="2738">
                  <c:v>42474</c:v>
                </c:pt>
                <c:pt idx="2739">
                  <c:v>42475</c:v>
                </c:pt>
                <c:pt idx="2740">
                  <c:v>42478</c:v>
                </c:pt>
                <c:pt idx="2741">
                  <c:v>42479</c:v>
                </c:pt>
                <c:pt idx="2742">
                  <c:v>42480</c:v>
                </c:pt>
                <c:pt idx="2743">
                  <c:v>42481</c:v>
                </c:pt>
                <c:pt idx="2744">
                  <c:v>42482</c:v>
                </c:pt>
                <c:pt idx="2745">
                  <c:v>42485</c:v>
                </c:pt>
                <c:pt idx="2746">
                  <c:v>42486</c:v>
                </c:pt>
                <c:pt idx="2747">
                  <c:v>42487</c:v>
                </c:pt>
                <c:pt idx="2748">
                  <c:v>42488</c:v>
                </c:pt>
                <c:pt idx="2749">
                  <c:v>42489</c:v>
                </c:pt>
                <c:pt idx="2750">
                  <c:v>42493</c:v>
                </c:pt>
                <c:pt idx="2751">
                  <c:v>42494</c:v>
                </c:pt>
                <c:pt idx="2752">
                  <c:v>42495</c:v>
                </c:pt>
                <c:pt idx="2753">
                  <c:v>42496</c:v>
                </c:pt>
                <c:pt idx="2754">
                  <c:v>42499</c:v>
                </c:pt>
                <c:pt idx="2755">
                  <c:v>42500</c:v>
                </c:pt>
                <c:pt idx="2756">
                  <c:v>42501</c:v>
                </c:pt>
                <c:pt idx="2757">
                  <c:v>42502</c:v>
                </c:pt>
                <c:pt idx="2758">
                  <c:v>42503</c:v>
                </c:pt>
                <c:pt idx="2759">
                  <c:v>42506</c:v>
                </c:pt>
                <c:pt idx="2760">
                  <c:v>42507</c:v>
                </c:pt>
                <c:pt idx="2761">
                  <c:v>42508</c:v>
                </c:pt>
                <c:pt idx="2762">
                  <c:v>42509</c:v>
                </c:pt>
                <c:pt idx="2763">
                  <c:v>42510</c:v>
                </c:pt>
                <c:pt idx="2764">
                  <c:v>42513</c:v>
                </c:pt>
                <c:pt idx="2765">
                  <c:v>42514</c:v>
                </c:pt>
                <c:pt idx="2766">
                  <c:v>42515</c:v>
                </c:pt>
                <c:pt idx="2767">
                  <c:v>42516</c:v>
                </c:pt>
                <c:pt idx="2768">
                  <c:v>42517</c:v>
                </c:pt>
                <c:pt idx="2769">
                  <c:v>42520</c:v>
                </c:pt>
                <c:pt idx="2770">
                  <c:v>42521</c:v>
                </c:pt>
                <c:pt idx="2771">
                  <c:v>42522</c:v>
                </c:pt>
                <c:pt idx="2772">
                  <c:v>42523</c:v>
                </c:pt>
                <c:pt idx="2773">
                  <c:v>42524</c:v>
                </c:pt>
                <c:pt idx="2774">
                  <c:v>42527</c:v>
                </c:pt>
                <c:pt idx="2775">
                  <c:v>42528</c:v>
                </c:pt>
                <c:pt idx="2776">
                  <c:v>42529</c:v>
                </c:pt>
                <c:pt idx="2777">
                  <c:v>42534</c:v>
                </c:pt>
                <c:pt idx="2778">
                  <c:v>42535</c:v>
                </c:pt>
                <c:pt idx="2779">
                  <c:v>42536</c:v>
                </c:pt>
                <c:pt idx="2780">
                  <c:v>42537</c:v>
                </c:pt>
                <c:pt idx="2781">
                  <c:v>42538</c:v>
                </c:pt>
                <c:pt idx="2782">
                  <c:v>42541</c:v>
                </c:pt>
                <c:pt idx="2783">
                  <c:v>42542</c:v>
                </c:pt>
                <c:pt idx="2784">
                  <c:v>42543</c:v>
                </c:pt>
                <c:pt idx="2785">
                  <c:v>42544</c:v>
                </c:pt>
                <c:pt idx="2786">
                  <c:v>42545</c:v>
                </c:pt>
                <c:pt idx="2787">
                  <c:v>42548</c:v>
                </c:pt>
                <c:pt idx="2788">
                  <c:v>42549</c:v>
                </c:pt>
                <c:pt idx="2789">
                  <c:v>42550</c:v>
                </c:pt>
                <c:pt idx="2790">
                  <c:v>42551</c:v>
                </c:pt>
                <c:pt idx="2791">
                  <c:v>42552</c:v>
                </c:pt>
                <c:pt idx="2792">
                  <c:v>42555</c:v>
                </c:pt>
                <c:pt idx="2793">
                  <c:v>42556</c:v>
                </c:pt>
                <c:pt idx="2794">
                  <c:v>42557</c:v>
                </c:pt>
                <c:pt idx="2795">
                  <c:v>42558</c:v>
                </c:pt>
                <c:pt idx="2796">
                  <c:v>42559</c:v>
                </c:pt>
                <c:pt idx="2797">
                  <c:v>42562</c:v>
                </c:pt>
                <c:pt idx="2798">
                  <c:v>42563</c:v>
                </c:pt>
                <c:pt idx="2799">
                  <c:v>42564</c:v>
                </c:pt>
                <c:pt idx="2800">
                  <c:v>42565</c:v>
                </c:pt>
                <c:pt idx="2801">
                  <c:v>42566</c:v>
                </c:pt>
                <c:pt idx="2802">
                  <c:v>42569</c:v>
                </c:pt>
                <c:pt idx="2803">
                  <c:v>42570</c:v>
                </c:pt>
                <c:pt idx="2804">
                  <c:v>42571</c:v>
                </c:pt>
                <c:pt idx="2805">
                  <c:v>42572</c:v>
                </c:pt>
                <c:pt idx="2806">
                  <c:v>42573</c:v>
                </c:pt>
                <c:pt idx="2807">
                  <c:v>42576</c:v>
                </c:pt>
                <c:pt idx="2808">
                  <c:v>42577</c:v>
                </c:pt>
                <c:pt idx="2809">
                  <c:v>42578</c:v>
                </c:pt>
                <c:pt idx="2810">
                  <c:v>42579</c:v>
                </c:pt>
                <c:pt idx="2811">
                  <c:v>42580</c:v>
                </c:pt>
                <c:pt idx="2812">
                  <c:v>42583</c:v>
                </c:pt>
                <c:pt idx="2813">
                  <c:v>42584</c:v>
                </c:pt>
                <c:pt idx="2814">
                  <c:v>42585</c:v>
                </c:pt>
                <c:pt idx="2815">
                  <c:v>42586</c:v>
                </c:pt>
                <c:pt idx="2816">
                  <c:v>42587</c:v>
                </c:pt>
                <c:pt idx="2817">
                  <c:v>42590</c:v>
                </c:pt>
                <c:pt idx="2818">
                  <c:v>42591</c:v>
                </c:pt>
                <c:pt idx="2819">
                  <c:v>42592</c:v>
                </c:pt>
                <c:pt idx="2820">
                  <c:v>42593</c:v>
                </c:pt>
                <c:pt idx="2821">
                  <c:v>42594</c:v>
                </c:pt>
                <c:pt idx="2822">
                  <c:v>42597</c:v>
                </c:pt>
                <c:pt idx="2823">
                  <c:v>42598</c:v>
                </c:pt>
                <c:pt idx="2824">
                  <c:v>42599</c:v>
                </c:pt>
                <c:pt idx="2825">
                  <c:v>42600</c:v>
                </c:pt>
                <c:pt idx="2826">
                  <c:v>42601</c:v>
                </c:pt>
                <c:pt idx="2827">
                  <c:v>42604</c:v>
                </c:pt>
                <c:pt idx="2828">
                  <c:v>42605</c:v>
                </c:pt>
                <c:pt idx="2829">
                  <c:v>42606</c:v>
                </c:pt>
                <c:pt idx="2830">
                  <c:v>42607</c:v>
                </c:pt>
                <c:pt idx="2831">
                  <c:v>42608</c:v>
                </c:pt>
                <c:pt idx="2832">
                  <c:v>42611</c:v>
                </c:pt>
                <c:pt idx="2833">
                  <c:v>42612</c:v>
                </c:pt>
                <c:pt idx="2834">
                  <c:v>42613</c:v>
                </c:pt>
                <c:pt idx="2835">
                  <c:v>42614</c:v>
                </c:pt>
                <c:pt idx="2836">
                  <c:v>42615</c:v>
                </c:pt>
                <c:pt idx="2837">
                  <c:v>42618</c:v>
                </c:pt>
                <c:pt idx="2838">
                  <c:v>42619</c:v>
                </c:pt>
                <c:pt idx="2839">
                  <c:v>42620</c:v>
                </c:pt>
                <c:pt idx="2840">
                  <c:v>42621</c:v>
                </c:pt>
                <c:pt idx="2841">
                  <c:v>42622</c:v>
                </c:pt>
                <c:pt idx="2842">
                  <c:v>42625</c:v>
                </c:pt>
                <c:pt idx="2843">
                  <c:v>42626</c:v>
                </c:pt>
                <c:pt idx="2844">
                  <c:v>42627</c:v>
                </c:pt>
                <c:pt idx="2845">
                  <c:v>42632</c:v>
                </c:pt>
                <c:pt idx="2846">
                  <c:v>42633</c:v>
                </c:pt>
                <c:pt idx="2847">
                  <c:v>42634</c:v>
                </c:pt>
                <c:pt idx="2848">
                  <c:v>42635</c:v>
                </c:pt>
                <c:pt idx="2849">
                  <c:v>42636</c:v>
                </c:pt>
                <c:pt idx="2850">
                  <c:v>42639</c:v>
                </c:pt>
                <c:pt idx="2851">
                  <c:v>42640</c:v>
                </c:pt>
                <c:pt idx="2852">
                  <c:v>42641</c:v>
                </c:pt>
                <c:pt idx="2853">
                  <c:v>42642</c:v>
                </c:pt>
                <c:pt idx="2854">
                  <c:v>42643</c:v>
                </c:pt>
                <c:pt idx="2855">
                  <c:v>42653</c:v>
                </c:pt>
                <c:pt idx="2856">
                  <c:v>42654</c:v>
                </c:pt>
                <c:pt idx="2857">
                  <c:v>42655</c:v>
                </c:pt>
                <c:pt idx="2858">
                  <c:v>42656</c:v>
                </c:pt>
                <c:pt idx="2859">
                  <c:v>42657</c:v>
                </c:pt>
                <c:pt idx="2860">
                  <c:v>42660</c:v>
                </c:pt>
                <c:pt idx="2861">
                  <c:v>42661</c:v>
                </c:pt>
                <c:pt idx="2862">
                  <c:v>42662</c:v>
                </c:pt>
                <c:pt idx="2863">
                  <c:v>42663</c:v>
                </c:pt>
                <c:pt idx="2864">
                  <c:v>42664</c:v>
                </c:pt>
                <c:pt idx="2865">
                  <c:v>42667</c:v>
                </c:pt>
                <c:pt idx="2866">
                  <c:v>42668</c:v>
                </c:pt>
                <c:pt idx="2867">
                  <c:v>42669</c:v>
                </c:pt>
                <c:pt idx="2868">
                  <c:v>42670</c:v>
                </c:pt>
                <c:pt idx="2869">
                  <c:v>42671</c:v>
                </c:pt>
                <c:pt idx="2870">
                  <c:v>42674</c:v>
                </c:pt>
                <c:pt idx="2871">
                  <c:v>42675</c:v>
                </c:pt>
                <c:pt idx="2872">
                  <c:v>42676</c:v>
                </c:pt>
                <c:pt idx="2873">
                  <c:v>42677</c:v>
                </c:pt>
                <c:pt idx="2874">
                  <c:v>42678</c:v>
                </c:pt>
                <c:pt idx="2875">
                  <c:v>42681</c:v>
                </c:pt>
                <c:pt idx="2876">
                  <c:v>42682</c:v>
                </c:pt>
                <c:pt idx="2877">
                  <c:v>42683</c:v>
                </c:pt>
                <c:pt idx="2878">
                  <c:v>42684</c:v>
                </c:pt>
                <c:pt idx="2879">
                  <c:v>42685</c:v>
                </c:pt>
                <c:pt idx="2880">
                  <c:v>42688</c:v>
                </c:pt>
                <c:pt idx="2881">
                  <c:v>42689</c:v>
                </c:pt>
                <c:pt idx="2882">
                  <c:v>42690</c:v>
                </c:pt>
                <c:pt idx="2883">
                  <c:v>42691</c:v>
                </c:pt>
                <c:pt idx="2884">
                  <c:v>42692</c:v>
                </c:pt>
                <c:pt idx="2885">
                  <c:v>42695</c:v>
                </c:pt>
                <c:pt idx="2886">
                  <c:v>42696</c:v>
                </c:pt>
                <c:pt idx="2887">
                  <c:v>42697</c:v>
                </c:pt>
                <c:pt idx="2888">
                  <c:v>42698</c:v>
                </c:pt>
                <c:pt idx="2889">
                  <c:v>42699</c:v>
                </c:pt>
                <c:pt idx="2890">
                  <c:v>42702</c:v>
                </c:pt>
                <c:pt idx="2891">
                  <c:v>42703</c:v>
                </c:pt>
                <c:pt idx="2892">
                  <c:v>42704</c:v>
                </c:pt>
                <c:pt idx="2893">
                  <c:v>42705</c:v>
                </c:pt>
                <c:pt idx="2894">
                  <c:v>42706</c:v>
                </c:pt>
                <c:pt idx="2895">
                  <c:v>42709</c:v>
                </c:pt>
                <c:pt idx="2896">
                  <c:v>42710</c:v>
                </c:pt>
                <c:pt idx="2897">
                  <c:v>42711</c:v>
                </c:pt>
                <c:pt idx="2898">
                  <c:v>42712</c:v>
                </c:pt>
                <c:pt idx="2899">
                  <c:v>42713</c:v>
                </c:pt>
                <c:pt idx="2900">
                  <c:v>42716</c:v>
                </c:pt>
                <c:pt idx="2901">
                  <c:v>42717</c:v>
                </c:pt>
                <c:pt idx="2902">
                  <c:v>42718</c:v>
                </c:pt>
                <c:pt idx="2903">
                  <c:v>42719</c:v>
                </c:pt>
                <c:pt idx="2904">
                  <c:v>42720</c:v>
                </c:pt>
                <c:pt idx="2905">
                  <c:v>42723</c:v>
                </c:pt>
                <c:pt idx="2906">
                  <c:v>42724</c:v>
                </c:pt>
                <c:pt idx="2907">
                  <c:v>42725</c:v>
                </c:pt>
                <c:pt idx="2908">
                  <c:v>42726</c:v>
                </c:pt>
                <c:pt idx="2909">
                  <c:v>42727</c:v>
                </c:pt>
                <c:pt idx="2910">
                  <c:v>42730</c:v>
                </c:pt>
                <c:pt idx="2911">
                  <c:v>42731</c:v>
                </c:pt>
                <c:pt idx="2912">
                  <c:v>42732</c:v>
                </c:pt>
                <c:pt idx="2913">
                  <c:v>42733</c:v>
                </c:pt>
                <c:pt idx="2914">
                  <c:v>42734</c:v>
                </c:pt>
                <c:pt idx="2915">
                  <c:v>42738</c:v>
                </c:pt>
                <c:pt idx="2916">
                  <c:v>42739</c:v>
                </c:pt>
                <c:pt idx="2917">
                  <c:v>42740</c:v>
                </c:pt>
                <c:pt idx="2918">
                  <c:v>42741</c:v>
                </c:pt>
                <c:pt idx="2919">
                  <c:v>42744</c:v>
                </c:pt>
                <c:pt idx="2920">
                  <c:v>42745</c:v>
                </c:pt>
                <c:pt idx="2921">
                  <c:v>42746</c:v>
                </c:pt>
                <c:pt idx="2922">
                  <c:v>42747</c:v>
                </c:pt>
                <c:pt idx="2923">
                  <c:v>42748</c:v>
                </c:pt>
                <c:pt idx="2924">
                  <c:v>42751</c:v>
                </c:pt>
                <c:pt idx="2925">
                  <c:v>42752</c:v>
                </c:pt>
                <c:pt idx="2926">
                  <c:v>42753</c:v>
                </c:pt>
                <c:pt idx="2927">
                  <c:v>42754</c:v>
                </c:pt>
                <c:pt idx="2928">
                  <c:v>42755</c:v>
                </c:pt>
                <c:pt idx="2929">
                  <c:v>42758</c:v>
                </c:pt>
                <c:pt idx="2930">
                  <c:v>42759</c:v>
                </c:pt>
                <c:pt idx="2931">
                  <c:v>42760</c:v>
                </c:pt>
                <c:pt idx="2932">
                  <c:v>42761</c:v>
                </c:pt>
                <c:pt idx="2933">
                  <c:v>42769</c:v>
                </c:pt>
                <c:pt idx="2934">
                  <c:v>42772</c:v>
                </c:pt>
                <c:pt idx="2935">
                  <c:v>42773</c:v>
                </c:pt>
                <c:pt idx="2936">
                  <c:v>42774</c:v>
                </c:pt>
                <c:pt idx="2937">
                  <c:v>42775</c:v>
                </c:pt>
                <c:pt idx="2938">
                  <c:v>42776</c:v>
                </c:pt>
                <c:pt idx="2939">
                  <c:v>42779</c:v>
                </c:pt>
                <c:pt idx="2940">
                  <c:v>42780</c:v>
                </c:pt>
                <c:pt idx="2941">
                  <c:v>42781</c:v>
                </c:pt>
                <c:pt idx="2942">
                  <c:v>42782</c:v>
                </c:pt>
                <c:pt idx="2943">
                  <c:v>42783</c:v>
                </c:pt>
                <c:pt idx="2944">
                  <c:v>42786</c:v>
                </c:pt>
                <c:pt idx="2945">
                  <c:v>42787</c:v>
                </c:pt>
                <c:pt idx="2946">
                  <c:v>42788</c:v>
                </c:pt>
                <c:pt idx="2947">
                  <c:v>42789</c:v>
                </c:pt>
                <c:pt idx="2948">
                  <c:v>42790</c:v>
                </c:pt>
                <c:pt idx="2949">
                  <c:v>42793</c:v>
                </c:pt>
                <c:pt idx="2950">
                  <c:v>42794</c:v>
                </c:pt>
                <c:pt idx="2951">
                  <c:v>42795</c:v>
                </c:pt>
                <c:pt idx="2952">
                  <c:v>42796</c:v>
                </c:pt>
                <c:pt idx="2953">
                  <c:v>42797</c:v>
                </c:pt>
                <c:pt idx="2954">
                  <c:v>42800</c:v>
                </c:pt>
                <c:pt idx="2955">
                  <c:v>42801</c:v>
                </c:pt>
                <c:pt idx="2956">
                  <c:v>42802</c:v>
                </c:pt>
                <c:pt idx="2957">
                  <c:v>42803</c:v>
                </c:pt>
                <c:pt idx="2958">
                  <c:v>42804</c:v>
                </c:pt>
                <c:pt idx="2959">
                  <c:v>42807</c:v>
                </c:pt>
                <c:pt idx="2960">
                  <c:v>42808</c:v>
                </c:pt>
                <c:pt idx="2961">
                  <c:v>42809</c:v>
                </c:pt>
                <c:pt idx="2962">
                  <c:v>42810</c:v>
                </c:pt>
                <c:pt idx="2963">
                  <c:v>42811</c:v>
                </c:pt>
                <c:pt idx="2964">
                  <c:v>42814</c:v>
                </c:pt>
                <c:pt idx="2965">
                  <c:v>42815</c:v>
                </c:pt>
                <c:pt idx="2966">
                  <c:v>42816</c:v>
                </c:pt>
                <c:pt idx="2967">
                  <c:v>42817</c:v>
                </c:pt>
                <c:pt idx="2968">
                  <c:v>42818</c:v>
                </c:pt>
                <c:pt idx="2969">
                  <c:v>42821</c:v>
                </c:pt>
                <c:pt idx="2970">
                  <c:v>42822</c:v>
                </c:pt>
                <c:pt idx="2971">
                  <c:v>42823</c:v>
                </c:pt>
                <c:pt idx="2972">
                  <c:v>42824</c:v>
                </c:pt>
                <c:pt idx="2973">
                  <c:v>42825</c:v>
                </c:pt>
                <c:pt idx="2974">
                  <c:v>42830</c:v>
                </c:pt>
                <c:pt idx="2975">
                  <c:v>42831</c:v>
                </c:pt>
                <c:pt idx="2976">
                  <c:v>42832</c:v>
                </c:pt>
                <c:pt idx="2977">
                  <c:v>42835</c:v>
                </c:pt>
                <c:pt idx="2978">
                  <c:v>42836</c:v>
                </c:pt>
                <c:pt idx="2979">
                  <c:v>42837</c:v>
                </c:pt>
                <c:pt idx="2980">
                  <c:v>42838</c:v>
                </c:pt>
                <c:pt idx="2981">
                  <c:v>42839</c:v>
                </c:pt>
                <c:pt idx="2982">
                  <c:v>42842</c:v>
                </c:pt>
                <c:pt idx="2983">
                  <c:v>42843</c:v>
                </c:pt>
                <c:pt idx="2984">
                  <c:v>42844</c:v>
                </c:pt>
                <c:pt idx="2985">
                  <c:v>42845</c:v>
                </c:pt>
                <c:pt idx="2986">
                  <c:v>42846</c:v>
                </c:pt>
                <c:pt idx="2987">
                  <c:v>42849</c:v>
                </c:pt>
                <c:pt idx="2988">
                  <c:v>42850</c:v>
                </c:pt>
                <c:pt idx="2989">
                  <c:v>42851</c:v>
                </c:pt>
                <c:pt idx="2990">
                  <c:v>42852</c:v>
                </c:pt>
                <c:pt idx="2991">
                  <c:v>42853</c:v>
                </c:pt>
                <c:pt idx="2992">
                  <c:v>42857</c:v>
                </c:pt>
                <c:pt idx="2993">
                  <c:v>42858</c:v>
                </c:pt>
                <c:pt idx="2994">
                  <c:v>42859</c:v>
                </c:pt>
                <c:pt idx="2995">
                  <c:v>42860</c:v>
                </c:pt>
                <c:pt idx="2996">
                  <c:v>42863</c:v>
                </c:pt>
                <c:pt idx="2997">
                  <c:v>42864</c:v>
                </c:pt>
                <c:pt idx="2998">
                  <c:v>42865</c:v>
                </c:pt>
                <c:pt idx="2999">
                  <c:v>42866</c:v>
                </c:pt>
                <c:pt idx="3000">
                  <c:v>42867</c:v>
                </c:pt>
                <c:pt idx="3001">
                  <c:v>42870</c:v>
                </c:pt>
                <c:pt idx="3002">
                  <c:v>42871</c:v>
                </c:pt>
                <c:pt idx="3003">
                  <c:v>42872</c:v>
                </c:pt>
                <c:pt idx="3004">
                  <c:v>42873</c:v>
                </c:pt>
                <c:pt idx="3005">
                  <c:v>42874</c:v>
                </c:pt>
                <c:pt idx="3006">
                  <c:v>42877</c:v>
                </c:pt>
                <c:pt idx="3007">
                  <c:v>42878</c:v>
                </c:pt>
                <c:pt idx="3008">
                  <c:v>42879</c:v>
                </c:pt>
                <c:pt idx="3009">
                  <c:v>42880</c:v>
                </c:pt>
                <c:pt idx="3010">
                  <c:v>42881</c:v>
                </c:pt>
                <c:pt idx="3011">
                  <c:v>42886</c:v>
                </c:pt>
                <c:pt idx="3012">
                  <c:v>42887</c:v>
                </c:pt>
                <c:pt idx="3013">
                  <c:v>42888</c:v>
                </c:pt>
                <c:pt idx="3014">
                  <c:v>42891</c:v>
                </c:pt>
                <c:pt idx="3015">
                  <c:v>42892</c:v>
                </c:pt>
                <c:pt idx="3016">
                  <c:v>42893</c:v>
                </c:pt>
                <c:pt idx="3017">
                  <c:v>42894</c:v>
                </c:pt>
                <c:pt idx="3018">
                  <c:v>42895</c:v>
                </c:pt>
                <c:pt idx="3019">
                  <c:v>42898</c:v>
                </c:pt>
                <c:pt idx="3020">
                  <c:v>42899</c:v>
                </c:pt>
                <c:pt idx="3021">
                  <c:v>42900</c:v>
                </c:pt>
                <c:pt idx="3022">
                  <c:v>42901</c:v>
                </c:pt>
                <c:pt idx="3023">
                  <c:v>42902</c:v>
                </c:pt>
                <c:pt idx="3024">
                  <c:v>42905</c:v>
                </c:pt>
                <c:pt idx="3025">
                  <c:v>42906</c:v>
                </c:pt>
                <c:pt idx="3026">
                  <c:v>42907</c:v>
                </c:pt>
                <c:pt idx="3027">
                  <c:v>42908</c:v>
                </c:pt>
                <c:pt idx="3028">
                  <c:v>42909</c:v>
                </c:pt>
                <c:pt idx="3029">
                  <c:v>42912</c:v>
                </c:pt>
                <c:pt idx="3030">
                  <c:v>42913</c:v>
                </c:pt>
                <c:pt idx="3031">
                  <c:v>42914</c:v>
                </c:pt>
                <c:pt idx="3032">
                  <c:v>42915</c:v>
                </c:pt>
                <c:pt idx="3033">
                  <c:v>42916</c:v>
                </c:pt>
                <c:pt idx="3034">
                  <c:v>42919</c:v>
                </c:pt>
                <c:pt idx="3035">
                  <c:v>42920</c:v>
                </c:pt>
                <c:pt idx="3036">
                  <c:v>42921</c:v>
                </c:pt>
                <c:pt idx="3037">
                  <c:v>42922</c:v>
                </c:pt>
                <c:pt idx="3038">
                  <c:v>42923</c:v>
                </c:pt>
                <c:pt idx="3039">
                  <c:v>42926</c:v>
                </c:pt>
                <c:pt idx="3040">
                  <c:v>42927</c:v>
                </c:pt>
                <c:pt idx="3041">
                  <c:v>42928</c:v>
                </c:pt>
                <c:pt idx="3042">
                  <c:v>42929</c:v>
                </c:pt>
                <c:pt idx="3043">
                  <c:v>42930</c:v>
                </c:pt>
                <c:pt idx="3044">
                  <c:v>42933</c:v>
                </c:pt>
                <c:pt idx="3045">
                  <c:v>42934</c:v>
                </c:pt>
                <c:pt idx="3046">
                  <c:v>42935</c:v>
                </c:pt>
                <c:pt idx="3047">
                  <c:v>42936</c:v>
                </c:pt>
                <c:pt idx="3048">
                  <c:v>42937</c:v>
                </c:pt>
                <c:pt idx="3049">
                  <c:v>42940</c:v>
                </c:pt>
                <c:pt idx="3050">
                  <c:v>42941</c:v>
                </c:pt>
                <c:pt idx="3051">
                  <c:v>42942</c:v>
                </c:pt>
                <c:pt idx="3052">
                  <c:v>42943</c:v>
                </c:pt>
                <c:pt idx="3053">
                  <c:v>42944</c:v>
                </c:pt>
                <c:pt idx="3054">
                  <c:v>42947</c:v>
                </c:pt>
                <c:pt idx="3055">
                  <c:v>42948</c:v>
                </c:pt>
                <c:pt idx="3056">
                  <c:v>42949</c:v>
                </c:pt>
                <c:pt idx="3057">
                  <c:v>42950</c:v>
                </c:pt>
                <c:pt idx="3058">
                  <c:v>42951</c:v>
                </c:pt>
                <c:pt idx="3059">
                  <c:v>42954</c:v>
                </c:pt>
                <c:pt idx="3060">
                  <c:v>42955</c:v>
                </c:pt>
                <c:pt idx="3061">
                  <c:v>42956</c:v>
                </c:pt>
                <c:pt idx="3062">
                  <c:v>42957</c:v>
                </c:pt>
                <c:pt idx="3063">
                  <c:v>42958</c:v>
                </c:pt>
                <c:pt idx="3064">
                  <c:v>42961</c:v>
                </c:pt>
                <c:pt idx="3065">
                  <c:v>42962</c:v>
                </c:pt>
                <c:pt idx="3066">
                  <c:v>42963</c:v>
                </c:pt>
                <c:pt idx="3067">
                  <c:v>42964</c:v>
                </c:pt>
                <c:pt idx="3068">
                  <c:v>42965</c:v>
                </c:pt>
                <c:pt idx="3069">
                  <c:v>42968</c:v>
                </c:pt>
                <c:pt idx="3070">
                  <c:v>42969</c:v>
                </c:pt>
                <c:pt idx="3071">
                  <c:v>42970</c:v>
                </c:pt>
                <c:pt idx="3072">
                  <c:v>42971</c:v>
                </c:pt>
                <c:pt idx="3073">
                  <c:v>42972</c:v>
                </c:pt>
                <c:pt idx="3074">
                  <c:v>42975</c:v>
                </c:pt>
                <c:pt idx="3075">
                  <c:v>42976</c:v>
                </c:pt>
                <c:pt idx="3076">
                  <c:v>42977</c:v>
                </c:pt>
                <c:pt idx="3077">
                  <c:v>42978</c:v>
                </c:pt>
                <c:pt idx="3078">
                  <c:v>42979</c:v>
                </c:pt>
                <c:pt idx="3079">
                  <c:v>42982</c:v>
                </c:pt>
                <c:pt idx="3080">
                  <c:v>42983</c:v>
                </c:pt>
                <c:pt idx="3081">
                  <c:v>42984</c:v>
                </c:pt>
                <c:pt idx="3082">
                  <c:v>42985</c:v>
                </c:pt>
                <c:pt idx="3083">
                  <c:v>42986</c:v>
                </c:pt>
                <c:pt idx="3084">
                  <c:v>42989</c:v>
                </c:pt>
                <c:pt idx="3085">
                  <c:v>42990</c:v>
                </c:pt>
                <c:pt idx="3086">
                  <c:v>42991</c:v>
                </c:pt>
                <c:pt idx="3087">
                  <c:v>42992</c:v>
                </c:pt>
                <c:pt idx="3088">
                  <c:v>42993</c:v>
                </c:pt>
                <c:pt idx="3089">
                  <c:v>42996</c:v>
                </c:pt>
                <c:pt idx="3090">
                  <c:v>42997</c:v>
                </c:pt>
                <c:pt idx="3091">
                  <c:v>42998</c:v>
                </c:pt>
                <c:pt idx="3092">
                  <c:v>42999</c:v>
                </c:pt>
                <c:pt idx="3093">
                  <c:v>43000</c:v>
                </c:pt>
                <c:pt idx="3094">
                  <c:v>43003</c:v>
                </c:pt>
                <c:pt idx="3095">
                  <c:v>43004</c:v>
                </c:pt>
                <c:pt idx="3096">
                  <c:v>43005</c:v>
                </c:pt>
                <c:pt idx="3097">
                  <c:v>43006</c:v>
                </c:pt>
                <c:pt idx="3098">
                  <c:v>43007</c:v>
                </c:pt>
                <c:pt idx="3099">
                  <c:v>43017</c:v>
                </c:pt>
                <c:pt idx="3100">
                  <c:v>43018</c:v>
                </c:pt>
                <c:pt idx="3101">
                  <c:v>43019</c:v>
                </c:pt>
                <c:pt idx="3102">
                  <c:v>43020</c:v>
                </c:pt>
                <c:pt idx="3103">
                  <c:v>43021</c:v>
                </c:pt>
                <c:pt idx="3104">
                  <c:v>43024</c:v>
                </c:pt>
                <c:pt idx="3105">
                  <c:v>43025</c:v>
                </c:pt>
                <c:pt idx="3106">
                  <c:v>43026</c:v>
                </c:pt>
                <c:pt idx="3107">
                  <c:v>43027</c:v>
                </c:pt>
                <c:pt idx="3108">
                  <c:v>43028</c:v>
                </c:pt>
                <c:pt idx="3109">
                  <c:v>43031</c:v>
                </c:pt>
                <c:pt idx="3110">
                  <c:v>43032</c:v>
                </c:pt>
                <c:pt idx="3111">
                  <c:v>43033</c:v>
                </c:pt>
                <c:pt idx="3112">
                  <c:v>43034</c:v>
                </c:pt>
                <c:pt idx="3113">
                  <c:v>43035</c:v>
                </c:pt>
                <c:pt idx="3114">
                  <c:v>43038</c:v>
                </c:pt>
                <c:pt idx="3115">
                  <c:v>43039</c:v>
                </c:pt>
                <c:pt idx="3116">
                  <c:v>43040</c:v>
                </c:pt>
                <c:pt idx="3117">
                  <c:v>43041</c:v>
                </c:pt>
                <c:pt idx="3118">
                  <c:v>43042</c:v>
                </c:pt>
                <c:pt idx="3119">
                  <c:v>43045</c:v>
                </c:pt>
                <c:pt idx="3120">
                  <c:v>43046</c:v>
                </c:pt>
                <c:pt idx="3121">
                  <c:v>43047</c:v>
                </c:pt>
                <c:pt idx="3122">
                  <c:v>43048</c:v>
                </c:pt>
                <c:pt idx="3123">
                  <c:v>43049</c:v>
                </c:pt>
                <c:pt idx="3124">
                  <c:v>43052</c:v>
                </c:pt>
                <c:pt idx="3125">
                  <c:v>43053</c:v>
                </c:pt>
                <c:pt idx="3126">
                  <c:v>43054</c:v>
                </c:pt>
                <c:pt idx="3127">
                  <c:v>43055</c:v>
                </c:pt>
                <c:pt idx="3128">
                  <c:v>43056</c:v>
                </c:pt>
                <c:pt idx="3129">
                  <c:v>43059</c:v>
                </c:pt>
                <c:pt idx="3130">
                  <c:v>43060</c:v>
                </c:pt>
                <c:pt idx="3131">
                  <c:v>43061</c:v>
                </c:pt>
                <c:pt idx="3132">
                  <c:v>43062</c:v>
                </c:pt>
                <c:pt idx="3133">
                  <c:v>43063</c:v>
                </c:pt>
                <c:pt idx="3134">
                  <c:v>43066</c:v>
                </c:pt>
                <c:pt idx="3135">
                  <c:v>43067</c:v>
                </c:pt>
                <c:pt idx="3136">
                  <c:v>43068</c:v>
                </c:pt>
                <c:pt idx="3137">
                  <c:v>43069</c:v>
                </c:pt>
                <c:pt idx="3138">
                  <c:v>43070</c:v>
                </c:pt>
                <c:pt idx="3139">
                  <c:v>43073</c:v>
                </c:pt>
                <c:pt idx="3140">
                  <c:v>43074</c:v>
                </c:pt>
                <c:pt idx="3141">
                  <c:v>43075</c:v>
                </c:pt>
                <c:pt idx="3142">
                  <c:v>43076</c:v>
                </c:pt>
                <c:pt idx="3143">
                  <c:v>43077</c:v>
                </c:pt>
                <c:pt idx="3144">
                  <c:v>43080</c:v>
                </c:pt>
                <c:pt idx="3145">
                  <c:v>43081</c:v>
                </c:pt>
                <c:pt idx="3146">
                  <c:v>43082</c:v>
                </c:pt>
                <c:pt idx="3147">
                  <c:v>43083</c:v>
                </c:pt>
                <c:pt idx="3148">
                  <c:v>43084</c:v>
                </c:pt>
                <c:pt idx="3149">
                  <c:v>43087</c:v>
                </c:pt>
                <c:pt idx="3150">
                  <c:v>43088</c:v>
                </c:pt>
                <c:pt idx="3151">
                  <c:v>43089</c:v>
                </c:pt>
                <c:pt idx="3152">
                  <c:v>43090</c:v>
                </c:pt>
                <c:pt idx="3153">
                  <c:v>43091</c:v>
                </c:pt>
                <c:pt idx="3154">
                  <c:v>43094</c:v>
                </c:pt>
                <c:pt idx="3155">
                  <c:v>43095</c:v>
                </c:pt>
                <c:pt idx="3156">
                  <c:v>43096</c:v>
                </c:pt>
                <c:pt idx="3157">
                  <c:v>43097</c:v>
                </c:pt>
                <c:pt idx="3158">
                  <c:v>43098</c:v>
                </c:pt>
                <c:pt idx="3159">
                  <c:v>43102</c:v>
                </c:pt>
                <c:pt idx="3160">
                  <c:v>43103</c:v>
                </c:pt>
                <c:pt idx="3161">
                  <c:v>43104</c:v>
                </c:pt>
                <c:pt idx="3162">
                  <c:v>43105</c:v>
                </c:pt>
                <c:pt idx="3163">
                  <c:v>43108</c:v>
                </c:pt>
                <c:pt idx="3164">
                  <c:v>43109</c:v>
                </c:pt>
                <c:pt idx="3165">
                  <c:v>43110</c:v>
                </c:pt>
                <c:pt idx="3166">
                  <c:v>43111</c:v>
                </c:pt>
                <c:pt idx="3167">
                  <c:v>43112</c:v>
                </c:pt>
                <c:pt idx="3168">
                  <c:v>43115</c:v>
                </c:pt>
                <c:pt idx="3169">
                  <c:v>43116</c:v>
                </c:pt>
                <c:pt idx="3170">
                  <c:v>43117</c:v>
                </c:pt>
                <c:pt idx="3171">
                  <c:v>43118</c:v>
                </c:pt>
                <c:pt idx="3172">
                  <c:v>43119</c:v>
                </c:pt>
                <c:pt idx="3173">
                  <c:v>43122</c:v>
                </c:pt>
                <c:pt idx="3174">
                  <c:v>43123</c:v>
                </c:pt>
                <c:pt idx="3175">
                  <c:v>43124</c:v>
                </c:pt>
                <c:pt idx="3176">
                  <c:v>43125</c:v>
                </c:pt>
                <c:pt idx="3177">
                  <c:v>43126</c:v>
                </c:pt>
                <c:pt idx="3178">
                  <c:v>43129</c:v>
                </c:pt>
                <c:pt idx="3179">
                  <c:v>43130</c:v>
                </c:pt>
                <c:pt idx="3180">
                  <c:v>43131</c:v>
                </c:pt>
                <c:pt idx="3181">
                  <c:v>43132</c:v>
                </c:pt>
                <c:pt idx="3182">
                  <c:v>43133</c:v>
                </c:pt>
                <c:pt idx="3183">
                  <c:v>43136</c:v>
                </c:pt>
                <c:pt idx="3184">
                  <c:v>43137</c:v>
                </c:pt>
                <c:pt idx="3185">
                  <c:v>43138</c:v>
                </c:pt>
                <c:pt idx="3186">
                  <c:v>43139</c:v>
                </c:pt>
                <c:pt idx="3187">
                  <c:v>43140</c:v>
                </c:pt>
                <c:pt idx="3188">
                  <c:v>43143</c:v>
                </c:pt>
                <c:pt idx="3189">
                  <c:v>43144</c:v>
                </c:pt>
                <c:pt idx="3190">
                  <c:v>43145</c:v>
                </c:pt>
                <c:pt idx="3191">
                  <c:v>43153</c:v>
                </c:pt>
                <c:pt idx="3192">
                  <c:v>43154</c:v>
                </c:pt>
                <c:pt idx="3193">
                  <c:v>43157</c:v>
                </c:pt>
                <c:pt idx="3194">
                  <c:v>43158</c:v>
                </c:pt>
                <c:pt idx="3195">
                  <c:v>43159</c:v>
                </c:pt>
                <c:pt idx="3196">
                  <c:v>43160</c:v>
                </c:pt>
                <c:pt idx="3197">
                  <c:v>43161</c:v>
                </c:pt>
                <c:pt idx="3198">
                  <c:v>43164</c:v>
                </c:pt>
                <c:pt idx="3199">
                  <c:v>43165</c:v>
                </c:pt>
                <c:pt idx="3200">
                  <c:v>43166</c:v>
                </c:pt>
                <c:pt idx="3201">
                  <c:v>43167</c:v>
                </c:pt>
                <c:pt idx="3202">
                  <c:v>43168</c:v>
                </c:pt>
                <c:pt idx="3203">
                  <c:v>43171</c:v>
                </c:pt>
                <c:pt idx="3204">
                  <c:v>43172</c:v>
                </c:pt>
                <c:pt idx="3205">
                  <c:v>43173</c:v>
                </c:pt>
                <c:pt idx="3206">
                  <c:v>43174</c:v>
                </c:pt>
                <c:pt idx="3207">
                  <c:v>43175</c:v>
                </c:pt>
                <c:pt idx="3208">
                  <c:v>43178</c:v>
                </c:pt>
                <c:pt idx="3209">
                  <c:v>43179</c:v>
                </c:pt>
                <c:pt idx="3210">
                  <c:v>43180</c:v>
                </c:pt>
                <c:pt idx="3211">
                  <c:v>43181</c:v>
                </c:pt>
                <c:pt idx="3212">
                  <c:v>43182</c:v>
                </c:pt>
                <c:pt idx="3213">
                  <c:v>43185</c:v>
                </c:pt>
                <c:pt idx="3214">
                  <c:v>43186</c:v>
                </c:pt>
                <c:pt idx="3215">
                  <c:v>43187</c:v>
                </c:pt>
                <c:pt idx="3216">
                  <c:v>43188</c:v>
                </c:pt>
                <c:pt idx="3217">
                  <c:v>43189</c:v>
                </c:pt>
                <c:pt idx="3218">
                  <c:v>43192</c:v>
                </c:pt>
                <c:pt idx="3219">
                  <c:v>43193</c:v>
                </c:pt>
                <c:pt idx="3220">
                  <c:v>43194</c:v>
                </c:pt>
                <c:pt idx="3221">
                  <c:v>43199</c:v>
                </c:pt>
                <c:pt idx="3222">
                  <c:v>43200</c:v>
                </c:pt>
                <c:pt idx="3223">
                  <c:v>43201</c:v>
                </c:pt>
                <c:pt idx="3224">
                  <c:v>43202</c:v>
                </c:pt>
                <c:pt idx="3225">
                  <c:v>43203</c:v>
                </c:pt>
                <c:pt idx="3226">
                  <c:v>43206</c:v>
                </c:pt>
                <c:pt idx="3227">
                  <c:v>43207</c:v>
                </c:pt>
                <c:pt idx="3228">
                  <c:v>43208</c:v>
                </c:pt>
                <c:pt idx="3229">
                  <c:v>43209</c:v>
                </c:pt>
                <c:pt idx="3230">
                  <c:v>43210</c:v>
                </c:pt>
                <c:pt idx="3231">
                  <c:v>43213</c:v>
                </c:pt>
                <c:pt idx="3232">
                  <c:v>43214</c:v>
                </c:pt>
                <c:pt idx="3233">
                  <c:v>43215</c:v>
                </c:pt>
                <c:pt idx="3234">
                  <c:v>43216</c:v>
                </c:pt>
                <c:pt idx="3235">
                  <c:v>43217</c:v>
                </c:pt>
                <c:pt idx="3236">
                  <c:v>43222</c:v>
                </c:pt>
                <c:pt idx="3237">
                  <c:v>43223</c:v>
                </c:pt>
                <c:pt idx="3238">
                  <c:v>43224</c:v>
                </c:pt>
                <c:pt idx="3239">
                  <c:v>43227</c:v>
                </c:pt>
                <c:pt idx="3240">
                  <c:v>43228</c:v>
                </c:pt>
                <c:pt idx="3241">
                  <c:v>43229</c:v>
                </c:pt>
                <c:pt idx="3242">
                  <c:v>43230</c:v>
                </c:pt>
                <c:pt idx="3243">
                  <c:v>43231</c:v>
                </c:pt>
                <c:pt idx="3244">
                  <c:v>43234</c:v>
                </c:pt>
                <c:pt idx="3245">
                  <c:v>43235</c:v>
                </c:pt>
                <c:pt idx="3246">
                  <c:v>43236</c:v>
                </c:pt>
                <c:pt idx="3247">
                  <c:v>43237</c:v>
                </c:pt>
                <c:pt idx="3248">
                  <c:v>43238</c:v>
                </c:pt>
                <c:pt idx="3249">
                  <c:v>43241</c:v>
                </c:pt>
                <c:pt idx="3250">
                  <c:v>43242</c:v>
                </c:pt>
                <c:pt idx="3251">
                  <c:v>43243</c:v>
                </c:pt>
                <c:pt idx="3252">
                  <c:v>43244</c:v>
                </c:pt>
                <c:pt idx="3253">
                  <c:v>43245</c:v>
                </c:pt>
                <c:pt idx="3254">
                  <c:v>43248</c:v>
                </c:pt>
                <c:pt idx="3255">
                  <c:v>43249</c:v>
                </c:pt>
                <c:pt idx="3256">
                  <c:v>43250</c:v>
                </c:pt>
                <c:pt idx="3257">
                  <c:v>43251</c:v>
                </c:pt>
                <c:pt idx="3258">
                  <c:v>43252</c:v>
                </c:pt>
                <c:pt idx="3259">
                  <c:v>43255</c:v>
                </c:pt>
                <c:pt idx="3260">
                  <c:v>43256</c:v>
                </c:pt>
                <c:pt idx="3261">
                  <c:v>43257</c:v>
                </c:pt>
                <c:pt idx="3262">
                  <c:v>43258</c:v>
                </c:pt>
                <c:pt idx="3263">
                  <c:v>43259</c:v>
                </c:pt>
                <c:pt idx="3264">
                  <c:v>43262</c:v>
                </c:pt>
                <c:pt idx="3265">
                  <c:v>43263</c:v>
                </c:pt>
                <c:pt idx="3266">
                  <c:v>43264</c:v>
                </c:pt>
                <c:pt idx="3267">
                  <c:v>43265</c:v>
                </c:pt>
                <c:pt idx="3268">
                  <c:v>43266</c:v>
                </c:pt>
                <c:pt idx="3269">
                  <c:v>43270</c:v>
                </c:pt>
                <c:pt idx="3270">
                  <c:v>43271</c:v>
                </c:pt>
                <c:pt idx="3271">
                  <c:v>43272</c:v>
                </c:pt>
                <c:pt idx="3272">
                  <c:v>43273</c:v>
                </c:pt>
                <c:pt idx="3273">
                  <c:v>43276</c:v>
                </c:pt>
                <c:pt idx="3274">
                  <c:v>43277</c:v>
                </c:pt>
                <c:pt idx="3275">
                  <c:v>43278</c:v>
                </c:pt>
                <c:pt idx="3276">
                  <c:v>43279</c:v>
                </c:pt>
                <c:pt idx="3277">
                  <c:v>43280</c:v>
                </c:pt>
                <c:pt idx="3278">
                  <c:v>43283</c:v>
                </c:pt>
                <c:pt idx="3279">
                  <c:v>43284</c:v>
                </c:pt>
                <c:pt idx="3280">
                  <c:v>43285</c:v>
                </c:pt>
                <c:pt idx="3281">
                  <c:v>43286</c:v>
                </c:pt>
                <c:pt idx="3282">
                  <c:v>43287</c:v>
                </c:pt>
                <c:pt idx="3283">
                  <c:v>43290</c:v>
                </c:pt>
                <c:pt idx="3284">
                  <c:v>43291</c:v>
                </c:pt>
                <c:pt idx="3285">
                  <c:v>43292</c:v>
                </c:pt>
                <c:pt idx="3286">
                  <c:v>43293</c:v>
                </c:pt>
                <c:pt idx="3287">
                  <c:v>43294</c:v>
                </c:pt>
                <c:pt idx="3288">
                  <c:v>43297</c:v>
                </c:pt>
                <c:pt idx="3289">
                  <c:v>43298</c:v>
                </c:pt>
                <c:pt idx="3290">
                  <c:v>43299</c:v>
                </c:pt>
                <c:pt idx="3291">
                  <c:v>43300</c:v>
                </c:pt>
                <c:pt idx="3292">
                  <c:v>43301</c:v>
                </c:pt>
                <c:pt idx="3293">
                  <c:v>43304</c:v>
                </c:pt>
                <c:pt idx="3294">
                  <c:v>43305</c:v>
                </c:pt>
                <c:pt idx="3295">
                  <c:v>43306</c:v>
                </c:pt>
                <c:pt idx="3296">
                  <c:v>43307</c:v>
                </c:pt>
                <c:pt idx="3297">
                  <c:v>43308</c:v>
                </c:pt>
                <c:pt idx="3298">
                  <c:v>43311</c:v>
                </c:pt>
                <c:pt idx="3299">
                  <c:v>43312</c:v>
                </c:pt>
                <c:pt idx="3300">
                  <c:v>43313</c:v>
                </c:pt>
                <c:pt idx="3301">
                  <c:v>43314</c:v>
                </c:pt>
                <c:pt idx="3302">
                  <c:v>43315</c:v>
                </c:pt>
                <c:pt idx="3303">
                  <c:v>43318</c:v>
                </c:pt>
                <c:pt idx="3304">
                  <c:v>43319</c:v>
                </c:pt>
                <c:pt idx="3305">
                  <c:v>43320</c:v>
                </c:pt>
                <c:pt idx="3306">
                  <c:v>43321</c:v>
                </c:pt>
                <c:pt idx="3307">
                  <c:v>43322</c:v>
                </c:pt>
                <c:pt idx="3308">
                  <c:v>43325</c:v>
                </c:pt>
                <c:pt idx="3309">
                  <c:v>43326</c:v>
                </c:pt>
                <c:pt idx="3310">
                  <c:v>43327</c:v>
                </c:pt>
                <c:pt idx="3311">
                  <c:v>43328</c:v>
                </c:pt>
                <c:pt idx="3312">
                  <c:v>43329</c:v>
                </c:pt>
                <c:pt idx="3313">
                  <c:v>43332</c:v>
                </c:pt>
                <c:pt idx="3314">
                  <c:v>43333</c:v>
                </c:pt>
                <c:pt idx="3315">
                  <c:v>43334</c:v>
                </c:pt>
                <c:pt idx="3316">
                  <c:v>43335</c:v>
                </c:pt>
                <c:pt idx="3317">
                  <c:v>43336</c:v>
                </c:pt>
                <c:pt idx="3318">
                  <c:v>43339</c:v>
                </c:pt>
                <c:pt idx="3319">
                  <c:v>43340</c:v>
                </c:pt>
                <c:pt idx="3320">
                  <c:v>43341</c:v>
                </c:pt>
                <c:pt idx="3321">
                  <c:v>43342</c:v>
                </c:pt>
                <c:pt idx="3322">
                  <c:v>43343</c:v>
                </c:pt>
                <c:pt idx="3323">
                  <c:v>43346</c:v>
                </c:pt>
                <c:pt idx="3324">
                  <c:v>43347</c:v>
                </c:pt>
                <c:pt idx="3325">
                  <c:v>43348</c:v>
                </c:pt>
                <c:pt idx="3326">
                  <c:v>43349</c:v>
                </c:pt>
                <c:pt idx="3327">
                  <c:v>43350</c:v>
                </c:pt>
                <c:pt idx="3328">
                  <c:v>43353</c:v>
                </c:pt>
                <c:pt idx="3329">
                  <c:v>43354</c:v>
                </c:pt>
                <c:pt idx="3330">
                  <c:v>43355</c:v>
                </c:pt>
                <c:pt idx="3331">
                  <c:v>43356</c:v>
                </c:pt>
                <c:pt idx="3332">
                  <c:v>43357</c:v>
                </c:pt>
                <c:pt idx="3333">
                  <c:v>43360</c:v>
                </c:pt>
                <c:pt idx="3334">
                  <c:v>43361</c:v>
                </c:pt>
                <c:pt idx="3335">
                  <c:v>43362</c:v>
                </c:pt>
                <c:pt idx="3336">
                  <c:v>43363</c:v>
                </c:pt>
                <c:pt idx="3337">
                  <c:v>43364</c:v>
                </c:pt>
                <c:pt idx="3338">
                  <c:v>43368</c:v>
                </c:pt>
                <c:pt idx="3339">
                  <c:v>43369</c:v>
                </c:pt>
                <c:pt idx="3340">
                  <c:v>43370</c:v>
                </c:pt>
                <c:pt idx="3341">
                  <c:v>43371</c:v>
                </c:pt>
                <c:pt idx="3342">
                  <c:v>43381</c:v>
                </c:pt>
                <c:pt idx="3343">
                  <c:v>43382</c:v>
                </c:pt>
                <c:pt idx="3344">
                  <c:v>43383</c:v>
                </c:pt>
                <c:pt idx="3345">
                  <c:v>43384</c:v>
                </c:pt>
                <c:pt idx="3346">
                  <c:v>43385</c:v>
                </c:pt>
                <c:pt idx="3347">
                  <c:v>43388</c:v>
                </c:pt>
                <c:pt idx="3348">
                  <c:v>43389</c:v>
                </c:pt>
                <c:pt idx="3349">
                  <c:v>43390</c:v>
                </c:pt>
                <c:pt idx="3350">
                  <c:v>43391</c:v>
                </c:pt>
                <c:pt idx="3351">
                  <c:v>43392</c:v>
                </c:pt>
                <c:pt idx="3352">
                  <c:v>43395</c:v>
                </c:pt>
                <c:pt idx="3353">
                  <c:v>43396</c:v>
                </c:pt>
                <c:pt idx="3354">
                  <c:v>43397</c:v>
                </c:pt>
                <c:pt idx="3355">
                  <c:v>43398</c:v>
                </c:pt>
                <c:pt idx="3356">
                  <c:v>43399</c:v>
                </c:pt>
                <c:pt idx="3357">
                  <c:v>43402</c:v>
                </c:pt>
                <c:pt idx="3358">
                  <c:v>43403</c:v>
                </c:pt>
                <c:pt idx="3359">
                  <c:v>43404</c:v>
                </c:pt>
                <c:pt idx="3360">
                  <c:v>43405</c:v>
                </c:pt>
                <c:pt idx="3361">
                  <c:v>43406</c:v>
                </c:pt>
                <c:pt idx="3362">
                  <c:v>43409</c:v>
                </c:pt>
                <c:pt idx="3363">
                  <c:v>43410</c:v>
                </c:pt>
                <c:pt idx="3364">
                  <c:v>43411</c:v>
                </c:pt>
                <c:pt idx="3365">
                  <c:v>43412</c:v>
                </c:pt>
                <c:pt idx="3366">
                  <c:v>43413</c:v>
                </c:pt>
                <c:pt idx="3367">
                  <c:v>43416</c:v>
                </c:pt>
                <c:pt idx="3368">
                  <c:v>43417</c:v>
                </c:pt>
                <c:pt idx="3369">
                  <c:v>43418</c:v>
                </c:pt>
                <c:pt idx="3370">
                  <c:v>43419</c:v>
                </c:pt>
                <c:pt idx="3371">
                  <c:v>43420</c:v>
                </c:pt>
                <c:pt idx="3372">
                  <c:v>43423</c:v>
                </c:pt>
                <c:pt idx="3373">
                  <c:v>43424</c:v>
                </c:pt>
                <c:pt idx="3374">
                  <c:v>43425</c:v>
                </c:pt>
                <c:pt idx="3375">
                  <c:v>43426</c:v>
                </c:pt>
                <c:pt idx="3376">
                  <c:v>43427</c:v>
                </c:pt>
                <c:pt idx="3377">
                  <c:v>43430</c:v>
                </c:pt>
                <c:pt idx="3378">
                  <c:v>43431</c:v>
                </c:pt>
                <c:pt idx="3379">
                  <c:v>43432</c:v>
                </c:pt>
                <c:pt idx="3380">
                  <c:v>43433</c:v>
                </c:pt>
                <c:pt idx="3381">
                  <c:v>43434</c:v>
                </c:pt>
                <c:pt idx="3382">
                  <c:v>43437</c:v>
                </c:pt>
                <c:pt idx="3383">
                  <c:v>43438</c:v>
                </c:pt>
                <c:pt idx="3384">
                  <c:v>43439</c:v>
                </c:pt>
                <c:pt idx="3385">
                  <c:v>43440</c:v>
                </c:pt>
                <c:pt idx="3386">
                  <c:v>43441</c:v>
                </c:pt>
                <c:pt idx="3387">
                  <c:v>43444</c:v>
                </c:pt>
                <c:pt idx="3388">
                  <c:v>43445</c:v>
                </c:pt>
                <c:pt idx="3389">
                  <c:v>43446</c:v>
                </c:pt>
                <c:pt idx="3390">
                  <c:v>43447</c:v>
                </c:pt>
                <c:pt idx="3391">
                  <c:v>43448</c:v>
                </c:pt>
                <c:pt idx="3392">
                  <c:v>43451</c:v>
                </c:pt>
                <c:pt idx="3393">
                  <c:v>43452</c:v>
                </c:pt>
                <c:pt idx="3394">
                  <c:v>43453</c:v>
                </c:pt>
                <c:pt idx="3395">
                  <c:v>43454</c:v>
                </c:pt>
                <c:pt idx="3396">
                  <c:v>43455</c:v>
                </c:pt>
                <c:pt idx="3397">
                  <c:v>43458</c:v>
                </c:pt>
                <c:pt idx="3398">
                  <c:v>43459</c:v>
                </c:pt>
                <c:pt idx="3399">
                  <c:v>43460</c:v>
                </c:pt>
                <c:pt idx="3400">
                  <c:v>43461</c:v>
                </c:pt>
                <c:pt idx="3401">
                  <c:v>43462</c:v>
                </c:pt>
                <c:pt idx="3402">
                  <c:v>43467</c:v>
                </c:pt>
                <c:pt idx="3403">
                  <c:v>43468</c:v>
                </c:pt>
                <c:pt idx="3404">
                  <c:v>43469</c:v>
                </c:pt>
                <c:pt idx="3405">
                  <c:v>43472</c:v>
                </c:pt>
                <c:pt idx="3406">
                  <c:v>43473</c:v>
                </c:pt>
                <c:pt idx="3407">
                  <c:v>43474</c:v>
                </c:pt>
                <c:pt idx="3408">
                  <c:v>43475</c:v>
                </c:pt>
                <c:pt idx="3409">
                  <c:v>43476</c:v>
                </c:pt>
                <c:pt idx="3410">
                  <c:v>43479</c:v>
                </c:pt>
                <c:pt idx="3411">
                  <c:v>43480</c:v>
                </c:pt>
                <c:pt idx="3412">
                  <c:v>43481</c:v>
                </c:pt>
                <c:pt idx="3413">
                  <c:v>43482</c:v>
                </c:pt>
                <c:pt idx="3414">
                  <c:v>43483</c:v>
                </c:pt>
                <c:pt idx="3415">
                  <c:v>43486</c:v>
                </c:pt>
                <c:pt idx="3416">
                  <c:v>43487</c:v>
                </c:pt>
                <c:pt idx="3417">
                  <c:v>43488</c:v>
                </c:pt>
                <c:pt idx="3418">
                  <c:v>43489</c:v>
                </c:pt>
                <c:pt idx="3419">
                  <c:v>43490</c:v>
                </c:pt>
                <c:pt idx="3420">
                  <c:v>43493</c:v>
                </c:pt>
                <c:pt idx="3421">
                  <c:v>43494</c:v>
                </c:pt>
                <c:pt idx="3422">
                  <c:v>43495</c:v>
                </c:pt>
                <c:pt idx="3423">
                  <c:v>43496</c:v>
                </c:pt>
                <c:pt idx="3424">
                  <c:v>43497</c:v>
                </c:pt>
                <c:pt idx="3425">
                  <c:v>43507</c:v>
                </c:pt>
                <c:pt idx="3426">
                  <c:v>43508</c:v>
                </c:pt>
                <c:pt idx="3427">
                  <c:v>43509</c:v>
                </c:pt>
                <c:pt idx="3428">
                  <c:v>43510</c:v>
                </c:pt>
                <c:pt idx="3429">
                  <c:v>43511</c:v>
                </c:pt>
                <c:pt idx="3430">
                  <c:v>43514</c:v>
                </c:pt>
                <c:pt idx="3431">
                  <c:v>43515</c:v>
                </c:pt>
                <c:pt idx="3432">
                  <c:v>43516</c:v>
                </c:pt>
                <c:pt idx="3433">
                  <c:v>43517</c:v>
                </c:pt>
                <c:pt idx="3434">
                  <c:v>43518</c:v>
                </c:pt>
                <c:pt idx="3435">
                  <c:v>43521</c:v>
                </c:pt>
                <c:pt idx="3436">
                  <c:v>43522</c:v>
                </c:pt>
                <c:pt idx="3437">
                  <c:v>43523</c:v>
                </c:pt>
                <c:pt idx="3438">
                  <c:v>43524</c:v>
                </c:pt>
                <c:pt idx="3439">
                  <c:v>43525</c:v>
                </c:pt>
                <c:pt idx="3440">
                  <c:v>43528</c:v>
                </c:pt>
                <c:pt idx="3441">
                  <c:v>43529</c:v>
                </c:pt>
                <c:pt idx="3442">
                  <c:v>43530</c:v>
                </c:pt>
                <c:pt idx="3443">
                  <c:v>43531</c:v>
                </c:pt>
                <c:pt idx="3444">
                  <c:v>43532</c:v>
                </c:pt>
                <c:pt idx="3445">
                  <c:v>43535</c:v>
                </c:pt>
                <c:pt idx="3446">
                  <c:v>43536</c:v>
                </c:pt>
                <c:pt idx="3447">
                  <c:v>43537</c:v>
                </c:pt>
                <c:pt idx="3448">
                  <c:v>43538</c:v>
                </c:pt>
                <c:pt idx="3449">
                  <c:v>43539</c:v>
                </c:pt>
                <c:pt idx="3450">
                  <c:v>43542</c:v>
                </c:pt>
                <c:pt idx="3451">
                  <c:v>43543</c:v>
                </c:pt>
                <c:pt idx="3452">
                  <c:v>43544</c:v>
                </c:pt>
                <c:pt idx="3453">
                  <c:v>43545</c:v>
                </c:pt>
                <c:pt idx="3454">
                  <c:v>43546</c:v>
                </c:pt>
                <c:pt idx="3455">
                  <c:v>43549</c:v>
                </c:pt>
                <c:pt idx="3456">
                  <c:v>43550</c:v>
                </c:pt>
                <c:pt idx="3457">
                  <c:v>43551</c:v>
                </c:pt>
                <c:pt idx="3458">
                  <c:v>43552</c:v>
                </c:pt>
                <c:pt idx="3459">
                  <c:v>43553</c:v>
                </c:pt>
                <c:pt idx="3460">
                  <c:v>43556</c:v>
                </c:pt>
                <c:pt idx="3461">
                  <c:v>43557</c:v>
                </c:pt>
                <c:pt idx="3462">
                  <c:v>43558</c:v>
                </c:pt>
                <c:pt idx="3463">
                  <c:v>43559</c:v>
                </c:pt>
                <c:pt idx="3464">
                  <c:v>43563</c:v>
                </c:pt>
                <c:pt idx="3465">
                  <c:v>43564</c:v>
                </c:pt>
                <c:pt idx="3466">
                  <c:v>43565</c:v>
                </c:pt>
                <c:pt idx="3467">
                  <c:v>43566</c:v>
                </c:pt>
                <c:pt idx="3468">
                  <c:v>43567</c:v>
                </c:pt>
                <c:pt idx="3469">
                  <c:v>43570</c:v>
                </c:pt>
                <c:pt idx="3470">
                  <c:v>43571</c:v>
                </c:pt>
                <c:pt idx="3471">
                  <c:v>43572</c:v>
                </c:pt>
                <c:pt idx="3472">
                  <c:v>43573</c:v>
                </c:pt>
                <c:pt idx="3473">
                  <c:v>43574</c:v>
                </c:pt>
                <c:pt idx="3474">
                  <c:v>43577</c:v>
                </c:pt>
                <c:pt idx="3475">
                  <c:v>43578</c:v>
                </c:pt>
                <c:pt idx="3476">
                  <c:v>43579</c:v>
                </c:pt>
                <c:pt idx="3477">
                  <c:v>43580</c:v>
                </c:pt>
                <c:pt idx="3478">
                  <c:v>43581</c:v>
                </c:pt>
                <c:pt idx="3479">
                  <c:v>43584</c:v>
                </c:pt>
                <c:pt idx="3480">
                  <c:v>43585</c:v>
                </c:pt>
                <c:pt idx="3481">
                  <c:v>43591</c:v>
                </c:pt>
                <c:pt idx="3482">
                  <c:v>43592</c:v>
                </c:pt>
                <c:pt idx="3483">
                  <c:v>43593</c:v>
                </c:pt>
                <c:pt idx="3484">
                  <c:v>43594</c:v>
                </c:pt>
                <c:pt idx="3485">
                  <c:v>43595</c:v>
                </c:pt>
                <c:pt idx="3486">
                  <c:v>43598</c:v>
                </c:pt>
                <c:pt idx="3487">
                  <c:v>43599</c:v>
                </c:pt>
                <c:pt idx="3488">
                  <c:v>43600</c:v>
                </c:pt>
                <c:pt idx="3489">
                  <c:v>43601</c:v>
                </c:pt>
                <c:pt idx="3490">
                  <c:v>43602</c:v>
                </c:pt>
                <c:pt idx="3491">
                  <c:v>43605</c:v>
                </c:pt>
                <c:pt idx="3492">
                  <c:v>43606</c:v>
                </c:pt>
                <c:pt idx="3493">
                  <c:v>43607</c:v>
                </c:pt>
                <c:pt idx="3494">
                  <c:v>43608</c:v>
                </c:pt>
                <c:pt idx="3495">
                  <c:v>43609</c:v>
                </c:pt>
                <c:pt idx="3496">
                  <c:v>43612</c:v>
                </c:pt>
                <c:pt idx="3497">
                  <c:v>43613</c:v>
                </c:pt>
                <c:pt idx="3498">
                  <c:v>43614</c:v>
                </c:pt>
                <c:pt idx="3499">
                  <c:v>43615</c:v>
                </c:pt>
                <c:pt idx="3500">
                  <c:v>43616</c:v>
                </c:pt>
                <c:pt idx="3501">
                  <c:v>43619</c:v>
                </c:pt>
                <c:pt idx="3502">
                  <c:v>43620</c:v>
                </c:pt>
                <c:pt idx="3503">
                  <c:v>43621</c:v>
                </c:pt>
                <c:pt idx="3504">
                  <c:v>43622</c:v>
                </c:pt>
                <c:pt idx="3505">
                  <c:v>43626</c:v>
                </c:pt>
                <c:pt idx="3506">
                  <c:v>43627</c:v>
                </c:pt>
                <c:pt idx="3507">
                  <c:v>43628</c:v>
                </c:pt>
                <c:pt idx="3508">
                  <c:v>43629</c:v>
                </c:pt>
                <c:pt idx="3509">
                  <c:v>43630</c:v>
                </c:pt>
                <c:pt idx="3510">
                  <c:v>43633</c:v>
                </c:pt>
                <c:pt idx="3511">
                  <c:v>43634</c:v>
                </c:pt>
                <c:pt idx="3512">
                  <c:v>43635</c:v>
                </c:pt>
                <c:pt idx="3513">
                  <c:v>43636</c:v>
                </c:pt>
                <c:pt idx="3514">
                  <c:v>43637</c:v>
                </c:pt>
                <c:pt idx="3515">
                  <c:v>43640</c:v>
                </c:pt>
                <c:pt idx="3516">
                  <c:v>43641</c:v>
                </c:pt>
                <c:pt idx="3517">
                  <c:v>43642</c:v>
                </c:pt>
                <c:pt idx="3518">
                  <c:v>43643</c:v>
                </c:pt>
                <c:pt idx="3519">
                  <c:v>43644</c:v>
                </c:pt>
                <c:pt idx="3520">
                  <c:v>43647</c:v>
                </c:pt>
                <c:pt idx="3521">
                  <c:v>43648</c:v>
                </c:pt>
                <c:pt idx="3522">
                  <c:v>43649</c:v>
                </c:pt>
                <c:pt idx="3523">
                  <c:v>43650</c:v>
                </c:pt>
                <c:pt idx="3524">
                  <c:v>43651</c:v>
                </c:pt>
                <c:pt idx="3525">
                  <c:v>43654</c:v>
                </c:pt>
                <c:pt idx="3526">
                  <c:v>43655</c:v>
                </c:pt>
                <c:pt idx="3527">
                  <c:v>43656</c:v>
                </c:pt>
                <c:pt idx="3528">
                  <c:v>43657</c:v>
                </c:pt>
                <c:pt idx="3529">
                  <c:v>43658</c:v>
                </c:pt>
                <c:pt idx="3530">
                  <c:v>43661</c:v>
                </c:pt>
                <c:pt idx="3531">
                  <c:v>43662</c:v>
                </c:pt>
                <c:pt idx="3532">
                  <c:v>43663</c:v>
                </c:pt>
                <c:pt idx="3533">
                  <c:v>43664</c:v>
                </c:pt>
                <c:pt idx="3534">
                  <c:v>43665</c:v>
                </c:pt>
                <c:pt idx="3535">
                  <c:v>43668</c:v>
                </c:pt>
                <c:pt idx="3536">
                  <c:v>43669</c:v>
                </c:pt>
                <c:pt idx="3537">
                  <c:v>43670</c:v>
                </c:pt>
                <c:pt idx="3538">
                  <c:v>43671</c:v>
                </c:pt>
                <c:pt idx="3539">
                  <c:v>43672</c:v>
                </c:pt>
                <c:pt idx="3540">
                  <c:v>43675</c:v>
                </c:pt>
                <c:pt idx="3541">
                  <c:v>43676</c:v>
                </c:pt>
                <c:pt idx="3542">
                  <c:v>43677</c:v>
                </c:pt>
                <c:pt idx="3543">
                  <c:v>43678</c:v>
                </c:pt>
                <c:pt idx="3544">
                  <c:v>43679</c:v>
                </c:pt>
                <c:pt idx="3545">
                  <c:v>43682</c:v>
                </c:pt>
                <c:pt idx="3546">
                  <c:v>43683</c:v>
                </c:pt>
                <c:pt idx="3547">
                  <c:v>43684</c:v>
                </c:pt>
                <c:pt idx="3548">
                  <c:v>43685</c:v>
                </c:pt>
                <c:pt idx="3549">
                  <c:v>43686</c:v>
                </c:pt>
                <c:pt idx="3550">
                  <c:v>43689</c:v>
                </c:pt>
                <c:pt idx="3551">
                  <c:v>43690</c:v>
                </c:pt>
                <c:pt idx="3552">
                  <c:v>43691</c:v>
                </c:pt>
                <c:pt idx="3553">
                  <c:v>43692</c:v>
                </c:pt>
                <c:pt idx="3554">
                  <c:v>43693</c:v>
                </c:pt>
                <c:pt idx="3555">
                  <c:v>43696</c:v>
                </c:pt>
                <c:pt idx="3556">
                  <c:v>43697</c:v>
                </c:pt>
                <c:pt idx="3557">
                  <c:v>43698</c:v>
                </c:pt>
                <c:pt idx="3558">
                  <c:v>43699</c:v>
                </c:pt>
                <c:pt idx="3559">
                  <c:v>43700</c:v>
                </c:pt>
                <c:pt idx="3560">
                  <c:v>43703</c:v>
                </c:pt>
                <c:pt idx="3561">
                  <c:v>43704</c:v>
                </c:pt>
                <c:pt idx="3562">
                  <c:v>43705</c:v>
                </c:pt>
                <c:pt idx="3563">
                  <c:v>43706</c:v>
                </c:pt>
                <c:pt idx="3564">
                  <c:v>43707</c:v>
                </c:pt>
                <c:pt idx="3565">
                  <c:v>43710</c:v>
                </c:pt>
                <c:pt idx="3566">
                  <c:v>43711</c:v>
                </c:pt>
                <c:pt idx="3567">
                  <c:v>43712</c:v>
                </c:pt>
                <c:pt idx="3568">
                  <c:v>43713</c:v>
                </c:pt>
                <c:pt idx="3569">
                  <c:v>43714</c:v>
                </c:pt>
                <c:pt idx="3570">
                  <c:v>43717</c:v>
                </c:pt>
                <c:pt idx="3571">
                  <c:v>43718</c:v>
                </c:pt>
                <c:pt idx="3572">
                  <c:v>43719</c:v>
                </c:pt>
                <c:pt idx="3573">
                  <c:v>43720</c:v>
                </c:pt>
                <c:pt idx="3574">
                  <c:v>43724</c:v>
                </c:pt>
                <c:pt idx="3575">
                  <c:v>43725</c:v>
                </c:pt>
                <c:pt idx="3576">
                  <c:v>43726</c:v>
                </c:pt>
                <c:pt idx="3577">
                  <c:v>43727</c:v>
                </c:pt>
                <c:pt idx="3578">
                  <c:v>43728</c:v>
                </c:pt>
                <c:pt idx="3579">
                  <c:v>43731</c:v>
                </c:pt>
                <c:pt idx="3580">
                  <c:v>43732</c:v>
                </c:pt>
                <c:pt idx="3581">
                  <c:v>43733</c:v>
                </c:pt>
                <c:pt idx="3582">
                  <c:v>43734</c:v>
                </c:pt>
                <c:pt idx="3583">
                  <c:v>43735</c:v>
                </c:pt>
                <c:pt idx="3584">
                  <c:v>43738</c:v>
                </c:pt>
                <c:pt idx="3585">
                  <c:v>43746</c:v>
                </c:pt>
                <c:pt idx="3586">
                  <c:v>43747</c:v>
                </c:pt>
                <c:pt idx="3587">
                  <c:v>43748</c:v>
                </c:pt>
                <c:pt idx="3588">
                  <c:v>43749</c:v>
                </c:pt>
                <c:pt idx="3589">
                  <c:v>43752</c:v>
                </c:pt>
                <c:pt idx="3590">
                  <c:v>43753</c:v>
                </c:pt>
                <c:pt idx="3591">
                  <c:v>43754</c:v>
                </c:pt>
                <c:pt idx="3592">
                  <c:v>43755</c:v>
                </c:pt>
                <c:pt idx="3593">
                  <c:v>43756</c:v>
                </c:pt>
                <c:pt idx="3594">
                  <c:v>43759</c:v>
                </c:pt>
                <c:pt idx="3595">
                  <c:v>43760</c:v>
                </c:pt>
                <c:pt idx="3596">
                  <c:v>43761</c:v>
                </c:pt>
                <c:pt idx="3597">
                  <c:v>43762</c:v>
                </c:pt>
                <c:pt idx="3598">
                  <c:v>43763</c:v>
                </c:pt>
                <c:pt idx="3599">
                  <c:v>43766</c:v>
                </c:pt>
                <c:pt idx="3600">
                  <c:v>43767</c:v>
                </c:pt>
                <c:pt idx="3601">
                  <c:v>43768</c:v>
                </c:pt>
                <c:pt idx="3602">
                  <c:v>43769</c:v>
                </c:pt>
                <c:pt idx="3603">
                  <c:v>43770</c:v>
                </c:pt>
                <c:pt idx="3604">
                  <c:v>43773</c:v>
                </c:pt>
                <c:pt idx="3605">
                  <c:v>43774</c:v>
                </c:pt>
                <c:pt idx="3606">
                  <c:v>43775</c:v>
                </c:pt>
                <c:pt idx="3607">
                  <c:v>43776</c:v>
                </c:pt>
                <c:pt idx="3608">
                  <c:v>43777</c:v>
                </c:pt>
                <c:pt idx="3609">
                  <c:v>43780</c:v>
                </c:pt>
                <c:pt idx="3610">
                  <c:v>43781</c:v>
                </c:pt>
                <c:pt idx="3611">
                  <c:v>43782</c:v>
                </c:pt>
                <c:pt idx="3612">
                  <c:v>43783</c:v>
                </c:pt>
                <c:pt idx="3613">
                  <c:v>43784</c:v>
                </c:pt>
                <c:pt idx="3614">
                  <c:v>43787</c:v>
                </c:pt>
                <c:pt idx="3615">
                  <c:v>43788</c:v>
                </c:pt>
                <c:pt idx="3616">
                  <c:v>43789</c:v>
                </c:pt>
                <c:pt idx="3617">
                  <c:v>43790</c:v>
                </c:pt>
                <c:pt idx="3618">
                  <c:v>43791</c:v>
                </c:pt>
                <c:pt idx="3619">
                  <c:v>43794</c:v>
                </c:pt>
                <c:pt idx="3620">
                  <c:v>43795</c:v>
                </c:pt>
                <c:pt idx="3621">
                  <c:v>43796</c:v>
                </c:pt>
                <c:pt idx="3622">
                  <c:v>43797</c:v>
                </c:pt>
                <c:pt idx="3623">
                  <c:v>43798</c:v>
                </c:pt>
                <c:pt idx="3624">
                  <c:v>43801</c:v>
                </c:pt>
                <c:pt idx="3625">
                  <c:v>43802</c:v>
                </c:pt>
                <c:pt idx="3626">
                  <c:v>43803</c:v>
                </c:pt>
                <c:pt idx="3627">
                  <c:v>43804</c:v>
                </c:pt>
                <c:pt idx="3628">
                  <c:v>43805</c:v>
                </c:pt>
                <c:pt idx="3629">
                  <c:v>43808</c:v>
                </c:pt>
                <c:pt idx="3630">
                  <c:v>43809</c:v>
                </c:pt>
                <c:pt idx="3631">
                  <c:v>43810</c:v>
                </c:pt>
                <c:pt idx="3632">
                  <c:v>43811</c:v>
                </c:pt>
                <c:pt idx="3633">
                  <c:v>43812</c:v>
                </c:pt>
                <c:pt idx="3634">
                  <c:v>43815</c:v>
                </c:pt>
                <c:pt idx="3635">
                  <c:v>43816</c:v>
                </c:pt>
                <c:pt idx="3636">
                  <c:v>43817</c:v>
                </c:pt>
                <c:pt idx="3637">
                  <c:v>43818</c:v>
                </c:pt>
                <c:pt idx="3638">
                  <c:v>43819</c:v>
                </c:pt>
                <c:pt idx="3639">
                  <c:v>43822</c:v>
                </c:pt>
                <c:pt idx="3640">
                  <c:v>43823</c:v>
                </c:pt>
                <c:pt idx="3641">
                  <c:v>43824</c:v>
                </c:pt>
                <c:pt idx="3642">
                  <c:v>43825</c:v>
                </c:pt>
                <c:pt idx="3643">
                  <c:v>43826</c:v>
                </c:pt>
                <c:pt idx="3644">
                  <c:v>43829</c:v>
                </c:pt>
                <c:pt idx="3645">
                  <c:v>43830</c:v>
                </c:pt>
                <c:pt idx="3646">
                  <c:v>43832</c:v>
                </c:pt>
                <c:pt idx="3647">
                  <c:v>43833</c:v>
                </c:pt>
                <c:pt idx="3648">
                  <c:v>43836</c:v>
                </c:pt>
                <c:pt idx="3649">
                  <c:v>43837</c:v>
                </c:pt>
                <c:pt idx="3650">
                  <c:v>43838</c:v>
                </c:pt>
                <c:pt idx="3651">
                  <c:v>43839</c:v>
                </c:pt>
                <c:pt idx="3652">
                  <c:v>43840</c:v>
                </c:pt>
                <c:pt idx="3653">
                  <c:v>43843</c:v>
                </c:pt>
                <c:pt idx="3654">
                  <c:v>43844</c:v>
                </c:pt>
                <c:pt idx="3655">
                  <c:v>43845</c:v>
                </c:pt>
                <c:pt idx="3656">
                  <c:v>43846</c:v>
                </c:pt>
                <c:pt idx="3657">
                  <c:v>43847</c:v>
                </c:pt>
                <c:pt idx="3658">
                  <c:v>43850</c:v>
                </c:pt>
                <c:pt idx="3659">
                  <c:v>43851</c:v>
                </c:pt>
                <c:pt idx="3660">
                  <c:v>43852</c:v>
                </c:pt>
                <c:pt idx="3661">
                  <c:v>43853</c:v>
                </c:pt>
                <c:pt idx="3662">
                  <c:v>43864</c:v>
                </c:pt>
                <c:pt idx="3663">
                  <c:v>43865</c:v>
                </c:pt>
                <c:pt idx="3664">
                  <c:v>43866</c:v>
                </c:pt>
                <c:pt idx="3665">
                  <c:v>43867</c:v>
                </c:pt>
                <c:pt idx="3666">
                  <c:v>43868</c:v>
                </c:pt>
                <c:pt idx="3667">
                  <c:v>43871</c:v>
                </c:pt>
                <c:pt idx="3668">
                  <c:v>43872</c:v>
                </c:pt>
                <c:pt idx="3669">
                  <c:v>43873</c:v>
                </c:pt>
                <c:pt idx="3670">
                  <c:v>43874</c:v>
                </c:pt>
                <c:pt idx="3671">
                  <c:v>43875</c:v>
                </c:pt>
                <c:pt idx="3672">
                  <c:v>43878</c:v>
                </c:pt>
                <c:pt idx="3673">
                  <c:v>43879</c:v>
                </c:pt>
                <c:pt idx="3674">
                  <c:v>43880</c:v>
                </c:pt>
                <c:pt idx="3675">
                  <c:v>43881</c:v>
                </c:pt>
                <c:pt idx="3676">
                  <c:v>43882</c:v>
                </c:pt>
                <c:pt idx="3677">
                  <c:v>43885</c:v>
                </c:pt>
                <c:pt idx="3678">
                  <c:v>43886</c:v>
                </c:pt>
                <c:pt idx="3679">
                  <c:v>43887</c:v>
                </c:pt>
                <c:pt idx="3680">
                  <c:v>43888</c:v>
                </c:pt>
                <c:pt idx="3681">
                  <c:v>43889</c:v>
                </c:pt>
                <c:pt idx="3682">
                  <c:v>43892</c:v>
                </c:pt>
                <c:pt idx="3683">
                  <c:v>43893</c:v>
                </c:pt>
                <c:pt idx="3684">
                  <c:v>43894</c:v>
                </c:pt>
                <c:pt idx="3685">
                  <c:v>43895</c:v>
                </c:pt>
                <c:pt idx="3686">
                  <c:v>43896</c:v>
                </c:pt>
                <c:pt idx="3687">
                  <c:v>43899</c:v>
                </c:pt>
                <c:pt idx="3688">
                  <c:v>43900</c:v>
                </c:pt>
                <c:pt idx="3689">
                  <c:v>43901</c:v>
                </c:pt>
                <c:pt idx="3690">
                  <c:v>43902</c:v>
                </c:pt>
                <c:pt idx="3691">
                  <c:v>43903</c:v>
                </c:pt>
                <c:pt idx="3692">
                  <c:v>43906</c:v>
                </c:pt>
                <c:pt idx="3693">
                  <c:v>43907</c:v>
                </c:pt>
                <c:pt idx="3694">
                  <c:v>43908</c:v>
                </c:pt>
                <c:pt idx="3695">
                  <c:v>43909</c:v>
                </c:pt>
                <c:pt idx="3696">
                  <c:v>43910</c:v>
                </c:pt>
                <c:pt idx="3697">
                  <c:v>43913</c:v>
                </c:pt>
                <c:pt idx="3698">
                  <c:v>43914</c:v>
                </c:pt>
                <c:pt idx="3699">
                  <c:v>43915</c:v>
                </c:pt>
                <c:pt idx="3700">
                  <c:v>43916</c:v>
                </c:pt>
                <c:pt idx="3701">
                  <c:v>43917</c:v>
                </c:pt>
                <c:pt idx="3702">
                  <c:v>43920</c:v>
                </c:pt>
                <c:pt idx="3703">
                  <c:v>43921</c:v>
                </c:pt>
                <c:pt idx="3704">
                  <c:v>43922</c:v>
                </c:pt>
                <c:pt idx="3705">
                  <c:v>43923</c:v>
                </c:pt>
                <c:pt idx="3706">
                  <c:v>43924</c:v>
                </c:pt>
                <c:pt idx="3707">
                  <c:v>43928</c:v>
                </c:pt>
                <c:pt idx="3708">
                  <c:v>43929</c:v>
                </c:pt>
                <c:pt idx="3709">
                  <c:v>43930</c:v>
                </c:pt>
                <c:pt idx="3710">
                  <c:v>43931</c:v>
                </c:pt>
                <c:pt idx="3711">
                  <c:v>43934</c:v>
                </c:pt>
                <c:pt idx="3712">
                  <c:v>43935</c:v>
                </c:pt>
                <c:pt idx="3713">
                  <c:v>43936</c:v>
                </c:pt>
                <c:pt idx="3714">
                  <c:v>43937</c:v>
                </c:pt>
                <c:pt idx="3715">
                  <c:v>43938</c:v>
                </c:pt>
                <c:pt idx="3716">
                  <c:v>43941</c:v>
                </c:pt>
                <c:pt idx="3717">
                  <c:v>43942</c:v>
                </c:pt>
                <c:pt idx="3718">
                  <c:v>43943</c:v>
                </c:pt>
                <c:pt idx="3719">
                  <c:v>43944</c:v>
                </c:pt>
                <c:pt idx="3720">
                  <c:v>43945</c:v>
                </c:pt>
                <c:pt idx="3721">
                  <c:v>43948</c:v>
                </c:pt>
                <c:pt idx="3722">
                  <c:v>43949</c:v>
                </c:pt>
                <c:pt idx="3723">
                  <c:v>43950</c:v>
                </c:pt>
                <c:pt idx="3724">
                  <c:v>43951</c:v>
                </c:pt>
                <c:pt idx="3725">
                  <c:v>43957</c:v>
                </c:pt>
                <c:pt idx="3726">
                  <c:v>43958</c:v>
                </c:pt>
                <c:pt idx="3727">
                  <c:v>43959</c:v>
                </c:pt>
                <c:pt idx="3728">
                  <c:v>43962</c:v>
                </c:pt>
                <c:pt idx="3729">
                  <c:v>43963</c:v>
                </c:pt>
                <c:pt idx="3730">
                  <c:v>43964</c:v>
                </c:pt>
                <c:pt idx="3731">
                  <c:v>43965</c:v>
                </c:pt>
                <c:pt idx="3732">
                  <c:v>43966</c:v>
                </c:pt>
                <c:pt idx="3733">
                  <c:v>43969</c:v>
                </c:pt>
                <c:pt idx="3734">
                  <c:v>43970</c:v>
                </c:pt>
                <c:pt idx="3735">
                  <c:v>43971</c:v>
                </c:pt>
                <c:pt idx="3736">
                  <c:v>43972</c:v>
                </c:pt>
                <c:pt idx="3737">
                  <c:v>43973</c:v>
                </c:pt>
                <c:pt idx="3738">
                  <c:v>43976</c:v>
                </c:pt>
                <c:pt idx="3739">
                  <c:v>43977</c:v>
                </c:pt>
                <c:pt idx="3740">
                  <c:v>43978</c:v>
                </c:pt>
                <c:pt idx="3741">
                  <c:v>43979</c:v>
                </c:pt>
                <c:pt idx="3742">
                  <c:v>43980</c:v>
                </c:pt>
                <c:pt idx="3743">
                  <c:v>43983</c:v>
                </c:pt>
                <c:pt idx="3744">
                  <c:v>43984</c:v>
                </c:pt>
                <c:pt idx="3745">
                  <c:v>43985</c:v>
                </c:pt>
                <c:pt idx="3746">
                  <c:v>43986</c:v>
                </c:pt>
                <c:pt idx="3747">
                  <c:v>43987</c:v>
                </c:pt>
                <c:pt idx="3748">
                  <c:v>43990</c:v>
                </c:pt>
                <c:pt idx="3749">
                  <c:v>43991</c:v>
                </c:pt>
                <c:pt idx="3750">
                  <c:v>43992</c:v>
                </c:pt>
                <c:pt idx="3751">
                  <c:v>43993</c:v>
                </c:pt>
                <c:pt idx="3752">
                  <c:v>43994</c:v>
                </c:pt>
                <c:pt idx="3753">
                  <c:v>43997</c:v>
                </c:pt>
                <c:pt idx="3754">
                  <c:v>43998</c:v>
                </c:pt>
                <c:pt idx="3755">
                  <c:v>43999</c:v>
                </c:pt>
                <c:pt idx="3756">
                  <c:v>44000</c:v>
                </c:pt>
                <c:pt idx="3757">
                  <c:v>44001</c:v>
                </c:pt>
                <c:pt idx="3758">
                  <c:v>44004</c:v>
                </c:pt>
                <c:pt idx="3759">
                  <c:v>44005</c:v>
                </c:pt>
                <c:pt idx="3760">
                  <c:v>44006</c:v>
                </c:pt>
                <c:pt idx="3761">
                  <c:v>44011</c:v>
                </c:pt>
                <c:pt idx="3762">
                  <c:v>44012</c:v>
                </c:pt>
                <c:pt idx="3763">
                  <c:v>44013</c:v>
                </c:pt>
                <c:pt idx="3764">
                  <c:v>44014</c:v>
                </c:pt>
                <c:pt idx="3765">
                  <c:v>44015</c:v>
                </c:pt>
                <c:pt idx="3766">
                  <c:v>44018</c:v>
                </c:pt>
                <c:pt idx="3767">
                  <c:v>44019</c:v>
                </c:pt>
                <c:pt idx="3768">
                  <c:v>44020</c:v>
                </c:pt>
                <c:pt idx="3769">
                  <c:v>44021</c:v>
                </c:pt>
                <c:pt idx="3770">
                  <c:v>44022</c:v>
                </c:pt>
                <c:pt idx="3771">
                  <c:v>44025</c:v>
                </c:pt>
                <c:pt idx="3772">
                  <c:v>44026</c:v>
                </c:pt>
                <c:pt idx="3773">
                  <c:v>44027</c:v>
                </c:pt>
                <c:pt idx="3774">
                  <c:v>44028</c:v>
                </c:pt>
                <c:pt idx="3775">
                  <c:v>44029</c:v>
                </c:pt>
                <c:pt idx="3776">
                  <c:v>44032</c:v>
                </c:pt>
                <c:pt idx="3777">
                  <c:v>44033</c:v>
                </c:pt>
                <c:pt idx="3778">
                  <c:v>44034</c:v>
                </c:pt>
                <c:pt idx="3779">
                  <c:v>44035</c:v>
                </c:pt>
                <c:pt idx="3780">
                  <c:v>44036</c:v>
                </c:pt>
                <c:pt idx="3781">
                  <c:v>44039</c:v>
                </c:pt>
                <c:pt idx="3782">
                  <c:v>44040</c:v>
                </c:pt>
                <c:pt idx="3783">
                  <c:v>44041</c:v>
                </c:pt>
                <c:pt idx="3784">
                  <c:v>44042</c:v>
                </c:pt>
                <c:pt idx="3785">
                  <c:v>44043</c:v>
                </c:pt>
                <c:pt idx="3786">
                  <c:v>44046</c:v>
                </c:pt>
                <c:pt idx="3787">
                  <c:v>44047</c:v>
                </c:pt>
                <c:pt idx="3788">
                  <c:v>44048</c:v>
                </c:pt>
                <c:pt idx="3789">
                  <c:v>44049</c:v>
                </c:pt>
                <c:pt idx="3790">
                  <c:v>44050</c:v>
                </c:pt>
                <c:pt idx="3791">
                  <c:v>44053</c:v>
                </c:pt>
                <c:pt idx="3792">
                  <c:v>44054</c:v>
                </c:pt>
                <c:pt idx="3793">
                  <c:v>44055</c:v>
                </c:pt>
                <c:pt idx="3794">
                  <c:v>44056</c:v>
                </c:pt>
                <c:pt idx="3795">
                  <c:v>44057</c:v>
                </c:pt>
                <c:pt idx="3796">
                  <c:v>44060</c:v>
                </c:pt>
                <c:pt idx="3797">
                  <c:v>44061</c:v>
                </c:pt>
                <c:pt idx="3798">
                  <c:v>44062</c:v>
                </c:pt>
                <c:pt idx="3799">
                  <c:v>44063</c:v>
                </c:pt>
                <c:pt idx="3800">
                  <c:v>44064</c:v>
                </c:pt>
                <c:pt idx="3801">
                  <c:v>44067</c:v>
                </c:pt>
                <c:pt idx="3802">
                  <c:v>44068</c:v>
                </c:pt>
                <c:pt idx="3803">
                  <c:v>44069</c:v>
                </c:pt>
                <c:pt idx="3804">
                  <c:v>44070</c:v>
                </c:pt>
                <c:pt idx="3805">
                  <c:v>44071</c:v>
                </c:pt>
                <c:pt idx="3806">
                  <c:v>44074</c:v>
                </c:pt>
                <c:pt idx="3807">
                  <c:v>44075</c:v>
                </c:pt>
                <c:pt idx="3808">
                  <c:v>44076</c:v>
                </c:pt>
                <c:pt idx="3809">
                  <c:v>44077</c:v>
                </c:pt>
                <c:pt idx="3810">
                  <c:v>44078</c:v>
                </c:pt>
                <c:pt idx="3811">
                  <c:v>44081</c:v>
                </c:pt>
                <c:pt idx="3812">
                  <c:v>44082</c:v>
                </c:pt>
                <c:pt idx="3813">
                  <c:v>44083</c:v>
                </c:pt>
                <c:pt idx="3814">
                  <c:v>44084</c:v>
                </c:pt>
                <c:pt idx="3815">
                  <c:v>44085</c:v>
                </c:pt>
                <c:pt idx="3816">
                  <c:v>44088</c:v>
                </c:pt>
                <c:pt idx="3817">
                  <c:v>44089</c:v>
                </c:pt>
                <c:pt idx="3818">
                  <c:v>44090</c:v>
                </c:pt>
                <c:pt idx="3819">
                  <c:v>44091</c:v>
                </c:pt>
                <c:pt idx="3820">
                  <c:v>44092</c:v>
                </c:pt>
                <c:pt idx="3821">
                  <c:v>44095</c:v>
                </c:pt>
                <c:pt idx="3822">
                  <c:v>44096</c:v>
                </c:pt>
                <c:pt idx="3823">
                  <c:v>44097</c:v>
                </c:pt>
                <c:pt idx="3824">
                  <c:v>44098</c:v>
                </c:pt>
                <c:pt idx="3825">
                  <c:v>44099</c:v>
                </c:pt>
                <c:pt idx="3826">
                  <c:v>44102</c:v>
                </c:pt>
                <c:pt idx="3827">
                  <c:v>44103</c:v>
                </c:pt>
                <c:pt idx="3828">
                  <c:v>44104</c:v>
                </c:pt>
                <c:pt idx="3829">
                  <c:v>44113</c:v>
                </c:pt>
                <c:pt idx="3830">
                  <c:v>44116</c:v>
                </c:pt>
                <c:pt idx="3831">
                  <c:v>44117</c:v>
                </c:pt>
                <c:pt idx="3832">
                  <c:v>44118</c:v>
                </c:pt>
                <c:pt idx="3833">
                  <c:v>44119</c:v>
                </c:pt>
                <c:pt idx="3834">
                  <c:v>44120</c:v>
                </c:pt>
                <c:pt idx="3835">
                  <c:v>44123</c:v>
                </c:pt>
                <c:pt idx="3836">
                  <c:v>44124</c:v>
                </c:pt>
                <c:pt idx="3837">
                  <c:v>44125</c:v>
                </c:pt>
                <c:pt idx="3838">
                  <c:v>44126</c:v>
                </c:pt>
                <c:pt idx="3839">
                  <c:v>44127</c:v>
                </c:pt>
                <c:pt idx="3840">
                  <c:v>44130</c:v>
                </c:pt>
                <c:pt idx="3841">
                  <c:v>44131</c:v>
                </c:pt>
                <c:pt idx="3842">
                  <c:v>44132</c:v>
                </c:pt>
                <c:pt idx="3843">
                  <c:v>44133</c:v>
                </c:pt>
                <c:pt idx="3844">
                  <c:v>44134</c:v>
                </c:pt>
                <c:pt idx="3845">
                  <c:v>44137</c:v>
                </c:pt>
                <c:pt idx="3846">
                  <c:v>44138</c:v>
                </c:pt>
                <c:pt idx="3847">
                  <c:v>44139</c:v>
                </c:pt>
                <c:pt idx="3848">
                  <c:v>44140</c:v>
                </c:pt>
                <c:pt idx="3849">
                  <c:v>44141</c:v>
                </c:pt>
                <c:pt idx="3850">
                  <c:v>44144</c:v>
                </c:pt>
                <c:pt idx="3851">
                  <c:v>44145</c:v>
                </c:pt>
                <c:pt idx="3852">
                  <c:v>44146</c:v>
                </c:pt>
                <c:pt idx="3853">
                  <c:v>44147</c:v>
                </c:pt>
                <c:pt idx="3854">
                  <c:v>44148</c:v>
                </c:pt>
                <c:pt idx="3855">
                  <c:v>44151</c:v>
                </c:pt>
                <c:pt idx="3856">
                  <c:v>44152</c:v>
                </c:pt>
                <c:pt idx="3857">
                  <c:v>44153</c:v>
                </c:pt>
                <c:pt idx="3858">
                  <c:v>44154</c:v>
                </c:pt>
                <c:pt idx="3859">
                  <c:v>44155</c:v>
                </c:pt>
                <c:pt idx="3860">
                  <c:v>44158</c:v>
                </c:pt>
                <c:pt idx="3861">
                  <c:v>44159</c:v>
                </c:pt>
                <c:pt idx="3862">
                  <c:v>44160</c:v>
                </c:pt>
                <c:pt idx="3863">
                  <c:v>44161</c:v>
                </c:pt>
                <c:pt idx="3864">
                  <c:v>44162</c:v>
                </c:pt>
                <c:pt idx="3865">
                  <c:v>44165</c:v>
                </c:pt>
                <c:pt idx="3866">
                  <c:v>44166</c:v>
                </c:pt>
                <c:pt idx="3867">
                  <c:v>44167</c:v>
                </c:pt>
                <c:pt idx="3868">
                  <c:v>44168</c:v>
                </c:pt>
                <c:pt idx="3869">
                  <c:v>44169</c:v>
                </c:pt>
                <c:pt idx="3870">
                  <c:v>44172</c:v>
                </c:pt>
                <c:pt idx="3871">
                  <c:v>44173</c:v>
                </c:pt>
                <c:pt idx="3872">
                  <c:v>44174</c:v>
                </c:pt>
                <c:pt idx="3873">
                  <c:v>44175</c:v>
                </c:pt>
                <c:pt idx="3874">
                  <c:v>44176</c:v>
                </c:pt>
                <c:pt idx="3875">
                  <c:v>44179</c:v>
                </c:pt>
                <c:pt idx="3876">
                  <c:v>44180</c:v>
                </c:pt>
                <c:pt idx="3877">
                  <c:v>44181</c:v>
                </c:pt>
                <c:pt idx="3878">
                  <c:v>44182</c:v>
                </c:pt>
                <c:pt idx="3879">
                  <c:v>44183</c:v>
                </c:pt>
                <c:pt idx="3880">
                  <c:v>44186</c:v>
                </c:pt>
                <c:pt idx="3881">
                  <c:v>44187</c:v>
                </c:pt>
                <c:pt idx="3882">
                  <c:v>44188</c:v>
                </c:pt>
                <c:pt idx="3883">
                  <c:v>44189</c:v>
                </c:pt>
                <c:pt idx="3884">
                  <c:v>44190</c:v>
                </c:pt>
                <c:pt idx="3885">
                  <c:v>44193</c:v>
                </c:pt>
                <c:pt idx="3886">
                  <c:v>44194</c:v>
                </c:pt>
                <c:pt idx="3887">
                  <c:v>44195</c:v>
                </c:pt>
                <c:pt idx="3888">
                  <c:v>44196</c:v>
                </c:pt>
                <c:pt idx="3889">
                  <c:v>44200</c:v>
                </c:pt>
                <c:pt idx="3890">
                  <c:v>44201</c:v>
                </c:pt>
                <c:pt idx="3891">
                  <c:v>44202</c:v>
                </c:pt>
                <c:pt idx="3892">
                  <c:v>44203</c:v>
                </c:pt>
                <c:pt idx="3893">
                  <c:v>44204</c:v>
                </c:pt>
                <c:pt idx="3894">
                  <c:v>44207</c:v>
                </c:pt>
                <c:pt idx="3895">
                  <c:v>44208</c:v>
                </c:pt>
                <c:pt idx="3896">
                  <c:v>44209</c:v>
                </c:pt>
                <c:pt idx="3897">
                  <c:v>44210</c:v>
                </c:pt>
                <c:pt idx="3898">
                  <c:v>44211</c:v>
                </c:pt>
                <c:pt idx="3899">
                  <c:v>44214</c:v>
                </c:pt>
                <c:pt idx="3900">
                  <c:v>44215</c:v>
                </c:pt>
                <c:pt idx="3901">
                  <c:v>44216</c:v>
                </c:pt>
                <c:pt idx="3902">
                  <c:v>44217</c:v>
                </c:pt>
                <c:pt idx="3903">
                  <c:v>44218</c:v>
                </c:pt>
                <c:pt idx="3904">
                  <c:v>44221</c:v>
                </c:pt>
                <c:pt idx="3905">
                  <c:v>44222</c:v>
                </c:pt>
                <c:pt idx="3906">
                  <c:v>44223</c:v>
                </c:pt>
                <c:pt idx="3907">
                  <c:v>44224</c:v>
                </c:pt>
                <c:pt idx="3908">
                  <c:v>44225</c:v>
                </c:pt>
                <c:pt idx="3909">
                  <c:v>44228</c:v>
                </c:pt>
                <c:pt idx="3910">
                  <c:v>44229</c:v>
                </c:pt>
                <c:pt idx="3911">
                  <c:v>44230</c:v>
                </c:pt>
                <c:pt idx="3912">
                  <c:v>44231</c:v>
                </c:pt>
                <c:pt idx="3913">
                  <c:v>44232</c:v>
                </c:pt>
                <c:pt idx="3914">
                  <c:v>44235</c:v>
                </c:pt>
                <c:pt idx="3915">
                  <c:v>44236</c:v>
                </c:pt>
                <c:pt idx="3916">
                  <c:v>44237</c:v>
                </c:pt>
                <c:pt idx="3917">
                  <c:v>44245</c:v>
                </c:pt>
                <c:pt idx="3918">
                  <c:v>44246</c:v>
                </c:pt>
                <c:pt idx="3919">
                  <c:v>44249</c:v>
                </c:pt>
                <c:pt idx="3920">
                  <c:v>44250</c:v>
                </c:pt>
                <c:pt idx="3921">
                  <c:v>44251</c:v>
                </c:pt>
                <c:pt idx="3922">
                  <c:v>44252</c:v>
                </c:pt>
                <c:pt idx="3923">
                  <c:v>44253</c:v>
                </c:pt>
                <c:pt idx="3924">
                  <c:v>44256</c:v>
                </c:pt>
                <c:pt idx="3925">
                  <c:v>44257</c:v>
                </c:pt>
                <c:pt idx="3926">
                  <c:v>44258</c:v>
                </c:pt>
                <c:pt idx="3927">
                  <c:v>44259</c:v>
                </c:pt>
                <c:pt idx="3928">
                  <c:v>44260</c:v>
                </c:pt>
                <c:pt idx="3929">
                  <c:v>44263</c:v>
                </c:pt>
                <c:pt idx="3930">
                  <c:v>44264</c:v>
                </c:pt>
                <c:pt idx="3931">
                  <c:v>44265</c:v>
                </c:pt>
                <c:pt idx="3932">
                  <c:v>44266</c:v>
                </c:pt>
                <c:pt idx="3933">
                  <c:v>44267</c:v>
                </c:pt>
                <c:pt idx="3934">
                  <c:v>44270</c:v>
                </c:pt>
                <c:pt idx="3935">
                  <c:v>44271</c:v>
                </c:pt>
                <c:pt idx="3936">
                  <c:v>44272</c:v>
                </c:pt>
                <c:pt idx="3937">
                  <c:v>44273</c:v>
                </c:pt>
                <c:pt idx="3938">
                  <c:v>44274</c:v>
                </c:pt>
                <c:pt idx="3939">
                  <c:v>44277</c:v>
                </c:pt>
                <c:pt idx="3940">
                  <c:v>44278</c:v>
                </c:pt>
                <c:pt idx="3941">
                  <c:v>44279</c:v>
                </c:pt>
                <c:pt idx="3942">
                  <c:v>44280</c:v>
                </c:pt>
                <c:pt idx="3943">
                  <c:v>44281</c:v>
                </c:pt>
                <c:pt idx="3944">
                  <c:v>44284</c:v>
                </c:pt>
                <c:pt idx="3945">
                  <c:v>44285</c:v>
                </c:pt>
                <c:pt idx="3946">
                  <c:v>44286</c:v>
                </c:pt>
                <c:pt idx="3947">
                  <c:v>44287</c:v>
                </c:pt>
                <c:pt idx="3948">
                  <c:v>44288</c:v>
                </c:pt>
                <c:pt idx="3949">
                  <c:v>44292</c:v>
                </c:pt>
                <c:pt idx="3950">
                  <c:v>44293</c:v>
                </c:pt>
                <c:pt idx="3951">
                  <c:v>44294</c:v>
                </c:pt>
                <c:pt idx="3952">
                  <c:v>44295</c:v>
                </c:pt>
                <c:pt idx="3953">
                  <c:v>44298</c:v>
                </c:pt>
                <c:pt idx="3954">
                  <c:v>44299</c:v>
                </c:pt>
                <c:pt idx="3955">
                  <c:v>44300</c:v>
                </c:pt>
                <c:pt idx="3956">
                  <c:v>44301</c:v>
                </c:pt>
                <c:pt idx="3957">
                  <c:v>44302</c:v>
                </c:pt>
                <c:pt idx="3958">
                  <c:v>44305</c:v>
                </c:pt>
                <c:pt idx="3959">
                  <c:v>44306</c:v>
                </c:pt>
                <c:pt idx="3960">
                  <c:v>44307</c:v>
                </c:pt>
                <c:pt idx="3961">
                  <c:v>44308</c:v>
                </c:pt>
                <c:pt idx="3962">
                  <c:v>44309</c:v>
                </c:pt>
                <c:pt idx="3963">
                  <c:v>44312</c:v>
                </c:pt>
                <c:pt idx="3964">
                  <c:v>44313</c:v>
                </c:pt>
                <c:pt idx="3965">
                  <c:v>44314</c:v>
                </c:pt>
                <c:pt idx="3966">
                  <c:v>44315</c:v>
                </c:pt>
                <c:pt idx="3967">
                  <c:v>44316</c:v>
                </c:pt>
                <c:pt idx="3968">
                  <c:v>44322</c:v>
                </c:pt>
                <c:pt idx="3969">
                  <c:v>44323</c:v>
                </c:pt>
                <c:pt idx="3970">
                  <c:v>44326</c:v>
                </c:pt>
                <c:pt idx="3971">
                  <c:v>44327</c:v>
                </c:pt>
                <c:pt idx="3972">
                  <c:v>44328</c:v>
                </c:pt>
                <c:pt idx="3973">
                  <c:v>44329</c:v>
                </c:pt>
                <c:pt idx="3974">
                  <c:v>44330</c:v>
                </c:pt>
                <c:pt idx="3975">
                  <c:v>44333</c:v>
                </c:pt>
                <c:pt idx="3976">
                  <c:v>44334</c:v>
                </c:pt>
                <c:pt idx="3977">
                  <c:v>44335</c:v>
                </c:pt>
                <c:pt idx="3978">
                  <c:v>44336</c:v>
                </c:pt>
                <c:pt idx="3979">
                  <c:v>44337</c:v>
                </c:pt>
                <c:pt idx="3980">
                  <c:v>44340</c:v>
                </c:pt>
                <c:pt idx="3981">
                  <c:v>44341</c:v>
                </c:pt>
                <c:pt idx="3982">
                  <c:v>44342</c:v>
                </c:pt>
                <c:pt idx="3983">
                  <c:v>44343</c:v>
                </c:pt>
                <c:pt idx="3984">
                  <c:v>44344</c:v>
                </c:pt>
                <c:pt idx="3985">
                  <c:v>44347</c:v>
                </c:pt>
                <c:pt idx="3986">
                  <c:v>44348</c:v>
                </c:pt>
                <c:pt idx="3987">
                  <c:v>44349</c:v>
                </c:pt>
                <c:pt idx="3988">
                  <c:v>44350</c:v>
                </c:pt>
                <c:pt idx="3989">
                  <c:v>44351</c:v>
                </c:pt>
                <c:pt idx="3990">
                  <c:v>44354</c:v>
                </c:pt>
                <c:pt idx="3991">
                  <c:v>44355</c:v>
                </c:pt>
                <c:pt idx="3992">
                  <c:v>44356</c:v>
                </c:pt>
                <c:pt idx="3993">
                  <c:v>44357</c:v>
                </c:pt>
                <c:pt idx="3994">
                  <c:v>44358</c:v>
                </c:pt>
                <c:pt idx="3995">
                  <c:v>44362</c:v>
                </c:pt>
                <c:pt idx="3996">
                  <c:v>44363</c:v>
                </c:pt>
                <c:pt idx="3997">
                  <c:v>44364</c:v>
                </c:pt>
                <c:pt idx="3998">
                  <c:v>44365</c:v>
                </c:pt>
                <c:pt idx="3999">
                  <c:v>44368</c:v>
                </c:pt>
                <c:pt idx="4000">
                  <c:v>44369</c:v>
                </c:pt>
                <c:pt idx="4001">
                  <c:v>44370</c:v>
                </c:pt>
                <c:pt idx="4002">
                  <c:v>44371</c:v>
                </c:pt>
                <c:pt idx="4003">
                  <c:v>44372</c:v>
                </c:pt>
                <c:pt idx="4004">
                  <c:v>44375</c:v>
                </c:pt>
                <c:pt idx="4005">
                  <c:v>44376</c:v>
                </c:pt>
                <c:pt idx="4006">
                  <c:v>44377</c:v>
                </c:pt>
                <c:pt idx="4007">
                  <c:v>44378</c:v>
                </c:pt>
                <c:pt idx="4008">
                  <c:v>44379</c:v>
                </c:pt>
                <c:pt idx="4009">
                  <c:v>44382</c:v>
                </c:pt>
                <c:pt idx="4010">
                  <c:v>44383</c:v>
                </c:pt>
                <c:pt idx="4011">
                  <c:v>44384</c:v>
                </c:pt>
                <c:pt idx="4012">
                  <c:v>44385</c:v>
                </c:pt>
                <c:pt idx="4013">
                  <c:v>44386</c:v>
                </c:pt>
                <c:pt idx="4014">
                  <c:v>44389</c:v>
                </c:pt>
                <c:pt idx="4015">
                  <c:v>44390</c:v>
                </c:pt>
                <c:pt idx="4016">
                  <c:v>44391</c:v>
                </c:pt>
                <c:pt idx="4017">
                  <c:v>44392</c:v>
                </c:pt>
                <c:pt idx="4018">
                  <c:v>44393</c:v>
                </c:pt>
                <c:pt idx="4019">
                  <c:v>44396</c:v>
                </c:pt>
                <c:pt idx="4020">
                  <c:v>44397</c:v>
                </c:pt>
                <c:pt idx="4021">
                  <c:v>44398</c:v>
                </c:pt>
                <c:pt idx="4022">
                  <c:v>44399</c:v>
                </c:pt>
                <c:pt idx="4023">
                  <c:v>44400</c:v>
                </c:pt>
                <c:pt idx="4024">
                  <c:v>44403</c:v>
                </c:pt>
                <c:pt idx="4025">
                  <c:v>44404</c:v>
                </c:pt>
                <c:pt idx="4026">
                  <c:v>44405</c:v>
                </c:pt>
                <c:pt idx="4027">
                  <c:v>44406</c:v>
                </c:pt>
                <c:pt idx="4028">
                  <c:v>44407</c:v>
                </c:pt>
                <c:pt idx="4029">
                  <c:v>44410</c:v>
                </c:pt>
                <c:pt idx="4030">
                  <c:v>44411</c:v>
                </c:pt>
                <c:pt idx="4031">
                  <c:v>44412</c:v>
                </c:pt>
                <c:pt idx="4032">
                  <c:v>44413</c:v>
                </c:pt>
                <c:pt idx="4033">
                  <c:v>44414</c:v>
                </c:pt>
                <c:pt idx="4034">
                  <c:v>44417</c:v>
                </c:pt>
                <c:pt idx="4035">
                  <c:v>44418</c:v>
                </c:pt>
                <c:pt idx="4036">
                  <c:v>44419</c:v>
                </c:pt>
                <c:pt idx="4037">
                  <c:v>44420</c:v>
                </c:pt>
                <c:pt idx="4038">
                  <c:v>44421</c:v>
                </c:pt>
                <c:pt idx="4039">
                  <c:v>44424</c:v>
                </c:pt>
                <c:pt idx="4040">
                  <c:v>44425</c:v>
                </c:pt>
                <c:pt idx="4041">
                  <c:v>44426</c:v>
                </c:pt>
                <c:pt idx="4042">
                  <c:v>44427</c:v>
                </c:pt>
                <c:pt idx="4043">
                  <c:v>44428</c:v>
                </c:pt>
                <c:pt idx="4044">
                  <c:v>44431</c:v>
                </c:pt>
                <c:pt idx="4045">
                  <c:v>44432</c:v>
                </c:pt>
                <c:pt idx="4046">
                  <c:v>44433</c:v>
                </c:pt>
                <c:pt idx="4047">
                  <c:v>44434</c:v>
                </c:pt>
                <c:pt idx="4048">
                  <c:v>44435</c:v>
                </c:pt>
                <c:pt idx="4049">
                  <c:v>44438</c:v>
                </c:pt>
                <c:pt idx="4050">
                  <c:v>44439</c:v>
                </c:pt>
                <c:pt idx="4051">
                  <c:v>44440</c:v>
                </c:pt>
                <c:pt idx="4052">
                  <c:v>44441</c:v>
                </c:pt>
                <c:pt idx="4053">
                  <c:v>44442</c:v>
                </c:pt>
                <c:pt idx="4054">
                  <c:v>44445</c:v>
                </c:pt>
                <c:pt idx="4055">
                  <c:v>44446</c:v>
                </c:pt>
                <c:pt idx="4056">
                  <c:v>44447</c:v>
                </c:pt>
                <c:pt idx="4057">
                  <c:v>44448</c:v>
                </c:pt>
                <c:pt idx="4058">
                  <c:v>44449</c:v>
                </c:pt>
                <c:pt idx="4059">
                  <c:v>44452</c:v>
                </c:pt>
                <c:pt idx="4060">
                  <c:v>44453</c:v>
                </c:pt>
                <c:pt idx="4061">
                  <c:v>44454</c:v>
                </c:pt>
                <c:pt idx="4062">
                  <c:v>44455</c:v>
                </c:pt>
                <c:pt idx="4063">
                  <c:v>44456</c:v>
                </c:pt>
                <c:pt idx="4064">
                  <c:v>44461</c:v>
                </c:pt>
                <c:pt idx="4065">
                  <c:v>44462</c:v>
                </c:pt>
                <c:pt idx="4066">
                  <c:v>44463</c:v>
                </c:pt>
                <c:pt idx="4067">
                  <c:v>44466</c:v>
                </c:pt>
                <c:pt idx="4068">
                  <c:v>44467</c:v>
                </c:pt>
                <c:pt idx="4069">
                  <c:v>44468</c:v>
                </c:pt>
                <c:pt idx="4070">
                  <c:v>44469</c:v>
                </c:pt>
                <c:pt idx="4071">
                  <c:v>44477</c:v>
                </c:pt>
                <c:pt idx="4072">
                  <c:v>44480</c:v>
                </c:pt>
                <c:pt idx="4073">
                  <c:v>44481</c:v>
                </c:pt>
                <c:pt idx="4074">
                  <c:v>44482</c:v>
                </c:pt>
                <c:pt idx="4075">
                  <c:v>44483</c:v>
                </c:pt>
                <c:pt idx="4076">
                  <c:v>44484</c:v>
                </c:pt>
                <c:pt idx="4077">
                  <c:v>44487</c:v>
                </c:pt>
                <c:pt idx="4078">
                  <c:v>44488</c:v>
                </c:pt>
                <c:pt idx="4079">
                  <c:v>44489</c:v>
                </c:pt>
                <c:pt idx="4080">
                  <c:v>44490</c:v>
                </c:pt>
                <c:pt idx="4081">
                  <c:v>44491</c:v>
                </c:pt>
                <c:pt idx="4082">
                  <c:v>44494</c:v>
                </c:pt>
                <c:pt idx="4083">
                  <c:v>44495</c:v>
                </c:pt>
                <c:pt idx="4084">
                  <c:v>44496</c:v>
                </c:pt>
                <c:pt idx="4085">
                  <c:v>44497</c:v>
                </c:pt>
                <c:pt idx="4086">
                  <c:v>44498</c:v>
                </c:pt>
                <c:pt idx="4087">
                  <c:v>44501</c:v>
                </c:pt>
                <c:pt idx="4088">
                  <c:v>44502</c:v>
                </c:pt>
                <c:pt idx="4089">
                  <c:v>44503</c:v>
                </c:pt>
                <c:pt idx="4090">
                  <c:v>44504</c:v>
                </c:pt>
                <c:pt idx="4091">
                  <c:v>44505</c:v>
                </c:pt>
                <c:pt idx="4092">
                  <c:v>44508</c:v>
                </c:pt>
                <c:pt idx="4093">
                  <c:v>44509</c:v>
                </c:pt>
                <c:pt idx="4094">
                  <c:v>44510</c:v>
                </c:pt>
                <c:pt idx="4095">
                  <c:v>44511</c:v>
                </c:pt>
                <c:pt idx="4096">
                  <c:v>44512</c:v>
                </c:pt>
                <c:pt idx="4097">
                  <c:v>44515</c:v>
                </c:pt>
                <c:pt idx="4098">
                  <c:v>44516</c:v>
                </c:pt>
                <c:pt idx="4099">
                  <c:v>44517</c:v>
                </c:pt>
                <c:pt idx="4100">
                  <c:v>44518</c:v>
                </c:pt>
                <c:pt idx="4101">
                  <c:v>44519</c:v>
                </c:pt>
                <c:pt idx="4102">
                  <c:v>44522</c:v>
                </c:pt>
                <c:pt idx="4103">
                  <c:v>44523</c:v>
                </c:pt>
                <c:pt idx="4104">
                  <c:v>44524</c:v>
                </c:pt>
                <c:pt idx="4105">
                  <c:v>44525</c:v>
                </c:pt>
                <c:pt idx="4106">
                  <c:v>44526</c:v>
                </c:pt>
                <c:pt idx="4107">
                  <c:v>44529</c:v>
                </c:pt>
                <c:pt idx="4108">
                  <c:v>44530</c:v>
                </c:pt>
                <c:pt idx="4109">
                  <c:v>44531</c:v>
                </c:pt>
                <c:pt idx="4110">
                  <c:v>44532</c:v>
                </c:pt>
                <c:pt idx="4111">
                  <c:v>44533</c:v>
                </c:pt>
                <c:pt idx="4112">
                  <c:v>44536</c:v>
                </c:pt>
                <c:pt idx="4113">
                  <c:v>44537</c:v>
                </c:pt>
                <c:pt idx="4114">
                  <c:v>44538</c:v>
                </c:pt>
                <c:pt idx="4115">
                  <c:v>44539</c:v>
                </c:pt>
                <c:pt idx="4116">
                  <c:v>44540</c:v>
                </c:pt>
                <c:pt idx="4117">
                  <c:v>44543</c:v>
                </c:pt>
                <c:pt idx="4118">
                  <c:v>44544</c:v>
                </c:pt>
                <c:pt idx="4119">
                  <c:v>44545</c:v>
                </c:pt>
                <c:pt idx="4120">
                  <c:v>44546</c:v>
                </c:pt>
                <c:pt idx="4121">
                  <c:v>44547</c:v>
                </c:pt>
                <c:pt idx="4122">
                  <c:v>44550</c:v>
                </c:pt>
                <c:pt idx="4123">
                  <c:v>44551</c:v>
                </c:pt>
                <c:pt idx="4124">
                  <c:v>44552</c:v>
                </c:pt>
                <c:pt idx="4125">
                  <c:v>44553</c:v>
                </c:pt>
                <c:pt idx="4126">
                  <c:v>44554</c:v>
                </c:pt>
                <c:pt idx="4127">
                  <c:v>44557</c:v>
                </c:pt>
                <c:pt idx="4128">
                  <c:v>44558</c:v>
                </c:pt>
                <c:pt idx="4129">
                  <c:v>44559</c:v>
                </c:pt>
                <c:pt idx="4130">
                  <c:v>44560</c:v>
                </c:pt>
                <c:pt idx="4131">
                  <c:v>44561</c:v>
                </c:pt>
                <c:pt idx="4132">
                  <c:v>44565</c:v>
                </c:pt>
                <c:pt idx="4133">
                  <c:v>44566</c:v>
                </c:pt>
                <c:pt idx="4134">
                  <c:v>44567</c:v>
                </c:pt>
                <c:pt idx="4135">
                  <c:v>44568</c:v>
                </c:pt>
                <c:pt idx="4136">
                  <c:v>44571</c:v>
                </c:pt>
                <c:pt idx="4137">
                  <c:v>44572</c:v>
                </c:pt>
                <c:pt idx="4138">
                  <c:v>44573</c:v>
                </c:pt>
                <c:pt idx="4139">
                  <c:v>44574</c:v>
                </c:pt>
                <c:pt idx="4140">
                  <c:v>44575</c:v>
                </c:pt>
                <c:pt idx="4141">
                  <c:v>44578</c:v>
                </c:pt>
                <c:pt idx="4142">
                  <c:v>44579</c:v>
                </c:pt>
                <c:pt idx="4143">
                  <c:v>44580</c:v>
                </c:pt>
                <c:pt idx="4144">
                  <c:v>44581</c:v>
                </c:pt>
                <c:pt idx="4145">
                  <c:v>44582</c:v>
                </c:pt>
                <c:pt idx="4146">
                  <c:v>44585</c:v>
                </c:pt>
                <c:pt idx="4147">
                  <c:v>44586</c:v>
                </c:pt>
                <c:pt idx="4148">
                  <c:v>44587</c:v>
                </c:pt>
                <c:pt idx="4149">
                  <c:v>44588</c:v>
                </c:pt>
                <c:pt idx="4150">
                  <c:v>44589</c:v>
                </c:pt>
                <c:pt idx="4151">
                  <c:v>44599</c:v>
                </c:pt>
                <c:pt idx="4152">
                  <c:v>44600</c:v>
                </c:pt>
                <c:pt idx="4153">
                  <c:v>44601</c:v>
                </c:pt>
                <c:pt idx="4154">
                  <c:v>44602</c:v>
                </c:pt>
                <c:pt idx="4155">
                  <c:v>44603</c:v>
                </c:pt>
                <c:pt idx="4156">
                  <c:v>44606</c:v>
                </c:pt>
                <c:pt idx="4157">
                  <c:v>44607</c:v>
                </c:pt>
                <c:pt idx="4158">
                  <c:v>44608</c:v>
                </c:pt>
                <c:pt idx="4159">
                  <c:v>44609</c:v>
                </c:pt>
                <c:pt idx="4160">
                  <c:v>44610</c:v>
                </c:pt>
                <c:pt idx="4161">
                  <c:v>44613</c:v>
                </c:pt>
                <c:pt idx="4162">
                  <c:v>44614</c:v>
                </c:pt>
                <c:pt idx="4163">
                  <c:v>44615</c:v>
                </c:pt>
                <c:pt idx="4164">
                  <c:v>44616</c:v>
                </c:pt>
                <c:pt idx="4165">
                  <c:v>44617</c:v>
                </c:pt>
                <c:pt idx="4166">
                  <c:v>44620</c:v>
                </c:pt>
                <c:pt idx="4167">
                  <c:v>44621</c:v>
                </c:pt>
                <c:pt idx="4168">
                  <c:v>44622</c:v>
                </c:pt>
                <c:pt idx="4169">
                  <c:v>44623</c:v>
                </c:pt>
                <c:pt idx="4170">
                  <c:v>44624</c:v>
                </c:pt>
                <c:pt idx="4171">
                  <c:v>44627</c:v>
                </c:pt>
                <c:pt idx="4172">
                  <c:v>44628</c:v>
                </c:pt>
                <c:pt idx="4173">
                  <c:v>44629</c:v>
                </c:pt>
                <c:pt idx="4174">
                  <c:v>44630</c:v>
                </c:pt>
                <c:pt idx="4175">
                  <c:v>44631</c:v>
                </c:pt>
                <c:pt idx="4176">
                  <c:v>44634</c:v>
                </c:pt>
                <c:pt idx="4177">
                  <c:v>44635</c:v>
                </c:pt>
                <c:pt idx="4178">
                  <c:v>44636</c:v>
                </c:pt>
                <c:pt idx="4179">
                  <c:v>44637</c:v>
                </c:pt>
                <c:pt idx="4180">
                  <c:v>44638</c:v>
                </c:pt>
                <c:pt idx="4181">
                  <c:v>44641</c:v>
                </c:pt>
                <c:pt idx="4182">
                  <c:v>44642</c:v>
                </c:pt>
                <c:pt idx="4183">
                  <c:v>44643</c:v>
                </c:pt>
                <c:pt idx="4184">
                  <c:v>44644</c:v>
                </c:pt>
                <c:pt idx="4185">
                  <c:v>44645</c:v>
                </c:pt>
                <c:pt idx="4186">
                  <c:v>44648</c:v>
                </c:pt>
                <c:pt idx="4187">
                  <c:v>44649</c:v>
                </c:pt>
                <c:pt idx="4188">
                  <c:v>44650</c:v>
                </c:pt>
                <c:pt idx="4189">
                  <c:v>44651</c:v>
                </c:pt>
                <c:pt idx="4190">
                  <c:v>44652</c:v>
                </c:pt>
                <c:pt idx="4191">
                  <c:v>44657</c:v>
                </c:pt>
                <c:pt idx="4192">
                  <c:v>44658</c:v>
                </c:pt>
                <c:pt idx="4193">
                  <c:v>44659</c:v>
                </c:pt>
                <c:pt idx="4194">
                  <c:v>44662</c:v>
                </c:pt>
                <c:pt idx="4195">
                  <c:v>44663</c:v>
                </c:pt>
                <c:pt idx="4196">
                  <c:v>44664</c:v>
                </c:pt>
                <c:pt idx="4197">
                  <c:v>44665</c:v>
                </c:pt>
                <c:pt idx="4198">
                  <c:v>44666</c:v>
                </c:pt>
                <c:pt idx="4199">
                  <c:v>44669</c:v>
                </c:pt>
              </c:numCache>
            </c:numRef>
          </c:cat>
          <c:val>
            <c:numRef>
              <c:f>tr_60!$E$2:$E$4201</c:f>
              <c:numCache>
                <c:formatCode>General</c:formatCode>
                <c:ptCount val="4200"/>
                <c:pt idx="249">
                  <c:v>1.1053479999999999E-2</c:v>
                </c:pt>
                <c:pt idx="250">
                  <c:v>1.1091429999999999E-2</c:v>
                </c:pt>
                <c:pt idx="251">
                  <c:v>1.1116569999999999E-2</c:v>
                </c:pt>
                <c:pt idx="252">
                  <c:v>1.1158744E-2</c:v>
                </c:pt>
                <c:pt idx="253">
                  <c:v>1.1211995000000001E-2</c:v>
                </c:pt>
                <c:pt idx="254">
                  <c:v>1.1265077E-2</c:v>
                </c:pt>
                <c:pt idx="255">
                  <c:v>1.1307929E-2</c:v>
                </c:pt>
                <c:pt idx="256">
                  <c:v>1.1356919E-2</c:v>
                </c:pt>
                <c:pt idx="257">
                  <c:v>1.1394735E-2</c:v>
                </c:pt>
                <c:pt idx="258">
                  <c:v>1.1428888E-2</c:v>
                </c:pt>
                <c:pt idx="259">
                  <c:v>1.1493801E-2</c:v>
                </c:pt>
                <c:pt idx="260">
                  <c:v>1.1539143999999999E-2</c:v>
                </c:pt>
                <c:pt idx="261">
                  <c:v>1.1570866000000001E-2</c:v>
                </c:pt>
                <c:pt idx="262">
                  <c:v>1.1585654000000001E-2</c:v>
                </c:pt>
                <c:pt idx="263">
                  <c:v>1.1571267E-2</c:v>
                </c:pt>
                <c:pt idx="264">
                  <c:v>1.1553121E-2</c:v>
                </c:pt>
                <c:pt idx="265">
                  <c:v>1.1595064E-2</c:v>
                </c:pt>
                <c:pt idx="266">
                  <c:v>1.163323E-2</c:v>
                </c:pt>
                <c:pt idx="267">
                  <c:v>1.1655748E-2</c:v>
                </c:pt>
                <c:pt idx="268">
                  <c:v>1.168521E-2</c:v>
                </c:pt>
                <c:pt idx="269">
                  <c:v>1.1731893E-2</c:v>
                </c:pt>
                <c:pt idx="270">
                  <c:v>1.1786019999999999E-2</c:v>
                </c:pt>
                <c:pt idx="271">
                  <c:v>1.1771764000000001E-2</c:v>
                </c:pt>
                <c:pt idx="272">
                  <c:v>1.1756859999999999E-2</c:v>
                </c:pt>
                <c:pt idx="273">
                  <c:v>1.1773321E-2</c:v>
                </c:pt>
                <c:pt idx="274">
                  <c:v>1.1785323E-2</c:v>
                </c:pt>
                <c:pt idx="275">
                  <c:v>1.1805262E-2</c:v>
                </c:pt>
                <c:pt idx="276">
                  <c:v>1.1851937999999999E-2</c:v>
                </c:pt>
                <c:pt idx="277">
                  <c:v>1.1880117000000001E-2</c:v>
                </c:pt>
                <c:pt idx="278">
                  <c:v>1.1865117999999999E-2</c:v>
                </c:pt>
                <c:pt idx="279">
                  <c:v>1.1856731000000001E-2</c:v>
                </c:pt>
                <c:pt idx="280">
                  <c:v>1.1859784999999999E-2</c:v>
                </c:pt>
                <c:pt idx="281">
                  <c:v>1.1839808E-2</c:v>
                </c:pt>
                <c:pt idx="282">
                  <c:v>1.1818815999999999E-2</c:v>
                </c:pt>
                <c:pt idx="283">
                  <c:v>1.1820338999999999E-2</c:v>
                </c:pt>
                <c:pt idx="284">
                  <c:v>1.1807046E-2</c:v>
                </c:pt>
                <c:pt idx="285">
                  <c:v>1.1821162E-2</c:v>
                </c:pt>
                <c:pt idx="286">
                  <c:v>1.1837347999999999E-2</c:v>
                </c:pt>
                <c:pt idx="287">
                  <c:v>1.1853462E-2</c:v>
                </c:pt>
                <c:pt idx="288">
                  <c:v>1.1848299E-2</c:v>
                </c:pt>
                <c:pt idx="289">
                  <c:v>1.1831761999999999E-2</c:v>
                </c:pt>
                <c:pt idx="290">
                  <c:v>1.1820921E-2</c:v>
                </c:pt>
                <c:pt idx="291">
                  <c:v>1.1832211E-2</c:v>
                </c:pt>
                <c:pt idx="292">
                  <c:v>1.1830591E-2</c:v>
                </c:pt>
                <c:pt idx="293">
                  <c:v>1.1829772000000001E-2</c:v>
                </c:pt>
                <c:pt idx="294">
                  <c:v>1.1863619000000001E-2</c:v>
                </c:pt>
                <c:pt idx="295">
                  <c:v>1.1924324E-2</c:v>
                </c:pt>
                <c:pt idx="296">
                  <c:v>1.1960152999999999E-2</c:v>
                </c:pt>
                <c:pt idx="297">
                  <c:v>1.2000803000000001E-2</c:v>
                </c:pt>
                <c:pt idx="298">
                  <c:v>1.2031406E-2</c:v>
                </c:pt>
                <c:pt idx="299">
                  <c:v>1.2064854E-2</c:v>
                </c:pt>
                <c:pt idx="300">
                  <c:v>1.2101166999999999E-2</c:v>
                </c:pt>
                <c:pt idx="301">
                  <c:v>1.2155757E-2</c:v>
                </c:pt>
                <c:pt idx="302">
                  <c:v>1.2206460000000001E-2</c:v>
                </c:pt>
                <c:pt idx="303">
                  <c:v>1.2255500000000001E-2</c:v>
                </c:pt>
                <c:pt idx="304">
                  <c:v>1.2314636E-2</c:v>
                </c:pt>
                <c:pt idx="305">
                  <c:v>1.2352457000000001E-2</c:v>
                </c:pt>
                <c:pt idx="306">
                  <c:v>1.2362961E-2</c:v>
                </c:pt>
                <c:pt idx="307">
                  <c:v>1.2409931000000001E-2</c:v>
                </c:pt>
                <c:pt idx="308">
                  <c:v>1.2491360999999999E-2</c:v>
                </c:pt>
                <c:pt idx="309">
                  <c:v>1.2531862E-2</c:v>
                </c:pt>
                <c:pt idx="310">
                  <c:v>1.2554832E-2</c:v>
                </c:pt>
                <c:pt idx="311">
                  <c:v>1.2606205000000001E-2</c:v>
                </c:pt>
                <c:pt idx="312">
                  <c:v>1.264931E-2</c:v>
                </c:pt>
                <c:pt idx="313">
                  <c:v>1.273095E-2</c:v>
                </c:pt>
                <c:pt idx="314">
                  <c:v>1.275569E-2</c:v>
                </c:pt>
                <c:pt idx="315">
                  <c:v>1.2805919000000001E-2</c:v>
                </c:pt>
                <c:pt idx="316">
                  <c:v>1.2837367000000001E-2</c:v>
                </c:pt>
                <c:pt idx="317">
                  <c:v>1.2926846000000001E-2</c:v>
                </c:pt>
                <c:pt idx="318">
                  <c:v>1.3008149E-2</c:v>
                </c:pt>
                <c:pt idx="319">
                  <c:v>1.3107228E-2</c:v>
                </c:pt>
                <c:pt idx="320">
                  <c:v>1.3189617000000001E-2</c:v>
                </c:pt>
                <c:pt idx="321">
                  <c:v>1.3293699000000001E-2</c:v>
                </c:pt>
                <c:pt idx="322">
                  <c:v>1.3391629E-2</c:v>
                </c:pt>
                <c:pt idx="323">
                  <c:v>1.3538888000000001E-2</c:v>
                </c:pt>
                <c:pt idx="324">
                  <c:v>1.3674374E-2</c:v>
                </c:pt>
                <c:pt idx="325">
                  <c:v>1.3760166000000001E-2</c:v>
                </c:pt>
                <c:pt idx="326">
                  <c:v>1.3841854000000001E-2</c:v>
                </c:pt>
                <c:pt idx="327">
                  <c:v>1.4027378E-2</c:v>
                </c:pt>
                <c:pt idx="328">
                  <c:v>1.4158095000000001E-2</c:v>
                </c:pt>
                <c:pt idx="329">
                  <c:v>1.4279048000000001E-2</c:v>
                </c:pt>
                <c:pt idx="330">
                  <c:v>1.435781E-2</c:v>
                </c:pt>
                <c:pt idx="331">
                  <c:v>1.4412402E-2</c:v>
                </c:pt>
                <c:pt idx="332">
                  <c:v>1.4486448000000001E-2</c:v>
                </c:pt>
                <c:pt idx="333">
                  <c:v>1.4552756E-2</c:v>
                </c:pt>
                <c:pt idx="334">
                  <c:v>1.4625536999999999E-2</c:v>
                </c:pt>
                <c:pt idx="335">
                  <c:v>1.4703844000000001E-2</c:v>
                </c:pt>
                <c:pt idx="336">
                  <c:v>1.4807707E-2</c:v>
                </c:pt>
                <c:pt idx="337">
                  <c:v>1.4933798E-2</c:v>
                </c:pt>
                <c:pt idx="338">
                  <c:v>1.5045486E-2</c:v>
                </c:pt>
                <c:pt idx="339">
                  <c:v>1.5133182E-2</c:v>
                </c:pt>
                <c:pt idx="340">
                  <c:v>1.5239801000000001E-2</c:v>
                </c:pt>
                <c:pt idx="341">
                  <c:v>1.5316553E-2</c:v>
                </c:pt>
                <c:pt idx="342">
                  <c:v>1.5378640000000001E-2</c:v>
                </c:pt>
                <c:pt idx="343">
                  <c:v>1.5416035E-2</c:v>
                </c:pt>
                <c:pt idx="344">
                  <c:v>1.5461723E-2</c:v>
                </c:pt>
                <c:pt idx="345">
                  <c:v>1.5497801E-2</c:v>
                </c:pt>
                <c:pt idx="346">
                  <c:v>1.5519381E-2</c:v>
                </c:pt>
                <c:pt idx="347">
                  <c:v>1.5556349000000001E-2</c:v>
                </c:pt>
                <c:pt idx="348">
                  <c:v>1.5587147000000001E-2</c:v>
                </c:pt>
                <c:pt idx="349">
                  <c:v>1.5530321E-2</c:v>
                </c:pt>
                <c:pt idx="350">
                  <c:v>1.5497408000000001E-2</c:v>
                </c:pt>
                <c:pt idx="351">
                  <c:v>1.5472959E-2</c:v>
                </c:pt>
                <c:pt idx="352">
                  <c:v>1.5473873000000001E-2</c:v>
                </c:pt>
                <c:pt idx="353">
                  <c:v>1.5492987E-2</c:v>
                </c:pt>
                <c:pt idx="354">
                  <c:v>1.5512952E-2</c:v>
                </c:pt>
                <c:pt idx="355">
                  <c:v>1.552336E-2</c:v>
                </c:pt>
                <c:pt idx="356">
                  <c:v>1.5573294E-2</c:v>
                </c:pt>
                <c:pt idx="357">
                  <c:v>1.5597599E-2</c:v>
                </c:pt>
                <c:pt idx="358">
                  <c:v>1.5660173999999999E-2</c:v>
                </c:pt>
                <c:pt idx="359">
                  <c:v>1.5718857999999999E-2</c:v>
                </c:pt>
                <c:pt idx="360">
                  <c:v>1.5877308999999999E-2</c:v>
                </c:pt>
                <c:pt idx="361">
                  <c:v>1.5932539999999999E-2</c:v>
                </c:pt>
                <c:pt idx="362">
                  <c:v>1.5957728000000001E-2</c:v>
                </c:pt>
                <c:pt idx="363">
                  <c:v>1.5983002999999999E-2</c:v>
                </c:pt>
                <c:pt idx="364">
                  <c:v>1.6007190000000001E-2</c:v>
                </c:pt>
                <c:pt idx="365">
                  <c:v>1.6054427999999999E-2</c:v>
                </c:pt>
                <c:pt idx="366">
                  <c:v>1.6145237999999999E-2</c:v>
                </c:pt>
                <c:pt idx="367">
                  <c:v>1.6196239000000001E-2</c:v>
                </c:pt>
                <c:pt idx="368">
                  <c:v>1.6214198999999999E-2</c:v>
                </c:pt>
                <c:pt idx="369">
                  <c:v>1.6236059000000001E-2</c:v>
                </c:pt>
                <c:pt idx="370">
                  <c:v>1.6269977000000001E-2</c:v>
                </c:pt>
                <c:pt idx="371">
                  <c:v>1.6287131999999999E-2</c:v>
                </c:pt>
                <c:pt idx="372">
                  <c:v>1.6301731E-2</c:v>
                </c:pt>
                <c:pt idx="373">
                  <c:v>1.6282452999999999E-2</c:v>
                </c:pt>
                <c:pt idx="374">
                  <c:v>1.6296234999999999E-2</c:v>
                </c:pt>
                <c:pt idx="375">
                  <c:v>1.6304368E-2</c:v>
                </c:pt>
                <c:pt idx="376">
                  <c:v>1.6329624000000001E-2</c:v>
                </c:pt>
                <c:pt idx="377">
                  <c:v>1.6347163000000001E-2</c:v>
                </c:pt>
                <c:pt idx="378">
                  <c:v>1.6381000999999999E-2</c:v>
                </c:pt>
                <c:pt idx="379">
                  <c:v>1.6427048E-2</c:v>
                </c:pt>
                <c:pt idx="380">
                  <c:v>1.6454212999999999E-2</c:v>
                </c:pt>
                <c:pt idx="381">
                  <c:v>1.6400178000000001E-2</c:v>
                </c:pt>
                <c:pt idx="382">
                  <c:v>1.6400338E-2</c:v>
                </c:pt>
                <c:pt idx="383">
                  <c:v>1.6358991E-2</c:v>
                </c:pt>
                <c:pt idx="384">
                  <c:v>1.6331198000000002E-2</c:v>
                </c:pt>
                <c:pt idx="385">
                  <c:v>1.6299764000000001E-2</c:v>
                </c:pt>
                <c:pt idx="386">
                  <c:v>1.6311995999999999E-2</c:v>
                </c:pt>
                <c:pt idx="387">
                  <c:v>1.6311442999999998E-2</c:v>
                </c:pt>
                <c:pt idx="388">
                  <c:v>1.6313344E-2</c:v>
                </c:pt>
                <c:pt idx="389">
                  <c:v>1.6277888000000001E-2</c:v>
                </c:pt>
                <c:pt idx="390">
                  <c:v>1.6289977000000001E-2</c:v>
                </c:pt>
                <c:pt idx="391">
                  <c:v>1.6259210999999999E-2</c:v>
                </c:pt>
                <c:pt idx="392">
                  <c:v>1.6246490999999998E-2</c:v>
                </c:pt>
                <c:pt idx="393">
                  <c:v>1.6220787E-2</c:v>
                </c:pt>
                <c:pt idx="394">
                  <c:v>1.6186514999999999E-2</c:v>
                </c:pt>
                <c:pt idx="395">
                  <c:v>1.6144345000000001E-2</c:v>
                </c:pt>
                <c:pt idx="396">
                  <c:v>1.6083245999999999E-2</c:v>
                </c:pt>
                <c:pt idx="397">
                  <c:v>1.6032075999999999E-2</c:v>
                </c:pt>
                <c:pt idx="398">
                  <c:v>1.601607E-2</c:v>
                </c:pt>
                <c:pt idx="399">
                  <c:v>1.6018668E-2</c:v>
                </c:pt>
                <c:pt idx="400">
                  <c:v>1.5928608E-2</c:v>
                </c:pt>
                <c:pt idx="401">
                  <c:v>1.5903176000000002E-2</c:v>
                </c:pt>
                <c:pt idx="402">
                  <c:v>1.5900528000000001E-2</c:v>
                </c:pt>
                <c:pt idx="403">
                  <c:v>1.5897627000000001E-2</c:v>
                </c:pt>
                <c:pt idx="404">
                  <c:v>1.5906819999999999E-2</c:v>
                </c:pt>
                <c:pt idx="405">
                  <c:v>1.5908098999999998E-2</c:v>
                </c:pt>
                <c:pt idx="406">
                  <c:v>1.5910937999999999E-2</c:v>
                </c:pt>
                <c:pt idx="407">
                  <c:v>1.5900777000000001E-2</c:v>
                </c:pt>
                <c:pt idx="408">
                  <c:v>1.5917968000000001E-2</c:v>
                </c:pt>
                <c:pt idx="409">
                  <c:v>1.5963011999999999E-2</c:v>
                </c:pt>
                <c:pt idx="410">
                  <c:v>1.5999148000000001E-2</c:v>
                </c:pt>
                <c:pt idx="411">
                  <c:v>1.6006728000000001E-2</c:v>
                </c:pt>
                <c:pt idx="412">
                  <c:v>1.6065455999999999E-2</c:v>
                </c:pt>
                <c:pt idx="413">
                  <c:v>1.6088947999999999E-2</c:v>
                </c:pt>
                <c:pt idx="414">
                  <c:v>1.6094258E-2</c:v>
                </c:pt>
                <c:pt idx="415">
                  <c:v>1.6090691000000001E-2</c:v>
                </c:pt>
                <c:pt idx="416">
                  <c:v>1.6108753E-2</c:v>
                </c:pt>
                <c:pt idx="417">
                  <c:v>1.6150316000000001E-2</c:v>
                </c:pt>
                <c:pt idx="418">
                  <c:v>1.6162039999999999E-2</c:v>
                </c:pt>
                <c:pt idx="419">
                  <c:v>1.6154890000000002E-2</c:v>
                </c:pt>
                <c:pt idx="420">
                  <c:v>1.6154615000000001E-2</c:v>
                </c:pt>
                <c:pt idx="421">
                  <c:v>1.6170372999999998E-2</c:v>
                </c:pt>
                <c:pt idx="422">
                  <c:v>1.6202033000000001E-2</c:v>
                </c:pt>
                <c:pt idx="423">
                  <c:v>1.6275283000000001E-2</c:v>
                </c:pt>
                <c:pt idx="424">
                  <c:v>1.631438E-2</c:v>
                </c:pt>
                <c:pt idx="425">
                  <c:v>1.6334913999999999E-2</c:v>
                </c:pt>
                <c:pt idx="426">
                  <c:v>1.6380836999999999E-2</c:v>
                </c:pt>
                <c:pt idx="427">
                  <c:v>1.6421328999999998E-2</c:v>
                </c:pt>
                <c:pt idx="428">
                  <c:v>1.6445438999999999E-2</c:v>
                </c:pt>
                <c:pt idx="429">
                  <c:v>1.6474511000000001E-2</c:v>
                </c:pt>
                <c:pt idx="430">
                  <c:v>1.6486733999999999E-2</c:v>
                </c:pt>
                <c:pt idx="431">
                  <c:v>1.6513399000000002E-2</c:v>
                </c:pt>
                <c:pt idx="432">
                  <c:v>1.6554375999999999E-2</c:v>
                </c:pt>
                <c:pt idx="433">
                  <c:v>1.6604010999999998E-2</c:v>
                </c:pt>
                <c:pt idx="434">
                  <c:v>1.6637638E-2</c:v>
                </c:pt>
                <c:pt idx="435">
                  <c:v>1.6692338000000001E-2</c:v>
                </c:pt>
                <c:pt idx="436">
                  <c:v>1.6788681999999999E-2</c:v>
                </c:pt>
                <c:pt idx="437">
                  <c:v>1.6984032E-2</c:v>
                </c:pt>
                <c:pt idx="438">
                  <c:v>1.704102E-2</c:v>
                </c:pt>
                <c:pt idx="439">
                  <c:v>1.7103437999999999E-2</c:v>
                </c:pt>
                <c:pt idx="440">
                  <c:v>1.7145695999999998E-2</c:v>
                </c:pt>
                <c:pt idx="441">
                  <c:v>1.7208016999999999E-2</c:v>
                </c:pt>
                <c:pt idx="442">
                  <c:v>1.7270839999999999E-2</c:v>
                </c:pt>
                <c:pt idx="443">
                  <c:v>1.7334052999999999E-2</c:v>
                </c:pt>
                <c:pt idx="444">
                  <c:v>1.7387537000000002E-2</c:v>
                </c:pt>
                <c:pt idx="445">
                  <c:v>1.7411014999999998E-2</c:v>
                </c:pt>
                <c:pt idx="446">
                  <c:v>1.7460915E-2</c:v>
                </c:pt>
                <c:pt idx="447">
                  <c:v>1.7584591E-2</c:v>
                </c:pt>
                <c:pt idx="448">
                  <c:v>1.7668268000000001E-2</c:v>
                </c:pt>
                <c:pt idx="449">
                  <c:v>1.7729778000000002E-2</c:v>
                </c:pt>
                <c:pt idx="450">
                  <c:v>1.7801470999999999E-2</c:v>
                </c:pt>
                <c:pt idx="451">
                  <c:v>1.7944695E-2</c:v>
                </c:pt>
                <c:pt idx="452">
                  <c:v>1.8030839E-2</c:v>
                </c:pt>
                <c:pt idx="453">
                  <c:v>1.8133177E-2</c:v>
                </c:pt>
                <c:pt idx="454">
                  <c:v>1.8208798000000002E-2</c:v>
                </c:pt>
                <c:pt idx="455">
                  <c:v>1.8313917999999998E-2</c:v>
                </c:pt>
                <c:pt idx="456">
                  <c:v>1.8417307000000001E-2</c:v>
                </c:pt>
                <c:pt idx="457">
                  <c:v>1.8514474999999999E-2</c:v>
                </c:pt>
                <c:pt idx="458">
                  <c:v>1.8600390000000001E-2</c:v>
                </c:pt>
                <c:pt idx="459">
                  <c:v>1.8680202999999999E-2</c:v>
                </c:pt>
                <c:pt idx="460">
                  <c:v>1.8754336E-2</c:v>
                </c:pt>
                <c:pt idx="461">
                  <c:v>1.8824224000000001E-2</c:v>
                </c:pt>
                <c:pt idx="462">
                  <c:v>1.8908529E-2</c:v>
                </c:pt>
                <c:pt idx="463">
                  <c:v>1.904631E-2</c:v>
                </c:pt>
                <c:pt idx="464">
                  <c:v>1.9171068999999999E-2</c:v>
                </c:pt>
                <c:pt idx="465">
                  <c:v>1.9316568999999999E-2</c:v>
                </c:pt>
                <c:pt idx="466">
                  <c:v>1.9486441E-2</c:v>
                </c:pt>
                <c:pt idx="467">
                  <c:v>1.9621995999999999E-2</c:v>
                </c:pt>
                <c:pt idx="468">
                  <c:v>1.9725276999999999E-2</c:v>
                </c:pt>
                <c:pt idx="469">
                  <c:v>1.9857931999999998E-2</c:v>
                </c:pt>
                <c:pt idx="470">
                  <c:v>1.9958277E-2</c:v>
                </c:pt>
                <c:pt idx="471">
                  <c:v>2.0023276999999999E-2</c:v>
                </c:pt>
                <c:pt idx="472">
                  <c:v>2.0090393000000002E-2</c:v>
                </c:pt>
                <c:pt idx="473">
                  <c:v>2.0190876999999999E-2</c:v>
                </c:pt>
                <c:pt idx="474">
                  <c:v>2.0312051000000001E-2</c:v>
                </c:pt>
                <c:pt idx="475">
                  <c:v>2.0386529E-2</c:v>
                </c:pt>
                <c:pt idx="476">
                  <c:v>2.0453861E-2</c:v>
                </c:pt>
                <c:pt idx="477">
                  <c:v>2.0514088E-2</c:v>
                </c:pt>
                <c:pt idx="478">
                  <c:v>2.0628394000000001E-2</c:v>
                </c:pt>
                <c:pt idx="479">
                  <c:v>2.0728311999999999E-2</c:v>
                </c:pt>
                <c:pt idx="480">
                  <c:v>2.0819529E-2</c:v>
                </c:pt>
                <c:pt idx="481">
                  <c:v>2.0949163999999999E-2</c:v>
                </c:pt>
                <c:pt idx="482">
                  <c:v>2.1109184E-2</c:v>
                </c:pt>
                <c:pt idx="483">
                  <c:v>2.1353227999999998E-2</c:v>
                </c:pt>
                <c:pt idx="484">
                  <c:v>2.1550712E-2</c:v>
                </c:pt>
                <c:pt idx="485">
                  <c:v>2.1713232999999998E-2</c:v>
                </c:pt>
                <c:pt idx="486">
                  <c:v>2.1879268E-2</c:v>
                </c:pt>
                <c:pt idx="487">
                  <c:v>2.2021064999999999E-2</c:v>
                </c:pt>
                <c:pt idx="488">
                  <c:v>2.2165291E-2</c:v>
                </c:pt>
                <c:pt idx="489">
                  <c:v>2.2287255999999998E-2</c:v>
                </c:pt>
                <c:pt idx="490">
                  <c:v>2.2374983000000001E-2</c:v>
                </c:pt>
                <c:pt idx="491">
                  <c:v>2.2489262999999999E-2</c:v>
                </c:pt>
                <c:pt idx="492">
                  <c:v>2.2597598999999999E-2</c:v>
                </c:pt>
                <c:pt idx="493">
                  <c:v>2.2681006E-2</c:v>
                </c:pt>
                <c:pt idx="494">
                  <c:v>2.2739226000000001E-2</c:v>
                </c:pt>
                <c:pt idx="495">
                  <c:v>2.2860924000000001E-2</c:v>
                </c:pt>
                <c:pt idx="496">
                  <c:v>2.3010890999999999E-2</c:v>
                </c:pt>
                <c:pt idx="497">
                  <c:v>2.3116734E-2</c:v>
                </c:pt>
                <c:pt idx="498">
                  <c:v>2.3231492999999999E-2</c:v>
                </c:pt>
                <c:pt idx="499">
                  <c:v>2.3339958000000001E-2</c:v>
                </c:pt>
                <c:pt idx="500">
                  <c:v>2.3466541E-2</c:v>
                </c:pt>
                <c:pt idx="501">
                  <c:v>2.3593039E-2</c:v>
                </c:pt>
                <c:pt idx="502">
                  <c:v>2.3714625E-2</c:v>
                </c:pt>
                <c:pt idx="503">
                  <c:v>2.3780968999999999E-2</c:v>
                </c:pt>
                <c:pt idx="504">
                  <c:v>2.3837368000000001E-2</c:v>
                </c:pt>
                <c:pt idx="505">
                  <c:v>2.3890369000000002E-2</c:v>
                </c:pt>
                <c:pt idx="506">
                  <c:v>2.3994834999999999E-2</c:v>
                </c:pt>
                <c:pt idx="507">
                  <c:v>2.4098672000000002E-2</c:v>
                </c:pt>
                <c:pt idx="508">
                  <c:v>2.4145069000000002E-2</c:v>
                </c:pt>
                <c:pt idx="509">
                  <c:v>2.4158184999999999E-2</c:v>
                </c:pt>
                <c:pt idx="510">
                  <c:v>2.4193242E-2</c:v>
                </c:pt>
                <c:pt idx="511">
                  <c:v>2.4228187000000002E-2</c:v>
                </c:pt>
                <c:pt idx="512">
                  <c:v>2.4301646E-2</c:v>
                </c:pt>
                <c:pt idx="513">
                  <c:v>2.4390200000000001E-2</c:v>
                </c:pt>
                <c:pt idx="514">
                  <c:v>2.4496461000000001E-2</c:v>
                </c:pt>
                <c:pt idx="515">
                  <c:v>2.4577066000000002E-2</c:v>
                </c:pt>
                <c:pt idx="516">
                  <c:v>2.4717253000000002E-2</c:v>
                </c:pt>
                <c:pt idx="517">
                  <c:v>2.4824379000000001E-2</c:v>
                </c:pt>
                <c:pt idx="518">
                  <c:v>2.4927997E-2</c:v>
                </c:pt>
                <c:pt idx="519">
                  <c:v>2.4974744E-2</c:v>
                </c:pt>
                <c:pt idx="520">
                  <c:v>2.5038947999999998E-2</c:v>
                </c:pt>
                <c:pt idx="521">
                  <c:v>2.5099455999999999E-2</c:v>
                </c:pt>
                <c:pt idx="522">
                  <c:v>2.5165284999999999E-2</c:v>
                </c:pt>
                <c:pt idx="523">
                  <c:v>2.5176375000000001E-2</c:v>
                </c:pt>
                <c:pt idx="524">
                  <c:v>2.5264604E-2</c:v>
                </c:pt>
                <c:pt idx="525">
                  <c:v>2.5331306000000001E-2</c:v>
                </c:pt>
                <c:pt idx="526">
                  <c:v>2.5373425000000002E-2</c:v>
                </c:pt>
                <c:pt idx="527">
                  <c:v>2.5424764999999998E-2</c:v>
                </c:pt>
                <c:pt idx="528">
                  <c:v>2.5480930999999998E-2</c:v>
                </c:pt>
                <c:pt idx="529">
                  <c:v>2.5559739000000001E-2</c:v>
                </c:pt>
                <c:pt idx="530">
                  <c:v>2.5673971E-2</c:v>
                </c:pt>
                <c:pt idx="531">
                  <c:v>2.5749762999999998E-2</c:v>
                </c:pt>
                <c:pt idx="532">
                  <c:v>2.5836484E-2</c:v>
                </c:pt>
                <c:pt idx="533">
                  <c:v>2.5964549999999999E-2</c:v>
                </c:pt>
                <c:pt idx="534">
                  <c:v>2.6071210000000001E-2</c:v>
                </c:pt>
                <c:pt idx="535">
                  <c:v>2.6185929E-2</c:v>
                </c:pt>
                <c:pt idx="536">
                  <c:v>2.6307326999999998E-2</c:v>
                </c:pt>
                <c:pt idx="537">
                  <c:v>2.6519958E-2</c:v>
                </c:pt>
                <c:pt idx="538">
                  <c:v>2.6748456E-2</c:v>
                </c:pt>
                <c:pt idx="539">
                  <c:v>2.6829591999999999E-2</c:v>
                </c:pt>
                <c:pt idx="540">
                  <c:v>2.6916339000000001E-2</c:v>
                </c:pt>
                <c:pt idx="541">
                  <c:v>2.7011393000000002E-2</c:v>
                </c:pt>
                <c:pt idx="542">
                  <c:v>2.7111195000000001E-2</c:v>
                </c:pt>
                <c:pt idx="543">
                  <c:v>2.7217035000000001E-2</c:v>
                </c:pt>
                <c:pt idx="544">
                  <c:v>2.7286792000000001E-2</c:v>
                </c:pt>
                <c:pt idx="545">
                  <c:v>2.7358582999999999E-2</c:v>
                </c:pt>
                <c:pt idx="546">
                  <c:v>2.7493338999999999E-2</c:v>
                </c:pt>
                <c:pt idx="547">
                  <c:v>2.7636236000000002E-2</c:v>
                </c:pt>
                <c:pt idx="548">
                  <c:v>2.7736898999999999E-2</c:v>
                </c:pt>
                <c:pt idx="549">
                  <c:v>2.7851631000000002E-2</c:v>
                </c:pt>
                <c:pt idx="550">
                  <c:v>2.7945840999999999E-2</c:v>
                </c:pt>
                <c:pt idx="551">
                  <c:v>2.8053844000000001E-2</c:v>
                </c:pt>
                <c:pt idx="552">
                  <c:v>2.8166279999999998E-2</c:v>
                </c:pt>
                <c:pt idx="553">
                  <c:v>2.8303167000000001E-2</c:v>
                </c:pt>
                <c:pt idx="554">
                  <c:v>2.8386556E-2</c:v>
                </c:pt>
                <c:pt idx="555">
                  <c:v>2.8543539E-2</c:v>
                </c:pt>
                <c:pt idx="556">
                  <c:v>2.8675543000000001E-2</c:v>
                </c:pt>
                <c:pt idx="557">
                  <c:v>2.8789173000000001E-2</c:v>
                </c:pt>
                <c:pt idx="558">
                  <c:v>2.8821804999999999E-2</c:v>
                </c:pt>
                <c:pt idx="559">
                  <c:v>2.8908435999999999E-2</c:v>
                </c:pt>
                <c:pt idx="560">
                  <c:v>2.8978976E-2</c:v>
                </c:pt>
                <c:pt idx="561">
                  <c:v>2.9078626999999999E-2</c:v>
                </c:pt>
                <c:pt idx="562">
                  <c:v>2.9273751000000001E-2</c:v>
                </c:pt>
                <c:pt idx="563">
                  <c:v>2.9398323000000001E-2</c:v>
                </c:pt>
                <c:pt idx="564">
                  <c:v>2.9489152000000001E-2</c:v>
                </c:pt>
                <c:pt idx="565">
                  <c:v>2.9570235E-2</c:v>
                </c:pt>
                <c:pt idx="566">
                  <c:v>2.9706203E-2</c:v>
                </c:pt>
                <c:pt idx="567">
                  <c:v>2.9737659E-2</c:v>
                </c:pt>
                <c:pt idx="568">
                  <c:v>2.976875E-2</c:v>
                </c:pt>
                <c:pt idx="569">
                  <c:v>2.9779700999999999E-2</c:v>
                </c:pt>
                <c:pt idx="570">
                  <c:v>2.9843934999999999E-2</c:v>
                </c:pt>
                <c:pt idx="571">
                  <c:v>2.9870588E-2</c:v>
                </c:pt>
                <c:pt idx="572">
                  <c:v>2.9888990000000001E-2</c:v>
                </c:pt>
                <c:pt idx="573">
                  <c:v>2.9898935000000001E-2</c:v>
                </c:pt>
                <c:pt idx="574">
                  <c:v>2.9875246000000001E-2</c:v>
                </c:pt>
                <c:pt idx="575">
                  <c:v>2.9915293999999999E-2</c:v>
                </c:pt>
                <c:pt idx="576">
                  <c:v>2.9980217E-2</c:v>
                </c:pt>
                <c:pt idx="577">
                  <c:v>3.0001804999999999E-2</c:v>
                </c:pt>
                <c:pt idx="578">
                  <c:v>3.0059055000000001E-2</c:v>
                </c:pt>
                <c:pt idx="579">
                  <c:v>3.0114644999999999E-2</c:v>
                </c:pt>
                <c:pt idx="580">
                  <c:v>3.0152816999999998E-2</c:v>
                </c:pt>
                <c:pt idx="581">
                  <c:v>3.0233039999999999E-2</c:v>
                </c:pt>
                <c:pt idx="582">
                  <c:v>3.0278281000000001E-2</c:v>
                </c:pt>
                <c:pt idx="583">
                  <c:v>3.0325562E-2</c:v>
                </c:pt>
                <c:pt idx="584">
                  <c:v>3.0357045999999999E-2</c:v>
                </c:pt>
                <c:pt idx="585">
                  <c:v>3.0392539999999999E-2</c:v>
                </c:pt>
                <c:pt idx="586">
                  <c:v>3.0404996E-2</c:v>
                </c:pt>
                <c:pt idx="587">
                  <c:v>3.0425727E-2</c:v>
                </c:pt>
                <c:pt idx="588">
                  <c:v>3.0404034999999999E-2</c:v>
                </c:pt>
                <c:pt idx="589">
                  <c:v>3.0392595000000001E-2</c:v>
                </c:pt>
                <c:pt idx="590">
                  <c:v>3.0410581999999999E-2</c:v>
                </c:pt>
                <c:pt idx="591">
                  <c:v>3.0429777000000002E-2</c:v>
                </c:pt>
                <c:pt idx="592">
                  <c:v>3.0462132999999999E-2</c:v>
                </c:pt>
                <c:pt idx="593">
                  <c:v>3.0506980999999999E-2</c:v>
                </c:pt>
                <c:pt idx="594">
                  <c:v>3.0551839000000001E-2</c:v>
                </c:pt>
                <c:pt idx="595">
                  <c:v>3.0587144E-2</c:v>
                </c:pt>
                <c:pt idx="596">
                  <c:v>3.0634523E-2</c:v>
                </c:pt>
                <c:pt idx="597">
                  <c:v>3.0673644E-2</c:v>
                </c:pt>
                <c:pt idx="598">
                  <c:v>3.0715737E-2</c:v>
                </c:pt>
                <c:pt idx="599">
                  <c:v>3.07452E-2</c:v>
                </c:pt>
                <c:pt idx="600">
                  <c:v>3.0755695E-2</c:v>
                </c:pt>
                <c:pt idx="601">
                  <c:v>3.0774066999999999E-2</c:v>
                </c:pt>
                <c:pt idx="602">
                  <c:v>3.0778349999999999E-2</c:v>
                </c:pt>
                <c:pt idx="603">
                  <c:v>3.0773206000000001E-2</c:v>
                </c:pt>
                <c:pt idx="604">
                  <c:v>3.0790675E-2</c:v>
                </c:pt>
                <c:pt idx="605">
                  <c:v>3.0824790000000001E-2</c:v>
                </c:pt>
                <c:pt idx="606">
                  <c:v>3.0819764999999999E-2</c:v>
                </c:pt>
                <c:pt idx="607">
                  <c:v>3.0783380999999999E-2</c:v>
                </c:pt>
                <c:pt idx="608">
                  <c:v>3.0731794999999999E-2</c:v>
                </c:pt>
                <c:pt idx="609">
                  <c:v>3.0683736E-2</c:v>
                </c:pt>
                <c:pt idx="610">
                  <c:v>3.0542654999999998E-2</c:v>
                </c:pt>
                <c:pt idx="611">
                  <c:v>3.0512567000000001E-2</c:v>
                </c:pt>
                <c:pt idx="612">
                  <c:v>3.0522844E-2</c:v>
                </c:pt>
                <c:pt idx="613">
                  <c:v>3.0536267999999998E-2</c:v>
                </c:pt>
                <c:pt idx="614">
                  <c:v>3.0578010999999999E-2</c:v>
                </c:pt>
                <c:pt idx="615">
                  <c:v>3.0662595000000001E-2</c:v>
                </c:pt>
                <c:pt idx="616">
                  <c:v>3.0662670999999999E-2</c:v>
                </c:pt>
                <c:pt idx="617">
                  <c:v>3.0693821999999999E-2</c:v>
                </c:pt>
                <c:pt idx="618">
                  <c:v>3.0749332000000001E-2</c:v>
                </c:pt>
                <c:pt idx="619">
                  <c:v>3.0804615E-2</c:v>
                </c:pt>
                <c:pt idx="620">
                  <c:v>3.0872321000000001E-2</c:v>
                </c:pt>
                <c:pt idx="621">
                  <c:v>3.0938783000000001E-2</c:v>
                </c:pt>
                <c:pt idx="622">
                  <c:v>3.102837E-2</c:v>
                </c:pt>
                <c:pt idx="623">
                  <c:v>3.1088402000000001E-2</c:v>
                </c:pt>
                <c:pt idx="624">
                  <c:v>3.1190516000000001E-2</c:v>
                </c:pt>
                <c:pt idx="625">
                  <c:v>3.1275137000000001E-2</c:v>
                </c:pt>
                <c:pt idx="626">
                  <c:v>3.1354002999999998E-2</c:v>
                </c:pt>
                <c:pt idx="627">
                  <c:v>3.1499357999999998E-2</c:v>
                </c:pt>
                <c:pt idx="628">
                  <c:v>3.1588613000000001E-2</c:v>
                </c:pt>
                <c:pt idx="629">
                  <c:v>3.1645512000000001E-2</c:v>
                </c:pt>
                <c:pt idx="630">
                  <c:v>3.1769328999999999E-2</c:v>
                </c:pt>
                <c:pt idx="631">
                  <c:v>3.1836593000000003E-2</c:v>
                </c:pt>
                <c:pt idx="632">
                  <c:v>3.1906484999999998E-2</c:v>
                </c:pt>
                <c:pt idx="633">
                  <c:v>3.1981356000000002E-2</c:v>
                </c:pt>
                <c:pt idx="634">
                  <c:v>3.2069923E-2</c:v>
                </c:pt>
                <c:pt idx="635">
                  <c:v>3.2150893999999999E-2</c:v>
                </c:pt>
                <c:pt idx="636">
                  <c:v>3.2225800999999998E-2</c:v>
                </c:pt>
                <c:pt idx="637">
                  <c:v>3.2303852000000001E-2</c:v>
                </c:pt>
                <c:pt idx="638">
                  <c:v>3.2367854000000001E-2</c:v>
                </c:pt>
                <c:pt idx="639">
                  <c:v>3.2445765000000001E-2</c:v>
                </c:pt>
                <c:pt idx="640">
                  <c:v>3.2525921999999999E-2</c:v>
                </c:pt>
                <c:pt idx="641">
                  <c:v>3.2608696999999999E-2</c:v>
                </c:pt>
                <c:pt idx="642">
                  <c:v>3.2660551000000003E-2</c:v>
                </c:pt>
                <c:pt idx="643">
                  <c:v>3.2713759000000002E-2</c:v>
                </c:pt>
                <c:pt idx="644">
                  <c:v>3.2771171000000002E-2</c:v>
                </c:pt>
                <c:pt idx="645">
                  <c:v>3.2849120000000002E-2</c:v>
                </c:pt>
                <c:pt idx="646">
                  <c:v>3.2946294000000001E-2</c:v>
                </c:pt>
                <c:pt idx="647">
                  <c:v>3.3010273E-2</c:v>
                </c:pt>
                <c:pt idx="648">
                  <c:v>3.3072099000000001E-2</c:v>
                </c:pt>
                <c:pt idx="649">
                  <c:v>3.3135460999999998E-2</c:v>
                </c:pt>
                <c:pt idx="650">
                  <c:v>3.3197808000000002E-2</c:v>
                </c:pt>
                <c:pt idx="651">
                  <c:v>3.3263214999999999E-2</c:v>
                </c:pt>
                <c:pt idx="652">
                  <c:v>3.3308662000000003E-2</c:v>
                </c:pt>
                <c:pt idx="653">
                  <c:v>3.3353501000000001E-2</c:v>
                </c:pt>
                <c:pt idx="654">
                  <c:v>3.3384856999999997E-2</c:v>
                </c:pt>
                <c:pt idx="655">
                  <c:v>3.3442599000000003E-2</c:v>
                </c:pt>
                <c:pt idx="656">
                  <c:v>3.3497991999999997E-2</c:v>
                </c:pt>
                <c:pt idx="657">
                  <c:v>3.3554781999999998E-2</c:v>
                </c:pt>
                <c:pt idx="658">
                  <c:v>3.3584727000000002E-2</c:v>
                </c:pt>
                <c:pt idx="659">
                  <c:v>3.3594885999999997E-2</c:v>
                </c:pt>
                <c:pt idx="660">
                  <c:v>3.3579227000000003E-2</c:v>
                </c:pt>
                <c:pt idx="661">
                  <c:v>3.3675903E-2</c:v>
                </c:pt>
                <c:pt idx="662">
                  <c:v>3.3635062E-2</c:v>
                </c:pt>
                <c:pt idx="663">
                  <c:v>3.3626604999999997E-2</c:v>
                </c:pt>
                <c:pt idx="664">
                  <c:v>3.3664898999999998E-2</c:v>
                </c:pt>
                <c:pt idx="665">
                  <c:v>3.3756590000000003E-2</c:v>
                </c:pt>
                <c:pt idx="666">
                  <c:v>3.3810646E-2</c:v>
                </c:pt>
                <c:pt idx="667">
                  <c:v>3.3866752E-2</c:v>
                </c:pt>
                <c:pt idx="668">
                  <c:v>3.3948181000000001E-2</c:v>
                </c:pt>
                <c:pt idx="669">
                  <c:v>3.4052088000000001E-2</c:v>
                </c:pt>
                <c:pt idx="670">
                  <c:v>3.4149255000000003E-2</c:v>
                </c:pt>
                <c:pt idx="671">
                  <c:v>3.4236758999999999E-2</c:v>
                </c:pt>
                <c:pt idx="672">
                  <c:v>3.4255226E-2</c:v>
                </c:pt>
                <c:pt idx="673">
                  <c:v>3.4221883000000002E-2</c:v>
                </c:pt>
                <c:pt idx="674">
                  <c:v>3.4188313999999997E-2</c:v>
                </c:pt>
                <c:pt idx="675">
                  <c:v>3.4171743999999997E-2</c:v>
                </c:pt>
                <c:pt idx="676">
                  <c:v>3.4168010999999998E-2</c:v>
                </c:pt>
                <c:pt idx="677">
                  <c:v>3.4185123999999997E-2</c:v>
                </c:pt>
                <c:pt idx="678">
                  <c:v>3.4214880000000003E-2</c:v>
                </c:pt>
                <c:pt idx="679">
                  <c:v>3.4219988E-2</c:v>
                </c:pt>
                <c:pt idx="680">
                  <c:v>3.4233550000000001E-2</c:v>
                </c:pt>
                <c:pt idx="681">
                  <c:v>3.4251899000000002E-2</c:v>
                </c:pt>
                <c:pt idx="682">
                  <c:v>3.4277574999999998E-2</c:v>
                </c:pt>
                <c:pt idx="683">
                  <c:v>3.4293751999999997E-2</c:v>
                </c:pt>
                <c:pt idx="684">
                  <c:v>3.4304730999999998E-2</c:v>
                </c:pt>
                <c:pt idx="685">
                  <c:v>3.4329931000000001E-2</c:v>
                </c:pt>
                <c:pt idx="686">
                  <c:v>3.4265415E-2</c:v>
                </c:pt>
                <c:pt idx="687">
                  <c:v>3.4093725999999998E-2</c:v>
                </c:pt>
                <c:pt idx="688">
                  <c:v>3.4068156000000002E-2</c:v>
                </c:pt>
                <c:pt idx="689">
                  <c:v>3.4036226000000003E-2</c:v>
                </c:pt>
                <c:pt idx="690">
                  <c:v>3.4017591E-2</c:v>
                </c:pt>
                <c:pt idx="691">
                  <c:v>3.3981312999999999E-2</c:v>
                </c:pt>
                <c:pt idx="692">
                  <c:v>3.3930467999999998E-2</c:v>
                </c:pt>
                <c:pt idx="693">
                  <c:v>3.3882269E-2</c:v>
                </c:pt>
                <c:pt idx="694">
                  <c:v>3.3816290999999998E-2</c:v>
                </c:pt>
                <c:pt idx="695">
                  <c:v>3.3787848000000002E-2</c:v>
                </c:pt>
                <c:pt idx="696">
                  <c:v>3.3743912000000001E-2</c:v>
                </c:pt>
                <c:pt idx="697">
                  <c:v>3.3620604999999998E-2</c:v>
                </c:pt>
                <c:pt idx="698">
                  <c:v>3.3547596999999998E-2</c:v>
                </c:pt>
                <c:pt idx="699">
                  <c:v>3.3480197000000003E-2</c:v>
                </c:pt>
                <c:pt idx="700">
                  <c:v>3.3411626999999999E-2</c:v>
                </c:pt>
                <c:pt idx="701">
                  <c:v>3.3270987000000002E-2</c:v>
                </c:pt>
                <c:pt idx="702">
                  <c:v>3.3201716999999999E-2</c:v>
                </c:pt>
                <c:pt idx="703">
                  <c:v>3.3136908E-2</c:v>
                </c:pt>
                <c:pt idx="704">
                  <c:v>3.3074173999999998E-2</c:v>
                </c:pt>
                <c:pt idx="705">
                  <c:v>3.3026549000000002E-2</c:v>
                </c:pt>
                <c:pt idx="706">
                  <c:v>3.2954918E-2</c:v>
                </c:pt>
                <c:pt idx="707">
                  <c:v>3.2908156000000001E-2</c:v>
                </c:pt>
                <c:pt idx="708">
                  <c:v>3.2842164E-2</c:v>
                </c:pt>
                <c:pt idx="709">
                  <c:v>3.278404E-2</c:v>
                </c:pt>
                <c:pt idx="710">
                  <c:v>3.2752663000000001E-2</c:v>
                </c:pt>
                <c:pt idx="711">
                  <c:v>3.2690493000000001E-2</c:v>
                </c:pt>
                <c:pt idx="712">
                  <c:v>3.264773E-2</c:v>
                </c:pt>
                <c:pt idx="713">
                  <c:v>3.2547237E-2</c:v>
                </c:pt>
                <c:pt idx="714">
                  <c:v>3.2453735999999997E-2</c:v>
                </c:pt>
                <c:pt idx="715">
                  <c:v>3.2330664000000002E-2</c:v>
                </c:pt>
                <c:pt idx="716">
                  <c:v>3.2168207999999997E-2</c:v>
                </c:pt>
                <c:pt idx="717">
                  <c:v>3.2054230000000003E-2</c:v>
                </c:pt>
                <c:pt idx="718">
                  <c:v>3.1980242999999998E-2</c:v>
                </c:pt>
                <c:pt idx="719">
                  <c:v>3.1879993000000002E-2</c:v>
                </c:pt>
                <c:pt idx="720">
                  <c:v>3.1833719000000003E-2</c:v>
                </c:pt>
                <c:pt idx="721">
                  <c:v>3.1808217E-2</c:v>
                </c:pt>
                <c:pt idx="722">
                  <c:v>3.1778014E-2</c:v>
                </c:pt>
                <c:pt idx="723">
                  <c:v>3.1730070999999999E-2</c:v>
                </c:pt>
                <c:pt idx="724">
                  <c:v>3.1653775000000002E-2</c:v>
                </c:pt>
                <c:pt idx="725">
                  <c:v>3.1618624999999997E-2</c:v>
                </c:pt>
                <c:pt idx="726">
                  <c:v>3.1603150000000003E-2</c:v>
                </c:pt>
                <c:pt idx="727">
                  <c:v>3.1589344999999998E-2</c:v>
                </c:pt>
                <c:pt idx="728">
                  <c:v>3.1535578000000002E-2</c:v>
                </c:pt>
                <c:pt idx="729">
                  <c:v>3.1496164E-2</c:v>
                </c:pt>
                <c:pt idx="730">
                  <c:v>3.1418802000000003E-2</c:v>
                </c:pt>
                <c:pt idx="731">
                  <c:v>3.1346793999999997E-2</c:v>
                </c:pt>
                <c:pt idx="732">
                  <c:v>3.1253665E-2</c:v>
                </c:pt>
                <c:pt idx="733">
                  <c:v>3.1048348E-2</c:v>
                </c:pt>
                <c:pt idx="734">
                  <c:v>3.0899088000000002E-2</c:v>
                </c:pt>
                <c:pt idx="735">
                  <c:v>3.0798156E-2</c:v>
                </c:pt>
                <c:pt idx="736">
                  <c:v>3.069067E-2</c:v>
                </c:pt>
                <c:pt idx="737">
                  <c:v>3.0563247000000002E-2</c:v>
                </c:pt>
                <c:pt idx="738">
                  <c:v>3.0451855E-2</c:v>
                </c:pt>
                <c:pt idx="739">
                  <c:v>3.0382077E-2</c:v>
                </c:pt>
                <c:pt idx="740">
                  <c:v>3.031735E-2</c:v>
                </c:pt>
                <c:pt idx="741">
                  <c:v>3.0229348999999999E-2</c:v>
                </c:pt>
                <c:pt idx="742">
                  <c:v>3.0108922999999999E-2</c:v>
                </c:pt>
                <c:pt idx="743">
                  <c:v>2.9992313999999999E-2</c:v>
                </c:pt>
                <c:pt idx="744">
                  <c:v>2.9875868E-2</c:v>
                </c:pt>
                <c:pt idx="745">
                  <c:v>2.9731621E-2</c:v>
                </c:pt>
                <c:pt idx="746">
                  <c:v>2.9558635999999999E-2</c:v>
                </c:pt>
                <c:pt idx="747">
                  <c:v>2.9446307000000001E-2</c:v>
                </c:pt>
                <c:pt idx="748">
                  <c:v>2.9354156999999999E-2</c:v>
                </c:pt>
                <c:pt idx="749">
                  <c:v>2.9244437000000002E-2</c:v>
                </c:pt>
                <c:pt idx="750">
                  <c:v>2.9089924999999999E-2</c:v>
                </c:pt>
                <c:pt idx="751">
                  <c:v>2.8943751E-2</c:v>
                </c:pt>
                <c:pt idx="752">
                  <c:v>2.8794838E-2</c:v>
                </c:pt>
                <c:pt idx="753">
                  <c:v>2.8698382000000001E-2</c:v>
                </c:pt>
                <c:pt idx="754">
                  <c:v>2.8621297E-2</c:v>
                </c:pt>
                <c:pt idx="755">
                  <c:v>2.8568267000000001E-2</c:v>
                </c:pt>
                <c:pt idx="756">
                  <c:v>2.8452778000000001E-2</c:v>
                </c:pt>
                <c:pt idx="757">
                  <c:v>2.8353973000000001E-2</c:v>
                </c:pt>
                <c:pt idx="758">
                  <c:v>2.8293469000000002E-2</c:v>
                </c:pt>
                <c:pt idx="759">
                  <c:v>2.8240705000000001E-2</c:v>
                </c:pt>
                <c:pt idx="760">
                  <c:v>2.8171436000000001E-2</c:v>
                </c:pt>
                <c:pt idx="761">
                  <c:v>2.8104028E-2</c:v>
                </c:pt>
                <c:pt idx="762">
                  <c:v>2.8010725E-2</c:v>
                </c:pt>
                <c:pt idx="763">
                  <c:v>2.7927822000000001E-2</c:v>
                </c:pt>
                <c:pt idx="764">
                  <c:v>2.7839885000000002E-2</c:v>
                </c:pt>
                <c:pt idx="765">
                  <c:v>2.7729996999999999E-2</c:v>
                </c:pt>
                <c:pt idx="766">
                  <c:v>2.7576544000000001E-2</c:v>
                </c:pt>
                <c:pt idx="767">
                  <c:v>2.7454764999999999E-2</c:v>
                </c:pt>
                <c:pt idx="768">
                  <c:v>2.7377114000000001E-2</c:v>
                </c:pt>
                <c:pt idx="769">
                  <c:v>2.7308248E-2</c:v>
                </c:pt>
                <c:pt idx="770">
                  <c:v>2.7216111000000001E-2</c:v>
                </c:pt>
                <c:pt idx="771">
                  <c:v>2.7163778999999999E-2</c:v>
                </c:pt>
                <c:pt idx="772">
                  <c:v>2.7087804E-2</c:v>
                </c:pt>
                <c:pt idx="773">
                  <c:v>2.7034206000000002E-2</c:v>
                </c:pt>
                <c:pt idx="774">
                  <c:v>2.6942524999999998E-2</c:v>
                </c:pt>
                <c:pt idx="775">
                  <c:v>2.6880696999999999E-2</c:v>
                </c:pt>
                <c:pt idx="776">
                  <c:v>2.6832201E-2</c:v>
                </c:pt>
                <c:pt idx="777">
                  <c:v>2.677013E-2</c:v>
                </c:pt>
                <c:pt idx="778">
                  <c:v>2.6713661E-2</c:v>
                </c:pt>
                <c:pt idx="779">
                  <c:v>2.6627303000000001E-2</c:v>
                </c:pt>
                <c:pt idx="780">
                  <c:v>2.6506420999999999E-2</c:v>
                </c:pt>
                <c:pt idx="781">
                  <c:v>2.6443543999999999E-2</c:v>
                </c:pt>
                <c:pt idx="782">
                  <c:v>2.6400717000000001E-2</c:v>
                </c:pt>
                <c:pt idx="783">
                  <c:v>2.6290332999999999E-2</c:v>
                </c:pt>
                <c:pt idx="784">
                  <c:v>2.6205927E-2</c:v>
                </c:pt>
                <c:pt idx="785">
                  <c:v>2.6129611000000001E-2</c:v>
                </c:pt>
                <c:pt idx="786">
                  <c:v>2.6019145E-2</c:v>
                </c:pt>
                <c:pt idx="787">
                  <c:v>2.5827486E-2</c:v>
                </c:pt>
                <c:pt idx="788">
                  <c:v>2.5615536000000001E-2</c:v>
                </c:pt>
                <c:pt idx="789">
                  <c:v>2.5537392999999999E-2</c:v>
                </c:pt>
                <c:pt idx="790">
                  <c:v>2.5440867999999998E-2</c:v>
                </c:pt>
                <c:pt idx="791">
                  <c:v>2.5328112E-2</c:v>
                </c:pt>
                <c:pt idx="792">
                  <c:v>2.5224716000000001E-2</c:v>
                </c:pt>
                <c:pt idx="793">
                  <c:v>2.5119842E-2</c:v>
                </c:pt>
                <c:pt idx="794">
                  <c:v>2.5017365E-2</c:v>
                </c:pt>
                <c:pt idx="795">
                  <c:v>2.489015E-2</c:v>
                </c:pt>
                <c:pt idx="796">
                  <c:v>2.4730849999999999E-2</c:v>
                </c:pt>
                <c:pt idx="797">
                  <c:v>2.4585282999999999E-2</c:v>
                </c:pt>
                <c:pt idx="798">
                  <c:v>2.4462926999999999E-2</c:v>
                </c:pt>
                <c:pt idx="799">
                  <c:v>2.4351623999999999E-2</c:v>
                </c:pt>
                <c:pt idx="800">
                  <c:v>2.4349438000000001E-2</c:v>
                </c:pt>
                <c:pt idx="801">
                  <c:v>2.4311577000000001E-2</c:v>
                </c:pt>
                <c:pt idx="802">
                  <c:v>2.4196985000000001E-2</c:v>
                </c:pt>
                <c:pt idx="803">
                  <c:v>2.4049221999999999E-2</c:v>
                </c:pt>
                <c:pt idx="804">
                  <c:v>2.3994469000000001E-2</c:v>
                </c:pt>
                <c:pt idx="805">
                  <c:v>2.3864837999999999E-2</c:v>
                </c:pt>
                <c:pt idx="806">
                  <c:v>2.3750469999999999E-2</c:v>
                </c:pt>
                <c:pt idx="807">
                  <c:v>2.3630775E-2</c:v>
                </c:pt>
                <c:pt idx="808">
                  <c:v>2.3548441E-2</c:v>
                </c:pt>
                <c:pt idx="809">
                  <c:v>2.3449964E-2</c:v>
                </c:pt>
                <c:pt idx="810">
                  <c:v>2.3339643E-2</c:v>
                </c:pt>
                <c:pt idx="811">
                  <c:v>2.3199174999999999E-2</c:v>
                </c:pt>
                <c:pt idx="812">
                  <c:v>2.2964364000000001E-2</c:v>
                </c:pt>
                <c:pt idx="813">
                  <c:v>2.2783405999999999E-2</c:v>
                </c:pt>
                <c:pt idx="814">
                  <c:v>2.2654023999999998E-2</c:v>
                </c:pt>
                <c:pt idx="815">
                  <c:v>2.2509503E-2</c:v>
                </c:pt>
                <c:pt idx="816">
                  <c:v>2.2350808E-2</c:v>
                </c:pt>
                <c:pt idx="817">
                  <c:v>2.2247154000000002E-2</c:v>
                </c:pt>
                <c:pt idx="818">
                  <c:v>2.2142945000000001E-2</c:v>
                </c:pt>
                <c:pt idx="819">
                  <c:v>2.2045629000000001E-2</c:v>
                </c:pt>
                <c:pt idx="820">
                  <c:v>2.1899788999999999E-2</c:v>
                </c:pt>
                <c:pt idx="821">
                  <c:v>2.1759385999999999E-2</c:v>
                </c:pt>
                <c:pt idx="822">
                  <c:v>2.1638560000000001E-2</c:v>
                </c:pt>
                <c:pt idx="823">
                  <c:v>2.1476449000000002E-2</c:v>
                </c:pt>
                <c:pt idx="824">
                  <c:v>2.1354504E-2</c:v>
                </c:pt>
                <c:pt idx="825">
                  <c:v>2.1207177000000001E-2</c:v>
                </c:pt>
                <c:pt idx="826">
                  <c:v>2.1066347999999999E-2</c:v>
                </c:pt>
                <c:pt idx="827">
                  <c:v>2.0866875E-2</c:v>
                </c:pt>
                <c:pt idx="828">
                  <c:v>2.0666145E-2</c:v>
                </c:pt>
                <c:pt idx="829">
                  <c:v>2.0484871000000002E-2</c:v>
                </c:pt>
                <c:pt idx="830">
                  <c:v>2.037311E-2</c:v>
                </c:pt>
                <c:pt idx="831">
                  <c:v>2.0235665E-2</c:v>
                </c:pt>
                <c:pt idx="832">
                  <c:v>2.0127946000000001E-2</c:v>
                </c:pt>
                <c:pt idx="833">
                  <c:v>2.0012344000000001E-2</c:v>
                </c:pt>
                <c:pt idx="834">
                  <c:v>1.9910939999999999E-2</c:v>
                </c:pt>
                <c:pt idx="835">
                  <c:v>1.9797815999999999E-2</c:v>
                </c:pt>
                <c:pt idx="836">
                  <c:v>1.9708218999999999E-2</c:v>
                </c:pt>
                <c:pt idx="837">
                  <c:v>1.9577972999999999E-2</c:v>
                </c:pt>
                <c:pt idx="838">
                  <c:v>1.9514261000000001E-2</c:v>
                </c:pt>
                <c:pt idx="839">
                  <c:v>1.9441027999999999E-2</c:v>
                </c:pt>
                <c:pt idx="840">
                  <c:v>1.9331284000000001E-2</c:v>
                </c:pt>
                <c:pt idx="841">
                  <c:v>1.9251159E-2</c:v>
                </c:pt>
                <c:pt idx="842">
                  <c:v>1.9178896000000001E-2</c:v>
                </c:pt>
                <c:pt idx="843">
                  <c:v>1.9114345000000001E-2</c:v>
                </c:pt>
                <c:pt idx="844">
                  <c:v>1.9027518E-2</c:v>
                </c:pt>
                <c:pt idx="845">
                  <c:v>1.8951171999999999E-2</c:v>
                </c:pt>
                <c:pt idx="846">
                  <c:v>1.8880278E-2</c:v>
                </c:pt>
                <c:pt idx="847">
                  <c:v>1.8818444E-2</c:v>
                </c:pt>
                <c:pt idx="848">
                  <c:v>1.8739161000000001E-2</c:v>
                </c:pt>
                <c:pt idx="849">
                  <c:v>1.8696984999999999E-2</c:v>
                </c:pt>
                <c:pt idx="850">
                  <c:v>1.8661477999999999E-2</c:v>
                </c:pt>
                <c:pt idx="851">
                  <c:v>1.8654469E-2</c:v>
                </c:pt>
                <c:pt idx="852">
                  <c:v>1.8652508000000002E-2</c:v>
                </c:pt>
                <c:pt idx="853">
                  <c:v>1.8625006E-2</c:v>
                </c:pt>
                <c:pt idx="854">
                  <c:v>1.8581212999999999E-2</c:v>
                </c:pt>
                <c:pt idx="855">
                  <c:v>1.8539024000000001E-2</c:v>
                </c:pt>
                <c:pt idx="856">
                  <c:v>1.8480640999999999E-2</c:v>
                </c:pt>
                <c:pt idx="857">
                  <c:v>1.8454991E-2</c:v>
                </c:pt>
                <c:pt idx="858">
                  <c:v>1.8447894999999999E-2</c:v>
                </c:pt>
                <c:pt idx="859">
                  <c:v>1.8451088000000001E-2</c:v>
                </c:pt>
                <c:pt idx="860">
                  <c:v>1.8440584999999999E-2</c:v>
                </c:pt>
                <c:pt idx="861">
                  <c:v>1.8419491E-2</c:v>
                </c:pt>
                <c:pt idx="862">
                  <c:v>1.8379425000000001E-2</c:v>
                </c:pt>
                <c:pt idx="863">
                  <c:v>1.8350350000000001E-2</c:v>
                </c:pt>
                <c:pt idx="864">
                  <c:v>1.8279523999999998E-2</c:v>
                </c:pt>
                <c:pt idx="865">
                  <c:v>1.8146563000000001E-2</c:v>
                </c:pt>
                <c:pt idx="866">
                  <c:v>1.8051586000000001E-2</c:v>
                </c:pt>
                <c:pt idx="867">
                  <c:v>1.7964701E-2</c:v>
                </c:pt>
                <c:pt idx="868">
                  <c:v>1.7891104000000001E-2</c:v>
                </c:pt>
                <c:pt idx="869">
                  <c:v>1.7810970999999998E-2</c:v>
                </c:pt>
                <c:pt idx="870">
                  <c:v>1.7715567000000002E-2</c:v>
                </c:pt>
                <c:pt idx="871">
                  <c:v>1.7634066E-2</c:v>
                </c:pt>
                <c:pt idx="872">
                  <c:v>1.7524189999999999E-2</c:v>
                </c:pt>
                <c:pt idx="873">
                  <c:v>1.7450008999999999E-2</c:v>
                </c:pt>
                <c:pt idx="874">
                  <c:v>1.7332548E-2</c:v>
                </c:pt>
                <c:pt idx="875">
                  <c:v>1.7227222E-2</c:v>
                </c:pt>
                <c:pt idx="876">
                  <c:v>1.7118596E-2</c:v>
                </c:pt>
                <c:pt idx="877">
                  <c:v>1.6946523000000002E-2</c:v>
                </c:pt>
                <c:pt idx="878">
                  <c:v>1.6815027999999999E-2</c:v>
                </c:pt>
                <c:pt idx="879">
                  <c:v>1.6735211E-2</c:v>
                </c:pt>
                <c:pt idx="880">
                  <c:v>1.6585091999999999E-2</c:v>
                </c:pt>
                <c:pt idx="881">
                  <c:v>1.6536540999999998E-2</c:v>
                </c:pt>
                <c:pt idx="882">
                  <c:v>1.6466628000000001E-2</c:v>
                </c:pt>
                <c:pt idx="883">
                  <c:v>1.6378101999999999E-2</c:v>
                </c:pt>
                <c:pt idx="884">
                  <c:v>1.6276045999999999E-2</c:v>
                </c:pt>
                <c:pt idx="885">
                  <c:v>1.6186043000000001E-2</c:v>
                </c:pt>
                <c:pt idx="886">
                  <c:v>1.6085921999999999E-2</c:v>
                </c:pt>
                <c:pt idx="887">
                  <c:v>1.5994997E-2</c:v>
                </c:pt>
                <c:pt idx="888">
                  <c:v>1.5921171000000001E-2</c:v>
                </c:pt>
                <c:pt idx="889">
                  <c:v>1.5827964999999999E-2</c:v>
                </c:pt>
                <c:pt idx="890">
                  <c:v>1.5713492999999999E-2</c:v>
                </c:pt>
                <c:pt idx="891">
                  <c:v>1.5620136999999999E-2</c:v>
                </c:pt>
                <c:pt idx="892">
                  <c:v>1.5535353999999999E-2</c:v>
                </c:pt>
                <c:pt idx="893">
                  <c:v>1.5470153E-2</c:v>
                </c:pt>
                <c:pt idx="894">
                  <c:v>1.5397232E-2</c:v>
                </c:pt>
                <c:pt idx="895">
                  <c:v>1.5289132E-2</c:v>
                </c:pt>
                <c:pt idx="896">
                  <c:v>1.5175975E-2</c:v>
                </c:pt>
                <c:pt idx="897">
                  <c:v>1.5092530999999999E-2</c:v>
                </c:pt>
                <c:pt idx="898">
                  <c:v>1.4988336E-2</c:v>
                </c:pt>
                <c:pt idx="899">
                  <c:v>1.4894733E-2</c:v>
                </c:pt>
                <c:pt idx="900">
                  <c:v>1.4829824E-2</c:v>
                </c:pt>
                <c:pt idx="901">
                  <c:v>1.4772998000000001E-2</c:v>
                </c:pt>
                <c:pt idx="902">
                  <c:v>1.4714781E-2</c:v>
                </c:pt>
                <c:pt idx="903">
                  <c:v>1.4737655000000001E-2</c:v>
                </c:pt>
                <c:pt idx="904">
                  <c:v>1.4739359E-2</c:v>
                </c:pt>
                <c:pt idx="905">
                  <c:v>1.4686513999999999E-2</c:v>
                </c:pt>
                <c:pt idx="906">
                  <c:v>1.4658123E-2</c:v>
                </c:pt>
                <c:pt idx="907">
                  <c:v>1.4621989E-2</c:v>
                </c:pt>
                <c:pt idx="908">
                  <c:v>1.458432E-2</c:v>
                </c:pt>
                <c:pt idx="909">
                  <c:v>1.4533846E-2</c:v>
                </c:pt>
                <c:pt idx="910">
                  <c:v>1.4489636E-2</c:v>
                </c:pt>
                <c:pt idx="911">
                  <c:v>1.4369119E-2</c:v>
                </c:pt>
                <c:pt idx="912">
                  <c:v>1.434012E-2</c:v>
                </c:pt>
                <c:pt idx="913">
                  <c:v>1.4318192E-2</c:v>
                </c:pt>
                <c:pt idx="914">
                  <c:v>1.4280442000000001E-2</c:v>
                </c:pt>
                <c:pt idx="915">
                  <c:v>1.4162861000000001E-2</c:v>
                </c:pt>
                <c:pt idx="916">
                  <c:v>1.4083643999999999E-2</c:v>
                </c:pt>
                <c:pt idx="917">
                  <c:v>1.3982560999999999E-2</c:v>
                </c:pt>
                <c:pt idx="918">
                  <c:v>1.3875804E-2</c:v>
                </c:pt>
                <c:pt idx="919">
                  <c:v>1.3763258E-2</c:v>
                </c:pt>
                <c:pt idx="920">
                  <c:v>1.3666152000000001E-2</c:v>
                </c:pt>
                <c:pt idx="921">
                  <c:v>1.3568665000000001E-2</c:v>
                </c:pt>
                <c:pt idx="922">
                  <c:v>1.3518636000000001E-2</c:v>
                </c:pt>
                <c:pt idx="923">
                  <c:v>1.3465997E-2</c:v>
                </c:pt>
                <c:pt idx="924">
                  <c:v>1.3450827E-2</c:v>
                </c:pt>
                <c:pt idx="925">
                  <c:v>1.3431566000000001E-2</c:v>
                </c:pt>
                <c:pt idx="926">
                  <c:v>1.3399565E-2</c:v>
                </c:pt>
                <c:pt idx="927">
                  <c:v>1.3337678E-2</c:v>
                </c:pt>
                <c:pt idx="928">
                  <c:v>1.3272300000000001E-2</c:v>
                </c:pt>
                <c:pt idx="929">
                  <c:v>1.3237934999999999E-2</c:v>
                </c:pt>
                <c:pt idx="930">
                  <c:v>1.3218656000000001E-2</c:v>
                </c:pt>
                <c:pt idx="931">
                  <c:v>1.3176233000000001E-2</c:v>
                </c:pt>
                <c:pt idx="932">
                  <c:v>1.3120486000000001E-2</c:v>
                </c:pt>
                <c:pt idx="933">
                  <c:v>1.3105276000000001E-2</c:v>
                </c:pt>
                <c:pt idx="934">
                  <c:v>1.3089093E-2</c:v>
                </c:pt>
                <c:pt idx="935">
                  <c:v>1.3021504E-2</c:v>
                </c:pt>
                <c:pt idx="936">
                  <c:v>1.3048093E-2</c:v>
                </c:pt>
                <c:pt idx="937">
                  <c:v>1.3078945E-2</c:v>
                </c:pt>
                <c:pt idx="938">
                  <c:v>1.3113972999999999E-2</c:v>
                </c:pt>
                <c:pt idx="939">
                  <c:v>1.3163339E-2</c:v>
                </c:pt>
                <c:pt idx="940">
                  <c:v>1.3180498000000001E-2</c:v>
                </c:pt>
                <c:pt idx="941">
                  <c:v>1.3202297999999999E-2</c:v>
                </c:pt>
                <c:pt idx="942">
                  <c:v>1.3228626E-2</c:v>
                </c:pt>
                <c:pt idx="943">
                  <c:v>1.3230769E-2</c:v>
                </c:pt>
                <c:pt idx="944">
                  <c:v>1.3237878E-2</c:v>
                </c:pt>
                <c:pt idx="945">
                  <c:v>1.3242759999999999E-2</c:v>
                </c:pt>
                <c:pt idx="946">
                  <c:v>1.3286643000000001E-2</c:v>
                </c:pt>
                <c:pt idx="947">
                  <c:v>1.3302118E-2</c:v>
                </c:pt>
                <c:pt idx="948">
                  <c:v>1.3304896E-2</c:v>
                </c:pt>
                <c:pt idx="949">
                  <c:v>1.3329074999999999E-2</c:v>
                </c:pt>
                <c:pt idx="950">
                  <c:v>1.3375457E-2</c:v>
                </c:pt>
                <c:pt idx="951">
                  <c:v>1.3460819000000001E-2</c:v>
                </c:pt>
                <c:pt idx="952">
                  <c:v>1.3488251999999999E-2</c:v>
                </c:pt>
                <c:pt idx="953">
                  <c:v>1.3526844999999999E-2</c:v>
                </c:pt>
                <c:pt idx="954">
                  <c:v>1.3560350000000001E-2</c:v>
                </c:pt>
                <c:pt idx="955">
                  <c:v>1.3548556E-2</c:v>
                </c:pt>
                <c:pt idx="956">
                  <c:v>1.3559395E-2</c:v>
                </c:pt>
                <c:pt idx="957">
                  <c:v>1.3557876999999999E-2</c:v>
                </c:pt>
                <c:pt idx="958">
                  <c:v>1.3563215999999999E-2</c:v>
                </c:pt>
                <c:pt idx="959">
                  <c:v>1.3563703999999999E-2</c:v>
                </c:pt>
                <c:pt idx="960">
                  <c:v>1.3550520999999999E-2</c:v>
                </c:pt>
                <c:pt idx="961">
                  <c:v>1.3548891E-2</c:v>
                </c:pt>
                <c:pt idx="962">
                  <c:v>1.3544198E-2</c:v>
                </c:pt>
                <c:pt idx="963">
                  <c:v>1.353218E-2</c:v>
                </c:pt>
                <c:pt idx="964">
                  <c:v>1.3540003E-2</c:v>
                </c:pt>
                <c:pt idx="965">
                  <c:v>1.3519913E-2</c:v>
                </c:pt>
                <c:pt idx="966">
                  <c:v>1.3519710000000001E-2</c:v>
                </c:pt>
                <c:pt idx="967">
                  <c:v>1.3503377E-2</c:v>
                </c:pt>
                <c:pt idx="968">
                  <c:v>1.3490673E-2</c:v>
                </c:pt>
                <c:pt idx="969">
                  <c:v>1.3467052E-2</c:v>
                </c:pt>
                <c:pt idx="970">
                  <c:v>1.3423549E-2</c:v>
                </c:pt>
                <c:pt idx="971">
                  <c:v>1.3402621E-2</c:v>
                </c:pt>
                <c:pt idx="972">
                  <c:v>1.3408391E-2</c:v>
                </c:pt>
                <c:pt idx="973">
                  <c:v>1.3374667999999999E-2</c:v>
                </c:pt>
                <c:pt idx="974">
                  <c:v>1.3348415000000001E-2</c:v>
                </c:pt>
                <c:pt idx="975">
                  <c:v>1.3322354999999999E-2</c:v>
                </c:pt>
                <c:pt idx="976">
                  <c:v>1.3274029E-2</c:v>
                </c:pt>
                <c:pt idx="977">
                  <c:v>1.3243889E-2</c:v>
                </c:pt>
                <c:pt idx="978">
                  <c:v>1.3210308E-2</c:v>
                </c:pt>
                <c:pt idx="979">
                  <c:v>1.3185199E-2</c:v>
                </c:pt>
                <c:pt idx="980">
                  <c:v>1.3220277000000001E-2</c:v>
                </c:pt>
                <c:pt idx="981">
                  <c:v>1.321784E-2</c:v>
                </c:pt>
                <c:pt idx="982">
                  <c:v>1.3173600000000001E-2</c:v>
                </c:pt>
                <c:pt idx="983">
                  <c:v>1.3174091000000001E-2</c:v>
                </c:pt>
                <c:pt idx="984">
                  <c:v>1.3151516E-2</c:v>
                </c:pt>
                <c:pt idx="985">
                  <c:v>1.3123635999999999E-2</c:v>
                </c:pt>
                <c:pt idx="986">
                  <c:v>1.3077339E-2</c:v>
                </c:pt>
                <c:pt idx="987">
                  <c:v>1.3106527E-2</c:v>
                </c:pt>
                <c:pt idx="988">
                  <c:v>1.314427E-2</c:v>
                </c:pt>
                <c:pt idx="989">
                  <c:v>1.3165148999999999E-2</c:v>
                </c:pt>
                <c:pt idx="990">
                  <c:v>1.3187458000000001E-2</c:v>
                </c:pt>
                <c:pt idx="991">
                  <c:v>1.3232206E-2</c:v>
                </c:pt>
                <c:pt idx="992">
                  <c:v>1.3277832999999999E-2</c:v>
                </c:pt>
                <c:pt idx="993">
                  <c:v>1.3369152E-2</c:v>
                </c:pt>
                <c:pt idx="994">
                  <c:v>1.3441217E-2</c:v>
                </c:pt>
                <c:pt idx="995">
                  <c:v>1.3533450000000001E-2</c:v>
                </c:pt>
                <c:pt idx="996">
                  <c:v>1.3635642999999999E-2</c:v>
                </c:pt>
                <c:pt idx="997">
                  <c:v>1.3699795000000001E-2</c:v>
                </c:pt>
                <c:pt idx="998">
                  <c:v>1.3735713E-2</c:v>
                </c:pt>
                <c:pt idx="999">
                  <c:v>1.3766133E-2</c:v>
                </c:pt>
                <c:pt idx="1000">
                  <c:v>1.3813254000000001E-2</c:v>
                </c:pt>
                <c:pt idx="1001">
                  <c:v>1.3896429E-2</c:v>
                </c:pt>
                <c:pt idx="1002">
                  <c:v>1.3985742000000001E-2</c:v>
                </c:pt>
                <c:pt idx="1003">
                  <c:v>1.4050122999999999E-2</c:v>
                </c:pt>
                <c:pt idx="1004">
                  <c:v>1.4105479000000001E-2</c:v>
                </c:pt>
                <c:pt idx="1005">
                  <c:v>1.4133540999999999E-2</c:v>
                </c:pt>
                <c:pt idx="1006">
                  <c:v>1.4145189000000001E-2</c:v>
                </c:pt>
                <c:pt idx="1007">
                  <c:v>1.4145535000000001E-2</c:v>
                </c:pt>
                <c:pt idx="1008">
                  <c:v>1.4212736E-2</c:v>
                </c:pt>
                <c:pt idx="1009">
                  <c:v>1.4304825E-2</c:v>
                </c:pt>
                <c:pt idx="1010">
                  <c:v>1.4347919000000001E-2</c:v>
                </c:pt>
                <c:pt idx="1011">
                  <c:v>1.440864E-2</c:v>
                </c:pt>
                <c:pt idx="1012">
                  <c:v>1.4435863E-2</c:v>
                </c:pt>
                <c:pt idx="1013">
                  <c:v>1.4446263000000001E-2</c:v>
                </c:pt>
                <c:pt idx="1014">
                  <c:v>1.4438283999999999E-2</c:v>
                </c:pt>
                <c:pt idx="1015">
                  <c:v>1.4442206000000001E-2</c:v>
                </c:pt>
                <c:pt idx="1016">
                  <c:v>1.4437339E-2</c:v>
                </c:pt>
                <c:pt idx="1017">
                  <c:v>1.4492005000000001E-2</c:v>
                </c:pt>
                <c:pt idx="1018">
                  <c:v>1.4506738999999999E-2</c:v>
                </c:pt>
                <c:pt idx="1019">
                  <c:v>1.4545027E-2</c:v>
                </c:pt>
                <c:pt idx="1020">
                  <c:v>1.4590822E-2</c:v>
                </c:pt>
                <c:pt idx="1021">
                  <c:v>1.4629421E-2</c:v>
                </c:pt>
                <c:pt idx="1022">
                  <c:v>1.4694272E-2</c:v>
                </c:pt>
                <c:pt idx="1023">
                  <c:v>1.4740062E-2</c:v>
                </c:pt>
                <c:pt idx="1024">
                  <c:v>1.4796171E-2</c:v>
                </c:pt>
                <c:pt idx="1025">
                  <c:v>1.4864395000000001E-2</c:v>
                </c:pt>
                <c:pt idx="1026">
                  <c:v>1.4883913E-2</c:v>
                </c:pt>
                <c:pt idx="1027">
                  <c:v>1.4915655999999999E-2</c:v>
                </c:pt>
                <c:pt idx="1028">
                  <c:v>1.4981682E-2</c:v>
                </c:pt>
                <c:pt idx="1029">
                  <c:v>1.5064713E-2</c:v>
                </c:pt>
                <c:pt idx="1030">
                  <c:v>1.5144888E-2</c:v>
                </c:pt>
                <c:pt idx="1031">
                  <c:v>1.5172181E-2</c:v>
                </c:pt>
                <c:pt idx="1032">
                  <c:v>1.5193142E-2</c:v>
                </c:pt>
                <c:pt idx="1033">
                  <c:v>1.5211390999999999E-2</c:v>
                </c:pt>
                <c:pt idx="1034">
                  <c:v>1.5246632E-2</c:v>
                </c:pt>
                <c:pt idx="1035">
                  <c:v>1.5294357E-2</c:v>
                </c:pt>
                <c:pt idx="1036">
                  <c:v>1.5345093000000001E-2</c:v>
                </c:pt>
                <c:pt idx="1037">
                  <c:v>1.5379548999999999E-2</c:v>
                </c:pt>
                <c:pt idx="1038">
                  <c:v>1.5421861E-2</c:v>
                </c:pt>
                <c:pt idx="1039">
                  <c:v>1.5456289E-2</c:v>
                </c:pt>
                <c:pt idx="1040">
                  <c:v>1.5508096000000001E-2</c:v>
                </c:pt>
                <c:pt idx="1041">
                  <c:v>1.5573183000000001E-2</c:v>
                </c:pt>
                <c:pt idx="1042">
                  <c:v>1.5646765999999999E-2</c:v>
                </c:pt>
                <c:pt idx="1043">
                  <c:v>1.5680521999999999E-2</c:v>
                </c:pt>
                <c:pt idx="1044">
                  <c:v>1.5716173E-2</c:v>
                </c:pt>
                <c:pt idx="1045">
                  <c:v>1.5749922999999999E-2</c:v>
                </c:pt>
                <c:pt idx="1046">
                  <c:v>1.5769386999999999E-2</c:v>
                </c:pt>
                <c:pt idx="1047">
                  <c:v>1.5795931999999999E-2</c:v>
                </c:pt>
                <c:pt idx="1048">
                  <c:v>1.5832928999999999E-2</c:v>
                </c:pt>
                <c:pt idx="1049">
                  <c:v>1.5862525999999998E-2</c:v>
                </c:pt>
                <c:pt idx="1050">
                  <c:v>1.5798421999999999E-2</c:v>
                </c:pt>
                <c:pt idx="1051">
                  <c:v>1.5750472000000001E-2</c:v>
                </c:pt>
                <c:pt idx="1052">
                  <c:v>1.579728E-2</c:v>
                </c:pt>
                <c:pt idx="1053">
                  <c:v>1.584431E-2</c:v>
                </c:pt>
                <c:pt idx="1054">
                  <c:v>1.5858064000000002E-2</c:v>
                </c:pt>
                <c:pt idx="1055">
                  <c:v>1.5848337000000001E-2</c:v>
                </c:pt>
                <c:pt idx="1056">
                  <c:v>1.5861221000000002E-2</c:v>
                </c:pt>
                <c:pt idx="1057">
                  <c:v>1.5860082000000001E-2</c:v>
                </c:pt>
                <c:pt idx="1058">
                  <c:v>1.5855461000000001E-2</c:v>
                </c:pt>
                <c:pt idx="1059">
                  <c:v>1.5853965000000001E-2</c:v>
                </c:pt>
                <c:pt idx="1060">
                  <c:v>1.5877807000000001E-2</c:v>
                </c:pt>
                <c:pt idx="1061">
                  <c:v>1.5891656000000001E-2</c:v>
                </c:pt>
                <c:pt idx="1062">
                  <c:v>1.5908301999999999E-2</c:v>
                </c:pt>
                <c:pt idx="1063">
                  <c:v>1.5898642000000001E-2</c:v>
                </c:pt>
                <c:pt idx="1064">
                  <c:v>1.5919005999999999E-2</c:v>
                </c:pt>
                <c:pt idx="1065">
                  <c:v>1.5942334999999998E-2</c:v>
                </c:pt>
                <c:pt idx="1066">
                  <c:v>1.5960617999999999E-2</c:v>
                </c:pt>
                <c:pt idx="1067">
                  <c:v>1.6016941999999999E-2</c:v>
                </c:pt>
                <c:pt idx="1068">
                  <c:v>1.6068276999999999E-2</c:v>
                </c:pt>
                <c:pt idx="1069">
                  <c:v>1.6129014000000001E-2</c:v>
                </c:pt>
                <c:pt idx="1070">
                  <c:v>1.6211857E-2</c:v>
                </c:pt>
                <c:pt idx="1071">
                  <c:v>1.6275855999999998E-2</c:v>
                </c:pt>
                <c:pt idx="1072">
                  <c:v>1.6333218E-2</c:v>
                </c:pt>
                <c:pt idx="1073">
                  <c:v>1.6385364999999999E-2</c:v>
                </c:pt>
                <c:pt idx="1074">
                  <c:v>1.6447911999999999E-2</c:v>
                </c:pt>
                <c:pt idx="1075">
                  <c:v>1.6490281999999998E-2</c:v>
                </c:pt>
                <c:pt idx="1076">
                  <c:v>1.6511573000000002E-2</c:v>
                </c:pt>
                <c:pt idx="1077">
                  <c:v>1.6545535E-2</c:v>
                </c:pt>
                <c:pt idx="1078">
                  <c:v>1.6587000000000001E-2</c:v>
                </c:pt>
                <c:pt idx="1079">
                  <c:v>1.6632356000000001E-2</c:v>
                </c:pt>
                <c:pt idx="1080">
                  <c:v>1.6676687999999999E-2</c:v>
                </c:pt>
                <c:pt idx="1081">
                  <c:v>1.6735934000000001E-2</c:v>
                </c:pt>
                <c:pt idx="1082">
                  <c:v>1.6795385999999999E-2</c:v>
                </c:pt>
                <c:pt idx="1083">
                  <c:v>1.6869358000000001E-2</c:v>
                </c:pt>
                <c:pt idx="1084">
                  <c:v>1.693215E-2</c:v>
                </c:pt>
                <c:pt idx="1085">
                  <c:v>1.6973794E-2</c:v>
                </c:pt>
                <c:pt idx="1086">
                  <c:v>1.6982767999999999E-2</c:v>
                </c:pt>
                <c:pt idx="1087">
                  <c:v>1.7010257000000001E-2</c:v>
                </c:pt>
                <c:pt idx="1088">
                  <c:v>1.7032064999999999E-2</c:v>
                </c:pt>
                <c:pt idx="1089">
                  <c:v>1.7089764E-2</c:v>
                </c:pt>
                <c:pt idx="1090">
                  <c:v>1.7154414E-2</c:v>
                </c:pt>
                <c:pt idx="1091">
                  <c:v>1.7194711000000001E-2</c:v>
                </c:pt>
                <c:pt idx="1092">
                  <c:v>1.7216815999999999E-2</c:v>
                </c:pt>
                <c:pt idx="1093">
                  <c:v>1.7237176999999999E-2</c:v>
                </c:pt>
                <c:pt idx="1094">
                  <c:v>1.7270694E-2</c:v>
                </c:pt>
                <c:pt idx="1095">
                  <c:v>1.7295003999999999E-2</c:v>
                </c:pt>
                <c:pt idx="1096">
                  <c:v>1.7317151999999999E-2</c:v>
                </c:pt>
                <c:pt idx="1097">
                  <c:v>1.7319642E-2</c:v>
                </c:pt>
                <c:pt idx="1098">
                  <c:v>1.7335751E-2</c:v>
                </c:pt>
                <c:pt idx="1099">
                  <c:v>1.7342145999999999E-2</c:v>
                </c:pt>
                <c:pt idx="1100">
                  <c:v>1.7352359000000001E-2</c:v>
                </c:pt>
                <c:pt idx="1101">
                  <c:v>1.7327807000000001E-2</c:v>
                </c:pt>
                <c:pt idx="1102">
                  <c:v>1.7333069E-2</c:v>
                </c:pt>
                <c:pt idx="1103">
                  <c:v>1.7355806000000001E-2</c:v>
                </c:pt>
                <c:pt idx="1104">
                  <c:v>1.7379128000000001E-2</c:v>
                </c:pt>
                <c:pt idx="1105">
                  <c:v>1.7393328E-2</c:v>
                </c:pt>
                <c:pt idx="1106">
                  <c:v>1.7420086000000001E-2</c:v>
                </c:pt>
                <c:pt idx="1107">
                  <c:v>1.7457705E-2</c:v>
                </c:pt>
                <c:pt idx="1108">
                  <c:v>1.7480480999999999E-2</c:v>
                </c:pt>
                <c:pt idx="1109">
                  <c:v>1.7557451000000002E-2</c:v>
                </c:pt>
                <c:pt idx="1110">
                  <c:v>1.7612734000000001E-2</c:v>
                </c:pt>
                <c:pt idx="1111">
                  <c:v>1.7650399000000001E-2</c:v>
                </c:pt>
                <c:pt idx="1112">
                  <c:v>1.7666489E-2</c:v>
                </c:pt>
                <c:pt idx="1113">
                  <c:v>1.7692604000000001E-2</c:v>
                </c:pt>
                <c:pt idx="1114">
                  <c:v>1.7717434000000001E-2</c:v>
                </c:pt>
                <c:pt idx="1115">
                  <c:v>1.7740882999999999E-2</c:v>
                </c:pt>
                <c:pt idx="1116">
                  <c:v>1.7760648E-2</c:v>
                </c:pt>
                <c:pt idx="1117">
                  <c:v>1.7777330000000001E-2</c:v>
                </c:pt>
                <c:pt idx="1118">
                  <c:v>1.7777411E-2</c:v>
                </c:pt>
                <c:pt idx="1119">
                  <c:v>1.7803540999999999E-2</c:v>
                </c:pt>
                <c:pt idx="1120">
                  <c:v>1.7819373999999999E-2</c:v>
                </c:pt>
                <c:pt idx="1121">
                  <c:v>1.7836673000000001E-2</c:v>
                </c:pt>
                <c:pt idx="1122">
                  <c:v>1.7860132000000001E-2</c:v>
                </c:pt>
                <c:pt idx="1123">
                  <c:v>1.7869406000000001E-2</c:v>
                </c:pt>
                <c:pt idx="1124">
                  <c:v>1.7878083999999999E-2</c:v>
                </c:pt>
                <c:pt idx="1125">
                  <c:v>1.7895594000000001E-2</c:v>
                </c:pt>
                <c:pt idx="1126">
                  <c:v>1.7911272999999998E-2</c:v>
                </c:pt>
                <c:pt idx="1127">
                  <c:v>1.793146E-2</c:v>
                </c:pt>
                <c:pt idx="1128">
                  <c:v>1.7962295999999999E-2</c:v>
                </c:pt>
                <c:pt idx="1129">
                  <c:v>1.7946376999999999E-2</c:v>
                </c:pt>
                <c:pt idx="1130">
                  <c:v>1.7957140999999999E-2</c:v>
                </c:pt>
                <c:pt idx="1131">
                  <c:v>1.7942295E-2</c:v>
                </c:pt>
                <c:pt idx="1132">
                  <c:v>1.7943192E-2</c:v>
                </c:pt>
                <c:pt idx="1133">
                  <c:v>1.7949074999999998E-2</c:v>
                </c:pt>
                <c:pt idx="1134">
                  <c:v>1.7959593999999999E-2</c:v>
                </c:pt>
                <c:pt idx="1135">
                  <c:v>1.7984257E-2</c:v>
                </c:pt>
                <c:pt idx="1136">
                  <c:v>1.7999233E-2</c:v>
                </c:pt>
                <c:pt idx="1137">
                  <c:v>1.8015835000000001E-2</c:v>
                </c:pt>
                <c:pt idx="1138">
                  <c:v>1.8024466999999999E-2</c:v>
                </c:pt>
                <c:pt idx="1139">
                  <c:v>1.8044818000000001E-2</c:v>
                </c:pt>
                <c:pt idx="1140">
                  <c:v>1.8056222E-2</c:v>
                </c:pt>
                <c:pt idx="1141">
                  <c:v>1.8072204000000001E-2</c:v>
                </c:pt>
                <c:pt idx="1142">
                  <c:v>1.8092368000000001E-2</c:v>
                </c:pt>
                <c:pt idx="1143">
                  <c:v>1.8108376999999998E-2</c:v>
                </c:pt>
                <c:pt idx="1144">
                  <c:v>1.8126748000000002E-2</c:v>
                </c:pt>
                <c:pt idx="1145">
                  <c:v>1.8152121E-2</c:v>
                </c:pt>
                <c:pt idx="1146">
                  <c:v>1.8177720000000001E-2</c:v>
                </c:pt>
                <c:pt idx="1147">
                  <c:v>1.8200292999999999E-2</c:v>
                </c:pt>
                <c:pt idx="1148">
                  <c:v>1.8221785000000001E-2</c:v>
                </c:pt>
                <c:pt idx="1149">
                  <c:v>1.8218191000000002E-2</c:v>
                </c:pt>
                <c:pt idx="1150">
                  <c:v>1.8215835E-2</c:v>
                </c:pt>
                <c:pt idx="1151">
                  <c:v>1.8184412E-2</c:v>
                </c:pt>
                <c:pt idx="1152">
                  <c:v>1.816707E-2</c:v>
                </c:pt>
                <c:pt idx="1153">
                  <c:v>1.8075996E-2</c:v>
                </c:pt>
                <c:pt idx="1154">
                  <c:v>1.8019424999999999E-2</c:v>
                </c:pt>
                <c:pt idx="1155">
                  <c:v>1.8016852E-2</c:v>
                </c:pt>
                <c:pt idx="1156">
                  <c:v>1.7987739999999999E-2</c:v>
                </c:pt>
                <c:pt idx="1157">
                  <c:v>1.7965078999999998E-2</c:v>
                </c:pt>
                <c:pt idx="1158">
                  <c:v>1.7996646000000002E-2</c:v>
                </c:pt>
                <c:pt idx="1159">
                  <c:v>1.8004433E-2</c:v>
                </c:pt>
                <c:pt idx="1160">
                  <c:v>1.8000016000000001E-2</c:v>
                </c:pt>
                <c:pt idx="1161">
                  <c:v>1.8013089999999999E-2</c:v>
                </c:pt>
                <c:pt idx="1162">
                  <c:v>1.8032835000000001E-2</c:v>
                </c:pt>
                <c:pt idx="1163">
                  <c:v>1.8038503000000001E-2</c:v>
                </c:pt>
                <c:pt idx="1164">
                  <c:v>1.8015099E-2</c:v>
                </c:pt>
                <c:pt idx="1165">
                  <c:v>1.8036808000000001E-2</c:v>
                </c:pt>
                <c:pt idx="1166">
                  <c:v>1.8037021E-2</c:v>
                </c:pt>
                <c:pt idx="1167">
                  <c:v>1.8035362999999999E-2</c:v>
                </c:pt>
                <c:pt idx="1168">
                  <c:v>1.8023549E-2</c:v>
                </c:pt>
                <c:pt idx="1169">
                  <c:v>1.8015962E-2</c:v>
                </c:pt>
                <c:pt idx="1170">
                  <c:v>1.8000507999999998E-2</c:v>
                </c:pt>
                <c:pt idx="1171">
                  <c:v>1.799224E-2</c:v>
                </c:pt>
                <c:pt idx="1172">
                  <c:v>1.7985171000000001E-2</c:v>
                </c:pt>
                <c:pt idx="1173">
                  <c:v>1.7978883000000001E-2</c:v>
                </c:pt>
                <c:pt idx="1174">
                  <c:v>1.7956811999999999E-2</c:v>
                </c:pt>
                <c:pt idx="1175">
                  <c:v>1.7946607999999999E-2</c:v>
                </c:pt>
                <c:pt idx="1176">
                  <c:v>1.7928198999999999E-2</c:v>
                </c:pt>
                <c:pt idx="1177">
                  <c:v>1.7930073000000001E-2</c:v>
                </c:pt>
                <c:pt idx="1178">
                  <c:v>1.7929878E-2</c:v>
                </c:pt>
                <c:pt idx="1179">
                  <c:v>1.7930859E-2</c:v>
                </c:pt>
                <c:pt idx="1180">
                  <c:v>1.7916095999999999E-2</c:v>
                </c:pt>
                <c:pt idx="1181">
                  <c:v>1.7930952E-2</c:v>
                </c:pt>
                <c:pt idx="1182">
                  <c:v>1.7934678999999999E-2</c:v>
                </c:pt>
                <c:pt idx="1183">
                  <c:v>1.7896426999999999E-2</c:v>
                </c:pt>
                <c:pt idx="1184">
                  <c:v>1.7871213E-2</c:v>
                </c:pt>
                <c:pt idx="1185">
                  <c:v>1.7863651000000001E-2</c:v>
                </c:pt>
                <c:pt idx="1186">
                  <c:v>1.7809159000000001E-2</c:v>
                </c:pt>
                <c:pt idx="1187">
                  <c:v>1.7779725E-2</c:v>
                </c:pt>
                <c:pt idx="1188">
                  <c:v>1.7729202999999999E-2</c:v>
                </c:pt>
                <c:pt idx="1189">
                  <c:v>1.7667713000000002E-2</c:v>
                </c:pt>
                <c:pt idx="1190">
                  <c:v>1.7612948E-2</c:v>
                </c:pt>
                <c:pt idx="1191">
                  <c:v>1.7557261000000001E-2</c:v>
                </c:pt>
                <c:pt idx="1192">
                  <c:v>1.7508406000000001E-2</c:v>
                </c:pt>
                <c:pt idx="1193">
                  <c:v>1.7490835999999999E-2</c:v>
                </c:pt>
                <c:pt idx="1194">
                  <c:v>1.7478783000000001E-2</c:v>
                </c:pt>
                <c:pt idx="1195">
                  <c:v>1.7492671000000001E-2</c:v>
                </c:pt>
                <c:pt idx="1196">
                  <c:v>1.7436619E-2</c:v>
                </c:pt>
                <c:pt idx="1197">
                  <c:v>1.7418359000000001E-2</c:v>
                </c:pt>
                <c:pt idx="1198">
                  <c:v>1.7400150999999999E-2</c:v>
                </c:pt>
                <c:pt idx="1199">
                  <c:v>1.7364760999999999E-2</c:v>
                </c:pt>
                <c:pt idx="1200">
                  <c:v>1.729959E-2</c:v>
                </c:pt>
                <c:pt idx="1201">
                  <c:v>1.7216393E-2</c:v>
                </c:pt>
                <c:pt idx="1202">
                  <c:v>1.7176800999999998E-2</c:v>
                </c:pt>
                <c:pt idx="1203">
                  <c:v>1.7100596999999999E-2</c:v>
                </c:pt>
                <c:pt idx="1204">
                  <c:v>1.7046214000000001E-2</c:v>
                </c:pt>
                <c:pt idx="1205">
                  <c:v>1.6996747999999999E-2</c:v>
                </c:pt>
                <c:pt idx="1206">
                  <c:v>1.6948492999999999E-2</c:v>
                </c:pt>
                <c:pt idx="1207">
                  <c:v>1.6905340000000001E-2</c:v>
                </c:pt>
                <c:pt idx="1208">
                  <c:v>1.6880473999999999E-2</c:v>
                </c:pt>
                <c:pt idx="1209">
                  <c:v>1.6861393999999998E-2</c:v>
                </c:pt>
                <c:pt idx="1210">
                  <c:v>1.6826120999999999E-2</c:v>
                </c:pt>
                <c:pt idx="1211">
                  <c:v>1.6790988E-2</c:v>
                </c:pt>
                <c:pt idx="1212">
                  <c:v>1.6754239000000001E-2</c:v>
                </c:pt>
                <c:pt idx="1213">
                  <c:v>1.6744761E-2</c:v>
                </c:pt>
                <c:pt idx="1214">
                  <c:v>1.6759494999999999E-2</c:v>
                </c:pt>
                <c:pt idx="1215">
                  <c:v>1.6780980000000001E-2</c:v>
                </c:pt>
                <c:pt idx="1216">
                  <c:v>1.6823989000000001E-2</c:v>
                </c:pt>
                <c:pt idx="1217">
                  <c:v>1.6861095E-2</c:v>
                </c:pt>
                <c:pt idx="1218">
                  <c:v>1.6894599999999999E-2</c:v>
                </c:pt>
                <c:pt idx="1219">
                  <c:v>1.6910830000000002E-2</c:v>
                </c:pt>
                <c:pt idx="1220">
                  <c:v>1.6963645999999999E-2</c:v>
                </c:pt>
                <c:pt idx="1221">
                  <c:v>1.6992677000000001E-2</c:v>
                </c:pt>
                <c:pt idx="1222">
                  <c:v>1.7018908999999999E-2</c:v>
                </c:pt>
                <c:pt idx="1223">
                  <c:v>1.7034156000000002E-2</c:v>
                </c:pt>
                <c:pt idx="1224">
                  <c:v>1.7040261000000001E-2</c:v>
                </c:pt>
                <c:pt idx="1225">
                  <c:v>1.7063080000000001E-2</c:v>
                </c:pt>
                <c:pt idx="1226">
                  <c:v>1.7073679000000001E-2</c:v>
                </c:pt>
                <c:pt idx="1227">
                  <c:v>1.7101536000000001E-2</c:v>
                </c:pt>
                <c:pt idx="1228">
                  <c:v>1.7102861E-2</c:v>
                </c:pt>
                <c:pt idx="1229">
                  <c:v>1.7105144999999999E-2</c:v>
                </c:pt>
                <c:pt idx="1230">
                  <c:v>1.7043776E-2</c:v>
                </c:pt>
                <c:pt idx="1231">
                  <c:v>1.7006071000000001E-2</c:v>
                </c:pt>
                <c:pt idx="1232">
                  <c:v>1.6999259999999999E-2</c:v>
                </c:pt>
                <c:pt idx="1233">
                  <c:v>1.6970781000000001E-2</c:v>
                </c:pt>
                <c:pt idx="1234">
                  <c:v>1.6955573000000002E-2</c:v>
                </c:pt>
                <c:pt idx="1235">
                  <c:v>1.6946415999999999E-2</c:v>
                </c:pt>
                <c:pt idx="1236">
                  <c:v>1.6942729E-2</c:v>
                </c:pt>
                <c:pt idx="1237">
                  <c:v>1.6905284999999999E-2</c:v>
                </c:pt>
                <c:pt idx="1238">
                  <c:v>1.6840162999999998E-2</c:v>
                </c:pt>
                <c:pt idx="1239">
                  <c:v>1.6764613000000001E-2</c:v>
                </c:pt>
                <c:pt idx="1240">
                  <c:v>1.6685925000000001E-2</c:v>
                </c:pt>
                <c:pt idx="1241">
                  <c:v>1.6584781999999999E-2</c:v>
                </c:pt>
                <c:pt idx="1242">
                  <c:v>1.6498800000000001E-2</c:v>
                </c:pt>
                <c:pt idx="1243">
                  <c:v>1.6376102E-2</c:v>
                </c:pt>
                <c:pt idx="1244">
                  <c:v>1.6290861E-2</c:v>
                </c:pt>
                <c:pt idx="1245">
                  <c:v>1.6174518999999998E-2</c:v>
                </c:pt>
                <c:pt idx="1246">
                  <c:v>1.6055904999999999E-2</c:v>
                </c:pt>
                <c:pt idx="1247">
                  <c:v>1.5957319000000001E-2</c:v>
                </c:pt>
                <c:pt idx="1248">
                  <c:v>1.5894766000000001E-2</c:v>
                </c:pt>
                <c:pt idx="1249">
                  <c:v>1.5847739999999999E-2</c:v>
                </c:pt>
                <c:pt idx="1250">
                  <c:v>1.5807994999999998E-2</c:v>
                </c:pt>
                <c:pt idx="1251">
                  <c:v>1.5731584E-2</c:v>
                </c:pt>
                <c:pt idx="1252">
                  <c:v>1.5643243000000001E-2</c:v>
                </c:pt>
                <c:pt idx="1253">
                  <c:v>1.5579498000000001E-2</c:v>
                </c:pt>
                <c:pt idx="1254">
                  <c:v>1.5505797E-2</c:v>
                </c:pt>
                <c:pt idx="1255">
                  <c:v>1.5447426E-2</c:v>
                </c:pt>
                <c:pt idx="1256">
                  <c:v>1.5427242000000001E-2</c:v>
                </c:pt>
                <c:pt idx="1257">
                  <c:v>1.5401387000000001E-2</c:v>
                </c:pt>
                <c:pt idx="1258">
                  <c:v>1.5316908000000001E-2</c:v>
                </c:pt>
                <c:pt idx="1259">
                  <c:v>1.5201182000000001E-2</c:v>
                </c:pt>
                <c:pt idx="1260">
                  <c:v>1.5143029000000001E-2</c:v>
                </c:pt>
                <c:pt idx="1261">
                  <c:v>1.5079149E-2</c:v>
                </c:pt>
                <c:pt idx="1262">
                  <c:v>1.5060999E-2</c:v>
                </c:pt>
                <c:pt idx="1263">
                  <c:v>1.5032072E-2</c:v>
                </c:pt>
                <c:pt idx="1264">
                  <c:v>1.501511E-2</c:v>
                </c:pt>
                <c:pt idx="1265">
                  <c:v>1.5005694E-2</c:v>
                </c:pt>
                <c:pt idx="1266">
                  <c:v>1.4992342000000001E-2</c:v>
                </c:pt>
                <c:pt idx="1267">
                  <c:v>1.4936778E-2</c:v>
                </c:pt>
                <c:pt idx="1268">
                  <c:v>1.4881254E-2</c:v>
                </c:pt>
                <c:pt idx="1269">
                  <c:v>1.4835528000000001E-2</c:v>
                </c:pt>
                <c:pt idx="1270">
                  <c:v>1.4820672E-2</c:v>
                </c:pt>
                <c:pt idx="1271">
                  <c:v>1.4765139E-2</c:v>
                </c:pt>
                <c:pt idx="1272">
                  <c:v>1.4703374E-2</c:v>
                </c:pt>
                <c:pt idx="1273">
                  <c:v>1.4670218E-2</c:v>
                </c:pt>
                <c:pt idx="1274">
                  <c:v>1.4612814E-2</c:v>
                </c:pt>
                <c:pt idx="1275">
                  <c:v>1.4536425E-2</c:v>
                </c:pt>
                <c:pt idx="1276">
                  <c:v>1.4490723E-2</c:v>
                </c:pt>
                <c:pt idx="1277">
                  <c:v>1.4454536E-2</c:v>
                </c:pt>
                <c:pt idx="1278">
                  <c:v>1.4380267E-2</c:v>
                </c:pt>
                <c:pt idx="1279">
                  <c:v>1.4312688E-2</c:v>
                </c:pt>
                <c:pt idx="1280">
                  <c:v>1.4257110999999999E-2</c:v>
                </c:pt>
                <c:pt idx="1281">
                  <c:v>1.4223613E-2</c:v>
                </c:pt>
                <c:pt idx="1282">
                  <c:v>1.4177070999999999E-2</c:v>
                </c:pt>
                <c:pt idx="1283">
                  <c:v>1.414589E-2</c:v>
                </c:pt>
                <c:pt idx="1284">
                  <c:v>1.413061E-2</c:v>
                </c:pt>
                <c:pt idx="1285">
                  <c:v>1.405675E-2</c:v>
                </c:pt>
                <c:pt idx="1286">
                  <c:v>1.4007409E-2</c:v>
                </c:pt>
                <c:pt idx="1287">
                  <c:v>1.3970239000000001E-2</c:v>
                </c:pt>
                <c:pt idx="1288">
                  <c:v>1.3918335E-2</c:v>
                </c:pt>
                <c:pt idx="1289">
                  <c:v>1.3870863000000001E-2</c:v>
                </c:pt>
                <c:pt idx="1290">
                  <c:v>1.3838720000000001E-2</c:v>
                </c:pt>
                <c:pt idx="1291">
                  <c:v>1.3774662E-2</c:v>
                </c:pt>
                <c:pt idx="1292">
                  <c:v>1.3688469E-2</c:v>
                </c:pt>
                <c:pt idx="1293">
                  <c:v>1.3655087E-2</c:v>
                </c:pt>
                <c:pt idx="1294">
                  <c:v>1.3615632000000001E-2</c:v>
                </c:pt>
                <c:pt idx="1295">
                  <c:v>1.3591989000000001E-2</c:v>
                </c:pt>
                <c:pt idx="1296">
                  <c:v>1.3575596000000001E-2</c:v>
                </c:pt>
                <c:pt idx="1297">
                  <c:v>1.3533418E-2</c:v>
                </c:pt>
                <c:pt idx="1298">
                  <c:v>1.3483923E-2</c:v>
                </c:pt>
                <c:pt idx="1299">
                  <c:v>1.3424292000000001E-2</c:v>
                </c:pt>
                <c:pt idx="1300">
                  <c:v>1.3368955E-2</c:v>
                </c:pt>
                <c:pt idx="1301">
                  <c:v>1.3313049E-2</c:v>
                </c:pt>
                <c:pt idx="1302">
                  <c:v>1.3228604999999999E-2</c:v>
                </c:pt>
                <c:pt idx="1303">
                  <c:v>1.3159732E-2</c:v>
                </c:pt>
                <c:pt idx="1304">
                  <c:v>1.3068095E-2</c:v>
                </c:pt>
                <c:pt idx="1305">
                  <c:v>1.3019131E-2</c:v>
                </c:pt>
                <c:pt idx="1306">
                  <c:v>1.2948279E-2</c:v>
                </c:pt>
                <c:pt idx="1307">
                  <c:v>1.2910622E-2</c:v>
                </c:pt>
                <c:pt idx="1308">
                  <c:v>1.2907353999999999E-2</c:v>
                </c:pt>
                <c:pt idx="1309">
                  <c:v>1.2874277999999999E-2</c:v>
                </c:pt>
                <c:pt idx="1310">
                  <c:v>1.2821796999999999E-2</c:v>
                </c:pt>
                <c:pt idx="1311">
                  <c:v>1.2785212000000001E-2</c:v>
                </c:pt>
                <c:pt idx="1312">
                  <c:v>1.2744989E-2</c:v>
                </c:pt>
                <c:pt idx="1313">
                  <c:v>1.2730547E-2</c:v>
                </c:pt>
                <c:pt idx="1314">
                  <c:v>1.2702915E-2</c:v>
                </c:pt>
                <c:pt idx="1315">
                  <c:v>1.2680211E-2</c:v>
                </c:pt>
                <c:pt idx="1316">
                  <c:v>1.2647049E-2</c:v>
                </c:pt>
                <c:pt idx="1317">
                  <c:v>1.2567993E-2</c:v>
                </c:pt>
                <c:pt idx="1318">
                  <c:v>1.2501599E-2</c:v>
                </c:pt>
                <c:pt idx="1319">
                  <c:v>1.2425576000000001E-2</c:v>
                </c:pt>
                <c:pt idx="1320">
                  <c:v>1.2357979999999999E-2</c:v>
                </c:pt>
                <c:pt idx="1321">
                  <c:v>1.2310026999999999E-2</c:v>
                </c:pt>
                <c:pt idx="1322">
                  <c:v>1.2251499000000001E-2</c:v>
                </c:pt>
                <c:pt idx="1323">
                  <c:v>1.2191287E-2</c:v>
                </c:pt>
                <c:pt idx="1324">
                  <c:v>1.2129928E-2</c:v>
                </c:pt>
                <c:pt idx="1325">
                  <c:v>1.2099426999999999E-2</c:v>
                </c:pt>
                <c:pt idx="1326">
                  <c:v>1.2058022999999999E-2</c:v>
                </c:pt>
                <c:pt idx="1327">
                  <c:v>1.2013108E-2</c:v>
                </c:pt>
                <c:pt idx="1328">
                  <c:v>1.1967574999999999E-2</c:v>
                </c:pt>
                <c:pt idx="1329">
                  <c:v>1.1922616E-2</c:v>
                </c:pt>
                <c:pt idx="1330">
                  <c:v>1.1854943E-2</c:v>
                </c:pt>
                <c:pt idx="1331">
                  <c:v>1.1801402000000001E-2</c:v>
                </c:pt>
                <c:pt idx="1332">
                  <c:v>1.1737717E-2</c:v>
                </c:pt>
                <c:pt idx="1333">
                  <c:v>1.1661418E-2</c:v>
                </c:pt>
                <c:pt idx="1334">
                  <c:v>1.1604478E-2</c:v>
                </c:pt>
                <c:pt idx="1335">
                  <c:v>1.1558241E-2</c:v>
                </c:pt>
                <c:pt idx="1336">
                  <c:v>1.1531055E-2</c:v>
                </c:pt>
                <c:pt idx="1337">
                  <c:v>1.1490667E-2</c:v>
                </c:pt>
                <c:pt idx="1338">
                  <c:v>1.1435752E-2</c:v>
                </c:pt>
                <c:pt idx="1339">
                  <c:v>1.1392767999999999E-2</c:v>
                </c:pt>
                <c:pt idx="1340">
                  <c:v>1.1336261E-2</c:v>
                </c:pt>
                <c:pt idx="1341">
                  <c:v>1.128201E-2</c:v>
                </c:pt>
                <c:pt idx="1342">
                  <c:v>1.1250921000000001E-2</c:v>
                </c:pt>
                <c:pt idx="1343">
                  <c:v>1.1270527000000001E-2</c:v>
                </c:pt>
                <c:pt idx="1344">
                  <c:v>1.1255184999999999E-2</c:v>
                </c:pt>
                <c:pt idx="1345">
                  <c:v>1.1254668000000001E-2</c:v>
                </c:pt>
                <c:pt idx="1346">
                  <c:v>1.1270842E-2</c:v>
                </c:pt>
                <c:pt idx="1347">
                  <c:v>1.1277789999999999E-2</c:v>
                </c:pt>
                <c:pt idx="1348">
                  <c:v>1.1282544E-2</c:v>
                </c:pt>
                <c:pt idx="1349">
                  <c:v>1.1291836E-2</c:v>
                </c:pt>
                <c:pt idx="1350">
                  <c:v>1.1272902E-2</c:v>
                </c:pt>
                <c:pt idx="1351">
                  <c:v>1.1258957999999999E-2</c:v>
                </c:pt>
                <c:pt idx="1352">
                  <c:v>1.1261794E-2</c:v>
                </c:pt>
                <c:pt idx="1353">
                  <c:v>1.1269975999999999E-2</c:v>
                </c:pt>
                <c:pt idx="1354">
                  <c:v>1.125814E-2</c:v>
                </c:pt>
                <c:pt idx="1355">
                  <c:v>1.1249492999999999E-2</c:v>
                </c:pt>
                <c:pt idx="1356">
                  <c:v>1.1242929E-2</c:v>
                </c:pt>
                <c:pt idx="1357">
                  <c:v>1.1225087999999999E-2</c:v>
                </c:pt>
                <c:pt idx="1358">
                  <c:v>1.1205682E-2</c:v>
                </c:pt>
                <c:pt idx="1359">
                  <c:v>1.1130361E-2</c:v>
                </c:pt>
                <c:pt idx="1360">
                  <c:v>1.109039E-2</c:v>
                </c:pt>
                <c:pt idx="1361">
                  <c:v>1.1072224E-2</c:v>
                </c:pt>
                <c:pt idx="1362">
                  <c:v>1.1045373000000001E-2</c:v>
                </c:pt>
                <c:pt idx="1363">
                  <c:v>1.1017745000000001E-2</c:v>
                </c:pt>
                <c:pt idx="1364">
                  <c:v>1.0996636000000001E-2</c:v>
                </c:pt>
                <c:pt idx="1365">
                  <c:v>1.0996112000000001E-2</c:v>
                </c:pt>
                <c:pt idx="1366">
                  <c:v>1.0999916E-2</c:v>
                </c:pt>
                <c:pt idx="1367">
                  <c:v>1.1034787000000001E-2</c:v>
                </c:pt>
                <c:pt idx="1368">
                  <c:v>1.1066207999999999E-2</c:v>
                </c:pt>
                <c:pt idx="1369">
                  <c:v>1.107265E-2</c:v>
                </c:pt>
                <c:pt idx="1370">
                  <c:v>1.1066990000000001E-2</c:v>
                </c:pt>
                <c:pt idx="1371">
                  <c:v>1.1066617000000001E-2</c:v>
                </c:pt>
                <c:pt idx="1372">
                  <c:v>1.1065231999999999E-2</c:v>
                </c:pt>
                <c:pt idx="1373">
                  <c:v>1.1062941E-2</c:v>
                </c:pt>
                <c:pt idx="1374">
                  <c:v>1.1051889000000001E-2</c:v>
                </c:pt>
                <c:pt idx="1375">
                  <c:v>1.1063966999999999E-2</c:v>
                </c:pt>
                <c:pt idx="1376">
                  <c:v>1.1074123999999999E-2</c:v>
                </c:pt>
                <c:pt idx="1377">
                  <c:v>1.1097411999999999E-2</c:v>
                </c:pt>
                <c:pt idx="1378">
                  <c:v>1.1100703999999999E-2</c:v>
                </c:pt>
                <c:pt idx="1379">
                  <c:v>1.1115053999999999E-2</c:v>
                </c:pt>
                <c:pt idx="1380">
                  <c:v>1.1140951E-2</c:v>
                </c:pt>
                <c:pt idx="1381">
                  <c:v>1.1145512E-2</c:v>
                </c:pt>
                <c:pt idx="1382">
                  <c:v>1.1154983E-2</c:v>
                </c:pt>
                <c:pt idx="1383">
                  <c:v>1.1176729999999999E-2</c:v>
                </c:pt>
                <c:pt idx="1384">
                  <c:v>1.1191081E-2</c:v>
                </c:pt>
                <c:pt idx="1385">
                  <c:v>1.1192185E-2</c:v>
                </c:pt>
                <c:pt idx="1386">
                  <c:v>1.1201932E-2</c:v>
                </c:pt>
                <c:pt idx="1387">
                  <c:v>1.1209456E-2</c:v>
                </c:pt>
                <c:pt idx="1388">
                  <c:v>1.1223723E-2</c:v>
                </c:pt>
                <c:pt idx="1389">
                  <c:v>1.1221043999999999E-2</c:v>
                </c:pt>
                <c:pt idx="1390">
                  <c:v>1.1229833999999999E-2</c:v>
                </c:pt>
                <c:pt idx="1391">
                  <c:v>1.1215899E-2</c:v>
                </c:pt>
                <c:pt idx="1392">
                  <c:v>1.1214462999999999E-2</c:v>
                </c:pt>
                <c:pt idx="1393">
                  <c:v>1.1223949E-2</c:v>
                </c:pt>
                <c:pt idx="1394">
                  <c:v>1.1226712E-2</c:v>
                </c:pt>
                <c:pt idx="1395">
                  <c:v>1.1233777E-2</c:v>
                </c:pt>
                <c:pt idx="1396">
                  <c:v>1.1257911000000001E-2</c:v>
                </c:pt>
                <c:pt idx="1397">
                  <c:v>1.1332419E-2</c:v>
                </c:pt>
                <c:pt idx="1398">
                  <c:v>1.1384379E-2</c:v>
                </c:pt>
                <c:pt idx="1399">
                  <c:v>1.1460286E-2</c:v>
                </c:pt>
                <c:pt idx="1400">
                  <c:v>1.157686E-2</c:v>
                </c:pt>
                <c:pt idx="1401">
                  <c:v>1.1712043E-2</c:v>
                </c:pt>
                <c:pt idx="1402">
                  <c:v>1.1859079999999999E-2</c:v>
                </c:pt>
                <c:pt idx="1403">
                  <c:v>1.1933486E-2</c:v>
                </c:pt>
                <c:pt idx="1404">
                  <c:v>1.2020028E-2</c:v>
                </c:pt>
                <c:pt idx="1405">
                  <c:v>1.2062491E-2</c:v>
                </c:pt>
                <c:pt idx="1406">
                  <c:v>1.2093766000000001E-2</c:v>
                </c:pt>
                <c:pt idx="1407">
                  <c:v>1.2160921E-2</c:v>
                </c:pt>
                <c:pt idx="1408">
                  <c:v>1.2186728000000001E-2</c:v>
                </c:pt>
                <c:pt idx="1409">
                  <c:v>1.2220622E-2</c:v>
                </c:pt>
                <c:pt idx="1410">
                  <c:v>1.2254119000000001E-2</c:v>
                </c:pt>
                <c:pt idx="1411">
                  <c:v>1.2273882E-2</c:v>
                </c:pt>
                <c:pt idx="1412">
                  <c:v>1.2295568E-2</c:v>
                </c:pt>
                <c:pt idx="1413">
                  <c:v>1.2337911E-2</c:v>
                </c:pt>
                <c:pt idx="1414">
                  <c:v>1.2392241999999999E-2</c:v>
                </c:pt>
                <c:pt idx="1415">
                  <c:v>1.2420835E-2</c:v>
                </c:pt>
                <c:pt idx="1416">
                  <c:v>1.2476325E-2</c:v>
                </c:pt>
                <c:pt idx="1417">
                  <c:v>1.2534058000000001E-2</c:v>
                </c:pt>
                <c:pt idx="1418">
                  <c:v>1.2597204000000001E-2</c:v>
                </c:pt>
                <c:pt idx="1419">
                  <c:v>1.2649659000000001E-2</c:v>
                </c:pt>
                <c:pt idx="1420">
                  <c:v>1.272237E-2</c:v>
                </c:pt>
                <c:pt idx="1421">
                  <c:v>1.2803227E-2</c:v>
                </c:pt>
                <c:pt idx="1422">
                  <c:v>1.2848989E-2</c:v>
                </c:pt>
                <c:pt idx="1423">
                  <c:v>1.2891275000000001E-2</c:v>
                </c:pt>
                <c:pt idx="1424">
                  <c:v>1.2918918999999999E-2</c:v>
                </c:pt>
                <c:pt idx="1425">
                  <c:v>1.2937582E-2</c:v>
                </c:pt>
                <c:pt idx="1426">
                  <c:v>1.2971292000000001E-2</c:v>
                </c:pt>
                <c:pt idx="1427">
                  <c:v>1.2998528000000001E-2</c:v>
                </c:pt>
                <c:pt idx="1428">
                  <c:v>1.3026549E-2</c:v>
                </c:pt>
                <c:pt idx="1429">
                  <c:v>1.305402E-2</c:v>
                </c:pt>
                <c:pt idx="1430">
                  <c:v>1.3083226E-2</c:v>
                </c:pt>
                <c:pt idx="1431">
                  <c:v>1.3081990999999999E-2</c:v>
                </c:pt>
                <c:pt idx="1432">
                  <c:v>1.3086978000000001E-2</c:v>
                </c:pt>
                <c:pt idx="1433">
                  <c:v>1.3114693E-2</c:v>
                </c:pt>
                <c:pt idx="1434">
                  <c:v>1.3111031E-2</c:v>
                </c:pt>
                <c:pt idx="1435">
                  <c:v>1.3119952000000001E-2</c:v>
                </c:pt>
                <c:pt idx="1436">
                  <c:v>1.3120516E-2</c:v>
                </c:pt>
                <c:pt idx="1437">
                  <c:v>1.3108269000000001E-2</c:v>
                </c:pt>
                <c:pt idx="1438">
                  <c:v>1.3103471E-2</c:v>
                </c:pt>
                <c:pt idx="1439">
                  <c:v>1.3093151000000001E-2</c:v>
                </c:pt>
                <c:pt idx="1440">
                  <c:v>1.3087046999999999E-2</c:v>
                </c:pt>
                <c:pt idx="1441">
                  <c:v>1.3079221E-2</c:v>
                </c:pt>
                <c:pt idx="1442">
                  <c:v>1.3084363999999999E-2</c:v>
                </c:pt>
                <c:pt idx="1443">
                  <c:v>1.3083912E-2</c:v>
                </c:pt>
                <c:pt idx="1444">
                  <c:v>1.3083141E-2</c:v>
                </c:pt>
                <c:pt idx="1445">
                  <c:v>1.3048416E-2</c:v>
                </c:pt>
                <c:pt idx="1446">
                  <c:v>1.3028715999999999E-2</c:v>
                </c:pt>
                <c:pt idx="1447">
                  <c:v>1.3025966999999999E-2</c:v>
                </c:pt>
                <c:pt idx="1448">
                  <c:v>1.3034508E-2</c:v>
                </c:pt>
                <c:pt idx="1449">
                  <c:v>1.3041522E-2</c:v>
                </c:pt>
                <c:pt idx="1450">
                  <c:v>1.3051413E-2</c:v>
                </c:pt>
                <c:pt idx="1451">
                  <c:v>1.3042546E-2</c:v>
                </c:pt>
                <c:pt idx="1452">
                  <c:v>1.3048437E-2</c:v>
                </c:pt>
                <c:pt idx="1453">
                  <c:v>1.3045855E-2</c:v>
                </c:pt>
                <c:pt idx="1454">
                  <c:v>1.3038255E-2</c:v>
                </c:pt>
                <c:pt idx="1455">
                  <c:v>1.3033757999999999E-2</c:v>
                </c:pt>
                <c:pt idx="1456">
                  <c:v>1.3056013999999999E-2</c:v>
                </c:pt>
                <c:pt idx="1457">
                  <c:v>1.3089197E-2</c:v>
                </c:pt>
                <c:pt idx="1458">
                  <c:v>1.3120283999999999E-2</c:v>
                </c:pt>
                <c:pt idx="1459">
                  <c:v>1.3132352E-2</c:v>
                </c:pt>
                <c:pt idx="1460">
                  <c:v>1.3177289999999999E-2</c:v>
                </c:pt>
                <c:pt idx="1461">
                  <c:v>1.3201809E-2</c:v>
                </c:pt>
                <c:pt idx="1462">
                  <c:v>1.3219285000000001E-2</c:v>
                </c:pt>
                <c:pt idx="1463">
                  <c:v>1.3219926E-2</c:v>
                </c:pt>
                <c:pt idx="1464">
                  <c:v>1.3183212E-2</c:v>
                </c:pt>
                <c:pt idx="1465">
                  <c:v>1.3158595E-2</c:v>
                </c:pt>
                <c:pt idx="1466">
                  <c:v>1.3127566E-2</c:v>
                </c:pt>
                <c:pt idx="1467">
                  <c:v>1.3087629E-2</c:v>
                </c:pt>
                <c:pt idx="1468">
                  <c:v>1.3053326000000001E-2</c:v>
                </c:pt>
                <c:pt idx="1469">
                  <c:v>1.3041145000000001E-2</c:v>
                </c:pt>
                <c:pt idx="1470">
                  <c:v>1.3002036999999999E-2</c:v>
                </c:pt>
                <c:pt idx="1471">
                  <c:v>1.2966327E-2</c:v>
                </c:pt>
                <c:pt idx="1472">
                  <c:v>1.2897679E-2</c:v>
                </c:pt>
                <c:pt idx="1473">
                  <c:v>1.2849105E-2</c:v>
                </c:pt>
                <c:pt idx="1474">
                  <c:v>1.2841392E-2</c:v>
                </c:pt>
                <c:pt idx="1475">
                  <c:v>1.2815936999999999E-2</c:v>
                </c:pt>
                <c:pt idx="1476">
                  <c:v>1.2796556000000001E-2</c:v>
                </c:pt>
                <c:pt idx="1477">
                  <c:v>1.2750592999999999E-2</c:v>
                </c:pt>
                <c:pt idx="1478">
                  <c:v>1.2725698000000001E-2</c:v>
                </c:pt>
                <c:pt idx="1479">
                  <c:v>1.2682964999999999E-2</c:v>
                </c:pt>
                <c:pt idx="1480">
                  <c:v>1.2687387E-2</c:v>
                </c:pt>
                <c:pt idx="1481">
                  <c:v>1.2716257999999999E-2</c:v>
                </c:pt>
                <c:pt idx="1482">
                  <c:v>1.2743193999999999E-2</c:v>
                </c:pt>
                <c:pt idx="1483">
                  <c:v>1.2763553E-2</c:v>
                </c:pt>
                <c:pt idx="1484">
                  <c:v>1.2777155E-2</c:v>
                </c:pt>
                <c:pt idx="1485">
                  <c:v>1.2775724E-2</c:v>
                </c:pt>
                <c:pt idx="1486">
                  <c:v>1.2783512E-2</c:v>
                </c:pt>
                <c:pt idx="1487">
                  <c:v>1.2799517999999999E-2</c:v>
                </c:pt>
                <c:pt idx="1488">
                  <c:v>1.2805319000000001E-2</c:v>
                </c:pt>
                <c:pt idx="1489">
                  <c:v>1.2806797E-2</c:v>
                </c:pt>
                <c:pt idx="1490">
                  <c:v>1.2817461E-2</c:v>
                </c:pt>
                <c:pt idx="1491">
                  <c:v>1.2841284E-2</c:v>
                </c:pt>
                <c:pt idx="1492">
                  <c:v>1.2875361E-2</c:v>
                </c:pt>
                <c:pt idx="1493">
                  <c:v>1.2905972999999999E-2</c:v>
                </c:pt>
                <c:pt idx="1494">
                  <c:v>1.2956834E-2</c:v>
                </c:pt>
                <c:pt idx="1495">
                  <c:v>1.2981664E-2</c:v>
                </c:pt>
                <c:pt idx="1496">
                  <c:v>1.3026945E-2</c:v>
                </c:pt>
                <c:pt idx="1497">
                  <c:v>1.3044485E-2</c:v>
                </c:pt>
                <c:pt idx="1498">
                  <c:v>1.3041894E-2</c:v>
                </c:pt>
                <c:pt idx="1499">
                  <c:v>1.3053034E-2</c:v>
                </c:pt>
                <c:pt idx="1500">
                  <c:v>1.3052549E-2</c:v>
                </c:pt>
                <c:pt idx="1501">
                  <c:v>1.3054745E-2</c:v>
                </c:pt>
                <c:pt idx="1502">
                  <c:v>1.3078527E-2</c:v>
                </c:pt>
                <c:pt idx="1503">
                  <c:v>1.3081186999999999E-2</c:v>
                </c:pt>
                <c:pt idx="1504">
                  <c:v>1.3101509000000001E-2</c:v>
                </c:pt>
                <c:pt idx="1505">
                  <c:v>1.3112655000000001E-2</c:v>
                </c:pt>
                <c:pt idx="1506">
                  <c:v>1.3107216E-2</c:v>
                </c:pt>
                <c:pt idx="1507">
                  <c:v>1.310856E-2</c:v>
                </c:pt>
                <c:pt idx="1508">
                  <c:v>1.3116855E-2</c:v>
                </c:pt>
                <c:pt idx="1509">
                  <c:v>1.3121416E-2</c:v>
                </c:pt>
                <c:pt idx="1510">
                  <c:v>1.3149098E-2</c:v>
                </c:pt>
                <c:pt idx="1511">
                  <c:v>1.3186349999999999E-2</c:v>
                </c:pt>
                <c:pt idx="1512">
                  <c:v>1.3218053E-2</c:v>
                </c:pt>
                <c:pt idx="1513">
                  <c:v>1.3230334999999999E-2</c:v>
                </c:pt>
                <c:pt idx="1514">
                  <c:v>1.3236085999999999E-2</c:v>
                </c:pt>
                <c:pt idx="1515">
                  <c:v>1.3235878E-2</c:v>
                </c:pt>
                <c:pt idx="1516">
                  <c:v>1.3281479000000001E-2</c:v>
                </c:pt>
                <c:pt idx="1517">
                  <c:v>1.3304649999999999E-2</c:v>
                </c:pt>
                <c:pt idx="1518">
                  <c:v>1.3317473999999999E-2</c:v>
                </c:pt>
                <c:pt idx="1519">
                  <c:v>1.3343785E-2</c:v>
                </c:pt>
                <c:pt idx="1520">
                  <c:v>1.3328715999999999E-2</c:v>
                </c:pt>
                <c:pt idx="1521">
                  <c:v>1.3340009E-2</c:v>
                </c:pt>
                <c:pt idx="1522">
                  <c:v>1.3356991E-2</c:v>
                </c:pt>
                <c:pt idx="1523">
                  <c:v>1.3352032999999999E-2</c:v>
                </c:pt>
                <c:pt idx="1524">
                  <c:v>1.3355595E-2</c:v>
                </c:pt>
                <c:pt idx="1525">
                  <c:v>1.3360792999999999E-2</c:v>
                </c:pt>
                <c:pt idx="1526">
                  <c:v>1.3364868E-2</c:v>
                </c:pt>
                <c:pt idx="1527">
                  <c:v>1.3357983E-2</c:v>
                </c:pt>
                <c:pt idx="1528">
                  <c:v>1.3359480999999999E-2</c:v>
                </c:pt>
                <c:pt idx="1529">
                  <c:v>1.3347041E-2</c:v>
                </c:pt>
                <c:pt idx="1530">
                  <c:v>1.3319522E-2</c:v>
                </c:pt>
                <c:pt idx="1531">
                  <c:v>1.3316390000000001E-2</c:v>
                </c:pt>
                <c:pt idx="1532">
                  <c:v>1.3315178E-2</c:v>
                </c:pt>
                <c:pt idx="1533">
                  <c:v>1.3317084999999999E-2</c:v>
                </c:pt>
                <c:pt idx="1534">
                  <c:v>1.3275327999999999E-2</c:v>
                </c:pt>
                <c:pt idx="1535">
                  <c:v>1.3264705999999999E-2</c:v>
                </c:pt>
                <c:pt idx="1536">
                  <c:v>1.3243121E-2</c:v>
                </c:pt>
                <c:pt idx="1537">
                  <c:v>1.3219119999999999E-2</c:v>
                </c:pt>
                <c:pt idx="1538">
                  <c:v>1.3197054E-2</c:v>
                </c:pt>
                <c:pt idx="1539">
                  <c:v>1.3179737E-2</c:v>
                </c:pt>
                <c:pt idx="1540">
                  <c:v>1.3153421E-2</c:v>
                </c:pt>
                <c:pt idx="1541">
                  <c:v>1.3148167000000001E-2</c:v>
                </c:pt>
                <c:pt idx="1542">
                  <c:v>1.3143431000000001E-2</c:v>
                </c:pt>
                <c:pt idx="1543">
                  <c:v>1.3127252000000001E-2</c:v>
                </c:pt>
                <c:pt idx="1544">
                  <c:v>1.3125494999999999E-2</c:v>
                </c:pt>
                <c:pt idx="1545">
                  <c:v>1.3099825000000001E-2</c:v>
                </c:pt>
                <c:pt idx="1546">
                  <c:v>1.3084386999999999E-2</c:v>
                </c:pt>
                <c:pt idx="1547">
                  <c:v>1.3064432000000001E-2</c:v>
                </c:pt>
                <c:pt idx="1548">
                  <c:v>1.3065342000000001E-2</c:v>
                </c:pt>
                <c:pt idx="1549">
                  <c:v>1.3048766999999999E-2</c:v>
                </c:pt>
                <c:pt idx="1550">
                  <c:v>1.3032828E-2</c:v>
                </c:pt>
                <c:pt idx="1551">
                  <c:v>1.3012065E-2</c:v>
                </c:pt>
                <c:pt idx="1552">
                  <c:v>1.3009055E-2</c:v>
                </c:pt>
                <c:pt idx="1553">
                  <c:v>1.2993803999999999E-2</c:v>
                </c:pt>
                <c:pt idx="1554">
                  <c:v>1.2979976000000001E-2</c:v>
                </c:pt>
                <c:pt idx="1555">
                  <c:v>1.2971083E-2</c:v>
                </c:pt>
                <c:pt idx="1556">
                  <c:v>1.2979210999999999E-2</c:v>
                </c:pt>
                <c:pt idx="1557">
                  <c:v>1.2965341999999999E-2</c:v>
                </c:pt>
                <c:pt idx="1558">
                  <c:v>1.2934897000000001E-2</c:v>
                </c:pt>
                <c:pt idx="1559">
                  <c:v>1.2923807000000001E-2</c:v>
                </c:pt>
                <c:pt idx="1560">
                  <c:v>1.2928191E-2</c:v>
                </c:pt>
                <c:pt idx="1561">
                  <c:v>1.2920409000000001E-2</c:v>
                </c:pt>
                <c:pt idx="1562">
                  <c:v>1.2909975000000001E-2</c:v>
                </c:pt>
                <c:pt idx="1563">
                  <c:v>1.2914367E-2</c:v>
                </c:pt>
                <c:pt idx="1564">
                  <c:v>1.2909927999999999E-2</c:v>
                </c:pt>
                <c:pt idx="1565">
                  <c:v>1.2906038999999999E-2</c:v>
                </c:pt>
                <c:pt idx="1566">
                  <c:v>1.2905158999999999E-2</c:v>
                </c:pt>
                <c:pt idx="1567">
                  <c:v>1.2904792E-2</c:v>
                </c:pt>
                <c:pt idx="1568">
                  <c:v>1.2902355000000001E-2</c:v>
                </c:pt>
                <c:pt idx="1569">
                  <c:v>1.2901733E-2</c:v>
                </c:pt>
                <c:pt idx="1570">
                  <c:v>1.2883979E-2</c:v>
                </c:pt>
                <c:pt idx="1571">
                  <c:v>1.290035E-2</c:v>
                </c:pt>
                <c:pt idx="1572">
                  <c:v>1.2908958E-2</c:v>
                </c:pt>
                <c:pt idx="1573">
                  <c:v>1.2918752E-2</c:v>
                </c:pt>
                <c:pt idx="1574">
                  <c:v>1.2922533E-2</c:v>
                </c:pt>
                <c:pt idx="1575">
                  <c:v>1.2920548E-2</c:v>
                </c:pt>
                <c:pt idx="1576">
                  <c:v>1.292812E-2</c:v>
                </c:pt>
                <c:pt idx="1577">
                  <c:v>1.2954241999999999E-2</c:v>
                </c:pt>
                <c:pt idx="1578">
                  <c:v>1.2977993E-2</c:v>
                </c:pt>
                <c:pt idx="1579">
                  <c:v>1.2995369999999999E-2</c:v>
                </c:pt>
                <c:pt idx="1580">
                  <c:v>1.3022356000000001E-2</c:v>
                </c:pt>
                <c:pt idx="1581">
                  <c:v>1.3017234000000001E-2</c:v>
                </c:pt>
                <c:pt idx="1582">
                  <c:v>1.3015028E-2</c:v>
                </c:pt>
                <c:pt idx="1583">
                  <c:v>1.3024825E-2</c:v>
                </c:pt>
                <c:pt idx="1584">
                  <c:v>1.3023771E-2</c:v>
                </c:pt>
                <c:pt idx="1585">
                  <c:v>1.3036198000000001E-2</c:v>
                </c:pt>
                <c:pt idx="1586">
                  <c:v>1.3044587E-2</c:v>
                </c:pt>
                <c:pt idx="1587">
                  <c:v>1.3055212E-2</c:v>
                </c:pt>
                <c:pt idx="1588">
                  <c:v>1.3064015999999999E-2</c:v>
                </c:pt>
                <c:pt idx="1589">
                  <c:v>1.3049412E-2</c:v>
                </c:pt>
                <c:pt idx="1590">
                  <c:v>1.3034341E-2</c:v>
                </c:pt>
                <c:pt idx="1591">
                  <c:v>1.3026586999999999E-2</c:v>
                </c:pt>
                <c:pt idx="1592">
                  <c:v>1.3035168E-2</c:v>
                </c:pt>
                <c:pt idx="1593">
                  <c:v>1.2980079E-2</c:v>
                </c:pt>
                <c:pt idx="1594">
                  <c:v>1.2965274000000001E-2</c:v>
                </c:pt>
                <c:pt idx="1595">
                  <c:v>1.2941174999999999E-2</c:v>
                </c:pt>
                <c:pt idx="1596">
                  <c:v>1.2906287000000001E-2</c:v>
                </c:pt>
                <c:pt idx="1597">
                  <c:v>1.2872118E-2</c:v>
                </c:pt>
                <c:pt idx="1598">
                  <c:v>1.2838304E-2</c:v>
                </c:pt>
                <c:pt idx="1599">
                  <c:v>1.279074E-2</c:v>
                </c:pt>
                <c:pt idx="1600">
                  <c:v>1.276585E-2</c:v>
                </c:pt>
                <c:pt idx="1601">
                  <c:v>1.276131E-2</c:v>
                </c:pt>
                <c:pt idx="1602">
                  <c:v>1.2740942E-2</c:v>
                </c:pt>
                <c:pt idx="1603">
                  <c:v>1.2717193E-2</c:v>
                </c:pt>
                <c:pt idx="1604">
                  <c:v>1.2719744999999999E-2</c:v>
                </c:pt>
                <c:pt idx="1605">
                  <c:v>1.2714155E-2</c:v>
                </c:pt>
                <c:pt idx="1606">
                  <c:v>1.2698658999999999E-2</c:v>
                </c:pt>
                <c:pt idx="1607">
                  <c:v>1.2692989999999999E-2</c:v>
                </c:pt>
                <c:pt idx="1608">
                  <c:v>1.2679103000000001E-2</c:v>
                </c:pt>
                <c:pt idx="1609">
                  <c:v>1.2656615E-2</c:v>
                </c:pt>
                <c:pt idx="1610">
                  <c:v>1.2631834E-2</c:v>
                </c:pt>
                <c:pt idx="1611">
                  <c:v>1.2603303999999999E-2</c:v>
                </c:pt>
                <c:pt idx="1612">
                  <c:v>1.2584117000000001E-2</c:v>
                </c:pt>
                <c:pt idx="1613">
                  <c:v>1.256346E-2</c:v>
                </c:pt>
                <c:pt idx="1614">
                  <c:v>1.2541221999999999E-2</c:v>
                </c:pt>
                <c:pt idx="1615">
                  <c:v>1.2537424E-2</c:v>
                </c:pt>
                <c:pt idx="1616">
                  <c:v>1.2517347E-2</c:v>
                </c:pt>
                <c:pt idx="1617">
                  <c:v>1.2471405E-2</c:v>
                </c:pt>
                <c:pt idx="1618">
                  <c:v>1.2436997999999999E-2</c:v>
                </c:pt>
                <c:pt idx="1619">
                  <c:v>1.2403511000000001E-2</c:v>
                </c:pt>
                <c:pt idx="1620">
                  <c:v>1.2385421000000001E-2</c:v>
                </c:pt>
                <c:pt idx="1621">
                  <c:v>1.2361069000000001E-2</c:v>
                </c:pt>
                <c:pt idx="1622">
                  <c:v>1.2335662000000001E-2</c:v>
                </c:pt>
                <c:pt idx="1623">
                  <c:v>1.2318815E-2</c:v>
                </c:pt>
                <c:pt idx="1624">
                  <c:v>1.2311272E-2</c:v>
                </c:pt>
                <c:pt idx="1625">
                  <c:v>1.2276377999999999E-2</c:v>
                </c:pt>
                <c:pt idx="1626">
                  <c:v>1.2244866E-2</c:v>
                </c:pt>
                <c:pt idx="1627">
                  <c:v>1.2202408E-2</c:v>
                </c:pt>
                <c:pt idx="1628">
                  <c:v>1.2173064000000001E-2</c:v>
                </c:pt>
                <c:pt idx="1629">
                  <c:v>1.2141482E-2</c:v>
                </c:pt>
                <c:pt idx="1630">
                  <c:v>1.209501E-2</c:v>
                </c:pt>
                <c:pt idx="1631">
                  <c:v>1.2067941E-2</c:v>
                </c:pt>
                <c:pt idx="1632">
                  <c:v>1.2033538999999999E-2</c:v>
                </c:pt>
                <c:pt idx="1633">
                  <c:v>1.2012702E-2</c:v>
                </c:pt>
                <c:pt idx="1634">
                  <c:v>1.1997572E-2</c:v>
                </c:pt>
                <c:pt idx="1635">
                  <c:v>1.1976570000000001E-2</c:v>
                </c:pt>
                <c:pt idx="1636">
                  <c:v>1.1952516E-2</c:v>
                </c:pt>
                <c:pt idx="1637">
                  <c:v>1.1928719000000001E-2</c:v>
                </c:pt>
                <c:pt idx="1638">
                  <c:v>1.1896365000000001E-2</c:v>
                </c:pt>
                <c:pt idx="1639">
                  <c:v>1.1880286E-2</c:v>
                </c:pt>
                <c:pt idx="1640">
                  <c:v>1.1859456000000001E-2</c:v>
                </c:pt>
                <c:pt idx="1641">
                  <c:v>1.1849498999999999E-2</c:v>
                </c:pt>
                <c:pt idx="1642">
                  <c:v>1.1838641E-2</c:v>
                </c:pt>
                <c:pt idx="1643">
                  <c:v>1.1832423E-2</c:v>
                </c:pt>
                <c:pt idx="1644">
                  <c:v>1.1824035E-2</c:v>
                </c:pt>
                <c:pt idx="1645">
                  <c:v>1.1795996E-2</c:v>
                </c:pt>
                <c:pt idx="1646">
                  <c:v>1.1743405E-2</c:v>
                </c:pt>
                <c:pt idx="1647">
                  <c:v>1.1656682E-2</c:v>
                </c:pt>
                <c:pt idx="1648">
                  <c:v>1.1588038E-2</c:v>
                </c:pt>
                <c:pt idx="1649">
                  <c:v>1.1502978000000001E-2</c:v>
                </c:pt>
                <c:pt idx="1650">
                  <c:v>1.1368718E-2</c:v>
                </c:pt>
                <c:pt idx="1651">
                  <c:v>1.1239341E-2</c:v>
                </c:pt>
                <c:pt idx="1652">
                  <c:v>1.1106812000000001E-2</c:v>
                </c:pt>
                <c:pt idx="1653">
                  <c:v>1.1050483999999999E-2</c:v>
                </c:pt>
                <c:pt idx="1654">
                  <c:v>1.0951324E-2</c:v>
                </c:pt>
                <c:pt idx="1655">
                  <c:v>1.090147E-2</c:v>
                </c:pt>
                <c:pt idx="1656">
                  <c:v>1.0848267E-2</c:v>
                </c:pt>
                <c:pt idx="1657">
                  <c:v>1.0775081000000001E-2</c:v>
                </c:pt>
                <c:pt idx="1658">
                  <c:v>1.0708063E-2</c:v>
                </c:pt>
                <c:pt idx="1659">
                  <c:v>1.0667289E-2</c:v>
                </c:pt>
                <c:pt idx="1660">
                  <c:v>1.0628119E-2</c:v>
                </c:pt>
                <c:pt idx="1661">
                  <c:v>1.0580859E-2</c:v>
                </c:pt>
                <c:pt idx="1662">
                  <c:v>1.0520855000000001E-2</c:v>
                </c:pt>
                <c:pt idx="1663">
                  <c:v>1.0447122E-2</c:v>
                </c:pt>
                <c:pt idx="1664">
                  <c:v>1.0384911E-2</c:v>
                </c:pt>
                <c:pt idx="1665">
                  <c:v>1.0319936E-2</c:v>
                </c:pt>
                <c:pt idx="1666">
                  <c:v>1.024719E-2</c:v>
                </c:pt>
                <c:pt idx="1667">
                  <c:v>1.0181961999999999E-2</c:v>
                </c:pt>
                <c:pt idx="1668">
                  <c:v>1.0126691E-2</c:v>
                </c:pt>
                <c:pt idx="1669">
                  <c:v>1.0060154999999999E-2</c:v>
                </c:pt>
                <c:pt idx="1670">
                  <c:v>9.9846799999999993E-3</c:v>
                </c:pt>
                <c:pt idx="1671">
                  <c:v>9.8846320000000008E-3</c:v>
                </c:pt>
                <c:pt idx="1672">
                  <c:v>9.8238649999999993E-3</c:v>
                </c:pt>
                <c:pt idx="1673">
                  <c:v>9.7664329999999997E-3</c:v>
                </c:pt>
                <c:pt idx="1674">
                  <c:v>9.7237699999999996E-3</c:v>
                </c:pt>
                <c:pt idx="1675">
                  <c:v>9.6850110000000003E-3</c:v>
                </c:pt>
                <c:pt idx="1676">
                  <c:v>9.6375780000000008E-3</c:v>
                </c:pt>
                <c:pt idx="1677">
                  <c:v>9.5966309999999996E-3</c:v>
                </c:pt>
                <c:pt idx="1678">
                  <c:v>9.5664310000000002E-3</c:v>
                </c:pt>
                <c:pt idx="1679">
                  <c:v>9.5497470000000008E-3</c:v>
                </c:pt>
                <c:pt idx="1680">
                  <c:v>9.5060130000000007E-3</c:v>
                </c:pt>
                <c:pt idx="1681">
                  <c:v>9.4813209999999992E-3</c:v>
                </c:pt>
                <c:pt idx="1682">
                  <c:v>9.4548989999999992E-3</c:v>
                </c:pt>
                <c:pt idx="1683">
                  <c:v>9.4064960000000003E-3</c:v>
                </c:pt>
                <c:pt idx="1684">
                  <c:v>9.3877400000000003E-3</c:v>
                </c:pt>
                <c:pt idx="1685">
                  <c:v>9.3564760000000007E-3</c:v>
                </c:pt>
                <c:pt idx="1686">
                  <c:v>9.3356140000000008E-3</c:v>
                </c:pt>
                <c:pt idx="1687">
                  <c:v>9.312229E-3</c:v>
                </c:pt>
                <c:pt idx="1688">
                  <c:v>9.2842789999999994E-3</c:v>
                </c:pt>
                <c:pt idx="1689">
                  <c:v>9.2625590000000001E-3</c:v>
                </c:pt>
                <c:pt idx="1690">
                  <c:v>9.2541889999999995E-3</c:v>
                </c:pt>
                <c:pt idx="1691">
                  <c:v>9.2508750000000004E-3</c:v>
                </c:pt>
                <c:pt idx="1692">
                  <c:v>9.2251680000000006E-3</c:v>
                </c:pt>
                <c:pt idx="1693">
                  <c:v>9.2056880000000001E-3</c:v>
                </c:pt>
                <c:pt idx="1694">
                  <c:v>9.1951510000000004E-3</c:v>
                </c:pt>
                <c:pt idx="1695">
                  <c:v>9.1884989999999993E-3</c:v>
                </c:pt>
                <c:pt idx="1696">
                  <c:v>9.1857999999999992E-3</c:v>
                </c:pt>
                <c:pt idx="1697">
                  <c:v>9.170503E-3</c:v>
                </c:pt>
                <c:pt idx="1698">
                  <c:v>9.1546000000000006E-3</c:v>
                </c:pt>
                <c:pt idx="1699">
                  <c:v>9.1418890000000003E-3</c:v>
                </c:pt>
                <c:pt idx="1700">
                  <c:v>9.1340950000000001E-3</c:v>
                </c:pt>
                <c:pt idx="1701">
                  <c:v>9.1269030000000004E-3</c:v>
                </c:pt>
                <c:pt idx="1702">
                  <c:v>9.1207409999999999E-3</c:v>
                </c:pt>
                <c:pt idx="1703">
                  <c:v>9.1156740000000007E-3</c:v>
                </c:pt>
                <c:pt idx="1704">
                  <c:v>9.1324920000000007E-3</c:v>
                </c:pt>
                <c:pt idx="1705">
                  <c:v>9.1629850000000002E-3</c:v>
                </c:pt>
                <c:pt idx="1706">
                  <c:v>9.1577740000000005E-3</c:v>
                </c:pt>
                <c:pt idx="1707">
                  <c:v>9.1322739999999993E-3</c:v>
                </c:pt>
                <c:pt idx="1708">
                  <c:v>9.1061749999999993E-3</c:v>
                </c:pt>
                <c:pt idx="1709">
                  <c:v>9.0850010000000005E-3</c:v>
                </c:pt>
                <c:pt idx="1710">
                  <c:v>9.0626379999999996E-3</c:v>
                </c:pt>
                <c:pt idx="1711">
                  <c:v>9.0548030000000002E-3</c:v>
                </c:pt>
                <c:pt idx="1712">
                  <c:v>9.0504680000000007E-3</c:v>
                </c:pt>
                <c:pt idx="1713">
                  <c:v>9.0463130000000003E-3</c:v>
                </c:pt>
                <c:pt idx="1714">
                  <c:v>9.039956E-3</c:v>
                </c:pt>
                <c:pt idx="1715">
                  <c:v>9.0248979999999999E-3</c:v>
                </c:pt>
                <c:pt idx="1716">
                  <c:v>9.0005599999999995E-3</c:v>
                </c:pt>
                <c:pt idx="1717">
                  <c:v>8.9996529999999998E-3</c:v>
                </c:pt>
                <c:pt idx="1718">
                  <c:v>8.9970880000000003E-3</c:v>
                </c:pt>
                <c:pt idx="1719">
                  <c:v>8.9866649999999996E-3</c:v>
                </c:pt>
                <c:pt idx="1720">
                  <c:v>8.9633979999999992E-3</c:v>
                </c:pt>
                <c:pt idx="1721">
                  <c:v>8.9541120000000002E-3</c:v>
                </c:pt>
                <c:pt idx="1722">
                  <c:v>8.9579029999999997E-3</c:v>
                </c:pt>
                <c:pt idx="1723">
                  <c:v>8.9730550000000006E-3</c:v>
                </c:pt>
                <c:pt idx="1724">
                  <c:v>8.9533949999999994E-3</c:v>
                </c:pt>
                <c:pt idx="1725">
                  <c:v>8.9364160000000008E-3</c:v>
                </c:pt>
                <c:pt idx="1726">
                  <c:v>8.9322870000000006E-3</c:v>
                </c:pt>
                <c:pt idx="1727">
                  <c:v>8.9354589999999998E-3</c:v>
                </c:pt>
                <c:pt idx="1728">
                  <c:v>8.9242179999999994E-3</c:v>
                </c:pt>
                <c:pt idx="1729">
                  <c:v>8.9223159999999996E-3</c:v>
                </c:pt>
                <c:pt idx="1730">
                  <c:v>8.9045689999999993E-3</c:v>
                </c:pt>
                <c:pt idx="1731">
                  <c:v>8.8722650000000007E-3</c:v>
                </c:pt>
                <c:pt idx="1732">
                  <c:v>8.8434180000000005E-3</c:v>
                </c:pt>
                <c:pt idx="1733">
                  <c:v>8.8400600000000003E-3</c:v>
                </c:pt>
                <c:pt idx="1734">
                  <c:v>8.8524290000000002E-3</c:v>
                </c:pt>
                <c:pt idx="1735">
                  <c:v>8.8560700000000006E-3</c:v>
                </c:pt>
                <c:pt idx="1736">
                  <c:v>8.8435670000000001E-3</c:v>
                </c:pt>
                <c:pt idx="1737">
                  <c:v>8.8021829999999999E-3</c:v>
                </c:pt>
                <c:pt idx="1738">
                  <c:v>8.8005470000000006E-3</c:v>
                </c:pt>
                <c:pt idx="1739">
                  <c:v>8.8084789999999993E-3</c:v>
                </c:pt>
                <c:pt idx="1740">
                  <c:v>8.8138369999999997E-3</c:v>
                </c:pt>
                <c:pt idx="1741">
                  <c:v>8.8044409999999997E-3</c:v>
                </c:pt>
                <c:pt idx="1742">
                  <c:v>8.7841680000000002E-3</c:v>
                </c:pt>
                <c:pt idx="1743">
                  <c:v>8.7690600000000004E-3</c:v>
                </c:pt>
                <c:pt idx="1744">
                  <c:v>8.7335120000000006E-3</c:v>
                </c:pt>
                <c:pt idx="1745">
                  <c:v>8.7156070000000002E-3</c:v>
                </c:pt>
                <c:pt idx="1746">
                  <c:v>8.7088349999999998E-3</c:v>
                </c:pt>
                <c:pt idx="1747">
                  <c:v>8.7020050000000005E-3</c:v>
                </c:pt>
                <c:pt idx="1748">
                  <c:v>8.6910760000000007E-3</c:v>
                </c:pt>
                <c:pt idx="1749">
                  <c:v>8.6753509999999995E-3</c:v>
                </c:pt>
                <c:pt idx="1750">
                  <c:v>8.6693800000000008E-3</c:v>
                </c:pt>
                <c:pt idx="1751">
                  <c:v>8.6639830000000001E-3</c:v>
                </c:pt>
                <c:pt idx="1752">
                  <c:v>8.6300049999999996E-3</c:v>
                </c:pt>
                <c:pt idx="1753">
                  <c:v>8.6087630000000002E-3</c:v>
                </c:pt>
                <c:pt idx="1754">
                  <c:v>8.5747629999999991E-3</c:v>
                </c:pt>
                <c:pt idx="1755">
                  <c:v>8.5556120000000006E-3</c:v>
                </c:pt>
                <c:pt idx="1756">
                  <c:v>8.5499410000000001E-3</c:v>
                </c:pt>
                <c:pt idx="1757">
                  <c:v>8.5448469999999995E-3</c:v>
                </c:pt>
                <c:pt idx="1758">
                  <c:v>8.5249590000000004E-3</c:v>
                </c:pt>
                <c:pt idx="1759">
                  <c:v>8.5277879999999997E-3</c:v>
                </c:pt>
                <c:pt idx="1760">
                  <c:v>8.4982949999999995E-3</c:v>
                </c:pt>
                <c:pt idx="1761">
                  <c:v>8.4537620000000001E-3</c:v>
                </c:pt>
                <c:pt idx="1762">
                  <c:v>8.4095070000000001E-3</c:v>
                </c:pt>
                <c:pt idx="1763">
                  <c:v>8.3861149999999995E-3</c:v>
                </c:pt>
                <c:pt idx="1764">
                  <c:v>8.3823600000000002E-3</c:v>
                </c:pt>
                <c:pt idx="1765">
                  <c:v>8.3718839999999996E-3</c:v>
                </c:pt>
                <c:pt idx="1766">
                  <c:v>8.3160500000000002E-3</c:v>
                </c:pt>
                <c:pt idx="1767">
                  <c:v>8.2814729999999993E-3</c:v>
                </c:pt>
                <c:pt idx="1768">
                  <c:v>8.2738450000000002E-3</c:v>
                </c:pt>
                <c:pt idx="1769">
                  <c:v>8.2398300000000001E-3</c:v>
                </c:pt>
                <c:pt idx="1770">
                  <c:v>8.2210849999999995E-3</c:v>
                </c:pt>
                <c:pt idx="1771">
                  <c:v>8.2066729999999994E-3</c:v>
                </c:pt>
                <c:pt idx="1772">
                  <c:v>8.1974040000000001E-3</c:v>
                </c:pt>
                <c:pt idx="1773">
                  <c:v>8.1891229999999995E-3</c:v>
                </c:pt>
                <c:pt idx="1774">
                  <c:v>8.1656049999999994E-3</c:v>
                </c:pt>
                <c:pt idx="1775">
                  <c:v>8.1423510000000008E-3</c:v>
                </c:pt>
                <c:pt idx="1776">
                  <c:v>8.1480110000000001E-3</c:v>
                </c:pt>
                <c:pt idx="1777">
                  <c:v>8.1411899999999995E-3</c:v>
                </c:pt>
                <c:pt idx="1778">
                  <c:v>8.1389389999999995E-3</c:v>
                </c:pt>
                <c:pt idx="1779">
                  <c:v>8.1319789999999992E-3</c:v>
                </c:pt>
                <c:pt idx="1780">
                  <c:v>8.1322800000000004E-3</c:v>
                </c:pt>
                <c:pt idx="1781">
                  <c:v>8.1242099999999998E-3</c:v>
                </c:pt>
                <c:pt idx="1782">
                  <c:v>8.1087320000000004E-3</c:v>
                </c:pt>
                <c:pt idx="1783">
                  <c:v>8.0947870000000009E-3</c:v>
                </c:pt>
                <c:pt idx="1784">
                  <c:v>8.0928920000000008E-3</c:v>
                </c:pt>
                <c:pt idx="1785">
                  <c:v>8.0790140000000007E-3</c:v>
                </c:pt>
                <c:pt idx="1786">
                  <c:v>8.0749749999999999E-3</c:v>
                </c:pt>
                <c:pt idx="1787">
                  <c:v>8.0685440000000004E-3</c:v>
                </c:pt>
                <c:pt idx="1788">
                  <c:v>8.0659719999999994E-3</c:v>
                </c:pt>
                <c:pt idx="1789">
                  <c:v>8.0650570000000005E-3</c:v>
                </c:pt>
                <c:pt idx="1790">
                  <c:v>8.0624530000000007E-3</c:v>
                </c:pt>
                <c:pt idx="1791">
                  <c:v>8.0635629999999993E-3</c:v>
                </c:pt>
                <c:pt idx="1792">
                  <c:v>8.0617999999999992E-3</c:v>
                </c:pt>
                <c:pt idx="1793">
                  <c:v>8.0602739999999992E-3</c:v>
                </c:pt>
                <c:pt idx="1794">
                  <c:v>8.0660850000000006E-3</c:v>
                </c:pt>
                <c:pt idx="1795">
                  <c:v>8.0861809999999996E-3</c:v>
                </c:pt>
                <c:pt idx="1796">
                  <c:v>8.087192E-3</c:v>
                </c:pt>
                <c:pt idx="1797">
                  <c:v>8.089265E-3</c:v>
                </c:pt>
                <c:pt idx="1798">
                  <c:v>8.0812499999999999E-3</c:v>
                </c:pt>
                <c:pt idx="1799">
                  <c:v>8.0895680000000001E-3</c:v>
                </c:pt>
                <c:pt idx="1800">
                  <c:v>8.0892220000000001E-3</c:v>
                </c:pt>
                <c:pt idx="1801">
                  <c:v>8.0886440000000007E-3</c:v>
                </c:pt>
                <c:pt idx="1802">
                  <c:v>8.0838160000000006E-3</c:v>
                </c:pt>
                <c:pt idx="1803">
                  <c:v>8.0944959999999996E-3</c:v>
                </c:pt>
                <c:pt idx="1804">
                  <c:v>8.0977050000000002E-3</c:v>
                </c:pt>
                <c:pt idx="1805">
                  <c:v>8.1002230000000001E-3</c:v>
                </c:pt>
                <c:pt idx="1806">
                  <c:v>8.0937249999999995E-3</c:v>
                </c:pt>
                <c:pt idx="1807">
                  <c:v>8.0953850000000001E-3</c:v>
                </c:pt>
                <c:pt idx="1808">
                  <c:v>8.1013609999999996E-3</c:v>
                </c:pt>
                <c:pt idx="1809">
                  <c:v>8.0977429999999993E-3</c:v>
                </c:pt>
                <c:pt idx="1810">
                  <c:v>8.0870590000000006E-3</c:v>
                </c:pt>
                <c:pt idx="1811">
                  <c:v>8.0773479999999998E-3</c:v>
                </c:pt>
                <c:pt idx="1812">
                  <c:v>8.0746489999999997E-3</c:v>
                </c:pt>
                <c:pt idx="1813">
                  <c:v>8.0622390000000006E-3</c:v>
                </c:pt>
                <c:pt idx="1814">
                  <c:v>8.0529399999999998E-3</c:v>
                </c:pt>
                <c:pt idx="1815">
                  <c:v>8.0455630000000004E-3</c:v>
                </c:pt>
                <c:pt idx="1816">
                  <c:v>8.0356090000000008E-3</c:v>
                </c:pt>
                <c:pt idx="1817">
                  <c:v>8.0365479999999993E-3</c:v>
                </c:pt>
                <c:pt idx="1818">
                  <c:v>8.0340380000000003E-3</c:v>
                </c:pt>
                <c:pt idx="1819">
                  <c:v>8.0336969999999994E-3</c:v>
                </c:pt>
                <c:pt idx="1820">
                  <c:v>8.0243329999999998E-3</c:v>
                </c:pt>
                <c:pt idx="1821">
                  <c:v>7.9868969999999997E-3</c:v>
                </c:pt>
                <c:pt idx="1822">
                  <c:v>7.9782770000000006E-3</c:v>
                </c:pt>
                <c:pt idx="1823">
                  <c:v>7.9767029999999999E-3</c:v>
                </c:pt>
                <c:pt idx="1824">
                  <c:v>7.9638720000000003E-3</c:v>
                </c:pt>
                <c:pt idx="1825">
                  <c:v>7.9448959999999999E-3</c:v>
                </c:pt>
                <c:pt idx="1826">
                  <c:v>7.9450949999999992E-3</c:v>
                </c:pt>
                <c:pt idx="1827">
                  <c:v>7.9155679999999996E-3</c:v>
                </c:pt>
                <c:pt idx="1828">
                  <c:v>7.897533E-3</c:v>
                </c:pt>
                <c:pt idx="1829">
                  <c:v>7.8766610000000001E-3</c:v>
                </c:pt>
                <c:pt idx="1830">
                  <c:v>7.8544789999999993E-3</c:v>
                </c:pt>
                <c:pt idx="1831">
                  <c:v>7.8488889999999995E-3</c:v>
                </c:pt>
                <c:pt idx="1832">
                  <c:v>7.8433229999999993E-3</c:v>
                </c:pt>
                <c:pt idx="1833">
                  <c:v>7.8271869999999993E-3</c:v>
                </c:pt>
                <c:pt idx="1834">
                  <c:v>7.8108739999999998E-3</c:v>
                </c:pt>
                <c:pt idx="1835">
                  <c:v>7.7883639999999999E-3</c:v>
                </c:pt>
                <c:pt idx="1836">
                  <c:v>7.7690210000000001E-3</c:v>
                </c:pt>
                <c:pt idx="1837">
                  <c:v>7.7520499999999999E-3</c:v>
                </c:pt>
                <c:pt idx="1838">
                  <c:v>7.738081E-3</c:v>
                </c:pt>
                <c:pt idx="1839">
                  <c:v>7.730799E-3</c:v>
                </c:pt>
                <c:pt idx="1840">
                  <c:v>7.7229969999999997E-3</c:v>
                </c:pt>
                <c:pt idx="1841">
                  <c:v>7.7200050000000003E-3</c:v>
                </c:pt>
                <c:pt idx="1842">
                  <c:v>7.6950370000000001E-3</c:v>
                </c:pt>
                <c:pt idx="1843">
                  <c:v>7.6920210000000003E-3</c:v>
                </c:pt>
                <c:pt idx="1844">
                  <c:v>7.6845419999999999E-3</c:v>
                </c:pt>
                <c:pt idx="1845">
                  <c:v>7.67682E-3</c:v>
                </c:pt>
                <c:pt idx="1846">
                  <c:v>7.6653889999999999E-3</c:v>
                </c:pt>
                <c:pt idx="1847">
                  <c:v>7.6655580000000003E-3</c:v>
                </c:pt>
                <c:pt idx="1848">
                  <c:v>7.6707199999999998E-3</c:v>
                </c:pt>
                <c:pt idx="1849">
                  <c:v>7.6721439999999997E-3</c:v>
                </c:pt>
                <c:pt idx="1850">
                  <c:v>7.6713049999999998E-3</c:v>
                </c:pt>
                <c:pt idx="1851">
                  <c:v>7.6536529999999998E-3</c:v>
                </c:pt>
                <c:pt idx="1852">
                  <c:v>7.6198960000000001E-3</c:v>
                </c:pt>
                <c:pt idx="1853">
                  <c:v>7.5874289999999997E-3</c:v>
                </c:pt>
                <c:pt idx="1854">
                  <c:v>7.5615300000000003E-3</c:v>
                </c:pt>
                <c:pt idx="1855">
                  <c:v>7.5345409999999996E-3</c:v>
                </c:pt>
                <c:pt idx="1856">
                  <c:v>7.5119280000000002E-3</c:v>
                </c:pt>
                <c:pt idx="1857">
                  <c:v>7.4853319999999999E-3</c:v>
                </c:pt>
                <c:pt idx="1858">
                  <c:v>7.4723239999999998E-3</c:v>
                </c:pt>
                <c:pt idx="1859">
                  <c:v>7.4662670000000004E-3</c:v>
                </c:pt>
                <c:pt idx="1860">
                  <c:v>7.4587509999999996E-3</c:v>
                </c:pt>
                <c:pt idx="1861">
                  <c:v>7.4538069999999998E-3</c:v>
                </c:pt>
                <c:pt idx="1862">
                  <c:v>7.4473450000000002E-3</c:v>
                </c:pt>
                <c:pt idx="1863">
                  <c:v>7.4500850000000004E-3</c:v>
                </c:pt>
                <c:pt idx="1864">
                  <c:v>7.4497970000000002E-3</c:v>
                </c:pt>
                <c:pt idx="1865">
                  <c:v>7.4189089999999996E-3</c:v>
                </c:pt>
                <c:pt idx="1866">
                  <c:v>7.4069039999999997E-3</c:v>
                </c:pt>
                <c:pt idx="1867">
                  <c:v>7.4365239999999999E-3</c:v>
                </c:pt>
                <c:pt idx="1868">
                  <c:v>7.4442620000000001E-3</c:v>
                </c:pt>
                <c:pt idx="1869">
                  <c:v>7.4493980000000003E-3</c:v>
                </c:pt>
                <c:pt idx="1870">
                  <c:v>7.455883E-3</c:v>
                </c:pt>
                <c:pt idx="1871">
                  <c:v>7.4601479999999998E-3</c:v>
                </c:pt>
                <c:pt idx="1872">
                  <c:v>7.4775969999999999E-3</c:v>
                </c:pt>
                <c:pt idx="1873">
                  <c:v>7.4884299999999999E-3</c:v>
                </c:pt>
                <c:pt idx="1874">
                  <c:v>7.4852649999999996E-3</c:v>
                </c:pt>
                <c:pt idx="1875">
                  <c:v>7.4904699999999999E-3</c:v>
                </c:pt>
                <c:pt idx="1876">
                  <c:v>7.4979749999999996E-3</c:v>
                </c:pt>
                <c:pt idx="1877">
                  <c:v>7.5041439999999999E-3</c:v>
                </c:pt>
                <c:pt idx="1878">
                  <c:v>7.5036620000000004E-3</c:v>
                </c:pt>
                <c:pt idx="1879">
                  <c:v>7.4963249999999999E-3</c:v>
                </c:pt>
                <c:pt idx="1880">
                  <c:v>7.4924320000000003E-3</c:v>
                </c:pt>
                <c:pt idx="1881">
                  <c:v>7.5050899999999999E-3</c:v>
                </c:pt>
                <c:pt idx="1882">
                  <c:v>7.5233069999999999E-3</c:v>
                </c:pt>
                <c:pt idx="1883">
                  <c:v>7.4980919999999996E-3</c:v>
                </c:pt>
                <c:pt idx="1884">
                  <c:v>7.4875330000000002E-3</c:v>
                </c:pt>
                <c:pt idx="1885">
                  <c:v>7.4859530000000001E-3</c:v>
                </c:pt>
                <c:pt idx="1886">
                  <c:v>7.4837360000000004E-3</c:v>
                </c:pt>
                <c:pt idx="1887">
                  <c:v>7.4837569999999997E-3</c:v>
                </c:pt>
                <c:pt idx="1888">
                  <c:v>7.4804479999999998E-3</c:v>
                </c:pt>
                <c:pt idx="1889">
                  <c:v>7.4773080000000002E-3</c:v>
                </c:pt>
                <c:pt idx="1890">
                  <c:v>7.4807440000000001E-3</c:v>
                </c:pt>
                <c:pt idx="1891">
                  <c:v>7.4971589999999998E-3</c:v>
                </c:pt>
                <c:pt idx="1892">
                  <c:v>7.4926200000000002E-3</c:v>
                </c:pt>
                <c:pt idx="1893">
                  <c:v>7.4740650000000002E-3</c:v>
                </c:pt>
                <c:pt idx="1894">
                  <c:v>7.4620529999999997E-3</c:v>
                </c:pt>
                <c:pt idx="1895">
                  <c:v>7.463725E-3</c:v>
                </c:pt>
                <c:pt idx="1896">
                  <c:v>7.4698580000000002E-3</c:v>
                </c:pt>
                <c:pt idx="1897">
                  <c:v>7.4595800000000004E-3</c:v>
                </c:pt>
                <c:pt idx="1898">
                  <c:v>7.4529840000000002E-3</c:v>
                </c:pt>
                <c:pt idx="1899">
                  <c:v>7.4492179999999996E-3</c:v>
                </c:pt>
                <c:pt idx="1900">
                  <c:v>7.4550579999999997E-3</c:v>
                </c:pt>
                <c:pt idx="1901">
                  <c:v>7.4585959999999996E-3</c:v>
                </c:pt>
                <c:pt idx="1902">
                  <c:v>7.4488690000000003E-3</c:v>
                </c:pt>
                <c:pt idx="1903">
                  <c:v>7.4328370000000003E-3</c:v>
                </c:pt>
                <c:pt idx="1904">
                  <c:v>7.4306049999999998E-3</c:v>
                </c:pt>
                <c:pt idx="1905">
                  <c:v>7.4095990000000002E-3</c:v>
                </c:pt>
                <c:pt idx="1906">
                  <c:v>7.4012649999999998E-3</c:v>
                </c:pt>
                <c:pt idx="1907">
                  <c:v>7.3871479999999996E-3</c:v>
                </c:pt>
                <c:pt idx="1908">
                  <c:v>7.3726089999999996E-3</c:v>
                </c:pt>
                <c:pt idx="1909">
                  <c:v>7.3459950000000001E-3</c:v>
                </c:pt>
                <c:pt idx="1910">
                  <c:v>7.3305130000000003E-3</c:v>
                </c:pt>
                <c:pt idx="1911">
                  <c:v>7.324489E-3</c:v>
                </c:pt>
                <c:pt idx="1912">
                  <c:v>7.3180470000000003E-3</c:v>
                </c:pt>
                <c:pt idx="1913">
                  <c:v>7.3102540000000004E-3</c:v>
                </c:pt>
                <c:pt idx="1914">
                  <c:v>7.2936980000000004E-3</c:v>
                </c:pt>
                <c:pt idx="1915">
                  <c:v>7.2926290000000001E-3</c:v>
                </c:pt>
                <c:pt idx="1916">
                  <c:v>7.2803470000000004E-3</c:v>
                </c:pt>
                <c:pt idx="1917">
                  <c:v>7.2769419999999998E-3</c:v>
                </c:pt>
                <c:pt idx="1918">
                  <c:v>7.2607640000000003E-3</c:v>
                </c:pt>
                <c:pt idx="1919">
                  <c:v>7.2609800000000002E-3</c:v>
                </c:pt>
                <c:pt idx="1920">
                  <c:v>7.2568980000000003E-3</c:v>
                </c:pt>
                <c:pt idx="1921">
                  <c:v>7.2599209999999999E-3</c:v>
                </c:pt>
                <c:pt idx="1922">
                  <c:v>7.2666270000000003E-3</c:v>
                </c:pt>
                <c:pt idx="1923">
                  <c:v>7.277782E-3</c:v>
                </c:pt>
                <c:pt idx="1924">
                  <c:v>7.2853199999999996E-3</c:v>
                </c:pt>
                <c:pt idx="1925">
                  <c:v>7.330657E-3</c:v>
                </c:pt>
                <c:pt idx="1926">
                  <c:v>7.3490789999999997E-3</c:v>
                </c:pt>
                <c:pt idx="1927">
                  <c:v>7.383227E-3</c:v>
                </c:pt>
                <c:pt idx="1928">
                  <c:v>7.4072790000000001E-3</c:v>
                </c:pt>
                <c:pt idx="1929">
                  <c:v>7.3999699999999996E-3</c:v>
                </c:pt>
                <c:pt idx="1930">
                  <c:v>7.4110240000000004E-3</c:v>
                </c:pt>
                <c:pt idx="1931">
                  <c:v>7.4191129999999997E-3</c:v>
                </c:pt>
                <c:pt idx="1932">
                  <c:v>7.4786740000000003E-3</c:v>
                </c:pt>
                <c:pt idx="1933">
                  <c:v>7.5276350000000004E-3</c:v>
                </c:pt>
                <c:pt idx="1934">
                  <c:v>7.5671549999999999E-3</c:v>
                </c:pt>
                <c:pt idx="1935">
                  <c:v>7.5958859999999996E-3</c:v>
                </c:pt>
                <c:pt idx="1936">
                  <c:v>7.6249669999999999E-3</c:v>
                </c:pt>
                <c:pt idx="1937">
                  <c:v>7.6458200000000002E-3</c:v>
                </c:pt>
                <c:pt idx="1938">
                  <c:v>7.6660570000000004E-3</c:v>
                </c:pt>
                <c:pt idx="1939">
                  <c:v>7.7067610000000003E-3</c:v>
                </c:pt>
                <c:pt idx="1940">
                  <c:v>7.7288820000000003E-3</c:v>
                </c:pt>
                <c:pt idx="1941">
                  <c:v>7.7495710000000002E-3</c:v>
                </c:pt>
                <c:pt idx="1942">
                  <c:v>7.7722030000000001E-3</c:v>
                </c:pt>
                <c:pt idx="1943">
                  <c:v>7.8071989999999999E-3</c:v>
                </c:pt>
                <c:pt idx="1944">
                  <c:v>7.8492839999999998E-3</c:v>
                </c:pt>
                <c:pt idx="1945">
                  <c:v>7.8805860000000002E-3</c:v>
                </c:pt>
                <c:pt idx="1946">
                  <c:v>7.9107989999999996E-3</c:v>
                </c:pt>
                <c:pt idx="1947">
                  <c:v>7.9378890000000001E-3</c:v>
                </c:pt>
                <c:pt idx="1948">
                  <c:v>7.9619800000000004E-3</c:v>
                </c:pt>
                <c:pt idx="1949">
                  <c:v>7.9926230000000008E-3</c:v>
                </c:pt>
                <c:pt idx="1950">
                  <c:v>8.0342320000000005E-3</c:v>
                </c:pt>
                <c:pt idx="1951">
                  <c:v>8.0744679999999996E-3</c:v>
                </c:pt>
                <c:pt idx="1952">
                  <c:v>8.1045460000000007E-3</c:v>
                </c:pt>
                <c:pt idx="1953">
                  <c:v>8.1271099999999999E-3</c:v>
                </c:pt>
                <c:pt idx="1954">
                  <c:v>8.1384600000000001E-3</c:v>
                </c:pt>
                <c:pt idx="1955">
                  <c:v>8.1371259999999997E-3</c:v>
                </c:pt>
                <c:pt idx="1956">
                  <c:v>8.1720990000000004E-3</c:v>
                </c:pt>
                <c:pt idx="1957">
                  <c:v>8.190391E-3</c:v>
                </c:pt>
                <c:pt idx="1958">
                  <c:v>8.2364670000000008E-3</c:v>
                </c:pt>
                <c:pt idx="1959">
                  <c:v>8.2547650000000007E-3</c:v>
                </c:pt>
                <c:pt idx="1960">
                  <c:v>8.2773350000000002E-3</c:v>
                </c:pt>
                <c:pt idx="1961">
                  <c:v>8.3065719999999999E-3</c:v>
                </c:pt>
                <c:pt idx="1962">
                  <c:v>8.3368269999999998E-3</c:v>
                </c:pt>
                <c:pt idx="1963">
                  <c:v>8.3610349999999993E-3</c:v>
                </c:pt>
                <c:pt idx="1964">
                  <c:v>8.3993820000000004E-3</c:v>
                </c:pt>
                <c:pt idx="1965">
                  <c:v>8.4632839999999997E-3</c:v>
                </c:pt>
                <c:pt idx="1966">
                  <c:v>8.5168970000000007E-3</c:v>
                </c:pt>
                <c:pt idx="1967">
                  <c:v>8.5428220000000003E-3</c:v>
                </c:pt>
                <c:pt idx="1968">
                  <c:v>8.5728790000000003E-3</c:v>
                </c:pt>
                <c:pt idx="1969">
                  <c:v>8.5965529999999998E-3</c:v>
                </c:pt>
                <c:pt idx="1970">
                  <c:v>8.6210160000000004E-3</c:v>
                </c:pt>
                <c:pt idx="1971">
                  <c:v>8.6369499999999991E-3</c:v>
                </c:pt>
                <c:pt idx="1972">
                  <c:v>8.6485869999999992E-3</c:v>
                </c:pt>
                <c:pt idx="1973">
                  <c:v>8.6761149999999999E-3</c:v>
                </c:pt>
                <c:pt idx="1974">
                  <c:v>8.682604E-3</c:v>
                </c:pt>
                <c:pt idx="1975">
                  <c:v>8.6935009999999993E-3</c:v>
                </c:pt>
                <c:pt idx="1976">
                  <c:v>8.7129530000000007E-3</c:v>
                </c:pt>
                <c:pt idx="1977">
                  <c:v>8.7251529999999994E-3</c:v>
                </c:pt>
                <c:pt idx="1978">
                  <c:v>8.7639910000000005E-3</c:v>
                </c:pt>
                <c:pt idx="1979">
                  <c:v>8.7776690000000001E-3</c:v>
                </c:pt>
                <c:pt idx="1980">
                  <c:v>8.824709E-3</c:v>
                </c:pt>
                <c:pt idx="1981">
                  <c:v>8.8358010000000008E-3</c:v>
                </c:pt>
                <c:pt idx="1982">
                  <c:v>8.857752E-3</c:v>
                </c:pt>
                <c:pt idx="1983">
                  <c:v>8.8631839999999996E-3</c:v>
                </c:pt>
                <c:pt idx="1984">
                  <c:v>8.8342339999999998E-3</c:v>
                </c:pt>
                <c:pt idx="1985">
                  <c:v>8.8170330000000002E-3</c:v>
                </c:pt>
                <c:pt idx="1986">
                  <c:v>8.8268259999999994E-3</c:v>
                </c:pt>
                <c:pt idx="1987">
                  <c:v>8.835318E-3</c:v>
                </c:pt>
                <c:pt idx="1988">
                  <c:v>8.821967E-3</c:v>
                </c:pt>
                <c:pt idx="1989">
                  <c:v>8.8302390000000001E-3</c:v>
                </c:pt>
                <c:pt idx="1990">
                  <c:v>8.8277870000000001E-3</c:v>
                </c:pt>
                <c:pt idx="1991">
                  <c:v>8.8254309999999999E-3</c:v>
                </c:pt>
                <c:pt idx="1992">
                  <c:v>8.8512539999999994E-3</c:v>
                </c:pt>
                <c:pt idx="1993">
                  <c:v>8.8553160000000002E-3</c:v>
                </c:pt>
                <c:pt idx="1994">
                  <c:v>8.8488349999999993E-3</c:v>
                </c:pt>
                <c:pt idx="1995">
                  <c:v>8.8508939999999998E-3</c:v>
                </c:pt>
                <c:pt idx="1996">
                  <c:v>8.8232640000000008E-3</c:v>
                </c:pt>
                <c:pt idx="1997">
                  <c:v>8.8143189999999993E-3</c:v>
                </c:pt>
                <c:pt idx="1998">
                  <c:v>8.8388789999999991E-3</c:v>
                </c:pt>
                <c:pt idx="1999">
                  <c:v>8.8395049999999992E-3</c:v>
                </c:pt>
                <c:pt idx="2000">
                  <c:v>8.8335749999999998E-3</c:v>
                </c:pt>
                <c:pt idx="2001">
                  <c:v>8.835987E-3</c:v>
                </c:pt>
                <c:pt idx="2002">
                  <c:v>8.837602E-3</c:v>
                </c:pt>
                <c:pt idx="2003">
                  <c:v>8.8433509999999993E-3</c:v>
                </c:pt>
                <c:pt idx="2004">
                  <c:v>8.8561539999999998E-3</c:v>
                </c:pt>
                <c:pt idx="2005">
                  <c:v>8.8636510000000002E-3</c:v>
                </c:pt>
                <c:pt idx="2006">
                  <c:v>8.8569830000000006E-3</c:v>
                </c:pt>
                <c:pt idx="2007">
                  <c:v>8.8491000000000004E-3</c:v>
                </c:pt>
                <c:pt idx="2008">
                  <c:v>8.8521390000000002E-3</c:v>
                </c:pt>
                <c:pt idx="2009">
                  <c:v>8.8499029999999992E-3</c:v>
                </c:pt>
                <c:pt idx="2010">
                  <c:v>8.8509030000000002E-3</c:v>
                </c:pt>
                <c:pt idx="2011">
                  <c:v>8.8591309999999993E-3</c:v>
                </c:pt>
                <c:pt idx="2012">
                  <c:v>8.8853419999999992E-3</c:v>
                </c:pt>
                <c:pt idx="2013">
                  <c:v>8.8958010000000001E-3</c:v>
                </c:pt>
                <c:pt idx="2014">
                  <c:v>8.8969879999999998E-3</c:v>
                </c:pt>
                <c:pt idx="2015">
                  <c:v>8.9047369999999994E-3</c:v>
                </c:pt>
                <c:pt idx="2016">
                  <c:v>8.9164359999999998E-3</c:v>
                </c:pt>
                <c:pt idx="2017">
                  <c:v>8.9213060000000004E-3</c:v>
                </c:pt>
                <c:pt idx="2018">
                  <c:v>8.9112319999999998E-3</c:v>
                </c:pt>
                <c:pt idx="2019">
                  <c:v>8.9188589999999995E-3</c:v>
                </c:pt>
                <c:pt idx="2020">
                  <c:v>8.9117450000000004E-3</c:v>
                </c:pt>
                <c:pt idx="2021">
                  <c:v>8.9030570000000007E-3</c:v>
                </c:pt>
                <c:pt idx="2022">
                  <c:v>8.8884189999999998E-3</c:v>
                </c:pt>
                <c:pt idx="2023">
                  <c:v>8.8824699999999999E-3</c:v>
                </c:pt>
                <c:pt idx="2024">
                  <c:v>8.8792999999999997E-3</c:v>
                </c:pt>
                <c:pt idx="2025">
                  <c:v>8.8817819999999995E-3</c:v>
                </c:pt>
                <c:pt idx="2026">
                  <c:v>8.8634990000000004E-3</c:v>
                </c:pt>
                <c:pt idx="2027">
                  <c:v>8.8519259999999995E-3</c:v>
                </c:pt>
                <c:pt idx="2028">
                  <c:v>8.8554129999999995E-3</c:v>
                </c:pt>
                <c:pt idx="2029">
                  <c:v>8.8616979999999995E-3</c:v>
                </c:pt>
                <c:pt idx="2030">
                  <c:v>8.8758440000000008E-3</c:v>
                </c:pt>
                <c:pt idx="2031">
                  <c:v>8.8837840000000005E-3</c:v>
                </c:pt>
                <c:pt idx="2032">
                  <c:v>8.8964390000000008E-3</c:v>
                </c:pt>
                <c:pt idx="2033">
                  <c:v>8.9237729999999994E-3</c:v>
                </c:pt>
                <c:pt idx="2034">
                  <c:v>8.9256100000000005E-3</c:v>
                </c:pt>
                <c:pt idx="2035">
                  <c:v>8.9344160000000006E-3</c:v>
                </c:pt>
                <c:pt idx="2036">
                  <c:v>8.9572999999999996E-3</c:v>
                </c:pt>
                <c:pt idx="2037">
                  <c:v>8.9742789999999999E-3</c:v>
                </c:pt>
                <c:pt idx="2038">
                  <c:v>8.9894999999999992E-3</c:v>
                </c:pt>
                <c:pt idx="2039">
                  <c:v>9.0009870000000002E-3</c:v>
                </c:pt>
                <c:pt idx="2040">
                  <c:v>9.0071879999999993E-3</c:v>
                </c:pt>
                <c:pt idx="2041">
                  <c:v>9.0179639999999998E-3</c:v>
                </c:pt>
                <c:pt idx="2042">
                  <c:v>9.0155979999999997E-3</c:v>
                </c:pt>
                <c:pt idx="2043">
                  <c:v>9.0195450000000003E-3</c:v>
                </c:pt>
                <c:pt idx="2044">
                  <c:v>9.0203120000000008E-3</c:v>
                </c:pt>
                <c:pt idx="2045">
                  <c:v>9.0200650000000007E-3</c:v>
                </c:pt>
                <c:pt idx="2046">
                  <c:v>9.0240259999999992E-3</c:v>
                </c:pt>
                <c:pt idx="2047">
                  <c:v>9.0253190000000004E-3</c:v>
                </c:pt>
                <c:pt idx="2048">
                  <c:v>9.0243389999999993E-3</c:v>
                </c:pt>
                <c:pt idx="2049">
                  <c:v>9.0185349999999994E-3</c:v>
                </c:pt>
                <c:pt idx="2050">
                  <c:v>9.027607E-3</c:v>
                </c:pt>
                <c:pt idx="2051">
                  <c:v>9.0422909999999992E-3</c:v>
                </c:pt>
                <c:pt idx="2052">
                  <c:v>9.0774859999999992E-3</c:v>
                </c:pt>
                <c:pt idx="2053">
                  <c:v>9.1152960000000002E-3</c:v>
                </c:pt>
                <c:pt idx="2054">
                  <c:v>9.1381099999999996E-3</c:v>
                </c:pt>
                <c:pt idx="2055">
                  <c:v>9.1580680000000001E-3</c:v>
                </c:pt>
                <c:pt idx="2056">
                  <c:v>9.175384E-3</c:v>
                </c:pt>
                <c:pt idx="2057">
                  <c:v>9.1848469999999995E-3</c:v>
                </c:pt>
                <c:pt idx="2058">
                  <c:v>9.1941880000000007E-3</c:v>
                </c:pt>
                <c:pt idx="2059">
                  <c:v>9.2116620000000007E-3</c:v>
                </c:pt>
                <c:pt idx="2060">
                  <c:v>9.2309499999999999E-3</c:v>
                </c:pt>
                <c:pt idx="2061">
                  <c:v>9.2466419999999994E-3</c:v>
                </c:pt>
                <c:pt idx="2062">
                  <c:v>9.2568839999999999E-3</c:v>
                </c:pt>
                <c:pt idx="2063">
                  <c:v>9.2566899999999997E-3</c:v>
                </c:pt>
                <c:pt idx="2064">
                  <c:v>9.2747360000000004E-3</c:v>
                </c:pt>
                <c:pt idx="2065">
                  <c:v>9.3381999999999996E-3</c:v>
                </c:pt>
                <c:pt idx="2066">
                  <c:v>9.3759619999999998E-3</c:v>
                </c:pt>
                <c:pt idx="2067">
                  <c:v>9.3962249999999994E-3</c:v>
                </c:pt>
                <c:pt idx="2068">
                  <c:v>9.4113180000000001E-3</c:v>
                </c:pt>
                <c:pt idx="2069">
                  <c:v>9.4272149999999992E-3</c:v>
                </c:pt>
                <c:pt idx="2070">
                  <c:v>9.4414319999999996E-3</c:v>
                </c:pt>
                <c:pt idx="2071">
                  <c:v>9.4631160000000006E-3</c:v>
                </c:pt>
                <c:pt idx="2072">
                  <c:v>9.4630249999999999E-3</c:v>
                </c:pt>
                <c:pt idx="2073">
                  <c:v>9.4756189999999994E-3</c:v>
                </c:pt>
                <c:pt idx="2074">
                  <c:v>9.4949040000000002E-3</c:v>
                </c:pt>
                <c:pt idx="2075">
                  <c:v>9.5112180000000001E-3</c:v>
                </c:pt>
                <c:pt idx="2076">
                  <c:v>9.5046650000000007E-3</c:v>
                </c:pt>
                <c:pt idx="2077">
                  <c:v>9.5151009999999998E-3</c:v>
                </c:pt>
                <c:pt idx="2078">
                  <c:v>9.5218569999999999E-3</c:v>
                </c:pt>
                <c:pt idx="2079">
                  <c:v>9.5305990000000007E-3</c:v>
                </c:pt>
                <c:pt idx="2080">
                  <c:v>9.5401449999999999E-3</c:v>
                </c:pt>
                <c:pt idx="2081">
                  <c:v>9.5462840000000004E-3</c:v>
                </c:pt>
                <c:pt idx="2082">
                  <c:v>9.5528950000000005E-3</c:v>
                </c:pt>
                <c:pt idx="2083">
                  <c:v>9.5760959999999992E-3</c:v>
                </c:pt>
                <c:pt idx="2084">
                  <c:v>9.5991480000000001E-3</c:v>
                </c:pt>
                <c:pt idx="2085">
                  <c:v>9.6141219999999993E-3</c:v>
                </c:pt>
                <c:pt idx="2086">
                  <c:v>9.631176E-3</c:v>
                </c:pt>
                <c:pt idx="2087">
                  <c:v>9.669469E-3</c:v>
                </c:pt>
                <c:pt idx="2088">
                  <c:v>9.6947730000000003E-3</c:v>
                </c:pt>
                <c:pt idx="2089">
                  <c:v>9.7179469999999993E-3</c:v>
                </c:pt>
                <c:pt idx="2090">
                  <c:v>9.7321760000000004E-3</c:v>
                </c:pt>
                <c:pt idx="2091">
                  <c:v>9.7917379999999995E-3</c:v>
                </c:pt>
                <c:pt idx="2092">
                  <c:v>9.8181610000000006E-3</c:v>
                </c:pt>
                <c:pt idx="2093">
                  <c:v>9.8395289999999996E-3</c:v>
                </c:pt>
                <c:pt idx="2094">
                  <c:v>9.8509770000000003E-3</c:v>
                </c:pt>
                <c:pt idx="2095">
                  <c:v>9.8620380000000001E-3</c:v>
                </c:pt>
                <c:pt idx="2096">
                  <c:v>9.8833080000000004E-3</c:v>
                </c:pt>
                <c:pt idx="2097">
                  <c:v>9.9055229999999994E-3</c:v>
                </c:pt>
                <c:pt idx="2098">
                  <c:v>9.9172219999999998E-3</c:v>
                </c:pt>
                <c:pt idx="2099">
                  <c:v>9.9435540000000003E-3</c:v>
                </c:pt>
                <c:pt idx="2100">
                  <c:v>9.9608019999999995E-3</c:v>
                </c:pt>
                <c:pt idx="2101">
                  <c:v>9.991649E-3</c:v>
                </c:pt>
                <c:pt idx="2102">
                  <c:v>1.0025426E-2</c:v>
                </c:pt>
                <c:pt idx="2103">
                  <c:v>1.0056931E-2</c:v>
                </c:pt>
                <c:pt idx="2104">
                  <c:v>1.0080670999999999E-2</c:v>
                </c:pt>
                <c:pt idx="2105">
                  <c:v>1.0097735E-2</c:v>
                </c:pt>
                <c:pt idx="2106">
                  <c:v>1.0121411E-2</c:v>
                </c:pt>
                <c:pt idx="2107">
                  <c:v>1.0207042E-2</c:v>
                </c:pt>
                <c:pt idx="2108">
                  <c:v>1.028373E-2</c:v>
                </c:pt>
                <c:pt idx="2109">
                  <c:v>1.0363015E-2</c:v>
                </c:pt>
                <c:pt idx="2110">
                  <c:v>1.0438361E-2</c:v>
                </c:pt>
                <c:pt idx="2111">
                  <c:v>1.0479992E-2</c:v>
                </c:pt>
                <c:pt idx="2112">
                  <c:v>1.0532219000000001E-2</c:v>
                </c:pt>
                <c:pt idx="2113">
                  <c:v>1.0570819E-2</c:v>
                </c:pt>
                <c:pt idx="2114">
                  <c:v>1.0595164000000001E-2</c:v>
                </c:pt>
                <c:pt idx="2115">
                  <c:v>1.0622197E-2</c:v>
                </c:pt>
                <c:pt idx="2116">
                  <c:v>1.0664959E-2</c:v>
                </c:pt>
                <c:pt idx="2117">
                  <c:v>1.0660639E-2</c:v>
                </c:pt>
                <c:pt idx="2118">
                  <c:v>1.067539E-2</c:v>
                </c:pt>
                <c:pt idx="2119">
                  <c:v>1.0688794999999999E-2</c:v>
                </c:pt>
                <c:pt idx="2120">
                  <c:v>1.0694742E-2</c:v>
                </c:pt>
                <c:pt idx="2121">
                  <c:v>1.0721591000000001E-2</c:v>
                </c:pt>
                <c:pt idx="2122">
                  <c:v>1.0727331999999999E-2</c:v>
                </c:pt>
                <c:pt idx="2123">
                  <c:v>1.0748547000000001E-2</c:v>
                </c:pt>
                <c:pt idx="2124">
                  <c:v>1.0784441000000001E-2</c:v>
                </c:pt>
                <c:pt idx="2125">
                  <c:v>1.0819331999999999E-2</c:v>
                </c:pt>
                <c:pt idx="2126">
                  <c:v>1.0838992E-2</c:v>
                </c:pt>
                <c:pt idx="2127">
                  <c:v>1.0863391E-2</c:v>
                </c:pt>
                <c:pt idx="2128">
                  <c:v>1.0878525E-2</c:v>
                </c:pt>
                <c:pt idx="2129">
                  <c:v>1.0896324000000001E-2</c:v>
                </c:pt>
                <c:pt idx="2130">
                  <c:v>1.0927977E-2</c:v>
                </c:pt>
                <c:pt idx="2131">
                  <c:v>1.0943141E-2</c:v>
                </c:pt>
                <c:pt idx="2132">
                  <c:v>1.0957863999999999E-2</c:v>
                </c:pt>
                <c:pt idx="2133">
                  <c:v>1.0983674000000001E-2</c:v>
                </c:pt>
                <c:pt idx="2134">
                  <c:v>1.1009934000000001E-2</c:v>
                </c:pt>
                <c:pt idx="2135">
                  <c:v>1.1018452E-2</c:v>
                </c:pt>
                <c:pt idx="2136">
                  <c:v>1.1062838E-2</c:v>
                </c:pt>
                <c:pt idx="2137">
                  <c:v>1.1097587000000001E-2</c:v>
                </c:pt>
                <c:pt idx="2138">
                  <c:v>1.1130717E-2</c:v>
                </c:pt>
                <c:pt idx="2139">
                  <c:v>1.115086E-2</c:v>
                </c:pt>
                <c:pt idx="2140">
                  <c:v>1.1160440000000001E-2</c:v>
                </c:pt>
                <c:pt idx="2141">
                  <c:v>1.1164495E-2</c:v>
                </c:pt>
                <c:pt idx="2142">
                  <c:v>1.1178367E-2</c:v>
                </c:pt>
                <c:pt idx="2143">
                  <c:v>1.1187045E-2</c:v>
                </c:pt>
                <c:pt idx="2144">
                  <c:v>1.1195307E-2</c:v>
                </c:pt>
                <c:pt idx="2145">
                  <c:v>1.1198586E-2</c:v>
                </c:pt>
                <c:pt idx="2146">
                  <c:v>1.1201446E-2</c:v>
                </c:pt>
                <c:pt idx="2147">
                  <c:v>1.1210889999999999E-2</c:v>
                </c:pt>
                <c:pt idx="2148">
                  <c:v>1.1225565999999999E-2</c:v>
                </c:pt>
                <c:pt idx="2149">
                  <c:v>1.1254179E-2</c:v>
                </c:pt>
                <c:pt idx="2150">
                  <c:v>1.1298565E-2</c:v>
                </c:pt>
                <c:pt idx="2151">
                  <c:v>1.1311668E-2</c:v>
                </c:pt>
                <c:pt idx="2152">
                  <c:v>1.1325531E-2</c:v>
                </c:pt>
                <c:pt idx="2153">
                  <c:v>1.1348403999999999E-2</c:v>
                </c:pt>
                <c:pt idx="2154">
                  <c:v>1.13665E-2</c:v>
                </c:pt>
                <c:pt idx="2155">
                  <c:v>1.1382847999999999E-2</c:v>
                </c:pt>
                <c:pt idx="2156">
                  <c:v>1.1392090000000001E-2</c:v>
                </c:pt>
                <c:pt idx="2157">
                  <c:v>1.1414822E-2</c:v>
                </c:pt>
                <c:pt idx="2158">
                  <c:v>1.1441167E-2</c:v>
                </c:pt>
                <c:pt idx="2159">
                  <c:v>1.1454637E-2</c:v>
                </c:pt>
                <c:pt idx="2160">
                  <c:v>1.1513687999999999E-2</c:v>
                </c:pt>
                <c:pt idx="2161">
                  <c:v>1.1540124000000001E-2</c:v>
                </c:pt>
                <c:pt idx="2162">
                  <c:v>1.1582823000000001E-2</c:v>
                </c:pt>
                <c:pt idx="2163">
                  <c:v>1.1612381999999999E-2</c:v>
                </c:pt>
                <c:pt idx="2164">
                  <c:v>1.1636436999999999E-2</c:v>
                </c:pt>
                <c:pt idx="2165">
                  <c:v>1.165015E-2</c:v>
                </c:pt>
                <c:pt idx="2166">
                  <c:v>1.1674833000000001E-2</c:v>
                </c:pt>
                <c:pt idx="2167">
                  <c:v>1.1696913999999999E-2</c:v>
                </c:pt>
                <c:pt idx="2168">
                  <c:v>1.171051E-2</c:v>
                </c:pt>
                <c:pt idx="2169">
                  <c:v>1.1720525000000001E-2</c:v>
                </c:pt>
                <c:pt idx="2170">
                  <c:v>1.1737439000000001E-2</c:v>
                </c:pt>
                <c:pt idx="2171">
                  <c:v>1.1745031E-2</c:v>
                </c:pt>
                <c:pt idx="2172">
                  <c:v>1.1743988E-2</c:v>
                </c:pt>
                <c:pt idx="2173">
                  <c:v>1.1744556E-2</c:v>
                </c:pt>
                <c:pt idx="2174">
                  <c:v>1.1762414000000001E-2</c:v>
                </c:pt>
                <c:pt idx="2175">
                  <c:v>1.1731263E-2</c:v>
                </c:pt>
                <c:pt idx="2176">
                  <c:v>1.1725316E-2</c:v>
                </c:pt>
                <c:pt idx="2177">
                  <c:v>1.1701563E-2</c:v>
                </c:pt>
                <c:pt idx="2178">
                  <c:v>1.1683377E-2</c:v>
                </c:pt>
                <c:pt idx="2179">
                  <c:v>1.1684285000000001E-2</c:v>
                </c:pt>
                <c:pt idx="2180">
                  <c:v>1.1685566E-2</c:v>
                </c:pt>
                <c:pt idx="2181">
                  <c:v>1.1693874999999999E-2</c:v>
                </c:pt>
                <c:pt idx="2182">
                  <c:v>1.1646131000000001E-2</c:v>
                </c:pt>
                <c:pt idx="2183">
                  <c:v>1.1619813999999999E-2</c:v>
                </c:pt>
                <c:pt idx="2184">
                  <c:v>1.1605351E-2</c:v>
                </c:pt>
                <c:pt idx="2185">
                  <c:v>1.1589798E-2</c:v>
                </c:pt>
                <c:pt idx="2186">
                  <c:v>1.1579574E-2</c:v>
                </c:pt>
                <c:pt idx="2187">
                  <c:v>1.1569538000000001E-2</c:v>
                </c:pt>
                <c:pt idx="2188">
                  <c:v>1.1564865000000001E-2</c:v>
                </c:pt>
                <c:pt idx="2189">
                  <c:v>1.1533315000000001E-2</c:v>
                </c:pt>
                <c:pt idx="2190">
                  <c:v>1.1520114E-2</c:v>
                </c:pt>
                <c:pt idx="2191">
                  <c:v>1.1505155E-2</c:v>
                </c:pt>
                <c:pt idx="2192">
                  <c:v>1.1493575000000001E-2</c:v>
                </c:pt>
                <c:pt idx="2193">
                  <c:v>1.1470052999999999E-2</c:v>
                </c:pt>
                <c:pt idx="2194">
                  <c:v>1.1429368000000001E-2</c:v>
                </c:pt>
                <c:pt idx="2195">
                  <c:v>1.1402505E-2</c:v>
                </c:pt>
                <c:pt idx="2196">
                  <c:v>1.1397881E-2</c:v>
                </c:pt>
                <c:pt idx="2197">
                  <c:v>1.1386268E-2</c:v>
                </c:pt>
                <c:pt idx="2198">
                  <c:v>1.1377316E-2</c:v>
                </c:pt>
                <c:pt idx="2199">
                  <c:v>1.1374674E-2</c:v>
                </c:pt>
                <c:pt idx="2200">
                  <c:v>1.134655E-2</c:v>
                </c:pt>
                <c:pt idx="2201">
                  <c:v>1.1318739E-2</c:v>
                </c:pt>
                <c:pt idx="2202">
                  <c:v>1.1287233000000001E-2</c:v>
                </c:pt>
                <c:pt idx="2203">
                  <c:v>1.1272914E-2</c:v>
                </c:pt>
                <c:pt idx="2204">
                  <c:v>1.1271394000000001E-2</c:v>
                </c:pt>
                <c:pt idx="2205">
                  <c:v>1.1277133E-2</c:v>
                </c:pt>
                <c:pt idx="2206">
                  <c:v>1.1248704E-2</c:v>
                </c:pt>
                <c:pt idx="2207">
                  <c:v>1.1258641E-2</c:v>
                </c:pt>
                <c:pt idx="2208">
                  <c:v>1.1220915999999999E-2</c:v>
                </c:pt>
                <c:pt idx="2209">
                  <c:v>1.1233956999999999E-2</c:v>
                </c:pt>
                <c:pt idx="2210">
                  <c:v>1.1218199E-2</c:v>
                </c:pt>
                <c:pt idx="2211">
                  <c:v>1.1209919E-2</c:v>
                </c:pt>
                <c:pt idx="2212">
                  <c:v>1.1206961E-2</c:v>
                </c:pt>
                <c:pt idx="2213">
                  <c:v>1.1188109E-2</c:v>
                </c:pt>
                <c:pt idx="2214">
                  <c:v>1.1173504000000001E-2</c:v>
                </c:pt>
                <c:pt idx="2215">
                  <c:v>1.1145438000000001E-2</c:v>
                </c:pt>
                <c:pt idx="2216">
                  <c:v>1.1117493000000001E-2</c:v>
                </c:pt>
                <c:pt idx="2217">
                  <c:v>1.1117439999999999E-2</c:v>
                </c:pt>
                <c:pt idx="2218">
                  <c:v>1.1098159E-2</c:v>
                </c:pt>
                <c:pt idx="2219">
                  <c:v>1.1094362999999999E-2</c:v>
                </c:pt>
                <c:pt idx="2220">
                  <c:v>1.1088216999999999E-2</c:v>
                </c:pt>
                <c:pt idx="2221">
                  <c:v>1.1072333E-2</c:v>
                </c:pt>
                <c:pt idx="2222">
                  <c:v>1.1066876999999999E-2</c:v>
                </c:pt>
                <c:pt idx="2223">
                  <c:v>1.1036239999999999E-2</c:v>
                </c:pt>
                <c:pt idx="2224">
                  <c:v>1.1040061E-2</c:v>
                </c:pt>
                <c:pt idx="2225">
                  <c:v>1.1039999E-2</c:v>
                </c:pt>
                <c:pt idx="2226">
                  <c:v>1.1026162000000001E-2</c:v>
                </c:pt>
                <c:pt idx="2227">
                  <c:v>1.1025401000000001E-2</c:v>
                </c:pt>
                <c:pt idx="2228">
                  <c:v>1.0998365E-2</c:v>
                </c:pt>
                <c:pt idx="2229">
                  <c:v>1.0977433999999999E-2</c:v>
                </c:pt>
                <c:pt idx="2230">
                  <c:v>1.0932163E-2</c:v>
                </c:pt>
                <c:pt idx="2231">
                  <c:v>1.0902283E-2</c:v>
                </c:pt>
                <c:pt idx="2232">
                  <c:v>1.0871122E-2</c:v>
                </c:pt>
                <c:pt idx="2233">
                  <c:v>1.0872084000000001E-2</c:v>
                </c:pt>
                <c:pt idx="2234">
                  <c:v>1.0893450000000001E-2</c:v>
                </c:pt>
                <c:pt idx="2235">
                  <c:v>1.0905806000000001E-2</c:v>
                </c:pt>
                <c:pt idx="2236">
                  <c:v>1.0889288E-2</c:v>
                </c:pt>
                <c:pt idx="2237">
                  <c:v>1.0895312000000001E-2</c:v>
                </c:pt>
                <c:pt idx="2238">
                  <c:v>1.0906614E-2</c:v>
                </c:pt>
                <c:pt idx="2239">
                  <c:v>1.0882098999999999E-2</c:v>
                </c:pt>
                <c:pt idx="2240">
                  <c:v>1.0869907E-2</c:v>
                </c:pt>
                <c:pt idx="2241">
                  <c:v>1.0870469000000001E-2</c:v>
                </c:pt>
                <c:pt idx="2242">
                  <c:v>1.0847806E-2</c:v>
                </c:pt>
                <c:pt idx="2243">
                  <c:v>1.0829391000000001E-2</c:v>
                </c:pt>
                <c:pt idx="2244">
                  <c:v>1.085643E-2</c:v>
                </c:pt>
                <c:pt idx="2245">
                  <c:v>1.0857396E-2</c:v>
                </c:pt>
                <c:pt idx="2246">
                  <c:v>1.0888943E-2</c:v>
                </c:pt>
                <c:pt idx="2247">
                  <c:v>1.0908955E-2</c:v>
                </c:pt>
                <c:pt idx="2248">
                  <c:v>1.0879834999999999E-2</c:v>
                </c:pt>
                <c:pt idx="2249">
                  <c:v>1.0883558999999999E-2</c:v>
                </c:pt>
                <c:pt idx="2250">
                  <c:v>1.088184E-2</c:v>
                </c:pt>
                <c:pt idx="2251">
                  <c:v>1.0871234E-2</c:v>
                </c:pt>
                <c:pt idx="2252">
                  <c:v>1.0868450999999999E-2</c:v>
                </c:pt>
                <c:pt idx="2253">
                  <c:v>1.0866303000000001E-2</c:v>
                </c:pt>
                <c:pt idx="2254">
                  <c:v>1.0867318000000001E-2</c:v>
                </c:pt>
                <c:pt idx="2255">
                  <c:v>1.0866809E-2</c:v>
                </c:pt>
                <c:pt idx="2256">
                  <c:v>1.0867356E-2</c:v>
                </c:pt>
                <c:pt idx="2257">
                  <c:v>1.0877048E-2</c:v>
                </c:pt>
                <c:pt idx="2258">
                  <c:v>1.0881297E-2</c:v>
                </c:pt>
                <c:pt idx="2259">
                  <c:v>1.0873301E-2</c:v>
                </c:pt>
                <c:pt idx="2260">
                  <c:v>1.0871575E-2</c:v>
                </c:pt>
                <c:pt idx="2261">
                  <c:v>1.0872774E-2</c:v>
                </c:pt>
                <c:pt idx="2262">
                  <c:v>1.0847537000000001E-2</c:v>
                </c:pt>
                <c:pt idx="2263">
                  <c:v>1.0832964E-2</c:v>
                </c:pt>
                <c:pt idx="2264">
                  <c:v>1.0820392E-2</c:v>
                </c:pt>
                <c:pt idx="2265">
                  <c:v>1.0805031E-2</c:v>
                </c:pt>
                <c:pt idx="2266">
                  <c:v>1.0812331999999999E-2</c:v>
                </c:pt>
                <c:pt idx="2267">
                  <c:v>1.0816292E-2</c:v>
                </c:pt>
                <c:pt idx="2268">
                  <c:v>1.0810996999999999E-2</c:v>
                </c:pt>
                <c:pt idx="2269">
                  <c:v>1.0795604E-2</c:v>
                </c:pt>
                <c:pt idx="2270">
                  <c:v>1.0781206E-2</c:v>
                </c:pt>
                <c:pt idx="2271">
                  <c:v>1.0771220999999999E-2</c:v>
                </c:pt>
                <c:pt idx="2272">
                  <c:v>1.0753838999999999E-2</c:v>
                </c:pt>
                <c:pt idx="2273">
                  <c:v>1.0739212999999999E-2</c:v>
                </c:pt>
                <c:pt idx="2274">
                  <c:v>1.0735392999999999E-2</c:v>
                </c:pt>
                <c:pt idx="2275">
                  <c:v>1.0722138000000001E-2</c:v>
                </c:pt>
                <c:pt idx="2276">
                  <c:v>1.0710018E-2</c:v>
                </c:pt>
                <c:pt idx="2277">
                  <c:v>1.0704513000000001E-2</c:v>
                </c:pt>
                <c:pt idx="2278">
                  <c:v>1.0690867E-2</c:v>
                </c:pt>
                <c:pt idx="2279">
                  <c:v>1.066806E-2</c:v>
                </c:pt>
                <c:pt idx="2280">
                  <c:v>1.0638414000000001E-2</c:v>
                </c:pt>
                <c:pt idx="2281">
                  <c:v>1.0618425000000001E-2</c:v>
                </c:pt>
                <c:pt idx="2282">
                  <c:v>1.0598398E-2</c:v>
                </c:pt>
                <c:pt idx="2283">
                  <c:v>1.0566827000000001E-2</c:v>
                </c:pt>
                <c:pt idx="2284">
                  <c:v>1.0552969000000001E-2</c:v>
                </c:pt>
                <c:pt idx="2285">
                  <c:v>1.0538865999999999E-2</c:v>
                </c:pt>
                <c:pt idx="2286">
                  <c:v>1.0517649E-2</c:v>
                </c:pt>
                <c:pt idx="2287">
                  <c:v>1.0494292000000001E-2</c:v>
                </c:pt>
                <c:pt idx="2288">
                  <c:v>1.0476717E-2</c:v>
                </c:pt>
                <c:pt idx="2289">
                  <c:v>1.0478968E-2</c:v>
                </c:pt>
                <c:pt idx="2290">
                  <c:v>1.048576E-2</c:v>
                </c:pt>
                <c:pt idx="2291">
                  <c:v>1.0474018999999999E-2</c:v>
                </c:pt>
                <c:pt idx="2292">
                  <c:v>1.0475346E-2</c:v>
                </c:pt>
                <c:pt idx="2293">
                  <c:v>1.0475587999999999E-2</c:v>
                </c:pt>
                <c:pt idx="2294">
                  <c:v>1.0464421E-2</c:v>
                </c:pt>
                <c:pt idx="2295">
                  <c:v>1.0442577999999999E-2</c:v>
                </c:pt>
                <c:pt idx="2296">
                  <c:v>1.0429987999999999E-2</c:v>
                </c:pt>
                <c:pt idx="2297">
                  <c:v>1.0420820000000001E-2</c:v>
                </c:pt>
                <c:pt idx="2298">
                  <c:v>1.0416055E-2</c:v>
                </c:pt>
                <c:pt idx="2299">
                  <c:v>1.0414197E-2</c:v>
                </c:pt>
                <c:pt idx="2300">
                  <c:v>1.0409760000000001E-2</c:v>
                </c:pt>
                <c:pt idx="2301">
                  <c:v>1.0399228E-2</c:v>
                </c:pt>
                <c:pt idx="2302">
                  <c:v>1.0372665E-2</c:v>
                </c:pt>
                <c:pt idx="2303">
                  <c:v>1.0334987E-2</c:v>
                </c:pt>
                <c:pt idx="2304">
                  <c:v>1.0310648E-2</c:v>
                </c:pt>
                <c:pt idx="2305">
                  <c:v>1.0289783E-2</c:v>
                </c:pt>
                <c:pt idx="2306">
                  <c:v>1.0267739999999999E-2</c:v>
                </c:pt>
                <c:pt idx="2307">
                  <c:v>1.026492E-2</c:v>
                </c:pt>
                <c:pt idx="2308">
                  <c:v>1.0256997E-2</c:v>
                </c:pt>
                <c:pt idx="2309">
                  <c:v>1.0248421000000001E-2</c:v>
                </c:pt>
                <c:pt idx="2310">
                  <c:v>1.0241770000000001E-2</c:v>
                </c:pt>
                <c:pt idx="2311">
                  <c:v>1.0245551E-2</c:v>
                </c:pt>
                <c:pt idx="2312">
                  <c:v>1.0255957E-2</c:v>
                </c:pt>
                <c:pt idx="2313">
                  <c:v>1.0259068999999999E-2</c:v>
                </c:pt>
                <c:pt idx="2314">
                  <c:v>1.0255545E-2</c:v>
                </c:pt>
                <c:pt idx="2315">
                  <c:v>1.020128E-2</c:v>
                </c:pt>
                <c:pt idx="2316">
                  <c:v>1.0185015E-2</c:v>
                </c:pt>
                <c:pt idx="2317">
                  <c:v>1.0182609E-2</c:v>
                </c:pt>
                <c:pt idx="2318">
                  <c:v>1.0210406999999999E-2</c:v>
                </c:pt>
                <c:pt idx="2319">
                  <c:v>1.0221512E-2</c:v>
                </c:pt>
                <c:pt idx="2320">
                  <c:v>1.0288481E-2</c:v>
                </c:pt>
                <c:pt idx="2321">
                  <c:v>1.0320364E-2</c:v>
                </c:pt>
                <c:pt idx="2322">
                  <c:v>1.0355743000000001E-2</c:v>
                </c:pt>
                <c:pt idx="2323">
                  <c:v>1.0367917000000001E-2</c:v>
                </c:pt>
                <c:pt idx="2324">
                  <c:v>1.0396068E-2</c:v>
                </c:pt>
                <c:pt idx="2325">
                  <c:v>1.0422894E-2</c:v>
                </c:pt>
                <c:pt idx="2326">
                  <c:v>1.0448822E-2</c:v>
                </c:pt>
                <c:pt idx="2327">
                  <c:v>1.047499E-2</c:v>
                </c:pt>
                <c:pt idx="2328">
                  <c:v>1.0500999E-2</c:v>
                </c:pt>
                <c:pt idx="2329">
                  <c:v>1.0519517000000001E-2</c:v>
                </c:pt>
                <c:pt idx="2330">
                  <c:v>1.0530945E-2</c:v>
                </c:pt>
                <c:pt idx="2331">
                  <c:v>1.0540671E-2</c:v>
                </c:pt>
                <c:pt idx="2332">
                  <c:v>1.0560313E-2</c:v>
                </c:pt>
                <c:pt idx="2333">
                  <c:v>1.0565104000000001E-2</c:v>
                </c:pt>
                <c:pt idx="2334">
                  <c:v>1.0571588999999999E-2</c:v>
                </c:pt>
                <c:pt idx="2335">
                  <c:v>1.0594548000000001E-2</c:v>
                </c:pt>
                <c:pt idx="2336">
                  <c:v>1.0607642E-2</c:v>
                </c:pt>
                <c:pt idx="2337">
                  <c:v>1.0593394000000001E-2</c:v>
                </c:pt>
                <c:pt idx="2338">
                  <c:v>1.0596226E-2</c:v>
                </c:pt>
                <c:pt idx="2339">
                  <c:v>1.0593320999999999E-2</c:v>
                </c:pt>
                <c:pt idx="2340">
                  <c:v>1.0607025000000001E-2</c:v>
                </c:pt>
                <c:pt idx="2341">
                  <c:v>1.0571557000000001E-2</c:v>
                </c:pt>
                <c:pt idx="2342">
                  <c:v>1.0557375000000001E-2</c:v>
                </c:pt>
                <c:pt idx="2343">
                  <c:v>1.0545661E-2</c:v>
                </c:pt>
                <c:pt idx="2344">
                  <c:v>1.0541874999999999E-2</c:v>
                </c:pt>
                <c:pt idx="2345">
                  <c:v>1.0548073999999999E-2</c:v>
                </c:pt>
                <c:pt idx="2346">
                  <c:v>1.0564547000000001E-2</c:v>
                </c:pt>
                <c:pt idx="2347">
                  <c:v>1.0584659999999999E-2</c:v>
                </c:pt>
                <c:pt idx="2348">
                  <c:v>1.0601452000000001E-2</c:v>
                </c:pt>
                <c:pt idx="2349">
                  <c:v>1.0620223E-2</c:v>
                </c:pt>
                <c:pt idx="2350">
                  <c:v>1.0638978E-2</c:v>
                </c:pt>
                <c:pt idx="2351">
                  <c:v>1.064319E-2</c:v>
                </c:pt>
                <c:pt idx="2352">
                  <c:v>1.0656999E-2</c:v>
                </c:pt>
                <c:pt idx="2353">
                  <c:v>1.0664943E-2</c:v>
                </c:pt>
                <c:pt idx="2354">
                  <c:v>1.0682666E-2</c:v>
                </c:pt>
                <c:pt idx="2355">
                  <c:v>1.0748682000000001E-2</c:v>
                </c:pt>
                <c:pt idx="2356">
                  <c:v>1.0773862E-2</c:v>
                </c:pt>
                <c:pt idx="2357">
                  <c:v>1.0733058E-2</c:v>
                </c:pt>
                <c:pt idx="2358">
                  <c:v>1.0689547000000001E-2</c:v>
                </c:pt>
                <c:pt idx="2359">
                  <c:v>1.064433E-2</c:v>
                </c:pt>
                <c:pt idx="2360">
                  <c:v>1.0594562E-2</c:v>
                </c:pt>
                <c:pt idx="2361">
                  <c:v>1.0607719E-2</c:v>
                </c:pt>
                <c:pt idx="2362">
                  <c:v>1.0613545E-2</c:v>
                </c:pt>
                <c:pt idx="2363">
                  <c:v>1.0597838E-2</c:v>
                </c:pt>
                <c:pt idx="2364">
                  <c:v>1.0617041000000001E-2</c:v>
                </c:pt>
                <c:pt idx="2365">
                  <c:v>1.0623476E-2</c:v>
                </c:pt>
                <c:pt idx="2366">
                  <c:v>1.0625377E-2</c:v>
                </c:pt>
                <c:pt idx="2367">
                  <c:v>1.0643583E-2</c:v>
                </c:pt>
                <c:pt idx="2368">
                  <c:v>1.0672427999999999E-2</c:v>
                </c:pt>
                <c:pt idx="2369">
                  <c:v>1.0706103E-2</c:v>
                </c:pt>
                <c:pt idx="2370">
                  <c:v>1.0739838E-2</c:v>
                </c:pt>
                <c:pt idx="2371">
                  <c:v>1.0762437999999999E-2</c:v>
                </c:pt>
                <c:pt idx="2372">
                  <c:v>1.0813427E-2</c:v>
                </c:pt>
                <c:pt idx="2373">
                  <c:v>1.0836696E-2</c:v>
                </c:pt>
                <c:pt idx="2374">
                  <c:v>1.0833496E-2</c:v>
                </c:pt>
                <c:pt idx="2375">
                  <c:v>1.0829808E-2</c:v>
                </c:pt>
                <c:pt idx="2376">
                  <c:v>1.0831673E-2</c:v>
                </c:pt>
                <c:pt idx="2377">
                  <c:v>1.0838568E-2</c:v>
                </c:pt>
                <c:pt idx="2378">
                  <c:v>1.084156E-2</c:v>
                </c:pt>
                <c:pt idx="2379">
                  <c:v>1.0852059000000001E-2</c:v>
                </c:pt>
                <c:pt idx="2380">
                  <c:v>1.0863360000000001E-2</c:v>
                </c:pt>
                <c:pt idx="2381">
                  <c:v>1.0905692E-2</c:v>
                </c:pt>
                <c:pt idx="2382">
                  <c:v>1.0964175E-2</c:v>
                </c:pt>
                <c:pt idx="2383">
                  <c:v>1.1074489999999999E-2</c:v>
                </c:pt>
                <c:pt idx="2384">
                  <c:v>1.1149091E-2</c:v>
                </c:pt>
                <c:pt idx="2385">
                  <c:v>1.1235891E-2</c:v>
                </c:pt>
                <c:pt idx="2386">
                  <c:v>1.1268502999999999E-2</c:v>
                </c:pt>
                <c:pt idx="2387">
                  <c:v>1.1291103E-2</c:v>
                </c:pt>
                <c:pt idx="2388">
                  <c:v>1.1362578E-2</c:v>
                </c:pt>
                <c:pt idx="2389">
                  <c:v>1.1466367E-2</c:v>
                </c:pt>
                <c:pt idx="2390">
                  <c:v>1.1640663000000001E-2</c:v>
                </c:pt>
                <c:pt idx="2391">
                  <c:v>1.1714419E-2</c:v>
                </c:pt>
                <c:pt idx="2392">
                  <c:v>1.1805334000000001E-2</c:v>
                </c:pt>
                <c:pt idx="2393">
                  <c:v>1.1872835E-2</c:v>
                </c:pt>
                <c:pt idx="2394">
                  <c:v>1.1934617E-2</c:v>
                </c:pt>
                <c:pt idx="2395">
                  <c:v>1.199363E-2</c:v>
                </c:pt>
                <c:pt idx="2396">
                  <c:v>1.2031086E-2</c:v>
                </c:pt>
                <c:pt idx="2397">
                  <c:v>1.2054415000000001E-2</c:v>
                </c:pt>
                <c:pt idx="2398">
                  <c:v>1.2108819E-2</c:v>
                </c:pt>
                <c:pt idx="2399">
                  <c:v>1.2225964000000001E-2</c:v>
                </c:pt>
                <c:pt idx="2400">
                  <c:v>1.228425E-2</c:v>
                </c:pt>
                <c:pt idx="2401">
                  <c:v>1.2382259E-2</c:v>
                </c:pt>
                <c:pt idx="2402">
                  <c:v>1.250188E-2</c:v>
                </c:pt>
                <c:pt idx="2403">
                  <c:v>1.2622306999999999E-2</c:v>
                </c:pt>
                <c:pt idx="2404">
                  <c:v>1.2741776E-2</c:v>
                </c:pt>
                <c:pt idx="2405">
                  <c:v>1.2867880999999999E-2</c:v>
                </c:pt>
                <c:pt idx="2406">
                  <c:v>1.3043355E-2</c:v>
                </c:pt>
                <c:pt idx="2407">
                  <c:v>1.3187318E-2</c:v>
                </c:pt>
                <c:pt idx="2408">
                  <c:v>1.3379586000000001E-2</c:v>
                </c:pt>
                <c:pt idx="2409">
                  <c:v>1.3569624000000001E-2</c:v>
                </c:pt>
                <c:pt idx="2410">
                  <c:v>1.3781862000000001E-2</c:v>
                </c:pt>
                <c:pt idx="2411">
                  <c:v>1.3934551999999999E-2</c:v>
                </c:pt>
                <c:pt idx="2412">
                  <c:v>1.403009E-2</c:v>
                </c:pt>
                <c:pt idx="2413">
                  <c:v>1.4109228999999999E-2</c:v>
                </c:pt>
                <c:pt idx="2414">
                  <c:v>1.4193005999999999E-2</c:v>
                </c:pt>
                <c:pt idx="2415">
                  <c:v>1.4321564E-2</c:v>
                </c:pt>
                <c:pt idx="2416">
                  <c:v>1.4496676E-2</c:v>
                </c:pt>
                <c:pt idx="2417">
                  <c:v>1.4623416E-2</c:v>
                </c:pt>
                <c:pt idx="2418">
                  <c:v>1.477815E-2</c:v>
                </c:pt>
                <c:pt idx="2419">
                  <c:v>1.5004805E-2</c:v>
                </c:pt>
                <c:pt idx="2420">
                  <c:v>1.5147314E-2</c:v>
                </c:pt>
                <c:pt idx="2421">
                  <c:v>1.5270489999999999E-2</c:v>
                </c:pt>
                <c:pt idx="2422">
                  <c:v>1.5394761999999999E-2</c:v>
                </c:pt>
                <c:pt idx="2423">
                  <c:v>1.5549632000000001E-2</c:v>
                </c:pt>
                <c:pt idx="2424">
                  <c:v>1.5712296000000001E-2</c:v>
                </c:pt>
                <c:pt idx="2425">
                  <c:v>1.5841926999999999E-2</c:v>
                </c:pt>
                <c:pt idx="2426">
                  <c:v>1.6010882000000001E-2</c:v>
                </c:pt>
                <c:pt idx="2427">
                  <c:v>1.622817E-2</c:v>
                </c:pt>
                <c:pt idx="2428">
                  <c:v>1.6423097000000001E-2</c:v>
                </c:pt>
                <c:pt idx="2429">
                  <c:v>1.6560235999999999E-2</c:v>
                </c:pt>
                <c:pt idx="2430">
                  <c:v>1.6685164999999998E-2</c:v>
                </c:pt>
                <c:pt idx="2431">
                  <c:v>1.6842688000000001E-2</c:v>
                </c:pt>
                <c:pt idx="2432">
                  <c:v>1.6956922999999999E-2</c:v>
                </c:pt>
                <c:pt idx="2433">
                  <c:v>1.70177E-2</c:v>
                </c:pt>
                <c:pt idx="2434">
                  <c:v>1.7086183000000001E-2</c:v>
                </c:pt>
                <c:pt idx="2435">
                  <c:v>1.7197187999999999E-2</c:v>
                </c:pt>
                <c:pt idx="2436">
                  <c:v>1.7322837000000001E-2</c:v>
                </c:pt>
                <c:pt idx="2437">
                  <c:v>1.7468602999999999E-2</c:v>
                </c:pt>
                <c:pt idx="2438">
                  <c:v>1.7602071E-2</c:v>
                </c:pt>
                <c:pt idx="2439">
                  <c:v>1.7755522999999999E-2</c:v>
                </c:pt>
                <c:pt idx="2440">
                  <c:v>1.7865932000000001E-2</c:v>
                </c:pt>
                <c:pt idx="2441">
                  <c:v>1.7985989000000001E-2</c:v>
                </c:pt>
                <c:pt idx="2442">
                  <c:v>1.8081178E-2</c:v>
                </c:pt>
                <c:pt idx="2443">
                  <c:v>1.8203871E-2</c:v>
                </c:pt>
                <c:pt idx="2444">
                  <c:v>1.8290263000000001E-2</c:v>
                </c:pt>
                <c:pt idx="2445">
                  <c:v>1.8372243999999999E-2</c:v>
                </c:pt>
                <c:pt idx="2446">
                  <c:v>1.8427134000000001E-2</c:v>
                </c:pt>
                <c:pt idx="2447">
                  <c:v>1.8511853000000002E-2</c:v>
                </c:pt>
                <c:pt idx="2448">
                  <c:v>1.8595783000000001E-2</c:v>
                </c:pt>
                <c:pt idx="2449">
                  <c:v>1.8665662E-2</c:v>
                </c:pt>
                <c:pt idx="2450">
                  <c:v>1.8786748999999998E-2</c:v>
                </c:pt>
                <c:pt idx="2451">
                  <c:v>1.8871295E-2</c:v>
                </c:pt>
                <c:pt idx="2452">
                  <c:v>1.8952987000000001E-2</c:v>
                </c:pt>
                <c:pt idx="2453">
                  <c:v>1.9021812999999999E-2</c:v>
                </c:pt>
                <c:pt idx="2454">
                  <c:v>1.9057919E-2</c:v>
                </c:pt>
                <c:pt idx="2455">
                  <c:v>1.9089496000000001E-2</c:v>
                </c:pt>
                <c:pt idx="2456">
                  <c:v>1.9162872000000001E-2</c:v>
                </c:pt>
                <c:pt idx="2457">
                  <c:v>1.9194376999999999E-2</c:v>
                </c:pt>
                <c:pt idx="2458">
                  <c:v>1.9246333000000001E-2</c:v>
                </c:pt>
                <c:pt idx="2459">
                  <c:v>1.92903E-2</c:v>
                </c:pt>
                <c:pt idx="2460">
                  <c:v>1.9379364E-2</c:v>
                </c:pt>
                <c:pt idx="2461">
                  <c:v>1.9449602999999999E-2</c:v>
                </c:pt>
                <c:pt idx="2462">
                  <c:v>1.9523109E-2</c:v>
                </c:pt>
                <c:pt idx="2463">
                  <c:v>1.9622951E-2</c:v>
                </c:pt>
                <c:pt idx="2464">
                  <c:v>1.9674074999999999E-2</c:v>
                </c:pt>
                <c:pt idx="2465">
                  <c:v>1.9738997000000001E-2</c:v>
                </c:pt>
                <c:pt idx="2466">
                  <c:v>1.9785647999999999E-2</c:v>
                </c:pt>
                <c:pt idx="2467">
                  <c:v>1.9875878999999999E-2</c:v>
                </c:pt>
                <c:pt idx="2468">
                  <c:v>1.994071E-2</c:v>
                </c:pt>
                <c:pt idx="2469">
                  <c:v>1.9998960999999999E-2</c:v>
                </c:pt>
                <c:pt idx="2470">
                  <c:v>2.0119399999999999E-2</c:v>
                </c:pt>
                <c:pt idx="2471">
                  <c:v>2.0231453E-2</c:v>
                </c:pt>
                <c:pt idx="2472">
                  <c:v>2.0344795999999998E-2</c:v>
                </c:pt>
                <c:pt idx="2473">
                  <c:v>2.0521784000000001E-2</c:v>
                </c:pt>
                <c:pt idx="2474">
                  <c:v>2.0716954999999999E-2</c:v>
                </c:pt>
                <c:pt idx="2475">
                  <c:v>2.0899537999999999E-2</c:v>
                </c:pt>
                <c:pt idx="2476">
                  <c:v>2.1093889000000001E-2</c:v>
                </c:pt>
                <c:pt idx="2477">
                  <c:v>2.1270548E-2</c:v>
                </c:pt>
                <c:pt idx="2478">
                  <c:v>2.1495350999999999E-2</c:v>
                </c:pt>
                <c:pt idx="2479">
                  <c:v>2.1680103999999999E-2</c:v>
                </c:pt>
                <c:pt idx="2480">
                  <c:v>2.1844509000000002E-2</c:v>
                </c:pt>
                <c:pt idx="2481">
                  <c:v>2.1985398E-2</c:v>
                </c:pt>
                <c:pt idx="2482">
                  <c:v>2.2214351E-2</c:v>
                </c:pt>
                <c:pt idx="2483">
                  <c:v>2.2414238999999999E-2</c:v>
                </c:pt>
                <c:pt idx="2484">
                  <c:v>2.2546696000000001E-2</c:v>
                </c:pt>
                <c:pt idx="2485">
                  <c:v>2.2691342999999999E-2</c:v>
                </c:pt>
                <c:pt idx="2486">
                  <c:v>2.2837711E-2</c:v>
                </c:pt>
                <c:pt idx="2487">
                  <c:v>2.3039001E-2</c:v>
                </c:pt>
                <c:pt idx="2488">
                  <c:v>2.3272827999999999E-2</c:v>
                </c:pt>
                <c:pt idx="2489">
                  <c:v>2.3502978000000001E-2</c:v>
                </c:pt>
                <c:pt idx="2490">
                  <c:v>2.3679143E-2</c:v>
                </c:pt>
                <c:pt idx="2491">
                  <c:v>2.3904814E-2</c:v>
                </c:pt>
                <c:pt idx="2492">
                  <c:v>2.4118588999999999E-2</c:v>
                </c:pt>
                <c:pt idx="2493">
                  <c:v>2.4371067E-2</c:v>
                </c:pt>
                <c:pt idx="2494">
                  <c:v>2.4547398000000002E-2</c:v>
                </c:pt>
                <c:pt idx="2495">
                  <c:v>2.4822942000000001E-2</c:v>
                </c:pt>
                <c:pt idx="2496">
                  <c:v>2.5132419999999999E-2</c:v>
                </c:pt>
                <c:pt idx="2497">
                  <c:v>2.5352026E-2</c:v>
                </c:pt>
                <c:pt idx="2498">
                  <c:v>2.5604884000000001E-2</c:v>
                </c:pt>
                <c:pt idx="2499">
                  <c:v>2.5831369E-2</c:v>
                </c:pt>
                <c:pt idx="2500">
                  <c:v>2.6063096000000001E-2</c:v>
                </c:pt>
                <c:pt idx="2501">
                  <c:v>2.6322699000000001E-2</c:v>
                </c:pt>
                <c:pt idx="2502">
                  <c:v>2.6654932999999999E-2</c:v>
                </c:pt>
                <c:pt idx="2503">
                  <c:v>2.6851421E-2</c:v>
                </c:pt>
                <c:pt idx="2504">
                  <c:v>2.7043472999999998E-2</c:v>
                </c:pt>
                <c:pt idx="2505">
                  <c:v>2.7226608999999999E-2</c:v>
                </c:pt>
                <c:pt idx="2506">
                  <c:v>2.7460287E-2</c:v>
                </c:pt>
                <c:pt idx="2507">
                  <c:v>2.7639420000000001E-2</c:v>
                </c:pt>
                <c:pt idx="2508">
                  <c:v>2.7773035000000001E-2</c:v>
                </c:pt>
                <c:pt idx="2509">
                  <c:v>2.7915202E-2</c:v>
                </c:pt>
                <c:pt idx="2510">
                  <c:v>2.8096738E-2</c:v>
                </c:pt>
                <c:pt idx="2511">
                  <c:v>2.8275134E-2</c:v>
                </c:pt>
                <c:pt idx="2512">
                  <c:v>2.8445139000000001E-2</c:v>
                </c:pt>
                <c:pt idx="2513">
                  <c:v>2.8603269000000001E-2</c:v>
                </c:pt>
                <c:pt idx="2514">
                  <c:v>2.8754994999999998E-2</c:v>
                </c:pt>
                <c:pt idx="2515">
                  <c:v>2.8870173999999998E-2</c:v>
                </c:pt>
                <c:pt idx="2516">
                  <c:v>2.8995190000000001E-2</c:v>
                </c:pt>
                <c:pt idx="2517">
                  <c:v>2.9153331000000001E-2</c:v>
                </c:pt>
                <c:pt idx="2518">
                  <c:v>2.9281824000000001E-2</c:v>
                </c:pt>
                <c:pt idx="2519">
                  <c:v>2.9498323E-2</c:v>
                </c:pt>
                <c:pt idx="2520">
                  <c:v>2.9724223000000001E-2</c:v>
                </c:pt>
                <c:pt idx="2521">
                  <c:v>2.9960823000000001E-2</c:v>
                </c:pt>
                <c:pt idx="2522">
                  <c:v>3.0185329E-2</c:v>
                </c:pt>
                <c:pt idx="2523">
                  <c:v>3.047389E-2</c:v>
                </c:pt>
                <c:pt idx="2524">
                  <c:v>3.0682141E-2</c:v>
                </c:pt>
                <c:pt idx="2525">
                  <c:v>3.0894436000000001E-2</c:v>
                </c:pt>
                <c:pt idx="2526">
                  <c:v>3.1090709000000001E-2</c:v>
                </c:pt>
                <c:pt idx="2527">
                  <c:v>3.1285892000000003E-2</c:v>
                </c:pt>
                <c:pt idx="2528">
                  <c:v>3.1517530000000002E-2</c:v>
                </c:pt>
                <c:pt idx="2529">
                  <c:v>3.1771159E-2</c:v>
                </c:pt>
                <c:pt idx="2530">
                  <c:v>3.2099558E-2</c:v>
                </c:pt>
                <c:pt idx="2531">
                  <c:v>3.2390163E-2</c:v>
                </c:pt>
                <c:pt idx="2532">
                  <c:v>3.2589985000000002E-2</c:v>
                </c:pt>
                <c:pt idx="2533">
                  <c:v>3.2764864999999997E-2</c:v>
                </c:pt>
                <c:pt idx="2534">
                  <c:v>3.2958347999999998E-2</c:v>
                </c:pt>
                <c:pt idx="2535">
                  <c:v>3.3163277999999997E-2</c:v>
                </c:pt>
                <c:pt idx="2536">
                  <c:v>3.3331280999999997E-2</c:v>
                </c:pt>
                <c:pt idx="2537">
                  <c:v>3.3504851000000002E-2</c:v>
                </c:pt>
                <c:pt idx="2538">
                  <c:v>3.3651987000000001E-2</c:v>
                </c:pt>
                <c:pt idx="2539">
                  <c:v>3.3794866E-2</c:v>
                </c:pt>
                <c:pt idx="2540">
                  <c:v>3.3933943000000001E-2</c:v>
                </c:pt>
                <c:pt idx="2541">
                  <c:v>3.4111607000000002E-2</c:v>
                </c:pt>
                <c:pt idx="2542">
                  <c:v>3.4297884000000001E-2</c:v>
                </c:pt>
                <c:pt idx="2543">
                  <c:v>3.4502400000000003E-2</c:v>
                </c:pt>
                <c:pt idx="2544">
                  <c:v>3.4751563999999999E-2</c:v>
                </c:pt>
                <c:pt idx="2545">
                  <c:v>3.5008889000000001E-2</c:v>
                </c:pt>
                <c:pt idx="2546">
                  <c:v>3.5205792999999999E-2</c:v>
                </c:pt>
                <c:pt idx="2547">
                  <c:v>3.5426133999999998E-2</c:v>
                </c:pt>
                <c:pt idx="2548">
                  <c:v>3.5618577999999998E-2</c:v>
                </c:pt>
                <c:pt idx="2549">
                  <c:v>3.5940697000000001E-2</c:v>
                </c:pt>
                <c:pt idx="2550">
                  <c:v>3.6269473000000003E-2</c:v>
                </c:pt>
                <c:pt idx="2551">
                  <c:v>3.6582212000000003E-2</c:v>
                </c:pt>
                <c:pt idx="2552">
                  <c:v>3.6832153999999999E-2</c:v>
                </c:pt>
                <c:pt idx="2553">
                  <c:v>3.7088371000000002E-2</c:v>
                </c:pt>
                <c:pt idx="2554">
                  <c:v>3.7329386999999999E-2</c:v>
                </c:pt>
                <c:pt idx="2555">
                  <c:v>3.7534785000000001E-2</c:v>
                </c:pt>
                <c:pt idx="2556">
                  <c:v>3.7716206000000002E-2</c:v>
                </c:pt>
                <c:pt idx="2557">
                  <c:v>3.7844411000000001E-2</c:v>
                </c:pt>
                <c:pt idx="2558">
                  <c:v>3.7973706000000003E-2</c:v>
                </c:pt>
                <c:pt idx="2559">
                  <c:v>3.8108097E-2</c:v>
                </c:pt>
                <c:pt idx="2560">
                  <c:v>3.8226073999999999E-2</c:v>
                </c:pt>
                <c:pt idx="2561">
                  <c:v>3.8332942000000002E-2</c:v>
                </c:pt>
                <c:pt idx="2562">
                  <c:v>3.8447130000000003E-2</c:v>
                </c:pt>
                <c:pt idx="2563">
                  <c:v>3.8593439E-2</c:v>
                </c:pt>
                <c:pt idx="2564">
                  <c:v>3.8729257000000003E-2</c:v>
                </c:pt>
                <c:pt idx="2565">
                  <c:v>3.8881221000000001E-2</c:v>
                </c:pt>
                <c:pt idx="2566">
                  <c:v>3.8965161999999998E-2</c:v>
                </c:pt>
                <c:pt idx="2567">
                  <c:v>3.9039561E-2</c:v>
                </c:pt>
                <c:pt idx="2568">
                  <c:v>3.9069721000000002E-2</c:v>
                </c:pt>
                <c:pt idx="2569">
                  <c:v>3.9129007E-2</c:v>
                </c:pt>
                <c:pt idx="2570">
                  <c:v>3.9122125000000001E-2</c:v>
                </c:pt>
                <c:pt idx="2571">
                  <c:v>3.9135414E-2</c:v>
                </c:pt>
                <c:pt idx="2572">
                  <c:v>3.9132083999999998E-2</c:v>
                </c:pt>
                <c:pt idx="2573">
                  <c:v>3.9156564999999997E-2</c:v>
                </c:pt>
                <c:pt idx="2574">
                  <c:v>3.9228312000000001E-2</c:v>
                </c:pt>
                <c:pt idx="2575">
                  <c:v>3.9311376000000002E-2</c:v>
                </c:pt>
                <c:pt idx="2576">
                  <c:v>3.9372852999999999E-2</c:v>
                </c:pt>
                <c:pt idx="2577">
                  <c:v>3.9424143000000002E-2</c:v>
                </c:pt>
                <c:pt idx="2578">
                  <c:v>3.9474955999999999E-2</c:v>
                </c:pt>
                <c:pt idx="2579">
                  <c:v>3.9540519000000003E-2</c:v>
                </c:pt>
                <c:pt idx="2580">
                  <c:v>3.9640242999999999E-2</c:v>
                </c:pt>
                <c:pt idx="2581">
                  <c:v>3.9717975000000003E-2</c:v>
                </c:pt>
                <c:pt idx="2582">
                  <c:v>3.9759291000000002E-2</c:v>
                </c:pt>
                <c:pt idx="2583">
                  <c:v>3.9810143999999999E-2</c:v>
                </c:pt>
                <c:pt idx="2584">
                  <c:v>3.9893418E-2</c:v>
                </c:pt>
                <c:pt idx="2585">
                  <c:v>3.9977368999999999E-2</c:v>
                </c:pt>
                <c:pt idx="2586">
                  <c:v>4.0075237999999999E-2</c:v>
                </c:pt>
                <c:pt idx="2587">
                  <c:v>4.0162561999999999E-2</c:v>
                </c:pt>
                <c:pt idx="2588">
                  <c:v>4.0253790999999997E-2</c:v>
                </c:pt>
                <c:pt idx="2589">
                  <c:v>4.0343510999999999E-2</c:v>
                </c:pt>
                <c:pt idx="2590">
                  <c:v>4.0465864999999997E-2</c:v>
                </c:pt>
                <c:pt idx="2591">
                  <c:v>4.0595345999999997E-2</c:v>
                </c:pt>
                <c:pt idx="2592">
                  <c:v>4.0663950999999997E-2</c:v>
                </c:pt>
                <c:pt idx="2593">
                  <c:v>4.0703018000000001E-2</c:v>
                </c:pt>
                <c:pt idx="2594">
                  <c:v>4.0775093999999998E-2</c:v>
                </c:pt>
                <c:pt idx="2595">
                  <c:v>4.0802580999999997E-2</c:v>
                </c:pt>
                <c:pt idx="2596">
                  <c:v>4.0793082000000001E-2</c:v>
                </c:pt>
                <c:pt idx="2597">
                  <c:v>4.0827785999999998E-2</c:v>
                </c:pt>
                <c:pt idx="2598">
                  <c:v>4.0839453999999997E-2</c:v>
                </c:pt>
                <c:pt idx="2599">
                  <c:v>4.0844545000000003E-2</c:v>
                </c:pt>
                <c:pt idx="2600">
                  <c:v>4.0866832999999998E-2</c:v>
                </c:pt>
                <c:pt idx="2601">
                  <c:v>4.0865795000000003E-2</c:v>
                </c:pt>
                <c:pt idx="2602">
                  <c:v>4.0856033999999999E-2</c:v>
                </c:pt>
                <c:pt idx="2603">
                  <c:v>4.0864072000000001E-2</c:v>
                </c:pt>
                <c:pt idx="2604">
                  <c:v>4.0856101999999998E-2</c:v>
                </c:pt>
                <c:pt idx="2605">
                  <c:v>4.0798995999999997E-2</c:v>
                </c:pt>
                <c:pt idx="2606">
                  <c:v>4.0783666000000003E-2</c:v>
                </c:pt>
                <c:pt idx="2607">
                  <c:v>4.0751781000000001E-2</c:v>
                </c:pt>
                <c:pt idx="2608">
                  <c:v>4.0733074000000001E-2</c:v>
                </c:pt>
                <c:pt idx="2609">
                  <c:v>4.0713887999999997E-2</c:v>
                </c:pt>
                <c:pt idx="2610">
                  <c:v>4.0730804000000002E-2</c:v>
                </c:pt>
                <c:pt idx="2611">
                  <c:v>4.0707385999999998E-2</c:v>
                </c:pt>
                <c:pt idx="2612">
                  <c:v>4.0735911E-2</c:v>
                </c:pt>
                <c:pt idx="2613">
                  <c:v>4.0752636000000002E-2</c:v>
                </c:pt>
                <c:pt idx="2614">
                  <c:v>4.0755167000000002E-2</c:v>
                </c:pt>
                <c:pt idx="2615">
                  <c:v>4.0774474999999998E-2</c:v>
                </c:pt>
                <c:pt idx="2616">
                  <c:v>4.0802540999999998E-2</c:v>
                </c:pt>
                <c:pt idx="2617">
                  <c:v>4.0817267999999997E-2</c:v>
                </c:pt>
                <c:pt idx="2618">
                  <c:v>4.0814655999999998E-2</c:v>
                </c:pt>
                <c:pt idx="2619">
                  <c:v>4.0876448000000003E-2</c:v>
                </c:pt>
                <c:pt idx="2620">
                  <c:v>4.0895718999999997E-2</c:v>
                </c:pt>
                <c:pt idx="2621">
                  <c:v>4.0907526E-2</c:v>
                </c:pt>
                <c:pt idx="2622">
                  <c:v>4.0902259000000003E-2</c:v>
                </c:pt>
                <c:pt idx="2623">
                  <c:v>4.0901455000000003E-2</c:v>
                </c:pt>
                <c:pt idx="2624">
                  <c:v>4.0916606000000001E-2</c:v>
                </c:pt>
                <c:pt idx="2625">
                  <c:v>4.0914376000000002E-2</c:v>
                </c:pt>
                <c:pt idx="2626">
                  <c:v>4.0923656000000003E-2</c:v>
                </c:pt>
                <c:pt idx="2627">
                  <c:v>4.0923459000000002E-2</c:v>
                </c:pt>
                <c:pt idx="2628">
                  <c:v>4.0926753000000003E-2</c:v>
                </c:pt>
                <c:pt idx="2629">
                  <c:v>4.0976954000000003E-2</c:v>
                </c:pt>
                <c:pt idx="2630">
                  <c:v>4.1112224000000003E-2</c:v>
                </c:pt>
                <c:pt idx="2631">
                  <c:v>4.1163430000000001E-2</c:v>
                </c:pt>
                <c:pt idx="2632">
                  <c:v>4.1226814000000001E-2</c:v>
                </c:pt>
                <c:pt idx="2633">
                  <c:v>4.1206673999999999E-2</c:v>
                </c:pt>
                <c:pt idx="2634">
                  <c:v>4.1188381000000003E-2</c:v>
                </c:pt>
                <c:pt idx="2635">
                  <c:v>4.1161136000000001E-2</c:v>
                </c:pt>
                <c:pt idx="2636">
                  <c:v>4.1147555000000002E-2</c:v>
                </c:pt>
                <c:pt idx="2637">
                  <c:v>4.1139177999999998E-2</c:v>
                </c:pt>
                <c:pt idx="2638">
                  <c:v>4.1124701E-2</c:v>
                </c:pt>
                <c:pt idx="2639">
                  <c:v>4.1068475E-2</c:v>
                </c:pt>
                <c:pt idx="2640">
                  <c:v>4.0934648999999997E-2</c:v>
                </c:pt>
                <c:pt idx="2641">
                  <c:v>4.0905927000000002E-2</c:v>
                </c:pt>
                <c:pt idx="2642">
                  <c:v>4.0856020999999999E-2</c:v>
                </c:pt>
                <c:pt idx="2643">
                  <c:v>4.0823071000000002E-2</c:v>
                </c:pt>
                <c:pt idx="2644">
                  <c:v>4.0798596999999999E-2</c:v>
                </c:pt>
                <c:pt idx="2645">
                  <c:v>4.0786819000000002E-2</c:v>
                </c:pt>
                <c:pt idx="2646">
                  <c:v>4.078437E-2</c:v>
                </c:pt>
                <c:pt idx="2647">
                  <c:v>4.0781808000000003E-2</c:v>
                </c:pt>
                <c:pt idx="2648">
                  <c:v>4.0738486999999997E-2</c:v>
                </c:pt>
                <c:pt idx="2649">
                  <c:v>4.0646968999999998E-2</c:v>
                </c:pt>
                <c:pt idx="2650">
                  <c:v>4.0590945000000003E-2</c:v>
                </c:pt>
                <c:pt idx="2651">
                  <c:v>4.0494378999999997E-2</c:v>
                </c:pt>
                <c:pt idx="2652">
                  <c:v>4.0369026000000002E-2</c:v>
                </c:pt>
                <c:pt idx="2653">
                  <c:v>4.0238135000000001E-2</c:v>
                </c:pt>
                <c:pt idx="2654">
                  <c:v>4.0110937999999999E-2</c:v>
                </c:pt>
                <c:pt idx="2655">
                  <c:v>3.9984641000000001E-2</c:v>
                </c:pt>
                <c:pt idx="2656">
                  <c:v>3.9811818999999998E-2</c:v>
                </c:pt>
                <c:pt idx="2657">
                  <c:v>3.9673158E-2</c:v>
                </c:pt>
                <c:pt idx="2658">
                  <c:v>3.9469013999999997E-2</c:v>
                </c:pt>
                <c:pt idx="2659">
                  <c:v>3.9275483E-2</c:v>
                </c:pt>
                <c:pt idx="2660">
                  <c:v>3.9038494999999999E-2</c:v>
                </c:pt>
                <c:pt idx="2661">
                  <c:v>3.8895693000000002E-2</c:v>
                </c:pt>
                <c:pt idx="2662">
                  <c:v>3.8808094000000001E-2</c:v>
                </c:pt>
                <c:pt idx="2663">
                  <c:v>3.8735253999999997E-2</c:v>
                </c:pt>
                <c:pt idx="2664">
                  <c:v>3.8676720999999997E-2</c:v>
                </c:pt>
                <c:pt idx="2665">
                  <c:v>3.8561405E-2</c:v>
                </c:pt>
                <c:pt idx="2666">
                  <c:v>3.8381266999999997E-2</c:v>
                </c:pt>
                <c:pt idx="2667">
                  <c:v>3.8261845000000003E-2</c:v>
                </c:pt>
                <c:pt idx="2668">
                  <c:v>3.8121128999999997E-2</c:v>
                </c:pt>
                <c:pt idx="2669">
                  <c:v>3.7912293E-2</c:v>
                </c:pt>
                <c:pt idx="2670">
                  <c:v>3.7779514E-2</c:v>
                </c:pt>
                <c:pt idx="2671">
                  <c:v>3.7680419E-2</c:v>
                </c:pt>
                <c:pt idx="2672">
                  <c:v>3.7605176999999997E-2</c:v>
                </c:pt>
                <c:pt idx="2673">
                  <c:v>3.7481901999999997E-2</c:v>
                </c:pt>
                <c:pt idx="2674">
                  <c:v>3.7294687999999999E-2</c:v>
                </c:pt>
                <c:pt idx="2675">
                  <c:v>3.7216555999999998E-2</c:v>
                </c:pt>
                <c:pt idx="2676">
                  <c:v>3.7094231999999998E-2</c:v>
                </c:pt>
                <c:pt idx="2677">
                  <c:v>3.690413E-2</c:v>
                </c:pt>
                <c:pt idx="2678">
                  <c:v>3.6727754000000001E-2</c:v>
                </c:pt>
                <c:pt idx="2679">
                  <c:v>3.6613509000000002E-2</c:v>
                </c:pt>
                <c:pt idx="2680">
                  <c:v>3.6509753999999998E-2</c:v>
                </c:pt>
                <c:pt idx="2681">
                  <c:v>3.6358672000000002E-2</c:v>
                </c:pt>
                <c:pt idx="2682">
                  <c:v>3.6272458E-2</c:v>
                </c:pt>
                <c:pt idx="2683">
                  <c:v>3.6232524000000002E-2</c:v>
                </c:pt>
                <c:pt idx="2684">
                  <c:v>3.6172430999999998E-2</c:v>
                </c:pt>
                <c:pt idx="2685">
                  <c:v>3.6073872999999999E-2</c:v>
                </c:pt>
                <c:pt idx="2686">
                  <c:v>3.5950088999999998E-2</c:v>
                </c:pt>
                <c:pt idx="2687">
                  <c:v>3.5826874000000002E-2</c:v>
                </c:pt>
                <c:pt idx="2688">
                  <c:v>3.5719967999999998E-2</c:v>
                </c:pt>
                <c:pt idx="2689">
                  <c:v>3.5579179000000002E-2</c:v>
                </c:pt>
                <c:pt idx="2690">
                  <c:v>3.5488482000000002E-2</c:v>
                </c:pt>
                <c:pt idx="2691">
                  <c:v>3.5377675999999997E-2</c:v>
                </c:pt>
                <c:pt idx="2692">
                  <c:v>3.5290347999999999E-2</c:v>
                </c:pt>
                <c:pt idx="2693">
                  <c:v>3.5171460000000002E-2</c:v>
                </c:pt>
                <c:pt idx="2694">
                  <c:v>3.5100573000000003E-2</c:v>
                </c:pt>
                <c:pt idx="2695">
                  <c:v>3.5026649E-2</c:v>
                </c:pt>
                <c:pt idx="2696">
                  <c:v>3.4961304999999998E-2</c:v>
                </c:pt>
                <c:pt idx="2697">
                  <c:v>3.4892409999999999E-2</c:v>
                </c:pt>
                <c:pt idx="2698">
                  <c:v>3.4829165000000002E-2</c:v>
                </c:pt>
                <c:pt idx="2699">
                  <c:v>3.4766802999999999E-2</c:v>
                </c:pt>
                <c:pt idx="2700">
                  <c:v>3.4648149000000003E-2</c:v>
                </c:pt>
                <c:pt idx="2701">
                  <c:v>3.4588090000000002E-2</c:v>
                </c:pt>
                <c:pt idx="2702">
                  <c:v>3.4523994000000002E-2</c:v>
                </c:pt>
                <c:pt idx="2703">
                  <c:v>3.4470315000000001E-2</c:v>
                </c:pt>
                <c:pt idx="2704">
                  <c:v>3.4449879000000003E-2</c:v>
                </c:pt>
                <c:pt idx="2705">
                  <c:v>3.4399377000000002E-2</c:v>
                </c:pt>
                <c:pt idx="2706">
                  <c:v>3.4334528000000003E-2</c:v>
                </c:pt>
                <c:pt idx="2707">
                  <c:v>3.4289796999999997E-2</c:v>
                </c:pt>
                <c:pt idx="2708">
                  <c:v>3.4271645000000003E-2</c:v>
                </c:pt>
                <c:pt idx="2709">
                  <c:v>3.4245130999999998E-2</c:v>
                </c:pt>
                <c:pt idx="2710">
                  <c:v>3.4208746999999998E-2</c:v>
                </c:pt>
                <c:pt idx="2711">
                  <c:v>3.4133012999999997E-2</c:v>
                </c:pt>
                <c:pt idx="2712">
                  <c:v>3.4049413000000001E-2</c:v>
                </c:pt>
                <c:pt idx="2713">
                  <c:v>3.3951647000000001E-2</c:v>
                </c:pt>
                <c:pt idx="2714">
                  <c:v>3.3876225000000003E-2</c:v>
                </c:pt>
                <c:pt idx="2715">
                  <c:v>3.3786430999999999E-2</c:v>
                </c:pt>
                <c:pt idx="2716">
                  <c:v>3.3739832999999997E-2</c:v>
                </c:pt>
                <c:pt idx="2717">
                  <c:v>3.3637541E-2</c:v>
                </c:pt>
                <c:pt idx="2718">
                  <c:v>3.3587907E-2</c:v>
                </c:pt>
                <c:pt idx="2719">
                  <c:v>3.3531632999999998E-2</c:v>
                </c:pt>
                <c:pt idx="2720">
                  <c:v>3.3449009000000002E-2</c:v>
                </c:pt>
                <c:pt idx="2721">
                  <c:v>3.3401908000000001E-2</c:v>
                </c:pt>
                <c:pt idx="2722">
                  <c:v>3.3313463000000001E-2</c:v>
                </c:pt>
                <c:pt idx="2723">
                  <c:v>3.3149336000000001E-2</c:v>
                </c:pt>
                <c:pt idx="2724">
                  <c:v>3.2961202000000002E-2</c:v>
                </c:pt>
                <c:pt idx="2725">
                  <c:v>3.2779849999999999E-2</c:v>
                </c:pt>
                <c:pt idx="2726">
                  <c:v>3.2583664999999998E-2</c:v>
                </c:pt>
                <c:pt idx="2727">
                  <c:v>3.2399710999999998E-2</c:v>
                </c:pt>
                <c:pt idx="2728">
                  <c:v>3.2187561000000003E-2</c:v>
                </c:pt>
                <c:pt idx="2729">
                  <c:v>3.2019381999999999E-2</c:v>
                </c:pt>
                <c:pt idx="2730">
                  <c:v>3.1868681000000003E-2</c:v>
                </c:pt>
                <c:pt idx="2731">
                  <c:v>3.1752224000000003E-2</c:v>
                </c:pt>
                <c:pt idx="2732">
                  <c:v>3.1529610999999999E-2</c:v>
                </c:pt>
                <c:pt idx="2733">
                  <c:v>3.1306871999999999E-2</c:v>
                </c:pt>
                <c:pt idx="2734">
                  <c:v>3.1152293000000001E-2</c:v>
                </c:pt>
                <c:pt idx="2735">
                  <c:v>3.1011638000000001E-2</c:v>
                </c:pt>
                <c:pt idx="2736">
                  <c:v>3.0867434999999999E-2</c:v>
                </c:pt>
                <c:pt idx="2737">
                  <c:v>3.0699128999999999E-2</c:v>
                </c:pt>
                <c:pt idx="2738">
                  <c:v>3.0463891999999999E-2</c:v>
                </c:pt>
                <c:pt idx="2739">
                  <c:v>3.0238932E-2</c:v>
                </c:pt>
                <c:pt idx="2740">
                  <c:v>3.0072622E-2</c:v>
                </c:pt>
                <c:pt idx="2741">
                  <c:v>2.9839773999999999E-2</c:v>
                </c:pt>
                <c:pt idx="2742">
                  <c:v>2.9651929E-2</c:v>
                </c:pt>
                <c:pt idx="2743">
                  <c:v>2.9413140000000001E-2</c:v>
                </c:pt>
                <c:pt idx="2744">
                  <c:v>2.9205249999999999E-2</c:v>
                </c:pt>
                <c:pt idx="2745">
                  <c:v>2.8917853E-2</c:v>
                </c:pt>
                <c:pt idx="2746">
                  <c:v>2.8555598000000001E-2</c:v>
                </c:pt>
                <c:pt idx="2747">
                  <c:v>2.8300176E-2</c:v>
                </c:pt>
                <c:pt idx="2748">
                  <c:v>2.8040776E-2</c:v>
                </c:pt>
                <c:pt idx="2749">
                  <c:v>2.7798657000000001E-2</c:v>
                </c:pt>
                <c:pt idx="2750">
                  <c:v>2.757919E-2</c:v>
                </c:pt>
                <c:pt idx="2751">
                  <c:v>2.7328228999999999E-2</c:v>
                </c:pt>
                <c:pt idx="2752">
                  <c:v>2.6997367000000001E-2</c:v>
                </c:pt>
                <c:pt idx="2753">
                  <c:v>2.6813213999999998E-2</c:v>
                </c:pt>
                <c:pt idx="2754">
                  <c:v>2.6626655999999999E-2</c:v>
                </c:pt>
                <c:pt idx="2755">
                  <c:v>2.6441996999999998E-2</c:v>
                </c:pt>
                <c:pt idx="2756">
                  <c:v>2.6214040000000001E-2</c:v>
                </c:pt>
                <c:pt idx="2757">
                  <c:v>2.603084E-2</c:v>
                </c:pt>
                <c:pt idx="2758">
                  <c:v>2.5889689E-2</c:v>
                </c:pt>
                <c:pt idx="2759">
                  <c:v>2.5743321E-2</c:v>
                </c:pt>
                <c:pt idx="2760">
                  <c:v>2.5560777E-2</c:v>
                </c:pt>
                <c:pt idx="2761">
                  <c:v>2.5386711999999999E-2</c:v>
                </c:pt>
                <c:pt idx="2762">
                  <c:v>2.5213289999999999E-2</c:v>
                </c:pt>
                <c:pt idx="2763">
                  <c:v>2.5052318000000001E-2</c:v>
                </c:pt>
                <c:pt idx="2764">
                  <c:v>2.4897009000000001E-2</c:v>
                </c:pt>
                <c:pt idx="2765">
                  <c:v>2.4776998000000001E-2</c:v>
                </c:pt>
                <c:pt idx="2766">
                  <c:v>2.4627188000000001E-2</c:v>
                </c:pt>
                <c:pt idx="2767">
                  <c:v>2.4458580000000001E-2</c:v>
                </c:pt>
                <c:pt idx="2768">
                  <c:v>2.4330093000000001E-2</c:v>
                </c:pt>
                <c:pt idx="2769">
                  <c:v>2.4113801000000001E-2</c:v>
                </c:pt>
                <c:pt idx="2770">
                  <c:v>2.3922369999999998E-2</c:v>
                </c:pt>
                <c:pt idx="2771">
                  <c:v>2.3705917999999999E-2</c:v>
                </c:pt>
                <c:pt idx="2772">
                  <c:v>2.3494081999999999E-2</c:v>
                </c:pt>
                <c:pt idx="2773">
                  <c:v>2.3225778999999998E-2</c:v>
                </c:pt>
                <c:pt idx="2774">
                  <c:v>2.3022988000000001E-2</c:v>
                </c:pt>
                <c:pt idx="2775">
                  <c:v>2.2817607E-2</c:v>
                </c:pt>
                <c:pt idx="2776">
                  <c:v>2.2628776E-2</c:v>
                </c:pt>
                <c:pt idx="2777">
                  <c:v>2.2449878999999999E-2</c:v>
                </c:pt>
                <c:pt idx="2778">
                  <c:v>2.2214716999999998E-2</c:v>
                </c:pt>
                <c:pt idx="2779">
                  <c:v>2.1970065E-2</c:v>
                </c:pt>
                <c:pt idx="2780">
                  <c:v>2.1652356000000001E-2</c:v>
                </c:pt>
                <c:pt idx="2781">
                  <c:v>2.1372433999999999E-2</c:v>
                </c:pt>
                <c:pt idx="2782">
                  <c:v>2.1174551999999999E-2</c:v>
                </c:pt>
                <c:pt idx="2783">
                  <c:v>2.1014148999999999E-2</c:v>
                </c:pt>
                <c:pt idx="2784">
                  <c:v>2.0825420000000001E-2</c:v>
                </c:pt>
                <c:pt idx="2785">
                  <c:v>2.0623214000000001E-2</c:v>
                </c:pt>
                <c:pt idx="2786">
                  <c:v>2.0466438E-2</c:v>
                </c:pt>
                <c:pt idx="2787">
                  <c:v>2.0300931000000001E-2</c:v>
                </c:pt>
                <c:pt idx="2788">
                  <c:v>2.0163945999999999E-2</c:v>
                </c:pt>
                <c:pt idx="2789">
                  <c:v>2.0025883000000001E-2</c:v>
                </c:pt>
                <c:pt idx="2790">
                  <c:v>1.9878817999999999E-2</c:v>
                </c:pt>
                <c:pt idx="2791">
                  <c:v>1.9702197000000001E-2</c:v>
                </c:pt>
                <c:pt idx="2792">
                  <c:v>1.9542626E-2</c:v>
                </c:pt>
                <c:pt idx="2793">
                  <c:v>1.9359544999999999E-2</c:v>
                </c:pt>
                <c:pt idx="2794">
                  <c:v>1.9139406000000001E-2</c:v>
                </c:pt>
                <c:pt idx="2795">
                  <c:v>1.8910061999999998E-2</c:v>
                </c:pt>
                <c:pt idx="2796">
                  <c:v>1.8728933999999999E-2</c:v>
                </c:pt>
                <c:pt idx="2797">
                  <c:v>1.8548914999999999E-2</c:v>
                </c:pt>
                <c:pt idx="2798">
                  <c:v>1.8402521000000002E-2</c:v>
                </c:pt>
                <c:pt idx="2799">
                  <c:v>1.8119436999999999E-2</c:v>
                </c:pt>
                <c:pt idx="2800">
                  <c:v>1.7800824E-2</c:v>
                </c:pt>
                <c:pt idx="2801">
                  <c:v>1.7500607000000001E-2</c:v>
                </c:pt>
                <c:pt idx="2802">
                  <c:v>1.7263570999999998E-2</c:v>
                </c:pt>
                <c:pt idx="2803">
                  <c:v>1.7011209999999999E-2</c:v>
                </c:pt>
                <c:pt idx="2804">
                  <c:v>1.6771925E-2</c:v>
                </c:pt>
                <c:pt idx="2805">
                  <c:v>1.6574704999999999E-2</c:v>
                </c:pt>
                <c:pt idx="2806">
                  <c:v>1.6399302000000001E-2</c:v>
                </c:pt>
                <c:pt idx="2807">
                  <c:v>1.6266315999999999E-2</c:v>
                </c:pt>
                <c:pt idx="2808">
                  <c:v>1.6137453999999999E-2</c:v>
                </c:pt>
                <c:pt idx="2809">
                  <c:v>1.6032698000000001E-2</c:v>
                </c:pt>
                <c:pt idx="2810">
                  <c:v>1.5924879999999999E-2</c:v>
                </c:pt>
                <c:pt idx="2811">
                  <c:v>1.5813747999999999E-2</c:v>
                </c:pt>
                <c:pt idx="2812">
                  <c:v>1.5689669999999999E-2</c:v>
                </c:pt>
                <c:pt idx="2813">
                  <c:v>1.5536670000000001E-2</c:v>
                </c:pt>
                <c:pt idx="2814">
                  <c:v>1.5392934E-2</c:v>
                </c:pt>
                <c:pt idx="2815">
                  <c:v>1.5239885E-2</c:v>
                </c:pt>
                <c:pt idx="2816">
                  <c:v>1.5148165999999999E-2</c:v>
                </c:pt>
                <c:pt idx="2817">
                  <c:v>1.5065264E-2</c:v>
                </c:pt>
                <c:pt idx="2818">
                  <c:v>1.5003242E-2</c:v>
                </c:pt>
                <c:pt idx="2819">
                  <c:v>1.4926141E-2</c:v>
                </c:pt>
                <c:pt idx="2820">
                  <c:v>1.4870931E-2</c:v>
                </c:pt>
                <c:pt idx="2821">
                  <c:v>1.4832102999999999E-2</c:v>
                </c:pt>
                <c:pt idx="2822">
                  <c:v>1.4855356E-2</c:v>
                </c:pt>
                <c:pt idx="2823">
                  <c:v>1.4855346E-2</c:v>
                </c:pt>
                <c:pt idx="2824">
                  <c:v>1.4765037999999999E-2</c:v>
                </c:pt>
                <c:pt idx="2825">
                  <c:v>1.4668209E-2</c:v>
                </c:pt>
                <c:pt idx="2826">
                  <c:v>1.4593429999999999E-2</c:v>
                </c:pt>
                <c:pt idx="2827">
                  <c:v>1.4522034E-2</c:v>
                </c:pt>
                <c:pt idx="2828">
                  <c:v>1.4447362E-2</c:v>
                </c:pt>
                <c:pt idx="2829">
                  <c:v>1.4365640000000001E-2</c:v>
                </c:pt>
                <c:pt idx="2830">
                  <c:v>1.4255491E-2</c:v>
                </c:pt>
                <c:pt idx="2831">
                  <c:v>1.4163716E-2</c:v>
                </c:pt>
                <c:pt idx="2832">
                  <c:v>1.4101373E-2</c:v>
                </c:pt>
                <c:pt idx="2833">
                  <c:v>1.4031701000000001E-2</c:v>
                </c:pt>
                <c:pt idx="2834">
                  <c:v>1.3930006E-2</c:v>
                </c:pt>
                <c:pt idx="2835">
                  <c:v>1.3824214E-2</c:v>
                </c:pt>
                <c:pt idx="2836">
                  <c:v>1.3706787999999999E-2</c:v>
                </c:pt>
                <c:pt idx="2837">
                  <c:v>1.3603596000000001E-2</c:v>
                </c:pt>
                <c:pt idx="2838">
                  <c:v>1.3501483E-2</c:v>
                </c:pt>
                <c:pt idx="2839">
                  <c:v>1.3408508E-2</c:v>
                </c:pt>
                <c:pt idx="2840">
                  <c:v>1.3263837000000001E-2</c:v>
                </c:pt>
                <c:pt idx="2841">
                  <c:v>1.3121104E-2</c:v>
                </c:pt>
                <c:pt idx="2842">
                  <c:v>1.3071780999999999E-2</c:v>
                </c:pt>
                <c:pt idx="2843">
                  <c:v>1.3022463999999999E-2</c:v>
                </c:pt>
                <c:pt idx="2844">
                  <c:v>1.2947412E-2</c:v>
                </c:pt>
                <c:pt idx="2845">
                  <c:v>1.2903658E-2</c:v>
                </c:pt>
                <c:pt idx="2846">
                  <c:v>1.2874734000000001E-2</c:v>
                </c:pt>
                <c:pt idx="2847">
                  <c:v>1.2798199999999999E-2</c:v>
                </c:pt>
                <c:pt idx="2848">
                  <c:v>1.2760914E-2</c:v>
                </c:pt>
                <c:pt idx="2849">
                  <c:v>1.2708281E-2</c:v>
                </c:pt>
                <c:pt idx="2850">
                  <c:v>1.2658022E-2</c:v>
                </c:pt>
                <c:pt idx="2851">
                  <c:v>1.2631029E-2</c:v>
                </c:pt>
                <c:pt idx="2852">
                  <c:v>1.2593945E-2</c:v>
                </c:pt>
                <c:pt idx="2853">
                  <c:v>1.2550095000000001E-2</c:v>
                </c:pt>
                <c:pt idx="2854">
                  <c:v>1.2512155E-2</c:v>
                </c:pt>
                <c:pt idx="2855">
                  <c:v>1.2500321999999999E-2</c:v>
                </c:pt>
                <c:pt idx="2856">
                  <c:v>1.2481802E-2</c:v>
                </c:pt>
                <c:pt idx="2857">
                  <c:v>1.2475755999999999E-2</c:v>
                </c:pt>
                <c:pt idx="2858">
                  <c:v>1.2468910999999999E-2</c:v>
                </c:pt>
                <c:pt idx="2859">
                  <c:v>1.2462948999999999E-2</c:v>
                </c:pt>
                <c:pt idx="2860">
                  <c:v>1.2434438000000001E-2</c:v>
                </c:pt>
                <c:pt idx="2861">
                  <c:v>1.2419711E-2</c:v>
                </c:pt>
                <c:pt idx="2862">
                  <c:v>1.2355493E-2</c:v>
                </c:pt>
                <c:pt idx="2863">
                  <c:v>1.2319179E-2</c:v>
                </c:pt>
                <c:pt idx="2864">
                  <c:v>1.2294163E-2</c:v>
                </c:pt>
                <c:pt idx="2865">
                  <c:v>1.2279096E-2</c:v>
                </c:pt>
                <c:pt idx="2866">
                  <c:v>1.2230658E-2</c:v>
                </c:pt>
                <c:pt idx="2867">
                  <c:v>1.2180439E-2</c:v>
                </c:pt>
                <c:pt idx="2868">
                  <c:v>1.2131678999999999E-2</c:v>
                </c:pt>
                <c:pt idx="2869">
                  <c:v>1.2033468E-2</c:v>
                </c:pt>
                <c:pt idx="2870">
                  <c:v>1.1975813E-2</c:v>
                </c:pt>
                <c:pt idx="2871">
                  <c:v>1.1921889E-2</c:v>
                </c:pt>
                <c:pt idx="2872">
                  <c:v>1.1869664E-2</c:v>
                </c:pt>
                <c:pt idx="2873">
                  <c:v>1.1846051E-2</c:v>
                </c:pt>
                <c:pt idx="2874">
                  <c:v>1.1821623E-2</c:v>
                </c:pt>
                <c:pt idx="2875">
                  <c:v>1.1812024000000001E-2</c:v>
                </c:pt>
                <c:pt idx="2876">
                  <c:v>1.1796599E-2</c:v>
                </c:pt>
                <c:pt idx="2877">
                  <c:v>1.1801427999999999E-2</c:v>
                </c:pt>
                <c:pt idx="2878">
                  <c:v>1.1812123000000001E-2</c:v>
                </c:pt>
                <c:pt idx="2879">
                  <c:v>1.1796864000000001E-2</c:v>
                </c:pt>
                <c:pt idx="2880">
                  <c:v>1.1689265000000001E-2</c:v>
                </c:pt>
                <c:pt idx="2881">
                  <c:v>1.1598709E-2</c:v>
                </c:pt>
                <c:pt idx="2882">
                  <c:v>1.1473318999999999E-2</c:v>
                </c:pt>
                <c:pt idx="2883">
                  <c:v>1.139096E-2</c:v>
                </c:pt>
                <c:pt idx="2884">
                  <c:v>1.1335922E-2</c:v>
                </c:pt>
                <c:pt idx="2885">
                  <c:v>1.1304224999999999E-2</c:v>
                </c:pt>
                <c:pt idx="2886">
                  <c:v>1.1288431999999999E-2</c:v>
                </c:pt>
                <c:pt idx="2887">
                  <c:v>1.1286321E-2</c:v>
                </c:pt>
                <c:pt idx="2888">
                  <c:v>1.1236792000000001E-2</c:v>
                </c:pt>
                <c:pt idx="2889">
                  <c:v>1.1211545999999999E-2</c:v>
                </c:pt>
                <c:pt idx="2890">
                  <c:v>1.1232414E-2</c:v>
                </c:pt>
                <c:pt idx="2891">
                  <c:v>1.1252971000000001E-2</c:v>
                </c:pt>
                <c:pt idx="2892">
                  <c:v>1.1250365E-2</c:v>
                </c:pt>
                <c:pt idx="2893">
                  <c:v>1.1264555000000001E-2</c:v>
                </c:pt>
                <c:pt idx="2894">
                  <c:v>1.1280851E-2</c:v>
                </c:pt>
                <c:pt idx="2895">
                  <c:v>1.1287558E-2</c:v>
                </c:pt>
                <c:pt idx="2896">
                  <c:v>1.1272338999999999E-2</c:v>
                </c:pt>
                <c:pt idx="2897">
                  <c:v>1.1262342999999999E-2</c:v>
                </c:pt>
                <c:pt idx="2898">
                  <c:v>1.1268419E-2</c:v>
                </c:pt>
                <c:pt idx="2899">
                  <c:v>1.126124E-2</c:v>
                </c:pt>
                <c:pt idx="2900">
                  <c:v>1.127124E-2</c:v>
                </c:pt>
                <c:pt idx="2901">
                  <c:v>1.1273869000000001E-2</c:v>
                </c:pt>
                <c:pt idx="2902">
                  <c:v>1.1292648000000001E-2</c:v>
                </c:pt>
                <c:pt idx="2903">
                  <c:v>1.1305566E-2</c:v>
                </c:pt>
                <c:pt idx="2904">
                  <c:v>1.1308291999999999E-2</c:v>
                </c:pt>
                <c:pt idx="2905">
                  <c:v>1.1303578E-2</c:v>
                </c:pt>
                <c:pt idx="2906">
                  <c:v>1.1308073E-2</c:v>
                </c:pt>
                <c:pt idx="2907">
                  <c:v>1.1307327000000001E-2</c:v>
                </c:pt>
                <c:pt idx="2908">
                  <c:v>1.1307047000000001E-2</c:v>
                </c:pt>
                <c:pt idx="2909">
                  <c:v>1.1314095E-2</c:v>
                </c:pt>
                <c:pt idx="2910">
                  <c:v>1.1299279000000001E-2</c:v>
                </c:pt>
                <c:pt idx="2911">
                  <c:v>1.1276157E-2</c:v>
                </c:pt>
                <c:pt idx="2912">
                  <c:v>1.1234266E-2</c:v>
                </c:pt>
                <c:pt idx="2913">
                  <c:v>1.1208813E-2</c:v>
                </c:pt>
                <c:pt idx="2914">
                  <c:v>1.1175005999999999E-2</c:v>
                </c:pt>
                <c:pt idx="2915">
                  <c:v>1.1168099000000001E-2</c:v>
                </c:pt>
                <c:pt idx="2916">
                  <c:v>1.1172562E-2</c:v>
                </c:pt>
                <c:pt idx="2917">
                  <c:v>1.116208E-2</c:v>
                </c:pt>
                <c:pt idx="2918">
                  <c:v>1.1155228E-2</c:v>
                </c:pt>
                <c:pt idx="2919">
                  <c:v>1.1144711E-2</c:v>
                </c:pt>
                <c:pt idx="2920">
                  <c:v>1.1134274E-2</c:v>
                </c:pt>
                <c:pt idx="2921">
                  <c:v>1.1123246E-2</c:v>
                </c:pt>
                <c:pt idx="2922">
                  <c:v>1.1088094999999999E-2</c:v>
                </c:pt>
                <c:pt idx="2923">
                  <c:v>1.1066365E-2</c:v>
                </c:pt>
                <c:pt idx="2924">
                  <c:v>1.1121607E-2</c:v>
                </c:pt>
                <c:pt idx="2925">
                  <c:v>1.1072446E-2</c:v>
                </c:pt>
                <c:pt idx="2926">
                  <c:v>1.1030272000000001E-2</c:v>
                </c:pt>
                <c:pt idx="2927">
                  <c:v>1.1006223000000001E-2</c:v>
                </c:pt>
                <c:pt idx="2928">
                  <c:v>1.0985203000000001E-2</c:v>
                </c:pt>
                <c:pt idx="2929">
                  <c:v>1.0961438E-2</c:v>
                </c:pt>
                <c:pt idx="2930">
                  <c:v>1.0938000999999999E-2</c:v>
                </c:pt>
                <c:pt idx="2931">
                  <c:v>1.0920981E-2</c:v>
                </c:pt>
                <c:pt idx="2932">
                  <c:v>1.089566E-2</c:v>
                </c:pt>
                <c:pt idx="2933">
                  <c:v>1.0864726999999999E-2</c:v>
                </c:pt>
                <c:pt idx="2934">
                  <c:v>1.0846590999999999E-2</c:v>
                </c:pt>
                <c:pt idx="2935">
                  <c:v>1.0836604999999999E-2</c:v>
                </c:pt>
                <c:pt idx="2936">
                  <c:v>1.083894E-2</c:v>
                </c:pt>
                <c:pt idx="2937">
                  <c:v>1.0828779E-2</c:v>
                </c:pt>
                <c:pt idx="2938">
                  <c:v>1.0828261E-2</c:v>
                </c:pt>
                <c:pt idx="2939">
                  <c:v>1.0841689999999999E-2</c:v>
                </c:pt>
                <c:pt idx="2940">
                  <c:v>1.0832893999999999E-2</c:v>
                </c:pt>
                <c:pt idx="2941">
                  <c:v>1.0852282E-2</c:v>
                </c:pt>
                <c:pt idx="2942">
                  <c:v>1.0864700999999999E-2</c:v>
                </c:pt>
                <c:pt idx="2943">
                  <c:v>1.0879455E-2</c:v>
                </c:pt>
                <c:pt idx="2944">
                  <c:v>1.0902721000000001E-2</c:v>
                </c:pt>
                <c:pt idx="2945">
                  <c:v>1.0922894000000001E-2</c:v>
                </c:pt>
                <c:pt idx="2946">
                  <c:v>1.0936786E-2</c:v>
                </c:pt>
                <c:pt idx="2947">
                  <c:v>1.0931931000000001E-2</c:v>
                </c:pt>
                <c:pt idx="2948">
                  <c:v>1.0918796E-2</c:v>
                </c:pt>
                <c:pt idx="2949">
                  <c:v>1.0911195E-2</c:v>
                </c:pt>
                <c:pt idx="2950">
                  <c:v>1.0908644E-2</c:v>
                </c:pt>
                <c:pt idx="2951">
                  <c:v>1.0898988E-2</c:v>
                </c:pt>
                <c:pt idx="2952">
                  <c:v>1.0896413000000001E-2</c:v>
                </c:pt>
                <c:pt idx="2953">
                  <c:v>1.0888236000000001E-2</c:v>
                </c:pt>
                <c:pt idx="2954">
                  <c:v>1.0863037000000001E-2</c:v>
                </c:pt>
                <c:pt idx="2955">
                  <c:v>1.0856981999999999E-2</c:v>
                </c:pt>
                <c:pt idx="2956">
                  <c:v>1.0839154E-2</c:v>
                </c:pt>
                <c:pt idx="2957">
                  <c:v>1.0830922E-2</c:v>
                </c:pt>
                <c:pt idx="2958">
                  <c:v>1.0789155999999999E-2</c:v>
                </c:pt>
                <c:pt idx="2959">
                  <c:v>1.0762878E-2</c:v>
                </c:pt>
                <c:pt idx="2960">
                  <c:v>1.0694212999999999E-2</c:v>
                </c:pt>
                <c:pt idx="2961">
                  <c:v>1.0672294000000001E-2</c:v>
                </c:pt>
                <c:pt idx="2962">
                  <c:v>1.0662836E-2</c:v>
                </c:pt>
                <c:pt idx="2963">
                  <c:v>1.0663292E-2</c:v>
                </c:pt>
                <c:pt idx="2964">
                  <c:v>1.0671109E-2</c:v>
                </c:pt>
                <c:pt idx="2965">
                  <c:v>1.0678603E-2</c:v>
                </c:pt>
                <c:pt idx="2966">
                  <c:v>1.0676613999999999E-2</c:v>
                </c:pt>
                <c:pt idx="2967">
                  <c:v>1.0675558E-2</c:v>
                </c:pt>
                <c:pt idx="2968">
                  <c:v>1.0673376E-2</c:v>
                </c:pt>
                <c:pt idx="2969">
                  <c:v>1.0672605E-2</c:v>
                </c:pt>
                <c:pt idx="2970">
                  <c:v>1.0626729999999999E-2</c:v>
                </c:pt>
                <c:pt idx="2971">
                  <c:v>1.0568774E-2</c:v>
                </c:pt>
                <c:pt idx="2972">
                  <c:v>1.0551197E-2</c:v>
                </c:pt>
                <c:pt idx="2973">
                  <c:v>1.0542057000000001E-2</c:v>
                </c:pt>
                <c:pt idx="2974">
                  <c:v>1.0558612E-2</c:v>
                </c:pt>
                <c:pt idx="2975">
                  <c:v>1.0578163E-2</c:v>
                </c:pt>
                <c:pt idx="2976">
                  <c:v>1.0592218E-2</c:v>
                </c:pt>
                <c:pt idx="2977">
                  <c:v>1.0608083000000001E-2</c:v>
                </c:pt>
                <c:pt idx="2978">
                  <c:v>1.0625129000000001E-2</c:v>
                </c:pt>
                <c:pt idx="2979">
                  <c:v>1.0633205999999999E-2</c:v>
                </c:pt>
                <c:pt idx="2980">
                  <c:v>1.0625582999999999E-2</c:v>
                </c:pt>
                <c:pt idx="2981">
                  <c:v>1.0612112999999999E-2</c:v>
                </c:pt>
                <c:pt idx="2982">
                  <c:v>1.0610443000000001E-2</c:v>
                </c:pt>
                <c:pt idx="2983">
                  <c:v>1.060811E-2</c:v>
                </c:pt>
                <c:pt idx="2984">
                  <c:v>1.0614627E-2</c:v>
                </c:pt>
                <c:pt idx="2985">
                  <c:v>1.0605089E-2</c:v>
                </c:pt>
                <c:pt idx="2986">
                  <c:v>1.0610552000000001E-2</c:v>
                </c:pt>
                <c:pt idx="2987">
                  <c:v>1.058046E-2</c:v>
                </c:pt>
                <c:pt idx="2988">
                  <c:v>1.0572333E-2</c:v>
                </c:pt>
                <c:pt idx="2989">
                  <c:v>1.0575084E-2</c:v>
                </c:pt>
                <c:pt idx="2990">
                  <c:v>1.0581014E-2</c:v>
                </c:pt>
                <c:pt idx="2991">
                  <c:v>1.0584638E-2</c:v>
                </c:pt>
                <c:pt idx="2992">
                  <c:v>1.0546556E-2</c:v>
                </c:pt>
                <c:pt idx="2993">
                  <c:v>1.0538024E-2</c:v>
                </c:pt>
                <c:pt idx="2994">
                  <c:v>1.0541273E-2</c:v>
                </c:pt>
                <c:pt idx="2995">
                  <c:v>1.0555762E-2</c:v>
                </c:pt>
                <c:pt idx="2996">
                  <c:v>1.0582921E-2</c:v>
                </c:pt>
                <c:pt idx="2997">
                  <c:v>1.0589672E-2</c:v>
                </c:pt>
                <c:pt idx="2998">
                  <c:v>1.0596954E-2</c:v>
                </c:pt>
                <c:pt idx="2999">
                  <c:v>1.0614269000000001E-2</c:v>
                </c:pt>
                <c:pt idx="3000">
                  <c:v>1.0609043E-2</c:v>
                </c:pt>
                <c:pt idx="3001">
                  <c:v>1.060611E-2</c:v>
                </c:pt>
                <c:pt idx="3002">
                  <c:v>1.0617091E-2</c:v>
                </c:pt>
                <c:pt idx="3003">
                  <c:v>1.0609446E-2</c:v>
                </c:pt>
                <c:pt idx="3004">
                  <c:v>1.0599766E-2</c:v>
                </c:pt>
                <c:pt idx="3005">
                  <c:v>1.0597206E-2</c:v>
                </c:pt>
                <c:pt idx="3006">
                  <c:v>1.0600373999999999E-2</c:v>
                </c:pt>
                <c:pt idx="3007">
                  <c:v>1.061724E-2</c:v>
                </c:pt>
                <c:pt idx="3008">
                  <c:v>1.0623473E-2</c:v>
                </c:pt>
                <c:pt idx="3009">
                  <c:v>1.0656041E-2</c:v>
                </c:pt>
                <c:pt idx="3010">
                  <c:v>1.0670353E-2</c:v>
                </c:pt>
                <c:pt idx="3011">
                  <c:v>1.0681685E-2</c:v>
                </c:pt>
                <c:pt idx="3012">
                  <c:v>1.0701308E-2</c:v>
                </c:pt>
                <c:pt idx="3013">
                  <c:v>1.0713970999999999E-2</c:v>
                </c:pt>
                <c:pt idx="3014">
                  <c:v>1.0724838E-2</c:v>
                </c:pt>
                <c:pt idx="3015">
                  <c:v>1.0730162E-2</c:v>
                </c:pt>
                <c:pt idx="3016">
                  <c:v>1.0750429000000001E-2</c:v>
                </c:pt>
                <c:pt idx="3017">
                  <c:v>1.0764152000000001E-2</c:v>
                </c:pt>
                <c:pt idx="3018">
                  <c:v>1.0782671000000001E-2</c:v>
                </c:pt>
                <c:pt idx="3019">
                  <c:v>1.0795399000000001E-2</c:v>
                </c:pt>
                <c:pt idx="3020">
                  <c:v>1.0768382E-2</c:v>
                </c:pt>
                <c:pt idx="3021">
                  <c:v>1.0759652999999999E-2</c:v>
                </c:pt>
                <c:pt idx="3022">
                  <c:v>1.0757419000000001E-2</c:v>
                </c:pt>
                <c:pt idx="3023">
                  <c:v>1.0746231E-2</c:v>
                </c:pt>
                <c:pt idx="3024">
                  <c:v>1.0747453000000001E-2</c:v>
                </c:pt>
                <c:pt idx="3025">
                  <c:v>1.0751426999999999E-2</c:v>
                </c:pt>
                <c:pt idx="3026">
                  <c:v>1.0754609E-2</c:v>
                </c:pt>
                <c:pt idx="3027">
                  <c:v>1.0775039E-2</c:v>
                </c:pt>
                <c:pt idx="3028">
                  <c:v>1.0790215000000001E-2</c:v>
                </c:pt>
                <c:pt idx="3029">
                  <c:v>1.0814071E-2</c:v>
                </c:pt>
                <c:pt idx="3030">
                  <c:v>1.0819443E-2</c:v>
                </c:pt>
                <c:pt idx="3031">
                  <c:v>1.0825596999999999E-2</c:v>
                </c:pt>
                <c:pt idx="3032">
                  <c:v>1.0835651999999999E-2</c:v>
                </c:pt>
                <c:pt idx="3033">
                  <c:v>1.083372E-2</c:v>
                </c:pt>
                <c:pt idx="3034">
                  <c:v>1.0843745E-2</c:v>
                </c:pt>
                <c:pt idx="3035">
                  <c:v>1.0857E-2</c:v>
                </c:pt>
                <c:pt idx="3036">
                  <c:v>1.0850197000000001E-2</c:v>
                </c:pt>
                <c:pt idx="3037">
                  <c:v>1.086E-2</c:v>
                </c:pt>
                <c:pt idx="3038">
                  <c:v>1.0866651999999999E-2</c:v>
                </c:pt>
                <c:pt idx="3039">
                  <c:v>1.087189E-2</c:v>
                </c:pt>
                <c:pt idx="3040">
                  <c:v>1.0890759999999999E-2</c:v>
                </c:pt>
                <c:pt idx="3041">
                  <c:v>1.0915705E-2</c:v>
                </c:pt>
                <c:pt idx="3042">
                  <c:v>1.0917629E-2</c:v>
                </c:pt>
                <c:pt idx="3043">
                  <c:v>1.0912984000000001E-2</c:v>
                </c:pt>
                <c:pt idx="3044">
                  <c:v>1.0938046E-2</c:v>
                </c:pt>
                <c:pt idx="3045">
                  <c:v>1.0943237E-2</c:v>
                </c:pt>
                <c:pt idx="3046">
                  <c:v>1.0983793E-2</c:v>
                </c:pt>
                <c:pt idx="3047">
                  <c:v>1.0983577E-2</c:v>
                </c:pt>
                <c:pt idx="3048">
                  <c:v>1.0962138E-2</c:v>
                </c:pt>
                <c:pt idx="3049">
                  <c:v>1.0950533E-2</c:v>
                </c:pt>
                <c:pt idx="3050">
                  <c:v>1.0959606E-2</c:v>
                </c:pt>
                <c:pt idx="3051">
                  <c:v>1.0976322E-2</c:v>
                </c:pt>
                <c:pt idx="3052">
                  <c:v>1.0986348E-2</c:v>
                </c:pt>
                <c:pt idx="3053">
                  <c:v>1.0990824999999999E-2</c:v>
                </c:pt>
                <c:pt idx="3054">
                  <c:v>1.1021130000000001E-2</c:v>
                </c:pt>
                <c:pt idx="3055">
                  <c:v>1.104684E-2</c:v>
                </c:pt>
                <c:pt idx="3056">
                  <c:v>1.1078335999999999E-2</c:v>
                </c:pt>
                <c:pt idx="3057">
                  <c:v>1.1105485E-2</c:v>
                </c:pt>
                <c:pt idx="3058">
                  <c:v>1.1132560999999999E-2</c:v>
                </c:pt>
                <c:pt idx="3059">
                  <c:v>1.1119603E-2</c:v>
                </c:pt>
                <c:pt idx="3060">
                  <c:v>1.1128045E-2</c:v>
                </c:pt>
                <c:pt idx="3061">
                  <c:v>1.1143764E-2</c:v>
                </c:pt>
                <c:pt idx="3062">
                  <c:v>1.1162159E-2</c:v>
                </c:pt>
                <c:pt idx="3063">
                  <c:v>1.1202103999999999E-2</c:v>
                </c:pt>
                <c:pt idx="3064">
                  <c:v>1.1225384E-2</c:v>
                </c:pt>
                <c:pt idx="3065">
                  <c:v>1.1243011000000001E-2</c:v>
                </c:pt>
                <c:pt idx="3066">
                  <c:v>1.1252732999999999E-2</c:v>
                </c:pt>
                <c:pt idx="3067">
                  <c:v>1.1261159E-2</c:v>
                </c:pt>
                <c:pt idx="3068">
                  <c:v>1.1261836000000001E-2</c:v>
                </c:pt>
                <c:pt idx="3069">
                  <c:v>1.1267701999999999E-2</c:v>
                </c:pt>
                <c:pt idx="3070">
                  <c:v>1.1271494E-2</c:v>
                </c:pt>
                <c:pt idx="3071">
                  <c:v>1.126827E-2</c:v>
                </c:pt>
                <c:pt idx="3072">
                  <c:v>1.1218927E-2</c:v>
                </c:pt>
                <c:pt idx="3073">
                  <c:v>1.1195403E-2</c:v>
                </c:pt>
                <c:pt idx="3074">
                  <c:v>1.1221523000000001E-2</c:v>
                </c:pt>
                <c:pt idx="3075">
                  <c:v>1.1222075E-2</c:v>
                </c:pt>
                <c:pt idx="3076">
                  <c:v>1.1240699999999999E-2</c:v>
                </c:pt>
                <c:pt idx="3077">
                  <c:v>1.1258756999999999E-2</c:v>
                </c:pt>
                <c:pt idx="3078">
                  <c:v>1.1290995E-2</c:v>
                </c:pt>
                <c:pt idx="3079">
                  <c:v>1.1324244000000001E-2</c:v>
                </c:pt>
                <c:pt idx="3080">
                  <c:v>1.1342186000000001E-2</c:v>
                </c:pt>
                <c:pt idx="3081">
                  <c:v>1.1367131000000001E-2</c:v>
                </c:pt>
                <c:pt idx="3082">
                  <c:v>1.1387813E-2</c:v>
                </c:pt>
                <c:pt idx="3083">
                  <c:v>1.1403422999999999E-2</c:v>
                </c:pt>
                <c:pt idx="3084">
                  <c:v>1.1427255000000001E-2</c:v>
                </c:pt>
                <c:pt idx="3085">
                  <c:v>1.1455521E-2</c:v>
                </c:pt>
                <c:pt idx="3086">
                  <c:v>1.1463546999999999E-2</c:v>
                </c:pt>
                <c:pt idx="3087">
                  <c:v>1.1480211000000001E-2</c:v>
                </c:pt>
                <c:pt idx="3088">
                  <c:v>1.1489904E-2</c:v>
                </c:pt>
                <c:pt idx="3089">
                  <c:v>1.1500144E-2</c:v>
                </c:pt>
                <c:pt idx="3090">
                  <c:v>1.1519125999999999E-2</c:v>
                </c:pt>
                <c:pt idx="3091">
                  <c:v>1.1528966999999999E-2</c:v>
                </c:pt>
                <c:pt idx="3092">
                  <c:v>1.1523739999999999E-2</c:v>
                </c:pt>
                <c:pt idx="3093">
                  <c:v>1.1538552000000001E-2</c:v>
                </c:pt>
                <c:pt idx="3094">
                  <c:v>1.1553079000000001E-2</c:v>
                </c:pt>
                <c:pt idx="3095">
                  <c:v>1.1564724E-2</c:v>
                </c:pt>
                <c:pt idx="3096">
                  <c:v>1.1581495000000001E-2</c:v>
                </c:pt>
                <c:pt idx="3097">
                  <c:v>1.1599936999999999E-2</c:v>
                </c:pt>
                <c:pt idx="3098">
                  <c:v>1.1610985000000001E-2</c:v>
                </c:pt>
                <c:pt idx="3099">
                  <c:v>1.1649898000000001E-2</c:v>
                </c:pt>
                <c:pt idx="3100">
                  <c:v>1.167018E-2</c:v>
                </c:pt>
                <c:pt idx="3101">
                  <c:v>1.1691251E-2</c:v>
                </c:pt>
                <c:pt idx="3102">
                  <c:v>1.1715932E-2</c:v>
                </c:pt>
                <c:pt idx="3103">
                  <c:v>1.1735690999999999E-2</c:v>
                </c:pt>
                <c:pt idx="3104">
                  <c:v>1.1770776E-2</c:v>
                </c:pt>
                <c:pt idx="3105">
                  <c:v>1.1772818000000001E-2</c:v>
                </c:pt>
                <c:pt idx="3106">
                  <c:v>1.1783853E-2</c:v>
                </c:pt>
                <c:pt idx="3107">
                  <c:v>1.1804209E-2</c:v>
                </c:pt>
                <c:pt idx="3108">
                  <c:v>1.1804999E-2</c:v>
                </c:pt>
                <c:pt idx="3109">
                  <c:v>1.1809246000000001E-2</c:v>
                </c:pt>
                <c:pt idx="3110">
                  <c:v>1.1815196E-2</c:v>
                </c:pt>
                <c:pt idx="3111">
                  <c:v>1.1814284E-2</c:v>
                </c:pt>
                <c:pt idx="3112">
                  <c:v>1.1834719E-2</c:v>
                </c:pt>
                <c:pt idx="3113">
                  <c:v>1.186339E-2</c:v>
                </c:pt>
                <c:pt idx="3114">
                  <c:v>1.1891481000000001E-2</c:v>
                </c:pt>
                <c:pt idx="3115">
                  <c:v>1.1881688E-2</c:v>
                </c:pt>
                <c:pt idx="3116">
                  <c:v>1.1897774E-2</c:v>
                </c:pt>
                <c:pt idx="3117">
                  <c:v>1.1916576E-2</c:v>
                </c:pt>
                <c:pt idx="3118">
                  <c:v>1.1943565999999999E-2</c:v>
                </c:pt>
                <c:pt idx="3119">
                  <c:v>1.1964948E-2</c:v>
                </c:pt>
                <c:pt idx="3120">
                  <c:v>1.2007085000000001E-2</c:v>
                </c:pt>
                <c:pt idx="3121">
                  <c:v>1.2044401E-2</c:v>
                </c:pt>
                <c:pt idx="3122">
                  <c:v>1.2062408E-2</c:v>
                </c:pt>
                <c:pt idx="3123">
                  <c:v>1.2077495000000001E-2</c:v>
                </c:pt>
                <c:pt idx="3124">
                  <c:v>1.2105682E-2</c:v>
                </c:pt>
                <c:pt idx="3125">
                  <c:v>1.2130217E-2</c:v>
                </c:pt>
                <c:pt idx="3126">
                  <c:v>1.2142343E-2</c:v>
                </c:pt>
                <c:pt idx="3127">
                  <c:v>1.2138980000000001E-2</c:v>
                </c:pt>
                <c:pt idx="3128">
                  <c:v>1.2172703999999999E-2</c:v>
                </c:pt>
                <c:pt idx="3129">
                  <c:v>1.2158611E-2</c:v>
                </c:pt>
                <c:pt idx="3130">
                  <c:v>1.2159550999999999E-2</c:v>
                </c:pt>
                <c:pt idx="3131">
                  <c:v>1.2200347E-2</c:v>
                </c:pt>
                <c:pt idx="3132">
                  <c:v>1.2239135999999999E-2</c:v>
                </c:pt>
                <c:pt idx="3133">
                  <c:v>1.2256744E-2</c:v>
                </c:pt>
                <c:pt idx="3134">
                  <c:v>1.2279388E-2</c:v>
                </c:pt>
                <c:pt idx="3135">
                  <c:v>1.2264947999999999E-2</c:v>
                </c:pt>
                <c:pt idx="3136">
                  <c:v>1.2250076E-2</c:v>
                </c:pt>
                <c:pt idx="3137">
                  <c:v>1.2230337000000001E-2</c:v>
                </c:pt>
                <c:pt idx="3138">
                  <c:v>1.2218669999999999E-2</c:v>
                </c:pt>
                <c:pt idx="3139">
                  <c:v>1.2205280000000001E-2</c:v>
                </c:pt>
                <c:pt idx="3140">
                  <c:v>1.2185876E-2</c:v>
                </c:pt>
                <c:pt idx="3141">
                  <c:v>1.2134783E-2</c:v>
                </c:pt>
                <c:pt idx="3142">
                  <c:v>1.2100723000000001E-2</c:v>
                </c:pt>
                <c:pt idx="3143">
                  <c:v>1.2064227E-2</c:v>
                </c:pt>
                <c:pt idx="3144">
                  <c:v>1.2026774E-2</c:v>
                </c:pt>
                <c:pt idx="3145">
                  <c:v>1.1987454E-2</c:v>
                </c:pt>
                <c:pt idx="3146">
                  <c:v>1.1975197E-2</c:v>
                </c:pt>
                <c:pt idx="3147">
                  <c:v>1.196903E-2</c:v>
                </c:pt>
                <c:pt idx="3148">
                  <c:v>1.1963421E-2</c:v>
                </c:pt>
                <c:pt idx="3149">
                  <c:v>1.1931614E-2</c:v>
                </c:pt>
                <c:pt idx="3150">
                  <c:v>1.1888180999999999E-2</c:v>
                </c:pt>
                <c:pt idx="3151">
                  <c:v>1.187966E-2</c:v>
                </c:pt>
                <c:pt idx="3152">
                  <c:v>1.1876397E-2</c:v>
                </c:pt>
                <c:pt idx="3153">
                  <c:v>1.186249E-2</c:v>
                </c:pt>
                <c:pt idx="3154">
                  <c:v>1.1871988999999999E-2</c:v>
                </c:pt>
                <c:pt idx="3155">
                  <c:v>1.1885158999999999E-2</c:v>
                </c:pt>
                <c:pt idx="3156">
                  <c:v>1.1899435E-2</c:v>
                </c:pt>
                <c:pt idx="3157">
                  <c:v>1.1908251E-2</c:v>
                </c:pt>
                <c:pt idx="3158">
                  <c:v>1.1914910000000001E-2</c:v>
                </c:pt>
                <c:pt idx="3159">
                  <c:v>1.1946475E-2</c:v>
                </c:pt>
                <c:pt idx="3160">
                  <c:v>1.1979205999999999E-2</c:v>
                </c:pt>
                <c:pt idx="3161">
                  <c:v>1.2008639999999999E-2</c:v>
                </c:pt>
                <c:pt idx="3162">
                  <c:v>1.2047328E-2</c:v>
                </c:pt>
                <c:pt idx="3163">
                  <c:v>1.2097237E-2</c:v>
                </c:pt>
                <c:pt idx="3164">
                  <c:v>1.2131364E-2</c:v>
                </c:pt>
                <c:pt idx="3165">
                  <c:v>1.2164476E-2</c:v>
                </c:pt>
                <c:pt idx="3166">
                  <c:v>1.2182713E-2</c:v>
                </c:pt>
                <c:pt idx="3167">
                  <c:v>1.2197079E-2</c:v>
                </c:pt>
                <c:pt idx="3168">
                  <c:v>1.224279E-2</c:v>
                </c:pt>
                <c:pt idx="3169">
                  <c:v>1.2284788E-2</c:v>
                </c:pt>
                <c:pt idx="3170">
                  <c:v>1.235351E-2</c:v>
                </c:pt>
                <c:pt idx="3171">
                  <c:v>1.2397696999999999E-2</c:v>
                </c:pt>
                <c:pt idx="3172">
                  <c:v>1.2458316000000001E-2</c:v>
                </c:pt>
                <c:pt idx="3173">
                  <c:v>1.2500755000000001E-2</c:v>
                </c:pt>
                <c:pt idx="3174">
                  <c:v>1.2524664E-2</c:v>
                </c:pt>
                <c:pt idx="3175">
                  <c:v>1.2596178E-2</c:v>
                </c:pt>
                <c:pt idx="3176">
                  <c:v>1.2652939E-2</c:v>
                </c:pt>
                <c:pt idx="3177">
                  <c:v>1.2704740000000001E-2</c:v>
                </c:pt>
                <c:pt idx="3178">
                  <c:v>1.2763691000000001E-2</c:v>
                </c:pt>
                <c:pt idx="3179">
                  <c:v>1.2792486E-2</c:v>
                </c:pt>
                <c:pt idx="3180">
                  <c:v>1.2827682999999999E-2</c:v>
                </c:pt>
                <c:pt idx="3181">
                  <c:v>1.2887536999999999E-2</c:v>
                </c:pt>
                <c:pt idx="3182">
                  <c:v>1.2920535E-2</c:v>
                </c:pt>
                <c:pt idx="3183">
                  <c:v>1.2968990999999999E-2</c:v>
                </c:pt>
                <c:pt idx="3184">
                  <c:v>1.3037959E-2</c:v>
                </c:pt>
                <c:pt idx="3185">
                  <c:v>1.3104118E-2</c:v>
                </c:pt>
                <c:pt idx="3186">
                  <c:v>1.314329E-2</c:v>
                </c:pt>
                <c:pt idx="3187">
                  <c:v>1.3195180000000001E-2</c:v>
                </c:pt>
                <c:pt idx="3188">
                  <c:v>1.3193603E-2</c:v>
                </c:pt>
                <c:pt idx="3189">
                  <c:v>1.3191725E-2</c:v>
                </c:pt>
                <c:pt idx="3190">
                  <c:v>1.3182441E-2</c:v>
                </c:pt>
                <c:pt idx="3191">
                  <c:v>1.3172533E-2</c:v>
                </c:pt>
                <c:pt idx="3192">
                  <c:v>1.3165843E-2</c:v>
                </c:pt>
                <c:pt idx="3193">
                  <c:v>1.3181195E-2</c:v>
                </c:pt>
                <c:pt idx="3194">
                  <c:v>1.3177446000000001E-2</c:v>
                </c:pt>
                <c:pt idx="3195">
                  <c:v>1.3175408E-2</c:v>
                </c:pt>
                <c:pt idx="3196">
                  <c:v>1.3181307999999999E-2</c:v>
                </c:pt>
                <c:pt idx="3197">
                  <c:v>1.3182226999999999E-2</c:v>
                </c:pt>
                <c:pt idx="3198">
                  <c:v>1.3181271E-2</c:v>
                </c:pt>
                <c:pt idx="3199">
                  <c:v>1.3201859999999999E-2</c:v>
                </c:pt>
                <c:pt idx="3200">
                  <c:v>1.321782E-2</c:v>
                </c:pt>
                <c:pt idx="3201">
                  <c:v>1.3212748999999999E-2</c:v>
                </c:pt>
                <c:pt idx="3202">
                  <c:v>1.3221702E-2</c:v>
                </c:pt>
                <c:pt idx="3203">
                  <c:v>1.3249232E-2</c:v>
                </c:pt>
                <c:pt idx="3204">
                  <c:v>1.3261357E-2</c:v>
                </c:pt>
                <c:pt idx="3205">
                  <c:v>1.3270169E-2</c:v>
                </c:pt>
                <c:pt idx="3206">
                  <c:v>1.3274104E-2</c:v>
                </c:pt>
                <c:pt idx="3207">
                  <c:v>1.3274146000000001E-2</c:v>
                </c:pt>
                <c:pt idx="3208">
                  <c:v>1.3281291000000001E-2</c:v>
                </c:pt>
                <c:pt idx="3209">
                  <c:v>1.3276111E-2</c:v>
                </c:pt>
                <c:pt idx="3210">
                  <c:v>1.328671E-2</c:v>
                </c:pt>
                <c:pt idx="3211">
                  <c:v>1.3292864E-2</c:v>
                </c:pt>
                <c:pt idx="3212">
                  <c:v>1.3327978000000001E-2</c:v>
                </c:pt>
                <c:pt idx="3213">
                  <c:v>1.3335293E-2</c:v>
                </c:pt>
                <c:pt idx="3214">
                  <c:v>1.3350714E-2</c:v>
                </c:pt>
                <c:pt idx="3215">
                  <c:v>1.335827E-2</c:v>
                </c:pt>
                <c:pt idx="3216">
                  <c:v>1.3364541000000001E-2</c:v>
                </c:pt>
                <c:pt idx="3217">
                  <c:v>1.336686E-2</c:v>
                </c:pt>
                <c:pt idx="3218">
                  <c:v>1.3359451E-2</c:v>
                </c:pt>
                <c:pt idx="3219">
                  <c:v>1.3352777E-2</c:v>
                </c:pt>
                <c:pt idx="3220">
                  <c:v>1.3356612E-2</c:v>
                </c:pt>
                <c:pt idx="3221">
                  <c:v>1.335216E-2</c:v>
                </c:pt>
                <c:pt idx="3222">
                  <c:v>1.3351345000000001E-2</c:v>
                </c:pt>
                <c:pt idx="3223">
                  <c:v>1.3359121999999999E-2</c:v>
                </c:pt>
                <c:pt idx="3224">
                  <c:v>1.3327324E-2</c:v>
                </c:pt>
                <c:pt idx="3225">
                  <c:v>1.3302387000000001E-2</c:v>
                </c:pt>
                <c:pt idx="3226">
                  <c:v>1.3293658E-2</c:v>
                </c:pt>
                <c:pt idx="3227">
                  <c:v>1.3281360000000001E-2</c:v>
                </c:pt>
                <c:pt idx="3228">
                  <c:v>1.3266843E-2</c:v>
                </c:pt>
                <c:pt idx="3229">
                  <c:v>1.325754E-2</c:v>
                </c:pt>
                <c:pt idx="3230">
                  <c:v>1.3263432E-2</c:v>
                </c:pt>
                <c:pt idx="3231">
                  <c:v>1.3260786E-2</c:v>
                </c:pt>
                <c:pt idx="3232">
                  <c:v>1.3273398E-2</c:v>
                </c:pt>
                <c:pt idx="3233">
                  <c:v>1.326959E-2</c:v>
                </c:pt>
                <c:pt idx="3234">
                  <c:v>1.3263265E-2</c:v>
                </c:pt>
                <c:pt idx="3235">
                  <c:v>1.3263031999999999E-2</c:v>
                </c:pt>
                <c:pt idx="3236">
                  <c:v>1.3260854000000001E-2</c:v>
                </c:pt>
                <c:pt idx="3237">
                  <c:v>1.3257394E-2</c:v>
                </c:pt>
                <c:pt idx="3238">
                  <c:v>1.3255645E-2</c:v>
                </c:pt>
                <c:pt idx="3239">
                  <c:v>1.3253387E-2</c:v>
                </c:pt>
                <c:pt idx="3240">
                  <c:v>1.3253588E-2</c:v>
                </c:pt>
                <c:pt idx="3241">
                  <c:v>1.3249337E-2</c:v>
                </c:pt>
                <c:pt idx="3242">
                  <c:v>1.3250431E-2</c:v>
                </c:pt>
                <c:pt idx="3243">
                  <c:v>1.3250848000000001E-2</c:v>
                </c:pt>
                <c:pt idx="3244">
                  <c:v>1.3254607999999999E-2</c:v>
                </c:pt>
                <c:pt idx="3245">
                  <c:v>1.3248166E-2</c:v>
                </c:pt>
                <c:pt idx="3246">
                  <c:v>1.3230163E-2</c:v>
                </c:pt>
                <c:pt idx="3247">
                  <c:v>1.3225192E-2</c:v>
                </c:pt>
                <c:pt idx="3248">
                  <c:v>1.3221198999999999E-2</c:v>
                </c:pt>
                <c:pt idx="3249">
                  <c:v>1.3218143999999999E-2</c:v>
                </c:pt>
                <c:pt idx="3250">
                  <c:v>1.3214231999999999E-2</c:v>
                </c:pt>
                <c:pt idx="3251">
                  <c:v>1.3218953E-2</c:v>
                </c:pt>
                <c:pt idx="3252">
                  <c:v>1.3208497E-2</c:v>
                </c:pt>
                <c:pt idx="3253">
                  <c:v>1.3204491E-2</c:v>
                </c:pt>
                <c:pt idx="3254">
                  <c:v>1.3206604E-2</c:v>
                </c:pt>
                <c:pt idx="3255">
                  <c:v>1.3217425E-2</c:v>
                </c:pt>
                <c:pt idx="3256">
                  <c:v>1.3220411E-2</c:v>
                </c:pt>
                <c:pt idx="3257">
                  <c:v>1.3214917E-2</c:v>
                </c:pt>
                <c:pt idx="3258">
                  <c:v>1.3215426000000001E-2</c:v>
                </c:pt>
                <c:pt idx="3259">
                  <c:v>1.3192789999999999E-2</c:v>
                </c:pt>
                <c:pt idx="3260">
                  <c:v>1.318779E-2</c:v>
                </c:pt>
                <c:pt idx="3261">
                  <c:v>1.3177736000000001E-2</c:v>
                </c:pt>
                <c:pt idx="3262">
                  <c:v>1.3169956999999999E-2</c:v>
                </c:pt>
                <c:pt idx="3263">
                  <c:v>1.3171158000000001E-2</c:v>
                </c:pt>
                <c:pt idx="3264">
                  <c:v>1.3166252E-2</c:v>
                </c:pt>
                <c:pt idx="3265">
                  <c:v>1.3173097999999999E-2</c:v>
                </c:pt>
                <c:pt idx="3266">
                  <c:v>1.3164823000000001E-2</c:v>
                </c:pt>
                <c:pt idx="3267">
                  <c:v>1.3158463E-2</c:v>
                </c:pt>
                <c:pt idx="3268">
                  <c:v>1.3151899E-2</c:v>
                </c:pt>
                <c:pt idx="3269">
                  <c:v>1.3185245999999999E-2</c:v>
                </c:pt>
                <c:pt idx="3270">
                  <c:v>1.3192314E-2</c:v>
                </c:pt>
                <c:pt idx="3271">
                  <c:v>1.3197802E-2</c:v>
                </c:pt>
                <c:pt idx="3272">
                  <c:v>1.3199445000000001E-2</c:v>
                </c:pt>
                <c:pt idx="3273">
                  <c:v>1.3206415000000001E-2</c:v>
                </c:pt>
                <c:pt idx="3274">
                  <c:v>1.3213311E-2</c:v>
                </c:pt>
                <c:pt idx="3275">
                  <c:v>1.3221475999999999E-2</c:v>
                </c:pt>
                <c:pt idx="3276">
                  <c:v>1.3224186000000001E-2</c:v>
                </c:pt>
                <c:pt idx="3277">
                  <c:v>1.3203385999999999E-2</c:v>
                </c:pt>
                <c:pt idx="3278">
                  <c:v>1.3201225E-2</c:v>
                </c:pt>
                <c:pt idx="3279">
                  <c:v>1.3185452E-2</c:v>
                </c:pt>
                <c:pt idx="3280">
                  <c:v>1.3178275999999999E-2</c:v>
                </c:pt>
                <c:pt idx="3281">
                  <c:v>1.3174518E-2</c:v>
                </c:pt>
                <c:pt idx="3282">
                  <c:v>1.3178149E-2</c:v>
                </c:pt>
                <c:pt idx="3283">
                  <c:v>1.3179656E-2</c:v>
                </c:pt>
                <c:pt idx="3284">
                  <c:v>1.317487E-2</c:v>
                </c:pt>
                <c:pt idx="3285">
                  <c:v>1.3167684000000001E-2</c:v>
                </c:pt>
                <c:pt idx="3286">
                  <c:v>1.3175958E-2</c:v>
                </c:pt>
                <c:pt idx="3287">
                  <c:v>1.3167692999999999E-2</c:v>
                </c:pt>
                <c:pt idx="3288">
                  <c:v>1.3157085000000001E-2</c:v>
                </c:pt>
                <c:pt idx="3289">
                  <c:v>1.3136984000000001E-2</c:v>
                </c:pt>
                <c:pt idx="3290">
                  <c:v>1.3115465E-2</c:v>
                </c:pt>
                <c:pt idx="3291">
                  <c:v>1.3090526E-2</c:v>
                </c:pt>
                <c:pt idx="3292">
                  <c:v>1.3080563E-2</c:v>
                </c:pt>
                <c:pt idx="3293">
                  <c:v>1.3086377999999999E-2</c:v>
                </c:pt>
                <c:pt idx="3294">
                  <c:v>1.3075372E-2</c:v>
                </c:pt>
                <c:pt idx="3295">
                  <c:v>1.3061638E-2</c:v>
                </c:pt>
                <c:pt idx="3296">
                  <c:v>1.3022079000000001E-2</c:v>
                </c:pt>
                <c:pt idx="3297">
                  <c:v>1.2991116E-2</c:v>
                </c:pt>
                <c:pt idx="3298">
                  <c:v>1.2977251E-2</c:v>
                </c:pt>
                <c:pt idx="3299">
                  <c:v>1.2950289E-2</c:v>
                </c:pt>
                <c:pt idx="3300">
                  <c:v>1.2938408E-2</c:v>
                </c:pt>
                <c:pt idx="3301">
                  <c:v>1.2924580999999999E-2</c:v>
                </c:pt>
                <c:pt idx="3302">
                  <c:v>1.2901127E-2</c:v>
                </c:pt>
                <c:pt idx="3303">
                  <c:v>1.2894164E-2</c:v>
                </c:pt>
                <c:pt idx="3304">
                  <c:v>1.2875022E-2</c:v>
                </c:pt>
                <c:pt idx="3305">
                  <c:v>1.2848083E-2</c:v>
                </c:pt>
                <c:pt idx="3306">
                  <c:v>1.2823206E-2</c:v>
                </c:pt>
                <c:pt idx="3307">
                  <c:v>1.2796201E-2</c:v>
                </c:pt>
                <c:pt idx="3308">
                  <c:v>1.2770274E-2</c:v>
                </c:pt>
                <c:pt idx="3309">
                  <c:v>1.2745888E-2</c:v>
                </c:pt>
                <c:pt idx="3310">
                  <c:v>1.2721206000000001E-2</c:v>
                </c:pt>
                <c:pt idx="3311">
                  <c:v>1.2702743000000001E-2</c:v>
                </c:pt>
                <c:pt idx="3312">
                  <c:v>1.2678425E-2</c:v>
                </c:pt>
                <c:pt idx="3313">
                  <c:v>1.2646466E-2</c:v>
                </c:pt>
                <c:pt idx="3314">
                  <c:v>1.2629209000000001E-2</c:v>
                </c:pt>
                <c:pt idx="3315">
                  <c:v>1.2605857999999999E-2</c:v>
                </c:pt>
                <c:pt idx="3316">
                  <c:v>1.2590001999999999E-2</c:v>
                </c:pt>
                <c:pt idx="3317">
                  <c:v>1.2573302E-2</c:v>
                </c:pt>
                <c:pt idx="3318">
                  <c:v>1.2577109E-2</c:v>
                </c:pt>
                <c:pt idx="3319">
                  <c:v>1.2569146999999999E-2</c:v>
                </c:pt>
                <c:pt idx="3320">
                  <c:v>1.2553824999999999E-2</c:v>
                </c:pt>
                <c:pt idx="3321">
                  <c:v>1.2536332000000001E-2</c:v>
                </c:pt>
                <c:pt idx="3322">
                  <c:v>1.2529452999999999E-2</c:v>
                </c:pt>
                <c:pt idx="3323">
                  <c:v>1.2497499E-2</c:v>
                </c:pt>
                <c:pt idx="3324">
                  <c:v>1.2447431E-2</c:v>
                </c:pt>
                <c:pt idx="3325">
                  <c:v>1.2420670999999999E-2</c:v>
                </c:pt>
                <c:pt idx="3326">
                  <c:v>1.2387E-2</c:v>
                </c:pt>
                <c:pt idx="3327">
                  <c:v>1.2358094999999999E-2</c:v>
                </c:pt>
                <c:pt idx="3328">
                  <c:v>1.2317012E-2</c:v>
                </c:pt>
                <c:pt idx="3329">
                  <c:v>1.2275895E-2</c:v>
                </c:pt>
                <c:pt idx="3330">
                  <c:v>1.2243743E-2</c:v>
                </c:pt>
                <c:pt idx="3331">
                  <c:v>1.2217228E-2</c:v>
                </c:pt>
                <c:pt idx="3332">
                  <c:v>1.2192326999999999E-2</c:v>
                </c:pt>
                <c:pt idx="3333">
                  <c:v>1.2169101999999999E-2</c:v>
                </c:pt>
                <c:pt idx="3334">
                  <c:v>1.2144603E-2</c:v>
                </c:pt>
                <c:pt idx="3335">
                  <c:v>1.2122702000000001E-2</c:v>
                </c:pt>
                <c:pt idx="3336">
                  <c:v>1.2111078000000001E-2</c:v>
                </c:pt>
                <c:pt idx="3337">
                  <c:v>1.2113575999999999E-2</c:v>
                </c:pt>
                <c:pt idx="3338">
                  <c:v>1.209616E-2</c:v>
                </c:pt>
                <c:pt idx="3339">
                  <c:v>1.2088054000000001E-2</c:v>
                </c:pt>
                <c:pt idx="3340">
                  <c:v>1.2072203E-2</c:v>
                </c:pt>
                <c:pt idx="3341">
                  <c:v>1.2067608000000001E-2</c:v>
                </c:pt>
                <c:pt idx="3342">
                  <c:v>1.2065645999999999E-2</c:v>
                </c:pt>
                <c:pt idx="3343">
                  <c:v>1.2054196999999999E-2</c:v>
                </c:pt>
                <c:pt idx="3344">
                  <c:v>1.2039107E-2</c:v>
                </c:pt>
                <c:pt idx="3345">
                  <c:v>1.2054863000000001E-2</c:v>
                </c:pt>
                <c:pt idx="3346">
                  <c:v>1.2058724E-2</c:v>
                </c:pt>
                <c:pt idx="3347">
                  <c:v>1.2047633E-2</c:v>
                </c:pt>
                <c:pt idx="3348">
                  <c:v>1.2034178E-2</c:v>
                </c:pt>
                <c:pt idx="3349">
                  <c:v>1.200533E-2</c:v>
                </c:pt>
                <c:pt idx="3350">
                  <c:v>1.1987980000000001E-2</c:v>
                </c:pt>
                <c:pt idx="3351">
                  <c:v>1.1987385E-2</c:v>
                </c:pt>
                <c:pt idx="3352">
                  <c:v>1.2006038E-2</c:v>
                </c:pt>
                <c:pt idx="3353">
                  <c:v>1.2015179000000001E-2</c:v>
                </c:pt>
                <c:pt idx="3354">
                  <c:v>1.2009036000000001E-2</c:v>
                </c:pt>
                <c:pt idx="3355">
                  <c:v>1.2015912E-2</c:v>
                </c:pt>
                <c:pt idx="3356">
                  <c:v>1.2008349E-2</c:v>
                </c:pt>
                <c:pt idx="3357">
                  <c:v>1.1998833E-2</c:v>
                </c:pt>
                <c:pt idx="3358">
                  <c:v>1.2012739E-2</c:v>
                </c:pt>
                <c:pt idx="3359">
                  <c:v>1.2021636E-2</c:v>
                </c:pt>
                <c:pt idx="3360">
                  <c:v>1.2035446999999999E-2</c:v>
                </c:pt>
                <c:pt idx="3361">
                  <c:v>1.2059385000000001E-2</c:v>
                </c:pt>
                <c:pt idx="3362">
                  <c:v>1.2042657999999999E-2</c:v>
                </c:pt>
                <c:pt idx="3363">
                  <c:v>1.2019867E-2</c:v>
                </c:pt>
                <c:pt idx="3364">
                  <c:v>1.1986297E-2</c:v>
                </c:pt>
                <c:pt idx="3365">
                  <c:v>1.1966813999999999E-2</c:v>
                </c:pt>
                <c:pt idx="3366">
                  <c:v>1.1940664E-2</c:v>
                </c:pt>
                <c:pt idx="3367">
                  <c:v>1.1918476000000001E-2</c:v>
                </c:pt>
                <c:pt idx="3368">
                  <c:v>1.1908504E-2</c:v>
                </c:pt>
                <c:pt idx="3369">
                  <c:v>1.1891741000000001E-2</c:v>
                </c:pt>
                <c:pt idx="3370">
                  <c:v>1.1858329000000001E-2</c:v>
                </c:pt>
                <c:pt idx="3371">
                  <c:v>1.1836347000000001E-2</c:v>
                </c:pt>
                <c:pt idx="3372">
                  <c:v>1.1823185999999999E-2</c:v>
                </c:pt>
                <c:pt idx="3373">
                  <c:v>1.1798322999999999E-2</c:v>
                </c:pt>
                <c:pt idx="3374">
                  <c:v>1.175998E-2</c:v>
                </c:pt>
                <c:pt idx="3375">
                  <c:v>1.1719179999999999E-2</c:v>
                </c:pt>
                <c:pt idx="3376">
                  <c:v>1.169977E-2</c:v>
                </c:pt>
                <c:pt idx="3377">
                  <c:v>1.1666783999999999E-2</c:v>
                </c:pt>
                <c:pt idx="3378">
                  <c:v>1.1601442999999999E-2</c:v>
                </c:pt>
                <c:pt idx="3379">
                  <c:v>1.1565601E-2</c:v>
                </c:pt>
                <c:pt idx="3380">
                  <c:v>1.1509782E-2</c:v>
                </c:pt>
                <c:pt idx="3381">
                  <c:v>1.1446970000000001E-2</c:v>
                </c:pt>
                <c:pt idx="3382">
                  <c:v>1.141174E-2</c:v>
                </c:pt>
                <c:pt idx="3383">
                  <c:v>1.1380628E-2</c:v>
                </c:pt>
                <c:pt idx="3384">
                  <c:v>1.1340863E-2</c:v>
                </c:pt>
                <c:pt idx="3385">
                  <c:v>1.1323975999999999E-2</c:v>
                </c:pt>
                <c:pt idx="3386">
                  <c:v>1.1287524E-2</c:v>
                </c:pt>
                <c:pt idx="3387">
                  <c:v>1.1261986E-2</c:v>
                </c:pt>
                <c:pt idx="3388">
                  <c:v>1.1233775999999999E-2</c:v>
                </c:pt>
                <c:pt idx="3389">
                  <c:v>1.1205345E-2</c:v>
                </c:pt>
                <c:pt idx="3390">
                  <c:v>1.1167794E-2</c:v>
                </c:pt>
                <c:pt idx="3391">
                  <c:v>1.1148986E-2</c:v>
                </c:pt>
                <c:pt idx="3392">
                  <c:v>1.1134704E-2</c:v>
                </c:pt>
                <c:pt idx="3393">
                  <c:v>1.1117362E-2</c:v>
                </c:pt>
                <c:pt idx="3394">
                  <c:v>1.1092819E-2</c:v>
                </c:pt>
                <c:pt idx="3395">
                  <c:v>1.1081295E-2</c:v>
                </c:pt>
                <c:pt idx="3396">
                  <c:v>1.1077024E-2</c:v>
                </c:pt>
                <c:pt idx="3397">
                  <c:v>1.1062012E-2</c:v>
                </c:pt>
                <c:pt idx="3398">
                  <c:v>1.1050614E-2</c:v>
                </c:pt>
                <c:pt idx="3399">
                  <c:v>1.1035903E-2</c:v>
                </c:pt>
                <c:pt idx="3400">
                  <c:v>1.1030247999999999E-2</c:v>
                </c:pt>
                <c:pt idx="3401">
                  <c:v>1.1016461E-2</c:v>
                </c:pt>
                <c:pt idx="3402">
                  <c:v>1.09937E-2</c:v>
                </c:pt>
                <c:pt idx="3403">
                  <c:v>1.0984135000000001E-2</c:v>
                </c:pt>
                <c:pt idx="3404">
                  <c:v>1.0975824E-2</c:v>
                </c:pt>
                <c:pt idx="3405">
                  <c:v>1.0967728E-2</c:v>
                </c:pt>
                <c:pt idx="3406">
                  <c:v>1.0947520000000001E-2</c:v>
                </c:pt>
                <c:pt idx="3407">
                  <c:v>1.0935369E-2</c:v>
                </c:pt>
                <c:pt idx="3408">
                  <c:v>1.0923181000000001E-2</c:v>
                </c:pt>
                <c:pt idx="3409">
                  <c:v>1.0879191999999999E-2</c:v>
                </c:pt>
                <c:pt idx="3410">
                  <c:v>1.0835464E-2</c:v>
                </c:pt>
                <c:pt idx="3411">
                  <c:v>1.0808325000000001E-2</c:v>
                </c:pt>
                <c:pt idx="3412">
                  <c:v>1.0770123E-2</c:v>
                </c:pt>
                <c:pt idx="3413">
                  <c:v>1.0720489E-2</c:v>
                </c:pt>
                <c:pt idx="3414">
                  <c:v>1.0692088000000001E-2</c:v>
                </c:pt>
                <c:pt idx="3415">
                  <c:v>1.0654241E-2</c:v>
                </c:pt>
                <c:pt idx="3416">
                  <c:v>1.0623901E-2</c:v>
                </c:pt>
                <c:pt idx="3417">
                  <c:v>1.0593431E-2</c:v>
                </c:pt>
                <c:pt idx="3418">
                  <c:v>1.0540624E-2</c:v>
                </c:pt>
                <c:pt idx="3419">
                  <c:v>1.0495887000000001E-2</c:v>
                </c:pt>
                <c:pt idx="3420">
                  <c:v>1.0424367E-2</c:v>
                </c:pt>
                <c:pt idx="3421">
                  <c:v>1.0371900999999999E-2</c:v>
                </c:pt>
                <c:pt idx="3422">
                  <c:v>1.0300274999999999E-2</c:v>
                </c:pt>
                <c:pt idx="3423">
                  <c:v>1.0254556E-2</c:v>
                </c:pt>
                <c:pt idx="3424">
                  <c:v>1.0190436000000001E-2</c:v>
                </c:pt>
                <c:pt idx="3425">
                  <c:v>1.0129209E-2</c:v>
                </c:pt>
                <c:pt idx="3426">
                  <c:v>1.0091203E-2</c:v>
                </c:pt>
                <c:pt idx="3427">
                  <c:v>1.0074913E-2</c:v>
                </c:pt>
                <c:pt idx="3428">
                  <c:v>1.0051891E-2</c:v>
                </c:pt>
                <c:pt idx="3429">
                  <c:v>1.0048979E-2</c:v>
                </c:pt>
                <c:pt idx="3430">
                  <c:v>1.0060193E-2</c:v>
                </c:pt>
                <c:pt idx="3431">
                  <c:v>1.0048344000000001E-2</c:v>
                </c:pt>
                <c:pt idx="3432">
                  <c:v>1.0044676000000001E-2</c:v>
                </c:pt>
                <c:pt idx="3433">
                  <c:v>1.0040812E-2</c:v>
                </c:pt>
                <c:pt idx="3434">
                  <c:v>1.0015174999999999E-2</c:v>
                </c:pt>
                <c:pt idx="3435">
                  <c:v>1.0058154E-2</c:v>
                </c:pt>
                <c:pt idx="3436">
                  <c:v>1.0128186000000001E-2</c:v>
                </c:pt>
                <c:pt idx="3437">
                  <c:v>1.0149658000000001E-2</c:v>
                </c:pt>
                <c:pt idx="3438">
                  <c:v>1.0170909000000001E-2</c:v>
                </c:pt>
                <c:pt idx="3439">
                  <c:v>1.0200815E-2</c:v>
                </c:pt>
                <c:pt idx="3440">
                  <c:v>1.0298941000000001E-2</c:v>
                </c:pt>
                <c:pt idx="3441">
                  <c:v>1.0344905999999999E-2</c:v>
                </c:pt>
                <c:pt idx="3442">
                  <c:v>1.0424177E-2</c:v>
                </c:pt>
                <c:pt idx="3443">
                  <c:v>1.0481212E-2</c:v>
                </c:pt>
                <c:pt idx="3444">
                  <c:v>1.0544323E-2</c:v>
                </c:pt>
                <c:pt idx="3445">
                  <c:v>1.0586582000000001E-2</c:v>
                </c:pt>
                <c:pt idx="3446">
                  <c:v>1.0638821E-2</c:v>
                </c:pt>
                <c:pt idx="3447">
                  <c:v>1.0684124E-2</c:v>
                </c:pt>
                <c:pt idx="3448">
                  <c:v>1.0717355E-2</c:v>
                </c:pt>
                <c:pt idx="3449">
                  <c:v>1.072117E-2</c:v>
                </c:pt>
                <c:pt idx="3450">
                  <c:v>1.0759061E-2</c:v>
                </c:pt>
                <c:pt idx="3451">
                  <c:v>1.0787095999999999E-2</c:v>
                </c:pt>
                <c:pt idx="3452">
                  <c:v>1.0805764000000001E-2</c:v>
                </c:pt>
                <c:pt idx="3453">
                  <c:v>1.0815547999999999E-2</c:v>
                </c:pt>
                <c:pt idx="3454">
                  <c:v>1.0830922999999999E-2</c:v>
                </c:pt>
                <c:pt idx="3455">
                  <c:v>1.0865135E-2</c:v>
                </c:pt>
                <c:pt idx="3456">
                  <c:v>1.0893811999999999E-2</c:v>
                </c:pt>
                <c:pt idx="3457">
                  <c:v>1.0910621000000001E-2</c:v>
                </c:pt>
                <c:pt idx="3458">
                  <c:v>1.0925054E-2</c:v>
                </c:pt>
                <c:pt idx="3459">
                  <c:v>1.097651E-2</c:v>
                </c:pt>
                <c:pt idx="3460">
                  <c:v>1.1040523E-2</c:v>
                </c:pt>
                <c:pt idx="3461">
                  <c:v>1.1087420000000001E-2</c:v>
                </c:pt>
                <c:pt idx="3462">
                  <c:v>1.1093957E-2</c:v>
                </c:pt>
                <c:pt idx="3463">
                  <c:v>1.1138456999999999E-2</c:v>
                </c:pt>
                <c:pt idx="3464">
                  <c:v>1.1187617E-2</c:v>
                </c:pt>
                <c:pt idx="3465">
                  <c:v>1.1209607999999999E-2</c:v>
                </c:pt>
                <c:pt idx="3466">
                  <c:v>1.1229315E-2</c:v>
                </c:pt>
                <c:pt idx="3467">
                  <c:v>1.1251295E-2</c:v>
                </c:pt>
                <c:pt idx="3468">
                  <c:v>1.1251258E-2</c:v>
                </c:pt>
                <c:pt idx="3469">
                  <c:v>1.12782E-2</c:v>
                </c:pt>
                <c:pt idx="3470">
                  <c:v>1.1316738E-2</c:v>
                </c:pt>
                <c:pt idx="3471">
                  <c:v>1.1348283000000001E-2</c:v>
                </c:pt>
                <c:pt idx="3472">
                  <c:v>1.1353805E-2</c:v>
                </c:pt>
                <c:pt idx="3473">
                  <c:v>1.1356668E-2</c:v>
                </c:pt>
                <c:pt idx="3474">
                  <c:v>1.1390608999999999E-2</c:v>
                </c:pt>
                <c:pt idx="3475">
                  <c:v>1.141738E-2</c:v>
                </c:pt>
                <c:pt idx="3476">
                  <c:v>1.1428572999999999E-2</c:v>
                </c:pt>
                <c:pt idx="3477">
                  <c:v>1.1449861E-2</c:v>
                </c:pt>
                <c:pt idx="3478">
                  <c:v>1.1454888E-2</c:v>
                </c:pt>
                <c:pt idx="3479">
                  <c:v>1.1469178E-2</c:v>
                </c:pt>
                <c:pt idx="3480">
                  <c:v>1.1470856E-2</c:v>
                </c:pt>
                <c:pt idx="3481">
                  <c:v>1.1508885E-2</c:v>
                </c:pt>
                <c:pt idx="3482">
                  <c:v>1.1509128E-2</c:v>
                </c:pt>
                <c:pt idx="3483">
                  <c:v>1.1520317E-2</c:v>
                </c:pt>
                <c:pt idx="3484">
                  <c:v>1.1523836000000001E-2</c:v>
                </c:pt>
                <c:pt idx="3485">
                  <c:v>1.1541964E-2</c:v>
                </c:pt>
                <c:pt idx="3486">
                  <c:v>1.1544080999999999E-2</c:v>
                </c:pt>
                <c:pt idx="3487">
                  <c:v>1.154112E-2</c:v>
                </c:pt>
                <c:pt idx="3488">
                  <c:v>1.1552323999999999E-2</c:v>
                </c:pt>
                <c:pt idx="3489">
                  <c:v>1.1557492000000001E-2</c:v>
                </c:pt>
                <c:pt idx="3490">
                  <c:v>1.1563036E-2</c:v>
                </c:pt>
                <c:pt idx="3491">
                  <c:v>1.1578385E-2</c:v>
                </c:pt>
                <c:pt idx="3492">
                  <c:v>1.1594204E-2</c:v>
                </c:pt>
                <c:pt idx="3493">
                  <c:v>1.1602127E-2</c:v>
                </c:pt>
                <c:pt idx="3494">
                  <c:v>1.1605677E-2</c:v>
                </c:pt>
                <c:pt idx="3495">
                  <c:v>1.1605224000000001E-2</c:v>
                </c:pt>
                <c:pt idx="3496">
                  <c:v>1.1619123E-2</c:v>
                </c:pt>
                <c:pt idx="3497">
                  <c:v>1.1643532E-2</c:v>
                </c:pt>
                <c:pt idx="3498">
                  <c:v>1.1651328000000001E-2</c:v>
                </c:pt>
                <c:pt idx="3499">
                  <c:v>1.1650812999999999E-2</c:v>
                </c:pt>
                <c:pt idx="3500">
                  <c:v>1.1655917E-2</c:v>
                </c:pt>
                <c:pt idx="3501">
                  <c:v>1.1660836000000001E-2</c:v>
                </c:pt>
                <c:pt idx="3502">
                  <c:v>1.1666289999999999E-2</c:v>
                </c:pt>
                <c:pt idx="3503">
                  <c:v>1.1670063E-2</c:v>
                </c:pt>
                <c:pt idx="3504">
                  <c:v>1.1672138E-2</c:v>
                </c:pt>
                <c:pt idx="3505">
                  <c:v>1.1673281000000001E-2</c:v>
                </c:pt>
                <c:pt idx="3506">
                  <c:v>1.1694328E-2</c:v>
                </c:pt>
                <c:pt idx="3507">
                  <c:v>1.1700033E-2</c:v>
                </c:pt>
                <c:pt idx="3508">
                  <c:v>1.1704851E-2</c:v>
                </c:pt>
                <c:pt idx="3509">
                  <c:v>1.1710753000000001E-2</c:v>
                </c:pt>
                <c:pt idx="3510">
                  <c:v>1.1704116000000001E-2</c:v>
                </c:pt>
                <c:pt idx="3511">
                  <c:v>1.1697401E-2</c:v>
                </c:pt>
                <c:pt idx="3512">
                  <c:v>1.1713647000000001E-2</c:v>
                </c:pt>
                <c:pt idx="3513">
                  <c:v>1.1746265000000001E-2</c:v>
                </c:pt>
                <c:pt idx="3514">
                  <c:v>1.1779477E-2</c:v>
                </c:pt>
                <c:pt idx="3515">
                  <c:v>1.178682E-2</c:v>
                </c:pt>
                <c:pt idx="3516">
                  <c:v>1.1804785E-2</c:v>
                </c:pt>
                <c:pt idx="3517">
                  <c:v>1.1807499000000001E-2</c:v>
                </c:pt>
                <c:pt idx="3518">
                  <c:v>1.1813733E-2</c:v>
                </c:pt>
                <c:pt idx="3519">
                  <c:v>1.177635E-2</c:v>
                </c:pt>
                <c:pt idx="3520">
                  <c:v>1.1804037999999999E-2</c:v>
                </c:pt>
                <c:pt idx="3521">
                  <c:v>1.1817662E-2</c:v>
                </c:pt>
                <c:pt idx="3522">
                  <c:v>1.1830624E-2</c:v>
                </c:pt>
                <c:pt idx="3523">
                  <c:v>1.1834041999999999E-2</c:v>
                </c:pt>
                <c:pt idx="3524">
                  <c:v>1.1825497000000001E-2</c:v>
                </c:pt>
                <c:pt idx="3525">
                  <c:v>1.1829614E-2</c:v>
                </c:pt>
                <c:pt idx="3526">
                  <c:v>1.1824038E-2</c:v>
                </c:pt>
                <c:pt idx="3527">
                  <c:v>1.1816732999999999E-2</c:v>
                </c:pt>
                <c:pt idx="3528">
                  <c:v>1.1807798E-2</c:v>
                </c:pt>
                <c:pt idx="3529">
                  <c:v>1.179561E-2</c:v>
                </c:pt>
                <c:pt idx="3530">
                  <c:v>1.1803091E-2</c:v>
                </c:pt>
                <c:pt idx="3531">
                  <c:v>1.1799782999999999E-2</c:v>
                </c:pt>
                <c:pt idx="3532">
                  <c:v>1.1801888E-2</c:v>
                </c:pt>
                <c:pt idx="3533">
                  <c:v>1.1804656E-2</c:v>
                </c:pt>
                <c:pt idx="3534">
                  <c:v>1.1809844999999999E-2</c:v>
                </c:pt>
                <c:pt idx="3535">
                  <c:v>1.1820979000000001E-2</c:v>
                </c:pt>
                <c:pt idx="3536">
                  <c:v>1.1809118E-2</c:v>
                </c:pt>
                <c:pt idx="3537">
                  <c:v>1.1814798E-2</c:v>
                </c:pt>
                <c:pt idx="3538">
                  <c:v>1.1826971E-2</c:v>
                </c:pt>
                <c:pt idx="3539">
                  <c:v>1.1836854000000001E-2</c:v>
                </c:pt>
                <c:pt idx="3540">
                  <c:v>1.1843407E-2</c:v>
                </c:pt>
                <c:pt idx="3541">
                  <c:v>1.1854320999999999E-2</c:v>
                </c:pt>
                <c:pt idx="3542">
                  <c:v>1.1843944E-2</c:v>
                </c:pt>
                <c:pt idx="3543">
                  <c:v>1.1828304E-2</c:v>
                </c:pt>
                <c:pt idx="3544">
                  <c:v>1.1809226000000001E-2</c:v>
                </c:pt>
                <c:pt idx="3545">
                  <c:v>1.1813590000000001E-2</c:v>
                </c:pt>
                <c:pt idx="3546">
                  <c:v>1.1833412999999999E-2</c:v>
                </c:pt>
                <c:pt idx="3547">
                  <c:v>1.1843751E-2</c:v>
                </c:pt>
                <c:pt idx="3548">
                  <c:v>1.1849853E-2</c:v>
                </c:pt>
                <c:pt idx="3549">
                  <c:v>1.1859596E-2</c:v>
                </c:pt>
                <c:pt idx="3550">
                  <c:v>1.185873E-2</c:v>
                </c:pt>
                <c:pt idx="3551">
                  <c:v>1.1849050999999999E-2</c:v>
                </c:pt>
                <c:pt idx="3552">
                  <c:v>1.1858469999999999E-2</c:v>
                </c:pt>
                <c:pt idx="3553">
                  <c:v>1.1863950999999999E-2</c:v>
                </c:pt>
                <c:pt idx="3554">
                  <c:v>1.1864283999999999E-2</c:v>
                </c:pt>
                <c:pt idx="3555">
                  <c:v>1.1893595E-2</c:v>
                </c:pt>
                <c:pt idx="3556">
                  <c:v>1.1899852000000001E-2</c:v>
                </c:pt>
                <c:pt idx="3557">
                  <c:v>1.1907348E-2</c:v>
                </c:pt>
                <c:pt idx="3558">
                  <c:v>1.1912796999999999E-2</c:v>
                </c:pt>
                <c:pt idx="3559">
                  <c:v>1.1926439E-2</c:v>
                </c:pt>
                <c:pt idx="3560">
                  <c:v>1.1939751E-2</c:v>
                </c:pt>
                <c:pt idx="3561">
                  <c:v>1.1962585E-2</c:v>
                </c:pt>
                <c:pt idx="3562">
                  <c:v>1.1973719000000001E-2</c:v>
                </c:pt>
                <c:pt idx="3563">
                  <c:v>1.1982428E-2</c:v>
                </c:pt>
                <c:pt idx="3564">
                  <c:v>1.1999816999999999E-2</c:v>
                </c:pt>
                <c:pt idx="3565">
                  <c:v>1.2029355E-2</c:v>
                </c:pt>
                <c:pt idx="3566">
                  <c:v>1.2049783E-2</c:v>
                </c:pt>
                <c:pt idx="3567">
                  <c:v>1.207883E-2</c:v>
                </c:pt>
                <c:pt idx="3568">
                  <c:v>1.2116376E-2</c:v>
                </c:pt>
                <c:pt idx="3569">
                  <c:v>1.2138502000000001E-2</c:v>
                </c:pt>
                <c:pt idx="3570">
                  <c:v>1.2173524999999999E-2</c:v>
                </c:pt>
                <c:pt idx="3571">
                  <c:v>1.2200578E-2</c:v>
                </c:pt>
                <c:pt idx="3572">
                  <c:v>1.222666E-2</c:v>
                </c:pt>
                <c:pt idx="3573">
                  <c:v>1.2246112E-2</c:v>
                </c:pt>
                <c:pt idx="3574">
                  <c:v>1.2264804000000001E-2</c:v>
                </c:pt>
                <c:pt idx="3575">
                  <c:v>1.2286335000000001E-2</c:v>
                </c:pt>
                <c:pt idx="3576">
                  <c:v>1.2295462E-2</c:v>
                </c:pt>
                <c:pt idx="3577">
                  <c:v>1.2303197E-2</c:v>
                </c:pt>
                <c:pt idx="3578">
                  <c:v>1.2319935000000001E-2</c:v>
                </c:pt>
                <c:pt idx="3579">
                  <c:v>1.2335881E-2</c:v>
                </c:pt>
                <c:pt idx="3580">
                  <c:v>1.2352874999999999E-2</c:v>
                </c:pt>
                <c:pt idx="3581">
                  <c:v>1.2363162E-2</c:v>
                </c:pt>
                <c:pt idx="3582">
                  <c:v>1.2383309E-2</c:v>
                </c:pt>
                <c:pt idx="3583">
                  <c:v>1.2394024E-2</c:v>
                </c:pt>
                <c:pt idx="3584">
                  <c:v>1.2391223999999999E-2</c:v>
                </c:pt>
                <c:pt idx="3585">
                  <c:v>1.2384651E-2</c:v>
                </c:pt>
                <c:pt idx="3586">
                  <c:v>1.2388698E-2</c:v>
                </c:pt>
                <c:pt idx="3587">
                  <c:v>1.2373524E-2</c:v>
                </c:pt>
                <c:pt idx="3588">
                  <c:v>1.2382861E-2</c:v>
                </c:pt>
                <c:pt idx="3589">
                  <c:v>1.2393081E-2</c:v>
                </c:pt>
                <c:pt idx="3590">
                  <c:v>1.2398451E-2</c:v>
                </c:pt>
                <c:pt idx="3591">
                  <c:v>1.2395859E-2</c:v>
                </c:pt>
                <c:pt idx="3592">
                  <c:v>1.2379490999999999E-2</c:v>
                </c:pt>
                <c:pt idx="3593">
                  <c:v>1.2383752E-2</c:v>
                </c:pt>
                <c:pt idx="3594">
                  <c:v>1.2386226E-2</c:v>
                </c:pt>
                <c:pt idx="3595">
                  <c:v>1.2363041E-2</c:v>
                </c:pt>
                <c:pt idx="3596">
                  <c:v>1.2352181E-2</c:v>
                </c:pt>
                <c:pt idx="3597">
                  <c:v>1.2352566000000001E-2</c:v>
                </c:pt>
                <c:pt idx="3598">
                  <c:v>1.2356752E-2</c:v>
                </c:pt>
                <c:pt idx="3599">
                  <c:v>1.2364567999999999E-2</c:v>
                </c:pt>
                <c:pt idx="3600">
                  <c:v>1.2369079999999999E-2</c:v>
                </c:pt>
                <c:pt idx="3601">
                  <c:v>1.2359561999999999E-2</c:v>
                </c:pt>
                <c:pt idx="3602">
                  <c:v>1.2336481E-2</c:v>
                </c:pt>
                <c:pt idx="3603">
                  <c:v>1.2326458E-2</c:v>
                </c:pt>
                <c:pt idx="3604">
                  <c:v>1.2322081E-2</c:v>
                </c:pt>
                <c:pt idx="3605">
                  <c:v>1.2325819999999999E-2</c:v>
                </c:pt>
                <c:pt idx="3606">
                  <c:v>1.2327187999999999E-2</c:v>
                </c:pt>
                <c:pt idx="3607">
                  <c:v>1.2325087E-2</c:v>
                </c:pt>
                <c:pt idx="3608">
                  <c:v>1.2318674E-2</c:v>
                </c:pt>
                <c:pt idx="3609">
                  <c:v>1.2312020999999999E-2</c:v>
                </c:pt>
                <c:pt idx="3610">
                  <c:v>1.2289743000000001E-2</c:v>
                </c:pt>
                <c:pt idx="3611">
                  <c:v>1.2255729999999999E-2</c:v>
                </c:pt>
                <c:pt idx="3612">
                  <c:v>1.2246797E-2</c:v>
                </c:pt>
                <c:pt idx="3613">
                  <c:v>1.224538E-2</c:v>
                </c:pt>
                <c:pt idx="3614">
                  <c:v>1.2237726000000001E-2</c:v>
                </c:pt>
                <c:pt idx="3615">
                  <c:v>1.2239099999999999E-2</c:v>
                </c:pt>
                <c:pt idx="3616">
                  <c:v>1.2235951E-2</c:v>
                </c:pt>
                <c:pt idx="3617">
                  <c:v>1.222844E-2</c:v>
                </c:pt>
                <c:pt idx="3618">
                  <c:v>1.2219537000000001E-2</c:v>
                </c:pt>
                <c:pt idx="3619">
                  <c:v>1.2220295000000001E-2</c:v>
                </c:pt>
                <c:pt idx="3620">
                  <c:v>1.2232844E-2</c:v>
                </c:pt>
                <c:pt idx="3621">
                  <c:v>1.2219224000000001E-2</c:v>
                </c:pt>
                <c:pt idx="3622">
                  <c:v>1.2203848999999999E-2</c:v>
                </c:pt>
                <c:pt idx="3623">
                  <c:v>1.2193457E-2</c:v>
                </c:pt>
                <c:pt idx="3624">
                  <c:v>1.2191963E-2</c:v>
                </c:pt>
                <c:pt idx="3625">
                  <c:v>1.2196545E-2</c:v>
                </c:pt>
                <c:pt idx="3626">
                  <c:v>1.2194857999999999E-2</c:v>
                </c:pt>
                <c:pt idx="3627">
                  <c:v>1.220691E-2</c:v>
                </c:pt>
                <c:pt idx="3628">
                  <c:v>1.2216434E-2</c:v>
                </c:pt>
                <c:pt idx="3629">
                  <c:v>1.2226977999999999E-2</c:v>
                </c:pt>
                <c:pt idx="3630">
                  <c:v>1.2238096E-2</c:v>
                </c:pt>
                <c:pt idx="3631">
                  <c:v>1.2251893999999999E-2</c:v>
                </c:pt>
                <c:pt idx="3632">
                  <c:v>1.2234828999999999E-2</c:v>
                </c:pt>
                <c:pt idx="3633">
                  <c:v>1.2261022E-2</c:v>
                </c:pt>
                <c:pt idx="3634">
                  <c:v>1.2291198E-2</c:v>
                </c:pt>
                <c:pt idx="3635">
                  <c:v>1.2342651E-2</c:v>
                </c:pt>
                <c:pt idx="3636">
                  <c:v>1.2382295E-2</c:v>
                </c:pt>
                <c:pt idx="3637">
                  <c:v>1.2406076E-2</c:v>
                </c:pt>
                <c:pt idx="3638">
                  <c:v>1.243621E-2</c:v>
                </c:pt>
                <c:pt idx="3639">
                  <c:v>1.2467031999999999E-2</c:v>
                </c:pt>
                <c:pt idx="3640">
                  <c:v>1.2469785000000001E-2</c:v>
                </c:pt>
                <c:pt idx="3641">
                  <c:v>1.2477804E-2</c:v>
                </c:pt>
                <c:pt idx="3642">
                  <c:v>1.2495335E-2</c:v>
                </c:pt>
                <c:pt idx="3643">
                  <c:v>1.2530182000000001E-2</c:v>
                </c:pt>
                <c:pt idx="3644">
                  <c:v>1.2570789000000001E-2</c:v>
                </c:pt>
                <c:pt idx="3645">
                  <c:v>1.2589135E-2</c:v>
                </c:pt>
                <c:pt idx="3646">
                  <c:v>1.2627502000000001E-2</c:v>
                </c:pt>
                <c:pt idx="3647">
                  <c:v>1.2659243000000001E-2</c:v>
                </c:pt>
                <c:pt idx="3648">
                  <c:v>1.2695259E-2</c:v>
                </c:pt>
                <c:pt idx="3649">
                  <c:v>1.2724834000000001E-2</c:v>
                </c:pt>
                <c:pt idx="3650">
                  <c:v>1.2757559E-2</c:v>
                </c:pt>
                <c:pt idx="3651">
                  <c:v>1.2781093E-2</c:v>
                </c:pt>
                <c:pt idx="3652">
                  <c:v>1.2796912000000001E-2</c:v>
                </c:pt>
                <c:pt idx="3653">
                  <c:v>1.2814994E-2</c:v>
                </c:pt>
                <c:pt idx="3654">
                  <c:v>1.2823398999999999E-2</c:v>
                </c:pt>
                <c:pt idx="3655">
                  <c:v>1.2824149999999999E-2</c:v>
                </c:pt>
                <c:pt idx="3656">
                  <c:v>1.2837427E-2</c:v>
                </c:pt>
                <c:pt idx="3657">
                  <c:v>1.2835373000000001E-2</c:v>
                </c:pt>
                <c:pt idx="3658">
                  <c:v>1.2853328000000001E-2</c:v>
                </c:pt>
                <c:pt idx="3659">
                  <c:v>1.2880856E-2</c:v>
                </c:pt>
                <c:pt idx="3660">
                  <c:v>1.2907986E-2</c:v>
                </c:pt>
                <c:pt idx="3661">
                  <c:v>1.2940129999999999E-2</c:v>
                </c:pt>
                <c:pt idx="3662">
                  <c:v>1.2977621999999999E-2</c:v>
                </c:pt>
                <c:pt idx="3663">
                  <c:v>1.3035013E-2</c:v>
                </c:pt>
                <c:pt idx="3664">
                  <c:v>1.3070254999999999E-2</c:v>
                </c:pt>
                <c:pt idx="3665">
                  <c:v>1.3107819E-2</c:v>
                </c:pt>
                <c:pt idx="3666">
                  <c:v>1.3145519E-2</c:v>
                </c:pt>
                <c:pt idx="3667">
                  <c:v>1.3186031000000001E-2</c:v>
                </c:pt>
                <c:pt idx="3668">
                  <c:v>1.3215203999999999E-2</c:v>
                </c:pt>
                <c:pt idx="3669">
                  <c:v>1.323387E-2</c:v>
                </c:pt>
                <c:pt idx="3670">
                  <c:v>1.3260449000000001E-2</c:v>
                </c:pt>
                <c:pt idx="3671">
                  <c:v>1.3286595999999999E-2</c:v>
                </c:pt>
                <c:pt idx="3672">
                  <c:v>1.3332958000000001E-2</c:v>
                </c:pt>
                <c:pt idx="3673">
                  <c:v>1.3363903E-2</c:v>
                </c:pt>
                <c:pt idx="3674">
                  <c:v>1.3397974999999999E-2</c:v>
                </c:pt>
                <c:pt idx="3675">
                  <c:v>1.3441590999999999E-2</c:v>
                </c:pt>
                <c:pt idx="3676">
                  <c:v>1.3475999000000001E-2</c:v>
                </c:pt>
                <c:pt idx="3677">
                  <c:v>1.3493046E-2</c:v>
                </c:pt>
                <c:pt idx="3678">
                  <c:v>1.3522295E-2</c:v>
                </c:pt>
                <c:pt idx="3679">
                  <c:v>1.3562352999999999E-2</c:v>
                </c:pt>
                <c:pt idx="3680">
                  <c:v>1.355811E-2</c:v>
                </c:pt>
                <c:pt idx="3681">
                  <c:v>1.3575663E-2</c:v>
                </c:pt>
                <c:pt idx="3682">
                  <c:v>1.3601405E-2</c:v>
                </c:pt>
                <c:pt idx="3683">
                  <c:v>1.3614909E-2</c:v>
                </c:pt>
                <c:pt idx="3684">
                  <c:v>1.3611211E-2</c:v>
                </c:pt>
                <c:pt idx="3685">
                  <c:v>1.3562619999999999E-2</c:v>
                </c:pt>
                <c:pt idx="3686">
                  <c:v>1.3486100000000001E-2</c:v>
                </c:pt>
                <c:pt idx="3687">
                  <c:v>1.3451042E-2</c:v>
                </c:pt>
                <c:pt idx="3688">
                  <c:v>1.3452479999999999E-2</c:v>
                </c:pt>
                <c:pt idx="3689">
                  <c:v>1.3427931000000001E-2</c:v>
                </c:pt>
                <c:pt idx="3690">
                  <c:v>1.3357182E-2</c:v>
                </c:pt>
                <c:pt idx="3691">
                  <c:v>1.3336433999999999E-2</c:v>
                </c:pt>
                <c:pt idx="3692">
                  <c:v>1.3286345999999999E-2</c:v>
                </c:pt>
                <c:pt idx="3693">
                  <c:v>1.3230693E-2</c:v>
                </c:pt>
                <c:pt idx="3694">
                  <c:v>1.3170416000000001E-2</c:v>
                </c:pt>
                <c:pt idx="3695">
                  <c:v>1.3150752E-2</c:v>
                </c:pt>
                <c:pt idx="3696">
                  <c:v>1.3102012E-2</c:v>
                </c:pt>
                <c:pt idx="3697">
                  <c:v>1.3066553999999999E-2</c:v>
                </c:pt>
                <c:pt idx="3698">
                  <c:v>1.3048295E-2</c:v>
                </c:pt>
                <c:pt idx="3699">
                  <c:v>1.3040042999999999E-2</c:v>
                </c:pt>
                <c:pt idx="3700">
                  <c:v>1.2996143999999999E-2</c:v>
                </c:pt>
                <c:pt idx="3701">
                  <c:v>1.2974098999999999E-2</c:v>
                </c:pt>
                <c:pt idx="3702">
                  <c:v>1.2954413E-2</c:v>
                </c:pt>
                <c:pt idx="3703">
                  <c:v>1.2923089E-2</c:v>
                </c:pt>
                <c:pt idx="3704">
                  <c:v>1.290388E-2</c:v>
                </c:pt>
                <c:pt idx="3705">
                  <c:v>1.2870403000000001E-2</c:v>
                </c:pt>
                <c:pt idx="3706">
                  <c:v>1.284093E-2</c:v>
                </c:pt>
                <c:pt idx="3707">
                  <c:v>1.2842048999999999E-2</c:v>
                </c:pt>
                <c:pt idx="3708">
                  <c:v>1.2833137999999999E-2</c:v>
                </c:pt>
                <c:pt idx="3709">
                  <c:v>1.2783209E-2</c:v>
                </c:pt>
                <c:pt idx="3710">
                  <c:v>1.271574E-2</c:v>
                </c:pt>
                <c:pt idx="3711">
                  <c:v>1.2660711E-2</c:v>
                </c:pt>
                <c:pt idx="3712">
                  <c:v>1.261756E-2</c:v>
                </c:pt>
                <c:pt idx="3713">
                  <c:v>1.2561198000000001E-2</c:v>
                </c:pt>
                <c:pt idx="3714">
                  <c:v>1.2494371000000001E-2</c:v>
                </c:pt>
                <c:pt idx="3715">
                  <c:v>1.2477723E-2</c:v>
                </c:pt>
                <c:pt idx="3716">
                  <c:v>1.2444469999999999E-2</c:v>
                </c:pt>
                <c:pt idx="3717">
                  <c:v>1.2418022000000001E-2</c:v>
                </c:pt>
                <c:pt idx="3718">
                  <c:v>1.2400171E-2</c:v>
                </c:pt>
                <c:pt idx="3719">
                  <c:v>1.2365459000000001E-2</c:v>
                </c:pt>
                <c:pt idx="3720">
                  <c:v>1.2320826999999999E-2</c:v>
                </c:pt>
                <c:pt idx="3721">
                  <c:v>1.2286363999999999E-2</c:v>
                </c:pt>
                <c:pt idx="3722">
                  <c:v>1.2279257E-2</c:v>
                </c:pt>
                <c:pt idx="3723">
                  <c:v>1.2264891999999999E-2</c:v>
                </c:pt>
                <c:pt idx="3724">
                  <c:v>1.2248899000000001E-2</c:v>
                </c:pt>
                <c:pt idx="3725">
                  <c:v>1.2247035E-2</c:v>
                </c:pt>
                <c:pt idx="3726">
                  <c:v>1.2232298000000001E-2</c:v>
                </c:pt>
                <c:pt idx="3727">
                  <c:v>1.221649E-2</c:v>
                </c:pt>
                <c:pt idx="3728">
                  <c:v>1.2207727E-2</c:v>
                </c:pt>
                <c:pt idx="3729">
                  <c:v>1.2185219000000001E-2</c:v>
                </c:pt>
                <c:pt idx="3730">
                  <c:v>1.2173686E-2</c:v>
                </c:pt>
                <c:pt idx="3731">
                  <c:v>1.2129123E-2</c:v>
                </c:pt>
                <c:pt idx="3732">
                  <c:v>1.2112524E-2</c:v>
                </c:pt>
                <c:pt idx="3733">
                  <c:v>1.2111554E-2</c:v>
                </c:pt>
                <c:pt idx="3734">
                  <c:v>1.2107402E-2</c:v>
                </c:pt>
                <c:pt idx="3735">
                  <c:v>1.2089077E-2</c:v>
                </c:pt>
                <c:pt idx="3736">
                  <c:v>1.2085957E-2</c:v>
                </c:pt>
                <c:pt idx="3737">
                  <c:v>1.2086799000000001E-2</c:v>
                </c:pt>
                <c:pt idx="3738">
                  <c:v>1.2074292E-2</c:v>
                </c:pt>
                <c:pt idx="3739">
                  <c:v>1.2062059E-2</c:v>
                </c:pt>
                <c:pt idx="3740">
                  <c:v>1.2045402E-2</c:v>
                </c:pt>
                <c:pt idx="3741">
                  <c:v>1.2037226E-2</c:v>
                </c:pt>
                <c:pt idx="3742">
                  <c:v>1.2026172999999999E-2</c:v>
                </c:pt>
                <c:pt idx="3743">
                  <c:v>1.2037255E-2</c:v>
                </c:pt>
                <c:pt idx="3744">
                  <c:v>1.2051437E-2</c:v>
                </c:pt>
                <c:pt idx="3745">
                  <c:v>1.2070612E-2</c:v>
                </c:pt>
                <c:pt idx="3746">
                  <c:v>1.2065691999999999E-2</c:v>
                </c:pt>
                <c:pt idx="3747">
                  <c:v>1.2054972000000001E-2</c:v>
                </c:pt>
                <c:pt idx="3748">
                  <c:v>1.2069549000000001E-2</c:v>
                </c:pt>
                <c:pt idx="3749">
                  <c:v>1.2074575000000001E-2</c:v>
                </c:pt>
                <c:pt idx="3750">
                  <c:v>1.2082653E-2</c:v>
                </c:pt>
                <c:pt idx="3751">
                  <c:v>1.2091008E-2</c:v>
                </c:pt>
                <c:pt idx="3752">
                  <c:v>1.2107802000000001E-2</c:v>
                </c:pt>
                <c:pt idx="3753">
                  <c:v>1.2123032000000001E-2</c:v>
                </c:pt>
                <c:pt idx="3754">
                  <c:v>1.2133844E-2</c:v>
                </c:pt>
                <c:pt idx="3755">
                  <c:v>1.2138594000000001E-2</c:v>
                </c:pt>
                <c:pt idx="3756">
                  <c:v>1.2133286E-2</c:v>
                </c:pt>
                <c:pt idx="3757">
                  <c:v>1.2145417E-2</c:v>
                </c:pt>
                <c:pt idx="3758">
                  <c:v>1.2170359E-2</c:v>
                </c:pt>
                <c:pt idx="3759">
                  <c:v>1.2181233E-2</c:v>
                </c:pt>
                <c:pt idx="3760">
                  <c:v>1.2200762E-2</c:v>
                </c:pt>
                <c:pt idx="3761">
                  <c:v>1.2224608E-2</c:v>
                </c:pt>
                <c:pt idx="3762">
                  <c:v>1.2222234E-2</c:v>
                </c:pt>
                <c:pt idx="3763">
                  <c:v>1.2219109000000001E-2</c:v>
                </c:pt>
                <c:pt idx="3764">
                  <c:v>1.2253206000000001E-2</c:v>
                </c:pt>
                <c:pt idx="3765">
                  <c:v>1.2321809E-2</c:v>
                </c:pt>
                <c:pt idx="3766">
                  <c:v>1.2421928E-2</c:v>
                </c:pt>
                <c:pt idx="3767">
                  <c:v>1.2542505000000001E-2</c:v>
                </c:pt>
                <c:pt idx="3768">
                  <c:v>1.2629249E-2</c:v>
                </c:pt>
                <c:pt idx="3769">
                  <c:v>1.2725021E-2</c:v>
                </c:pt>
                <c:pt idx="3770">
                  <c:v>1.2776878E-2</c:v>
                </c:pt>
                <c:pt idx="3771">
                  <c:v>1.2842782000000001E-2</c:v>
                </c:pt>
                <c:pt idx="3772">
                  <c:v>1.2908852E-2</c:v>
                </c:pt>
                <c:pt idx="3773">
                  <c:v>1.2972202E-2</c:v>
                </c:pt>
                <c:pt idx="3774">
                  <c:v>1.3049847E-2</c:v>
                </c:pt>
                <c:pt idx="3775">
                  <c:v>1.3084768E-2</c:v>
                </c:pt>
                <c:pt idx="3776">
                  <c:v>1.3146456000000001E-2</c:v>
                </c:pt>
                <c:pt idx="3777">
                  <c:v>1.3190721000000001E-2</c:v>
                </c:pt>
                <c:pt idx="3778">
                  <c:v>1.3241670000000001E-2</c:v>
                </c:pt>
                <c:pt idx="3779">
                  <c:v>1.3297686E-2</c:v>
                </c:pt>
                <c:pt idx="3780">
                  <c:v>1.3348614999999999E-2</c:v>
                </c:pt>
                <c:pt idx="3781">
                  <c:v>1.3379200000000001E-2</c:v>
                </c:pt>
                <c:pt idx="3782">
                  <c:v>1.3397977E-2</c:v>
                </c:pt>
                <c:pt idx="3783">
                  <c:v>1.3430519E-2</c:v>
                </c:pt>
                <c:pt idx="3784">
                  <c:v>1.3455480000000001E-2</c:v>
                </c:pt>
                <c:pt idx="3785">
                  <c:v>1.3480887E-2</c:v>
                </c:pt>
                <c:pt idx="3786">
                  <c:v>1.3528347E-2</c:v>
                </c:pt>
                <c:pt idx="3787">
                  <c:v>1.3577605E-2</c:v>
                </c:pt>
                <c:pt idx="3788">
                  <c:v>1.3607607000000001E-2</c:v>
                </c:pt>
                <c:pt idx="3789">
                  <c:v>1.3655149E-2</c:v>
                </c:pt>
                <c:pt idx="3790">
                  <c:v>1.3698218E-2</c:v>
                </c:pt>
                <c:pt idx="3791">
                  <c:v>1.3734465E-2</c:v>
                </c:pt>
                <c:pt idx="3792">
                  <c:v>1.377538E-2</c:v>
                </c:pt>
                <c:pt idx="3793">
                  <c:v>1.3815097E-2</c:v>
                </c:pt>
                <c:pt idx="3794">
                  <c:v>1.3822413E-2</c:v>
                </c:pt>
                <c:pt idx="3795">
                  <c:v>1.3831006E-2</c:v>
                </c:pt>
                <c:pt idx="3796">
                  <c:v>1.3872684E-2</c:v>
                </c:pt>
                <c:pt idx="3797">
                  <c:v>1.3902536E-2</c:v>
                </c:pt>
                <c:pt idx="3798">
                  <c:v>1.3932961000000001E-2</c:v>
                </c:pt>
                <c:pt idx="3799">
                  <c:v>1.3951623999999999E-2</c:v>
                </c:pt>
                <c:pt idx="3800">
                  <c:v>1.396674E-2</c:v>
                </c:pt>
                <c:pt idx="3801">
                  <c:v>1.3991262000000001E-2</c:v>
                </c:pt>
                <c:pt idx="3802">
                  <c:v>1.400386E-2</c:v>
                </c:pt>
                <c:pt idx="3803">
                  <c:v>1.4020845000000001E-2</c:v>
                </c:pt>
                <c:pt idx="3804">
                  <c:v>1.4024953E-2</c:v>
                </c:pt>
                <c:pt idx="3805">
                  <c:v>1.4022493E-2</c:v>
                </c:pt>
                <c:pt idx="3806">
                  <c:v>1.4051296E-2</c:v>
                </c:pt>
                <c:pt idx="3807">
                  <c:v>1.4064439E-2</c:v>
                </c:pt>
                <c:pt idx="3808">
                  <c:v>1.4084080000000001E-2</c:v>
                </c:pt>
                <c:pt idx="3809">
                  <c:v>1.4099186999999999E-2</c:v>
                </c:pt>
                <c:pt idx="3810">
                  <c:v>1.4101503E-2</c:v>
                </c:pt>
                <c:pt idx="3811">
                  <c:v>1.4102343E-2</c:v>
                </c:pt>
                <c:pt idx="3812">
                  <c:v>1.4113788E-2</c:v>
                </c:pt>
                <c:pt idx="3813">
                  <c:v>1.413126E-2</c:v>
                </c:pt>
                <c:pt idx="3814">
                  <c:v>1.4133773000000001E-2</c:v>
                </c:pt>
                <c:pt idx="3815">
                  <c:v>1.4122608E-2</c:v>
                </c:pt>
                <c:pt idx="3816">
                  <c:v>1.4114652E-2</c:v>
                </c:pt>
                <c:pt idx="3817">
                  <c:v>1.409523E-2</c:v>
                </c:pt>
                <c:pt idx="3818">
                  <c:v>1.4054564E-2</c:v>
                </c:pt>
                <c:pt idx="3819">
                  <c:v>1.4039941E-2</c:v>
                </c:pt>
                <c:pt idx="3820">
                  <c:v>1.4035348E-2</c:v>
                </c:pt>
                <c:pt idx="3821">
                  <c:v>1.4024451E-2</c:v>
                </c:pt>
                <c:pt idx="3822">
                  <c:v>1.400856E-2</c:v>
                </c:pt>
                <c:pt idx="3823">
                  <c:v>1.3996962999999999E-2</c:v>
                </c:pt>
                <c:pt idx="3824">
                  <c:v>1.3991125E-2</c:v>
                </c:pt>
                <c:pt idx="3825">
                  <c:v>1.3976171000000001E-2</c:v>
                </c:pt>
                <c:pt idx="3826">
                  <c:v>1.3971453E-2</c:v>
                </c:pt>
                <c:pt idx="3827">
                  <c:v>1.3967525999999999E-2</c:v>
                </c:pt>
                <c:pt idx="3828">
                  <c:v>1.3956430000000001E-2</c:v>
                </c:pt>
                <c:pt idx="3829">
                  <c:v>1.3958319E-2</c:v>
                </c:pt>
                <c:pt idx="3830">
                  <c:v>1.3977335E-2</c:v>
                </c:pt>
                <c:pt idx="3831">
                  <c:v>1.3982075E-2</c:v>
                </c:pt>
                <c:pt idx="3832">
                  <c:v>1.397968E-2</c:v>
                </c:pt>
                <c:pt idx="3833">
                  <c:v>1.3990546E-2</c:v>
                </c:pt>
                <c:pt idx="3834">
                  <c:v>1.4008286999999999E-2</c:v>
                </c:pt>
                <c:pt idx="3835">
                  <c:v>1.4026177000000001E-2</c:v>
                </c:pt>
                <c:pt idx="3836">
                  <c:v>1.4032562E-2</c:v>
                </c:pt>
                <c:pt idx="3837">
                  <c:v>1.4038602000000001E-2</c:v>
                </c:pt>
                <c:pt idx="3838">
                  <c:v>1.4037444E-2</c:v>
                </c:pt>
                <c:pt idx="3839">
                  <c:v>1.4027562E-2</c:v>
                </c:pt>
                <c:pt idx="3840">
                  <c:v>1.4033917E-2</c:v>
                </c:pt>
                <c:pt idx="3841">
                  <c:v>1.4035143E-2</c:v>
                </c:pt>
                <c:pt idx="3842">
                  <c:v>1.4049776E-2</c:v>
                </c:pt>
                <c:pt idx="3843">
                  <c:v>1.4061713999999999E-2</c:v>
                </c:pt>
                <c:pt idx="3844">
                  <c:v>1.4082772E-2</c:v>
                </c:pt>
                <c:pt idx="3845">
                  <c:v>1.4110473E-2</c:v>
                </c:pt>
                <c:pt idx="3846">
                  <c:v>1.4133087000000001E-2</c:v>
                </c:pt>
                <c:pt idx="3847">
                  <c:v>1.4147635E-2</c:v>
                </c:pt>
                <c:pt idx="3848">
                  <c:v>1.4168221999999999E-2</c:v>
                </c:pt>
                <c:pt idx="3849">
                  <c:v>1.4187613E-2</c:v>
                </c:pt>
                <c:pt idx="3850">
                  <c:v>1.4227157000000001E-2</c:v>
                </c:pt>
                <c:pt idx="3851">
                  <c:v>1.4262125E-2</c:v>
                </c:pt>
                <c:pt idx="3852">
                  <c:v>1.4288171000000001E-2</c:v>
                </c:pt>
                <c:pt idx="3853">
                  <c:v>1.4294858000000001E-2</c:v>
                </c:pt>
                <c:pt idx="3854">
                  <c:v>1.4304203E-2</c:v>
                </c:pt>
                <c:pt idx="3855">
                  <c:v>1.4312887999999999E-2</c:v>
                </c:pt>
                <c:pt idx="3856">
                  <c:v>1.4329071000000001E-2</c:v>
                </c:pt>
                <c:pt idx="3857">
                  <c:v>1.4355697000000001E-2</c:v>
                </c:pt>
                <c:pt idx="3858">
                  <c:v>1.4365978E-2</c:v>
                </c:pt>
                <c:pt idx="3859">
                  <c:v>1.4374858000000001E-2</c:v>
                </c:pt>
                <c:pt idx="3860">
                  <c:v>1.4418624E-2</c:v>
                </c:pt>
                <c:pt idx="3861">
                  <c:v>1.444587E-2</c:v>
                </c:pt>
                <c:pt idx="3862">
                  <c:v>1.4473616E-2</c:v>
                </c:pt>
                <c:pt idx="3863">
                  <c:v>1.4489975E-2</c:v>
                </c:pt>
                <c:pt idx="3864">
                  <c:v>1.4519438000000001E-2</c:v>
                </c:pt>
                <c:pt idx="3865">
                  <c:v>1.4586192E-2</c:v>
                </c:pt>
                <c:pt idx="3866">
                  <c:v>1.4630198000000001E-2</c:v>
                </c:pt>
                <c:pt idx="3867">
                  <c:v>1.4674233E-2</c:v>
                </c:pt>
                <c:pt idx="3868">
                  <c:v>1.4699858999999999E-2</c:v>
                </c:pt>
                <c:pt idx="3869">
                  <c:v>1.471017E-2</c:v>
                </c:pt>
                <c:pt idx="3870">
                  <c:v>1.471196E-2</c:v>
                </c:pt>
                <c:pt idx="3871">
                  <c:v>1.4723982E-2</c:v>
                </c:pt>
                <c:pt idx="3872">
                  <c:v>1.4746726E-2</c:v>
                </c:pt>
                <c:pt idx="3873">
                  <c:v>1.4760775E-2</c:v>
                </c:pt>
                <c:pt idx="3874">
                  <c:v>1.4785950000000001E-2</c:v>
                </c:pt>
                <c:pt idx="3875">
                  <c:v>1.480218E-2</c:v>
                </c:pt>
                <c:pt idx="3876">
                  <c:v>1.4814145000000001E-2</c:v>
                </c:pt>
                <c:pt idx="3877">
                  <c:v>1.4818618E-2</c:v>
                </c:pt>
                <c:pt idx="3878">
                  <c:v>1.483694E-2</c:v>
                </c:pt>
                <c:pt idx="3879">
                  <c:v>1.4846188999999999E-2</c:v>
                </c:pt>
                <c:pt idx="3880">
                  <c:v>1.4857873000000001E-2</c:v>
                </c:pt>
                <c:pt idx="3881">
                  <c:v>1.4877415999999999E-2</c:v>
                </c:pt>
                <c:pt idx="3882">
                  <c:v>1.4897472E-2</c:v>
                </c:pt>
                <c:pt idx="3883">
                  <c:v>1.4881877999999999E-2</c:v>
                </c:pt>
                <c:pt idx="3884">
                  <c:v>1.4866722000000001E-2</c:v>
                </c:pt>
                <c:pt idx="3885">
                  <c:v>1.4835408E-2</c:v>
                </c:pt>
                <c:pt idx="3886">
                  <c:v>1.4828533E-2</c:v>
                </c:pt>
                <c:pt idx="3887">
                  <c:v>1.4836634E-2</c:v>
                </c:pt>
                <c:pt idx="3888">
                  <c:v>1.4851885E-2</c:v>
                </c:pt>
                <c:pt idx="3889">
                  <c:v>1.4880901E-2</c:v>
                </c:pt>
                <c:pt idx="3890">
                  <c:v>1.4927714999999999E-2</c:v>
                </c:pt>
                <c:pt idx="3891">
                  <c:v>1.4961016000000001E-2</c:v>
                </c:pt>
                <c:pt idx="3892">
                  <c:v>1.5001153999999999E-2</c:v>
                </c:pt>
                <c:pt idx="3893">
                  <c:v>1.5018922000000001E-2</c:v>
                </c:pt>
                <c:pt idx="3894">
                  <c:v>1.504427E-2</c:v>
                </c:pt>
                <c:pt idx="3895">
                  <c:v>1.5082486000000001E-2</c:v>
                </c:pt>
                <c:pt idx="3896">
                  <c:v>1.5111071E-2</c:v>
                </c:pt>
                <c:pt idx="3897">
                  <c:v>1.5148485999999999E-2</c:v>
                </c:pt>
                <c:pt idx="3898">
                  <c:v>1.5173292999999999E-2</c:v>
                </c:pt>
                <c:pt idx="3899">
                  <c:v>1.52018E-2</c:v>
                </c:pt>
                <c:pt idx="3900">
                  <c:v>1.5217766000000001E-2</c:v>
                </c:pt>
                <c:pt idx="3901">
                  <c:v>1.5231361000000001E-2</c:v>
                </c:pt>
                <c:pt idx="3902">
                  <c:v>1.5265684E-2</c:v>
                </c:pt>
                <c:pt idx="3903">
                  <c:v>1.5293123E-2</c:v>
                </c:pt>
                <c:pt idx="3904">
                  <c:v>1.5318442999999999E-2</c:v>
                </c:pt>
                <c:pt idx="3905">
                  <c:v>1.5342712999999999E-2</c:v>
                </c:pt>
                <c:pt idx="3906">
                  <c:v>1.5356373E-2</c:v>
                </c:pt>
                <c:pt idx="3907">
                  <c:v>1.5378304000000001E-2</c:v>
                </c:pt>
                <c:pt idx="3908">
                  <c:v>1.5395783E-2</c:v>
                </c:pt>
                <c:pt idx="3909">
                  <c:v>1.5402514000000001E-2</c:v>
                </c:pt>
                <c:pt idx="3910">
                  <c:v>1.5410303E-2</c:v>
                </c:pt>
                <c:pt idx="3911">
                  <c:v>1.5414402000000001E-2</c:v>
                </c:pt>
                <c:pt idx="3912">
                  <c:v>1.5414607E-2</c:v>
                </c:pt>
                <c:pt idx="3913">
                  <c:v>1.5398698000000001E-2</c:v>
                </c:pt>
                <c:pt idx="3914">
                  <c:v>1.5387784E-2</c:v>
                </c:pt>
                <c:pt idx="3915">
                  <c:v>1.5375817999999999E-2</c:v>
                </c:pt>
                <c:pt idx="3916">
                  <c:v>1.5374578E-2</c:v>
                </c:pt>
                <c:pt idx="3917">
                  <c:v>1.5393095000000001E-2</c:v>
                </c:pt>
                <c:pt idx="3918">
                  <c:v>1.5413524E-2</c:v>
                </c:pt>
                <c:pt idx="3919">
                  <c:v>1.5464896000000001E-2</c:v>
                </c:pt>
                <c:pt idx="3920">
                  <c:v>1.5492245E-2</c:v>
                </c:pt>
                <c:pt idx="3921">
                  <c:v>1.5518145000000001E-2</c:v>
                </c:pt>
                <c:pt idx="3922">
                  <c:v>1.5530551E-2</c:v>
                </c:pt>
                <c:pt idx="3923">
                  <c:v>1.5541876E-2</c:v>
                </c:pt>
                <c:pt idx="3924">
                  <c:v>1.5540905000000001E-2</c:v>
                </c:pt>
                <c:pt idx="3925">
                  <c:v>1.5531352999999999E-2</c:v>
                </c:pt>
                <c:pt idx="3926">
                  <c:v>1.5519419E-2</c:v>
                </c:pt>
                <c:pt idx="3927">
                  <c:v>1.5516484000000001E-2</c:v>
                </c:pt>
                <c:pt idx="3928">
                  <c:v>1.5499160999999999E-2</c:v>
                </c:pt>
                <c:pt idx="3929">
                  <c:v>1.5486758E-2</c:v>
                </c:pt>
                <c:pt idx="3930">
                  <c:v>1.5501549999999999E-2</c:v>
                </c:pt>
                <c:pt idx="3931">
                  <c:v>1.5473811000000001E-2</c:v>
                </c:pt>
                <c:pt idx="3932">
                  <c:v>1.5459937E-2</c:v>
                </c:pt>
                <c:pt idx="3933">
                  <c:v>1.5450607E-2</c:v>
                </c:pt>
                <c:pt idx="3934">
                  <c:v>1.5455738E-2</c:v>
                </c:pt>
                <c:pt idx="3935">
                  <c:v>1.5424929E-2</c:v>
                </c:pt>
                <c:pt idx="3936">
                  <c:v>1.5411018E-2</c:v>
                </c:pt>
                <c:pt idx="3937">
                  <c:v>1.5380807E-2</c:v>
                </c:pt>
                <c:pt idx="3938">
                  <c:v>1.5364387E-2</c:v>
                </c:pt>
                <c:pt idx="3939">
                  <c:v>1.5366263999999999E-2</c:v>
                </c:pt>
                <c:pt idx="3940">
                  <c:v>1.5364726E-2</c:v>
                </c:pt>
                <c:pt idx="3941">
                  <c:v>1.5350592999999999E-2</c:v>
                </c:pt>
                <c:pt idx="3942">
                  <c:v>1.5326964E-2</c:v>
                </c:pt>
                <c:pt idx="3943">
                  <c:v>1.5316033999999999E-2</c:v>
                </c:pt>
                <c:pt idx="3944">
                  <c:v>1.5308506E-2</c:v>
                </c:pt>
                <c:pt idx="3945">
                  <c:v>1.5288062999999999E-2</c:v>
                </c:pt>
                <c:pt idx="3946">
                  <c:v>1.5284605E-2</c:v>
                </c:pt>
                <c:pt idx="3947">
                  <c:v>1.5273900999999999E-2</c:v>
                </c:pt>
                <c:pt idx="3948">
                  <c:v>1.5263346000000001E-2</c:v>
                </c:pt>
                <c:pt idx="3949">
                  <c:v>1.5241597000000001E-2</c:v>
                </c:pt>
                <c:pt idx="3950">
                  <c:v>1.5248632E-2</c:v>
                </c:pt>
                <c:pt idx="3951">
                  <c:v>1.5250408999999999E-2</c:v>
                </c:pt>
                <c:pt idx="3952">
                  <c:v>1.5247139999999999E-2</c:v>
                </c:pt>
                <c:pt idx="3953">
                  <c:v>1.5259092E-2</c:v>
                </c:pt>
                <c:pt idx="3954">
                  <c:v>1.5259742E-2</c:v>
                </c:pt>
                <c:pt idx="3955">
                  <c:v>1.5258697999999999E-2</c:v>
                </c:pt>
                <c:pt idx="3956">
                  <c:v>1.5259095E-2</c:v>
                </c:pt>
                <c:pt idx="3957">
                  <c:v>1.5242313E-2</c:v>
                </c:pt>
                <c:pt idx="3958">
                  <c:v>1.5254222E-2</c:v>
                </c:pt>
                <c:pt idx="3959">
                  <c:v>1.5264649E-2</c:v>
                </c:pt>
                <c:pt idx="3960">
                  <c:v>1.5269529E-2</c:v>
                </c:pt>
                <c:pt idx="3961">
                  <c:v>1.5281263E-2</c:v>
                </c:pt>
                <c:pt idx="3962">
                  <c:v>1.5281436000000001E-2</c:v>
                </c:pt>
                <c:pt idx="3963">
                  <c:v>1.5294818E-2</c:v>
                </c:pt>
                <c:pt idx="3964">
                  <c:v>1.5302948E-2</c:v>
                </c:pt>
                <c:pt idx="3965">
                  <c:v>1.529407E-2</c:v>
                </c:pt>
                <c:pt idx="3966">
                  <c:v>1.5305156E-2</c:v>
                </c:pt>
                <c:pt idx="3967">
                  <c:v>1.5323856E-2</c:v>
                </c:pt>
                <c:pt idx="3968">
                  <c:v>1.5349461E-2</c:v>
                </c:pt>
                <c:pt idx="3969">
                  <c:v>1.5376582999999999E-2</c:v>
                </c:pt>
                <c:pt idx="3970">
                  <c:v>1.5404383000000001E-2</c:v>
                </c:pt>
                <c:pt idx="3971">
                  <c:v>1.5424379E-2</c:v>
                </c:pt>
                <c:pt idx="3972">
                  <c:v>1.5423479E-2</c:v>
                </c:pt>
                <c:pt idx="3973">
                  <c:v>1.5434193000000001E-2</c:v>
                </c:pt>
                <c:pt idx="3974">
                  <c:v>1.5438531E-2</c:v>
                </c:pt>
                <c:pt idx="3975">
                  <c:v>1.5438471E-2</c:v>
                </c:pt>
                <c:pt idx="3976">
                  <c:v>1.5438687E-2</c:v>
                </c:pt>
                <c:pt idx="3977">
                  <c:v>1.5435387E-2</c:v>
                </c:pt>
                <c:pt idx="3978">
                  <c:v>1.5438632000000001E-2</c:v>
                </c:pt>
                <c:pt idx="3979">
                  <c:v>1.5446100000000001E-2</c:v>
                </c:pt>
                <c:pt idx="3980">
                  <c:v>1.5458305E-2</c:v>
                </c:pt>
                <c:pt idx="3981">
                  <c:v>1.5489180999999999E-2</c:v>
                </c:pt>
                <c:pt idx="3982">
                  <c:v>1.5513043000000001E-2</c:v>
                </c:pt>
                <c:pt idx="3983">
                  <c:v>1.5521175999999999E-2</c:v>
                </c:pt>
                <c:pt idx="3984">
                  <c:v>1.554231E-2</c:v>
                </c:pt>
                <c:pt idx="3985">
                  <c:v>1.5553727999999999E-2</c:v>
                </c:pt>
                <c:pt idx="3986">
                  <c:v>1.5567940000000001E-2</c:v>
                </c:pt>
                <c:pt idx="3987">
                  <c:v>1.5576441E-2</c:v>
                </c:pt>
                <c:pt idx="3988">
                  <c:v>1.5596824E-2</c:v>
                </c:pt>
                <c:pt idx="3989">
                  <c:v>1.5615633E-2</c:v>
                </c:pt>
                <c:pt idx="3990">
                  <c:v>1.562678E-2</c:v>
                </c:pt>
                <c:pt idx="3991">
                  <c:v>1.5635445000000001E-2</c:v>
                </c:pt>
                <c:pt idx="3992">
                  <c:v>1.5641872000000001E-2</c:v>
                </c:pt>
                <c:pt idx="3993">
                  <c:v>1.5639106E-2</c:v>
                </c:pt>
                <c:pt idx="3994">
                  <c:v>1.5645929999999999E-2</c:v>
                </c:pt>
                <c:pt idx="3995">
                  <c:v>1.5658212000000001E-2</c:v>
                </c:pt>
                <c:pt idx="3996">
                  <c:v>1.5674705000000001E-2</c:v>
                </c:pt>
                <c:pt idx="3997">
                  <c:v>1.5683137999999999E-2</c:v>
                </c:pt>
                <c:pt idx="3998">
                  <c:v>1.5684584000000001E-2</c:v>
                </c:pt>
                <c:pt idx="3999">
                  <c:v>1.5688614E-2</c:v>
                </c:pt>
                <c:pt idx="4000">
                  <c:v>1.5690288E-2</c:v>
                </c:pt>
                <c:pt idx="4001">
                  <c:v>1.5688789000000002E-2</c:v>
                </c:pt>
                <c:pt idx="4002">
                  <c:v>1.5695007E-2</c:v>
                </c:pt>
                <c:pt idx="4003">
                  <c:v>1.5707978000000001E-2</c:v>
                </c:pt>
                <c:pt idx="4004">
                  <c:v>1.5718816E-2</c:v>
                </c:pt>
                <c:pt idx="4005">
                  <c:v>1.5729736000000001E-2</c:v>
                </c:pt>
                <c:pt idx="4006">
                  <c:v>1.571869E-2</c:v>
                </c:pt>
                <c:pt idx="4007">
                  <c:v>1.5709475000000001E-2</c:v>
                </c:pt>
                <c:pt idx="4008">
                  <c:v>1.5699534000000001E-2</c:v>
                </c:pt>
                <c:pt idx="4009">
                  <c:v>1.5701214000000002E-2</c:v>
                </c:pt>
                <c:pt idx="4010">
                  <c:v>1.5711363999999998E-2</c:v>
                </c:pt>
                <c:pt idx="4011">
                  <c:v>1.5720897000000001E-2</c:v>
                </c:pt>
                <c:pt idx="4012">
                  <c:v>1.5742577000000001E-2</c:v>
                </c:pt>
                <c:pt idx="4013">
                  <c:v>1.5742869999999999E-2</c:v>
                </c:pt>
                <c:pt idx="4014">
                  <c:v>1.5728140000000002E-2</c:v>
                </c:pt>
                <c:pt idx="4015">
                  <c:v>1.5686080000000002E-2</c:v>
                </c:pt>
                <c:pt idx="4016">
                  <c:v>1.5610923000000001E-2</c:v>
                </c:pt>
                <c:pt idx="4017">
                  <c:v>1.5529098999999999E-2</c:v>
                </c:pt>
                <c:pt idx="4018">
                  <c:v>1.5466649000000001E-2</c:v>
                </c:pt>
                <c:pt idx="4019">
                  <c:v>1.5396892000000001E-2</c:v>
                </c:pt>
                <c:pt idx="4020">
                  <c:v>1.5328445E-2</c:v>
                </c:pt>
                <c:pt idx="4021">
                  <c:v>1.5272445000000001E-2</c:v>
                </c:pt>
                <c:pt idx="4022">
                  <c:v>1.5231764E-2</c:v>
                </c:pt>
                <c:pt idx="4023">
                  <c:v>1.5211107E-2</c:v>
                </c:pt>
                <c:pt idx="4024">
                  <c:v>1.5188513000000001E-2</c:v>
                </c:pt>
                <c:pt idx="4025">
                  <c:v>1.520201E-2</c:v>
                </c:pt>
                <c:pt idx="4026">
                  <c:v>1.5183723999999999E-2</c:v>
                </c:pt>
                <c:pt idx="4027">
                  <c:v>1.5176256000000001E-2</c:v>
                </c:pt>
                <c:pt idx="4028">
                  <c:v>1.5164683999999999E-2</c:v>
                </c:pt>
                <c:pt idx="4029">
                  <c:v>1.5163586E-2</c:v>
                </c:pt>
                <c:pt idx="4030">
                  <c:v>1.5148524E-2</c:v>
                </c:pt>
                <c:pt idx="4031">
                  <c:v>1.5151579E-2</c:v>
                </c:pt>
                <c:pt idx="4032">
                  <c:v>1.5154851E-2</c:v>
                </c:pt>
                <c:pt idx="4033">
                  <c:v>1.5142674E-2</c:v>
                </c:pt>
                <c:pt idx="4034">
                  <c:v>1.5149671E-2</c:v>
                </c:pt>
                <c:pt idx="4035">
                  <c:v>1.5142154E-2</c:v>
                </c:pt>
                <c:pt idx="4036">
                  <c:v>1.5129828E-2</c:v>
                </c:pt>
                <c:pt idx="4037">
                  <c:v>1.5102406000000001E-2</c:v>
                </c:pt>
                <c:pt idx="4038">
                  <c:v>1.5086965000000001E-2</c:v>
                </c:pt>
                <c:pt idx="4039">
                  <c:v>1.5064050000000001E-2</c:v>
                </c:pt>
                <c:pt idx="4040">
                  <c:v>1.5052970000000001E-2</c:v>
                </c:pt>
                <c:pt idx="4041">
                  <c:v>1.5046888E-2</c:v>
                </c:pt>
                <c:pt idx="4042">
                  <c:v>1.5043027E-2</c:v>
                </c:pt>
                <c:pt idx="4043">
                  <c:v>1.5045856E-2</c:v>
                </c:pt>
                <c:pt idx="4044">
                  <c:v>1.5051056E-2</c:v>
                </c:pt>
                <c:pt idx="4045">
                  <c:v>1.507085E-2</c:v>
                </c:pt>
                <c:pt idx="4046">
                  <c:v>1.5050157E-2</c:v>
                </c:pt>
                <c:pt idx="4047">
                  <c:v>1.5060413999999999E-2</c:v>
                </c:pt>
                <c:pt idx="4048">
                  <c:v>1.5061054000000001E-2</c:v>
                </c:pt>
                <c:pt idx="4049">
                  <c:v>1.5089583E-2</c:v>
                </c:pt>
                <c:pt idx="4050">
                  <c:v>1.5127827999999999E-2</c:v>
                </c:pt>
                <c:pt idx="4051">
                  <c:v>1.5193768999999999E-2</c:v>
                </c:pt>
                <c:pt idx="4052">
                  <c:v>1.5245365E-2</c:v>
                </c:pt>
                <c:pt idx="4053">
                  <c:v>1.5295028E-2</c:v>
                </c:pt>
                <c:pt idx="4054">
                  <c:v>1.5345195000000001E-2</c:v>
                </c:pt>
                <c:pt idx="4055">
                  <c:v>1.5379983E-2</c:v>
                </c:pt>
                <c:pt idx="4056">
                  <c:v>1.5406954E-2</c:v>
                </c:pt>
                <c:pt idx="4057">
                  <c:v>1.5455674000000001E-2</c:v>
                </c:pt>
                <c:pt idx="4058">
                  <c:v>1.5506083E-2</c:v>
                </c:pt>
                <c:pt idx="4059">
                  <c:v>1.5546841E-2</c:v>
                </c:pt>
                <c:pt idx="4060">
                  <c:v>1.5594818999999999E-2</c:v>
                </c:pt>
                <c:pt idx="4061">
                  <c:v>1.5609443000000001E-2</c:v>
                </c:pt>
                <c:pt idx="4062">
                  <c:v>1.5640352999999999E-2</c:v>
                </c:pt>
                <c:pt idx="4063">
                  <c:v>1.5665565999999999E-2</c:v>
                </c:pt>
                <c:pt idx="4064">
                  <c:v>1.5690269999999999E-2</c:v>
                </c:pt>
                <c:pt idx="4065">
                  <c:v>1.5739079E-2</c:v>
                </c:pt>
                <c:pt idx="4066">
                  <c:v>1.5780794000000001E-2</c:v>
                </c:pt>
                <c:pt idx="4067">
                  <c:v>1.5826725999999999E-2</c:v>
                </c:pt>
                <c:pt idx="4068">
                  <c:v>1.5864764999999999E-2</c:v>
                </c:pt>
                <c:pt idx="4069">
                  <c:v>1.5900549999999999E-2</c:v>
                </c:pt>
                <c:pt idx="4070">
                  <c:v>1.5910838E-2</c:v>
                </c:pt>
                <c:pt idx="4071">
                  <c:v>1.5936736E-2</c:v>
                </c:pt>
                <c:pt idx="4072">
                  <c:v>1.5961640999999999E-2</c:v>
                </c:pt>
                <c:pt idx="4073">
                  <c:v>1.5996173999999998E-2</c:v>
                </c:pt>
                <c:pt idx="4074">
                  <c:v>1.600849E-2</c:v>
                </c:pt>
                <c:pt idx="4075">
                  <c:v>1.6023111999999999E-2</c:v>
                </c:pt>
                <c:pt idx="4076">
                  <c:v>1.6047138999999998E-2</c:v>
                </c:pt>
                <c:pt idx="4077">
                  <c:v>1.6071612999999998E-2</c:v>
                </c:pt>
                <c:pt idx="4078">
                  <c:v>1.6091969000000001E-2</c:v>
                </c:pt>
                <c:pt idx="4079">
                  <c:v>1.6107357999999999E-2</c:v>
                </c:pt>
                <c:pt idx="4080">
                  <c:v>1.6107094999999998E-2</c:v>
                </c:pt>
                <c:pt idx="4081">
                  <c:v>1.6119408000000002E-2</c:v>
                </c:pt>
                <c:pt idx="4082">
                  <c:v>1.6131952000000001E-2</c:v>
                </c:pt>
                <c:pt idx="4083">
                  <c:v>1.6145321000000001E-2</c:v>
                </c:pt>
                <c:pt idx="4084">
                  <c:v>1.6159857999999999E-2</c:v>
                </c:pt>
                <c:pt idx="4085">
                  <c:v>1.6174912999999999E-2</c:v>
                </c:pt>
                <c:pt idx="4086">
                  <c:v>1.6200533E-2</c:v>
                </c:pt>
                <c:pt idx="4087">
                  <c:v>1.6230881999999999E-2</c:v>
                </c:pt>
                <c:pt idx="4088">
                  <c:v>1.6266217999999999E-2</c:v>
                </c:pt>
                <c:pt idx="4089">
                  <c:v>1.6278669999999999E-2</c:v>
                </c:pt>
                <c:pt idx="4090">
                  <c:v>1.6288405999999998E-2</c:v>
                </c:pt>
                <c:pt idx="4091">
                  <c:v>1.6310247999999999E-2</c:v>
                </c:pt>
                <c:pt idx="4092">
                  <c:v>1.6320629E-2</c:v>
                </c:pt>
                <c:pt idx="4093">
                  <c:v>1.6321173000000001E-2</c:v>
                </c:pt>
                <c:pt idx="4094">
                  <c:v>1.6320141999999999E-2</c:v>
                </c:pt>
                <c:pt idx="4095">
                  <c:v>1.6323623999999998E-2</c:v>
                </c:pt>
                <c:pt idx="4096">
                  <c:v>1.6319534E-2</c:v>
                </c:pt>
                <c:pt idx="4097">
                  <c:v>1.6320841999999999E-2</c:v>
                </c:pt>
                <c:pt idx="4098">
                  <c:v>1.6313738000000001E-2</c:v>
                </c:pt>
                <c:pt idx="4099">
                  <c:v>1.6293852000000001E-2</c:v>
                </c:pt>
                <c:pt idx="4100">
                  <c:v>1.6261233999999999E-2</c:v>
                </c:pt>
                <c:pt idx="4101">
                  <c:v>1.6238648000000001E-2</c:v>
                </c:pt>
                <c:pt idx="4102">
                  <c:v>1.6225646E-2</c:v>
                </c:pt>
                <c:pt idx="4103">
                  <c:v>1.6235283E-2</c:v>
                </c:pt>
                <c:pt idx="4104">
                  <c:v>1.6234505999999999E-2</c:v>
                </c:pt>
                <c:pt idx="4105">
                  <c:v>1.6222464999999998E-2</c:v>
                </c:pt>
                <c:pt idx="4106">
                  <c:v>1.6210071999999999E-2</c:v>
                </c:pt>
                <c:pt idx="4107">
                  <c:v>1.6198872E-2</c:v>
                </c:pt>
                <c:pt idx="4108">
                  <c:v>1.6202409000000001E-2</c:v>
                </c:pt>
                <c:pt idx="4109">
                  <c:v>1.6202892E-2</c:v>
                </c:pt>
                <c:pt idx="4110">
                  <c:v>1.6184866999999999E-2</c:v>
                </c:pt>
                <c:pt idx="4111">
                  <c:v>1.6186204999999999E-2</c:v>
                </c:pt>
                <c:pt idx="4112">
                  <c:v>1.6193608000000002E-2</c:v>
                </c:pt>
                <c:pt idx="4113">
                  <c:v>1.6211161000000002E-2</c:v>
                </c:pt>
                <c:pt idx="4114">
                  <c:v>1.6209576999999999E-2</c:v>
                </c:pt>
                <c:pt idx="4115">
                  <c:v>1.6191574E-2</c:v>
                </c:pt>
                <c:pt idx="4116">
                  <c:v>1.6188903000000001E-2</c:v>
                </c:pt>
                <c:pt idx="4117">
                  <c:v>1.6192804000000002E-2</c:v>
                </c:pt>
                <c:pt idx="4118">
                  <c:v>1.6185438E-2</c:v>
                </c:pt>
                <c:pt idx="4119">
                  <c:v>1.6186228E-2</c:v>
                </c:pt>
                <c:pt idx="4120">
                  <c:v>1.6185979E-2</c:v>
                </c:pt>
                <c:pt idx="4121">
                  <c:v>1.6193954999999999E-2</c:v>
                </c:pt>
                <c:pt idx="4122">
                  <c:v>1.6205097000000002E-2</c:v>
                </c:pt>
                <c:pt idx="4123">
                  <c:v>1.6211260000000002E-2</c:v>
                </c:pt>
                <c:pt idx="4124">
                  <c:v>1.6201776000000001E-2</c:v>
                </c:pt>
                <c:pt idx="4125">
                  <c:v>1.6205527000000001E-2</c:v>
                </c:pt>
                <c:pt idx="4126">
                  <c:v>1.6210564E-2</c:v>
                </c:pt>
                <c:pt idx="4127">
                  <c:v>1.6213562000000001E-2</c:v>
                </c:pt>
                <c:pt idx="4128">
                  <c:v>1.6209412999999999E-2</c:v>
                </c:pt>
                <c:pt idx="4129">
                  <c:v>1.6200605999999999E-2</c:v>
                </c:pt>
                <c:pt idx="4130">
                  <c:v>1.6189652999999998E-2</c:v>
                </c:pt>
                <c:pt idx="4131">
                  <c:v>1.6171879E-2</c:v>
                </c:pt>
                <c:pt idx="4132">
                  <c:v>1.6173835000000001E-2</c:v>
                </c:pt>
                <c:pt idx="4133">
                  <c:v>1.6197046999999999E-2</c:v>
                </c:pt>
                <c:pt idx="4134">
                  <c:v>1.6209966999999999E-2</c:v>
                </c:pt>
                <c:pt idx="4135">
                  <c:v>1.6227526999999999E-2</c:v>
                </c:pt>
                <c:pt idx="4136">
                  <c:v>1.6231348999999999E-2</c:v>
                </c:pt>
                <c:pt idx="4137">
                  <c:v>1.6228513E-2</c:v>
                </c:pt>
                <c:pt idx="4138">
                  <c:v>1.6216567000000001E-2</c:v>
                </c:pt>
                <c:pt idx="4139">
                  <c:v>1.6189142E-2</c:v>
                </c:pt>
                <c:pt idx="4140">
                  <c:v>1.6158002000000001E-2</c:v>
                </c:pt>
                <c:pt idx="4141">
                  <c:v>1.6126311000000001E-2</c:v>
                </c:pt>
                <c:pt idx="4142">
                  <c:v>1.6098066000000001E-2</c:v>
                </c:pt>
                <c:pt idx="4143">
                  <c:v>1.6069487E-2</c:v>
                </c:pt>
                <c:pt idx="4144">
                  <c:v>1.6041904999999999E-2</c:v>
                </c:pt>
                <c:pt idx="4145">
                  <c:v>1.6007111000000001E-2</c:v>
                </c:pt>
                <c:pt idx="4146">
                  <c:v>1.5949168E-2</c:v>
                </c:pt>
                <c:pt idx="4147">
                  <c:v>1.5905135000000001E-2</c:v>
                </c:pt>
                <c:pt idx="4148">
                  <c:v>1.5851206E-2</c:v>
                </c:pt>
                <c:pt idx="4149">
                  <c:v>1.5815016000000001E-2</c:v>
                </c:pt>
                <c:pt idx="4150">
                  <c:v>1.5780255E-2</c:v>
                </c:pt>
                <c:pt idx="4151">
                  <c:v>1.5767236E-2</c:v>
                </c:pt>
                <c:pt idx="4152">
                  <c:v>1.5746522999999998E-2</c:v>
                </c:pt>
                <c:pt idx="4153">
                  <c:v>1.5727155E-2</c:v>
                </c:pt>
                <c:pt idx="4154">
                  <c:v>1.5708824E-2</c:v>
                </c:pt>
                <c:pt idx="4155">
                  <c:v>1.5702167999999999E-2</c:v>
                </c:pt>
                <c:pt idx="4156">
                  <c:v>1.5695183000000001E-2</c:v>
                </c:pt>
                <c:pt idx="4157">
                  <c:v>1.5673967E-2</c:v>
                </c:pt>
                <c:pt idx="4158">
                  <c:v>1.5645263E-2</c:v>
                </c:pt>
                <c:pt idx="4159">
                  <c:v>1.5624157E-2</c:v>
                </c:pt>
                <c:pt idx="4160">
                  <c:v>1.5601653E-2</c:v>
                </c:pt>
                <c:pt idx="4161">
                  <c:v>1.5572473E-2</c:v>
                </c:pt>
                <c:pt idx="4162">
                  <c:v>1.5551105000000001E-2</c:v>
                </c:pt>
                <c:pt idx="4163">
                  <c:v>1.552573E-2</c:v>
                </c:pt>
                <c:pt idx="4164">
                  <c:v>1.5532822999999999E-2</c:v>
                </c:pt>
                <c:pt idx="4165">
                  <c:v>1.5527401999999999E-2</c:v>
                </c:pt>
                <c:pt idx="4166">
                  <c:v>1.551432E-2</c:v>
                </c:pt>
                <c:pt idx="4167">
                  <c:v>1.5478901E-2</c:v>
                </c:pt>
                <c:pt idx="4168">
                  <c:v>1.5441406E-2</c:v>
                </c:pt>
                <c:pt idx="4169">
                  <c:v>1.5388155000000001E-2</c:v>
                </c:pt>
                <c:pt idx="4170">
                  <c:v>1.5348389E-2</c:v>
                </c:pt>
                <c:pt idx="4171">
                  <c:v>1.5324581E-2</c:v>
                </c:pt>
                <c:pt idx="4172">
                  <c:v>1.5302091E-2</c:v>
                </c:pt>
                <c:pt idx="4173">
                  <c:v>1.5296112000000001E-2</c:v>
                </c:pt>
                <c:pt idx="4174">
                  <c:v>1.5284239E-2</c:v>
                </c:pt>
                <c:pt idx="4175">
                  <c:v>1.5266617999999999E-2</c:v>
                </c:pt>
                <c:pt idx="4176">
                  <c:v>1.5242172999999999E-2</c:v>
                </c:pt>
                <c:pt idx="4177">
                  <c:v>1.5237407999999999E-2</c:v>
                </c:pt>
                <c:pt idx="4178">
                  <c:v>1.5234522E-2</c:v>
                </c:pt>
                <c:pt idx="4179">
                  <c:v>1.5214939E-2</c:v>
                </c:pt>
                <c:pt idx="4180">
                  <c:v>1.5184197999999999E-2</c:v>
                </c:pt>
                <c:pt idx="4181">
                  <c:v>1.5167762E-2</c:v>
                </c:pt>
                <c:pt idx="4182">
                  <c:v>1.5143200000000001E-2</c:v>
                </c:pt>
                <c:pt idx="4183">
                  <c:v>1.5111235000000001E-2</c:v>
                </c:pt>
                <c:pt idx="4184">
                  <c:v>1.5074878999999999E-2</c:v>
                </c:pt>
                <c:pt idx="4185">
                  <c:v>1.5056081000000001E-2</c:v>
                </c:pt>
                <c:pt idx="4186">
                  <c:v>1.5045338E-2</c:v>
                </c:pt>
                <c:pt idx="4187">
                  <c:v>1.5029693E-2</c:v>
                </c:pt>
                <c:pt idx="4188">
                  <c:v>1.5019988E-2</c:v>
                </c:pt>
                <c:pt idx="4189">
                  <c:v>1.5008380999999999E-2</c:v>
                </c:pt>
                <c:pt idx="4190">
                  <c:v>1.4999581E-2</c:v>
                </c:pt>
                <c:pt idx="4191">
                  <c:v>1.4999861999999999E-2</c:v>
                </c:pt>
                <c:pt idx="4192">
                  <c:v>1.5000229E-2</c:v>
                </c:pt>
                <c:pt idx="4193">
                  <c:v>1.4998757E-2</c:v>
                </c:pt>
                <c:pt idx="4194">
                  <c:v>1.5000246E-2</c:v>
                </c:pt>
                <c:pt idx="4195">
                  <c:v>1.5001666E-2</c:v>
                </c:pt>
                <c:pt idx="4196">
                  <c:v>1.4996446E-2</c:v>
                </c:pt>
                <c:pt idx="4197">
                  <c:v>1.4998811000000001E-2</c:v>
                </c:pt>
                <c:pt idx="4198">
                  <c:v>1.4998526999999999E-2</c:v>
                </c:pt>
                <c:pt idx="4199">
                  <c:v>1.4958321E-2</c:v>
                </c:pt>
              </c:numCache>
            </c:numRef>
          </c:val>
          <c:smooth val="0"/>
          <c:extLst>
            <c:ext xmlns:c16="http://schemas.microsoft.com/office/drawing/2014/chart" uri="{C3380CC4-5D6E-409C-BE32-E72D297353CC}">
              <c16:uniqueId val="{00000004-B7DC-44E8-9D34-858C6F26CBCB}"/>
            </c:ext>
          </c:extLst>
        </c:ser>
        <c:dLbls>
          <c:showLegendKey val="0"/>
          <c:showVal val="0"/>
          <c:showCatName val="0"/>
          <c:showSerName val="0"/>
          <c:showPercent val="0"/>
          <c:showBubbleSize val="0"/>
        </c:dLbls>
        <c:marker val="1"/>
        <c:smooth val="0"/>
        <c:axId val="556775664"/>
        <c:axId val="637203640"/>
      </c:lineChart>
      <c:dateAx>
        <c:axId val="652178384"/>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zh-CN"/>
          </a:p>
        </c:txPr>
        <c:crossAx val="652180624"/>
        <c:crosses val="autoZero"/>
        <c:auto val="1"/>
        <c:lblOffset val="100"/>
        <c:baseTimeUnit val="days"/>
        <c:majorUnit val="2"/>
        <c:majorTimeUnit val="years"/>
      </c:dateAx>
      <c:valAx>
        <c:axId val="652180624"/>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zh-CN"/>
          </a:p>
        </c:txPr>
        <c:crossAx val="652178384"/>
        <c:crosses val="autoZero"/>
        <c:crossBetween val="between"/>
      </c:valAx>
      <c:valAx>
        <c:axId val="637203640"/>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zh-CN"/>
          </a:p>
        </c:txPr>
        <c:crossAx val="556775664"/>
        <c:crosses val="max"/>
        <c:crossBetween val="between"/>
      </c:valAx>
      <c:dateAx>
        <c:axId val="556775664"/>
        <c:scaling>
          <c:orientation val="minMax"/>
        </c:scaling>
        <c:delete val="1"/>
        <c:axPos val="b"/>
        <c:numFmt formatCode="m/d/yyyy" sourceLinked="1"/>
        <c:majorTickMark val="out"/>
        <c:minorTickMark val="none"/>
        <c:tickLblPos val="nextTo"/>
        <c:crossAx val="637203640"/>
        <c:crosses val="autoZero"/>
        <c:auto val="1"/>
        <c:lblOffset val="100"/>
        <c:baseTimeUnit val="days"/>
      </c:date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pPr>
      <a:endParaRPr lang="zh-CN"/>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975075671420246E-2"/>
          <c:y val="3.9764905645965999E-2"/>
          <c:w val="0.83513208034457609"/>
          <c:h val="0.65625323759041998"/>
        </c:manualLayout>
      </c:layout>
      <c:barChart>
        <c:barDir val="col"/>
        <c:grouping val="clustered"/>
        <c:varyColors val="0"/>
        <c:ser>
          <c:idx val="1"/>
          <c:order val="1"/>
          <c:tx>
            <c:strRef>
              <c:f>'v60'!$F$1</c:f>
              <c:strCache>
                <c:ptCount val="1"/>
                <c:pt idx="0">
                  <c:v>close price</c:v>
                </c:pt>
              </c:strCache>
            </c:strRef>
          </c:tx>
          <c:spPr>
            <a:solidFill>
              <a:schemeClr val="bg2">
                <a:lumMod val="75000"/>
              </a:schemeClr>
            </a:solidFill>
            <a:ln>
              <a:noFill/>
            </a:ln>
            <a:effectLst/>
          </c:spPr>
          <c:invertIfNegative val="0"/>
          <c:cat>
            <c:numRef>
              <c:f>'v60'!$A$2:$A$4916</c:f>
              <c:numCache>
                <c:formatCode>m/d/yyyy</c:formatCode>
                <c:ptCount val="4915"/>
                <c:pt idx="0">
                  <c:v>37358</c:v>
                </c:pt>
                <c:pt idx="1">
                  <c:v>37361</c:v>
                </c:pt>
                <c:pt idx="2">
                  <c:v>37362</c:v>
                </c:pt>
                <c:pt idx="3">
                  <c:v>37363</c:v>
                </c:pt>
                <c:pt idx="4">
                  <c:v>37364</c:v>
                </c:pt>
                <c:pt idx="5">
                  <c:v>37365</c:v>
                </c:pt>
                <c:pt idx="6">
                  <c:v>37368</c:v>
                </c:pt>
                <c:pt idx="7">
                  <c:v>37369</c:v>
                </c:pt>
                <c:pt idx="8">
                  <c:v>37370</c:v>
                </c:pt>
                <c:pt idx="9">
                  <c:v>37371</c:v>
                </c:pt>
                <c:pt idx="10">
                  <c:v>37372</c:v>
                </c:pt>
                <c:pt idx="11">
                  <c:v>37375</c:v>
                </c:pt>
                <c:pt idx="12">
                  <c:v>37376</c:v>
                </c:pt>
                <c:pt idx="13">
                  <c:v>37384</c:v>
                </c:pt>
                <c:pt idx="14">
                  <c:v>37385</c:v>
                </c:pt>
                <c:pt idx="15">
                  <c:v>37386</c:v>
                </c:pt>
                <c:pt idx="16">
                  <c:v>37389</c:v>
                </c:pt>
                <c:pt idx="17">
                  <c:v>37390</c:v>
                </c:pt>
                <c:pt idx="18">
                  <c:v>37391</c:v>
                </c:pt>
                <c:pt idx="19">
                  <c:v>37392</c:v>
                </c:pt>
                <c:pt idx="20">
                  <c:v>37393</c:v>
                </c:pt>
                <c:pt idx="21">
                  <c:v>37396</c:v>
                </c:pt>
                <c:pt idx="22">
                  <c:v>37397</c:v>
                </c:pt>
                <c:pt idx="23">
                  <c:v>37398</c:v>
                </c:pt>
                <c:pt idx="24">
                  <c:v>37399</c:v>
                </c:pt>
                <c:pt idx="25">
                  <c:v>37400</c:v>
                </c:pt>
                <c:pt idx="26">
                  <c:v>37403</c:v>
                </c:pt>
                <c:pt idx="27">
                  <c:v>37404</c:v>
                </c:pt>
                <c:pt idx="28">
                  <c:v>37405</c:v>
                </c:pt>
                <c:pt idx="29">
                  <c:v>37406</c:v>
                </c:pt>
                <c:pt idx="30">
                  <c:v>37407</c:v>
                </c:pt>
                <c:pt idx="31">
                  <c:v>37410</c:v>
                </c:pt>
                <c:pt idx="32">
                  <c:v>37411</c:v>
                </c:pt>
                <c:pt idx="33">
                  <c:v>37412</c:v>
                </c:pt>
                <c:pt idx="34">
                  <c:v>37413</c:v>
                </c:pt>
                <c:pt idx="35">
                  <c:v>37414</c:v>
                </c:pt>
                <c:pt idx="36">
                  <c:v>37417</c:v>
                </c:pt>
                <c:pt idx="37">
                  <c:v>37418</c:v>
                </c:pt>
                <c:pt idx="38">
                  <c:v>37419</c:v>
                </c:pt>
                <c:pt idx="39">
                  <c:v>37420</c:v>
                </c:pt>
                <c:pt idx="40">
                  <c:v>37421</c:v>
                </c:pt>
                <c:pt idx="41">
                  <c:v>37424</c:v>
                </c:pt>
                <c:pt idx="42">
                  <c:v>37425</c:v>
                </c:pt>
                <c:pt idx="43">
                  <c:v>37426</c:v>
                </c:pt>
                <c:pt idx="44">
                  <c:v>37427</c:v>
                </c:pt>
                <c:pt idx="45">
                  <c:v>37428</c:v>
                </c:pt>
                <c:pt idx="46">
                  <c:v>37431</c:v>
                </c:pt>
                <c:pt idx="47">
                  <c:v>37432</c:v>
                </c:pt>
                <c:pt idx="48">
                  <c:v>37433</c:v>
                </c:pt>
                <c:pt idx="49">
                  <c:v>37434</c:v>
                </c:pt>
                <c:pt idx="50">
                  <c:v>37435</c:v>
                </c:pt>
                <c:pt idx="51">
                  <c:v>37438</c:v>
                </c:pt>
                <c:pt idx="52">
                  <c:v>37439</c:v>
                </c:pt>
                <c:pt idx="53">
                  <c:v>37440</c:v>
                </c:pt>
                <c:pt idx="54">
                  <c:v>37441</c:v>
                </c:pt>
                <c:pt idx="55">
                  <c:v>37442</c:v>
                </c:pt>
                <c:pt idx="56">
                  <c:v>37445</c:v>
                </c:pt>
                <c:pt idx="57">
                  <c:v>37446</c:v>
                </c:pt>
                <c:pt idx="58">
                  <c:v>37447</c:v>
                </c:pt>
                <c:pt idx="59">
                  <c:v>37448</c:v>
                </c:pt>
                <c:pt idx="60">
                  <c:v>37449</c:v>
                </c:pt>
                <c:pt idx="61">
                  <c:v>37452</c:v>
                </c:pt>
                <c:pt idx="62">
                  <c:v>37453</c:v>
                </c:pt>
                <c:pt idx="63">
                  <c:v>37454</c:v>
                </c:pt>
                <c:pt idx="64">
                  <c:v>37455</c:v>
                </c:pt>
                <c:pt idx="65">
                  <c:v>37456</c:v>
                </c:pt>
                <c:pt idx="66">
                  <c:v>37459</c:v>
                </c:pt>
                <c:pt idx="67">
                  <c:v>37460</c:v>
                </c:pt>
                <c:pt idx="68">
                  <c:v>37461</c:v>
                </c:pt>
                <c:pt idx="69">
                  <c:v>37462</c:v>
                </c:pt>
                <c:pt idx="70">
                  <c:v>37463</c:v>
                </c:pt>
                <c:pt idx="71">
                  <c:v>37466</c:v>
                </c:pt>
                <c:pt idx="72">
                  <c:v>37467</c:v>
                </c:pt>
                <c:pt idx="73">
                  <c:v>37468</c:v>
                </c:pt>
                <c:pt idx="74">
                  <c:v>37469</c:v>
                </c:pt>
                <c:pt idx="75">
                  <c:v>37470</c:v>
                </c:pt>
                <c:pt idx="76">
                  <c:v>37473</c:v>
                </c:pt>
                <c:pt idx="77">
                  <c:v>37474</c:v>
                </c:pt>
                <c:pt idx="78">
                  <c:v>37475</c:v>
                </c:pt>
                <c:pt idx="79">
                  <c:v>37476</c:v>
                </c:pt>
                <c:pt idx="80">
                  <c:v>37477</c:v>
                </c:pt>
                <c:pt idx="81">
                  <c:v>37480</c:v>
                </c:pt>
                <c:pt idx="82">
                  <c:v>37481</c:v>
                </c:pt>
                <c:pt idx="83">
                  <c:v>37482</c:v>
                </c:pt>
                <c:pt idx="84">
                  <c:v>37483</c:v>
                </c:pt>
                <c:pt idx="85">
                  <c:v>37484</c:v>
                </c:pt>
                <c:pt idx="86">
                  <c:v>37487</c:v>
                </c:pt>
                <c:pt idx="87">
                  <c:v>37488</c:v>
                </c:pt>
                <c:pt idx="88">
                  <c:v>37489</c:v>
                </c:pt>
                <c:pt idx="89">
                  <c:v>37490</c:v>
                </c:pt>
                <c:pt idx="90">
                  <c:v>37491</c:v>
                </c:pt>
                <c:pt idx="91">
                  <c:v>37494</c:v>
                </c:pt>
                <c:pt idx="92">
                  <c:v>37495</c:v>
                </c:pt>
                <c:pt idx="93">
                  <c:v>37496</c:v>
                </c:pt>
                <c:pt idx="94">
                  <c:v>37497</c:v>
                </c:pt>
                <c:pt idx="95">
                  <c:v>37498</c:v>
                </c:pt>
                <c:pt idx="96">
                  <c:v>37501</c:v>
                </c:pt>
                <c:pt idx="97">
                  <c:v>37502</c:v>
                </c:pt>
                <c:pt idx="98">
                  <c:v>37503</c:v>
                </c:pt>
                <c:pt idx="99">
                  <c:v>37504</c:v>
                </c:pt>
                <c:pt idx="100">
                  <c:v>37505</c:v>
                </c:pt>
                <c:pt idx="101">
                  <c:v>37508</c:v>
                </c:pt>
                <c:pt idx="102">
                  <c:v>37509</c:v>
                </c:pt>
                <c:pt idx="103">
                  <c:v>37510</c:v>
                </c:pt>
                <c:pt idx="104">
                  <c:v>37511</c:v>
                </c:pt>
                <c:pt idx="105">
                  <c:v>37512</c:v>
                </c:pt>
                <c:pt idx="106">
                  <c:v>37515</c:v>
                </c:pt>
                <c:pt idx="107">
                  <c:v>37516</c:v>
                </c:pt>
                <c:pt idx="108">
                  <c:v>37517</c:v>
                </c:pt>
                <c:pt idx="109">
                  <c:v>37518</c:v>
                </c:pt>
                <c:pt idx="110">
                  <c:v>37519</c:v>
                </c:pt>
                <c:pt idx="111">
                  <c:v>37522</c:v>
                </c:pt>
                <c:pt idx="112">
                  <c:v>37523</c:v>
                </c:pt>
                <c:pt idx="113">
                  <c:v>37524</c:v>
                </c:pt>
                <c:pt idx="114">
                  <c:v>37525</c:v>
                </c:pt>
                <c:pt idx="115">
                  <c:v>37526</c:v>
                </c:pt>
                <c:pt idx="116">
                  <c:v>37537</c:v>
                </c:pt>
                <c:pt idx="117">
                  <c:v>37538</c:v>
                </c:pt>
                <c:pt idx="118">
                  <c:v>37539</c:v>
                </c:pt>
                <c:pt idx="119">
                  <c:v>37540</c:v>
                </c:pt>
                <c:pt idx="120">
                  <c:v>37543</c:v>
                </c:pt>
                <c:pt idx="121">
                  <c:v>37544</c:v>
                </c:pt>
                <c:pt idx="122">
                  <c:v>37545</c:v>
                </c:pt>
                <c:pt idx="123">
                  <c:v>37546</c:v>
                </c:pt>
                <c:pt idx="124">
                  <c:v>37547</c:v>
                </c:pt>
                <c:pt idx="125">
                  <c:v>37550</c:v>
                </c:pt>
                <c:pt idx="126">
                  <c:v>37551</c:v>
                </c:pt>
                <c:pt idx="127">
                  <c:v>37552</c:v>
                </c:pt>
                <c:pt idx="128">
                  <c:v>37553</c:v>
                </c:pt>
                <c:pt idx="129">
                  <c:v>37554</c:v>
                </c:pt>
                <c:pt idx="130">
                  <c:v>37557</c:v>
                </c:pt>
                <c:pt idx="131">
                  <c:v>37558</c:v>
                </c:pt>
                <c:pt idx="132">
                  <c:v>37559</c:v>
                </c:pt>
                <c:pt idx="133">
                  <c:v>37560</c:v>
                </c:pt>
                <c:pt idx="134">
                  <c:v>37561</c:v>
                </c:pt>
                <c:pt idx="135">
                  <c:v>37564</c:v>
                </c:pt>
                <c:pt idx="136">
                  <c:v>37565</c:v>
                </c:pt>
                <c:pt idx="137">
                  <c:v>37566</c:v>
                </c:pt>
                <c:pt idx="138">
                  <c:v>37567</c:v>
                </c:pt>
                <c:pt idx="139">
                  <c:v>37568</c:v>
                </c:pt>
                <c:pt idx="140">
                  <c:v>37571</c:v>
                </c:pt>
                <c:pt idx="141">
                  <c:v>37572</c:v>
                </c:pt>
                <c:pt idx="142">
                  <c:v>37573</c:v>
                </c:pt>
                <c:pt idx="143">
                  <c:v>37574</c:v>
                </c:pt>
                <c:pt idx="144">
                  <c:v>37575</c:v>
                </c:pt>
                <c:pt idx="145">
                  <c:v>37578</c:v>
                </c:pt>
                <c:pt idx="146">
                  <c:v>37579</c:v>
                </c:pt>
                <c:pt idx="147">
                  <c:v>37580</c:v>
                </c:pt>
                <c:pt idx="148">
                  <c:v>37581</c:v>
                </c:pt>
                <c:pt idx="149">
                  <c:v>37582</c:v>
                </c:pt>
                <c:pt idx="150">
                  <c:v>37585</c:v>
                </c:pt>
                <c:pt idx="151">
                  <c:v>37586</c:v>
                </c:pt>
                <c:pt idx="152">
                  <c:v>37587</c:v>
                </c:pt>
                <c:pt idx="153">
                  <c:v>37588</c:v>
                </c:pt>
                <c:pt idx="154">
                  <c:v>37589</c:v>
                </c:pt>
                <c:pt idx="155">
                  <c:v>37592</c:v>
                </c:pt>
                <c:pt idx="156">
                  <c:v>37593</c:v>
                </c:pt>
                <c:pt idx="157">
                  <c:v>37594</c:v>
                </c:pt>
                <c:pt idx="158">
                  <c:v>37595</c:v>
                </c:pt>
                <c:pt idx="159">
                  <c:v>37596</c:v>
                </c:pt>
                <c:pt idx="160">
                  <c:v>37599</c:v>
                </c:pt>
                <c:pt idx="161">
                  <c:v>37600</c:v>
                </c:pt>
                <c:pt idx="162">
                  <c:v>37601</c:v>
                </c:pt>
                <c:pt idx="163">
                  <c:v>37602</c:v>
                </c:pt>
                <c:pt idx="164">
                  <c:v>37603</c:v>
                </c:pt>
                <c:pt idx="165">
                  <c:v>37606</c:v>
                </c:pt>
                <c:pt idx="166">
                  <c:v>37607</c:v>
                </c:pt>
                <c:pt idx="167">
                  <c:v>37608</c:v>
                </c:pt>
                <c:pt idx="168">
                  <c:v>37609</c:v>
                </c:pt>
                <c:pt idx="169">
                  <c:v>37610</c:v>
                </c:pt>
                <c:pt idx="170">
                  <c:v>37613</c:v>
                </c:pt>
                <c:pt idx="171">
                  <c:v>37614</c:v>
                </c:pt>
                <c:pt idx="172">
                  <c:v>37615</c:v>
                </c:pt>
                <c:pt idx="173">
                  <c:v>37616</c:v>
                </c:pt>
                <c:pt idx="174">
                  <c:v>37617</c:v>
                </c:pt>
                <c:pt idx="175">
                  <c:v>37620</c:v>
                </c:pt>
                <c:pt idx="176">
                  <c:v>37621</c:v>
                </c:pt>
                <c:pt idx="177">
                  <c:v>37623</c:v>
                </c:pt>
                <c:pt idx="178">
                  <c:v>37624</c:v>
                </c:pt>
                <c:pt idx="179">
                  <c:v>37627</c:v>
                </c:pt>
                <c:pt idx="180">
                  <c:v>37628</c:v>
                </c:pt>
                <c:pt idx="181">
                  <c:v>37629</c:v>
                </c:pt>
                <c:pt idx="182">
                  <c:v>37630</c:v>
                </c:pt>
                <c:pt idx="183">
                  <c:v>37631</c:v>
                </c:pt>
                <c:pt idx="184">
                  <c:v>37634</c:v>
                </c:pt>
                <c:pt idx="185">
                  <c:v>37635</c:v>
                </c:pt>
                <c:pt idx="186">
                  <c:v>37636</c:v>
                </c:pt>
                <c:pt idx="187">
                  <c:v>37637</c:v>
                </c:pt>
                <c:pt idx="188">
                  <c:v>37638</c:v>
                </c:pt>
                <c:pt idx="189">
                  <c:v>37641</c:v>
                </c:pt>
                <c:pt idx="190">
                  <c:v>37642</c:v>
                </c:pt>
                <c:pt idx="191">
                  <c:v>37643</c:v>
                </c:pt>
                <c:pt idx="192">
                  <c:v>37644</c:v>
                </c:pt>
                <c:pt idx="193">
                  <c:v>37645</c:v>
                </c:pt>
                <c:pt idx="194">
                  <c:v>37648</c:v>
                </c:pt>
                <c:pt idx="195">
                  <c:v>37649</c:v>
                </c:pt>
                <c:pt idx="196">
                  <c:v>37650</c:v>
                </c:pt>
                <c:pt idx="197">
                  <c:v>37662</c:v>
                </c:pt>
                <c:pt idx="198">
                  <c:v>37663</c:v>
                </c:pt>
                <c:pt idx="199">
                  <c:v>37664</c:v>
                </c:pt>
                <c:pt idx="200">
                  <c:v>37665</c:v>
                </c:pt>
                <c:pt idx="201">
                  <c:v>37666</c:v>
                </c:pt>
                <c:pt idx="202">
                  <c:v>37669</c:v>
                </c:pt>
                <c:pt idx="203">
                  <c:v>37670</c:v>
                </c:pt>
                <c:pt idx="204">
                  <c:v>37671</c:v>
                </c:pt>
                <c:pt idx="205">
                  <c:v>37672</c:v>
                </c:pt>
                <c:pt idx="206">
                  <c:v>37673</c:v>
                </c:pt>
                <c:pt idx="207">
                  <c:v>37676</c:v>
                </c:pt>
                <c:pt idx="208">
                  <c:v>37677</c:v>
                </c:pt>
                <c:pt idx="209">
                  <c:v>37678</c:v>
                </c:pt>
                <c:pt idx="210">
                  <c:v>37679</c:v>
                </c:pt>
                <c:pt idx="211">
                  <c:v>37680</c:v>
                </c:pt>
                <c:pt idx="212">
                  <c:v>37683</c:v>
                </c:pt>
                <c:pt idx="213">
                  <c:v>37684</c:v>
                </c:pt>
                <c:pt idx="214">
                  <c:v>37685</c:v>
                </c:pt>
                <c:pt idx="215">
                  <c:v>37686</c:v>
                </c:pt>
                <c:pt idx="216">
                  <c:v>37687</c:v>
                </c:pt>
                <c:pt idx="217">
                  <c:v>37690</c:v>
                </c:pt>
                <c:pt idx="218">
                  <c:v>37691</c:v>
                </c:pt>
                <c:pt idx="219">
                  <c:v>37692</c:v>
                </c:pt>
                <c:pt idx="220">
                  <c:v>37693</c:v>
                </c:pt>
                <c:pt idx="221">
                  <c:v>37694</c:v>
                </c:pt>
                <c:pt idx="222">
                  <c:v>37697</c:v>
                </c:pt>
                <c:pt idx="223">
                  <c:v>37698</c:v>
                </c:pt>
                <c:pt idx="224">
                  <c:v>37699</c:v>
                </c:pt>
                <c:pt idx="225">
                  <c:v>37700</c:v>
                </c:pt>
                <c:pt idx="226">
                  <c:v>37701</c:v>
                </c:pt>
                <c:pt idx="227">
                  <c:v>37704</c:v>
                </c:pt>
                <c:pt idx="228">
                  <c:v>37705</c:v>
                </c:pt>
                <c:pt idx="229">
                  <c:v>37706</c:v>
                </c:pt>
                <c:pt idx="230">
                  <c:v>37707</c:v>
                </c:pt>
                <c:pt idx="231">
                  <c:v>37708</c:v>
                </c:pt>
                <c:pt idx="232">
                  <c:v>37711</c:v>
                </c:pt>
                <c:pt idx="233">
                  <c:v>37712</c:v>
                </c:pt>
                <c:pt idx="234">
                  <c:v>37713</c:v>
                </c:pt>
                <c:pt idx="235">
                  <c:v>37714</c:v>
                </c:pt>
                <c:pt idx="236">
                  <c:v>37715</c:v>
                </c:pt>
                <c:pt idx="237">
                  <c:v>37718</c:v>
                </c:pt>
                <c:pt idx="238">
                  <c:v>37719</c:v>
                </c:pt>
                <c:pt idx="239">
                  <c:v>37720</c:v>
                </c:pt>
                <c:pt idx="240">
                  <c:v>37721</c:v>
                </c:pt>
                <c:pt idx="241">
                  <c:v>37722</c:v>
                </c:pt>
                <c:pt idx="242">
                  <c:v>37725</c:v>
                </c:pt>
                <c:pt idx="243">
                  <c:v>37726</c:v>
                </c:pt>
                <c:pt idx="244">
                  <c:v>37727</c:v>
                </c:pt>
                <c:pt idx="245">
                  <c:v>37728</c:v>
                </c:pt>
                <c:pt idx="246">
                  <c:v>37729</c:v>
                </c:pt>
                <c:pt idx="247">
                  <c:v>37732</c:v>
                </c:pt>
                <c:pt idx="248">
                  <c:v>37733</c:v>
                </c:pt>
                <c:pt idx="249">
                  <c:v>37734</c:v>
                </c:pt>
                <c:pt idx="250">
                  <c:v>37735</c:v>
                </c:pt>
                <c:pt idx="251">
                  <c:v>37736</c:v>
                </c:pt>
                <c:pt idx="252">
                  <c:v>37739</c:v>
                </c:pt>
                <c:pt idx="253">
                  <c:v>37740</c:v>
                </c:pt>
                <c:pt idx="254">
                  <c:v>37741</c:v>
                </c:pt>
                <c:pt idx="255">
                  <c:v>37753</c:v>
                </c:pt>
                <c:pt idx="256">
                  <c:v>37754</c:v>
                </c:pt>
                <c:pt idx="257">
                  <c:v>37755</c:v>
                </c:pt>
                <c:pt idx="258">
                  <c:v>37756</c:v>
                </c:pt>
                <c:pt idx="259">
                  <c:v>37757</c:v>
                </c:pt>
                <c:pt idx="260">
                  <c:v>37760</c:v>
                </c:pt>
                <c:pt idx="261">
                  <c:v>37761</c:v>
                </c:pt>
                <c:pt idx="262">
                  <c:v>37762</c:v>
                </c:pt>
                <c:pt idx="263">
                  <c:v>37763</c:v>
                </c:pt>
                <c:pt idx="264">
                  <c:v>37764</c:v>
                </c:pt>
                <c:pt idx="265">
                  <c:v>37767</c:v>
                </c:pt>
                <c:pt idx="266">
                  <c:v>37768</c:v>
                </c:pt>
                <c:pt idx="267">
                  <c:v>37769</c:v>
                </c:pt>
                <c:pt idx="268">
                  <c:v>37770</c:v>
                </c:pt>
                <c:pt idx="269">
                  <c:v>37771</c:v>
                </c:pt>
                <c:pt idx="270">
                  <c:v>37774</c:v>
                </c:pt>
                <c:pt idx="271">
                  <c:v>37775</c:v>
                </c:pt>
                <c:pt idx="272">
                  <c:v>37776</c:v>
                </c:pt>
                <c:pt idx="273">
                  <c:v>37777</c:v>
                </c:pt>
                <c:pt idx="274">
                  <c:v>37778</c:v>
                </c:pt>
                <c:pt idx="275">
                  <c:v>37781</c:v>
                </c:pt>
                <c:pt idx="276">
                  <c:v>37782</c:v>
                </c:pt>
                <c:pt idx="277">
                  <c:v>37783</c:v>
                </c:pt>
                <c:pt idx="278">
                  <c:v>37784</c:v>
                </c:pt>
                <c:pt idx="279">
                  <c:v>37785</c:v>
                </c:pt>
                <c:pt idx="280">
                  <c:v>37788</c:v>
                </c:pt>
                <c:pt idx="281">
                  <c:v>37789</c:v>
                </c:pt>
                <c:pt idx="282">
                  <c:v>37790</c:v>
                </c:pt>
                <c:pt idx="283">
                  <c:v>37791</c:v>
                </c:pt>
                <c:pt idx="284">
                  <c:v>37792</c:v>
                </c:pt>
                <c:pt idx="285">
                  <c:v>37795</c:v>
                </c:pt>
                <c:pt idx="286">
                  <c:v>37796</c:v>
                </c:pt>
                <c:pt idx="287">
                  <c:v>37797</c:v>
                </c:pt>
                <c:pt idx="288">
                  <c:v>37798</c:v>
                </c:pt>
                <c:pt idx="289">
                  <c:v>37799</c:v>
                </c:pt>
                <c:pt idx="290">
                  <c:v>37802</c:v>
                </c:pt>
                <c:pt idx="291">
                  <c:v>37803</c:v>
                </c:pt>
                <c:pt idx="292">
                  <c:v>37804</c:v>
                </c:pt>
                <c:pt idx="293">
                  <c:v>37805</c:v>
                </c:pt>
                <c:pt idx="294">
                  <c:v>37806</c:v>
                </c:pt>
                <c:pt idx="295">
                  <c:v>37809</c:v>
                </c:pt>
                <c:pt idx="296">
                  <c:v>37810</c:v>
                </c:pt>
                <c:pt idx="297">
                  <c:v>37811</c:v>
                </c:pt>
                <c:pt idx="298">
                  <c:v>37812</c:v>
                </c:pt>
                <c:pt idx="299">
                  <c:v>37813</c:v>
                </c:pt>
                <c:pt idx="300">
                  <c:v>37816</c:v>
                </c:pt>
                <c:pt idx="301">
                  <c:v>37817</c:v>
                </c:pt>
                <c:pt idx="302">
                  <c:v>37818</c:v>
                </c:pt>
                <c:pt idx="303">
                  <c:v>37819</c:v>
                </c:pt>
                <c:pt idx="304">
                  <c:v>37820</c:v>
                </c:pt>
                <c:pt idx="305">
                  <c:v>37823</c:v>
                </c:pt>
                <c:pt idx="306">
                  <c:v>37824</c:v>
                </c:pt>
                <c:pt idx="307">
                  <c:v>37825</c:v>
                </c:pt>
                <c:pt idx="308">
                  <c:v>37826</c:v>
                </c:pt>
                <c:pt idx="309">
                  <c:v>37827</c:v>
                </c:pt>
                <c:pt idx="310">
                  <c:v>37830</c:v>
                </c:pt>
                <c:pt idx="311">
                  <c:v>37831</c:v>
                </c:pt>
                <c:pt idx="312">
                  <c:v>37832</c:v>
                </c:pt>
                <c:pt idx="313">
                  <c:v>37833</c:v>
                </c:pt>
                <c:pt idx="314">
                  <c:v>37834</c:v>
                </c:pt>
                <c:pt idx="315">
                  <c:v>37837</c:v>
                </c:pt>
                <c:pt idx="316">
                  <c:v>37838</c:v>
                </c:pt>
                <c:pt idx="317">
                  <c:v>37839</c:v>
                </c:pt>
                <c:pt idx="318">
                  <c:v>37840</c:v>
                </c:pt>
                <c:pt idx="319">
                  <c:v>37841</c:v>
                </c:pt>
                <c:pt idx="320">
                  <c:v>37844</c:v>
                </c:pt>
                <c:pt idx="321">
                  <c:v>37845</c:v>
                </c:pt>
                <c:pt idx="322">
                  <c:v>37846</c:v>
                </c:pt>
                <c:pt idx="323">
                  <c:v>37847</c:v>
                </c:pt>
                <c:pt idx="324">
                  <c:v>37848</c:v>
                </c:pt>
                <c:pt idx="325">
                  <c:v>37851</c:v>
                </c:pt>
                <c:pt idx="326">
                  <c:v>37852</c:v>
                </c:pt>
                <c:pt idx="327">
                  <c:v>37853</c:v>
                </c:pt>
                <c:pt idx="328">
                  <c:v>37854</c:v>
                </c:pt>
                <c:pt idx="329">
                  <c:v>37855</c:v>
                </c:pt>
                <c:pt idx="330">
                  <c:v>37858</c:v>
                </c:pt>
                <c:pt idx="331">
                  <c:v>37859</c:v>
                </c:pt>
                <c:pt idx="332">
                  <c:v>37860</c:v>
                </c:pt>
                <c:pt idx="333">
                  <c:v>37861</c:v>
                </c:pt>
                <c:pt idx="334">
                  <c:v>37862</c:v>
                </c:pt>
                <c:pt idx="335">
                  <c:v>37865</c:v>
                </c:pt>
                <c:pt idx="336">
                  <c:v>37866</c:v>
                </c:pt>
                <c:pt idx="337">
                  <c:v>37867</c:v>
                </c:pt>
                <c:pt idx="338">
                  <c:v>37868</c:v>
                </c:pt>
                <c:pt idx="339">
                  <c:v>37869</c:v>
                </c:pt>
                <c:pt idx="340">
                  <c:v>37872</c:v>
                </c:pt>
                <c:pt idx="341">
                  <c:v>37873</c:v>
                </c:pt>
                <c:pt idx="342">
                  <c:v>37874</c:v>
                </c:pt>
                <c:pt idx="343">
                  <c:v>37875</c:v>
                </c:pt>
                <c:pt idx="344">
                  <c:v>37876</c:v>
                </c:pt>
                <c:pt idx="345">
                  <c:v>37879</c:v>
                </c:pt>
                <c:pt idx="346">
                  <c:v>37880</c:v>
                </c:pt>
                <c:pt idx="347">
                  <c:v>37881</c:v>
                </c:pt>
                <c:pt idx="348">
                  <c:v>37882</c:v>
                </c:pt>
                <c:pt idx="349">
                  <c:v>37883</c:v>
                </c:pt>
                <c:pt idx="350">
                  <c:v>37886</c:v>
                </c:pt>
                <c:pt idx="351">
                  <c:v>37887</c:v>
                </c:pt>
                <c:pt idx="352">
                  <c:v>37888</c:v>
                </c:pt>
                <c:pt idx="353">
                  <c:v>37889</c:v>
                </c:pt>
                <c:pt idx="354">
                  <c:v>37890</c:v>
                </c:pt>
                <c:pt idx="355">
                  <c:v>37893</c:v>
                </c:pt>
                <c:pt idx="356">
                  <c:v>37894</c:v>
                </c:pt>
                <c:pt idx="357">
                  <c:v>37902</c:v>
                </c:pt>
                <c:pt idx="358">
                  <c:v>37903</c:v>
                </c:pt>
                <c:pt idx="359">
                  <c:v>37904</c:v>
                </c:pt>
                <c:pt idx="360">
                  <c:v>37907</c:v>
                </c:pt>
                <c:pt idx="361">
                  <c:v>37908</c:v>
                </c:pt>
                <c:pt idx="362">
                  <c:v>37909</c:v>
                </c:pt>
                <c:pt idx="363">
                  <c:v>37910</c:v>
                </c:pt>
                <c:pt idx="364">
                  <c:v>37911</c:v>
                </c:pt>
                <c:pt idx="365">
                  <c:v>37914</c:v>
                </c:pt>
                <c:pt idx="366">
                  <c:v>37915</c:v>
                </c:pt>
                <c:pt idx="367">
                  <c:v>37916</c:v>
                </c:pt>
                <c:pt idx="368">
                  <c:v>37917</c:v>
                </c:pt>
                <c:pt idx="369">
                  <c:v>37918</c:v>
                </c:pt>
                <c:pt idx="370">
                  <c:v>37921</c:v>
                </c:pt>
                <c:pt idx="371">
                  <c:v>37922</c:v>
                </c:pt>
                <c:pt idx="372">
                  <c:v>37923</c:v>
                </c:pt>
                <c:pt idx="373">
                  <c:v>37924</c:v>
                </c:pt>
                <c:pt idx="374">
                  <c:v>37925</c:v>
                </c:pt>
                <c:pt idx="375">
                  <c:v>37928</c:v>
                </c:pt>
                <c:pt idx="376">
                  <c:v>37929</c:v>
                </c:pt>
                <c:pt idx="377">
                  <c:v>37930</c:v>
                </c:pt>
                <c:pt idx="378">
                  <c:v>37931</c:v>
                </c:pt>
                <c:pt idx="379">
                  <c:v>37932</c:v>
                </c:pt>
                <c:pt idx="380">
                  <c:v>37935</c:v>
                </c:pt>
                <c:pt idx="381">
                  <c:v>37936</c:v>
                </c:pt>
                <c:pt idx="382">
                  <c:v>37937</c:v>
                </c:pt>
                <c:pt idx="383">
                  <c:v>37938</c:v>
                </c:pt>
                <c:pt idx="384">
                  <c:v>37939</c:v>
                </c:pt>
                <c:pt idx="385">
                  <c:v>37942</c:v>
                </c:pt>
                <c:pt idx="386">
                  <c:v>37943</c:v>
                </c:pt>
                <c:pt idx="387">
                  <c:v>37944</c:v>
                </c:pt>
                <c:pt idx="388">
                  <c:v>37945</c:v>
                </c:pt>
                <c:pt idx="389">
                  <c:v>37946</c:v>
                </c:pt>
                <c:pt idx="390">
                  <c:v>37949</c:v>
                </c:pt>
                <c:pt idx="391">
                  <c:v>37950</c:v>
                </c:pt>
                <c:pt idx="392">
                  <c:v>37951</c:v>
                </c:pt>
                <c:pt idx="393">
                  <c:v>37952</c:v>
                </c:pt>
                <c:pt idx="394">
                  <c:v>37953</c:v>
                </c:pt>
                <c:pt idx="395">
                  <c:v>37956</c:v>
                </c:pt>
                <c:pt idx="396">
                  <c:v>37957</c:v>
                </c:pt>
                <c:pt idx="397">
                  <c:v>37958</c:v>
                </c:pt>
                <c:pt idx="398">
                  <c:v>37959</c:v>
                </c:pt>
                <c:pt idx="399">
                  <c:v>37960</c:v>
                </c:pt>
                <c:pt idx="400">
                  <c:v>37963</c:v>
                </c:pt>
                <c:pt idx="401">
                  <c:v>37964</c:v>
                </c:pt>
                <c:pt idx="402">
                  <c:v>37965</c:v>
                </c:pt>
                <c:pt idx="403">
                  <c:v>37966</c:v>
                </c:pt>
                <c:pt idx="404">
                  <c:v>37967</c:v>
                </c:pt>
                <c:pt idx="405">
                  <c:v>37970</c:v>
                </c:pt>
                <c:pt idx="406">
                  <c:v>37971</c:v>
                </c:pt>
                <c:pt idx="407">
                  <c:v>37972</c:v>
                </c:pt>
                <c:pt idx="408">
                  <c:v>37973</c:v>
                </c:pt>
                <c:pt idx="409">
                  <c:v>37974</c:v>
                </c:pt>
                <c:pt idx="410">
                  <c:v>37977</c:v>
                </c:pt>
                <c:pt idx="411">
                  <c:v>37978</c:v>
                </c:pt>
                <c:pt idx="412">
                  <c:v>37979</c:v>
                </c:pt>
                <c:pt idx="413">
                  <c:v>37980</c:v>
                </c:pt>
                <c:pt idx="414">
                  <c:v>37981</c:v>
                </c:pt>
                <c:pt idx="415">
                  <c:v>37984</c:v>
                </c:pt>
                <c:pt idx="416">
                  <c:v>37985</c:v>
                </c:pt>
                <c:pt idx="417">
                  <c:v>37986</c:v>
                </c:pt>
                <c:pt idx="418">
                  <c:v>37988</c:v>
                </c:pt>
                <c:pt idx="419">
                  <c:v>37991</c:v>
                </c:pt>
                <c:pt idx="420">
                  <c:v>37992</c:v>
                </c:pt>
                <c:pt idx="421">
                  <c:v>37993</c:v>
                </c:pt>
                <c:pt idx="422">
                  <c:v>37994</c:v>
                </c:pt>
                <c:pt idx="423">
                  <c:v>37995</c:v>
                </c:pt>
                <c:pt idx="424">
                  <c:v>37998</c:v>
                </c:pt>
                <c:pt idx="425">
                  <c:v>37999</c:v>
                </c:pt>
                <c:pt idx="426">
                  <c:v>38000</c:v>
                </c:pt>
                <c:pt idx="427">
                  <c:v>38001</c:v>
                </c:pt>
                <c:pt idx="428">
                  <c:v>38002</c:v>
                </c:pt>
                <c:pt idx="429">
                  <c:v>38015</c:v>
                </c:pt>
                <c:pt idx="430">
                  <c:v>38016</c:v>
                </c:pt>
                <c:pt idx="431">
                  <c:v>38019</c:v>
                </c:pt>
                <c:pt idx="432">
                  <c:v>38020</c:v>
                </c:pt>
                <c:pt idx="433">
                  <c:v>38021</c:v>
                </c:pt>
                <c:pt idx="434">
                  <c:v>38022</c:v>
                </c:pt>
                <c:pt idx="435">
                  <c:v>38023</c:v>
                </c:pt>
                <c:pt idx="436">
                  <c:v>38026</c:v>
                </c:pt>
                <c:pt idx="437">
                  <c:v>38027</c:v>
                </c:pt>
                <c:pt idx="438">
                  <c:v>38028</c:v>
                </c:pt>
                <c:pt idx="439">
                  <c:v>38029</c:v>
                </c:pt>
                <c:pt idx="440">
                  <c:v>38030</c:v>
                </c:pt>
                <c:pt idx="441">
                  <c:v>38033</c:v>
                </c:pt>
                <c:pt idx="442">
                  <c:v>38034</c:v>
                </c:pt>
                <c:pt idx="443">
                  <c:v>38035</c:v>
                </c:pt>
                <c:pt idx="444">
                  <c:v>38036</c:v>
                </c:pt>
                <c:pt idx="445">
                  <c:v>38037</c:v>
                </c:pt>
                <c:pt idx="446">
                  <c:v>38040</c:v>
                </c:pt>
                <c:pt idx="447">
                  <c:v>38041</c:v>
                </c:pt>
                <c:pt idx="448">
                  <c:v>38042</c:v>
                </c:pt>
                <c:pt idx="449">
                  <c:v>38043</c:v>
                </c:pt>
                <c:pt idx="450">
                  <c:v>38044</c:v>
                </c:pt>
                <c:pt idx="451">
                  <c:v>38047</c:v>
                </c:pt>
                <c:pt idx="452">
                  <c:v>38048</c:v>
                </c:pt>
                <c:pt idx="453">
                  <c:v>38049</c:v>
                </c:pt>
                <c:pt idx="454">
                  <c:v>38050</c:v>
                </c:pt>
                <c:pt idx="455">
                  <c:v>38051</c:v>
                </c:pt>
                <c:pt idx="456">
                  <c:v>38054</c:v>
                </c:pt>
                <c:pt idx="457">
                  <c:v>38055</c:v>
                </c:pt>
                <c:pt idx="458">
                  <c:v>38056</c:v>
                </c:pt>
                <c:pt idx="459">
                  <c:v>38057</c:v>
                </c:pt>
                <c:pt idx="460">
                  <c:v>38058</c:v>
                </c:pt>
                <c:pt idx="461">
                  <c:v>38061</c:v>
                </c:pt>
                <c:pt idx="462">
                  <c:v>38062</c:v>
                </c:pt>
                <c:pt idx="463">
                  <c:v>38063</c:v>
                </c:pt>
                <c:pt idx="464">
                  <c:v>38064</c:v>
                </c:pt>
                <c:pt idx="465">
                  <c:v>38065</c:v>
                </c:pt>
                <c:pt idx="466">
                  <c:v>38068</c:v>
                </c:pt>
                <c:pt idx="467">
                  <c:v>38069</c:v>
                </c:pt>
                <c:pt idx="468">
                  <c:v>38070</c:v>
                </c:pt>
                <c:pt idx="469">
                  <c:v>38071</c:v>
                </c:pt>
                <c:pt idx="470">
                  <c:v>38072</c:v>
                </c:pt>
                <c:pt idx="471">
                  <c:v>38075</c:v>
                </c:pt>
                <c:pt idx="472">
                  <c:v>38076</c:v>
                </c:pt>
                <c:pt idx="473">
                  <c:v>38077</c:v>
                </c:pt>
                <c:pt idx="474">
                  <c:v>38078</c:v>
                </c:pt>
                <c:pt idx="475">
                  <c:v>38079</c:v>
                </c:pt>
                <c:pt idx="476">
                  <c:v>38082</c:v>
                </c:pt>
                <c:pt idx="477">
                  <c:v>38083</c:v>
                </c:pt>
                <c:pt idx="478">
                  <c:v>38084</c:v>
                </c:pt>
                <c:pt idx="479">
                  <c:v>38085</c:v>
                </c:pt>
                <c:pt idx="480">
                  <c:v>38086</c:v>
                </c:pt>
                <c:pt idx="481">
                  <c:v>38089</c:v>
                </c:pt>
                <c:pt idx="482">
                  <c:v>38090</c:v>
                </c:pt>
                <c:pt idx="483">
                  <c:v>38091</c:v>
                </c:pt>
                <c:pt idx="484">
                  <c:v>38092</c:v>
                </c:pt>
                <c:pt idx="485">
                  <c:v>38093</c:v>
                </c:pt>
                <c:pt idx="486">
                  <c:v>38096</c:v>
                </c:pt>
                <c:pt idx="487">
                  <c:v>38097</c:v>
                </c:pt>
                <c:pt idx="488">
                  <c:v>38098</c:v>
                </c:pt>
                <c:pt idx="489">
                  <c:v>38099</c:v>
                </c:pt>
                <c:pt idx="490">
                  <c:v>38100</c:v>
                </c:pt>
                <c:pt idx="491">
                  <c:v>38103</c:v>
                </c:pt>
                <c:pt idx="492">
                  <c:v>38104</c:v>
                </c:pt>
                <c:pt idx="493">
                  <c:v>38105</c:v>
                </c:pt>
                <c:pt idx="494">
                  <c:v>38106</c:v>
                </c:pt>
                <c:pt idx="495">
                  <c:v>38107</c:v>
                </c:pt>
                <c:pt idx="496">
                  <c:v>38117</c:v>
                </c:pt>
                <c:pt idx="497">
                  <c:v>38118</c:v>
                </c:pt>
                <c:pt idx="498">
                  <c:v>38119</c:v>
                </c:pt>
                <c:pt idx="499">
                  <c:v>38120</c:v>
                </c:pt>
                <c:pt idx="500">
                  <c:v>38121</c:v>
                </c:pt>
                <c:pt idx="501">
                  <c:v>38124</c:v>
                </c:pt>
                <c:pt idx="502">
                  <c:v>38125</c:v>
                </c:pt>
                <c:pt idx="503">
                  <c:v>38126</c:v>
                </c:pt>
                <c:pt idx="504">
                  <c:v>38127</c:v>
                </c:pt>
                <c:pt idx="505">
                  <c:v>38128</c:v>
                </c:pt>
                <c:pt idx="506">
                  <c:v>38131</c:v>
                </c:pt>
                <c:pt idx="507">
                  <c:v>38132</c:v>
                </c:pt>
                <c:pt idx="508">
                  <c:v>38133</c:v>
                </c:pt>
                <c:pt idx="509">
                  <c:v>38134</c:v>
                </c:pt>
                <c:pt idx="510">
                  <c:v>38135</c:v>
                </c:pt>
                <c:pt idx="511">
                  <c:v>38138</c:v>
                </c:pt>
                <c:pt idx="512">
                  <c:v>38139</c:v>
                </c:pt>
                <c:pt idx="513">
                  <c:v>38140</c:v>
                </c:pt>
                <c:pt idx="514">
                  <c:v>38141</c:v>
                </c:pt>
                <c:pt idx="515">
                  <c:v>38142</c:v>
                </c:pt>
                <c:pt idx="516">
                  <c:v>38145</c:v>
                </c:pt>
                <c:pt idx="517">
                  <c:v>38146</c:v>
                </c:pt>
                <c:pt idx="518">
                  <c:v>38147</c:v>
                </c:pt>
                <c:pt idx="519">
                  <c:v>38148</c:v>
                </c:pt>
                <c:pt idx="520">
                  <c:v>38149</c:v>
                </c:pt>
                <c:pt idx="521">
                  <c:v>38152</c:v>
                </c:pt>
                <c:pt idx="522">
                  <c:v>38153</c:v>
                </c:pt>
                <c:pt idx="523">
                  <c:v>38154</c:v>
                </c:pt>
                <c:pt idx="524">
                  <c:v>38155</c:v>
                </c:pt>
                <c:pt idx="525">
                  <c:v>38156</c:v>
                </c:pt>
                <c:pt idx="526">
                  <c:v>38159</c:v>
                </c:pt>
                <c:pt idx="527">
                  <c:v>38160</c:v>
                </c:pt>
                <c:pt idx="528">
                  <c:v>38161</c:v>
                </c:pt>
                <c:pt idx="529">
                  <c:v>38162</c:v>
                </c:pt>
                <c:pt idx="530">
                  <c:v>38163</c:v>
                </c:pt>
                <c:pt idx="531">
                  <c:v>38166</c:v>
                </c:pt>
                <c:pt idx="532">
                  <c:v>38167</c:v>
                </c:pt>
                <c:pt idx="533">
                  <c:v>38168</c:v>
                </c:pt>
                <c:pt idx="534">
                  <c:v>38169</c:v>
                </c:pt>
                <c:pt idx="535">
                  <c:v>38170</c:v>
                </c:pt>
                <c:pt idx="536">
                  <c:v>38173</c:v>
                </c:pt>
                <c:pt idx="537">
                  <c:v>38174</c:v>
                </c:pt>
                <c:pt idx="538">
                  <c:v>38175</c:v>
                </c:pt>
                <c:pt idx="539">
                  <c:v>38176</c:v>
                </c:pt>
                <c:pt idx="540">
                  <c:v>38177</c:v>
                </c:pt>
                <c:pt idx="541">
                  <c:v>38180</c:v>
                </c:pt>
                <c:pt idx="542">
                  <c:v>38181</c:v>
                </c:pt>
                <c:pt idx="543">
                  <c:v>38182</c:v>
                </c:pt>
                <c:pt idx="544">
                  <c:v>38183</c:v>
                </c:pt>
                <c:pt idx="545">
                  <c:v>38184</c:v>
                </c:pt>
                <c:pt idx="546">
                  <c:v>38187</c:v>
                </c:pt>
                <c:pt idx="547">
                  <c:v>38188</c:v>
                </c:pt>
                <c:pt idx="548">
                  <c:v>38189</c:v>
                </c:pt>
                <c:pt idx="549">
                  <c:v>38190</c:v>
                </c:pt>
                <c:pt idx="550">
                  <c:v>38191</c:v>
                </c:pt>
                <c:pt idx="551">
                  <c:v>38194</c:v>
                </c:pt>
                <c:pt idx="552">
                  <c:v>38195</c:v>
                </c:pt>
                <c:pt idx="553">
                  <c:v>38196</c:v>
                </c:pt>
                <c:pt idx="554">
                  <c:v>38197</c:v>
                </c:pt>
                <c:pt idx="555">
                  <c:v>38198</c:v>
                </c:pt>
                <c:pt idx="556">
                  <c:v>38201</c:v>
                </c:pt>
                <c:pt idx="557">
                  <c:v>38202</c:v>
                </c:pt>
                <c:pt idx="558">
                  <c:v>38203</c:v>
                </c:pt>
                <c:pt idx="559">
                  <c:v>38204</c:v>
                </c:pt>
                <c:pt idx="560">
                  <c:v>38205</c:v>
                </c:pt>
                <c:pt idx="561">
                  <c:v>38208</c:v>
                </c:pt>
                <c:pt idx="562">
                  <c:v>38209</c:v>
                </c:pt>
                <c:pt idx="563">
                  <c:v>38210</c:v>
                </c:pt>
                <c:pt idx="564">
                  <c:v>38211</c:v>
                </c:pt>
                <c:pt idx="565">
                  <c:v>38212</c:v>
                </c:pt>
                <c:pt idx="566">
                  <c:v>38215</c:v>
                </c:pt>
                <c:pt idx="567">
                  <c:v>38216</c:v>
                </c:pt>
                <c:pt idx="568">
                  <c:v>38217</c:v>
                </c:pt>
                <c:pt idx="569">
                  <c:v>38218</c:v>
                </c:pt>
                <c:pt idx="570">
                  <c:v>38219</c:v>
                </c:pt>
                <c:pt idx="571">
                  <c:v>38222</c:v>
                </c:pt>
                <c:pt idx="572">
                  <c:v>38223</c:v>
                </c:pt>
                <c:pt idx="573">
                  <c:v>38224</c:v>
                </c:pt>
                <c:pt idx="574">
                  <c:v>38225</c:v>
                </c:pt>
                <c:pt idx="575">
                  <c:v>38226</c:v>
                </c:pt>
                <c:pt idx="576">
                  <c:v>38229</c:v>
                </c:pt>
                <c:pt idx="577">
                  <c:v>38230</c:v>
                </c:pt>
                <c:pt idx="578">
                  <c:v>38231</c:v>
                </c:pt>
                <c:pt idx="579">
                  <c:v>38232</c:v>
                </c:pt>
                <c:pt idx="580">
                  <c:v>38233</c:v>
                </c:pt>
                <c:pt idx="581">
                  <c:v>38236</c:v>
                </c:pt>
                <c:pt idx="582">
                  <c:v>38237</c:v>
                </c:pt>
                <c:pt idx="583">
                  <c:v>38238</c:v>
                </c:pt>
                <c:pt idx="584">
                  <c:v>38239</c:v>
                </c:pt>
                <c:pt idx="585">
                  <c:v>38240</c:v>
                </c:pt>
                <c:pt idx="586">
                  <c:v>38243</c:v>
                </c:pt>
                <c:pt idx="587">
                  <c:v>38244</c:v>
                </c:pt>
                <c:pt idx="588">
                  <c:v>38245</c:v>
                </c:pt>
                <c:pt idx="589">
                  <c:v>38246</c:v>
                </c:pt>
                <c:pt idx="590">
                  <c:v>38247</c:v>
                </c:pt>
                <c:pt idx="591">
                  <c:v>38250</c:v>
                </c:pt>
                <c:pt idx="592">
                  <c:v>38251</c:v>
                </c:pt>
                <c:pt idx="593">
                  <c:v>38252</c:v>
                </c:pt>
                <c:pt idx="594">
                  <c:v>38253</c:v>
                </c:pt>
                <c:pt idx="595">
                  <c:v>38254</c:v>
                </c:pt>
                <c:pt idx="596">
                  <c:v>38257</c:v>
                </c:pt>
                <c:pt idx="597">
                  <c:v>38258</c:v>
                </c:pt>
                <c:pt idx="598">
                  <c:v>38259</c:v>
                </c:pt>
                <c:pt idx="599">
                  <c:v>38260</c:v>
                </c:pt>
                <c:pt idx="600">
                  <c:v>38268</c:v>
                </c:pt>
                <c:pt idx="601">
                  <c:v>38271</c:v>
                </c:pt>
                <c:pt idx="602">
                  <c:v>38272</c:v>
                </c:pt>
                <c:pt idx="603">
                  <c:v>38273</c:v>
                </c:pt>
                <c:pt idx="604">
                  <c:v>38274</c:v>
                </c:pt>
                <c:pt idx="605">
                  <c:v>38275</c:v>
                </c:pt>
                <c:pt idx="606">
                  <c:v>38278</c:v>
                </c:pt>
                <c:pt idx="607">
                  <c:v>38279</c:v>
                </c:pt>
                <c:pt idx="608">
                  <c:v>38280</c:v>
                </c:pt>
                <c:pt idx="609">
                  <c:v>38281</c:v>
                </c:pt>
                <c:pt idx="610">
                  <c:v>38282</c:v>
                </c:pt>
                <c:pt idx="611">
                  <c:v>38285</c:v>
                </c:pt>
                <c:pt idx="612">
                  <c:v>38286</c:v>
                </c:pt>
                <c:pt idx="613">
                  <c:v>38287</c:v>
                </c:pt>
                <c:pt idx="614">
                  <c:v>38288</c:v>
                </c:pt>
                <c:pt idx="615">
                  <c:v>38289</c:v>
                </c:pt>
                <c:pt idx="616">
                  <c:v>38292</c:v>
                </c:pt>
                <c:pt idx="617">
                  <c:v>38293</c:v>
                </c:pt>
                <c:pt idx="618">
                  <c:v>38294</c:v>
                </c:pt>
                <c:pt idx="619">
                  <c:v>38295</c:v>
                </c:pt>
                <c:pt idx="620">
                  <c:v>38296</c:v>
                </c:pt>
                <c:pt idx="621">
                  <c:v>38299</c:v>
                </c:pt>
                <c:pt idx="622">
                  <c:v>38300</c:v>
                </c:pt>
                <c:pt idx="623">
                  <c:v>38301</c:v>
                </c:pt>
                <c:pt idx="624">
                  <c:v>38302</c:v>
                </c:pt>
                <c:pt idx="625">
                  <c:v>38303</c:v>
                </c:pt>
                <c:pt idx="626">
                  <c:v>38306</c:v>
                </c:pt>
                <c:pt idx="627">
                  <c:v>38307</c:v>
                </c:pt>
                <c:pt idx="628">
                  <c:v>38308</c:v>
                </c:pt>
                <c:pt idx="629">
                  <c:v>38309</c:v>
                </c:pt>
                <c:pt idx="630">
                  <c:v>38310</c:v>
                </c:pt>
                <c:pt idx="631">
                  <c:v>38313</c:v>
                </c:pt>
                <c:pt idx="632">
                  <c:v>38314</c:v>
                </c:pt>
                <c:pt idx="633">
                  <c:v>38315</c:v>
                </c:pt>
                <c:pt idx="634">
                  <c:v>38316</c:v>
                </c:pt>
                <c:pt idx="635">
                  <c:v>38317</c:v>
                </c:pt>
                <c:pt idx="636">
                  <c:v>38320</c:v>
                </c:pt>
                <c:pt idx="637">
                  <c:v>38321</c:v>
                </c:pt>
                <c:pt idx="638">
                  <c:v>38322</c:v>
                </c:pt>
                <c:pt idx="639">
                  <c:v>38323</c:v>
                </c:pt>
                <c:pt idx="640">
                  <c:v>38324</c:v>
                </c:pt>
                <c:pt idx="641">
                  <c:v>38327</c:v>
                </c:pt>
                <c:pt idx="642">
                  <c:v>38328</c:v>
                </c:pt>
                <c:pt idx="643">
                  <c:v>38329</c:v>
                </c:pt>
                <c:pt idx="644">
                  <c:v>38330</c:v>
                </c:pt>
                <c:pt idx="645">
                  <c:v>38331</c:v>
                </c:pt>
                <c:pt idx="646">
                  <c:v>38334</c:v>
                </c:pt>
                <c:pt idx="647">
                  <c:v>38335</c:v>
                </c:pt>
                <c:pt idx="648">
                  <c:v>38336</c:v>
                </c:pt>
                <c:pt idx="649">
                  <c:v>38337</c:v>
                </c:pt>
                <c:pt idx="650">
                  <c:v>38338</c:v>
                </c:pt>
                <c:pt idx="651">
                  <c:v>38341</c:v>
                </c:pt>
                <c:pt idx="652">
                  <c:v>38342</c:v>
                </c:pt>
                <c:pt idx="653">
                  <c:v>38343</c:v>
                </c:pt>
                <c:pt idx="654">
                  <c:v>38344</c:v>
                </c:pt>
                <c:pt idx="655">
                  <c:v>38345</c:v>
                </c:pt>
                <c:pt idx="656">
                  <c:v>38348</c:v>
                </c:pt>
                <c:pt idx="657">
                  <c:v>38349</c:v>
                </c:pt>
                <c:pt idx="658">
                  <c:v>38350</c:v>
                </c:pt>
                <c:pt idx="659">
                  <c:v>38351</c:v>
                </c:pt>
                <c:pt idx="660">
                  <c:v>38352</c:v>
                </c:pt>
                <c:pt idx="661">
                  <c:v>38356</c:v>
                </c:pt>
                <c:pt idx="662">
                  <c:v>38357</c:v>
                </c:pt>
                <c:pt idx="663">
                  <c:v>38358</c:v>
                </c:pt>
                <c:pt idx="664">
                  <c:v>38359</c:v>
                </c:pt>
                <c:pt idx="665">
                  <c:v>38362</c:v>
                </c:pt>
                <c:pt idx="666">
                  <c:v>38363</c:v>
                </c:pt>
                <c:pt idx="667">
                  <c:v>38364</c:v>
                </c:pt>
                <c:pt idx="668">
                  <c:v>38365</c:v>
                </c:pt>
                <c:pt idx="669">
                  <c:v>38366</c:v>
                </c:pt>
                <c:pt idx="670">
                  <c:v>38369</c:v>
                </c:pt>
                <c:pt idx="671">
                  <c:v>38370</c:v>
                </c:pt>
                <c:pt idx="672">
                  <c:v>38371</c:v>
                </c:pt>
                <c:pt idx="673">
                  <c:v>38372</c:v>
                </c:pt>
                <c:pt idx="674">
                  <c:v>38373</c:v>
                </c:pt>
                <c:pt idx="675">
                  <c:v>38376</c:v>
                </c:pt>
                <c:pt idx="676">
                  <c:v>38377</c:v>
                </c:pt>
                <c:pt idx="677">
                  <c:v>38378</c:v>
                </c:pt>
                <c:pt idx="678">
                  <c:v>38379</c:v>
                </c:pt>
                <c:pt idx="679">
                  <c:v>38380</c:v>
                </c:pt>
                <c:pt idx="680">
                  <c:v>38383</c:v>
                </c:pt>
                <c:pt idx="681">
                  <c:v>38384</c:v>
                </c:pt>
                <c:pt idx="682">
                  <c:v>38385</c:v>
                </c:pt>
                <c:pt idx="683">
                  <c:v>38386</c:v>
                </c:pt>
                <c:pt idx="684">
                  <c:v>38387</c:v>
                </c:pt>
                <c:pt idx="685">
                  <c:v>38399</c:v>
                </c:pt>
                <c:pt idx="686">
                  <c:v>38400</c:v>
                </c:pt>
                <c:pt idx="687">
                  <c:v>38401</c:v>
                </c:pt>
                <c:pt idx="688">
                  <c:v>38404</c:v>
                </c:pt>
                <c:pt idx="689">
                  <c:v>38405</c:v>
                </c:pt>
                <c:pt idx="690">
                  <c:v>38406</c:v>
                </c:pt>
                <c:pt idx="691">
                  <c:v>38407</c:v>
                </c:pt>
                <c:pt idx="692">
                  <c:v>38408</c:v>
                </c:pt>
                <c:pt idx="693">
                  <c:v>38411</c:v>
                </c:pt>
                <c:pt idx="694">
                  <c:v>38412</c:v>
                </c:pt>
                <c:pt idx="695">
                  <c:v>38413</c:v>
                </c:pt>
                <c:pt idx="696">
                  <c:v>38414</c:v>
                </c:pt>
                <c:pt idx="697">
                  <c:v>38415</c:v>
                </c:pt>
                <c:pt idx="698">
                  <c:v>38418</c:v>
                </c:pt>
                <c:pt idx="699">
                  <c:v>38419</c:v>
                </c:pt>
                <c:pt idx="700">
                  <c:v>38420</c:v>
                </c:pt>
                <c:pt idx="701">
                  <c:v>38421</c:v>
                </c:pt>
                <c:pt idx="702">
                  <c:v>38422</c:v>
                </c:pt>
                <c:pt idx="703">
                  <c:v>38425</c:v>
                </c:pt>
                <c:pt idx="704">
                  <c:v>38426</c:v>
                </c:pt>
                <c:pt idx="705">
                  <c:v>38427</c:v>
                </c:pt>
                <c:pt idx="706">
                  <c:v>38428</c:v>
                </c:pt>
                <c:pt idx="707">
                  <c:v>38429</c:v>
                </c:pt>
                <c:pt idx="708">
                  <c:v>38432</c:v>
                </c:pt>
                <c:pt idx="709">
                  <c:v>38433</c:v>
                </c:pt>
                <c:pt idx="710">
                  <c:v>38434</c:v>
                </c:pt>
                <c:pt idx="711">
                  <c:v>38435</c:v>
                </c:pt>
                <c:pt idx="712">
                  <c:v>38436</c:v>
                </c:pt>
                <c:pt idx="713">
                  <c:v>38439</c:v>
                </c:pt>
                <c:pt idx="714">
                  <c:v>38440</c:v>
                </c:pt>
                <c:pt idx="715">
                  <c:v>38441</c:v>
                </c:pt>
                <c:pt idx="716">
                  <c:v>38442</c:v>
                </c:pt>
                <c:pt idx="717">
                  <c:v>38443</c:v>
                </c:pt>
                <c:pt idx="718">
                  <c:v>38446</c:v>
                </c:pt>
                <c:pt idx="719">
                  <c:v>38447</c:v>
                </c:pt>
                <c:pt idx="720">
                  <c:v>38448</c:v>
                </c:pt>
                <c:pt idx="721">
                  <c:v>38449</c:v>
                </c:pt>
                <c:pt idx="722">
                  <c:v>38450</c:v>
                </c:pt>
                <c:pt idx="723">
                  <c:v>38453</c:v>
                </c:pt>
                <c:pt idx="724">
                  <c:v>38454</c:v>
                </c:pt>
                <c:pt idx="725">
                  <c:v>38455</c:v>
                </c:pt>
                <c:pt idx="726">
                  <c:v>38456</c:v>
                </c:pt>
                <c:pt idx="727">
                  <c:v>38457</c:v>
                </c:pt>
                <c:pt idx="728">
                  <c:v>38460</c:v>
                </c:pt>
                <c:pt idx="729">
                  <c:v>38461</c:v>
                </c:pt>
                <c:pt idx="730">
                  <c:v>38462</c:v>
                </c:pt>
                <c:pt idx="731">
                  <c:v>38463</c:v>
                </c:pt>
                <c:pt idx="732">
                  <c:v>38464</c:v>
                </c:pt>
                <c:pt idx="733">
                  <c:v>38467</c:v>
                </c:pt>
                <c:pt idx="734">
                  <c:v>38468</c:v>
                </c:pt>
                <c:pt idx="735">
                  <c:v>38469</c:v>
                </c:pt>
                <c:pt idx="736">
                  <c:v>38470</c:v>
                </c:pt>
                <c:pt idx="737">
                  <c:v>38471</c:v>
                </c:pt>
                <c:pt idx="738">
                  <c:v>38481</c:v>
                </c:pt>
                <c:pt idx="739">
                  <c:v>38482</c:v>
                </c:pt>
                <c:pt idx="740">
                  <c:v>38483</c:v>
                </c:pt>
                <c:pt idx="741">
                  <c:v>38484</c:v>
                </c:pt>
                <c:pt idx="742">
                  <c:v>38485</c:v>
                </c:pt>
                <c:pt idx="743">
                  <c:v>38488</c:v>
                </c:pt>
                <c:pt idx="744">
                  <c:v>38489</c:v>
                </c:pt>
                <c:pt idx="745">
                  <c:v>38490</c:v>
                </c:pt>
                <c:pt idx="746">
                  <c:v>38491</c:v>
                </c:pt>
                <c:pt idx="747">
                  <c:v>38492</c:v>
                </c:pt>
                <c:pt idx="748">
                  <c:v>38495</c:v>
                </c:pt>
                <c:pt idx="749">
                  <c:v>38496</c:v>
                </c:pt>
                <c:pt idx="750">
                  <c:v>38497</c:v>
                </c:pt>
                <c:pt idx="751">
                  <c:v>38498</c:v>
                </c:pt>
                <c:pt idx="752">
                  <c:v>38499</c:v>
                </c:pt>
                <c:pt idx="753">
                  <c:v>38502</c:v>
                </c:pt>
                <c:pt idx="754">
                  <c:v>38503</c:v>
                </c:pt>
                <c:pt idx="755">
                  <c:v>38504</c:v>
                </c:pt>
                <c:pt idx="756">
                  <c:v>38505</c:v>
                </c:pt>
                <c:pt idx="757">
                  <c:v>38506</c:v>
                </c:pt>
                <c:pt idx="758">
                  <c:v>38509</c:v>
                </c:pt>
                <c:pt idx="759">
                  <c:v>38510</c:v>
                </c:pt>
                <c:pt idx="760">
                  <c:v>38511</c:v>
                </c:pt>
                <c:pt idx="761">
                  <c:v>38512</c:v>
                </c:pt>
                <c:pt idx="762">
                  <c:v>38513</c:v>
                </c:pt>
                <c:pt idx="763">
                  <c:v>38516</c:v>
                </c:pt>
                <c:pt idx="764">
                  <c:v>38517</c:v>
                </c:pt>
                <c:pt idx="765">
                  <c:v>38518</c:v>
                </c:pt>
                <c:pt idx="766">
                  <c:v>38519</c:v>
                </c:pt>
                <c:pt idx="767">
                  <c:v>38520</c:v>
                </c:pt>
                <c:pt idx="768">
                  <c:v>38523</c:v>
                </c:pt>
                <c:pt idx="769">
                  <c:v>38524</c:v>
                </c:pt>
                <c:pt idx="770">
                  <c:v>38525</c:v>
                </c:pt>
                <c:pt idx="771">
                  <c:v>38526</c:v>
                </c:pt>
                <c:pt idx="772">
                  <c:v>38527</c:v>
                </c:pt>
                <c:pt idx="773">
                  <c:v>38530</c:v>
                </c:pt>
                <c:pt idx="774">
                  <c:v>38531</c:v>
                </c:pt>
                <c:pt idx="775">
                  <c:v>38532</c:v>
                </c:pt>
                <c:pt idx="776">
                  <c:v>38533</c:v>
                </c:pt>
                <c:pt idx="777">
                  <c:v>38534</c:v>
                </c:pt>
                <c:pt idx="778">
                  <c:v>38537</c:v>
                </c:pt>
                <c:pt idx="779">
                  <c:v>38538</c:v>
                </c:pt>
                <c:pt idx="780">
                  <c:v>38539</c:v>
                </c:pt>
                <c:pt idx="781">
                  <c:v>38540</c:v>
                </c:pt>
                <c:pt idx="782">
                  <c:v>38541</c:v>
                </c:pt>
                <c:pt idx="783">
                  <c:v>38544</c:v>
                </c:pt>
                <c:pt idx="784">
                  <c:v>38545</c:v>
                </c:pt>
                <c:pt idx="785">
                  <c:v>38546</c:v>
                </c:pt>
                <c:pt idx="786">
                  <c:v>38547</c:v>
                </c:pt>
                <c:pt idx="787">
                  <c:v>38548</c:v>
                </c:pt>
                <c:pt idx="788">
                  <c:v>38551</c:v>
                </c:pt>
                <c:pt idx="789">
                  <c:v>38552</c:v>
                </c:pt>
                <c:pt idx="790">
                  <c:v>38553</c:v>
                </c:pt>
                <c:pt idx="791">
                  <c:v>38554</c:v>
                </c:pt>
                <c:pt idx="792">
                  <c:v>38555</c:v>
                </c:pt>
                <c:pt idx="793">
                  <c:v>38558</c:v>
                </c:pt>
                <c:pt idx="794">
                  <c:v>38559</c:v>
                </c:pt>
                <c:pt idx="795">
                  <c:v>38560</c:v>
                </c:pt>
                <c:pt idx="796">
                  <c:v>38561</c:v>
                </c:pt>
                <c:pt idx="797">
                  <c:v>38562</c:v>
                </c:pt>
                <c:pt idx="798">
                  <c:v>38565</c:v>
                </c:pt>
                <c:pt idx="799">
                  <c:v>38566</c:v>
                </c:pt>
                <c:pt idx="800">
                  <c:v>38567</c:v>
                </c:pt>
                <c:pt idx="801">
                  <c:v>38568</c:v>
                </c:pt>
                <c:pt idx="802">
                  <c:v>38569</c:v>
                </c:pt>
                <c:pt idx="803">
                  <c:v>38572</c:v>
                </c:pt>
                <c:pt idx="804">
                  <c:v>38573</c:v>
                </c:pt>
                <c:pt idx="805">
                  <c:v>38574</c:v>
                </c:pt>
                <c:pt idx="806">
                  <c:v>38575</c:v>
                </c:pt>
                <c:pt idx="807">
                  <c:v>38576</c:v>
                </c:pt>
                <c:pt idx="808">
                  <c:v>38579</c:v>
                </c:pt>
                <c:pt idx="809">
                  <c:v>38580</c:v>
                </c:pt>
                <c:pt idx="810">
                  <c:v>38581</c:v>
                </c:pt>
                <c:pt idx="811">
                  <c:v>38582</c:v>
                </c:pt>
                <c:pt idx="812">
                  <c:v>38583</c:v>
                </c:pt>
                <c:pt idx="813">
                  <c:v>38586</c:v>
                </c:pt>
                <c:pt idx="814">
                  <c:v>38587</c:v>
                </c:pt>
                <c:pt idx="815">
                  <c:v>38588</c:v>
                </c:pt>
                <c:pt idx="816">
                  <c:v>38589</c:v>
                </c:pt>
                <c:pt idx="817">
                  <c:v>38590</c:v>
                </c:pt>
                <c:pt idx="818">
                  <c:v>38593</c:v>
                </c:pt>
                <c:pt idx="819">
                  <c:v>38594</c:v>
                </c:pt>
                <c:pt idx="820">
                  <c:v>38595</c:v>
                </c:pt>
                <c:pt idx="821">
                  <c:v>38596</c:v>
                </c:pt>
                <c:pt idx="822">
                  <c:v>38597</c:v>
                </c:pt>
                <c:pt idx="823">
                  <c:v>38600</c:v>
                </c:pt>
                <c:pt idx="824">
                  <c:v>38601</c:v>
                </c:pt>
                <c:pt idx="825">
                  <c:v>38602</c:v>
                </c:pt>
                <c:pt idx="826">
                  <c:v>38603</c:v>
                </c:pt>
                <c:pt idx="827">
                  <c:v>38604</c:v>
                </c:pt>
                <c:pt idx="828">
                  <c:v>38607</c:v>
                </c:pt>
                <c:pt idx="829">
                  <c:v>38608</c:v>
                </c:pt>
                <c:pt idx="830">
                  <c:v>38609</c:v>
                </c:pt>
                <c:pt idx="831">
                  <c:v>38610</c:v>
                </c:pt>
                <c:pt idx="832">
                  <c:v>38611</c:v>
                </c:pt>
                <c:pt idx="833">
                  <c:v>38614</c:v>
                </c:pt>
                <c:pt idx="834">
                  <c:v>38615</c:v>
                </c:pt>
                <c:pt idx="835">
                  <c:v>38616</c:v>
                </c:pt>
                <c:pt idx="836">
                  <c:v>38617</c:v>
                </c:pt>
                <c:pt idx="837">
                  <c:v>38618</c:v>
                </c:pt>
                <c:pt idx="838">
                  <c:v>38621</c:v>
                </c:pt>
                <c:pt idx="839">
                  <c:v>38622</c:v>
                </c:pt>
                <c:pt idx="840">
                  <c:v>38623</c:v>
                </c:pt>
                <c:pt idx="841">
                  <c:v>38624</c:v>
                </c:pt>
                <c:pt idx="842">
                  <c:v>38625</c:v>
                </c:pt>
                <c:pt idx="843">
                  <c:v>38635</c:v>
                </c:pt>
                <c:pt idx="844">
                  <c:v>38636</c:v>
                </c:pt>
                <c:pt idx="845">
                  <c:v>38637</c:v>
                </c:pt>
                <c:pt idx="846">
                  <c:v>38638</c:v>
                </c:pt>
                <c:pt idx="847">
                  <c:v>38639</c:v>
                </c:pt>
                <c:pt idx="848">
                  <c:v>38642</c:v>
                </c:pt>
                <c:pt idx="849">
                  <c:v>38643</c:v>
                </c:pt>
                <c:pt idx="850">
                  <c:v>38644</c:v>
                </c:pt>
                <c:pt idx="851">
                  <c:v>38645</c:v>
                </c:pt>
                <c:pt idx="852">
                  <c:v>38646</c:v>
                </c:pt>
                <c:pt idx="853">
                  <c:v>38649</c:v>
                </c:pt>
                <c:pt idx="854">
                  <c:v>38650</c:v>
                </c:pt>
                <c:pt idx="855">
                  <c:v>38651</c:v>
                </c:pt>
                <c:pt idx="856">
                  <c:v>38652</c:v>
                </c:pt>
                <c:pt idx="857">
                  <c:v>38653</c:v>
                </c:pt>
                <c:pt idx="858">
                  <c:v>38656</c:v>
                </c:pt>
                <c:pt idx="859">
                  <c:v>38657</c:v>
                </c:pt>
                <c:pt idx="860">
                  <c:v>38658</c:v>
                </c:pt>
                <c:pt idx="861">
                  <c:v>38659</c:v>
                </c:pt>
                <c:pt idx="862">
                  <c:v>38660</c:v>
                </c:pt>
                <c:pt idx="863">
                  <c:v>38663</c:v>
                </c:pt>
                <c:pt idx="864">
                  <c:v>38664</c:v>
                </c:pt>
                <c:pt idx="865">
                  <c:v>38665</c:v>
                </c:pt>
                <c:pt idx="866">
                  <c:v>38666</c:v>
                </c:pt>
                <c:pt idx="867">
                  <c:v>38667</c:v>
                </c:pt>
                <c:pt idx="868">
                  <c:v>38670</c:v>
                </c:pt>
                <c:pt idx="869">
                  <c:v>38671</c:v>
                </c:pt>
                <c:pt idx="870">
                  <c:v>38672</c:v>
                </c:pt>
                <c:pt idx="871">
                  <c:v>38673</c:v>
                </c:pt>
                <c:pt idx="872">
                  <c:v>38674</c:v>
                </c:pt>
                <c:pt idx="873">
                  <c:v>38677</c:v>
                </c:pt>
                <c:pt idx="874">
                  <c:v>38678</c:v>
                </c:pt>
                <c:pt idx="875">
                  <c:v>38679</c:v>
                </c:pt>
                <c:pt idx="876">
                  <c:v>38680</c:v>
                </c:pt>
                <c:pt idx="877">
                  <c:v>38681</c:v>
                </c:pt>
                <c:pt idx="878">
                  <c:v>38684</c:v>
                </c:pt>
                <c:pt idx="879">
                  <c:v>38685</c:v>
                </c:pt>
                <c:pt idx="880">
                  <c:v>38686</c:v>
                </c:pt>
                <c:pt idx="881">
                  <c:v>38687</c:v>
                </c:pt>
                <c:pt idx="882">
                  <c:v>38688</c:v>
                </c:pt>
                <c:pt idx="883">
                  <c:v>38691</c:v>
                </c:pt>
                <c:pt idx="884">
                  <c:v>38692</c:v>
                </c:pt>
                <c:pt idx="885">
                  <c:v>38693</c:v>
                </c:pt>
                <c:pt idx="886">
                  <c:v>38694</c:v>
                </c:pt>
                <c:pt idx="887">
                  <c:v>38695</c:v>
                </c:pt>
                <c:pt idx="888">
                  <c:v>38698</c:v>
                </c:pt>
                <c:pt idx="889">
                  <c:v>38699</c:v>
                </c:pt>
                <c:pt idx="890">
                  <c:v>38700</c:v>
                </c:pt>
                <c:pt idx="891">
                  <c:v>38701</c:v>
                </c:pt>
                <c:pt idx="892">
                  <c:v>38702</c:v>
                </c:pt>
                <c:pt idx="893">
                  <c:v>38705</c:v>
                </c:pt>
                <c:pt idx="894">
                  <c:v>38706</c:v>
                </c:pt>
                <c:pt idx="895">
                  <c:v>38707</c:v>
                </c:pt>
                <c:pt idx="896">
                  <c:v>38708</c:v>
                </c:pt>
                <c:pt idx="897">
                  <c:v>38709</c:v>
                </c:pt>
                <c:pt idx="898">
                  <c:v>38712</c:v>
                </c:pt>
                <c:pt idx="899">
                  <c:v>38713</c:v>
                </c:pt>
                <c:pt idx="900">
                  <c:v>38714</c:v>
                </c:pt>
                <c:pt idx="901">
                  <c:v>38715</c:v>
                </c:pt>
                <c:pt idx="902">
                  <c:v>38716</c:v>
                </c:pt>
                <c:pt idx="903">
                  <c:v>38721</c:v>
                </c:pt>
                <c:pt idx="904">
                  <c:v>38722</c:v>
                </c:pt>
                <c:pt idx="905">
                  <c:v>38723</c:v>
                </c:pt>
                <c:pt idx="906">
                  <c:v>38726</c:v>
                </c:pt>
                <c:pt idx="907">
                  <c:v>38727</c:v>
                </c:pt>
                <c:pt idx="908">
                  <c:v>38728</c:v>
                </c:pt>
                <c:pt idx="909">
                  <c:v>38729</c:v>
                </c:pt>
                <c:pt idx="910">
                  <c:v>38730</c:v>
                </c:pt>
                <c:pt idx="911">
                  <c:v>38733</c:v>
                </c:pt>
                <c:pt idx="912">
                  <c:v>38734</c:v>
                </c:pt>
                <c:pt idx="913">
                  <c:v>38735</c:v>
                </c:pt>
                <c:pt idx="914">
                  <c:v>38736</c:v>
                </c:pt>
                <c:pt idx="915">
                  <c:v>38737</c:v>
                </c:pt>
                <c:pt idx="916">
                  <c:v>38740</c:v>
                </c:pt>
                <c:pt idx="917">
                  <c:v>38741</c:v>
                </c:pt>
                <c:pt idx="918">
                  <c:v>38742</c:v>
                </c:pt>
                <c:pt idx="919">
                  <c:v>38754</c:v>
                </c:pt>
                <c:pt idx="920">
                  <c:v>38755</c:v>
                </c:pt>
                <c:pt idx="921">
                  <c:v>38756</c:v>
                </c:pt>
                <c:pt idx="922">
                  <c:v>38757</c:v>
                </c:pt>
                <c:pt idx="923">
                  <c:v>38758</c:v>
                </c:pt>
                <c:pt idx="924">
                  <c:v>38761</c:v>
                </c:pt>
                <c:pt idx="925">
                  <c:v>38762</c:v>
                </c:pt>
                <c:pt idx="926">
                  <c:v>38763</c:v>
                </c:pt>
                <c:pt idx="927">
                  <c:v>38764</c:v>
                </c:pt>
                <c:pt idx="928">
                  <c:v>38765</c:v>
                </c:pt>
                <c:pt idx="929">
                  <c:v>38768</c:v>
                </c:pt>
                <c:pt idx="930">
                  <c:v>38769</c:v>
                </c:pt>
                <c:pt idx="931">
                  <c:v>38770</c:v>
                </c:pt>
                <c:pt idx="932">
                  <c:v>38771</c:v>
                </c:pt>
                <c:pt idx="933">
                  <c:v>38772</c:v>
                </c:pt>
                <c:pt idx="934">
                  <c:v>38775</c:v>
                </c:pt>
                <c:pt idx="935">
                  <c:v>38776</c:v>
                </c:pt>
                <c:pt idx="936">
                  <c:v>38777</c:v>
                </c:pt>
                <c:pt idx="937">
                  <c:v>38778</c:v>
                </c:pt>
                <c:pt idx="938">
                  <c:v>38779</c:v>
                </c:pt>
                <c:pt idx="939">
                  <c:v>38782</c:v>
                </c:pt>
                <c:pt idx="940">
                  <c:v>38783</c:v>
                </c:pt>
                <c:pt idx="941">
                  <c:v>38784</c:v>
                </c:pt>
                <c:pt idx="942">
                  <c:v>38785</c:v>
                </c:pt>
                <c:pt idx="943">
                  <c:v>38786</c:v>
                </c:pt>
                <c:pt idx="944">
                  <c:v>38789</c:v>
                </c:pt>
                <c:pt idx="945">
                  <c:v>38790</c:v>
                </c:pt>
                <c:pt idx="946">
                  <c:v>38791</c:v>
                </c:pt>
                <c:pt idx="947">
                  <c:v>38792</c:v>
                </c:pt>
                <c:pt idx="948">
                  <c:v>38793</c:v>
                </c:pt>
                <c:pt idx="949">
                  <c:v>38796</c:v>
                </c:pt>
                <c:pt idx="950">
                  <c:v>38797</c:v>
                </c:pt>
                <c:pt idx="951">
                  <c:v>38798</c:v>
                </c:pt>
                <c:pt idx="952">
                  <c:v>38799</c:v>
                </c:pt>
                <c:pt idx="953">
                  <c:v>38800</c:v>
                </c:pt>
                <c:pt idx="954">
                  <c:v>38803</c:v>
                </c:pt>
                <c:pt idx="955">
                  <c:v>38804</c:v>
                </c:pt>
                <c:pt idx="956">
                  <c:v>38805</c:v>
                </c:pt>
                <c:pt idx="957">
                  <c:v>38806</c:v>
                </c:pt>
                <c:pt idx="958">
                  <c:v>38807</c:v>
                </c:pt>
                <c:pt idx="959">
                  <c:v>38810</c:v>
                </c:pt>
                <c:pt idx="960">
                  <c:v>38811</c:v>
                </c:pt>
                <c:pt idx="961">
                  <c:v>38812</c:v>
                </c:pt>
                <c:pt idx="962">
                  <c:v>38813</c:v>
                </c:pt>
                <c:pt idx="963">
                  <c:v>38814</c:v>
                </c:pt>
                <c:pt idx="964">
                  <c:v>38817</c:v>
                </c:pt>
                <c:pt idx="965">
                  <c:v>38818</c:v>
                </c:pt>
                <c:pt idx="966">
                  <c:v>38819</c:v>
                </c:pt>
                <c:pt idx="967">
                  <c:v>38820</c:v>
                </c:pt>
                <c:pt idx="968">
                  <c:v>38821</c:v>
                </c:pt>
                <c:pt idx="969">
                  <c:v>38824</c:v>
                </c:pt>
                <c:pt idx="970">
                  <c:v>38825</c:v>
                </c:pt>
                <c:pt idx="971">
                  <c:v>38826</c:v>
                </c:pt>
                <c:pt idx="972">
                  <c:v>38827</c:v>
                </c:pt>
                <c:pt idx="973">
                  <c:v>38828</c:v>
                </c:pt>
                <c:pt idx="974">
                  <c:v>38831</c:v>
                </c:pt>
                <c:pt idx="975">
                  <c:v>38832</c:v>
                </c:pt>
                <c:pt idx="976">
                  <c:v>38833</c:v>
                </c:pt>
                <c:pt idx="977">
                  <c:v>38834</c:v>
                </c:pt>
                <c:pt idx="978">
                  <c:v>38835</c:v>
                </c:pt>
                <c:pt idx="979">
                  <c:v>38845</c:v>
                </c:pt>
                <c:pt idx="980">
                  <c:v>38846</c:v>
                </c:pt>
                <c:pt idx="981">
                  <c:v>38847</c:v>
                </c:pt>
                <c:pt idx="982">
                  <c:v>38848</c:v>
                </c:pt>
                <c:pt idx="983">
                  <c:v>38849</c:v>
                </c:pt>
                <c:pt idx="984">
                  <c:v>38852</c:v>
                </c:pt>
                <c:pt idx="985">
                  <c:v>38853</c:v>
                </c:pt>
                <c:pt idx="986">
                  <c:v>38854</c:v>
                </c:pt>
                <c:pt idx="987">
                  <c:v>38855</c:v>
                </c:pt>
                <c:pt idx="988">
                  <c:v>38856</c:v>
                </c:pt>
                <c:pt idx="989">
                  <c:v>38859</c:v>
                </c:pt>
                <c:pt idx="990">
                  <c:v>38860</c:v>
                </c:pt>
                <c:pt idx="991">
                  <c:v>38861</c:v>
                </c:pt>
                <c:pt idx="992">
                  <c:v>38862</c:v>
                </c:pt>
                <c:pt idx="993">
                  <c:v>38863</c:v>
                </c:pt>
                <c:pt idx="994">
                  <c:v>38866</c:v>
                </c:pt>
                <c:pt idx="995">
                  <c:v>38867</c:v>
                </c:pt>
                <c:pt idx="996">
                  <c:v>38868</c:v>
                </c:pt>
                <c:pt idx="997">
                  <c:v>38869</c:v>
                </c:pt>
                <c:pt idx="998">
                  <c:v>38870</c:v>
                </c:pt>
                <c:pt idx="999">
                  <c:v>38873</c:v>
                </c:pt>
                <c:pt idx="1000">
                  <c:v>38874</c:v>
                </c:pt>
                <c:pt idx="1001">
                  <c:v>38875</c:v>
                </c:pt>
                <c:pt idx="1002">
                  <c:v>38876</c:v>
                </c:pt>
                <c:pt idx="1003">
                  <c:v>38877</c:v>
                </c:pt>
                <c:pt idx="1004">
                  <c:v>38880</c:v>
                </c:pt>
                <c:pt idx="1005">
                  <c:v>38881</c:v>
                </c:pt>
                <c:pt idx="1006">
                  <c:v>38882</c:v>
                </c:pt>
                <c:pt idx="1007">
                  <c:v>38883</c:v>
                </c:pt>
                <c:pt idx="1008">
                  <c:v>38884</c:v>
                </c:pt>
                <c:pt idx="1009">
                  <c:v>38887</c:v>
                </c:pt>
                <c:pt idx="1010">
                  <c:v>38888</c:v>
                </c:pt>
                <c:pt idx="1011">
                  <c:v>38889</c:v>
                </c:pt>
                <c:pt idx="1012">
                  <c:v>38890</c:v>
                </c:pt>
                <c:pt idx="1013">
                  <c:v>38891</c:v>
                </c:pt>
                <c:pt idx="1014">
                  <c:v>38894</c:v>
                </c:pt>
                <c:pt idx="1015">
                  <c:v>38895</c:v>
                </c:pt>
                <c:pt idx="1016">
                  <c:v>38896</c:v>
                </c:pt>
                <c:pt idx="1017">
                  <c:v>38897</c:v>
                </c:pt>
                <c:pt idx="1018">
                  <c:v>38898</c:v>
                </c:pt>
                <c:pt idx="1019">
                  <c:v>38901</c:v>
                </c:pt>
                <c:pt idx="1020">
                  <c:v>38902</c:v>
                </c:pt>
                <c:pt idx="1021">
                  <c:v>38903</c:v>
                </c:pt>
                <c:pt idx="1022">
                  <c:v>38904</c:v>
                </c:pt>
                <c:pt idx="1023">
                  <c:v>38905</c:v>
                </c:pt>
                <c:pt idx="1024">
                  <c:v>38908</c:v>
                </c:pt>
                <c:pt idx="1025">
                  <c:v>38909</c:v>
                </c:pt>
                <c:pt idx="1026">
                  <c:v>38910</c:v>
                </c:pt>
                <c:pt idx="1027">
                  <c:v>38911</c:v>
                </c:pt>
                <c:pt idx="1028">
                  <c:v>38912</c:v>
                </c:pt>
                <c:pt idx="1029">
                  <c:v>38915</c:v>
                </c:pt>
                <c:pt idx="1030">
                  <c:v>38916</c:v>
                </c:pt>
                <c:pt idx="1031">
                  <c:v>38917</c:v>
                </c:pt>
                <c:pt idx="1032">
                  <c:v>38918</c:v>
                </c:pt>
                <c:pt idx="1033">
                  <c:v>38919</c:v>
                </c:pt>
                <c:pt idx="1034">
                  <c:v>38922</c:v>
                </c:pt>
                <c:pt idx="1035">
                  <c:v>38923</c:v>
                </c:pt>
                <c:pt idx="1036">
                  <c:v>38924</c:v>
                </c:pt>
                <c:pt idx="1037">
                  <c:v>38925</c:v>
                </c:pt>
                <c:pt idx="1038">
                  <c:v>38926</c:v>
                </c:pt>
                <c:pt idx="1039">
                  <c:v>38929</c:v>
                </c:pt>
                <c:pt idx="1040">
                  <c:v>38930</c:v>
                </c:pt>
                <c:pt idx="1041">
                  <c:v>38931</c:v>
                </c:pt>
                <c:pt idx="1042">
                  <c:v>38932</c:v>
                </c:pt>
                <c:pt idx="1043">
                  <c:v>38933</c:v>
                </c:pt>
                <c:pt idx="1044">
                  <c:v>38936</c:v>
                </c:pt>
                <c:pt idx="1045">
                  <c:v>38937</c:v>
                </c:pt>
                <c:pt idx="1046">
                  <c:v>38938</c:v>
                </c:pt>
                <c:pt idx="1047">
                  <c:v>38939</c:v>
                </c:pt>
                <c:pt idx="1048">
                  <c:v>38940</c:v>
                </c:pt>
                <c:pt idx="1049">
                  <c:v>38943</c:v>
                </c:pt>
                <c:pt idx="1050">
                  <c:v>38944</c:v>
                </c:pt>
                <c:pt idx="1051">
                  <c:v>38945</c:v>
                </c:pt>
                <c:pt idx="1052">
                  <c:v>38946</c:v>
                </c:pt>
                <c:pt idx="1053">
                  <c:v>38947</c:v>
                </c:pt>
                <c:pt idx="1054">
                  <c:v>38950</c:v>
                </c:pt>
                <c:pt idx="1055">
                  <c:v>38951</c:v>
                </c:pt>
                <c:pt idx="1056">
                  <c:v>38952</c:v>
                </c:pt>
                <c:pt idx="1057">
                  <c:v>38953</c:v>
                </c:pt>
                <c:pt idx="1058">
                  <c:v>38954</c:v>
                </c:pt>
                <c:pt idx="1059">
                  <c:v>38957</c:v>
                </c:pt>
                <c:pt idx="1060">
                  <c:v>38958</c:v>
                </c:pt>
                <c:pt idx="1061">
                  <c:v>38959</c:v>
                </c:pt>
                <c:pt idx="1062">
                  <c:v>38960</c:v>
                </c:pt>
                <c:pt idx="1063">
                  <c:v>38961</c:v>
                </c:pt>
                <c:pt idx="1064">
                  <c:v>38964</c:v>
                </c:pt>
                <c:pt idx="1065">
                  <c:v>38965</c:v>
                </c:pt>
                <c:pt idx="1066">
                  <c:v>38966</c:v>
                </c:pt>
                <c:pt idx="1067">
                  <c:v>38967</c:v>
                </c:pt>
                <c:pt idx="1068">
                  <c:v>38968</c:v>
                </c:pt>
                <c:pt idx="1069">
                  <c:v>38971</c:v>
                </c:pt>
                <c:pt idx="1070">
                  <c:v>38972</c:v>
                </c:pt>
                <c:pt idx="1071">
                  <c:v>38973</c:v>
                </c:pt>
                <c:pt idx="1072">
                  <c:v>38974</c:v>
                </c:pt>
                <c:pt idx="1073">
                  <c:v>38975</c:v>
                </c:pt>
                <c:pt idx="1074">
                  <c:v>38978</c:v>
                </c:pt>
                <c:pt idx="1075">
                  <c:v>38979</c:v>
                </c:pt>
                <c:pt idx="1076">
                  <c:v>38980</c:v>
                </c:pt>
                <c:pt idx="1077">
                  <c:v>38981</c:v>
                </c:pt>
                <c:pt idx="1078">
                  <c:v>38982</c:v>
                </c:pt>
                <c:pt idx="1079">
                  <c:v>38985</c:v>
                </c:pt>
                <c:pt idx="1080">
                  <c:v>38986</c:v>
                </c:pt>
                <c:pt idx="1081">
                  <c:v>38987</c:v>
                </c:pt>
                <c:pt idx="1082">
                  <c:v>38988</c:v>
                </c:pt>
                <c:pt idx="1083">
                  <c:v>38989</c:v>
                </c:pt>
                <c:pt idx="1084">
                  <c:v>38999</c:v>
                </c:pt>
                <c:pt idx="1085">
                  <c:v>39000</c:v>
                </c:pt>
                <c:pt idx="1086">
                  <c:v>39001</c:v>
                </c:pt>
                <c:pt idx="1087">
                  <c:v>39002</c:v>
                </c:pt>
                <c:pt idx="1088">
                  <c:v>39003</c:v>
                </c:pt>
                <c:pt idx="1089">
                  <c:v>39006</c:v>
                </c:pt>
                <c:pt idx="1090">
                  <c:v>39007</c:v>
                </c:pt>
                <c:pt idx="1091">
                  <c:v>39008</c:v>
                </c:pt>
                <c:pt idx="1092">
                  <c:v>39009</c:v>
                </c:pt>
                <c:pt idx="1093">
                  <c:v>39010</c:v>
                </c:pt>
                <c:pt idx="1094">
                  <c:v>39013</c:v>
                </c:pt>
                <c:pt idx="1095">
                  <c:v>39014</c:v>
                </c:pt>
                <c:pt idx="1096">
                  <c:v>39015</c:v>
                </c:pt>
                <c:pt idx="1097">
                  <c:v>39016</c:v>
                </c:pt>
                <c:pt idx="1098">
                  <c:v>39017</c:v>
                </c:pt>
                <c:pt idx="1099">
                  <c:v>39020</c:v>
                </c:pt>
                <c:pt idx="1100">
                  <c:v>39021</c:v>
                </c:pt>
                <c:pt idx="1101">
                  <c:v>39022</c:v>
                </c:pt>
                <c:pt idx="1102">
                  <c:v>39023</c:v>
                </c:pt>
                <c:pt idx="1103">
                  <c:v>39024</c:v>
                </c:pt>
                <c:pt idx="1104">
                  <c:v>39027</c:v>
                </c:pt>
                <c:pt idx="1105">
                  <c:v>39028</c:v>
                </c:pt>
                <c:pt idx="1106">
                  <c:v>39029</c:v>
                </c:pt>
                <c:pt idx="1107">
                  <c:v>39030</c:v>
                </c:pt>
                <c:pt idx="1108">
                  <c:v>39031</c:v>
                </c:pt>
                <c:pt idx="1109">
                  <c:v>39034</c:v>
                </c:pt>
                <c:pt idx="1110">
                  <c:v>39035</c:v>
                </c:pt>
                <c:pt idx="1111">
                  <c:v>39036</c:v>
                </c:pt>
                <c:pt idx="1112">
                  <c:v>39037</c:v>
                </c:pt>
                <c:pt idx="1113">
                  <c:v>39038</c:v>
                </c:pt>
                <c:pt idx="1114">
                  <c:v>39041</c:v>
                </c:pt>
                <c:pt idx="1115">
                  <c:v>39042</c:v>
                </c:pt>
                <c:pt idx="1116">
                  <c:v>39043</c:v>
                </c:pt>
                <c:pt idx="1117">
                  <c:v>39044</c:v>
                </c:pt>
                <c:pt idx="1118">
                  <c:v>39045</c:v>
                </c:pt>
                <c:pt idx="1119">
                  <c:v>39048</c:v>
                </c:pt>
                <c:pt idx="1120">
                  <c:v>39049</c:v>
                </c:pt>
                <c:pt idx="1121">
                  <c:v>39050</c:v>
                </c:pt>
                <c:pt idx="1122">
                  <c:v>39051</c:v>
                </c:pt>
                <c:pt idx="1123">
                  <c:v>39052</c:v>
                </c:pt>
                <c:pt idx="1124">
                  <c:v>39055</c:v>
                </c:pt>
                <c:pt idx="1125">
                  <c:v>39056</c:v>
                </c:pt>
                <c:pt idx="1126">
                  <c:v>39057</c:v>
                </c:pt>
                <c:pt idx="1127">
                  <c:v>39058</c:v>
                </c:pt>
                <c:pt idx="1128">
                  <c:v>39059</c:v>
                </c:pt>
                <c:pt idx="1129">
                  <c:v>39062</c:v>
                </c:pt>
                <c:pt idx="1130">
                  <c:v>39063</c:v>
                </c:pt>
                <c:pt idx="1131">
                  <c:v>39064</c:v>
                </c:pt>
                <c:pt idx="1132">
                  <c:v>39065</c:v>
                </c:pt>
                <c:pt idx="1133">
                  <c:v>39066</c:v>
                </c:pt>
                <c:pt idx="1134">
                  <c:v>39069</c:v>
                </c:pt>
                <c:pt idx="1135">
                  <c:v>39070</c:v>
                </c:pt>
                <c:pt idx="1136">
                  <c:v>39071</c:v>
                </c:pt>
                <c:pt idx="1137">
                  <c:v>39072</c:v>
                </c:pt>
                <c:pt idx="1138">
                  <c:v>39073</c:v>
                </c:pt>
                <c:pt idx="1139">
                  <c:v>39076</c:v>
                </c:pt>
                <c:pt idx="1140">
                  <c:v>39077</c:v>
                </c:pt>
                <c:pt idx="1141">
                  <c:v>39078</c:v>
                </c:pt>
                <c:pt idx="1142">
                  <c:v>39079</c:v>
                </c:pt>
                <c:pt idx="1143">
                  <c:v>39080</c:v>
                </c:pt>
                <c:pt idx="1144">
                  <c:v>39086</c:v>
                </c:pt>
                <c:pt idx="1145">
                  <c:v>39087</c:v>
                </c:pt>
                <c:pt idx="1146">
                  <c:v>39090</c:v>
                </c:pt>
                <c:pt idx="1147">
                  <c:v>39091</c:v>
                </c:pt>
                <c:pt idx="1148">
                  <c:v>39092</c:v>
                </c:pt>
                <c:pt idx="1149">
                  <c:v>39093</c:v>
                </c:pt>
                <c:pt idx="1150">
                  <c:v>39094</c:v>
                </c:pt>
                <c:pt idx="1151">
                  <c:v>39097</c:v>
                </c:pt>
                <c:pt idx="1152">
                  <c:v>39098</c:v>
                </c:pt>
                <c:pt idx="1153">
                  <c:v>39099</c:v>
                </c:pt>
                <c:pt idx="1154">
                  <c:v>39100</c:v>
                </c:pt>
                <c:pt idx="1155">
                  <c:v>39101</c:v>
                </c:pt>
                <c:pt idx="1156">
                  <c:v>39104</c:v>
                </c:pt>
                <c:pt idx="1157">
                  <c:v>39105</c:v>
                </c:pt>
                <c:pt idx="1158">
                  <c:v>39106</c:v>
                </c:pt>
                <c:pt idx="1159">
                  <c:v>39107</c:v>
                </c:pt>
                <c:pt idx="1160">
                  <c:v>39108</c:v>
                </c:pt>
                <c:pt idx="1161">
                  <c:v>39111</c:v>
                </c:pt>
                <c:pt idx="1162">
                  <c:v>39112</c:v>
                </c:pt>
                <c:pt idx="1163">
                  <c:v>39113</c:v>
                </c:pt>
                <c:pt idx="1164">
                  <c:v>39114</c:v>
                </c:pt>
                <c:pt idx="1165">
                  <c:v>39115</c:v>
                </c:pt>
                <c:pt idx="1166">
                  <c:v>39118</c:v>
                </c:pt>
                <c:pt idx="1167">
                  <c:v>39119</c:v>
                </c:pt>
                <c:pt idx="1168">
                  <c:v>39120</c:v>
                </c:pt>
                <c:pt idx="1169">
                  <c:v>39121</c:v>
                </c:pt>
                <c:pt idx="1170">
                  <c:v>39122</c:v>
                </c:pt>
                <c:pt idx="1171">
                  <c:v>39125</c:v>
                </c:pt>
                <c:pt idx="1172">
                  <c:v>39126</c:v>
                </c:pt>
                <c:pt idx="1173">
                  <c:v>39127</c:v>
                </c:pt>
                <c:pt idx="1174">
                  <c:v>39128</c:v>
                </c:pt>
                <c:pt idx="1175">
                  <c:v>39129</c:v>
                </c:pt>
                <c:pt idx="1176">
                  <c:v>39139</c:v>
                </c:pt>
                <c:pt idx="1177">
                  <c:v>39140</c:v>
                </c:pt>
                <c:pt idx="1178">
                  <c:v>39141</c:v>
                </c:pt>
                <c:pt idx="1179">
                  <c:v>39142</c:v>
                </c:pt>
                <c:pt idx="1180">
                  <c:v>39143</c:v>
                </c:pt>
                <c:pt idx="1181">
                  <c:v>39146</c:v>
                </c:pt>
                <c:pt idx="1182">
                  <c:v>39147</c:v>
                </c:pt>
                <c:pt idx="1183">
                  <c:v>39148</c:v>
                </c:pt>
                <c:pt idx="1184">
                  <c:v>39149</c:v>
                </c:pt>
                <c:pt idx="1185">
                  <c:v>39150</c:v>
                </c:pt>
                <c:pt idx="1186">
                  <c:v>39153</c:v>
                </c:pt>
                <c:pt idx="1187">
                  <c:v>39154</c:v>
                </c:pt>
                <c:pt idx="1188">
                  <c:v>39155</c:v>
                </c:pt>
                <c:pt idx="1189">
                  <c:v>39156</c:v>
                </c:pt>
                <c:pt idx="1190">
                  <c:v>39157</c:v>
                </c:pt>
                <c:pt idx="1191">
                  <c:v>39160</c:v>
                </c:pt>
                <c:pt idx="1192">
                  <c:v>39161</c:v>
                </c:pt>
                <c:pt idx="1193">
                  <c:v>39162</c:v>
                </c:pt>
                <c:pt idx="1194">
                  <c:v>39163</c:v>
                </c:pt>
                <c:pt idx="1195">
                  <c:v>39164</c:v>
                </c:pt>
                <c:pt idx="1196">
                  <c:v>39167</c:v>
                </c:pt>
                <c:pt idx="1197">
                  <c:v>39168</c:v>
                </c:pt>
                <c:pt idx="1198">
                  <c:v>39169</c:v>
                </c:pt>
                <c:pt idx="1199">
                  <c:v>39170</c:v>
                </c:pt>
                <c:pt idx="1200">
                  <c:v>39171</c:v>
                </c:pt>
                <c:pt idx="1201">
                  <c:v>39174</c:v>
                </c:pt>
                <c:pt idx="1202">
                  <c:v>39175</c:v>
                </c:pt>
                <c:pt idx="1203">
                  <c:v>39176</c:v>
                </c:pt>
                <c:pt idx="1204">
                  <c:v>39177</c:v>
                </c:pt>
                <c:pt idx="1205">
                  <c:v>39178</c:v>
                </c:pt>
                <c:pt idx="1206">
                  <c:v>39181</c:v>
                </c:pt>
                <c:pt idx="1207">
                  <c:v>39182</c:v>
                </c:pt>
                <c:pt idx="1208">
                  <c:v>39183</c:v>
                </c:pt>
                <c:pt idx="1209">
                  <c:v>39184</c:v>
                </c:pt>
                <c:pt idx="1210">
                  <c:v>39185</c:v>
                </c:pt>
                <c:pt idx="1211">
                  <c:v>39188</c:v>
                </c:pt>
                <c:pt idx="1212">
                  <c:v>39189</c:v>
                </c:pt>
                <c:pt idx="1213">
                  <c:v>39190</c:v>
                </c:pt>
                <c:pt idx="1214">
                  <c:v>39191</c:v>
                </c:pt>
                <c:pt idx="1215">
                  <c:v>39192</c:v>
                </c:pt>
                <c:pt idx="1216">
                  <c:v>39195</c:v>
                </c:pt>
                <c:pt idx="1217">
                  <c:v>39196</c:v>
                </c:pt>
                <c:pt idx="1218">
                  <c:v>39197</c:v>
                </c:pt>
                <c:pt idx="1219">
                  <c:v>39198</c:v>
                </c:pt>
                <c:pt idx="1220">
                  <c:v>39199</c:v>
                </c:pt>
                <c:pt idx="1221">
                  <c:v>39202</c:v>
                </c:pt>
                <c:pt idx="1222">
                  <c:v>39210</c:v>
                </c:pt>
                <c:pt idx="1223">
                  <c:v>39211</c:v>
                </c:pt>
                <c:pt idx="1224">
                  <c:v>39212</c:v>
                </c:pt>
                <c:pt idx="1225">
                  <c:v>39213</c:v>
                </c:pt>
                <c:pt idx="1226">
                  <c:v>39216</c:v>
                </c:pt>
                <c:pt idx="1227">
                  <c:v>39217</c:v>
                </c:pt>
                <c:pt idx="1228">
                  <c:v>39218</c:v>
                </c:pt>
                <c:pt idx="1229">
                  <c:v>39219</c:v>
                </c:pt>
                <c:pt idx="1230">
                  <c:v>39220</c:v>
                </c:pt>
                <c:pt idx="1231">
                  <c:v>39223</c:v>
                </c:pt>
                <c:pt idx="1232">
                  <c:v>39224</c:v>
                </c:pt>
                <c:pt idx="1233">
                  <c:v>39225</c:v>
                </c:pt>
                <c:pt idx="1234">
                  <c:v>39226</c:v>
                </c:pt>
                <c:pt idx="1235">
                  <c:v>39227</c:v>
                </c:pt>
                <c:pt idx="1236">
                  <c:v>39230</c:v>
                </c:pt>
                <c:pt idx="1237">
                  <c:v>39231</c:v>
                </c:pt>
                <c:pt idx="1238">
                  <c:v>39232</c:v>
                </c:pt>
                <c:pt idx="1239">
                  <c:v>39233</c:v>
                </c:pt>
                <c:pt idx="1240">
                  <c:v>39234</c:v>
                </c:pt>
                <c:pt idx="1241">
                  <c:v>39237</c:v>
                </c:pt>
                <c:pt idx="1242">
                  <c:v>39238</c:v>
                </c:pt>
                <c:pt idx="1243">
                  <c:v>39239</c:v>
                </c:pt>
                <c:pt idx="1244">
                  <c:v>39240</c:v>
                </c:pt>
                <c:pt idx="1245">
                  <c:v>39241</c:v>
                </c:pt>
                <c:pt idx="1246">
                  <c:v>39244</c:v>
                </c:pt>
                <c:pt idx="1247">
                  <c:v>39245</c:v>
                </c:pt>
                <c:pt idx="1248">
                  <c:v>39246</c:v>
                </c:pt>
                <c:pt idx="1249">
                  <c:v>39247</c:v>
                </c:pt>
                <c:pt idx="1250">
                  <c:v>39248</c:v>
                </c:pt>
                <c:pt idx="1251">
                  <c:v>39251</c:v>
                </c:pt>
                <c:pt idx="1252">
                  <c:v>39252</c:v>
                </c:pt>
                <c:pt idx="1253">
                  <c:v>39253</c:v>
                </c:pt>
                <c:pt idx="1254">
                  <c:v>39254</c:v>
                </c:pt>
                <c:pt idx="1255">
                  <c:v>39255</c:v>
                </c:pt>
                <c:pt idx="1256">
                  <c:v>39258</c:v>
                </c:pt>
                <c:pt idx="1257">
                  <c:v>39259</c:v>
                </c:pt>
                <c:pt idx="1258">
                  <c:v>39260</c:v>
                </c:pt>
                <c:pt idx="1259">
                  <c:v>39261</c:v>
                </c:pt>
                <c:pt idx="1260">
                  <c:v>39262</c:v>
                </c:pt>
                <c:pt idx="1261">
                  <c:v>39265</c:v>
                </c:pt>
                <c:pt idx="1262">
                  <c:v>39266</c:v>
                </c:pt>
                <c:pt idx="1263">
                  <c:v>39267</c:v>
                </c:pt>
                <c:pt idx="1264">
                  <c:v>39268</c:v>
                </c:pt>
                <c:pt idx="1265">
                  <c:v>39269</c:v>
                </c:pt>
                <c:pt idx="1266">
                  <c:v>39272</c:v>
                </c:pt>
                <c:pt idx="1267">
                  <c:v>39273</c:v>
                </c:pt>
                <c:pt idx="1268">
                  <c:v>39274</c:v>
                </c:pt>
                <c:pt idx="1269">
                  <c:v>39275</c:v>
                </c:pt>
                <c:pt idx="1270">
                  <c:v>39276</c:v>
                </c:pt>
                <c:pt idx="1271">
                  <c:v>39279</c:v>
                </c:pt>
                <c:pt idx="1272">
                  <c:v>39280</c:v>
                </c:pt>
                <c:pt idx="1273">
                  <c:v>39281</c:v>
                </c:pt>
                <c:pt idx="1274">
                  <c:v>39282</c:v>
                </c:pt>
                <c:pt idx="1275">
                  <c:v>39283</c:v>
                </c:pt>
                <c:pt idx="1276">
                  <c:v>39286</c:v>
                </c:pt>
                <c:pt idx="1277">
                  <c:v>39287</c:v>
                </c:pt>
                <c:pt idx="1278">
                  <c:v>39288</c:v>
                </c:pt>
                <c:pt idx="1279">
                  <c:v>39289</c:v>
                </c:pt>
                <c:pt idx="1280">
                  <c:v>39290</c:v>
                </c:pt>
                <c:pt idx="1281">
                  <c:v>39293</c:v>
                </c:pt>
                <c:pt idx="1282">
                  <c:v>39294</c:v>
                </c:pt>
                <c:pt idx="1283">
                  <c:v>39295</c:v>
                </c:pt>
                <c:pt idx="1284">
                  <c:v>39296</c:v>
                </c:pt>
                <c:pt idx="1285">
                  <c:v>39297</c:v>
                </c:pt>
                <c:pt idx="1286">
                  <c:v>39300</c:v>
                </c:pt>
                <c:pt idx="1287">
                  <c:v>39301</c:v>
                </c:pt>
                <c:pt idx="1288">
                  <c:v>39302</c:v>
                </c:pt>
                <c:pt idx="1289">
                  <c:v>39303</c:v>
                </c:pt>
                <c:pt idx="1290">
                  <c:v>39304</c:v>
                </c:pt>
                <c:pt idx="1291">
                  <c:v>39307</c:v>
                </c:pt>
                <c:pt idx="1292">
                  <c:v>39308</c:v>
                </c:pt>
                <c:pt idx="1293">
                  <c:v>39309</c:v>
                </c:pt>
                <c:pt idx="1294">
                  <c:v>39310</c:v>
                </c:pt>
                <c:pt idx="1295">
                  <c:v>39311</c:v>
                </c:pt>
                <c:pt idx="1296">
                  <c:v>39314</c:v>
                </c:pt>
                <c:pt idx="1297">
                  <c:v>39315</c:v>
                </c:pt>
                <c:pt idx="1298">
                  <c:v>39316</c:v>
                </c:pt>
                <c:pt idx="1299">
                  <c:v>39317</c:v>
                </c:pt>
                <c:pt idx="1300">
                  <c:v>39318</c:v>
                </c:pt>
                <c:pt idx="1301">
                  <c:v>39321</c:v>
                </c:pt>
                <c:pt idx="1302">
                  <c:v>39322</c:v>
                </c:pt>
                <c:pt idx="1303">
                  <c:v>39323</c:v>
                </c:pt>
                <c:pt idx="1304">
                  <c:v>39324</c:v>
                </c:pt>
                <c:pt idx="1305">
                  <c:v>39325</c:v>
                </c:pt>
                <c:pt idx="1306">
                  <c:v>39328</c:v>
                </c:pt>
                <c:pt idx="1307">
                  <c:v>39329</c:v>
                </c:pt>
                <c:pt idx="1308">
                  <c:v>39330</c:v>
                </c:pt>
                <c:pt idx="1309">
                  <c:v>39331</c:v>
                </c:pt>
                <c:pt idx="1310">
                  <c:v>39332</c:v>
                </c:pt>
                <c:pt idx="1311">
                  <c:v>39335</c:v>
                </c:pt>
                <c:pt idx="1312">
                  <c:v>39336</c:v>
                </c:pt>
                <c:pt idx="1313">
                  <c:v>39337</c:v>
                </c:pt>
                <c:pt idx="1314">
                  <c:v>39338</c:v>
                </c:pt>
                <c:pt idx="1315">
                  <c:v>39339</c:v>
                </c:pt>
                <c:pt idx="1316">
                  <c:v>39342</c:v>
                </c:pt>
                <c:pt idx="1317">
                  <c:v>39343</c:v>
                </c:pt>
                <c:pt idx="1318">
                  <c:v>39344</c:v>
                </c:pt>
                <c:pt idx="1319">
                  <c:v>39345</c:v>
                </c:pt>
                <c:pt idx="1320">
                  <c:v>39346</c:v>
                </c:pt>
                <c:pt idx="1321">
                  <c:v>39349</c:v>
                </c:pt>
                <c:pt idx="1322">
                  <c:v>39350</c:v>
                </c:pt>
                <c:pt idx="1323">
                  <c:v>39351</c:v>
                </c:pt>
                <c:pt idx="1324">
                  <c:v>39352</c:v>
                </c:pt>
                <c:pt idx="1325">
                  <c:v>39353</c:v>
                </c:pt>
                <c:pt idx="1326">
                  <c:v>39363</c:v>
                </c:pt>
                <c:pt idx="1327">
                  <c:v>39364</c:v>
                </c:pt>
                <c:pt idx="1328">
                  <c:v>39365</c:v>
                </c:pt>
                <c:pt idx="1329">
                  <c:v>39366</c:v>
                </c:pt>
                <c:pt idx="1330">
                  <c:v>39367</c:v>
                </c:pt>
                <c:pt idx="1331">
                  <c:v>39370</c:v>
                </c:pt>
                <c:pt idx="1332">
                  <c:v>39371</c:v>
                </c:pt>
                <c:pt idx="1333">
                  <c:v>39372</c:v>
                </c:pt>
                <c:pt idx="1334">
                  <c:v>39373</c:v>
                </c:pt>
                <c:pt idx="1335">
                  <c:v>39374</c:v>
                </c:pt>
                <c:pt idx="1336">
                  <c:v>39377</c:v>
                </c:pt>
                <c:pt idx="1337">
                  <c:v>39378</c:v>
                </c:pt>
                <c:pt idx="1338">
                  <c:v>39379</c:v>
                </c:pt>
                <c:pt idx="1339">
                  <c:v>39380</c:v>
                </c:pt>
                <c:pt idx="1340">
                  <c:v>39381</c:v>
                </c:pt>
                <c:pt idx="1341">
                  <c:v>39384</c:v>
                </c:pt>
                <c:pt idx="1342">
                  <c:v>39385</c:v>
                </c:pt>
                <c:pt idx="1343">
                  <c:v>39386</c:v>
                </c:pt>
                <c:pt idx="1344">
                  <c:v>39387</c:v>
                </c:pt>
                <c:pt idx="1345">
                  <c:v>39388</c:v>
                </c:pt>
                <c:pt idx="1346">
                  <c:v>39391</c:v>
                </c:pt>
                <c:pt idx="1347">
                  <c:v>39392</c:v>
                </c:pt>
                <c:pt idx="1348">
                  <c:v>39393</c:v>
                </c:pt>
                <c:pt idx="1349">
                  <c:v>39394</c:v>
                </c:pt>
                <c:pt idx="1350">
                  <c:v>39395</c:v>
                </c:pt>
                <c:pt idx="1351">
                  <c:v>39398</c:v>
                </c:pt>
                <c:pt idx="1352">
                  <c:v>39399</c:v>
                </c:pt>
                <c:pt idx="1353">
                  <c:v>39400</c:v>
                </c:pt>
                <c:pt idx="1354">
                  <c:v>39401</c:v>
                </c:pt>
                <c:pt idx="1355">
                  <c:v>39402</c:v>
                </c:pt>
                <c:pt idx="1356">
                  <c:v>39405</c:v>
                </c:pt>
                <c:pt idx="1357">
                  <c:v>39406</c:v>
                </c:pt>
                <c:pt idx="1358">
                  <c:v>39407</c:v>
                </c:pt>
                <c:pt idx="1359">
                  <c:v>39408</c:v>
                </c:pt>
                <c:pt idx="1360">
                  <c:v>39409</c:v>
                </c:pt>
                <c:pt idx="1361">
                  <c:v>39412</c:v>
                </c:pt>
                <c:pt idx="1362">
                  <c:v>39413</c:v>
                </c:pt>
                <c:pt idx="1363">
                  <c:v>39414</c:v>
                </c:pt>
                <c:pt idx="1364">
                  <c:v>39415</c:v>
                </c:pt>
                <c:pt idx="1365">
                  <c:v>39416</c:v>
                </c:pt>
                <c:pt idx="1366">
                  <c:v>39419</c:v>
                </c:pt>
                <c:pt idx="1367">
                  <c:v>39420</c:v>
                </c:pt>
                <c:pt idx="1368">
                  <c:v>39421</c:v>
                </c:pt>
                <c:pt idx="1369">
                  <c:v>39422</c:v>
                </c:pt>
                <c:pt idx="1370">
                  <c:v>39423</c:v>
                </c:pt>
                <c:pt idx="1371">
                  <c:v>39426</c:v>
                </c:pt>
                <c:pt idx="1372">
                  <c:v>39427</c:v>
                </c:pt>
                <c:pt idx="1373">
                  <c:v>39428</c:v>
                </c:pt>
                <c:pt idx="1374">
                  <c:v>39429</c:v>
                </c:pt>
                <c:pt idx="1375">
                  <c:v>39430</c:v>
                </c:pt>
                <c:pt idx="1376">
                  <c:v>39433</c:v>
                </c:pt>
                <c:pt idx="1377">
                  <c:v>39434</c:v>
                </c:pt>
                <c:pt idx="1378">
                  <c:v>39435</c:v>
                </c:pt>
                <c:pt idx="1379">
                  <c:v>39436</c:v>
                </c:pt>
                <c:pt idx="1380">
                  <c:v>39437</c:v>
                </c:pt>
                <c:pt idx="1381">
                  <c:v>39440</c:v>
                </c:pt>
                <c:pt idx="1382">
                  <c:v>39441</c:v>
                </c:pt>
                <c:pt idx="1383">
                  <c:v>39442</c:v>
                </c:pt>
                <c:pt idx="1384">
                  <c:v>39443</c:v>
                </c:pt>
                <c:pt idx="1385">
                  <c:v>39444</c:v>
                </c:pt>
                <c:pt idx="1386">
                  <c:v>39449</c:v>
                </c:pt>
                <c:pt idx="1387">
                  <c:v>39450</c:v>
                </c:pt>
                <c:pt idx="1388">
                  <c:v>39451</c:v>
                </c:pt>
                <c:pt idx="1389">
                  <c:v>39454</c:v>
                </c:pt>
                <c:pt idx="1390">
                  <c:v>39455</c:v>
                </c:pt>
                <c:pt idx="1391">
                  <c:v>39456</c:v>
                </c:pt>
                <c:pt idx="1392">
                  <c:v>39457</c:v>
                </c:pt>
                <c:pt idx="1393">
                  <c:v>39458</c:v>
                </c:pt>
                <c:pt idx="1394">
                  <c:v>39461</c:v>
                </c:pt>
                <c:pt idx="1395">
                  <c:v>39462</c:v>
                </c:pt>
                <c:pt idx="1396">
                  <c:v>39463</c:v>
                </c:pt>
                <c:pt idx="1397">
                  <c:v>39464</c:v>
                </c:pt>
                <c:pt idx="1398">
                  <c:v>39465</c:v>
                </c:pt>
                <c:pt idx="1399">
                  <c:v>39468</c:v>
                </c:pt>
                <c:pt idx="1400">
                  <c:v>39469</c:v>
                </c:pt>
                <c:pt idx="1401">
                  <c:v>39470</c:v>
                </c:pt>
                <c:pt idx="1402">
                  <c:v>39471</c:v>
                </c:pt>
                <c:pt idx="1403">
                  <c:v>39472</c:v>
                </c:pt>
                <c:pt idx="1404">
                  <c:v>39475</c:v>
                </c:pt>
                <c:pt idx="1405">
                  <c:v>39476</c:v>
                </c:pt>
                <c:pt idx="1406">
                  <c:v>39477</c:v>
                </c:pt>
                <c:pt idx="1407">
                  <c:v>39478</c:v>
                </c:pt>
                <c:pt idx="1408">
                  <c:v>39479</c:v>
                </c:pt>
                <c:pt idx="1409">
                  <c:v>39482</c:v>
                </c:pt>
                <c:pt idx="1410">
                  <c:v>39483</c:v>
                </c:pt>
                <c:pt idx="1411">
                  <c:v>39491</c:v>
                </c:pt>
                <c:pt idx="1412">
                  <c:v>39492</c:v>
                </c:pt>
                <c:pt idx="1413">
                  <c:v>39493</c:v>
                </c:pt>
                <c:pt idx="1414">
                  <c:v>39496</c:v>
                </c:pt>
                <c:pt idx="1415">
                  <c:v>39497</c:v>
                </c:pt>
                <c:pt idx="1416">
                  <c:v>39498</c:v>
                </c:pt>
                <c:pt idx="1417">
                  <c:v>39499</c:v>
                </c:pt>
                <c:pt idx="1418">
                  <c:v>39500</c:v>
                </c:pt>
                <c:pt idx="1419">
                  <c:v>39503</c:v>
                </c:pt>
                <c:pt idx="1420">
                  <c:v>39504</c:v>
                </c:pt>
                <c:pt idx="1421">
                  <c:v>39505</c:v>
                </c:pt>
                <c:pt idx="1422">
                  <c:v>39506</c:v>
                </c:pt>
                <c:pt idx="1423">
                  <c:v>39507</c:v>
                </c:pt>
                <c:pt idx="1424">
                  <c:v>39510</c:v>
                </c:pt>
                <c:pt idx="1425">
                  <c:v>39511</c:v>
                </c:pt>
                <c:pt idx="1426">
                  <c:v>39512</c:v>
                </c:pt>
                <c:pt idx="1427">
                  <c:v>39513</c:v>
                </c:pt>
                <c:pt idx="1428">
                  <c:v>39514</c:v>
                </c:pt>
                <c:pt idx="1429">
                  <c:v>39517</c:v>
                </c:pt>
                <c:pt idx="1430">
                  <c:v>39518</c:v>
                </c:pt>
                <c:pt idx="1431">
                  <c:v>39519</c:v>
                </c:pt>
                <c:pt idx="1432">
                  <c:v>39520</c:v>
                </c:pt>
                <c:pt idx="1433">
                  <c:v>39521</c:v>
                </c:pt>
                <c:pt idx="1434">
                  <c:v>39524</c:v>
                </c:pt>
                <c:pt idx="1435">
                  <c:v>39525</c:v>
                </c:pt>
                <c:pt idx="1436">
                  <c:v>39526</c:v>
                </c:pt>
                <c:pt idx="1437">
                  <c:v>39527</c:v>
                </c:pt>
                <c:pt idx="1438">
                  <c:v>39528</c:v>
                </c:pt>
                <c:pt idx="1439">
                  <c:v>39531</c:v>
                </c:pt>
                <c:pt idx="1440">
                  <c:v>39532</c:v>
                </c:pt>
                <c:pt idx="1441">
                  <c:v>39533</c:v>
                </c:pt>
                <c:pt idx="1442">
                  <c:v>39534</c:v>
                </c:pt>
                <c:pt idx="1443">
                  <c:v>39535</c:v>
                </c:pt>
                <c:pt idx="1444">
                  <c:v>39538</c:v>
                </c:pt>
                <c:pt idx="1445">
                  <c:v>39539</c:v>
                </c:pt>
                <c:pt idx="1446">
                  <c:v>39540</c:v>
                </c:pt>
                <c:pt idx="1447">
                  <c:v>39541</c:v>
                </c:pt>
                <c:pt idx="1448">
                  <c:v>39545</c:v>
                </c:pt>
                <c:pt idx="1449">
                  <c:v>39546</c:v>
                </c:pt>
                <c:pt idx="1450">
                  <c:v>39547</c:v>
                </c:pt>
                <c:pt idx="1451">
                  <c:v>39548</c:v>
                </c:pt>
                <c:pt idx="1452">
                  <c:v>39549</c:v>
                </c:pt>
                <c:pt idx="1453">
                  <c:v>39552</c:v>
                </c:pt>
                <c:pt idx="1454">
                  <c:v>39553</c:v>
                </c:pt>
                <c:pt idx="1455">
                  <c:v>39554</c:v>
                </c:pt>
                <c:pt idx="1456">
                  <c:v>39555</c:v>
                </c:pt>
                <c:pt idx="1457">
                  <c:v>39556</c:v>
                </c:pt>
                <c:pt idx="1458">
                  <c:v>39559</c:v>
                </c:pt>
                <c:pt idx="1459">
                  <c:v>39560</c:v>
                </c:pt>
                <c:pt idx="1460">
                  <c:v>39561</c:v>
                </c:pt>
                <c:pt idx="1461">
                  <c:v>39562</c:v>
                </c:pt>
                <c:pt idx="1462">
                  <c:v>39563</c:v>
                </c:pt>
                <c:pt idx="1463">
                  <c:v>39566</c:v>
                </c:pt>
                <c:pt idx="1464">
                  <c:v>39567</c:v>
                </c:pt>
                <c:pt idx="1465">
                  <c:v>39568</c:v>
                </c:pt>
                <c:pt idx="1466">
                  <c:v>39573</c:v>
                </c:pt>
                <c:pt idx="1467">
                  <c:v>39574</c:v>
                </c:pt>
                <c:pt idx="1468">
                  <c:v>39575</c:v>
                </c:pt>
                <c:pt idx="1469">
                  <c:v>39576</c:v>
                </c:pt>
                <c:pt idx="1470">
                  <c:v>39577</c:v>
                </c:pt>
                <c:pt idx="1471">
                  <c:v>39580</c:v>
                </c:pt>
                <c:pt idx="1472">
                  <c:v>39581</c:v>
                </c:pt>
                <c:pt idx="1473">
                  <c:v>39582</c:v>
                </c:pt>
                <c:pt idx="1474">
                  <c:v>39583</c:v>
                </c:pt>
                <c:pt idx="1475">
                  <c:v>39584</c:v>
                </c:pt>
                <c:pt idx="1476">
                  <c:v>39587</c:v>
                </c:pt>
                <c:pt idx="1477">
                  <c:v>39588</c:v>
                </c:pt>
                <c:pt idx="1478">
                  <c:v>39589</c:v>
                </c:pt>
                <c:pt idx="1479">
                  <c:v>39590</c:v>
                </c:pt>
                <c:pt idx="1480">
                  <c:v>39591</c:v>
                </c:pt>
                <c:pt idx="1481">
                  <c:v>39594</c:v>
                </c:pt>
                <c:pt idx="1482">
                  <c:v>39595</c:v>
                </c:pt>
                <c:pt idx="1483">
                  <c:v>39596</c:v>
                </c:pt>
                <c:pt idx="1484">
                  <c:v>39597</c:v>
                </c:pt>
                <c:pt idx="1485">
                  <c:v>39598</c:v>
                </c:pt>
                <c:pt idx="1486">
                  <c:v>39601</c:v>
                </c:pt>
                <c:pt idx="1487">
                  <c:v>39602</c:v>
                </c:pt>
                <c:pt idx="1488">
                  <c:v>39603</c:v>
                </c:pt>
                <c:pt idx="1489">
                  <c:v>39604</c:v>
                </c:pt>
                <c:pt idx="1490">
                  <c:v>39605</c:v>
                </c:pt>
                <c:pt idx="1491">
                  <c:v>39609</c:v>
                </c:pt>
                <c:pt idx="1492">
                  <c:v>39610</c:v>
                </c:pt>
                <c:pt idx="1493">
                  <c:v>39611</c:v>
                </c:pt>
                <c:pt idx="1494">
                  <c:v>39612</c:v>
                </c:pt>
                <c:pt idx="1495">
                  <c:v>39615</c:v>
                </c:pt>
                <c:pt idx="1496">
                  <c:v>39616</c:v>
                </c:pt>
                <c:pt idx="1497">
                  <c:v>39617</c:v>
                </c:pt>
                <c:pt idx="1498">
                  <c:v>39618</c:v>
                </c:pt>
                <c:pt idx="1499">
                  <c:v>39619</c:v>
                </c:pt>
                <c:pt idx="1500">
                  <c:v>39622</c:v>
                </c:pt>
                <c:pt idx="1501">
                  <c:v>39623</c:v>
                </c:pt>
                <c:pt idx="1502">
                  <c:v>39624</c:v>
                </c:pt>
                <c:pt idx="1503">
                  <c:v>39625</c:v>
                </c:pt>
                <c:pt idx="1504">
                  <c:v>39626</c:v>
                </c:pt>
                <c:pt idx="1505">
                  <c:v>39629</c:v>
                </c:pt>
                <c:pt idx="1506">
                  <c:v>39630</c:v>
                </c:pt>
                <c:pt idx="1507">
                  <c:v>39631</c:v>
                </c:pt>
                <c:pt idx="1508">
                  <c:v>39632</c:v>
                </c:pt>
                <c:pt idx="1509">
                  <c:v>39633</c:v>
                </c:pt>
                <c:pt idx="1510">
                  <c:v>39636</c:v>
                </c:pt>
                <c:pt idx="1511">
                  <c:v>39637</c:v>
                </c:pt>
                <c:pt idx="1512">
                  <c:v>39638</c:v>
                </c:pt>
                <c:pt idx="1513">
                  <c:v>39639</c:v>
                </c:pt>
                <c:pt idx="1514">
                  <c:v>39640</c:v>
                </c:pt>
                <c:pt idx="1515">
                  <c:v>39643</c:v>
                </c:pt>
                <c:pt idx="1516">
                  <c:v>39644</c:v>
                </c:pt>
                <c:pt idx="1517">
                  <c:v>39645</c:v>
                </c:pt>
                <c:pt idx="1518">
                  <c:v>39646</c:v>
                </c:pt>
                <c:pt idx="1519">
                  <c:v>39647</c:v>
                </c:pt>
                <c:pt idx="1520">
                  <c:v>39650</c:v>
                </c:pt>
                <c:pt idx="1521">
                  <c:v>39651</c:v>
                </c:pt>
                <c:pt idx="1522">
                  <c:v>39652</c:v>
                </c:pt>
                <c:pt idx="1523">
                  <c:v>39653</c:v>
                </c:pt>
                <c:pt idx="1524">
                  <c:v>39654</c:v>
                </c:pt>
                <c:pt idx="1525">
                  <c:v>39657</c:v>
                </c:pt>
                <c:pt idx="1526">
                  <c:v>39658</c:v>
                </c:pt>
                <c:pt idx="1527">
                  <c:v>39659</c:v>
                </c:pt>
                <c:pt idx="1528">
                  <c:v>39660</c:v>
                </c:pt>
                <c:pt idx="1529">
                  <c:v>39661</c:v>
                </c:pt>
                <c:pt idx="1530">
                  <c:v>39664</c:v>
                </c:pt>
                <c:pt idx="1531">
                  <c:v>39665</c:v>
                </c:pt>
                <c:pt idx="1532">
                  <c:v>39666</c:v>
                </c:pt>
                <c:pt idx="1533">
                  <c:v>39667</c:v>
                </c:pt>
                <c:pt idx="1534">
                  <c:v>39668</c:v>
                </c:pt>
                <c:pt idx="1535">
                  <c:v>39671</c:v>
                </c:pt>
                <c:pt idx="1536">
                  <c:v>39672</c:v>
                </c:pt>
                <c:pt idx="1537">
                  <c:v>39673</c:v>
                </c:pt>
                <c:pt idx="1538">
                  <c:v>39674</c:v>
                </c:pt>
                <c:pt idx="1539">
                  <c:v>39675</c:v>
                </c:pt>
                <c:pt idx="1540">
                  <c:v>39678</c:v>
                </c:pt>
                <c:pt idx="1541">
                  <c:v>39679</c:v>
                </c:pt>
                <c:pt idx="1542">
                  <c:v>39680</c:v>
                </c:pt>
                <c:pt idx="1543">
                  <c:v>39681</c:v>
                </c:pt>
                <c:pt idx="1544">
                  <c:v>39682</c:v>
                </c:pt>
                <c:pt idx="1545">
                  <c:v>39685</c:v>
                </c:pt>
                <c:pt idx="1546">
                  <c:v>39686</c:v>
                </c:pt>
                <c:pt idx="1547">
                  <c:v>39687</c:v>
                </c:pt>
                <c:pt idx="1548">
                  <c:v>39688</c:v>
                </c:pt>
                <c:pt idx="1549">
                  <c:v>39689</c:v>
                </c:pt>
                <c:pt idx="1550">
                  <c:v>39692</c:v>
                </c:pt>
                <c:pt idx="1551">
                  <c:v>39693</c:v>
                </c:pt>
                <c:pt idx="1552">
                  <c:v>39694</c:v>
                </c:pt>
                <c:pt idx="1553">
                  <c:v>39695</c:v>
                </c:pt>
                <c:pt idx="1554">
                  <c:v>39696</c:v>
                </c:pt>
                <c:pt idx="1555">
                  <c:v>39699</c:v>
                </c:pt>
                <c:pt idx="1556">
                  <c:v>39700</c:v>
                </c:pt>
                <c:pt idx="1557">
                  <c:v>39701</c:v>
                </c:pt>
                <c:pt idx="1558">
                  <c:v>39702</c:v>
                </c:pt>
                <c:pt idx="1559">
                  <c:v>39703</c:v>
                </c:pt>
                <c:pt idx="1560">
                  <c:v>39707</c:v>
                </c:pt>
                <c:pt idx="1561">
                  <c:v>39708</c:v>
                </c:pt>
                <c:pt idx="1562">
                  <c:v>39709</c:v>
                </c:pt>
                <c:pt idx="1563">
                  <c:v>39710</c:v>
                </c:pt>
                <c:pt idx="1564">
                  <c:v>39713</c:v>
                </c:pt>
                <c:pt idx="1565">
                  <c:v>39714</c:v>
                </c:pt>
                <c:pt idx="1566">
                  <c:v>39715</c:v>
                </c:pt>
                <c:pt idx="1567">
                  <c:v>39716</c:v>
                </c:pt>
                <c:pt idx="1568">
                  <c:v>39717</c:v>
                </c:pt>
                <c:pt idx="1569">
                  <c:v>39727</c:v>
                </c:pt>
                <c:pt idx="1570">
                  <c:v>39728</c:v>
                </c:pt>
                <c:pt idx="1571">
                  <c:v>39729</c:v>
                </c:pt>
                <c:pt idx="1572">
                  <c:v>39730</c:v>
                </c:pt>
                <c:pt idx="1573">
                  <c:v>39731</c:v>
                </c:pt>
                <c:pt idx="1574">
                  <c:v>39734</c:v>
                </c:pt>
                <c:pt idx="1575">
                  <c:v>39735</c:v>
                </c:pt>
                <c:pt idx="1576">
                  <c:v>39736</c:v>
                </c:pt>
                <c:pt idx="1577">
                  <c:v>39737</c:v>
                </c:pt>
                <c:pt idx="1578">
                  <c:v>39738</c:v>
                </c:pt>
                <c:pt idx="1579">
                  <c:v>39741</c:v>
                </c:pt>
                <c:pt idx="1580">
                  <c:v>39742</c:v>
                </c:pt>
                <c:pt idx="1581">
                  <c:v>39743</c:v>
                </c:pt>
                <c:pt idx="1582">
                  <c:v>39744</c:v>
                </c:pt>
                <c:pt idx="1583">
                  <c:v>39745</c:v>
                </c:pt>
                <c:pt idx="1584">
                  <c:v>39748</c:v>
                </c:pt>
                <c:pt idx="1585">
                  <c:v>39749</c:v>
                </c:pt>
                <c:pt idx="1586">
                  <c:v>39750</c:v>
                </c:pt>
                <c:pt idx="1587">
                  <c:v>39751</c:v>
                </c:pt>
                <c:pt idx="1588">
                  <c:v>39752</c:v>
                </c:pt>
                <c:pt idx="1589">
                  <c:v>39755</c:v>
                </c:pt>
                <c:pt idx="1590">
                  <c:v>39756</c:v>
                </c:pt>
                <c:pt idx="1591">
                  <c:v>39757</c:v>
                </c:pt>
                <c:pt idx="1592">
                  <c:v>39758</c:v>
                </c:pt>
                <c:pt idx="1593">
                  <c:v>39759</c:v>
                </c:pt>
                <c:pt idx="1594">
                  <c:v>39762</c:v>
                </c:pt>
                <c:pt idx="1595">
                  <c:v>39763</c:v>
                </c:pt>
                <c:pt idx="1596">
                  <c:v>39764</c:v>
                </c:pt>
                <c:pt idx="1597">
                  <c:v>39765</c:v>
                </c:pt>
                <c:pt idx="1598">
                  <c:v>39766</c:v>
                </c:pt>
                <c:pt idx="1599">
                  <c:v>39769</c:v>
                </c:pt>
                <c:pt idx="1600">
                  <c:v>39770</c:v>
                </c:pt>
                <c:pt idx="1601">
                  <c:v>39771</c:v>
                </c:pt>
                <c:pt idx="1602">
                  <c:v>39772</c:v>
                </c:pt>
                <c:pt idx="1603">
                  <c:v>39773</c:v>
                </c:pt>
                <c:pt idx="1604">
                  <c:v>39776</c:v>
                </c:pt>
                <c:pt idx="1605">
                  <c:v>39777</c:v>
                </c:pt>
                <c:pt idx="1606">
                  <c:v>39778</c:v>
                </c:pt>
                <c:pt idx="1607">
                  <c:v>39779</c:v>
                </c:pt>
                <c:pt idx="1608">
                  <c:v>39780</c:v>
                </c:pt>
                <c:pt idx="1609">
                  <c:v>39783</c:v>
                </c:pt>
                <c:pt idx="1610">
                  <c:v>39784</c:v>
                </c:pt>
                <c:pt idx="1611">
                  <c:v>39785</c:v>
                </c:pt>
                <c:pt idx="1612">
                  <c:v>39786</c:v>
                </c:pt>
                <c:pt idx="1613">
                  <c:v>39787</c:v>
                </c:pt>
                <c:pt idx="1614">
                  <c:v>39790</c:v>
                </c:pt>
                <c:pt idx="1615">
                  <c:v>39791</c:v>
                </c:pt>
                <c:pt idx="1616">
                  <c:v>39792</c:v>
                </c:pt>
                <c:pt idx="1617">
                  <c:v>39793</c:v>
                </c:pt>
                <c:pt idx="1618">
                  <c:v>39794</c:v>
                </c:pt>
                <c:pt idx="1619">
                  <c:v>39797</c:v>
                </c:pt>
                <c:pt idx="1620">
                  <c:v>39798</c:v>
                </c:pt>
                <c:pt idx="1621">
                  <c:v>39799</c:v>
                </c:pt>
                <c:pt idx="1622">
                  <c:v>39800</c:v>
                </c:pt>
                <c:pt idx="1623">
                  <c:v>39801</c:v>
                </c:pt>
                <c:pt idx="1624">
                  <c:v>39804</c:v>
                </c:pt>
                <c:pt idx="1625">
                  <c:v>39805</c:v>
                </c:pt>
                <c:pt idx="1626">
                  <c:v>39806</c:v>
                </c:pt>
                <c:pt idx="1627">
                  <c:v>39807</c:v>
                </c:pt>
                <c:pt idx="1628">
                  <c:v>39808</c:v>
                </c:pt>
                <c:pt idx="1629">
                  <c:v>39811</c:v>
                </c:pt>
                <c:pt idx="1630">
                  <c:v>39812</c:v>
                </c:pt>
                <c:pt idx="1631">
                  <c:v>39813</c:v>
                </c:pt>
                <c:pt idx="1632">
                  <c:v>39818</c:v>
                </c:pt>
                <c:pt idx="1633">
                  <c:v>39819</c:v>
                </c:pt>
                <c:pt idx="1634">
                  <c:v>39820</c:v>
                </c:pt>
                <c:pt idx="1635">
                  <c:v>39821</c:v>
                </c:pt>
                <c:pt idx="1636">
                  <c:v>39822</c:v>
                </c:pt>
                <c:pt idx="1637">
                  <c:v>39825</c:v>
                </c:pt>
                <c:pt idx="1638">
                  <c:v>39826</c:v>
                </c:pt>
                <c:pt idx="1639">
                  <c:v>39827</c:v>
                </c:pt>
                <c:pt idx="1640">
                  <c:v>39828</c:v>
                </c:pt>
                <c:pt idx="1641">
                  <c:v>39829</c:v>
                </c:pt>
                <c:pt idx="1642">
                  <c:v>39832</c:v>
                </c:pt>
                <c:pt idx="1643">
                  <c:v>39833</c:v>
                </c:pt>
                <c:pt idx="1644">
                  <c:v>39834</c:v>
                </c:pt>
                <c:pt idx="1645">
                  <c:v>39835</c:v>
                </c:pt>
                <c:pt idx="1646">
                  <c:v>39836</c:v>
                </c:pt>
                <c:pt idx="1647">
                  <c:v>39846</c:v>
                </c:pt>
                <c:pt idx="1648">
                  <c:v>39847</c:v>
                </c:pt>
                <c:pt idx="1649">
                  <c:v>39848</c:v>
                </c:pt>
                <c:pt idx="1650">
                  <c:v>39849</c:v>
                </c:pt>
                <c:pt idx="1651">
                  <c:v>39850</c:v>
                </c:pt>
                <c:pt idx="1652">
                  <c:v>39853</c:v>
                </c:pt>
                <c:pt idx="1653">
                  <c:v>39854</c:v>
                </c:pt>
                <c:pt idx="1654">
                  <c:v>39855</c:v>
                </c:pt>
                <c:pt idx="1655">
                  <c:v>39856</c:v>
                </c:pt>
                <c:pt idx="1656">
                  <c:v>39857</c:v>
                </c:pt>
                <c:pt idx="1657">
                  <c:v>39860</c:v>
                </c:pt>
                <c:pt idx="1658">
                  <c:v>39861</c:v>
                </c:pt>
                <c:pt idx="1659">
                  <c:v>39862</c:v>
                </c:pt>
                <c:pt idx="1660">
                  <c:v>39863</c:v>
                </c:pt>
                <c:pt idx="1661">
                  <c:v>39864</c:v>
                </c:pt>
                <c:pt idx="1662">
                  <c:v>39867</c:v>
                </c:pt>
                <c:pt idx="1663">
                  <c:v>39868</c:v>
                </c:pt>
                <c:pt idx="1664">
                  <c:v>39869</c:v>
                </c:pt>
                <c:pt idx="1665">
                  <c:v>39870</c:v>
                </c:pt>
                <c:pt idx="1666">
                  <c:v>39871</c:v>
                </c:pt>
                <c:pt idx="1667">
                  <c:v>39874</c:v>
                </c:pt>
                <c:pt idx="1668">
                  <c:v>39875</c:v>
                </c:pt>
                <c:pt idx="1669">
                  <c:v>39876</c:v>
                </c:pt>
                <c:pt idx="1670">
                  <c:v>39877</c:v>
                </c:pt>
                <c:pt idx="1671">
                  <c:v>39878</c:v>
                </c:pt>
                <c:pt idx="1672">
                  <c:v>39881</c:v>
                </c:pt>
                <c:pt idx="1673">
                  <c:v>39882</c:v>
                </c:pt>
                <c:pt idx="1674">
                  <c:v>39883</c:v>
                </c:pt>
                <c:pt idx="1675">
                  <c:v>39884</c:v>
                </c:pt>
                <c:pt idx="1676">
                  <c:v>39885</c:v>
                </c:pt>
                <c:pt idx="1677">
                  <c:v>39888</c:v>
                </c:pt>
                <c:pt idx="1678">
                  <c:v>39889</c:v>
                </c:pt>
                <c:pt idx="1679">
                  <c:v>39890</c:v>
                </c:pt>
                <c:pt idx="1680">
                  <c:v>39891</c:v>
                </c:pt>
                <c:pt idx="1681">
                  <c:v>39892</c:v>
                </c:pt>
                <c:pt idx="1682">
                  <c:v>39895</c:v>
                </c:pt>
                <c:pt idx="1683">
                  <c:v>39896</c:v>
                </c:pt>
                <c:pt idx="1684">
                  <c:v>39897</c:v>
                </c:pt>
                <c:pt idx="1685">
                  <c:v>39898</c:v>
                </c:pt>
                <c:pt idx="1686">
                  <c:v>39899</c:v>
                </c:pt>
                <c:pt idx="1687">
                  <c:v>39902</c:v>
                </c:pt>
                <c:pt idx="1688">
                  <c:v>39903</c:v>
                </c:pt>
                <c:pt idx="1689">
                  <c:v>39904</c:v>
                </c:pt>
                <c:pt idx="1690">
                  <c:v>39905</c:v>
                </c:pt>
                <c:pt idx="1691">
                  <c:v>39906</c:v>
                </c:pt>
                <c:pt idx="1692">
                  <c:v>39910</c:v>
                </c:pt>
                <c:pt idx="1693">
                  <c:v>39911</c:v>
                </c:pt>
                <c:pt idx="1694">
                  <c:v>39912</c:v>
                </c:pt>
                <c:pt idx="1695">
                  <c:v>39913</c:v>
                </c:pt>
                <c:pt idx="1696">
                  <c:v>39916</c:v>
                </c:pt>
                <c:pt idx="1697">
                  <c:v>39917</c:v>
                </c:pt>
                <c:pt idx="1698">
                  <c:v>39918</c:v>
                </c:pt>
                <c:pt idx="1699">
                  <c:v>39919</c:v>
                </c:pt>
                <c:pt idx="1700">
                  <c:v>39920</c:v>
                </c:pt>
                <c:pt idx="1701">
                  <c:v>39923</c:v>
                </c:pt>
                <c:pt idx="1702">
                  <c:v>39924</c:v>
                </c:pt>
                <c:pt idx="1703">
                  <c:v>39925</c:v>
                </c:pt>
                <c:pt idx="1704">
                  <c:v>39926</c:v>
                </c:pt>
                <c:pt idx="1705">
                  <c:v>39927</c:v>
                </c:pt>
                <c:pt idx="1706">
                  <c:v>39930</c:v>
                </c:pt>
                <c:pt idx="1707">
                  <c:v>39931</c:v>
                </c:pt>
                <c:pt idx="1708">
                  <c:v>39932</c:v>
                </c:pt>
                <c:pt idx="1709">
                  <c:v>39933</c:v>
                </c:pt>
                <c:pt idx="1710">
                  <c:v>39937</c:v>
                </c:pt>
                <c:pt idx="1711">
                  <c:v>39938</c:v>
                </c:pt>
                <c:pt idx="1712">
                  <c:v>39939</c:v>
                </c:pt>
                <c:pt idx="1713">
                  <c:v>39940</c:v>
                </c:pt>
                <c:pt idx="1714">
                  <c:v>39941</c:v>
                </c:pt>
                <c:pt idx="1715">
                  <c:v>39944</c:v>
                </c:pt>
                <c:pt idx="1716">
                  <c:v>39945</c:v>
                </c:pt>
                <c:pt idx="1717">
                  <c:v>39946</c:v>
                </c:pt>
                <c:pt idx="1718">
                  <c:v>39947</c:v>
                </c:pt>
                <c:pt idx="1719">
                  <c:v>39948</c:v>
                </c:pt>
                <c:pt idx="1720">
                  <c:v>39951</c:v>
                </c:pt>
                <c:pt idx="1721">
                  <c:v>39952</c:v>
                </c:pt>
                <c:pt idx="1722">
                  <c:v>39953</c:v>
                </c:pt>
                <c:pt idx="1723">
                  <c:v>39954</c:v>
                </c:pt>
                <c:pt idx="1724">
                  <c:v>39955</c:v>
                </c:pt>
                <c:pt idx="1725">
                  <c:v>39958</c:v>
                </c:pt>
                <c:pt idx="1726">
                  <c:v>39959</c:v>
                </c:pt>
                <c:pt idx="1727">
                  <c:v>39960</c:v>
                </c:pt>
                <c:pt idx="1728">
                  <c:v>39965</c:v>
                </c:pt>
                <c:pt idx="1729">
                  <c:v>39966</c:v>
                </c:pt>
                <c:pt idx="1730">
                  <c:v>39967</c:v>
                </c:pt>
                <c:pt idx="1731">
                  <c:v>39968</c:v>
                </c:pt>
                <c:pt idx="1732">
                  <c:v>39969</c:v>
                </c:pt>
                <c:pt idx="1733">
                  <c:v>39972</c:v>
                </c:pt>
                <c:pt idx="1734">
                  <c:v>39973</c:v>
                </c:pt>
                <c:pt idx="1735">
                  <c:v>39974</c:v>
                </c:pt>
                <c:pt idx="1736">
                  <c:v>39975</c:v>
                </c:pt>
                <c:pt idx="1737">
                  <c:v>39976</c:v>
                </c:pt>
                <c:pt idx="1738">
                  <c:v>39979</c:v>
                </c:pt>
                <c:pt idx="1739">
                  <c:v>39980</c:v>
                </c:pt>
                <c:pt idx="1740">
                  <c:v>39981</c:v>
                </c:pt>
                <c:pt idx="1741">
                  <c:v>39982</c:v>
                </c:pt>
                <c:pt idx="1742">
                  <c:v>39983</c:v>
                </c:pt>
                <c:pt idx="1743">
                  <c:v>39986</c:v>
                </c:pt>
                <c:pt idx="1744">
                  <c:v>39987</c:v>
                </c:pt>
                <c:pt idx="1745">
                  <c:v>39988</c:v>
                </c:pt>
                <c:pt idx="1746">
                  <c:v>39989</c:v>
                </c:pt>
                <c:pt idx="1747">
                  <c:v>39990</c:v>
                </c:pt>
                <c:pt idx="1748">
                  <c:v>39993</c:v>
                </c:pt>
                <c:pt idx="1749">
                  <c:v>39994</c:v>
                </c:pt>
                <c:pt idx="1750">
                  <c:v>39995</c:v>
                </c:pt>
                <c:pt idx="1751">
                  <c:v>39996</c:v>
                </c:pt>
                <c:pt idx="1752">
                  <c:v>39997</c:v>
                </c:pt>
                <c:pt idx="1753">
                  <c:v>40000</c:v>
                </c:pt>
                <c:pt idx="1754">
                  <c:v>40001</c:v>
                </c:pt>
                <c:pt idx="1755">
                  <c:v>40002</c:v>
                </c:pt>
                <c:pt idx="1756">
                  <c:v>40003</c:v>
                </c:pt>
                <c:pt idx="1757">
                  <c:v>40004</c:v>
                </c:pt>
                <c:pt idx="1758">
                  <c:v>40007</c:v>
                </c:pt>
                <c:pt idx="1759">
                  <c:v>40008</c:v>
                </c:pt>
                <c:pt idx="1760">
                  <c:v>40009</c:v>
                </c:pt>
                <c:pt idx="1761">
                  <c:v>40010</c:v>
                </c:pt>
                <c:pt idx="1762">
                  <c:v>40011</c:v>
                </c:pt>
                <c:pt idx="1763">
                  <c:v>40014</c:v>
                </c:pt>
                <c:pt idx="1764">
                  <c:v>40015</c:v>
                </c:pt>
                <c:pt idx="1765">
                  <c:v>40016</c:v>
                </c:pt>
                <c:pt idx="1766">
                  <c:v>40017</c:v>
                </c:pt>
                <c:pt idx="1767">
                  <c:v>40018</c:v>
                </c:pt>
                <c:pt idx="1768">
                  <c:v>40021</c:v>
                </c:pt>
                <c:pt idx="1769">
                  <c:v>40022</c:v>
                </c:pt>
                <c:pt idx="1770">
                  <c:v>40023</c:v>
                </c:pt>
                <c:pt idx="1771">
                  <c:v>40024</c:v>
                </c:pt>
                <c:pt idx="1772">
                  <c:v>40025</c:v>
                </c:pt>
                <c:pt idx="1773">
                  <c:v>40028</c:v>
                </c:pt>
                <c:pt idx="1774">
                  <c:v>40029</c:v>
                </c:pt>
                <c:pt idx="1775">
                  <c:v>40030</c:v>
                </c:pt>
                <c:pt idx="1776">
                  <c:v>40031</c:v>
                </c:pt>
                <c:pt idx="1777">
                  <c:v>40032</c:v>
                </c:pt>
                <c:pt idx="1778">
                  <c:v>40035</c:v>
                </c:pt>
                <c:pt idx="1779">
                  <c:v>40036</c:v>
                </c:pt>
                <c:pt idx="1780">
                  <c:v>40037</c:v>
                </c:pt>
                <c:pt idx="1781">
                  <c:v>40038</c:v>
                </c:pt>
                <c:pt idx="1782">
                  <c:v>40039</c:v>
                </c:pt>
                <c:pt idx="1783">
                  <c:v>40042</c:v>
                </c:pt>
                <c:pt idx="1784">
                  <c:v>40043</c:v>
                </c:pt>
                <c:pt idx="1785">
                  <c:v>40044</c:v>
                </c:pt>
                <c:pt idx="1786">
                  <c:v>40045</c:v>
                </c:pt>
                <c:pt idx="1787">
                  <c:v>40046</c:v>
                </c:pt>
                <c:pt idx="1788">
                  <c:v>40049</c:v>
                </c:pt>
                <c:pt idx="1789">
                  <c:v>40050</c:v>
                </c:pt>
                <c:pt idx="1790">
                  <c:v>40051</c:v>
                </c:pt>
                <c:pt idx="1791">
                  <c:v>40052</c:v>
                </c:pt>
                <c:pt idx="1792">
                  <c:v>40053</c:v>
                </c:pt>
                <c:pt idx="1793">
                  <c:v>40056</c:v>
                </c:pt>
                <c:pt idx="1794">
                  <c:v>40057</c:v>
                </c:pt>
                <c:pt idx="1795">
                  <c:v>40058</c:v>
                </c:pt>
                <c:pt idx="1796">
                  <c:v>40059</c:v>
                </c:pt>
                <c:pt idx="1797">
                  <c:v>40060</c:v>
                </c:pt>
                <c:pt idx="1798">
                  <c:v>40063</c:v>
                </c:pt>
                <c:pt idx="1799">
                  <c:v>40064</c:v>
                </c:pt>
                <c:pt idx="1800">
                  <c:v>40065</c:v>
                </c:pt>
                <c:pt idx="1801">
                  <c:v>40066</c:v>
                </c:pt>
                <c:pt idx="1802">
                  <c:v>40067</c:v>
                </c:pt>
                <c:pt idx="1803">
                  <c:v>40070</c:v>
                </c:pt>
                <c:pt idx="1804">
                  <c:v>40071</c:v>
                </c:pt>
                <c:pt idx="1805">
                  <c:v>40072</c:v>
                </c:pt>
                <c:pt idx="1806">
                  <c:v>40073</c:v>
                </c:pt>
                <c:pt idx="1807">
                  <c:v>40074</c:v>
                </c:pt>
                <c:pt idx="1808">
                  <c:v>40077</c:v>
                </c:pt>
                <c:pt idx="1809">
                  <c:v>40078</c:v>
                </c:pt>
                <c:pt idx="1810">
                  <c:v>40079</c:v>
                </c:pt>
                <c:pt idx="1811">
                  <c:v>40080</c:v>
                </c:pt>
                <c:pt idx="1812">
                  <c:v>40081</c:v>
                </c:pt>
                <c:pt idx="1813">
                  <c:v>40084</c:v>
                </c:pt>
                <c:pt idx="1814">
                  <c:v>40085</c:v>
                </c:pt>
                <c:pt idx="1815">
                  <c:v>40086</c:v>
                </c:pt>
                <c:pt idx="1816">
                  <c:v>40095</c:v>
                </c:pt>
                <c:pt idx="1817">
                  <c:v>40098</c:v>
                </c:pt>
                <c:pt idx="1818">
                  <c:v>40099</c:v>
                </c:pt>
                <c:pt idx="1819">
                  <c:v>40100</c:v>
                </c:pt>
                <c:pt idx="1820">
                  <c:v>40101</c:v>
                </c:pt>
                <c:pt idx="1821">
                  <c:v>40102</c:v>
                </c:pt>
                <c:pt idx="1822">
                  <c:v>40105</c:v>
                </c:pt>
                <c:pt idx="1823">
                  <c:v>40106</c:v>
                </c:pt>
                <c:pt idx="1824">
                  <c:v>40107</c:v>
                </c:pt>
                <c:pt idx="1825">
                  <c:v>40108</c:v>
                </c:pt>
                <c:pt idx="1826">
                  <c:v>40109</c:v>
                </c:pt>
                <c:pt idx="1827">
                  <c:v>40112</c:v>
                </c:pt>
                <c:pt idx="1828">
                  <c:v>40113</c:v>
                </c:pt>
                <c:pt idx="1829">
                  <c:v>40114</c:v>
                </c:pt>
                <c:pt idx="1830">
                  <c:v>40115</c:v>
                </c:pt>
                <c:pt idx="1831">
                  <c:v>40116</c:v>
                </c:pt>
                <c:pt idx="1832">
                  <c:v>40119</c:v>
                </c:pt>
                <c:pt idx="1833">
                  <c:v>40120</c:v>
                </c:pt>
                <c:pt idx="1834">
                  <c:v>40121</c:v>
                </c:pt>
                <c:pt idx="1835">
                  <c:v>40122</c:v>
                </c:pt>
                <c:pt idx="1836">
                  <c:v>40123</c:v>
                </c:pt>
                <c:pt idx="1837">
                  <c:v>40126</c:v>
                </c:pt>
                <c:pt idx="1838">
                  <c:v>40127</c:v>
                </c:pt>
                <c:pt idx="1839">
                  <c:v>40128</c:v>
                </c:pt>
                <c:pt idx="1840">
                  <c:v>40129</c:v>
                </c:pt>
                <c:pt idx="1841">
                  <c:v>40130</c:v>
                </c:pt>
                <c:pt idx="1842">
                  <c:v>40133</c:v>
                </c:pt>
                <c:pt idx="1843">
                  <c:v>40134</c:v>
                </c:pt>
                <c:pt idx="1844">
                  <c:v>40135</c:v>
                </c:pt>
                <c:pt idx="1845">
                  <c:v>40136</c:v>
                </c:pt>
                <c:pt idx="1846">
                  <c:v>40137</c:v>
                </c:pt>
                <c:pt idx="1847">
                  <c:v>40140</c:v>
                </c:pt>
                <c:pt idx="1848">
                  <c:v>40141</c:v>
                </c:pt>
                <c:pt idx="1849">
                  <c:v>40142</c:v>
                </c:pt>
                <c:pt idx="1850">
                  <c:v>40143</c:v>
                </c:pt>
                <c:pt idx="1851">
                  <c:v>40144</c:v>
                </c:pt>
                <c:pt idx="1852">
                  <c:v>40147</c:v>
                </c:pt>
                <c:pt idx="1853">
                  <c:v>40148</c:v>
                </c:pt>
                <c:pt idx="1854">
                  <c:v>40149</c:v>
                </c:pt>
                <c:pt idx="1855">
                  <c:v>40150</c:v>
                </c:pt>
                <c:pt idx="1856">
                  <c:v>40151</c:v>
                </c:pt>
                <c:pt idx="1857">
                  <c:v>40154</c:v>
                </c:pt>
                <c:pt idx="1858">
                  <c:v>40155</c:v>
                </c:pt>
                <c:pt idx="1859">
                  <c:v>40156</c:v>
                </c:pt>
                <c:pt idx="1860">
                  <c:v>40157</c:v>
                </c:pt>
                <c:pt idx="1861">
                  <c:v>40158</c:v>
                </c:pt>
                <c:pt idx="1862">
                  <c:v>40161</c:v>
                </c:pt>
                <c:pt idx="1863">
                  <c:v>40162</c:v>
                </c:pt>
                <c:pt idx="1864">
                  <c:v>40163</c:v>
                </c:pt>
                <c:pt idx="1865">
                  <c:v>40164</c:v>
                </c:pt>
                <c:pt idx="1866">
                  <c:v>40165</c:v>
                </c:pt>
                <c:pt idx="1867">
                  <c:v>40168</c:v>
                </c:pt>
                <c:pt idx="1868">
                  <c:v>40169</c:v>
                </c:pt>
                <c:pt idx="1869">
                  <c:v>40170</c:v>
                </c:pt>
                <c:pt idx="1870">
                  <c:v>40171</c:v>
                </c:pt>
                <c:pt idx="1871">
                  <c:v>40172</c:v>
                </c:pt>
                <c:pt idx="1872">
                  <c:v>40175</c:v>
                </c:pt>
                <c:pt idx="1873">
                  <c:v>40176</c:v>
                </c:pt>
                <c:pt idx="1874">
                  <c:v>40177</c:v>
                </c:pt>
                <c:pt idx="1875">
                  <c:v>40178</c:v>
                </c:pt>
                <c:pt idx="1876">
                  <c:v>40182</c:v>
                </c:pt>
                <c:pt idx="1877">
                  <c:v>40183</c:v>
                </c:pt>
                <c:pt idx="1878">
                  <c:v>40184</c:v>
                </c:pt>
                <c:pt idx="1879">
                  <c:v>40185</c:v>
                </c:pt>
                <c:pt idx="1880">
                  <c:v>40186</c:v>
                </c:pt>
                <c:pt idx="1881">
                  <c:v>40189</c:v>
                </c:pt>
                <c:pt idx="1882">
                  <c:v>40190</c:v>
                </c:pt>
                <c:pt idx="1883">
                  <c:v>40191</c:v>
                </c:pt>
                <c:pt idx="1884">
                  <c:v>40192</c:v>
                </c:pt>
                <c:pt idx="1885">
                  <c:v>40193</c:v>
                </c:pt>
                <c:pt idx="1886">
                  <c:v>40196</c:v>
                </c:pt>
                <c:pt idx="1887">
                  <c:v>40197</c:v>
                </c:pt>
                <c:pt idx="1888">
                  <c:v>40198</c:v>
                </c:pt>
                <c:pt idx="1889">
                  <c:v>40199</c:v>
                </c:pt>
                <c:pt idx="1890">
                  <c:v>40200</c:v>
                </c:pt>
                <c:pt idx="1891">
                  <c:v>40203</c:v>
                </c:pt>
                <c:pt idx="1892">
                  <c:v>40204</c:v>
                </c:pt>
                <c:pt idx="1893">
                  <c:v>40205</c:v>
                </c:pt>
                <c:pt idx="1894">
                  <c:v>40206</c:v>
                </c:pt>
                <c:pt idx="1895">
                  <c:v>40207</c:v>
                </c:pt>
                <c:pt idx="1896">
                  <c:v>40210</c:v>
                </c:pt>
                <c:pt idx="1897">
                  <c:v>40211</c:v>
                </c:pt>
                <c:pt idx="1898">
                  <c:v>40212</c:v>
                </c:pt>
                <c:pt idx="1899">
                  <c:v>40213</c:v>
                </c:pt>
                <c:pt idx="1900">
                  <c:v>40214</c:v>
                </c:pt>
                <c:pt idx="1901">
                  <c:v>40217</c:v>
                </c:pt>
                <c:pt idx="1902">
                  <c:v>40218</c:v>
                </c:pt>
                <c:pt idx="1903">
                  <c:v>40219</c:v>
                </c:pt>
                <c:pt idx="1904">
                  <c:v>40220</c:v>
                </c:pt>
                <c:pt idx="1905">
                  <c:v>40221</c:v>
                </c:pt>
                <c:pt idx="1906">
                  <c:v>40231</c:v>
                </c:pt>
                <c:pt idx="1907">
                  <c:v>40232</c:v>
                </c:pt>
                <c:pt idx="1908">
                  <c:v>40233</c:v>
                </c:pt>
                <c:pt idx="1909">
                  <c:v>40234</c:v>
                </c:pt>
                <c:pt idx="1910">
                  <c:v>40235</c:v>
                </c:pt>
                <c:pt idx="1911">
                  <c:v>40238</c:v>
                </c:pt>
                <c:pt idx="1912">
                  <c:v>40239</c:v>
                </c:pt>
                <c:pt idx="1913">
                  <c:v>40240</c:v>
                </c:pt>
                <c:pt idx="1914">
                  <c:v>40241</c:v>
                </c:pt>
                <c:pt idx="1915">
                  <c:v>40242</c:v>
                </c:pt>
                <c:pt idx="1916">
                  <c:v>40245</c:v>
                </c:pt>
                <c:pt idx="1917">
                  <c:v>40246</c:v>
                </c:pt>
                <c:pt idx="1918">
                  <c:v>40247</c:v>
                </c:pt>
                <c:pt idx="1919">
                  <c:v>40248</c:v>
                </c:pt>
                <c:pt idx="1920">
                  <c:v>40249</c:v>
                </c:pt>
                <c:pt idx="1921">
                  <c:v>40252</c:v>
                </c:pt>
                <c:pt idx="1922">
                  <c:v>40253</c:v>
                </c:pt>
                <c:pt idx="1923">
                  <c:v>40254</c:v>
                </c:pt>
                <c:pt idx="1924">
                  <c:v>40255</c:v>
                </c:pt>
                <c:pt idx="1925">
                  <c:v>40256</c:v>
                </c:pt>
                <c:pt idx="1926">
                  <c:v>40259</c:v>
                </c:pt>
                <c:pt idx="1927">
                  <c:v>40260</c:v>
                </c:pt>
                <c:pt idx="1928">
                  <c:v>40261</c:v>
                </c:pt>
                <c:pt idx="1929">
                  <c:v>40262</c:v>
                </c:pt>
                <c:pt idx="1930">
                  <c:v>40263</c:v>
                </c:pt>
                <c:pt idx="1931">
                  <c:v>40266</c:v>
                </c:pt>
                <c:pt idx="1932">
                  <c:v>40267</c:v>
                </c:pt>
                <c:pt idx="1933">
                  <c:v>40268</c:v>
                </c:pt>
                <c:pt idx="1934">
                  <c:v>40269</c:v>
                </c:pt>
                <c:pt idx="1935">
                  <c:v>40270</c:v>
                </c:pt>
                <c:pt idx="1936">
                  <c:v>40274</c:v>
                </c:pt>
                <c:pt idx="1937">
                  <c:v>40275</c:v>
                </c:pt>
                <c:pt idx="1938">
                  <c:v>40276</c:v>
                </c:pt>
                <c:pt idx="1939">
                  <c:v>40277</c:v>
                </c:pt>
                <c:pt idx="1940">
                  <c:v>40280</c:v>
                </c:pt>
                <c:pt idx="1941">
                  <c:v>40281</c:v>
                </c:pt>
                <c:pt idx="1942">
                  <c:v>40282</c:v>
                </c:pt>
                <c:pt idx="1943">
                  <c:v>40283</c:v>
                </c:pt>
                <c:pt idx="1944">
                  <c:v>40284</c:v>
                </c:pt>
                <c:pt idx="1945">
                  <c:v>40287</c:v>
                </c:pt>
                <c:pt idx="1946">
                  <c:v>40288</c:v>
                </c:pt>
                <c:pt idx="1947">
                  <c:v>40289</c:v>
                </c:pt>
                <c:pt idx="1948">
                  <c:v>40290</c:v>
                </c:pt>
                <c:pt idx="1949">
                  <c:v>40291</c:v>
                </c:pt>
                <c:pt idx="1950">
                  <c:v>40294</c:v>
                </c:pt>
                <c:pt idx="1951">
                  <c:v>40295</c:v>
                </c:pt>
                <c:pt idx="1952">
                  <c:v>40296</c:v>
                </c:pt>
                <c:pt idx="1953">
                  <c:v>40297</c:v>
                </c:pt>
                <c:pt idx="1954">
                  <c:v>40298</c:v>
                </c:pt>
                <c:pt idx="1955">
                  <c:v>40302</c:v>
                </c:pt>
                <c:pt idx="1956">
                  <c:v>40303</c:v>
                </c:pt>
                <c:pt idx="1957">
                  <c:v>40304</c:v>
                </c:pt>
                <c:pt idx="1958">
                  <c:v>40305</c:v>
                </c:pt>
                <c:pt idx="1959">
                  <c:v>40308</c:v>
                </c:pt>
                <c:pt idx="1960">
                  <c:v>40309</c:v>
                </c:pt>
                <c:pt idx="1961">
                  <c:v>40310</c:v>
                </c:pt>
                <c:pt idx="1962">
                  <c:v>40311</c:v>
                </c:pt>
                <c:pt idx="1963">
                  <c:v>40312</c:v>
                </c:pt>
                <c:pt idx="1964">
                  <c:v>40315</c:v>
                </c:pt>
                <c:pt idx="1965">
                  <c:v>40316</c:v>
                </c:pt>
                <c:pt idx="1966">
                  <c:v>40317</c:v>
                </c:pt>
                <c:pt idx="1967">
                  <c:v>40318</c:v>
                </c:pt>
                <c:pt idx="1968">
                  <c:v>40319</c:v>
                </c:pt>
                <c:pt idx="1969">
                  <c:v>40322</c:v>
                </c:pt>
                <c:pt idx="1970">
                  <c:v>40323</c:v>
                </c:pt>
                <c:pt idx="1971">
                  <c:v>40324</c:v>
                </c:pt>
                <c:pt idx="1972">
                  <c:v>40325</c:v>
                </c:pt>
                <c:pt idx="1973">
                  <c:v>40326</c:v>
                </c:pt>
                <c:pt idx="1974">
                  <c:v>40329</c:v>
                </c:pt>
                <c:pt idx="1975">
                  <c:v>40330</c:v>
                </c:pt>
                <c:pt idx="1976">
                  <c:v>40331</c:v>
                </c:pt>
                <c:pt idx="1977">
                  <c:v>40332</c:v>
                </c:pt>
                <c:pt idx="1978">
                  <c:v>40333</c:v>
                </c:pt>
                <c:pt idx="1979">
                  <c:v>40336</c:v>
                </c:pt>
                <c:pt idx="1980">
                  <c:v>40337</c:v>
                </c:pt>
                <c:pt idx="1981">
                  <c:v>40338</c:v>
                </c:pt>
                <c:pt idx="1982">
                  <c:v>40339</c:v>
                </c:pt>
                <c:pt idx="1983">
                  <c:v>40340</c:v>
                </c:pt>
                <c:pt idx="1984">
                  <c:v>40346</c:v>
                </c:pt>
                <c:pt idx="1985">
                  <c:v>40347</c:v>
                </c:pt>
                <c:pt idx="1986">
                  <c:v>40350</c:v>
                </c:pt>
                <c:pt idx="1987">
                  <c:v>40351</c:v>
                </c:pt>
                <c:pt idx="1988">
                  <c:v>40352</c:v>
                </c:pt>
                <c:pt idx="1989">
                  <c:v>40353</c:v>
                </c:pt>
                <c:pt idx="1990">
                  <c:v>40354</c:v>
                </c:pt>
                <c:pt idx="1991">
                  <c:v>40357</c:v>
                </c:pt>
                <c:pt idx="1992">
                  <c:v>40358</c:v>
                </c:pt>
                <c:pt idx="1993">
                  <c:v>40359</c:v>
                </c:pt>
                <c:pt idx="1994">
                  <c:v>40360</c:v>
                </c:pt>
                <c:pt idx="1995">
                  <c:v>40361</c:v>
                </c:pt>
                <c:pt idx="1996">
                  <c:v>40364</c:v>
                </c:pt>
                <c:pt idx="1997">
                  <c:v>40365</c:v>
                </c:pt>
                <c:pt idx="1998">
                  <c:v>40366</c:v>
                </c:pt>
                <c:pt idx="1999">
                  <c:v>40367</c:v>
                </c:pt>
                <c:pt idx="2000">
                  <c:v>40368</c:v>
                </c:pt>
                <c:pt idx="2001">
                  <c:v>40371</c:v>
                </c:pt>
                <c:pt idx="2002">
                  <c:v>40372</c:v>
                </c:pt>
                <c:pt idx="2003">
                  <c:v>40373</c:v>
                </c:pt>
                <c:pt idx="2004">
                  <c:v>40374</c:v>
                </c:pt>
                <c:pt idx="2005">
                  <c:v>40375</c:v>
                </c:pt>
                <c:pt idx="2006">
                  <c:v>40378</c:v>
                </c:pt>
                <c:pt idx="2007">
                  <c:v>40379</c:v>
                </c:pt>
                <c:pt idx="2008">
                  <c:v>40380</c:v>
                </c:pt>
                <c:pt idx="2009">
                  <c:v>40381</c:v>
                </c:pt>
                <c:pt idx="2010">
                  <c:v>40382</c:v>
                </c:pt>
                <c:pt idx="2011">
                  <c:v>40385</c:v>
                </c:pt>
                <c:pt idx="2012">
                  <c:v>40386</c:v>
                </c:pt>
                <c:pt idx="2013">
                  <c:v>40387</c:v>
                </c:pt>
                <c:pt idx="2014">
                  <c:v>40388</c:v>
                </c:pt>
                <c:pt idx="2015">
                  <c:v>40389</c:v>
                </c:pt>
                <c:pt idx="2016">
                  <c:v>40392</c:v>
                </c:pt>
                <c:pt idx="2017">
                  <c:v>40393</c:v>
                </c:pt>
                <c:pt idx="2018">
                  <c:v>40394</c:v>
                </c:pt>
                <c:pt idx="2019">
                  <c:v>40395</c:v>
                </c:pt>
                <c:pt idx="2020">
                  <c:v>40396</c:v>
                </c:pt>
                <c:pt idx="2021">
                  <c:v>40399</c:v>
                </c:pt>
                <c:pt idx="2022">
                  <c:v>40400</c:v>
                </c:pt>
                <c:pt idx="2023">
                  <c:v>40401</c:v>
                </c:pt>
                <c:pt idx="2024">
                  <c:v>40402</c:v>
                </c:pt>
                <c:pt idx="2025">
                  <c:v>40403</c:v>
                </c:pt>
                <c:pt idx="2026">
                  <c:v>40406</c:v>
                </c:pt>
                <c:pt idx="2027">
                  <c:v>40407</c:v>
                </c:pt>
                <c:pt idx="2028">
                  <c:v>40408</c:v>
                </c:pt>
                <c:pt idx="2029">
                  <c:v>40409</c:v>
                </c:pt>
                <c:pt idx="2030">
                  <c:v>40410</c:v>
                </c:pt>
                <c:pt idx="2031">
                  <c:v>40413</c:v>
                </c:pt>
                <c:pt idx="2032">
                  <c:v>40414</c:v>
                </c:pt>
                <c:pt idx="2033">
                  <c:v>40415</c:v>
                </c:pt>
                <c:pt idx="2034">
                  <c:v>40416</c:v>
                </c:pt>
                <c:pt idx="2035">
                  <c:v>40417</c:v>
                </c:pt>
                <c:pt idx="2036">
                  <c:v>40420</c:v>
                </c:pt>
                <c:pt idx="2037">
                  <c:v>40421</c:v>
                </c:pt>
                <c:pt idx="2038">
                  <c:v>40422</c:v>
                </c:pt>
                <c:pt idx="2039">
                  <c:v>40423</c:v>
                </c:pt>
                <c:pt idx="2040">
                  <c:v>40424</c:v>
                </c:pt>
                <c:pt idx="2041">
                  <c:v>40427</c:v>
                </c:pt>
                <c:pt idx="2042">
                  <c:v>40428</c:v>
                </c:pt>
                <c:pt idx="2043">
                  <c:v>40429</c:v>
                </c:pt>
                <c:pt idx="2044">
                  <c:v>40430</c:v>
                </c:pt>
                <c:pt idx="2045">
                  <c:v>40431</c:v>
                </c:pt>
                <c:pt idx="2046">
                  <c:v>40434</c:v>
                </c:pt>
                <c:pt idx="2047">
                  <c:v>40435</c:v>
                </c:pt>
                <c:pt idx="2048">
                  <c:v>40436</c:v>
                </c:pt>
                <c:pt idx="2049">
                  <c:v>40437</c:v>
                </c:pt>
                <c:pt idx="2050">
                  <c:v>40438</c:v>
                </c:pt>
                <c:pt idx="2051">
                  <c:v>40441</c:v>
                </c:pt>
                <c:pt idx="2052">
                  <c:v>40442</c:v>
                </c:pt>
                <c:pt idx="2053">
                  <c:v>40448</c:v>
                </c:pt>
                <c:pt idx="2054">
                  <c:v>40449</c:v>
                </c:pt>
                <c:pt idx="2055">
                  <c:v>40450</c:v>
                </c:pt>
                <c:pt idx="2056">
                  <c:v>40451</c:v>
                </c:pt>
                <c:pt idx="2057">
                  <c:v>40459</c:v>
                </c:pt>
                <c:pt idx="2058">
                  <c:v>40462</c:v>
                </c:pt>
                <c:pt idx="2059">
                  <c:v>40463</c:v>
                </c:pt>
                <c:pt idx="2060">
                  <c:v>40464</c:v>
                </c:pt>
                <c:pt idx="2061">
                  <c:v>40465</c:v>
                </c:pt>
                <c:pt idx="2062">
                  <c:v>40466</c:v>
                </c:pt>
                <c:pt idx="2063">
                  <c:v>40469</c:v>
                </c:pt>
                <c:pt idx="2064">
                  <c:v>40470</c:v>
                </c:pt>
                <c:pt idx="2065">
                  <c:v>40471</c:v>
                </c:pt>
                <c:pt idx="2066">
                  <c:v>40472</c:v>
                </c:pt>
                <c:pt idx="2067">
                  <c:v>40473</c:v>
                </c:pt>
                <c:pt idx="2068">
                  <c:v>40476</c:v>
                </c:pt>
                <c:pt idx="2069">
                  <c:v>40477</c:v>
                </c:pt>
                <c:pt idx="2070">
                  <c:v>40478</c:v>
                </c:pt>
                <c:pt idx="2071">
                  <c:v>40479</c:v>
                </c:pt>
                <c:pt idx="2072">
                  <c:v>40480</c:v>
                </c:pt>
                <c:pt idx="2073">
                  <c:v>40483</c:v>
                </c:pt>
                <c:pt idx="2074">
                  <c:v>40484</c:v>
                </c:pt>
                <c:pt idx="2075">
                  <c:v>40485</c:v>
                </c:pt>
                <c:pt idx="2076">
                  <c:v>40486</c:v>
                </c:pt>
                <c:pt idx="2077">
                  <c:v>40487</c:v>
                </c:pt>
                <c:pt idx="2078">
                  <c:v>40490</c:v>
                </c:pt>
                <c:pt idx="2079">
                  <c:v>40491</c:v>
                </c:pt>
                <c:pt idx="2080">
                  <c:v>40492</c:v>
                </c:pt>
                <c:pt idx="2081">
                  <c:v>40493</c:v>
                </c:pt>
                <c:pt idx="2082">
                  <c:v>40494</c:v>
                </c:pt>
                <c:pt idx="2083">
                  <c:v>40497</c:v>
                </c:pt>
                <c:pt idx="2084">
                  <c:v>40498</c:v>
                </c:pt>
                <c:pt idx="2085">
                  <c:v>40499</c:v>
                </c:pt>
                <c:pt idx="2086">
                  <c:v>40500</c:v>
                </c:pt>
                <c:pt idx="2087">
                  <c:v>40501</c:v>
                </c:pt>
                <c:pt idx="2088">
                  <c:v>40504</c:v>
                </c:pt>
                <c:pt idx="2089">
                  <c:v>40505</c:v>
                </c:pt>
                <c:pt idx="2090">
                  <c:v>40506</c:v>
                </c:pt>
                <c:pt idx="2091">
                  <c:v>40507</c:v>
                </c:pt>
                <c:pt idx="2092">
                  <c:v>40508</c:v>
                </c:pt>
                <c:pt idx="2093">
                  <c:v>40511</c:v>
                </c:pt>
                <c:pt idx="2094">
                  <c:v>40512</c:v>
                </c:pt>
                <c:pt idx="2095">
                  <c:v>40513</c:v>
                </c:pt>
                <c:pt idx="2096">
                  <c:v>40514</c:v>
                </c:pt>
                <c:pt idx="2097">
                  <c:v>40515</c:v>
                </c:pt>
                <c:pt idx="2098">
                  <c:v>40518</c:v>
                </c:pt>
                <c:pt idx="2099">
                  <c:v>40519</c:v>
                </c:pt>
                <c:pt idx="2100">
                  <c:v>40520</c:v>
                </c:pt>
                <c:pt idx="2101">
                  <c:v>40521</c:v>
                </c:pt>
                <c:pt idx="2102">
                  <c:v>40522</c:v>
                </c:pt>
                <c:pt idx="2103">
                  <c:v>40525</c:v>
                </c:pt>
                <c:pt idx="2104">
                  <c:v>40526</c:v>
                </c:pt>
                <c:pt idx="2105">
                  <c:v>40527</c:v>
                </c:pt>
                <c:pt idx="2106">
                  <c:v>40528</c:v>
                </c:pt>
                <c:pt idx="2107">
                  <c:v>40529</c:v>
                </c:pt>
                <c:pt idx="2108">
                  <c:v>40532</c:v>
                </c:pt>
                <c:pt idx="2109">
                  <c:v>40533</c:v>
                </c:pt>
                <c:pt idx="2110">
                  <c:v>40534</c:v>
                </c:pt>
                <c:pt idx="2111">
                  <c:v>40535</c:v>
                </c:pt>
                <c:pt idx="2112">
                  <c:v>40536</c:v>
                </c:pt>
                <c:pt idx="2113">
                  <c:v>40539</c:v>
                </c:pt>
                <c:pt idx="2114">
                  <c:v>40540</c:v>
                </c:pt>
                <c:pt idx="2115">
                  <c:v>40541</c:v>
                </c:pt>
                <c:pt idx="2116">
                  <c:v>40542</c:v>
                </c:pt>
                <c:pt idx="2117">
                  <c:v>40543</c:v>
                </c:pt>
                <c:pt idx="2118">
                  <c:v>40547</c:v>
                </c:pt>
                <c:pt idx="2119">
                  <c:v>40548</c:v>
                </c:pt>
                <c:pt idx="2120">
                  <c:v>40549</c:v>
                </c:pt>
                <c:pt idx="2121">
                  <c:v>40550</c:v>
                </c:pt>
                <c:pt idx="2122">
                  <c:v>40553</c:v>
                </c:pt>
                <c:pt idx="2123">
                  <c:v>40554</c:v>
                </c:pt>
                <c:pt idx="2124">
                  <c:v>40555</c:v>
                </c:pt>
                <c:pt idx="2125">
                  <c:v>40556</c:v>
                </c:pt>
                <c:pt idx="2126">
                  <c:v>40557</c:v>
                </c:pt>
                <c:pt idx="2127">
                  <c:v>40560</c:v>
                </c:pt>
                <c:pt idx="2128">
                  <c:v>40561</c:v>
                </c:pt>
                <c:pt idx="2129">
                  <c:v>40562</c:v>
                </c:pt>
                <c:pt idx="2130">
                  <c:v>40563</c:v>
                </c:pt>
                <c:pt idx="2131">
                  <c:v>40564</c:v>
                </c:pt>
                <c:pt idx="2132">
                  <c:v>40567</c:v>
                </c:pt>
                <c:pt idx="2133">
                  <c:v>40568</c:v>
                </c:pt>
                <c:pt idx="2134">
                  <c:v>40569</c:v>
                </c:pt>
                <c:pt idx="2135">
                  <c:v>40570</c:v>
                </c:pt>
                <c:pt idx="2136">
                  <c:v>40571</c:v>
                </c:pt>
                <c:pt idx="2137">
                  <c:v>40574</c:v>
                </c:pt>
                <c:pt idx="2138">
                  <c:v>40575</c:v>
                </c:pt>
                <c:pt idx="2139">
                  <c:v>40583</c:v>
                </c:pt>
                <c:pt idx="2140">
                  <c:v>40584</c:v>
                </c:pt>
                <c:pt idx="2141">
                  <c:v>40585</c:v>
                </c:pt>
                <c:pt idx="2142">
                  <c:v>40588</c:v>
                </c:pt>
                <c:pt idx="2143">
                  <c:v>40589</c:v>
                </c:pt>
                <c:pt idx="2144">
                  <c:v>40590</c:v>
                </c:pt>
                <c:pt idx="2145">
                  <c:v>40591</c:v>
                </c:pt>
                <c:pt idx="2146">
                  <c:v>40592</c:v>
                </c:pt>
                <c:pt idx="2147">
                  <c:v>40595</c:v>
                </c:pt>
                <c:pt idx="2148">
                  <c:v>40596</c:v>
                </c:pt>
                <c:pt idx="2149">
                  <c:v>40597</c:v>
                </c:pt>
                <c:pt idx="2150">
                  <c:v>40598</c:v>
                </c:pt>
                <c:pt idx="2151">
                  <c:v>40599</c:v>
                </c:pt>
                <c:pt idx="2152">
                  <c:v>40602</c:v>
                </c:pt>
                <c:pt idx="2153">
                  <c:v>40603</c:v>
                </c:pt>
                <c:pt idx="2154">
                  <c:v>40604</c:v>
                </c:pt>
                <c:pt idx="2155">
                  <c:v>40605</c:v>
                </c:pt>
                <c:pt idx="2156">
                  <c:v>40606</c:v>
                </c:pt>
                <c:pt idx="2157">
                  <c:v>40609</c:v>
                </c:pt>
                <c:pt idx="2158">
                  <c:v>40610</c:v>
                </c:pt>
                <c:pt idx="2159">
                  <c:v>40611</c:v>
                </c:pt>
                <c:pt idx="2160">
                  <c:v>40612</c:v>
                </c:pt>
                <c:pt idx="2161">
                  <c:v>40613</c:v>
                </c:pt>
                <c:pt idx="2162">
                  <c:v>40616</c:v>
                </c:pt>
                <c:pt idx="2163">
                  <c:v>40617</c:v>
                </c:pt>
                <c:pt idx="2164">
                  <c:v>40618</c:v>
                </c:pt>
                <c:pt idx="2165">
                  <c:v>40619</c:v>
                </c:pt>
                <c:pt idx="2166">
                  <c:v>40620</c:v>
                </c:pt>
                <c:pt idx="2167">
                  <c:v>40623</c:v>
                </c:pt>
                <c:pt idx="2168">
                  <c:v>40624</c:v>
                </c:pt>
                <c:pt idx="2169">
                  <c:v>40625</c:v>
                </c:pt>
                <c:pt idx="2170">
                  <c:v>40626</c:v>
                </c:pt>
                <c:pt idx="2171">
                  <c:v>40627</c:v>
                </c:pt>
                <c:pt idx="2172">
                  <c:v>40630</c:v>
                </c:pt>
                <c:pt idx="2173">
                  <c:v>40631</c:v>
                </c:pt>
                <c:pt idx="2174">
                  <c:v>40632</c:v>
                </c:pt>
                <c:pt idx="2175">
                  <c:v>40633</c:v>
                </c:pt>
                <c:pt idx="2176">
                  <c:v>40634</c:v>
                </c:pt>
                <c:pt idx="2177">
                  <c:v>40639</c:v>
                </c:pt>
                <c:pt idx="2178">
                  <c:v>40640</c:v>
                </c:pt>
                <c:pt idx="2179">
                  <c:v>40641</c:v>
                </c:pt>
                <c:pt idx="2180">
                  <c:v>40644</c:v>
                </c:pt>
                <c:pt idx="2181">
                  <c:v>40645</c:v>
                </c:pt>
                <c:pt idx="2182">
                  <c:v>40646</c:v>
                </c:pt>
                <c:pt idx="2183">
                  <c:v>40647</c:v>
                </c:pt>
                <c:pt idx="2184">
                  <c:v>40648</c:v>
                </c:pt>
                <c:pt idx="2185">
                  <c:v>40651</c:v>
                </c:pt>
                <c:pt idx="2186">
                  <c:v>40652</c:v>
                </c:pt>
                <c:pt idx="2187">
                  <c:v>40653</c:v>
                </c:pt>
                <c:pt idx="2188">
                  <c:v>40654</c:v>
                </c:pt>
                <c:pt idx="2189">
                  <c:v>40655</c:v>
                </c:pt>
                <c:pt idx="2190">
                  <c:v>40658</c:v>
                </c:pt>
                <c:pt idx="2191">
                  <c:v>40659</c:v>
                </c:pt>
                <c:pt idx="2192">
                  <c:v>40660</c:v>
                </c:pt>
                <c:pt idx="2193">
                  <c:v>40661</c:v>
                </c:pt>
                <c:pt idx="2194">
                  <c:v>40662</c:v>
                </c:pt>
                <c:pt idx="2195">
                  <c:v>40666</c:v>
                </c:pt>
                <c:pt idx="2196">
                  <c:v>40667</c:v>
                </c:pt>
                <c:pt idx="2197">
                  <c:v>40668</c:v>
                </c:pt>
                <c:pt idx="2198">
                  <c:v>40669</c:v>
                </c:pt>
                <c:pt idx="2199">
                  <c:v>40672</c:v>
                </c:pt>
                <c:pt idx="2200">
                  <c:v>40673</c:v>
                </c:pt>
                <c:pt idx="2201">
                  <c:v>40674</c:v>
                </c:pt>
                <c:pt idx="2202">
                  <c:v>40675</c:v>
                </c:pt>
                <c:pt idx="2203">
                  <c:v>40676</c:v>
                </c:pt>
                <c:pt idx="2204">
                  <c:v>40679</c:v>
                </c:pt>
                <c:pt idx="2205">
                  <c:v>40680</c:v>
                </c:pt>
                <c:pt idx="2206">
                  <c:v>40681</c:v>
                </c:pt>
                <c:pt idx="2207">
                  <c:v>40682</c:v>
                </c:pt>
                <c:pt idx="2208">
                  <c:v>40683</c:v>
                </c:pt>
                <c:pt idx="2209">
                  <c:v>40686</c:v>
                </c:pt>
                <c:pt idx="2210">
                  <c:v>40687</c:v>
                </c:pt>
                <c:pt idx="2211">
                  <c:v>40688</c:v>
                </c:pt>
                <c:pt idx="2212">
                  <c:v>40689</c:v>
                </c:pt>
                <c:pt idx="2213">
                  <c:v>40690</c:v>
                </c:pt>
                <c:pt idx="2214">
                  <c:v>40693</c:v>
                </c:pt>
                <c:pt idx="2215">
                  <c:v>40694</c:v>
                </c:pt>
                <c:pt idx="2216">
                  <c:v>40695</c:v>
                </c:pt>
                <c:pt idx="2217">
                  <c:v>40696</c:v>
                </c:pt>
                <c:pt idx="2218">
                  <c:v>40697</c:v>
                </c:pt>
                <c:pt idx="2219">
                  <c:v>40701</c:v>
                </c:pt>
                <c:pt idx="2220">
                  <c:v>40702</c:v>
                </c:pt>
                <c:pt idx="2221">
                  <c:v>40703</c:v>
                </c:pt>
                <c:pt idx="2222">
                  <c:v>40704</c:v>
                </c:pt>
                <c:pt idx="2223">
                  <c:v>40707</c:v>
                </c:pt>
                <c:pt idx="2224">
                  <c:v>40708</c:v>
                </c:pt>
                <c:pt idx="2225">
                  <c:v>40709</c:v>
                </c:pt>
                <c:pt idx="2226">
                  <c:v>40710</c:v>
                </c:pt>
                <c:pt idx="2227">
                  <c:v>40711</c:v>
                </c:pt>
                <c:pt idx="2228">
                  <c:v>40714</c:v>
                </c:pt>
                <c:pt idx="2229">
                  <c:v>40715</c:v>
                </c:pt>
                <c:pt idx="2230">
                  <c:v>40716</c:v>
                </c:pt>
                <c:pt idx="2231">
                  <c:v>40717</c:v>
                </c:pt>
                <c:pt idx="2232">
                  <c:v>40718</c:v>
                </c:pt>
                <c:pt idx="2233">
                  <c:v>40721</c:v>
                </c:pt>
                <c:pt idx="2234">
                  <c:v>40722</c:v>
                </c:pt>
                <c:pt idx="2235">
                  <c:v>40723</c:v>
                </c:pt>
                <c:pt idx="2236">
                  <c:v>40724</c:v>
                </c:pt>
                <c:pt idx="2237">
                  <c:v>40725</c:v>
                </c:pt>
                <c:pt idx="2238">
                  <c:v>40728</c:v>
                </c:pt>
                <c:pt idx="2239">
                  <c:v>40729</c:v>
                </c:pt>
                <c:pt idx="2240">
                  <c:v>40730</c:v>
                </c:pt>
                <c:pt idx="2241">
                  <c:v>40731</c:v>
                </c:pt>
                <c:pt idx="2242">
                  <c:v>40732</c:v>
                </c:pt>
                <c:pt idx="2243">
                  <c:v>40735</c:v>
                </c:pt>
                <c:pt idx="2244">
                  <c:v>40736</c:v>
                </c:pt>
                <c:pt idx="2245">
                  <c:v>40737</c:v>
                </c:pt>
                <c:pt idx="2246">
                  <c:v>40738</c:v>
                </c:pt>
                <c:pt idx="2247">
                  <c:v>40739</c:v>
                </c:pt>
                <c:pt idx="2248">
                  <c:v>40742</c:v>
                </c:pt>
                <c:pt idx="2249">
                  <c:v>40743</c:v>
                </c:pt>
                <c:pt idx="2250">
                  <c:v>40744</c:v>
                </c:pt>
                <c:pt idx="2251">
                  <c:v>40745</c:v>
                </c:pt>
                <c:pt idx="2252">
                  <c:v>40746</c:v>
                </c:pt>
                <c:pt idx="2253">
                  <c:v>40749</c:v>
                </c:pt>
                <c:pt idx="2254">
                  <c:v>40750</c:v>
                </c:pt>
                <c:pt idx="2255">
                  <c:v>40751</c:v>
                </c:pt>
                <c:pt idx="2256">
                  <c:v>40752</c:v>
                </c:pt>
                <c:pt idx="2257">
                  <c:v>40753</c:v>
                </c:pt>
                <c:pt idx="2258">
                  <c:v>40756</c:v>
                </c:pt>
                <c:pt idx="2259">
                  <c:v>40757</c:v>
                </c:pt>
                <c:pt idx="2260">
                  <c:v>40758</c:v>
                </c:pt>
                <c:pt idx="2261">
                  <c:v>40759</c:v>
                </c:pt>
                <c:pt idx="2262">
                  <c:v>40760</c:v>
                </c:pt>
                <c:pt idx="2263">
                  <c:v>40763</c:v>
                </c:pt>
                <c:pt idx="2264">
                  <c:v>40764</c:v>
                </c:pt>
                <c:pt idx="2265">
                  <c:v>40765</c:v>
                </c:pt>
                <c:pt idx="2266">
                  <c:v>40766</c:v>
                </c:pt>
                <c:pt idx="2267">
                  <c:v>40767</c:v>
                </c:pt>
                <c:pt idx="2268">
                  <c:v>40770</c:v>
                </c:pt>
                <c:pt idx="2269">
                  <c:v>40771</c:v>
                </c:pt>
                <c:pt idx="2270">
                  <c:v>40772</c:v>
                </c:pt>
                <c:pt idx="2271">
                  <c:v>40773</c:v>
                </c:pt>
                <c:pt idx="2272">
                  <c:v>40774</c:v>
                </c:pt>
                <c:pt idx="2273">
                  <c:v>40777</c:v>
                </c:pt>
                <c:pt idx="2274">
                  <c:v>40778</c:v>
                </c:pt>
                <c:pt idx="2275">
                  <c:v>40779</c:v>
                </c:pt>
                <c:pt idx="2276">
                  <c:v>40780</c:v>
                </c:pt>
                <c:pt idx="2277">
                  <c:v>40781</c:v>
                </c:pt>
                <c:pt idx="2278">
                  <c:v>40784</c:v>
                </c:pt>
                <c:pt idx="2279">
                  <c:v>40785</c:v>
                </c:pt>
                <c:pt idx="2280">
                  <c:v>40786</c:v>
                </c:pt>
                <c:pt idx="2281">
                  <c:v>40787</c:v>
                </c:pt>
                <c:pt idx="2282">
                  <c:v>40788</c:v>
                </c:pt>
                <c:pt idx="2283">
                  <c:v>40791</c:v>
                </c:pt>
                <c:pt idx="2284">
                  <c:v>40792</c:v>
                </c:pt>
                <c:pt idx="2285">
                  <c:v>40793</c:v>
                </c:pt>
                <c:pt idx="2286">
                  <c:v>40794</c:v>
                </c:pt>
                <c:pt idx="2287">
                  <c:v>40795</c:v>
                </c:pt>
                <c:pt idx="2288">
                  <c:v>40799</c:v>
                </c:pt>
                <c:pt idx="2289">
                  <c:v>40800</c:v>
                </c:pt>
                <c:pt idx="2290">
                  <c:v>40801</c:v>
                </c:pt>
                <c:pt idx="2291">
                  <c:v>40802</c:v>
                </c:pt>
                <c:pt idx="2292">
                  <c:v>40805</c:v>
                </c:pt>
                <c:pt idx="2293">
                  <c:v>40806</c:v>
                </c:pt>
                <c:pt idx="2294">
                  <c:v>40807</c:v>
                </c:pt>
                <c:pt idx="2295">
                  <c:v>40808</c:v>
                </c:pt>
                <c:pt idx="2296">
                  <c:v>40809</c:v>
                </c:pt>
                <c:pt idx="2297">
                  <c:v>40812</c:v>
                </c:pt>
                <c:pt idx="2298">
                  <c:v>40813</c:v>
                </c:pt>
                <c:pt idx="2299">
                  <c:v>40814</c:v>
                </c:pt>
                <c:pt idx="2300">
                  <c:v>40815</c:v>
                </c:pt>
                <c:pt idx="2301">
                  <c:v>40816</c:v>
                </c:pt>
                <c:pt idx="2302">
                  <c:v>40826</c:v>
                </c:pt>
                <c:pt idx="2303">
                  <c:v>40827</c:v>
                </c:pt>
                <c:pt idx="2304">
                  <c:v>40828</c:v>
                </c:pt>
                <c:pt idx="2305">
                  <c:v>40829</c:v>
                </c:pt>
                <c:pt idx="2306">
                  <c:v>40830</c:v>
                </c:pt>
                <c:pt idx="2307">
                  <c:v>40833</c:v>
                </c:pt>
                <c:pt idx="2308">
                  <c:v>40834</c:v>
                </c:pt>
                <c:pt idx="2309">
                  <c:v>40835</c:v>
                </c:pt>
                <c:pt idx="2310">
                  <c:v>40836</c:v>
                </c:pt>
                <c:pt idx="2311">
                  <c:v>40837</c:v>
                </c:pt>
                <c:pt idx="2312">
                  <c:v>40840</c:v>
                </c:pt>
                <c:pt idx="2313">
                  <c:v>40841</c:v>
                </c:pt>
                <c:pt idx="2314">
                  <c:v>40842</c:v>
                </c:pt>
                <c:pt idx="2315">
                  <c:v>40843</c:v>
                </c:pt>
                <c:pt idx="2316">
                  <c:v>40844</c:v>
                </c:pt>
                <c:pt idx="2317">
                  <c:v>40847</c:v>
                </c:pt>
                <c:pt idx="2318">
                  <c:v>40848</c:v>
                </c:pt>
                <c:pt idx="2319">
                  <c:v>40849</c:v>
                </c:pt>
                <c:pt idx="2320">
                  <c:v>40850</c:v>
                </c:pt>
                <c:pt idx="2321">
                  <c:v>40851</c:v>
                </c:pt>
                <c:pt idx="2322">
                  <c:v>40854</c:v>
                </c:pt>
                <c:pt idx="2323">
                  <c:v>40855</c:v>
                </c:pt>
                <c:pt idx="2324">
                  <c:v>40856</c:v>
                </c:pt>
                <c:pt idx="2325">
                  <c:v>40857</c:v>
                </c:pt>
                <c:pt idx="2326">
                  <c:v>40858</c:v>
                </c:pt>
                <c:pt idx="2327">
                  <c:v>40861</c:v>
                </c:pt>
                <c:pt idx="2328">
                  <c:v>40862</c:v>
                </c:pt>
                <c:pt idx="2329">
                  <c:v>40863</c:v>
                </c:pt>
                <c:pt idx="2330">
                  <c:v>40864</c:v>
                </c:pt>
                <c:pt idx="2331">
                  <c:v>40865</c:v>
                </c:pt>
                <c:pt idx="2332">
                  <c:v>40868</c:v>
                </c:pt>
                <c:pt idx="2333">
                  <c:v>40869</c:v>
                </c:pt>
                <c:pt idx="2334">
                  <c:v>40870</c:v>
                </c:pt>
                <c:pt idx="2335">
                  <c:v>40871</c:v>
                </c:pt>
                <c:pt idx="2336">
                  <c:v>40872</c:v>
                </c:pt>
                <c:pt idx="2337">
                  <c:v>40875</c:v>
                </c:pt>
                <c:pt idx="2338">
                  <c:v>40876</c:v>
                </c:pt>
                <c:pt idx="2339">
                  <c:v>40877</c:v>
                </c:pt>
                <c:pt idx="2340">
                  <c:v>40878</c:v>
                </c:pt>
                <c:pt idx="2341">
                  <c:v>40879</c:v>
                </c:pt>
                <c:pt idx="2342">
                  <c:v>40882</c:v>
                </c:pt>
                <c:pt idx="2343">
                  <c:v>40883</c:v>
                </c:pt>
                <c:pt idx="2344">
                  <c:v>40884</c:v>
                </c:pt>
                <c:pt idx="2345">
                  <c:v>40885</c:v>
                </c:pt>
                <c:pt idx="2346">
                  <c:v>40886</c:v>
                </c:pt>
                <c:pt idx="2347">
                  <c:v>40889</c:v>
                </c:pt>
                <c:pt idx="2348">
                  <c:v>40890</c:v>
                </c:pt>
                <c:pt idx="2349">
                  <c:v>40891</c:v>
                </c:pt>
                <c:pt idx="2350">
                  <c:v>40892</c:v>
                </c:pt>
                <c:pt idx="2351">
                  <c:v>40893</c:v>
                </c:pt>
                <c:pt idx="2352">
                  <c:v>40896</c:v>
                </c:pt>
                <c:pt idx="2353">
                  <c:v>40897</c:v>
                </c:pt>
                <c:pt idx="2354">
                  <c:v>40898</c:v>
                </c:pt>
                <c:pt idx="2355">
                  <c:v>40899</c:v>
                </c:pt>
                <c:pt idx="2356">
                  <c:v>40900</c:v>
                </c:pt>
                <c:pt idx="2357">
                  <c:v>40903</c:v>
                </c:pt>
                <c:pt idx="2358">
                  <c:v>40904</c:v>
                </c:pt>
                <c:pt idx="2359">
                  <c:v>40905</c:v>
                </c:pt>
                <c:pt idx="2360">
                  <c:v>40906</c:v>
                </c:pt>
                <c:pt idx="2361">
                  <c:v>40907</c:v>
                </c:pt>
                <c:pt idx="2362">
                  <c:v>40912</c:v>
                </c:pt>
                <c:pt idx="2363">
                  <c:v>40913</c:v>
                </c:pt>
                <c:pt idx="2364">
                  <c:v>40914</c:v>
                </c:pt>
                <c:pt idx="2365">
                  <c:v>40917</c:v>
                </c:pt>
                <c:pt idx="2366">
                  <c:v>40918</c:v>
                </c:pt>
                <c:pt idx="2367">
                  <c:v>40919</c:v>
                </c:pt>
                <c:pt idx="2368">
                  <c:v>40920</c:v>
                </c:pt>
                <c:pt idx="2369">
                  <c:v>40921</c:v>
                </c:pt>
                <c:pt idx="2370">
                  <c:v>40924</c:v>
                </c:pt>
                <c:pt idx="2371">
                  <c:v>40925</c:v>
                </c:pt>
                <c:pt idx="2372">
                  <c:v>40926</c:v>
                </c:pt>
                <c:pt idx="2373">
                  <c:v>40927</c:v>
                </c:pt>
                <c:pt idx="2374">
                  <c:v>40928</c:v>
                </c:pt>
                <c:pt idx="2375">
                  <c:v>40938</c:v>
                </c:pt>
                <c:pt idx="2376">
                  <c:v>40939</c:v>
                </c:pt>
                <c:pt idx="2377">
                  <c:v>40940</c:v>
                </c:pt>
                <c:pt idx="2378">
                  <c:v>40941</c:v>
                </c:pt>
                <c:pt idx="2379">
                  <c:v>40942</c:v>
                </c:pt>
                <c:pt idx="2380">
                  <c:v>40945</c:v>
                </c:pt>
                <c:pt idx="2381">
                  <c:v>40946</c:v>
                </c:pt>
                <c:pt idx="2382">
                  <c:v>40947</c:v>
                </c:pt>
                <c:pt idx="2383">
                  <c:v>40948</c:v>
                </c:pt>
                <c:pt idx="2384">
                  <c:v>40949</c:v>
                </c:pt>
                <c:pt idx="2385">
                  <c:v>40952</c:v>
                </c:pt>
                <c:pt idx="2386">
                  <c:v>40953</c:v>
                </c:pt>
                <c:pt idx="2387">
                  <c:v>40954</c:v>
                </c:pt>
                <c:pt idx="2388">
                  <c:v>40955</c:v>
                </c:pt>
                <c:pt idx="2389">
                  <c:v>40956</c:v>
                </c:pt>
                <c:pt idx="2390">
                  <c:v>40959</c:v>
                </c:pt>
                <c:pt idx="2391">
                  <c:v>40960</c:v>
                </c:pt>
                <c:pt idx="2392">
                  <c:v>40961</c:v>
                </c:pt>
                <c:pt idx="2393">
                  <c:v>40962</c:v>
                </c:pt>
                <c:pt idx="2394">
                  <c:v>40963</c:v>
                </c:pt>
                <c:pt idx="2395">
                  <c:v>40966</c:v>
                </c:pt>
                <c:pt idx="2396">
                  <c:v>40967</c:v>
                </c:pt>
                <c:pt idx="2397">
                  <c:v>40968</c:v>
                </c:pt>
                <c:pt idx="2398">
                  <c:v>40969</c:v>
                </c:pt>
                <c:pt idx="2399">
                  <c:v>40970</c:v>
                </c:pt>
                <c:pt idx="2400">
                  <c:v>40973</c:v>
                </c:pt>
                <c:pt idx="2401">
                  <c:v>40974</c:v>
                </c:pt>
                <c:pt idx="2402">
                  <c:v>40975</c:v>
                </c:pt>
                <c:pt idx="2403">
                  <c:v>40976</c:v>
                </c:pt>
                <c:pt idx="2404">
                  <c:v>40977</c:v>
                </c:pt>
                <c:pt idx="2405">
                  <c:v>40980</c:v>
                </c:pt>
                <c:pt idx="2406">
                  <c:v>40981</c:v>
                </c:pt>
                <c:pt idx="2407">
                  <c:v>40982</c:v>
                </c:pt>
                <c:pt idx="2408">
                  <c:v>40983</c:v>
                </c:pt>
                <c:pt idx="2409">
                  <c:v>40984</c:v>
                </c:pt>
                <c:pt idx="2410">
                  <c:v>40987</c:v>
                </c:pt>
                <c:pt idx="2411">
                  <c:v>40988</c:v>
                </c:pt>
                <c:pt idx="2412">
                  <c:v>40989</c:v>
                </c:pt>
                <c:pt idx="2413">
                  <c:v>40990</c:v>
                </c:pt>
                <c:pt idx="2414">
                  <c:v>40991</c:v>
                </c:pt>
                <c:pt idx="2415">
                  <c:v>40994</c:v>
                </c:pt>
                <c:pt idx="2416">
                  <c:v>40995</c:v>
                </c:pt>
                <c:pt idx="2417">
                  <c:v>40996</c:v>
                </c:pt>
                <c:pt idx="2418">
                  <c:v>40997</c:v>
                </c:pt>
                <c:pt idx="2419">
                  <c:v>40998</c:v>
                </c:pt>
                <c:pt idx="2420">
                  <c:v>41004</c:v>
                </c:pt>
                <c:pt idx="2421">
                  <c:v>41005</c:v>
                </c:pt>
                <c:pt idx="2422">
                  <c:v>41008</c:v>
                </c:pt>
                <c:pt idx="2423">
                  <c:v>41009</c:v>
                </c:pt>
                <c:pt idx="2424">
                  <c:v>41010</c:v>
                </c:pt>
                <c:pt idx="2425">
                  <c:v>41011</c:v>
                </c:pt>
                <c:pt idx="2426">
                  <c:v>41012</c:v>
                </c:pt>
                <c:pt idx="2427">
                  <c:v>41015</c:v>
                </c:pt>
                <c:pt idx="2428">
                  <c:v>41016</c:v>
                </c:pt>
                <c:pt idx="2429">
                  <c:v>41017</c:v>
                </c:pt>
                <c:pt idx="2430">
                  <c:v>41018</c:v>
                </c:pt>
                <c:pt idx="2431">
                  <c:v>41019</c:v>
                </c:pt>
                <c:pt idx="2432">
                  <c:v>41022</c:v>
                </c:pt>
                <c:pt idx="2433">
                  <c:v>41023</c:v>
                </c:pt>
                <c:pt idx="2434">
                  <c:v>41024</c:v>
                </c:pt>
                <c:pt idx="2435">
                  <c:v>41025</c:v>
                </c:pt>
                <c:pt idx="2436">
                  <c:v>41026</c:v>
                </c:pt>
                <c:pt idx="2437">
                  <c:v>41031</c:v>
                </c:pt>
                <c:pt idx="2438">
                  <c:v>41032</c:v>
                </c:pt>
                <c:pt idx="2439">
                  <c:v>41033</c:v>
                </c:pt>
                <c:pt idx="2440">
                  <c:v>41036</c:v>
                </c:pt>
                <c:pt idx="2441">
                  <c:v>41037</c:v>
                </c:pt>
                <c:pt idx="2442">
                  <c:v>41038</c:v>
                </c:pt>
                <c:pt idx="2443">
                  <c:v>41039</c:v>
                </c:pt>
                <c:pt idx="2444">
                  <c:v>41040</c:v>
                </c:pt>
                <c:pt idx="2445">
                  <c:v>41043</c:v>
                </c:pt>
                <c:pt idx="2446">
                  <c:v>41044</c:v>
                </c:pt>
                <c:pt idx="2447">
                  <c:v>41045</c:v>
                </c:pt>
                <c:pt idx="2448">
                  <c:v>41046</c:v>
                </c:pt>
                <c:pt idx="2449">
                  <c:v>41047</c:v>
                </c:pt>
                <c:pt idx="2450">
                  <c:v>41050</c:v>
                </c:pt>
                <c:pt idx="2451">
                  <c:v>41051</c:v>
                </c:pt>
                <c:pt idx="2452">
                  <c:v>41052</c:v>
                </c:pt>
                <c:pt idx="2453">
                  <c:v>41053</c:v>
                </c:pt>
                <c:pt idx="2454">
                  <c:v>41054</c:v>
                </c:pt>
                <c:pt idx="2455">
                  <c:v>41057</c:v>
                </c:pt>
                <c:pt idx="2456">
                  <c:v>41058</c:v>
                </c:pt>
                <c:pt idx="2457">
                  <c:v>41059</c:v>
                </c:pt>
                <c:pt idx="2458">
                  <c:v>41060</c:v>
                </c:pt>
                <c:pt idx="2459">
                  <c:v>41061</c:v>
                </c:pt>
                <c:pt idx="2460">
                  <c:v>41064</c:v>
                </c:pt>
                <c:pt idx="2461">
                  <c:v>41065</c:v>
                </c:pt>
                <c:pt idx="2462">
                  <c:v>41066</c:v>
                </c:pt>
                <c:pt idx="2463">
                  <c:v>41067</c:v>
                </c:pt>
                <c:pt idx="2464">
                  <c:v>41068</c:v>
                </c:pt>
                <c:pt idx="2465">
                  <c:v>41071</c:v>
                </c:pt>
                <c:pt idx="2466">
                  <c:v>41072</c:v>
                </c:pt>
                <c:pt idx="2467">
                  <c:v>41073</c:v>
                </c:pt>
                <c:pt idx="2468">
                  <c:v>41074</c:v>
                </c:pt>
                <c:pt idx="2469">
                  <c:v>41075</c:v>
                </c:pt>
                <c:pt idx="2470">
                  <c:v>41078</c:v>
                </c:pt>
                <c:pt idx="2471">
                  <c:v>41079</c:v>
                </c:pt>
                <c:pt idx="2472">
                  <c:v>41080</c:v>
                </c:pt>
                <c:pt idx="2473">
                  <c:v>41081</c:v>
                </c:pt>
                <c:pt idx="2474">
                  <c:v>41085</c:v>
                </c:pt>
                <c:pt idx="2475">
                  <c:v>41086</c:v>
                </c:pt>
                <c:pt idx="2476">
                  <c:v>41087</c:v>
                </c:pt>
                <c:pt idx="2477">
                  <c:v>41088</c:v>
                </c:pt>
                <c:pt idx="2478">
                  <c:v>41089</c:v>
                </c:pt>
                <c:pt idx="2479">
                  <c:v>41092</c:v>
                </c:pt>
                <c:pt idx="2480">
                  <c:v>41093</c:v>
                </c:pt>
                <c:pt idx="2481">
                  <c:v>41094</c:v>
                </c:pt>
                <c:pt idx="2482">
                  <c:v>41095</c:v>
                </c:pt>
                <c:pt idx="2483">
                  <c:v>41096</c:v>
                </c:pt>
                <c:pt idx="2484">
                  <c:v>41099</c:v>
                </c:pt>
                <c:pt idx="2485">
                  <c:v>41100</c:v>
                </c:pt>
                <c:pt idx="2486">
                  <c:v>41101</c:v>
                </c:pt>
                <c:pt idx="2487">
                  <c:v>41102</c:v>
                </c:pt>
                <c:pt idx="2488">
                  <c:v>41103</c:v>
                </c:pt>
                <c:pt idx="2489">
                  <c:v>41106</c:v>
                </c:pt>
                <c:pt idx="2490">
                  <c:v>41107</c:v>
                </c:pt>
                <c:pt idx="2491">
                  <c:v>41108</c:v>
                </c:pt>
                <c:pt idx="2492">
                  <c:v>41109</c:v>
                </c:pt>
                <c:pt idx="2493">
                  <c:v>41110</c:v>
                </c:pt>
                <c:pt idx="2494">
                  <c:v>41113</c:v>
                </c:pt>
                <c:pt idx="2495">
                  <c:v>41114</c:v>
                </c:pt>
                <c:pt idx="2496">
                  <c:v>41115</c:v>
                </c:pt>
                <c:pt idx="2497">
                  <c:v>41116</c:v>
                </c:pt>
                <c:pt idx="2498">
                  <c:v>41117</c:v>
                </c:pt>
                <c:pt idx="2499">
                  <c:v>41120</c:v>
                </c:pt>
                <c:pt idx="2500">
                  <c:v>41121</c:v>
                </c:pt>
                <c:pt idx="2501">
                  <c:v>41122</c:v>
                </c:pt>
                <c:pt idx="2502">
                  <c:v>41123</c:v>
                </c:pt>
                <c:pt idx="2503">
                  <c:v>41124</c:v>
                </c:pt>
                <c:pt idx="2504">
                  <c:v>41127</c:v>
                </c:pt>
                <c:pt idx="2505">
                  <c:v>41128</c:v>
                </c:pt>
                <c:pt idx="2506">
                  <c:v>41129</c:v>
                </c:pt>
                <c:pt idx="2507">
                  <c:v>41130</c:v>
                </c:pt>
                <c:pt idx="2508">
                  <c:v>41131</c:v>
                </c:pt>
                <c:pt idx="2509">
                  <c:v>41134</c:v>
                </c:pt>
                <c:pt idx="2510">
                  <c:v>41135</c:v>
                </c:pt>
                <c:pt idx="2511">
                  <c:v>41136</c:v>
                </c:pt>
                <c:pt idx="2512">
                  <c:v>41137</c:v>
                </c:pt>
                <c:pt idx="2513">
                  <c:v>41138</c:v>
                </c:pt>
                <c:pt idx="2514">
                  <c:v>41141</c:v>
                </c:pt>
                <c:pt idx="2515">
                  <c:v>41142</c:v>
                </c:pt>
                <c:pt idx="2516">
                  <c:v>41143</c:v>
                </c:pt>
                <c:pt idx="2517">
                  <c:v>41144</c:v>
                </c:pt>
                <c:pt idx="2518">
                  <c:v>41145</c:v>
                </c:pt>
                <c:pt idx="2519">
                  <c:v>41148</c:v>
                </c:pt>
                <c:pt idx="2520">
                  <c:v>41149</c:v>
                </c:pt>
                <c:pt idx="2521">
                  <c:v>41150</c:v>
                </c:pt>
                <c:pt idx="2522">
                  <c:v>41151</c:v>
                </c:pt>
                <c:pt idx="2523">
                  <c:v>41152</c:v>
                </c:pt>
                <c:pt idx="2524">
                  <c:v>41155</c:v>
                </c:pt>
                <c:pt idx="2525">
                  <c:v>41156</c:v>
                </c:pt>
                <c:pt idx="2526">
                  <c:v>41157</c:v>
                </c:pt>
                <c:pt idx="2527">
                  <c:v>41158</c:v>
                </c:pt>
                <c:pt idx="2528">
                  <c:v>41159</c:v>
                </c:pt>
                <c:pt idx="2529">
                  <c:v>41162</c:v>
                </c:pt>
                <c:pt idx="2530">
                  <c:v>41163</c:v>
                </c:pt>
                <c:pt idx="2531">
                  <c:v>41164</c:v>
                </c:pt>
                <c:pt idx="2532">
                  <c:v>41165</c:v>
                </c:pt>
                <c:pt idx="2533">
                  <c:v>41166</c:v>
                </c:pt>
                <c:pt idx="2534">
                  <c:v>41169</c:v>
                </c:pt>
                <c:pt idx="2535">
                  <c:v>41170</c:v>
                </c:pt>
                <c:pt idx="2536">
                  <c:v>41171</c:v>
                </c:pt>
                <c:pt idx="2537">
                  <c:v>41172</c:v>
                </c:pt>
                <c:pt idx="2538">
                  <c:v>41173</c:v>
                </c:pt>
                <c:pt idx="2539">
                  <c:v>41176</c:v>
                </c:pt>
                <c:pt idx="2540">
                  <c:v>41177</c:v>
                </c:pt>
                <c:pt idx="2541">
                  <c:v>41178</c:v>
                </c:pt>
                <c:pt idx="2542">
                  <c:v>41179</c:v>
                </c:pt>
                <c:pt idx="2543">
                  <c:v>41180</c:v>
                </c:pt>
                <c:pt idx="2544">
                  <c:v>41190</c:v>
                </c:pt>
                <c:pt idx="2545">
                  <c:v>41191</c:v>
                </c:pt>
                <c:pt idx="2546">
                  <c:v>41192</c:v>
                </c:pt>
                <c:pt idx="2547">
                  <c:v>41193</c:v>
                </c:pt>
                <c:pt idx="2548">
                  <c:v>41194</c:v>
                </c:pt>
                <c:pt idx="2549">
                  <c:v>41197</c:v>
                </c:pt>
                <c:pt idx="2550">
                  <c:v>41198</c:v>
                </c:pt>
                <c:pt idx="2551">
                  <c:v>41199</c:v>
                </c:pt>
                <c:pt idx="2552">
                  <c:v>41200</c:v>
                </c:pt>
                <c:pt idx="2553">
                  <c:v>41201</c:v>
                </c:pt>
                <c:pt idx="2554">
                  <c:v>41204</c:v>
                </c:pt>
                <c:pt idx="2555">
                  <c:v>41205</c:v>
                </c:pt>
                <c:pt idx="2556">
                  <c:v>41206</c:v>
                </c:pt>
                <c:pt idx="2557">
                  <c:v>41207</c:v>
                </c:pt>
                <c:pt idx="2558">
                  <c:v>41208</c:v>
                </c:pt>
                <c:pt idx="2559">
                  <c:v>41211</c:v>
                </c:pt>
                <c:pt idx="2560">
                  <c:v>41212</c:v>
                </c:pt>
                <c:pt idx="2561">
                  <c:v>41213</c:v>
                </c:pt>
                <c:pt idx="2562">
                  <c:v>41214</c:v>
                </c:pt>
                <c:pt idx="2563">
                  <c:v>41215</c:v>
                </c:pt>
                <c:pt idx="2564">
                  <c:v>41218</c:v>
                </c:pt>
                <c:pt idx="2565">
                  <c:v>41219</c:v>
                </c:pt>
                <c:pt idx="2566">
                  <c:v>41220</c:v>
                </c:pt>
                <c:pt idx="2567">
                  <c:v>41221</c:v>
                </c:pt>
                <c:pt idx="2568">
                  <c:v>41222</c:v>
                </c:pt>
                <c:pt idx="2569">
                  <c:v>41225</c:v>
                </c:pt>
                <c:pt idx="2570">
                  <c:v>41226</c:v>
                </c:pt>
                <c:pt idx="2571">
                  <c:v>41227</c:v>
                </c:pt>
                <c:pt idx="2572">
                  <c:v>41228</c:v>
                </c:pt>
                <c:pt idx="2573">
                  <c:v>41229</c:v>
                </c:pt>
                <c:pt idx="2574">
                  <c:v>41232</c:v>
                </c:pt>
                <c:pt idx="2575">
                  <c:v>41233</c:v>
                </c:pt>
                <c:pt idx="2576">
                  <c:v>41234</c:v>
                </c:pt>
                <c:pt idx="2577">
                  <c:v>41235</c:v>
                </c:pt>
                <c:pt idx="2578">
                  <c:v>41236</c:v>
                </c:pt>
                <c:pt idx="2579">
                  <c:v>41239</c:v>
                </c:pt>
                <c:pt idx="2580">
                  <c:v>41240</c:v>
                </c:pt>
                <c:pt idx="2581">
                  <c:v>41241</c:v>
                </c:pt>
                <c:pt idx="2582">
                  <c:v>41242</c:v>
                </c:pt>
                <c:pt idx="2583">
                  <c:v>41243</c:v>
                </c:pt>
                <c:pt idx="2584">
                  <c:v>41246</c:v>
                </c:pt>
                <c:pt idx="2585">
                  <c:v>41247</c:v>
                </c:pt>
                <c:pt idx="2586">
                  <c:v>41248</c:v>
                </c:pt>
                <c:pt idx="2587">
                  <c:v>41249</c:v>
                </c:pt>
                <c:pt idx="2588">
                  <c:v>41250</c:v>
                </c:pt>
                <c:pt idx="2589">
                  <c:v>41253</c:v>
                </c:pt>
                <c:pt idx="2590">
                  <c:v>41254</c:v>
                </c:pt>
                <c:pt idx="2591">
                  <c:v>41255</c:v>
                </c:pt>
                <c:pt idx="2592">
                  <c:v>41256</c:v>
                </c:pt>
                <c:pt idx="2593">
                  <c:v>41257</c:v>
                </c:pt>
                <c:pt idx="2594">
                  <c:v>41260</c:v>
                </c:pt>
                <c:pt idx="2595">
                  <c:v>41261</c:v>
                </c:pt>
                <c:pt idx="2596">
                  <c:v>41262</c:v>
                </c:pt>
                <c:pt idx="2597">
                  <c:v>41263</c:v>
                </c:pt>
                <c:pt idx="2598">
                  <c:v>41264</c:v>
                </c:pt>
                <c:pt idx="2599">
                  <c:v>41267</c:v>
                </c:pt>
                <c:pt idx="2600">
                  <c:v>41268</c:v>
                </c:pt>
                <c:pt idx="2601">
                  <c:v>41269</c:v>
                </c:pt>
                <c:pt idx="2602">
                  <c:v>41270</c:v>
                </c:pt>
                <c:pt idx="2603">
                  <c:v>41271</c:v>
                </c:pt>
                <c:pt idx="2604">
                  <c:v>41274</c:v>
                </c:pt>
                <c:pt idx="2605">
                  <c:v>41278</c:v>
                </c:pt>
                <c:pt idx="2606">
                  <c:v>41281</c:v>
                </c:pt>
                <c:pt idx="2607">
                  <c:v>41282</c:v>
                </c:pt>
                <c:pt idx="2608">
                  <c:v>41283</c:v>
                </c:pt>
                <c:pt idx="2609">
                  <c:v>41284</c:v>
                </c:pt>
                <c:pt idx="2610">
                  <c:v>41285</c:v>
                </c:pt>
                <c:pt idx="2611">
                  <c:v>41288</c:v>
                </c:pt>
                <c:pt idx="2612">
                  <c:v>41289</c:v>
                </c:pt>
                <c:pt idx="2613">
                  <c:v>41290</c:v>
                </c:pt>
                <c:pt idx="2614">
                  <c:v>41291</c:v>
                </c:pt>
                <c:pt idx="2615">
                  <c:v>41292</c:v>
                </c:pt>
                <c:pt idx="2616">
                  <c:v>41295</c:v>
                </c:pt>
                <c:pt idx="2617">
                  <c:v>41296</c:v>
                </c:pt>
                <c:pt idx="2618">
                  <c:v>41297</c:v>
                </c:pt>
                <c:pt idx="2619">
                  <c:v>41298</c:v>
                </c:pt>
                <c:pt idx="2620">
                  <c:v>41299</c:v>
                </c:pt>
                <c:pt idx="2621">
                  <c:v>41302</c:v>
                </c:pt>
                <c:pt idx="2622">
                  <c:v>41303</c:v>
                </c:pt>
                <c:pt idx="2623">
                  <c:v>41304</c:v>
                </c:pt>
                <c:pt idx="2624">
                  <c:v>41305</c:v>
                </c:pt>
                <c:pt idx="2625">
                  <c:v>41306</c:v>
                </c:pt>
                <c:pt idx="2626">
                  <c:v>41309</c:v>
                </c:pt>
                <c:pt idx="2627">
                  <c:v>41310</c:v>
                </c:pt>
                <c:pt idx="2628">
                  <c:v>41311</c:v>
                </c:pt>
                <c:pt idx="2629">
                  <c:v>41312</c:v>
                </c:pt>
                <c:pt idx="2630">
                  <c:v>41313</c:v>
                </c:pt>
                <c:pt idx="2631">
                  <c:v>41323</c:v>
                </c:pt>
                <c:pt idx="2632">
                  <c:v>41324</c:v>
                </c:pt>
                <c:pt idx="2633">
                  <c:v>41325</c:v>
                </c:pt>
                <c:pt idx="2634">
                  <c:v>41326</c:v>
                </c:pt>
                <c:pt idx="2635">
                  <c:v>41327</c:v>
                </c:pt>
                <c:pt idx="2636">
                  <c:v>41330</c:v>
                </c:pt>
                <c:pt idx="2637">
                  <c:v>41331</c:v>
                </c:pt>
                <c:pt idx="2638">
                  <c:v>41332</c:v>
                </c:pt>
                <c:pt idx="2639">
                  <c:v>41333</c:v>
                </c:pt>
                <c:pt idx="2640">
                  <c:v>41334</c:v>
                </c:pt>
                <c:pt idx="2641">
                  <c:v>41337</c:v>
                </c:pt>
                <c:pt idx="2642">
                  <c:v>41338</c:v>
                </c:pt>
                <c:pt idx="2643">
                  <c:v>41339</c:v>
                </c:pt>
                <c:pt idx="2644">
                  <c:v>41340</c:v>
                </c:pt>
                <c:pt idx="2645">
                  <c:v>41341</c:v>
                </c:pt>
                <c:pt idx="2646">
                  <c:v>41344</c:v>
                </c:pt>
                <c:pt idx="2647">
                  <c:v>41345</c:v>
                </c:pt>
                <c:pt idx="2648">
                  <c:v>41346</c:v>
                </c:pt>
                <c:pt idx="2649">
                  <c:v>41347</c:v>
                </c:pt>
                <c:pt idx="2650">
                  <c:v>41348</c:v>
                </c:pt>
                <c:pt idx="2651">
                  <c:v>41351</c:v>
                </c:pt>
                <c:pt idx="2652">
                  <c:v>41352</c:v>
                </c:pt>
                <c:pt idx="2653">
                  <c:v>41353</c:v>
                </c:pt>
                <c:pt idx="2654">
                  <c:v>41354</c:v>
                </c:pt>
                <c:pt idx="2655">
                  <c:v>41355</c:v>
                </c:pt>
                <c:pt idx="2656">
                  <c:v>41358</c:v>
                </c:pt>
                <c:pt idx="2657">
                  <c:v>41359</c:v>
                </c:pt>
                <c:pt idx="2658">
                  <c:v>41360</c:v>
                </c:pt>
                <c:pt idx="2659">
                  <c:v>41361</c:v>
                </c:pt>
                <c:pt idx="2660">
                  <c:v>41362</c:v>
                </c:pt>
                <c:pt idx="2661">
                  <c:v>41365</c:v>
                </c:pt>
                <c:pt idx="2662">
                  <c:v>41366</c:v>
                </c:pt>
                <c:pt idx="2663">
                  <c:v>41367</c:v>
                </c:pt>
                <c:pt idx="2664">
                  <c:v>41372</c:v>
                </c:pt>
                <c:pt idx="2665">
                  <c:v>41373</c:v>
                </c:pt>
                <c:pt idx="2666">
                  <c:v>41374</c:v>
                </c:pt>
                <c:pt idx="2667">
                  <c:v>41375</c:v>
                </c:pt>
                <c:pt idx="2668">
                  <c:v>41376</c:v>
                </c:pt>
                <c:pt idx="2669">
                  <c:v>41379</c:v>
                </c:pt>
                <c:pt idx="2670">
                  <c:v>41380</c:v>
                </c:pt>
                <c:pt idx="2671">
                  <c:v>41381</c:v>
                </c:pt>
                <c:pt idx="2672">
                  <c:v>41382</c:v>
                </c:pt>
                <c:pt idx="2673">
                  <c:v>41383</c:v>
                </c:pt>
                <c:pt idx="2674">
                  <c:v>41386</c:v>
                </c:pt>
                <c:pt idx="2675">
                  <c:v>41387</c:v>
                </c:pt>
                <c:pt idx="2676">
                  <c:v>41388</c:v>
                </c:pt>
                <c:pt idx="2677">
                  <c:v>41389</c:v>
                </c:pt>
                <c:pt idx="2678">
                  <c:v>41390</c:v>
                </c:pt>
                <c:pt idx="2679">
                  <c:v>41396</c:v>
                </c:pt>
                <c:pt idx="2680">
                  <c:v>41397</c:v>
                </c:pt>
                <c:pt idx="2681">
                  <c:v>41400</c:v>
                </c:pt>
                <c:pt idx="2682">
                  <c:v>41401</c:v>
                </c:pt>
                <c:pt idx="2683">
                  <c:v>41402</c:v>
                </c:pt>
                <c:pt idx="2684">
                  <c:v>41403</c:v>
                </c:pt>
                <c:pt idx="2685">
                  <c:v>41404</c:v>
                </c:pt>
                <c:pt idx="2686">
                  <c:v>41407</c:v>
                </c:pt>
                <c:pt idx="2687">
                  <c:v>41408</c:v>
                </c:pt>
                <c:pt idx="2688">
                  <c:v>41409</c:v>
                </c:pt>
                <c:pt idx="2689">
                  <c:v>41410</c:v>
                </c:pt>
                <c:pt idx="2690">
                  <c:v>41411</c:v>
                </c:pt>
                <c:pt idx="2691">
                  <c:v>41414</c:v>
                </c:pt>
                <c:pt idx="2692">
                  <c:v>41415</c:v>
                </c:pt>
                <c:pt idx="2693">
                  <c:v>41416</c:v>
                </c:pt>
                <c:pt idx="2694">
                  <c:v>41417</c:v>
                </c:pt>
                <c:pt idx="2695">
                  <c:v>41418</c:v>
                </c:pt>
                <c:pt idx="2696">
                  <c:v>41421</c:v>
                </c:pt>
                <c:pt idx="2697">
                  <c:v>41422</c:v>
                </c:pt>
                <c:pt idx="2698">
                  <c:v>41423</c:v>
                </c:pt>
                <c:pt idx="2699">
                  <c:v>41424</c:v>
                </c:pt>
                <c:pt idx="2700">
                  <c:v>41425</c:v>
                </c:pt>
                <c:pt idx="2701">
                  <c:v>41428</c:v>
                </c:pt>
                <c:pt idx="2702">
                  <c:v>41429</c:v>
                </c:pt>
                <c:pt idx="2703">
                  <c:v>41430</c:v>
                </c:pt>
                <c:pt idx="2704">
                  <c:v>41431</c:v>
                </c:pt>
                <c:pt idx="2705">
                  <c:v>41432</c:v>
                </c:pt>
                <c:pt idx="2706">
                  <c:v>41438</c:v>
                </c:pt>
                <c:pt idx="2707">
                  <c:v>41439</c:v>
                </c:pt>
                <c:pt idx="2708">
                  <c:v>41442</c:v>
                </c:pt>
                <c:pt idx="2709">
                  <c:v>41443</c:v>
                </c:pt>
                <c:pt idx="2710">
                  <c:v>41444</c:v>
                </c:pt>
                <c:pt idx="2711">
                  <c:v>41445</c:v>
                </c:pt>
                <c:pt idx="2712">
                  <c:v>41446</c:v>
                </c:pt>
                <c:pt idx="2713">
                  <c:v>41449</c:v>
                </c:pt>
                <c:pt idx="2714">
                  <c:v>41450</c:v>
                </c:pt>
                <c:pt idx="2715">
                  <c:v>41451</c:v>
                </c:pt>
                <c:pt idx="2716">
                  <c:v>41452</c:v>
                </c:pt>
                <c:pt idx="2717">
                  <c:v>41453</c:v>
                </c:pt>
                <c:pt idx="2718">
                  <c:v>41456</c:v>
                </c:pt>
                <c:pt idx="2719">
                  <c:v>41457</c:v>
                </c:pt>
                <c:pt idx="2720">
                  <c:v>41458</c:v>
                </c:pt>
                <c:pt idx="2721">
                  <c:v>41459</c:v>
                </c:pt>
                <c:pt idx="2722">
                  <c:v>41460</c:v>
                </c:pt>
                <c:pt idx="2723">
                  <c:v>41463</c:v>
                </c:pt>
                <c:pt idx="2724">
                  <c:v>41464</c:v>
                </c:pt>
                <c:pt idx="2725">
                  <c:v>41465</c:v>
                </c:pt>
                <c:pt idx="2726">
                  <c:v>41466</c:v>
                </c:pt>
                <c:pt idx="2727">
                  <c:v>41467</c:v>
                </c:pt>
                <c:pt idx="2728">
                  <c:v>41470</c:v>
                </c:pt>
                <c:pt idx="2729">
                  <c:v>41471</c:v>
                </c:pt>
                <c:pt idx="2730">
                  <c:v>41472</c:v>
                </c:pt>
                <c:pt idx="2731">
                  <c:v>41473</c:v>
                </c:pt>
                <c:pt idx="2732">
                  <c:v>41474</c:v>
                </c:pt>
                <c:pt idx="2733">
                  <c:v>41477</c:v>
                </c:pt>
                <c:pt idx="2734">
                  <c:v>41478</c:v>
                </c:pt>
                <c:pt idx="2735">
                  <c:v>41479</c:v>
                </c:pt>
                <c:pt idx="2736">
                  <c:v>41480</c:v>
                </c:pt>
                <c:pt idx="2737">
                  <c:v>41481</c:v>
                </c:pt>
                <c:pt idx="2738">
                  <c:v>41484</c:v>
                </c:pt>
                <c:pt idx="2739">
                  <c:v>41485</c:v>
                </c:pt>
                <c:pt idx="2740">
                  <c:v>41486</c:v>
                </c:pt>
                <c:pt idx="2741">
                  <c:v>41487</c:v>
                </c:pt>
                <c:pt idx="2742">
                  <c:v>41488</c:v>
                </c:pt>
                <c:pt idx="2743">
                  <c:v>41491</c:v>
                </c:pt>
                <c:pt idx="2744">
                  <c:v>41492</c:v>
                </c:pt>
                <c:pt idx="2745">
                  <c:v>41493</c:v>
                </c:pt>
                <c:pt idx="2746">
                  <c:v>41494</c:v>
                </c:pt>
                <c:pt idx="2747">
                  <c:v>41495</c:v>
                </c:pt>
                <c:pt idx="2748">
                  <c:v>41498</c:v>
                </c:pt>
                <c:pt idx="2749">
                  <c:v>41499</c:v>
                </c:pt>
                <c:pt idx="2750">
                  <c:v>41500</c:v>
                </c:pt>
                <c:pt idx="2751">
                  <c:v>41501</c:v>
                </c:pt>
                <c:pt idx="2752">
                  <c:v>41502</c:v>
                </c:pt>
                <c:pt idx="2753">
                  <c:v>41505</c:v>
                </c:pt>
                <c:pt idx="2754">
                  <c:v>41506</c:v>
                </c:pt>
                <c:pt idx="2755">
                  <c:v>41507</c:v>
                </c:pt>
                <c:pt idx="2756">
                  <c:v>41508</c:v>
                </c:pt>
                <c:pt idx="2757">
                  <c:v>41509</c:v>
                </c:pt>
                <c:pt idx="2758">
                  <c:v>41512</c:v>
                </c:pt>
                <c:pt idx="2759">
                  <c:v>41513</c:v>
                </c:pt>
                <c:pt idx="2760">
                  <c:v>41514</c:v>
                </c:pt>
                <c:pt idx="2761">
                  <c:v>41515</c:v>
                </c:pt>
                <c:pt idx="2762">
                  <c:v>41516</c:v>
                </c:pt>
                <c:pt idx="2763">
                  <c:v>41519</c:v>
                </c:pt>
                <c:pt idx="2764">
                  <c:v>41520</c:v>
                </c:pt>
                <c:pt idx="2765">
                  <c:v>41521</c:v>
                </c:pt>
                <c:pt idx="2766">
                  <c:v>41522</c:v>
                </c:pt>
                <c:pt idx="2767">
                  <c:v>41523</c:v>
                </c:pt>
                <c:pt idx="2768">
                  <c:v>41526</c:v>
                </c:pt>
                <c:pt idx="2769">
                  <c:v>41527</c:v>
                </c:pt>
                <c:pt idx="2770">
                  <c:v>41528</c:v>
                </c:pt>
                <c:pt idx="2771">
                  <c:v>41529</c:v>
                </c:pt>
                <c:pt idx="2772">
                  <c:v>41530</c:v>
                </c:pt>
                <c:pt idx="2773">
                  <c:v>41533</c:v>
                </c:pt>
                <c:pt idx="2774">
                  <c:v>41534</c:v>
                </c:pt>
                <c:pt idx="2775">
                  <c:v>41535</c:v>
                </c:pt>
                <c:pt idx="2776">
                  <c:v>41540</c:v>
                </c:pt>
                <c:pt idx="2777">
                  <c:v>41541</c:v>
                </c:pt>
                <c:pt idx="2778">
                  <c:v>41542</c:v>
                </c:pt>
                <c:pt idx="2779">
                  <c:v>41543</c:v>
                </c:pt>
                <c:pt idx="2780">
                  <c:v>41544</c:v>
                </c:pt>
                <c:pt idx="2781">
                  <c:v>41547</c:v>
                </c:pt>
                <c:pt idx="2782">
                  <c:v>41555</c:v>
                </c:pt>
                <c:pt idx="2783">
                  <c:v>41556</c:v>
                </c:pt>
                <c:pt idx="2784">
                  <c:v>41557</c:v>
                </c:pt>
                <c:pt idx="2785">
                  <c:v>41558</c:v>
                </c:pt>
                <c:pt idx="2786">
                  <c:v>41561</c:v>
                </c:pt>
                <c:pt idx="2787">
                  <c:v>41562</c:v>
                </c:pt>
                <c:pt idx="2788">
                  <c:v>41563</c:v>
                </c:pt>
                <c:pt idx="2789">
                  <c:v>41564</c:v>
                </c:pt>
                <c:pt idx="2790">
                  <c:v>41565</c:v>
                </c:pt>
                <c:pt idx="2791">
                  <c:v>41568</c:v>
                </c:pt>
                <c:pt idx="2792">
                  <c:v>41569</c:v>
                </c:pt>
                <c:pt idx="2793">
                  <c:v>41570</c:v>
                </c:pt>
                <c:pt idx="2794">
                  <c:v>41571</c:v>
                </c:pt>
                <c:pt idx="2795">
                  <c:v>41572</c:v>
                </c:pt>
                <c:pt idx="2796">
                  <c:v>41575</c:v>
                </c:pt>
                <c:pt idx="2797">
                  <c:v>41576</c:v>
                </c:pt>
                <c:pt idx="2798">
                  <c:v>41577</c:v>
                </c:pt>
                <c:pt idx="2799">
                  <c:v>41578</c:v>
                </c:pt>
                <c:pt idx="2800">
                  <c:v>41579</c:v>
                </c:pt>
                <c:pt idx="2801">
                  <c:v>41582</c:v>
                </c:pt>
                <c:pt idx="2802">
                  <c:v>41583</c:v>
                </c:pt>
                <c:pt idx="2803">
                  <c:v>41584</c:v>
                </c:pt>
                <c:pt idx="2804">
                  <c:v>41585</c:v>
                </c:pt>
                <c:pt idx="2805">
                  <c:v>41586</c:v>
                </c:pt>
                <c:pt idx="2806">
                  <c:v>41589</c:v>
                </c:pt>
                <c:pt idx="2807">
                  <c:v>41590</c:v>
                </c:pt>
                <c:pt idx="2808">
                  <c:v>41591</c:v>
                </c:pt>
                <c:pt idx="2809">
                  <c:v>41592</c:v>
                </c:pt>
                <c:pt idx="2810">
                  <c:v>41593</c:v>
                </c:pt>
                <c:pt idx="2811">
                  <c:v>41596</c:v>
                </c:pt>
                <c:pt idx="2812">
                  <c:v>41597</c:v>
                </c:pt>
                <c:pt idx="2813">
                  <c:v>41598</c:v>
                </c:pt>
                <c:pt idx="2814">
                  <c:v>41599</c:v>
                </c:pt>
                <c:pt idx="2815">
                  <c:v>41600</c:v>
                </c:pt>
                <c:pt idx="2816">
                  <c:v>41603</c:v>
                </c:pt>
                <c:pt idx="2817">
                  <c:v>41604</c:v>
                </c:pt>
                <c:pt idx="2818">
                  <c:v>41605</c:v>
                </c:pt>
                <c:pt idx="2819">
                  <c:v>41606</c:v>
                </c:pt>
                <c:pt idx="2820">
                  <c:v>41607</c:v>
                </c:pt>
                <c:pt idx="2821">
                  <c:v>41610</c:v>
                </c:pt>
                <c:pt idx="2822">
                  <c:v>41611</c:v>
                </c:pt>
                <c:pt idx="2823">
                  <c:v>41612</c:v>
                </c:pt>
                <c:pt idx="2824">
                  <c:v>41613</c:v>
                </c:pt>
                <c:pt idx="2825">
                  <c:v>41614</c:v>
                </c:pt>
                <c:pt idx="2826">
                  <c:v>41617</c:v>
                </c:pt>
                <c:pt idx="2827">
                  <c:v>41618</c:v>
                </c:pt>
                <c:pt idx="2828">
                  <c:v>41619</c:v>
                </c:pt>
                <c:pt idx="2829">
                  <c:v>41620</c:v>
                </c:pt>
                <c:pt idx="2830">
                  <c:v>41621</c:v>
                </c:pt>
                <c:pt idx="2831">
                  <c:v>41624</c:v>
                </c:pt>
                <c:pt idx="2832">
                  <c:v>41625</c:v>
                </c:pt>
                <c:pt idx="2833">
                  <c:v>41626</c:v>
                </c:pt>
                <c:pt idx="2834">
                  <c:v>41627</c:v>
                </c:pt>
                <c:pt idx="2835">
                  <c:v>41628</c:v>
                </c:pt>
                <c:pt idx="2836">
                  <c:v>41631</c:v>
                </c:pt>
                <c:pt idx="2837">
                  <c:v>41632</c:v>
                </c:pt>
                <c:pt idx="2838">
                  <c:v>41633</c:v>
                </c:pt>
                <c:pt idx="2839">
                  <c:v>41634</c:v>
                </c:pt>
                <c:pt idx="2840">
                  <c:v>41635</c:v>
                </c:pt>
                <c:pt idx="2841">
                  <c:v>41638</c:v>
                </c:pt>
                <c:pt idx="2842">
                  <c:v>41639</c:v>
                </c:pt>
                <c:pt idx="2843">
                  <c:v>41641</c:v>
                </c:pt>
                <c:pt idx="2844">
                  <c:v>41642</c:v>
                </c:pt>
                <c:pt idx="2845">
                  <c:v>41645</c:v>
                </c:pt>
                <c:pt idx="2846">
                  <c:v>41646</c:v>
                </c:pt>
                <c:pt idx="2847">
                  <c:v>41647</c:v>
                </c:pt>
                <c:pt idx="2848">
                  <c:v>41648</c:v>
                </c:pt>
                <c:pt idx="2849">
                  <c:v>41649</c:v>
                </c:pt>
                <c:pt idx="2850">
                  <c:v>41652</c:v>
                </c:pt>
                <c:pt idx="2851">
                  <c:v>41653</c:v>
                </c:pt>
                <c:pt idx="2852">
                  <c:v>41654</c:v>
                </c:pt>
                <c:pt idx="2853">
                  <c:v>41655</c:v>
                </c:pt>
                <c:pt idx="2854">
                  <c:v>41656</c:v>
                </c:pt>
                <c:pt idx="2855">
                  <c:v>41659</c:v>
                </c:pt>
                <c:pt idx="2856">
                  <c:v>41660</c:v>
                </c:pt>
                <c:pt idx="2857">
                  <c:v>41661</c:v>
                </c:pt>
                <c:pt idx="2858">
                  <c:v>41662</c:v>
                </c:pt>
                <c:pt idx="2859">
                  <c:v>41663</c:v>
                </c:pt>
                <c:pt idx="2860">
                  <c:v>41666</c:v>
                </c:pt>
                <c:pt idx="2861">
                  <c:v>41667</c:v>
                </c:pt>
                <c:pt idx="2862">
                  <c:v>41668</c:v>
                </c:pt>
                <c:pt idx="2863">
                  <c:v>41669</c:v>
                </c:pt>
                <c:pt idx="2864">
                  <c:v>41677</c:v>
                </c:pt>
                <c:pt idx="2865">
                  <c:v>41680</c:v>
                </c:pt>
                <c:pt idx="2866">
                  <c:v>41681</c:v>
                </c:pt>
                <c:pt idx="2867">
                  <c:v>41682</c:v>
                </c:pt>
                <c:pt idx="2868">
                  <c:v>41683</c:v>
                </c:pt>
                <c:pt idx="2869">
                  <c:v>41684</c:v>
                </c:pt>
                <c:pt idx="2870">
                  <c:v>41687</c:v>
                </c:pt>
                <c:pt idx="2871">
                  <c:v>41688</c:v>
                </c:pt>
                <c:pt idx="2872">
                  <c:v>41689</c:v>
                </c:pt>
                <c:pt idx="2873">
                  <c:v>41690</c:v>
                </c:pt>
                <c:pt idx="2874">
                  <c:v>41691</c:v>
                </c:pt>
                <c:pt idx="2875">
                  <c:v>41694</c:v>
                </c:pt>
                <c:pt idx="2876">
                  <c:v>41695</c:v>
                </c:pt>
                <c:pt idx="2877">
                  <c:v>41696</c:v>
                </c:pt>
                <c:pt idx="2878">
                  <c:v>41697</c:v>
                </c:pt>
                <c:pt idx="2879">
                  <c:v>41698</c:v>
                </c:pt>
                <c:pt idx="2880">
                  <c:v>41701</c:v>
                </c:pt>
                <c:pt idx="2881">
                  <c:v>41702</c:v>
                </c:pt>
                <c:pt idx="2882">
                  <c:v>41703</c:v>
                </c:pt>
                <c:pt idx="2883">
                  <c:v>41704</c:v>
                </c:pt>
                <c:pt idx="2884">
                  <c:v>41705</c:v>
                </c:pt>
                <c:pt idx="2885">
                  <c:v>41708</c:v>
                </c:pt>
                <c:pt idx="2886">
                  <c:v>41709</c:v>
                </c:pt>
                <c:pt idx="2887">
                  <c:v>41710</c:v>
                </c:pt>
                <c:pt idx="2888">
                  <c:v>41711</c:v>
                </c:pt>
                <c:pt idx="2889">
                  <c:v>41712</c:v>
                </c:pt>
                <c:pt idx="2890">
                  <c:v>41715</c:v>
                </c:pt>
                <c:pt idx="2891">
                  <c:v>41716</c:v>
                </c:pt>
                <c:pt idx="2892">
                  <c:v>41717</c:v>
                </c:pt>
                <c:pt idx="2893">
                  <c:v>41718</c:v>
                </c:pt>
                <c:pt idx="2894">
                  <c:v>41719</c:v>
                </c:pt>
                <c:pt idx="2895">
                  <c:v>41722</c:v>
                </c:pt>
                <c:pt idx="2896">
                  <c:v>41723</c:v>
                </c:pt>
                <c:pt idx="2897">
                  <c:v>41724</c:v>
                </c:pt>
                <c:pt idx="2898">
                  <c:v>41725</c:v>
                </c:pt>
                <c:pt idx="2899">
                  <c:v>41726</c:v>
                </c:pt>
                <c:pt idx="2900">
                  <c:v>41729</c:v>
                </c:pt>
                <c:pt idx="2901">
                  <c:v>41730</c:v>
                </c:pt>
                <c:pt idx="2902">
                  <c:v>41731</c:v>
                </c:pt>
                <c:pt idx="2903">
                  <c:v>41732</c:v>
                </c:pt>
                <c:pt idx="2904">
                  <c:v>41733</c:v>
                </c:pt>
                <c:pt idx="2905">
                  <c:v>41737</c:v>
                </c:pt>
                <c:pt idx="2906">
                  <c:v>41738</c:v>
                </c:pt>
                <c:pt idx="2907">
                  <c:v>41739</c:v>
                </c:pt>
                <c:pt idx="2908">
                  <c:v>41740</c:v>
                </c:pt>
                <c:pt idx="2909">
                  <c:v>41743</c:v>
                </c:pt>
                <c:pt idx="2910">
                  <c:v>41744</c:v>
                </c:pt>
                <c:pt idx="2911">
                  <c:v>41745</c:v>
                </c:pt>
                <c:pt idx="2912">
                  <c:v>41746</c:v>
                </c:pt>
                <c:pt idx="2913">
                  <c:v>41747</c:v>
                </c:pt>
                <c:pt idx="2914">
                  <c:v>41750</c:v>
                </c:pt>
                <c:pt idx="2915">
                  <c:v>41751</c:v>
                </c:pt>
                <c:pt idx="2916">
                  <c:v>41752</c:v>
                </c:pt>
                <c:pt idx="2917">
                  <c:v>41753</c:v>
                </c:pt>
                <c:pt idx="2918">
                  <c:v>41754</c:v>
                </c:pt>
                <c:pt idx="2919">
                  <c:v>41757</c:v>
                </c:pt>
                <c:pt idx="2920">
                  <c:v>41758</c:v>
                </c:pt>
                <c:pt idx="2921">
                  <c:v>41759</c:v>
                </c:pt>
                <c:pt idx="2922">
                  <c:v>41764</c:v>
                </c:pt>
                <c:pt idx="2923">
                  <c:v>41765</c:v>
                </c:pt>
                <c:pt idx="2924">
                  <c:v>41766</c:v>
                </c:pt>
                <c:pt idx="2925">
                  <c:v>41767</c:v>
                </c:pt>
                <c:pt idx="2926">
                  <c:v>41768</c:v>
                </c:pt>
                <c:pt idx="2927">
                  <c:v>41771</c:v>
                </c:pt>
                <c:pt idx="2928">
                  <c:v>41772</c:v>
                </c:pt>
                <c:pt idx="2929">
                  <c:v>41773</c:v>
                </c:pt>
                <c:pt idx="2930">
                  <c:v>41774</c:v>
                </c:pt>
                <c:pt idx="2931">
                  <c:v>41775</c:v>
                </c:pt>
                <c:pt idx="2932">
                  <c:v>41778</c:v>
                </c:pt>
                <c:pt idx="2933">
                  <c:v>41779</c:v>
                </c:pt>
                <c:pt idx="2934">
                  <c:v>41780</c:v>
                </c:pt>
                <c:pt idx="2935">
                  <c:v>41781</c:v>
                </c:pt>
                <c:pt idx="2936">
                  <c:v>41782</c:v>
                </c:pt>
                <c:pt idx="2937">
                  <c:v>41785</c:v>
                </c:pt>
                <c:pt idx="2938">
                  <c:v>41786</c:v>
                </c:pt>
                <c:pt idx="2939">
                  <c:v>41787</c:v>
                </c:pt>
                <c:pt idx="2940">
                  <c:v>41788</c:v>
                </c:pt>
                <c:pt idx="2941">
                  <c:v>41789</c:v>
                </c:pt>
                <c:pt idx="2942">
                  <c:v>41793</c:v>
                </c:pt>
                <c:pt idx="2943">
                  <c:v>41794</c:v>
                </c:pt>
                <c:pt idx="2944">
                  <c:v>41795</c:v>
                </c:pt>
                <c:pt idx="2945">
                  <c:v>41796</c:v>
                </c:pt>
                <c:pt idx="2946">
                  <c:v>41799</c:v>
                </c:pt>
                <c:pt idx="2947">
                  <c:v>41800</c:v>
                </c:pt>
                <c:pt idx="2948">
                  <c:v>41801</c:v>
                </c:pt>
                <c:pt idx="2949">
                  <c:v>41802</c:v>
                </c:pt>
                <c:pt idx="2950">
                  <c:v>41803</c:v>
                </c:pt>
                <c:pt idx="2951">
                  <c:v>41806</c:v>
                </c:pt>
                <c:pt idx="2952">
                  <c:v>41807</c:v>
                </c:pt>
                <c:pt idx="2953">
                  <c:v>41808</c:v>
                </c:pt>
                <c:pt idx="2954">
                  <c:v>41809</c:v>
                </c:pt>
                <c:pt idx="2955">
                  <c:v>41810</c:v>
                </c:pt>
                <c:pt idx="2956">
                  <c:v>41813</c:v>
                </c:pt>
                <c:pt idx="2957">
                  <c:v>41814</c:v>
                </c:pt>
                <c:pt idx="2958">
                  <c:v>41815</c:v>
                </c:pt>
                <c:pt idx="2959">
                  <c:v>41816</c:v>
                </c:pt>
                <c:pt idx="2960">
                  <c:v>41817</c:v>
                </c:pt>
                <c:pt idx="2961">
                  <c:v>41820</c:v>
                </c:pt>
                <c:pt idx="2962">
                  <c:v>41821</c:v>
                </c:pt>
                <c:pt idx="2963">
                  <c:v>41822</c:v>
                </c:pt>
                <c:pt idx="2964">
                  <c:v>41823</c:v>
                </c:pt>
                <c:pt idx="2965">
                  <c:v>41824</c:v>
                </c:pt>
                <c:pt idx="2966">
                  <c:v>41827</c:v>
                </c:pt>
                <c:pt idx="2967">
                  <c:v>41828</c:v>
                </c:pt>
                <c:pt idx="2968">
                  <c:v>41829</c:v>
                </c:pt>
                <c:pt idx="2969">
                  <c:v>41830</c:v>
                </c:pt>
                <c:pt idx="2970">
                  <c:v>41831</c:v>
                </c:pt>
                <c:pt idx="2971">
                  <c:v>41834</c:v>
                </c:pt>
                <c:pt idx="2972">
                  <c:v>41835</c:v>
                </c:pt>
                <c:pt idx="2973">
                  <c:v>41836</c:v>
                </c:pt>
                <c:pt idx="2974">
                  <c:v>41837</c:v>
                </c:pt>
                <c:pt idx="2975">
                  <c:v>41838</c:v>
                </c:pt>
                <c:pt idx="2976">
                  <c:v>41841</c:v>
                </c:pt>
                <c:pt idx="2977">
                  <c:v>41842</c:v>
                </c:pt>
                <c:pt idx="2978">
                  <c:v>41843</c:v>
                </c:pt>
                <c:pt idx="2979">
                  <c:v>41844</c:v>
                </c:pt>
                <c:pt idx="2980">
                  <c:v>41845</c:v>
                </c:pt>
                <c:pt idx="2981">
                  <c:v>41848</c:v>
                </c:pt>
                <c:pt idx="2982">
                  <c:v>41849</c:v>
                </c:pt>
                <c:pt idx="2983">
                  <c:v>41850</c:v>
                </c:pt>
                <c:pt idx="2984">
                  <c:v>41851</c:v>
                </c:pt>
                <c:pt idx="2985">
                  <c:v>41852</c:v>
                </c:pt>
                <c:pt idx="2986">
                  <c:v>41855</c:v>
                </c:pt>
                <c:pt idx="2987">
                  <c:v>41856</c:v>
                </c:pt>
                <c:pt idx="2988">
                  <c:v>41857</c:v>
                </c:pt>
                <c:pt idx="2989">
                  <c:v>41858</c:v>
                </c:pt>
                <c:pt idx="2990">
                  <c:v>41859</c:v>
                </c:pt>
                <c:pt idx="2991">
                  <c:v>41862</c:v>
                </c:pt>
                <c:pt idx="2992">
                  <c:v>41863</c:v>
                </c:pt>
                <c:pt idx="2993">
                  <c:v>41864</c:v>
                </c:pt>
                <c:pt idx="2994">
                  <c:v>41865</c:v>
                </c:pt>
                <c:pt idx="2995">
                  <c:v>41866</c:v>
                </c:pt>
                <c:pt idx="2996">
                  <c:v>41869</c:v>
                </c:pt>
                <c:pt idx="2997">
                  <c:v>41870</c:v>
                </c:pt>
                <c:pt idx="2998">
                  <c:v>41871</c:v>
                </c:pt>
                <c:pt idx="2999">
                  <c:v>41872</c:v>
                </c:pt>
                <c:pt idx="3000">
                  <c:v>41873</c:v>
                </c:pt>
                <c:pt idx="3001">
                  <c:v>41876</c:v>
                </c:pt>
                <c:pt idx="3002">
                  <c:v>41877</c:v>
                </c:pt>
                <c:pt idx="3003">
                  <c:v>41878</c:v>
                </c:pt>
                <c:pt idx="3004">
                  <c:v>41879</c:v>
                </c:pt>
                <c:pt idx="3005">
                  <c:v>41880</c:v>
                </c:pt>
                <c:pt idx="3006">
                  <c:v>41883</c:v>
                </c:pt>
                <c:pt idx="3007">
                  <c:v>41884</c:v>
                </c:pt>
                <c:pt idx="3008">
                  <c:v>41885</c:v>
                </c:pt>
                <c:pt idx="3009">
                  <c:v>41886</c:v>
                </c:pt>
                <c:pt idx="3010">
                  <c:v>41887</c:v>
                </c:pt>
                <c:pt idx="3011">
                  <c:v>41891</c:v>
                </c:pt>
                <c:pt idx="3012">
                  <c:v>41892</c:v>
                </c:pt>
                <c:pt idx="3013">
                  <c:v>41893</c:v>
                </c:pt>
                <c:pt idx="3014">
                  <c:v>41894</c:v>
                </c:pt>
                <c:pt idx="3015">
                  <c:v>41897</c:v>
                </c:pt>
                <c:pt idx="3016">
                  <c:v>41898</c:v>
                </c:pt>
                <c:pt idx="3017">
                  <c:v>41899</c:v>
                </c:pt>
                <c:pt idx="3018">
                  <c:v>41900</c:v>
                </c:pt>
                <c:pt idx="3019">
                  <c:v>41901</c:v>
                </c:pt>
                <c:pt idx="3020">
                  <c:v>41904</c:v>
                </c:pt>
                <c:pt idx="3021">
                  <c:v>41905</c:v>
                </c:pt>
                <c:pt idx="3022">
                  <c:v>41906</c:v>
                </c:pt>
                <c:pt idx="3023">
                  <c:v>41907</c:v>
                </c:pt>
                <c:pt idx="3024">
                  <c:v>41908</c:v>
                </c:pt>
                <c:pt idx="3025">
                  <c:v>41911</c:v>
                </c:pt>
                <c:pt idx="3026">
                  <c:v>41912</c:v>
                </c:pt>
                <c:pt idx="3027">
                  <c:v>41920</c:v>
                </c:pt>
                <c:pt idx="3028">
                  <c:v>41921</c:v>
                </c:pt>
                <c:pt idx="3029">
                  <c:v>41922</c:v>
                </c:pt>
                <c:pt idx="3030">
                  <c:v>41925</c:v>
                </c:pt>
                <c:pt idx="3031">
                  <c:v>41926</c:v>
                </c:pt>
                <c:pt idx="3032">
                  <c:v>41927</c:v>
                </c:pt>
                <c:pt idx="3033">
                  <c:v>41928</c:v>
                </c:pt>
                <c:pt idx="3034">
                  <c:v>41929</c:v>
                </c:pt>
                <c:pt idx="3035">
                  <c:v>41932</c:v>
                </c:pt>
                <c:pt idx="3036">
                  <c:v>41933</c:v>
                </c:pt>
                <c:pt idx="3037">
                  <c:v>41934</c:v>
                </c:pt>
                <c:pt idx="3038">
                  <c:v>41935</c:v>
                </c:pt>
                <c:pt idx="3039">
                  <c:v>41936</c:v>
                </c:pt>
                <c:pt idx="3040">
                  <c:v>41939</c:v>
                </c:pt>
                <c:pt idx="3041">
                  <c:v>41940</c:v>
                </c:pt>
                <c:pt idx="3042">
                  <c:v>41941</c:v>
                </c:pt>
                <c:pt idx="3043">
                  <c:v>41942</c:v>
                </c:pt>
                <c:pt idx="3044">
                  <c:v>41943</c:v>
                </c:pt>
                <c:pt idx="3045">
                  <c:v>41946</c:v>
                </c:pt>
                <c:pt idx="3046">
                  <c:v>41947</c:v>
                </c:pt>
                <c:pt idx="3047">
                  <c:v>41948</c:v>
                </c:pt>
                <c:pt idx="3048">
                  <c:v>41949</c:v>
                </c:pt>
                <c:pt idx="3049">
                  <c:v>41950</c:v>
                </c:pt>
                <c:pt idx="3050">
                  <c:v>41953</c:v>
                </c:pt>
                <c:pt idx="3051">
                  <c:v>41954</c:v>
                </c:pt>
                <c:pt idx="3052">
                  <c:v>41955</c:v>
                </c:pt>
                <c:pt idx="3053">
                  <c:v>41956</c:v>
                </c:pt>
                <c:pt idx="3054">
                  <c:v>41957</c:v>
                </c:pt>
                <c:pt idx="3055">
                  <c:v>41960</c:v>
                </c:pt>
                <c:pt idx="3056">
                  <c:v>41961</c:v>
                </c:pt>
                <c:pt idx="3057">
                  <c:v>41962</c:v>
                </c:pt>
                <c:pt idx="3058">
                  <c:v>41963</c:v>
                </c:pt>
                <c:pt idx="3059">
                  <c:v>41964</c:v>
                </c:pt>
                <c:pt idx="3060">
                  <c:v>41967</c:v>
                </c:pt>
                <c:pt idx="3061">
                  <c:v>41968</c:v>
                </c:pt>
                <c:pt idx="3062">
                  <c:v>41969</c:v>
                </c:pt>
                <c:pt idx="3063">
                  <c:v>41970</c:v>
                </c:pt>
                <c:pt idx="3064">
                  <c:v>41971</c:v>
                </c:pt>
                <c:pt idx="3065">
                  <c:v>41974</c:v>
                </c:pt>
                <c:pt idx="3066">
                  <c:v>41975</c:v>
                </c:pt>
                <c:pt idx="3067">
                  <c:v>41976</c:v>
                </c:pt>
                <c:pt idx="3068">
                  <c:v>41977</c:v>
                </c:pt>
                <c:pt idx="3069">
                  <c:v>41978</c:v>
                </c:pt>
                <c:pt idx="3070">
                  <c:v>41981</c:v>
                </c:pt>
                <c:pt idx="3071">
                  <c:v>41982</c:v>
                </c:pt>
                <c:pt idx="3072">
                  <c:v>41983</c:v>
                </c:pt>
                <c:pt idx="3073">
                  <c:v>41984</c:v>
                </c:pt>
                <c:pt idx="3074">
                  <c:v>41985</c:v>
                </c:pt>
                <c:pt idx="3075">
                  <c:v>41988</c:v>
                </c:pt>
                <c:pt idx="3076">
                  <c:v>41989</c:v>
                </c:pt>
                <c:pt idx="3077">
                  <c:v>41990</c:v>
                </c:pt>
                <c:pt idx="3078">
                  <c:v>41991</c:v>
                </c:pt>
                <c:pt idx="3079">
                  <c:v>41992</c:v>
                </c:pt>
                <c:pt idx="3080">
                  <c:v>41995</c:v>
                </c:pt>
                <c:pt idx="3081">
                  <c:v>41996</c:v>
                </c:pt>
                <c:pt idx="3082">
                  <c:v>41997</c:v>
                </c:pt>
                <c:pt idx="3083">
                  <c:v>41998</c:v>
                </c:pt>
                <c:pt idx="3084">
                  <c:v>41999</c:v>
                </c:pt>
                <c:pt idx="3085">
                  <c:v>42002</c:v>
                </c:pt>
                <c:pt idx="3086">
                  <c:v>42003</c:v>
                </c:pt>
                <c:pt idx="3087">
                  <c:v>42004</c:v>
                </c:pt>
                <c:pt idx="3088">
                  <c:v>42009</c:v>
                </c:pt>
                <c:pt idx="3089">
                  <c:v>42010</c:v>
                </c:pt>
                <c:pt idx="3090">
                  <c:v>42011</c:v>
                </c:pt>
                <c:pt idx="3091">
                  <c:v>42012</c:v>
                </c:pt>
                <c:pt idx="3092">
                  <c:v>42013</c:v>
                </c:pt>
                <c:pt idx="3093">
                  <c:v>42016</c:v>
                </c:pt>
                <c:pt idx="3094">
                  <c:v>42017</c:v>
                </c:pt>
                <c:pt idx="3095">
                  <c:v>42018</c:v>
                </c:pt>
                <c:pt idx="3096">
                  <c:v>42019</c:v>
                </c:pt>
                <c:pt idx="3097">
                  <c:v>42020</c:v>
                </c:pt>
                <c:pt idx="3098">
                  <c:v>42023</c:v>
                </c:pt>
                <c:pt idx="3099">
                  <c:v>42024</c:v>
                </c:pt>
                <c:pt idx="3100">
                  <c:v>42025</c:v>
                </c:pt>
                <c:pt idx="3101">
                  <c:v>42026</c:v>
                </c:pt>
                <c:pt idx="3102">
                  <c:v>42027</c:v>
                </c:pt>
                <c:pt idx="3103">
                  <c:v>42030</c:v>
                </c:pt>
                <c:pt idx="3104">
                  <c:v>42031</c:v>
                </c:pt>
                <c:pt idx="3105">
                  <c:v>42032</c:v>
                </c:pt>
                <c:pt idx="3106">
                  <c:v>42033</c:v>
                </c:pt>
                <c:pt idx="3107">
                  <c:v>42034</c:v>
                </c:pt>
                <c:pt idx="3108">
                  <c:v>42037</c:v>
                </c:pt>
                <c:pt idx="3109">
                  <c:v>42038</c:v>
                </c:pt>
                <c:pt idx="3110">
                  <c:v>42039</c:v>
                </c:pt>
                <c:pt idx="3111">
                  <c:v>42040</c:v>
                </c:pt>
                <c:pt idx="3112">
                  <c:v>42041</c:v>
                </c:pt>
                <c:pt idx="3113">
                  <c:v>42044</c:v>
                </c:pt>
                <c:pt idx="3114">
                  <c:v>42045</c:v>
                </c:pt>
                <c:pt idx="3115">
                  <c:v>42046</c:v>
                </c:pt>
                <c:pt idx="3116">
                  <c:v>42047</c:v>
                </c:pt>
                <c:pt idx="3117">
                  <c:v>42048</c:v>
                </c:pt>
                <c:pt idx="3118">
                  <c:v>42051</c:v>
                </c:pt>
                <c:pt idx="3119">
                  <c:v>42052</c:v>
                </c:pt>
                <c:pt idx="3120">
                  <c:v>42060</c:v>
                </c:pt>
                <c:pt idx="3121">
                  <c:v>42061</c:v>
                </c:pt>
                <c:pt idx="3122">
                  <c:v>42062</c:v>
                </c:pt>
                <c:pt idx="3123">
                  <c:v>42065</c:v>
                </c:pt>
                <c:pt idx="3124">
                  <c:v>42066</c:v>
                </c:pt>
                <c:pt idx="3125">
                  <c:v>42067</c:v>
                </c:pt>
                <c:pt idx="3126">
                  <c:v>42068</c:v>
                </c:pt>
                <c:pt idx="3127">
                  <c:v>42069</c:v>
                </c:pt>
                <c:pt idx="3128">
                  <c:v>42072</c:v>
                </c:pt>
                <c:pt idx="3129">
                  <c:v>42073</c:v>
                </c:pt>
                <c:pt idx="3130">
                  <c:v>42074</c:v>
                </c:pt>
                <c:pt idx="3131">
                  <c:v>42075</c:v>
                </c:pt>
                <c:pt idx="3132">
                  <c:v>42076</c:v>
                </c:pt>
                <c:pt idx="3133">
                  <c:v>42079</c:v>
                </c:pt>
                <c:pt idx="3134">
                  <c:v>42080</c:v>
                </c:pt>
                <c:pt idx="3135">
                  <c:v>42081</c:v>
                </c:pt>
                <c:pt idx="3136">
                  <c:v>42082</c:v>
                </c:pt>
                <c:pt idx="3137">
                  <c:v>42083</c:v>
                </c:pt>
                <c:pt idx="3138">
                  <c:v>42086</c:v>
                </c:pt>
                <c:pt idx="3139">
                  <c:v>42087</c:v>
                </c:pt>
                <c:pt idx="3140">
                  <c:v>42088</c:v>
                </c:pt>
                <c:pt idx="3141">
                  <c:v>42089</c:v>
                </c:pt>
                <c:pt idx="3142">
                  <c:v>42090</c:v>
                </c:pt>
                <c:pt idx="3143">
                  <c:v>42093</c:v>
                </c:pt>
                <c:pt idx="3144">
                  <c:v>42094</c:v>
                </c:pt>
                <c:pt idx="3145">
                  <c:v>42095</c:v>
                </c:pt>
                <c:pt idx="3146">
                  <c:v>42096</c:v>
                </c:pt>
                <c:pt idx="3147">
                  <c:v>42097</c:v>
                </c:pt>
                <c:pt idx="3148">
                  <c:v>42101</c:v>
                </c:pt>
                <c:pt idx="3149">
                  <c:v>42102</c:v>
                </c:pt>
                <c:pt idx="3150">
                  <c:v>42103</c:v>
                </c:pt>
                <c:pt idx="3151">
                  <c:v>42104</c:v>
                </c:pt>
                <c:pt idx="3152">
                  <c:v>42107</c:v>
                </c:pt>
                <c:pt idx="3153">
                  <c:v>42108</c:v>
                </c:pt>
                <c:pt idx="3154">
                  <c:v>42109</c:v>
                </c:pt>
                <c:pt idx="3155">
                  <c:v>42110</c:v>
                </c:pt>
                <c:pt idx="3156">
                  <c:v>42111</c:v>
                </c:pt>
                <c:pt idx="3157">
                  <c:v>42114</c:v>
                </c:pt>
                <c:pt idx="3158">
                  <c:v>42115</c:v>
                </c:pt>
                <c:pt idx="3159">
                  <c:v>42116</c:v>
                </c:pt>
                <c:pt idx="3160">
                  <c:v>42117</c:v>
                </c:pt>
                <c:pt idx="3161">
                  <c:v>42118</c:v>
                </c:pt>
                <c:pt idx="3162">
                  <c:v>42121</c:v>
                </c:pt>
                <c:pt idx="3163">
                  <c:v>42122</c:v>
                </c:pt>
                <c:pt idx="3164">
                  <c:v>42123</c:v>
                </c:pt>
                <c:pt idx="3165">
                  <c:v>42124</c:v>
                </c:pt>
                <c:pt idx="3166">
                  <c:v>42128</c:v>
                </c:pt>
                <c:pt idx="3167">
                  <c:v>42129</c:v>
                </c:pt>
                <c:pt idx="3168">
                  <c:v>42130</c:v>
                </c:pt>
                <c:pt idx="3169">
                  <c:v>42131</c:v>
                </c:pt>
                <c:pt idx="3170">
                  <c:v>42132</c:v>
                </c:pt>
                <c:pt idx="3171">
                  <c:v>42135</c:v>
                </c:pt>
                <c:pt idx="3172">
                  <c:v>42136</c:v>
                </c:pt>
                <c:pt idx="3173">
                  <c:v>42137</c:v>
                </c:pt>
                <c:pt idx="3174">
                  <c:v>42138</c:v>
                </c:pt>
                <c:pt idx="3175">
                  <c:v>42139</c:v>
                </c:pt>
                <c:pt idx="3176">
                  <c:v>42142</c:v>
                </c:pt>
                <c:pt idx="3177">
                  <c:v>42143</c:v>
                </c:pt>
                <c:pt idx="3178">
                  <c:v>42144</c:v>
                </c:pt>
                <c:pt idx="3179">
                  <c:v>42145</c:v>
                </c:pt>
                <c:pt idx="3180">
                  <c:v>42146</c:v>
                </c:pt>
                <c:pt idx="3181">
                  <c:v>42149</c:v>
                </c:pt>
                <c:pt idx="3182">
                  <c:v>42150</c:v>
                </c:pt>
                <c:pt idx="3183">
                  <c:v>42151</c:v>
                </c:pt>
                <c:pt idx="3184">
                  <c:v>42152</c:v>
                </c:pt>
                <c:pt idx="3185">
                  <c:v>42153</c:v>
                </c:pt>
                <c:pt idx="3186">
                  <c:v>42156</c:v>
                </c:pt>
                <c:pt idx="3187">
                  <c:v>42157</c:v>
                </c:pt>
                <c:pt idx="3188">
                  <c:v>42158</c:v>
                </c:pt>
                <c:pt idx="3189">
                  <c:v>42159</c:v>
                </c:pt>
                <c:pt idx="3190">
                  <c:v>42160</c:v>
                </c:pt>
                <c:pt idx="3191">
                  <c:v>42163</c:v>
                </c:pt>
                <c:pt idx="3192">
                  <c:v>42164</c:v>
                </c:pt>
                <c:pt idx="3193">
                  <c:v>42165</c:v>
                </c:pt>
                <c:pt idx="3194">
                  <c:v>42166</c:v>
                </c:pt>
                <c:pt idx="3195">
                  <c:v>42167</c:v>
                </c:pt>
                <c:pt idx="3196">
                  <c:v>42170</c:v>
                </c:pt>
                <c:pt idx="3197">
                  <c:v>42171</c:v>
                </c:pt>
                <c:pt idx="3198">
                  <c:v>42172</c:v>
                </c:pt>
                <c:pt idx="3199">
                  <c:v>42173</c:v>
                </c:pt>
                <c:pt idx="3200">
                  <c:v>42174</c:v>
                </c:pt>
                <c:pt idx="3201">
                  <c:v>42178</c:v>
                </c:pt>
                <c:pt idx="3202">
                  <c:v>42179</c:v>
                </c:pt>
                <c:pt idx="3203">
                  <c:v>42180</c:v>
                </c:pt>
                <c:pt idx="3204">
                  <c:v>42181</c:v>
                </c:pt>
                <c:pt idx="3205">
                  <c:v>42184</c:v>
                </c:pt>
                <c:pt idx="3206">
                  <c:v>42185</c:v>
                </c:pt>
                <c:pt idx="3207">
                  <c:v>42186</c:v>
                </c:pt>
                <c:pt idx="3208">
                  <c:v>42187</c:v>
                </c:pt>
                <c:pt idx="3209">
                  <c:v>42188</c:v>
                </c:pt>
                <c:pt idx="3210">
                  <c:v>42191</c:v>
                </c:pt>
                <c:pt idx="3211">
                  <c:v>42192</c:v>
                </c:pt>
                <c:pt idx="3212">
                  <c:v>42193</c:v>
                </c:pt>
                <c:pt idx="3213">
                  <c:v>42194</c:v>
                </c:pt>
                <c:pt idx="3214">
                  <c:v>42195</c:v>
                </c:pt>
                <c:pt idx="3215">
                  <c:v>42198</c:v>
                </c:pt>
                <c:pt idx="3216">
                  <c:v>42199</c:v>
                </c:pt>
                <c:pt idx="3217">
                  <c:v>42200</c:v>
                </c:pt>
                <c:pt idx="3218">
                  <c:v>42201</c:v>
                </c:pt>
                <c:pt idx="3219">
                  <c:v>42202</c:v>
                </c:pt>
                <c:pt idx="3220">
                  <c:v>42205</c:v>
                </c:pt>
                <c:pt idx="3221">
                  <c:v>42206</c:v>
                </c:pt>
                <c:pt idx="3222">
                  <c:v>42207</c:v>
                </c:pt>
                <c:pt idx="3223">
                  <c:v>42208</c:v>
                </c:pt>
                <c:pt idx="3224">
                  <c:v>42209</c:v>
                </c:pt>
                <c:pt idx="3225">
                  <c:v>42212</c:v>
                </c:pt>
                <c:pt idx="3226">
                  <c:v>42213</c:v>
                </c:pt>
                <c:pt idx="3227">
                  <c:v>42214</c:v>
                </c:pt>
                <c:pt idx="3228">
                  <c:v>42215</c:v>
                </c:pt>
                <c:pt idx="3229">
                  <c:v>42216</c:v>
                </c:pt>
                <c:pt idx="3230">
                  <c:v>42219</c:v>
                </c:pt>
                <c:pt idx="3231">
                  <c:v>42220</c:v>
                </c:pt>
                <c:pt idx="3232">
                  <c:v>42221</c:v>
                </c:pt>
                <c:pt idx="3233">
                  <c:v>42222</c:v>
                </c:pt>
                <c:pt idx="3234">
                  <c:v>42223</c:v>
                </c:pt>
                <c:pt idx="3235">
                  <c:v>42226</c:v>
                </c:pt>
                <c:pt idx="3236">
                  <c:v>42227</c:v>
                </c:pt>
                <c:pt idx="3237">
                  <c:v>42228</c:v>
                </c:pt>
                <c:pt idx="3238">
                  <c:v>42229</c:v>
                </c:pt>
                <c:pt idx="3239">
                  <c:v>42230</c:v>
                </c:pt>
                <c:pt idx="3240">
                  <c:v>42233</c:v>
                </c:pt>
                <c:pt idx="3241">
                  <c:v>42234</c:v>
                </c:pt>
                <c:pt idx="3242">
                  <c:v>42235</c:v>
                </c:pt>
                <c:pt idx="3243">
                  <c:v>42236</c:v>
                </c:pt>
                <c:pt idx="3244">
                  <c:v>42237</c:v>
                </c:pt>
                <c:pt idx="3245">
                  <c:v>42240</c:v>
                </c:pt>
                <c:pt idx="3246">
                  <c:v>42241</c:v>
                </c:pt>
                <c:pt idx="3247">
                  <c:v>42242</c:v>
                </c:pt>
                <c:pt idx="3248">
                  <c:v>42243</c:v>
                </c:pt>
                <c:pt idx="3249">
                  <c:v>42244</c:v>
                </c:pt>
                <c:pt idx="3250">
                  <c:v>42247</c:v>
                </c:pt>
                <c:pt idx="3251">
                  <c:v>42248</c:v>
                </c:pt>
                <c:pt idx="3252">
                  <c:v>42249</c:v>
                </c:pt>
                <c:pt idx="3253">
                  <c:v>42254</c:v>
                </c:pt>
                <c:pt idx="3254">
                  <c:v>42255</c:v>
                </c:pt>
                <c:pt idx="3255">
                  <c:v>42256</c:v>
                </c:pt>
                <c:pt idx="3256">
                  <c:v>42257</c:v>
                </c:pt>
                <c:pt idx="3257">
                  <c:v>42258</c:v>
                </c:pt>
                <c:pt idx="3258">
                  <c:v>42261</c:v>
                </c:pt>
                <c:pt idx="3259">
                  <c:v>42262</c:v>
                </c:pt>
                <c:pt idx="3260">
                  <c:v>42263</c:v>
                </c:pt>
                <c:pt idx="3261">
                  <c:v>42264</c:v>
                </c:pt>
                <c:pt idx="3262">
                  <c:v>42265</c:v>
                </c:pt>
                <c:pt idx="3263">
                  <c:v>42268</c:v>
                </c:pt>
                <c:pt idx="3264">
                  <c:v>42269</c:v>
                </c:pt>
                <c:pt idx="3265">
                  <c:v>42270</c:v>
                </c:pt>
                <c:pt idx="3266">
                  <c:v>42271</c:v>
                </c:pt>
                <c:pt idx="3267">
                  <c:v>42272</c:v>
                </c:pt>
                <c:pt idx="3268">
                  <c:v>42275</c:v>
                </c:pt>
                <c:pt idx="3269">
                  <c:v>42276</c:v>
                </c:pt>
                <c:pt idx="3270">
                  <c:v>42277</c:v>
                </c:pt>
                <c:pt idx="3271">
                  <c:v>42285</c:v>
                </c:pt>
                <c:pt idx="3272">
                  <c:v>42286</c:v>
                </c:pt>
                <c:pt idx="3273">
                  <c:v>42289</c:v>
                </c:pt>
                <c:pt idx="3274">
                  <c:v>42290</c:v>
                </c:pt>
                <c:pt idx="3275">
                  <c:v>42291</c:v>
                </c:pt>
                <c:pt idx="3276">
                  <c:v>42292</c:v>
                </c:pt>
                <c:pt idx="3277">
                  <c:v>42293</c:v>
                </c:pt>
                <c:pt idx="3278">
                  <c:v>42296</c:v>
                </c:pt>
                <c:pt idx="3279">
                  <c:v>42297</c:v>
                </c:pt>
                <c:pt idx="3280">
                  <c:v>42298</c:v>
                </c:pt>
                <c:pt idx="3281">
                  <c:v>42299</c:v>
                </c:pt>
                <c:pt idx="3282">
                  <c:v>42300</c:v>
                </c:pt>
                <c:pt idx="3283">
                  <c:v>42303</c:v>
                </c:pt>
                <c:pt idx="3284">
                  <c:v>42304</c:v>
                </c:pt>
                <c:pt idx="3285">
                  <c:v>42305</c:v>
                </c:pt>
                <c:pt idx="3286">
                  <c:v>42306</c:v>
                </c:pt>
                <c:pt idx="3287">
                  <c:v>42307</c:v>
                </c:pt>
                <c:pt idx="3288">
                  <c:v>42310</c:v>
                </c:pt>
                <c:pt idx="3289">
                  <c:v>42311</c:v>
                </c:pt>
                <c:pt idx="3290">
                  <c:v>42312</c:v>
                </c:pt>
                <c:pt idx="3291">
                  <c:v>42313</c:v>
                </c:pt>
                <c:pt idx="3292">
                  <c:v>42314</c:v>
                </c:pt>
                <c:pt idx="3293">
                  <c:v>42317</c:v>
                </c:pt>
                <c:pt idx="3294">
                  <c:v>42318</c:v>
                </c:pt>
                <c:pt idx="3295">
                  <c:v>42319</c:v>
                </c:pt>
                <c:pt idx="3296">
                  <c:v>42320</c:v>
                </c:pt>
                <c:pt idx="3297">
                  <c:v>42321</c:v>
                </c:pt>
                <c:pt idx="3298">
                  <c:v>42324</c:v>
                </c:pt>
                <c:pt idx="3299">
                  <c:v>42325</c:v>
                </c:pt>
                <c:pt idx="3300">
                  <c:v>42326</c:v>
                </c:pt>
                <c:pt idx="3301">
                  <c:v>42327</c:v>
                </c:pt>
                <c:pt idx="3302">
                  <c:v>42328</c:v>
                </c:pt>
                <c:pt idx="3303">
                  <c:v>42331</c:v>
                </c:pt>
                <c:pt idx="3304">
                  <c:v>42332</c:v>
                </c:pt>
                <c:pt idx="3305">
                  <c:v>42333</c:v>
                </c:pt>
                <c:pt idx="3306">
                  <c:v>42334</c:v>
                </c:pt>
                <c:pt idx="3307">
                  <c:v>42335</c:v>
                </c:pt>
                <c:pt idx="3308">
                  <c:v>42338</c:v>
                </c:pt>
                <c:pt idx="3309">
                  <c:v>42339</c:v>
                </c:pt>
                <c:pt idx="3310">
                  <c:v>42340</c:v>
                </c:pt>
                <c:pt idx="3311">
                  <c:v>42341</c:v>
                </c:pt>
                <c:pt idx="3312">
                  <c:v>42342</c:v>
                </c:pt>
                <c:pt idx="3313">
                  <c:v>42345</c:v>
                </c:pt>
                <c:pt idx="3314">
                  <c:v>42346</c:v>
                </c:pt>
                <c:pt idx="3315">
                  <c:v>42347</c:v>
                </c:pt>
                <c:pt idx="3316">
                  <c:v>42348</c:v>
                </c:pt>
                <c:pt idx="3317">
                  <c:v>42349</c:v>
                </c:pt>
                <c:pt idx="3318">
                  <c:v>42352</c:v>
                </c:pt>
                <c:pt idx="3319">
                  <c:v>42353</c:v>
                </c:pt>
                <c:pt idx="3320">
                  <c:v>42354</c:v>
                </c:pt>
                <c:pt idx="3321">
                  <c:v>42355</c:v>
                </c:pt>
                <c:pt idx="3322">
                  <c:v>42356</c:v>
                </c:pt>
                <c:pt idx="3323">
                  <c:v>42359</c:v>
                </c:pt>
                <c:pt idx="3324">
                  <c:v>42360</c:v>
                </c:pt>
                <c:pt idx="3325">
                  <c:v>42361</c:v>
                </c:pt>
                <c:pt idx="3326">
                  <c:v>42362</c:v>
                </c:pt>
                <c:pt idx="3327">
                  <c:v>42363</c:v>
                </c:pt>
                <c:pt idx="3328">
                  <c:v>42366</c:v>
                </c:pt>
                <c:pt idx="3329">
                  <c:v>42367</c:v>
                </c:pt>
                <c:pt idx="3330">
                  <c:v>42368</c:v>
                </c:pt>
                <c:pt idx="3331">
                  <c:v>42369</c:v>
                </c:pt>
                <c:pt idx="3332">
                  <c:v>42373</c:v>
                </c:pt>
                <c:pt idx="3333">
                  <c:v>42374</c:v>
                </c:pt>
                <c:pt idx="3334">
                  <c:v>42375</c:v>
                </c:pt>
                <c:pt idx="3335">
                  <c:v>42376</c:v>
                </c:pt>
                <c:pt idx="3336">
                  <c:v>42377</c:v>
                </c:pt>
                <c:pt idx="3337">
                  <c:v>42380</c:v>
                </c:pt>
                <c:pt idx="3338">
                  <c:v>42381</c:v>
                </c:pt>
                <c:pt idx="3339">
                  <c:v>42382</c:v>
                </c:pt>
                <c:pt idx="3340">
                  <c:v>42383</c:v>
                </c:pt>
                <c:pt idx="3341">
                  <c:v>42384</c:v>
                </c:pt>
                <c:pt idx="3342">
                  <c:v>42387</c:v>
                </c:pt>
                <c:pt idx="3343">
                  <c:v>42388</c:v>
                </c:pt>
                <c:pt idx="3344">
                  <c:v>42389</c:v>
                </c:pt>
                <c:pt idx="3345">
                  <c:v>42390</c:v>
                </c:pt>
                <c:pt idx="3346">
                  <c:v>42391</c:v>
                </c:pt>
                <c:pt idx="3347">
                  <c:v>42394</c:v>
                </c:pt>
                <c:pt idx="3348">
                  <c:v>42395</c:v>
                </c:pt>
                <c:pt idx="3349">
                  <c:v>42396</c:v>
                </c:pt>
                <c:pt idx="3350">
                  <c:v>42397</c:v>
                </c:pt>
                <c:pt idx="3351">
                  <c:v>42398</c:v>
                </c:pt>
                <c:pt idx="3352">
                  <c:v>42401</c:v>
                </c:pt>
                <c:pt idx="3353">
                  <c:v>42402</c:v>
                </c:pt>
                <c:pt idx="3354">
                  <c:v>42403</c:v>
                </c:pt>
                <c:pt idx="3355">
                  <c:v>42404</c:v>
                </c:pt>
                <c:pt idx="3356">
                  <c:v>42405</c:v>
                </c:pt>
                <c:pt idx="3357">
                  <c:v>42415</c:v>
                </c:pt>
                <c:pt idx="3358">
                  <c:v>42416</c:v>
                </c:pt>
                <c:pt idx="3359">
                  <c:v>42417</c:v>
                </c:pt>
                <c:pt idx="3360">
                  <c:v>42418</c:v>
                </c:pt>
                <c:pt idx="3361">
                  <c:v>42419</c:v>
                </c:pt>
                <c:pt idx="3362">
                  <c:v>42422</c:v>
                </c:pt>
                <c:pt idx="3363">
                  <c:v>42423</c:v>
                </c:pt>
                <c:pt idx="3364">
                  <c:v>42424</c:v>
                </c:pt>
                <c:pt idx="3365">
                  <c:v>42425</c:v>
                </c:pt>
                <c:pt idx="3366">
                  <c:v>42426</c:v>
                </c:pt>
                <c:pt idx="3367">
                  <c:v>42429</c:v>
                </c:pt>
                <c:pt idx="3368">
                  <c:v>42430</c:v>
                </c:pt>
                <c:pt idx="3369">
                  <c:v>42431</c:v>
                </c:pt>
                <c:pt idx="3370">
                  <c:v>42432</c:v>
                </c:pt>
                <c:pt idx="3371">
                  <c:v>42433</c:v>
                </c:pt>
                <c:pt idx="3372">
                  <c:v>42436</c:v>
                </c:pt>
                <c:pt idx="3373">
                  <c:v>42437</c:v>
                </c:pt>
                <c:pt idx="3374">
                  <c:v>42438</c:v>
                </c:pt>
                <c:pt idx="3375">
                  <c:v>42439</c:v>
                </c:pt>
                <c:pt idx="3376">
                  <c:v>42440</c:v>
                </c:pt>
                <c:pt idx="3377">
                  <c:v>42443</c:v>
                </c:pt>
                <c:pt idx="3378">
                  <c:v>42444</c:v>
                </c:pt>
                <c:pt idx="3379">
                  <c:v>42445</c:v>
                </c:pt>
                <c:pt idx="3380">
                  <c:v>42446</c:v>
                </c:pt>
                <c:pt idx="3381">
                  <c:v>42447</c:v>
                </c:pt>
                <c:pt idx="3382">
                  <c:v>42450</c:v>
                </c:pt>
                <c:pt idx="3383">
                  <c:v>42451</c:v>
                </c:pt>
                <c:pt idx="3384">
                  <c:v>42452</c:v>
                </c:pt>
                <c:pt idx="3385">
                  <c:v>42453</c:v>
                </c:pt>
                <c:pt idx="3386">
                  <c:v>42454</c:v>
                </c:pt>
                <c:pt idx="3387">
                  <c:v>42457</c:v>
                </c:pt>
                <c:pt idx="3388">
                  <c:v>42458</c:v>
                </c:pt>
                <c:pt idx="3389">
                  <c:v>42459</c:v>
                </c:pt>
                <c:pt idx="3390">
                  <c:v>42460</c:v>
                </c:pt>
                <c:pt idx="3391">
                  <c:v>42461</c:v>
                </c:pt>
                <c:pt idx="3392">
                  <c:v>42465</c:v>
                </c:pt>
                <c:pt idx="3393">
                  <c:v>42466</c:v>
                </c:pt>
                <c:pt idx="3394">
                  <c:v>42467</c:v>
                </c:pt>
                <c:pt idx="3395">
                  <c:v>42468</c:v>
                </c:pt>
                <c:pt idx="3396">
                  <c:v>42471</c:v>
                </c:pt>
                <c:pt idx="3397">
                  <c:v>42472</c:v>
                </c:pt>
                <c:pt idx="3398">
                  <c:v>42473</c:v>
                </c:pt>
                <c:pt idx="3399">
                  <c:v>42474</c:v>
                </c:pt>
                <c:pt idx="3400">
                  <c:v>42475</c:v>
                </c:pt>
                <c:pt idx="3401">
                  <c:v>42478</c:v>
                </c:pt>
                <c:pt idx="3402">
                  <c:v>42479</c:v>
                </c:pt>
                <c:pt idx="3403">
                  <c:v>42480</c:v>
                </c:pt>
                <c:pt idx="3404">
                  <c:v>42481</c:v>
                </c:pt>
                <c:pt idx="3405">
                  <c:v>42482</c:v>
                </c:pt>
                <c:pt idx="3406">
                  <c:v>42485</c:v>
                </c:pt>
                <c:pt idx="3407">
                  <c:v>42486</c:v>
                </c:pt>
                <c:pt idx="3408">
                  <c:v>42487</c:v>
                </c:pt>
                <c:pt idx="3409">
                  <c:v>42488</c:v>
                </c:pt>
                <c:pt idx="3410">
                  <c:v>42489</c:v>
                </c:pt>
                <c:pt idx="3411">
                  <c:v>42493</c:v>
                </c:pt>
                <c:pt idx="3412">
                  <c:v>42494</c:v>
                </c:pt>
                <c:pt idx="3413">
                  <c:v>42495</c:v>
                </c:pt>
                <c:pt idx="3414">
                  <c:v>42496</c:v>
                </c:pt>
                <c:pt idx="3415">
                  <c:v>42499</c:v>
                </c:pt>
                <c:pt idx="3416">
                  <c:v>42500</c:v>
                </c:pt>
                <c:pt idx="3417">
                  <c:v>42501</c:v>
                </c:pt>
                <c:pt idx="3418">
                  <c:v>42502</c:v>
                </c:pt>
                <c:pt idx="3419">
                  <c:v>42503</c:v>
                </c:pt>
                <c:pt idx="3420">
                  <c:v>42506</c:v>
                </c:pt>
                <c:pt idx="3421">
                  <c:v>42507</c:v>
                </c:pt>
                <c:pt idx="3422">
                  <c:v>42508</c:v>
                </c:pt>
                <c:pt idx="3423">
                  <c:v>42509</c:v>
                </c:pt>
                <c:pt idx="3424">
                  <c:v>42510</c:v>
                </c:pt>
                <c:pt idx="3425">
                  <c:v>42513</c:v>
                </c:pt>
                <c:pt idx="3426">
                  <c:v>42514</c:v>
                </c:pt>
                <c:pt idx="3427">
                  <c:v>42515</c:v>
                </c:pt>
                <c:pt idx="3428">
                  <c:v>42516</c:v>
                </c:pt>
                <c:pt idx="3429">
                  <c:v>42517</c:v>
                </c:pt>
                <c:pt idx="3430">
                  <c:v>42520</c:v>
                </c:pt>
                <c:pt idx="3431">
                  <c:v>42521</c:v>
                </c:pt>
                <c:pt idx="3432">
                  <c:v>42522</c:v>
                </c:pt>
                <c:pt idx="3433">
                  <c:v>42523</c:v>
                </c:pt>
                <c:pt idx="3434">
                  <c:v>42524</c:v>
                </c:pt>
                <c:pt idx="3435">
                  <c:v>42527</c:v>
                </c:pt>
                <c:pt idx="3436">
                  <c:v>42528</c:v>
                </c:pt>
                <c:pt idx="3437">
                  <c:v>42529</c:v>
                </c:pt>
                <c:pt idx="3438">
                  <c:v>42534</c:v>
                </c:pt>
                <c:pt idx="3439">
                  <c:v>42535</c:v>
                </c:pt>
                <c:pt idx="3440">
                  <c:v>42536</c:v>
                </c:pt>
                <c:pt idx="3441">
                  <c:v>42537</c:v>
                </c:pt>
                <c:pt idx="3442">
                  <c:v>42538</c:v>
                </c:pt>
                <c:pt idx="3443">
                  <c:v>42541</c:v>
                </c:pt>
                <c:pt idx="3444">
                  <c:v>42542</c:v>
                </c:pt>
                <c:pt idx="3445">
                  <c:v>42543</c:v>
                </c:pt>
                <c:pt idx="3446">
                  <c:v>42544</c:v>
                </c:pt>
                <c:pt idx="3447">
                  <c:v>42545</c:v>
                </c:pt>
                <c:pt idx="3448">
                  <c:v>42548</c:v>
                </c:pt>
                <c:pt idx="3449">
                  <c:v>42549</c:v>
                </c:pt>
                <c:pt idx="3450">
                  <c:v>42550</c:v>
                </c:pt>
                <c:pt idx="3451">
                  <c:v>42551</c:v>
                </c:pt>
                <c:pt idx="3452">
                  <c:v>42552</c:v>
                </c:pt>
                <c:pt idx="3453">
                  <c:v>42555</c:v>
                </c:pt>
                <c:pt idx="3454">
                  <c:v>42556</c:v>
                </c:pt>
                <c:pt idx="3455">
                  <c:v>42557</c:v>
                </c:pt>
                <c:pt idx="3456">
                  <c:v>42558</c:v>
                </c:pt>
                <c:pt idx="3457">
                  <c:v>42559</c:v>
                </c:pt>
                <c:pt idx="3458">
                  <c:v>42562</c:v>
                </c:pt>
                <c:pt idx="3459">
                  <c:v>42563</c:v>
                </c:pt>
                <c:pt idx="3460">
                  <c:v>42564</c:v>
                </c:pt>
                <c:pt idx="3461">
                  <c:v>42565</c:v>
                </c:pt>
                <c:pt idx="3462">
                  <c:v>42566</c:v>
                </c:pt>
                <c:pt idx="3463">
                  <c:v>42569</c:v>
                </c:pt>
                <c:pt idx="3464">
                  <c:v>42570</c:v>
                </c:pt>
                <c:pt idx="3465">
                  <c:v>42571</c:v>
                </c:pt>
                <c:pt idx="3466">
                  <c:v>42572</c:v>
                </c:pt>
                <c:pt idx="3467">
                  <c:v>42573</c:v>
                </c:pt>
                <c:pt idx="3468">
                  <c:v>42576</c:v>
                </c:pt>
                <c:pt idx="3469">
                  <c:v>42577</c:v>
                </c:pt>
                <c:pt idx="3470">
                  <c:v>42578</c:v>
                </c:pt>
                <c:pt idx="3471">
                  <c:v>42579</c:v>
                </c:pt>
                <c:pt idx="3472">
                  <c:v>42580</c:v>
                </c:pt>
                <c:pt idx="3473">
                  <c:v>42583</c:v>
                </c:pt>
                <c:pt idx="3474">
                  <c:v>42584</c:v>
                </c:pt>
                <c:pt idx="3475">
                  <c:v>42585</c:v>
                </c:pt>
                <c:pt idx="3476">
                  <c:v>42586</c:v>
                </c:pt>
                <c:pt idx="3477">
                  <c:v>42587</c:v>
                </c:pt>
                <c:pt idx="3478">
                  <c:v>42590</c:v>
                </c:pt>
                <c:pt idx="3479">
                  <c:v>42591</c:v>
                </c:pt>
                <c:pt idx="3480">
                  <c:v>42592</c:v>
                </c:pt>
                <c:pt idx="3481">
                  <c:v>42593</c:v>
                </c:pt>
                <c:pt idx="3482">
                  <c:v>42594</c:v>
                </c:pt>
                <c:pt idx="3483">
                  <c:v>42597</c:v>
                </c:pt>
                <c:pt idx="3484">
                  <c:v>42598</c:v>
                </c:pt>
                <c:pt idx="3485">
                  <c:v>42599</c:v>
                </c:pt>
                <c:pt idx="3486">
                  <c:v>42600</c:v>
                </c:pt>
                <c:pt idx="3487">
                  <c:v>42601</c:v>
                </c:pt>
                <c:pt idx="3488">
                  <c:v>42604</c:v>
                </c:pt>
                <c:pt idx="3489">
                  <c:v>42605</c:v>
                </c:pt>
                <c:pt idx="3490">
                  <c:v>42606</c:v>
                </c:pt>
                <c:pt idx="3491">
                  <c:v>42607</c:v>
                </c:pt>
                <c:pt idx="3492">
                  <c:v>42608</c:v>
                </c:pt>
                <c:pt idx="3493">
                  <c:v>42611</c:v>
                </c:pt>
                <c:pt idx="3494">
                  <c:v>42612</c:v>
                </c:pt>
                <c:pt idx="3495">
                  <c:v>42613</c:v>
                </c:pt>
                <c:pt idx="3496">
                  <c:v>42614</c:v>
                </c:pt>
                <c:pt idx="3497">
                  <c:v>42615</c:v>
                </c:pt>
                <c:pt idx="3498">
                  <c:v>42618</c:v>
                </c:pt>
                <c:pt idx="3499">
                  <c:v>42619</c:v>
                </c:pt>
                <c:pt idx="3500">
                  <c:v>42620</c:v>
                </c:pt>
                <c:pt idx="3501">
                  <c:v>42621</c:v>
                </c:pt>
                <c:pt idx="3502">
                  <c:v>42622</c:v>
                </c:pt>
                <c:pt idx="3503">
                  <c:v>42625</c:v>
                </c:pt>
                <c:pt idx="3504">
                  <c:v>42626</c:v>
                </c:pt>
                <c:pt idx="3505">
                  <c:v>42627</c:v>
                </c:pt>
                <c:pt idx="3506">
                  <c:v>42632</c:v>
                </c:pt>
                <c:pt idx="3507">
                  <c:v>42633</c:v>
                </c:pt>
                <c:pt idx="3508">
                  <c:v>42634</c:v>
                </c:pt>
                <c:pt idx="3509">
                  <c:v>42635</c:v>
                </c:pt>
                <c:pt idx="3510">
                  <c:v>42636</c:v>
                </c:pt>
                <c:pt idx="3511">
                  <c:v>42639</c:v>
                </c:pt>
                <c:pt idx="3512">
                  <c:v>42640</c:v>
                </c:pt>
                <c:pt idx="3513">
                  <c:v>42641</c:v>
                </c:pt>
                <c:pt idx="3514">
                  <c:v>42642</c:v>
                </c:pt>
                <c:pt idx="3515">
                  <c:v>42643</c:v>
                </c:pt>
                <c:pt idx="3516">
                  <c:v>42653</c:v>
                </c:pt>
                <c:pt idx="3517">
                  <c:v>42654</c:v>
                </c:pt>
                <c:pt idx="3518">
                  <c:v>42655</c:v>
                </c:pt>
                <c:pt idx="3519">
                  <c:v>42656</c:v>
                </c:pt>
                <c:pt idx="3520">
                  <c:v>42657</c:v>
                </c:pt>
                <c:pt idx="3521">
                  <c:v>42660</c:v>
                </c:pt>
                <c:pt idx="3522">
                  <c:v>42661</c:v>
                </c:pt>
                <c:pt idx="3523">
                  <c:v>42662</c:v>
                </c:pt>
                <c:pt idx="3524">
                  <c:v>42663</c:v>
                </c:pt>
                <c:pt idx="3525">
                  <c:v>42664</c:v>
                </c:pt>
                <c:pt idx="3526">
                  <c:v>42667</c:v>
                </c:pt>
                <c:pt idx="3527">
                  <c:v>42668</c:v>
                </c:pt>
                <c:pt idx="3528">
                  <c:v>42669</c:v>
                </c:pt>
                <c:pt idx="3529">
                  <c:v>42670</c:v>
                </c:pt>
                <c:pt idx="3530">
                  <c:v>42671</c:v>
                </c:pt>
                <c:pt idx="3531">
                  <c:v>42674</c:v>
                </c:pt>
                <c:pt idx="3532">
                  <c:v>42675</c:v>
                </c:pt>
                <c:pt idx="3533">
                  <c:v>42676</c:v>
                </c:pt>
                <c:pt idx="3534">
                  <c:v>42677</c:v>
                </c:pt>
                <c:pt idx="3535">
                  <c:v>42678</c:v>
                </c:pt>
                <c:pt idx="3536">
                  <c:v>42681</c:v>
                </c:pt>
                <c:pt idx="3537">
                  <c:v>42682</c:v>
                </c:pt>
                <c:pt idx="3538">
                  <c:v>42683</c:v>
                </c:pt>
                <c:pt idx="3539">
                  <c:v>42684</c:v>
                </c:pt>
                <c:pt idx="3540">
                  <c:v>42685</c:v>
                </c:pt>
                <c:pt idx="3541">
                  <c:v>42688</c:v>
                </c:pt>
                <c:pt idx="3542">
                  <c:v>42689</c:v>
                </c:pt>
                <c:pt idx="3543">
                  <c:v>42690</c:v>
                </c:pt>
                <c:pt idx="3544">
                  <c:v>42691</c:v>
                </c:pt>
                <c:pt idx="3545">
                  <c:v>42692</c:v>
                </c:pt>
                <c:pt idx="3546">
                  <c:v>42695</c:v>
                </c:pt>
                <c:pt idx="3547">
                  <c:v>42696</c:v>
                </c:pt>
                <c:pt idx="3548">
                  <c:v>42697</c:v>
                </c:pt>
                <c:pt idx="3549">
                  <c:v>42698</c:v>
                </c:pt>
                <c:pt idx="3550">
                  <c:v>42699</c:v>
                </c:pt>
                <c:pt idx="3551">
                  <c:v>42702</c:v>
                </c:pt>
                <c:pt idx="3552">
                  <c:v>42703</c:v>
                </c:pt>
                <c:pt idx="3553">
                  <c:v>42704</c:v>
                </c:pt>
                <c:pt idx="3554">
                  <c:v>42705</c:v>
                </c:pt>
                <c:pt idx="3555">
                  <c:v>42706</c:v>
                </c:pt>
                <c:pt idx="3556">
                  <c:v>42709</c:v>
                </c:pt>
                <c:pt idx="3557">
                  <c:v>42710</c:v>
                </c:pt>
                <c:pt idx="3558">
                  <c:v>42711</c:v>
                </c:pt>
                <c:pt idx="3559">
                  <c:v>42712</c:v>
                </c:pt>
                <c:pt idx="3560">
                  <c:v>42713</c:v>
                </c:pt>
                <c:pt idx="3561">
                  <c:v>42716</c:v>
                </c:pt>
                <c:pt idx="3562">
                  <c:v>42717</c:v>
                </c:pt>
                <c:pt idx="3563">
                  <c:v>42718</c:v>
                </c:pt>
                <c:pt idx="3564">
                  <c:v>42719</c:v>
                </c:pt>
                <c:pt idx="3565">
                  <c:v>42720</c:v>
                </c:pt>
                <c:pt idx="3566">
                  <c:v>42723</c:v>
                </c:pt>
                <c:pt idx="3567">
                  <c:v>42724</c:v>
                </c:pt>
                <c:pt idx="3568">
                  <c:v>42725</c:v>
                </c:pt>
                <c:pt idx="3569">
                  <c:v>42726</c:v>
                </c:pt>
                <c:pt idx="3570">
                  <c:v>42727</c:v>
                </c:pt>
                <c:pt idx="3571">
                  <c:v>42730</c:v>
                </c:pt>
                <c:pt idx="3572">
                  <c:v>42731</c:v>
                </c:pt>
                <c:pt idx="3573">
                  <c:v>42732</c:v>
                </c:pt>
                <c:pt idx="3574">
                  <c:v>42733</c:v>
                </c:pt>
                <c:pt idx="3575">
                  <c:v>42734</c:v>
                </c:pt>
                <c:pt idx="3576">
                  <c:v>42738</c:v>
                </c:pt>
                <c:pt idx="3577">
                  <c:v>42739</c:v>
                </c:pt>
                <c:pt idx="3578">
                  <c:v>42740</c:v>
                </c:pt>
                <c:pt idx="3579">
                  <c:v>42741</c:v>
                </c:pt>
                <c:pt idx="3580">
                  <c:v>42744</c:v>
                </c:pt>
                <c:pt idx="3581">
                  <c:v>42745</c:v>
                </c:pt>
                <c:pt idx="3582">
                  <c:v>42746</c:v>
                </c:pt>
                <c:pt idx="3583">
                  <c:v>42747</c:v>
                </c:pt>
                <c:pt idx="3584">
                  <c:v>42748</c:v>
                </c:pt>
                <c:pt idx="3585">
                  <c:v>42751</c:v>
                </c:pt>
                <c:pt idx="3586">
                  <c:v>42752</c:v>
                </c:pt>
                <c:pt idx="3587">
                  <c:v>42753</c:v>
                </c:pt>
                <c:pt idx="3588">
                  <c:v>42754</c:v>
                </c:pt>
                <c:pt idx="3589">
                  <c:v>42755</c:v>
                </c:pt>
                <c:pt idx="3590">
                  <c:v>42758</c:v>
                </c:pt>
                <c:pt idx="3591">
                  <c:v>42759</c:v>
                </c:pt>
                <c:pt idx="3592">
                  <c:v>42760</c:v>
                </c:pt>
                <c:pt idx="3593">
                  <c:v>42761</c:v>
                </c:pt>
                <c:pt idx="3594">
                  <c:v>42769</c:v>
                </c:pt>
                <c:pt idx="3595">
                  <c:v>42772</c:v>
                </c:pt>
                <c:pt idx="3596">
                  <c:v>42773</c:v>
                </c:pt>
                <c:pt idx="3597">
                  <c:v>42774</c:v>
                </c:pt>
                <c:pt idx="3598">
                  <c:v>42775</c:v>
                </c:pt>
                <c:pt idx="3599">
                  <c:v>42776</c:v>
                </c:pt>
                <c:pt idx="3600">
                  <c:v>42779</c:v>
                </c:pt>
                <c:pt idx="3601">
                  <c:v>42780</c:v>
                </c:pt>
                <c:pt idx="3602">
                  <c:v>42781</c:v>
                </c:pt>
                <c:pt idx="3603">
                  <c:v>42782</c:v>
                </c:pt>
                <c:pt idx="3604">
                  <c:v>42783</c:v>
                </c:pt>
                <c:pt idx="3605">
                  <c:v>42786</c:v>
                </c:pt>
                <c:pt idx="3606">
                  <c:v>42787</c:v>
                </c:pt>
                <c:pt idx="3607">
                  <c:v>42788</c:v>
                </c:pt>
                <c:pt idx="3608">
                  <c:v>42789</c:v>
                </c:pt>
                <c:pt idx="3609">
                  <c:v>42790</c:v>
                </c:pt>
                <c:pt idx="3610">
                  <c:v>42793</c:v>
                </c:pt>
                <c:pt idx="3611">
                  <c:v>42794</c:v>
                </c:pt>
                <c:pt idx="3612">
                  <c:v>42795</c:v>
                </c:pt>
                <c:pt idx="3613">
                  <c:v>42796</c:v>
                </c:pt>
                <c:pt idx="3614">
                  <c:v>42797</c:v>
                </c:pt>
                <c:pt idx="3615">
                  <c:v>42800</c:v>
                </c:pt>
                <c:pt idx="3616">
                  <c:v>42801</c:v>
                </c:pt>
                <c:pt idx="3617">
                  <c:v>42802</c:v>
                </c:pt>
                <c:pt idx="3618">
                  <c:v>42803</c:v>
                </c:pt>
                <c:pt idx="3619">
                  <c:v>42804</c:v>
                </c:pt>
                <c:pt idx="3620">
                  <c:v>42807</c:v>
                </c:pt>
                <c:pt idx="3621">
                  <c:v>42808</c:v>
                </c:pt>
                <c:pt idx="3622">
                  <c:v>42809</c:v>
                </c:pt>
                <c:pt idx="3623">
                  <c:v>42810</c:v>
                </c:pt>
                <c:pt idx="3624">
                  <c:v>42811</c:v>
                </c:pt>
                <c:pt idx="3625">
                  <c:v>42814</c:v>
                </c:pt>
                <c:pt idx="3626">
                  <c:v>42815</c:v>
                </c:pt>
                <c:pt idx="3627">
                  <c:v>42816</c:v>
                </c:pt>
                <c:pt idx="3628">
                  <c:v>42817</c:v>
                </c:pt>
                <c:pt idx="3629">
                  <c:v>42818</c:v>
                </c:pt>
                <c:pt idx="3630">
                  <c:v>42821</c:v>
                </c:pt>
                <c:pt idx="3631">
                  <c:v>42822</c:v>
                </c:pt>
                <c:pt idx="3632">
                  <c:v>42823</c:v>
                </c:pt>
                <c:pt idx="3633">
                  <c:v>42824</c:v>
                </c:pt>
                <c:pt idx="3634">
                  <c:v>42825</c:v>
                </c:pt>
                <c:pt idx="3635">
                  <c:v>42830</c:v>
                </c:pt>
                <c:pt idx="3636">
                  <c:v>42831</c:v>
                </c:pt>
                <c:pt idx="3637">
                  <c:v>42832</c:v>
                </c:pt>
                <c:pt idx="3638">
                  <c:v>42835</c:v>
                </c:pt>
                <c:pt idx="3639">
                  <c:v>42836</c:v>
                </c:pt>
                <c:pt idx="3640">
                  <c:v>42837</c:v>
                </c:pt>
                <c:pt idx="3641">
                  <c:v>42838</c:v>
                </c:pt>
                <c:pt idx="3642">
                  <c:v>42839</c:v>
                </c:pt>
                <c:pt idx="3643">
                  <c:v>42842</c:v>
                </c:pt>
                <c:pt idx="3644">
                  <c:v>42843</c:v>
                </c:pt>
                <c:pt idx="3645">
                  <c:v>42844</c:v>
                </c:pt>
                <c:pt idx="3646">
                  <c:v>42845</c:v>
                </c:pt>
                <c:pt idx="3647">
                  <c:v>42846</c:v>
                </c:pt>
                <c:pt idx="3648">
                  <c:v>42849</c:v>
                </c:pt>
                <c:pt idx="3649">
                  <c:v>42850</c:v>
                </c:pt>
                <c:pt idx="3650">
                  <c:v>42851</c:v>
                </c:pt>
                <c:pt idx="3651">
                  <c:v>42852</c:v>
                </c:pt>
                <c:pt idx="3652">
                  <c:v>42853</c:v>
                </c:pt>
                <c:pt idx="3653">
                  <c:v>42857</c:v>
                </c:pt>
                <c:pt idx="3654">
                  <c:v>42858</c:v>
                </c:pt>
                <c:pt idx="3655">
                  <c:v>42859</c:v>
                </c:pt>
                <c:pt idx="3656">
                  <c:v>42860</c:v>
                </c:pt>
                <c:pt idx="3657">
                  <c:v>42863</c:v>
                </c:pt>
                <c:pt idx="3658">
                  <c:v>42864</c:v>
                </c:pt>
                <c:pt idx="3659">
                  <c:v>42865</c:v>
                </c:pt>
                <c:pt idx="3660">
                  <c:v>42866</c:v>
                </c:pt>
                <c:pt idx="3661">
                  <c:v>42867</c:v>
                </c:pt>
                <c:pt idx="3662">
                  <c:v>42870</c:v>
                </c:pt>
                <c:pt idx="3663">
                  <c:v>42871</c:v>
                </c:pt>
                <c:pt idx="3664">
                  <c:v>42872</c:v>
                </c:pt>
                <c:pt idx="3665">
                  <c:v>42873</c:v>
                </c:pt>
                <c:pt idx="3666">
                  <c:v>42874</c:v>
                </c:pt>
                <c:pt idx="3667">
                  <c:v>42877</c:v>
                </c:pt>
                <c:pt idx="3668">
                  <c:v>42878</c:v>
                </c:pt>
                <c:pt idx="3669">
                  <c:v>42879</c:v>
                </c:pt>
                <c:pt idx="3670">
                  <c:v>42880</c:v>
                </c:pt>
                <c:pt idx="3671">
                  <c:v>42881</c:v>
                </c:pt>
                <c:pt idx="3672">
                  <c:v>42886</c:v>
                </c:pt>
                <c:pt idx="3673">
                  <c:v>42887</c:v>
                </c:pt>
                <c:pt idx="3674">
                  <c:v>42888</c:v>
                </c:pt>
                <c:pt idx="3675">
                  <c:v>42891</c:v>
                </c:pt>
                <c:pt idx="3676">
                  <c:v>42892</c:v>
                </c:pt>
                <c:pt idx="3677">
                  <c:v>42893</c:v>
                </c:pt>
                <c:pt idx="3678">
                  <c:v>42894</c:v>
                </c:pt>
                <c:pt idx="3679">
                  <c:v>42895</c:v>
                </c:pt>
                <c:pt idx="3680">
                  <c:v>42898</c:v>
                </c:pt>
                <c:pt idx="3681">
                  <c:v>42899</c:v>
                </c:pt>
                <c:pt idx="3682">
                  <c:v>42900</c:v>
                </c:pt>
                <c:pt idx="3683">
                  <c:v>42901</c:v>
                </c:pt>
                <c:pt idx="3684">
                  <c:v>42902</c:v>
                </c:pt>
                <c:pt idx="3685">
                  <c:v>42905</c:v>
                </c:pt>
                <c:pt idx="3686">
                  <c:v>42906</c:v>
                </c:pt>
                <c:pt idx="3687">
                  <c:v>42907</c:v>
                </c:pt>
                <c:pt idx="3688">
                  <c:v>42908</c:v>
                </c:pt>
                <c:pt idx="3689">
                  <c:v>42909</c:v>
                </c:pt>
                <c:pt idx="3690">
                  <c:v>42912</c:v>
                </c:pt>
                <c:pt idx="3691">
                  <c:v>42913</c:v>
                </c:pt>
                <c:pt idx="3692">
                  <c:v>42914</c:v>
                </c:pt>
                <c:pt idx="3693">
                  <c:v>42915</c:v>
                </c:pt>
                <c:pt idx="3694">
                  <c:v>42916</c:v>
                </c:pt>
                <c:pt idx="3695">
                  <c:v>42919</c:v>
                </c:pt>
                <c:pt idx="3696">
                  <c:v>42920</c:v>
                </c:pt>
                <c:pt idx="3697">
                  <c:v>42921</c:v>
                </c:pt>
                <c:pt idx="3698">
                  <c:v>42922</c:v>
                </c:pt>
                <c:pt idx="3699">
                  <c:v>42923</c:v>
                </c:pt>
                <c:pt idx="3700">
                  <c:v>42926</c:v>
                </c:pt>
                <c:pt idx="3701">
                  <c:v>42927</c:v>
                </c:pt>
                <c:pt idx="3702">
                  <c:v>42928</c:v>
                </c:pt>
                <c:pt idx="3703">
                  <c:v>42929</c:v>
                </c:pt>
                <c:pt idx="3704">
                  <c:v>42930</c:v>
                </c:pt>
                <c:pt idx="3705">
                  <c:v>42933</c:v>
                </c:pt>
                <c:pt idx="3706">
                  <c:v>42934</c:v>
                </c:pt>
                <c:pt idx="3707">
                  <c:v>42935</c:v>
                </c:pt>
                <c:pt idx="3708">
                  <c:v>42936</c:v>
                </c:pt>
                <c:pt idx="3709">
                  <c:v>42937</c:v>
                </c:pt>
                <c:pt idx="3710">
                  <c:v>42940</c:v>
                </c:pt>
                <c:pt idx="3711">
                  <c:v>42941</c:v>
                </c:pt>
                <c:pt idx="3712">
                  <c:v>42942</c:v>
                </c:pt>
                <c:pt idx="3713">
                  <c:v>42943</c:v>
                </c:pt>
                <c:pt idx="3714">
                  <c:v>42944</c:v>
                </c:pt>
                <c:pt idx="3715">
                  <c:v>42947</c:v>
                </c:pt>
                <c:pt idx="3716">
                  <c:v>42948</c:v>
                </c:pt>
                <c:pt idx="3717">
                  <c:v>42949</c:v>
                </c:pt>
                <c:pt idx="3718">
                  <c:v>42950</c:v>
                </c:pt>
                <c:pt idx="3719">
                  <c:v>42951</c:v>
                </c:pt>
                <c:pt idx="3720">
                  <c:v>42954</c:v>
                </c:pt>
                <c:pt idx="3721">
                  <c:v>42955</c:v>
                </c:pt>
                <c:pt idx="3722">
                  <c:v>42956</c:v>
                </c:pt>
                <c:pt idx="3723">
                  <c:v>42957</c:v>
                </c:pt>
                <c:pt idx="3724">
                  <c:v>42958</c:v>
                </c:pt>
                <c:pt idx="3725">
                  <c:v>42961</c:v>
                </c:pt>
                <c:pt idx="3726">
                  <c:v>42962</c:v>
                </c:pt>
                <c:pt idx="3727">
                  <c:v>42963</c:v>
                </c:pt>
                <c:pt idx="3728">
                  <c:v>42964</c:v>
                </c:pt>
                <c:pt idx="3729">
                  <c:v>42965</c:v>
                </c:pt>
                <c:pt idx="3730">
                  <c:v>42968</c:v>
                </c:pt>
                <c:pt idx="3731">
                  <c:v>42969</c:v>
                </c:pt>
                <c:pt idx="3732">
                  <c:v>42970</c:v>
                </c:pt>
                <c:pt idx="3733">
                  <c:v>42971</c:v>
                </c:pt>
                <c:pt idx="3734">
                  <c:v>42972</c:v>
                </c:pt>
                <c:pt idx="3735">
                  <c:v>42975</c:v>
                </c:pt>
                <c:pt idx="3736">
                  <c:v>42976</c:v>
                </c:pt>
                <c:pt idx="3737">
                  <c:v>42977</c:v>
                </c:pt>
                <c:pt idx="3738">
                  <c:v>42978</c:v>
                </c:pt>
                <c:pt idx="3739">
                  <c:v>42979</c:v>
                </c:pt>
                <c:pt idx="3740">
                  <c:v>42982</c:v>
                </c:pt>
                <c:pt idx="3741">
                  <c:v>42983</c:v>
                </c:pt>
                <c:pt idx="3742">
                  <c:v>42984</c:v>
                </c:pt>
                <c:pt idx="3743">
                  <c:v>42985</c:v>
                </c:pt>
                <c:pt idx="3744">
                  <c:v>42986</c:v>
                </c:pt>
                <c:pt idx="3745">
                  <c:v>42989</c:v>
                </c:pt>
                <c:pt idx="3746">
                  <c:v>42990</c:v>
                </c:pt>
                <c:pt idx="3747">
                  <c:v>42991</c:v>
                </c:pt>
                <c:pt idx="3748">
                  <c:v>42992</c:v>
                </c:pt>
                <c:pt idx="3749">
                  <c:v>42993</c:v>
                </c:pt>
                <c:pt idx="3750">
                  <c:v>42996</c:v>
                </c:pt>
                <c:pt idx="3751">
                  <c:v>42997</c:v>
                </c:pt>
                <c:pt idx="3752">
                  <c:v>42998</c:v>
                </c:pt>
                <c:pt idx="3753">
                  <c:v>42999</c:v>
                </c:pt>
                <c:pt idx="3754">
                  <c:v>43000</c:v>
                </c:pt>
                <c:pt idx="3755">
                  <c:v>43003</c:v>
                </c:pt>
                <c:pt idx="3756">
                  <c:v>43004</c:v>
                </c:pt>
                <c:pt idx="3757">
                  <c:v>43005</c:v>
                </c:pt>
                <c:pt idx="3758">
                  <c:v>43006</c:v>
                </c:pt>
                <c:pt idx="3759">
                  <c:v>43007</c:v>
                </c:pt>
                <c:pt idx="3760">
                  <c:v>43017</c:v>
                </c:pt>
                <c:pt idx="3761">
                  <c:v>43018</c:v>
                </c:pt>
                <c:pt idx="3762">
                  <c:v>43019</c:v>
                </c:pt>
                <c:pt idx="3763">
                  <c:v>43020</c:v>
                </c:pt>
                <c:pt idx="3764">
                  <c:v>43021</c:v>
                </c:pt>
                <c:pt idx="3765">
                  <c:v>43024</c:v>
                </c:pt>
                <c:pt idx="3766">
                  <c:v>43025</c:v>
                </c:pt>
                <c:pt idx="3767">
                  <c:v>43026</c:v>
                </c:pt>
                <c:pt idx="3768">
                  <c:v>43027</c:v>
                </c:pt>
                <c:pt idx="3769">
                  <c:v>43028</c:v>
                </c:pt>
                <c:pt idx="3770">
                  <c:v>43031</c:v>
                </c:pt>
                <c:pt idx="3771">
                  <c:v>43032</c:v>
                </c:pt>
                <c:pt idx="3772">
                  <c:v>43033</c:v>
                </c:pt>
                <c:pt idx="3773">
                  <c:v>43034</c:v>
                </c:pt>
                <c:pt idx="3774">
                  <c:v>43035</c:v>
                </c:pt>
                <c:pt idx="3775">
                  <c:v>43038</c:v>
                </c:pt>
                <c:pt idx="3776">
                  <c:v>43039</c:v>
                </c:pt>
                <c:pt idx="3777">
                  <c:v>43040</c:v>
                </c:pt>
                <c:pt idx="3778">
                  <c:v>43041</c:v>
                </c:pt>
                <c:pt idx="3779">
                  <c:v>43042</c:v>
                </c:pt>
                <c:pt idx="3780">
                  <c:v>43045</c:v>
                </c:pt>
                <c:pt idx="3781">
                  <c:v>43046</c:v>
                </c:pt>
                <c:pt idx="3782">
                  <c:v>43047</c:v>
                </c:pt>
                <c:pt idx="3783">
                  <c:v>43048</c:v>
                </c:pt>
                <c:pt idx="3784">
                  <c:v>43049</c:v>
                </c:pt>
                <c:pt idx="3785">
                  <c:v>43052</c:v>
                </c:pt>
                <c:pt idx="3786">
                  <c:v>43053</c:v>
                </c:pt>
                <c:pt idx="3787">
                  <c:v>43054</c:v>
                </c:pt>
                <c:pt idx="3788">
                  <c:v>43055</c:v>
                </c:pt>
                <c:pt idx="3789">
                  <c:v>43056</c:v>
                </c:pt>
                <c:pt idx="3790">
                  <c:v>43059</c:v>
                </c:pt>
                <c:pt idx="3791">
                  <c:v>43060</c:v>
                </c:pt>
                <c:pt idx="3792">
                  <c:v>43061</c:v>
                </c:pt>
                <c:pt idx="3793">
                  <c:v>43062</c:v>
                </c:pt>
                <c:pt idx="3794">
                  <c:v>43063</c:v>
                </c:pt>
                <c:pt idx="3795">
                  <c:v>43066</c:v>
                </c:pt>
                <c:pt idx="3796">
                  <c:v>43067</c:v>
                </c:pt>
                <c:pt idx="3797">
                  <c:v>43068</c:v>
                </c:pt>
                <c:pt idx="3798">
                  <c:v>43069</c:v>
                </c:pt>
                <c:pt idx="3799">
                  <c:v>43070</c:v>
                </c:pt>
                <c:pt idx="3800">
                  <c:v>43073</c:v>
                </c:pt>
                <c:pt idx="3801">
                  <c:v>43074</c:v>
                </c:pt>
                <c:pt idx="3802">
                  <c:v>43075</c:v>
                </c:pt>
                <c:pt idx="3803">
                  <c:v>43076</c:v>
                </c:pt>
                <c:pt idx="3804">
                  <c:v>43077</c:v>
                </c:pt>
                <c:pt idx="3805">
                  <c:v>43080</c:v>
                </c:pt>
                <c:pt idx="3806">
                  <c:v>43081</c:v>
                </c:pt>
                <c:pt idx="3807">
                  <c:v>43082</c:v>
                </c:pt>
                <c:pt idx="3808">
                  <c:v>43083</c:v>
                </c:pt>
                <c:pt idx="3809">
                  <c:v>43084</c:v>
                </c:pt>
                <c:pt idx="3810">
                  <c:v>43087</c:v>
                </c:pt>
                <c:pt idx="3811">
                  <c:v>43088</c:v>
                </c:pt>
                <c:pt idx="3812">
                  <c:v>43089</c:v>
                </c:pt>
                <c:pt idx="3813">
                  <c:v>43090</c:v>
                </c:pt>
                <c:pt idx="3814">
                  <c:v>43091</c:v>
                </c:pt>
                <c:pt idx="3815">
                  <c:v>43094</c:v>
                </c:pt>
                <c:pt idx="3816">
                  <c:v>43095</c:v>
                </c:pt>
                <c:pt idx="3817">
                  <c:v>43096</c:v>
                </c:pt>
                <c:pt idx="3818">
                  <c:v>43097</c:v>
                </c:pt>
                <c:pt idx="3819">
                  <c:v>43098</c:v>
                </c:pt>
                <c:pt idx="3820">
                  <c:v>43102</c:v>
                </c:pt>
                <c:pt idx="3821">
                  <c:v>43103</c:v>
                </c:pt>
                <c:pt idx="3822">
                  <c:v>43104</c:v>
                </c:pt>
                <c:pt idx="3823">
                  <c:v>43105</c:v>
                </c:pt>
                <c:pt idx="3824">
                  <c:v>43108</c:v>
                </c:pt>
                <c:pt idx="3825">
                  <c:v>43109</c:v>
                </c:pt>
                <c:pt idx="3826">
                  <c:v>43110</c:v>
                </c:pt>
                <c:pt idx="3827">
                  <c:v>43111</c:v>
                </c:pt>
                <c:pt idx="3828">
                  <c:v>43112</c:v>
                </c:pt>
                <c:pt idx="3829">
                  <c:v>43115</c:v>
                </c:pt>
                <c:pt idx="3830">
                  <c:v>43116</c:v>
                </c:pt>
                <c:pt idx="3831">
                  <c:v>43117</c:v>
                </c:pt>
                <c:pt idx="3832">
                  <c:v>43118</c:v>
                </c:pt>
                <c:pt idx="3833">
                  <c:v>43119</c:v>
                </c:pt>
                <c:pt idx="3834">
                  <c:v>43122</c:v>
                </c:pt>
                <c:pt idx="3835">
                  <c:v>43123</c:v>
                </c:pt>
                <c:pt idx="3836">
                  <c:v>43124</c:v>
                </c:pt>
                <c:pt idx="3837">
                  <c:v>43125</c:v>
                </c:pt>
                <c:pt idx="3838">
                  <c:v>43126</c:v>
                </c:pt>
                <c:pt idx="3839">
                  <c:v>43129</c:v>
                </c:pt>
                <c:pt idx="3840">
                  <c:v>43130</c:v>
                </c:pt>
                <c:pt idx="3841">
                  <c:v>43131</c:v>
                </c:pt>
                <c:pt idx="3842">
                  <c:v>43132</c:v>
                </c:pt>
                <c:pt idx="3843">
                  <c:v>43133</c:v>
                </c:pt>
                <c:pt idx="3844">
                  <c:v>43136</c:v>
                </c:pt>
                <c:pt idx="3845">
                  <c:v>43137</c:v>
                </c:pt>
                <c:pt idx="3846">
                  <c:v>43138</c:v>
                </c:pt>
                <c:pt idx="3847">
                  <c:v>43139</c:v>
                </c:pt>
                <c:pt idx="3848">
                  <c:v>43140</c:v>
                </c:pt>
                <c:pt idx="3849">
                  <c:v>43143</c:v>
                </c:pt>
                <c:pt idx="3850">
                  <c:v>43144</c:v>
                </c:pt>
                <c:pt idx="3851">
                  <c:v>43145</c:v>
                </c:pt>
                <c:pt idx="3852">
                  <c:v>43153</c:v>
                </c:pt>
                <c:pt idx="3853">
                  <c:v>43154</c:v>
                </c:pt>
                <c:pt idx="3854">
                  <c:v>43157</c:v>
                </c:pt>
                <c:pt idx="3855">
                  <c:v>43158</c:v>
                </c:pt>
                <c:pt idx="3856">
                  <c:v>43159</c:v>
                </c:pt>
                <c:pt idx="3857">
                  <c:v>43160</c:v>
                </c:pt>
                <c:pt idx="3858">
                  <c:v>43161</c:v>
                </c:pt>
                <c:pt idx="3859">
                  <c:v>43164</c:v>
                </c:pt>
                <c:pt idx="3860">
                  <c:v>43165</c:v>
                </c:pt>
                <c:pt idx="3861">
                  <c:v>43166</c:v>
                </c:pt>
                <c:pt idx="3862">
                  <c:v>43167</c:v>
                </c:pt>
                <c:pt idx="3863">
                  <c:v>43168</c:v>
                </c:pt>
                <c:pt idx="3864">
                  <c:v>43171</c:v>
                </c:pt>
                <c:pt idx="3865">
                  <c:v>43172</c:v>
                </c:pt>
                <c:pt idx="3866">
                  <c:v>43173</c:v>
                </c:pt>
                <c:pt idx="3867">
                  <c:v>43174</c:v>
                </c:pt>
                <c:pt idx="3868">
                  <c:v>43175</c:v>
                </c:pt>
                <c:pt idx="3869">
                  <c:v>43178</c:v>
                </c:pt>
                <c:pt idx="3870">
                  <c:v>43179</c:v>
                </c:pt>
                <c:pt idx="3871">
                  <c:v>43180</c:v>
                </c:pt>
                <c:pt idx="3872">
                  <c:v>43181</c:v>
                </c:pt>
                <c:pt idx="3873">
                  <c:v>43182</c:v>
                </c:pt>
                <c:pt idx="3874">
                  <c:v>43185</c:v>
                </c:pt>
                <c:pt idx="3875">
                  <c:v>43186</c:v>
                </c:pt>
                <c:pt idx="3876">
                  <c:v>43187</c:v>
                </c:pt>
                <c:pt idx="3877">
                  <c:v>43188</c:v>
                </c:pt>
                <c:pt idx="3878">
                  <c:v>43189</c:v>
                </c:pt>
                <c:pt idx="3879">
                  <c:v>43192</c:v>
                </c:pt>
                <c:pt idx="3880">
                  <c:v>43193</c:v>
                </c:pt>
                <c:pt idx="3881">
                  <c:v>43194</c:v>
                </c:pt>
                <c:pt idx="3882">
                  <c:v>43199</c:v>
                </c:pt>
                <c:pt idx="3883">
                  <c:v>43200</c:v>
                </c:pt>
                <c:pt idx="3884">
                  <c:v>43201</c:v>
                </c:pt>
                <c:pt idx="3885">
                  <c:v>43202</c:v>
                </c:pt>
                <c:pt idx="3886">
                  <c:v>43203</c:v>
                </c:pt>
                <c:pt idx="3887">
                  <c:v>43206</c:v>
                </c:pt>
                <c:pt idx="3888">
                  <c:v>43207</c:v>
                </c:pt>
                <c:pt idx="3889">
                  <c:v>43208</c:v>
                </c:pt>
                <c:pt idx="3890">
                  <c:v>43209</c:v>
                </c:pt>
                <c:pt idx="3891">
                  <c:v>43210</c:v>
                </c:pt>
                <c:pt idx="3892">
                  <c:v>43213</c:v>
                </c:pt>
                <c:pt idx="3893">
                  <c:v>43214</c:v>
                </c:pt>
                <c:pt idx="3894">
                  <c:v>43215</c:v>
                </c:pt>
                <c:pt idx="3895">
                  <c:v>43216</c:v>
                </c:pt>
                <c:pt idx="3896">
                  <c:v>43217</c:v>
                </c:pt>
                <c:pt idx="3897">
                  <c:v>43222</c:v>
                </c:pt>
                <c:pt idx="3898">
                  <c:v>43223</c:v>
                </c:pt>
                <c:pt idx="3899">
                  <c:v>43224</c:v>
                </c:pt>
                <c:pt idx="3900">
                  <c:v>43227</c:v>
                </c:pt>
                <c:pt idx="3901">
                  <c:v>43228</c:v>
                </c:pt>
                <c:pt idx="3902">
                  <c:v>43229</c:v>
                </c:pt>
                <c:pt idx="3903">
                  <c:v>43230</c:v>
                </c:pt>
                <c:pt idx="3904">
                  <c:v>43231</c:v>
                </c:pt>
                <c:pt idx="3905">
                  <c:v>43234</c:v>
                </c:pt>
                <c:pt idx="3906">
                  <c:v>43235</c:v>
                </c:pt>
                <c:pt idx="3907">
                  <c:v>43236</c:v>
                </c:pt>
                <c:pt idx="3908">
                  <c:v>43237</c:v>
                </c:pt>
                <c:pt idx="3909">
                  <c:v>43238</c:v>
                </c:pt>
                <c:pt idx="3910">
                  <c:v>43241</c:v>
                </c:pt>
                <c:pt idx="3911">
                  <c:v>43242</c:v>
                </c:pt>
                <c:pt idx="3912">
                  <c:v>43243</c:v>
                </c:pt>
                <c:pt idx="3913">
                  <c:v>43244</c:v>
                </c:pt>
                <c:pt idx="3914">
                  <c:v>43245</c:v>
                </c:pt>
                <c:pt idx="3915">
                  <c:v>43248</c:v>
                </c:pt>
                <c:pt idx="3916">
                  <c:v>43249</c:v>
                </c:pt>
                <c:pt idx="3917">
                  <c:v>43250</c:v>
                </c:pt>
                <c:pt idx="3918">
                  <c:v>43251</c:v>
                </c:pt>
                <c:pt idx="3919">
                  <c:v>43252</c:v>
                </c:pt>
                <c:pt idx="3920">
                  <c:v>43255</c:v>
                </c:pt>
                <c:pt idx="3921">
                  <c:v>43256</c:v>
                </c:pt>
                <c:pt idx="3922">
                  <c:v>43257</c:v>
                </c:pt>
                <c:pt idx="3923">
                  <c:v>43258</c:v>
                </c:pt>
                <c:pt idx="3924">
                  <c:v>43259</c:v>
                </c:pt>
                <c:pt idx="3925">
                  <c:v>43262</c:v>
                </c:pt>
                <c:pt idx="3926">
                  <c:v>43263</c:v>
                </c:pt>
                <c:pt idx="3927">
                  <c:v>43264</c:v>
                </c:pt>
                <c:pt idx="3928">
                  <c:v>43265</c:v>
                </c:pt>
                <c:pt idx="3929">
                  <c:v>43266</c:v>
                </c:pt>
                <c:pt idx="3930">
                  <c:v>43270</c:v>
                </c:pt>
                <c:pt idx="3931">
                  <c:v>43271</c:v>
                </c:pt>
                <c:pt idx="3932">
                  <c:v>43272</c:v>
                </c:pt>
                <c:pt idx="3933">
                  <c:v>43273</c:v>
                </c:pt>
                <c:pt idx="3934">
                  <c:v>43276</c:v>
                </c:pt>
                <c:pt idx="3935">
                  <c:v>43277</c:v>
                </c:pt>
                <c:pt idx="3936">
                  <c:v>43278</c:v>
                </c:pt>
                <c:pt idx="3937">
                  <c:v>43279</c:v>
                </c:pt>
                <c:pt idx="3938">
                  <c:v>43280</c:v>
                </c:pt>
                <c:pt idx="3939">
                  <c:v>43283</c:v>
                </c:pt>
                <c:pt idx="3940">
                  <c:v>43284</c:v>
                </c:pt>
                <c:pt idx="3941">
                  <c:v>43285</c:v>
                </c:pt>
                <c:pt idx="3942">
                  <c:v>43286</c:v>
                </c:pt>
                <c:pt idx="3943">
                  <c:v>43287</c:v>
                </c:pt>
                <c:pt idx="3944">
                  <c:v>43290</c:v>
                </c:pt>
                <c:pt idx="3945">
                  <c:v>43291</c:v>
                </c:pt>
                <c:pt idx="3946">
                  <c:v>43292</c:v>
                </c:pt>
                <c:pt idx="3947">
                  <c:v>43293</c:v>
                </c:pt>
                <c:pt idx="3948">
                  <c:v>43294</c:v>
                </c:pt>
                <c:pt idx="3949">
                  <c:v>43297</c:v>
                </c:pt>
                <c:pt idx="3950">
                  <c:v>43298</c:v>
                </c:pt>
                <c:pt idx="3951">
                  <c:v>43299</c:v>
                </c:pt>
                <c:pt idx="3952">
                  <c:v>43300</c:v>
                </c:pt>
                <c:pt idx="3953">
                  <c:v>43301</c:v>
                </c:pt>
                <c:pt idx="3954">
                  <c:v>43304</c:v>
                </c:pt>
                <c:pt idx="3955">
                  <c:v>43305</c:v>
                </c:pt>
                <c:pt idx="3956">
                  <c:v>43306</c:v>
                </c:pt>
                <c:pt idx="3957">
                  <c:v>43307</c:v>
                </c:pt>
                <c:pt idx="3958">
                  <c:v>43308</c:v>
                </c:pt>
                <c:pt idx="3959">
                  <c:v>43311</c:v>
                </c:pt>
                <c:pt idx="3960">
                  <c:v>43312</c:v>
                </c:pt>
                <c:pt idx="3961">
                  <c:v>43313</c:v>
                </c:pt>
                <c:pt idx="3962">
                  <c:v>43314</c:v>
                </c:pt>
                <c:pt idx="3963">
                  <c:v>43315</c:v>
                </c:pt>
                <c:pt idx="3964">
                  <c:v>43318</c:v>
                </c:pt>
                <c:pt idx="3965">
                  <c:v>43319</c:v>
                </c:pt>
                <c:pt idx="3966">
                  <c:v>43320</c:v>
                </c:pt>
                <c:pt idx="3967">
                  <c:v>43321</c:v>
                </c:pt>
                <c:pt idx="3968">
                  <c:v>43322</c:v>
                </c:pt>
                <c:pt idx="3969">
                  <c:v>43325</c:v>
                </c:pt>
                <c:pt idx="3970">
                  <c:v>43326</c:v>
                </c:pt>
                <c:pt idx="3971">
                  <c:v>43327</c:v>
                </c:pt>
                <c:pt idx="3972">
                  <c:v>43328</c:v>
                </c:pt>
                <c:pt idx="3973">
                  <c:v>43329</c:v>
                </c:pt>
                <c:pt idx="3974">
                  <c:v>43332</c:v>
                </c:pt>
                <c:pt idx="3975">
                  <c:v>43333</c:v>
                </c:pt>
                <c:pt idx="3976">
                  <c:v>43334</c:v>
                </c:pt>
                <c:pt idx="3977">
                  <c:v>43335</c:v>
                </c:pt>
                <c:pt idx="3978">
                  <c:v>43336</c:v>
                </c:pt>
                <c:pt idx="3979">
                  <c:v>43339</c:v>
                </c:pt>
                <c:pt idx="3980">
                  <c:v>43340</c:v>
                </c:pt>
                <c:pt idx="3981">
                  <c:v>43341</c:v>
                </c:pt>
                <c:pt idx="3982">
                  <c:v>43342</c:v>
                </c:pt>
                <c:pt idx="3983">
                  <c:v>43343</c:v>
                </c:pt>
                <c:pt idx="3984">
                  <c:v>43346</c:v>
                </c:pt>
                <c:pt idx="3985">
                  <c:v>43347</c:v>
                </c:pt>
                <c:pt idx="3986">
                  <c:v>43348</c:v>
                </c:pt>
                <c:pt idx="3987">
                  <c:v>43349</c:v>
                </c:pt>
                <c:pt idx="3988">
                  <c:v>43350</c:v>
                </c:pt>
                <c:pt idx="3989">
                  <c:v>43353</c:v>
                </c:pt>
                <c:pt idx="3990">
                  <c:v>43354</c:v>
                </c:pt>
                <c:pt idx="3991">
                  <c:v>43355</c:v>
                </c:pt>
                <c:pt idx="3992">
                  <c:v>43356</c:v>
                </c:pt>
                <c:pt idx="3993">
                  <c:v>43357</c:v>
                </c:pt>
                <c:pt idx="3994">
                  <c:v>43360</c:v>
                </c:pt>
                <c:pt idx="3995">
                  <c:v>43361</c:v>
                </c:pt>
                <c:pt idx="3996">
                  <c:v>43362</c:v>
                </c:pt>
                <c:pt idx="3997">
                  <c:v>43363</c:v>
                </c:pt>
                <c:pt idx="3998">
                  <c:v>43364</c:v>
                </c:pt>
                <c:pt idx="3999">
                  <c:v>43368</c:v>
                </c:pt>
                <c:pt idx="4000">
                  <c:v>43369</c:v>
                </c:pt>
                <c:pt idx="4001">
                  <c:v>43370</c:v>
                </c:pt>
                <c:pt idx="4002">
                  <c:v>43371</c:v>
                </c:pt>
                <c:pt idx="4003">
                  <c:v>43381</c:v>
                </c:pt>
                <c:pt idx="4004">
                  <c:v>43382</c:v>
                </c:pt>
                <c:pt idx="4005">
                  <c:v>43383</c:v>
                </c:pt>
                <c:pt idx="4006">
                  <c:v>43384</c:v>
                </c:pt>
                <c:pt idx="4007">
                  <c:v>43385</c:v>
                </c:pt>
                <c:pt idx="4008">
                  <c:v>43388</c:v>
                </c:pt>
                <c:pt idx="4009">
                  <c:v>43389</c:v>
                </c:pt>
                <c:pt idx="4010">
                  <c:v>43390</c:v>
                </c:pt>
                <c:pt idx="4011">
                  <c:v>43391</c:v>
                </c:pt>
                <c:pt idx="4012">
                  <c:v>43392</c:v>
                </c:pt>
                <c:pt idx="4013">
                  <c:v>43395</c:v>
                </c:pt>
                <c:pt idx="4014">
                  <c:v>43396</c:v>
                </c:pt>
                <c:pt idx="4015">
                  <c:v>43397</c:v>
                </c:pt>
                <c:pt idx="4016">
                  <c:v>43398</c:v>
                </c:pt>
                <c:pt idx="4017">
                  <c:v>43399</c:v>
                </c:pt>
                <c:pt idx="4018">
                  <c:v>43402</c:v>
                </c:pt>
                <c:pt idx="4019">
                  <c:v>43403</c:v>
                </c:pt>
                <c:pt idx="4020">
                  <c:v>43404</c:v>
                </c:pt>
                <c:pt idx="4021">
                  <c:v>43405</c:v>
                </c:pt>
                <c:pt idx="4022">
                  <c:v>43406</c:v>
                </c:pt>
                <c:pt idx="4023">
                  <c:v>43409</c:v>
                </c:pt>
                <c:pt idx="4024">
                  <c:v>43410</c:v>
                </c:pt>
                <c:pt idx="4025">
                  <c:v>43411</c:v>
                </c:pt>
                <c:pt idx="4026">
                  <c:v>43412</c:v>
                </c:pt>
                <c:pt idx="4027">
                  <c:v>43413</c:v>
                </c:pt>
                <c:pt idx="4028">
                  <c:v>43416</c:v>
                </c:pt>
                <c:pt idx="4029">
                  <c:v>43417</c:v>
                </c:pt>
                <c:pt idx="4030">
                  <c:v>43418</c:v>
                </c:pt>
                <c:pt idx="4031">
                  <c:v>43419</c:v>
                </c:pt>
                <c:pt idx="4032">
                  <c:v>43420</c:v>
                </c:pt>
                <c:pt idx="4033">
                  <c:v>43423</c:v>
                </c:pt>
                <c:pt idx="4034">
                  <c:v>43424</c:v>
                </c:pt>
                <c:pt idx="4035">
                  <c:v>43425</c:v>
                </c:pt>
                <c:pt idx="4036">
                  <c:v>43426</c:v>
                </c:pt>
                <c:pt idx="4037">
                  <c:v>43427</c:v>
                </c:pt>
                <c:pt idx="4038">
                  <c:v>43430</c:v>
                </c:pt>
                <c:pt idx="4039">
                  <c:v>43431</c:v>
                </c:pt>
                <c:pt idx="4040">
                  <c:v>43432</c:v>
                </c:pt>
                <c:pt idx="4041">
                  <c:v>43433</c:v>
                </c:pt>
                <c:pt idx="4042">
                  <c:v>43434</c:v>
                </c:pt>
                <c:pt idx="4043">
                  <c:v>43437</c:v>
                </c:pt>
                <c:pt idx="4044">
                  <c:v>43438</c:v>
                </c:pt>
                <c:pt idx="4045">
                  <c:v>43439</c:v>
                </c:pt>
                <c:pt idx="4046">
                  <c:v>43440</c:v>
                </c:pt>
                <c:pt idx="4047">
                  <c:v>43441</c:v>
                </c:pt>
                <c:pt idx="4048">
                  <c:v>43444</c:v>
                </c:pt>
                <c:pt idx="4049">
                  <c:v>43445</c:v>
                </c:pt>
                <c:pt idx="4050">
                  <c:v>43446</c:v>
                </c:pt>
                <c:pt idx="4051">
                  <c:v>43447</c:v>
                </c:pt>
                <c:pt idx="4052">
                  <c:v>43448</c:v>
                </c:pt>
                <c:pt idx="4053">
                  <c:v>43451</c:v>
                </c:pt>
                <c:pt idx="4054">
                  <c:v>43452</c:v>
                </c:pt>
                <c:pt idx="4055">
                  <c:v>43453</c:v>
                </c:pt>
                <c:pt idx="4056">
                  <c:v>43454</c:v>
                </c:pt>
                <c:pt idx="4057">
                  <c:v>43455</c:v>
                </c:pt>
                <c:pt idx="4058">
                  <c:v>43458</c:v>
                </c:pt>
                <c:pt idx="4059">
                  <c:v>43459</c:v>
                </c:pt>
                <c:pt idx="4060">
                  <c:v>43460</c:v>
                </c:pt>
                <c:pt idx="4061">
                  <c:v>43461</c:v>
                </c:pt>
                <c:pt idx="4062">
                  <c:v>43462</c:v>
                </c:pt>
                <c:pt idx="4063">
                  <c:v>43467</c:v>
                </c:pt>
                <c:pt idx="4064">
                  <c:v>43468</c:v>
                </c:pt>
                <c:pt idx="4065">
                  <c:v>43469</c:v>
                </c:pt>
                <c:pt idx="4066">
                  <c:v>43472</c:v>
                </c:pt>
                <c:pt idx="4067">
                  <c:v>43473</c:v>
                </c:pt>
                <c:pt idx="4068">
                  <c:v>43474</c:v>
                </c:pt>
                <c:pt idx="4069">
                  <c:v>43475</c:v>
                </c:pt>
                <c:pt idx="4070">
                  <c:v>43476</c:v>
                </c:pt>
                <c:pt idx="4071">
                  <c:v>43479</c:v>
                </c:pt>
                <c:pt idx="4072">
                  <c:v>43480</c:v>
                </c:pt>
                <c:pt idx="4073">
                  <c:v>43481</c:v>
                </c:pt>
                <c:pt idx="4074">
                  <c:v>43482</c:v>
                </c:pt>
                <c:pt idx="4075">
                  <c:v>43483</c:v>
                </c:pt>
                <c:pt idx="4076">
                  <c:v>43486</c:v>
                </c:pt>
                <c:pt idx="4077">
                  <c:v>43487</c:v>
                </c:pt>
                <c:pt idx="4078">
                  <c:v>43488</c:v>
                </c:pt>
                <c:pt idx="4079">
                  <c:v>43489</c:v>
                </c:pt>
                <c:pt idx="4080">
                  <c:v>43490</c:v>
                </c:pt>
                <c:pt idx="4081">
                  <c:v>43493</c:v>
                </c:pt>
                <c:pt idx="4082">
                  <c:v>43494</c:v>
                </c:pt>
                <c:pt idx="4083">
                  <c:v>43495</c:v>
                </c:pt>
                <c:pt idx="4084">
                  <c:v>43496</c:v>
                </c:pt>
                <c:pt idx="4085">
                  <c:v>43497</c:v>
                </c:pt>
                <c:pt idx="4086">
                  <c:v>43507</c:v>
                </c:pt>
                <c:pt idx="4087">
                  <c:v>43508</c:v>
                </c:pt>
                <c:pt idx="4088">
                  <c:v>43509</c:v>
                </c:pt>
                <c:pt idx="4089">
                  <c:v>43510</c:v>
                </c:pt>
                <c:pt idx="4090">
                  <c:v>43511</c:v>
                </c:pt>
                <c:pt idx="4091">
                  <c:v>43514</c:v>
                </c:pt>
                <c:pt idx="4092">
                  <c:v>43515</c:v>
                </c:pt>
                <c:pt idx="4093">
                  <c:v>43516</c:v>
                </c:pt>
                <c:pt idx="4094">
                  <c:v>43517</c:v>
                </c:pt>
                <c:pt idx="4095">
                  <c:v>43518</c:v>
                </c:pt>
                <c:pt idx="4096">
                  <c:v>43521</c:v>
                </c:pt>
                <c:pt idx="4097">
                  <c:v>43522</c:v>
                </c:pt>
                <c:pt idx="4098">
                  <c:v>43523</c:v>
                </c:pt>
                <c:pt idx="4099">
                  <c:v>43524</c:v>
                </c:pt>
                <c:pt idx="4100">
                  <c:v>43525</c:v>
                </c:pt>
                <c:pt idx="4101">
                  <c:v>43528</c:v>
                </c:pt>
                <c:pt idx="4102">
                  <c:v>43529</c:v>
                </c:pt>
                <c:pt idx="4103">
                  <c:v>43530</c:v>
                </c:pt>
                <c:pt idx="4104">
                  <c:v>43531</c:v>
                </c:pt>
                <c:pt idx="4105">
                  <c:v>43532</c:v>
                </c:pt>
                <c:pt idx="4106">
                  <c:v>43535</c:v>
                </c:pt>
                <c:pt idx="4107">
                  <c:v>43536</c:v>
                </c:pt>
                <c:pt idx="4108">
                  <c:v>43537</c:v>
                </c:pt>
                <c:pt idx="4109">
                  <c:v>43538</c:v>
                </c:pt>
                <c:pt idx="4110">
                  <c:v>43539</c:v>
                </c:pt>
                <c:pt idx="4111">
                  <c:v>43542</c:v>
                </c:pt>
                <c:pt idx="4112">
                  <c:v>43543</c:v>
                </c:pt>
                <c:pt idx="4113">
                  <c:v>43544</c:v>
                </c:pt>
                <c:pt idx="4114">
                  <c:v>43545</c:v>
                </c:pt>
                <c:pt idx="4115">
                  <c:v>43546</c:v>
                </c:pt>
                <c:pt idx="4116">
                  <c:v>43549</c:v>
                </c:pt>
                <c:pt idx="4117">
                  <c:v>43550</c:v>
                </c:pt>
                <c:pt idx="4118">
                  <c:v>43551</c:v>
                </c:pt>
                <c:pt idx="4119">
                  <c:v>43552</c:v>
                </c:pt>
                <c:pt idx="4120">
                  <c:v>43553</c:v>
                </c:pt>
                <c:pt idx="4121">
                  <c:v>43556</c:v>
                </c:pt>
                <c:pt idx="4122">
                  <c:v>43557</c:v>
                </c:pt>
                <c:pt idx="4123">
                  <c:v>43558</c:v>
                </c:pt>
                <c:pt idx="4124">
                  <c:v>43559</c:v>
                </c:pt>
                <c:pt idx="4125">
                  <c:v>43563</c:v>
                </c:pt>
                <c:pt idx="4126">
                  <c:v>43564</c:v>
                </c:pt>
                <c:pt idx="4127">
                  <c:v>43565</c:v>
                </c:pt>
                <c:pt idx="4128">
                  <c:v>43566</c:v>
                </c:pt>
                <c:pt idx="4129">
                  <c:v>43567</c:v>
                </c:pt>
                <c:pt idx="4130">
                  <c:v>43570</c:v>
                </c:pt>
                <c:pt idx="4131">
                  <c:v>43571</c:v>
                </c:pt>
                <c:pt idx="4132">
                  <c:v>43572</c:v>
                </c:pt>
                <c:pt idx="4133">
                  <c:v>43573</c:v>
                </c:pt>
                <c:pt idx="4134">
                  <c:v>43574</c:v>
                </c:pt>
                <c:pt idx="4135">
                  <c:v>43577</c:v>
                </c:pt>
                <c:pt idx="4136">
                  <c:v>43578</c:v>
                </c:pt>
                <c:pt idx="4137">
                  <c:v>43579</c:v>
                </c:pt>
                <c:pt idx="4138">
                  <c:v>43580</c:v>
                </c:pt>
                <c:pt idx="4139">
                  <c:v>43581</c:v>
                </c:pt>
                <c:pt idx="4140">
                  <c:v>43584</c:v>
                </c:pt>
                <c:pt idx="4141">
                  <c:v>43585</c:v>
                </c:pt>
                <c:pt idx="4142">
                  <c:v>43591</c:v>
                </c:pt>
                <c:pt idx="4143">
                  <c:v>43592</c:v>
                </c:pt>
                <c:pt idx="4144">
                  <c:v>43593</c:v>
                </c:pt>
                <c:pt idx="4145">
                  <c:v>43594</c:v>
                </c:pt>
                <c:pt idx="4146">
                  <c:v>43595</c:v>
                </c:pt>
                <c:pt idx="4147">
                  <c:v>43598</c:v>
                </c:pt>
                <c:pt idx="4148">
                  <c:v>43599</c:v>
                </c:pt>
                <c:pt idx="4149">
                  <c:v>43600</c:v>
                </c:pt>
                <c:pt idx="4150">
                  <c:v>43601</c:v>
                </c:pt>
                <c:pt idx="4151">
                  <c:v>43602</c:v>
                </c:pt>
                <c:pt idx="4152">
                  <c:v>43605</c:v>
                </c:pt>
                <c:pt idx="4153">
                  <c:v>43606</c:v>
                </c:pt>
                <c:pt idx="4154">
                  <c:v>43607</c:v>
                </c:pt>
                <c:pt idx="4155">
                  <c:v>43608</c:v>
                </c:pt>
                <c:pt idx="4156">
                  <c:v>43609</c:v>
                </c:pt>
                <c:pt idx="4157">
                  <c:v>43612</c:v>
                </c:pt>
                <c:pt idx="4158">
                  <c:v>43613</c:v>
                </c:pt>
                <c:pt idx="4159">
                  <c:v>43614</c:v>
                </c:pt>
                <c:pt idx="4160">
                  <c:v>43615</c:v>
                </c:pt>
                <c:pt idx="4161">
                  <c:v>43616</c:v>
                </c:pt>
                <c:pt idx="4162">
                  <c:v>43619</c:v>
                </c:pt>
                <c:pt idx="4163">
                  <c:v>43620</c:v>
                </c:pt>
                <c:pt idx="4164">
                  <c:v>43621</c:v>
                </c:pt>
                <c:pt idx="4165">
                  <c:v>43622</c:v>
                </c:pt>
                <c:pt idx="4166">
                  <c:v>43626</c:v>
                </c:pt>
                <c:pt idx="4167">
                  <c:v>43627</c:v>
                </c:pt>
                <c:pt idx="4168">
                  <c:v>43628</c:v>
                </c:pt>
                <c:pt idx="4169">
                  <c:v>43629</c:v>
                </c:pt>
                <c:pt idx="4170">
                  <c:v>43630</c:v>
                </c:pt>
                <c:pt idx="4171">
                  <c:v>43633</c:v>
                </c:pt>
                <c:pt idx="4172">
                  <c:v>43634</c:v>
                </c:pt>
                <c:pt idx="4173">
                  <c:v>43635</c:v>
                </c:pt>
                <c:pt idx="4174">
                  <c:v>43636</c:v>
                </c:pt>
                <c:pt idx="4175">
                  <c:v>43637</c:v>
                </c:pt>
                <c:pt idx="4176">
                  <c:v>43640</c:v>
                </c:pt>
                <c:pt idx="4177">
                  <c:v>43641</c:v>
                </c:pt>
                <c:pt idx="4178">
                  <c:v>43642</c:v>
                </c:pt>
                <c:pt idx="4179">
                  <c:v>43643</c:v>
                </c:pt>
                <c:pt idx="4180">
                  <c:v>43644</c:v>
                </c:pt>
                <c:pt idx="4181">
                  <c:v>43647</c:v>
                </c:pt>
                <c:pt idx="4182">
                  <c:v>43648</c:v>
                </c:pt>
                <c:pt idx="4183">
                  <c:v>43649</c:v>
                </c:pt>
                <c:pt idx="4184">
                  <c:v>43650</c:v>
                </c:pt>
                <c:pt idx="4185">
                  <c:v>43651</c:v>
                </c:pt>
                <c:pt idx="4186">
                  <c:v>43654</c:v>
                </c:pt>
                <c:pt idx="4187">
                  <c:v>43655</c:v>
                </c:pt>
                <c:pt idx="4188">
                  <c:v>43656</c:v>
                </c:pt>
                <c:pt idx="4189">
                  <c:v>43657</c:v>
                </c:pt>
                <c:pt idx="4190">
                  <c:v>43658</c:v>
                </c:pt>
                <c:pt idx="4191">
                  <c:v>43661</c:v>
                </c:pt>
                <c:pt idx="4192">
                  <c:v>43662</c:v>
                </c:pt>
                <c:pt idx="4193">
                  <c:v>43663</c:v>
                </c:pt>
                <c:pt idx="4194">
                  <c:v>43664</c:v>
                </c:pt>
                <c:pt idx="4195">
                  <c:v>43665</c:v>
                </c:pt>
                <c:pt idx="4196">
                  <c:v>43668</c:v>
                </c:pt>
                <c:pt idx="4197">
                  <c:v>43669</c:v>
                </c:pt>
                <c:pt idx="4198">
                  <c:v>43670</c:v>
                </c:pt>
                <c:pt idx="4199">
                  <c:v>43671</c:v>
                </c:pt>
                <c:pt idx="4200">
                  <c:v>43672</c:v>
                </c:pt>
                <c:pt idx="4201">
                  <c:v>43675</c:v>
                </c:pt>
                <c:pt idx="4202">
                  <c:v>43676</c:v>
                </c:pt>
                <c:pt idx="4203">
                  <c:v>43677</c:v>
                </c:pt>
                <c:pt idx="4204">
                  <c:v>43678</c:v>
                </c:pt>
                <c:pt idx="4205">
                  <c:v>43679</c:v>
                </c:pt>
                <c:pt idx="4206">
                  <c:v>43682</c:v>
                </c:pt>
                <c:pt idx="4207">
                  <c:v>43683</c:v>
                </c:pt>
                <c:pt idx="4208">
                  <c:v>43684</c:v>
                </c:pt>
                <c:pt idx="4209">
                  <c:v>43685</c:v>
                </c:pt>
                <c:pt idx="4210">
                  <c:v>43686</c:v>
                </c:pt>
                <c:pt idx="4211">
                  <c:v>43689</c:v>
                </c:pt>
                <c:pt idx="4212">
                  <c:v>43690</c:v>
                </c:pt>
                <c:pt idx="4213">
                  <c:v>43691</c:v>
                </c:pt>
                <c:pt idx="4214">
                  <c:v>43692</c:v>
                </c:pt>
                <c:pt idx="4215">
                  <c:v>43693</c:v>
                </c:pt>
                <c:pt idx="4216">
                  <c:v>43696</c:v>
                </c:pt>
                <c:pt idx="4217">
                  <c:v>43697</c:v>
                </c:pt>
                <c:pt idx="4218">
                  <c:v>43698</c:v>
                </c:pt>
                <c:pt idx="4219">
                  <c:v>43699</c:v>
                </c:pt>
                <c:pt idx="4220">
                  <c:v>43700</c:v>
                </c:pt>
                <c:pt idx="4221">
                  <c:v>43703</c:v>
                </c:pt>
                <c:pt idx="4222">
                  <c:v>43704</c:v>
                </c:pt>
                <c:pt idx="4223">
                  <c:v>43705</c:v>
                </c:pt>
                <c:pt idx="4224">
                  <c:v>43706</c:v>
                </c:pt>
                <c:pt idx="4225">
                  <c:v>43707</c:v>
                </c:pt>
                <c:pt idx="4226">
                  <c:v>43710</c:v>
                </c:pt>
                <c:pt idx="4227">
                  <c:v>43711</c:v>
                </c:pt>
                <c:pt idx="4228">
                  <c:v>43712</c:v>
                </c:pt>
                <c:pt idx="4229">
                  <c:v>43713</c:v>
                </c:pt>
                <c:pt idx="4230">
                  <c:v>43714</c:v>
                </c:pt>
                <c:pt idx="4231">
                  <c:v>43717</c:v>
                </c:pt>
                <c:pt idx="4232">
                  <c:v>43718</c:v>
                </c:pt>
                <c:pt idx="4233">
                  <c:v>43719</c:v>
                </c:pt>
                <c:pt idx="4234">
                  <c:v>43720</c:v>
                </c:pt>
                <c:pt idx="4235">
                  <c:v>43724</c:v>
                </c:pt>
                <c:pt idx="4236">
                  <c:v>43725</c:v>
                </c:pt>
                <c:pt idx="4237">
                  <c:v>43726</c:v>
                </c:pt>
                <c:pt idx="4238">
                  <c:v>43727</c:v>
                </c:pt>
                <c:pt idx="4239">
                  <c:v>43728</c:v>
                </c:pt>
                <c:pt idx="4240">
                  <c:v>43731</c:v>
                </c:pt>
                <c:pt idx="4241">
                  <c:v>43732</c:v>
                </c:pt>
                <c:pt idx="4242">
                  <c:v>43733</c:v>
                </c:pt>
                <c:pt idx="4243">
                  <c:v>43734</c:v>
                </c:pt>
                <c:pt idx="4244">
                  <c:v>43735</c:v>
                </c:pt>
                <c:pt idx="4245">
                  <c:v>43738</c:v>
                </c:pt>
                <c:pt idx="4246">
                  <c:v>43746</c:v>
                </c:pt>
                <c:pt idx="4247">
                  <c:v>43747</c:v>
                </c:pt>
                <c:pt idx="4248">
                  <c:v>43748</c:v>
                </c:pt>
                <c:pt idx="4249">
                  <c:v>43749</c:v>
                </c:pt>
                <c:pt idx="4250">
                  <c:v>43752</c:v>
                </c:pt>
                <c:pt idx="4251">
                  <c:v>43753</c:v>
                </c:pt>
                <c:pt idx="4252">
                  <c:v>43754</c:v>
                </c:pt>
                <c:pt idx="4253">
                  <c:v>43755</c:v>
                </c:pt>
                <c:pt idx="4254">
                  <c:v>43756</c:v>
                </c:pt>
                <c:pt idx="4255">
                  <c:v>43759</c:v>
                </c:pt>
                <c:pt idx="4256">
                  <c:v>43760</c:v>
                </c:pt>
                <c:pt idx="4257">
                  <c:v>43761</c:v>
                </c:pt>
                <c:pt idx="4258">
                  <c:v>43762</c:v>
                </c:pt>
                <c:pt idx="4259">
                  <c:v>43763</c:v>
                </c:pt>
                <c:pt idx="4260">
                  <c:v>43766</c:v>
                </c:pt>
                <c:pt idx="4261">
                  <c:v>43767</c:v>
                </c:pt>
                <c:pt idx="4262">
                  <c:v>43768</c:v>
                </c:pt>
                <c:pt idx="4263">
                  <c:v>43769</c:v>
                </c:pt>
                <c:pt idx="4264">
                  <c:v>43770</c:v>
                </c:pt>
                <c:pt idx="4265">
                  <c:v>43773</c:v>
                </c:pt>
                <c:pt idx="4266">
                  <c:v>43774</c:v>
                </c:pt>
                <c:pt idx="4267">
                  <c:v>43775</c:v>
                </c:pt>
                <c:pt idx="4268">
                  <c:v>43776</c:v>
                </c:pt>
                <c:pt idx="4269">
                  <c:v>43777</c:v>
                </c:pt>
                <c:pt idx="4270">
                  <c:v>43780</c:v>
                </c:pt>
                <c:pt idx="4271">
                  <c:v>43781</c:v>
                </c:pt>
                <c:pt idx="4272">
                  <c:v>43782</c:v>
                </c:pt>
                <c:pt idx="4273">
                  <c:v>43783</c:v>
                </c:pt>
                <c:pt idx="4274">
                  <c:v>43784</c:v>
                </c:pt>
                <c:pt idx="4275">
                  <c:v>43787</c:v>
                </c:pt>
                <c:pt idx="4276">
                  <c:v>43788</c:v>
                </c:pt>
                <c:pt idx="4277">
                  <c:v>43789</c:v>
                </c:pt>
                <c:pt idx="4278">
                  <c:v>43790</c:v>
                </c:pt>
                <c:pt idx="4279">
                  <c:v>43791</c:v>
                </c:pt>
                <c:pt idx="4280">
                  <c:v>43794</c:v>
                </c:pt>
                <c:pt idx="4281">
                  <c:v>43795</c:v>
                </c:pt>
                <c:pt idx="4282">
                  <c:v>43796</c:v>
                </c:pt>
                <c:pt idx="4283">
                  <c:v>43797</c:v>
                </c:pt>
                <c:pt idx="4284">
                  <c:v>43798</c:v>
                </c:pt>
                <c:pt idx="4285">
                  <c:v>43801</c:v>
                </c:pt>
                <c:pt idx="4286">
                  <c:v>43802</c:v>
                </c:pt>
                <c:pt idx="4287">
                  <c:v>43803</c:v>
                </c:pt>
                <c:pt idx="4288">
                  <c:v>43804</c:v>
                </c:pt>
                <c:pt idx="4289">
                  <c:v>43805</c:v>
                </c:pt>
                <c:pt idx="4290">
                  <c:v>43808</c:v>
                </c:pt>
                <c:pt idx="4291">
                  <c:v>43809</c:v>
                </c:pt>
                <c:pt idx="4292">
                  <c:v>43810</c:v>
                </c:pt>
                <c:pt idx="4293">
                  <c:v>43811</c:v>
                </c:pt>
                <c:pt idx="4294">
                  <c:v>43812</c:v>
                </c:pt>
                <c:pt idx="4295">
                  <c:v>43815</c:v>
                </c:pt>
                <c:pt idx="4296">
                  <c:v>43816</c:v>
                </c:pt>
                <c:pt idx="4297">
                  <c:v>43817</c:v>
                </c:pt>
                <c:pt idx="4298">
                  <c:v>43818</c:v>
                </c:pt>
                <c:pt idx="4299">
                  <c:v>43819</c:v>
                </c:pt>
                <c:pt idx="4300">
                  <c:v>43822</c:v>
                </c:pt>
                <c:pt idx="4301">
                  <c:v>43823</c:v>
                </c:pt>
                <c:pt idx="4302">
                  <c:v>43824</c:v>
                </c:pt>
                <c:pt idx="4303">
                  <c:v>43825</c:v>
                </c:pt>
                <c:pt idx="4304">
                  <c:v>43826</c:v>
                </c:pt>
                <c:pt idx="4305">
                  <c:v>43829</c:v>
                </c:pt>
                <c:pt idx="4306">
                  <c:v>43830</c:v>
                </c:pt>
                <c:pt idx="4307">
                  <c:v>43832</c:v>
                </c:pt>
                <c:pt idx="4308">
                  <c:v>43833</c:v>
                </c:pt>
                <c:pt idx="4309">
                  <c:v>43836</c:v>
                </c:pt>
                <c:pt idx="4310">
                  <c:v>43837</c:v>
                </c:pt>
                <c:pt idx="4311">
                  <c:v>43838</c:v>
                </c:pt>
                <c:pt idx="4312">
                  <c:v>43839</c:v>
                </c:pt>
                <c:pt idx="4313">
                  <c:v>43840</c:v>
                </c:pt>
                <c:pt idx="4314">
                  <c:v>43843</c:v>
                </c:pt>
                <c:pt idx="4315">
                  <c:v>43844</c:v>
                </c:pt>
                <c:pt idx="4316">
                  <c:v>43845</c:v>
                </c:pt>
                <c:pt idx="4317">
                  <c:v>43846</c:v>
                </c:pt>
                <c:pt idx="4318">
                  <c:v>43847</c:v>
                </c:pt>
                <c:pt idx="4319">
                  <c:v>43850</c:v>
                </c:pt>
                <c:pt idx="4320">
                  <c:v>43851</c:v>
                </c:pt>
                <c:pt idx="4321">
                  <c:v>43852</c:v>
                </c:pt>
                <c:pt idx="4322">
                  <c:v>43853</c:v>
                </c:pt>
                <c:pt idx="4323">
                  <c:v>43864</c:v>
                </c:pt>
                <c:pt idx="4324">
                  <c:v>43865</c:v>
                </c:pt>
                <c:pt idx="4325">
                  <c:v>43866</c:v>
                </c:pt>
                <c:pt idx="4326">
                  <c:v>43867</c:v>
                </c:pt>
                <c:pt idx="4327">
                  <c:v>43868</c:v>
                </c:pt>
                <c:pt idx="4328">
                  <c:v>43871</c:v>
                </c:pt>
                <c:pt idx="4329">
                  <c:v>43872</c:v>
                </c:pt>
                <c:pt idx="4330">
                  <c:v>43873</c:v>
                </c:pt>
                <c:pt idx="4331">
                  <c:v>43874</c:v>
                </c:pt>
                <c:pt idx="4332">
                  <c:v>43875</c:v>
                </c:pt>
                <c:pt idx="4333">
                  <c:v>43878</c:v>
                </c:pt>
                <c:pt idx="4334">
                  <c:v>43879</c:v>
                </c:pt>
                <c:pt idx="4335">
                  <c:v>43880</c:v>
                </c:pt>
                <c:pt idx="4336">
                  <c:v>43881</c:v>
                </c:pt>
                <c:pt idx="4337">
                  <c:v>43882</c:v>
                </c:pt>
                <c:pt idx="4338">
                  <c:v>43885</c:v>
                </c:pt>
                <c:pt idx="4339">
                  <c:v>43886</c:v>
                </c:pt>
                <c:pt idx="4340">
                  <c:v>43887</c:v>
                </c:pt>
                <c:pt idx="4341">
                  <c:v>43888</c:v>
                </c:pt>
                <c:pt idx="4342">
                  <c:v>43889</c:v>
                </c:pt>
                <c:pt idx="4343">
                  <c:v>43892</c:v>
                </c:pt>
                <c:pt idx="4344">
                  <c:v>43893</c:v>
                </c:pt>
                <c:pt idx="4345">
                  <c:v>43894</c:v>
                </c:pt>
                <c:pt idx="4346">
                  <c:v>43895</c:v>
                </c:pt>
                <c:pt idx="4347">
                  <c:v>43896</c:v>
                </c:pt>
                <c:pt idx="4348">
                  <c:v>43899</c:v>
                </c:pt>
                <c:pt idx="4349">
                  <c:v>43900</c:v>
                </c:pt>
                <c:pt idx="4350">
                  <c:v>43901</c:v>
                </c:pt>
                <c:pt idx="4351">
                  <c:v>43902</c:v>
                </c:pt>
                <c:pt idx="4352">
                  <c:v>43903</c:v>
                </c:pt>
                <c:pt idx="4353">
                  <c:v>43906</c:v>
                </c:pt>
                <c:pt idx="4354">
                  <c:v>43907</c:v>
                </c:pt>
                <c:pt idx="4355">
                  <c:v>43908</c:v>
                </c:pt>
                <c:pt idx="4356">
                  <c:v>43909</c:v>
                </c:pt>
                <c:pt idx="4357">
                  <c:v>43910</c:v>
                </c:pt>
                <c:pt idx="4358">
                  <c:v>43913</c:v>
                </c:pt>
                <c:pt idx="4359">
                  <c:v>43914</c:v>
                </c:pt>
                <c:pt idx="4360">
                  <c:v>43915</c:v>
                </c:pt>
                <c:pt idx="4361">
                  <c:v>43916</c:v>
                </c:pt>
                <c:pt idx="4362">
                  <c:v>43917</c:v>
                </c:pt>
                <c:pt idx="4363">
                  <c:v>43920</c:v>
                </c:pt>
                <c:pt idx="4364">
                  <c:v>43921</c:v>
                </c:pt>
                <c:pt idx="4365">
                  <c:v>43922</c:v>
                </c:pt>
                <c:pt idx="4366">
                  <c:v>43923</c:v>
                </c:pt>
                <c:pt idx="4367">
                  <c:v>43924</c:v>
                </c:pt>
                <c:pt idx="4368">
                  <c:v>43928</c:v>
                </c:pt>
                <c:pt idx="4369">
                  <c:v>43929</c:v>
                </c:pt>
                <c:pt idx="4370">
                  <c:v>43930</c:v>
                </c:pt>
                <c:pt idx="4371">
                  <c:v>43931</c:v>
                </c:pt>
                <c:pt idx="4372">
                  <c:v>43934</c:v>
                </c:pt>
                <c:pt idx="4373">
                  <c:v>43935</c:v>
                </c:pt>
                <c:pt idx="4374">
                  <c:v>43936</c:v>
                </c:pt>
                <c:pt idx="4375">
                  <c:v>43937</c:v>
                </c:pt>
                <c:pt idx="4376">
                  <c:v>43938</c:v>
                </c:pt>
                <c:pt idx="4377">
                  <c:v>43941</c:v>
                </c:pt>
                <c:pt idx="4378">
                  <c:v>43942</c:v>
                </c:pt>
                <c:pt idx="4379">
                  <c:v>43943</c:v>
                </c:pt>
                <c:pt idx="4380">
                  <c:v>43944</c:v>
                </c:pt>
                <c:pt idx="4381">
                  <c:v>43945</c:v>
                </c:pt>
                <c:pt idx="4382">
                  <c:v>43948</c:v>
                </c:pt>
                <c:pt idx="4383">
                  <c:v>43949</c:v>
                </c:pt>
                <c:pt idx="4384">
                  <c:v>43950</c:v>
                </c:pt>
                <c:pt idx="4385">
                  <c:v>43951</c:v>
                </c:pt>
                <c:pt idx="4386">
                  <c:v>43957</c:v>
                </c:pt>
                <c:pt idx="4387">
                  <c:v>43958</c:v>
                </c:pt>
                <c:pt idx="4388">
                  <c:v>43959</c:v>
                </c:pt>
                <c:pt idx="4389">
                  <c:v>43962</c:v>
                </c:pt>
                <c:pt idx="4390">
                  <c:v>43963</c:v>
                </c:pt>
                <c:pt idx="4391">
                  <c:v>43964</c:v>
                </c:pt>
                <c:pt idx="4392">
                  <c:v>43965</c:v>
                </c:pt>
                <c:pt idx="4393">
                  <c:v>43966</c:v>
                </c:pt>
                <c:pt idx="4394">
                  <c:v>43969</c:v>
                </c:pt>
                <c:pt idx="4395">
                  <c:v>43970</c:v>
                </c:pt>
                <c:pt idx="4396">
                  <c:v>43971</c:v>
                </c:pt>
                <c:pt idx="4397">
                  <c:v>43972</c:v>
                </c:pt>
                <c:pt idx="4398">
                  <c:v>43973</c:v>
                </c:pt>
                <c:pt idx="4399">
                  <c:v>43976</c:v>
                </c:pt>
                <c:pt idx="4400">
                  <c:v>43977</c:v>
                </c:pt>
                <c:pt idx="4401">
                  <c:v>43978</c:v>
                </c:pt>
                <c:pt idx="4402">
                  <c:v>43979</c:v>
                </c:pt>
                <c:pt idx="4403">
                  <c:v>43980</c:v>
                </c:pt>
                <c:pt idx="4404">
                  <c:v>43983</c:v>
                </c:pt>
                <c:pt idx="4405">
                  <c:v>43984</c:v>
                </c:pt>
                <c:pt idx="4406">
                  <c:v>43985</c:v>
                </c:pt>
                <c:pt idx="4407">
                  <c:v>43986</c:v>
                </c:pt>
                <c:pt idx="4408">
                  <c:v>43987</c:v>
                </c:pt>
                <c:pt idx="4409">
                  <c:v>43990</c:v>
                </c:pt>
                <c:pt idx="4410">
                  <c:v>43991</c:v>
                </c:pt>
                <c:pt idx="4411">
                  <c:v>43992</c:v>
                </c:pt>
                <c:pt idx="4412">
                  <c:v>43993</c:v>
                </c:pt>
                <c:pt idx="4413">
                  <c:v>43994</c:v>
                </c:pt>
                <c:pt idx="4414">
                  <c:v>43997</c:v>
                </c:pt>
                <c:pt idx="4415">
                  <c:v>43998</c:v>
                </c:pt>
                <c:pt idx="4416">
                  <c:v>43999</c:v>
                </c:pt>
                <c:pt idx="4417">
                  <c:v>44000</c:v>
                </c:pt>
                <c:pt idx="4418">
                  <c:v>44001</c:v>
                </c:pt>
                <c:pt idx="4419">
                  <c:v>44004</c:v>
                </c:pt>
                <c:pt idx="4420">
                  <c:v>44005</c:v>
                </c:pt>
                <c:pt idx="4421">
                  <c:v>44006</c:v>
                </c:pt>
                <c:pt idx="4422">
                  <c:v>44011</c:v>
                </c:pt>
                <c:pt idx="4423">
                  <c:v>44012</c:v>
                </c:pt>
                <c:pt idx="4424">
                  <c:v>44013</c:v>
                </c:pt>
                <c:pt idx="4425">
                  <c:v>44014</c:v>
                </c:pt>
                <c:pt idx="4426">
                  <c:v>44015</c:v>
                </c:pt>
                <c:pt idx="4427">
                  <c:v>44018</c:v>
                </c:pt>
                <c:pt idx="4428">
                  <c:v>44019</c:v>
                </c:pt>
                <c:pt idx="4429">
                  <c:v>44020</c:v>
                </c:pt>
                <c:pt idx="4430">
                  <c:v>44021</c:v>
                </c:pt>
                <c:pt idx="4431">
                  <c:v>44022</c:v>
                </c:pt>
                <c:pt idx="4432">
                  <c:v>44025</c:v>
                </c:pt>
                <c:pt idx="4433">
                  <c:v>44026</c:v>
                </c:pt>
                <c:pt idx="4434">
                  <c:v>44027</c:v>
                </c:pt>
                <c:pt idx="4435">
                  <c:v>44028</c:v>
                </c:pt>
                <c:pt idx="4436">
                  <c:v>44029</c:v>
                </c:pt>
                <c:pt idx="4437">
                  <c:v>44032</c:v>
                </c:pt>
                <c:pt idx="4438">
                  <c:v>44033</c:v>
                </c:pt>
                <c:pt idx="4439">
                  <c:v>44034</c:v>
                </c:pt>
                <c:pt idx="4440">
                  <c:v>44035</c:v>
                </c:pt>
                <c:pt idx="4441">
                  <c:v>44036</c:v>
                </c:pt>
                <c:pt idx="4442">
                  <c:v>44039</c:v>
                </c:pt>
                <c:pt idx="4443">
                  <c:v>44040</c:v>
                </c:pt>
                <c:pt idx="4444">
                  <c:v>44041</c:v>
                </c:pt>
                <c:pt idx="4445">
                  <c:v>44042</c:v>
                </c:pt>
                <c:pt idx="4446">
                  <c:v>44043</c:v>
                </c:pt>
                <c:pt idx="4447">
                  <c:v>44046</c:v>
                </c:pt>
                <c:pt idx="4448">
                  <c:v>44047</c:v>
                </c:pt>
                <c:pt idx="4449">
                  <c:v>44048</c:v>
                </c:pt>
                <c:pt idx="4450">
                  <c:v>44049</c:v>
                </c:pt>
                <c:pt idx="4451">
                  <c:v>44050</c:v>
                </c:pt>
                <c:pt idx="4452">
                  <c:v>44053</c:v>
                </c:pt>
                <c:pt idx="4453">
                  <c:v>44054</c:v>
                </c:pt>
                <c:pt idx="4454">
                  <c:v>44055</c:v>
                </c:pt>
                <c:pt idx="4455">
                  <c:v>44056</c:v>
                </c:pt>
                <c:pt idx="4456">
                  <c:v>44057</c:v>
                </c:pt>
                <c:pt idx="4457">
                  <c:v>44060</c:v>
                </c:pt>
                <c:pt idx="4458">
                  <c:v>44061</c:v>
                </c:pt>
                <c:pt idx="4459">
                  <c:v>44062</c:v>
                </c:pt>
                <c:pt idx="4460">
                  <c:v>44063</c:v>
                </c:pt>
                <c:pt idx="4461">
                  <c:v>44064</c:v>
                </c:pt>
                <c:pt idx="4462">
                  <c:v>44067</c:v>
                </c:pt>
                <c:pt idx="4463">
                  <c:v>44068</c:v>
                </c:pt>
                <c:pt idx="4464">
                  <c:v>44069</c:v>
                </c:pt>
                <c:pt idx="4465">
                  <c:v>44070</c:v>
                </c:pt>
                <c:pt idx="4466">
                  <c:v>44071</c:v>
                </c:pt>
                <c:pt idx="4467">
                  <c:v>44074</c:v>
                </c:pt>
                <c:pt idx="4468">
                  <c:v>44075</c:v>
                </c:pt>
                <c:pt idx="4469">
                  <c:v>44076</c:v>
                </c:pt>
                <c:pt idx="4470">
                  <c:v>44077</c:v>
                </c:pt>
                <c:pt idx="4471">
                  <c:v>44078</c:v>
                </c:pt>
                <c:pt idx="4472">
                  <c:v>44081</c:v>
                </c:pt>
                <c:pt idx="4473">
                  <c:v>44082</c:v>
                </c:pt>
                <c:pt idx="4474">
                  <c:v>44083</c:v>
                </c:pt>
                <c:pt idx="4475">
                  <c:v>44084</c:v>
                </c:pt>
                <c:pt idx="4476">
                  <c:v>44085</c:v>
                </c:pt>
                <c:pt idx="4477">
                  <c:v>44088</c:v>
                </c:pt>
                <c:pt idx="4478">
                  <c:v>44089</c:v>
                </c:pt>
                <c:pt idx="4479">
                  <c:v>44090</c:v>
                </c:pt>
                <c:pt idx="4480">
                  <c:v>44091</c:v>
                </c:pt>
                <c:pt idx="4481">
                  <c:v>44092</c:v>
                </c:pt>
                <c:pt idx="4482">
                  <c:v>44095</c:v>
                </c:pt>
                <c:pt idx="4483">
                  <c:v>44096</c:v>
                </c:pt>
                <c:pt idx="4484">
                  <c:v>44097</c:v>
                </c:pt>
                <c:pt idx="4485">
                  <c:v>44098</c:v>
                </c:pt>
                <c:pt idx="4486">
                  <c:v>44099</c:v>
                </c:pt>
                <c:pt idx="4487">
                  <c:v>44102</c:v>
                </c:pt>
                <c:pt idx="4488">
                  <c:v>44103</c:v>
                </c:pt>
                <c:pt idx="4489">
                  <c:v>44104</c:v>
                </c:pt>
                <c:pt idx="4490">
                  <c:v>44113</c:v>
                </c:pt>
                <c:pt idx="4491">
                  <c:v>44116</c:v>
                </c:pt>
                <c:pt idx="4492">
                  <c:v>44117</c:v>
                </c:pt>
                <c:pt idx="4493">
                  <c:v>44118</c:v>
                </c:pt>
                <c:pt idx="4494">
                  <c:v>44119</c:v>
                </c:pt>
                <c:pt idx="4495">
                  <c:v>44120</c:v>
                </c:pt>
                <c:pt idx="4496">
                  <c:v>44123</c:v>
                </c:pt>
                <c:pt idx="4497">
                  <c:v>44124</c:v>
                </c:pt>
                <c:pt idx="4498">
                  <c:v>44125</c:v>
                </c:pt>
                <c:pt idx="4499">
                  <c:v>44126</c:v>
                </c:pt>
                <c:pt idx="4500">
                  <c:v>44127</c:v>
                </c:pt>
                <c:pt idx="4501">
                  <c:v>44130</c:v>
                </c:pt>
                <c:pt idx="4502">
                  <c:v>44131</c:v>
                </c:pt>
                <c:pt idx="4503">
                  <c:v>44132</c:v>
                </c:pt>
                <c:pt idx="4504">
                  <c:v>44133</c:v>
                </c:pt>
                <c:pt idx="4505">
                  <c:v>44134</c:v>
                </c:pt>
                <c:pt idx="4506">
                  <c:v>44137</c:v>
                </c:pt>
                <c:pt idx="4507">
                  <c:v>44138</c:v>
                </c:pt>
                <c:pt idx="4508">
                  <c:v>44139</c:v>
                </c:pt>
                <c:pt idx="4509">
                  <c:v>44140</c:v>
                </c:pt>
                <c:pt idx="4510">
                  <c:v>44141</c:v>
                </c:pt>
                <c:pt idx="4511">
                  <c:v>44144</c:v>
                </c:pt>
                <c:pt idx="4512">
                  <c:v>44145</c:v>
                </c:pt>
                <c:pt idx="4513">
                  <c:v>44146</c:v>
                </c:pt>
                <c:pt idx="4514">
                  <c:v>44147</c:v>
                </c:pt>
                <c:pt idx="4515">
                  <c:v>44148</c:v>
                </c:pt>
                <c:pt idx="4516">
                  <c:v>44151</c:v>
                </c:pt>
                <c:pt idx="4517">
                  <c:v>44152</c:v>
                </c:pt>
                <c:pt idx="4518">
                  <c:v>44153</c:v>
                </c:pt>
                <c:pt idx="4519">
                  <c:v>44154</c:v>
                </c:pt>
                <c:pt idx="4520">
                  <c:v>44155</c:v>
                </c:pt>
                <c:pt idx="4521">
                  <c:v>44158</c:v>
                </c:pt>
                <c:pt idx="4522">
                  <c:v>44159</c:v>
                </c:pt>
                <c:pt idx="4523">
                  <c:v>44160</c:v>
                </c:pt>
                <c:pt idx="4524">
                  <c:v>44161</c:v>
                </c:pt>
                <c:pt idx="4525">
                  <c:v>44162</c:v>
                </c:pt>
                <c:pt idx="4526">
                  <c:v>44165</c:v>
                </c:pt>
                <c:pt idx="4527">
                  <c:v>44166</c:v>
                </c:pt>
                <c:pt idx="4528">
                  <c:v>44167</c:v>
                </c:pt>
                <c:pt idx="4529">
                  <c:v>44168</c:v>
                </c:pt>
                <c:pt idx="4530">
                  <c:v>44169</c:v>
                </c:pt>
                <c:pt idx="4531">
                  <c:v>44172</c:v>
                </c:pt>
                <c:pt idx="4532">
                  <c:v>44173</c:v>
                </c:pt>
                <c:pt idx="4533">
                  <c:v>44174</c:v>
                </c:pt>
                <c:pt idx="4534">
                  <c:v>44175</c:v>
                </c:pt>
                <c:pt idx="4535">
                  <c:v>44176</c:v>
                </c:pt>
                <c:pt idx="4536">
                  <c:v>44179</c:v>
                </c:pt>
                <c:pt idx="4537">
                  <c:v>44180</c:v>
                </c:pt>
                <c:pt idx="4538">
                  <c:v>44181</c:v>
                </c:pt>
                <c:pt idx="4539">
                  <c:v>44182</c:v>
                </c:pt>
                <c:pt idx="4540">
                  <c:v>44183</c:v>
                </c:pt>
                <c:pt idx="4541">
                  <c:v>44186</c:v>
                </c:pt>
                <c:pt idx="4542">
                  <c:v>44187</c:v>
                </c:pt>
                <c:pt idx="4543">
                  <c:v>44188</c:v>
                </c:pt>
                <c:pt idx="4544">
                  <c:v>44189</c:v>
                </c:pt>
                <c:pt idx="4545">
                  <c:v>44190</c:v>
                </c:pt>
                <c:pt idx="4546">
                  <c:v>44193</c:v>
                </c:pt>
                <c:pt idx="4547">
                  <c:v>44194</c:v>
                </c:pt>
                <c:pt idx="4548">
                  <c:v>44195</c:v>
                </c:pt>
                <c:pt idx="4549">
                  <c:v>44196</c:v>
                </c:pt>
                <c:pt idx="4550">
                  <c:v>44200</c:v>
                </c:pt>
                <c:pt idx="4551">
                  <c:v>44201</c:v>
                </c:pt>
                <c:pt idx="4552">
                  <c:v>44202</c:v>
                </c:pt>
                <c:pt idx="4553">
                  <c:v>44203</c:v>
                </c:pt>
                <c:pt idx="4554">
                  <c:v>44204</c:v>
                </c:pt>
                <c:pt idx="4555">
                  <c:v>44207</c:v>
                </c:pt>
                <c:pt idx="4556">
                  <c:v>44208</c:v>
                </c:pt>
                <c:pt idx="4557">
                  <c:v>44209</c:v>
                </c:pt>
                <c:pt idx="4558">
                  <c:v>44210</c:v>
                </c:pt>
                <c:pt idx="4559">
                  <c:v>44211</c:v>
                </c:pt>
                <c:pt idx="4560">
                  <c:v>44214</c:v>
                </c:pt>
                <c:pt idx="4561">
                  <c:v>44215</c:v>
                </c:pt>
                <c:pt idx="4562">
                  <c:v>44216</c:v>
                </c:pt>
                <c:pt idx="4563">
                  <c:v>44217</c:v>
                </c:pt>
                <c:pt idx="4564">
                  <c:v>44218</c:v>
                </c:pt>
                <c:pt idx="4565">
                  <c:v>44221</c:v>
                </c:pt>
                <c:pt idx="4566">
                  <c:v>44222</c:v>
                </c:pt>
                <c:pt idx="4567">
                  <c:v>44223</c:v>
                </c:pt>
                <c:pt idx="4568">
                  <c:v>44224</c:v>
                </c:pt>
                <c:pt idx="4569">
                  <c:v>44225</c:v>
                </c:pt>
                <c:pt idx="4570">
                  <c:v>44228</c:v>
                </c:pt>
                <c:pt idx="4571">
                  <c:v>44229</c:v>
                </c:pt>
                <c:pt idx="4572">
                  <c:v>44230</c:v>
                </c:pt>
                <c:pt idx="4573">
                  <c:v>44231</c:v>
                </c:pt>
                <c:pt idx="4574">
                  <c:v>44232</c:v>
                </c:pt>
                <c:pt idx="4575">
                  <c:v>44235</c:v>
                </c:pt>
                <c:pt idx="4576">
                  <c:v>44236</c:v>
                </c:pt>
                <c:pt idx="4577">
                  <c:v>44237</c:v>
                </c:pt>
                <c:pt idx="4578">
                  <c:v>44245</c:v>
                </c:pt>
                <c:pt idx="4579">
                  <c:v>44246</c:v>
                </c:pt>
                <c:pt idx="4580">
                  <c:v>44249</c:v>
                </c:pt>
                <c:pt idx="4581">
                  <c:v>44250</c:v>
                </c:pt>
                <c:pt idx="4582">
                  <c:v>44251</c:v>
                </c:pt>
                <c:pt idx="4583">
                  <c:v>44252</c:v>
                </c:pt>
                <c:pt idx="4584">
                  <c:v>44253</c:v>
                </c:pt>
                <c:pt idx="4585">
                  <c:v>44256</c:v>
                </c:pt>
                <c:pt idx="4586">
                  <c:v>44257</c:v>
                </c:pt>
                <c:pt idx="4587">
                  <c:v>44258</c:v>
                </c:pt>
                <c:pt idx="4588">
                  <c:v>44259</c:v>
                </c:pt>
                <c:pt idx="4589">
                  <c:v>44260</c:v>
                </c:pt>
                <c:pt idx="4590">
                  <c:v>44263</c:v>
                </c:pt>
                <c:pt idx="4591">
                  <c:v>44264</c:v>
                </c:pt>
                <c:pt idx="4592">
                  <c:v>44265</c:v>
                </c:pt>
                <c:pt idx="4593">
                  <c:v>44266</c:v>
                </c:pt>
                <c:pt idx="4594">
                  <c:v>44267</c:v>
                </c:pt>
                <c:pt idx="4595">
                  <c:v>44270</c:v>
                </c:pt>
                <c:pt idx="4596">
                  <c:v>44271</c:v>
                </c:pt>
                <c:pt idx="4597">
                  <c:v>44272</c:v>
                </c:pt>
                <c:pt idx="4598">
                  <c:v>44273</c:v>
                </c:pt>
                <c:pt idx="4599">
                  <c:v>44274</c:v>
                </c:pt>
                <c:pt idx="4600">
                  <c:v>44277</c:v>
                </c:pt>
                <c:pt idx="4601">
                  <c:v>44278</c:v>
                </c:pt>
                <c:pt idx="4602">
                  <c:v>44279</c:v>
                </c:pt>
                <c:pt idx="4603">
                  <c:v>44280</c:v>
                </c:pt>
                <c:pt idx="4604">
                  <c:v>44281</c:v>
                </c:pt>
                <c:pt idx="4605">
                  <c:v>44284</c:v>
                </c:pt>
                <c:pt idx="4606">
                  <c:v>44285</c:v>
                </c:pt>
                <c:pt idx="4607">
                  <c:v>44286</c:v>
                </c:pt>
                <c:pt idx="4608">
                  <c:v>44287</c:v>
                </c:pt>
                <c:pt idx="4609">
                  <c:v>44288</c:v>
                </c:pt>
                <c:pt idx="4610">
                  <c:v>44292</c:v>
                </c:pt>
                <c:pt idx="4611">
                  <c:v>44293</c:v>
                </c:pt>
                <c:pt idx="4612">
                  <c:v>44294</c:v>
                </c:pt>
                <c:pt idx="4613">
                  <c:v>44295</c:v>
                </c:pt>
                <c:pt idx="4614">
                  <c:v>44298</c:v>
                </c:pt>
                <c:pt idx="4615">
                  <c:v>44299</c:v>
                </c:pt>
                <c:pt idx="4616">
                  <c:v>44300</c:v>
                </c:pt>
                <c:pt idx="4617">
                  <c:v>44301</c:v>
                </c:pt>
                <c:pt idx="4618">
                  <c:v>44302</c:v>
                </c:pt>
                <c:pt idx="4619">
                  <c:v>44305</c:v>
                </c:pt>
                <c:pt idx="4620">
                  <c:v>44306</c:v>
                </c:pt>
                <c:pt idx="4621">
                  <c:v>44307</c:v>
                </c:pt>
                <c:pt idx="4622">
                  <c:v>44308</c:v>
                </c:pt>
                <c:pt idx="4623">
                  <c:v>44309</c:v>
                </c:pt>
                <c:pt idx="4624">
                  <c:v>44312</c:v>
                </c:pt>
                <c:pt idx="4625">
                  <c:v>44313</c:v>
                </c:pt>
                <c:pt idx="4626">
                  <c:v>44314</c:v>
                </c:pt>
                <c:pt idx="4627">
                  <c:v>44315</c:v>
                </c:pt>
                <c:pt idx="4628">
                  <c:v>44316</c:v>
                </c:pt>
                <c:pt idx="4629">
                  <c:v>44322</c:v>
                </c:pt>
                <c:pt idx="4630">
                  <c:v>44323</c:v>
                </c:pt>
                <c:pt idx="4631">
                  <c:v>44326</c:v>
                </c:pt>
                <c:pt idx="4632">
                  <c:v>44327</c:v>
                </c:pt>
                <c:pt idx="4633">
                  <c:v>44328</c:v>
                </c:pt>
                <c:pt idx="4634">
                  <c:v>44329</c:v>
                </c:pt>
                <c:pt idx="4635">
                  <c:v>44330</c:v>
                </c:pt>
                <c:pt idx="4636">
                  <c:v>44333</c:v>
                </c:pt>
                <c:pt idx="4637">
                  <c:v>44334</c:v>
                </c:pt>
                <c:pt idx="4638">
                  <c:v>44335</c:v>
                </c:pt>
                <c:pt idx="4639">
                  <c:v>44336</c:v>
                </c:pt>
                <c:pt idx="4640">
                  <c:v>44337</c:v>
                </c:pt>
                <c:pt idx="4641">
                  <c:v>44340</c:v>
                </c:pt>
                <c:pt idx="4642">
                  <c:v>44341</c:v>
                </c:pt>
                <c:pt idx="4643">
                  <c:v>44342</c:v>
                </c:pt>
                <c:pt idx="4644">
                  <c:v>44343</c:v>
                </c:pt>
                <c:pt idx="4645">
                  <c:v>44344</c:v>
                </c:pt>
                <c:pt idx="4646">
                  <c:v>44347</c:v>
                </c:pt>
                <c:pt idx="4647">
                  <c:v>44348</c:v>
                </c:pt>
                <c:pt idx="4648">
                  <c:v>44349</c:v>
                </c:pt>
                <c:pt idx="4649">
                  <c:v>44350</c:v>
                </c:pt>
                <c:pt idx="4650">
                  <c:v>44351</c:v>
                </c:pt>
                <c:pt idx="4651">
                  <c:v>44354</c:v>
                </c:pt>
                <c:pt idx="4652">
                  <c:v>44355</c:v>
                </c:pt>
                <c:pt idx="4653">
                  <c:v>44356</c:v>
                </c:pt>
                <c:pt idx="4654">
                  <c:v>44357</c:v>
                </c:pt>
                <c:pt idx="4655">
                  <c:v>44358</c:v>
                </c:pt>
                <c:pt idx="4656">
                  <c:v>44362</c:v>
                </c:pt>
                <c:pt idx="4657">
                  <c:v>44363</c:v>
                </c:pt>
                <c:pt idx="4658">
                  <c:v>44364</c:v>
                </c:pt>
                <c:pt idx="4659">
                  <c:v>44365</c:v>
                </c:pt>
                <c:pt idx="4660">
                  <c:v>44368</c:v>
                </c:pt>
                <c:pt idx="4661">
                  <c:v>44369</c:v>
                </c:pt>
                <c:pt idx="4662">
                  <c:v>44370</c:v>
                </c:pt>
                <c:pt idx="4663">
                  <c:v>44371</c:v>
                </c:pt>
                <c:pt idx="4664">
                  <c:v>44372</c:v>
                </c:pt>
                <c:pt idx="4665">
                  <c:v>44375</c:v>
                </c:pt>
                <c:pt idx="4666">
                  <c:v>44376</c:v>
                </c:pt>
                <c:pt idx="4667">
                  <c:v>44377</c:v>
                </c:pt>
                <c:pt idx="4668">
                  <c:v>44378</c:v>
                </c:pt>
                <c:pt idx="4669">
                  <c:v>44379</c:v>
                </c:pt>
                <c:pt idx="4670">
                  <c:v>44382</c:v>
                </c:pt>
                <c:pt idx="4671">
                  <c:v>44383</c:v>
                </c:pt>
                <c:pt idx="4672">
                  <c:v>44384</c:v>
                </c:pt>
                <c:pt idx="4673">
                  <c:v>44385</c:v>
                </c:pt>
                <c:pt idx="4674">
                  <c:v>44386</c:v>
                </c:pt>
                <c:pt idx="4675">
                  <c:v>44389</c:v>
                </c:pt>
                <c:pt idx="4676">
                  <c:v>44390</c:v>
                </c:pt>
                <c:pt idx="4677">
                  <c:v>44391</c:v>
                </c:pt>
                <c:pt idx="4678">
                  <c:v>44392</c:v>
                </c:pt>
                <c:pt idx="4679">
                  <c:v>44393</c:v>
                </c:pt>
                <c:pt idx="4680">
                  <c:v>44396</c:v>
                </c:pt>
                <c:pt idx="4681">
                  <c:v>44397</c:v>
                </c:pt>
                <c:pt idx="4682">
                  <c:v>44398</c:v>
                </c:pt>
                <c:pt idx="4683">
                  <c:v>44399</c:v>
                </c:pt>
                <c:pt idx="4684">
                  <c:v>44400</c:v>
                </c:pt>
                <c:pt idx="4685">
                  <c:v>44403</c:v>
                </c:pt>
                <c:pt idx="4686">
                  <c:v>44404</c:v>
                </c:pt>
                <c:pt idx="4687">
                  <c:v>44405</c:v>
                </c:pt>
                <c:pt idx="4688">
                  <c:v>44406</c:v>
                </c:pt>
                <c:pt idx="4689">
                  <c:v>44407</c:v>
                </c:pt>
                <c:pt idx="4690">
                  <c:v>44410</c:v>
                </c:pt>
                <c:pt idx="4691">
                  <c:v>44411</c:v>
                </c:pt>
                <c:pt idx="4692">
                  <c:v>44412</c:v>
                </c:pt>
                <c:pt idx="4693">
                  <c:v>44413</c:v>
                </c:pt>
                <c:pt idx="4694">
                  <c:v>44414</c:v>
                </c:pt>
                <c:pt idx="4695">
                  <c:v>44417</c:v>
                </c:pt>
                <c:pt idx="4696">
                  <c:v>44418</c:v>
                </c:pt>
                <c:pt idx="4697">
                  <c:v>44419</c:v>
                </c:pt>
                <c:pt idx="4698">
                  <c:v>44420</c:v>
                </c:pt>
                <c:pt idx="4699">
                  <c:v>44421</c:v>
                </c:pt>
                <c:pt idx="4700">
                  <c:v>44424</c:v>
                </c:pt>
                <c:pt idx="4701">
                  <c:v>44425</c:v>
                </c:pt>
                <c:pt idx="4702">
                  <c:v>44426</c:v>
                </c:pt>
                <c:pt idx="4703">
                  <c:v>44427</c:v>
                </c:pt>
                <c:pt idx="4704">
                  <c:v>44428</c:v>
                </c:pt>
                <c:pt idx="4705">
                  <c:v>44431</c:v>
                </c:pt>
                <c:pt idx="4706">
                  <c:v>44432</c:v>
                </c:pt>
                <c:pt idx="4707">
                  <c:v>44433</c:v>
                </c:pt>
                <c:pt idx="4708">
                  <c:v>44434</c:v>
                </c:pt>
                <c:pt idx="4709">
                  <c:v>44435</c:v>
                </c:pt>
                <c:pt idx="4710">
                  <c:v>44438</c:v>
                </c:pt>
                <c:pt idx="4711">
                  <c:v>44439</c:v>
                </c:pt>
                <c:pt idx="4712">
                  <c:v>44440</c:v>
                </c:pt>
                <c:pt idx="4713">
                  <c:v>44441</c:v>
                </c:pt>
                <c:pt idx="4714">
                  <c:v>44442</c:v>
                </c:pt>
                <c:pt idx="4715">
                  <c:v>44445</c:v>
                </c:pt>
                <c:pt idx="4716">
                  <c:v>44446</c:v>
                </c:pt>
                <c:pt idx="4717">
                  <c:v>44447</c:v>
                </c:pt>
                <c:pt idx="4718">
                  <c:v>44448</c:v>
                </c:pt>
                <c:pt idx="4719">
                  <c:v>44449</c:v>
                </c:pt>
                <c:pt idx="4720">
                  <c:v>44452</c:v>
                </c:pt>
                <c:pt idx="4721">
                  <c:v>44453</c:v>
                </c:pt>
                <c:pt idx="4722">
                  <c:v>44454</c:v>
                </c:pt>
                <c:pt idx="4723">
                  <c:v>44455</c:v>
                </c:pt>
                <c:pt idx="4724">
                  <c:v>44456</c:v>
                </c:pt>
                <c:pt idx="4725">
                  <c:v>44461</c:v>
                </c:pt>
                <c:pt idx="4726">
                  <c:v>44462</c:v>
                </c:pt>
                <c:pt idx="4727">
                  <c:v>44463</c:v>
                </c:pt>
                <c:pt idx="4728">
                  <c:v>44466</c:v>
                </c:pt>
                <c:pt idx="4729">
                  <c:v>44467</c:v>
                </c:pt>
                <c:pt idx="4730">
                  <c:v>44468</c:v>
                </c:pt>
                <c:pt idx="4731">
                  <c:v>44469</c:v>
                </c:pt>
                <c:pt idx="4732">
                  <c:v>44477</c:v>
                </c:pt>
                <c:pt idx="4733">
                  <c:v>44480</c:v>
                </c:pt>
                <c:pt idx="4734">
                  <c:v>44481</c:v>
                </c:pt>
                <c:pt idx="4735">
                  <c:v>44482</c:v>
                </c:pt>
                <c:pt idx="4736">
                  <c:v>44483</c:v>
                </c:pt>
                <c:pt idx="4737">
                  <c:v>44484</c:v>
                </c:pt>
                <c:pt idx="4738">
                  <c:v>44487</c:v>
                </c:pt>
                <c:pt idx="4739">
                  <c:v>44488</c:v>
                </c:pt>
                <c:pt idx="4740">
                  <c:v>44489</c:v>
                </c:pt>
                <c:pt idx="4741">
                  <c:v>44490</c:v>
                </c:pt>
                <c:pt idx="4742">
                  <c:v>44491</c:v>
                </c:pt>
                <c:pt idx="4743">
                  <c:v>44494</c:v>
                </c:pt>
                <c:pt idx="4744">
                  <c:v>44495</c:v>
                </c:pt>
                <c:pt idx="4745">
                  <c:v>44496</c:v>
                </c:pt>
                <c:pt idx="4746">
                  <c:v>44497</c:v>
                </c:pt>
                <c:pt idx="4747">
                  <c:v>44498</c:v>
                </c:pt>
                <c:pt idx="4748">
                  <c:v>44501</c:v>
                </c:pt>
                <c:pt idx="4749">
                  <c:v>44502</c:v>
                </c:pt>
                <c:pt idx="4750">
                  <c:v>44503</c:v>
                </c:pt>
                <c:pt idx="4751">
                  <c:v>44504</c:v>
                </c:pt>
                <c:pt idx="4752">
                  <c:v>44505</c:v>
                </c:pt>
                <c:pt idx="4753">
                  <c:v>44508</c:v>
                </c:pt>
                <c:pt idx="4754">
                  <c:v>44509</c:v>
                </c:pt>
                <c:pt idx="4755">
                  <c:v>44510</c:v>
                </c:pt>
                <c:pt idx="4756">
                  <c:v>44511</c:v>
                </c:pt>
                <c:pt idx="4757">
                  <c:v>44512</c:v>
                </c:pt>
                <c:pt idx="4758">
                  <c:v>44515</c:v>
                </c:pt>
                <c:pt idx="4759">
                  <c:v>44516</c:v>
                </c:pt>
                <c:pt idx="4760">
                  <c:v>44517</c:v>
                </c:pt>
                <c:pt idx="4761">
                  <c:v>44518</c:v>
                </c:pt>
                <c:pt idx="4762">
                  <c:v>44519</c:v>
                </c:pt>
                <c:pt idx="4763">
                  <c:v>44522</c:v>
                </c:pt>
                <c:pt idx="4764">
                  <c:v>44523</c:v>
                </c:pt>
                <c:pt idx="4765">
                  <c:v>44524</c:v>
                </c:pt>
                <c:pt idx="4766">
                  <c:v>44525</c:v>
                </c:pt>
                <c:pt idx="4767">
                  <c:v>44526</c:v>
                </c:pt>
                <c:pt idx="4768">
                  <c:v>44529</c:v>
                </c:pt>
                <c:pt idx="4769">
                  <c:v>44530</c:v>
                </c:pt>
                <c:pt idx="4770">
                  <c:v>44531</c:v>
                </c:pt>
                <c:pt idx="4771">
                  <c:v>44532</c:v>
                </c:pt>
                <c:pt idx="4772">
                  <c:v>44533</c:v>
                </c:pt>
                <c:pt idx="4773">
                  <c:v>44536</c:v>
                </c:pt>
                <c:pt idx="4774">
                  <c:v>44537</c:v>
                </c:pt>
                <c:pt idx="4775">
                  <c:v>44538</c:v>
                </c:pt>
                <c:pt idx="4776">
                  <c:v>44539</c:v>
                </c:pt>
                <c:pt idx="4777">
                  <c:v>44540</c:v>
                </c:pt>
                <c:pt idx="4778">
                  <c:v>44543</c:v>
                </c:pt>
                <c:pt idx="4779">
                  <c:v>44544</c:v>
                </c:pt>
                <c:pt idx="4780">
                  <c:v>44545</c:v>
                </c:pt>
                <c:pt idx="4781">
                  <c:v>44546</c:v>
                </c:pt>
                <c:pt idx="4782">
                  <c:v>44547</c:v>
                </c:pt>
                <c:pt idx="4783">
                  <c:v>44550</c:v>
                </c:pt>
                <c:pt idx="4784">
                  <c:v>44551</c:v>
                </c:pt>
                <c:pt idx="4785">
                  <c:v>44552</c:v>
                </c:pt>
                <c:pt idx="4786">
                  <c:v>44553</c:v>
                </c:pt>
                <c:pt idx="4787">
                  <c:v>44554</c:v>
                </c:pt>
                <c:pt idx="4788">
                  <c:v>44557</c:v>
                </c:pt>
                <c:pt idx="4789">
                  <c:v>44558</c:v>
                </c:pt>
                <c:pt idx="4790">
                  <c:v>44559</c:v>
                </c:pt>
                <c:pt idx="4791">
                  <c:v>44560</c:v>
                </c:pt>
                <c:pt idx="4792">
                  <c:v>44561</c:v>
                </c:pt>
                <c:pt idx="4793">
                  <c:v>44565</c:v>
                </c:pt>
                <c:pt idx="4794">
                  <c:v>44566</c:v>
                </c:pt>
                <c:pt idx="4795">
                  <c:v>44567</c:v>
                </c:pt>
                <c:pt idx="4796">
                  <c:v>44568</c:v>
                </c:pt>
                <c:pt idx="4797">
                  <c:v>44571</c:v>
                </c:pt>
                <c:pt idx="4798">
                  <c:v>44572</c:v>
                </c:pt>
                <c:pt idx="4799">
                  <c:v>44573</c:v>
                </c:pt>
                <c:pt idx="4800">
                  <c:v>44574</c:v>
                </c:pt>
                <c:pt idx="4801">
                  <c:v>44575</c:v>
                </c:pt>
                <c:pt idx="4802">
                  <c:v>44578</c:v>
                </c:pt>
                <c:pt idx="4803">
                  <c:v>44579</c:v>
                </c:pt>
                <c:pt idx="4804">
                  <c:v>44580</c:v>
                </c:pt>
                <c:pt idx="4805">
                  <c:v>44581</c:v>
                </c:pt>
                <c:pt idx="4806">
                  <c:v>44582</c:v>
                </c:pt>
                <c:pt idx="4807">
                  <c:v>44585</c:v>
                </c:pt>
                <c:pt idx="4808">
                  <c:v>44586</c:v>
                </c:pt>
                <c:pt idx="4809">
                  <c:v>44587</c:v>
                </c:pt>
                <c:pt idx="4810">
                  <c:v>44588</c:v>
                </c:pt>
                <c:pt idx="4811">
                  <c:v>44589</c:v>
                </c:pt>
                <c:pt idx="4812">
                  <c:v>44599</c:v>
                </c:pt>
                <c:pt idx="4813">
                  <c:v>44600</c:v>
                </c:pt>
                <c:pt idx="4814">
                  <c:v>44601</c:v>
                </c:pt>
                <c:pt idx="4815">
                  <c:v>44602</c:v>
                </c:pt>
                <c:pt idx="4816">
                  <c:v>44603</c:v>
                </c:pt>
                <c:pt idx="4817">
                  <c:v>44606</c:v>
                </c:pt>
                <c:pt idx="4818">
                  <c:v>44607</c:v>
                </c:pt>
                <c:pt idx="4819">
                  <c:v>44608</c:v>
                </c:pt>
                <c:pt idx="4820">
                  <c:v>44609</c:v>
                </c:pt>
                <c:pt idx="4821">
                  <c:v>44610</c:v>
                </c:pt>
                <c:pt idx="4822">
                  <c:v>44613</c:v>
                </c:pt>
                <c:pt idx="4823">
                  <c:v>44614</c:v>
                </c:pt>
                <c:pt idx="4824">
                  <c:v>44615</c:v>
                </c:pt>
                <c:pt idx="4825">
                  <c:v>44616</c:v>
                </c:pt>
                <c:pt idx="4826">
                  <c:v>44617</c:v>
                </c:pt>
                <c:pt idx="4827">
                  <c:v>44620</c:v>
                </c:pt>
                <c:pt idx="4828">
                  <c:v>44621</c:v>
                </c:pt>
                <c:pt idx="4829">
                  <c:v>44622</c:v>
                </c:pt>
                <c:pt idx="4830">
                  <c:v>44623</c:v>
                </c:pt>
                <c:pt idx="4831">
                  <c:v>44624</c:v>
                </c:pt>
                <c:pt idx="4832">
                  <c:v>44627</c:v>
                </c:pt>
                <c:pt idx="4833">
                  <c:v>44628</c:v>
                </c:pt>
                <c:pt idx="4834">
                  <c:v>44629</c:v>
                </c:pt>
                <c:pt idx="4835">
                  <c:v>44630</c:v>
                </c:pt>
                <c:pt idx="4836">
                  <c:v>44631</c:v>
                </c:pt>
                <c:pt idx="4837">
                  <c:v>44634</c:v>
                </c:pt>
                <c:pt idx="4838">
                  <c:v>44635</c:v>
                </c:pt>
                <c:pt idx="4839">
                  <c:v>44636</c:v>
                </c:pt>
                <c:pt idx="4840">
                  <c:v>44637</c:v>
                </c:pt>
                <c:pt idx="4841">
                  <c:v>44638</c:v>
                </c:pt>
                <c:pt idx="4842">
                  <c:v>44641</c:v>
                </c:pt>
                <c:pt idx="4843">
                  <c:v>44642</c:v>
                </c:pt>
                <c:pt idx="4844">
                  <c:v>44643</c:v>
                </c:pt>
                <c:pt idx="4845">
                  <c:v>44644</c:v>
                </c:pt>
                <c:pt idx="4846">
                  <c:v>44645</c:v>
                </c:pt>
                <c:pt idx="4847">
                  <c:v>44648</c:v>
                </c:pt>
                <c:pt idx="4848">
                  <c:v>44649</c:v>
                </c:pt>
                <c:pt idx="4849">
                  <c:v>44650</c:v>
                </c:pt>
                <c:pt idx="4850">
                  <c:v>44651</c:v>
                </c:pt>
                <c:pt idx="4851">
                  <c:v>44652</c:v>
                </c:pt>
                <c:pt idx="4852">
                  <c:v>44657</c:v>
                </c:pt>
                <c:pt idx="4853">
                  <c:v>44658</c:v>
                </c:pt>
                <c:pt idx="4854">
                  <c:v>44659</c:v>
                </c:pt>
              </c:numCache>
            </c:numRef>
          </c:cat>
          <c:val>
            <c:numRef>
              <c:f>'v60'!$F$2:$F$4916</c:f>
              <c:numCache>
                <c:formatCode>General</c:formatCode>
                <c:ptCount val="4915"/>
                <c:pt idx="0">
                  <c:v>1350.69</c:v>
                </c:pt>
                <c:pt idx="1">
                  <c:v>1344.58</c:v>
                </c:pt>
                <c:pt idx="2">
                  <c:v>1341.5</c:v>
                </c:pt>
                <c:pt idx="3">
                  <c:v>1341.77</c:v>
                </c:pt>
                <c:pt idx="4">
                  <c:v>1326.55</c:v>
                </c:pt>
                <c:pt idx="5">
                  <c:v>1330.64</c:v>
                </c:pt>
                <c:pt idx="6">
                  <c:v>1324.87</c:v>
                </c:pt>
                <c:pt idx="7">
                  <c:v>1318.66</c:v>
                </c:pt>
                <c:pt idx="8">
                  <c:v>1309.73</c:v>
                </c:pt>
                <c:pt idx="9">
                  <c:v>1312.48</c:v>
                </c:pt>
                <c:pt idx="10">
                  <c:v>1331.71</c:v>
                </c:pt>
                <c:pt idx="11">
                  <c:v>1349.79</c:v>
                </c:pt>
                <c:pt idx="12">
                  <c:v>1353.61</c:v>
                </c:pt>
                <c:pt idx="13">
                  <c:v>1342.29</c:v>
                </c:pt>
                <c:pt idx="14">
                  <c:v>1344.78</c:v>
                </c:pt>
                <c:pt idx="15">
                  <c:v>1335.45</c:v>
                </c:pt>
                <c:pt idx="16">
                  <c:v>1319.81</c:v>
                </c:pt>
                <c:pt idx="17">
                  <c:v>1311.68</c:v>
                </c:pt>
                <c:pt idx="18">
                  <c:v>1300.1199999999999</c:v>
                </c:pt>
                <c:pt idx="19">
                  <c:v>1261.52</c:v>
                </c:pt>
                <c:pt idx="20">
                  <c:v>1277.23</c:v>
                </c:pt>
                <c:pt idx="21">
                  <c:v>1258.83</c:v>
                </c:pt>
                <c:pt idx="22">
                  <c:v>1298.8800000000001</c:v>
                </c:pt>
                <c:pt idx="23">
                  <c:v>1280.1600000000001</c:v>
                </c:pt>
                <c:pt idx="24">
                  <c:v>1284.8399999999999</c:v>
                </c:pt>
                <c:pt idx="25">
                  <c:v>1265.97</c:v>
                </c:pt>
                <c:pt idx="26">
                  <c:v>1270.3399999999999</c:v>
                </c:pt>
                <c:pt idx="27">
                  <c:v>1270.3800000000001</c:v>
                </c:pt>
                <c:pt idx="28">
                  <c:v>1246.02</c:v>
                </c:pt>
                <c:pt idx="29">
                  <c:v>1245.8900000000001</c:v>
                </c:pt>
                <c:pt idx="30">
                  <c:v>1238.58</c:v>
                </c:pt>
                <c:pt idx="31">
                  <c:v>1213.3900000000001</c:v>
                </c:pt>
                <c:pt idx="32">
                  <c:v>1219.52</c:v>
                </c:pt>
                <c:pt idx="33">
                  <c:v>1196.6199999999999</c:v>
                </c:pt>
                <c:pt idx="34">
                  <c:v>1245.6099999999999</c:v>
                </c:pt>
                <c:pt idx="35">
                  <c:v>1252.51</c:v>
                </c:pt>
                <c:pt idx="36">
                  <c:v>1243.74</c:v>
                </c:pt>
                <c:pt idx="37">
                  <c:v>1252.8499999999999</c:v>
                </c:pt>
                <c:pt idx="38">
                  <c:v>1246.8399999999999</c:v>
                </c:pt>
                <c:pt idx="39">
                  <c:v>1235.57</c:v>
                </c:pt>
                <c:pt idx="40">
                  <c:v>1222.1199999999999</c:v>
                </c:pt>
                <c:pt idx="41">
                  <c:v>1224.6500000000001</c:v>
                </c:pt>
                <c:pt idx="42">
                  <c:v>1248.8399999999999</c:v>
                </c:pt>
                <c:pt idx="43">
                  <c:v>1236.05</c:v>
                </c:pt>
                <c:pt idx="44">
                  <c:v>1245.08</c:v>
                </c:pt>
                <c:pt idx="45">
                  <c:v>1288.52</c:v>
                </c:pt>
                <c:pt idx="46">
                  <c:v>1409.51</c:v>
                </c:pt>
                <c:pt idx="47">
                  <c:v>1409.23</c:v>
                </c:pt>
                <c:pt idx="48">
                  <c:v>1417.31</c:v>
                </c:pt>
                <c:pt idx="49">
                  <c:v>1422.51</c:v>
                </c:pt>
                <c:pt idx="50">
                  <c:v>1431.18</c:v>
                </c:pt>
                <c:pt idx="51">
                  <c:v>1415.33</c:v>
                </c:pt>
                <c:pt idx="52">
                  <c:v>1425.81</c:v>
                </c:pt>
                <c:pt idx="53">
                  <c:v>1427.39</c:v>
                </c:pt>
                <c:pt idx="54">
                  <c:v>1412.62</c:v>
                </c:pt>
                <c:pt idx="55">
                  <c:v>1415.4</c:v>
                </c:pt>
                <c:pt idx="56">
                  <c:v>1423.7</c:v>
                </c:pt>
                <c:pt idx="57">
                  <c:v>1419.47</c:v>
                </c:pt>
                <c:pt idx="58">
                  <c:v>1392.9</c:v>
                </c:pt>
                <c:pt idx="59">
                  <c:v>1390.93</c:v>
                </c:pt>
                <c:pt idx="60">
                  <c:v>1389.45</c:v>
                </c:pt>
                <c:pt idx="61">
                  <c:v>1379.38</c:v>
                </c:pt>
                <c:pt idx="62">
                  <c:v>1382.41</c:v>
                </c:pt>
                <c:pt idx="63">
                  <c:v>1393.02</c:v>
                </c:pt>
                <c:pt idx="64">
                  <c:v>1397.41</c:v>
                </c:pt>
                <c:pt idx="65">
                  <c:v>1403.25</c:v>
                </c:pt>
                <c:pt idx="66">
                  <c:v>1380.28</c:v>
                </c:pt>
                <c:pt idx="67">
                  <c:v>1375.61</c:v>
                </c:pt>
                <c:pt idx="68">
                  <c:v>1372.89</c:v>
                </c:pt>
                <c:pt idx="69">
                  <c:v>1365</c:v>
                </c:pt>
                <c:pt idx="70">
                  <c:v>1361.41</c:v>
                </c:pt>
                <c:pt idx="71">
                  <c:v>1368.8</c:v>
                </c:pt>
                <c:pt idx="72">
                  <c:v>1371.91</c:v>
                </c:pt>
                <c:pt idx="73">
                  <c:v>1358.16</c:v>
                </c:pt>
                <c:pt idx="74">
                  <c:v>1355.3</c:v>
                </c:pt>
                <c:pt idx="75">
                  <c:v>1359.99</c:v>
                </c:pt>
                <c:pt idx="76">
                  <c:v>1353.48</c:v>
                </c:pt>
                <c:pt idx="77">
                  <c:v>1368.99</c:v>
                </c:pt>
                <c:pt idx="78">
                  <c:v>1366.8</c:v>
                </c:pt>
                <c:pt idx="79">
                  <c:v>1359.68</c:v>
                </c:pt>
                <c:pt idx="80">
                  <c:v>1350.31</c:v>
                </c:pt>
                <c:pt idx="81">
                  <c:v>1340.22</c:v>
                </c:pt>
                <c:pt idx="82">
                  <c:v>1342.36</c:v>
                </c:pt>
                <c:pt idx="83">
                  <c:v>1351.51</c:v>
                </c:pt>
                <c:pt idx="84">
                  <c:v>1340.97</c:v>
                </c:pt>
                <c:pt idx="85">
                  <c:v>1349.62</c:v>
                </c:pt>
                <c:pt idx="86">
                  <c:v>1347.16</c:v>
                </c:pt>
                <c:pt idx="87">
                  <c:v>1370.05</c:v>
                </c:pt>
                <c:pt idx="88">
                  <c:v>1370.96</c:v>
                </c:pt>
                <c:pt idx="89">
                  <c:v>1381.55</c:v>
                </c:pt>
                <c:pt idx="90">
                  <c:v>1379.42</c:v>
                </c:pt>
                <c:pt idx="91">
                  <c:v>1366.18</c:v>
                </c:pt>
                <c:pt idx="92">
                  <c:v>1369.76</c:v>
                </c:pt>
                <c:pt idx="93">
                  <c:v>1368.4</c:v>
                </c:pt>
                <c:pt idx="94">
                  <c:v>1362.67</c:v>
                </c:pt>
                <c:pt idx="95">
                  <c:v>1361.3</c:v>
                </c:pt>
                <c:pt idx="96">
                  <c:v>1362.15</c:v>
                </c:pt>
                <c:pt idx="97">
                  <c:v>1366.71</c:v>
                </c:pt>
                <c:pt idx="98">
                  <c:v>1358.78</c:v>
                </c:pt>
                <c:pt idx="99">
                  <c:v>1341.47</c:v>
                </c:pt>
                <c:pt idx="100">
                  <c:v>1334.34</c:v>
                </c:pt>
                <c:pt idx="101">
                  <c:v>1323.13</c:v>
                </c:pt>
                <c:pt idx="102">
                  <c:v>1324.21</c:v>
                </c:pt>
                <c:pt idx="103">
                  <c:v>1319.03</c:v>
                </c:pt>
                <c:pt idx="104">
                  <c:v>1322.23</c:v>
                </c:pt>
                <c:pt idx="105">
                  <c:v>1321.81</c:v>
                </c:pt>
                <c:pt idx="106">
                  <c:v>1302.6199999999999</c:v>
                </c:pt>
                <c:pt idx="107">
                  <c:v>1304.3800000000001</c:v>
                </c:pt>
                <c:pt idx="108">
                  <c:v>1295.56</c:v>
                </c:pt>
                <c:pt idx="109">
                  <c:v>1319.82</c:v>
                </c:pt>
                <c:pt idx="110">
                  <c:v>1305.75</c:v>
                </c:pt>
                <c:pt idx="111">
                  <c:v>1304.92</c:v>
                </c:pt>
                <c:pt idx="112">
                  <c:v>1299.19</c:v>
                </c:pt>
                <c:pt idx="113">
                  <c:v>1299.52</c:v>
                </c:pt>
                <c:pt idx="114">
                  <c:v>1291.3800000000001</c:v>
                </c:pt>
                <c:pt idx="115">
                  <c:v>1285.6500000000001</c:v>
                </c:pt>
                <c:pt idx="116">
                  <c:v>1272.94</c:v>
                </c:pt>
                <c:pt idx="117">
                  <c:v>1247.53</c:v>
                </c:pt>
                <c:pt idx="118">
                  <c:v>1241.55</c:v>
                </c:pt>
                <c:pt idx="119">
                  <c:v>1237.1400000000001</c:v>
                </c:pt>
                <c:pt idx="120">
                  <c:v>1243.74</c:v>
                </c:pt>
                <c:pt idx="121">
                  <c:v>1238.97</c:v>
                </c:pt>
                <c:pt idx="122">
                  <c:v>1247.72</c:v>
                </c:pt>
                <c:pt idx="123">
                  <c:v>1228.26</c:v>
                </c:pt>
                <c:pt idx="124">
                  <c:v>1233.67</c:v>
                </c:pt>
                <c:pt idx="125">
                  <c:v>1237.3599999999999</c:v>
                </c:pt>
                <c:pt idx="126">
                  <c:v>1254.74</c:v>
                </c:pt>
                <c:pt idx="127">
                  <c:v>1255.6400000000001</c:v>
                </c:pt>
                <c:pt idx="128">
                  <c:v>1244.56</c:v>
                </c:pt>
                <c:pt idx="129">
                  <c:v>1233.58</c:v>
                </c:pt>
                <c:pt idx="130">
                  <c:v>1219.43</c:v>
                </c:pt>
                <c:pt idx="131">
                  <c:v>1226.78</c:v>
                </c:pt>
                <c:pt idx="132">
                  <c:v>1225.94</c:v>
                </c:pt>
                <c:pt idx="133">
                  <c:v>1225.3399999999999</c:v>
                </c:pt>
                <c:pt idx="134">
                  <c:v>1227.8499999999999</c:v>
                </c:pt>
                <c:pt idx="135">
                  <c:v>1246.8</c:v>
                </c:pt>
                <c:pt idx="136">
                  <c:v>1265.73</c:v>
                </c:pt>
                <c:pt idx="137">
                  <c:v>1260.05</c:v>
                </c:pt>
                <c:pt idx="138">
                  <c:v>1259.8699999999999</c:v>
                </c:pt>
                <c:pt idx="139">
                  <c:v>1232.95</c:v>
                </c:pt>
                <c:pt idx="140">
                  <c:v>1218.3599999999999</c:v>
                </c:pt>
                <c:pt idx="141">
                  <c:v>1200.92</c:v>
                </c:pt>
                <c:pt idx="142">
                  <c:v>1206.42</c:v>
                </c:pt>
                <c:pt idx="143">
                  <c:v>1183.6400000000001</c:v>
                </c:pt>
                <c:pt idx="144">
                  <c:v>1186.92</c:v>
                </c:pt>
                <c:pt idx="145">
                  <c:v>1174.83</c:v>
                </c:pt>
                <c:pt idx="146">
                  <c:v>1182.6400000000001</c:v>
                </c:pt>
                <c:pt idx="147">
                  <c:v>1154.9000000000001</c:v>
                </c:pt>
                <c:pt idx="148">
                  <c:v>1125.3800000000001</c:v>
                </c:pt>
                <c:pt idx="149">
                  <c:v>1128.07</c:v>
                </c:pt>
                <c:pt idx="150">
                  <c:v>1133.17</c:v>
                </c:pt>
                <c:pt idx="151">
                  <c:v>1111.05</c:v>
                </c:pt>
                <c:pt idx="152">
                  <c:v>1118.96</c:v>
                </c:pt>
                <c:pt idx="153">
                  <c:v>1150.5899999999999</c:v>
                </c:pt>
                <c:pt idx="154">
                  <c:v>1164.6199999999999</c:v>
                </c:pt>
                <c:pt idx="155">
                  <c:v>1132.93</c:v>
                </c:pt>
                <c:pt idx="156">
                  <c:v>1144.6300000000001</c:v>
                </c:pt>
                <c:pt idx="157">
                  <c:v>1147.54</c:v>
                </c:pt>
                <c:pt idx="158">
                  <c:v>1139.75</c:v>
                </c:pt>
                <c:pt idx="159">
                  <c:v>1139.8</c:v>
                </c:pt>
                <c:pt idx="160">
                  <c:v>1136.25</c:v>
                </c:pt>
                <c:pt idx="161">
                  <c:v>1122.9100000000001</c:v>
                </c:pt>
                <c:pt idx="162">
                  <c:v>1117.44</c:v>
                </c:pt>
                <c:pt idx="163">
                  <c:v>1122.23</c:v>
                </c:pt>
                <c:pt idx="164">
                  <c:v>1132.08</c:v>
                </c:pt>
                <c:pt idx="165">
                  <c:v>1141.52</c:v>
                </c:pt>
                <c:pt idx="166">
                  <c:v>1148.5999999999999</c:v>
                </c:pt>
                <c:pt idx="167">
                  <c:v>1143.94</c:v>
                </c:pt>
                <c:pt idx="168">
                  <c:v>1145.07</c:v>
                </c:pt>
                <c:pt idx="169">
                  <c:v>1157.3399999999999</c:v>
                </c:pt>
                <c:pt idx="170">
                  <c:v>1159.43</c:v>
                </c:pt>
                <c:pt idx="171">
                  <c:v>1159.06</c:v>
                </c:pt>
                <c:pt idx="172">
                  <c:v>1151.1600000000001</c:v>
                </c:pt>
                <c:pt idx="173">
                  <c:v>1119.3599999999999</c:v>
                </c:pt>
                <c:pt idx="174">
                  <c:v>1120.28</c:v>
                </c:pt>
                <c:pt idx="175">
                  <c:v>1108.94</c:v>
                </c:pt>
                <c:pt idx="176">
                  <c:v>1103.6400000000001</c:v>
                </c:pt>
                <c:pt idx="177">
                  <c:v>1074.98</c:v>
                </c:pt>
                <c:pt idx="178">
                  <c:v>1073.52</c:v>
                </c:pt>
                <c:pt idx="179">
                  <c:v>1084.8800000000001</c:v>
                </c:pt>
                <c:pt idx="180">
                  <c:v>1081.6199999999999</c:v>
                </c:pt>
                <c:pt idx="181">
                  <c:v>1111.83</c:v>
                </c:pt>
                <c:pt idx="182">
                  <c:v>1132.17</c:v>
                </c:pt>
                <c:pt idx="183">
                  <c:v>1121.58</c:v>
                </c:pt>
                <c:pt idx="184">
                  <c:v>1124.33</c:v>
                </c:pt>
                <c:pt idx="185">
                  <c:v>1185.8699999999999</c:v>
                </c:pt>
                <c:pt idx="186">
                  <c:v>1177.97</c:v>
                </c:pt>
                <c:pt idx="187">
                  <c:v>1196.3900000000001</c:v>
                </c:pt>
                <c:pt idx="188">
                  <c:v>1190.9000000000001</c:v>
                </c:pt>
                <c:pt idx="189">
                  <c:v>1194.72</c:v>
                </c:pt>
                <c:pt idx="190">
                  <c:v>1172.1300000000001</c:v>
                </c:pt>
                <c:pt idx="191">
                  <c:v>1174.57</c:v>
                </c:pt>
                <c:pt idx="192">
                  <c:v>1167.6400000000001</c:v>
                </c:pt>
                <c:pt idx="193">
                  <c:v>1187.69</c:v>
                </c:pt>
                <c:pt idx="194">
                  <c:v>1203.32</c:v>
                </c:pt>
                <c:pt idx="195">
                  <c:v>1206.8599999999999</c:v>
                </c:pt>
                <c:pt idx="196">
                  <c:v>1207.5999999999999</c:v>
                </c:pt>
                <c:pt idx="197">
                  <c:v>1190.46</c:v>
                </c:pt>
                <c:pt idx="198">
                  <c:v>1201.29</c:v>
                </c:pt>
                <c:pt idx="199">
                  <c:v>1214.8</c:v>
                </c:pt>
                <c:pt idx="200">
                  <c:v>1208.8399999999999</c:v>
                </c:pt>
                <c:pt idx="201">
                  <c:v>1213.7</c:v>
                </c:pt>
                <c:pt idx="202">
                  <c:v>1204.7</c:v>
                </c:pt>
                <c:pt idx="203">
                  <c:v>1204.94</c:v>
                </c:pt>
                <c:pt idx="204">
                  <c:v>1216.58</c:v>
                </c:pt>
                <c:pt idx="205">
                  <c:v>1215.1500000000001</c:v>
                </c:pt>
                <c:pt idx="206">
                  <c:v>1191.6300000000001</c:v>
                </c:pt>
                <c:pt idx="207">
                  <c:v>1192.99</c:v>
                </c:pt>
                <c:pt idx="208">
                  <c:v>1214.8499999999999</c:v>
                </c:pt>
                <c:pt idx="209">
                  <c:v>1214.4000000000001</c:v>
                </c:pt>
                <c:pt idx="210">
                  <c:v>1215.46</c:v>
                </c:pt>
                <c:pt idx="211">
                  <c:v>1213.8599999999999</c:v>
                </c:pt>
                <c:pt idx="212">
                  <c:v>1223.4100000000001</c:v>
                </c:pt>
                <c:pt idx="213">
                  <c:v>1222.3800000000001</c:v>
                </c:pt>
                <c:pt idx="214">
                  <c:v>1217.8900000000001</c:v>
                </c:pt>
                <c:pt idx="215">
                  <c:v>1202.44</c:v>
                </c:pt>
                <c:pt idx="216">
                  <c:v>1198.74</c:v>
                </c:pt>
                <c:pt idx="217">
                  <c:v>1178.1500000000001</c:v>
                </c:pt>
                <c:pt idx="218">
                  <c:v>1177.8</c:v>
                </c:pt>
                <c:pt idx="219">
                  <c:v>1182.42</c:v>
                </c:pt>
                <c:pt idx="220">
                  <c:v>1175.1600000000001</c:v>
                </c:pt>
                <c:pt idx="221">
                  <c:v>1177.6099999999999</c:v>
                </c:pt>
                <c:pt idx="222">
                  <c:v>1179.23</c:v>
                </c:pt>
                <c:pt idx="223">
                  <c:v>1173.79</c:v>
                </c:pt>
                <c:pt idx="224">
                  <c:v>1180.23</c:v>
                </c:pt>
                <c:pt idx="225">
                  <c:v>1175.8599999999999</c:v>
                </c:pt>
                <c:pt idx="226">
                  <c:v>1185.42</c:v>
                </c:pt>
                <c:pt idx="227">
                  <c:v>1187.6400000000001</c:v>
                </c:pt>
                <c:pt idx="228">
                  <c:v>1176.0999999999999</c:v>
                </c:pt>
                <c:pt idx="229">
                  <c:v>1171.2</c:v>
                </c:pt>
                <c:pt idx="230">
                  <c:v>1201.3699999999999</c:v>
                </c:pt>
                <c:pt idx="231">
                  <c:v>1199.26</c:v>
                </c:pt>
                <c:pt idx="232">
                  <c:v>1215.17</c:v>
                </c:pt>
                <c:pt idx="233">
                  <c:v>1223.56</c:v>
                </c:pt>
                <c:pt idx="234">
                  <c:v>1222.97</c:v>
                </c:pt>
                <c:pt idx="235">
                  <c:v>1215.3399999999999</c:v>
                </c:pt>
                <c:pt idx="236">
                  <c:v>1223.56</c:v>
                </c:pt>
                <c:pt idx="237">
                  <c:v>1217.92</c:v>
                </c:pt>
                <c:pt idx="238">
                  <c:v>1221.57</c:v>
                </c:pt>
                <c:pt idx="239">
                  <c:v>1243.06</c:v>
                </c:pt>
                <c:pt idx="240">
                  <c:v>1255.24</c:v>
                </c:pt>
                <c:pt idx="241">
                  <c:v>1275</c:v>
                </c:pt>
                <c:pt idx="242">
                  <c:v>1306.51</c:v>
                </c:pt>
                <c:pt idx="243">
                  <c:v>1317.29</c:v>
                </c:pt>
                <c:pt idx="244">
                  <c:v>1304.0999999999999</c:v>
                </c:pt>
                <c:pt idx="245">
                  <c:v>1307.71</c:v>
                </c:pt>
                <c:pt idx="246">
                  <c:v>1300.4100000000001</c:v>
                </c:pt>
                <c:pt idx="247">
                  <c:v>1274.6099999999999</c:v>
                </c:pt>
                <c:pt idx="248">
                  <c:v>1274.69</c:v>
                </c:pt>
                <c:pt idx="249">
                  <c:v>1254.1300000000001</c:v>
                </c:pt>
                <c:pt idx="250">
                  <c:v>1218.69</c:v>
                </c:pt>
                <c:pt idx="251">
                  <c:v>1205.3800000000001</c:v>
                </c:pt>
                <c:pt idx="252">
                  <c:v>1250.68</c:v>
                </c:pt>
                <c:pt idx="253">
                  <c:v>1231.57</c:v>
                </c:pt>
                <c:pt idx="254">
                  <c:v>1239.95</c:v>
                </c:pt>
                <c:pt idx="255">
                  <c:v>1251.31</c:v>
                </c:pt>
                <c:pt idx="256">
                  <c:v>1216.43</c:v>
                </c:pt>
                <c:pt idx="257">
                  <c:v>1243.0999999999999</c:v>
                </c:pt>
                <c:pt idx="258">
                  <c:v>1273.3699999999999</c:v>
                </c:pt>
                <c:pt idx="259">
                  <c:v>1274.26</c:v>
                </c:pt>
                <c:pt idx="260">
                  <c:v>1275.8599999999999</c:v>
                </c:pt>
                <c:pt idx="261">
                  <c:v>1261.33</c:v>
                </c:pt>
                <c:pt idx="262">
                  <c:v>1259.02</c:v>
                </c:pt>
                <c:pt idx="263">
                  <c:v>1270.43</c:v>
                </c:pt>
                <c:pt idx="264">
                  <c:v>1283.67</c:v>
                </c:pt>
                <c:pt idx="265">
                  <c:v>1292.69</c:v>
                </c:pt>
                <c:pt idx="266">
                  <c:v>1293.68</c:v>
                </c:pt>
                <c:pt idx="267">
                  <c:v>1277.69</c:v>
                </c:pt>
                <c:pt idx="268">
                  <c:v>1294.77</c:v>
                </c:pt>
                <c:pt idx="269">
                  <c:v>1300.8699999999999</c:v>
                </c:pt>
                <c:pt idx="270">
                  <c:v>1300.49</c:v>
                </c:pt>
                <c:pt idx="271">
                  <c:v>1285.6500000000001</c:v>
                </c:pt>
                <c:pt idx="272">
                  <c:v>1296.44</c:v>
                </c:pt>
                <c:pt idx="273">
                  <c:v>1279.54</c:v>
                </c:pt>
                <c:pt idx="274">
                  <c:v>1262.06</c:v>
                </c:pt>
                <c:pt idx="275">
                  <c:v>1249.17</c:v>
                </c:pt>
                <c:pt idx="276">
                  <c:v>1255.93</c:v>
                </c:pt>
                <c:pt idx="277">
                  <c:v>1278.27</c:v>
                </c:pt>
                <c:pt idx="278">
                  <c:v>1273.51</c:v>
                </c:pt>
                <c:pt idx="279">
                  <c:v>1277.32</c:v>
                </c:pt>
                <c:pt idx="280">
                  <c:v>1273.56</c:v>
                </c:pt>
                <c:pt idx="281">
                  <c:v>1268.92</c:v>
                </c:pt>
                <c:pt idx="282">
                  <c:v>1266.72</c:v>
                </c:pt>
                <c:pt idx="283">
                  <c:v>1253.68</c:v>
                </c:pt>
                <c:pt idx="284">
                  <c:v>1244.6600000000001</c:v>
                </c:pt>
                <c:pt idx="285">
                  <c:v>1231.94</c:v>
                </c:pt>
                <c:pt idx="286">
                  <c:v>1235.1199999999999</c:v>
                </c:pt>
                <c:pt idx="287">
                  <c:v>1226.6400000000001</c:v>
                </c:pt>
                <c:pt idx="288">
                  <c:v>1238.48</c:v>
                </c:pt>
                <c:pt idx="289">
                  <c:v>1220.74</c:v>
                </c:pt>
                <c:pt idx="290">
                  <c:v>1214.55</c:v>
                </c:pt>
                <c:pt idx="291">
                  <c:v>1215.2</c:v>
                </c:pt>
                <c:pt idx="292">
                  <c:v>1227.95</c:v>
                </c:pt>
                <c:pt idx="293">
                  <c:v>1231.17</c:v>
                </c:pt>
                <c:pt idx="294">
                  <c:v>1229.97</c:v>
                </c:pt>
                <c:pt idx="295">
                  <c:v>1232.08</c:v>
                </c:pt>
                <c:pt idx="296">
                  <c:v>1239.8499999999999</c:v>
                </c:pt>
                <c:pt idx="297">
                  <c:v>1231.8</c:v>
                </c:pt>
                <c:pt idx="298">
                  <c:v>1257.82</c:v>
                </c:pt>
                <c:pt idx="299">
                  <c:v>1255.93</c:v>
                </c:pt>
                <c:pt idx="300">
                  <c:v>1251.0899999999999</c:v>
                </c:pt>
                <c:pt idx="301">
                  <c:v>1254.3599999999999</c:v>
                </c:pt>
                <c:pt idx="302">
                  <c:v>1259.9000000000001</c:v>
                </c:pt>
                <c:pt idx="303">
                  <c:v>1269.4000000000001</c:v>
                </c:pt>
                <c:pt idx="304">
                  <c:v>1241.57</c:v>
                </c:pt>
                <c:pt idx="305">
                  <c:v>1232.1500000000001</c:v>
                </c:pt>
                <c:pt idx="306">
                  <c:v>1235.3</c:v>
                </c:pt>
                <c:pt idx="307">
                  <c:v>1239.45</c:v>
                </c:pt>
                <c:pt idx="308">
                  <c:v>1231.02</c:v>
                </c:pt>
                <c:pt idx="309">
                  <c:v>1218.67</c:v>
                </c:pt>
                <c:pt idx="310">
                  <c:v>1213.1500000000001</c:v>
                </c:pt>
                <c:pt idx="311">
                  <c:v>1219.76</c:v>
                </c:pt>
                <c:pt idx="312">
                  <c:v>1221.76</c:v>
                </c:pt>
                <c:pt idx="313">
                  <c:v>1222.74</c:v>
                </c:pt>
                <c:pt idx="314">
                  <c:v>1226.24</c:v>
                </c:pt>
                <c:pt idx="315">
                  <c:v>1240.07</c:v>
                </c:pt>
                <c:pt idx="316">
                  <c:v>1239.05</c:v>
                </c:pt>
                <c:pt idx="317">
                  <c:v>1232.94</c:v>
                </c:pt>
                <c:pt idx="318">
                  <c:v>1232.97</c:v>
                </c:pt>
                <c:pt idx="319">
                  <c:v>1218.1099999999999</c:v>
                </c:pt>
                <c:pt idx="320">
                  <c:v>1222.2</c:v>
                </c:pt>
                <c:pt idx="321">
                  <c:v>1225.8599999999999</c:v>
                </c:pt>
                <c:pt idx="322">
                  <c:v>1210.56</c:v>
                </c:pt>
                <c:pt idx="323">
                  <c:v>1203.24</c:v>
                </c:pt>
                <c:pt idx="324">
                  <c:v>1201.32</c:v>
                </c:pt>
                <c:pt idx="325">
                  <c:v>1197.99</c:v>
                </c:pt>
                <c:pt idx="326">
                  <c:v>1201.6600000000001</c:v>
                </c:pt>
                <c:pt idx="327">
                  <c:v>1195.68</c:v>
                </c:pt>
                <c:pt idx="328">
                  <c:v>1194.6300000000001</c:v>
                </c:pt>
                <c:pt idx="329">
                  <c:v>1191.43</c:v>
                </c:pt>
                <c:pt idx="330">
                  <c:v>1177.3</c:v>
                </c:pt>
                <c:pt idx="331">
                  <c:v>1179.33</c:v>
                </c:pt>
                <c:pt idx="332">
                  <c:v>1178.4000000000001</c:v>
                </c:pt>
                <c:pt idx="333">
                  <c:v>1169.3800000000001</c:v>
                </c:pt>
                <c:pt idx="334">
                  <c:v>1178.57</c:v>
                </c:pt>
                <c:pt idx="335">
                  <c:v>1199.81</c:v>
                </c:pt>
                <c:pt idx="336">
                  <c:v>1197.3</c:v>
                </c:pt>
                <c:pt idx="337">
                  <c:v>1198.44</c:v>
                </c:pt>
                <c:pt idx="338">
                  <c:v>1196.5</c:v>
                </c:pt>
                <c:pt idx="339">
                  <c:v>1183.9100000000001</c:v>
                </c:pt>
                <c:pt idx="340">
                  <c:v>1177.83</c:v>
                </c:pt>
                <c:pt idx="341">
                  <c:v>1172.05</c:v>
                </c:pt>
                <c:pt idx="342">
                  <c:v>1176.04</c:v>
                </c:pt>
                <c:pt idx="343">
                  <c:v>1176.93</c:v>
                </c:pt>
                <c:pt idx="344">
                  <c:v>1164.18</c:v>
                </c:pt>
                <c:pt idx="345">
                  <c:v>1152.3599999999999</c:v>
                </c:pt>
                <c:pt idx="346">
                  <c:v>1159.72</c:v>
                </c:pt>
                <c:pt idx="347">
                  <c:v>1147.3</c:v>
                </c:pt>
                <c:pt idx="348">
                  <c:v>1148.08</c:v>
                </c:pt>
                <c:pt idx="349">
                  <c:v>1149.29</c:v>
                </c:pt>
                <c:pt idx="350">
                  <c:v>1141.1400000000001</c:v>
                </c:pt>
                <c:pt idx="351">
                  <c:v>1147.29</c:v>
                </c:pt>
                <c:pt idx="352">
                  <c:v>1150.49</c:v>
                </c:pt>
                <c:pt idx="353">
                  <c:v>1136.69</c:v>
                </c:pt>
                <c:pt idx="354">
                  <c:v>1131.3</c:v>
                </c:pt>
                <c:pt idx="355">
                  <c:v>1116.55</c:v>
                </c:pt>
                <c:pt idx="356">
                  <c:v>1127.1400000000001</c:v>
                </c:pt>
                <c:pt idx="357">
                  <c:v>1131.27</c:v>
                </c:pt>
                <c:pt idx="358">
                  <c:v>1128.77</c:v>
                </c:pt>
                <c:pt idx="359">
                  <c:v>1155.42</c:v>
                </c:pt>
                <c:pt idx="360">
                  <c:v>1151.78</c:v>
                </c:pt>
                <c:pt idx="361">
                  <c:v>1142.3</c:v>
                </c:pt>
                <c:pt idx="362">
                  <c:v>1139.02</c:v>
                </c:pt>
                <c:pt idx="363">
                  <c:v>1124.3699999999999</c:v>
                </c:pt>
                <c:pt idx="364">
                  <c:v>1128.0999999999999</c:v>
                </c:pt>
                <c:pt idx="365">
                  <c:v>1120.3599999999999</c:v>
                </c:pt>
                <c:pt idx="366">
                  <c:v>1124.54</c:v>
                </c:pt>
                <c:pt idx="367">
                  <c:v>1152.83</c:v>
                </c:pt>
                <c:pt idx="368">
                  <c:v>1143.71</c:v>
                </c:pt>
                <c:pt idx="369">
                  <c:v>1140.03</c:v>
                </c:pt>
                <c:pt idx="370">
                  <c:v>1130.46</c:v>
                </c:pt>
                <c:pt idx="371">
                  <c:v>1130.71</c:v>
                </c:pt>
                <c:pt idx="372">
                  <c:v>1123.22</c:v>
                </c:pt>
                <c:pt idx="373">
                  <c:v>1110.8</c:v>
                </c:pt>
                <c:pt idx="374">
                  <c:v>1111.6199999999999</c:v>
                </c:pt>
                <c:pt idx="375">
                  <c:v>1123.48</c:v>
                </c:pt>
                <c:pt idx="376">
                  <c:v>1145.17</c:v>
                </c:pt>
                <c:pt idx="377">
                  <c:v>1138.9100000000001</c:v>
                </c:pt>
                <c:pt idx="378">
                  <c:v>1118.92</c:v>
                </c:pt>
                <c:pt idx="379">
                  <c:v>1103.78</c:v>
                </c:pt>
                <c:pt idx="380">
                  <c:v>1108.03</c:v>
                </c:pt>
                <c:pt idx="381">
                  <c:v>1108.8900000000001</c:v>
                </c:pt>
                <c:pt idx="382">
                  <c:v>1089.31</c:v>
                </c:pt>
                <c:pt idx="383">
                  <c:v>1091.71</c:v>
                </c:pt>
                <c:pt idx="384">
                  <c:v>1100.02</c:v>
                </c:pt>
                <c:pt idx="385">
                  <c:v>1095.95</c:v>
                </c:pt>
                <c:pt idx="386">
                  <c:v>1081</c:v>
                </c:pt>
                <c:pt idx="387">
                  <c:v>1098.05</c:v>
                </c:pt>
                <c:pt idx="388">
                  <c:v>1129.1300000000001</c:v>
                </c:pt>
                <c:pt idx="389">
                  <c:v>1115.47</c:v>
                </c:pt>
                <c:pt idx="390">
                  <c:v>1147.5899999999999</c:v>
                </c:pt>
                <c:pt idx="391">
                  <c:v>1151.54</c:v>
                </c:pt>
                <c:pt idx="392">
                  <c:v>1155.27</c:v>
                </c:pt>
                <c:pt idx="393">
                  <c:v>1136.02</c:v>
                </c:pt>
                <c:pt idx="394">
                  <c:v>1142.97</c:v>
                </c:pt>
                <c:pt idx="395">
                  <c:v>1168.51</c:v>
                </c:pt>
                <c:pt idx="396">
                  <c:v>1168.4000000000001</c:v>
                </c:pt>
                <c:pt idx="397">
                  <c:v>1172.47</c:v>
                </c:pt>
                <c:pt idx="398">
                  <c:v>1178.6500000000001</c:v>
                </c:pt>
                <c:pt idx="399">
                  <c:v>1176.6600000000001</c:v>
                </c:pt>
                <c:pt idx="400">
                  <c:v>1164.43</c:v>
                </c:pt>
                <c:pt idx="401">
                  <c:v>1169.28</c:v>
                </c:pt>
                <c:pt idx="402">
                  <c:v>1184.68</c:v>
                </c:pt>
                <c:pt idx="403">
                  <c:v>1184.6300000000001</c:v>
                </c:pt>
                <c:pt idx="404">
                  <c:v>1183.1099999999999</c:v>
                </c:pt>
                <c:pt idx="405">
                  <c:v>1184.67</c:v>
                </c:pt>
                <c:pt idx="406">
                  <c:v>1178.3499999999999</c:v>
                </c:pt>
                <c:pt idx="407">
                  <c:v>1169.4100000000001</c:v>
                </c:pt>
                <c:pt idx="408">
                  <c:v>1173.4000000000001</c:v>
                </c:pt>
                <c:pt idx="409">
                  <c:v>1163.6400000000001</c:v>
                </c:pt>
                <c:pt idx="410">
                  <c:v>1195.44</c:v>
                </c:pt>
                <c:pt idx="411">
                  <c:v>1201.08</c:v>
                </c:pt>
                <c:pt idx="412">
                  <c:v>1212.33</c:v>
                </c:pt>
                <c:pt idx="413">
                  <c:v>1209.06</c:v>
                </c:pt>
                <c:pt idx="414">
                  <c:v>1208.52</c:v>
                </c:pt>
                <c:pt idx="415">
                  <c:v>1199.25</c:v>
                </c:pt>
                <c:pt idx="416">
                  <c:v>1207.0999999999999</c:v>
                </c:pt>
                <c:pt idx="417">
                  <c:v>1194.74</c:v>
                </c:pt>
                <c:pt idx="418">
                  <c:v>1204.6099999999999</c:v>
                </c:pt>
                <c:pt idx="419">
                  <c:v>1240.47</c:v>
                </c:pt>
                <c:pt idx="420">
                  <c:v>1251.1400000000001</c:v>
                </c:pt>
                <c:pt idx="421">
                  <c:v>1266.27</c:v>
                </c:pt>
                <c:pt idx="422">
                  <c:v>1284.3399999999999</c:v>
                </c:pt>
                <c:pt idx="423">
                  <c:v>1266.4100000000001</c:v>
                </c:pt>
                <c:pt idx="424">
                  <c:v>1294.68</c:v>
                </c:pt>
                <c:pt idx="425">
                  <c:v>1293.18</c:v>
                </c:pt>
                <c:pt idx="426">
                  <c:v>1277.96</c:v>
                </c:pt>
                <c:pt idx="427">
                  <c:v>1273.6199999999999</c:v>
                </c:pt>
                <c:pt idx="428">
                  <c:v>1284.3</c:v>
                </c:pt>
                <c:pt idx="429">
                  <c:v>1311.95</c:v>
                </c:pt>
                <c:pt idx="430">
                  <c:v>1281.33</c:v>
                </c:pt>
                <c:pt idx="431">
                  <c:v>1307.27</c:v>
                </c:pt>
                <c:pt idx="432">
                  <c:v>1321</c:v>
                </c:pt>
                <c:pt idx="433">
                  <c:v>1348.86</c:v>
                </c:pt>
                <c:pt idx="434">
                  <c:v>1353.85</c:v>
                </c:pt>
                <c:pt idx="435">
                  <c:v>1347.22</c:v>
                </c:pt>
                <c:pt idx="436">
                  <c:v>1368.84</c:v>
                </c:pt>
                <c:pt idx="437">
                  <c:v>1363.06</c:v>
                </c:pt>
                <c:pt idx="438">
                  <c:v>1354.75</c:v>
                </c:pt>
                <c:pt idx="439">
                  <c:v>1345.66</c:v>
                </c:pt>
                <c:pt idx="440">
                  <c:v>1342.34</c:v>
                </c:pt>
                <c:pt idx="441">
                  <c:v>1373.3</c:v>
                </c:pt>
                <c:pt idx="442">
                  <c:v>1380.37</c:v>
                </c:pt>
                <c:pt idx="443">
                  <c:v>1391.36</c:v>
                </c:pt>
                <c:pt idx="444">
                  <c:v>1385.98</c:v>
                </c:pt>
                <c:pt idx="445">
                  <c:v>1391.1</c:v>
                </c:pt>
                <c:pt idx="446">
                  <c:v>1359.24</c:v>
                </c:pt>
                <c:pt idx="447">
                  <c:v>1356.31</c:v>
                </c:pt>
                <c:pt idx="448">
                  <c:v>1329.44</c:v>
                </c:pt>
                <c:pt idx="449">
                  <c:v>1335.86</c:v>
                </c:pt>
                <c:pt idx="450">
                  <c:v>1351.61</c:v>
                </c:pt>
                <c:pt idx="451">
                  <c:v>1366.91</c:v>
                </c:pt>
                <c:pt idx="452">
                  <c:v>1363.19</c:v>
                </c:pt>
                <c:pt idx="453">
                  <c:v>1341.22</c:v>
                </c:pt>
                <c:pt idx="454">
                  <c:v>1349.85</c:v>
                </c:pt>
                <c:pt idx="455">
                  <c:v>1341.76</c:v>
                </c:pt>
                <c:pt idx="456">
                  <c:v>1317.3</c:v>
                </c:pt>
                <c:pt idx="457">
                  <c:v>1314.17</c:v>
                </c:pt>
                <c:pt idx="458">
                  <c:v>1344.99</c:v>
                </c:pt>
                <c:pt idx="459">
                  <c:v>1357.84</c:v>
                </c:pt>
                <c:pt idx="460">
                  <c:v>1358.51</c:v>
                </c:pt>
                <c:pt idx="461">
                  <c:v>1389.68</c:v>
                </c:pt>
                <c:pt idx="462">
                  <c:v>1395.37</c:v>
                </c:pt>
                <c:pt idx="463">
                  <c:v>1398.02</c:v>
                </c:pt>
                <c:pt idx="464">
                  <c:v>1372.16</c:v>
                </c:pt>
                <c:pt idx="465">
                  <c:v>1393.57</c:v>
                </c:pt>
                <c:pt idx="466">
                  <c:v>1399.55</c:v>
                </c:pt>
                <c:pt idx="467">
                  <c:v>1389.52</c:v>
                </c:pt>
                <c:pt idx="468">
                  <c:v>1385.37</c:v>
                </c:pt>
                <c:pt idx="469">
                  <c:v>1385.86</c:v>
                </c:pt>
                <c:pt idx="470">
                  <c:v>1386.48</c:v>
                </c:pt>
                <c:pt idx="471">
                  <c:v>1371.7</c:v>
                </c:pt>
                <c:pt idx="472">
                  <c:v>1372.05</c:v>
                </c:pt>
                <c:pt idx="473">
                  <c:v>1384.95</c:v>
                </c:pt>
                <c:pt idx="474">
                  <c:v>1396.63</c:v>
                </c:pt>
                <c:pt idx="475">
                  <c:v>1405.92</c:v>
                </c:pt>
                <c:pt idx="476">
                  <c:v>1401.97</c:v>
                </c:pt>
                <c:pt idx="477">
                  <c:v>1410.43</c:v>
                </c:pt>
                <c:pt idx="478">
                  <c:v>1408.77</c:v>
                </c:pt>
                <c:pt idx="479">
                  <c:v>1402.77</c:v>
                </c:pt>
                <c:pt idx="480">
                  <c:v>1370.28</c:v>
                </c:pt>
                <c:pt idx="481">
                  <c:v>1364.68</c:v>
                </c:pt>
                <c:pt idx="482">
                  <c:v>1353.83</c:v>
                </c:pt>
                <c:pt idx="483">
                  <c:v>1332.08</c:v>
                </c:pt>
                <c:pt idx="484">
                  <c:v>1318.85</c:v>
                </c:pt>
                <c:pt idx="485">
                  <c:v>1331.08</c:v>
                </c:pt>
                <c:pt idx="486">
                  <c:v>1312</c:v>
                </c:pt>
                <c:pt idx="487">
                  <c:v>1301.0899999999999</c:v>
                </c:pt>
                <c:pt idx="488">
                  <c:v>1289.6500000000001</c:v>
                </c:pt>
                <c:pt idx="489">
                  <c:v>1296.44</c:v>
                </c:pt>
                <c:pt idx="490">
                  <c:v>1276.31</c:v>
                </c:pt>
                <c:pt idx="491">
                  <c:v>1276.95</c:v>
                </c:pt>
                <c:pt idx="492">
                  <c:v>1264.3399999999999</c:v>
                </c:pt>
                <c:pt idx="493">
                  <c:v>1258.1099999999999</c:v>
                </c:pt>
                <c:pt idx="494">
                  <c:v>1233.5999999999999</c:v>
                </c:pt>
                <c:pt idx="495">
                  <c:v>1239.72</c:v>
                </c:pt>
                <c:pt idx="496">
                  <c:v>1206.5899999999999</c:v>
                </c:pt>
                <c:pt idx="497">
                  <c:v>1212.58</c:v>
                </c:pt>
                <c:pt idx="498">
                  <c:v>1240.02</c:v>
                </c:pt>
                <c:pt idx="499">
                  <c:v>1234.58</c:v>
                </c:pt>
                <c:pt idx="500">
                  <c:v>1207.26</c:v>
                </c:pt>
                <c:pt idx="501">
                  <c:v>1195.19</c:v>
                </c:pt>
                <c:pt idx="502">
                  <c:v>1209.6099999999999</c:v>
                </c:pt>
                <c:pt idx="503">
                  <c:v>1209.58</c:v>
                </c:pt>
                <c:pt idx="504">
                  <c:v>1201.71</c:v>
                </c:pt>
                <c:pt idx="505">
                  <c:v>1209.21</c:v>
                </c:pt>
                <c:pt idx="506">
                  <c:v>1200.79</c:v>
                </c:pt>
                <c:pt idx="507">
                  <c:v>1177.71</c:v>
                </c:pt>
                <c:pt idx="508">
                  <c:v>1183.01</c:v>
                </c:pt>
                <c:pt idx="509">
                  <c:v>1208.68</c:v>
                </c:pt>
                <c:pt idx="510">
                  <c:v>1201.72</c:v>
                </c:pt>
                <c:pt idx="511">
                  <c:v>1206.8399999999999</c:v>
                </c:pt>
                <c:pt idx="512">
                  <c:v>1224.1099999999999</c:v>
                </c:pt>
                <c:pt idx="513">
                  <c:v>1211.93</c:v>
                </c:pt>
                <c:pt idx="514">
                  <c:v>1193.55</c:v>
                </c:pt>
                <c:pt idx="515">
                  <c:v>1192.78</c:v>
                </c:pt>
                <c:pt idx="516">
                  <c:v>1176.26</c:v>
                </c:pt>
                <c:pt idx="517">
                  <c:v>1160.33</c:v>
                </c:pt>
                <c:pt idx="518">
                  <c:v>1137.55</c:v>
                </c:pt>
                <c:pt idx="519">
                  <c:v>1139.51</c:v>
                </c:pt>
                <c:pt idx="520">
                  <c:v>1140.53</c:v>
                </c:pt>
                <c:pt idx="521">
                  <c:v>1115.4100000000001</c:v>
                </c:pt>
                <c:pt idx="522">
                  <c:v>1134.9000000000001</c:v>
                </c:pt>
                <c:pt idx="523">
                  <c:v>1141.0899999999999</c:v>
                </c:pt>
                <c:pt idx="524">
                  <c:v>1116.5</c:v>
                </c:pt>
                <c:pt idx="525">
                  <c:v>1103.4000000000001</c:v>
                </c:pt>
                <c:pt idx="526">
                  <c:v>1109.3900000000001</c:v>
                </c:pt>
                <c:pt idx="527">
                  <c:v>1119.8800000000001</c:v>
                </c:pt>
                <c:pt idx="528">
                  <c:v>1110.32</c:v>
                </c:pt>
                <c:pt idx="529">
                  <c:v>1099.9000000000001</c:v>
                </c:pt>
                <c:pt idx="530">
                  <c:v>1081.96</c:v>
                </c:pt>
                <c:pt idx="531">
                  <c:v>1069.51</c:v>
                </c:pt>
                <c:pt idx="532">
                  <c:v>1084.6199999999999</c:v>
                </c:pt>
                <c:pt idx="533">
                  <c:v>1078.48</c:v>
                </c:pt>
                <c:pt idx="534">
                  <c:v>1112.3900000000001</c:v>
                </c:pt>
                <c:pt idx="535">
                  <c:v>1114.95</c:v>
                </c:pt>
                <c:pt idx="536">
                  <c:v>1116.42</c:v>
                </c:pt>
                <c:pt idx="537">
                  <c:v>1121.28</c:v>
                </c:pt>
                <c:pt idx="538">
                  <c:v>1110.6199999999999</c:v>
                </c:pt>
                <c:pt idx="539">
                  <c:v>1113.03</c:v>
                </c:pt>
                <c:pt idx="540">
                  <c:v>1106.92</c:v>
                </c:pt>
                <c:pt idx="541">
                  <c:v>1083.18</c:v>
                </c:pt>
                <c:pt idx="542">
                  <c:v>1086.82</c:v>
                </c:pt>
                <c:pt idx="543">
                  <c:v>1088.78</c:v>
                </c:pt>
                <c:pt idx="544">
                  <c:v>1104.01</c:v>
                </c:pt>
                <c:pt idx="545">
                  <c:v>1132.8</c:v>
                </c:pt>
                <c:pt idx="546">
                  <c:v>1134.5</c:v>
                </c:pt>
                <c:pt idx="547">
                  <c:v>1125.8800000000001</c:v>
                </c:pt>
                <c:pt idx="548">
                  <c:v>1125.6600000000001</c:v>
                </c:pt>
                <c:pt idx="549">
                  <c:v>1097.8599999999999</c:v>
                </c:pt>
                <c:pt idx="550">
                  <c:v>1101.5999999999999</c:v>
                </c:pt>
                <c:pt idx="551">
                  <c:v>1087.27</c:v>
                </c:pt>
                <c:pt idx="552">
                  <c:v>1083.4000000000001</c:v>
                </c:pt>
                <c:pt idx="553">
                  <c:v>1089.52</c:v>
                </c:pt>
                <c:pt idx="554">
                  <c:v>1104.17</c:v>
                </c:pt>
                <c:pt idx="555">
                  <c:v>1088.68</c:v>
                </c:pt>
                <c:pt idx="556">
                  <c:v>1080.55</c:v>
                </c:pt>
                <c:pt idx="557">
                  <c:v>1073.58</c:v>
                </c:pt>
                <c:pt idx="558">
                  <c:v>1103.55</c:v>
                </c:pt>
                <c:pt idx="559">
                  <c:v>1088.81</c:v>
                </c:pt>
                <c:pt idx="560">
                  <c:v>1088.24</c:v>
                </c:pt>
                <c:pt idx="561">
                  <c:v>1093.48</c:v>
                </c:pt>
                <c:pt idx="562">
                  <c:v>1098.5899999999999</c:v>
                </c:pt>
                <c:pt idx="563">
                  <c:v>1086.08</c:v>
                </c:pt>
                <c:pt idx="564">
                  <c:v>1074.82</c:v>
                </c:pt>
                <c:pt idx="565">
                  <c:v>1077.24</c:v>
                </c:pt>
                <c:pt idx="566">
                  <c:v>1067.5999999999999</c:v>
                </c:pt>
                <c:pt idx="567">
                  <c:v>1072.51</c:v>
                </c:pt>
                <c:pt idx="568">
                  <c:v>1071.83</c:v>
                </c:pt>
                <c:pt idx="569">
                  <c:v>1059.2</c:v>
                </c:pt>
                <c:pt idx="570">
                  <c:v>1060.23</c:v>
                </c:pt>
                <c:pt idx="571">
                  <c:v>1047.21</c:v>
                </c:pt>
                <c:pt idx="572">
                  <c:v>1059.42</c:v>
                </c:pt>
                <c:pt idx="573">
                  <c:v>1055.53</c:v>
                </c:pt>
                <c:pt idx="574">
                  <c:v>1050.99</c:v>
                </c:pt>
                <c:pt idx="575">
                  <c:v>1039.24</c:v>
                </c:pt>
                <c:pt idx="576">
                  <c:v>1038.3399999999999</c:v>
                </c:pt>
                <c:pt idx="577">
                  <c:v>1055.97</c:v>
                </c:pt>
                <c:pt idx="578">
                  <c:v>1040.06</c:v>
                </c:pt>
                <c:pt idx="579">
                  <c:v>1045.3699999999999</c:v>
                </c:pt>
                <c:pt idx="580">
                  <c:v>1043.54</c:v>
                </c:pt>
                <c:pt idx="581">
                  <c:v>1039.67</c:v>
                </c:pt>
                <c:pt idx="582">
                  <c:v>1041.48</c:v>
                </c:pt>
                <c:pt idx="583">
                  <c:v>1031.6099999999999</c:v>
                </c:pt>
                <c:pt idx="584">
                  <c:v>1012.56</c:v>
                </c:pt>
                <c:pt idx="585">
                  <c:v>1015.15</c:v>
                </c:pt>
                <c:pt idx="586">
                  <c:v>993.26</c:v>
                </c:pt>
                <c:pt idx="587">
                  <c:v>1023.41</c:v>
                </c:pt>
                <c:pt idx="588">
                  <c:v>1066.28</c:v>
                </c:pt>
                <c:pt idx="589">
                  <c:v>1077.92</c:v>
                </c:pt>
                <c:pt idx="590">
                  <c:v>1112.77</c:v>
                </c:pt>
                <c:pt idx="591">
                  <c:v>1152.1300000000001</c:v>
                </c:pt>
                <c:pt idx="592">
                  <c:v>1143.46</c:v>
                </c:pt>
                <c:pt idx="593">
                  <c:v>1120.1099999999999</c:v>
                </c:pt>
                <c:pt idx="594">
                  <c:v>1157.93</c:v>
                </c:pt>
                <c:pt idx="595">
                  <c:v>1135.97</c:v>
                </c:pt>
                <c:pt idx="596">
                  <c:v>1128.05</c:v>
                </c:pt>
                <c:pt idx="597">
                  <c:v>1136.3399999999999</c:v>
                </c:pt>
                <c:pt idx="598">
                  <c:v>1124.01</c:v>
                </c:pt>
                <c:pt idx="599">
                  <c:v>1109.32</c:v>
                </c:pt>
                <c:pt idx="600">
                  <c:v>1131.92</c:v>
                </c:pt>
                <c:pt idx="601">
                  <c:v>1126.33</c:v>
                </c:pt>
                <c:pt idx="602">
                  <c:v>1103.55</c:v>
                </c:pt>
                <c:pt idx="603">
                  <c:v>1104.18</c:v>
                </c:pt>
                <c:pt idx="604">
                  <c:v>1060.1300000000001</c:v>
                </c:pt>
                <c:pt idx="605">
                  <c:v>1061.6400000000001</c:v>
                </c:pt>
                <c:pt idx="606">
                  <c:v>1063.47</c:v>
                </c:pt>
                <c:pt idx="607">
                  <c:v>1066.6400000000001</c:v>
                </c:pt>
                <c:pt idx="608">
                  <c:v>1062.9000000000001</c:v>
                </c:pt>
                <c:pt idx="609">
                  <c:v>1049.97</c:v>
                </c:pt>
                <c:pt idx="610">
                  <c:v>1063.1400000000001</c:v>
                </c:pt>
                <c:pt idx="611">
                  <c:v>1049.19</c:v>
                </c:pt>
                <c:pt idx="612">
                  <c:v>1059.25</c:v>
                </c:pt>
                <c:pt idx="613">
                  <c:v>1069.69</c:v>
                </c:pt>
                <c:pt idx="614">
                  <c:v>1068.68</c:v>
                </c:pt>
                <c:pt idx="615">
                  <c:v>1050.3</c:v>
                </c:pt>
                <c:pt idx="616">
                  <c:v>1038.43</c:v>
                </c:pt>
                <c:pt idx="617">
                  <c:v>1035.73</c:v>
                </c:pt>
                <c:pt idx="618">
                  <c:v>1054.69</c:v>
                </c:pt>
                <c:pt idx="619">
                  <c:v>1032.72</c:v>
                </c:pt>
                <c:pt idx="620">
                  <c:v>1033.8</c:v>
                </c:pt>
                <c:pt idx="621">
                  <c:v>1034.81</c:v>
                </c:pt>
                <c:pt idx="622">
                  <c:v>1037.21</c:v>
                </c:pt>
                <c:pt idx="623">
                  <c:v>1076.28</c:v>
                </c:pt>
                <c:pt idx="624">
                  <c:v>1070.27</c:v>
                </c:pt>
                <c:pt idx="625">
                  <c:v>1072.6199999999999</c:v>
                </c:pt>
                <c:pt idx="626">
                  <c:v>1084.71</c:v>
                </c:pt>
                <c:pt idx="627">
                  <c:v>1084.6500000000001</c:v>
                </c:pt>
                <c:pt idx="628">
                  <c:v>1074.3900000000001</c:v>
                </c:pt>
                <c:pt idx="629">
                  <c:v>1085.03</c:v>
                </c:pt>
                <c:pt idx="630">
                  <c:v>1091.3699999999999</c:v>
                </c:pt>
                <c:pt idx="631">
                  <c:v>1094.3499999999999</c:v>
                </c:pt>
                <c:pt idx="632">
                  <c:v>1084.8800000000001</c:v>
                </c:pt>
                <c:pt idx="633">
                  <c:v>1077.67</c:v>
                </c:pt>
                <c:pt idx="634">
                  <c:v>1076.3399999999999</c:v>
                </c:pt>
                <c:pt idx="635">
                  <c:v>1074.99</c:v>
                </c:pt>
                <c:pt idx="636">
                  <c:v>1061.3499999999999</c:v>
                </c:pt>
                <c:pt idx="637">
                  <c:v>1062.81</c:v>
                </c:pt>
                <c:pt idx="638">
                  <c:v>1058.1500000000001</c:v>
                </c:pt>
                <c:pt idx="639">
                  <c:v>1056.06</c:v>
                </c:pt>
                <c:pt idx="640">
                  <c:v>1058.33</c:v>
                </c:pt>
                <c:pt idx="641">
                  <c:v>1060.25</c:v>
                </c:pt>
                <c:pt idx="642">
                  <c:v>1048.18</c:v>
                </c:pt>
                <c:pt idx="643">
                  <c:v>1049.18</c:v>
                </c:pt>
                <c:pt idx="644">
                  <c:v>1059.53</c:v>
                </c:pt>
                <c:pt idx="645">
                  <c:v>1043.55</c:v>
                </c:pt>
                <c:pt idx="646">
                  <c:v>1037.45</c:v>
                </c:pt>
                <c:pt idx="647">
                  <c:v>1034.29</c:v>
                </c:pt>
                <c:pt idx="648">
                  <c:v>1037.8800000000001</c:v>
                </c:pt>
                <c:pt idx="649">
                  <c:v>1033.27</c:v>
                </c:pt>
                <c:pt idx="650">
                  <c:v>1023</c:v>
                </c:pt>
                <c:pt idx="651">
                  <c:v>1009.37</c:v>
                </c:pt>
                <c:pt idx="652">
                  <c:v>1008.12</c:v>
                </c:pt>
                <c:pt idx="653">
                  <c:v>1034.03</c:v>
                </c:pt>
                <c:pt idx="654">
                  <c:v>1015.51</c:v>
                </c:pt>
                <c:pt idx="655">
                  <c:v>1016.4</c:v>
                </c:pt>
                <c:pt idx="656">
                  <c:v>1012.45</c:v>
                </c:pt>
                <c:pt idx="657">
                  <c:v>1010.7</c:v>
                </c:pt>
                <c:pt idx="658">
                  <c:v>1005.53</c:v>
                </c:pt>
                <c:pt idx="659">
                  <c:v>1003.99</c:v>
                </c:pt>
                <c:pt idx="660">
                  <c:v>1000</c:v>
                </c:pt>
                <c:pt idx="661">
                  <c:v>982.79</c:v>
                </c:pt>
                <c:pt idx="662">
                  <c:v>992.56</c:v>
                </c:pt>
                <c:pt idx="663">
                  <c:v>983.17</c:v>
                </c:pt>
                <c:pt idx="664">
                  <c:v>983.96</c:v>
                </c:pt>
                <c:pt idx="665">
                  <c:v>993.88</c:v>
                </c:pt>
                <c:pt idx="666">
                  <c:v>997.14</c:v>
                </c:pt>
                <c:pt idx="667">
                  <c:v>996.75</c:v>
                </c:pt>
                <c:pt idx="668">
                  <c:v>996.88</c:v>
                </c:pt>
                <c:pt idx="669">
                  <c:v>988.31</c:v>
                </c:pt>
                <c:pt idx="670">
                  <c:v>967.45</c:v>
                </c:pt>
                <c:pt idx="671">
                  <c:v>974.69</c:v>
                </c:pt>
                <c:pt idx="672">
                  <c:v>967.21</c:v>
                </c:pt>
                <c:pt idx="673">
                  <c:v>956.25</c:v>
                </c:pt>
                <c:pt idx="674">
                  <c:v>982.6</c:v>
                </c:pt>
                <c:pt idx="675">
                  <c:v>998.13</c:v>
                </c:pt>
                <c:pt idx="676">
                  <c:v>997.78</c:v>
                </c:pt>
                <c:pt idx="677">
                  <c:v>989.93</c:v>
                </c:pt>
                <c:pt idx="678">
                  <c:v>974.63</c:v>
                </c:pt>
                <c:pt idx="679">
                  <c:v>969.21</c:v>
                </c:pt>
                <c:pt idx="680">
                  <c:v>954.88</c:v>
                </c:pt>
                <c:pt idx="681">
                  <c:v>955.95</c:v>
                </c:pt>
                <c:pt idx="682">
                  <c:v>1006.91</c:v>
                </c:pt>
                <c:pt idx="683">
                  <c:v>993.22</c:v>
                </c:pt>
                <c:pt idx="684">
                  <c:v>1016.86</c:v>
                </c:pt>
                <c:pt idx="685">
                  <c:v>1023.58</c:v>
                </c:pt>
                <c:pt idx="686">
                  <c:v>1020.61</c:v>
                </c:pt>
                <c:pt idx="687">
                  <c:v>1006.06</c:v>
                </c:pt>
                <c:pt idx="688">
                  <c:v>1025.6300000000001</c:v>
                </c:pt>
                <c:pt idx="689">
                  <c:v>1046.74</c:v>
                </c:pt>
                <c:pt idx="690">
                  <c:v>1043.94</c:v>
                </c:pt>
                <c:pt idx="691">
                  <c:v>1045.46</c:v>
                </c:pt>
                <c:pt idx="692">
                  <c:v>1046.76</c:v>
                </c:pt>
                <c:pt idx="693">
                  <c:v>1039.99</c:v>
                </c:pt>
                <c:pt idx="694">
                  <c:v>1035.93</c:v>
                </c:pt>
                <c:pt idx="695">
                  <c:v>1021.32</c:v>
                </c:pt>
                <c:pt idx="696">
                  <c:v>1027.71</c:v>
                </c:pt>
                <c:pt idx="697">
                  <c:v>1023.67</c:v>
                </c:pt>
                <c:pt idx="698">
                  <c:v>1029.8699999999999</c:v>
                </c:pt>
                <c:pt idx="699">
                  <c:v>1048.99</c:v>
                </c:pt>
                <c:pt idx="700">
                  <c:v>1046.54</c:v>
                </c:pt>
                <c:pt idx="701">
                  <c:v>1022.41</c:v>
                </c:pt>
                <c:pt idx="702">
                  <c:v>1027.43</c:v>
                </c:pt>
                <c:pt idx="703">
                  <c:v>1031.03</c:v>
                </c:pt>
                <c:pt idx="704">
                  <c:v>1013.52</c:v>
                </c:pt>
                <c:pt idx="705">
                  <c:v>1003.07</c:v>
                </c:pt>
                <c:pt idx="706">
                  <c:v>992.86</c:v>
                </c:pt>
                <c:pt idx="707">
                  <c:v>978.67</c:v>
                </c:pt>
                <c:pt idx="708">
                  <c:v>981.89</c:v>
                </c:pt>
                <c:pt idx="709">
                  <c:v>964.02</c:v>
                </c:pt>
                <c:pt idx="710">
                  <c:v>959.01</c:v>
                </c:pt>
                <c:pt idx="711">
                  <c:v>964.8</c:v>
                </c:pt>
                <c:pt idx="712">
                  <c:v>962.96</c:v>
                </c:pt>
                <c:pt idx="713">
                  <c:v>960.7</c:v>
                </c:pt>
                <c:pt idx="714">
                  <c:v>955.19</c:v>
                </c:pt>
                <c:pt idx="715">
                  <c:v>937.03</c:v>
                </c:pt>
                <c:pt idx="716">
                  <c:v>942.2</c:v>
                </c:pt>
                <c:pt idx="717">
                  <c:v>978.15</c:v>
                </c:pt>
                <c:pt idx="718">
                  <c:v>962.17</c:v>
                </c:pt>
                <c:pt idx="719">
                  <c:v>955.6</c:v>
                </c:pt>
                <c:pt idx="720">
                  <c:v>973.67</c:v>
                </c:pt>
                <c:pt idx="721">
                  <c:v>984.73</c:v>
                </c:pt>
                <c:pt idx="722">
                  <c:v>1003.45</c:v>
                </c:pt>
                <c:pt idx="723">
                  <c:v>995.42</c:v>
                </c:pt>
                <c:pt idx="724">
                  <c:v>978.7</c:v>
                </c:pt>
                <c:pt idx="725">
                  <c:v>1000.9</c:v>
                </c:pt>
                <c:pt idx="726">
                  <c:v>986.98</c:v>
                </c:pt>
                <c:pt idx="727">
                  <c:v>974.08</c:v>
                </c:pt>
                <c:pt idx="728">
                  <c:v>963.77</c:v>
                </c:pt>
                <c:pt idx="729">
                  <c:v>965.89</c:v>
                </c:pt>
                <c:pt idx="730">
                  <c:v>950.87</c:v>
                </c:pt>
                <c:pt idx="731">
                  <c:v>943.98</c:v>
                </c:pt>
                <c:pt idx="732">
                  <c:v>939.1</c:v>
                </c:pt>
                <c:pt idx="733">
                  <c:v>930.07</c:v>
                </c:pt>
                <c:pt idx="734">
                  <c:v>937.08</c:v>
                </c:pt>
                <c:pt idx="735">
                  <c:v>926.6</c:v>
                </c:pt>
                <c:pt idx="736">
                  <c:v>942.07</c:v>
                </c:pt>
                <c:pt idx="737">
                  <c:v>932.4</c:v>
                </c:pt>
                <c:pt idx="738">
                  <c:v>909.17</c:v>
                </c:pt>
                <c:pt idx="739">
                  <c:v>913.08</c:v>
                </c:pt>
                <c:pt idx="740">
                  <c:v>901.85</c:v>
                </c:pt>
                <c:pt idx="741">
                  <c:v>885.82</c:v>
                </c:pt>
                <c:pt idx="742">
                  <c:v>887.54</c:v>
                </c:pt>
                <c:pt idx="743">
                  <c:v>875.27</c:v>
                </c:pt>
                <c:pt idx="744">
                  <c:v>881.46</c:v>
                </c:pt>
                <c:pt idx="745">
                  <c:v>883.2</c:v>
                </c:pt>
                <c:pt idx="746">
                  <c:v>884.17</c:v>
                </c:pt>
                <c:pt idx="747">
                  <c:v>882.76</c:v>
                </c:pt>
                <c:pt idx="748">
                  <c:v>863.34</c:v>
                </c:pt>
                <c:pt idx="749">
                  <c:v>868.46</c:v>
                </c:pt>
                <c:pt idx="750">
                  <c:v>868.45</c:v>
                </c:pt>
                <c:pt idx="751">
                  <c:v>857.33</c:v>
                </c:pt>
                <c:pt idx="752">
                  <c:v>849.51</c:v>
                </c:pt>
                <c:pt idx="753">
                  <c:v>855.61</c:v>
                </c:pt>
                <c:pt idx="754">
                  <c:v>855.95</c:v>
                </c:pt>
                <c:pt idx="755">
                  <c:v>837.53</c:v>
                </c:pt>
                <c:pt idx="756">
                  <c:v>818.38</c:v>
                </c:pt>
                <c:pt idx="757">
                  <c:v>818.03</c:v>
                </c:pt>
                <c:pt idx="758">
                  <c:v>839</c:v>
                </c:pt>
                <c:pt idx="759">
                  <c:v>837.28</c:v>
                </c:pt>
                <c:pt idx="760">
                  <c:v>905.77</c:v>
                </c:pt>
                <c:pt idx="761">
                  <c:v>912.6</c:v>
                </c:pt>
                <c:pt idx="762">
                  <c:v>894.56</c:v>
                </c:pt>
                <c:pt idx="763">
                  <c:v>892.96</c:v>
                </c:pt>
                <c:pt idx="764">
                  <c:v>883.54</c:v>
                </c:pt>
                <c:pt idx="765">
                  <c:v>866.83</c:v>
                </c:pt>
                <c:pt idx="766">
                  <c:v>879.24</c:v>
                </c:pt>
                <c:pt idx="767">
                  <c:v>880.35</c:v>
                </c:pt>
                <c:pt idx="768">
                  <c:v>906.26</c:v>
                </c:pt>
                <c:pt idx="769">
                  <c:v>896.17</c:v>
                </c:pt>
                <c:pt idx="770">
                  <c:v>900.65</c:v>
                </c:pt>
                <c:pt idx="771">
                  <c:v>893.57</c:v>
                </c:pt>
                <c:pt idx="772">
                  <c:v>898.3</c:v>
                </c:pt>
                <c:pt idx="773">
                  <c:v>916.04</c:v>
                </c:pt>
                <c:pt idx="774">
                  <c:v>903.72</c:v>
                </c:pt>
                <c:pt idx="775">
                  <c:v>898.9</c:v>
                </c:pt>
                <c:pt idx="776">
                  <c:v>878.69</c:v>
                </c:pt>
                <c:pt idx="777">
                  <c:v>859.49</c:v>
                </c:pt>
                <c:pt idx="778">
                  <c:v>855.93</c:v>
                </c:pt>
                <c:pt idx="779">
                  <c:v>849.68</c:v>
                </c:pt>
                <c:pt idx="780">
                  <c:v>842.56</c:v>
                </c:pt>
                <c:pt idx="781">
                  <c:v>844.73</c:v>
                </c:pt>
                <c:pt idx="782">
                  <c:v>829.49</c:v>
                </c:pt>
                <c:pt idx="783">
                  <c:v>824.1</c:v>
                </c:pt>
                <c:pt idx="784">
                  <c:v>851.82</c:v>
                </c:pt>
                <c:pt idx="785">
                  <c:v>846.23</c:v>
                </c:pt>
                <c:pt idx="786">
                  <c:v>849.59</c:v>
                </c:pt>
                <c:pt idx="787">
                  <c:v>841</c:v>
                </c:pt>
                <c:pt idx="788">
                  <c:v>833</c:v>
                </c:pt>
                <c:pt idx="789">
                  <c:v>835.61</c:v>
                </c:pt>
                <c:pt idx="790">
                  <c:v>842.64</c:v>
                </c:pt>
                <c:pt idx="791">
                  <c:v>843.99</c:v>
                </c:pt>
                <c:pt idx="792">
                  <c:v>859.69</c:v>
                </c:pt>
                <c:pt idx="793">
                  <c:v>856.86</c:v>
                </c:pt>
                <c:pt idx="794">
                  <c:v>876.48</c:v>
                </c:pt>
                <c:pt idx="795">
                  <c:v>894.01</c:v>
                </c:pt>
                <c:pt idx="796">
                  <c:v>890.89</c:v>
                </c:pt>
                <c:pt idx="797">
                  <c:v>888.16</c:v>
                </c:pt>
                <c:pt idx="798">
                  <c:v>891.61</c:v>
                </c:pt>
                <c:pt idx="799">
                  <c:v>903.6</c:v>
                </c:pt>
                <c:pt idx="800">
                  <c:v>909.57</c:v>
                </c:pt>
                <c:pt idx="801">
                  <c:v>904.15</c:v>
                </c:pt>
                <c:pt idx="802">
                  <c:v>923.8</c:v>
                </c:pt>
                <c:pt idx="803">
                  <c:v>927.47</c:v>
                </c:pt>
                <c:pt idx="804">
                  <c:v>933.09</c:v>
                </c:pt>
                <c:pt idx="805">
                  <c:v>940.37</c:v>
                </c:pt>
                <c:pt idx="806">
                  <c:v>953.99</c:v>
                </c:pt>
                <c:pt idx="807">
                  <c:v>938.32</c:v>
                </c:pt>
                <c:pt idx="808">
                  <c:v>954.5</c:v>
                </c:pt>
                <c:pt idx="809">
                  <c:v>945.06</c:v>
                </c:pt>
                <c:pt idx="810">
                  <c:v>953.01</c:v>
                </c:pt>
                <c:pt idx="811">
                  <c:v>920.67</c:v>
                </c:pt>
                <c:pt idx="812">
                  <c:v>923.04</c:v>
                </c:pt>
                <c:pt idx="813">
                  <c:v>931.67</c:v>
                </c:pt>
                <c:pt idx="814">
                  <c:v>923.41</c:v>
                </c:pt>
                <c:pt idx="815">
                  <c:v>930.65</c:v>
                </c:pt>
                <c:pt idx="816">
                  <c:v>930.12</c:v>
                </c:pt>
                <c:pt idx="817">
                  <c:v>928.26</c:v>
                </c:pt>
                <c:pt idx="818">
                  <c:v>917.37</c:v>
                </c:pt>
                <c:pt idx="819">
                  <c:v>914.88</c:v>
                </c:pt>
                <c:pt idx="820">
                  <c:v>927.92</c:v>
                </c:pt>
                <c:pt idx="821">
                  <c:v>944.56</c:v>
                </c:pt>
                <c:pt idx="822">
                  <c:v>947.87</c:v>
                </c:pt>
                <c:pt idx="823">
                  <c:v>952.72</c:v>
                </c:pt>
                <c:pt idx="824">
                  <c:v>936.61</c:v>
                </c:pt>
                <c:pt idx="825">
                  <c:v>952.76</c:v>
                </c:pt>
                <c:pt idx="826">
                  <c:v>955.28</c:v>
                </c:pt>
                <c:pt idx="827">
                  <c:v>949.07</c:v>
                </c:pt>
                <c:pt idx="828">
                  <c:v>949.51</c:v>
                </c:pt>
                <c:pt idx="829">
                  <c:v>963.77</c:v>
                </c:pt>
                <c:pt idx="830">
                  <c:v>970.19</c:v>
                </c:pt>
                <c:pt idx="831">
                  <c:v>969.6</c:v>
                </c:pt>
                <c:pt idx="832">
                  <c:v>967.5</c:v>
                </c:pt>
                <c:pt idx="833">
                  <c:v>971.14</c:v>
                </c:pt>
                <c:pt idx="834">
                  <c:v>961.92</c:v>
                </c:pt>
                <c:pt idx="835">
                  <c:v>944.41</c:v>
                </c:pt>
                <c:pt idx="836">
                  <c:v>923.27</c:v>
                </c:pt>
                <c:pt idx="837">
                  <c:v>916.15</c:v>
                </c:pt>
                <c:pt idx="838">
                  <c:v>918.49</c:v>
                </c:pt>
                <c:pt idx="839">
                  <c:v>904.21</c:v>
                </c:pt>
                <c:pt idx="840">
                  <c:v>903.72</c:v>
                </c:pt>
                <c:pt idx="841">
                  <c:v>915.98</c:v>
                </c:pt>
                <c:pt idx="842">
                  <c:v>917.39</c:v>
                </c:pt>
                <c:pt idx="843">
                  <c:v>907.32</c:v>
                </c:pt>
                <c:pt idx="844">
                  <c:v>919.72</c:v>
                </c:pt>
                <c:pt idx="845">
                  <c:v>923.49</c:v>
                </c:pt>
                <c:pt idx="846">
                  <c:v>916.5</c:v>
                </c:pt>
                <c:pt idx="847">
                  <c:v>904.83</c:v>
                </c:pt>
                <c:pt idx="848">
                  <c:v>897.62</c:v>
                </c:pt>
                <c:pt idx="849">
                  <c:v>902.37</c:v>
                </c:pt>
                <c:pt idx="850">
                  <c:v>898.74</c:v>
                </c:pt>
                <c:pt idx="851">
                  <c:v>899.92</c:v>
                </c:pt>
                <c:pt idx="852">
                  <c:v>904.41</c:v>
                </c:pt>
                <c:pt idx="853">
                  <c:v>906.65</c:v>
                </c:pt>
                <c:pt idx="854">
                  <c:v>894.27</c:v>
                </c:pt>
                <c:pt idx="855">
                  <c:v>875.82</c:v>
                </c:pt>
                <c:pt idx="856">
                  <c:v>875.85</c:v>
                </c:pt>
                <c:pt idx="857">
                  <c:v>867.73</c:v>
                </c:pt>
                <c:pt idx="858">
                  <c:v>876.28</c:v>
                </c:pt>
                <c:pt idx="859">
                  <c:v>872.87</c:v>
                </c:pt>
                <c:pt idx="860">
                  <c:v>882.48</c:v>
                </c:pt>
                <c:pt idx="861">
                  <c:v>874.58</c:v>
                </c:pt>
                <c:pt idx="862">
                  <c:v>878.36</c:v>
                </c:pt>
                <c:pt idx="863">
                  <c:v>877.28</c:v>
                </c:pt>
                <c:pt idx="864">
                  <c:v>881.52</c:v>
                </c:pt>
                <c:pt idx="865">
                  <c:v>879.25</c:v>
                </c:pt>
                <c:pt idx="866">
                  <c:v>862.97</c:v>
                </c:pt>
                <c:pt idx="867">
                  <c:v>864.79</c:v>
                </c:pt>
                <c:pt idx="868">
                  <c:v>862.15</c:v>
                </c:pt>
                <c:pt idx="869">
                  <c:v>856.64</c:v>
                </c:pt>
                <c:pt idx="870">
                  <c:v>863.12</c:v>
                </c:pt>
                <c:pt idx="871">
                  <c:v>862.66</c:v>
                </c:pt>
                <c:pt idx="872">
                  <c:v>882.24</c:v>
                </c:pt>
                <c:pt idx="873">
                  <c:v>883.87</c:v>
                </c:pt>
                <c:pt idx="874">
                  <c:v>869.62</c:v>
                </c:pt>
                <c:pt idx="875">
                  <c:v>876.23</c:v>
                </c:pt>
                <c:pt idx="876">
                  <c:v>881.49</c:v>
                </c:pt>
                <c:pt idx="877">
                  <c:v>884.11</c:v>
                </c:pt>
                <c:pt idx="878">
                  <c:v>880.17</c:v>
                </c:pt>
                <c:pt idx="879">
                  <c:v>871.31</c:v>
                </c:pt>
                <c:pt idx="880">
                  <c:v>873.83</c:v>
                </c:pt>
                <c:pt idx="881">
                  <c:v>873.07</c:v>
                </c:pt>
                <c:pt idx="882">
                  <c:v>869.94</c:v>
                </c:pt>
                <c:pt idx="883">
                  <c:v>859.61</c:v>
                </c:pt>
                <c:pt idx="884">
                  <c:v>866.08</c:v>
                </c:pt>
                <c:pt idx="885">
                  <c:v>873.84</c:v>
                </c:pt>
                <c:pt idx="886">
                  <c:v>874.06</c:v>
                </c:pt>
                <c:pt idx="887">
                  <c:v>887.36</c:v>
                </c:pt>
                <c:pt idx="888">
                  <c:v>888.52</c:v>
                </c:pt>
                <c:pt idx="889">
                  <c:v>889.1</c:v>
                </c:pt>
                <c:pt idx="890">
                  <c:v>898.15</c:v>
                </c:pt>
                <c:pt idx="891">
                  <c:v>896.43</c:v>
                </c:pt>
                <c:pt idx="892">
                  <c:v>902.56</c:v>
                </c:pt>
                <c:pt idx="893">
                  <c:v>902.91</c:v>
                </c:pt>
                <c:pt idx="894">
                  <c:v>907.32</c:v>
                </c:pt>
                <c:pt idx="895">
                  <c:v>903.14</c:v>
                </c:pt>
                <c:pt idx="896">
                  <c:v>908.75</c:v>
                </c:pt>
                <c:pt idx="897">
                  <c:v>915.89</c:v>
                </c:pt>
                <c:pt idx="898">
                  <c:v>922.38</c:v>
                </c:pt>
                <c:pt idx="899">
                  <c:v>919.36</c:v>
                </c:pt>
                <c:pt idx="900">
                  <c:v>920.92</c:v>
                </c:pt>
                <c:pt idx="901">
                  <c:v>932.03</c:v>
                </c:pt>
                <c:pt idx="902">
                  <c:v>923.45</c:v>
                </c:pt>
                <c:pt idx="903">
                  <c:v>941.43</c:v>
                </c:pt>
                <c:pt idx="904">
                  <c:v>959.13</c:v>
                </c:pt>
                <c:pt idx="905">
                  <c:v>970.03</c:v>
                </c:pt>
                <c:pt idx="906">
                  <c:v>975.25</c:v>
                </c:pt>
                <c:pt idx="907">
                  <c:v>978.15</c:v>
                </c:pt>
                <c:pt idx="908">
                  <c:v>973.48</c:v>
                </c:pt>
                <c:pt idx="909">
                  <c:v>983.72</c:v>
                </c:pt>
                <c:pt idx="910">
                  <c:v>978.81</c:v>
                </c:pt>
                <c:pt idx="911">
                  <c:v>961.44</c:v>
                </c:pt>
                <c:pt idx="912">
                  <c:v>964.29</c:v>
                </c:pt>
                <c:pt idx="913">
                  <c:v>983.62</c:v>
                </c:pt>
                <c:pt idx="914">
                  <c:v>991.22</c:v>
                </c:pt>
                <c:pt idx="915">
                  <c:v>993.34</c:v>
                </c:pt>
                <c:pt idx="916">
                  <c:v>996.16</c:v>
                </c:pt>
                <c:pt idx="917">
                  <c:v>999.09</c:v>
                </c:pt>
                <c:pt idx="918">
                  <c:v>1009.6</c:v>
                </c:pt>
                <c:pt idx="919">
                  <c:v>1033.23</c:v>
                </c:pt>
                <c:pt idx="920">
                  <c:v>1029.94</c:v>
                </c:pt>
                <c:pt idx="921">
                  <c:v>1033.07</c:v>
                </c:pt>
                <c:pt idx="922">
                  <c:v>1019.6</c:v>
                </c:pt>
                <c:pt idx="923">
                  <c:v>1032.3399999999999</c:v>
                </c:pt>
                <c:pt idx="924">
                  <c:v>1031.6099999999999</c:v>
                </c:pt>
                <c:pt idx="925">
                  <c:v>1038.53</c:v>
                </c:pt>
                <c:pt idx="926">
                  <c:v>1041.6600000000001</c:v>
                </c:pt>
                <c:pt idx="927">
                  <c:v>1020.12</c:v>
                </c:pt>
                <c:pt idx="928">
                  <c:v>1020.37</c:v>
                </c:pt>
                <c:pt idx="929">
                  <c:v>1021.64</c:v>
                </c:pt>
                <c:pt idx="930">
                  <c:v>1038.82</c:v>
                </c:pt>
                <c:pt idx="931">
                  <c:v>1037.8900000000001</c:v>
                </c:pt>
                <c:pt idx="932">
                  <c:v>1041.3699999999999</c:v>
                </c:pt>
                <c:pt idx="933">
                  <c:v>1049.44</c:v>
                </c:pt>
                <c:pt idx="934">
                  <c:v>1047.8499999999999</c:v>
                </c:pt>
                <c:pt idx="935">
                  <c:v>1053.01</c:v>
                </c:pt>
                <c:pt idx="936">
                  <c:v>1056.6199999999999</c:v>
                </c:pt>
                <c:pt idx="937">
                  <c:v>1038.67</c:v>
                </c:pt>
                <c:pt idx="938">
                  <c:v>1041.68</c:v>
                </c:pt>
                <c:pt idx="939">
                  <c:v>1038.8699999999999</c:v>
                </c:pt>
                <c:pt idx="940">
                  <c:v>1014.97</c:v>
                </c:pt>
                <c:pt idx="941">
                  <c:v>1009.27</c:v>
                </c:pt>
                <c:pt idx="942">
                  <c:v>1004.34</c:v>
                </c:pt>
                <c:pt idx="943">
                  <c:v>1008.9</c:v>
                </c:pt>
                <c:pt idx="944">
                  <c:v>1019.86</c:v>
                </c:pt>
                <c:pt idx="945">
                  <c:v>1018.27</c:v>
                </c:pt>
                <c:pt idx="946">
                  <c:v>1028.96</c:v>
                </c:pt>
                <c:pt idx="947">
                  <c:v>1027.6199999999999</c:v>
                </c:pt>
                <c:pt idx="948">
                  <c:v>1024.02</c:v>
                </c:pt>
                <c:pt idx="949">
                  <c:v>1037.6600000000001</c:v>
                </c:pt>
                <c:pt idx="950">
                  <c:v>1040.76</c:v>
                </c:pt>
                <c:pt idx="951">
                  <c:v>1047.67</c:v>
                </c:pt>
                <c:pt idx="952">
                  <c:v>1048.54</c:v>
                </c:pt>
                <c:pt idx="953">
                  <c:v>1042.5999999999999</c:v>
                </c:pt>
                <c:pt idx="954">
                  <c:v>1050.71</c:v>
                </c:pt>
                <c:pt idx="955">
                  <c:v>1055.98</c:v>
                </c:pt>
                <c:pt idx="956">
                  <c:v>1065.29</c:v>
                </c:pt>
                <c:pt idx="957">
                  <c:v>1055.6300000000001</c:v>
                </c:pt>
                <c:pt idx="958">
                  <c:v>1061.0899999999999</c:v>
                </c:pt>
                <c:pt idx="959">
                  <c:v>1079.32</c:v>
                </c:pt>
                <c:pt idx="960">
                  <c:v>1089.3699999999999</c:v>
                </c:pt>
                <c:pt idx="961">
                  <c:v>1099.97</c:v>
                </c:pt>
                <c:pt idx="962">
                  <c:v>1103.24</c:v>
                </c:pt>
                <c:pt idx="963">
                  <c:v>1103.1500000000001</c:v>
                </c:pt>
                <c:pt idx="964">
                  <c:v>1117.9100000000001</c:v>
                </c:pt>
                <c:pt idx="965">
                  <c:v>1123.31</c:v>
                </c:pt>
                <c:pt idx="966">
                  <c:v>1117.07</c:v>
                </c:pt>
                <c:pt idx="967">
                  <c:v>1093.93</c:v>
                </c:pt>
                <c:pt idx="968">
                  <c:v>1118.6099999999999</c:v>
                </c:pt>
                <c:pt idx="969">
                  <c:v>1124.4100000000001</c:v>
                </c:pt>
                <c:pt idx="970">
                  <c:v>1131.28</c:v>
                </c:pt>
                <c:pt idx="971">
                  <c:v>1138.24</c:v>
                </c:pt>
                <c:pt idx="972">
                  <c:v>1134.3800000000001</c:v>
                </c:pt>
                <c:pt idx="973">
                  <c:v>1149.1600000000001</c:v>
                </c:pt>
                <c:pt idx="974">
                  <c:v>1142.7</c:v>
                </c:pt>
                <c:pt idx="975">
                  <c:v>1141.93</c:v>
                </c:pt>
                <c:pt idx="976">
                  <c:v>1155.73</c:v>
                </c:pt>
                <c:pt idx="977">
                  <c:v>1155.27</c:v>
                </c:pt>
                <c:pt idx="978">
                  <c:v>1172.3499999999999</c:v>
                </c:pt>
                <c:pt idx="979">
                  <c:v>1218.45</c:v>
                </c:pt>
                <c:pt idx="980">
                  <c:v>1251.6099999999999</c:v>
                </c:pt>
                <c:pt idx="981">
                  <c:v>1265.93</c:v>
                </c:pt>
                <c:pt idx="982">
                  <c:v>1255.04</c:v>
                </c:pt>
                <c:pt idx="983">
                  <c:v>1296.26</c:v>
                </c:pt>
                <c:pt idx="984">
                  <c:v>1352.16</c:v>
                </c:pt>
                <c:pt idx="985">
                  <c:v>1331.13</c:v>
                </c:pt>
                <c:pt idx="986">
                  <c:v>1335.52</c:v>
                </c:pt>
                <c:pt idx="987">
                  <c:v>1331.2</c:v>
                </c:pt>
                <c:pt idx="988">
                  <c:v>1366.1</c:v>
                </c:pt>
                <c:pt idx="989">
                  <c:v>1373.67</c:v>
                </c:pt>
                <c:pt idx="990">
                  <c:v>1317.65</c:v>
                </c:pt>
                <c:pt idx="991">
                  <c:v>1308.24</c:v>
                </c:pt>
                <c:pt idx="992">
                  <c:v>1307.7</c:v>
                </c:pt>
                <c:pt idx="993">
                  <c:v>1331.02</c:v>
                </c:pt>
                <c:pt idx="994">
                  <c:v>1366.29</c:v>
                </c:pt>
                <c:pt idx="995">
                  <c:v>1378.76</c:v>
                </c:pt>
                <c:pt idx="996">
                  <c:v>1365.45</c:v>
                </c:pt>
                <c:pt idx="997">
                  <c:v>1402.88</c:v>
                </c:pt>
                <c:pt idx="998">
                  <c:v>1390.12</c:v>
                </c:pt>
                <c:pt idx="999">
                  <c:v>1403.16</c:v>
                </c:pt>
                <c:pt idx="1000">
                  <c:v>1399.14</c:v>
                </c:pt>
                <c:pt idx="1001">
                  <c:v>1320.23</c:v>
                </c:pt>
                <c:pt idx="1002">
                  <c:v>1325.98</c:v>
                </c:pt>
                <c:pt idx="1003">
                  <c:v>1294.19</c:v>
                </c:pt>
                <c:pt idx="1004">
                  <c:v>1297.67</c:v>
                </c:pt>
                <c:pt idx="1005">
                  <c:v>1298.28</c:v>
                </c:pt>
                <c:pt idx="1006">
                  <c:v>1283.8800000000001</c:v>
                </c:pt>
                <c:pt idx="1007">
                  <c:v>1285.3900000000001</c:v>
                </c:pt>
                <c:pt idx="1008">
                  <c:v>1318.01</c:v>
                </c:pt>
                <c:pt idx="1009">
                  <c:v>1334.89</c:v>
                </c:pt>
                <c:pt idx="1010">
                  <c:v>1338.22</c:v>
                </c:pt>
                <c:pt idx="1011">
                  <c:v>1333.53</c:v>
                </c:pt>
                <c:pt idx="1012">
                  <c:v>1331.55</c:v>
                </c:pt>
                <c:pt idx="1013">
                  <c:v>1339.45</c:v>
                </c:pt>
                <c:pt idx="1014">
                  <c:v>1363.41</c:v>
                </c:pt>
                <c:pt idx="1015">
                  <c:v>1363.9</c:v>
                </c:pt>
                <c:pt idx="1016">
                  <c:v>1362.89</c:v>
                </c:pt>
                <c:pt idx="1017">
                  <c:v>1395.12</c:v>
                </c:pt>
                <c:pt idx="1018">
                  <c:v>1393.96</c:v>
                </c:pt>
                <c:pt idx="1019">
                  <c:v>1420.33</c:v>
                </c:pt>
                <c:pt idx="1020">
                  <c:v>1411.01</c:v>
                </c:pt>
                <c:pt idx="1021">
                  <c:v>1393.01</c:v>
                </c:pt>
                <c:pt idx="1022">
                  <c:v>1418.68</c:v>
                </c:pt>
                <c:pt idx="1023">
                  <c:v>1410.43</c:v>
                </c:pt>
                <c:pt idx="1024">
                  <c:v>1412.12</c:v>
                </c:pt>
                <c:pt idx="1025">
                  <c:v>1418.58</c:v>
                </c:pt>
                <c:pt idx="1026">
                  <c:v>1419.2</c:v>
                </c:pt>
                <c:pt idx="1027">
                  <c:v>1346.09</c:v>
                </c:pt>
                <c:pt idx="1028">
                  <c:v>1357.13</c:v>
                </c:pt>
                <c:pt idx="1029">
                  <c:v>1372.25</c:v>
                </c:pt>
                <c:pt idx="1030">
                  <c:v>1373.42</c:v>
                </c:pt>
                <c:pt idx="1031">
                  <c:v>1336.64</c:v>
                </c:pt>
                <c:pt idx="1032">
                  <c:v>1345.19</c:v>
                </c:pt>
                <c:pt idx="1033">
                  <c:v>1356.03</c:v>
                </c:pt>
                <c:pt idx="1034">
                  <c:v>1358.12</c:v>
                </c:pt>
                <c:pt idx="1035">
                  <c:v>1374.17</c:v>
                </c:pt>
                <c:pt idx="1036">
                  <c:v>1371.3</c:v>
                </c:pt>
                <c:pt idx="1037">
                  <c:v>1355.55</c:v>
                </c:pt>
                <c:pt idx="1038">
                  <c:v>1341.39</c:v>
                </c:pt>
                <c:pt idx="1039">
                  <c:v>1294.33</c:v>
                </c:pt>
                <c:pt idx="1040">
                  <c:v>1282.06</c:v>
                </c:pt>
                <c:pt idx="1041">
                  <c:v>1275.0899999999999</c:v>
                </c:pt>
                <c:pt idx="1042">
                  <c:v>1271.74</c:v>
                </c:pt>
                <c:pt idx="1043">
                  <c:v>1241.9100000000001</c:v>
                </c:pt>
                <c:pt idx="1044">
                  <c:v>1224.0999999999999</c:v>
                </c:pt>
                <c:pt idx="1045">
                  <c:v>1252.3900000000001</c:v>
                </c:pt>
                <c:pt idx="1046">
                  <c:v>1251.3</c:v>
                </c:pt>
                <c:pt idx="1047">
                  <c:v>1271.47</c:v>
                </c:pt>
                <c:pt idx="1048">
                  <c:v>1275.6500000000001</c:v>
                </c:pt>
                <c:pt idx="1049">
                  <c:v>1245.72</c:v>
                </c:pt>
                <c:pt idx="1050">
                  <c:v>1265.8599999999999</c:v>
                </c:pt>
                <c:pt idx="1051">
                  <c:v>1283.57</c:v>
                </c:pt>
                <c:pt idx="1052">
                  <c:v>1271.6300000000001</c:v>
                </c:pt>
                <c:pt idx="1053">
                  <c:v>1267.8699999999999</c:v>
                </c:pt>
                <c:pt idx="1054">
                  <c:v>1270.56</c:v>
                </c:pt>
                <c:pt idx="1055">
                  <c:v>1285.27</c:v>
                </c:pt>
                <c:pt idx="1056">
                  <c:v>1285.68</c:v>
                </c:pt>
                <c:pt idx="1057">
                  <c:v>1292.4000000000001</c:v>
                </c:pt>
                <c:pt idx="1058">
                  <c:v>1295.44</c:v>
                </c:pt>
                <c:pt idx="1059">
                  <c:v>1325.89</c:v>
                </c:pt>
                <c:pt idx="1060">
                  <c:v>1330.16</c:v>
                </c:pt>
                <c:pt idx="1061">
                  <c:v>1334.67</c:v>
                </c:pt>
                <c:pt idx="1062">
                  <c:v>1338.69</c:v>
                </c:pt>
                <c:pt idx="1063">
                  <c:v>1318.1</c:v>
                </c:pt>
                <c:pt idx="1064">
                  <c:v>1337.24</c:v>
                </c:pt>
                <c:pt idx="1065">
                  <c:v>1340.68</c:v>
                </c:pt>
                <c:pt idx="1066">
                  <c:v>1346.37</c:v>
                </c:pt>
                <c:pt idx="1067">
                  <c:v>1328.38</c:v>
                </c:pt>
                <c:pt idx="1068">
                  <c:v>1332.15</c:v>
                </c:pt>
                <c:pt idx="1069">
                  <c:v>1338.76</c:v>
                </c:pt>
                <c:pt idx="1070">
                  <c:v>1347.64</c:v>
                </c:pt>
                <c:pt idx="1071">
                  <c:v>1338.39</c:v>
                </c:pt>
                <c:pt idx="1072">
                  <c:v>1338.28</c:v>
                </c:pt>
                <c:pt idx="1073">
                  <c:v>1362.32</c:v>
                </c:pt>
                <c:pt idx="1074">
                  <c:v>1375.56</c:v>
                </c:pt>
                <c:pt idx="1075">
                  <c:v>1378.31</c:v>
                </c:pt>
                <c:pt idx="1076">
                  <c:v>1378.46</c:v>
                </c:pt>
                <c:pt idx="1077">
                  <c:v>1387.37</c:v>
                </c:pt>
                <c:pt idx="1078">
                  <c:v>1374.85</c:v>
                </c:pt>
                <c:pt idx="1079">
                  <c:v>1372.4</c:v>
                </c:pt>
                <c:pt idx="1080">
                  <c:v>1357.65</c:v>
                </c:pt>
                <c:pt idx="1081">
                  <c:v>1371.12</c:v>
                </c:pt>
                <c:pt idx="1082">
                  <c:v>1387</c:v>
                </c:pt>
                <c:pt idx="1083">
                  <c:v>1403.27</c:v>
                </c:pt>
                <c:pt idx="1084">
                  <c:v>1436.07</c:v>
                </c:pt>
                <c:pt idx="1085">
                  <c:v>1437.25</c:v>
                </c:pt>
                <c:pt idx="1086">
                  <c:v>1435.91</c:v>
                </c:pt>
                <c:pt idx="1087">
                  <c:v>1426.5</c:v>
                </c:pt>
                <c:pt idx="1088">
                  <c:v>1430.88</c:v>
                </c:pt>
                <c:pt idx="1089">
                  <c:v>1418.52</c:v>
                </c:pt>
                <c:pt idx="1090">
                  <c:v>1414.45</c:v>
                </c:pt>
                <c:pt idx="1091">
                  <c:v>1437.59</c:v>
                </c:pt>
                <c:pt idx="1092">
                  <c:v>1439.38</c:v>
                </c:pt>
                <c:pt idx="1093">
                  <c:v>1440.18</c:v>
                </c:pt>
                <c:pt idx="1094">
                  <c:v>1408.72</c:v>
                </c:pt>
                <c:pt idx="1095">
                  <c:v>1440.05</c:v>
                </c:pt>
                <c:pt idx="1096">
                  <c:v>1446.83</c:v>
                </c:pt>
                <c:pt idx="1097">
                  <c:v>1456.1</c:v>
                </c:pt>
                <c:pt idx="1098">
                  <c:v>1439.05</c:v>
                </c:pt>
                <c:pt idx="1099">
                  <c:v>1446.24</c:v>
                </c:pt>
                <c:pt idx="1100">
                  <c:v>1464.47</c:v>
                </c:pt>
                <c:pt idx="1101">
                  <c:v>1479.41</c:v>
                </c:pt>
                <c:pt idx="1102">
                  <c:v>1479.66</c:v>
                </c:pt>
                <c:pt idx="1103">
                  <c:v>1488.29</c:v>
                </c:pt>
                <c:pt idx="1104">
                  <c:v>1507.89</c:v>
                </c:pt>
                <c:pt idx="1105">
                  <c:v>1516.1</c:v>
                </c:pt>
                <c:pt idx="1106">
                  <c:v>1498.17</c:v>
                </c:pt>
                <c:pt idx="1107">
                  <c:v>1524.71</c:v>
                </c:pt>
                <c:pt idx="1108">
                  <c:v>1504.06</c:v>
                </c:pt>
                <c:pt idx="1109">
                  <c:v>1475.78</c:v>
                </c:pt>
                <c:pt idx="1110">
                  <c:v>1493.78</c:v>
                </c:pt>
                <c:pt idx="1111">
                  <c:v>1534.76</c:v>
                </c:pt>
                <c:pt idx="1112">
                  <c:v>1533.29</c:v>
                </c:pt>
                <c:pt idx="1113">
                  <c:v>1562.08</c:v>
                </c:pt>
                <c:pt idx="1114">
                  <c:v>1593.16</c:v>
                </c:pt>
                <c:pt idx="1115">
                  <c:v>1612.25</c:v>
                </c:pt>
                <c:pt idx="1116">
                  <c:v>1624.03</c:v>
                </c:pt>
                <c:pt idx="1117">
                  <c:v>1634.91</c:v>
                </c:pt>
                <c:pt idx="1118">
                  <c:v>1636.58</c:v>
                </c:pt>
                <c:pt idx="1119">
                  <c:v>1651.8</c:v>
                </c:pt>
                <c:pt idx="1120">
                  <c:v>1644.01</c:v>
                </c:pt>
                <c:pt idx="1121">
                  <c:v>1667.14</c:v>
                </c:pt>
                <c:pt idx="1122">
                  <c:v>1714.36</c:v>
                </c:pt>
                <c:pt idx="1123">
                  <c:v>1729.22</c:v>
                </c:pt>
                <c:pt idx="1124">
                  <c:v>1780.74</c:v>
                </c:pt>
                <c:pt idx="1125">
                  <c:v>1794.23</c:v>
                </c:pt>
                <c:pt idx="1126">
                  <c:v>1779.41</c:v>
                </c:pt>
                <c:pt idx="1127">
                  <c:v>1775.71</c:v>
                </c:pt>
                <c:pt idx="1128">
                  <c:v>1711.58</c:v>
                </c:pt>
                <c:pt idx="1129">
                  <c:v>1789.92</c:v>
                </c:pt>
                <c:pt idx="1130">
                  <c:v>1802.79</c:v>
                </c:pt>
                <c:pt idx="1131">
                  <c:v>1803.86</c:v>
                </c:pt>
                <c:pt idx="1132">
                  <c:v>1836.14</c:v>
                </c:pt>
                <c:pt idx="1133">
                  <c:v>1867.64</c:v>
                </c:pt>
                <c:pt idx="1134">
                  <c:v>1916.11</c:v>
                </c:pt>
                <c:pt idx="1135">
                  <c:v>1921.44</c:v>
                </c:pt>
                <c:pt idx="1136">
                  <c:v>1936.55</c:v>
                </c:pt>
                <c:pt idx="1137">
                  <c:v>1908.99</c:v>
                </c:pt>
                <c:pt idx="1138">
                  <c:v>1895.64</c:v>
                </c:pt>
                <c:pt idx="1139">
                  <c:v>1939.1</c:v>
                </c:pt>
                <c:pt idx="1140">
                  <c:v>1938.24</c:v>
                </c:pt>
                <c:pt idx="1141">
                  <c:v>1982.88</c:v>
                </c:pt>
                <c:pt idx="1142">
                  <c:v>1979.93</c:v>
                </c:pt>
                <c:pt idx="1143">
                  <c:v>2041.05</c:v>
                </c:pt>
                <c:pt idx="1144">
                  <c:v>2067.09</c:v>
                </c:pt>
                <c:pt idx="1145">
                  <c:v>2072.88</c:v>
                </c:pt>
                <c:pt idx="1146">
                  <c:v>2131.56</c:v>
                </c:pt>
                <c:pt idx="1147">
                  <c:v>2200.09</c:v>
                </c:pt>
                <c:pt idx="1148">
                  <c:v>2255.9699999999998</c:v>
                </c:pt>
                <c:pt idx="1149">
                  <c:v>2231.63</c:v>
                </c:pt>
                <c:pt idx="1150">
                  <c:v>2173.75</c:v>
                </c:pt>
                <c:pt idx="1151">
                  <c:v>2287.34</c:v>
                </c:pt>
                <c:pt idx="1152">
                  <c:v>2353.87</c:v>
                </c:pt>
                <c:pt idx="1153">
                  <c:v>2308.9299999999998</c:v>
                </c:pt>
                <c:pt idx="1154">
                  <c:v>2317.09</c:v>
                </c:pt>
                <c:pt idx="1155">
                  <c:v>2396.09</c:v>
                </c:pt>
                <c:pt idx="1156">
                  <c:v>2491.31</c:v>
                </c:pt>
                <c:pt idx="1157">
                  <c:v>2508.13</c:v>
                </c:pt>
                <c:pt idx="1158">
                  <c:v>2536.4299999999998</c:v>
                </c:pt>
                <c:pt idx="1159">
                  <c:v>2452.83</c:v>
                </c:pt>
                <c:pt idx="1160">
                  <c:v>2512.92</c:v>
                </c:pt>
                <c:pt idx="1161">
                  <c:v>2576.92</c:v>
                </c:pt>
                <c:pt idx="1162">
                  <c:v>2551.88</c:v>
                </c:pt>
                <c:pt idx="1163">
                  <c:v>2385.34</c:v>
                </c:pt>
                <c:pt idx="1164">
                  <c:v>2395.17</c:v>
                </c:pt>
                <c:pt idx="1165">
                  <c:v>2298</c:v>
                </c:pt>
                <c:pt idx="1166">
                  <c:v>2271.8000000000002</c:v>
                </c:pt>
                <c:pt idx="1167">
                  <c:v>2316.04</c:v>
                </c:pt>
                <c:pt idx="1168">
                  <c:v>2369.79</c:v>
                </c:pt>
                <c:pt idx="1169">
                  <c:v>2410.6</c:v>
                </c:pt>
                <c:pt idx="1170">
                  <c:v>2397.25</c:v>
                </c:pt>
                <c:pt idx="1171">
                  <c:v>2485.39</c:v>
                </c:pt>
                <c:pt idx="1172">
                  <c:v>2522.63</c:v>
                </c:pt>
                <c:pt idx="1173">
                  <c:v>2588.35</c:v>
                </c:pt>
                <c:pt idx="1174">
                  <c:v>2668.63</c:v>
                </c:pt>
                <c:pt idx="1175">
                  <c:v>2676.74</c:v>
                </c:pt>
                <c:pt idx="1176">
                  <c:v>2707.68</c:v>
                </c:pt>
                <c:pt idx="1177">
                  <c:v>2457.4899999999998</c:v>
                </c:pt>
                <c:pt idx="1178">
                  <c:v>2544.5700000000002</c:v>
                </c:pt>
                <c:pt idx="1179">
                  <c:v>2473.54</c:v>
                </c:pt>
                <c:pt idx="1180">
                  <c:v>2508.73</c:v>
                </c:pt>
                <c:pt idx="1181">
                  <c:v>2475.61</c:v>
                </c:pt>
                <c:pt idx="1182">
                  <c:v>2520.29</c:v>
                </c:pt>
                <c:pt idx="1183">
                  <c:v>2589.44</c:v>
                </c:pt>
                <c:pt idx="1184">
                  <c:v>2627.63</c:v>
                </c:pt>
                <c:pt idx="1185">
                  <c:v>2611.39</c:v>
                </c:pt>
                <c:pt idx="1186">
                  <c:v>2616.17</c:v>
                </c:pt>
                <c:pt idx="1187">
                  <c:v>2640.17</c:v>
                </c:pt>
                <c:pt idx="1188">
                  <c:v>2597.36</c:v>
                </c:pt>
                <c:pt idx="1189">
                  <c:v>2645.55</c:v>
                </c:pt>
                <c:pt idx="1190">
                  <c:v>2604.23</c:v>
                </c:pt>
                <c:pt idx="1191">
                  <c:v>2659.41</c:v>
                </c:pt>
                <c:pt idx="1192">
                  <c:v>2672.77</c:v>
                </c:pt>
                <c:pt idx="1193">
                  <c:v>2702.6</c:v>
                </c:pt>
                <c:pt idx="1194">
                  <c:v>2711.32</c:v>
                </c:pt>
                <c:pt idx="1195">
                  <c:v>2716.27</c:v>
                </c:pt>
                <c:pt idx="1196">
                  <c:v>2764.03</c:v>
                </c:pt>
                <c:pt idx="1197">
                  <c:v>2784.02</c:v>
                </c:pt>
                <c:pt idx="1198">
                  <c:v>2797.65</c:v>
                </c:pt>
                <c:pt idx="1199">
                  <c:v>2783.31</c:v>
                </c:pt>
                <c:pt idx="1200">
                  <c:v>2781.78</c:v>
                </c:pt>
                <c:pt idx="1201">
                  <c:v>2850.11</c:v>
                </c:pt>
                <c:pt idx="1202">
                  <c:v>2888.12</c:v>
                </c:pt>
                <c:pt idx="1203">
                  <c:v>2911.82</c:v>
                </c:pt>
                <c:pt idx="1204">
                  <c:v>2945.05</c:v>
                </c:pt>
                <c:pt idx="1205">
                  <c:v>2972.01</c:v>
                </c:pt>
                <c:pt idx="1206">
                  <c:v>3038.17</c:v>
                </c:pt>
                <c:pt idx="1207">
                  <c:v>3081.57</c:v>
                </c:pt>
                <c:pt idx="1208">
                  <c:v>3121.32</c:v>
                </c:pt>
                <c:pt idx="1209">
                  <c:v>3176.44</c:v>
                </c:pt>
                <c:pt idx="1210">
                  <c:v>3169.23</c:v>
                </c:pt>
                <c:pt idx="1211">
                  <c:v>3256</c:v>
                </c:pt>
                <c:pt idx="1212">
                  <c:v>3283.6</c:v>
                </c:pt>
                <c:pt idx="1213">
                  <c:v>3304.5</c:v>
                </c:pt>
                <c:pt idx="1214">
                  <c:v>3150.3</c:v>
                </c:pt>
                <c:pt idx="1215">
                  <c:v>3289.28</c:v>
                </c:pt>
                <c:pt idx="1216">
                  <c:v>3431.32</c:v>
                </c:pt>
                <c:pt idx="1217">
                  <c:v>3445.2</c:v>
                </c:pt>
                <c:pt idx="1218">
                  <c:v>3448.28</c:v>
                </c:pt>
                <c:pt idx="1219">
                  <c:v>3493.58</c:v>
                </c:pt>
                <c:pt idx="1220">
                  <c:v>3470.52</c:v>
                </c:pt>
                <c:pt idx="1221">
                  <c:v>3558.71</c:v>
                </c:pt>
                <c:pt idx="1222">
                  <c:v>3686.03</c:v>
                </c:pt>
                <c:pt idx="1223">
                  <c:v>3701.28</c:v>
                </c:pt>
                <c:pt idx="1224">
                  <c:v>3724.51</c:v>
                </c:pt>
                <c:pt idx="1225">
                  <c:v>3702.61</c:v>
                </c:pt>
                <c:pt idx="1226">
                  <c:v>3734.42</c:v>
                </c:pt>
                <c:pt idx="1227">
                  <c:v>3604.64</c:v>
                </c:pt>
                <c:pt idx="1228">
                  <c:v>3700.29</c:v>
                </c:pt>
                <c:pt idx="1229">
                  <c:v>3778.61</c:v>
                </c:pt>
                <c:pt idx="1230">
                  <c:v>3776.63</c:v>
                </c:pt>
                <c:pt idx="1231">
                  <c:v>3831.44</c:v>
                </c:pt>
                <c:pt idx="1232">
                  <c:v>3870.49</c:v>
                </c:pt>
                <c:pt idx="1233">
                  <c:v>3938.95</c:v>
                </c:pt>
                <c:pt idx="1234">
                  <c:v>3919.75</c:v>
                </c:pt>
                <c:pt idx="1235">
                  <c:v>3985.25</c:v>
                </c:pt>
                <c:pt idx="1236">
                  <c:v>4072.58</c:v>
                </c:pt>
                <c:pt idx="1237">
                  <c:v>4168.29</c:v>
                </c:pt>
                <c:pt idx="1238">
                  <c:v>3886.46</c:v>
                </c:pt>
                <c:pt idx="1239">
                  <c:v>3927.95</c:v>
                </c:pt>
                <c:pt idx="1240">
                  <c:v>3803.95</c:v>
                </c:pt>
                <c:pt idx="1241">
                  <c:v>3511.43</c:v>
                </c:pt>
                <c:pt idx="1242">
                  <c:v>3634.63</c:v>
                </c:pt>
                <c:pt idx="1243">
                  <c:v>3677.58</c:v>
                </c:pt>
                <c:pt idx="1244">
                  <c:v>3802.3</c:v>
                </c:pt>
                <c:pt idx="1245">
                  <c:v>3837.87</c:v>
                </c:pt>
                <c:pt idx="1246">
                  <c:v>3931.86</c:v>
                </c:pt>
                <c:pt idx="1247">
                  <c:v>4036.11</c:v>
                </c:pt>
                <c:pt idx="1248">
                  <c:v>4118.2700000000004</c:v>
                </c:pt>
                <c:pt idx="1249">
                  <c:v>4075.82</c:v>
                </c:pt>
                <c:pt idx="1250">
                  <c:v>4099.38</c:v>
                </c:pt>
                <c:pt idx="1251">
                  <c:v>4227.57</c:v>
                </c:pt>
                <c:pt idx="1252">
                  <c:v>4253</c:v>
                </c:pt>
                <c:pt idx="1253">
                  <c:v>4157.6000000000004</c:v>
                </c:pt>
                <c:pt idx="1254">
                  <c:v>4197.28</c:v>
                </c:pt>
                <c:pt idx="1255">
                  <c:v>4051.43</c:v>
                </c:pt>
                <c:pt idx="1256">
                  <c:v>3877.59</c:v>
                </c:pt>
                <c:pt idx="1257">
                  <c:v>3928.21</c:v>
                </c:pt>
                <c:pt idx="1258">
                  <c:v>4040.48</c:v>
                </c:pt>
                <c:pt idx="1259">
                  <c:v>3858.52</c:v>
                </c:pt>
                <c:pt idx="1260">
                  <c:v>3764.08</c:v>
                </c:pt>
                <c:pt idx="1261">
                  <c:v>3757.66</c:v>
                </c:pt>
                <c:pt idx="1262">
                  <c:v>3832.23</c:v>
                </c:pt>
                <c:pt idx="1263">
                  <c:v>3743.58</c:v>
                </c:pt>
                <c:pt idx="1264">
                  <c:v>3537.44</c:v>
                </c:pt>
                <c:pt idx="1265">
                  <c:v>3710.28</c:v>
                </c:pt>
                <c:pt idx="1266">
                  <c:v>3821.3</c:v>
                </c:pt>
                <c:pt idx="1267">
                  <c:v>3775.62</c:v>
                </c:pt>
                <c:pt idx="1268">
                  <c:v>3789.87</c:v>
                </c:pt>
                <c:pt idx="1269">
                  <c:v>3816.92</c:v>
                </c:pt>
                <c:pt idx="1270">
                  <c:v>3820.12</c:v>
                </c:pt>
                <c:pt idx="1271">
                  <c:v>3697.97</c:v>
                </c:pt>
                <c:pt idx="1272">
                  <c:v>3789.65</c:v>
                </c:pt>
                <c:pt idx="1273">
                  <c:v>3807.57</c:v>
                </c:pt>
                <c:pt idx="1274">
                  <c:v>3807</c:v>
                </c:pt>
                <c:pt idx="1275">
                  <c:v>3971.88</c:v>
                </c:pt>
                <c:pt idx="1276">
                  <c:v>4156.72</c:v>
                </c:pt>
                <c:pt idx="1277">
                  <c:v>4161.3500000000004</c:v>
                </c:pt>
                <c:pt idx="1278">
                  <c:v>4255.46</c:v>
                </c:pt>
                <c:pt idx="1279">
                  <c:v>4303.1899999999996</c:v>
                </c:pt>
                <c:pt idx="1280">
                  <c:v>4307.1400000000003</c:v>
                </c:pt>
                <c:pt idx="1281">
                  <c:v>4410.3</c:v>
                </c:pt>
                <c:pt idx="1282">
                  <c:v>4460.5600000000004</c:v>
                </c:pt>
                <c:pt idx="1283">
                  <c:v>4290.4799999999996</c:v>
                </c:pt>
                <c:pt idx="1284">
                  <c:v>4436.1899999999996</c:v>
                </c:pt>
                <c:pt idx="1285">
                  <c:v>4598.38</c:v>
                </c:pt>
                <c:pt idx="1286">
                  <c:v>4703.9799999999996</c:v>
                </c:pt>
                <c:pt idx="1287">
                  <c:v>4724.55</c:v>
                </c:pt>
                <c:pt idx="1288">
                  <c:v>4668.09</c:v>
                </c:pt>
                <c:pt idx="1289">
                  <c:v>4777.29</c:v>
                </c:pt>
                <c:pt idx="1290">
                  <c:v>4726.68</c:v>
                </c:pt>
                <c:pt idx="1291">
                  <c:v>4721.1899999999996</c:v>
                </c:pt>
                <c:pt idx="1292">
                  <c:v>4795.57</c:v>
                </c:pt>
                <c:pt idx="1293">
                  <c:v>4798.75</c:v>
                </c:pt>
                <c:pt idx="1294">
                  <c:v>4721.9399999999996</c:v>
                </c:pt>
                <c:pt idx="1295">
                  <c:v>4626.58</c:v>
                </c:pt>
                <c:pt idx="1296">
                  <c:v>4885.43</c:v>
                </c:pt>
                <c:pt idx="1297">
                  <c:v>4972.71</c:v>
                </c:pt>
                <c:pt idx="1298">
                  <c:v>5051.6899999999996</c:v>
                </c:pt>
                <c:pt idx="1299">
                  <c:v>5135.93</c:v>
                </c:pt>
                <c:pt idx="1300">
                  <c:v>5217.58</c:v>
                </c:pt>
                <c:pt idx="1301">
                  <c:v>5243.15</c:v>
                </c:pt>
                <c:pt idx="1302">
                  <c:v>5251.77</c:v>
                </c:pt>
                <c:pt idx="1303">
                  <c:v>5171.82</c:v>
                </c:pt>
                <c:pt idx="1304">
                  <c:v>5241.2299999999996</c:v>
                </c:pt>
                <c:pt idx="1305">
                  <c:v>5296.81</c:v>
                </c:pt>
                <c:pt idx="1306">
                  <c:v>5419.17</c:v>
                </c:pt>
                <c:pt idx="1307">
                  <c:v>5360.33</c:v>
                </c:pt>
                <c:pt idx="1308">
                  <c:v>5363.25</c:v>
                </c:pt>
                <c:pt idx="1309">
                  <c:v>5412.04</c:v>
                </c:pt>
                <c:pt idx="1310">
                  <c:v>5294.8</c:v>
                </c:pt>
                <c:pt idx="1311">
                  <c:v>5377.22</c:v>
                </c:pt>
                <c:pt idx="1312">
                  <c:v>5124.09</c:v>
                </c:pt>
                <c:pt idx="1313">
                  <c:v>5202.8599999999997</c:v>
                </c:pt>
                <c:pt idx="1314">
                  <c:v>5349.97</c:v>
                </c:pt>
                <c:pt idx="1315">
                  <c:v>5397.28</c:v>
                </c:pt>
                <c:pt idx="1316">
                  <c:v>5498.91</c:v>
                </c:pt>
                <c:pt idx="1317">
                  <c:v>5476.84</c:v>
                </c:pt>
                <c:pt idx="1318">
                  <c:v>5419.27</c:v>
                </c:pt>
                <c:pt idx="1319">
                  <c:v>5494.92</c:v>
                </c:pt>
                <c:pt idx="1320">
                  <c:v>5468.1</c:v>
                </c:pt>
                <c:pt idx="1321">
                  <c:v>5513.9</c:v>
                </c:pt>
                <c:pt idx="1322">
                  <c:v>5454.62</c:v>
                </c:pt>
                <c:pt idx="1323">
                  <c:v>5361.02</c:v>
                </c:pt>
                <c:pt idx="1324">
                  <c:v>5427.66</c:v>
                </c:pt>
                <c:pt idx="1325">
                  <c:v>5580.81</c:v>
                </c:pt>
                <c:pt idx="1326">
                  <c:v>5653.14</c:v>
                </c:pt>
                <c:pt idx="1327">
                  <c:v>5675.93</c:v>
                </c:pt>
                <c:pt idx="1328">
                  <c:v>5685.76</c:v>
                </c:pt>
                <c:pt idx="1329">
                  <c:v>5760.08</c:v>
                </c:pt>
                <c:pt idx="1330">
                  <c:v>5737.22</c:v>
                </c:pt>
                <c:pt idx="1331">
                  <c:v>5821.45</c:v>
                </c:pt>
                <c:pt idx="1332">
                  <c:v>5877.2</c:v>
                </c:pt>
                <c:pt idx="1333">
                  <c:v>5824.12</c:v>
                </c:pt>
                <c:pt idx="1334">
                  <c:v>5615.75</c:v>
                </c:pt>
                <c:pt idx="1335">
                  <c:v>5614.06</c:v>
                </c:pt>
                <c:pt idx="1336">
                  <c:v>5472.68</c:v>
                </c:pt>
                <c:pt idx="1337">
                  <c:v>5540.09</c:v>
                </c:pt>
                <c:pt idx="1338">
                  <c:v>5588.01</c:v>
                </c:pt>
                <c:pt idx="1339">
                  <c:v>5333.79</c:v>
                </c:pt>
                <c:pt idx="1340">
                  <c:v>5394.81</c:v>
                </c:pt>
                <c:pt idx="1341">
                  <c:v>5508.36</c:v>
                </c:pt>
                <c:pt idx="1342">
                  <c:v>5596.07</c:v>
                </c:pt>
                <c:pt idx="1343">
                  <c:v>5688.54</c:v>
                </c:pt>
                <c:pt idx="1344">
                  <c:v>5605.23</c:v>
                </c:pt>
                <c:pt idx="1345">
                  <c:v>5472.93</c:v>
                </c:pt>
                <c:pt idx="1346">
                  <c:v>5360.31</c:v>
                </c:pt>
                <c:pt idx="1347">
                  <c:v>5317.55</c:v>
                </c:pt>
                <c:pt idx="1348">
                  <c:v>5350.63</c:v>
                </c:pt>
                <c:pt idx="1349">
                  <c:v>5093.67</c:v>
                </c:pt>
                <c:pt idx="1350">
                  <c:v>5040.5200000000004</c:v>
                </c:pt>
                <c:pt idx="1351">
                  <c:v>4978.25</c:v>
                </c:pt>
                <c:pt idx="1352">
                  <c:v>4939.24</c:v>
                </c:pt>
                <c:pt idx="1353">
                  <c:v>5145.8900000000003</c:v>
                </c:pt>
                <c:pt idx="1354">
                  <c:v>5081.1099999999997</c:v>
                </c:pt>
                <c:pt idx="1355">
                  <c:v>5007.66</c:v>
                </c:pt>
                <c:pt idx="1356">
                  <c:v>4994.42</c:v>
                </c:pt>
                <c:pt idx="1357">
                  <c:v>5069.38</c:v>
                </c:pt>
                <c:pt idx="1358">
                  <c:v>4997.62</c:v>
                </c:pt>
                <c:pt idx="1359">
                  <c:v>4772.62</c:v>
                </c:pt>
                <c:pt idx="1360">
                  <c:v>4856.16</c:v>
                </c:pt>
                <c:pt idx="1361">
                  <c:v>4800.08</c:v>
                </c:pt>
                <c:pt idx="1362">
                  <c:v>4711.1499999999996</c:v>
                </c:pt>
                <c:pt idx="1363">
                  <c:v>4648.75</c:v>
                </c:pt>
                <c:pt idx="1364">
                  <c:v>4842.07</c:v>
                </c:pt>
                <c:pt idx="1365">
                  <c:v>4737.41</c:v>
                </c:pt>
                <c:pt idx="1366">
                  <c:v>4772.67</c:v>
                </c:pt>
                <c:pt idx="1367">
                  <c:v>4829.21</c:v>
                </c:pt>
                <c:pt idx="1368">
                  <c:v>4965.95</c:v>
                </c:pt>
                <c:pt idx="1369">
                  <c:v>4971.0600000000004</c:v>
                </c:pt>
                <c:pt idx="1370">
                  <c:v>5041.3500000000004</c:v>
                </c:pt>
                <c:pt idx="1371">
                  <c:v>5133.5600000000004</c:v>
                </c:pt>
                <c:pt idx="1372">
                  <c:v>5140</c:v>
                </c:pt>
                <c:pt idx="1373">
                  <c:v>5077.3900000000003</c:v>
                </c:pt>
                <c:pt idx="1374">
                  <c:v>4884.3</c:v>
                </c:pt>
                <c:pt idx="1375">
                  <c:v>4977.6499999999996</c:v>
                </c:pt>
                <c:pt idx="1376">
                  <c:v>4857.29</c:v>
                </c:pt>
                <c:pt idx="1377">
                  <c:v>4829.91</c:v>
                </c:pt>
                <c:pt idx="1378">
                  <c:v>4946.29</c:v>
                </c:pt>
                <c:pt idx="1379">
                  <c:v>5037.2</c:v>
                </c:pt>
                <c:pt idx="1380">
                  <c:v>5101.8500000000004</c:v>
                </c:pt>
                <c:pt idx="1381">
                  <c:v>5207.13</c:v>
                </c:pt>
                <c:pt idx="1382">
                  <c:v>5216.8100000000004</c:v>
                </c:pt>
                <c:pt idx="1383">
                  <c:v>5265.03</c:v>
                </c:pt>
                <c:pt idx="1384">
                  <c:v>5367.53</c:v>
                </c:pt>
                <c:pt idx="1385">
                  <c:v>5338.28</c:v>
                </c:pt>
                <c:pt idx="1386">
                  <c:v>5385.1</c:v>
                </c:pt>
                <c:pt idx="1387">
                  <c:v>5422.03</c:v>
                </c:pt>
                <c:pt idx="1388">
                  <c:v>5483.65</c:v>
                </c:pt>
                <c:pt idx="1389">
                  <c:v>5556.59</c:v>
                </c:pt>
                <c:pt idx="1390">
                  <c:v>5528.05</c:v>
                </c:pt>
                <c:pt idx="1391">
                  <c:v>5613.76</c:v>
                </c:pt>
                <c:pt idx="1392">
                  <c:v>5672.15</c:v>
                </c:pt>
                <c:pt idx="1393">
                  <c:v>5699.15</c:v>
                </c:pt>
                <c:pt idx="1394">
                  <c:v>5731.76</c:v>
                </c:pt>
                <c:pt idx="1395">
                  <c:v>5696.45</c:v>
                </c:pt>
                <c:pt idx="1396">
                  <c:v>5505.72</c:v>
                </c:pt>
                <c:pt idx="1397">
                  <c:v>5365.62</c:v>
                </c:pt>
                <c:pt idx="1398">
                  <c:v>5414.47</c:v>
                </c:pt>
                <c:pt idx="1399">
                  <c:v>5145.7299999999996</c:v>
                </c:pt>
                <c:pt idx="1400">
                  <c:v>4753.87</c:v>
                </c:pt>
                <c:pt idx="1401">
                  <c:v>4975.1099999999997</c:v>
                </c:pt>
                <c:pt idx="1402">
                  <c:v>5027.21</c:v>
                </c:pt>
                <c:pt idx="1403">
                  <c:v>5077.43</c:v>
                </c:pt>
                <c:pt idx="1404">
                  <c:v>4731.88</c:v>
                </c:pt>
                <c:pt idx="1405">
                  <c:v>4762.08</c:v>
                </c:pt>
                <c:pt idx="1406">
                  <c:v>4710.6499999999996</c:v>
                </c:pt>
                <c:pt idx="1407">
                  <c:v>4620.3999999999996</c:v>
                </c:pt>
                <c:pt idx="1408">
                  <c:v>4571.95</c:v>
                </c:pt>
                <c:pt idx="1409">
                  <c:v>4950.12</c:v>
                </c:pt>
                <c:pt idx="1410">
                  <c:v>4921.83</c:v>
                </c:pt>
                <c:pt idx="1411">
                  <c:v>4816.08</c:v>
                </c:pt>
                <c:pt idx="1412">
                  <c:v>4880.25</c:v>
                </c:pt>
                <c:pt idx="1413">
                  <c:v>4813.3100000000004</c:v>
                </c:pt>
                <c:pt idx="1414">
                  <c:v>4910.99</c:v>
                </c:pt>
                <c:pt idx="1415">
                  <c:v>5020.75</c:v>
                </c:pt>
                <c:pt idx="1416">
                  <c:v>4908.72</c:v>
                </c:pt>
                <c:pt idx="1417">
                  <c:v>4876.03</c:v>
                </c:pt>
                <c:pt idx="1418">
                  <c:v>4702.24</c:v>
                </c:pt>
                <c:pt idx="1419">
                  <c:v>4519.78</c:v>
                </c:pt>
                <c:pt idx="1420">
                  <c:v>4515.53</c:v>
                </c:pt>
                <c:pt idx="1421">
                  <c:v>4639.7700000000004</c:v>
                </c:pt>
                <c:pt idx="1422">
                  <c:v>4622.0600000000004</c:v>
                </c:pt>
                <c:pt idx="1423">
                  <c:v>4674.55</c:v>
                </c:pt>
                <c:pt idx="1424">
                  <c:v>4790.74</c:v>
                </c:pt>
                <c:pt idx="1425">
                  <c:v>4671.1499999999996</c:v>
                </c:pt>
                <c:pt idx="1426">
                  <c:v>4628.72</c:v>
                </c:pt>
                <c:pt idx="1427">
                  <c:v>4685.03</c:v>
                </c:pt>
                <c:pt idx="1428">
                  <c:v>4621.6899999999996</c:v>
                </c:pt>
                <c:pt idx="1429">
                  <c:v>4431.59</c:v>
                </c:pt>
                <c:pt idx="1430">
                  <c:v>4441.18</c:v>
                </c:pt>
                <c:pt idx="1431">
                  <c:v>4309.6499999999996</c:v>
                </c:pt>
                <c:pt idx="1432">
                  <c:v>4198.96</c:v>
                </c:pt>
                <c:pt idx="1433">
                  <c:v>4157.87</c:v>
                </c:pt>
                <c:pt idx="1434">
                  <c:v>3965.28</c:v>
                </c:pt>
                <c:pt idx="1435">
                  <c:v>3763.95</c:v>
                </c:pt>
                <c:pt idx="1436">
                  <c:v>3888.86</c:v>
                </c:pt>
                <c:pt idx="1437">
                  <c:v>4001.83</c:v>
                </c:pt>
                <c:pt idx="1438">
                  <c:v>4037.83</c:v>
                </c:pt>
                <c:pt idx="1439">
                  <c:v>3857.09</c:v>
                </c:pt>
                <c:pt idx="1440">
                  <c:v>3905.77</c:v>
                </c:pt>
                <c:pt idx="1441">
                  <c:v>3914.37</c:v>
                </c:pt>
                <c:pt idx="1442">
                  <c:v>3748.92</c:v>
                </c:pt>
                <c:pt idx="1443">
                  <c:v>3918.16</c:v>
                </c:pt>
                <c:pt idx="1444">
                  <c:v>3790.53</c:v>
                </c:pt>
                <c:pt idx="1445">
                  <c:v>3582.86</c:v>
                </c:pt>
                <c:pt idx="1446">
                  <c:v>3547.98</c:v>
                </c:pt>
                <c:pt idx="1447">
                  <c:v>3650.7</c:v>
                </c:pt>
                <c:pt idx="1448">
                  <c:v>3845.82</c:v>
                </c:pt>
                <c:pt idx="1449">
                  <c:v>3891.06</c:v>
                </c:pt>
                <c:pt idx="1450">
                  <c:v>3688.13</c:v>
                </c:pt>
                <c:pt idx="1451">
                  <c:v>3754.72</c:v>
                </c:pt>
                <c:pt idx="1452">
                  <c:v>3783.73</c:v>
                </c:pt>
                <c:pt idx="1453">
                  <c:v>3536.33</c:v>
                </c:pt>
                <c:pt idx="1454">
                  <c:v>3583.3</c:v>
                </c:pt>
                <c:pt idx="1455">
                  <c:v>3494.02</c:v>
                </c:pt>
                <c:pt idx="1456">
                  <c:v>3386.63</c:v>
                </c:pt>
                <c:pt idx="1457">
                  <c:v>3272.5</c:v>
                </c:pt>
                <c:pt idx="1458">
                  <c:v>3267.55</c:v>
                </c:pt>
                <c:pt idx="1459">
                  <c:v>3296.28</c:v>
                </c:pt>
                <c:pt idx="1460">
                  <c:v>3453.73</c:v>
                </c:pt>
                <c:pt idx="1461">
                  <c:v>3774.5</c:v>
                </c:pt>
                <c:pt idx="1462">
                  <c:v>3803.07</c:v>
                </c:pt>
                <c:pt idx="1463">
                  <c:v>3729.15</c:v>
                </c:pt>
                <c:pt idx="1464">
                  <c:v>3776.94</c:v>
                </c:pt>
                <c:pt idx="1465">
                  <c:v>3959.12</c:v>
                </c:pt>
                <c:pt idx="1466">
                  <c:v>4055.78</c:v>
                </c:pt>
                <c:pt idx="1467">
                  <c:v>4010.89</c:v>
                </c:pt>
                <c:pt idx="1468">
                  <c:v>3821.32</c:v>
                </c:pt>
                <c:pt idx="1469">
                  <c:v>3925.04</c:v>
                </c:pt>
                <c:pt idx="1470">
                  <c:v>3878.92</c:v>
                </c:pt>
                <c:pt idx="1471">
                  <c:v>3904.92</c:v>
                </c:pt>
                <c:pt idx="1472">
                  <c:v>3851.69</c:v>
                </c:pt>
                <c:pt idx="1473">
                  <c:v>3975.78</c:v>
                </c:pt>
                <c:pt idx="1474">
                  <c:v>3948.09</c:v>
                </c:pt>
                <c:pt idx="1475">
                  <c:v>3936.12</c:v>
                </c:pt>
                <c:pt idx="1476">
                  <c:v>3914.07</c:v>
                </c:pt>
                <c:pt idx="1477">
                  <c:v>3710.82</c:v>
                </c:pt>
                <c:pt idx="1478">
                  <c:v>3783.05</c:v>
                </c:pt>
                <c:pt idx="1479">
                  <c:v>3711.44</c:v>
                </c:pt>
                <c:pt idx="1480">
                  <c:v>3675.15</c:v>
                </c:pt>
                <c:pt idx="1481">
                  <c:v>3559.22</c:v>
                </c:pt>
                <c:pt idx="1482">
                  <c:v>3576.2</c:v>
                </c:pt>
                <c:pt idx="1483">
                  <c:v>3676.23</c:v>
                </c:pt>
                <c:pt idx="1484">
                  <c:v>3580.87</c:v>
                </c:pt>
                <c:pt idx="1485">
                  <c:v>3611.33</c:v>
                </c:pt>
                <c:pt idx="1486">
                  <c:v>3625.83</c:v>
                </c:pt>
                <c:pt idx="1487">
                  <c:v>3614.11</c:v>
                </c:pt>
                <c:pt idx="1488">
                  <c:v>3546.92</c:v>
                </c:pt>
                <c:pt idx="1489">
                  <c:v>3512.14</c:v>
                </c:pt>
                <c:pt idx="1490">
                  <c:v>3489.5</c:v>
                </c:pt>
                <c:pt idx="1491">
                  <c:v>3206.56</c:v>
                </c:pt>
                <c:pt idx="1492">
                  <c:v>3140.3</c:v>
                </c:pt>
                <c:pt idx="1493">
                  <c:v>3084.63</c:v>
                </c:pt>
                <c:pt idx="1494">
                  <c:v>2979.12</c:v>
                </c:pt>
                <c:pt idx="1495">
                  <c:v>2952.24</c:v>
                </c:pt>
                <c:pt idx="1496">
                  <c:v>2842.68</c:v>
                </c:pt>
                <c:pt idx="1497">
                  <c:v>2991.27</c:v>
                </c:pt>
                <c:pt idx="1498">
                  <c:v>2773.08</c:v>
                </c:pt>
                <c:pt idx="1499">
                  <c:v>2849.67</c:v>
                </c:pt>
                <c:pt idx="1500">
                  <c:v>2789.94</c:v>
                </c:pt>
                <c:pt idx="1501">
                  <c:v>2851.92</c:v>
                </c:pt>
                <c:pt idx="1502">
                  <c:v>2969.54</c:v>
                </c:pt>
                <c:pt idx="1503">
                  <c:v>2980.91</c:v>
                </c:pt>
                <c:pt idx="1504">
                  <c:v>2816.02</c:v>
                </c:pt>
                <c:pt idx="1505">
                  <c:v>2791.82</c:v>
                </c:pt>
                <c:pt idx="1506">
                  <c:v>2698.35</c:v>
                </c:pt>
                <c:pt idx="1507">
                  <c:v>2699.6</c:v>
                </c:pt>
                <c:pt idx="1508">
                  <c:v>2760.61</c:v>
                </c:pt>
                <c:pt idx="1509">
                  <c:v>2741.85</c:v>
                </c:pt>
                <c:pt idx="1510">
                  <c:v>2882.76</c:v>
                </c:pt>
                <c:pt idx="1511">
                  <c:v>2901.84</c:v>
                </c:pt>
                <c:pt idx="1512">
                  <c:v>3015.13</c:v>
                </c:pt>
                <c:pt idx="1513">
                  <c:v>2973.73</c:v>
                </c:pt>
                <c:pt idx="1514">
                  <c:v>2953.5</c:v>
                </c:pt>
                <c:pt idx="1515">
                  <c:v>2975.87</c:v>
                </c:pt>
                <c:pt idx="1516">
                  <c:v>2852.98</c:v>
                </c:pt>
                <c:pt idx="1517">
                  <c:v>2745.6</c:v>
                </c:pt>
                <c:pt idx="1518">
                  <c:v>2718.07</c:v>
                </c:pt>
                <c:pt idx="1519">
                  <c:v>2815.46</c:v>
                </c:pt>
                <c:pt idx="1520">
                  <c:v>2911.05</c:v>
                </c:pt>
                <c:pt idx="1521">
                  <c:v>2904.74</c:v>
                </c:pt>
                <c:pt idx="1522">
                  <c:v>2883.32</c:v>
                </c:pt>
                <c:pt idx="1523">
                  <c:v>2977.36</c:v>
                </c:pt>
                <c:pt idx="1524">
                  <c:v>2939.2</c:v>
                </c:pt>
                <c:pt idx="1525">
                  <c:v>2960.85</c:v>
                </c:pt>
                <c:pt idx="1526">
                  <c:v>2905.63</c:v>
                </c:pt>
                <c:pt idx="1527">
                  <c:v>2884.38</c:v>
                </c:pt>
                <c:pt idx="1528">
                  <c:v>2805.21</c:v>
                </c:pt>
                <c:pt idx="1529">
                  <c:v>2840.79</c:v>
                </c:pt>
                <c:pt idx="1530">
                  <c:v>2773.15</c:v>
                </c:pt>
                <c:pt idx="1531">
                  <c:v>2703.08</c:v>
                </c:pt>
                <c:pt idx="1532">
                  <c:v>2721.69</c:v>
                </c:pt>
                <c:pt idx="1533">
                  <c:v>2720.44</c:v>
                </c:pt>
                <c:pt idx="1534">
                  <c:v>2591.46</c:v>
                </c:pt>
                <c:pt idx="1535">
                  <c:v>2456.81</c:v>
                </c:pt>
                <c:pt idx="1536">
                  <c:v>2444.16</c:v>
                </c:pt>
                <c:pt idx="1537">
                  <c:v>2444.67</c:v>
                </c:pt>
                <c:pt idx="1538">
                  <c:v>2443.5100000000002</c:v>
                </c:pt>
                <c:pt idx="1539">
                  <c:v>2447.61</c:v>
                </c:pt>
                <c:pt idx="1540">
                  <c:v>2313.4</c:v>
                </c:pt>
                <c:pt idx="1541">
                  <c:v>2348.4699999999998</c:v>
                </c:pt>
                <c:pt idx="1542">
                  <c:v>2532.94</c:v>
                </c:pt>
                <c:pt idx="1543">
                  <c:v>2443.98</c:v>
                </c:pt>
                <c:pt idx="1544">
                  <c:v>2404.9299999999998</c:v>
                </c:pt>
                <c:pt idx="1545">
                  <c:v>2400.5500000000002</c:v>
                </c:pt>
                <c:pt idx="1546">
                  <c:v>2331.5300000000002</c:v>
                </c:pt>
                <c:pt idx="1547">
                  <c:v>2325.29</c:v>
                </c:pt>
                <c:pt idx="1548">
                  <c:v>2335.86</c:v>
                </c:pt>
                <c:pt idx="1549">
                  <c:v>2391.64</c:v>
                </c:pt>
                <c:pt idx="1550">
                  <c:v>2309.17</c:v>
                </c:pt>
                <c:pt idx="1551">
                  <c:v>2285.41</c:v>
                </c:pt>
                <c:pt idx="1552">
                  <c:v>2245.96</c:v>
                </c:pt>
                <c:pt idx="1553">
                  <c:v>2251.15</c:v>
                </c:pt>
                <c:pt idx="1554">
                  <c:v>2183.4299999999998</c:v>
                </c:pt>
                <c:pt idx="1555">
                  <c:v>2126.52</c:v>
                </c:pt>
                <c:pt idx="1556">
                  <c:v>2139.15</c:v>
                </c:pt>
                <c:pt idx="1557">
                  <c:v>2143.1799999999998</c:v>
                </c:pt>
                <c:pt idx="1558">
                  <c:v>2072.13</c:v>
                </c:pt>
                <c:pt idx="1559">
                  <c:v>2077.85</c:v>
                </c:pt>
                <c:pt idx="1560">
                  <c:v>2000.65</c:v>
                </c:pt>
                <c:pt idx="1561">
                  <c:v>1929.14</c:v>
                </c:pt>
                <c:pt idx="1562">
                  <c:v>1895.99</c:v>
                </c:pt>
                <c:pt idx="1563">
                  <c:v>2073.11</c:v>
                </c:pt>
                <c:pt idx="1564">
                  <c:v>2207.61</c:v>
                </c:pt>
                <c:pt idx="1565">
                  <c:v>2123.48</c:v>
                </c:pt>
                <c:pt idx="1566">
                  <c:v>2138.85</c:v>
                </c:pt>
                <c:pt idx="1567">
                  <c:v>2223.5300000000002</c:v>
                </c:pt>
                <c:pt idx="1568">
                  <c:v>2243.66</c:v>
                </c:pt>
                <c:pt idx="1569">
                  <c:v>2128.6999999999998</c:v>
                </c:pt>
                <c:pt idx="1570">
                  <c:v>2102.4499999999998</c:v>
                </c:pt>
                <c:pt idx="1571">
                  <c:v>2022.88</c:v>
                </c:pt>
                <c:pt idx="1572">
                  <c:v>1995.3</c:v>
                </c:pt>
                <c:pt idx="1573">
                  <c:v>1906.96</c:v>
                </c:pt>
                <c:pt idx="1574">
                  <c:v>1985.49</c:v>
                </c:pt>
                <c:pt idx="1575">
                  <c:v>1934.62</c:v>
                </c:pt>
                <c:pt idx="1576">
                  <c:v>1914.36</c:v>
                </c:pt>
                <c:pt idx="1577">
                  <c:v>1820.9</c:v>
                </c:pt>
                <c:pt idx="1578">
                  <c:v>1833.26</c:v>
                </c:pt>
                <c:pt idx="1579">
                  <c:v>1896.73</c:v>
                </c:pt>
                <c:pt idx="1580">
                  <c:v>1881.41</c:v>
                </c:pt>
                <c:pt idx="1581">
                  <c:v>1833.32</c:v>
                </c:pt>
                <c:pt idx="1582">
                  <c:v>1834.78</c:v>
                </c:pt>
                <c:pt idx="1583">
                  <c:v>1781.6</c:v>
                </c:pt>
                <c:pt idx="1584">
                  <c:v>1654.67</c:v>
                </c:pt>
                <c:pt idx="1585">
                  <c:v>1705.82</c:v>
                </c:pt>
                <c:pt idx="1586">
                  <c:v>1658.22</c:v>
                </c:pt>
                <c:pt idx="1587">
                  <c:v>1697.66</c:v>
                </c:pt>
                <c:pt idx="1588">
                  <c:v>1663.66</c:v>
                </c:pt>
                <c:pt idx="1589">
                  <c:v>1653.54</c:v>
                </c:pt>
                <c:pt idx="1590">
                  <c:v>1627.76</c:v>
                </c:pt>
                <c:pt idx="1591">
                  <c:v>1691.42</c:v>
                </c:pt>
                <c:pt idx="1592">
                  <c:v>1649.78</c:v>
                </c:pt>
                <c:pt idx="1593">
                  <c:v>1677.83</c:v>
                </c:pt>
                <c:pt idx="1594">
                  <c:v>1801.67</c:v>
                </c:pt>
                <c:pt idx="1595">
                  <c:v>1781.36</c:v>
                </c:pt>
                <c:pt idx="1596">
                  <c:v>1801.82</c:v>
                </c:pt>
                <c:pt idx="1597">
                  <c:v>1874.08</c:v>
                </c:pt>
                <c:pt idx="1598">
                  <c:v>1943.65</c:v>
                </c:pt>
                <c:pt idx="1599">
                  <c:v>1987.23</c:v>
                </c:pt>
                <c:pt idx="1600">
                  <c:v>1839.82</c:v>
                </c:pt>
                <c:pt idx="1601">
                  <c:v>1953.16</c:v>
                </c:pt>
                <c:pt idx="1602">
                  <c:v>1932.43</c:v>
                </c:pt>
                <c:pt idx="1603">
                  <c:v>1920.74</c:v>
                </c:pt>
                <c:pt idx="1604">
                  <c:v>1837.64</c:v>
                </c:pt>
                <c:pt idx="1605">
                  <c:v>1834.29</c:v>
                </c:pt>
                <c:pt idx="1606">
                  <c:v>1843.5</c:v>
                </c:pt>
                <c:pt idx="1607">
                  <c:v>1870.47</c:v>
                </c:pt>
                <c:pt idx="1608">
                  <c:v>1829.92</c:v>
                </c:pt>
                <c:pt idx="1609">
                  <c:v>1864.21</c:v>
                </c:pt>
                <c:pt idx="1610">
                  <c:v>1868.63</c:v>
                </c:pt>
                <c:pt idx="1611">
                  <c:v>1952.67</c:v>
                </c:pt>
                <c:pt idx="1612">
                  <c:v>1982.93</c:v>
                </c:pt>
                <c:pt idx="1613">
                  <c:v>2013.18</c:v>
                </c:pt>
                <c:pt idx="1614">
                  <c:v>2095.04</c:v>
                </c:pt>
                <c:pt idx="1615">
                  <c:v>2040.85</c:v>
                </c:pt>
                <c:pt idx="1616">
                  <c:v>2096.39</c:v>
                </c:pt>
                <c:pt idx="1617">
                  <c:v>2046.34</c:v>
                </c:pt>
                <c:pt idx="1618">
                  <c:v>1960.38</c:v>
                </c:pt>
                <c:pt idx="1619">
                  <c:v>1975.03</c:v>
                </c:pt>
                <c:pt idx="1620">
                  <c:v>1994.45</c:v>
                </c:pt>
                <c:pt idx="1621">
                  <c:v>2001.42</c:v>
                </c:pt>
                <c:pt idx="1622">
                  <c:v>2045.1</c:v>
                </c:pt>
                <c:pt idx="1623">
                  <c:v>2052.11</c:v>
                </c:pt>
                <c:pt idx="1624">
                  <c:v>2017.55</c:v>
                </c:pt>
                <c:pt idx="1625">
                  <c:v>1918.96</c:v>
                </c:pt>
                <c:pt idx="1626">
                  <c:v>1887.08</c:v>
                </c:pt>
                <c:pt idx="1627">
                  <c:v>1870.77</c:v>
                </c:pt>
                <c:pt idx="1628">
                  <c:v>1862.1</c:v>
                </c:pt>
                <c:pt idx="1629">
                  <c:v>1854.76</c:v>
                </c:pt>
                <c:pt idx="1630">
                  <c:v>1833.44</c:v>
                </c:pt>
                <c:pt idx="1631">
                  <c:v>1817.72</c:v>
                </c:pt>
                <c:pt idx="1632">
                  <c:v>1882.96</c:v>
                </c:pt>
                <c:pt idx="1633">
                  <c:v>1942.8</c:v>
                </c:pt>
                <c:pt idx="1634">
                  <c:v>1931.18</c:v>
                </c:pt>
                <c:pt idx="1635">
                  <c:v>1887.99</c:v>
                </c:pt>
                <c:pt idx="1636">
                  <c:v>1918.37</c:v>
                </c:pt>
                <c:pt idx="1637">
                  <c:v>1920.69</c:v>
                </c:pt>
                <c:pt idx="1638">
                  <c:v>1876.19</c:v>
                </c:pt>
                <c:pt idx="1639">
                  <c:v>1955.24</c:v>
                </c:pt>
                <c:pt idx="1640">
                  <c:v>1954.87</c:v>
                </c:pt>
                <c:pt idx="1641">
                  <c:v>1990.21</c:v>
                </c:pt>
                <c:pt idx="1642">
                  <c:v>2012.47</c:v>
                </c:pt>
                <c:pt idx="1643">
                  <c:v>2025.19</c:v>
                </c:pt>
                <c:pt idx="1644">
                  <c:v>2021.71</c:v>
                </c:pt>
                <c:pt idx="1645">
                  <c:v>2044.55</c:v>
                </c:pt>
                <c:pt idx="1646">
                  <c:v>2032.68</c:v>
                </c:pt>
                <c:pt idx="1647">
                  <c:v>2057.06</c:v>
                </c:pt>
                <c:pt idx="1648">
                  <c:v>2108.91</c:v>
                </c:pt>
                <c:pt idx="1649">
                  <c:v>2166.41</c:v>
                </c:pt>
                <c:pt idx="1650">
                  <c:v>2150.9699999999998</c:v>
                </c:pt>
                <c:pt idx="1651">
                  <c:v>2237.2800000000002</c:v>
                </c:pt>
                <c:pt idx="1652">
                  <c:v>2296.67</c:v>
                </c:pt>
                <c:pt idx="1653">
                  <c:v>2326.7600000000002</c:v>
                </c:pt>
                <c:pt idx="1654">
                  <c:v>2331.14</c:v>
                </c:pt>
                <c:pt idx="1655">
                  <c:v>2318.34</c:v>
                </c:pt>
                <c:pt idx="1656">
                  <c:v>2399.0700000000002</c:v>
                </c:pt>
                <c:pt idx="1657">
                  <c:v>2462.25</c:v>
                </c:pt>
                <c:pt idx="1658">
                  <c:v>2385.29</c:v>
                </c:pt>
                <c:pt idx="1659">
                  <c:v>2275.84</c:v>
                </c:pt>
                <c:pt idx="1660">
                  <c:v>2298.41</c:v>
                </c:pt>
                <c:pt idx="1661">
                  <c:v>2344.3200000000002</c:v>
                </c:pt>
                <c:pt idx="1662">
                  <c:v>2410.48</c:v>
                </c:pt>
                <c:pt idx="1663">
                  <c:v>2301.85</c:v>
                </c:pt>
                <c:pt idx="1664">
                  <c:v>2304.25</c:v>
                </c:pt>
                <c:pt idx="1665">
                  <c:v>2190.19</c:v>
                </c:pt>
                <c:pt idx="1666">
                  <c:v>2140.4899999999998</c:v>
                </c:pt>
                <c:pt idx="1667">
                  <c:v>2164.67</c:v>
                </c:pt>
                <c:pt idx="1668">
                  <c:v>2142.15</c:v>
                </c:pt>
                <c:pt idx="1669">
                  <c:v>2285.15</c:v>
                </c:pt>
                <c:pt idx="1670">
                  <c:v>2304.92</c:v>
                </c:pt>
                <c:pt idx="1671">
                  <c:v>2286.58</c:v>
                </c:pt>
                <c:pt idx="1672">
                  <c:v>2202.5300000000002</c:v>
                </c:pt>
                <c:pt idx="1673">
                  <c:v>2240.7800000000002</c:v>
                </c:pt>
                <c:pt idx="1674">
                  <c:v>2220.38</c:v>
                </c:pt>
                <c:pt idx="1675">
                  <c:v>2215.6999999999998</c:v>
                </c:pt>
                <c:pt idx="1676">
                  <c:v>2205.42</c:v>
                </c:pt>
                <c:pt idx="1677">
                  <c:v>2241.61</c:v>
                </c:pt>
                <c:pt idx="1678">
                  <c:v>2322.4</c:v>
                </c:pt>
                <c:pt idx="1679">
                  <c:v>2332.65</c:v>
                </c:pt>
                <c:pt idx="1680">
                  <c:v>2382.56</c:v>
                </c:pt>
                <c:pt idx="1681">
                  <c:v>2379.84</c:v>
                </c:pt>
                <c:pt idx="1682">
                  <c:v>2439.4</c:v>
                </c:pt>
                <c:pt idx="1683">
                  <c:v>2451.7800000000002</c:v>
                </c:pt>
                <c:pt idx="1684">
                  <c:v>2401.33</c:v>
                </c:pt>
                <c:pt idx="1685">
                  <c:v>2479.79</c:v>
                </c:pt>
                <c:pt idx="1686">
                  <c:v>2498.9299999999998</c:v>
                </c:pt>
                <c:pt idx="1687">
                  <c:v>2484.4899999999998</c:v>
                </c:pt>
                <c:pt idx="1688">
                  <c:v>2507.79</c:v>
                </c:pt>
                <c:pt idx="1689">
                  <c:v>2548.2199999999998</c:v>
                </c:pt>
                <c:pt idx="1690">
                  <c:v>2576.4</c:v>
                </c:pt>
                <c:pt idx="1691">
                  <c:v>2570.5</c:v>
                </c:pt>
                <c:pt idx="1692">
                  <c:v>2576.9499999999998</c:v>
                </c:pt>
                <c:pt idx="1693">
                  <c:v>2479.35</c:v>
                </c:pt>
                <c:pt idx="1694">
                  <c:v>2517.67</c:v>
                </c:pt>
                <c:pt idx="1695">
                  <c:v>2595.5300000000002</c:v>
                </c:pt>
                <c:pt idx="1696">
                  <c:v>2656.52</c:v>
                </c:pt>
                <c:pt idx="1697">
                  <c:v>2676.87</c:v>
                </c:pt>
                <c:pt idx="1698">
                  <c:v>2686.99</c:v>
                </c:pt>
                <c:pt idx="1699">
                  <c:v>2687.11</c:v>
                </c:pt>
                <c:pt idx="1700">
                  <c:v>2650.69</c:v>
                </c:pt>
                <c:pt idx="1701">
                  <c:v>2707.67</c:v>
                </c:pt>
                <c:pt idx="1702">
                  <c:v>2675.44</c:v>
                </c:pt>
                <c:pt idx="1703">
                  <c:v>2576.2800000000002</c:v>
                </c:pt>
                <c:pt idx="1704">
                  <c:v>2593.56</c:v>
                </c:pt>
                <c:pt idx="1705">
                  <c:v>2572.89</c:v>
                </c:pt>
                <c:pt idx="1706">
                  <c:v>2513.29</c:v>
                </c:pt>
                <c:pt idx="1707">
                  <c:v>2518.5300000000002</c:v>
                </c:pt>
                <c:pt idx="1708">
                  <c:v>2605.37</c:v>
                </c:pt>
                <c:pt idx="1709">
                  <c:v>2622.93</c:v>
                </c:pt>
                <c:pt idx="1710">
                  <c:v>2714.3</c:v>
                </c:pt>
                <c:pt idx="1711">
                  <c:v>2727.01</c:v>
                </c:pt>
                <c:pt idx="1712">
                  <c:v>2764.98</c:v>
                </c:pt>
                <c:pt idx="1713">
                  <c:v>2767.08</c:v>
                </c:pt>
                <c:pt idx="1714">
                  <c:v>2789.22</c:v>
                </c:pt>
                <c:pt idx="1715">
                  <c:v>2725.32</c:v>
                </c:pt>
                <c:pt idx="1716">
                  <c:v>2788.56</c:v>
                </c:pt>
                <c:pt idx="1717">
                  <c:v>2814.01</c:v>
                </c:pt>
                <c:pt idx="1718">
                  <c:v>2792.6</c:v>
                </c:pt>
                <c:pt idx="1719">
                  <c:v>2796.12</c:v>
                </c:pt>
                <c:pt idx="1720">
                  <c:v>2810.57</c:v>
                </c:pt>
                <c:pt idx="1721">
                  <c:v>2840.08</c:v>
                </c:pt>
                <c:pt idx="1722">
                  <c:v>2812.87</c:v>
                </c:pt>
                <c:pt idx="1723">
                  <c:v>2750.01</c:v>
                </c:pt>
                <c:pt idx="1724">
                  <c:v>2740.68</c:v>
                </c:pt>
                <c:pt idx="1725">
                  <c:v>2752.72</c:v>
                </c:pt>
                <c:pt idx="1726">
                  <c:v>2719.76</c:v>
                </c:pt>
                <c:pt idx="1727">
                  <c:v>2759.71</c:v>
                </c:pt>
                <c:pt idx="1728">
                  <c:v>2858.34</c:v>
                </c:pt>
                <c:pt idx="1729">
                  <c:v>2865.1</c:v>
                </c:pt>
                <c:pt idx="1730">
                  <c:v>2939.39</c:v>
                </c:pt>
                <c:pt idx="1731">
                  <c:v>2953.75</c:v>
                </c:pt>
                <c:pt idx="1732">
                  <c:v>2939.31</c:v>
                </c:pt>
                <c:pt idx="1733">
                  <c:v>2948.48</c:v>
                </c:pt>
                <c:pt idx="1734">
                  <c:v>2960.56</c:v>
                </c:pt>
                <c:pt idx="1735">
                  <c:v>2989.6</c:v>
                </c:pt>
                <c:pt idx="1736">
                  <c:v>2961.63</c:v>
                </c:pt>
                <c:pt idx="1737">
                  <c:v>2906.29</c:v>
                </c:pt>
                <c:pt idx="1738">
                  <c:v>2966.19</c:v>
                </c:pt>
                <c:pt idx="1739">
                  <c:v>2961.22</c:v>
                </c:pt>
                <c:pt idx="1740">
                  <c:v>3010.59</c:v>
                </c:pt>
                <c:pt idx="1741">
                  <c:v>3057.43</c:v>
                </c:pt>
                <c:pt idx="1742">
                  <c:v>3080</c:v>
                </c:pt>
                <c:pt idx="1743">
                  <c:v>3082.56</c:v>
                </c:pt>
                <c:pt idx="1744">
                  <c:v>3083.9</c:v>
                </c:pt>
                <c:pt idx="1745">
                  <c:v>3120.73</c:v>
                </c:pt>
                <c:pt idx="1746">
                  <c:v>3117.92</c:v>
                </c:pt>
                <c:pt idx="1747">
                  <c:v>3128.42</c:v>
                </c:pt>
                <c:pt idx="1748">
                  <c:v>3179.97</c:v>
                </c:pt>
                <c:pt idx="1749">
                  <c:v>3166.47</c:v>
                </c:pt>
                <c:pt idx="1750">
                  <c:v>3237.9</c:v>
                </c:pt>
                <c:pt idx="1751">
                  <c:v>3282.36</c:v>
                </c:pt>
                <c:pt idx="1752">
                  <c:v>3327.14</c:v>
                </c:pt>
                <c:pt idx="1753">
                  <c:v>3374.75</c:v>
                </c:pt>
                <c:pt idx="1754">
                  <c:v>3340.49</c:v>
                </c:pt>
                <c:pt idx="1755">
                  <c:v>3352.27</c:v>
                </c:pt>
                <c:pt idx="1756">
                  <c:v>3396.3</c:v>
                </c:pt>
                <c:pt idx="1757">
                  <c:v>3398.31</c:v>
                </c:pt>
                <c:pt idx="1758">
                  <c:v>3361.01</c:v>
                </c:pt>
                <c:pt idx="1759">
                  <c:v>3454.75</c:v>
                </c:pt>
                <c:pt idx="1760">
                  <c:v>3493.31</c:v>
                </c:pt>
                <c:pt idx="1761">
                  <c:v>3501.24</c:v>
                </c:pt>
                <c:pt idx="1762">
                  <c:v>3519.81</c:v>
                </c:pt>
                <c:pt idx="1763">
                  <c:v>3591.12</c:v>
                </c:pt>
                <c:pt idx="1764">
                  <c:v>3539.83</c:v>
                </c:pt>
                <c:pt idx="1765">
                  <c:v>3606.92</c:v>
                </c:pt>
                <c:pt idx="1766">
                  <c:v>3651.97</c:v>
                </c:pt>
                <c:pt idx="1767">
                  <c:v>3667.56</c:v>
                </c:pt>
                <c:pt idx="1768">
                  <c:v>3743.63</c:v>
                </c:pt>
                <c:pt idx="1769">
                  <c:v>3755.82</c:v>
                </c:pt>
                <c:pt idx="1770">
                  <c:v>3558.51</c:v>
                </c:pt>
                <c:pt idx="1771">
                  <c:v>3634.82</c:v>
                </c:pt>
                <c:pt idx="1772">
                  <c:v>3734.62</c:v>
                </c:pt>
                <c:pt idx="1773">
                  <c:v>3787.03</c:v>
                </c:pt>
                <c:pt idx="1774">
                  <c:v>3786.62</c:v>
                </c:pt>
                <c:pt idx="1775">
                  <c:v>3740.94</c:v>
                </c:pt>
                <c:pt idx="1776">
                  <c:v>3663.12</c:v>
                </c:pt>
                <c:pt idx="1777">
                  <c:v>3555.1</c:v>
                </c:pt>
                <c:pt idx="1778">
                  <c:v>3544.54</c:v>
                </c:pt>
                <c:pt idx="1779">
                  <c:v>3556.38</c:v>
                </c:pt>
                <c:pt idx="1780">
                  <c:v>3397.4</c:v>
                </c:pt>
                <c:pt idx="1781">
                  <c:v>3440.82</c:v>
                </c:pt>
                <c:pt idx="1782">
                  <c:v>3344.46</c:v>
                </c:pt>
                <c:pt idx="1783">
                  <c:v>3140.27</c:v>
                </c:pt>
                <c:pt idx="1784">
                  <c:v>3171.99</c:v>
                </c:pt>
                <c:pt idx="1785">
                  <c:v>3014.57</c:v>
                </c:pt>
                <c:pt idx="1786">
                  <c:v>3144.39</c:v>
                </c:pt>
                <c:pt idx="1787">
                  <c:v>3203.62</c:v>
                </c:pt>
                <c:pt idx="1788">
                  <c:v>3229.6</c:v>
                </c:pt>
                <c:pt idx="1789">
                  <c:v>3109.83</c:v>
                </c:pt>
                <c:pt idx="1790">
                  <c:v>3172.39</c:v>
                </c:pt>
                <c:pt idx="1791">
                  <c:v>3156.3</c:v>
                </c:pt>
                <c:pt idx="1792">
                  <c:v>3046.78</c:v>
                </c:pt>
                <c:pt idx="1793">
                  <c:v>2830.27</c:v>
                </c:pt>
                <c:pt idx="1794">
                  <c:v>2843.7</c:v>
                </c:pt>
                <c:pt idx="1795">
                  <c:v>2890.93</c:v>
                </c:pt>
                <c:pt idx="1796">
                  <c:v>3051.96</c:v>
                </c:pt>
                <c:pt idx="1797">
                  <c:v>3077.14</c:v>
                </c:pt>
                <c:pt idx="1798">
                  <c:v>3104.21</c:v>
                </c:pt>
                <c:pt idx="1799">
                  <c:v>3170.97</c:v>
                </c:pt>
                <c:pt idx="1800">
                  <c:v>3194.91</c:v>
                </c:pt>
                <c:pt idx="1801">
                  <c:v>3162.91</c:v>
                </c:pt>
                <c:pt idx="1802">
                  <c:v>3238.13</c:v>
                </c:pt>
                <c:pt idx="1803">
                  <c:v>3293.39</c:v>
                </c:pt>
                <c:pt idx="1804">
                  <c:v>3302.64</c:v>
                </c:pt>
                <c:pt idx="1805">
                  <c:v>3258.24</c:v>
                </c:pt>
                <c:pt idx="1806">
                  <c:v>3320.1</c:v>
                </c:pt>
                <c:pt idx="1807">
                  <c:v>3199.69</c:v>
                </c:pt>
                <c:pt idx="1808">
                  <c:v>3208.6</c:v>
                </c:pt>
                <c:pt idx="1809">
                  <c:v>3131.03</c:v>
                </c:pt>
                <c:pt idx="1810">
                  <c:v>3060.07</c:v>
                </c:pt>
                <c:pt idx="1811">
                  <c:v>3080.93</c:v>
                </c:pt>
                <c:pt idx="1812">
                  <c:v>3058.53</c:v>
                </c:pt>
                <c:pt idx="1813">
                  <c:v>2972.64</c:v>
                </c:pt>
                <c:pt idx="1814">
                  <c:v>2972.29</c:v>
                </c:pt>
                <c:pt idx="1815">
                  <c:v>3004.81</c:v>
                </c:pt>
                <c:pt idx="1816">
                  <c:v>3163.71</c:v>
                </c:pt>
                <c:pt idx="1817">
                  <c:v>3151.63</c:v>
                </c:pt>
                <c:pt idx="1818">
                  <c:v>3198.52</c:v>
                </c:pt>
                <c:pt idx="1819">
                  <c:v>3227.4</c:v>
                </c:pt>
                <c:pt idx="1820">
                  <c:v>3239.64</c:v>
                </c:pt>
                <c:pt idx="1821">
                  <c:v>3241.71</c:v>
                </c:pt>
                <c:pt idx="1822">
                  <c:v>3329.16</c:v>
                </c:pt>
                <c:pt idx="1823">
                  <c:v>3377.57</c:v>
                </c:pt>
                <c:pt idx="1824">
                  <c:v>3369.29</c:v>
                </c:pt>
                <c:pt idx="1825">
                  <c:v>3347.32</c:v>
                </c:pt>
                <c:pt idx="1826">
                  <c:v>3413.25</c:v>
                </c:pt>
                <c:pt idx="1827">
                  <c:v>3414.24</c:v>
                </c:pt>
                <c:pt idx="1828">
                  <c:v>3314.72</c:v>
                </c:pt>
                <c:pt idx="1829">
                  <c:v>3329.33</c:v>
                </c:pt>
                <c:pt idx="1830">
                  <c:v>3247.05</c:v>
                </c:pt>
                <c:pt idx="1831">
                  <c:v>3280.37</c:v>
                </c:pt>
                <c:pt idx="1832">
                  <c:v>3392.8</c:v>
                </c:pt>
                <c:pt idx="1833">
                  <c:v>3435.43</c:v>
                </c:pt>
                <c:pt idx="1834">
                  <c:v>3453.89</c:v>
                </c:pt>
                <c:pt idx="1835">
                  <c:v>3464.32</c:v>
                </c:pt>
                <c:pt idx="1836">
                  <c:v>3483.02</c:v>
                </c:pt>
                <c:pt idx="1837">
                  <c:v>3495.79</c:v>
                </c:pt>
                <c:pt idx="1838">
                  <c:v>3503.78</c:v>
                </c:pt>
                <c:pt idx="1839">
                  <c:v>3495.67</c:v>
                </c:pt>
                <c:pt idx="1840">
                  <c:v>3499.99</c:v>
                </c:pt>
                <c:pt idx="1841">
                  <c:v>3518.72</c:v>
                </c:pt>
                <c:pt idx="1842">
                  <c:v>3625.8</c:v>
                </c:pt>
                <c:pt idx="1843">
                  <c:v>3628.35</c:v>
                </c:pt>
                <c:pt idx="1844">
                  <c:v>3630.23</c:v>
                </c:pt>
                <c:pt idx="1845">
                  <c:v>3642.44</c:v>
                </c:pt>
                <c:pt idx="1846">
                  <c:v>3631.01</c:v>
                </c:pt>
                <c:pt idx="1847">
                  <c:v>3665.51</c:v>
                </c:pt>
                <c:pt idx="1848">
                  <c:v>3548.08</c:v>
                </c:pt>
                <c:pt idx="1849">
                  <c:v>3629.63</c:v>
                </c:pt>
                <c:pt idx="1850">
                  <c:v>3485.77</c:v>
                </c:pt>
                <c:pt idx="1851">
                  <c:v>3382.51</c:v>
                </c:pt>
                <c:pt idx="1852">
                  <c:v>3511.67</c:v>
                </c:pt>
                <c:pt idx="1853">
                  <c:v>3560.83</c:v>
                </c:pt>
                <c:pt idx="1854">
                  <c:v>3597.33</c:v>
                </c:pt>
                <c:pt idx="1855">
                  <c:v>3590.88</c:v>
                </c:pt>
                <c:pt idx="1856">
                  <c:v>3643.49</c:v>
                </c:pt>
                <c:pt idx="1857">
                  <c:v>3668.83</c:v>
                </c:pt>
                <c:pt idx="1858">
                  <c:v>3624.02</c:v>
                </c:pt>
                <c:pt idx="1859">
                  <c:v>3554.48</c:v>
                </c:pt>
                <c:pt idx="1860">
                  <c:v>3577.24</c:v>
                </c:pt>
                <c:pt idx="1861">
                  <c:v>3575.02</c:v>
                </c:pt>
                <c:pt idx="1862">
                  <c:v>3612.75</c:v>
                </c:pt>
                <c:pt idx="1863">
                  <c:v>3583.34</c:v>
                </c:pt>
                <c:pt idx="1864">
                  <c:v>3560.72</c:v>
                </c:pt>
                <c:pt idx="1865">
                  <c:v>3480.15</c:v>
                </c:pt>
                <c:pt idx="1866">
                  <c:v>3391.74</c:v>
                </c:pt>
                <c:pt idx="1867">
                  <c:v>3396.62</c:v>
                </c:pt>
                <c:pt idx="1868">
                  <c:v>3305.54</c:v>
                </c:pt>
                <c:pt idx="1869">
                  <c:v>3336.48</c:v>
                </c:pt>
                <c:pt idx="1870">
                  <c:v>3438.82</c:v>
                </c:pt>
                <c:pt idx="1871">
                  <c:v>3424.78</c:v>
                </c:pt>
                <c:pt idx="1872">
                  <c:v>3478.43</c:v>
                </c:pt>
                <c:pt idx="1873">
                  <c:v>3500.74</c:v>
                </c:pt>
                <c:pt idx="1874">
                  <c:v>3558.86</c:v>
                </c:pt>
                <c:pt idx="1875">
                  <c:v>3575.68</c:v>
                </c:pt>
                <c:pt idx="1876">
                  <c:v>3535.23</c:v>
                </c:pt>
                <c:pt idx="1877">
                  <c:v>3564.04</c:v>
                </c:pt>
                <c:pt idx="1878">
                  <c:v>3541.73</c:v>
                </c:pt>
                <c:pt idx="1879">
                  <c:v>3471.46</c:v>
                </c:pt>
                <c:pt idx="1880">
                  <c:v>3480.13</c:v>
                </c:pt>
                <c:pt idx="1881">
                  <c:v>3482.05</c:v>
                </c:pt>
                <c:pt idx="1882">
                  <c:v>3534.92</c:v>
                </c:pt>
                <c:pt idx="1883">
                  <c:v>3421.14</c:v>
                </c:pt>
                <c:pt idx="1884">
                  <c:v>3469.05</c:v>
                </c:pt>
                <c:pt idx="1885">
                  <c:v>3482.74</c:v>
                </c:pt>
                <c:pt idx="1886">
                  <c:v>3500.68</c:v>
                </c:pt>
                <c:pt idx="1887">
                  <c:v>3507.48</c:v>
                </c:pt>
                <c:pt idx="1888">
                  <c:v>3394.43</c:v>
                </c:pt>
                <c:pt idx="1889">
                  <c:v>3408.57</c:v>
                </c:pt>
                <c:pt idx="1890">
                  <c:v>3366.2</c:v>
                </c:pt>
                <c:pt idx="1891">
                  <c:v>3328.01</c:v>
                </c:pt>
                <c:pt idx="1892">
                  <c:v>3242.8</c:v>
                </c:pt>
                <c:pt idx="1893">
                  <c:v>3198.57</c:v>
                </c:pt>
                <c:pt idx="1894">
                  <c:v>3206.57</c:v>
                </c:pt>
                <c:pt idx="1895">
                  <c:v>3204.16</c:v>
                </c:pt>
                <c:pt idx="1896">
                  <c:v>3152.71</c:v>
                </c:pt>
                <c:pt idx="1897">
                  <c:v>3146.19</c:v>
                </c:pt>
                <c:pt idx="1898">
                  <c:v>3230.72</c:v>
                </c:pt>
                <c:pt idx="1899">
                  <c:v>3218.8</c:v>
                </c:pt>
                <c:pt idx="1900">
                  <c:v>3153.09</c:v>
                </c:pt>
                <c:pt idx="1901">
                  <c:v>3150.99</c:v>
                </c:pt>
                <c:pt idx="1902">
                  <c:v>3169.19</c:v>
                </c:pt>
                <c:pt idx="1903">
                  <c:v>3214.13</c:v>
                </c:pt>
                <c:pt idx="1904">
                  <c:v>3220.4</c:v>
                </c:pt>
                <c:pt idx="1905">
                  <c:v>3251.28</c:v>
                </c:pt>
                <c:pt idx="1906">
                  <c:v>3233.35</c:v>
                </c:pt>
                <c:pt idx="1907">
                  <c:v>3198.63</c:v>
                </c:pt>
                <c:pt idx="1908">
                  <c:v>3244.48</c:v>
                </c:pt>
                <c:pt idx="1909">
                  <c:v>3292.13</c:v>
                </c:pt>
                <c:pt idx="1910">
                  <c:v>3281.67</c:v>
                </c:pt>
                <c:pt idx="1911">
                  <c:v>3324.42</c:v>
                </c:pt>
                <c:pt idx="1912">
                  <c:v>3311.24</c:v>
                </c:pt>
                <c:pt idx="1913">
                  <c:v>3335.08</c:v>
                </c:pt>
                <c:pt idx="1914">
                  <c:v>3250.57</c:v>
                </c:pt>
                <c:pt idx="1915">
                  <c:v>3259.76</c:v>
                </c:pt>
                <c:pt idx="1916">
                  <c:v>3286.18</c:v>
                </c:pt>
                <c:pt idx="1917">
                  <c:v>3305.86</c:v>
                </c:pt>
                <c:pt idx="1918">
                  <c:v>3279.69</c:v>
                </c:pt>
                <c:pt idx="1919">
                  <c:v>3276.71</c:v>
                </c:pt>
                <c:pt idx="1920">
                  <c:v>3233.13</c:v>
                </c:pt>
                <c:pt idx="1921">
                  <c:v>3183.18</c:v>
                </c:pt>
                <c:pt idx="1922">
                  <c:v>3203.97</c:v>
                </c:pt>
                <c:pt idx="1923">
                  <c:v>3273.92</c:v>
                </c:pt>
                <c:pt idx="1924">
                  <c:v>3267.56</c:v>
                </c:pt>
                <c:pt idx="1925">
                  <c:v>3293.87</c:v>
                </c:pt>
                <c:pt idx="1926">
                  <c:v>3302.63</c:v>
                </c:pt>
                <c:pt idx="1927">
                  <c:v>3275.57</c:v>
                </c:pt>
                <c:pt idx="1928">
                  <c:v>3276.67</c:v>
                </c:pt>
                <c:pt idx="1929">
                  <c:v>3229.13</c:v>
                </c:pt>
                <c:pt idx="1930">
                  <c:v>3275</c:v>
                </c:pt>
                <c:pt idx="1931">
                  <c:v>3358.54</c:v>
                </c:pt>
                <c:pt idx="1932">
                  <c:v>3366.71</c:v>
                </c:pt>
                <c:pt idx="1933">
                  <c:v>3345.61</c:v>
                </c:pt>
                <c:pt idx="1934">
                  <c:v>3391.94</c:v>
                </c:pt>
                <c:pt idx="1935">
                  <c:v>3407.35</c:v>
                </c:pt>
                <c:pt idx="1936">
                  <c:v>3405.15</c:v>
                </c:pt>
                <c:pt idx="1937">
                  <c:v>3386.95</c:v>
                </c:pt>
                <c:pt idx="1938">
                  <c:v>3346.74</c:v>
                </c:pt>
                <c:pt idx="1939">
                  <c:v>3379.17</c:v>
                </c:pt>
                <c:pt idx="1940">
                  <c:v>3351.48</c:v>
                </c:pt>
                <c:pt idx="1941">
                  <c:v>3391.72</c:v>
                </c:pt>
                <c:pt idx="1942">
                  <c:v>3403.71</c:v>
                </c:pt>
                <c:pt idx="1943">
                  <c:v>3394.57</c:v>
                </c:pt>
                <c:pt idx="1944">
                  <c:v>3356.33</c:v>
                </c:pt>
                <c:pt idx="1945">
                  <c:v>3176.42</c:v>
                </c:pt>
                <c:pt idx="1946">
                  <c:v>3173.37</c:v>
                </c:pt>
                <c:pt idx="1947">
                  <c:v>3236.68</c:v>
                </c:pt>
                <c:pt idx="1948">
                  <c:v>3201.54</c:v>
                </c:pt>
                <c:pt idx="1949">
                  <c:v>3190</c:v>
                </c:pt>
                <c:pt idx="1950">
                  <c:v>3172</c:v>
                </c:pt>
                <c:pt idx="1951">
                  <c:v>3108.41</c:v>
                </c:pt>
                <c:pt idx="1952">
                  <c:v>3097.35</c:v>
                </c:pt>
                <c:pt idx="1953">
                  <c:v>3060.06</c:v>
                </c:pt>
                <c:pt idx="1954">
                  <c:v>3067.37</c:v>
                </c:pt>
                <c:pt idx="1955">
                  <c:v>3019.45</c:v>
                </c:pt>
                <c:pt idx="1956">
                  <c:v>3036.39</c:v>
                </c:pt>
                <c:pt idx="1957">
                  <c:v>2896.86</c:v>
                </c:pt>
                <c:pt idx="1958">
                  <c:v>2836.79</c:v>
                </c:pt>
                <c:pt idx="1959">
                  <c:v>2858.23</c:v>
                </c:pt>
                <c:pt idx="1960">
                  <c:v>2800.82</c:v>
                </c:pt>
                <c:pt idx="1961">
                  <c:v>2818.16</c:v>
                </c:pt>
                <c:pt idx="1962">
                  <c:v>2886.91</c:v>
                </c:pt>
                <c:pt idx="1963">
                  <c:v>2868.02</c:v>
                </c:pt>
                <c:pt idx="1964">
                  <c:v>2714.72</c:v>
                </c:pt>
                <c:pt idx="1965">
                  <c:v>2771.35</c:v>
                </c:pt>
                <c:pt idx="1966">
                  <c:v>2762.17</c:v>
                </c:pt>
                <c:pt idx="1967">
                  <c:v>2726.02</c:v>
                </c:pt>
                <c:pt idx="1968">
                  <c:v>2768.79</c:v>
                </c:pt>
                <c:pt idx="1969">
                  <c:v>2873.47</c:v>
                </c:pt>
                <c:pt idx="1970">
                  <c:v>2813.94</c:v>
                </c:pt>
                <c:pt idx="1971">
                  <c:v>2813.94</c:v>
                </c:pt>
                <c:pt idx="1972">
                  <c:v>2859.98</c:v>
                </c:pt>
                <c:pt idx="1973">
                  <c:v>2850.3</c:v>
                </c:pt>
                <c:pt idx="1974">
                  <c:v>2773.26</c:v>
                </c:pt>
                <c:pt idx="1975">
                  <c:v>2744.16</c:v>
                </c:pt>
                <c:pt idx="1976">
                  <c:v>2757.53</c:v>
                </c:pt>
                <c:pt idx="1977">
                  <c:v>2736.08</c:v>
                </c:pt>
                <c:pt idx="1978">
                  <c:v>2744.39</c:v>
                </c:pt>
                <c:pt idx="1979">
                  <c:v>2695.72</c:v>
                </c:pt>
                <c:pt idx="1980">
                  <c:v>2699.34</c:v>
                </c:pt>
                <c:pt idx="1981">
                  <c:v>2782.13</c:v>
                </c:pt>
                <c:pt idx="1982">
                  <c:v>2750.02</c:v>
                </c:pt>
                <c:pt idx="1983">
                  <c:v>2758.87</c:v>
                </c:pt>
                <c:pt idx="1984">
                  <c:v>2742.73</c:v>
                </c:pt>
                <c:pt idx="1985">
                  <c:v>2696.17</c:v>
                </c:pt>
                <c:pt idx="1986">
                  <c:v>2780.66</c:v>
                </c:pt>
                <c:pt idx="1987">
                  <c:v>2783.72</c:v>
                </c:pt>
                <c:pt idx="1988">
                  <c:v>2758.5</c:v>
                </c:pt>
                <c:pt idx="1989">
                  <c:v>2757.5</c:v>
                </c:pt>
                <c:pt idx="1990">
                  <c:v>2736.29</c:v>
                </c:pt>
                <c:pt idx="1991">
                  <c:v>2716.78</c:v>
                </c:pt>
                <c:pt idx="1992">
                  <c:v>2592.02</c:v>
                </c:pt>
                <c:pt idx="1993">
                  <c:v>2563.0700000000002</c:v>
                </c:pt>
                <c:pt idx="1994">
                  <c:v>2526.0700000000002</c:v>
                </c:pt>
                <c:pt idx="1995">
                  <c:v>2534.11</c:v>
                </c:pt>
                <c:pt idx="1996">
                  <c:v>2512.65</c:v>
                </c:pt>
                <c:pt idx="1997">
                  <c:v>2562.9</c:v>
                </c:pt>
                <c:pt idx="1998">
                  <c:v>2580.48</c:v>
                </c:pt>
                <c:pt idx="1999">
                  <c:v>2575.92</c:v>
                </c:pt>
                <c:pt idx="2000">
                  <c:v>2647.1</c:v>
                </c:pt>
                <c:pt idx="2001">
                  <c:v>2676.22</c:v>
                </c:pt>
                <c:pt idx="2002">
                  <c:v>2634.59</c:v>
                </c:pt>
                <c:pt idx="2003">
                  <c:v>2653.61</c:v>
                </c:pt>
                <c:pt idx="2004">
                  <c:v>2608.52</c:v>
                </c:pt>
                <c:pt idx="2005">
                  <c:v>2616.13</c:v>
                </c:pt>
                <c:pt idx="2006">
                  <c:v>2682.47</c:v>
                </c:pt>
                <c:pt idx="2007">
                  <c:v>2741.5</c:v>
                </c:pt>
                <c:pt idx="2008">
                  <c:v>2747.34</c:v>
                </c:pt>
                <c:pt idx="2009">
                  <c:v>2781.29</c:v>
                </c:pt>
                <c:pt idx="2010">
                  <c:v>2793.08</c:v>
                </c:pt>
                <c:pt idx="2011">
                  <c:v>2811.06</c:v>
                </c:pt>
                <c:pt idx="2012">
                  <c:v>2795.72</c:v>
                </c:pt>
                <c:pt idx="2013">
                  <c:v>2863.72</c:v>
                </c:pt>
                <c:pt idx="2014">
                  <c:v>2877.98</c:v>
                </c:pt>
                <c:pt idx="2015">
                  <c:v>2868.85</c:v>
                </c:pt>
                <c:pt idx="2016">
                  <c:v>2917.28</c:v>
                </c:pt>
                <c:pt idx="2017">
                  <c:v>2865.97</c:v>
                </c:pt>
                <c:pt idx="2018">
                  <c:v>2876.43</c:v>
                </c:pt>
                <c:pt idx="2019">
                  <c:v>2850.83</c:v>
                </c:pt>
                <c:pt idx="2020">
                  <c:v>2897.66</c:v>
                </c:pt>
                <c:pt idx="2021">
                  <c:v>2918.24</c:v>
                </c:pt>
                <c:pt idx="2022">
                  <c:v>2832.64</c:v>
                </c:pt>
                <c:pt idx="2023">
                  <c:v>2850.21</c:v>
                </c:pt>
                <c:pt idx="2024">
                  <c:v>2816.39</c:v>
                </c:pt>
                <c:pt idx="2025">
                  <c:v>2855.55</c:v>
                </c:pt>
                <c:pt idx="2026">
                  <c:v>2922.08</c:v>
                </c:pt>
                <c:pt idx="2027">
                  <c:v>2942.29</c:v>
                </c:pt>
                <c:pt idx="2028">
                  <c:v>2937.36</c:v>
                </c:pt>
                <c:pt idx="2029">
                  <c:v>2955.4</c:v>
                </c:pt>
                <c:pt idx="2030">
                  <c:v>2898.33</c:v>
                </c:pt>
                <c:pt idx="2031">
                  <c:v>2896.19</c:v>
                </c:pt>
                <c:pt idx="2032">
                  <c:v>2911.83</c:v>
                </c:pt>
                <c:pt idx="2033">
                  <c:v>2843.02</c:v>
                </c:pt>
                <c:pt idx="2034">
                  <c:v>2850.09</c:v>
                </c:pt>
                <c:pt idx="2035">
                  <c:v>2858.57</c:v>
                </c:pt>
                <c:pt idx="2036">
                  <c:v>2915.01</c:v>
                </c:pt>
                <c:pt idx="2037">
                  <c:v>2903.19</c:v>
                </c:pt>
                <c:pt idx="2038">
                  <c:v>2884.04</c:v>
                </c:pt>
                <c:pt idx="2039">
                  <c:v>2921.39</c:v>
                </c:pt>
                <c:pt idx="2040">
                  <c:v>2920.21</c:v>
                </c:pt>
                <c:pt idx="2041">
                  <c:v>2975.09</c:v>
                </c:pt>
                <c:pt idx="2042">
                  <c:v>2983.11</c:v>
                </c:pt>
                <c:pt idx="2043">
                  <c:v>2980.97</c:v>
                </c:pt>
                <c:pt idx="2044">
                  <c:v>2926.46</c:v>
                </c:pt>
                <c:pt idx="2045">
                  <c:v>2932.55</c:v>
                </c:pt>
                <c:pt idx="2046">
                  <c:v>2962.32</c:v>
                </c:pt>
                <c:pt idx="2047">
                  <c:v>2965.01</c:v>
                </c:pt>
                <c:pt idx="2048">
                  <c:v>2913.19</c:v>
                </c:pt>
                <c:pt idx="2049">
                  <c:v>2857.79</c:v>
                </c:pt>
                <c:pt idx="2050">
                  <c:v>2861.37</c:v>
                </c:pt>
                <c:pt idx="2051">
                  <c:v>2849.83</c:v>
                </c:pt>
                <c:pt idx="2052">
                  <c:v>2857.48</c:v>
                </c:pt>
                <c:pt idx="2053">
                  <c:v>2905.03</c:v>
                </c:pt>
                <c:pt idx="2054">
                  <c:v>2880.91</c:v>
                </c:pt>
                <c:pt idx="2055">
                  <c:v>2874.81</c:v>
                </c:pt>
                <c:pt idx="2056">
                  <c:v>2935.57</c:v>
                </c:pt>
                <c:pt idx="2057">
                  <c:v>3044.23</c:v>
                </c:pt>
                <c:pt idx="2058">
                  <c:v>3132.9</c:v>
                </c:pt>
                <c:pt idx="2059">
                  <c:v>3172.73</c:v>
                </c:pt>
                <c:pt idx="2060">
                  <c:v>3217.58</c:v>
                </c:pt>
                <c:pt idx="2061">
                  <c:v>3224.14</c:v>
                </c:pt>
                <c:pt idx="2062">
                  <c:v>3327.68</c:v>
                </c:pt>
                <c:pt idx="2063">
                  <c:v>3306.16</c:v>
                </c:pt>
                <c:pt idx="2064">
                  <c:v>3375.67</c:v>
                </c:pt>
                <c:pt idx="2065">
                  <c:v>3396.88</c:v>
                </c:pt>
                <c:pt idx="2066">
                  <c:v>3374.69</c:v>
                </c:pt>
                <c:pt idx="2067">
                  <c:v>3378.66</c:v>
                </c:pt>
                <c:pt idx="2068">
                  <c:v>3481.08</c:v>
                </c:pt>
                <c:pt idx="2069">
                  <c:v>3466.08</c:v>
                </c:pt>
                <c:pt idx="2070">
                  <c:v>3403.87</c:v>
                </c:pt>
                <c:pt idx="2071">
                  <c:v>3397.69</c:v>
                </c:pt>
                <c:pt idx="2072">
                  <c:v>3379.98</c:v>
                </c:pt>
                <c:pt idx="2073">
                  <c:v>3473</c:v>
                </c:pt>
                <c:pt idx="2074">
                  <c:v>3463.13</c:v>
                </c:pt>
                <c:pt idx="2075">
                  <c:v>3420.34</c:v>
                </c:pt>
                <c:pt idx="2076">
                  <c:v>3480.51</c:v>
                </c:pt>
                <c:pt idx="2077">
                  <c:v>3520.8</c:v>
                </c:pt>
                <c:pt idx="2078">
                  <c:v>3548.57</c:v>
                </c:pt>
                <c:pt idx="2079">
                  <c:v>3523.95</c:v>
                </c:pt>
                <c:pt idx="2080">
                  <c:v>3499.11</c:v>
                </c:pt>
                <c:pt idx="2081">
                  <c:v>3509.98</c:v>
                </c:pt>
                <c:pt idx="2082">
                  <c:v>3291.83</c:v>
                </c:pt>
                <c:pt idx="2083">
                  <c:v>3314.89</c:v>
                </c:pt>
                <c:pt idx="2084">
                  <c:v>3169.54</c:v>
                </c:pt>
                <c:pt idx="2085">
                  <c:v>3103.91</c:v>
                </c:pt>
                <c:pt idx="2086">
                  <c:v>3147.96</c:v>
                </c:pt>
                <c:pt idx="2087">
                  <c:v>3178.85</c:v>
                </c:pt>
                <c:pt idx="2088">
                  <c:v>3171.94</c:v>
                </c:pt>
                <c:pt idx="2089">
                  <c:v>3107.18</c:v>
                </c:pt>
                <c:pt idx="2090">
                  <c:v>3177.04</c:v>
                </c:pt>
                <c:pt idx="2091">
                  <c:v>3223.48</c:v>
                </c:pt>
                <c:pt idx="2092">
                  <c:v>3194.85</c:v>
                </c:pt>
                <c:pt idx="2093">
                  <c:v>3190.05</c:v>
                </c:pt>
                <c:pt idx="2094">
                  <c:v>3136.99</c:v>
                </c:pt>
                <c:pt idx="2095">
                  <c:v>3136.02</c:v>
                </c:pt>
                <c:pt idx="2096">
                  <c:v>3155.06</c:v>
                </c:pt>
                <c:pt idx="2097">
                  <c:v>3158.16</c:v>
                </c:pt>
                <c:pt idx="2098">
                  <c:v>3165.57</c:v>
                </c:pt>
                <c:pt idx="2099">
                  <c:v>3200.34</c:v>
                </c:pt>
                <c:pt idx="2100">
                  <c:v>3171.88</c:v>
                </c:pt>
                <c:pt idx="2101">
                  <c:v>3123.37</c:v>
                </c:pt>
                <c:pt idx="2102">
                  <c:v>3161.98</c:v>
                </c:pt>
                <c:pt idx="2103">
                  <c:v>3261.06</c:v>
                </c:pt>
                <c:pt idx="2104">
                  <c:v>3269.47</c:v>
                </c:pt>
                <c:pt idx="2105">
                  <c:v>3247.64</c:v>
                </c:pt>
                <c:pt idx="2106">
                  <c:v>3230.67</c:v>
                </c:pt>
                <c:pt idx="2107">
                  <c:v>3225.66</c:v>
                </c:pt>
                <c:pt idx="2108">
                  <c:v>3178.66</c:v>
                </c:pt>
                <c:pt idx="2109">
                  <c:v>3249.51</c:v>
                </c:pt>
                <c:pt idx="2110">
                  <c:v>3215.45</c:v>
                </c:pt>
                <c:pt idx="2111">
                  <c:v>3188.61</c:v>
                </c:pt>
                <c:pt idx="2112">
                  <c:v>3162.96</c:v>
                </c:pt>
                <c:pt idx="2113">
                  <c:v>3099.71</c:v>
                </c:pt>
                <c:pt idx="2114">
                  <c:v>3044.93</c:v>
                </c:pt>
                <c:pt idx="2115">
                  <c:v>3061.83</c:v>
                </c:pt>
                <c:pt idx="2116">
                  <c:v>3064.1</c:v>
                </c:pt>
                <c:pt idx="2117">
                  <c:v>3128.26</c:v>
                </c:pt>
                <c:pt idx="2118">
                  <c:v>3189.68</c:v>
                </c:pt>
                <c:pt idx="2119">
                  <c:v>3175.66</c:v>
                </c:pt>
                <c:pt idx="2120">
                  <c:v>3159.64</c:v>
                </c:pt>
                <c:pt idx="2121">
                  <c:v>3166.62</c:v>
                </c:pt>
                <c:pt idx="2122">
                  <c:v>3108.19</c:v>
                </c:pt>
                <c:pt idx="2123">
                  <c:v>3124.92</c:v>
                </c:pt>
                <c:pt idx="2124">
                  <c:v>3142.34</c:v>
                </c:pt>
                <c:pt idx="2125">
                  <c:v>3141.28</c:v>
                </c:pt>
                <c:pt idx="2126">
                  <c:v>3091.86</c:v>
                </c:pt>
                <c:pt idx="2127">
                  <c:v>2974.35</c:v>
                </c:pt>
                <c:pt idx="2128">
                  <c:v>2977.65</c:v>
                </c:pt>
                <c:pt idx="2129">
                  <c:v>3044.85</c:v>
                </c:pt>
                <c:pt idx="2130">
                  <c:v>2944.71</c:v>
                </c:pt>
                <c:pt idx="2131">
                  <c:v>2983.46</c:v>
                </c:pt>
                <c:pt idx="2132">
                  <c:v>2954.23</c:v>
                </c:pt>
                <c:pt idx="2133">
                  <c:v>2938.65</c:v>
                </c:pt>
                <c:pt idx="2134">
                  <c:v>2978.43</c:v>
                </c:pt>
                <c:pt idx="2135">
                  <c:v>3026.47</c:v>
                </c:pt>
                <c:pt idx="2136">
                  <c:v>3036.74</c:v>
                </c:pt>
                <c:pt idx="2137">
                  <c:v>3076.51</c:v>
                </c:pt>
                <c:pt idx="2138">
                  <c:v>3077.28</c:v>
                </c:pt>
                <c:pt idx="2139">
                  <c:v>3040.95</c:v>
                </c:pt>
                <c:pt idx="2140">
                  <c:v>3104.16</c:v>
                </c:pt>
                <c:pt idx="2141">
                  <c:v>3120.96</c:v>
                </c:pt>
                <c:pt idx="2142">
                  <c:v>3219.14</c:v>
                </c:pt>
                <c:pt idx="2143">
                  <c:v>3217.67</c:v>
                </c:pt>
                <c:pt idx="2144">
                  <c:v>3248.53</c:v>
                </c:pt>
                <c:pt idx="2145">
                  <c:v>3245.91</c:v>
                </c:pt>
                <c:pt idx="2146">
                  <c:v>3211.88</c:v>
                </c:pt>
                <c:pt idx="2147">
                  <c:v>3257.91</c:v>
                </c:pt>
                <c:pt idx="2148">
                  <c:v>3163.58</c:v>
                </c:pt>
                <c:pt idx="2149">
                  <c:v>3174.74</c:v>
                </c:pt>
                <c:pt idx="2150">
                  <c:v>3190.94</c:v>
                </c:pt>
                <c:pt idx="2151">
                  <c:v>3197.62</c:v>
                </c:pt>
                <c:pt idx="2152">
                  <c:v>3239.56</c:v>
                </c:pt>
                <c:pt idx="2153">
                  <c:v>3254.89</c:v>
                </c:pt>
                <c:pt idx="2154">
                  <c:v>3243.3</c:v>
                </c:pt>
                <c:pt idx="2155">
                  <c:v>3221.72</c:v>
                </c:pt>
                <c:pt idx="2156">
                  <c:v>3270.67</c:v>
                </c:pt>
                <c:pt idx="2157">
                  <c:v>3334.51</c:v>
                </c:pt>
                <c:pt idx="2158">
                  <c:v>3337.46</c:v>
                </c:pt>
                <c:pt idx="2159">
                  <c:v>3338.86</c:v>
                </c:pt>
                <c:pt idx="2160">
                  <c:v>3280.26</c:v>
                </c:pt>
                <c:pt idx="2161">
                  <c:v>3247.38</c:v>
                </c:pt>
                <c:pt idx="2162">
                  <c:v>3262.92</c:v>
                </c:pt>
                <c:pt idx="2163">
                  <c:v>3203.96</c:v>
                </c:pt>
                <c:pt idx="2164">
                  <c:v>3248.2</c:v>
                </c:pt>
                <c:pt idx="2165">
                  <c:v>3197.1</c:v>
                </c:pt>
                <c:pt idx="2166">
                  <c:v>3215.69</c:v>
                </c:pt>
                <c:pt idx="2167">
                  <c:v>3207.11</c:v>
                </c:pt>
                <c:pt idx="2168">
                  <c:v>3222.96</c:v>
                </c:pt>
                <c:pt idx="2169">
                  <c:v>3264.93</c:v>
                </c:pt>
                <c:pt idx="2170">
                  <c:v>3251.36</c:v>
                </c:pt>
                <c:pt idx="2171">
                  <c:v>3294.48</c:v>
                </c:pt>
                <c:pt idx="2172">
                  <c:v>3290.57</c:v>
                </c:pt>
                <c:pt idx="2173">
                  <c:v>3257.98</c:v>
                </c:pt>
                <c:pt idx="2174">
                  <c:v>3256.08</c:v>
                </c:pt>
                <c:pt idx="2175">
                  <c:v>3223.29</c:v>
                </c:pt>
                <c:pt idx="2176">
                  <c:v>3272.73</c:v>
                </c:pt>
                <c:pt idx="2177">
                  <c:v>3311.07</c:v>
                </c:pt>
                <c:pt idx="2178">
                  <c:v>3324.42</c:v>
                </c:pt>
                <c:pt idx="2179">
                  <c:v>3353.36</c:v>
                </c:pt>
                <c:pt idx="2180">
                  <c:v>3333.43</c:v>
                </c:pt>
                <c:pt idx="2181">
                  <c:v>3326.77</c:v>
                </c:pt>
                <c:pt idx="2182">
                  <c:v>3372.03</c:v>
                </c:pt>
                <c:pt idx="2183">
                  <c:v>3353.56</c:v>
                </c:pt>
                <c:pt idx="2184">
                  <c:v>3358.94</c:v>
                </c:pt>
                <c:pt idx="2185">
                  <c:v>3359.44</c:v>
                </c:pt>
                <c:pt idx="2186">
                  <c:v>3295.81</c:v>
                </c:pt>
                <c:pt idx="2187">
                  <c:v>3295.76</c:v>
                </c:pt>
                <c:pt idx="2188">
                  <c:v>3317.37</c:v>
                </c:pt>
                <c:pt idx="2189">
                  <c:v>3299.94</c:v>
                </c:pt>
                <c:pt idx="2190">
                  <c:v>3249.57</c:v>
                </c:pt>
                <c:pt idx="2191">
                  <c:v>3230.96</c:v>
                </c:pt>
                <c:pt idx="2192">
                  <c:v>3209.5</c:v>
                </c:pt>
                <c:pt idx="2193">
                  <c:v>3161.78</c:v>
                </c:pt>
                <c:pt idx="2194">
                  <c:v>3192.72</c:v>
                </c:pt>
                <c:pt idx="2195">
                  <c:v>3211.13</c:v>
                </c:pt>
                <c:pt idx="2196">
                  <c:v>3129.03</c:v>
                </c:pt>
                <c:pt idx="2197">
                  <c:v>3126.12</c:v>
                </c:pt>
                <c:pt idx="2198">
                  <c:v>3121.4</c:v>
                </c:pt>
                <c:pt idx="2199">
                  <c:v>3129.76</c:v>
                </c:pt>
                <c:pt idx="2200">
                  <c:v>3153.22</c:v>
                </c:pt>
                <c:pt idx="2201">
                  <c:v>3145.09</c:v>
                </c:pt>
                <c:pt idx="2202">
                  <c:v>3101.6</c:v>
                </c:pt>
                <c:pt idx="2203">
                  <c:v>3128.09</c:v>
                </c:pt>
                <c:pt idx="2204">
                  <c:v>3100.46</c:v>
                </c:pt>
                <c:pt idx="2205">
                  <c:v>3116.03</c:v>
                </c:pt>
                <c:pt idx="2206">
                  <c:v>3139.38</c:v>
                </c:pt>
                <c:pt idx="2207">
                  <c:v>3120.64</c:v>
                </c:pt>
                <c:pt idx="2208">
                  <c:v>3121.6</c:v>
                </c:pt>
                <c:pt idx="2209">
                  <c:v>3022.98</c:v>
                </c:pt>
                <c:pt idx="2210">
                  <c:v>3026.22</c:v>
                </c:pt>
                <c:pt idx="2211">
                  <c:v>2990.34</c:v>
                </c:pt>
                <c:pt idx="2212">
                  <c:v>2978.38</c:v>
                </c:pt>
                <c:pt idx="2213">
                  <c:v>2963.31</c:v>
                </c:pt>
                <c:pt idx="2214">
                  <c:v>2954.51</c:v>
                </c:pt>
                <c:pt idx="2215">
                  <c:v>3001.56</c:v>
                </c:pt>
                <c:pt idx="2216">
                  <c:v>3004.17</c:v>
                </c:pt>
                <c:pt idx="2217">
                  <c:v>2955.71</c:v>
                </c:pt>
                <c:pt idx="2218">
                  <c:v>2986.35</c:v>
                </c:pt>
                <c:pt idx="2219">
                  <c:v>3004.26</c:v>
                </c:pt>
                <c:pt idx="2220">
                  <c:v>3008.65</c:v>
                </c:pt>
                <c:pt idx="2221">
                  <c:v>2951.89</c:v>
                </c:pt>
                <c:pt idx="2222">
                  <c:v>2961.93</c:v>
                </c:pt>
                <c:pt idx="2223">
                  <c:v>2950.35</c:v>
                </c:pt>
                <c:pt idx="2224">
                  <c:v>2993.56</c:v>
                </c:pt>
                <c:pt idx="2225">
                  <c:v>2963.12</c:v>
                </c:pt>
                <c:pt idx="2226">
                  <c:v>2917.58</c:v>
                </c:pt>
                <c:pt idx="2227">
                  <c:v>2892.16</c:v>
                </c:pt>
                <c:pt idx="2228">
                  <c:v>2874.9</c:v>
                </c:pt>
                <c:pt idx="2229">
                  <c:v>2909.07</c:v>
                </c:pt>
                <c:pt idx="2230">
                  <c:v>2908.58</c:v>
                </c:pt>
                <c:pt idx="2231">
                  <c:v>2957.63</c:v>
                </c:pt>
                <c:pt idx="2232">
                  <c:v>3027.47</c:v>
                </c:pt>
                <c:pt idx="2233">
                  <c:v>3036.49</c:v>
                </c:pt>
                <c:pt idx="2234">
                  <c:v>3041.73</c:v>
                </c:pt>
                <c:pt idx="2235">
                  <c:v>3000.17</c:v>
                </c:pt>
                <c:pt idx="2236">
                  <c:v>3044.09</c:v>
                </c:pt>
                <c:pt idx="2237">
                  <c:v>3049.75</c:v>
                </c:pt>
                <c:pt idx="2238">
                  <c:v>3121.98</c:v>
                </c:pt>
                <c:pt idx="2239">
                  <c:v>3122.5</c:v>
                </c:pt>
                <c:pt idx="2240">
                  <c:v>3113.71</c:v>
                </c:pt>
                <c:pt idx="2241">
                  <c:v>3101.68</c:v>
                </c:pt>
                <c:pt idx="2242">
                  <c:v>3109.18</c:v>
                </c:pt>
                <c:pt idx="2243">
                  <c:v>3113.21</c:v>
                </c:pt>
                <c:pt idx="2244">
                  <c:v>3056.91</c:v>
                </c:pt>
                <c:pt idx="2245">
                  <c:v>3106.25</c:v>
                </c:pt>
                <c:pt idx="2246">
                  <c:v>3115.75</c:v>
                </c:pt>
                <c:pt idx="2247">
                  <c:v>3128.89</c:v>
                </c:pt>
                <c:pt idx="2248">
                  <c:v>3122.6</c:v>
                </c:pt>
                <c:pt idx="2249">
                  <c:v>3095.13</c:v>
                </c:pt>
                <c:pt idx="2250">
                  <c:v>3091.57</c:v>
                </c:pt>
                <c:pt idx="2251">
                  <c:v>3059.14</c:v>
                </c:pt>
                <c:pt idx="2252">
                  <c:v>3067.99</c:v>
                </c:pt>
                <c:pt idx="2253">
                  <c:v>2968.29</c:v>
                </c:pt>
                <c:pt idx="2254">
                  <c:v>2977.77</c:v>
                </c:pt>
                <c:pt idx="2255">
                  <c:v>3000.05</c:v>
                </c:pt>
                <c:pt idx="2256">
                  <c:v>2981</c:v>
                </c:pt>
                <c:pt idx="2257">
                  <c:v>2972.08</c:v>
                </c:pt>
                <c:pt idx="2258">
                  <c:v>2977.72</c:v>
                </c:pt>
                <c:pt idx="2259">
                  <c:v>2956.38</c:v>
                </c:pt>
                <c:pt idx="2260">
                  <c:v>2954.87</c:v>
                </c:pt>
                <c:pt idx="2261">
                  <c:v>2960.31</c:v>
                </c:pt>
                <c:pt idx="2262">
                  <c:v>2897.42</c:v>
                </c:pt>
                <c:pt idx="2263">
                  <c:v>2793.9</c:v>
                </c:pt>
                <c:pt idx="2264">
                  <c:v>2798.19</c:v>
                </c:pt>
                <c:pt idx="2265">
                  <c:v>2824.12</c:v>
                </c:pt>
                <c:pt idx="2266">
                  <c:v>2866.92</c:v>
                </c:pt>
                <c:pt idx="2267">
                  <c:v>2875.37</c:v>
                </c:pt>
                <c:pt idx="2268">
                  <c:v>2917.88</c:v>
                </c:pt>
                <c:pt idx="2269">
                  <c:v>2897.58</c:v>
                </c:pt>
                <c:pt idx="2270">
                  <c:v>2886.01</c:v>
                </c:pt>
                <c:pt idx="2271">
                  <c:v>2834.25</c:v>
                </c:pt>
                <c:pt idx="2272">
                  <c:v>2807.66</c:v>
                </c:pt>
                <c:pt idx="2273">
                  <c:v>2777.79</c:v>
                </c:pt>
                <c:pt idx="2274">
                  <c:v>2821</c:v>
                </c:pt>
                <c:pt idx="2275">
                  <c:v>2810.02</c:v>
                </c:pt>
                <c:pt idx="2276">
                  <c:v>2903.84</c:v>
                </c:pt>
                <c:pt idx="2277">
                  <c:v>2901.22</c:v>
                </c:pt>
                <c:pt idx="2278">
                  <c:v>2852.81</c:v>
                </c:pt>
                <c:pt idx="2279">
                  <c:v>2841.74</c:v>
                </c:pt>
                <c:pt idx="2280">
                  <c:v>2846.78</c:v>
                </c:pt>
                <c:pt idx="2281">
                  <c:v>2834.54</c:v>
                </c:pt>
                <c:pt idx="2282">
                  <c:v>2803.85</c:v>
                </c:pt>
                <c:pt idx="2283">
                  <c:v>2743.82</c:v>
                </c:pt>
                <c:pt idx="2284">
                  <c:v>2723.3</c:v>
                </c:pt>
                <c:pt idx="2285">
                  <c:v>2779.09</c:v>
                </c:pt>
                <c:pt idx="2286">
                  <c:v>2756.11</c:v>
                </c:pt>
                <c:pt idx="2287">
                  <c:v>2751.1</c:v>
                </c:pt>
                <c:pt idx="2288">
                  <c:v>2720.28</c:v>
                </c:pt>
                <c:pt idx="2289">
                  <c:v>2733.11</c:v>
                </c:pt>
                <c:pt idx="2290">
                  <c:v>2729.05</c:v>
                </c:pt>
                <c:pt idx="2291">
                  <c:v>2733.99</c:v>
                </c:pt>
                <c:pt idx="2292">
                  <c:v>2679.27</c:v>
                </c:pt>
                <c:pt idx="2293">
                  <c:v>2689.85</c:v>
                </c:pt>
                <c:pt idx="2294">
                  <c:v>2771.01</c:v>
                </c:pt>
                <c:pt idx="2295">
                  <c:v>2685.69</c:v>
                </c:pt>
                <c:pt idx="2296">
                  <c:v>2669.48</c:v>
                </c:pt>
                <c:pt idx="2297">
                  <c:v>2610.92</c:v>
                </c:pt>
                <c:pt idx="2298">
                  <c:v>2637.88</c:v>
                </c:pt>
                <c:pt idx="2299">
                  <c:v>2610.59</c:v>
                </c:pt>
                <c:pt idx="2300">
                  <c:v>2588.19</c:v>
                </c:pt>
                <c:pt idx="2301">
                  <c:v>2581.35</c:v>
                </c:pt>
                <c:pt idx="2302">
                  <c:v>2557.08</c:v>
                </c:pt>
                <c:pt idx="2303">
                  <c:v>2551.9899999999998</c:v>
                </c:pt>
                <c:pt idx="2304">
                  <c:v>2644.76</c:v>
                </c:pt>
                <c:pt idx="2305">
                  <c:v>2662.6</c:v>
                </c:pt>
                <c:pt idx="2306">
                  <c:v>2653.78</c:v>
                </c:pt>
                <c:pt idx="2307">
                  <c:v>2666.95</c:v>
                </c:pt>
                <c:pt idx="2308">
                  <c:v>2592.21</c:v>
                </c:pt>
                <c:pt idx="2309">
                  <c:v>2583.08</c:v>
                </c:pt>
                <c:pt idx="2310">
                  <c:v>2520.5300000000002</c:v>
                </c:pt>
                <c:pt idx="2311">
                  <c:v>2507.88</c:v>
                </c:pt>
                <c:pt idx="2312">
                  <c:v>2576.67</c:v>
                </c:pt>
                <c:pt idx="2313">
                  <c:v>2625.43</c:v>
                </c:pt>
                <c:pt idx="2314">
                  <c:v>2651.65</c:v>
                </c:pt>
                <c:pt idx="2315">
                  <c:v>2657.48</c:v>
                </c:pt>
                <c:pt idx="2316">
                  <c:v>2709.02</c:v>
                </c:pt>
                <c:pt idx="2317">
                  <c:v>2695.31</c:v>
                </c:pt>
                <c:pt idx="2318">
                  <c:v>2697.53</c:v>
                </c:pt>
                <c:pt idx="2319">
                  <c:v>2742.39</c:v>
                </c:pt>
                <c:pt idx="2320">
                  <c:v>2744.3</c:v>
                </c:pt>
                <c:pt idx="2321">
                  <c:v>2763.75</c:v>
                </c:pt>
                <c:pt idx="2322">
                  <c:v>2736.25</c:v>
                </c:pt>
                <c:pt idx="2323">
                  <c:v>2727.71</c:v>
                </c:pt>
                <c:pt idx="2324">
                  <c:v>2751.65</c:v>
                </c:pt>
                <c:pt idx="2325">
                  <c:v>2699.59</c:v>
                </c:pt>
                <c:pt idx="2326">
                  <c:v>2695</c:v>
                </c:pt>
                <c:pt idx="2327">
                  <c:v>2750.2</c:v>
                </c:pt>
                <c:pt idx="2328">
                  <c:v>2744.68</c:v>
                </c:pt>
                <c:pt idx="2329">
                  <c:v>2670.12</c:v>
                </c:pt>
                <c:pt idx="2330">
                  <c:v>2662.02</c:v>
                </c:pt>
                <c:pt idx="2331">
                  <c:v>2606.5</c:v>
                </c:pt>
                <c:pt idx="2332">
                  <c:v>2609.69</c:v>
                </c:pt>
                <c:pt idx="2333">
                  <c:v>2609.48</c:v>
                </c:pt>
                <c:pt idx="2334">
                  <c:v>2584.0100000000002</c:v>
                </c:pt>
                <c:pt idx="2335">
                  <c:v>2588.92</c:v>
                </c:pt>
                <c:pt idx="2336">
                  <c:v>2569.9699999999998</c:v>
                </c:pt>
                <c:pt idx="2337">
                  <c:v>2573.3200000000002</c:v>
                </c:pt>
                <c:pt idx="2338">
                  <c:v>2608.5700000000002</c:v>
                </c:pt>
                <c:pt idx="2339">
                  <c:v>2521.52</c:v>
                </c:pt>
                <c:pt idx="2340">
                  <c:v>2583.61</c:v>
                </c:pt>
                <c:pt idx="2341">
                  <c:v>2557.31</c:v>
                </c:pt>
                <c:pt idx="2342">
                  <c:v>2521.39</c:v>
                </c:pt>
                <c:pt idx="2343">
                  <c:v>2516.34</c:v>
                </c:pt>
                <c:pt idx="2344">
                  <c:v>2528.23</c:v>
                </c:pt>
                <c:pt idx="2345">
                  <c:v>2525</c:v>
                </c:pt>
                <c:pt idx="2346">
                  <c:v>2503.46</c:v>
                </c:pt>
                <c:pt idx="2347">
                  <c:v>2477.69</c:v>
                </c:pt>
                <c:pt idx="2348">
                  <c:v>2421.9299999999998</c:v>
                </c:pt>
                <c:pt idx="2349">
                  <c:v>2397.48</c:v>
                </c:pt>
                <c:pt idx="2350">
                  <c:v>2340.79</c:v>
                </c:pt>
                <c:pt idx="2351">
                  <c:v>2390.13</c:v>
                </c:pt>
                <c:pt idx="2352">
                  <c:v>2384.41</c:v>
                </c:pt>
                <c:pt idx="2353">
                  <c:v>2377.0700000000002</c:v>
                </c:pt>
                <c:pt idx="2354">
                  <c:v>2339.11</c:v>
                </c:pt>
                <c:pt idx="2355">
                  <c:v>2341.34</c:v>
                </c:pt>
                <c:pt idx="2356">
                  <c:v>2359.16</c:v>
                </c:pt>
                <c:pt idx="2357">
                  <c:v>2335.6999999999998</c:v>
                </c:pt>
                <c:pt idx="2358">
                  <c:v>2305.04</c:v>
                </c:pt>
                <c:pt idx="2359">
                  <c:v>2307.9299999999998</c:v>
                </c:pt>
                <c:pt idx="2360">
                  <c:v>2311.36</c:v>
                </c:pt>
                <c:pt idx="2361">
                  <c:v>2345.7399999999998</c:v>
                </c:pt>
                <c:pt idx="2362">
                  <c:v>2298.75</c:v>
                </c:pt>
                <c:pt idx="2363">
                  <c:v>2276.39</c:v>
                </c:pt>
                <c:pt idx="2364">
                  <c:v>2290.6</c:v>
                </c:pt>
                <c:pt idx="2365">
                  <c:v>2368.5700000000002</c:v>
                </c:pt>
                <c:pt idx="2366">
                  <c:v>2447.35</c:v>
                </c:pt>
                <c:pt idx="2367">
                  <c:v>2435.61</c:v>
                </c:pt>
                <c:pt idx="2368">
                  <c:v>2435.2199999999998</c:v>
                </c:pt>
                <c:pt idx="2369">
                  <c:v>2394.33</c:v>
                </c:pt>
                <c:pt idx="2370">
                  <c:v>2345.65</c:v>
                </c:pt>
                <c:pt idx="2371">
                  <c:v>2460.6</c:v>
                </c:pt>
                <c:pt idx="2372">
                  <c:v>2422.19</c:v>
                </c:pt>
                <c:pt idx="2373">
                  <c:v>2468.35</c:v>
                </c:pt>
                <c:pt idx="2374">
                  <c:v>2504.09</c:v>
                </c:pt>
                <c:pt idx="2375">
                  <c:v>2460.7199999999998</c:v>
                </c:pt>
                <c:pt idx="2376">
                  <c:v>2464.2600000000002</c:v>
                </c:pt>
                <c:pt idx="2377">
                  <c:v>2428.9899999999998</c:v>
                </c:pt>
                <c:pt idx="2378">
                  <c:v>2486.2399999999998</c:v>
                </c:pt>
                <c:pt idx="2379">
                  <c:v>2506.09</c:v>
                </c:pt>
                <c:pt idx="2380">
                  <c:v>2504.3200000000002</c:v>
                </c:pt>
                <c:pt idx="2381">
                  <c:v>2457.9499999999998</c:v>
                </c:pt>
                <c:pt idx="2382">
                  <c:v>2528.2399999999998</c:v>
                </c:pt>
                <c:pt idx="2383">
                  <c:v>2529.23</c:v>
                </c:pt>
                <c:pt idx="2384">
                  <c:v>2533.62</c:v>
                </c:pt>
                <c:pt idx="2385">
                  <c:v>2531.98</c:v>
                </c:pt>
                <c:pt idx="2386">
                  <c:v>2522.11</c:v>
                </c:pt>
                <c:pt idx="2387">
                  <c:v>2549.61</c:v>
                </c:pt>
                <c:pt idx="2388">
                  <c:v>2536.0700000000002</c:v>
                </c:pt>
                <c:pt idx="2389">
                  <c:v>2537.09</c:v>
                </c:pt>
                <c:pt idx="2390">
                  <c:v>2540.71</c:v>
                </c:pt>
                <c:pt idx="2391">
                  <c:v>2562.4499999999998</c:v>
                </c:pt>
                <c:pt idx="2392">
                  <c:v>2597.48</c:v>
                </c:pt>
                <c:pt idx="2393">
                  <c:v>2606.2600000000002</c:v>
                </c:pt>
                <c:pt idx="2394">
                  <c:v>2648.02</c:v>
                </c:pt>
                <c:pt idx="2395">
                  <c:v>2656.57</c:v>
                </c:pt>
                <c:pt idx="2396">
                  <c:v>2662.46</c:v>
                </c:pt>
                <c:pt idx="2397">
                  <c:v>2634.14</c:v>
                </c:pt>
                <c:pt idx="2398">
                  <c:v>2633.35</c:v>
                </c:pt>
                <c:pt idx="2399">
                  <c:v>2679.93</c:v>
                </c:pt>
                <c:pt idx="2400">
                  <c:v>2662.7</c:v>
                </c:pt>
                <c:pt idx="2401">
                  <c:v>2621.0500000000002</c:v>
                </c:pt>
                <c:pt idx="2402">
                  <c:v>2603.0100000000002</c:v>
                </c:pt>
                <c:pt idx="2403">
                  <c:v>2635.79</c:v>
                </c:pt>
                <c:pt idx="2404">
                  <c:v>2664.3</c:v>
                </c:pt>
                <c:pt idx="2405">
                  <c:v>2654.4</c:v>
                </c:pt>
                <c:pt idx="2406">
                  <c:v>2681.07</c:v>
                </c:pt>
                <c:pt idx="2407">
                  <c:v>2605.11</c:v>
                </c:pt>
                <c:pt idx="2408">
                  <c:v>2585.5500000000002</c:v>
                </c:pt>
                <c:pt idx="2409">
                  <c:v>2623.52</c:v>
                </c:pt>
                <c:pt idx="2410">
                  <c:v>2630.01</c:v>
                </c:pt>
                <c:pt idx="2411">
                  <c:v>2584.4499999999998</c:v>
                </c:pt>
                <c:pt idx="2412">
                  <c:v>2587.79</c:v>
                </c:pt>
                <c:pt idx="2413">
                  <c:v>2583.75</c:v>
                </c:pt>
                <c:pt idx="2414">
                  <c:v>2552.94</c:v>
                </c:pt>
                <c:pt idx="2415">
                  <c:v>2555.44</c:v>
                </c:pt>
                <c:pt idx="2416">
                  <c:v>2547.14</c:v>
                </c:pt>
                <c:pt idx="2417">
                  <c:v>2474.9</c:v>
                </c:pt>
                <c:pt idx="2418">
                  <c:v>2443.12</c:v>
                </c:pt>
                <c:pt idx="2419">
                  <c:v>2454.9</c:v>
                </c:pt>
                <c:pt idx="2420">
                  <c:v>2512.83</c:v>
                </c:pt>
                <c:pt idx="2421">
                  <c:v>2519.83</c:v>
                </c:pt>
                <c:pt idx="2422">
                  <c:v>2495.15</c:v>
                </c:pt>
                <c:pt idx="2423">
                  <c:v>2519.79</c:v>
                </c:pt>
                <c:pt idx="2424">
                  <c:v>2520.04</c:v>
                </c:pt>
                <c:pt idx="2425">
                  <c:v>2570.44</c:v>
                </c:pt>
                <c:pt idx="2426">
                  <c:v>2580.4499999999998</c:v>
                </c:pt>
                <c:pt idx="2427">
                  <c:v>2574.04</c:v>
                </c:pt>
                <c:pt idx="2428">
                  <c:v>2541.88</c:v>
                </c:pt>
                <c:pt idx="2429">
                  <c:v>2599.91</c:v>
                </c:pt>
                <c:pt idx="2430">
                  <c:v>2596.06</c:v>
                </c:pt>
                <c:pt idx="2431">
                  <c:v>2626.84</c:v>
                </c:pt>
                <c:pt idx="2432">
                  <c:v>2606.04</c:v>
                </c:pt>
                <c:pt idx="2433">
                  <c:v>2604.87</c:v>
                </c:pt>
                <c:pt idx="2434">
                  <c:v>2625.99</c:v>
                </c:pt>
                <c:pt idx="2435">
                  <c:v>2631.49</c:v>
                </c:pt>
                <c:pt idx="2436">
                  <c:v>2626.16</c:v>
                </c:pt>
                <c:pt idx="2437">
                  <c:v>2683.49</c:v>
                </c:pt>
                <c:pt idx="2438">
                  <c:v>2691.52</c:v>
                </c:pt>
                <c:pt idx="2439">
                  <c:v>2715.88</c:v>
                </c:pt>
                <c:pt idx="2440">
                  <c:v>2717.78</c:v>
                </c:pt>
                <c:pt idx="2441">
                  <c:v>2709.12</c:v>
                </c:pt>
                <c:pt idx="2442">
                  <c:v>2657.51</c:v>
                </c:pt>
                <c:pt idx="2443">
                  <c:v>2657.21</c:v>
                </c:pt>
                <c:pt idx="2444">
                  <c:v>2636.92</c:v>
                </c:pt>
                <c:pt idx="2445">
                  <c:v>2615.5300000000002</c:v>
                </c:pt>
                <c:pt idx="2446">
                  <c:v>2617.37</c:v>
                </c:pt>
                <c:pt idx="2447">
                  <c:v>2574.65</c:v>
                </c:pt>
                <c:pt idx="2448">
                  <c:v>2613.94</c:v>
                </c:pt>
                <c:pt idx="2449">
                  <c:v>2573.98</c:v>
                </c:pt>
                <c:pt idx="2450">
                  <c:v>2587.23</c:v>
                </c:pt>
                <c:pt idx="2451">
                  <c:v>2627.53</c:v>
                </c:pt>
                <c:pt idx="2452">
                  <c:v>2616.87</c:v>
                </c:pt>
                <c:pt idx="2453">
                  <c:v>2595.2600000000002</c:v>
                </c:pt>
                <c:pt idx="2454">
                  <c:v>2573.1</c:v>
                </c:pt>
                <c:pt idx="2455">
                  <c:v>2614.69</c:v>
                </c:pt>
                <c:pt idx="2456">
                  <c:v>2650.85</c:v>
                </c:pt>
                <c:pt idx="2457">
                  <c:v>2642.26</c:v>
                </c:pt>
                <c:pt idx="2458">
                  <c:v>2632.04</c:v>
                </c:pt>
                <c:pt idx="2459">
                  <c:v>2633</c:v>
                </c:pt>
                <c:pt idx="2460">
                  <c:v>2559.0300000000002</c:v>
                </c:pt>
                <c:pt idx="2461">
                  <c:v>2558.84</c:v>
                </c:pt>
                <c:pt idx="2462">
                  <c:v>2557.4</c:v>
                </c:pt>
                <c:pt idx="2463">
                  <c:v>2542.1799999999998</c:v>
                </c:pt>
                <c:pt idx="2464">
                  <c:v>2524.33</c:v>
                </c:pt>
                <c:pt idx="2465">
                  <c:v>2558.27</c:v>
                </c:pt>
                <c:pt idx="2466">
                  <c:v>2540.1799999999998</c:v>
                </c:pt>
                <c:pt idx="2467">
                  <c:v>2580.64</c:v>
                </c:pt>
                <c:pt idx="2468">
                  <c:v>2560.42</c:v>
                </c:pt>
                <c:pt idx="2469">
                  <c:v>2568.0500000000002</c:v>
                </c:pt>
                <c:pt idx="2470">
                  <c:v>2581.21</c:v>
                </c:pt>
                <c:pt idx="2471">
                  <c:v>2558.62</c:v>
                </c:pt>
                <c:pt idx="2472">
                  <c:v>2552.61</c:v>
                </c:pt>
                <c:pt idx="2473">
                  <c:v>2512.19</c:v>
                </c:pt>
                <c:pt idx="2474">
                  <c:v>2456.52</c:v>
                </c:pt>
                <c:pt idx="2475">
                  <c:v>2454.92</c:v>
                </c:pt>
                <c:pt idx="2476">
                  <c:v>2447.1999999999998</c:v>
                </c:pt>
                <c:pt idx="2477">
                  <c:v>2425.73</c:v>
                </c:pt>
                <c:pt idx="2478">
                  <c:v>2461.61</c:v>
                </c:pt>
                <c:pt idx="2479">
                  <c:v>2465.2399999999998</c:v>
                </c:pt>
                <c:pt idx="2480">
                  <c:v>2468.7199999999998</c:v>
                </c:pt>
                <c:pt idx="2481">
                  <c:v>2464.92</c:v>
                </c:pt>
                <c:pt idx="2482">
                  <c:v>2430.37</c:v>
                </c:pt>
                <c:pt idx="2483">
                  <c:v>2472.61</c:v>
                </c:pt>
                <c:pt idx="2484">
                  <c:v>2416.04</c:v>
                </c:pt>
                <c:pt idx="2485">
                  <c:v>2406.71</c:v>
                </c:pt>
                <c:pt idx="2486">
                  <c:v>2425.5700000000002</c:v>
                </c:pt>
                <c:pt idx="2487">
                  <c:v>2449.1799999999998</c:v>
                </c:pt>
                <c:pt idx="2488">
                  <c:v>2450.63</c:v>
                </c:pt>
                <c:pt idx="2489">
                  <c:v>2399.73</c:v>
                </c:pt>
                <c:pt idx="2490">
                  <c:v>2414.1999999999998</c:v>
                </c:pt>
                <c:pt idx="2491">
                  <c:v>2414.34</c:v>
                </c:pt>
                <c:pt idx="2492">
                  <c:v>2424.3200000000002</c:v>
                </c:pt>
                <c:pt idx="2493">
                  <c:v>2398.46</c:v>
                </c:pt>
                <c:pt idx="2494">
                  <c:v>2365.4299999999998</c:v>
                </c:pt>
                <c:pt idx="2495">
                  <c:v>2375.9899999999998</c:v>
                </c:pt>
                <c:pt idx="2496">
                  <c:v>2360.08</c:v>
                </c:pt>
                <c:pt idx="2497">
                  <c:v>2347.4899999999998</c:v>
                </c:pt>
                <c:pt idx="2498">
                  <c:v>2349.11</c:v>
                </c:pt>
                <c:pt idx="2499">
                  <c:v>2335.79</c:v>
                </c:pt>
                <c:pt idx="2500">
                  <c:v>2332.92</c:v>
                </c:pt>
                <c:pt idx="2501">
                  <c:v>2358.65</c:v>
                </c:pt>
                <c:pt idx="2502">
                  <c:v>2334.88</c:v>
                </c:pt>
                <c:pt idx="2503">
                  <c:v>2353.7399999999998</c:v>
                </c:pt>
                <c:pt idx="2504">
                  <c:v>2385.61</c:v>
                </c:pt>
                <c:pt idx="2505">
                  <c:v>2388.87</c:v>
                </c:pt>
                <c:pt idx="2506">
                  <c:v>2389.8000000000002</c:v>
                </c:pt>
                <c:pt idx="2507">
                  <c:v>2411.6999999999998</c:v>
                </c:pt>
                <c:pt idx="2508">
                  <c:v>2399.75</c:v>
                </c:pt>
                <c:pt idx="2509">
                  <c:v>2351.9299999999998</c:v>
                </c:pt>
                <c:pt idx="2510">
                  <c:v>2357.02</c:v>
                </c:pt>
                <c:pt idx="2511">
                  <c:v>2331.61</c:v>
                </c:pt>
                <c:pt idx="2512">
                  <c:v>2319.67</c:v>
                </c:pt>
                <c:pt idx="2513">
                  <c:v>2313.48</c:v>
                </c:pt>
                <c:pt idx="2514">
                  <c:v>2301.79</c:v>
                </c:pt>
                <c:pt idx="2515">
                  <c:v>2313.6999999999998</c:v>
                </c:pt>
                <c:pt idx="2516">
                  <c:v>2295.59</c:v>
                </c:pt>
                <c:pt idx="2517">
                  <c:v>2302.1999999999998</c:v>
                </c:pt>
                <c:pt idx="2518">
                  <c:v>2275.6799999999998</c:v>
                </c:pt>
                <c:pt idx="2519">
                  <c:v>2228.1999999999998</c:v>
                </c:pt>
                <c:pt idx="2520">
                  <c:v>2238.41</c:v>
                </c:pt>
                <c:pt idx="2521">
                  <c:v>2214.81</c:v>
                </c:pt>
                <c:pt idx="2522">
                  <c:v>2211.37</c:v>
                </c:pt>
                <c:pt idx="2523">
                  <c:v>2204.87</c:v>
                </c:pt>
                <c:pt idx="2524">
                  <c:v>2228.37</c:v>
                </c:pt>
                <c:pt idx="2525">
                  <c:v>2204.41</c:v>
                </c:pt>
                <c:pt idx="2526">
                  <c:v>2199.88</c:v>
                </c:pt>
                <c:pt idx="2527">
                  <c:v>2217.8200000000002</c:v>
                </c:pt>
                <c:pt idx="2528">
                  <c:v>2317.1799999999998</c:v>
                </c:pt>
                <c:pt idx="2529">
                  <c:v>2326.67</c:v>
                </c:pt>
                <c:pt idx="2530">
                  <c:v>2311.89</c:v>
                </c:pt>
                <c:pt idx="2531">
                  <c:v>2320.0700000000002</c:v>
                </c:pt>
                <c:pt idx="2532">
                  <c:v>2298.46</c:v>
                </c:pt>
                <c:pt idx="2533">
                  <c:v>2315.54</c:v>
                </c:pt>
                <c:pt idx="2534">
                  <c:v>2258.71</c:v>
                </c:pt>
                <c:pt idx="2535">
                  <c:v>2235.2399999999998</c:v>
                </c:pt>
                <c:pt idx="2536">
                  <c:v>2246.2399999999998</c:v>
                </c:pt>
                <c:pt idx="2537">
                  <c:v>2195.9499999999998</c:v>
                </c:pt>
                <c:pt idx="2538">
                  <c:v>2199.06</c:v>
                </c:pt>
                <c:pt idx="2539">
                  <c:v>2215.52</c:v>
                </c:pt>
                <c:pt idx="2540">
                  <c:v>2210.15</c:v>
                </c:pt>
                <c:pt idx="2541">
                  <c:v>2184.89</c:v>
                </c:pt>
                <c:pt idx="2542">
                  <c:v>2251.7199999999998</c:v>
                </c:pt>
                <c:pt idx="2543">
                  <c:v>2293.11</c:v>
                </c:pt>
                <c:pt idx="2544">
                  <c:v>2270.0500000000002</c:v>
                </c:pt>
                <c:pt idx="2545">
                  <c:v>2320.16</c:v>
                </c:pt>
                <c:pt idx="2546">
                  <c:v>2324.12</c:v>
                </c:pt>
                <c:pt idx="2547">
                  <c:v>2302.5300000000002</c:v>
                </c:pt>
                <c:pt idx="2548">
                  <c:v>2304.5300000000002</c:v>
                </c:pt>
                <c:pt idx="2549">
                  <c:v>2294.86</c:v>
                </c:pt>
                <c:pt idx="2550">
                  <c:v>2298.16</c:v>
                </c:pt>
                <c:pt idx="2551">
                  <c:v>2300.8000000000002</c:v>
                </c:pt>
                <c:pt idx="2552">
                  <c:v>2336.08</c:v>
                </c:pt>
                <c:pt idx="2553">
                  <c:v>2332.4699999999998</c:v>
                </c:pt>
                <c:pt idx="2554">
                  <c:v>2341.59</c:v>
                </c:pt>
                <c:pt idx="2555">
                  <c:v>2312.08</c:v>
                </c:pt>
                <c:pt idx="2556">
                  <c:v>2307.7800000000002</c:v>
                </c:pt>
                <c:pt idx="2557">
                  <c:v>2291.2399999999998</c:v>
                </c:pt>
                <c:pt idx="2558">
                  <c:v>2247.91</c:v>
                </c:pt>
                <c:pt idx="2559">
                  <c:v>2235.85</c:v>
                </c:pt>
                <c:pt idx="2560">
                  <c:v>2239.88</c:v>
                </c:pt>
                <c:pt idx="2561">
                  <c:v>2254.8200000000002</c:v>
                </c:pt>
                <c:pt idx="2562">
                  <c:v>2297.88</c:v>
                </c:pt>
                <c:pt idx="2563">
                  <c:v>2306.77</c:v>
                </c:pt>
                <c:pt idx="2564">
                  <c:v>2301.88</c:v>
                </c:pt>
                <c:pt idx="2565">
                  <c:v>2292.21</c:v>
                </c:pt>
                <c:pt idx="2566">
                  <c:v>2287.5100000000002</c:v>
                </c:pt>
                <c:pt idx="2567">
                  <c:v>2245.41</c:v>
                </c:pt>
                <c:pt idx="2568">
                  <c:v>2240.92</c:v>
                </c:pt>
                <c:pt idx="2569">
                  <c:v>2251.85</c:v>
                </c:pt>
                <c:pt idx="2570">
                  <c:v>2212.44</c:v>
                </c:pt>
                <c:pt idx="2571">
                  <c:v>2223.11</c:v>
                </c:pt>
                <c:pt idx="2572">
                  <c:v>2193.62</c:v>
                </c:pt>
                <c:pt idx="2573">
                  <c:v>2177.2399999999998</c:v>
                </c:pt>
                <c:pt idx="2574">
                  <c:v>2174.9899999999998</c:v>
                </c:pt>
                <c:pt idx="2575">
                  <c:v>2164.88</c:v>
                </c:pt>
                <c:pt idx="2576">
                  <c:v>2194.9</c:v>
                </c:pt>
                <c:pt idx="2577">
                  <c:v>2177.5500000000002</c:v>
                </c:pt>
                <c:pt idx="2578">
                  <c:v>2192.6799999999998</c:v>
                </c:pt>
                <c:pt idx="2579">
                  <c:v>2175.6</c:v>
                </c:pt>
                <c:pt idx="2580">
                  <c:v>2150.64</c:v>
                </c:pt>
                <c:pt idx="2581">
                  <c:v>2129.16</c:v>
                </c:pt>
                <c:pt idx="2582">
                  <c:v>2115.6799999999998</c:v>
                </c:pt>
                <c:pt idx="2583">
                  <c:v>2139.66</c:v>
                </c:pt>
                <c:pt idx="2584">
                  <c:v>2108.85</c:v>
                </c:pt>
                <c:pt idx="2585">
                  <c:v>2131.4699999999998</c:v>
                </c:pt>
                <c:pt idx="2586">
                  <c:v>2207.88</c:v>
                </c:pt>
                <c:pt idx="2587">
                  <c:v>2203.6</c:v>
                </c:pt>
                <c:pt idx="2588">
                  <c:v>2246.7600000000002</c:v>
                </c:pt>
                <c:pt idx="2589">
                  <c:v>2271.0500000000002</c:v>
                </c:pt>
                <c:pt idx="2590">
                  <c:v>2258.5</c:v>
                </c:pt>
                <c:pt idx="2591">
                  <c:v>2267.77</c:v>
                </c:pt>
                <c:pt idx="2592">
                  <c:v>2242.64</c:v>
                </c:pt>
                <c:pt idx="2593">
                  <c:v>2355.86</c:v>
                </c:pt>
                <c:pt idx="2594">
                  <c:v>2366.6999999999998</c:v>
                </c:pt>
                <c:pt idx="2595">
                  <c:v>2368.12</c:v>
                </c:pt>
                <c:pt idx="2596">
                  <c:v>2371.11</c:v>
                </c:pt>
                <c:pt idx="2597">
                  <c:v>2384.8200000000002</c:v>
                </c:pt>
                <c:pt idx="2598">
                  <c:v>2372</c:v>
                </c:pt>
                <c:pt idx="2599">
                  <c:v>2381.2199999999998</c:v>
                </c:pt>
                <c:pt idx="2600">
                  <c:v>2448.4</c:v>
                </c:pt>
                <c:pt idx="2601">
                  <c:v>2457.62</c:v>
                </c:pt>
                <c:pt idx="2602">
                  <c:v>2444.59</c:v>
                </c:pt>
                <c:pt idx="2603">
                  <c:v>2480.0500000000002</c:v>
                </c:pt>
                <c:pt idx="2604">
                  <c:v>2522.9499999999998</c:v>
                </c:pt>
                <c:pt idx="2605">
                  <c:v>2524.41</c:v>
                </c:pt>
                <c:pt idx="2606">
                  <c:v>2535.9899999999998</c:v>
                </c:pt>
                <c:pt idx="2607">
                  <c:v>2525.33</c:v>
                </c:pt>
                <c:pt idx="2608">
                  <c:v>2526.13</c:v>
                </c:pt>
                <c:pt idx="2609">
                  <c:v>2530.5700000000002</c:v>
                </c:pt>
                <c:pt idx="2610">
                  <c:v>2483.23</c:v>
                </c:pt>
                <c:pt idx="2611">
                  <c:v>2577.73</c:v>
                </c:pt>
                <c:pt idx="2612">
                  <c:v>2595.86</c:v>
                </c:pt>
                <c:pt idx="2613">
                  <c:v>2577.09</c:v>
                </c:pt>
                <c:pt idx="2614">
                  <c:v>2552.7600000000002</c:v>
                </c:pt>
                <c:pt idx="2615">
                  <c:v>2595.44</c:v>
                </c:pt>
                <c:pt idx="2616">
                  <c:v>2610.9</c:v>
                </c:pt>
                <c:pt idx="2617">
                  <c:v>2596.9</c:v>
                </c:pt>
                <c:pt idx="2618">
                  <c:v>2607.46</c:v>
                </c:pt>
                <c:pt idx="2619">
                  <c:v>2582.7600000000002</c:v>
                </c:pt>
                <c:pt idx="2620">
                  <c:v>2571.67</c:v>
                </c:pt>
                <c:pt idx="2621">
                  <c:v>2651.86</c:v>
                </c:pt>
                <c:pt idx="2622">
                  <c:v>2675.87</c:v>
                </c:pt>
                <c:pt idx="2623">
                  <c:v>2688.71</c:v>
                </c:pt>
                <c:pt idx="2624">
                  <c:v>2686.88</c:v>
                </c:pt>
                <c:pt idx="2625">
                  <c:v>2743.32</c:v>
                </c:pt>
                <c:pt idx="2626">
                  <c:v>2748.03</c:v>
                </c:pt>
                <c:pt idx="2627">
                  <c:v>2771.68</c:v>
                </c:pt>
                <c:pt idx="2628">
                  <c:v>2775.84</c:v>
                </c:pt>
                <c:pt idx="2629">
                  <c:v>2759.87</c:v>
                </c:pt>
                <c:pt idx="2630">
                  <c:v>2771.73</c:v>
                </c:pt>
                <c:pt idx="2631">
                  <c:v>2737.47</c:v>
                </c:pt>
                <c:pt idx="2632">
                  <c:v>2685.61</c:v>
                </c:pt>
                <c:pt idx="2633">
                  <c:v>2702.64</c:v>
                </c:pt>
                <c:pt idx="2634">
                  <c:v>2610.5500000000002</c:v>
                </c:pt>
                <c:pt idx="2635">
                  <c:v>2596.6</c:v>
                </c:pt>
                <c:pt idx="2636">
                  <c:v>2604.96</c:v>
                </c:pt>
                <c:pt idx="2637">
                  <c:v>2567.59</c:v>
                </c:pt>
                <c:pt idx="2638">
                  <c:v>2594.6799999999998</c:v>
                </c:pt>
                <c:pt idx="2639">
                  <c:v>2673.33</c:v>
                </c:pt>
                <c:pt idx="2640">
                  <c:v>2668.84</c:v>
                </c:pt>
                <c:pt idx="2641">
                  <c:v>2545.7199999999998</c:v>
                </c:pt>
                <c:pt idx="2642">
                  <c:v>2622.81</c:v>
                </c:pt>
                <c:pt idx="2643">
                  <c:v>2650.2</c:v>
                </c:pt>
                <c:pt idx="2644">
                  <c:v>2619.48</c:v>
                </c:pt>
                <c:pt idx="2645">
                  <c:v>2606.9299999999998</c:v>
                </c:pt>
                <c:pt idx="2646">
                  <c:v>2592.37</c:v>
                </c:pt>
                <c:pt idx="2647">
                  <c:v>2555.61</c:v>
                </c:pt>
                <c:pt idx="2648">
                  <c:v>2527.4899999999998</c:v>
                </c:pt>
                <c:pt idx="2649">
                  <c:v>2534.27</c:v>
                </c:pt>
                <c:pt idx="2650">
                  <c:v>2539.87</c:v>
                </c:pt>
                <c:pt idx="2651">
                  <c:v>2502.4899999999998</c:v>
                </c:pt>
                <c:pt idx="2652">
                  <c:v>2525.1</c:v>
                </c:pt>
                <c:pt idx="2653">
                  <c:v>2610.17</c:v>
                </c:pt>
                <c:pt idx="2654">
                  <c:v>2614.9899999999998</c:v>
                </c:pt>
                <c:pt idx="2655">
                  <c:v>2618.31</c:v>
                </c:pt>
                <c:pt idx="2656">
                  <c:v>2613.1</c:v>
                </c:pt>
                <c:pt idx="2657">
                  <c:v>2575.0500000000002</c:v>
                </c:pt>
                <c:pt idx="2658">
                  <c:v>2583.5300000000002</c:v>
                </c:pt>
                <c:pt idx="2659">
                  <c:v>2499.3000000000002</c:v>
                </c:pt>
                <c:pt idx="2660">
                  <c:v>2495.08</c:v>
                </c:pt>
                <c:pt idx="2661">
                  <c:v>2493.19</c:v>
                </c:pt>
                <c:pt idx="2662">
                  <c:v>2486.39</c:v>
                </c:pt>
                <c:pt idx="2663">
                  <c:v>2483.5500000000002</c:v>
                </c:pt>
                <c:pt idx="2664">
                  <c:v>2472.3000000000002</c:v>
                </c:pt>
                <c:pt idx="2665">
                  <c:v>2489.4299999999998</c:v>
                </c:pt>
                <c:pt idx="2666">
                  <c:v>2485.31</c:v>
                </c:pt>
                <c:pt idx="2667">
                  <c:v>2477.88</c:v>
                </c:pt>
                <c:pt idx="2668">
                  <c:v>2462.11</c:v>
                </c:pt>
                <c:pt idx="2669">
                  <c:v>2436.8200000000002</c:v>
                </c:pt>
                <c:pt idx="2670">
                  <c:v>2459.59</c:v>
                </c:pt>
                <c:pt idx="2671">
                  <c:v>2458.4699999999998</c:v>
                </c:pt>
                <c:pt idx="2672">
                  <c:v>2464.85</c:v>
                </c:pt>
                <c:pt idx="2673">
                  <c:v>2533.83</c:v>
                </c:pt>
                <c:pt idx="2674">
                  <c:v>2530.67</c:v>
                </c:pt>
                <c:pt idx="2675">
                  <c:v>2449.4699999999998</c:v>
                </c:pt>
                <c:pt idx="2676">
                  <c:v>2495.58</c:v>
                </c:pt>
                <c:pt idx="2677">
                  <c:v>2467.88</c:v>
                </c:pt>
                <c:pt idx="2678">
                  <c:v>2447.31</c:v>
                </c:pt>
                <c:pt idx="2679">
                  <c:v>2449.64</c:v>
                </c:pt>
                <c:pt idx="2680">
                  <c:v>2492.91</c:v>
                </c:pt>
                <c:pt idx="2681">
                  <c:v>2525.98</c:v>
                </c:pt>
                <c:pt idx="2682">
                  <c:v>2529.94</c:v>
                </c:pt>
                <c:pt idx="2683">
                  <c:v>2542.8000000000002</c:v>
                </c:pt>
                <c:pt idx="2684">
                  <c:v>2527.79</c:v>
                </c:pt>
                <c:pt idx="2685">
                  <c:v>2540.84</c:v>
                </c:pt>
                <c:pt idx="2686">
                  <c:v>2530.77</c:v>
                </c:pt>
                <c:pt idx="2687">
                  <c:v>2493.34</c:v>
                </c:pt>
                <c:pt idx="2688">
                  <c:v>2506.9299999999998</c:v>
                </c:pt>
                <c:pt idx="2689">
                  <c:v>2552.71</c:v>
                </c:pt>
                <c:pt idx="2690">
                  <c:v>2592.0500000000002</c:v>
                </c:pt>
                <c:pt idx="2691">
                  <c:v>2609.61</c:v>
                </c:pt>
                <c:pt idx="2692">
                  <c:v>2614.85</c:v>
                </c:pt>
                <c:pt idx="2693">
                  <c:v>2618.0300000000002</c:v>
                </c:pt>
                <c:pt idx="2694">
                  <c:v>2582.85</c:v>
                </c:pt>
                <c:pt idx="2695">
                  <c:v>2597.23</c:v>
                </c:pt>
                <c:pt idx="2696">
                  <c:v>2599.59</c:v>
                </c:pt>
                <c:pt idx="2697">
                  <c:v>2644.36</c:v>
                </c:pt>
                <c:pt idx="2698">
                  <c:v>2642.56</c:v>
                </c:pt>
                <c:pt idx="2699">
                  <c:v>2634.32</c:v>
                </c:pt>
                <c:pt idx="2700">
                  <c:v>2606.4299999999998</c:v>
                </c:pt>
                <c:pt idx="2701">
                  <c:v>2602.62</c:v>
                </c:pt>
                <c:pt idx="2702">
                  <c:v>2565.67</c:v>
                </c:pt>
                <c:pt idx="2703">
                  <c:v>2560.54</c:v>
                </c:pt>
                <c:pt idx="2704">
                  <c:v>2527.84</c:v>
                </c:pt>
                <c:pt idx="2705">
                  <c:v>2484.16</c:v>
                </c:pt>
                <c:pt idx="2706">
                  <c:v>2399.94</c:v>
                </c:pt>
                <c:pt idx="2707">
                  <c:v>2416.77</c:v>
                </c:pt>
                <c:pt idx="2708">
                  <c:v>2403.84</c:v>
                </c:pt>
                <c:pt idx="2709">
                  <c:v>2418.75</c:v>
                </c:pt>
                <c:pt idx="2710">
                  <c:v>2400.77</c:v>
                </c:pt>
                <c:pt idx="2711">
                  <c:v>2321.4699999999998</c:v>
                </c:pt>
                <c:pt idx="2712">
                  <c:v>2317.39</c:v>
                </c:pt>
                <c:pt idx="2713">
                  <c:v>2171.21</c:v>
                </c:pt>
                <c:pt idx="2714">
                  <c:v>2165.42</c:v>
                </c:pt>
                <c:pt idx="2715">
                  <c:v>2168.3000000000002</c:v>
                </c:pt>
                <c:pt idx="2716">
                  <c:v>2160.7399999999998</c:v>
                </c:pt>
                <c:pt idx="2717">
                  <c:v>2200.64</c:v>
                </c:pt>
                <c:pt idx="2718">
                  <c:v>2213.3200000000002</c:v>
                </c:pt>
                <c:pt idx="2719">
                  <c:v>2221.98</c:v>
                </c:pt>
                <c:pt idx="2720">
                  <c:v>2203.83</c:v>
                </c:pt>
                <c:pt idx="2721">
                  <c:v>2221.98</c:v>
                </c:pt>
                <c:pt idx="2722">
                  <c:v>2226.85</c:v>
                </c:pt>
                <c:pt idx="2723">
                  <c:v>2163.62</c:v>
                </c:pt>
                <c:pt idx="2724">
                  <c:v>2162.67</c:v>
                </c:pt>
                <c:pt idx="2725">
                  <c:v>2224.0700000000002</c:v>
                </c:pt>
                <c:pt idx="2726">
                  <c:v>2326.69</c:v>
                </c:pt>
                <c:pt idx="2727">
                  <c:v>2275.37</c:v>
                </c:pt>
                <c:pt idx="2728">
                  <c:v>2307.3000000000002</c:v>
                </c:pt>
                <c:pt idx="2729">
                  <c:v>2317.85</c:v>
                </c:pt>
                <c:pt idx="2730">
                  <c:v>2282.84</c:v>
                </c:pt>
                <c:pt idx="2731">
                  <c:v>2245.33</c:v>
                </c:pt>
                <c:pt idx="2732">
                  <c:v>2190.48</c:v>
                </c:pt>
                <c:pt idx="2733">
                  <c:v>2202.19</c:v>
                </c:pt>
                <c:pt idx="2734">
                  <c:v>2265.84</c:v>
                </c:pt>
                <c:pt idx="2735">
                  <c:v>2249.15</c:v>
                </c:pt>
                <c:pt idx="2736">
                  <c:v>2237.6799999999998</c:v>
                </c:pt>
                <c:pt idx="2737">
                  <c:v>2224.0100000000002</c:v>
                </c:pt>
                <c:pt idx="2738">
                  <c:v>2175.9699999999998</c:v>
                </c:pt>
                <c:pt idx="2739">
                  <c:v>2189.39</c:v>
                </c:pt>
                <c:pt idx="2740">
                  <c:v>2193.02</c:v>
                </c:pt>
                <c:pt idx="2741">
                  <c:v>2245.36</c:v>
                </c:pt>
                <c:pt idx="2742">
                  <c:v>2247.2600000000002</c:v>
                </c:pt>
                <c:pt idx="2743">
                  <c:v>2278.33</c:v>
                </c:pt>
                <c:pt idx="2744">
                  <c:v>2293.64</c:v>
                </c:pt>
                <c:pt idx="2745">
                  <c:v>2280.62</c:v>
                </c:pt>
                <c:pt idx="2746">
                  <c:v>2276.7800000000002</c:v>
                </c:pt>
                <c:pt idx="2747">
                  <c:v>2286.0100000000002</c:v>
                </c:pt>
                <c:pt idx="2748">
                  <c:v>2352.79</c:v>
                </c:pt>
                <c:pt idx="2749">
                  <c:v>2359.0700000000002</c:v>
                </c:pt>
                <c:pt idx="2750">
                  <c:v>2349.08</c:v>
                </c:pt>
                <c:pt idx="2751">
                  <c:v>2321.58</c:v>
                </c:pt>
                <c:pt idx="2752">
                  <c:v>2304.14</c:v>
                </c:pt>
                <c:pt idx="2753">
                  <c:v>2331.4299999999998</c:v>
                </c:pt>
                <c:pt idx="2754">
                  <c:v>2312.4699999999998</c:v>
                </c:pt>
                <c:pt idx="2755">
                  <c:v>2308.59</c:v>
                </c:pt>
                <c:pt idx="2756">
                  <c:v>2303.9299999999998</c:v>
                </c:pt>
                <c:pt idx="2757">
                  <c:v>2286.9299999999998</c:v>
                </c:pt>
                <c:pt idx="2758">
                  <c:v>2335.62</c:v>
                </c:pt>
                <c:pt idx="2759">
                  <c:v>2340.88</c:v>
                </c:pt>
                <c:pt idx="2760">
                  <c:v>2328.06</c:v>
                </c:pt>
                <c:pt idx="2761">
                  <c:v>2318.31</c:v>
                </c:pt>
                <c:pt idx="2762">
                  <c:v>2313.91</c:v>
                </c:pt>
                <c:pt idx="2763">
                  <c:v>2320.34</c:v>
                </c:pt>
                <c:pt idx="2764">
                  <c:v>2354.5</c:v>
                </c:pt>
                <c:pt idx="2765">
                  <c:v>2350.6999999999998</c:v>
                </c:pt>
                <c:pt idx="2766">
                  <c:v>2341.7399999999998</c:v>
                </c:pt>
                <c:pt idx="2767">
                  <c:v>2357.7800000000002</c:v>
                </c:pt>
                <c:pt idx="2768">
                  <c:v>2440.61</c:v>
                </c:pt>
                <c:pt idx="2769">
                  <c:v>2474.89</c:v>
                </c:pt>
                <c:pt idx="2770">
                  <c:v>2482.89</c:v>
                </c:pt>
                <c:pt idx="2771">
                  <c:v>2507.46</c:v>
                </c:pt>
                <c:pt idx="2772">
                  <c:v>2488.9</c:v>
                </c:pt>
                <c:pt idx="2773">
                  <c:v>2478.39</c:v>
                </c:pt>
                <c:pt idx="2774">
                  <c:v>2427.3200000000002</c:v>
                </c:pt>
                <c:pt idx="2775">
                  <c:v>2432.5100000000002</c:v>
                </c:pt>
                <c:pt idx="2776">
                  <c:v>2472.29</c:v>
                </c:pt>
                <c:pt idx="2777">
                  <c:v>2443.89</c:v>
                </c:pt>
                <c:pt idx="2778">
                  <c:v>2429.0300000000002</c:v>
                </c:pt>
                <c:pt idx="2779">
                  <c:v>2384.44</c:v>
                </c:pt>
                <c:pt idx="2780">
                  <c:v>2394.9699999999998</c:v>
                </c:pt>
                <c:pt idx="2781">
                  <c:v>2409.04</c:v>
                </c:pt>
                <c:pt idx="2782">
                  <c:v>2441.81</c:v>
                </c:pt>
                <c:pt idx="2783">
                  <c:v>2453.58</c:v>
                </c:pt>
                <c:pt idx="2784">
                  <c:v>2429.3200000000002</c:v>
                </c:pt>
                <c:pt idx="2785">
                  <c:v>2468.5100000000002</c:v>
                </c:pt>
                <c:pt idx="2786">
                  <c:v>2472.54</c:v>
                </c:pt>
                <c:pt idx="2787">
                  <c:v>2467.52</c:v>
                </c:pt>
                <c:pt idx="2788">
                  <c:v>2421.37</c:v>
                </c:pt>
                <c:pt idx="2789">
                  <c:v>2413.33</c:v>
                </c:pt>
                <c:pt idx="2790">
                  <c:v>2426.0500000000002</c:v>
                </c:pt>
                <c:pt idx="2791">
                  <c:v>2471.3200000000002</c:v>
                </c:pt>
                <c:pt idx="2792">
                  <c:v>2445.89</c:v>
                </c:pt>
                <c:pt idx="2793">
                  <c:v>2418.4899999999998</c:v>
                </c:pt>
                <c:pt idx="2794">
                  <c:v>2400.5100000000002</c:v>
                </c:pt>
                <c:pt idx="2795">
                  <c:v>2368.56</c:v>
                </c:pt>
                <c:pt idx="2796">
                  <c:v>2365.9499999999998</c:v>
                </c:pt>
                <c:pt idx="2797">
                  <c:v>2372.0500000000002</c:v>
                </c:pt>
                <c:pt idx="2798">
                  <c:v>2407.4699999999998</c:v>
                </c:pt>
                <c:pt idx="2799">
                  <c:v>2373.7199999999998</c:v>
                </c:pt>
                <c:pt idx="2800">
                  <c:v>2384.96</c:v>
                </c:pt>
                <c:pt idx="2801">
                  <c:v>2380.4499999999998</c:v>
                </c:pt>
                <c:pt idx="2802">
                  <c:v>2383.77</c:v>
                </c:pt>
                <c:pt idx="2803">
                  <c:v>2353.5700000000002</c:v>
                </c:pt>
                <c:pt idx="2804">
                  <c:v>2340.5500000000002</c:v>
                </c:pt>
                <c:pt idx="2805">
                  <c:v>2307.9499999999998</c:v>
                </c:pt>
                <c:pt idx="2806">
                  <c:v>2315.89</c:v>
                </c:pt>
                <c:pt idx="2807">
                  <c:v>2340</c:v>
                </c:pt>
                <c:pt idx="2808">
                  <c:v>2288.12</c:v>
                </c:pt>
                <c:pt idx="2809">
                  <c:v>2304.5</c:v>
                </c:pt>
                <c:pt idx="2810">
                  <c:v>2350.73</c:v>
                </c:pt>
                <c:pt idx="2811">
                  <c:v>2428.9</c:v>
                </c:pt>
                <c:pt idx="2812">
                  <c:v>2412.16</c:v>
                </c:pt>
                <c:pt idx="2813">
                  <c:v>2424.85</c:v>
                </c:pt>
                <c:pt idx="2814">
                  <c:v>2409.9899999999998</c:v>
                </c:pt>
                <c:pt idx="2815">
                  <c:v>2397.96</c:v>
                </c:pt>
                <c:pt idx="2816">
                  <c:v>2388.63</c:v>
                </c:pt>
                <c:pt idx="2817">
                  <c:v>2387.42</c:v>
                </c:pt>
                <c:pt idx="2818">
                  <c:v>2414.48</c:v>
                </c:pt>
                <c:pt idx="2819">
                  <c:v>2439.5300000000002</c:v>
                </c:pt>
                <c:pt idx="2820">
                  <c:v>2438.94</c:v>
                </c:pt>
                <c:pt idx="2821">
                  <c:v>2418.79</c:v>
                </c:pt>
                <c:pt idx="2822">
                  <c:v>2442.7800000000002</c:v>
                </c:pt>
                <c:pt idx="2823">
                  <c:v>2475.14</c:v>
                </c:pt>
                <c:pt idx="2824">
                  <c:v>2468.1999999999998</c:v>
                </c:pt>
                <c:pt idx="2825">
                  <c:v>2452.29</c:v>
                </c:pt>
                <c:pt idx="2826">
                  <c:v>2450.87</c:v>
                </c:pt>
                <c:pt idx="2827">
                  <c:v>2453.3200000000002</c:v>
                </c:pt>
                <c:pt idx="2828">
                  <c:v>2412.7600000000002</c:v>
                </c:pt>
                <c:pt idx="2829">
                  <c:v>2410.02</c:v>
                </c:pt>
                <c:pt idx="2830">
                  <c:v>2406.64</c:v>
                </c:pt>
                <c:pt idx="2831">
                  <c:v>2367.92</c:v>
                </c:pt>
                <c:pt idx="2832">
                  <c:v>2356.38</c:v>
                </c:pt>
                <c:pt idx="2833">
                  <c:v>2357.23</c:v>
                </c:pt>
                <c:pt idx="2834">
                  <c:v>2332.41</c:v>
                </c:pt>
                <c:pt idx="2835">
                  <c:v>2278.14</c:v>
                </c:pt>
                <c:pt idx="2836">
                  <c:v>2284.6</c:v>
                </c:pt>
                <c:pt idx="2837">
                  <c:v>2288.25</c:v>
                </c:pt>
                <c:pt idx="2838">
                  <c:v>2305.11</c:v>
                </c:pt>
                <c:pt idx="2839">
                  <c:v>2265.33</c:v>
                </c:pt>
                <c:pt idx="2840">
                  <c:v>2303.48</c:v>
                </c:pt>
                <c:pt idx="2841">
                  <c:v>2299.46</c:v>
                </c:pt>
                <c:pt idx="2842">
                  <c:v>2330.0300000000002</c:v>
                </c:pt>
                <c:pt idx="2843">
                  <c:v>2321.98</c:v>
                </c:pt>
                <c:pt idx="2844">
                  <c:v>2290.7800000000002</c:v>
                </c:pt>
                <c:pt idx="2845">
                  <c:v>2238.64</c:v>
                </c:pt>
                <c:pt idx="2846">
                  <c:v>2238</c:v>
                </c:pt>
                <c:pt idx="2847">
                  <c:v>2241.91</c:v>
                </c:pt>
                <c:pt idx="2848">
                  <c:v>2222.2199999999998</c:v>
                </c:pt>
                <c:pt idx="2849">
                  <c:v>2204.85</c:v>
                </c:pt>
                <c:pt idx="2850">
                  <c:v>2193.6799999999998</c:v>
                </c:pt>
                <c:pt idx="2851">
                  <c:v>2212.85</c:v>
                </c:pt>
                <c:pt idx="2852">
                  <c:v>2208.94</c:v>
                </c:pt>
                <c:pt idx="2853">
                  <c:v>2211.84</c:v>
                </c:pt>
                <c:pt idx="2854">
                  <c:v>2178.4899999999998</c:v>
                </c:pt>
                <c:pt idx="2855">
                  <c:v>2165.9899999999998</c:v>
                </c:pt>
                <c:pt idx="2856">
                  <c:v>2187.41</c:v>
                </c:pt>
                <c:pt idx="2857">
                  <c:v>2243.8000000000002</c:v>
                </c:pt>
                <c:pt idx="2858">
                  <c:v>2231.89</c:v>
                </c:pt>
                <c:pt idx="2859">
                  <c:v>2245.6799999999998</c:v>
                </c:pt>
                <c:pt idx="2860">
                  <c:v>2215.92</c:v>
                </c:pt>
                <c:pt idx="2861">
                  <c:v>2219.86</c:v>
                </c:pt>
                <c:pt idx="2862">
                  <c:v>2227.7800000000002</c:v>
                </c:pt>
                <c:pt idx="2863">
                  <c:v>2202.4499999999998</c:v>
                </c:pt>
                <c:pt idx="2864">
                  <c:v>2212.48</c:v>
                </c:pt>
                <c:pt idx="2865">
                  <c:v>2267.5300000000002</c:v>
                </c:pt>
                <c:pt idx="2866">
                  <c:v>2285.56</c:v>
                </c:pt>
                <c:pt idx="2867">
                  <c:v>2291.25</c:v>
                </c:pt>
                <c:pt idx="2868">
                  <c:v>2279.5500000000002</c:v>
                </c:pt>
                <c:pt idx="2869">
                  <c:v>2295.5700000000002</c:v>
                </c:pt>
                <c:pt idx="2870">
                  <c:v>2311.65</c:v>
                </c:pt>
                <c:pt idx="2871">
                  <c:v>2282.44</c:v>
                </c:pt>
                <c:pt idx="2872">
                  <c:v>2308.66</c:v>
                </c:pt>
                <c:pt idx="2873">
                  <c:v>2287.44</c:v>
                </c:pt>
                <c:pt idx="2874">
                  <c:v>2264.29</c:v>
                </c:pt>
                <c:pt idx="2875">
                  <c:v>2214.5100000000002</c:v>
                </c:pt>
                <c:pt idx="2876">
                  <c:v>2157.91</c:v>
                </c:pt>
                <c:pt idx="2877">
                  <c:v>2163.41</c:v>
                </c:pt>
                <c:pt idx="2878">
                  <c:v>2154.11</c:v>
                </c:pt>
                <c:pt idx="2879">
                  <c:v>2178.9699999999998</c:v>
                </c:pt>
                <c:pt idx="2880">
                  <c:v>2190.37</c:v>
                </c:pt>
                <c:pt idx="2881">
                  <c:v>2184.27</c:v>
                </c:pt>
                <c:pt idx="2882">
                  <c:v>2163.98</c:v>
                </c:pt>
                <c:pt idx="2883">
                  <c:v>2173.63</c:v>
                </c:pt>
                <c:pt idx="2884">
                  <c:v>2168.36</c:v>
                </c:pt>
                <c:pt idx="2885">
                  <c:v>2097.79</c:v>
                </c:pt>
                <c:pt idx="2886">
                  <c:v>2108.66</c:v>
                </c:pt>
                <c:pt idx="2887">
                  <c:v>2114.13</c:v>
                </c:pt>
                <c:pt idx="2888">
                  <c:v>2140.33</c:v>
                </c:pt>
                <c:pt idx="2889">
                  <c:v>2122.84</c:v>
                </c:pt>
                <c:pt idx="2890">
                  <c:v>2143.04</c:v>
                </c:pt>
                <c:pt idx="2891">
                  <c:v>2138.13</c:v>
                </c:pt>
                <c:pt idx="2892">
                  <c:v>2120.87</c:v>
                </c:pt>
                <c:pt idx="2893">
                  <c:v>2086.9699999999998</c:v>
                </c:pt>
                <c:pt idx="2894">
                  <c:v>2158.8000000000002</c:v>
                </c:pt>
                <c:pt idx="2895">
                  <c:v>2176.5500000000002</c:v>
                </c:pt>
                <c:pt idx="2896">
                  <c:v>2174.44</c:v>
                </c:pt>
                <c:pt idx="2897">
                  <c:v>2171.0500000000002</c:v>
                </c:pt>
                <c:pt idx="2898">
                  <c:v>2155.71</c:v>
                </c:pt>
                <c:pt idx="2899">
                  <c:v>2151.9699999999998</c:v>
                </c:pt>
                <c:pt idx="2900">
                  <c:v>2146.3000000000002</c:v>
                </c:pt>
                <c:pt idx="2901">
                  <c:v>2163.11</c:v>
                </c:pt>
                <c:pt idx="2902">
                  <c:v>2180.73</c:v>
                </c:pt>
                <c:pt idx="2903">
                  <c:v>2165.0100000000002</c:v>
                </c:pt>
                <c:pt idx="2904">
                  <c:v>2185.4699999999998</c:v>
                </c:pt>
                <c:pt idx="2905">
                  <c:v>2237.3200000000002</c:v>
                </c:pt>
                <c:pt idx="2906">
                  <c:v>2238.62</c:v>
                </c:pt>
                <c:pt idx="2907">
                  <c:v>2273.7600000000002</c:v>
                </c:pt>
                <c:pt idx="2908">
                  <c:v>2270.67</c:v>
                </c:pt>
                <c:pt idx="2909">
                  <c:v>2268.61</c:v>
                </c:pt>
                <c:pt idx="2910">
                  <c:v>2229.46</c:v>
                </c:pt>
                <c:pt idx="2911">
                  <c:v>2232.5300000000002</c:v>
                </c:pt>
                <c:pt idx="2912">
                  <c:v>2224.8000000000002</c:v>
                </c:pt>
                <c:pt idx="2913">
                  <c:v>2224.48</c:v>
                </c:pt>
                <c:pt idx="2914">
                  <c:v>2187.25</c:v>
                </c:pt>
                <c:pt idx="2915">
                  <c:v>2196.8000000000002</c:v>
                </c:pt>
                <c:pt idx="2916">
                  <c:v>2194.67</c:v>
                </c:pt>
                <c:pt idx="2917">
                  <c:v>2190.4699999999998</c:v>
                </c:pt>
                <c:pt idx="2918">
                  <c:v>2167.83</c:v>
                </c:pt>
                <c:pt idx="2919">
                  <c:v>2134.9699999999998</c:v>
                </c:pt>
                <c:pt idx="2920">
                  <c:v>2158.4699999999998</c:v>
                </c:pt>
                <c:pt idx="2921">
                  <c:v>2158.66</c:v>
                </c:pt>
                <c:pt idx="2922">
                  <c:v>2156.4699999999998</c:v>
                </c:pt>
                <c:pt idx="2923">
                  <c:v>2157.33</c:v>
                </c:pt>
                <c:pt idx="2924">
                  <c:v>2137.3200000000002</c:v>
                </c:pt>
                <c:pt idx="2925">
                  <c:v>2135.5</c:v>
                </c:pt>
                <c:pt idx="2926">
                  <c:v>2133.91</c:v>
                </c:pt>
                <c:pt idx="2927">
                  <c:v>2180.0500000000002</c:v>
                </c:pt>
                <c:pt idx="2928">
                  <c:v>2174.85</c:v>
                </c:pt>
                <c:pt idx="2929">
                  <c:v>2172.37</c:v>
                </c:pt>
                <c:pt idx="2930">
                  <c:v>2144.08</c:v>
                </c:pt>
                <c:pt idx="2931">
                  <c:v>2145.9499999999998</c:v>
                </c:pt>
                <c:pt idx="2932">
                  <c:v>2115.14</c:v>
                </c:pt>
                <c:pt idx="2933">
                  <c:v>2115.77</c:v>
                </c:pt>
                <c:pt idx="2934">
                  <c:v>2135.91</c:v>
                </c:pt>
                <c:pt idx="2935">
                  <c:v>2130.87</c:v>
                </c:pt>
                <c:pt idx="2936">
                  <c:v>2148.41</c:v>
                </c:pt>
                <c:pt idx="2937">
                  <c:v>2155.98</c:v>
                </c:pt>
                <c:pt idx="2938">
                  <c:v>2147.2800000000002</c:v>
                </c:pt>
                <c:pt idx="2939">
                  <c:v>2169.35</c:v>
                </c:pt>
                <c:pt idx="2940">
                  <c:v>2155.16</c:v>
                </c:pt>
                <c:pt idx="2941">
                  <c:v>2156.46</c:v>
                </c:pt>
                <c:pt idx="2942">
                  <c:v>2149.92</c:v>
                </c:pt>
                <c:pt idx="2943">
                  <c:v>2128.27</c:v>
                </c:pt>
                <c:pt idx="2944">
                  <c:v>2150.6</c:v>
                </c:pt>
                <c:pt idx="2945">
                  <c:v>2134.7199999999998</c:v>
                </c:pt>
                <c:pt idx="2946">
                  <c:v>2134.2800000000002</c:v>
                </c:pt>
                <c:pt idx="2947">
                  <c:v>2161.27</c:v>
                </c:pt>
                <c:pt idx="2948">
                  <c:v>2160.77</c:v>
                </c:pt>
                <c:pt idx="2949">
                  <c:v>2153.41</c:v>
                </c:pt>
                <c:pt idx="2950">
                  <c:v>2176.2399999999998</c:v>
                </c:pt>
                <c:pt idx="2951">
                  <c:v>2191.86</c:v>
                </c:pt>
                <c:pt idx="2952">
                  <c:v>2169.67</c:v>
                </c:pt>
                <c:pt idx="2953">
                  <c:v>2160.2399999999998</c:v>
                </c:pt>
                <c:pt idx="2954">
                  <c:v>2126.91</c:v>
                </c:pt>
                <c:pt idx="2955">
                  <c:v>2136.73</c:v>
                </c:pt>
                <c:pt idx="2956">
                  <c:v>2134.11</c:v>
                </c:pt>
                <c:pt idx="2957">
                  <c:v>2144.8200000000002</c:v>
                </c:pt>
                <c:pt idx="2958">
                  <c:v>2133.37</c:v>
                </c:pt>
                <c:pt idx="2959">
                  <c:v>2149.08</c:v>
                </c:pt>
                <c:pt idx="2960">
                  <c:v>2150.2600000000002</c:v>
                </c:pt>
                <c:pt idx="2961">
                  <c:v>2165.12</c:v>
                </c:pt>
                <c:pt idx="2962">
                  <c:v>2164.56</c:v>
                </c:pt>
                <c:pt idx="2963">
                  <c:v>2170.87</c:v>
                </c:pt>
                <c:pt idx="2964">
                  <c:v>2180.19</c:v>
                </c:pt>
                <c:pt idx="2965">
                  <c:v>2178.6999999999998</c:v>
                </c:pt>
                <c:pt idx="2966">
                  <c:v>2176.29</c:v>
                </c:pt>
                <c:pt idx="2967">
                  <c:v>2180.4699999999998</c:v>
                </c:pt>
                <c:pt idx="2968">
                  <c:v>2148.71</c:v>
                </c:pt>
                <c:pt idx="2969">
                  <c:v>2142.85</c:v>
                </c:pt>
                <c:pt idx="2970">
                  <c:v>2148.0100000000002</c:v>
                </c:pt>
                <c:pt idx="2971">
                  <c:v>2171.7600000000002</c:v>
                </c:pt>
                <c:pt idx="2972">
                  <c:v>2174.98</c:v>
                </c:pt>
                <c:pt idx="2973">
                  <c:v>2170.87</c:v>
                </c:pt>
                <c:pt idx="2974">
                  <c:v>2157.0700000000002</c:v>
                </c:pt>
                <c:pt idx="2975">
                  <c:v>2164.14</c:v>
                </c:pt>
                <c:pt idx="2976">
                  <c:v>2166.3000000000002</c:v>
                </c:pt>
                <c:pt idx="2977">
                  <c:v>2192.6999999999998</c:v>
                </c:pt>
                <c:pt idx="2978">
                  <c:v>2197.83</c:v>
                </c:pt>
                <c:pt idx="2979">
                  <c:v>2237.02</c:v>
                </c:pt>
                <c:pt idx="2980">
                  <c:v>2260.4499999999998</c:v>
                </c:pt>
                <c:pt idx="2981">
                  <c:v>2323.9</c:v>
                </c:pt>
                <c:pt idx="2982">
                  <c:v>2331.37</c:v>
                </c:pt>
                <c:pt idx="2983">
                  <c:v>2322.0100000000002</c:v>
                </c:pt>
                <c:pt idx="2984">
                  <c:v>2350.25</c:v>
                </c:pt>
                <c:pt idx="2985">
                  <c:v>2329.4</c:v>
                </c:pt>
                <c:pt idx="2986">
                  <c:v>2375.62</c:v>
                </c:pt>
                <c:pt idx="2987">
                  <c:v>2369.35</c:v>
                </c:pt>
                <c:pt idx="2988">
                  <c:v>2363.2199999999998</c:v>
                </c:pt>
                <c:pt idx="2989">
                  <c:v>2327.46</c:v>
                </c:pt>
                <c:pt idx="2990">
                  <c:v>2331.13</c:v>
                </c:pt>
                <c:pt idx="2991">
                  <c:v>2365.35</c:v>
                </c:pt>
                <c:pt idx="2992">
                  <c:v>2357.0500000000002</c:v>
                </c:pt>
                <c:pt idx="2993">
                  <c:v>2358.9</c:v>
                </c:pt>
                <c:pt idx="2994">
                  <c:v>2335.9499999999998</c:v>
                </c:pt>
                <c:pt idx="2995">
                  <c:v>2360.64</c:v>
                </c:pt>
                <c:pt idx="2996">
                  <c:v>2374.56</c:v>
                </c:pt>
                <c:pt idx="2997">
                  <c:v>2374.77</c:v>
                </c:pt>
                <c:pt idx="2998">
                  <c:v>2366.14</c:v>
                </c:pt>
                <c:pt idx="2999">
                  <c:v>2354.2399999999998</c:v>
                </c:pt>
                <c:pt idx="3000">
                  <c:v>2365.36</c:v>
                </c:pt>
                <c:pt idx="3001">
                  <c:v>2342.86</c:v>
                </c:pt>
                <c:pt idx="3002">
                  <c:v>2324.09</c:v>
                </c:pt>
                <c:pt idx="3003">
                  <c:v>2327.59</c:v>
                </c:pt>
                <c:pt idx="3004">
                  <c:v>2311.2800000000002</c:v>
                </c:pt>
                <c:pt idx="3005">
                  <c:v>2338.29</c:v>
                </c:pt>
                <c:pt idx="3006">
                  <c:v>2355.3200000000002</c:v>
                </c:pt>
                <c:pt idx="3007">
                  <c:v>2386.46</c:v>
                </c:pt>
                <c:pt idx="3008">
                  <c:v>2408.84</c:v>
                </c:pt>
                <c:pt idx="3009">
                  <c:v>2426.2199999999998</c:v>
                </c:pt>
                <c:pt idx="3010">
                  <c:v>2449.2600000000002</c:v>
                </c:pt>
                <c:pt idx="3011">
                  <c:v>2445.2199999999998</c:v>
                </c:pt>
                <c:pt idx="3012">
                  <c:v>2432.4299999999998</c:v>
                </c:pt>
                <c:pt idx="3013">
                  <c:v>2423.4499999999998</c:v>
                </c:pt>
                <c:pt idx="3014">
                  <c:v>2438.36</c:v>
                </c:pt>
                <c:pt idx="3015">
                  <c:v>2437.19</c:v>
                </c:pt>
                <c:pt idx="3016">
                  <c:v>2388.77</c:v>
                </c:pt>
                <c:pt idx="3017">
                  <c:v>2401.33</c:v>
                </c:pt>
                <c:pt idx="3018">
                  <c:v>2408.66</c:v>
                </c:pt>
                <c:pt idx="3019">
                  <c:v>2425.21</c:v>
                </c:pt>
                <c:pt idx="3020">
                  <c:v>2378.92</c:v>
                </c:pt>
                <c:pt idx="3021">
                  <c:v>2399.46</c:v>
                </c:pt>
                <c:pt idx="3022">
                  <c:v>2441.86</c:v>
                </c:pt>
                <c:pt idx="3023">
                  <c:v>2436.9699999999998</c:v>
                </c:pt>
                <c:pt idx="3024">
                  <c:v>2437.1999999999998</c:v>
                </c:pt>
                <c:pt idx="3025">
                  <c:v>2447.8000000000002</c:v>
                </c:pt>
                <c:pt idx="3026">
                  <c:v>2450.9899999999998</c:v>
                </c:pt>
                <c:pt idx="3027">
                  <c:v>2478.38</c:v>
                </c:pt>
                <c:pt idx="3028">
                  <c:v>2481.96</c:v>
                </c:pt>
                <c:pt idx="3029">
                  <c:v>2466.79</c:v>
                </c:pt>
                <c:pt idx="3030">
                  <c:v>2454.9499999999998</c:v>
                </c:pt>
                <c:pt idx="3031">
                  <c:v>2446.56</c:v>
                </c:pt>
                <c:pt idx="3032">
                  <c:v>2463.87</c:v>
                </c:pt>
                <c:pt idx="3033">
                  <c:v>2444.4</c:v>
                </c:pt>
                <c:pt idx="3034">
                  <c:v>2441.73</c:v>
                </c:pt>
                <c:pt idx="3035">
                  <c:v>2454.71</c:v>
                </c:pt>
                <c:pt idx="3036">
                  <c:v>2433.39</c:v>
                </c:pt>
                <c:pt idx="3037">
                  <c:v>2418.64</c:v>
                </c:pt>
                <c:pt idx="3038">
                  <c:v>2395.94</c:v>
                </c:pt>
                <c:pt idx="3039">
                  <c:v>2390.71</c:v>
                </c:pt>
                <c:pt idx="3040">
                  <c:v>2368.83</c:v>
                </c:pt>
                <c:pt idx="3041">
                  <c:v>2416.65</c:v>
                </c:pt>
                <c:pt idx="3042">
                  <c:v>2451.38</c:v>
                </c:pt>
                <c:pt idx="3043">
                  <c:v>2468.9299999999998</c:v>
                </c:pt>
                <c:pt idx="3044">
                  <c:v>2508.3200000000002</c:v>
                </c:pt>
                <c:pt idx="3045">
                  <c:v>2512.5500000000002</c:v>
                </c:pt>
                <c:pt idx="3046">
                  <c:v>2513.17</c:v>
                </c:pt>
                <c:pt idx="3047">
                  <c:v>2503.4499999999998</c:v>
                </c:pt>
                <c:pt idx="3048">
                  <c:v>2506.0700000000002</c:v>
                </c:pt>
                <c:pt idx="3049">
                  <c:v>2502.15</c:v>
                </c:pt>
                <c:pt idx="3050">
                  <c:v>2565.73</c:v>
                </c:pt>
                <c:pt idx="3051">
                  <c:v>2558.61</c:v>
                </c:pt>
                <c:pt idx="3052">
                  <c:v>2594.3200000000002</c:v>
                </c:pt>
                <c:pt idx="3053">
                  <c:v>2579.75</c:v>
                </c:pt>
                <c:pt idx="3054">
                  <c:v>2581.09</c:v>
                </c:pt>
                <c:pt idx="3055">
                  <c:v>2567.1</c:v>
                </c:pt>
                <c:pt idx="3056">
                  <c:v>2541.42</c:v>
                </c:pt>
                <c:pt idx="3057">
                  <c:v>2537.2199999999998</c:v>
                </c:pt>
                <c:pt idx="3058">
                  <c:v>2537.1</c:v>
                </c:pt>
                <c:pt idx="3059">
                  <c:v>2583.46</c:v>
                </c:pt>
                <c:pt idx="3060">
                  <c:v>2649.26</c:v>
                </c:pt>
                <c:pt idx="3061">
                  <c:v>2685.56</c:v>
                </c:pt>
                <c:pt idx="3062">
                  <c:v>2723.02</c:v>
                </c:pt>
                <c:pt idx="3063">
                  <c:v>2754.49</c:v>
                </c:pt>
                <c:pt idx="3064">
                  <c:v>2808.82</c:v>
                </c:pt>
                <c:pt idx="3065">
                  <c:v>2819.81</c:v>
                </c:pt>
                <c:pt idx="3066">
                  <c:v>2923.94</c:v>
                </c:pt>
                <c:pt idx="3067">
                  <c:v>2967.55</c:v>
                </c:pt>
                <c:pt idx="3068">
                  <c:v>3104.35</c:v>
                </c:pt>
                <c:pt idx="3069">
                  <c:v>3124.89</c:v>
                </c:pt>
                <c:pt idx="3070">
                  <c:v>3252.88</c:v>
                </c:pt>
                <c:pt idx="3071">
                  <c:v>3106.91</c:v>
                </c:pt>
                <c:pt idx="3072">
                  <c:v>3221.55</c:v>
                </c:pt>
                <c:pt idx="3073">
                  <c:v>3183.01</c:v>
                </c:pt>
                <c:pt idx="3074">
                  <c:v>3193.23</c:v>
                </c:pt>
                <c:pt idx="3075">
                  <c:v>3217.23</c:v>
                </c:pt>
                <c:pt idx="3076">
                  <c:v>3303.4</c:v>
                </c:pt>
                <c:pt idx="3077">
                  <c:v>3360.6</c:v>
                </c:pt>
                <c:pt idx="3078">
                  <c:v>3345.93</c:v>
                </c:pt>
                <c:pt idx="3079">
                  <c:v>3383.17</c:v>
                </c:pt>
                <c:pt idx="3080">
                  <c:v>3394.48</c:v>
                </c:pt>
                <c:pt idx="3081">
                  <c:v>3324.92</c:v>
                </c:pt>
                <c:pt idx="3082">
                  <c:v>3230.39</c:v>
                </c:pt>
                <c:pt idx="3083">
                  <c:v>3335.42</c:v>
                </c:pt>
                <c:pt idx="3084">
                  <c:v>3445.84</c:v>
                </c:pt>
                <c:pt idx="3085">
                  <c:v>3455.46</c:v>
                </c:pt>
                <c:pt idx="3086">
                  <c:v>3457.55</c:v>
                </c:pt>
                <c:pt idx="3087">
                  <c:v>3533.71</c:v>
                </c:pt>
                <c:pt idx="3088">
                  <c:v>3641.54</c:v>
                </c:pt>
                <c:pt idx="3089">
                  <c:v>3641.06</c:v>
                </c:pt>
                <c:pt idx="3090">
                  <c:v>3643.79</c:v>
                </c:pt>
                <c:pt idx="3091">
                  <c:v>3559.26</c:v>
                </c:pt>
                <c:pt idx="3092">
                  <c:v>3546.72</c:v>
                </c:pt>
                <c:pt idx="3093">
                  <c:v>3513.58</c:v>
                </c:pt>
                <c:pt idx="3094">
                  <c:v>3514.04</c:v>
                </c:pt>
                <c:pt idx="3095">
                  <c:v>3502.42</c:v>
                </c:pt>
                <c:pt idx="3096">
                  <c:v>3604.12</c:v>
                </c:pt>
                <c:pt idx="3097">
                  <c:v>3635.15</c:v>
                </c:pt>
                <c:pt idx="3098">
                  <c:v>3355.16</c:v>
                </c:pt>
                <c:pt idx="3099">
                  <c:v>3396.22</c:v>
                </c:pt>
                <c:pt idx="3100">
                  <c:v>3548.89</c:v>
                </c:pt>
                <c:pt idx="3101">
                  <c:v>3567.61</c:v>
                </c:pt>
                <c:pt idx="3102">
                  <c:v>3571.73</c:v>
                </c:pt>
                <c:pt idx="3103">
                  <c:v>3607.99</c:v>
                </c:pt>
                <c:pt idx="3104">
                  <c:v>3574.93</c:v>
                </c:pt>
                <c:pt idx="3105">
                  <c:v>3525.32</c:v>
                </c:pt>
                <c:pt idx="3106">
                  <c:v>3481.8</c:v>
                </c:pt>
                <c:pt idx="3107">
                  <c:v>3434.39</c:v>
                </c:pt>
                <c:pt idx="3108">
                  <c:v>3353.96</c:v>
                </c:pt>
                <c:pt idx="3109">
                  <c:v>3437.45</c:v>
                </c:pt>
                <c:pt idx="3110">
                  <c:v>3401.77</c:v>
                </c:pt>
                <c:pt idx="3111">
                  <c:v>3366.95</c:v>
                </c:pt>
                <c:pt idx="3112">
                  <c:v>3312.42</c:v>
                </c:pt>
                <c:pt idx="3113">
                  <c:v>3345.92</c:v>
                </c:pt>
                <c:pt idx="3114">
                  <c:v>3406.94</c:v>
                </c:pt>
                <c:pt idx="3115">
                  <c:v>3434.12</c:v>
                </c:pt>
                <c:pt idx="3116">
                  <c:v>3442.87</c:v>
                </c:pt>
                <c:pt idx="3117">
                  <c:v>3469.83</c:v>
                </c:pt>
                <c:pt idx="3118">
                  <c:v>3499.48</c:v>
                </c:pt>
                <c:pt idx="3119">
                  <c:v>3522.32</c:v>
                </c:pt>
                <c:pt idx="3120">
                  <c:v>3478.73</c:v>
                </c:pt>
                <c:pt idx="3121">
                  <c:v>3566.3</c:v>
                </c:pt>
                <c:pt idx="3122">
                  <c:v>3572.84</c:v>
                </c:pt>
                <c:pt idx="3123">
                  <c:v>3601.27</c:v>
                </c:pt>
                <c:pt idx="3124">
                  <c:v>3507.9</c:v>
                </c:pt>
                <c:pt idx="3125">
                  <c:v>3530.82</c:v>
                </c:pt>
                <c:pt idx="3126">
                  <c:v>3496.34</c:v>
                </c:pt>
                <c:pt idx="3127">
                  <c:v>3478.52</c:v>
                </c:pt>
                <c:pt idx="3128">
                  <c:v>3537.75</c:v>
                </c:pt>
                <c:pt idx="3129">
                  <c:v>3520.61</c:v>
                </c:pt>
                <c:pt idx="3130">
                  <c:v>3524.65</c:v>
                </c:pt>
                <c:pt idx="3131">
                  <c:v>3592.84</c:v>
                </c:pt>
                <c:pt idx="3132">
                  <c:v>3617.66</c:v>
                </c:pt>
                <c:pt idx="3133">
                  <c:v>3705.67</c:v>
                </c:pt>
                <c:pt idx="3134">
                  <c:v>3757.12</c:v>
                </c:pt>
                <c:pt idx="3135">
                  <c:v>3846.06</c:v>
                </c:pt>
                <c:pt idx="3136">
                  <c:v>3839.74</c:v>
                </c:pt>
                <c:pt idx="3137">
                  <c:v>3892.57</c:v>
                </c:pt>
                <c:pt idx="3138">
                  <c:v>3972.06</c:v>
                </c:pt>
                <c:pt idx="3139">
                  <c:v>3973.05</c:v>
                </c:pt>
                <c:pt idx="3140">
                  <c:v>3940.41</c:v>
                </c:pt>
                <c:pt idx="3141">
                  <c:v>3950</c:v>
                </c:pt>
                <c:pt idx="3142">
                  <c:v>3971.7</c:v>
                </c:pt>
                <c:pt idx="3143">
                  <c:v>4088.18</c:v>
                </c:pt>
                <c:pt idx="3144">
                  <c:v>4051.2</c:v>
                </c:pt>
                <c:pt idx="3145">
                  <c:v>4123.8999999999996</c:v>
                </c:pt>
                <c:pt idx="3146">
                  <c:v>4124.78</c:v>
                </c:pt>
                <c:pt idx="3147">
                  <c:v>4170.54</c:v>
                </c:pt>
                <c:pt idx="3148">
                  <c:v>4260.04</c:v>
                </c:pt>
                <c:pt idx="3149">
                  <c:v>4295.8</c:v>
                </c:pt>
                <c:pt idx="3150">
                  <c:v>4262.1400000000003</c:v>
                </c:pt>
                <c:pt idx="3151">
                  <c:v>4344.42</c:v>
                </c:pt>
                <c:pt idx="3152">
                  <c:v>4421.07</c:v>
                </c:pt>
                <c:pt idx="3153">
                  <c:v>4438.18</c:v>
                </c:pt>
                <c:pt idx="3154">
                  <c:v>4380.51</c:v>
                </c:pt>
                <c:pt idx="3155">
                  <c:v>4513.55</c:v>
                </c:pt>
                <c:pt idx="3156">
                  <c:v>4596.1400000000003</c:v>
                </c:pt>
                <c:pt idx="3157">
                  <c:v>4521.92</c:v>
                </c:pt>
                <c:pt idx="3158">
                  <c:v>4619.16</c:v>
                </c:pt>
                <c:pt idx="3159">
                  <c:v>4739.8100000000004</c:v>
                </c:pt>
                <c:pt idx="3160">
                  <c:v>4740.8900000000003</c:v>
                </c:pt>
                <c:pt idx="3161">
                  <c:v>4702.6400000000003</c:v>
                </c:pt>
                <c:pt idx="3162">
                  <c:v>4807.59</c:v>
                </c:pt>
                <c:pt idx="3163">
                  <c:v>4741.8599999999997</c:v>
                </c:pt>
                <c:pt idx="3164">
                  <c:v>4774.33</c:v>
                </c:pt>
                <c:pt idx="3165">
                  <c:v>4749.8900000000003</c:v>
                </c:pt>
                <c:pt idx="3166">
                  <c:v>4787.74</c:v>
                </c:pt>
                <c:pt idx="3167">
                  <c:v>4596.84</c:v>
                </c:pt>
                <c:pt idx="3168">
                  <c:v>4553.33</c:v>
                </c:pt>
                <c:pt idx="3169">
                  <c:v>4470.09</c:v>
                </c:pt>
                <c:pt idx="3170">
                  <c:v>4558.3999999999996</c:v>
                </c:pt>
                <c:pt idx="3171">
                  <c:v>4690.53</c:v>
                </c:pt>
                <c:pt idx="3172">
                  <c:v>4747.42</c:v>
                </c:pt>
                <c:pt idx="3173">
                  <c:v>4718.4399999999996</c:v>
                </c:pt>
                <c:pt idx="3174">
                  <c:v>4700.78</c:v>
                </c:pt>
                <c:pt idx="3175">
                  <c:v>4617.47</c:v>
                </c:pt>
                <c:pt idx="3176">
                  <c:v>4575.1400000000003</c:v>
                </c:pt>
                <c:pt idx="3177">
                  <c:v>4731.22</c:v>
                </c:pt>
                <c:pt idx="3178">
                  <c:v>4754.92</c:v>
                </c:pt>
                <c:pt idx="3179">
                  <c:v>4840.9799999999996</c:v>
                </c:pt>
                <c:pt idx="3180">
                  <c:v>4951.34</c:v>
                </c:pt>
                <c:pt idx="3181">
                  <c:v>5099.5</c:v>
                </c:pt>
                <c:pt idx="3182">
                  <c:v>5198.92</c:v>
                </c:pt>
                <c:pt idx="3183">
                  <c:v>5181.43</c:v>
                </c:pt>
                <c:pt idx="3184">
                  <c:v>4834.01</c:v>
                </c:pt>
                <c:pt idx="3185">
                  <c:v>4840.83</c:v>
                </c:pt>
                <c:pt idx="3186">
                  <c:v>5076.18</c:v>
                </c:pt>
                <c:pt idx="3187">
                  <c:v>5161.87</c:v>
                </c:pt>
                <c:pt idx="3188">
                  <c:v>5143.59</c:v>
                </c:pt>
                <c:pt idx="3189">
                  <c:v>5181.42</c:v>
                </c:pt>
                <c:pt idx="3190">
                  <c:v>5230.55</c:v>
                </c:pt>
                <c:pt idx="3191">
                  <c:v>5353.75</c:v>
                </c:pt>
                <c:pt idx="3192">
                  <c:v>5317.46</c:v>
                </c:pt>
                <c:pt idx="3193">
                  <c:v>5309.11</c:v>
                </c:pt>
                <c:pt idx="3194">
                  <c:v>5306.59</c:v>
                </c:pt>
                <c:pt idx="3195">
                  <c:v>5335.12</c:v>
                </c:pt>
                <c:pt idx="3196">
                  <c:v>5221.17</c:v>
                </c:pt>
                <c:pt idx="3197">
                  <c:v>5064.82</c:v>
                </c:pt>
                <c:pt idx="3198">
                  <c:v>5138.83</c:v>
                </c:pt>
                <c:pt idx="3199">
                  <c:v>4930.55</c:v>
                </c:pt>
                <c:pt idx="3200">
                  <c:v>4637.05</c:v>
                </c:pt>
                <c:pt idx="3201">
                  <c:v>4786.09</c:v>
                </c:pt>
                <c:pt idx="3202">
                  <c:v>4880.13</c:v>
                </c:pt>
                <c:pt idx="3203">
                  <c:v>4706.5200000000004</c:v>
                </c:pt>
                <c:pt idx="3204">
                  <c:v>4336.1899999999996</c:v>
                </c:pt>
                <c:pt idx="3205">
                  <c:v>4191.55</c:v>
                </c:pt>
                <c:pt idx="3206">
                  <c:v>4473</c:v>
                </c:pt>
                <c:pt idx="3207">
                  <c:v>4253.0200000000004</c:v>
                </c:pt>
                <c:pt idx="3208">
                  <c:v>4108</c:v>
                </c:pt>
                <c:pt idx="3209">
                  <c:v>3885.92</c:v>
                </c:pt>
                <c:pt idx="3210">
                  <c:v>3998.54</c:v>
                </c:pt>
                <c:pt idx="3211">
                  <c:v>3928</c:v>
                </c:pt>
                <c:pt idx="3212">
                  <c:v>3663.04</c:v>
                </c:pt>
                <c:pt idx="3213">
                  <c:v>3897.63</c:v>
                </c:pt>
                <c:pt idx="3214">
                  <c:v>4106.5600000000004</c:v>
                </c:pt>
                <c:pt idx="3215">
                  <c:v>4211.8100000000004</c:v>
                </c:pt>
                <c:pt idx="3216">
                  <c:v>4112.1499999999996</c:v>
                </c:pt>
                <c:pt idx="3217">
                  <c:v>3966.76</c:v>
                </c:pt>
                <c:pt idx="3218">
                  <c:v>3997.36</c:v>
                </c:pt>
                <c:pt idx="3219">
                  <c:v>4151.5</c:v>
                </c:pt>
                <c:pt idx="3220">
                  <c:v>4160.6099999999997</c:v>
                </c:pt>
                <c:pt idx="3221">
                  <c:v>4166.01</c:v>
                </c:pt>
                <c:pt idx="3222">
                  <c:v>4157.16</c:v>
                </c:pt>
                <c:pt idx="3223">
                  <c:v>4250.8100000000004</c:v>
                </c:pt>
                <c:pt idx="3224">
                  <c:v>4176.28</c:v>
                </c:pt>
                <c:pt idx="3225">
                  <c:v>3818.73</c:v>
                </c:pt>
                <c:pt idx="3226">
                  <c:v>3811.09</c:v>
                </c:pt>
                <c:pt idx="3227">
                  <c:v>3930.38</c:v>
                </c:pt>
                <c:pt idx="3228">
                  <c:v>3815.41</c:v>
                </c:pt>
                <c:pt idx="3229">
                  <c:v>3816.7</c:v>
                </c:pt>
                <c:pt idx="3230">
                  <c:v>3829.24</c:v>
                </c:pt>
                <c:pt idx="3231">
                  <c:v>3948.16</c:v>
                </c:pt>
                <c:pt idx="3232">
                  <c:v>3866.9</c:v>
                </c:pt>
                <c:pt idx="3233">
                  <c:v>3831.85</c:v>
                </c:pt>
                <c:pt idx="3234">
                  <c:v>3906.94</c:v>
                </c:pt>
                <c:pt idx="3235">
                  <c:v>4084.36</c:v>
                </c:pt>
                <c:pt idx="3236">
                  <c:v>4066.67</c:v>
                </c:pt>
                <c:pt idx="3237">
                  <c:v>4016.13</c:v>
                </c:pt>
                <c:pt idx="3238">
                  <c:v>4075.46</c:v>
                </c:pt>
                <c:pt idx="3239">
                  <c:v>4073.54</c:v>
                </c:pt>
                <c:pt idx="3240">
                  <c:v>4077.87</c:v>
                </c:pt>
                <c:pt idx="3241">
                  <c:v>3825.41</c:v>
                </c:pt>
                <c:pt idx="3242">
                  <c:v>3886.14</c:v>
                </c:pt>
                <c:pt idx="3243">
                  <c:v>3761.45</c:v>
                </c:pt>
                <c:pt idx="3244">
                  <c:v>3589.54</c:v>
                </c:pt>
                <c:pt idx="3245">
                  <c:v>3275.53</c:v>
                </c:pt>
                <c:pt idx="3246">
                  <c:v>3042.93</c:v>
                </c:pt>
                <c:pt idx="3247">
                  <c:v>3025.69</c:v>
                </c:pt>
                <c:pt idx="3248">
                  <c:v>3205.64</c:v>
                </c:pt>
                <c:pt idx="3249">
                  <c:v>3342.29</c:v>
                </c:pt>
                <c:pt idx="3250">
                  <c:v>3366.54</c:v>
                </c:pt>
                <c:pt idx="3251">
                  <c:v>3362.08</c:v>
                </c:pt>
                <c:pt idx="3252">
                  <c:v>3365.83</c:v>
                </c:pt>
                <c:pt idx="3253">
                  <c:v>3250.49</c:v>
                </c:pt>
                <c:pt idx="3254">
                  <c:v>3334.02</c:v>
                </c:pt>
                <c:pt idx="3255">
                  <c:v>3399.31</c:v>
                </c:pt>
                <c:pt idx="3256">
                  <c:v>3357.56</c:v>
                </c:pt>
                <c:pt idx="3257">
                  <c:v>3347.19</c:v>
                </c:pt>
                <c:pt idx="3258">
                  <c:v>3281.13</c:v>
                </c:pt>
                <c:pt idx="3259">
                  <c:v>3152.23</c:v>
                </c:pt>
                <c:pt idx="3260">
                  <c:v>3309.25</c:v>
                </c:pt>
                <c:pt idx="3261">
                  <c:v>3237</c:v>
                </c:pt>
                <c:pt idx="3262">
                  <c:v>3251.27</c:v>
                </c:pt>
                <c:pt idx="3263">
                  <c:v>3308.25</c:v>
                </c:pt>
                <c:pt idx="3264">
                  <c:v>3339.03</c:v>
                </c:pt>
                <c:pt idx="3265">
                  <c:v>3263.03</c:v>
                </c:pt>
                <c:pt idx="3266">
                  <c:v>3285</c:v>
                </c:pt>
                <c:pt idx="3267">
                  <c:v>3231.95</c:v>
                </c:pt>
                <c:pt idx="3268">
                  <c:v>3242.75</c:v>
                </c:pt>
                <c:pt idx="3269">
                  <c:v>3178.85</c:v>
                </c:pt>
                <c:pt idx="3270">
                  <c:v>3202.95</c:v>
                </c:pt>
                <c:pt idx="3271">
                  <c:v>3296.48</c:v>
                </c:pt>
                <c:pt idx="3272">
                  <c:v>3340.12</c:v>
                </c:pt>
                <c:pt idx="3273">
                  <c:v>3447.69</c:v>
                </c:pt>
                <c:pt idx="3274">
                  <c:v>3445.04</c:v>
                </c:pt>
                <c:pt idx="3275">
                  <c:v>3406.11</c:v>
                </c:pt>
                <c:pt idx="3276">
                  <c:v>3486.82</c:v>
                </c:pt>
                <c:pt idx="3277">
                  <c:v>3534.07</c:v>
                </c:pt>
                <c:pt idx="3278">
                  <c:v>3534.18</c:v>
                </c:pt>
                <c:pt idx="3279">
                  <c:v>3577.7</c:v>
                </c:pt>
                <c:pt idx="3280">
                  <c:v>3473.25</c:v>
                </c:pt>
                <c:pt idx="3281">
                  <c:v>3524.53</c:v>
                </c:pt>
                <c:pt idx="3282">
                  <c:v>3571.24</c:v>
                </c:pt>
                <c:pt idx="3283">
                  <c:v>3589.26</c:v>
                </c:pt>
                <c:pt idx="3284">
                  <c:v>3592.88</c:v>
                </c:pt>
                <c:pt idx="3285">
                  <c:v>3524.92</c:v>
                </c:pt>
                <c:pt idx="3286">
                  <c:v>3533.31</c:v>
                </c:pt>
                <c:pt idx="3287">
                  <c:v>3534.08</c:v>
                </c:pt>
                <c:pt idx="3288">
                  <c:v>3475.96</c:v>
                </c:pt>
                <c:pt idx="3289">
                  <c:v>3465.49</c:v>
                </c:pt>
                <c:pt idx="3290">
                  <c:v>3628.54</c:v>
                </c:pt>
                <c:pt idx="3291">
                  <c:v>3705.97</c:v>
                </c:pt>
                <c:pt idx="3292">
                  <c:v>3793.37</c:v>
                </c:pt>
                <c:pt idx="3293">
                  <c:v>3840.35</c:v>
                </c:pt>
                <c:pt idx="3294">
                  <c:v>3833.24</c:v>
                </c:pt>
                <c:pt idx="3295">
                  <c:v>3833.65</c:v>
                </c:pt>
                <c:pt idx="3296">
                  <c:v>3795.32</c:v>
                </c:pt>
                <c:pt idx="3297">
                  <c:v>3746.24</c:v>
                </c:pt>
                <c:pt idx="3298">
                  <c:v>3764.13</c:v>
                </c:pt>
                <c:pt idx="3299">
                  <c:v>3758.39</c:v>
                </c:pt>
                <c:pt idx="3300">
                  <c:v>3715.58</c:v>
                </c:pt>
                <c:pt idx="3301">
                  <c:v>3774.97</c:v>
                </c:pt>
                <c:pt idx="3302">
                  <c:v>3774.38</c:v>
                </c:pt>
                <c:pt idx="3303">
                  <c:v>3753.34</c:v>
                </c:pt>
                <c:pt idx="3304">
                  <c:v>3753.89</c:v>
                </c:pt>
                <c:pt idx="3305">
                  <c:v>3781.61</c:v>
                </c:pt>
                <c:pt idx="3306">
                  <c:v>3759.43</c:v>
                </c:pt>
                <c:pt idx="3307">
                  <c:v>3556.99</c:v>
                </c:pt>
                <c:pt idx="3308">
                  <c:v>3566.41</c:v>
                </c:pt>
                <c:pt idx="3309">
                  <c:v>3591.7</c:v>
                </c:pt>
                <c:pt idx="3310">
                  <c:v>3721.95</c:v>
                </c:pt>
                <c:pt idx="3311">
                  <c:v>3749.3</c:v>
                </c:pt>
                <c:pt idx="3312">
                  <c:v>3677.59</c:v>
                </c:pt>
                <c:pt idx="3313">
                  <c:v>3687.61</c:v>
                </c:pt>
                <c:pt idx="3314">
                  <c:v>3623.02</c:v>
                </c:pt>
                <c:pt idx="3315">
                  <c:v>3635.94</c:v>
                </c:pt>
                <c:pt idx="3316">
                  <c:v>3623.08</c:v>
                </c:pt>
                <c:pt idx="3317">
                  <c:v>3608.06</c:v>
                </c:pt>
                <c:pt idx="3318">
                  <c:v>3711.32</c:v>
                </c:pt>
                <c:pt idx="3319">
                  <c:v>3694.39</c:v>
                </c:pt>
                <c:pt idx="3320">
                  <c:v>3685.44</c:v>
                </c:pt>
                <c:pt idx="3321">
                  <c:v>3755.89</c:v>
                </c:pt>
                <c:pt idx="3322">
                  <c:v>3767.91</c:v>
                </c:pt>
                <c:pt idx="3323">
                  <c:v>3865.97</c:v>
                </c:pt>
                <c:pt idx="3324">
                  <c:v>3876.73</c:v>
                </c:pt>
                <c:pt idx="3325">
                  <c:v>3866.38</c:v>
                </c:pt>
                <c:pt idx="3326">
                  <c:v>3829.4</c:v>
                </c:pt>
                <c:pt idx="3327">
                  <c:v>3838.2</c:v>
                </c:pt>
                <c:pt idx="3328">
                  <c:v>3727.63</c:v>
                </c:pt>
                <c:pt idx="3329">
                  <c:v>3761.87</c:v>
                </c:pt>
                <c:pt idx="3330">
                  <c:v>3765.18</c:v>
                </c:pt>
                <c:pt idx="3331">
                  <c:v>3731</c:v>
                </c:pt>
                <c:pt idx="3332">
                  <c:v>3469.07</c:v>
                </c:pt>
                <c:pt idx="3333">
                  <c:v>3478.78</c:v>
                </c:pt>
                <c:pt idx="3334">
                  <c:v>3539.81</c:v>
                </c:pt>
                <c:pt idx="3335">
                  <c:v>3294.38</c:v>
                </c:pt>
                <c:pt idx="3336">
                  <c:v>3361.56</c:v>
                </c:pt>
                <c:pt idx="3337">
                  <c:v>3192.45</c:v>
                </c:pt>
                <c:pt idx="3338">
                  <c:v>3215.71</c:v>
                </c:pt>
                <c:pt idx="3339">
                  <c:v>3155.88</c:v>
                </c:pt>
                <c:pt idx="3340">
                  <c:v>3221.57</c:v>
                </c:pt>
                <c:pt idx="3341">
                  <c:v>3118.73</c:v>
                </c:pt>
                <c:pt idx="3342">
                  <c:v>3130.73</c:v>
                </c:pt>
                <c:pt idx="3343">
                  <c:v>3223.13</c:v>
                </c:pt>
                <c:pt idx="3344">
                  <c:v>3174.38</c:v>
                </c:pt>
                <c:pt idx="3345">
                  <c:v>3081.35</c:v>
                </c:pt>
                <c:pt idx="3346">
                  <c:v>3113.46</c:v>
                </c:pt>
                <c:pt idx="3347">
                  <c:v>3128.89</c:v>
                </c:pt>
                <c:pt idx="3348">
                  <c:v>2940.51</c:v>
                </c:pt>
                <c:pt idx="3349">
                  <c:v>2930.35</c:v>
                </c:pt>
                <c:pt idx="3350">
                  <c:v>2853.76</c:v>
                </c:pt>
                <c:pt idx="3351">
                  <c:v>2946.09</c:v>
                </c:pt>
                <c:pt idx="3352">
                  <c:v>2901.05</c:v>
                </c:pt>
                <c:pt idx="3353">
                  <c:v>2961.33</c:v>
                </c:pt>
                <c:pt idx="3354">
                  <c:v>2948.64</c:v>
                </c:pt>
                <c:pt idx="3355">
                  <c:v>2984.76</c:v>
                </c:pt>
                <c:pt idx="3356">
                  <c:v>2963.79</c:v>
                </c:pt>
                <c:pt idx="3357">
                  <c:v>2946.71</c:v>
                </c:pt>
                <c:pt idx="3358">
                  <c:v>3037.04</c:v>
                </c:pt>
                <c:pt idx="3359">
                  <c:v>3063.32</c:v>
                </c:pt>
                <c:pt idx="3360">
                  <c:v>3053.7</c:v>
                </c:pt>
                <c:pt idx="3361">
                  <c:v>3051.59</c:v>
                </c:pt>
                <c:pt idx="3362">
                  <c:v>3118.87</c:v>
                </c:pt>
                <c:pt idx="3363">
                  <c:v>3089.36</c:v>
                </c:pt>
                <c:pt idx="3364">
                  <c:v>3109.55</c:v>
                </c:pt>
                <c:pt idx="3365">
                  <c:v>2918.75</c:v>
                </c:pt>
                <c:pt idx="3366">
                  <c:v>2948.03</c:v>
                </c:pt>
                <c:pt idx="3367">
                  <c:v>2877.47</c:v>
                </c:pt>
                <c:pt idx="3368">
                  <c:v>2930.69</c:v>
                </c:pt>
                <c:pt idx="3369">
                  <c:v>3051.33</c:v>
                </c:pt>
                <c:pt idx="3370">
                  <c:v>3058.42</c:v>
                </c:pt>
                <c:pt idx="3371">
                  <c:v>3093.89</c:v>
                </c:pt>
                <c:pt idx="3372">
                  <c:v>3104.84</c:v>
                </c:pt>
                <c:pt idx="3373">
                  <c:v>3107.67</c:v>
                </c:pt>
                <c:pt idx="3374">
                  <c:v>3071.91</c:v>
                </c:pt>
                <c:pt idx="3375">
                  <c:v>3013.15</c:v>
                </c:pt>
                <c:pt idx="3376">
                  <c:v>3018.28</c:v>
                </c:pt>
                <c:pt idx="3377">
                  <c:v>3065.69</c:v>
                </c:pt>
                <c:pt idx="3378">
                  <c:v>3074.78</c:v>
                </c:pt>
                <c:pt idx="3379">
                  <c:v>3090.03</c:v>
                </c:pt>
                <c:pt idx="3380">
                  <c:v>3124.2</c:v>
                </c:pt>
                <c:pt idx="3381">
                  <c:v>3171.96</c:v>
                </c:pt>
                <c:pt idx="3382">
                  <c:v>3249.44</c:v>
                </c:pt>
                <c:pt idx="3383">
                  <c:v>3225.79</c:v>
                </c:pt>
                <c:pt idx="3384">
                  <c:v>3236.09</c:v>
                </c:pt>
                <c:pt idx="3385">
                  <c:v>3181.85</c:v>
                </c:pt>
                <c:pt idx="3386">
                  <c:v>3197.82</c:v>
                </c:pt>
                <c:pt idx="3387">
                  <c:v>3169.73</c:v>
                </c:pt>
                <c:pt idx="3388">
                  <c:v>3135.41</c:v>
                </c:pt>
                <c:pt idx="3389">
                  <c:v>3216.28</c:v>
                </c:pt>
                <c:pt idx="3390">
                  <c:v>3218.09</c:v>
                </c:pt>
                <c:pt idx="3391">
                  <c:v>3221.89</c:v>
                </c:pt>
                <c:pt idx="3392">
                  <c:v>3264.49</c:v>
                </c:pt>
                <c:pt idx="3393">
                  <c:v>3257.53</c:v>
                </c:pt>
                <c:pt idx="3394">
                  <c:v>3209.29</c:v>
                </c:pt>
                <c:pt idx="3395">
                  <c:v>3185.73</c:v>
                </c:pt>
                <c:pt idx="3396">
                  <c:v>3230.1</c:v>
                </c:pt>
                <c:pt idx="3397">
                  <c:v>3218.45</c:v>
                </c:pt>
                <c:pt idx="3398">
                  <c:v>3261.38</c:v>
                </c:pt>
                <c:pt idx="3399">
                  <c:v>3275.83</c:v>
                </c:pt>
                <c:pt idx="3400">
                  <c:v>3272.21</c:v>
                </c:pt>
                <c:pt idx="3401">
                  <c:v>3228.45</c:v>
                </c:pt>
                <c:pt idx="3402">
                  <c:v>3238.3</c:v>
                </c:pt>
                <c:pt idx="3403">
                  <c:v>3181.03</c:v>
                </c:pt>
                <c:pt idx="3404">
                  <c:v>3160.6</c:v>
                </c:pt>
                <c:pt idx="3405">
                  <c:v>3174.9</c:v>
                </c:pt>
                <c:pt idx="3406">
                  <c:v>3162.03</c:v>
                </c:pt>
                <c:pt idx="3407">
                  <c:v>3179.16</c:v>
                </c:pt>
                <c:pt idx="3408">
                  <c:v>3165.92</c:v>
                </c:pt>
                <c:pt idx="3409">
                  <c:v>3160.58</c:v>
                </c:pt>
                <c:pt idx="3410">
                  <c:v>3156.75</c:v>
                </c:pt>
                <c:pt idx="3411">
                  <c:v>3213.54</c:v>
                </c:pt>
                <c:pt idx="3412">
                  <c:v>3209.46</c:v>
                </c:pt>
                <c:pt idx="3413">
                  <c:v>3213.92</c:v>
                </c:pt>
                <c:pt idx="3414">
                  <c:v>3130.35</c:v>
                </c:pt>
                <c:pt idx="3415">
                  <c:v>3065.62</c:v>
                </c:pt>
                <c:pt idx="3416">
                  <c:v>3069.11</c:v>
                </c:pt>
                <c:pt idx="3417">
                  <c:v>3082.81</c:v>
                </c:pt>
                <c:pt idx="3418">
                  <c:v>3090.14</c:v>
                </c:pt>
                <c:pt idx="3419">
                  <c:v>3074.94</c:v>
                </c:pt>
                <c:pt idx="3420">
                  <c:v>3095.31</c:v>
                </c:pt>
                <c:pt idx="3421">
                  <c:v>3086.02</c:v>
                </c:pt>
                <c:pt idx="3422">
                  <c:v>3068.04</c:v>
                </c:pt>
                <c:pt idx="3423">
                  <c:v>3062.5</c:v>
                </c:pt>
                <c:pt idx="3424">
                  <c:v>3078.22</c:v>
                </c:pt>
                <c:pt idx="3425">
                  <c:v>3087.22</c:v>
                </c:pt>
                <c:pt idx="3426">
                  <c:v>3063.56</c:v>
                </c:pt>
                <c:pt idx="3427">
                  <c:v>3059.23</c:v>
                </c:pt>
                <c:pt idx="3428">
                  <c:v>3064.21</c:v>
                </c:pt>
                <c:pt idx="3429">
                  <c:v>3062.5</c:v>
                </c:pt>
                <c:pt idx="3430">
                  <c:v>3066.71</c:v>
                </c:pt>
                <c:pt idx="3431">
                  <c:v>3169.56</c:v>
                </c:pt>
                <c:pt idx="3432">
                  <c:v>3160.55</c:v>
                </c:pt>
                <c:pt idx="3433">
                  <c:v>3167.1</c:v>
                </c:pt>
                <c:pt idx="3434">
                  <c:v>3189.33</c:v>
                </c:pt>
                <c:pt idx="3435">
                  <c:v>3178.79</c:v>
                </c:pt>
                <c:pt idx="3436">
                  <c:v>3177.05</c:v>
                </c:pt>
                <c:pt idx="3437">
                  <c:v>3163.99</c:v>
                </c:pt>
                <c:pt idx="3438">
                  <c:v>3066.34</c:v>
                </c:pt>
                <c:pt idx="3439">
                  <c:v>3075.98</c:v>
                </c:pt>
                <c:pt idx="3440">
                  <c:v>3116.37</c:v>
                </c:pt>
                <c:pt idx="3441">
                  <c:v>3094.67</c:v>
                </c:pt>
                <c:pt idx="3442">
                  <c:v>3110.36</c:v>
                </c:pt>
                <c:pt idx="3443">
                  <c:v>3112.67</c:v>
                </c:pt>
                <c:pt idx="3444">
                  <c:v>3106.32</c:v>
                </c:pt>
                <c:pt idx="3445">
                  <c:v>3133.96</c:v>
                </c:pt>
                <c:pt idx="3446">
                  <c:v>3117.32</c:v>
                </c:pt>
                <c:pt idx="3447">
                  <c:v>3077.16</c:v>
                </c:pt>
                <c:pt idx="3448">
                  <c:v>3120.54</c:v>
                </c:pt>
                <c:pt idx="3449">
                  <c:v>3136.4</c:v>
                </c:pt>
                <c:pt idx="3450">
                  <c:v>3151.39</c:v>
                </c:pt>
                <c:pt idx="3451">
                  <c:v>3153.92</c:v>
                </c:pt>
                <c:pt idx="3452">
                  <c:v>3154.2</c:v>
                </c:pt>
                <c:pt idx="3453">
                  <c:v>3204.7</c:v>
                </c:pt>
                <c:pt idx="3454">
                  <c:v>3207.38</c:v>
                </c:pt>
                <c:pt idx="3455">
                  <c:v>3216.8</c:v>
                </c:pt>
                <c:pt idx="3456">
                  <c:v>3209.95</c:v>
                </c:pt>
                <c:pt idx="3457">
                  <c:v>3192.28</c:v>
                </c:pt>
                <c:pt idx="3458">
                  <c:v>3203.33</c:v>
                </c:pt>
                <c:pt idx="3459">
                  <c:v>3273.18</c:v>
                </c:pt>
                <c:pt idx="3460">
                  <c:v>3282.87</c:v>
                </c:pt>
                <c:pt idx="3461">
                  <c:v>3276.76</c:v>
                </c:pt>
                <c:pt idx="3462">
                  <c:v>3276.28</c:v>
                </c:pt>
                <c:pt idx="3463">
                  <c:v>3262.02</c:v>
                </c:pt>
                <c:pt idx="3464">
                  <c:v>3248.23</c:v>
                </c:pt>
                <c:pt idx="3465">
                  <c:v>3237.61</c:v>
                </c:pt>
                <c:pt idx="3466">
                  <c:v>3252.52</c:v>
                </c:pt>
                <c:pt idx="3467">
                  <c:v>3225.16</c:v>
                </c:pt>
                <c:pt idx="3468">
                  <c:v>3230.89</c:v>
                </c:pt>
                <c:pt idx="3469">
                  <c:v>3269.59</c:v>
                </c:pt>
                <c:pt idx="3470">
                  <c:v>3218.24</c:v>
                </c:pt>
                <c:pt idx="3471">
                  <c:v>3221.14</c:v>
                </c:pt>
                <c:pt idx="3472">
                  <c:v>3203.93</c:v>
                </c:pt>
                <c:pt idx="3473">
                  <c:v>3176.81</c:v>
                </c:pt>
                <c:pt idx="3474">
                  <c:v>3189.05</c:v>
                </c:pt>
                <c:pt idx="3475">
                  <c:v>3193.51</c:v>
                </c:pt>
                <c:pt idx="3476">
                  <c:v>3201.29</c:v>
                </c:pt>
                <c:pt idx="3477">
                  <c:v>3205.11</c:v>
                </c:pt>
                <c:pt idx="3478">
                  <c:v>3234.18</c:v>
                </c:pt>
                <c:pt idx="3479">
                  <c:v>3256.98</c:v>
                </c:pt>
                <c:pt idx="3480">
                  <c:v>3243.34</c:v>
                </c:pt>
                <c:pt idx="3481">
                  <c:v>3233.36</c:v>
                </c:pt>
                <c:pt idx="3482">
                  <c:v>3294.23</c:v>
                </c:pt>
                <c:pt idx="3483">
                  <c:v>3393.42</c:v>
                </c:pt>
                <c:pt idx="3484">
                  <c:v>3378.25</c:v>
                </c:pt>
                <c:pt idx="3485">
                  <c:v>3373.05</c:v>
                </c:pt>
                <c:pt idx="3486">
                  <c:v>3364.49</c:v>
                </c:pt>
                <c:pt idx="3487">
                  <c:v>3365.02</c:v>
                </c:pt>
                <c:pt idx="3488">
                  <c:v>3336.79</c:v>
                </c:pt>
                <c:pt idx="3489">
                  <c:v>3341.83</c:v>
                </c:pt>
                <c:pt idx="3490">
                  <c:v>3329.86</c:v>
                </c:pt>
                <c:pt idx="3491">
                  <c:v>3308.97</c:v>
                </c:pt>
                <c:pt idx="3492">
                  <c:v>3307.09</c:v>
                </c:pt>
                <c:pt idx="3493">
                  <c:v>3307.78</c:v>
                </c:pt>
                <c:pt idx="3494">
                  <c:v>3311.99</c:v>
                </c:pt>
                <c:pt idx="3495">
                  <c:v>3327.79</c:v>
                </c:pt>
                <c:pt idx="3496">
                  <c:v>3301.58</c:v>
                </c:pt>
                <c:pt idx="3497">
                  <c:v>3314.11</c:v>
                </c:pt>
                <c:pt idx="3498">
                  <c:v>3319.68</c:v>
                </c:pt>
                <c:pt idx="3499">
                  <c:v>3342.63</c:v>
                </c:pt>
                <c:pt idx="3500">
                  <c:v>3340.82</c:v>
                </c:pt>
                <c:pt idx="3501">
                  <c:v>3339.56</c:v>
                </c:pt>
                <c:pt idx="3502">
                  <c:v>3318.04</c:v>
                </c:pt>
                <c:pt idx="3503">
                  <c:v>3262.6</c:v>
                </c:pt>
                <c:pt idx="3504">
                  <c:v>3260.33</c:v>
                </c:pt>
                <c:pt idx="3505">
                  <c:v>3238.73</c:v>
                </c:pt>
                <c:pt idx="3506">
                  <c:v>3263.12</c:v>
                </c:pt>
                <c:pt idx="3507">
                  <c:v>3257.4</c:v>
                </c:pt>
                <c:pt idx="3508">
                  <c:v>3266.64</c:v>
                </c:pt>
                <c:pt idx="3509">
                  <c:v>3291.12</c:v>
                </c:pt>
                <c:pt idx="3510">
                  <c:v>3275.67</c:v>
                </c:pt>
                <c:pt idx="3511">
                  <c:v>3220.28</c:v>
                </c:pt>
                <c:pt idx="3512">
                  <c:v>3240.75</c:v>
                </c:pt>
                <c:pt idx="3513">
                  <c:v>3230.89</c:v>
                </c:pt>
                <c:pt idx="3514">
                  <c:v>3244.39</c:v>
                </c:pt>
                <c:pt idx="3515">
                  <c:v>3253.28</c:v>
                </c:pt>
                <c:pt idx="3516">
                  <c:v>3293.87</c:v>
                </c:pt>
                <c:pt idx="3517">
                  <c:v>3306.56</c:v>
                </c:pt>
                <c:pt idx="3518">
                  <c:v>3300.01</c:v>
                </c:pt>
                <c:pt idx="3519">
                  <c:v>3302.65</c:v>
                </c:pt>
                <c:pt idx="3520">
                  <c:v>3305.85</c:v>
                </c:pt>
                <c:pt idx="3521">
                  <c:v>3277.88</c:v>
                </c:pt>
                <c:pt idx="3522">
                  <c:v>3321.33</c:v>
                </c:pt>
                <c:pt idx="3523">
                  <c:v>3316.24</c:v>
                </c:pt>
                <c:pt idx="3524">
                  <c:v>3318.6</c:v>
                </c:pt>
                <c:pt idx="3525">
                  <c:v>3327.74</c:v>
                </c:pt>
                <c:pt idx="3526">
                  <c:v>3367.58</c:v>
                </c:pt>
                <c:pt idx="3527">
                  <c:v>3367.45</c:v>
                </c:pt>
                <c:pt idx="3528">
                  <c:v>3354.8</c:v>
                </c:pt>
                <c:pt idx="3529">
                  <c:v>3345.7</c:v>
                </c:pt>
                <c:pt idx="3530">
                  <c:v>3340.13</c:v>
                </c:pt>
                <c:pt idx="3531">
                  <c:v>3336.28</c:v>
                </c:pt>
                <c:pt idx="3532">
                  <c:v>3359.05</c:v>
                </c:pt>
                <c:pt idx="3533">
                  <c:v>3333.35</c:v>
                </c:pt>
                <c:pt idx="3534">
                  <c:v>3365.09</c:v>
                </c:pt>
                <c:pt idx="3535">
                  <c:v>3354.17</c:v>
                </c:pt>
                <c:pt idx="3536">
                  <c:v>3356.59</c:v>
                </c:pt>
                <c:pt idx="3537">
                  <c:v>3371.12</c:v>
                </c:pt>
                <c:pt idx="3538">
                  <c:v>3353.05</c:v>
                </c:pt>
                <c:pt idx="3539">
                  <c:v>3390.61</c:v>
                </c:pt>
                <c:pt idx="3540">
                  <c:v>3417.22</c:v>
                </c:pt>
                <c:pt idx="3541">
                  <c:v>3430.25</c:v>
                </c:pt>
                <c:pt idx="3542">
                  <c:v>3429.87</c:v>
                </c:pt>
                <c:pt idx="3543">
                  <c:v>3429.59</c:v>
                </c:pt>
                <c:pt idx="3544">
                  <c:v>3436.54</c:v>
                </c:pt>
                <c:pt idx="3545">
                  <c:v>3417.46</c:v>
                </c:pt>
                <c:pt idx="3546">
                  <c:v>3441.11</c:v>
                </c:pt>
                <c:pt idx="3547">
                  <c:v>3468.36</c:v>
                </c:pt>
                <c:pt idx="3548">
                  <c:v>3474.73</c:v>
                </c:pt>
                <c:pt idx="3549">
                  <c:v>3488.74</c:v>
                </c:pt>
                <c:pt idx="3550">
                  <c:v>3521.3</c:v>
                </c:pt>
                <c:pt idx="3551">
                  <c:v>3535.08</c:v>
                </c:pt>
                <c:pt idx="3552">
                  <c:v>3564.04</c:v>
                </c:pt>
                <c:pt idx="3553">
                  <c:v>3538</c:v>
                </c:pt>
                <c:pt idx="3554">
                  <c:v>3565.04</c:v>
                </c:pt>
                <c:pt idx="3555">
                  <c:v>3528.95</c:v>
                </c:pt>
                <c:pt idx="3556">
                  <c:v>3469.41</c:v>
                </c:pt>
                <c:pt idx="3557">
                  <c:v>3459.15</c:v>
                </c:pt>
                <c:pt idx="3558">
                  <c:v>3475.75</c:v>
                </c:pt>
                <c:pt idx="3559">
                  <c:v>3470.14</c:v>
                </c:pt>
                <c:pt idx="3560">
                  <c:v>3493.7</c:v>
                </c:pt>
                <c:pt idx="3561">
                  <c:v>3409.18</c:v>
                </c:pt>
                <c:pt idx="3562">
                  <c:v>3405.04</c:v>
                </c:pt>
                <c:pt idx="3563">
                  <c:v>3378.95</c:v>
                </c:pt>
                <c:pt idx="3564">
                  <c:v>3340.43</c:v>
                </c:pt>
                <c:pt idx="3565">
                  <c:v>3346.03</c:v>
                </c:pt>
                <c:pt idx="3566">
                  <c:v>3328.98</c:v>
                </c:pt>
                <c:pt idx="3567">
                  <c:v>3309.06</c:v>
                </c:pt>
                <c:pt idx="3568">
                  <c:v>3338.54</c:v>
                </c:pt>
                <c:pt idx="3569">
                  <c:v>3335.67</c:v>
                </c:pt>
                <c:pt idx="3570">
                  <c:v>3307.6</c:v>
                </c:pt>
                <c:pt idx="3571">
                  <c:v>3322.4</c:v>
                </c:pt>
                <c:pt idx="3572">
                  <c:v>3316.39</c:v>
                </c:pt>
                <c:pt idx="3573">
                  <c:v>3301.89</c:v>
                </c:pt>
                <c:pt idx="3574">
                  <c:v>3297.76</c:v>
                </c:pt>
                <c:pt idx="3575">
                  <c:v>3310.08</c:v>
                </c:pt>
                <c:pt idx="3576">
                  <c:v>3342.23</c:v>
                </c:pt>
                <c:pt idx="3577">
                  <c:v>3368.31</c:v>
                </c:pt>
                <c:pt idx="3578">
                  <c:v>3367.79</c:v>
                </c:pt>
                <c:pt idx="3579">
                  <c:v>3347.67</c:v>
                </c:pt>
                <c:pt idx="3580">
                  <c:v>3363.9</c:v>
                </c:pt>
                <c:pt idx="3581">
                  <c:v>3358.27</c:v>
                </c:pt>
                <c:pt idx="3582">
                  <c:v>3334.5</c:v>
                </c:pt>
                <c:pt idx="3583">
                  <c:v>3317.62</c:v>
                </c:pt>
                <c:pt idx="3584">
                  <c:v>3319.91</c:v>
                </c:pt>
                <c:pt idx="3585">
                  <c:v>3319.45</c:v>
                </c:pt>
                <c:pt idx="3586">
                  <c:v>3326.36</c:v>
                </c:pt>
                <c:pt idx="3587">
                  <c:v>3339.37</c:v>
                </c:pt>
                <c:pt idx="3588">
                  <c:v>3329.29</c:v>
                </c:pt>
                <c:pt idx="3589">
                  <c:v>3354.89</c:v>
                </c:pt>
                <c:pt idx="3590">
                  <c:v>3364.08</c:v>
                </c:pt>
                <c:pt idx="3591">
                  <c:v>3364.45</c:v>
                </c:pt>
                <c:pt idx="3592">
                  <c:v>3375.9</c:v>
                </c:pt>
                <c:pt idx="3593">
                  <c:v>3387.96</c:v>
                </c:pt>
                <c:pt idx="3594">
                  <c:v>3364.49</c:v>
                </c:pt>
                <c:pt idx="3595">
                  <c:v>3373.21</c:v>
                </c:pt>
                <c:pt idx="3596">
                  <c:v>3365.68</c:v>
                </c:pt>
                <c:pt idx="3597">
                  <c:v>3383.29</c:v>
                </c:pt>
                <c:pt idx="3598">
                  <c:v>3396.29</c:v>
                </c:pt>
                <c:pt idx="3599">
                  <c:v>3413.49</c:v>
                </c:pt>
                <c:pt idx="3600">
                  <c:v>3436.28</c:v>
                </c:pt>
                <c:pt idx="3601">
                  <c:v>3435.8</c:v>
                </c:pt>
                <c:pt idx="3602">
                  <c:v>3421.71</c:v>
                </c:pt>
                <c:pt idx="3603">
                  <c:v>3440.93</c:v>
                </c:pt>
                <c:pt idx="3604">
                  <c:v>3421.44</c:v>
                </c:pt>
                <c:pt idx="3605">
                  <c:v>3471.39</c:v>
                </c:pt>
                <c:pt idx="3606">
                  <c:v>3482.82</c:v>
                </c:pt>
                <c:pt idx="3607">
                  <c:v>3489.76</c:v>
                </c:pt>
                <c:pt idx="3608">
                  <c:v>3473.32</c:v>
                </c:pt>
                <c:pt idx="3609">
                  <c:v>3473.85</c:v>
                </c:pt>
                <c:pt idx="3610">
                  <c:v>3446.22</c:v>
                </c:pt>
                <c:pt idx="3611">
                  <c:v>3452.81</c:v>
                </c:pt>
                <c:pt idx="3612">
                  <c:v>3458.44</c:v>
                </c:pt>
                <c:pt idx="3613">
                  <c:v>3435.1</c:v>
                </c:pt>
                <c:pt idx="3614">
                  <c:v>3427.86</c:v>
                </c:pt>
                <c:pt idx="3615">
                  <c:v>3446.48</c:v>
                </c:pt>
                <c:pt idx="3616">
                  <c:v>3453.96</c:v>
                </c:pt>
                <c:pt idx="3617">
                  <c:v>3448.73</c:v>
                </c:pt>
                <c:pt idx="3618">
                  <c:v>3426.94</c:v>
                </c:pt>
                <c:pt idx="3619">
                  <c:v>3427.89</c:v>
                </c:pt>
                <c:pt idx="3620">
                  <c:v>3458.1</c:v>
                </c:pt>
                <c:pt idx="3621">
                  <c:v>3456.69</c:v>
                </c:pt>
                <c:pt idx="3622">
                  <c:v>3463.64</c:v>
                </c:pt>
                <c:pt idx="3623">
                  <c:v>3481.51</c:v>
                </c:pt>
                <c:pt idx="3624">
                  <c:v>3445.81</c:v>
                </c:pt>
                <c:pt idx="3625">
                  <c:v>3449.61</c:v>
                </c:pt>
                <c:pt idx="3626">
                  <c:v>3466.35</c:v>
                </c:pt>
                <c:pt idx="3627">
                  <c:v>3450.05</c:v>
                </c:pt>
                <c:pt idx="3628">
                  <c:v>3461.98</c:v>
                </c:pt>
                <c:pt idx="3629">
                  <c:v>3489.6</c:v>
                </c:pt>
                <c:pt idx="3630">
                  <c:v>3478.04</c:v>
                </c:pt>
                <c:pt idx="3631">
                  <c:v>3469.81</c:v>
                </c:pt>
                <c:pt idx="3632">
                  <c:v>3465.19</c:v>
                </c:pt>
                <c:pt idx="3633">
                  <c:v>3436.76</c:v>
                </c:pt>
                <c:pt idx="3634">
                  <c:v>3456.05</c:v>
                </c:pt>
                <c:pt idx="3635">
                  <c:v>3503.89</c:v>
                </c:pt>
                <c:pt idx="3636">
                  <c:v>3514.05</c:v>
                </c:pt>
                <c:pt idx="3637">
                  <c:v>3517.46</c:v>
                </c:pt>
                <c:pt idx="3638">
                  <c:v>3505.14</c:v>
                </c:pt>
                <c:pt idx="3639">
                  <c:v>3517.33</c:v>
                </c:pt>
                <c:pt idx="3640">
                  <c:v>3509.44</c:v>
                </c:pt>
                <c:pt idx="3641">
                  <c:v>3514.57</c:v>
                </c:pt>
                <c:pt idx="3642">
                  <c:v>3486.5</c:v>
                </c:pt>
                <c:pt idx="3643">
                  <c:v>3479.94</c:v>
                </c:pt>
                <c:pt idx="3644">
                  <c:v>3462.74</c:v>
                </c:pt>
                <c:pt idx="3645">
                  <c:v>3445.88</c:v>
                </c:pt>
                <c:pt idx="3646">
                  <c:v>3461.55</c:v>
                </c:pt>
                <c:pt idx="3647">
                  <c:v>3466.79</c:v>
                </c:pt>
                <c:pt idx="3648">
                  <c:v>3431.26</c:v>
                </c:pt>
                <c:pt idx="3649">
                  <c:v>3440.97</c:v>
                </c:pt>
                <c:pt idx="3650">
                  <c:v>3445.18</c:v>
                </c:pt>
                <c:pt idx="3651">
                  <c:v>3446.72</c:v>
                </c:pt>
                <c:pt idx="3652">
                  <c:v>3439.75</c:v>
                </c:pt>
                <c:pt idx="3653">
                  <c:v>3426.58</c:v>
                </c:pt>
                <c:pt idx="3654">
                  <c:v>3413.13</c:v>
                </c:pt>
                <c:pt idx="3655">
                  <c:v>3404.39</c:v>
                </c:pt>
                <c:pt idx="3656">
                  <c:v>3382.55</c:v>
                </c:pt>
                <c:pt idx="3657">
                  <c:v>3358.81</c:v>
                </c:pt>
                <c:pt idx="3658">
                  <c:v>3352.53</c:v>
                </c:pt>
                <c:pt idx="3659">
                  <c:v>3337.7</c:v>
                </c:pt>
                <c:pt idx="3660">
                  <c:v>3356.65</c:v>
                </c:pt>
                <c:pt idx="3661">
                  <c:v>3385.38</c:v>
                </c:pt>
                <c:pt idx="3662">
                  <c:v>3399.19</c:v>
                </c:pt>
                <c:pt idx="3663">
                  <c:v>3428.65</c:v>
                </c:pt>
                <c:pt idx="3664">
                  <c:v>3409.97</c:v>
                </c:pt>
                <c:pt idx="3665">
                  <c:v>3398.11</c:v>
                </c:pt>
                <c:pt idx="3666">
                  <c:v>3403.85</c:v>
                </c:pt>
                <c:pt idx="3667">
                  <c:v>3411.24</c:v>
                </c:pt>
                <c:pt idx="3668">
                  <c:v>3424.19</c:v>
                </c:pt>
                <c:pt idx="3669">
                  <c:v>3424.17</c:v>
                </c:pt>
                <c:pt idx="3670">
                  <c:v>3485.66</c:v>
                </c:pt>
                <c:pt idx="3671">
                  <c:v>3480.43</c:v>
                </c:pt>
                <c:pt idx="3672">
                  <c:v>3492.88</c:v>
                </c:pt>
                <c:pt idx="3673">
                  <c:v>3497.74</c:v>
                </c:pt>
                <c:pt idx="3674">
                  <c:v>3486.51</c:v>
                </c:pt>
                <c:pt idx="3675">
                  <c:v>3468.75</c:v>
                </c:pt>
                <c:pt idx="3676">
                  <c:v>3492.88</c:v>
                </c:pt>
                <c:pt idx="3677">
                  <c:v>3533.87</c:v>
                </c:pt>
                <c:pt idx="3678">
                  <c:v>3560.98</c:v>
                </c:pt>
                <c:pt idx="3679">
                  <c:v>3576.17</c:v>
                </c:pt>
                <c:pt idx="3680">
                  <c:v>3574.39</c:v>
                </c:pt>
                <c:pt idx="3681">
                  <c:v>3582.27</c:v>
                </c:pt>
                <c:pt idx="3682">
                  <c:v>3535.3</c:v>
                </c:pt>
                <c:pt idx="3683">
                  <c:v>3528.79</c:v>
                </c:pt>
                <c:pt idx="3684">
                  <c:v>3518.76</c:v>
                </c:pt>
                <c:pt idx="3685">
                  <c:v>3553.67</c:v>
                </c:pt>
                <c:pt idx="3686">
                  <c:v>3546.49</c:v>
                </c:pt>
                <c:pt idx="3687">
                  <c:v>3587.96</c:v>
                </c:pt>
                <c:pt idx="3688">
                  <c:v>3590.34</c:v>
                </c:pt>
                <c:pt idx="3689">
                  <c:v>3622.88</c:v>
                </c:pt>
                <c:pt idx="3690">
                  <c:v>3668.09</c:v>
                </c:pt>
                <c:pt idx="3691">
                  <c:v>3674.72</c:v>
                </c:pt>
                <c:pt idx="3692">
                  <c:v>3646.17</c:v>
                </c:pt>
                <c:pt idx="3693">
                  <c:v>3668.83</c:v>
                </c:pt>
                <c:pt idx="3694">
                  <c:v>3666.8</c:v>
                </c:pt>
                <c:pt idx="3695">
                  <c:v>3650.85</c:v>
                </c:pt>
                <c:pt idx="3696">
                  <c:v>3619.98</c:v>
                </c:pt>
                <c:pt idx="3697">
                  <c:v>3659.68</c:v>
                </c:pt>
                <c:pt idx="3698">
                  <c:v>3660.1</c:v>
                </c:pt>
                <c:pt idx="3699">
                  <c:v>3655.93</c:v>
                </c:pt>
                <c:pt idx="3700">
                  <c:v>3653.69</c:v>
                </c:pt>
                <c:pt idx="3701">
                  <c:v>3670.81</c:v>
                </c:pt>
                <c:pt idx="3702">
                  <c:v>3658.82</c:v>
                </c:pt>
                <c:pt idx="3703">
                  <c:v>3686.92</c:v>
                </c:pt>
                <c:pt idx="3704">
                  <c:v>3703.09</c:v>
                </c:pt>
                <c:pt idx="3705">
                  <c:v>3663.56</c:v>
                </c:pt>
                <c:pt idx="3706">
                  <c:v>3667.18</c:v>
                </c:pt>
                <c:pt idx="3707">
                  <c:v>3729.75</c:v>
                </c:pt>
                <c:pt idx="3708">
                  <c:v>3747.88</c:v>
                </c:pt>
                <c:pt idx="3709">
                  <c:v>3728.6</c:v>
                </c:pt>
                <c:pt idx="3710">
                  <c:v>3743.47</c:v>
                </c:pt>
                <c:pt idx="3711">
                  <c:v>3719.56</c:v>
                </c:pt>
                <c:pt idx="3712">
                  <c:v>3705.39</c:v>
                </c:pt>
                <c:pt idx="3713">
                  <c:v>3712.19</c:v>
                </c:pt>
                <c:pt idx="3714">
                  <c:v>3721.89</c:v>
                </c:pt>
                <c:pt idx="3715">
                  <c:v>3737.87</c:v>
                </c:pt>
                <c:pt idx="3716">
                  <c:v>3770.38</c:v>
                </c:pt>
                <c:pt idx="3717">
                  <c:v>3760.85</c:v>
                </c:pt>
                <c:pt idx="3718">
                  <c:v>3727.83</c:v>
                </c:pt>
                <c:pt idx="3719">
                  <c:v>3707.58</c:v>
                </c:pt>
                <c:pt idx="3720">
                  <c:v>3726.79</c:v>
                </c:pt>
                <c:pt idx="3721">
                  <c:v>3732.21</c:v>
                </c:pt>
                <c:pt idx="3722">
                  <c:v>3731.04</c:v>
                </c:pt>
                <c:pt idx="3723">
                  <c:v>3715.92</c:v>
                </c:pt>
                <c:pt idx="3724">
                  <c:v>3647.35</c:v>
                </c:pt>
                <c:pt idx="3725">
                  <c:v>3694.68</c:v>
                </c:pt>
                <c:pt idx="3726">
                  <c:v>3706.06</c:v>
                </c:pt>
                <c:pt idx="3727">
                  <c:v>3701.42</c:v>
                </c:pt>
                <c:pt idx="3728">
                  <c:v>3721.28</c:v>
                </c:pt>
                <c:pt idx="3729">
                  <c:v>3724.67</c:v>
                </c:pt>
                <c:pt idx="3730">
                  <c:v>3740.99</c:v>
                </c:pt>
                <c:pt idx="3731">
                  <c:v>3752.3</c:v>
                </c:pt>
                <c:pt idx="3732">
                  <c:v>3756.09</c:v>
                </c:pt>
                <c:pt idx="3733">
                  <c:v>3734.65</c:v>
                </c:pt>
                <c:pt idx="3734">
                  <c:v>3795.75</c:v>
                </c:pt>
                <c:pt idx="3735">
                  <c:v>3842.71</c:v>
                </c:pt>
                <c:pt idx="3736">
                  <c:v>3834.54</c:v>
                </c:pt>
                <c:pt idx="3737">
                  <c:v>3834.3</c:v>
                </c:pt>
                <c:pt idx="3738">
                  <c:v>3822.09</c:v>
                </c:pt>
                <c:pt idx="3739">
                  <c:v>3830.54</c:v>
                </c:pt>
                <c:pt idx="3740">
                  <c:v>3845.62</c:v>
                </c:pt>
                <c:pt idx="3741">
                  <c:v>3857.05</c:v>
                </c:pt>
                <c:pt idx="3742">
                  <c:v>3849.45</c:v>
                </c:pt>
                <c:pt idx="3743">
                  <c:v>3829.87</c:v>
                </c:pt>
                <c:pt idx="3744">
                  <c:v>3825.99</c:v>
                </c:pt>
                <c:pt idx="3745">
                  <c:v>3825.65</c:v>
                </c:pt>
                <c:pt idx="3746">
                  <c:v>3837.93</c:v>
                </c:pt>
                <c:pt idx="3747">
                  <c:v>3842.61</c:v>
                </c:pt>
                <c:pt idx="3748">
                  <c:v>3829.96</c:v>
                </c:pt>
                <c:pt idx="3749">
                  <c:v>3831.3</c:v>
                </c:pt>
                <c:pt idx="3750">
                  <c:v>3843.14</c:v>
                </c:pt>
                <c:pt idx="3751">
                  <c:v>3832.12</c:v>
                </c:pt>
                <c:pt idx="3752">
                  <c:v>3842.44</c:v>
                </c:pt>
                <c:pt idx="3753">
                  <c:v>3837.82</c:v>
                </c:pt>
                <c:pt idx="3754">
                  <c:v>3837.73</c:v>
                </c:pt>
                <c:pt idx="3755">
                  <c:v>3817.79</c:v>
                </c:pt>
                <c:pt idx="3756">
                  <c:v>3820.78</c:v>
                </c:pt>
                <c:pt idx="3757">
                  <c:v>3821.2</c:v>
                </c:pt>
                <c:pt idx="3758">
                  <c:v>3822.54</c:v>
                </c:pt>
                <c:pt idx="3759">
                  <c:v>3836.5</c:v>
                </c:pt>
                <c:pt idx="3760">
                  <c:v>3882.21</c:v>
                </c:pt>
                <c:pt idx="3761">
                  <c:v>3889.86</c:v>
                </c:pt>
                <c:pt idx="3762">
                  <c:v>3902.69</c:v>
                </c:pt>
                <c:pt idx="3763">
                  <c:v>3912.95</c:v>
                </c:pt>
                <c:pt idx="3764">
                  <c:v>3921</c:v>
                </c:pt>
                <c:pt idx="3765">
                  <c:v>3913.45</c:v>
                </c:pt>
                <c:pt idx="3766">
                  <c:v>3913.07</c:v>
                </c:pt>
                <c:pt idx="3767">
                  <c:v>3944.16</c:v>
                </c:pt>
                <c:pt idx="3768">
                  <c:v>3931.25</c:v>
                </c:pt>
                <c:pt idx="3769">
                  <c:v>3926.85</c:v>
                </c:pt>
                <c:pt idx="3770">
                  <c:v>3930.8</c:v>
                </c:pt>
                <c:pt idx="3771">
                  <c:v>3959.4</c:v>
                </c:pt>
                <c:pt idx="3772">
                  <c:v>3976.95</c:v>
                </c:pt>
                <c:pt idx="3773">
                  <c:v>3993.58</c:v>
                </c:pt>
                <c:pt idx="3774">
                  <c:v>4021.97</c:v>
                </c:pt>
                <c:pt idx="3775">
                  <c:v>4009.72</c:v>
                </c:pt>
                <c:pt idx="3776">
                  <c:v>4006.72</c:v>
                </c:pt>
                <c:pt idx="3777">
                  <c:v>3996.62</c:v>
                </c:pt>
                <c:pt idx="3778">
                  <c:v>3997.13</c:v>
                </c:pt>
                <c:pt idx="3779">
                  <c:v>3992.7</c:v>
                </c:pt>
                <c:pt idx="3780">
                  <c:v>4020.89</c:v>
                </c:pt>
                <c:pt idx="3781">
                  <c:v>4054.25</c:v>
                </c:pt>
                <c:pt idx="3782">
                  <c:v>4048.01</c:v>
                </c:pt>
                <c:pt idx="3783">
                  <c:v>4075.9</c:v>
                </c:pt>
                <c:pt idx="3784">
                  <c:v>4111.91</c:v>
                </c:pt>
                <c:pt idx="3785">
                  <c:v>4128.07</c:v>
                </c:pt>
                <c:pt idx="3786">
                  <c:v>4099.3500000000004</c:v>
                </c:pt>
                <c:pt idx="3787">
                  <c:v>4073.67</c:v>
                </c:pt>
                <c:pt idx="3788">
                  <c:v>4105.01</c:v>
                </c:pt>
                <c:pt idx="3789">
                  <c:v>4120.8500000000004</c:v>
                </c:pt>
                <c:pt idx="3790">
                  <c:v>4143.83</c:v>
                </c:pt>
                <c:pt idx="3791">
                  <c:v>4217.7</c:v>
                </c:pt>
                <c:pt idx="3792">
                  <c:v>4227.57</c:v>
                </c:pt>
                <c:pt idx="3793">
                  <c:v>4102.3999999999996</c:v>
                </c:pt>
                <c:pt idx="3794">
                  <c:v>4104.2</c:v>
                </c:pt>
                <c:pt idx="3795">
                  <c:v>4049.95</c:v>
                </c:pt>
                <c:pt idx="3796">
                  <c:v>4055.82</c:v>
                </c:pt>
                <c:pt idx="3797">
                  <c:v>4053.75</c:v>
                </c:pt>
                <c:pt idx="3798">
                  <c:v>4006.1</c:v>
                </c:pt>
                <c:pt idx="3799">
                  <c:v>3998.14</c:v>
                </c:pt>
                <c:pt idx="3800">
                  <c:v>4018.86</c:v>
                </c:pt>
                <c:pt idx="3801">
                  <c:v>4040.17</c:v>
                </c:pt>
                <c:pt idx="3802">
                  <c:v>4015.82</c:v>
                </c:pt>
                <c:pt idx="3803">
                  <c:v>3971.06</c:v>
                </c:pt>
                <c:pt idx="3804">
                  <c:v>4003.38</c:v>
                </c:pt>
                <c:pt idx="3805">
                  <c:v>4069.5</c:v>
                </c:pt>
                <c:pt idx="3806">
                  <c:v>4016.02</c:v>
                </c:pt>
                <c:pt idx="3807">
                  <c:v>4050.09</c:v>
                </c:pt>
                <c:pt idx="3808">
                  <c:v>4026.15</c:v>
                </c:pt>
                <c:pt idx="3809">
                  <c:v>3980.86</c:v>
                </c:pt>
                <c:pt idx="3810">
                  <c:v>3985.29</c:v>
                </c:pt>
                <c:pt idx="3811">
                  <c:v>4035.33</c:v>
                </c:pt>
                <c:pt idx="3812">
                  <c:v>4030.49</c:v>
                </c:pt>
                <c:pt idx="3813">
                  <c:v>4067.85</c:v>
                </c:pt>
                <c:pt idx="3814">
                  <c:v>4054.6</c:v>
                </c:pt>
                <c:pt idx="3815">
                  <c:v>4041.54</c:v>
                </c:pt>
                <c:pt idx="3816">
                  <c:v>4053.62</c:v>
                </c:pt>
                <c:pt idx="3817">
                  <c:v>3991.21</c:v>
                </c:pt>
                <c:pt idx="3818">
                  <c:v>4018.9</c:v>
                </c:pt>
                <c:pt idx="3819">
                  <c:v>4030.85</c:v>
                </c:pt>
                <c:pt idx="3820">
                  <c:v>4087.4</c:v>
                </c:pt>
                <c:pt idx="3821">
                  <c:v>4111.3900000000003</c:v>
                </c:pt>
                <c:pt idx="3822">
                  <c:v>4128.8100000000004</c:v>
                </c:pt>
                <c:pt idx="3823">
                  <c:v>4138.75</c:v>
                </c:pt>
                <c:pt idx="3824">
                  <c:v>4160.16</c:v>
                </c:pt>
                <c:pt idx="3825">
                  <c:v>4189.3</c:v>
                </c:pt>
                <c:pt idx="3826">
                  <c:v>4207.8100000000004</c:v>
                </c:pt>
                <c:pt idx="3827">
                  <c:v>4205.59</c:v>
                </c:pt>
                <c:pt idx="3828">
                  <c:v>4225</c:v>
                </c:pt>
                <c:pt idx="3829">
                  <c:v>4225.24</c:v>
                </c:pt>
                <c:pt idx="3830">
                  <c:v>4258.47</c:v>
                </c:pt>
                <c:pt idx="3831">
                  <c:v>4248.12</c:v>
                </c:pt>
                <c:pt idx="3832">
                  <c:v>4271.42</c:v>
                </c:pt>
                <c:pt idx="3833">
                  <c:v>4285.3999999999996</c:v>
                </c:pt>
                <c:pt idx="3834">
                  <c:v>4336.6000000000004</c:v>
                </c:pt>
                <c:pt idx="3835">
                  <c:v>4382.6099999999997</c:v>
                </c:pt>
                <c:pt idx="3836">
                  <c:v>4389.8900000000003</c:v>
                </c:pt>
                <c:pt idx="3837">
                  <c:v>4365.08</c:v>
                </c:pt>
                <c:pt idx="3838">
                  <c:v>4381.3</c:v>
                </c:pt>
                <c:pt idx="3839">
                  <c:v>4302.0200000000004</c:v>
                </c:pt>
                <c:pt idx="3840">
                  <c:v>4256.1000000000004</c:v>
                </c:pt>
                <c:pt idx="3841">
                  <c:v>4275.8999999999996</c:v>
                </c:pt>
                <c:pt idx="3842">
                  <c:v>4245.8999999999996</c:v>
                </c:pt>
                <c:pt idx="3843">
                  <c:v>4271.2299999999996</c:v>
                </c:pt>
                <c:pt idx="3844">
                  <c:v>4274.1499999999996</c:v>
                </c:pt>
                <c:pt idx="3845">
                  <c:v>4148.8900000000003</c:v>
                </c:pt>
                <c:pt idx="3846">
                  <c:v>4050.5</c:v>
                </c:pt>
                <c:pt idx="3847">
                  <c:v>4012.05</c:v>
                </c:pt>
                <c:pt idx="3848">
                  <c:v>3840.65</c:v>
                </c:pt>
                <c:pt idx="3849">
                  <c:v>3890.1</c:v>
                </c:pt>
                <c:pt idx="3850">
                  <c:v>3935.63</c:v>
                </c:pt>
                <c:pt idx="3851">
                  <c:v>3966.96</c:v>
                </c:pt>
                <c:pt idx="3852">
                  <c:v>4052.73</c:v>
                </c:pt>
                <c:pt idx="3853">
                  <c:v>4071.09</c:v>
                </c:pt>
                <c:pt idx="3854">
                  <c:v>4118.42</c:v>
                </c:pt>
                <c:pt idx="3855">
                  <c:v>4058.98</c:v>
                </c:pt>
                <c:pt idx="3856">
                  <c:v>4023.64</c:v>
                </c:pt>
                <c:pt idx="3857">
                  <c:v>4049.09</c:v>
                </c:pt>
                <c:pt idx="3858">
                  <c:v>4016.46</c:v>
                </c:pt>
                <c:pt idx="3859">
                  <c:v>4018.1</c:v>
                </c:pt>
                <c:pt idx="3860">
                  <c:v>4066.56</c:v>
                </c:pt>
                <c:pt idx="3861">
                  <c:v>4036.65</c:v>
                </c:pt>
                <c:pt idx="3862">
                  <c:v>4077.6</c:v>
                </c:pt>
                <c:pt idx="3863">
                  <c:v>4108.87</c:v>
                </c:pt>
                <c:pt idx="3864">
                  <c:v>4127.67</c:v>
                </c:pt>
                <c:pt idx="3865">
                  <c:v>4091.25</c:v>
                </c:pt>
                <c:pt idx="3866">
                  <c:v>4073.34</c:v>
                </c:pt>
                <c:pt idx="3867">
                  <c:v>4096.16</c:v>
                </c:pt>
                <c:pt idx="3868">
                  <c:v>4056.42</c:v>
                </c:pt>
                <c:pt idx="3869">
                  <c:v>4074.25</c:v>
                </c:pt>
                <c:pt idx="3870">
                  <c:v>4077.7</c:v>
                </c:pt>
                <c:pt idx="3871">
                  <c:v>4061.05</c:v>
                </c:pt>
                <c:pt idx="3872">
                  <c:v>4020.35</c:v>
                </c:pt>
                <c:pt idx="3873">
                  <c:v>3904.94</c:v>
                </c:pt>
                <c:pt idx="3874">
                  <c:v>3879.89</c:v>
                </c:pt>
                <c:pt idx="3875">
                  <c:v>3913.27</c:v>
                </c:pt>
                <c:pt idx="3876">
                  <c:v>3842.72</c:v>
                </c:pt>
                <c:pt idx="3877">
                  <c:v>3894.05</c:v>
                </c:pt>
                <c:pt idx="3878">
                  <c:v>3898.5</c:v>
                </c:pt>
                <c:pt idx="3879">
                  <c:v>3886.92</c:v>
                </c:pt>
                <c:pt idx="3880">
                  <c:v>3862.48</c:v>
                </c:pt>
                <c:pt idx="3881">
                  <c:v>3854.86</c:v>
                </c:pt>
                <c:pt idx="3882">
                  <c:v>3852.93</c:v>
                </c:pt>
                <c:pt idx="3883">
                  <c:v>3927.17</c:v>
                </c:pt>
                <c:pt idx="3884">
                  <c:v>3938.34</c:v>
                </c:pt>
                <c:pt idx="3885">
                  <c:v>3898.64</c:v>
                </c:pt>
                <c:pt idx="3886">
                  <c:v>3871.14</c:v>
                </c:pt>
                <c:pt idx="3887">
                  <c:v>3808.86</c:v>
                </c:pt>
                <c:pt idx="3888">
                  <c:v>3748.64</c:v>
                </c:pt>
                <c:pt idx="3889">
                  <c:v>3766.28</c:v>
                </c:pt>
                <c:pt idx="3890">
                  <c:v>3811.84</c:v>
                </c:pt>
                <c:pt idx="3891">
                  <c:v>3760.85</c:v>
                </c:pt>
                <c:pt idx="3892">
                  <c:v>3766.33</c:v>
                </c:pt>
                <c:pt idx="3893">
                  <c:v>3843.49</c:v>
                </c:pt>
                <c:pt idx="3894">
                  <c:v>3828.7</c:v>
                </c:pt>
                <c:pt idx="3895">
                  <c:v>3755.49</c:v>
                </c:pt>
                <c:pt idx="3896">
                  <c:v>3756.88</c:v>
                </c:pt>
                <c:pt idx="3897">
                  <c:v>3763.65</c:v>
                </c:pt>
                <c:pt idx="3898">
                  <c:v>3793</c:v>
                </c:pt>
                <c:pt idx="3899">
                  <c:v>3774.6</c:v>
                </c:pt>
                <c:pt idx="3900">
                  <c:v>3834.19</c:v>
                </c:pt>
                <c:pt idx="3901">
                  <c:v>3878.68</c:v>
                </c:pt>
                <c:pt idx="3902">
                  <c:v>3871.62</c:v>
                </c:pt>
                <c:pt idx="3903">
                  <c:v>3893.06</c:v>
                </c:pt>
                <c:pt idx="3904">
                  <c:v>3872.84</c:v>
                </c:pt>
                <c:pt idx="3905">
                  <c:v>3909.29</c:v>
                </c:pt>
                <c:pt idx="3906">
                  <c:v>3924.1</c:v>
                </c:pt>
                <c:pt idx="3907">
                  <c:v>3892.84</c:v>
                </c:pt>
                <c:pt idx="3908">
                  <c:v>3864.05</c:v>
                </c:pt>
                <c:pt idx="3909">
                  <c:v>3903.06</c:v>
                </c:pt>
                <c:pt idx="3910">
                  <c:v>3921.24</c:v>
                </c:pt>
                <c:pt idx="3911">
                  <c:v>3906.21</c:v>
                </c:pt>
                <c:pt idx="3912">
                  <c:v>3854.58</c:v>
                </c:pt>
                <c:pt idx="3913">
                  <c:v>3827.22</c:v>
                </c:pt>
                <c:pt idx="3914">
                  <c:v>3816.5</c:v>
                </c:pt>
                <c:pt idx="3915">
                  <c:v>3833.26</c:v>
                </c:pt>
                <c:pt idx="3916">
                  <c:v>3804.01</c:v>
                </c:pt>
                <c:pt idx="3917">
                  <c:v>3723.37</c:v>
                </c:pt>
                <c:pt idx="3918">
                  <c:v>3802.38</c:v>
                </c:pt>
                <c:pt idx="3919">
                  <c:v>3770.59</c:v>
                </c:pt>
                <c:pt idx="3920">
                  <c:v>3807.58</c:v>
                </c:pt>
                <c:pt idx="3921">
                  <c:v>3845.32</c:v>
                </c:pt>
                <c:pt idx="3922">
                  <c:v>3837.35</c:v>
                </c:pt>
                <c:pt idx="3923">
                  <c:v>3831.01</c:v>
                </c:pt>
                <c:pt idx="3924">
                  <c:v>3779.62</c:v>
                </c:pt>
                <c:pt idx="3925">
                  <c:v>3779.98</c:v>
                </c:pt>
                <c:pt idx="3926">
                  <c:v>3825.95</c:v>
                </c:pt>
                <c:pt idx="3927">
                  <c:v>3788.34</c:v>
                </c:pt>
                <c:pt idx="3928">
                  <c:v>3773.37</c:v>
                </c:pt>
                <c:pt idx="3929">
                  <c:v>3753.43</c:v>
                </c:pt>
                <c:pt idx="3930">
                  <c:v>3621.12</c:v>
                </c:pt>
                <c:pt idx="3931">
                  <c:v>3635.44</c:v>
                </c:pt>
                <c:pt idx="3932">
                  <c:v>3592.97</c:v>
                </c:pt>
                <c:pt idx="3933">
                  <c:v>3608.9</c:v>
                </c:pt>
                <c:pt idx="3934">
                  <c:v>3560.48</c:v>
                </c:pt>
                <c:pt idx="3935">
                  <c:v>3531.11</c:v>
                </c:pt>
                <c:pt idx="3936">
                  <c:v>3459.26</c:v>
                </c:pt>
                <c:pt idx="3937">
                  <c:v>3423.53</c:v>
                </c:pt>
                <c:pt idx="3938">
                  <c:v>3510.98</c:v>
                </c:pt>
                <c:pt idx="3939">
                  <c:v>3407.96</c:v>
                </c:pt>
                <c:pt idx="3940">
                  <c:v>3409.28</c:v>
                </c:pt>
                <c:pt idx="3941">
                  <c:v>3363.75</c:v>
                </c:pt>
                <c:pt idx="3942">
                  <c:v>3342.44</c:v>
                </c:pt>
                <c:pt idx="3943">
                  <c:v>3365.12</c:v>
                </c:pt>
                <c:pt idx="3944">
                  <c:v>3459.18</c:v>
                </c:pt>
                <c:pt idx="3945">
                  <c:v>3467.52</c:v>
                </c:pt>
                <c:pt idx="3946">
                  <c:v>3407.53</c:v>
                </c:pt>
                <c:pt idx="3947">
                  <c:v>3481.06</c:v>
                </c:pt>
                <c:pt idx="3948">
                  <c:v>3492.69</c:v>
                </c:pt>
                <c:pt idx="3949">
                  <c:v>3472.09</c:v>
                </c:pt>
                <c:pt idx="3950">
                  <c:v>3449.38</c:v>
                </c:pt>
                <c:pt idx="3951">
                  <c:v>3431.32</c:v>
                </c:pt>
                <c:pt idx="3952">
                  <c:v>3428.34</c:v>
                </c:pt>
                <c:pt idx="3953">
                  <c:v>3492.89</c:v>
                </c:pt>
                <c:pt idx="3954">
                  <c:v>3525.75</c:v>
                </c:pt>
                <c:pt idx="3955">
                  <c:v>3581.71</c:v>
                </c:pt>
                <c:pt idx="3956">
                  <c:v>3577.75</c:v>
                </c:pt>
                <c:pt idx="3957">
                  <c:v>3536.25</c:v>
                </c:pt>
                <c:pt idx="3958">
                  <c:v>3521.23</c:v>
                </c:pt>
                <c:pt idx="3959">
                  <c:v>3515.08</c:v>
                </c:pt>
                <c:pt idx="3960">
                  <c:v>3517.66</c:v>
                </c:pt>
                <c:pt idx="3961">
                  <c:v>3447.39</c:v>
                </c:pt>
                <c:pt idx="3962">
                  <c:v>3370.96</c:v>
                </c:pt>
                <c:pt idx="3963">
                  <c:v>3315.28</c:v>
                </c:pt>
                <c:pt idx="3964">
                  <c:v>3273.27</c:v>
                </c:pt>
                <c:pt idx="3965">
                  <c:v>3368.87</c:v>
                </c:pt>
                <c:pt idx="3966">
                  <c:v>3314.51</c:v>
                </c:pt>
                <c:pt idx="3967">
                  <c:v>3397.53</c:v>
                </c:pt>
                <c:pt idx="3968">
                  <c:v>3405.02</c:v>
                </c:pt>
                <c:pt idx="3969">
                  <c:v>3390.34</c:v>
                </c:pt>
                <c:pt idx="3970">
                  <c:v>3372.91</c:v>
                </c:pt>
                <c:pt idx="3971">
                  <c:v>3291.98</c:v>
                </c:pt>
                <c:pt idx="3972">
                  <c:v>3276.73</c:v>
                </c:pt>
                <c:pt idx="3973">
                  <c:v>3229.62</c:v>
                </c:pt>
                <c:pt idx="3974">
                  <c:v>3267.25</c:v>
                </c:pt>
                <c:pt idx="3975">
                  <c:v>3326.65</c:v>
                </c:pt>
                <c:pt idx="3976">
                  <c:v>3307.95</c:v>
                </c:pt>
                <c:pt idx="3977">
                  <c:v>3320.03</c:v>
                </c:pt>
                <c:pt idx="3978">
                  <c:v>3325.33</c:v>
                </c:pt>
                <c:pt idx="3979">
                  <c:v>3406.57</c:v>
                </c:pt>
                <c:pt idx="3980">
                  <c:v>3400.17</c:v>
                </c:pt>
                <c:pt idx="3981">
                  <c:v>3386.57</c:v>
                </c:pt>
                <c:pt idx="3982">
                  <c:v>3351.09</c:v>
                </c:pt>
                <c:pt idx="3983">
                  <c:v>3334.5</c:v>
                </c:pt>
                <c:pt idx="3984">
                  <c:v>3321.82</c:v>
                </c:pt>
                <c:pt idx="3985">
                  <c:v>3363.9</c:v>
                </c:pt>
                <c:pt idx="3986">
                  <c:v>3298.14</c:v>
                </c:pt>
                <c:pt idx="3987">
                  <c:v>3262.88</c:v>
                </c:pt>
                <c:pt idx="3988">
                  <c:v>3277.64</c:v>
                </c:pt>
                <c:pt idx="3989">
                  <c:v>3230.07</c:v>
                </c:pt>
                <c:pt idx="3990">
                  <c:v>3224.21</c:v>
                </c:pt>
                <c:pt idx="3991">
                  <c:v>3202.02</c:v>
                </c:pt>
                <c:pt idx="3992">
                  <c:v>3236.57</c:v>
                </c:pt>
                <c:pt idx="3993">
                  <c:v>3242.09</c:v>
                </c:pt>
                <c:pt idx="3994">
                  <c:v>3204.92</c:v>
                </c:pt>
                <c:pt idx="3995">
                  <c:v>3269.43</c:v>
                </c:pt>
                <c:pt idx="3996">
                  <c:v>3312.48</c:v>
                </c:pt>
                <c:pt idx="3997">
                  <c:v>3310.13</c:v>
                </c:pt>
                <c:pt idx="3998">
                  <c:v>3410.49</c:v>
                </c:pt>
                <c:pt idx="3999">
                  <c:v>3379.8</c:v>
                </c:pt>
                <c:pt idx="4000">
                  <c:v>3417.24</c:v>
                </c:pt>
                <c:pt idx="4001">
                  <c:v>3403.59</c:v>
                </c:pt>
                <c:pt idx="4002">
                  <c:v>3438.86</c:v>
                </c:pt>
                <c:pt idx="4003">
                  <c:v>3290.9</c:v>
                </c:pt>
                <c:pt idx="4004">
                  <c:v>3288.69</c:v>
                </c:pt>
                <c:pt idx="4005">
                  <c:v>3281.6</c:v>
                </c:pt>
                <c:pt idx="4006">
                  <c:v>3124.11</c:v>
                </c:pt>
                <c:pt idx="4007">
                  <c:v>3170.73</c:v>
                </c:pt>
                <c:pt idx="4008">
                  <c:v>3126.45</c:v>
                </c:pt>
                <c:pt idx="4009">
                  <c:v>3100.97</c:v>
                </c:pt>
                <c:pt idx="4010">
                  <c:v>3118.25</c:v>
                </c:pt>
                <c:pt idx="4011">
                  <c:v>3044.39</c:v>
                </c:pt>
                <c:pt idx="4012">
                  <c:v>3134.95</c:v>
                </c:pt>
                <c:pt idx="4013">
                  <c:v>3270.27</c:v>
                </c:pt>
                <c:pt idx="4014">
                  <c:v>3183.43</c:v>
                </c:pt>
                <c:pt idx="4015">
                  <c:v>3188.2</c:v>
                </c:pt>
                <c:pt idx="4016">
                  <c:v>3194.31</c:v>
                </c:pt>
                <c:pt idx="4017">
                  <c:v>3173.64</c:v>
                </c:pt>
                <c:pt idx="4018">
                  <c:v>3076.89</c:v>
                </c:pt>
                <c:pt idx="4019">
                  <c:v>3110.26</c:v>
                </c:pt>
                <c:pt idx="4020">
                  <c:v>3153.82</c:v>
                </c:pt>
                <c:pt idx="4021">
                  <c:v>3177.03</c:v>
                </c:pt>
                <c:pt idx="4022">
                  <c:v>3290.25</c:v>
                </c:pt>
                <c:pt idx="4023">
                  <c:v>3262.84</c:v>
                </c:pt>
                <c:pt idx="4024">
                  <c:v>3243.15</c:v>
                </c:pt>
                <c:pt idx="4025">
                  <c:v>3221.91</c:v>
                </c:pt>
                <c:pt idx="4026">
                  <c:v>3212.77</c:v>
                </c:pt>
                <c:pt idx="4027">
                  <c:v>3167.44</c:v>
                </c:pt>
                <c:pt idx="4028">
                  <c:v>3205.14</c:v>
                </c:pt>
                <c:pt idx="4029">
                  <c:v>3237.38</c:v>
                </c:pt>
                <c:pt idx="4030">
                  <c:v>3204.94</c:v>
                </c:pt>
                <c:pt idx="4031">
                  <c:v>3242.37</c:v>
                </c:pt>
                <c:pt idx="4032">
                  <c:v>3257.67</c:v>
                </c:pt>
                <c:pt idx="4033">
                  <c:v>3294.6</c:v>
                </c:pt>
                <c:pt idx="4034">
                  <c:v>3218.41</c:v>
                </c:pt>
                <c:pt idx="4035">
                  <c:v>3226.49</c:v>
                </c:pt>
                <c:pt idx="4036">
                  <c:v>3214.43</c:v>
                </c:pt>
                <c:pt idx="4037">
                  <c:v>3143.48</c:v>
                </c:pt>
                <c:pt idx="4038">
                  <c:v>3141.24</c:v>
                </c:pt>
                <c:pt idx="4039">
                  <c:v>3137.24</c:v>
                </c:pt>
                <c:pt idx="4040">
                  <c:v>3178.93</c:v>
                </c:pt>
                <c:pt idx="4041">
                  <c:v>3137.65</c:v>
                </c:pt>
                <c:pt idx="4042">
                  <c:v>3172.69</c:v>
                </c:pt>
                <c:pt idx="4043">
                  <c:v>3260.95</c:v>
                </c:pt>
                <c:pt idx="4044">
                  <c:v>3267.71</c:v>
                </c:pt>
                <c:pt idx="4045">
                  <c:v>3252</c:v>
                </c:pt>
                <c:pt idx="4046">
                  <c:v>3181.67</c:v>
                </c:pt>
                <c:pt idx="4047">
                  <c:v>3181.56</c:v>
                </c:pt>
                <c:pt idx="4048">
                  <c:v>3144.76</c:v>
                </c:pt>
                <c:pt idx="4049">
                  <c:v>3159.82</c:v>
                </c:pt>
                <c:pt idx="4050">
                  <c:v>3170.61</c:v>
                </c:pt>
                <c:pt idx="4051">
                  <c:v>3219.69</c:v>
                </c:pt>
                <c:pt idx="4052">
                  <c:v>3165.91</c:v>
                </c:pt>
                <c:pt idx="4053">
                  <c:v>3161.2</c:v>
                </c:pt>
                <c:pt idx="4054">
                  <c:v>3128.43</c:v>
                </c:pt>
                <c:pt idx="4055">
                  <c:v>3091.13</c:v>
                </c:pt>
                <c:pt idx="4056">
                  <c:v>3067.42</c:v>
                </c:pt>
                <c:pt idx="4057">
                  <c:v>3029.4</c:v>
                </c:pt>
                <c:pt idx="4058">
                  <c:v>3038.2</c:v>
                </c:pt>
                <c:pt idx="4059">
                  <c:v>3017.28</c:v>
                </c:pt>
                <c:pt idx="4060">
                  <c:v>3002.03</c:v>
                </c:pt>
                <c:pt idx="4061">
                  <c:v>2990.51</c:v>
                </c:pt>
                <c:pt idx="4062">
                  <c:v>3010.65</c:v>
                </c:pt>
                <c:pt idx="4063">
                  <c:v>2969.54</c:v>
                </c:pt>
                <c:pt idx="4064">
                  <c:v>2964.84</c:v>
                </c:pt>
                <c:pt idx="4065">
                  <c:v>3035.87</c:v>
                </c:pt>
                <c:pt idx="4066">
                  <c:v>3054.3</c:v>
                </c:pt>
                <c:pt idx="4067">
                  <c:v>3047.7</c:v>
                </c:pt>
                <c:pt idx="4068">
                  <c:v>3078.48</c:v>
                </c:pt>
                <c:pt idx="4069">
                  <c:v>3072.69</c:v>
                </c:pt>
                <c:pt idx="4070">
                  <c:v>3094.78</c:v>
                </c:pt>
                <c:pt idx="4071">
                  <c:v>3067.78</c:v>
                </c:pt>
                <c:pt idx="4072">
                  <c:v>3127.99</c:v>
                </c:pt>
                <c:pt idx="4073">
                  <c:v>3128.65</c:v>
                </c:pt>
                <c:pt idx="4074">
                  <c:v>3111.42</c:v>
                </c:pt>
                <c:pt idx="4075">
                  <c:v>3168.17</c:v>
                </c:pt>
                <c:pt idx="4076">
                  <c:v>3185.64</c:v>
                </c:pt>
                <c:pt idx="4077">
                  <c:v>3143.32</c:v>
                </c:pt>
                <c:pt idx="4078">
                  <c:v>3141.05</c:v>
                </c:pt>
                <c:pt idx="4079">
                  <c:v>3158.78</c:v>
                </c:pt>
                <c:pt idx="4080">
                  <c:v>3184.47</c:v>
                </c:pt>
                <c:pt idx="4081">
                  <c:v>3183.78</c:v>
                </c:pt>
                <c:pt idx="4082">
                  <c:v>3193.97</c:v>
                </c:pt>
                <c:pt idx="4083">
                  <c:v>3168.48</c:v>
                </c:pt>
                <c:pt idx="4084">
                  <c:v>3201.63</c:v>
                </c:pt>
                <c:pt idx="4085">
                  <c:v>3247.4</c:v>
                </c:pt>
                <c:pt idx="4086">
                  <c:v>3306.47</c:v>
                </c:pt>
                <c:pt idx="4087">
                  <c:v>3330.34</c:v>
                </c:pt>
                <c:pt idx="4088">
                  <c:v>3397.03</c:v>
                </c:pt>
                <c:pt idx="4089">
                  <c:v>3402.14</c:v>
                </c:pt>
                <c:pt idx="4090">
                  <c:v>3338.7</c:v>
                </c:pt>
                <c:pt idx="4091">
                  <c:v>3445.74</c:v>
                </c:pt>
                <c:pt idx="4092">
                  <c:v>3439.61</c:v>
                </c:pt>
                <c:pt idx="4093">
                  <c:v>3451.93</c:v>
                </c:pt>
                <c:pt idx="4094">
                  <c:v>3442.71</c:v>
                </c:pt>
                <c:pt idx="4095">
                  <c:v>3520.12</c:v>
                </c:pt>
                <c:pt idx="4096">
                  <c:v>3729.48</c:v>
                </c:pt>
                <c:pt idx="4097">
                  <c:v>3684.69</c:v>
                </c:pt>
                <c:pt idx="4098">
                  <c:v>3678.39</c:v>
                </c:pt>
                <c:pt idx="4099">
                  <c:v>3669.37</c:v>
                </c:pt>
                <c:pt idx="4100">
                  <c:v>3749.71</c:v>
                </c:pt>
                <c:pt idx="4101">
                  <c:v>3794.1</c:v>
                </c:pt>
                <c:pt idx="4102">
                  <c:v>3816.01</c:v>
                </c:pt>
                <c:pt idx="4103">
                  <c:v>3848.09</c:v>
                </c:pt>
                <c:pt idx="4104">
                  <c:v>3808.85</c:v>
                </c:pt>
                <c:pt idx="4105">
                  <c:v>3657.58</c:v>
                </c:pt>
                <c:pt idx="4106">
                  <c:v>3729.95</c:v>
                </c:pt>
                <c:pt idx="4107">
                  <c:v>3755.35</c:v>
                </c:pt>
                <c:pt idx="4108">
                  <c:v>3724.19</c:v>
                </c:pt>
                <c:pt idx="4109">
                  <c:v>3698.49</c:v>
                </c:pt>
                <c:pt idx="4110">
                  <c:v>3745.01</c:v>
                </c:pt>
                <c:pt idx="4111">
                  <c:v>3851.75</c:v>
                </c:pt>
                <c:pt idx="4112">
                  <c:v>3833.96</c:v>
                </c:pt>
                <c:pt idx="4113">
                  <c:v>3835.44</c:v>
                </c:pt>
                <c:pt idx="4114">
                  <c:v>3836.89</c:v>
                </c:pt>
                <c:pt idx="4115">
                  <c:v>3833.8</c:v>
                </c:pt>
                <c:pt idx="4116">
                  <c:v>3742.83</c:v>
                </c:pt>
                <c:pt idx="4117">
                  <c:v>3700.44</c:v>
                </c:pt>
                <c:pt idx="4118">
                  <c:v>3743.39</c:v>
                </c:pt>
                <c:pt idx="4119">
                  <c:v>3728.4</c:v>
                </c:pt>
                <c:pt idx="4120">
                  <c:v>3872.34</c:v>
                </c:pt>
                <c:pt idx="4121">
                  <c:v>3973.93</c:v>
                </c:pt>
                <c:pt idx="4122">
                  <c:v>3971.29</c:v>
                </c:pt>
                <c:pt idx="4123">
                  <c:v>4022.16</c:v>
                </c:pt>
                <c:pt idx="4124">
                  <c:v>4062.23</c:v>
                </c:pt>
                <c:pt idx="4125">
                  <c:v>4057.23</c:v>
                </c:pt>
                <c:pt idx="4126">
                  <c:v>4075.43</c:v>
                </c:pt>
                <c:pt idx="4127">
                  <c:v>4085.85</c:v>
                </c:pt>
                <c:pt idx="4128">
                  <c:v>3997.58</c:v>
                </c:pt>
                <c:pt idx="4129">
                  <c:v>3988.62</c:v>
                </c:pt>
                <c:pt idx="4130">
                  <c:v>3975.52</c:v>
                </c:pt>
                <c:pt idx="4131">
                  <c:v>4085.79</c:v>
                </c:pt>
                <c:pt idx="4132">
                  <c:v>4087.24</c:v>
                </c:pt>
                <c:pt idx="4133">
                  <c:v>4072.08</c:v>
                </c:pt>
                <c:pt idx="4134">
                  <c:v>4120.6099999999997</c:v>
                </c:pt>
                <c:pt idx="4135">
                  <c:v>4025.61</c:v>
                </c:pt>
                <c:pt idx="4136">
                  <c:v>4019.01</c:v>
                </c:pt>
                <c:pt idx="4137">
                  <c:v>4030.09</c:v>
                </c:pt>
                <c:pt idx="4138">
                  <c:v>3941.82</c:v>
                </c:pt>
                <c:pt idx="4139">
                  <c:v>3889.27</c:v>
                </c:pt>
                <c:pt idx="4140">
                  <c:v>3900.33</c:v>
                </c:pt>
                <c:pt idx="4141">
                  <c:v>3913.21</c:v>
                </c:pt>
                <c:pt idx="4142">
                  <c:v>3684.62</c:v>
                </c:pt>
                <c:pt idx="4143">
                  <c:v>3720.67</c:v>
                </c:pt>
                <c:pt idx="4144">
                  <c:v>3667.46</c:v>
                </c:pt>
                <c:pt idx="4145">
                  <c:v>3599.7</c:v>
                </c:pt>
                <c:pt idx="4146">
                  <c:v>3730.45</c:v>
                </c:pt>
                <c:pt idx="4147">
                  <c:v>3668.73</c:v>
                </c:pt>
                <c:pt idx="4148">
                  <c:v>3645.15</c:v>
                </c:pt>
                <c:pt idx="4149">
                  <c:v>3727.09</c:v>
                </c:pt>
                <c:pt idx="4150">
                  <c:v>3743.96</c:v>
                </c:pt>
                <c:pt idx="4151">
                  <c:v>3648.76</c:v>
                </c:pt>
                <c:pt idx="4152">
                  <c:v>3617.79</c:v>
                </c:pt>
                <c:pt idx="4153">
                  <c:v>3666.78</c:v>
                </c:pt>
                <c:pt idx="4154">
                  <c:v>3649.38</c:v>
                </c:pt>
                <c:pt idx="4155">
                  <c:v>3583.96</c:v>
                </c:pt>
                <c:pt idx="4156">
                  <c:v>3593.91</c:v>
                </c:pt>
                <c:pt idx="4157">
                  <c:v>3637.2</c:v>
                </c:pt>
                <c:pt idx="4158">
                  <c:v>3672.26</c:v>
                </c:pt>
                <c:pt idx="4159">
                  <c:v>3663.91</c:v>
                </c:pt>
                <c:pt idx="4160">
                  <c:v>3641.18</c:v>
                </c:pt>
                <c:pt idx="4161">
                  <c:v>3629.79</c:v>
                </c:pt>
                <c:pt idx="4162">
                  <c:v>3632.01</c:v>
                </c:pt>
                <c:pt idx="4163">
                  <c:v>3598.47</c:v>
                </c:pt>
                <c:pt idx="4164">
                  <c:v>3597.11</c:v>
                </c:pt>
                <c:pt idx="4165">
                  <c:v>3564.68</c:v>
                </c:pt>
                <c:pt idx="4166">
                  <c:v>3610.74</c:v>
                </c:pt>
                <c:pt idx="4167">
                  <c:v>3719.28</c:v>
                </c:pt>
                <c:pt idx="4168">
                  <c:v>3691.1</c:v>
                </c:pt>
                <c:pt idx="4169">
                  <c:v>3685.39</c:v>
                </c:pt>
                <c:pt idx="4170">
                  <c:v>3654.88</c:v>
                </c:pt>
                <c:pt idx="4171">
                  <c:v>3654.82</c:v>
                </c:pt>
                <c:pt idx="4172">
                  <c:v>3667.62</c:v>
                </c:pt>
                <c:pt idx="4173">
                  <c:v>3715.94</c:v>
                </c:pt>
                <c:pt idx="4174">
                  <c:v>3828.52</c:v>
                </c:pt>
                <c:pt idx="4175">
                  <c:v>3833.94</c:v>
                </c:pt>
                <c:pt idx="4176">
                  <c:v>3841.27</c:v>
                </c:pt>
                <c:pt idx="4177">
                  <c:v>3801.31</c:v>
                </c:pt>
                <c:pt idx="4178">
                  <c:v>3794.33</c:v>
                </c:pt>
                <c:pt idx="4179">
                  <c:v>3834.82</c:v>
                </c:pt>
                <c:pt idx="4180">
                  <c:v>3825.59</c:v>
                </c:pt>
                <c:pt idx="4181">
                  <c:v>3935.81</c:v>
                </c:pt>
                <c:pt idx="4182">
                  <c:v>3937.17</c:v>
                </c:pt>
                <c:pt idx="4183">
                  <c:v>3893.53</c:v>
                </c:pt>
                <c:pt idx="4184">
                  <c:v>3873.1</c:v>
                </c:pt>
                <c:pt idx="4185">
                  <c:v>3893.2</c:v>
                </c:pt>
                <c:pt idx="4186">
                  <c:v>3802.79</c:v>
                </c:pt>
                <c:pt idx="4187">
                  <c:v>3793.13</c:v>
                </c:pt>
                <c:pt idx="4188">
                  <c:v>3786.74</c:v>
                </c:pt>
                <c:pt idx="4189">
                  <c:v>3785.22</c:v>
                </c:pt>
                <c:pt idx="4190">
                  <c:v>3808.73</c:v>
                </c:pt>
                <c:pt idx="4191">
                  <c:v>3824.19</c:v>
                </c:pt>
                <c:pt idx="4192">
                  <c:v>3806.84</c:v>
                </c:pt>
                <c:pt idx="4193">
                  <c:v>3804.64</c:v>
                </c:pt>
                <c:pt idx="4194">
                  <c:v>3768.4</c:v>
                </c:pt>
                <c:pt idx="4195">
                  <c:v>3807.96</c:v>
                </c:pt>
                <c:pt idx="4196">
                  <c:v>3781.68</c:v>
                </c:pt>
                <c:pt idx="4197">
                  <c:v>3789.91</c:v>
                </c:pt>
                <c:pt idx="4198">
                  <c:v>3819.83</c:v>
                </c:pt>
                <c:pt idx="4199">
                  <c:v>3851.07</c:v>
                </c:pt>
                <c:pt idx="4200">
                  <c:v>3858.57</c:v>
                </c:pt>
                <c:pt idx="4201">
                  <c:v>3854.27</c:v>
                </c:pt>
                <c:pt idx="4202">
                  <c:v>3870.32</c:v>
                </c:pt>
                <c:pt idx="4203">
                  <c:v>3835.36</c:v>
                </c:pt>
                <c:pt idx="4204">
                  <c:v>3803.47</c:v>
                </c:pt>
                <c:pt idx="4205">
                  <c:v>3747.44</c:v>
                </c:pt>
                <c:pt idx="4206">
                  <c:v>3675.69</c:v>
                </c:pt>
                <c:pt idx="4207">
                  <c:v>3636.33</c:v>
                </c:pt>
                <c:pt idx="4208">
                  <c:v>3621.43</c:v>
                </c:pt>
                <c:pt idx="4209">
                  <c:v>3669.29</c:v>
                </c:pt>
                <c:pt idx="4210">
                  <c:v>3633.53</c:v>
                </c:pt>
                <c:pt idx="4211">
                  <c:v>3699.1</c:v>
                </c:pt>
                <c:pt idx="4212">
                  <c:v>3665.75</c:v>
                </c:pt>
                <c:pt idx="4213">
                  <c:v>3682.4</c:v>
                </c:pt>
                <c:pt idx="4214">
                  <c:v>3694</c:v>
                </c:pt>
                <c:pt idx="4215">
                  <c:v>3710.54</c:v>
                </c:pt>
                <c:pt idx="4216">
                  <c:v>3791.09</c:v>
                </c:pt>
                <c:pt idx="4217">
                  <c:v>3787.73</c:v>
                </c:pt>
                <c:pt idx="4218">
                  <c:v>3781.76</c:v>
                </c:pt>
                <c:pt idx="4219">
                  <c:v>3793.51</c:v>
                </c:pt>
                <c:pt idx="4220">
                  <c:v>3820.86</c:v>
                </c:pt>
                <c:pt idx="4221">
                  <c:v>3765.91</c:v>
                </c:pt>
                <c:pt idx="4222">
                  <c:v>3816.95</c:v>
                </c:pt>
                <c:pt idx="4223">
                  <c:v>3802.58</c:v>
                </c:pt>
                <c:pt idx="4224">
                  <c:v>3790.19</c:v>
                </c:pt>
                <c:pt idx="4225">
                  <c:v>3799.59</c:v>
                </c:pt>
                <c:pt idx="4226">
                  <c:v>3848.32</c:v>
                </c:pt>
                <c:pt idx="4227">
                  <c:v>3853.61</c:v>
                </c:pt>
                <c:pt idx="4228">
                  <c:v>3886</c:v>
                </c:pt>
                <c:pt idx="4229">
                  <c:v>3925.32</c:v>
                </c:pt>
                <c:pt idx="4230">
                  <c:v>3948.51</c:v>
                </c:pt>
                <c:pt idx="4231">
                  <c:v>3972.95</c:v>
                </c:pt>
                <c:pt idx="4232">
                  <c:v>3959.27</c:v>
                </c:pt>
                <c:pt idx="4233">
                  <c:v>3930.1</c:v>
                </c:pt>
                <c:pt idx="4234">
                  <c:v>3972.38</c:v>
                </c:pt>
                <c:pt idx="4235">
                  <c:v>3957.72</c:v>
                </c:pt>
                <c:pt idx="4236">
                  <c:v>3891.22</c:v>
                </c:pt>
                <c:pt idx="4237">
                  <c:v>3910.08</c:v>
                </c:pt>
                <c:pt idx="4238">
                  <c:v>3924.38</c:v>
                </c:pt>
                <c:pt idx="4239">
                  <c:v>3935.65</c:v>
                </c:pt>
                <c:pt idx="4240">
                  <c:v>3890.66</c:v>
                </c:pt>
                <c:pt idx="4241">
                  <c:v>3901.08</c:v>
                </c:pt>
                <c:pt idx="4242">
                  <c:v>3870.98</c:v>
                </c:pt>
                <c:pt idx="4243">
                  <c:v>3841.14</c:v>
                </c:pt>
                <c:pt idx="4244">
                  <c:v>3852.65</c:v>
                </c:pt>
                <c:pt idx="4245">
                  <c:v>3814.53</c:v>
                </c:pt>
                <c:pt idx="4246">
                  <c:v>3837.68</c:v>
                </c:pt>
                <c:pt idx="4247">
                  <c:v>3843.24</c:v>
                </c:pt>
                <c:pt idx="4248">
                  <c:v>3874.64</c:v>
                </c:pt>
                <c:pt idx="4249">
                  <c:v>3911.73</c:v>
                </c:pt>
                <c:pt idx="4250">
                  <c:v>3953.24</c:v>
                </c:pt>
                <c:pt idx="4251">
                  <c:v>3936.25</c:v>
                </c:pt>
                <c:pt idx="4252">
                  <c:v>3922.69</c:v>
                </c:pt>
                <c:pt idx="4253">
                  <c:v>3925.22</c:v>
                </c:pt>
                <c:pt idx="4254">
                  <c:v>3869.38</c:v>
                </c:pt>
                <c:pt idx="4255">
                  <c:v>3880.84</c:v>
                </c:pt>
                <c:pt idx="4256">
                  <c:v>3895.88</c:v>
                </c:pt>
                <c:pt idx="4257">
                  <c:v>3871.08</c:v>
                </c:pt>
                <c:pt idx="4258">
                  <c:v>3870.67</c:v>
                </c:pt>
                <c:pt idx="4259">
                  <c:v>3896.79</c:v>
                </c:pt>
                <c:pt idx="4260">
                  <c:v>3926.59</c:v>
                </c:pt>
                <c:pt idx="4261">
                  <c:v>3910.23</c:v>
                </c:pt>
                <c:pt idx="4262">
                  <c:v>3891.23</c:v>
                </c:pt>
                <c:pt idx="4263">
                  <c:v>3886.75</c:v>
                </c:pt>
                <c:pt idx="4264">
                  <c:v>3952.39</c:v>
                </c:pt>
                <c:pt idx="4265">
                  <c:v>3978.12</c:v>
                </c:pt>
                <c:pt idx="4266">
                  <c:v>4002.81</c:v>
                </c:pt>
                <c:pt idx="4267">
                  <c:v>3984.88</c:v>
                </c:pt>
                <c:pt idx="4268">
                  <c:v>3991.87</c:v>
                </c:pt>
                <c:pt idx="4269">
                  <c:v>3973.01</c:v>
                </c:pt>
                <c:pt idx="4270">
                  <c:v>3902.98</c:v>
                </c:pt>
                <c:pt idx="4271">
                  <c:v>3903.69</c:v>
                </c:pt>
                <c:pt idx="4272">
                  <c:v>3899.98</c:v>
                </c:pt>
                <c:pt idx="4273">
                  <c:v>3905.86</c:v>
                </c:pt>
                <c:pt idx="4274">
                  <c:v>3877.09</c:v>
                </c:pt>
                <c:pt idx="4275">
                  <c:v>3907.93</c:v>
                </c:pt>
                <c:pt idx="4276">
                  <c:v>3947.04</c:v>
                </c:pt>
                <c:pt idx="4277">
                  <c:v>3907.86</c:v>
                </c:pt>
                <c:pt idx="4278">
                  <c:v>3889.6</c:v>
                </c:pt>
                <c:pt idx="4279">
                  <c:v>3849.99</c:v>
                </c:pt>
                <c:pt idx="4280">
                  <c:v>3878.21</c:v>
                </c:pt>
                <c:pt idx="4281">
                  <c:v>3891.65</c:v>
                </c:pt>
                <c:pt idx="4282">
                  <c:v>3875.62</c:v>
                </c:pt>
                <c:pt idx="4283">
                  <c:v>3862.3</c:v>
                </c:pt>
                <c:pt idx="4284">
                  <c:v>3828.67</c:v>
                </c:pt>
                <c:pt idx="4285">
                  <c:v>3836.06</c:v>
                </c:pt>
                <c:pt idx="4286">
                  <c:v>3851.09</c:v>
                </c:pt>
                <c:pt idx="4287">
                  <c:v>3849.82</c:v>
                </c:pt>
                <c:pt idx="4288">
                  <c:v>3879.36</c:v>
                </c:pt>
                <c:pt idx="4289">
                  <c:v>3902.39</c:v>
                </c:pt>
                <c:pt idx="4290">
                  <c:v>3895.45</c:v>
                </c:pt>
                <c:pt idx="4291">
                  <c:v>3900.38</c:v>
                </c:pt>
                <c:pt idx="4292">
                  <c:v>3902.75</c:v>
                </c:pt>
                <c:pt idx="4293">
                  <c:v>3891.02</c:v>
                </c:pt>
                <c:pt idx="4294">
                  <c:v>3968.22</c:v>
                </c:pt>
                <c:pt idx="4295">
                  <c:v>3987.55</c:v>
                </c:pt>
                <c:pt idx="4296">
                  <c:v>4041.8</c:v>
                </c:pt>
                <c:pt idx="4297">
                  <c:v>4032.78</c:v>
                </c:pt>
                <c:pt idx="4298">
                  <c:v>4027.15</c:v>
                </c:pt>
                <c:pt idx="4299">
                  <c:v>4017.25</c:v>
                </c:pt>
                <c:pt idx="4300">
                  <c:v>3967.1</c:v>
                </c:pt>
                <c:pt idx="4301">
                  <c:v>3992.96</c:v>
                </c:pt>
                <c:pt idx="4302">
                  <c:v>3990.87</c:v>
                </c:pt>
                <c:pt idx="4303">
                  <c:v>4025.99</c:v>
                </c:pt>
                <c:pt idx="4304">
                  <c:v>4022.03</c:v>
                </c:pt>
                <c:pt idx="4305">
                  <c:v>4081.63</c:v>
                </c:pt>
                <c:pt idx="4306">
                  <c:v>4096.58</c:v>
                </c:pt>
                <c:pt idx="4307">
                  <c:v>4152.24</c:v>
                </c:pt>
                <c:pt idx="4308">
                  <c:v>4144.96</c:v>
                </c:pt>
                <c:pt idx="4309">
                  <c:v>4129.3</c:v>
                </c:pt>
                <c:pt idx="4310">
                  <c:v>4160.2299999999996</c:v>
                </c:pt>
                <c:pt idx="4311">
                  <c:v>4112.32</c:v>
                </c:pt>
                <c:pt idx="4312">
                  <c:v>4164.37</c:v>
                </c:pt>
                <c:pt idx="4313">
                  <c:v>4163.18</c:v>
                </c:pt>
                <c:pt idx="4314">
                  <c:v>4203.99</c:v>
                </c:pt>
                <c:pt idx="4315">
                  <c:v>4189.8900000000003</c:v>
                </c:pt>
                <c:pt idx="4316">
                  <c:v>4166.7299999999996</c:v>
                </c:pt>
                <c:pt idx="4317">
                  <c:v>4149.04</c:v>
                </c:pt>
                <c:pt idx="4318">
                  <c:v>4154.8500000000004</c:v>
                </c:pt>
                <c:pt idx="4319">
                  <c:v>4185.83</c:v>
                </c:pt>
                <c:pt idx="4320">
                  <c:v>4114.3100000000004</c:v>
                </c:pt>
                <c:pt idx="4321">
                  <c:v>4131.93</c:v>
                </c:pt>
                <c:pt idx="4322">
                  <c:v>4003.9</c:v>
                </c:pt>
                <c:pt idx="4323">
                  <c:v>3688.36</c:v>
                </c:pt>
                <c:pt idx="4324">
                  <c:v>3785.64</c:v>
                </c:pt>
                <c:pt idx="4325">
                  <c:v>3828.53</c:v>
                </c:pt>
                <c:pt idx="4326">
                  <c:v>3899.78</c:v>
                </c:pt>
                <c:pt idx="4327">
                  <c:v>3899.87</c:v>
                </c:pt>
                <c:pt idx="4328">
                  <c:v>3916.01</c:v>
                </c:pt>
                <c:pt idx="4329">
                  <c:v>3952.46</c:v>
                </c:pt>
                <c:pt idx="4330">
                  <c:v>3984.43</c:v>
                </c:pt>
                <c:pt idx="4331">
                  <c:v>3959.92</c:v>
                </c:pt>
                <c:pt idx="4332">
                  <c:v>3987.73</c:v>
                </c:pt>
                <c:pt idx="4333">
                  <c:v>4077.42</c:v>
                </c:pt>
                <c:pt idx="4334">
                  <c:v>4057.51</c:v>
                </c:pt>
                <c:pt idx="4335">
                  <c:v>4051.31</c:v>
                </c:pt>
                <c:pt idx="4336">
                  <c:v>4144.66</c:v>
                </c:pt>
                <c:pt idx="4337">
                  <c:v>4149.49</c:v>
                </c:pt>
                <c:pt idx="4338">
                  <c:v>4132.84</c:v>
                </c:pt>
                <c:pt idx="4339">
                  <c:v>4123.8500000000004</c:v>
                </c:pt>
                <c:pt idx="4340">
                  <c:v>4073.02</c:v>
                </c:pt>
                <c:pt idx="4341">
                  <c:v>4084.88</c:v>
                </c:pt>
                <c:pt idx="4342">
                  <c:v>3940.05</c:v>
                </c:pt>
                <c:pt idx="4343">
                  <c:v>4069.67</c:v>
                </c:pt>
                <c:pt idx="4344">
                  <c:v>4091.36</c:v>
                </c:pt>
                <c:pt idx="4345">
                  <c:v>4115.05</c:v>
                </c:pt>
                <c:pt idx="4346">
                  <c:v>4206.7299999999996</c:v>
                </c:pt>
                <c:pt idx="4347">
                  <c:v>4138.51</c:v>
                </c:pt>
                <c:pt idx="4348">
                  <c:v>3997.13</c:v>
                </c:pt>
                <c:pt idx="4349">
                  <c:v>4082.73</c:v>
                </c:pt>
                <c:pt idx="4350">
                  <c:v>4028.43</c:v>
                </c:pt>
                <c:pt idx="4351">
                  <c:v>3950.91</c:v>
                </c:pt>
                <c:pt idx="4352">
                  <c:v>3895.31</c:v>
                </c:pt>
                <c:pt idx="4353">
                  <c:v>3727.84</c:v>
                </c:pt>
                <c:pt idx="4354">
                  <c:v>3709.68</c:v>
                </c:pt>
                <c:pt idx="4355">
                  <c:v>3636.26</c:v>
                </c:pt>
                <c:pt idx="4356">
                  <c:v>3589.09</c:v>
                </c:pt>
                <c:pt idx="4357">
                  <c:v>3653.22</c:v>
                </c:pt>
                <c:pt idx="4358">
                  <c:v>3530.31</c:v>
                </c:pt>
                <c:pt idx="4359">
                  <c:v>3625.11</c:v>
                </c:pt>
                <c:pt idx="4360">
                  <c:v>3722.52</c:v>
                </c:pt>
                <c:pt idx="4361">
                  <c:v>3698.05</c:v>
                </c:pt>
                <c:pt idx="4362">
                  <c:v>3710.06</c:v>
                </c:pt>
                <c:pt idx="4363">
                  <c:v>3674.11</c:v>
                </c:pt>
                <c:pt idx="4364">
                  <c:v>3686.16</c:v>
                </c:pt>
                <c:pt idx="4365">
                  <c:v>3675.08</c:v>
                </c:pt>
                <c:pt idx="4366">
                  <c:v>3734.53</c:v>
                </c:pt>
                <c:pt idx="4367">
                  <c:v>3713.22</c:v>
                </c:pt>
                <c:pt idx="4368">
                  <c:v>3798.02</c:v>
                </c:pt>
                <c:pt idx="4369">
                  <c:v>3780.34</c:v>
                </c:pt>
                <c:pt idx="4370">
                  <c:v>3792.81</c:v>
                </c:pt>
                <c:pt idx="4371">
                  <c:v>3769.18</c:v>
                </c:pt>
                <c:pt idx="4372">
                  <c:v>3753.26</c:v>
                </c:pt>
                <c:pt idx="4373">
                  <c:v>3825.7</c:v>
                </c:pt>
                <c:pt idx="4374">
                  <c:v>3797.36</c:v>
                </c:pt>
                <c:pt idx="4375">
                  <c:v>3802.38</c:v>
                </c:pt>
                <c:pt idx="4376">
                  <c:v>3839.49</c:v>
                </c:pt>
                <c:pt idx="4377">
                  <c:v>3853.46</c:v>
                </c:pt>
                <c:pt idx="4378">
                  <c:v>3808.05</c:v>
                </c:pt>
                <c:pt idx="4379">
                  <c:v>3839.38</c:v>
                </c:pt>
                <c:pt idx="4380">
                  <c:v>3829.75</c:v>
                </c:pt>
                <c:pt idx="4381">
                  <c:v>3796.97</c:v>
                </c:pt>
                <c:pt idx="4382">
                  <c:v>3822.77</c:v>
                </c:pt>
                <c:pt idx="4383">
                  <c:v>3849.15</c:v>
                </c:pt>
                <c:pt idx="4384">
                  <c:v>3867.03</c:v>
                </c:pt>
                <c:pt idx="4385">
                  <c:v>3912.58</c:v>
                </c:pt>
                <c:pt idx="4386">
                  <c:v>3936.25</c:v>
                </c:pt>
                <c:pt idx="4387">
                  <c:v>3924.89</c:v>
                </c:pt>
                <c:pt idx="4388">
                  <c:v>3963.62</c:v>
                </c:pt>
                <c:pt idx="4389">
                  <c:v>3960.18</c:v>
                </c:pt>
                <c:pt idx="4390">
                  <c:v>3960.24</c:v>
                </c:pt>
                <c:pt idx="4391">
                  <c:v>3968.25</c:v>
                </c:pt>
                <c:pt idx="4392">
                  <c:v>3925.22</c:v>
                </c:pt>
                <c:pt idx="4393">
                  <c:v>3912.82</c:v>
                </c:pt>
                <c:pt idx="4394">
                  <c:v>3922.91</c:v>
                </c:pt>
                <c:pt idx="4395">
                  <c:v>3956.25</c:v>
                </c:pt>
                <c:pt idx="4396">
                  <c:v>3935.22</c:v>
                </c:pt>
                <c:pt idx="4397">
                  <c:v>3913.79</c:v>
                </c:pt>
                <c:pt idx="4398">
                  <c:v>3824.06</c:v>
                </c:pt>
                <c:pt idx="4399">
                  <c:v>3829.32</c:v>
                </c:pt>
                <c:pt idx="4400">
                  <c:v>3872.77</c:v>
                </c:pt>
                <c:pt idx="4401">
                  <c:v>3845.61</c:v>
                </c:pt>
                <c:pt idx="4402">
                  <c:v>3856.63</c:v>
                </c:pt>
                <c:pt idx="4403">
                  <c:v>3867.02</c:v>
                </c:pt>
                <c:pt idx="4404">
                  <c:v>3971.34</c:v>
                </c:pt>
                <c:pt idx="4405">
                  <c:v>3983.57</c:v>
                </c:pt>
                <c:pt idx="4406">
                  <c:v>3983.65</c:v>
                </c:pt>
                <c:pt idx="4407">
                  <c:v>3982.19</c:v>
                </c:pt>
                <c:pt idx="4408">
                  <c:v>4001.25</c:v>
                </c:pt>
                <c:pt idx="4409">
                  <c:v>4021.95</c:v>
                </c:pt>
                <c:pt idx="4410">
                  <c:v>4047.03</c:v>
                </c:pt>
                <c:pt idx="4411">
                  <c:v>4039.71</c:v>
                </c:pt>
                <c:pt idx="4412">
                  <c:v>3995.88</c:v>
                </c:pt>
                <c:pt idx="4413">
                  <c:v>4003.08</c:v>
                </c:pt>
                <c:pt idx="4414">
                  <c:v>3954.99</c:v>
                </c:pt>
                <c:pt idx="4415">
                  <c:v>4014.57</c:v>
                </c:pt>
                <c:pt idx="4416">
                  <c:v>4017.59</c:v>
                </c:pt>
                <c:pt idx="4417">
                  <c:v>4044.38</c:v>
                </c:pt>
                <c:pt idx="4418">
                  <c:v>4098.71</c:v>
                </c:pt>
                <c:pt idx="4419">
                  <c:v>4102.05</c:v>
                </c:pt>
                <c:pt idx="4420">
                  <c:v>4121.79</c:v>
                </c:pt>
                <c:pt idx="4421">
                  <c:v>4138.99</c:v>
                </c:pt>
                <c:pt idx="4422">
                  <c:v>4109.72</c:v>
                </c:pt>
                <c:pt idx="4423">
                  <c:v>4163.96</c:v>
                </c:pt>
                <c:pt idx="4424">
                  <c:v>4247.78</c:v>
                </c:pt>
                <c:pt idx="4425">
                  <c:v>4335.84</c:v>
                </c:pt>
                <c:pt idx="4426">
                  <c:v>4419.6000000000004</c:v>
                </c:pt>
                <c:pt idx="4427">
                  <c:v>4670.09</c:v>
                </c:pt>
                <c:pt idx="4428">
                  <c:v>4698.13</c:v>
                </c:pt>
                <c:pt idx="4429">
                  <c:v>4774</c:v>
                </c:pt>
                <c:pt idx="4430">
                  <c:v>4840.7700000000004</c:v>
                </c:pt>
                <c:pt idx="4431">
                  <c:v>4753.13</c:v>
                </c:pt>
                <c:pt idx="4432">
                  <c:v>4852.96</c:v>
                </c:pt>
                <c:pt idx="4433">
                  <c:v>4806.6899999999996</c:v>
                </c:pt>
                <c:pt idx="4434">
                  <c:v>4744.47</c:v>
                </c:pt>
                <c:pt idx="4435">
                  <c:v>4516.25</c:v>
                </c:pt>
                <c:pt idx="4436">
                  <c:v>4544.7</c:v>
                </c:pt>
                <c:pt idx="4437">
                  <c:v>4680.3</c:v>
                </c:pt>
                <c:pt idx="4438">
                  <c:v>4691.04</c:v>
                </c:pt>
                <c:pt idx="4439">
                  <c:v>4714.45</c:v>
                </c:pt>
                <c:pt idx="4440">
                  <c:v>4712.4399999999996</c:v>
                </c:pt>
                <c:pt idx="4441">
                  <c:v>4505.59</c:v>
                </c:pt>
                <c:pt idx="4442">
                  <c:v>4528.45</c:v>
                </c:pt>
                <c:pt idx="4443">
                  <c:v>4568.26</c:v>
                </c:pt>
                <c:pt idx="4444">
                  <c:v>4679.01</c:v>
                </c:pt>
                <c:pt idx="4445">
                  <c:v>4656.1499999999996</c:v>
                </c:pt>
                <c:pt idx="4446">
                  <c:v>4695.05</c:v>
                </c:pt>
                <c:pt idx="4447">
                  <c:v>4771.3100000000004</c:v>
                </c:pt>
                <c:pt idx="4448">
                  <c:v>4775.8</c:v>
                </c:pt>
                <c:pt idx="4449">
                  <c:v>4777.1099999999997</c:v>
                </c:pt>
                <c:pt idx="4450">
                  <c:v>4762.76</c:v>
                </c:pt>
                <c:pt idx="4451">
                  <c:v>4707.93</c:v>
                </c:pt>
                <c:pt idx="4452">
                  <c:v>4724.87</c:v>
                </c:pt>
                <c:pt idx="4453">
                  <c:v>4681.78</c:v>
                </c:pt>
                <c:pt idx="4454">
                  <c:v>4647.6400000000003</c:v>
                </c:pt>
                <c:pt idx="4455">
                  <c:v>4635.71</c:v>
                </c:pt>
                <c:pt idx="4456">
                  <c:v>4704.63</c:v>
                </c:pt>
                <c:pt idx="4457">
                  <c:v>4815.2299999999996</c:v>
                </c:pt>
                <c:pt idx="4458">
                  <c:v>4812.76</c:v>
                </c:pt>
                <c:pt idx="4459">
                  <c:v>4740.68</c:v>
                </c:pt>
                <c:pt idx="4460">
                  <c:v>4679.1499999999996</c:v>
                </c:pt>
                <c:pt idx="4461">
                  <c:v>4718.84</c:v>
                </c:pt>
                <c:pt idx="4462">
                  <c:v>4755.8500000000004</c:v>
                </c:pt>
                <c:pt idx="4463">
                  <c:v>4761.95</c:v>
                </c:pt>
                <c:pt idx="4464">
                  <c:v>4706.13</c:v>
                </c:pt>
                <c:pt idx="4465">
                  <c:v>4731.3500000000004</c:v>
                </c:pt>
                <c:pt idx="4466">
                  <c:v>4844.2700000000004</c:v>
                </c:pt>
                <c:pt idx="4467">
                  <c:v>4816.22</c:v>
                </c:pt>
                <c:pt idx="4468">
                  <c:v>4842.12</c:v>
                </c:pt>
                <c:pt idx="4469">
                  <c:v>4843.8900000000003</c:v>
                </c:pt>
                <c:pt idx="4470">
                  <c:v>4817.1000000000004</c:v>
                </c:pt>
                <c:pt idx="4471">
                  <c:v>4770.22</c:v>
                </c:pt>
                <c:pt idx="4472">
                  <c:v>4669.37</c:v>
                </c:pt>
                <c:pt idx="4473">
                  <c:v>4694.3900000000003</c:v>
                </c:pt>
                <c:pt idx="4474">
                  <c:v>4584.59</c:v>
                </c:pt>
                <c:pt idx="4475">
                  <c:v>4581.9799999999996</c:v>
                </c:pt>
                <c:pt idx="4476">
                  <c:v>4627.28</c:v>
                </c:pt>
                <c:pt idx="4477">
                  <c:v>4651.05</c:v>
                </c:pt>
                <c:pt idx="4478">
                  <c:v>4688.4799999999996</c:v>
                </c:pt>
                <c:pt idx="4479">
                  <c:v>4657.3599999999997</c:v>
                </c:pt>
                <c:pt idx="4480">
                  <c:v>4632.71</c:v>
                </c:pt>
                <c:pt idx="4481">
                  <c:v>4737.09</c:v>
                </c:pt>
                <c:pt idx="4482">
                  <c:v>4691.43</c:v>
                </c:pt>
                <c:pt idx="4483">
                  <c:v>4635.76</c:v>
                </c:pt>
                <c:pt idx="4484">
                  <c:v>4652.33</c:v>
                </c:pt>
                <c:pt idx="4485">
                  <c:v>4563.07</c:v>
                </c:pt>
                <c:pt idx="4486">
                  <c:v>4570.0200000000004</c:v>
                </c:pt>
                <c:pt idx="4487">
                  <c:v>4581.91</c:v>
                </c:pt>
                <c:pt idx="4488">
                  <c:v>4591.8</c:v>
                </c:pt>
                <c:pt idx="4489">
                  <c:v>4587.3999999999996</c:v>
                </c:pt>
                <c:pt idx="4490">
                  <c:v>4681.1400000000003</c:v>
                </c:pt>
                <c:pt idx="4491">
                  <c:v>4823.16</c:v>
                </c:pt>
                <c:pt idx="4492">
                  <c:v>4839.2</c:v>
                </c:pt>
                <c:pt idx="4493">
                  <c:v>4807.1000000000004</c:v>
                </c:pt>
                <c:pt idx="4494">
                  <c:v>4798.74</c:v>
                </c:pt>
                <c:pt idx="4495">
                  <c:v>4791.68</c:v>
                </c:pt>
                <c:pt idx="4496">
                  <c:v>4755.49</c:v>
                </c:pt>
                <c:pt idx="4497">
                  <c:v>4793.47</c:v>
                </c:pt>
                <c:pt idx="4498">
                  <c:v>4792.83</c:v>
                </c:pt>
                <c:pt idx="4499">
                  <c:v>4777.9799999999996</c:v>
                </c:pt>
                <c:pt idx="4500">
                  <c:v>4718.49</c:v>
                </c:pt>
                <c:pt idx="4501">
                  <c:v>4691.24</c:v>
                </c:pt>
                <c:pt idx="4502">
                  <c:v>4699.28</c:v>
                </c:pt>
                <c:pt idx="4503">
                  <c:v>4737.2700000000004</c:v>
                </c:pt>
                <c:pt idx="4504">
                  <c:v>4772.92</c:v>
                </c:pt>
                <c:pt idx="4505">
                  <c:v>4695.33</c:v>
                </c:pt>
                <c:pt idx="4506">
                  <c:v>4720.83</c:v>
                </c:pt>
                <c:pt idx="4507">
                  <c:v>4777.5600000000004</c:v>
                </c:pt>
                <c:pt idx="4508">
                  <c:v>4813.66</c:v>
                </c:pt>
                <c:pt idx="4509">
                  <c:v>4885.1099999999997</c:v>
                </c:pt>
                <c:pt idx="4510">
                  <c:v>4885.72</c:v>
                </c:pt>
                <c:pt idx="4511">
                  <c:v>4981.3500000000004</c:v>
                </c:pt>
                <c:pt idx="4512">
                  <c:v>4953.88</c:v>
                </c:pt>
                <c:pt idx="4513">
                  <c:v>4904.8999999999996</c:v>
                </c:pt>
                <c:pt idx="4514">
                  <c:v>4908.46</c:v>
                </c:pt>
                <c:pt idx="4515">
                  <c:v>4856.8500000000004</c:v>
                </c:pt>
                <c:pt idx="4516">
                  <c:v>4904.17</c:v>
                </c:pt>
                <c:pt idx="4517">
                  <c:v>4894.79</c:v>
                </c:pt>
                <c:pt idx="4518">
                  <c:v>4891.67</c:v>
                </c:pt>
                <c:pt idx="4519">
                  <c:v>4927.99</c:v>
                </c:pt>
                <c:pt idx="4520">
                  <c:v>4943.29</c:v>
                </c:pt>
                <c:pt idx="4521">
                  <c:v>5005.03</c:v>
                </c:pt>
                <c:pt idx="4522">
                  <c:v>4974.29</c:v>
                </c:pt>
                <c:pt idx="4523">
                  <c:v>4910.7</c:v>
                </c:pt>
                <c:pt idx="4524">
                  <c:v>4919.59</c:v>
                </c:pt>
                <c:pt idx="4525">
                  <c:v>4980.7700000000004</c:v>
                </c:pt>
                <c:pt idx="4526">
                  <c:v>4960.25</c:v>
                </c:pt>
                <c:pt idx="4527">
                  <c:v>5067.1000000000004</c:v>
                </c:pt>
                <c:pt idx="4528">
                  <c:v>5067.1400000000003</c:v>
                </c:pt>
                <c:pt idx="4529">
                  <c:v>5057.0600000000004</c:v>
                </c:pt>
                <c:pt idx="4530">
                  <c:v>5065.92</c:v>
                </c:pt>
                <c:pt idx="4531">
                  <c:v>5022.24</c:v>
                </c:pt>
                <c:pt idx="4532">
                  <c:v>5009.88</c:v>
                </c:pt>
                <c:pt idx="4533">
                  <c:v>4942.7</c:v>
                </c:pt>
                <c:pt idx="4534">
                  <c:v>4940.5200000000004</c:v>
                </c:pt>
                <c:pt idx="4535">
                  <c:v>4889.63</c:v>
                </c:pt>
                <c:pt idx="4536">
                  <c:v>4934.84</c:v>
                </c:pt>
                <c:pt idx="4537">
                  <c:v>4945.1000000000004</c:v>
                </c:pt>
                <c:pt idx="4538">
                  <c:v>4953.87</c:v>
                </c:pt>
                <c:pt idx="4539">
                  <c:v>5017.4799999999996</c:v>
                </c:pt>
                <c:pt idx="4540">
                  <c:v>4999.97</c:v>
                </c:pt>
                <c:pt idx="4541">
                  <c:v>5046.84</c:v>
                </c:pt>
                <c:pt idx="4542">
                  <c:v>4964.7700000000004</c:v>
                </c:pt>
                <c:pt idx="4543">
                  <c:v>5007.12</c:v>
                </c:pt>
                <c:pt idx="4544">
                  <c:v>5000.0200000000004</c:v>
                </c:pt>
                <c:pt idx="4545">
                  <c:v>5042.01</c:v>
                </c:pt>
                <c:pt idx="4546">
                  <c:v>5064.41</c:v>
                </c:pt>
                <c:pt idx="4547">
                  <c:v>5042.9399999999996</c:v>
                </c:pt>
                <c:pt idx="4548">
                  <c:v>5113.71</c:v>
                </c:pt>
                <c:pt idx="4549">
                  <c:v>5211.29</c:v>
                </c:pt>
                <c:pt idx="4550">
                  <c:v>5267.72</c:v>
                </c:pt>
                <c:pt idx="4551">
                  <c:v>5368.5</c:v>
                </c:pt>
                <c:pt idx="4552">
                  <c:v>5417.67</c:v>
                </c:pt>
                <c:pt idx="4553">
                  <c:v>5513.66</c:v>
                </c:pt>
                <c:pt idx="4554">
                  <c:v>5495.43</c:v>
                </c:pt>
                <c:pt idx="4555">
                  <c:v>5441.16</c:v>
                </c:pt>
                <c:pt idx="4556">
                  <c:v>5596.35</c:v>
                </c:pt>
                <c:pt idx="4557">
                  <c:v>5577.97</c:v>
                </c:pt>
                <c:pt idx="4558">
                  <c:v>5470.46</c:v>
                </c:pt>
                <c:pt idx="4559">
                  <c:v>5458.08</c:v>
                </c:pt>
                <c:pt idx="4560">
                  <c:v>5518.52</c:v>
                </c:pt>
                <c:pt idx="4561">
                  <c:v>5437.52</c:v>
                </c:pt>
                <c:pt idx="4562">
                  <c:v>5476.43</c:v>
                </c:pt>
                <c:pt idx="4563">
                  <c:v>5564.97</c:v>
                </c:pt>
                <c:pt idx="4564">
                  <c:v>5569.78</c:v>
                </c:pt>
                <c:pt idx="4565">
                  <c:v>5625.92</c:v>
                </c:pt>
                <c:pt idx="4566">
                  <c:v>5512.97</c:v>
                </c:pt>
                <c:pt idx="4567">
                  <c:v>5528</c:v>
                </c:pt>
                <c:pt idx="4568">
                  <c:v>5377.14</c:v>
                </c:pt>
                <c:pt idx="4569">
                  <c:v>5351.96</c:v>
                </c:pt>
                <c:pt idx="4570">
                  <c:v>5417.65</c:v>
                </c:pt>
                <c:pt idx="4571">
                  <c:v>5501.09</c:v>
                </c:pt>
                <c:pt idx="4572">
                  <c:v>5485.2</c:v>
                </c:pt>
                <c:pt idx="4573">
                  <c:v>5473.95</c:v>
                </c:pt>
                <c:pt idx="4574">
                  <c:v>5483.41</c:v>
                </c:pt>
                <c:pt idx="4575">
                  <c:v>5564.56</c:v>
                </c:pt>
                <c:pt idx="4576">
                  <c:v>5686.25</c:v>
                </c:pt>
                <c:pt idx="4577">
                  <c:v>5807.72</c:v>
                </c:pt>
                <c:pt idx="4578">
                  <c:v>5768.38</c:v>
                </c:pt>
                <c:pt idx="4579">
                  <c:v>5778.84</c:v>
                </c:pt>
                <c:pt idx="4580">
                  <c:v>5597.33</c:v>
                </c:pt>
                <c:pt idx="4581">
                  <c:v>5579.67</c:v>
                </c:pt>
                <c:pt idx="4582">
                  <c:v>5437.57</c:v>
                </c:pt>
                <c:pt idx="4583">
                  <c:v>5469.56</c:v>
                </c:pt>
                <c:pt idx="4584">
                  <c:v>5336.76</c:v>
                </c:pt>
                <c:pt idx="4585">
                  <c:v>5418.78</c:v>
                </c:pt>
                <c:pt idx="4586">
                  <c:v>5349.63</c:v>
                </c:pt>
                <c:pt idx="4587">
                  <c:v>5452.21</c:v>
                </c:pt>
                <c:pt idx="4588">
                  <c:v>5280.71</c:v>
                </c:pt>
                <c:pt idx="4589">
                  <c:v>5262.8</c:v>
                </c:pt>
                <c:pt idx="4590">
                  <c:v>5080.0200000000004</c:v>
                </c:pt>
                <c:pt idx="4591">
                  <c:v>4971</c:v>
                </c:pt>
                <c:pt idx="4592">
                  <c:v>5003.6099999999997</c:v>
                </c:pt>
                <c:pt idx="4593">
                  <c:v>5128.22</c:v>
                </c:pt>
                <c:pt idx="4594">
                  <c:v>5146.38</c:v>
                </c:pt>
                <c:pt idx="4595">
                  <c:v>5035.54</c:v>
                </c:pt>
                <c:pt idx="4596">
                  <c:v>5079.3599999999997</c:v>
                </c:pt>
                <c:pt idx="4597">
                  <c:v>5100.8599999999997</c:v>
                </c:pt>
                <c:pt idx="4598">
                  <c:v>5141.7700000000004</c:v>
                </c:pt>
                <c:pt idx="4599">
                  <c:v>5007.09</c:v>
                </c:pt>
                <c:pt idx="4600">
                  <c:v>5057.1499999999996</c:v>
                </c:pt>
                <c:pt idx="4601">
                  <c:v>5009.25</c:v>
                </c:pt>
                <c:pt idx="4602">
                  <c:v>4928.6899999999996</c:v>
                </c:pt>
                <c:pt idx="4603">
                  <c:v>4926.3500000000004</c:v>
                </c:pt>
                <c:pt idx="4604">
                  <c:v>5037.99</c:v>
                </c:pt>
                <c:pt idx="4605">
                  <c:v>5046.88</c:v>
                </c:pt>
                <c:pt idx="4606">
                  <c:v>5094.7299999999996</c:v>
                </c:pt>
                <c:pt idx="4607">
                  <c:v>5048.3599999999997</c:v>
                </c:pt>
                <c:pt idx="4608">
                  <c:v>5110.78</c:v>
                </c:pt>
                <c:pt idx="4609">
                  <c:v>5161.5600000000004</c:v>
                </c:pt>
                <c:pt idx="4610">
                  <c:v>5140.34</c:v>
                </c:pt>
                <c:pt idx="4611">
                  <c:v>5103.74</c:v>
                </c:pt>
                <c:pt idx="4612">
                  <c:v>5112.21</c:v>
                </c:pt>
                <c:pt idx="4613">
                  <c:v>5035.34</c:v>
                </c:pt>
                <c:pt idx="4614">
                  <c:v>4947.75</c:v>
                </c:pt>
                <c:pt idx="4615">
                  <c:v>4939.6400000000003</c:v>
                </c:pt>
                <c:pt idx="4616">
                  <c:v>4980.63</c:v>
                </c:pt>
                <c:pt idx="4617">
                  <c:v>4948.97</c:v>
                </c:pt>
                <c:pt idx="4618">
                  <c:v>4966.18</c:v>
                </c:pt>
                <c:pt idx="4619">
                  <c:v>5087.0200000000004</c:v>
                </c:pt>
                <c:pt idx="4620">
                  <c:v>5083.37</c:v>
                </c:pt>
                <c:pt idx="4621">
                  <c:v>5098.74</c:v>
                </c:pt>
                <c:pt idx="4622">
                  <c:v>5089.24</c:v>
                </c:pt>
                <c:pt idx="4623">
                  <c:v>5135.45</c:v>
                </c:pt>
                <c:pt idx="4624">
                  <c:v>5077.24</c:v>
                </c:pt>
                <c:pt idx="4625">
                  <c:v>5090.5200000000004</c:v>
                </c:pt>
                <c:pt idx="4626">
                  <c:v>5119.24</c:v>
                </c:pt>
                <c:pt idx="4627">
                  <c:v>5164.17</c:v>
                </c:pt>
                <c:pt idx="4628">
                  <c:v>5123.49</c:v>
                </c:pt>
                <c:pt idx="4629">
                  <c:v>5061.12</c:v>
                </c:pt>
                <c:pt idx="4630">
                  <c:v>4996.05</c:v>
                </c:pt>
                <c:pt idx="4631">
                  <c:v>4992.42</c:v>
                </c:pt>
                <c:pt idx="4632">
                  <c:v>5023.0600000000004</c:v>
                </c:pt>
                <c:pt idx="4633">
                  <c:v>5044.55</c:v>
                </c:pt>
                <c:pt idx="4634">
                  <c:v>4992.97</c:v>
                </c:pt>
                <c:pt idx="4635">
                  <c:v>5110.59</c:v>
                </c:pt>
                <c:pt idx="4636">
                  <c:v>5184.99</c:v>
                </c:pt>
                <c:pt idx="4637">
                  <c:v>5187.6000000000004</c:v>
                </c:pt>
                <c:pt idx="4638">
                  <c:v>5172.2700000000004</c:v>
                </c:pt>
                <c:pt idx="4639">
                  <c:v>5186.41</c:v>
                </c:pt>
                <c:pt idx="4640">
                  <c:v>5134.1499999999996</c:v>
                </c:pt>
                <c:pt idx="4641">
                  <c:v>5155.59</c:v>
                </c:pt>
                <c:pt idx="4642">
                  <c:v>5318.48</c:v>
                </c:pt>
                <c:pt idx="4643">
                  <c:v>5320.59</c:v>
                </c:pt>
                <c:pt idx="4644">
                  <c:v>5338.23</c:v>
                </c:pt>
                <c:pt idx="4645">
                  <c:v>5321.09</c:v>
                </c:pt>
                <c:pt idx="4646">
                  <c:v>5331.57</c:v>
                </c:pt>
                <c:pt idx="4647">
                  <c:v>5341.68</c:v>
                </c:pt>
                <c:pt idx="4648">
                  <c:v>5289.97</c:v>
                </c:pt>
                <c:pt idx="4649">
                  <c:v>5255.29</c:v>
                </c:pt>
                <c:pt idx="4650">
                  <c:v>5282.28</c:v>
                </c:pt>
                <c:pt idx="4651">
                  <c:v>5277.63</c:v>
                </c:pt>
                <c:pt idx="4652">
                  <c:v>5232.12</c:v>
                </c:pt>
                <c:pt idx="4653">
                  <c:v>5236.45</c:v>
                </c:pt>
                <c:pt idx="4654">
                  <c:v>5271.47</c:v>
                </c:pt>
                <c:pt idx="4655">
                  <c:v>5224.7</c:v>
                </c:pt>
                <c:pt idx="4656">
                  <c:v>5166.5600000000004</c:v>
                </c:pt>
                <c:pt idx="4657">
                  <c:v>5080.49</c:v>
                </c:pt>
                <c:pt idx="4658">
                  <c:v>5101.8900000000003</c:v>
                </c:pt>
                <c:pt idx="4659">
                  <c:v>5102.47</c:v>
                </c:pt>
                <c:pt idx="4660">
                  <c:v>5090.3900000000003</c:v>
                </c:pt>
                <c:pt idx="4661">
                  <c:v>5122.16</c:v>
                </c:pt>
                <c:pt idx="4662">
                  <c:v>5147.3900000000003</c:v>
                </c:pt>
                <c:pt idx="4663">
                  <c:v>5155.97</c:v>
                </c:pt>
                <c:pt idx="4664">
                  <c:v>5239.97</c:v>
                </c:pt>
                <c:pt idx="4665">
                  <c:v>5251.76</c:v>
                </c:pt>
                <c:pt idx="4666">
                  <c:v>5190.54</c:v>
                </c:pt>
                <c:pt idx="4667">
                  <c:v>5224.04</c:v>
                </c:pt>
                <c:pt idx="4668">
                  <c:v>5229.66</c:v>
                </c:pt>
                <c:pt idx="4669">
                  <c:v>5081.12</c:v>
                </c:pt>
                <c:pt idx="4670">
                  <c:v>5085.79</c:v>
                </c:pt>
                <c:pt idx="4671">
                  <c:v>5083.1000000000004</c:v>
                </c:pt>
                <c:pt idx="4672">
                  <c:v>5140.49</c:v>
                </c:pt>
                <c:pt idx="4673">
                  <c:v>5088.26</c:v>
                </c:pt>
                <c:pt idx="4674">
                  <c:v>5069.4399999999996</c:v>
                </c:pt>
                <c:pt idx="4675">
                  <c:v>5132.71</c:v>
                </c:pt>
                <c:pt idx="4676">
                  <c:v>5142.1000000000004</c:v>
                </c:pt>
                <c:pt idx="4677">
                  <c:v>5083.08</c:v>
                </c:pt>
                <c:pt idx="4678">
                  <c:v>5151.46</c:v>
                </c:pt>
                <c:pt idx="4679">
                  <c:v>5094.7700000000004</c:v>
                </c:pt>
                <c:pt idx="4680">
                  <c:v>5113.49</c:v>
                </c:pt>
                <c:pt idx="4681">
                  <c:v>5108.99</c:v>
                </c:pt>
                <c:pt idx="4682">
                  <c:v>5144.04</c:v>
                </c:pt>
                <c:pt idx="4683">
                  <c:v>5151.75</c:v>
                </c:pt>
                <c:pt idx="4684">
                  <c:v>5089.2299999999996</c:v>
                </c:pt>
                <c:pt idx="4685">
                  <c:v>4925.3</c:v>
                </c:pt>
                <c:pt idx="4686">
                  <c:v>4751.3100000000004</c:v>
                </c:pt>
                <c:pt idx="4687">
                  <c:v>4760.4799999999996</c:v>
                </c:pt>
                <c:pt idx="4688">
                  <c:v>4850.2700000000004</c:v>
                </c:pt>
                <c:pt idx="4689">
                  <c:v>4811.17</c:v>
                </c:pt>
                <c:pt idx="4690">
                  <c:v>4933.74</c:v>
                </c:pt>
                <c:pt idx="4691">
                  <c:v>4934.46</c:v>
                </c:pt>
                <c:pt idx="4692">
                  <c:v>4978.8500000000004</c:v>
                </c:pt>
                <c:pt idx="4693">
                  <c:v>4948.67</c:v>
                </c:pt>
                <c:pt idx="4694">
                  <c:v>4921.5600000000004</c:v>
                </c:pt>
                <c:pt idx="4695">
                  <c:v>4985.5600000000004</c:v>
                </c:pt>
                <c:pt idx="4696">
                  <c:v>5043.1499999999996</c:v>
                </c:pt>
                <c:pt idx="4697">
                  <c:v>5015.34</c:v>
                </c:pt>
                <c:pt idx="4698">
                  <c:v>4973.3500000000004</c:v>
                </c:pt>
                <c:pt idx="4699">
                  <c:v>4945.9799999999996</c:v>
                </c:pt>
                <c:pt idx="4700">
                  <c:v>4941.07</c:v>
                </c:pt>
                <c:pt idx="4701">
                  <c:v>4837.3999999999996</c:v>
                </c:pt>
                <c:pt idx="4702">
                  <c:v>4894.24</c:v>
                </c:pt>
                <c:pt idx="4703">
                  <c:v>4862.1400000000003</c:v>
                </c:pt>
                <c:pt idx="4704">
                  <c:v>4769.2700000000004</c:v>
                </c:pt>
                <c:pt idx="4705">
                  <c:v>4835.88</c:v>
                </c:pt>
                <c:pt idx="4706">
                  <c:v>4888.3900000000003</c:v>
                </c:pt>
                <c:pt idx="4707">
                  <c:v>4898.16</c:v>
                </c:pt>
                <c:pt idx="4708">
                  <c:v>4801.6099999999997</c:v>
                </c:pt>
                <c:pt idx="4709">
                  <c:v>4827.04</c:v>
                </c:pt>
                <c:pt idx="4710">
                  <c:v>4813.2700000000004</c:v>
                </c:pt>
                <c:pt idx="4711">
                  <c:v>4805.6099999999997</c:v>
                </c:pt>
                <c:pt idx="4712">
                  <c:v>4869.46</c:v>
                </c:pt>
                <c:pt idx="4713">
                  <c:v>4869.41</c:v>
                </c:pt>
                <c:pt idx="4714">
                  <c:v>4843.0600000000004</c:v>
                </c:pt>
                <c:pt idx="4715">
                  <c:v>4933.7299999999996</c:v>
                </c:pt>
                <c:pt idx="4716">
                  <c:v>4992.83</c:v>
                </c:pt>
                <c:pt idx="4717">
                  <c:v>4972.13</c:v>
                </c:pt>
                <c:pt idx="4718">
                  <c:v>4970.01</c:v>
                </c:pt>
                <c:pt idx="4719">
                  <c:v>5013.5200000000004</c:v>
                </c:pt>
                <c:pt idx="4720">
                  <c:v>4991.66</c:v>
                </c:pt>
                <c:pt idx="4721">
                  <c:v>4917.16</c:v>
                </c:pt>
                <c:pt idx="4722">
                  <c:v>4867.32</c:v>
                </c:pt>
                <c:pt idx="4723">
                  <c:v>4807.7</c:v>
                </c:pt>
                <c:pt idx="4724">
                  <c:v>4855.9399999999996</c:v>
                </c:pt>
                <c:pt idx="4725">
                  <c:v>4821.7700000000004</c:v>
                </c:pt>
                <c:pt idx="4726">
                  <c:v>4853.2</c:v>
                </c:pt>
                <c:pt idx="4727">
                  <c:v>4849.43</c:v>
                </c:pt>
                <c:pt idx="4728">
                  <c:v>4877.37</c:v>
                </c:pt>
                <c:pt idx="4729">
                  <c:v>4883.83</c:v>
                </c:pt>
                <c:pt idx="4730">
                  <c:v>4833.93</c:v>
                </c:pt>
                <c:pt idx="4731">
                  <c:v>4866.38</c:v>
                </c:pt>
                <c:pt idx="4732">
                  <c:v>4929.9399999999996</c:v>
                </c:pt>
                <c:pt idx="4733">
                  <c:v>4936.1899999999996</c:v>
                </c:pt>
                <c:pt idx="4734">
                  <c:v>4883.84</c:v>
                </c:pt>
                <c:pt idx="4735">
                  <c:v>4940.1099999999997</c:v>
                </c:pt>
                <c:pt idx="4736">
                  <c:v>4913.6099999999997</c:v>
                </c:pt>
                <c:pt idx="4737">
                  <c:v>4932.1099999999997</c:v>
                </c:pt>
                <c:pt idx="4738">
                  <c:v>4874.78</c:v>
                </c:pt>
                <c:pt idx="4739">
                  <c:v>4922.72</c:v>
                </c:pt>
                <c:pt idx="4740">
                  <c:v>4910.18</c:v>
                </c:pt>
                <c:pt idx="4741">
                  <c:v>4928.0200000000004</c:v>
                </c:pt>
                <c:pt idx="4742">
                  <c:v>4959.7299999999996</c:v>
                </c:pt>
                <c:pt idx="4743">
                  <c:v>4979.5200000000004</c:v>
                </c:pt>
                <c:pt idx="4744">
                  <c:v>4963.1000000000004</c:v>
                </c:pt>
                <c:pt idx="4745">
                  <c:v>4898.16</c:v>
                </c:pt>
                <c:pt idx="4746">
                  <c:v>4864.1400000000003</c:v>
                </c:pt>
                <c:pt idx="4747">
                  <c:v>4908.7700000000004</c:v>
                </c:pt>
                <c:pt idx="4748">
                  <c:v>4890.6899999999996</c:v>
                </c:pt>
                <c:pt idx="4749">
                  <c:v>4839.8500000000004</c:v>
                </c:pt>
                <c:pt idx="4750">
                  <c:v>4821.1099999999997</c:v>
                </c:pt>
                <c:pt idx="4751">
                  <c:v>4868.74</c:v>
                </c:pt>
                <c:pt idx="4752">
                  <c:v>4842.3500000000004</c:v>
                </c:pt>
                <c:pt idx="4753">
                  <c:v>4848.18</c:v>
                </c:pt>
                <c:pt idx="4754">
                  <c:v>4846.74</c:v>
                </c:pt>
                <c:pt idx="4755">
                  <c:v>4821.1899999999996</c:v>
                </c:pt>
                <c:pt idx="4756">
                  <c:v>4898.6499999999996</c:v>
                </c:pt>
                <c:pt idx="4757">
                  <c:v>4888.37</c:v>
                </c:pt>
                <c:pt idx="4758">
                  <c:v>4882.38</c:v>
                </c:pt>
                <c:pt idx="4759">
                  <c:v>4883.32</c:v>
                </c:pt>
                <c:pt idx="4760">
                  <c:v>4885.75</c:v>
                </c:pt>
                <c:pt idx="4761">
                  <c:v>4837.62</c:v>
                </c:pt>
                <c:pt idx="4762">
                  <c:v>4890.0600000000004</c:v>
                </c:pt>
                <c:pt idx="4763">
                  <c:v>4912.3999999999996</c:v>
                </c:pt>
                <c:pt idx="4764">
                  <c:v>4913.3500000000004</c:v>
                </c:pt>
                <c:pt idx="4765">
                  <c:v>4916.66</c:v>
                </c:pt>
                <c:pt idx="4766">
                  <c:v>4896.4399999999996</c:v>
                </c:pt>
                <c:pt idx="4767">
                  <c:v>4860.13</c:v>
                </c:pt>
                <c:pt idx="4768">
                  <c:v>4851.42</c:v>
                </c:pt>
                <c:pt idx="4769">
                  <c:v>4832.03</c:v>
                </c:pt>
                <c:pt idx="4770">
                  <c:v>4843.8500000000004</c:v>
                </c:pt>
                <c:pt idx="4771">
                  <c:v>4856.16</c:v>
                </c:pt>
                <c:pt idx="4772">
                  <c:v>4901.0200000000004</c:v>
                </c:pt>
                <c:pt idx="4773">
                  <c:v>4892.62</c:v>
                </c:pt>
                <c:pt idx="4774">
                  <c:v>4922.1000000000004</c:v>
                </c:pt>
                <c:pt idx="4775">
                  <c:v>4995.93</c:v>
                </c:pt>
                <c:pt idx="4776">
                  <c:v>5078.6899999999996</c:v>
                </c:pt>
                <c:pt idx="4777">
                  <c:v>5055.12</c:v>
                </c:pt>
                <c:pt idx="4778">
                  <c:v>5083.8</c:v>
                </c:pt>
                <c:pt idx="4779">
                  <c:v>5049.7</c:v>
                </c:pt>
                <c:pt idx="4780">
                  <c:v>5005.8999999999996</c:v>
                </c:pt>
                <c:pt idx="4781">
                  <c:v>5034.7299999999996</c:v>
                </c:pt>
                <c:pt idx="4782">
                  <c:v>4954.76</c:v>
                </c:pt>
                <c:pt idx="4783">
                  <c:v>4880.42</c:v>
                </c:pt>
                <c:pt idx="4784">
                  <c:v>4913.49</c:v>
                </c:pt>
                <c:pt idx="4785">
                  <c:v>4914.45</c:v>
                </c:pt>
                <c:pt idx="4786">
                  <c:v>4948.74</c:v>
                </c:pt>
                <c:pt idx="4787">
                  <c:v>4921.34</c:v>
                </c:pt>
                <c:pt idx="4788">
                  <c:v>4919.32</c:v>
                </c:pt>
                <c:pt idx="4789">
                  <c:v>4955.96</c:v>
                </c:pt>
                <c:pt idx="4790">
                  <c:v>4883.4799999999996</c:v>
                </c:pt>
                <c:pt idx="4791">
                  <c:v>4921.51</c:v>
                </c:pt>
                <c:pt idx="4792">
                  <c:v>4940.37</c:v>
                </c:pt>
                <c:pt idx="4793">
                  <c:v>4917.7700000000004</c:v>
                </c:pt>
                <c:pt idx="4794">
                  <c:v>4868.12</c:v>
                </c:pt>
                <c:pt idx="4795">
                  <c:v>4818.2299999999996</c:v>
                </c:pt>
                <c:pt idx="4796">
                  <c:v>4822.37</c:v>
                </c:pt>
                <c:pt idx="4797">
                  <c:v>4844.05</c:v>
                </c:pt>
                <c:pt idx="4798">
                  <c:v>4797.7700000000004</c:v>
                </c:pt>
                <c:pt idx="4799">
                  <c:v>4845.58</c:v>
                </c:pt>
                <c:pt idx="4800">
                  <c:v>4765.92</c:v>
                </c:pt>
                <c:pt idx="4801">
                  <c:v>4726.7299999999996</c:v>
                </c:pt>
                <c:pt idx="4802">
                  <c:v>4767.28</c:v>
                </c:pt>
                <c:pt idx="4803">
                  <c:v>4813.3500000000004</c:v>
                </c:pt>
                <c:pt idx="4804">
                  <c:v>4780.38</c:v>
                </c:pt>
                <c:pt idx="4805">
                  <c:v>4823.51</c:v>
                </c:pt>
                <c:pt idx="4806">
                  <c:v>4779.3100000000004</c:v>
                </c:pt>
                <c:pt idx="4807">
                  <c:v>4786.74</c:v>
                </c:pt>
                <c:pt idx="4808">
                  <c:v>4678.45</c:v>
                </c:pt>
                <c:pt idx="4809">
                  <c:v>4712.3100000000004</c:v>
                </c:pt>
                <c:pt idx="4810">
                  <c:v>4619.88</c:v>
                </c:pt>
                <c:pt idx="4811">
                  <c:v>4563.7700000000004</c:v>
                </c:pt>
                <c:pt idx="4812">
                  <c:v>4634.09</c:v>
                </c:pt>
                <c:pt idx="4813">
                  <c:v>4608.7700000000004</c:v>
                </c:pt>
                <c:pt idx="4814">
                  <c:v>4652.0600000000004</c:v>
                </c:pt>
                <c:pt idx="4815">
                  <c:v>4639.8599999999997</c:v>
                </c:pt>
                <c:pt idx="4816">
                  <c:v>4601.3999999999996</c:v>
                </c:pt>
                <c:pt idx="4817">
                  <c:v>4551.6899999999996</c:v>
                </c:pt>
                <c:pt idx="4818">
                  <c:v>4600.1000000000004</c:v>
                </c:pt>
                <c:pt idx="4819">
                  <c:v>4617.99</c:v>
                </c:pt>
                <c:pt idx="4820">
                  <c:v>4629.16</c:v>
                </c:pt>
                <c:pt idx="4821">
                  <c:v>4651.24</c:v>
                </c:pt>
                <c:pt idx="4822">
                  <c:v>4634.3100000000004</c:v>
                </c:pt>
                <c:pt idx="4823">
                  <c:v>4574.1499999999996</c:v>
                </c:pt>
                <c:pt idx="4824">
                  <c:v>4623.05</c:v>
                </c:pt>
                <c:pt idx="4825">
                  <c:v>4529.32</c:v>
                </c:pt>
                <c:pt idx="4826">
                  <c:v>4573.42</c:v>
                </c:pt>
                <c:pt idx="4827">
                  <c:v>4581.6499999999996</c:v>
                </c:pt>
                <c:pt idx="4828">
                  <c:v>4619.6899999999996</c:v>
                </c:pt>
                <c:pt idx="4829">
                  <c:v>4578.6000000000004</c:v>
                </c:pt>
                <c:pt idx="4830">
                  <c:v>4551.63</c:v>
                </c:pt>
                <c:pt idx="4831">
                  <c:v>4496.43</c:v>
                </c:pt>
                <c:pt idx="4832">
                  <c:v>4352.78</c:v>
                </c:pt>
                <c:pt idx="4833">
                  <c:v>4265.3900000000003</c:v>
                </c:pt>
                <c:pt idx="4834">
                  <c:v>4226.3500000000004</c:v>
                </c:pt>
                <c:pt idx="4835">
                  <c:v>4292.84</c:v>
                </c:pt>
                <c:pt idx="4836">
                  <c:v>4306.5200000000004</c:v>
                </c:pt>
                <c:pt idx="4837">
                  <c:v>4174.76</c:v>
                </c:pt>
                <c:pt idx="4838">
                  <c:v>3983.81</c:v>
                </c:pt>
                <c:pt idx="4839">
                  <c:v>4156.08</c:v>
                </c:pt>
                <c:pt idx="4840">
                  <c:v>4237.7</c:v>
                </c:pt>
                <c:pt idx="4841">
                  <c:v>4265.8999999999996</c:v>
                </c:pt>
                <c:pt idx="4842">
                  <c:v>4258.75</c:v>
                </c:pt>
                <c:pt idx="4843">
                  <c:v>4255.3</c:v>
                </c:pt>
                <c:pt idx="4844">
                  <c:v>4276.5200000000004</c:v>
                </c:pt>
                <c:pt idx="4845">
                  <c:v>4251.3100000000004</c:v>
                </c:pt>
                <c:pt idx="4846">
                  <c:v>4174.57</c:v>
                </c:pt>
                <c:pt idx="4847">
                  <c:v>4148.47</c:v>
                </c:pt>
                <c:pt idx="4848">
                  <c:v>4134.1400000000003</c:v>
                </c:pt>
                <c:pt idx="4849">
                  <c:v>4254.1000000000004</c:v>
                </c:pt>
                <c:pt idx="4850">
                  <c:v>4222.6000000000004</c:v>
                </c:pt>
                <c:pt idx="4851">
                  <c:v>4276.16</c:v>
                </c:pt>
                <c:pt idx="4852">
                  <c:v>4263.84</c:v>
                </c:pt>
                <c:pt idx="4853">
                  <c:v>4209.1000000000004</c:v>
                </c:pt>
                <c:pt idx="4854">
                  <c:v>4230.7700000000004</c:v>
                </c:pt>
              </c:numCache>
            </c:numRef>
          </c:val>
          <c:extLst>
            <c:ext xmlns:c16="http://schemas.microsoft.com/office/drawing/2014/chart" uri="{C3380CC4-5D6E-409C-BE32-E72D297353CC}">
              <c16:uniqueId val="{00000000-B3F6-43F2-BF45-C417764AEFF5}"/>
            </c:ext>
          </c:extLst>
        </c:ser>
        <c:dLbls>
          <c:showLegendKey val="0"/>
          <c:showVal val="0"/>
          <c:showCatName val="0"/>
          <c:showSerName val="0"/>
          <c:showPercent val="0"/>
          <c:showBubbleSize val="0"/>
        </c:dLbls>
        <c:gapWidth val="150"/>
        <c:axId val="282592720"/>
        <c:axId val="282589200"/>
      </c:barChart>
      <c:lineChart>
        <c:grouping val="standard"/>
        <c:varyColors val="0"/>
        <c:ser>
          <c:idx val="0"/>
          <c:order val="0"/>
          <c:tx>
            <c:strRef>
              <c:f>'v60'!$C$1</c:f>
              <c:strCache>
                <c:ptCount val="1"/>
                <c:pt idx="0">
                  <c:v> 120-day volatility</c:v>
                </c:pt>
              </c:strCache>
            </c:strRef>
          </c:tx>
          <c:spPr>
            <a:ln w="28575" cap="rnd">
              <a:solidFill>
                <a:schemeClr val="accent1"/>
              </a:solidFill>
              <a:round/>
            </a:ln>
            <a:effectLst/>
          </c:spPr>
          <c:marker>
            <c:symbol val="none"/>
          </c:marker>
          <c:cat>
            <c:numRef>
              <c:f>'v60'!$A$2:$A$4916</c:f>
              <c:numCache>
                <c:formatCode>m/d/yyyy</c:formatCode>
                <c:ptCount val="4915"/>
                <c:pt idx="0">
                  <c:v>37358</c:v>
                </c:pt>
                <c:pt idx="1">
                  <c:v>37361</c:v>
                </c:pt>
                <c:pt idx="2">
                  <c:v>37362</c:v>
                </c:pt>
                <c:pt idx="3">
                  <c:v>37363</c:v>
                </c:pt>
                <c:pt idx="4">
                  <c:v>37364</c:v>
                </c:pt>
                <c:pt idx="5">
                  <c:v>37365</c:v>
                </c:pt>
                <c:pt idx="6">
                  <c:v>37368</c:v>
                </c:pt>
                <c:pt idx="7">
                  <c:v>37369</c:v>
                </c:pt>
                <c:pt idx="8">
                  <c:v>37370</c:v>
                </c:pt>
                <c:pt idx="9">
                  <c:v>37371</c:v>
                </c:pt>
                <c:pt idx="10">
                  <c:v>37372</c:v>
                </c:pt>
                <c:pt idx="11">
                  <c:v>37375</c:v>
                </c:pt>
                <c:pt idx="12">
                  <c:v>37376</c:v>
                </c:pt>
                <c:pt idx="13">
                  <c:v>37384</c:v>
                </c:pt>
                <c:pt idx="14">
                  <c:v>37385</c:v>
                </c:pt>
                <c:pt idx="15">
                  <c:v>37386</c:v>
                </c:pt>
                <c:pt idx="16">
                  <c:v>37389</c:v>
                </c:pt>
                <c:pt idx="17">
                  <c:v>37390</c:v>
                </c:pt>
                <c:pt idx="18">
                  <c:v>37391</c:v>
                </c:pt>
                <c:pt idx="19">
                  <c:v>37392</c:v>
                </c:pt>
                <c:pt idx="20">
                  <c:v>37393</c:v>
                </c:pt>
                <c:pt idx="21">
                  <c:v>37396</c:v>
                </c:pt>
                <c:pt idx="22">
                  <c:v>37397</c:v>
                </c:pt>
                <c:pt idx="23">
                  <c:v>37398</c:v>
                </c:pt>
                <c:pt idx="24">
                  <c:v>37399</c:v>
                </c:pt>
                <c:pt idx="25">
                  <c:v>37400</c:v>
                </c:pt>
                <c:pt idx="26">
                  <c:v>37403</c:v>
                </c:pt>
                <c:pt idx="27">
                  <c:v>37404</c:v>
                </c:pt>
                <c:pt idx="28">
                  <c:v>37405</c:v>
                </c:pt>
                <c:pt idx="29">
                  <c:v>37406</c:v>
                </c:pt>
                <c:pt idx="30">
                  <c:v>37407</c:v>
                </c:pt>
                <c:pt idx="31">
                  <c:v>37410</c:v>
                </c:pt>
                <c:pt idx="32">
                  <c:v>37411</c:v>
                </c:pt>
                <c:pt idx="33">
                  <c:v>37412</c:v>
                </c:pt>
                <c:pt idx="34">
                  <c:v>37413</c:v>
                </c:pt>
                <c:pt idx="35">
                  <c:v>37414</c:v>
                </c:pt>
                <c:pt idx="36">
                  <c:v>37417</c:v>
                </c:pt>
                <c:pt idx="37">
                  <c:v>37418</c:v>
                </c:pt>
                <c:pt idx="38">
                  <c:v>37419</c:v>
                </c:pt>
                <c:pt idx="39">
                  <c:v>37420</c:v>
                </c:pt>
                <c:pt idx="40">
                  <c:v>37421</c:v>
                </c:pt>
                <c:pt idx="41">
                  <c:v>37424</c:v>
                </c:pt>
                <c:pt idx="42">
                  <c:v>37425</c:v>
                </c:pt>
                <c:pt idx="43">
                  <c:v>37426</c:v>
                </c:pt>
                <c:pt idx="44">
                  <c:v>37427</c:v>
                </c:pt>
                <c:pt idx="45">
                  <c:v>37428</c:v>
                </c:pt>
                <c:pt idx="46">
                  <c:v>37431</c:v>
                </c:pt>
                <c:pt idx="47">
                  <c:v>37432</c:v>
                </c:pt>
                <c:pt idx="48">
                  <c:v>37433</c:v>
                </c:pt>
                <c:pt idx="49">
                  <c:v>37434</c:v>
                </c:pt>
                <c:pt idx="50">
                  <c:v>37435</c:v>
                </c:pt>
                <c:pt idx="51">
                  <c:v>37438</c:v>
                </c:pt>
                <c:pt idx="52">
                  <c:v>37439</c:v>
                </c:pt>
                <c:pt idx="53">
                  <c:v>37440</c:v>
                </c:pt>
                <c:pt idx="54">
                  <c:v>37441</c:v>
                </c:pt>
                <c:pt idx="55">
                  <c:v>37442</c:v>
                </c:pt>
                <c:pt idx="56">
                  <c:v>37445</c:v>
                </c:pt>
                <c:pt idx="57">
                  <c:v>37446</c:v>
                </c:pt>
                <c:pt idx="58">
                  <c:v>37447</c:v>
                </c:pt>
                <c:pt idx="59">
                  <c:v>37448</c:v>
                </c:pt>
                <c:pt idx="60">
                  <c:v>37449</c:v>
                </c:pt>
                <c:pt idx="61">
                  <c:v>37452</c:v>
                </c:pt>
                <c:pt idx="62">
                  <c:v>37453</c:v>
                </c:pt>
                <c:pt idx="63">
                  <c:v>37454</c:v>
                </c:pt>
                <c:pt idx="64">
                  <c:v>37455</c:v>
                </c:pt>
                <c:pt idx="65">
                  <c:v>37456</c:v>
                </c:pt>
                <c:pt idx="66">
                  <c:v>37459</c:v>
                </c:pt>
                <c:pt idx="67">
                  <c:v>37460</c:v>
                </c:pt>
                <c:pt idx="68">
                  <c:v>37461</c:v>
                </c:pt>
                <c:pt idx="69">
                  <c:v>37462</c:v>
                </c:pt>
                <c:pt idx="70">
                  <c:v>37463</c:v>
                </c:pt>
                <c:pt idx="71">
                  <c:v>37466</c:v>
                </c:pt>
                <c:pt idx="72">
                  <c:v>37467</c:v>
                </c:pt>
                <c:pt idx="73">
                  <c:v>37468</c:v>
                </c:pt>
                <c:pt idx="74">
                  <c:v>37469</c:v>
                </c:pt>
                <c:pt idx="75">
                  <c:v>37470</c:v>
                </c:pt>
                <c:pt idx="76">
                  <c:v>37473</c:v>
                </c:pt>
                <c:pt idx="77">
                  <c:v>37474</c:v>
                </c:pt>
                <c:pt idx="78">
                  <c:v>37475</c:v>
                </c:pt>
                <c:pt idx="79">
                  <c:v>37476</c:v>
                </c:pt>
                <c:pt idx="80">
                  <c:v>37477</c:v>
                </c:pt>
                <c:pt idx="81">
                  <c:v>37480</c:v>
                </c:pt>
                <c:pt idx="82">
                  <c:v>37481</c:v>
                </c:pt>
                <c:pt idx="83">
                  <c:v>37482</c:v>
                </c:pt>
                <c:pt idx="84">
                  <c:v>37483</c:v>
                </c:pt>
                <c:pt idx="85">
                  <c:v>37484</c:v>
                </c:pt>
                <c:pt idx="86">
                  <c:v>37487</c:v>
                </c:pt>
                <c:pt idx="87">
                  <c:v>37488</c:v>
                </c:pt>
                <c:pt idx="88">
                  <c:v>37489</c:v>
                </c:pt>
                <c:pt idx="89">
                  <c:v>37490</c:v>
                </c:pt>
                <c:pt idx="90">
                  <c:v>37491</c:v>
                </c:pt>
                <c:pt idx="91">
                  <c:v>37494</c:v>
                </c:pt>
                <c:pt idx="92">
                  <c:v>37495</c:v>
                </c:pt>
                <c:pt idx="93">
                  <c:v>37496</c:v>
                </c:pt>
                <c:pt idx="94">
                  <c:v>37497</c:v>
                </c:pt>
                <c:pt idx="95">
                  <c:v>37498</c:v>
                </c:pt>
                <c:pt idx="96">
                  <c:v>37501</c:v>
                </c:pt>
                <c:pt idx="97">
                  <c:v>37502</c:v>
                </c:pt>
                <c:pt idx="98">
                  <c:v>37503</c:v>
                </c:pt>
                <c:pt idx="99">
                  <c:v>37504</c:v>
                </c:pt>
                <c:pt idx="100">
                  <c:v>37505</c:v>
                </c:pt>
                <c:pt idx="101">
                  <c:v>37508</c:v>
                </c:pt>
                <c:pt idx="102">
                  <c:v>37509</c:v>
                </c:pt>
                <c:pt idx="103">
                  <c:v>37510</c:v>
                </c:pt>
                <c:pt idx="104">
                  <c:v>37511</c:v>
                </c:pt>
                <c:pt idx="105">
                  <c:v>37512</c:v>
                </c:pt>
                <c:pt idx="106">
                  <c:v>37515</c:v>
                </c:pt>
                <c:pt idx="107">
                  <c:v>37516</c:v>
                </c:pt>
                <c:pt idx="108">
                  <c:v>37517</c:v>
                </c:pt>
                <c:pt idx="109">
                  <c:v>37518</c:v>
                </c:pt>
                <c:pt idx="110">
                  <c:v>37519</c:v>
                </c:pt>
                <c:pt idx="111">
                  <c:v>37522</c:v>
                </c:pt>
                <c:pt idx="112">
                  <c:v>37523</c:v>
                </c:pt>
                <c:pt idx="113">
                  <c:v>37524</c:v>
                </c:pt>
                <c:pt idx="114">
                  <c:v>37525</c:v>
                </c:pt>
                <c:pt idx="115">
                  <c:v>37526</c:v>
                </c:pt>
                <c:pt idx="116">
                  <c:v>37537</c:v>
                </c:pt>
                <c:pt idx="117">
                  <c:v>37538</c:v>
                </c:pt>
                <c:pt idx="118">
                  <c:v>37539</c:v>
                </c:pt>
                <c:pt idx="119">
                  <c:v>37540</c:v>
                </c:pt>
                <c:pt idx="120">
                  <c:v>37543</c:v>
                </c:pt>
                <c:pt idx="121">
                  <c:v>37544</c:v>
                </c:pt>
                <c:pt idx="122">
                  <c:v>37545</c:v>
                </c:pt>
                <c:pt idx="123">
                  <c:v>37546</c:v>
                </c:pt>
                <c:pt idx="124">
                  <c:v>37547</c:v>
                </c:pt>
                <c:pt idx="125">
                  <c:v>37550</c:v>
                </c:pt>
                <c:pt idx="126">
                  <c:v>37551</c:v>
                </c:pt>
                <c:pt idx="127">
                  <c:v>37552</c:v>
                </c:pt>
                <c:pt idx="128">
                  <c:v>37553</c:v>
                </c:pt>
                <c:pt idx="129">
                  <c:v>37554</c:v>
                </c:pt>
                <c:pt idx="130">
                  <c:v>37557</c:v>
                </c:pt>
                <c:pt idx="131">
                  <c:v>37558</c:v>
                </c:pt>
                <c:pt idx="132">
                  <c:v>37559</c:v>
                </c:pt>
                <c:pt idx="133">
                  <c:v>37560</c:v>
                </c:pt>
                <c:pt idx="134">
                  <c:v>37561</c:v>
                </c:pt>
                <c:pt idx="135">
                  <c:v>37564</c:v>
                </c:pt>
                <c:pt idx="136">
                  <c:v>37565</c:v>
                </c:pt>
                <c:pt idx="137">
                  <c:v>37566</c:v>
                </c:pt>
                <c:pt idx="138">
                  <c:v>37567</c:v>
                </c:pt>
                <c:pt idx="139">
                  <c:v>37568</c:v>
                </c:pt>
                <c:pt idx="140">
                  <c:v>37571</c:v>
                </c:pt>
                <c:pt idx="141">
                  <c:v>37572</c:v>
                </c:pt>
                <c:pt idx="142">
                  <c:v>37573</c:v>
                </c:pt>
                <c:pt idx="143">
                  <c:v>37574</c:v>
                </c:pt>
                <c:pt idx="144">
                  <c:v>37575</c:v>
                </c:pt>
                <c:pt idx="145">
                  <c:v>37578</c:v>
                </c:pt>
                <c:pt idx="146">
                  <c:v>37579</c:v>
                </c:pt>
                <c:pt idx="147">
                  <c:v>37580</c:v>
                </c:pt>
                <c:pt idx="148">
                  <c:v>37581</c:v>
                </c:pt>
                <c:pt idx="149">
                  <c:v>37582</c:v>
                </c:pt>
                <c:pt idx="150">
                  <c:v>37585</c:v>
                </c:pt>
                <c:pt idx="151">
                  <c:v>37586</c:v>
                </c:pt>
                <c:pt idx="152">
                  <c:v>37587</c:v>
                </c:pt>
                <c:pt idx="153">
                  <c:v>37588</c:v>
                </c:pt>
                <c:pt idx="154">
                  <c:v>37589</c:v>
                </c:pt>
                <c:pt idx="155">
                  <c:v>37592</c:v>
                </c:pt>
                <c:pt idx="156">
                  <c:v>37593</c:v>
                </c:pt>
                <c:pt idx="157">
                  <c:v>37594</c:v>
                </c:pt>
                <c:pt idx="158">
                  <c:v>37595</c:v>
                </c:pt>
                <c:pt idx="159">
                  <c:v>37596</c:v>
                </c:pt>
                <c:pt idx="160">
                  <c:v>37599</c:v>
                </c:pt>
                <c:pt idx="161">
                  <c:v>37600</c:v>
                </c:pt>
                <c:pt idx="162">
                  <c:v>37601</c:v>
                </c:pt>
                <c:pt idx="163">
                  <c:v>37602</c:v>
                </c:pt>
                <c:pt idx="164">
                  <c:v>37603</c:v>
                </c:pt>
                <c:pt idx="165">
                  <c:v>37606</c:v>
                </c:pt>
                <c:pt idx="166">
                  <c:v>37607</c:v>
                </c:pt>
                <c:pt idx="167">
                  <c:v>37608</c:v>
                </c:pt>
                <c:pt idx="168">
                  <c:v>37609</c:v>
                </c:pt>
                <c:pt idx="169">
                  <c:v>37610</c:v>
                </c:pt>
                <c:pt idx="170">
                  <c:v>37613</c:v>
                </c:pt>
                <c:pt idx="171">
                  <c:v>37614</c:v>
                </c:pt>
                <c:pt idx="172">
                  <c:v>37615</c:v>
                </c:pt>
                <c:pt idx="173">
                  <c:v>37616</c:v>
                </c:pt>
                <c:pt idx="174">
                  <c:v>37617</c:v>
                </c:pt>
                <c:pt idx="175">
                  <c:v>37620</c:v>
                </c:pt>
                <c:pt idx="176">
                  <c:v>37621</c:v>
                </c:pt>
                <c:pt idx="177">
                  <c:v>37623</c:v>
                </c:pt>
                <c:pt idx="178">
                  <c:v>37624</c:v>
                </c:pt>
                <c:pt idx="179">
                  <c:v>37627</c:v>
                </c:pt>
                <c:pt idx="180">
                  <c:v>37628</c:v>
                </c:pt>
                <c:pt idx="181">
                  <c:v>37629</c:v>
                </c:pt>
                <c:pt idx="182">
                  <c:v>37630</c:v>
                </c:pt>
                <c:pt idx="183">
                  <c:v>37631</c:v>
                </c:pt>
                <c:pt idx="184">
                  <c:v>37634</c:v>
                </c:pt>
                <c:pt idx="185">
                  <c:v>37635</c:v>
                </c:pt>
                <c:pt idx="186">
                  <c:v>37636</c:v>
                </c:pt>
                <c:pt idx="187">
                  <c:v>37637</c:v>
                </c:pt>
                <c:pt idx="188">
                  <c:v>37638</c:v>
                </c:pt>
                <c:pt idx="189">
                  <c:v>37641</c:v>
                </c:pt>
                <c:pt idx="190">
                  <c:v>37642</c:v>
                </c:pt>
                <c:pt idx="191">
                  <c:v>37643</c:v>
                </c:pt>
                <c:pt idx="192">
                  <c:v>37644</c:v>
                </c:pt>
                <c:pt idx="193">
                  <c:v>37645</c:v>
                </c:pt>
                <c:pt idx="194">
                  <c:v>37648</c:v>
                </c:pt>
                <c:pt idx="195">
                  <c:v>37649</c:v>
                </c:pt>
                <c:pt idx="196">
                  <c:v>37650</c:v>
                </c:pt>
                <c:pt idx="197">
                  <c:v>37662</c:v>
                </c:pt>
                <c:pt idx="198">
                  <c:v>37663</c:v>
                </c:pt>
                <c:pt idx="199">
                  <c:v>37664</c:v>
                </c:pt>
                <c:pt idx="200">
                  <c:v>37665</c:v>
                </c:pt>
                <c:pt idx="201">
                  <c:v>37666</c:v>
                </c:pt>
                <c:pt idx="202">
                  <c:v>37669</c:v>
                </c:pt>
                <c:pt idx="203">
                  <c:v>37670</c:v>
                </c:pt>
                <c:pt idx="204">
                  <c:v>37671</c:v>
                </c:pt>
                <c:pt idx="205">
                  <c:v>37672</c:v>
                </c:pt>
                <c:pt idx="206">
                  <c:v>37673</c:v>
                </c:pt>
                <c:pt idx="207">
                  <c:v>37676</c:v>
                </c:pt>
                <c:pt idx="208">
                  <c:v>37677</c:v>
                </c:pt>
                <c:pt idx="209">
                  <c:v>37678</c:v>
                </c:pt>
                <c:pt idx="210">
                  <c:v>37679</c:v>
                </c:pt>
                <c:pt idx="211">
                  <c:v>37680</c:v>
                </c:pt>
                <c:pt idx="212">
                  <c:v>37683</c:v>
                </c:pt>
                <c:pt idx="213">
                  <c:v>37684</c:v>
                </c:pt>
                <c:pt idx="214">
                  <c:v>37685</c:v>
                </c:pt>
                <c:pt idx="215">
                  <c:v>37686</c:v>
                </c:pt>
                <c:pt idx="216">
                  <c:v>37687</c:v>
                </c:pt>
                <c:pt idx="217">
                  <c:v>37690</c:v>
                </c:pt>
                <c:pt idx="218">
                  <c:v>37691</c:v>
                </c:pt>
                <c:pt idx="219">
                  <c:v>37692</c:v>
                </c:pt>
                <c:pt idx="220">
                  <c:v>37693</c:v>
                </c:pt>
                <c:pt idx="221">
                  <c:v>37694</c:v>
                </c:pt>
                <c:pt idx="222">
                  <c:v>37697</c:v>
                </c:pt>
                <c:pt idx="223">
                  <c:v>37698</c:v>
                </c:pt>
                <c:pt idx="224">
                  <c:v>37699</c:v>
                </c:pt>
                <c:pt idx="225">
                  <c:v>37700</c:v>
                </c:pt>
                <c:pt idx="226">
                  <c:v>37701</c:v>
                </c:pt>
                <c:pt idx="227">
                  <c:v>37704</c:v>
                </c:pt>
                <c:pt idx="228">
                  <c:v>37705</c:v>
                </c:pt>
                <c:pt idx="229">
                  <c:v>37706</c:v>
                </c:pt>
                <c:pt idx="230">
                  <c:v>37707</c:v>
                </c:pt>
                <c:pt idx="231">
                  <c:v>37708</c:v>
                </c:pt>
                <c:pt idx="232">
                  <c:v>37711</c:v>
                </c:pt>
                <c:pt idx="233">
                  <c:v>37712</c:v>
                </c:pt>
                <c:pt idx="234">
                  <c:v>37713</c:v>
                </c:pt>
                <c:pt idx="235">
                  <c:v>37714</c:v>
                </c:pt>
                <c:pt idx="236">
                  <c:v>37715</c:v>
                </c:pt>
                <c:pt idx="237">
                  <c:v>37718</c:v>
                </c:pt>
                <c:pt idx="238">
                  <c:v>37719</c:v>
                </c:pt>
                <c:pt idx="239">
                  <c:v>37720</c:v>
                </c:pt>
                <c:pt idx="240">
                  <c:v>37721</c:v>
                </c:pt>
                <c:pt idx="241">
                  <c:v>37722</c:v>
                </c:pt>
                <c:pt idx="242">
                  <c:v>37725</c:v>
                </c:pt>
                <c:pt idx="243">
                  <c:v>37726</c:v>
                </c:pt>
                <c:pt idx="244">
                  <c:v>37727</c:v>
                </c:pt>
                <c:pt idx="245">
                  <c:v>37728</c:v>
                </c:pt>
                <c:pt idx="246">
                  <c:v>37729</c:v>
                </c:pt>
                <c:pt idx="247">
                  <c:v>37732</c:v>
                </c:pt>
                <c:pt idx="248">
                  <c:v>37733</c:v>
                </c:pt>
                <c:pt idx="249">
                  <c:v>37734</c:v>
                </c:pt>
                <c:pt idx="250">
                  <c:v>37735</c:v>
                </c:pt>
                <c:pt idx="251">
                  <c:v>37736</c:v>
                </c:pt>
                <c:pt idx="252">
                  <c:v>37739</c:v>
                </c:pt>
                <c:pt idx="253">
                  <c:v>37740</c:v>
                </c:pt>
                <c:pt idx="254">
                  <c:v>37741</c:v>
                </c:pt>
                <c:pt idx="255">
                  <c:v>37753</c:v>
                </c:pt>
                <c:pt idx="256">
                  <c:v>37754</c:v>
                </c:pt>
                <c:pt idx="257">
                  <c:v>37755</c:v>
                </c:pt>
                <c:pt idx="258">
                  <c:v>37756</c:v>
                </c:pt>
                <c:pt idx="259">
                  <c:v>37757</c:v>
                </c:pt>
                <c:pt idx="260">
                  <c:v>37760</c:v>
                </c:pt>
                <c:pt idx="261">
                  <c:v>37761</c:v>
                </c:pt>
                <c:pt idx="262">
                  <c:v>37762</c:v>
                </c:pt>
                <c:pt idx="263">
                  <c:v>37763</c:v>
                </c:pt>
                <c:pt idx="264">
                  <c:v>37764</c:v>
                </c:pt>
                <c:pt idx="265">
                  <c:v>37767</c:v>
                </c:pt>
                <c:pt idx="266">
                  <c:v>37768</c:v>
                </c:pt>
                <c:pt idx="267">
                  <c:v>37769</c:v>
                </c:pt>
                <c:pt idx="268">
                  <c:v>37770</c:v>
                </c:pt>
                <c:pt idx="269">
                  <c:v>37771</c:v>
                </c:pt>
                <c:pt idx="270">
                  <c:v>37774</c:v>
                </c:pt>
                <c:pt idx="271">
                  <c:v>37775</c:v>
                </c:pt>
                <c:pt idx="272">
                  <c:v>37776</c:v>
                </c:pt>
                <c:pt idx="273">
                  <c:v>37777</c:v>
                </c:pt>
                <c:pt idx="274">
                  <c:v>37778</c:v>
                </c:pt>
                <c:pt idx="275">
                  <c:v>37781</c:v>
                </c:pt>
                <c:pt idx="276">
                  <c:v>37782</c:v>
                </c:pt>
                <c:pt idx="277">
                  <c:v>37783</c:v>
                </c:pt>
                <c:pt idx="278">
                  <c:v>37784</c:v>
                </c:pt>
                <c:pt idx="279">
                  <c:v>37785</c:v>
                </c:pt>
                <c:pt idx="280">
                  <c:v>37788</c:v>
                </c:pt>
                <c:pt idx="281">
                  <c:v>37789</c:v>
                </c:pt>
                <c:pt idx="282">
                  <c:v>37790</c:v>
                </c:pt>
                <c:pt idx="283">
                  <c:v>37791</c:v>
                </c:pt>
                <c:pt idx="284">
                  <c:v>37792</c:v>
                </c:pt>
                <c:pt idx="285">
                  <c:v>37795</c:v>
                </c:pt>
                <c:pt idx="286">
                  <c:v>37796</c:v>
                </c:pt>
                <c:pt idx="287">
                  <c:v>37797</c:v>
                </c:pt>
                <c:pt idx="288">
                  <c:v>37798</c:v>
                </c:pt>
                <c:pt idx="289">
                  <c:v>37799</c:v>
                </c:pt>
                <c:pt idx="290">
                  <c:v>37802</c:v>
                </c:pt>
                <c:pt idx="291">
                  <c:v>37803</c:v>
                </c:pt>
                <c:pt idx="292">
                  <c:v>37804</c:v>
                </c:pt>
                <c:pt idx="293">
                  <c:v>37805</c:v>
                </c:pt>
                <c:pt idx="294">
                  <c:v>37806</c:v>
                </c:pt>
                <c:pt idx="295">
                  <c:v>37809</c:v>
                </c:pt>
                <c:pt idx="296">
                  <c:v>37810</c:v>
                </c:pt>
                <c:pt idx="297">
                  <c:v>37811</c:v>
                </c:pt>
                <c:pt idx="298">
                  <c:v>37812</c:v>
                </c:pt>
                <c:pt idx="299">
                  <c:v>37813</c:v>
                </c:pt>
                <c:pt idx="300">
                  <c:v>37816</c:v>
                </c:pt>
                <c:pt idx="301">
                  <c:v>37817</c:v>
                </c:pt>
                <c:pt idx="302">
                  <c:v>37818</c:v>
                </c:pt>
                <c:pt idx="303">
                  <c:v>37819</c:v>
                </c:pt>
                <c:pt idx="304">
                  <c:v>37820</c:v>
                </c:pt>
                <c:pt idx="305">
                  <c:v>37823</c:v>
                </c:pt>
                <c:pt idx="306">
                  <c:v>37824</c:v>
                </c:pt>
                <c:pt idx="307">
                  <c:v>37825</c:v>
                </c:pt>
                <c:pt idx="308">
                  <c:v>37826</c:v>
                </c:pt>
                <c:pt idx="309">
                  <c:v>37827</c:v>
                </c:pt>
                <c:pt idx="310">
                  <c:v>37830</c:v>
                </c:pt>
                <c:pt idx="311">
                  <c:v>37831</c:v>
                </c:pt>
                <c:pt idx="312">
                  <c:v>37832</c:v>
                </c:pt>
                <c:pt idx="313">
                  <c:v>37833</c:v>
                </c:pt>
                <c:pt idx="314">
                  <c:v>37834</c:v>
                </c:pt>
                <c:pt idx="315">
                  <c:v>37837</c:v>
                </c:pt>
                <c:pt idx="316">
                  <c:v>37838</c:v>
                </c:pt>
                <c:pt idx="317">
                  <c:v>37839</c:v>
                </c:pt>
                <c:pt idx="318">
                  <c:v>37840</c:v>
                </c:pt>
                <c:pt idx="319">
                  <c:v>37841</c:v>
                </c:pt>
                <c:pt idx="320">
                  <c:v>37844</c:v>
                </c:pt>
                <c:pt idx="321">
                  <c:v>37845</c:v>
                </c:pt>
                <c:pt idx="322">
                  <c:v>37846</c:v>
                </c:pt>
                <c:pt idx="323">
                  <c:v>37847</c:v>
                </c:pt>
                <c:pt idx="324">
                  <c:v>37848</c:v>
                </c:pt>
                <c:pt idx="325">
                  <c:v>37851</c:v>
                </c:pt>
                <c:pt idx="326">
                  <c:v>37852</c:v>
                </c:pt>
                <c:pt idx="327">
                  <c:v>37853</c:v>
                </c:pt>
                <c:pt idx="328">
                  <c:v>37854</c:v>
                </c:pt>
                <c:pt idx="329">
                  <c:v>37855</c:v>
                </c:pt>
                <c:pt idx="330">
                  <c:v>37858</c:v>
                </c:pt>
                <c:pt idx="331">
                  <c:v>37859</c:v>
                </c:pt>
                <c:pt idx="332">
                  <c:v>37860</c:v>
                </c:pt>
                <c:pt idx="333">
                  <c:v>37861</c:v>
                </c:pt>
                <c:pt idx="334">
                  <c:v>37862</c:v>
                </c:pt>
                <c:pt idx="335">
                  <c:v>37865</c:v>
                </c:pt>
                <c:pt idx="336">
                  <c:v>37866</c:v>
                </c:pt>
                <c:pt idx="337">
                  <c:v>37867</c:v>
                </c:pt>
                <c:pt idx="338">
                  <c:v>37868</c:v>
                </c:pt>
                <c:pt idx="339">
                  <c:v>37869</c:v>
                </c:pt>
                <c:pt idx="340">
                  <c:v>37872</c:v>
                </c:pt>
                <c:pt idx="341">
                  <c:v>37873</c:v>
                </c:pt>
                <c:pt idx="342">
                  <c:v>37874</c:v>
                </c:pt>
                <c:pt idx="343">
                  <c:v>37875</c:v>
                </c:pt>
                <c:pt idx="344">
                  <c:v>37876</c:v>
                </c:pt>
                <c:pt idx="345">
                  <c:v>37879</c:v>
                </c:pt>
                <c:pt idx="346">
                  <c:v>37880</c:v>
                </c:pt>
                <c:pt idx="347">
                  <c:v>37881</c:v>
                </c:pt>
                <c:pt idx="348">
                  <c:v>37882</c:v>
                </c:pt>
                <c:pt idx="349">
                  <c:v>37883</c:v>
                </c:pt>
                <c:pt idx="350">
                  <c:v>37886</c:v>
                </c:pt>
                <c:pt idx="351">
                  <c:v>37887</c:v>
                </c:pt>
                <c:pt idx="352">
                  <c:v>37888</c:v>
                </c:pt>
                <c:pt idx="353">
                  <c:v>37889</c:v>
                </c:pt>
                <c:pt idx="354">
                  <c:v>37890</c:v>
                </c:pt>
                <c:pt idx="355">
                  <c:v>37893</c:v>
                </c:pt>
                <c:pt idx="356">
                  <c:v>37894</c:v>
                </c:pt>
                <c:pt idx="357">
                  <c:v>37902</c:v>
                </c:pt>
                <c:pt idx="358">
                  <c:v>37903</c:v>
                </c:pt>
                <c:pt idx="359">
                  <c:v>37904</c:v>
                </c:pt>
                <c:pt idx="360">
                  <c:v>37907</c:v>
                </c:pt>
                <c:pt idx="361">
                  <c:v>37908</c:v>
                </c:pt>
                <c:pt idx="362">
                  <c:v>37909</c:v>
                </c:pt>
                <c:pt idx="363">
                  <c:v>37910</c:v>
                </c:pt>
                <c:pt idx="364">
                  <c:v>37911</c:v>
                </c:pt>
                <c:pt idx="365">
                  <c:v>37914</c:v>
                </c:pt>
                <c:pt idx="366">
                  <c:v>37915</c:v>
                </c:pt>
                <c:pt idx="367">
                  <c:v>37916</c:v>
                </c:pt>
                <c:pt idx="368">
                  <c:v>37917</c:v>
                </c:pt>
                <c:pt idx="369">
                  <c:v>37918</c:v>
                </c:pt>
                <c:pt idx="370">
                  <c:v>37921</c:v>
                </c:pt>
                <c:pt idx="371">
                  <c:v>37922</c:v>
                </c:pt>
                <c:pt idx="372">
                  <c:v>37923</c:v>
                </c:pt>
                <c:pt idx="373">
                  <c:v>37924</c:v>
                </c:pt>
                <c:pt idx="374">
                  <c:v>37925</c:v>
                </c:pt>
                <c:pt idx="375">
                  <c:v>37928</c:v>
                </c:pt>
                <c:pt idx="376">
                  <c:v>37929</c:v>
                </c:pt>
                <c:pt idx="377">
                  <c:v>37930</c:v>
                </c:pt>
                <c:pt idx="378">
                  <c:v>37931</c:v>
                </c:pt>
                <c:pt idx="379">
                  <c:v>37932</c:v>
                </c:pt>
                <c:pt idx="380">
                  <c:v>37935</c:v>
                </c:pt>
                <c:pt idx="381">
                  <c:v>37936</c:v>
                </c:pt>
                <c:pt idx="382">
                  <c:v>37937</c:v>
                </c:pt>
                <c:pt idx="383">
                  <c:v>37938</c:v>
                </c:pt>
                <c:pt idx="384">
                  <c:v>37939</c:v>
                </c:pt>
                <c:pt idx="385">
                  <c:v>37942</c:v>
                </c:pt>
                <c:pt idx="386">
                  <c:v>37943</c:v>
                </c:pt>
                <c:pt idx="387">
                  <c:v>37944</c:v>
                </c:pt>
                <c:pt idx="388">
                  <c:v>37945</c:v>
                </c:pt>
                <c:pt idx="389">
                  <c:v>37946</c:v>
                </c:pt>
                <c:pt idx="390">
                  <c:v>37949</c:v>
                </c:pt>
                <c:pt idx="391">
                  <c:v>37950</c:v>
                </c:pt>
                <c:pt idx="392">
                  <c:v>37951</c:v>
                </c:pt>
                <c:pt idx="393">
                  <c:v>37952</c:v>
                </c:pt>
                <c:pt idx="394">
                  <c:v>37953</c:v>
                </c:pt>
                <c:pt idx="395">
                  <c:v>37956</c:v>
                </c:pt>
                <c:pt idx="396">
                  <c:v>37957</c:v>
                </c:pt>
                <c:pt idx="397">
                  <c:v>37958</c:v>
                </c:pt>
                <c:pt idx="398">
                  <c:v>37959</c:v>
                </c:pt>
                <c:pt idx="399">
                  <c:v>37960</c:v>
                </c:pt>
                <c:pt idx="400">
                  <c:v>37963</c:v>
                </c:pt>
                <c:pt idx="401">
                  <c:v>37964</c:v>
                </c:pt>
                <c:pt idx="402">
                  <c:v>37965</c:v>
                </c:pt>
                <c:pt idx="403">
                  <c:v>37966</c:v>
                </c:pt>
                <c:pt idx="404">
                  <c:v>37967</c:v>
                </c:pt>
                <c:pt idx="405">
                  <c:v>37970</c:v>
                </c:pt>
                <c:pt idx="406">
                  <c:v>37971</c:v>
                </c:pt>
                <c:pt idx="407">
                  <c:v>37972</c:v>
                </c:pt>
                <c:pt idx="408">
                  <c:v>37973</c:v>
                </c:pt>
                <c:pt idx="409">
                  <c:v>37974</c:v>
                </c:pt>
                <c:pt idx="410">
                  <c:v>37977</c:v>
                </c:pt>
                <c:pt idx="411">
                  <c:v>37978</c:v>
                </c:pt>
                <c:pt idx="412">
                  <c:v>37979</c:v>
                </c:pt>
                <c:pt idx="413">
                  <c:v>37980</c:v>
                </c:pt>
                <c:pt idx="414">
                  <c:v>37981</c:v>
                </c:pt>
                <c:pt idx="415">
                  <c:v>37984</c:v>
                </c:pt>
                <c:pt idx="416">
                  <c:v>37985</c:v>
                </c:pt>
                <c:pt idx="417">
                  <c:v>37986</c:v>
                </c:pt>
                <c:pt idx="418">
                  <c:v>37988</c:v>
                </c:pt>
                <c:pt idx="419">
                  <c:v>37991</c:v>
                </c:pt>
                <c:pt idx="420">
                  <c:v>37992</c:v>
                </c:pt>
                <c:pt idx="421">
                  <c:v>37993</c:v>
                </c:pt>
                <c:pt idx="422">
                  <c:v>37994</c:v>
                </c:pt>
                <c:pt idx="423">
                  <c:v>37995</c:v>
                </c:pt>
                <c:pt idx="424">
                  <c:v>37998</c:v>
                </c:pt>
                <c:pt idx="425">
                  <c:v>37999</c:v>
                </c:pt>
                <c:pt idx="426">
                  <c:v>38000</c:v>
                </c:pt>
                <c:pt idx="427">
                  <c:v>38001</c:v>
                </c:pt>
                <c:pt idx="428">
                  <c:v>38002</c:v>
                </c:pt>
                <c:pt idx="429">
                  <c:v>38015</c:v>
                </c:pt>
                <c:pt idx="430">
                  <c:v>38016</c:v>
                </c:pt>
                <c:pt idx="431">
                  <c:v>38019</c:v>
                </c:pt>
                <c:pt idx="432">
                  <c:v>38020</c:v>
                </c:pt>
                <c:pt idx="433">
                  <c:v>38021</c:v>
                </c:pt>
                <c:pt idx="434">
                  <c:v>38022</c:v>
                </c:pt>
                <c:pt idx="435">
                  <c:v>38023</c:v>
                </c:pt>
                <c:pt idx="436">
                  <c:v>38026</c:v>
                </c:pt>
                <c:pt idx="437">
                  <c:v>38027</c:v>
                </c:pt>
                <c:pt idx="438">
                  <c:v>38028</c:v>
                </c:pt>
                <c:pt idx="439">
                  <c:v>38029</c:v>
                </c:pt>
                <c:pt idx="440">
                  <c:v>38030</c:v>
                </c:pt>
                <c:pt idx="441">
                  <c:v>38033</c:v>
                </c:pt>
                <c:pt idx="442">
                  <c:v>38034</c:v>
                </c:pt>
                <c:pt idx="443">
                  <c:v>38035</c:v>
                </c:pt>
                <c:pt idx="444">
                  <c:v>38036</c:v>
                </c:pt>
                <c:pt idx="445">
                  <c:v>38037</c:v>
                </c:pt>
                <c:pt idx="446">
                  <c:v>38040</c:v>
                </c:pt>
                <c:pt idx="447">
                  <c:v>38041</c:v>
                </c:pt>
                <c:pt idx="448">
                  <c:v>38042</c:v>
                </c:pt>
                <c:pt idx="449">
                  <c:v>38043</c:v>
                </c:pt>
                <c:pt idx="450">
                  <c:v>38044</c:v>
                </c:pt>
                <c:pt idx="451">
                  <c:v>38047</c:v>
                </c:pt>
                <c:pt idx="452">
                  <c:v>38048</c:v>
                </c:pt>
                <c:pt idx="453">
                  <c:v>38049</c:v>
                </c:pt>
                <c:pt idx="454">
                  <c:v>38050</c:v>
                </c:pt>
                <c:pt idx="455">
                  <c:v>38051</c:v>
                </c:pt>
                <c:pt idx="456">
                  <c:v>38054</c:v>
                </c:pt>
                <c:pt idx="457">
                  <c:v>38055</c:v>
                </c:pt>
                <c:pt idx="458">
                  <c:v>38056</c:v>
                </c:pt>
                <c:pt idx="459">
                  <c:v>38057</c:v>
                </c:pt>
                <c:pt idx="460">
                  <c:v>38058</c:v>
                </c:pt>
                <c:pt idx="461">
                  <c:v>38061</c:v>
                </c:pt>
                <c:pt idx="462">
                  <c:v>38062</c:v>
                </c:pt>
                <c:pt idx="463">
                  <c:v>38063</c:v>
                </c:pt>
                <c:pt idx="464">
                  <c:v>38064</c:v>
                </c:pt>
                <c:pt idx="465">
                  <c:v>38065</c:v>
                </c:pt>
                <c:pt idx="466">
                  <c:v>38068</c:v>
                </c:pt>
                <c:pt idx="467">
                  <c:v>38069</c:v>
                </c:pt>
                <c:pt idx="468">
                  <c:v>38070</c:v>
                </c:pt>
                <c:pt idx="469">
                  <c:v>38071</c:v>
                </c:pt>
                <c:pt idx="470">
                  <c:v>38072</c:v>
                </c:pt>
                <c:pt idx="471">
                  <c:v>38075</c:v>
                </c:pt>
                <c:pt idx="472">
                  <c:v>38076</c:v>
                </c:pt>
                <c:pt idx="473">
                  <c:v>38077</c:v>
                </c:pt>
                <c:pt idx="474">
                  <c:v>38078</c:v>
                </c:pt>
                <c:pt idx="475">
                  <c:v>38079</c:v>
                </c:pt>
                <c:pt idx="476">
                  <c:v>38082</c:v>
                </c:pt>
                <c:pt idx="477">
                  <c:v>38083</c:v>
                </c:pt>
                <c:pt idx="478">
                  <c:v>38084</c:v>
                </c:pt>
                <c:pt idx="479">
                  <c:v>38085</c:v>
                </c:pt>
                <c:pt idx="480">
                  <c:v>38086</c:v>
                </c:pt>
                <c:pt idx="481">
                  <c:v>38089</c:v>
                </c:pt>
                <c:pt idx="482">
                  <c:v>38090</c:v>
                </c:pt>
                <c:pt idx="483">
                  <c:v>38091</c:v>
                </c:pt>
                <c:pt idx="484">
                  <c:v>38092</c:v>
                </c:pt>
                <c:pt idx="485">
                  <c:v>38093</c:v>
                </c:pt>
                <c:pt idx="486">
                  <c:v>38096</c:v>
                </c:pt>
                <c:pt idx="487">
                  <c:v>38097</c:v>
                </c:pt>
                <c:pt idx="488">
                  <c:v>38098</c:v>
                </c:pt>
                <c:pt idx="489">
                  <c:v>38099</c:v>
                </c:pt>
                <c:pt idx="490">
                  <c:v>38100</c:v>
                </c:pt>
                <c:pt idx="491">
                  <c:v>38103</c:v>
                </c:pt>
                <c:pt idx="492">
                  <c:v>38104</c:v>
                </c:pt>
                <c:pt idx="493">
                  <c:v>38105</c:v>
                </c:pt>
                <c:pt idx="494">
                  <c:v>38106</c:v>
                </c:pt>
                <c:pt idx="495">
                  <c:v>38107</c:v>
                </c:pt>
                <c:pt idx="496">
                  <c:v>38117</c:v>
                </c:pt>
                <c:pt idx="497">
                  <c:v>38118</c:v>
                </c:pt>
                <c:pt idx="498">
                  <c:v>38119</c:v>
                </c:pt>
                <c:pt idx="499">
                  <c:v>38120</c:v>
                </c:pt>
                <c:pt idx="500">
                  <c:v>38121</c:v>
                </c:pt>
                <c:pt idx="501">
                  <c:v>38124</c:v>
                </c:pt>
                <c:pt idx="502">
                  <c:v>38125</c:v>
                </c:pt>
                <c:pt idx="503">
                  <c:v>38126</c:v>
                </c:pt>
                <c:pt idx="504">
                  <c:v>38127</c:v>
                </c:pt>
                <c:pt idx="505">
                  <c:v>38128</c:v>
                </c:pt>
                <c:pt idx="506">
                  <c:v>38131</c:v>
                </c:pt>
                <c:pt idx="507">
                  <c:v>38132</c:v>
                </c:pt>
                <c:pt idx="508">
                  <c:v>38133</c:v>
                </c:pt>
                <c:pt idx="509">
                  <c:v>38134</c:v>
                </c:pt>
                <c:pt idx="510">
                  <c:v>38135</c:v>
                </c:pt>
                <c:pt idx="511">
                  <c:v>38138</c:v>
                </c:pt>
                <c:pt idx="512">
                  <c:v>38139</c:v>
                </c:pt>
                <c:pt idx="513">
                  <c:v>38140</c:v>
                </c:pt>
                <c:pt idx="514">
                  <c:v>38141</c:v>
                </c:pt>
                <c:pt idx="515">
                  <c:v>38142</c:v>
                </c:pt>
                <c:pt idx="516">
                  <c:v>38145</c:v>
                </c:pt>
                <c:pt idx="517">
                  <c:v>38146</c:v>
                </c:pt>
                <c:pt idx="518">
                  <c:v>38147</c:v>
                </c:pt>
                <c:pt idx="519">
                  <c:v>38148</c:v>
                </c:pt>
                <c:pt idx="520">
                  <c:v>38149</c:v>
                </c:pt>
                <c:pt idx="521">
                  <c:v>38152</c:v>
                </c:pt>
                <c:pt idx="522">
                  <c:v>38153</c:v>
                </c:pt>
                <c:pt idx="523">
                  <c:v>38154</c:v>
                </c:pt>
                <c:pt idx="524">
                  <c:v>38155</c:v>
                </c:pt>
                <c:pt idx="525">
                  <c:v>38156</c:v>
                </c:pt>
                <c:pt idx="526">
                  <c:v>38159</c:v>
                </c:pt>
                <c:pt idx="527">
                  <c:v>38160</c:v>
                </c:pt>
                <c:pt idx="528">
                  <c:v>38161</c:v>
                </c:pt>
                <c:pt idx="529">
                  <c:v>38162</c:v>
                </c:pt>
                <c:pt idx="530">
                  <c:v>38163</c:v>
                </c:pt>
                <c:pt idx="531">
                  <c:v>38166</c:v>
                </c:pt>
                <c:pt idx="532">
                  <c:v>38167</c:v>
                </c:pt>
                <c:pt idx="533">
                  <c:v>38168</c:v>
                </c:pt>
                <c:pt idx="534">
                  <c:v>38169</c:v>
                </c:pt>
                <c:pt idx="535">
                  <c:v>38170</c:v>
                </c:pt>
                <c:pt idx="536">
                  <c:v>38173</c:v>
                </c:pt>
                <c:pt idx="537">
                  <c:v>38174</c:v>
                </c:pt>
                <c:pt idx="538">
                  <c:v>38175</c:v>
                </c:pt>
                <c:pt idx="539">
                  <c:v>38176</c:v>
                </c:pt>
                <c:pt idx="540">
                  <c:v>38177</c:v>
                </c:pt>
                <c:pt idx="541">
                  <c:v>38180</c:v>
                </c:pt>
                <c:pt idx="542">
                  <c:v>38181</c:v>
                </c:pt>
                <c:pt idx="543">
                  <c:v>38182</c:v>
                </c:pt>
                <c:pt idx="544">
                  <c:v>38183</c:v>
                </c:pt>
                <c:pt idx="545">
                  <c:v>38184</c:v>
                </c:pt>
                <c:pt idx="546">
                  <c:v>38187</c:v>
                </c:pt>
                <c:pt idx="547">
                  <c:v>38188</c:v>
                </c:pt>
                <c:pt idx="548">
                  <c:v>38189</c:v>
                </c:pt>
                <c:pt idx="549">
                  <c:v>38190</c:v>
                </c:pt>
                <c:pt idx="550">
                  <c:v>38191</c:v>
                </c:pt>
                <c:pt idx="551">
                  <c:v>38194</c:v>
                </c:pt>
                <c:pt idx="552">
                  <c:v>38195</c:v>
                </c:pt>
                <c:pt idx="553">
                  <c:v>38196</c:v>
                </c:pt>
                <c:pt idx="554">
                  <c:v>38197</c:v>
                </c:pt>
                <c:pt idx="555">
                  <c:v>38198</c:v>
                </c:pt>
                <c:pt idx="556">
                  <c:v>38201</c:v>
                </c:pt>
                <c:pt idx="557">
                  <c:v>38202</c:v>
                </c:pt>
                <c:pt idx="558">
                  <c:v>38203</c:v>
                </c:pt>
                <c:pt idx="559">
                  <c:v>38204</c:v>
                </c:pt>
                <c:pt idx="560">
                  <c:v>38205</c:v>
                </c:pt>
                <c:pt idx="561">
                  <c:v>38208</c:v>
                </c:pt>
                <c:pt idx="562">
                  <c:v>38209</c:v>
                </c:pt>
                <c:pt idx="563">
                  <c:v>38210</c:v>
                </c:pt>
                <c:pt idx="564">
                  <c:v>38211</c:v>
                </c:pt>
                <c:pt idx="565">
                  <c:v>38212</c:v>
                </c:pt>
                <c:pt idx="566">
                  <c:v>38215</c:v>
                </c:pt>
                <c:pt idx="567">
                  <c:v>38216</c:v>
                </c:pt>
                <c:pt idx="568">
                  <c:v>38217</c:v>
                </c:pt>
                <c:pt idx="569">
                  <c:v>38218</c:v>
                </c:pt>
                <c:pt idx="570">
                  <c:v>38219</c:v>
                </c:pt>
                <c:pt idx="571">
                  <c:v>38222</c:v>
                </c:pt>
                <c:pt idx="572">
                  <c:v>38223</c:v>
                </c:pt>
                <c:pt idx="573">
                  <c:v>38224</c:v>
                </c:pt>
                <c:pt idx="574">
                  <c:v>38225</c:v>
                </c:pt>
                <c:pt idx="575">
                  <c:v>38226</c:v>
                </c:pt>
                <c:pt idx="576">
                  <c:v>38229</c:v>
                </c:pt>
                <c:pt idx="577">
                  <c:v>38230</c:v>
                </c:pt>
                <c:pt idx="578">
                  <c:v>38231</c:v>
                </c:pt>
                <c:pt idx="579">
                  <c:v>38232</c:v>
                </c:pt>
                <c:pt idx="580">
                  <c:v>38233</c:v>
                </c:pt>
                <c:pt idx="581">
                  <c:v>38236</c:v>
                </c:pt>
                <c:pt idx="582">
                  <c:v>38237</c:v>
                </c:pt>
                <c:pt idx="583">
                  <c:v>38238</c:v>
                </c:pt>
                <c:pt idx="584">
                  <c:v>38239</c:v>
                </c:pt>
                <c:pt idx="585">
                  <c:v>38240</c:v>
                </c:pt>
                <c:pt idx="586">
                  <c:v>38243</c:v>
                </c:pt>
                <c:pt idx="587">
                  <c:v>38244</c:v>
                </c:pt>
                <c:pt idx="588">
                  <c:v>38245</c:v>
                </c:pt>
                <c:pt idx="589">
                  <c:v>38246</c:v>
                </c:pt>
                <c:pt idx="590">
                  <c:v>38247</c:v>
                </c:pt>
                <c:pt idx="591">
                  <c:v>38250</c:v>
                </c:pt>
                <c:pt idx="592">
                  <c:v>38251</c:v>
                </c:pt>
                <c:pt idx="593">
                  <c:v>38252</c:v>
                </c:pt>
                <c:pt idx="594">
                  <c:v>38253</c:v>
                </c:pt>
                <c:pt idx="595">
                  <c:v>38254</c:v>
                </c:pt>
                <c:pt idx="596">
                  <c:v>38257</c:v>
                </c:pt>
                <c:pt idx="597">
                  <c:v>38258</c:v>
                </c:pt>
                <c:pt idx="598">
                  <c:v>38259</c:v>
                </c:pt>
                <c:pt idx="599">
                  <c:v>38260</c:v>
                </c:pt>
                <c:pt idx="600">
                  <c:v>38268</c:v>
                </c:pt>
                <c:pt idx="601">
                  <c:v>38271</c:v>
                </c:pt>
                <c:pt idx="602">
                  <c:v>38272</c:v>
                </c:pt>
                <c:pt idx="603">
                  <c:v>38273</c:v>
                </c:pt>
                <c:pt idx="604">
                  <c:v>38274</c:v>
                </c:pt>
                <c:pt idx="605">
                  <c:v>38275</c:v>
                </c:pt>
                <c:pt idx="606">
                  <c:v>38278</c:v>
                </c:pt>
                <c:pt idx="607">
                  <c:v>38279</c:v>
                </c:pt>
                <c:pt idx="608">
                  <c:v>38280</c:v>
                </c:pt>
                <c:pt idx="609">
                  <c:v>38281</c:v>
                </c:pt>
                <c:pt idx="610">
                  <c:v>38282</c:v>
                </c:pt>
                <c:pt idx="611">
                  <c:v>38285</c:v>
                </c:pt>
                <c:pt idx="612">
                  <c:v>38286</c:v>
                </c:pt>
                <c:pt idx="613">
                  <c:v>38287</c:v>
                </c:pt>
                <c:pt idx="614">
                  <c:v>38288</c:v>
                </c:pt>
                <c:pt idx="615">
                  <c:v>38289</c:v>
                </c:pt>
                <c:pt idx="616">
                  <c:v>38292</c:v>
                </c:pt>
                <c:pt idx="617">
                  <c:v>38293</c:v>
                </c:pt>
                <c:pt idx="618">
                  <c:v>38294</c:v>
                </c:pt>
                <c:pt idx="619">
                  <c:v>38295</c:v>
                </c:pt>
                <c:pt idx="620">
                  <c:v>38296</c:v>
                </c:pt>
                <c:pt idx="621">
                  <c:v>38299</c:v>
                </c:pt>
                <c:pt idx="622">
                  <c:v>38300</c:v>
                </c:pt>
                <c:pt idx="623">
                  <c:v>38301</c:v>
                </c:pt>
                <c:pt idx="624">
                  <c:v>38302</c:v>
                </c:pt>
                <c:pt idx="625">
                  <c:v>38303</c:v>
                </c:pt>
                <c:pt idx="626">
                  <c:v>38306</c:v>
                </c:pt>
                <c:pt idx="627">
                  <c:v>38307</c:v>
                </c:pt>
                <c:pt idx="628">
                  <c:v>38308</c:v>
                </c:pt>
                <c:pt idx="629">
                  <c:v>38309</c:v>
                </c:pt>
                <c:pt idx="630">
                  <c:v>38310</c:v>
                </c:pt>
                <c:pt idx="631">
                  <c:v>38313</c:v>
                </c:pt>
                <c:pt idx="632">
                  <c:v>38314</c:v>
                </c:pt>
                <c:pt idx="633">
                  <c:v>38315</c:v>
                </c:pt>
                <c:pt idx="634">
                  <c:v>38316</c:v>
                </c:pt>
                <c:pt idx="635">
                  <c:v>38317</c:v>
                </c:pt>
                <c:pt idx="636">
                  <c:v>38320</c:v>
                </c:pt>
                <c:pt idx="637">
                  <c:v>38321</c:v>
                </c:pt>
                <c:pt idx="638">
                  <c:v>38322</c:v>
                </c:pt>
                <c:pt idx="639">
                  <c:v>38323</c:v>
                </c:pt>
                <c:pt idx="640">
                  <c:v>38324</c:v>
                </c:pt>
                <c:pt idx="641">
                  <c:v>38327</c:v>
                </c:pt>
                <c:pt idx="642">
                  <c:v>38328</c:v>
                </c:pt>
                <c:pt idx="643">
                  <c:v>38329</c:v>
                </c:pt>
                <c:pt idx="644">
                  <c:v>38330</c:v>
                </c:pt>
                <c:pt idx="645">
                  <c:v>38331</c:v>
                </c:pt>
                <c:pt idx="646">
                  <c:v>38334</c:v>
                </c:pt>
                <c:pt idx="647">
                  <c:v>38335</c:v>
                </c:pt>
                <c:pt idx="648">
                  <c:v>38336</c:v>
                </c:pt>
                <c:pt idx="649">
                  <c:v>38337</c:v>
                </c:pt>
                <c:pt idx="650">
                  <c:v>38338</c:v>
                </c:pt>
                <c:pt idx="651">
                  <c:v>38341</c:v>
                </c:pt>
                <c:pt idx="652">
                  <c:v>38342</c:v>
                </c:pt>
                <c:pt idx="653">
                  <c:v>38343</c:v>
                </c:pt>
                <c:pt idx="654">
                  <c:v>38344</c:v>
                </c:pt>
                <c:pt idx="655">
                  <c:v>38345</c:v>
                </c:pt>
                <c:pt idx="656">
                  <c:v>38348</c:v>
                </c:pt>
                <c:pt idx="657">
                  <c:v>38349</c:v>
                </c:pt>
                <c:pt idx="658">
                  <c:v>38350</c:v>
                </c:pt>
                <c:pt idx="659">
                  <c:v>38351</c:v>
                </c:pt>
                <c:pt idx="660">
                  <c:v>38352</c:v>
                </c:pt>
                <c:pt idx="661">
                  <c:v>38356</c:v>
                </c:pt>
                <c:pt idx="662">
                  <c:v>38357</c:v>
                </c:pt>
                <c:pt idx="663">
                  <c:v>38358</c:v>
                </c:pt>
                <c:pt idx="664">
                  <c:v>38359</c:v>
                </c:pt>
                <c:pt idx="665">
                  <c:v>38362</c:v>
                </c:pt>
                <c:pt idx="666">
                  <c:v>38363</c:v>
                </c:pt>
                <c:pt idx="667">
                  <c:v>38364</c:v>
                </c:pt>
                <c:pt idx="668">
                  <c:v>38365</c:v>
                </c:pt>
                <c:pt idx="669">
                  <c:v>38366</c:v>
                </c:pt>
                <c:pt idx="670">
                  <c:v>38369</c:v>
                </c:pt>
                <c:pt idx="671">
                  <c:v>38370</c:v>
                </c:pt>
                <c:pt idx="672">
                  <c:v>38371</c:v>
                </c:pt>
                <c:pt idx="673">
                  <c:v>38372</c:v>
                </c:pt>
                <c:pt idx="674">
                  <c:v>38373</c:v>
                </c:pt>
                <c:pt idx="675">
                  <c:v>38376</c:v>
                </c:pt>
                <c:pt idx="676">
                  <c:v>38377</c:v>
                </c:pt>
                <c:pt idx="677">
                  <c:v>38378</c:v>
                </c:pt>
                <c:pt idx="678">
                  <c:v>38379</c:v>
                </c:pt>
                <c:pt idx="679">
                  <c:v>38380</c:v>
                </c:pt>
                <c:pt idx="680">
                  <c:v>38383</c:v>
                </c:pt>
                <c:pt idx="681">
                  <c:v>38384</c:v>
                </c:pt>
                <c:pt idx="682">
                  <c:v>38385</c:v>
                </c:pt>
                <c:pt idx="683">
                  <c:v>38386</c:v>
                </c:pt>
                <c:pt idx="684">
                  <c:v>38387</c:v>
                </c:pt>
                <c:pt idx="685">
                  <c:v>38399</c:v>
                </c:pt>
                <c:pt idx="686">
                  <c:v>38400</c:v>
                </c:pt>
                <c:pt idx="687">
                  <c:v>38401</c:v>
                </c:pt>
                <c:pt idx="688">
                  <c:v>38404</c:v>
                </c:pt>
                <c:pt idx="689">
                  <c:v>38405</c:v>
                </c:pt>
                <c:pt idx="690">
                  <c:v>38406</c:v>
                </c:pt>
                <c:pt idx="691">
                  <c:v>38407</c:v>
                </c:pt>
                <c:pt idx="692">
                  <c:v>38408</c:v>
                </c:pt>
                <c:pt idx="693">
                  <c:v>38411</c:v>
                </c:pt>
                <c:pt idx="694">
                  <c:v>38412</c:v>
                </c:pt>
                <c:pt idx="695">
                  <c:v>38413</c:v>
                </c:pt>
                <c:pt idx="696">
                  <c:v>38414</c:v>
                </c:pt>
                <c:pt idx="697">
                  <c:v>38415</c:v>
                </c:pt>
                <c:pt idx="698">
                  <c:v>38418</c:v>
                </c:pt>
                <c:pt idx="699">
                  <c:v>38419</c:v>
                </c:pt>
                <c:pt idx="700">
                  <c:v>38420</c:v>
                </c:pt>
                <c:pt idx="701">
                  <c:v>38421</c:v>
                </c:pt>
                <c:pt idx="702">
                  <c:v>38422</c:v>
                </c:pt>
                <c:pt idx="703">
                  <c:v>38425</c:v>
                </c:pt>
                <c:pt idx="704">
                  <c:v>38426</c:v>
                </c:pt>
                <c:pt idx="705">
                  <c:v>38427</c:v>
                </c:pt>
                <c:pt idx="706">
                  <c:v>38428</c:v>
                </c:pt>
                <c:pt idx="707">
                  <c:v>38429</c:v>
                </c:pt>
                <c:pt idx="708">
                  <c:v>38432</c:v>
                </c:pt>
                <c:pt idx="709">
                  <c:v>38433</c:v>
                </c:pt>
                <c:pt idx="710">
                  <c:v>38434</c:v>
                </c:pt>
                <c:pt idx="711">
                  <c:v>38435</c:v>
                </c:pt>
                <c:pt idx="712">
                  <c:v>38436</c:v>
                </c:pt>
                <c:pt idx="713">
                  <c:v>38439</c:v>
                </c:pt>
                <c:pt idx="714">
                  <c:v>38440</c:v>
                </c:pt>
                <c:pt idx="715">
                  <c:v>38441</c:v>
                </c:pt>
                <c:pt idx="716">
                  <c:v>38442</c:v>
                </c:pt>
                <c:pt idx="717">
                  <c:v>38443</c:v>
                </c:pt>
                <c:pt idx="718">
                  <c:v>38446</c:v>
                </c:pt>
                <c:pt idx="719">
                  <c:v>38447</c:v>
                </c:pt>
                <c:pt idx="720">
                  <c:v>38448</c:v>
                </c:pt>
                <c:pt idx="721">
                  <c:v>38449</c:v>
                </c:pt>
                <c:pt idx="722">
                  <c:v>38450</c:v>
                </c:pt>
                <c:pt idx="723">
                  <c:v>38453</c:v>
                </c:pt>
                <c:pt idx="724">
                  <c:v>38454</c:v>
                </c:pt>
                <c:pt idx="725">
                  <c:v>38455</c:v>
                </c:pt>
                <c:pt idx="726">
                  <c:v>38456</c:v>
                </c:pt>
                <c:pt idx="727">
                  <c:v>38457</c:v>
                </c:pt>
                <c:pt idx="728">
                  <c:v>38460</c:v>
                </c:pt>
                <c:pt idx="729">
                  <c:v>38461</c:v>
                </c:pt>
                <c:pt idx="730">
                  <c:v>38462</c:v>
                </c:pt>
                <c:pt idx="731">
                  <c:v>38463</c:v>
                </c:pt>
                <c:pt idx="732">
                  <c:v>38464</c:v>
                </c:pt>
                <c:pt idx="733">
                  <c:v>38467</c:v>
                </c:pt>
                <c:pt idx="734">
                  <c:v>38468</c:v>
                </c:pt>
                <c:pt idx="735">
                  <c:v>38469</c:v>
                </c:pt>
                <c:pt idx="736">
                  <c:v>38470</c:v>
                </c:pt>
                <c:pt idx="737">
                  <c:v>38471</c:v>
                </c:pt>
                <c:pt idx="738">
                  <c:v>38481</c:v>
                </c:pt>
                <c:pt idx="739">
                  <c:v>38482</c:v>
                </c:pt>
                <c:pt idx="740">
                  <c:v>38483</c:v>
                </c:pt>
                <c:pt idx="741">
                  <c:v>38484</c:v>
                </c:pt>
                <c:pt idx="742">
                  <c:v>38485</c:v>
                </c:pt>
                <c:pt idx="743">
                  <c:v>38488</c:v>
                </c:pt>
                <c:pt idx="744">
                  <c:v>38489</c:v>
                </c:pt>
                <c:pt idx="745">
                  <c:v>38490</c:v>
                </c:pt>
                <c:pt idx="746">
                  <c:v>38491</c:v>
                </c:pt>
                <c:pt idx="747">
                  <c:v>38492</c:v>
                </c:pt>
                <c:pt idx="748">
                  <c:v>38495</c:v>
                </c:pt>
                <c:pt idx="749">
                  <c:v>38496</c:v>
                </c:pt>
                <c:pt idx="750">
                  <c:v>38497</c:v>
                </c:pt>
                <c:pt idx="751">
                  <c:v>38498</c:v>
                </c:pt>
                <c:pt idx="752">
                  <c:v>38499</c:v>
                </c:pt>
                <c:pt idx="753">
                  <c:v>38502</c:v>
                </c:pt>
                <c:pt idx="754">
                  <c:v>38503</c:v>
                </c:pt>
                <c:pt idx="755">
                  <c:v>38504</c:v>
                </c:pt>
                <c:pt idx="756">
                  <c:v>38505</c:v>
                </c:pt>
                <c:pt idx="757">
                  <c:v>38506</c:v>
                </c:pt>
                <c:pt idx="758">
                  <c:v>38509</c:v>
                </c:pt>
                <c:pt idx="759">
                  <c:v>38510</c:v>
                </c:pt>
                <c:pt idx="760">
                  <c:v>38511</c:v>
                </c:pt>
                <c:pt idx="761">
                  <c:v>38512</c:v>
                </c:pt>
                <c:pt idx="762">
                  <c:v>38513</c:v>
                </c:pt>
                <c:pt idx="763">
                  <c:v>38516</c:v>
                </c:pt>
                <c:pt idx="764">
                  <c:v>38517</c:v>
                </c:pt>
                <c:pt idx="765">
                  <c:v>38518</c:v>
                </c:pt>
                <c:pt idx="766">
                  <c:v>38519</c:v>
                </c:pt>
                <c:pt idx="767">
                  <c:v>38520</c:v>
                </c:pt>
                <c:pt idx="768">
                  <c:v>38523</c:v>
                </c:pt>
                <c:pt idx="769">
                  <c:v>38524</c:v>
                </c:pt>
                <c:pt idx="770">
                  <c:v>38525</c:v>
                </c:pt>
                <c:pt idx="771">
                  <c:v>38526</c:v>
                </c:pt>
                <c:pt idx="772">
                  <c:v>38527</c:v>
                </c:pt>
                <c:pt idx="773">
                  <c:v>38530</c:v>
                </c:pt>
                <c:pt idx="774">
                  <c:v>38531</c:v>
                </c:pt>
                <c:pt idx="775">
                  <c:v>38532</c:v>
                </c:pt>
                <c:pt idx="776">
                  <c:v>38533</c:v>
                </c:pt>
                <c:pt idx="777">
                  <c:v>38534</c:v>
                </c:pt>
                <c:pt idx="778">
                  <c:v>38537</c:v>
                </c:pt>
                <c:pt idx="779">
                  <c:v>38538</c:v>
                </c:pt>
                <c:pt idx="780">
                  <c:v>38539</c:v>
                </c:pt>
                <c:pt idx="781">
                  <c:v>38540</c:v>
                </c:pt>
                <c:pt idx="782">
                  <c:v>38541</c:v>
                </c:pt>
                <c:pt idx="783">
                  <c:v>38544</c:v>
                </c:pt>
                <c:pt idx="784">
                  <c:v>38545</c:v>
                </c:pt>
                <c:pt idx="785">
                  <c:v>38546</c:v>
                </c:pt>
                <c:pt idx="786">
                  <c:v>38547</c:v>
                </c:pt>
                <c:pt idx="787">
                  <c:v>38548</c:v>
                </c:pt>
                <c:pt idx="788">
                  <c:v>38551</c:v>
                </c:pt>
                <c:pt idx="789">
                  <c:v>38552</c:v>
                </c:pt>
                <c:pt idx="790">
                  <c:v>38553</c:v>
                </c:pt>
                <c:pt idx="791">
                  <c:v>38554</c:v>
                </c:pt>
                <c:pt idx="792">
                  <c:v>38555</c:v>
                </c:pt>
                <c:pt idx="793">
                  <c:v>38558</c:v>
                </c:pt>
                <c:pt idx="794">
                  <c:v>38559</c:v>
                </c:pt>
                <c:pt idx="795">
                  <c:v>38560</c:v>
                </c:pt>
                <c:pt idx="796">
                  <c:v>38561</c:v>
                </c:pt>
                <c:pt idx="797">
                  <c:v>38562</c:v>
                </c:pt>
                <c:pt idx="798">
                  <c:v>38565</c:v>
                </c:pt>
                <c:pt idx="799">
                  <c:v>38566</c:v>
                </c:pt>
                <c:pt idx="800">
                  <c:v>38567</c:v>
                </c:pt>
                <c:pt idx="801">
                  <c:v>38568</c:v>
                </c:pt>
                <c:pt idx="802">
                  <c:v>38569</c:v>
                </c:pt>
                <c:pt idx="803">
                  <c:v>38572</c:v>
                </c:pt>
                <c:pt idx="804">
                  <c:v>38573</c:v>
                </c:pt>
                <c:pt idx="805">
                  <c:v>38574</c:v>
                </c:pt>
                <c:pt idx="806">
                  <c:v>38575</c:v>
                </c:pt>
                <c:pt idx="807">
                  <c:v>38576</c:v>
                </c:pt>
                <c:pt idx="808">
                  <c:v>38579</c:v>
                </c:pt>
                <c:pt idx="809">
                  <c:v>38580</c:v>
                </c:pt>
                <c:pt idx="810">
                  <c:v>38581</c:v>
                </c:pt>
                <c:pt idx="811">
                  <c:v>38582</c:v>
                </c:pt>
                <c:pt idx="812">
                  <c:v>38583</c:v>
                </c:pt>
                <c:pt idx="813">
                  <c:v>38586</c:v>
                </c:pt>
                <c:pt idx="814">
                  <c:v>38587</c:v>
                </c:pt>
                <c:pt idx="815">
                  <c:v>38588</c:v>
                </c:pt>
                <c:pt idx="816">
                  <c:v>38589</c:v>
                </c:pt>
                <c:pt idx="817">
                  <c:v>38590</c:v>
                </c:pt>
                <c:pt idx="818">
                  <c:v>38593</c:v>
                </c:pt>
                <c:pt idx="819">
                  <c:v>38594</c:v>
                </c:pt>
                <c:pt idx="820">
                  <c:v>38595</c:v>
                </c:pt>
                <c:pt idx="821">
                  <c:v>38596</c:v>
                </c:pt>
                <c:pt idx="822">
                  <c:v>38597</c:v>
                </c:pt>
                <c:pt idx="823">
                  <c:v>38600</c:v>
                </c:pt>
                <c:pt idx="824">
                  <c:v>38601</c:v>
                </c:pt>
                <c:pt idx="825">
                  <c:v>38602</c:v>
                </c:pt>
                <c:pt idx="826">
                  <c:v>38603</c:v>
                </c:pt>
                <c:pt idx="827">
                  <c:v>38604</c:v>
                </c:pt>
                <c:pt idx="828">
                  <c:v>38607</c:v>
                </c:pt>
                <c:pt idx="829">
                  <c:v>38608</c:v>
                </c:pt>
                <c:pt idx="830">
                  <c:v>38609</c:v>
                </c:pt>
                <c:pt idx="831">
                  <c:v>38610</c:v>
                </c:pt>
                <c:pt idx="832">
                  <c:v>38611</c:v>
                </c:pt>
                <c:pt idx="833">
                  <c:v>38614</c:v>
                </c:pt>
                <c:pt idx="834">
                  <c:v>38615</c:v>
                </c:pt>
                <c:pt idx="835">
                  <c:v>38616</c:v>
                </c:pt>
                <c:pt idx="836">
                  <c:v>38617</c:v>
                </c:pt>
                <c:pt idx="837">
                  <c:v>38618</c:v>
                </c:pt>
                <c:pt idx="838">
                  <c:v>38621</c:v>
                </c:pt>
                <c:pt idx="839">
                  <c:v>38622</c:v>
                </c:pt>
                <c:pt idx="840">
                  <c:v>38623</c:v>
                </c:pt>
                <c:pt idx="841">
                  <c:v>38624</c:v>
                </c:pt>
                <c:pt idx="842">
                  <c:v>38625</c:v>
                </c:pt>
                <c:pt idx="843">
                  <c:v>38635</c:v>
                </c:pt>
                <c:pt idx="844">
                  <c:v>38636</c:v>
                </c:pt>
                <c:pt idx="845">
                  <c:v>38637</c:v>
                </c:pt>
                <c:pt idx="846">
                  <c:v>38638</c:v>
                </c:pt>
                <c:pt idx="847">
                  <c:v>38639</c:v>
                </c:pt>
                <c:pt idx="848">
                  <c:v>38642</c:v>
                </c:pt>
                <c:pt idx="849">
                  <c:v>38643</c:v>
                </c:pt>
                <c:pt idx="850">
                  <c:v>38644</c:v>
                </c:pt>
                <c:pt idx="851">
                  <c:v>38645</c:v>
                </c:pt>
                <c:pt idx="852">
                  <c:v>38646</c:v>
                </c:pt>
                <c:pt idx="853">
                  <c:v>38649</c:v>
                </c:pt>
                <c:pt idx="854">
                  <c:v>38650</c:v>
                </c:pt>
                <c:pt idx="855">
                  <c:v>38651</c:v>
                </c:pt>
                <c:pt idx="856">
                  <c:v>38652</c:v>
                </c:pt>
                <c:pt idx="857">
                  <c:v>38653</c:v>
                </c:pt>
                <c:pt idx="858">
                  <c:v>38656</c:v>
                </c:pt>
                <c:pt idx="859">
                  <c:v>38657</c:v>
                </c:pt>
                <c:pt idx="860">
                  <c:v>38658</c:v>
                </c:pt>
                <c:pt idx="861">
                  <c:v>38659</c:v>
                </c:pt>
                <c:pt idx="862">
                  <c:v>38660</c:v>
                </c:pt>
                <c:pt idx="863">
                  <c:v>38663</c:v>
                </c:pt>
                <c:pt idx="864">
                  <c:v>38664</c:v>
                </c:pt>
                <c:pt idx="865">
                  <c:v>38665</c:v>
                </c:pt>
                <c:pt idx="866">
                  <c:v>38666</c:v>
                </c:pt>
                <c:pt idx="867">
                  <c:v>38667</c:v>
                </c:pt>
                <c:pt idx="868">
                  <c:v>38670</c:v>
                </c:pt>
                <c:pt idx="869">
                  <c:v>38671</c:v>
                </c:pt>
                <c:pt idx="870">
                  <c:v>38672</c:v>
                </c:pt>
                <c:pt idx="871">
                  <c:v>38673</c:v>
                </c:pt>
                <c:pt idx="872">
                  <c:v>38674</c:v>
                </c:pt>
                <c:pt idx="873">
                  <c:v>38677</c:v>
                </c:pt>
                <c:pt idx="874">
                  <c:v>38678</c:v>
                </c:pt>
                <c:pt idx="875">
                  <c:v>38679</c:v>
                </c:pt>
                <c:pt idx="876">
                  <c:v>38680</c:v>
                </c:pt>
                <c:pt idx="877">
                  <c:v>38681</c:v>
                </c:pt>
                <c:pt idx="878">
                  <c:v>38684</c:v>
                </c:pt>
                <c:pt idx="879">
                  <c:v>38685</c:v>
                </c:pt>
                <c:pt idx="880">
                  <c:v>38686</c:v>
                </c:pt>
                <c:pt idx="881">
                  <c:v>38687</c:v>
                </c:pt>
                <c:pt idx="882">
                  <c:v>38688</c:v>
                </c:pt>
                <c:pt idx="883">
                  <c:v>38691</c:v>
                </c:pt>
                <c:pt idx="884">
                  <c:v>38692</c:v>
                </c:pt>
                <c:pt idx="885">
                  <c:v>38693</c:v>
                </c:pt>
                <c:pt idx="886">
                  <c:v>38694</c:v>
                </c:pt>
                <c:pt idx="887">
                  <c:v>38695</c:v>
                </c:pt>
                <c:pt idx="888">
                  <c:v>38698</c:v>
                </c:pt>
                <c:pt idx="889">
                  <c:v>38699</c:v>
                </c:pt>
                <c:pt idx="890">
                  <c:v>38700</c:v>
                </c:pt>
                <c:pt idx="891">
                  <c:v>38701</c:v>
                </c:pt>
                <c:pt idx="892">
                  <c:v>38702</c:v>
                </c:pt>
                <c:pt idx="893">
                  <c:v>38705</c:v>
                </c:pt>
                <c:pt idx="894">
                  <c:v>38706</c:v>
                </c:pt>
                <c:pt idx="895">
                  <c:v>38707</c:v>
                </c:pt>
                <c:pt idx="896">
                  <c:v>38708</c:v>
                </c:pt>
                <c:pt idx="897">
                  <c:v>38709</c:v>
                </c:pt>
                <c:pt idx="898">
                  <c:v>38712</c:v>
                </c:pt>
                <c:pt idx="899">
                  <c:v>38713</c:v>
                </c:pt>
                <c:pt idx="900">
                  <c:v>38714</c:v>
                </c:pt>
                <c:pt idx="901">
                  <c:v>38715</c:v>
                </c:pt>
                <c:pt idx="902">
                  <c:v>38716</c:v>
                </c:pt>
                <c:pt idx="903">
                  <c:v>38721</c:v>
                </c:pt>
                <c:pt idx="904">
                  <c:v>38722</c:v>
                </c:pt>
                <c:pt idx="905">
                  <c:v>38723</c:v>
                </c:pt>
                <c:pt idx="906">
                  <c:v>38726</c:v>
                </c:pt>
                <c:pt idx="907">
                  <c:v>38727</c:v>
                </c:pt>
                <c:pt idx="908">
                  <c:v>38728</c:v>
                </c:pt>
                <c:pt idx="909">
                  <c:v>38729</c:v>
                </c:pt>
                <c:pt idx="910">
                  <c:v>38730</c:v>
                </c:pt>
                <c:pt idx="911">
                  <c:v>38733</c:v>
                </c:pt>
                <c:pt idx="912">
                  <c:v>38734</c:v>
                </c:pt>
                <c:pt idx="913">
                  <c:v>38735</c:v>
                </c:pt>
                <c:pt idx="914">
                  <c:v>38736</c:v>
                </c:pt>
                <c:pt idx="915">
                  <c:v>38737</c:v>
                </c:pt>
                <c:pt idx="916">
                  <c:v>38740</c:v>
                </c:pt>
                <c:pt idx="917">
                  <c:v>38741</c:v>
                </c:pt>
                <c:pt idx="918">
                  <c:v>38742</c:v>
                </c:pt>
                <c:pt idx="919">
                  <c:v>38754</c:v>
                </c:pt>
                <c:pt idx="920">
                  <c:v>38755</c:v>
                </c:pt>
                <c:pt idx="921">
                  <c:v>38756</c:v>
                </c:pt>
                <c:pt idx="922">
                  <c:v>38757</c:v>
                </c:pt>
                <c:pt idx="923">
                  <c:v>38758</c:v>
                </c:pt>
                <c:pt idx="924">
                  <c:v>38761</c:v>
                </c:pt>
                <c:pt idx="925">
                  <c:v>38762</c:v>
                </c:pt>
                <c:pt idx="926">
                  <c:v>38763</c:v>
                </c:pt>
                <c:pt idx="927">
                  <c:v>38764</c:v>
                </c:pt>
                <c:pt idx="928">
                  <c:v>38765</c:v>
                </c:pt>
                <c:pt idx="929">
                  <c:v>38768</c:v>
                </c:pt>
                <c:pt idx="930">
                  <c:v>38769</c:v>
                </c:pt>
                <c:pt idx="931">
                  <c:v>38770</c:v>
                </c:pt>
                <c:pt idx="932">
                  <c:v>38771</c:v>
                </c:pt>
                <c:pt idx="933">
                  <c:v>38772</c:v>
                </c:pt>
                <c:pt idx="934">
                  <c:v>38775</c:v>
                </c:pt>
                <c:pt idx="935">
                  <c:v>38776</c:v>
                </c:pt>
                <c:pt idx="936">
                  <c:v>38777</c:v>
                </c:pt>
                <c:pt idx="937">
                  <c:v>38778</c:v>
                </c:pt>
                <c:pt idx="938">
                  <c:v>38779</c:v>
                </c:pt>
                <c:pt idx="939">
                  <c:v>38782</c:v>
                </c:pt>
                <c:pt idx="940">
                  <c:v>38783</c:v>
                </c:pt>
                <c:pt idx="941">
                  <c:v>38784</c:v>
                </c:pt>
                <c:pt idx="942">
                  <c:v>38785</c:v>
                </c:pt>
                <c:pt idx="943">
                  <c:v>38786</c:v>
                </c:pt>
                <c:pt idx="944">
                  <c:v>38789</c:v>
                </c:pt>
                <c:pt idx="945">
                  <c:v>38790</c:v>
                </c:pt>
                <c:pt idx="946">
                  <c:v>38791</c:v>
                </c:pt>
                <c:pt idx="947">
                  <c:v>38792</c:v>
                </c:pt>
                <c:pt idx="948">
                  <c:v>38793</c:v>
                </c:pt>
                <c:pt idx="949">
                  <c:v>38796</c:v>
                </c:pt>
                <c:pt idx="950">
                  <c:v>38797</c:v>
                </c:pt>
                <c:pt idx="951">
                  <c:v>38798</c:v>
                </c:pt>
                <c:pt idx="952">
                  <c:v>38799</c:v>
                </c:pt>
                <c:pt idx="953">
                  <c:v>38800</c:v>
                </c:pt>
                <c:pt idx="954">
                  <c:v>38803</c:v>
                </c:pt>
                <c:pt idx="955">
                  <c:v>38804</c:v>
                </c:pt>
                <c:pt idx="956">
                  <c:v>38805</c:v>
                </c:pt>
                <c:pt idx="957">
                  <c:v>38806</c:v>
                </c:pt>
                <c:pt idx="958">
                  <c:v>38807</c:v>
                </c:pt>
                <c:pt idx="959">
                  <c:v>38810</c:v>
                </c:pt>
                <c:pt idx="960">
                  <c:v>38811</c:v>
                </c:pt>
                <c:pt idx="961">
                  <c:v>38812</c:v>
                </c:pt>
                <c:pt idx="962">
                  <c:v>38813</c:v>
                </c:pt>
                <c:pt idx="963">
                  <c:v>38814</c:v>
                </c:pt>
                <c:pt idx="964">
                  <c:v>38817</c:v>
                </c:pt>
                <c:pt idx="965">
                  <c:v>38818</c:v>
                </c:pt>
                <c:pt idx="966">
                  <c:v>38819</c:v>
                </c:pt>
                <c:pt idx="967">
                  <c:v>38820</c:v>
                </c:pt>
                <c:pt idx="968">
                  <c:v>38821</c:v>
                </c:pt>
                <c:pt idx="969">
                  <c:v>38824</c:v>
                </c:pt>
                <c:pt idx="970">
                  <c:v>38825</c:v>
                </c:pt>
                <c:pt idx="971">
                  <c:v>38826</c:v>
                </c:pt>
                <c:pt idx="972">
                  <c:v>38827</c:v>
                </c:pt>
                <c:pt idx="973">
                  <c:v>38828</c:v>
                </c:pt>
                <c:pt idx="974">
                  <c:v>38831</c:v>
                </c:pt>
                <c:pt idx="975">
                  <c:v>38832</c:v>
                </c:pt>
                <c:pt idx="976">
                  <c:v>38833</c:v>
                </c:pt>
                <c:pt idx="977">
                  <c:v>38834</c:v>
                </c:pt>
                <c:pt idx="978">
                  <c:v>38835</c:v>
                </c:pt>
                <c:pt idx="979">
                  <c:v>38845</c:v>
                </c:pt>
                <c:pt idx="980">
                  <c:v>38846</c:v>
                </c:pt>
                <c:pt idx="981">
                  <c:v>38847</c:v>
                </c:pt>
                <c:pt idx="982">
                  <c:v>38848</c:v>
                </c:pt>
                <c:pt idx="983">
                  <c:v>38849</c:v>
                </c:pt>
                <c:pt idx="984">
                  <c:v>38852</c:v>
                </c:pt>
                <c:pt idx="985">
                  <c:v>38853</c:v>
                </c:pt>
                <c:pt idx="986">
                  <c:v>38854</c:v>
                </c:pt>
                <c:pt idx="987">
                  <c:v>38855</c:v>
                </c:pt>
                <c:pt idx="988">
                  <c:v>38856</c:v>
                </c:pt>
                <c:pt idx="989">
                  <c:v>38859</c:v>
                </c:pt>
                <c:pt idx="990">
                  <c:v>38860</c:v>
                </c:pt>
                <c:pt idx="991">
                  <c:v>38861</c:v>
                </c:pt>
                <c:pt idx="992">
                  <c:v>38862</c:v>
                </c:pt>
                <c:pt idx="993">
                  <c:v>38863</c:v>
                </c:pt>
                <c:pt idx="994">
                  <c:v>38866</c:v>
                </c:pt>
                <c:pt idx="995">
                  <c:v>38867</c:v>
                </c:pt>
                <c:pt idx="996">
                  <c:v>38868</c:v>
                </c:pt>
                <c:pt idx="997">
                  <c:v>38869</c:v>
                </c:pt>
                <c:pt idx="998">
                  <c:v>38870</c:v>
                </c:pt>
                <c:pt idx="999">
                  <c:v>38873</c:v>
                </c:pt>
                <c:pt idx="1000">
                  <c:v>38874</c:v>
                </c:pt>
                <c:pt idx="1001">
                  <c:v>38875</c:v>
                </c:pt>
                <c:pt idx="1002">
                  <c:v>38876</c:v>
                </c:pt>
                <c:pt idx="1003">
                  <c:v>38877</c:v>
                </c:pt>
                <c:pt idx="1004">
                  <c:v>38880</c:v>
                </c:pt>
                <c:pt idx="1005">
                  <c:v>38881</c:v>
                </c:pt>
                <c:pt idx="1006">
                  <c:v>38882</c:v>
                </c:pt>
                <c:pt idx="1007">
                  <c:v>38883</c:v>
                </c:pt>
                <c:pt idx="1008">
                  <c:v>38884</c:v>
                </c:pt>
                <c:pt idx="1009">
                  <c:v>38887</c:v>
                </c:pt>
                <c:pt idx="1010">
                  <c:v>38888</c:v>
                </c:pt>
                <c:pt idx="1011">
                  <c:v>38889</c:v>
                </c:pt>
                <c:pt idx="1012">
                  <c:v>38890</c:v>
                </c:pt>
                <c:pt idx="1013">
                  <c:v>38891</c:v>
                </c:pt>
                <c:pt idx="1014">
                  <c:v>38894</c:v>
                </c:pt>
                <c:pt idx="1015">
                  <c:v>38895</c:v>
                </c:pt>
                <c:pt idx="1016">
                  <c:v>38896</c:v>
                </c:pt>
                <c:pt idx="1017">
                  <c:v>38897</c:v>
                </c:pt>
                <c:pt idx="1018">
                  <c:v>38898</c:v>
                </c:pt>
                <c:pt idx="1019">
                  <c:v>38901</c:v>
                </c:pt>
                <c:pt idx="1020">
                  <c:v>38902</c:v>
                </c:pt>
                <c:pt idx="1021">
                  <c:v>38903</c:v>
                </c:pt>
                <c:pt idx="1022">
                  <c:v>38904</c:v>
                </c:pt>
                <c:pt idx="1023">
                  <c:v>38905</c:v>
                </c:pt>
                <c:pt idx="1024">
                  <c:v>38908</c:v>
                </c:pt>
                <c:pt idx="1025">
                  <c:v>38909</c:v>
                </c:pt>
                <c:pt idx="1026">
                  <c:v>38910</c:v>
                </c:pt>
                <c:pt idx="1027">
                  <c:v>38911</c:v>
                </c:pt>
                <c:pt idx="1028">
                  <c:v>38912</c:v>
                </c:pt>
                <c:pt idx="1029">
                  <c:v>38915</c:v>
                </c:pt>
                <c:pt idx="1030">
                  <c:v>38916</c:v>
                </c:pt>
                <c:pt idx="1031">
                  <c:v>38917</c:v>
                </c:pt>
                <c:pt idx="1032">
                  <c:v>38918</c:v>
                </c:pt>
                <c:pt idx="1033">
                  <c:v>38919</c:v>
                </c:pt>
                <c:pt idx="1034">
                  <c:v>38922</c:v>
                </c:pt>
                <c:pt idx="1035">
                  <c:v>38923</c:v>
                </c:pt>
                <c:pt idx="1036">
                  <c:v>38924</c:v>
                </c:pt>
                <c:pt idx="1037">
                  <c:v>38925</c:v>
                </c:pt>
                <c:pt idx="1038">
                  <c:v>38926</c:v>
                </c:pt>
                <c:pt idx="1039">
                  <c:v>38929</c:v>
                </c:pt>
                <c:pt idx="1040">
                  <c:v>38930</c:v>
                </c:pt>
                <c:pt idx="1041">
                  <c:v>38931</c:v>
                </c:pt>
                <c:pt idx="1042">
                  <c:v>38932</c:v>
                </c:pt>
                <c:pt idx="1043">
                  <c:v>38933</c:v>
                </c:pt>
                <c:pt idx="1044">
                  <c:v>38936</c:v>
                </c:pt>
                <c:pt idx="1045">
                  <c:v>38937</c:v>
                </c:pt>
                <c:pt idx="1046">
                  <c:v>38938</c:v>
                </c:pt>
                <c:pt idx="1047">
                  <c:v>38939</c:v>
                </c:pt>
                <c:pt idx="1048">
                  <c:v>38940</c:v>
                </c:pt>
                <c:pt idx="1049">
                  <c:v>38943</c:v>
                </c:pt>
                <c:pt idx="1050">
                  <c:v>38944</c:v>
                </c:pt>
                <c:pt idx="1051">
                  <c:v>38945</c:v>
                </c:pt>
                <c:pt idx="1052">
                  <c:v>38946</c:v>
                </c:pt>
                <c:pt idx="1053">
                  <c:v>38947</c:v>
                </c:pt>
                <c:pt idx="1054">
                  <c:v>38950</c:v>
                </c:pt>
                <c:pt idx="1055">
                  <c:v>38951</c:v>
                </c:pt>
                <c:pt idx="1056">
                  <c:v>38952</c:v>
                </c:pt>
                <c:pt idx="1057">
                  <c:v>38953</c:v>
                </c:pt>
                <c:pt idx="1058">
                  <c:v>38954</c:v>
                </c:pt>
                <c:pt idx="1059">
                  <c:v>38957</c:v>
                </c:pt>
                <c:pt idx="1060">
                  <c:v>38958</c:v>
                </c:pt>
                <c:pt idx="1061">
                  <c:v>38959</c:v>
                </c:pt>
                <c:pt idx="1062">
                  <c:v>38960</c:v>
                </c:pt>
                <c:pt idx="1063">
                  <c:v>38961</c:v>
                </c:pt>
                <c:pt idx="1064">
                  <c:v>38964</c:v>
                </c:pt>
                <c:pt idx="1065">
                  <c:v>38965</c:v>
                </c:pt>
                <c:pt idx="1066">
                  <c:v>38966</c:v>
                </c:pt>
                <c:pt idx="1067">
                  <c:v>38967</c:v>
                </c:pt>
                <c:pt idx="1068">
                  <c:v>38968</c:v>
                </c:pt>
                <c:pt idx="1069">
                  <c:v>38971</c:v>
                </c:pt>
                <c:pt idx="1070">
                  <c:v>38972</c:v>
                </c:pt>
                <c:pt idx="1071">
                  <c:v>38973</c:v>
                </c:pt>
                <c:pt idx="1072">
                  <c:v>38974</c:v>
                </c:pt>
                <c:pt idx="1073">
                  <c:v>38975</c:v>
                </c:pt>
                <c:pt idx="1074">
                  <c:v>38978</c:v>
                </c:pt>
                <c:pt idx="1075">
                  <c:v>38979</c:v>
                </c:pt>
                <c:pt idx="1076">
                  <c:v>38980</c:v>
                </c:pt>
                <c:pt idx="1077">
                  <c:v>38981</c:v>
                </c:pt>
                <c:pt idx="1078">
                  <c:v>38982</c:v>
                </c:pt>
                <c:pt idx="1079">
                  <c:v>38985</c:v>
                </c:pt>
                <c:pt idx="1080">
                  <c:v>38986</c:v>
                </c:pt>
                <c:pt idx="1081">
                  <c:v>38987</c:v>
                </c:pt>
                <c:pt idx="1082">
                  <c:v>38988</c:v>
                </c:pt>
                <c:pt idx="1083">
                  <c:v>38989</c:v>
                </c:pt>
                <c:pt idx="1084">
                  <c:v>38999</c:v>
                </c:pt>
                <c:pt idx="1085">
                  <c:v>39000</c:v>
                </c:pt>
                <c:pt idx="1086">
                  <c:v>39001</c:v>
                </c:pt>
                <c:pt idx="1087">
                  <c:v>39002</c:v>
                </c:pt>
                <c:pt idx="1088">
                  <c:v>39003</c:v>
                </c:pt>
                <c:pt idx="1089">
                  <c:v>39006</c:v>
                </c:pt>
                <c:pt idx="1090">
                  <c:v>39007</c:v>
                </c:pt>
                <c:pt idx="1091">
                  <c:v>39008</c:v>
                </c:pt>
                <c:pt idx="1092">
                  <c:v>39009</c:v>
                </c:pt>
                <c:pt idx="1093">
                  <c:v>39010</c:v>
                </c:pt>
                <c:pt idx="1094">
                  <c:v>39013</c:v>
                </c:pt>
                <c:pt idx="1095">
                  <c:v>39014</c:v>
                </c:pt>
                <c:pt idx="1096">
                  <c:v>39015</c:v>
                </c:pt>
                <c:pt idx="1097">
                  <c:v>39016</c:v>
                </c:pt>
                <c:pt idx="1098">
                  <c:v>39017</c:v>
                </c:pt>
                <c:pt idx="1099">
                  <c:v>39020</c:v>
                </c:pt>
                <c:pt idx="1100">
                  <c:v>39021</c:v>
                </c:pt>
                <c:pt idx="1101">
                  <c:v>39022</c:v>
                </c:pt>
                <c:pt idx="1102">
                  <c:v>39023</c:v>
                </c:pt>
                <c:pt idx="1103">
                  <c:v>39024</c:v>
                </c:pt>
                <c:pt idx="1104">
                  <c:v>39027</c:v>
                </c:pt>
                <c:pt idx="1105">
                  <c:v>39028</c:v>
                </c:pt>
                <c:pt idx="1106">
                  <c:v>39029</c:v>
                </c:pt>
                <c:pt idx="1107">
                  <c:v>39030</c:v>
                </c:pt>
                <c:pt idx="1108">
                  <c:v>39031</c:v>
                </c:pt>
                <c:pt idx="1109">
                  <c:v>39034</c:v>
                </c:pt>
                <c:pt idx="1110">
                  <c:v>39035</c:v>
                </c:pt>
                <c:pt idx="1111">
                  <c:v>39036</c:v>
                </c:pt>
                <c:pt idx="1112">
                  <c:v>39037</c:v>
                </c:pt>
                <c:pt idx="1113">
                  <c:v>39038</c:v>
                </c:pt>
                <c:pt idx="1114">
                  <c:v>39041</c:v>
                </c:pt>
                <c:pt idx="1115">
                  <c:v>39042</c:v>
                </c:pt>
                <c:pt idx="1116">
                  <c:v>39043</c:v>
                </c:pt>
                <c:pt idx="1117">
                  <c:v>39044</c:v>
                </c:pt>
                <c:pt idx="1118">
                  <c:v>39045</c:v>
                </c:pt>
                <c:pt idx="1119">
                  <c:v>39048</c:v>
                </c:pt>
                <c:pt idx="1120">
                  <c:v>39049</c:v>
                </c:pt>
                <c:pt idx="1121">
                  <c:v>39050</c:v>
                </c:pt>
                <c:pt idx="1122">
                  <c:v>39051</c:v>
                </c:pt>
                <c:pt idx="1123">
                  <c:v>39052</c:v>
                </c:pt>
                <c:pt idx="1124">
                  <c:v>39055</c:v>
                </c:pt>
                <c:pt idx="1125">
                  <c:v>39056</c:v>
                </c:pt>
                <c:pt idx="1126">
                  <c:v>39057</c:v>
                </c:pt>
                <c:pt idx="1127">
                  <c:v>39058</c:v>
                </c:pt>
                <c:pt idx="1128">
                  <c:v>39059</c:v>
                </c:pt>
                <c:pt idx="1129">
                  <c:v>39062</c:v>
                </c:pt>
                <c:pt idx="1130">
                  <c:v>39063</c:v>
                </c:pt>
                <c:pt idx="1131">
                  <c:v>39064</c:v>
                </c:pt>
                <c:pt idx="1132">
                  <c:v>39065</c:v>
                </c:pt>
                <c:pt idx="1133">
                  <c:v>39066</c:v>
                </c:pt>
                <c:pt idx="1134">
                  <c:v>39069</c:v>
                </c:pt>
                <c:pt idx="1135">
                  <c:v>39070</c:v>
                </c:pt>
                <c:pt idx="1136">
                  <c:v>39071</c:v>
                </c:pt>
                <c:pt idx="1137">
                  <c:v>39072</c:v>
                </c:pt>
                <c:pt idx="1138">
                  <c:v>39073</c:v>
                </c:pt>
                <c:pt idx="1139">
                  <c:v>39076</c:v>
                </c:pt>
                <c:pt idx="1140">
                  <c:v>39077</c:v>
                </c:pt>
                <c:pt idx="1141">
                  <c:v>39078</c:v>
                </c:pt>
                <c:pt idx="1142">
                  <c:v>39079</c:v>
                </c:pt>
                <c:pt idx="1143">
                  <c:v>39080</c:v>
                </c:pt>
                <c:pt idx="1144">
                  <c:v>39086</c:v>
                </c:pt>
                <c:pt idx="1145">
                  <c:v>39087</c:v>
                </c:pt>
                <c:pt idx="1146">
                  <c:v>39090</c:v>
                </c:pt>
                <c:pt idx="1147">
                  <c:v>39091</c:v>
                </c:pt>
                <c:pt idx="1148">
                  <c:v>39092</c:v>
                </c:pt>
                <c:pt idx="1149">
                  <c:v>39093</c:v>
                </c:pt>
                <c:pt idx="1150">
                  <c:v>39094</c:v>
                </c:pt>
                <c:pt idx="1151">
                  <c:v>39097</c:v>
                </c:pt>
                <c:pt idx="1152">
                  <c:v>39098</c:v>
                </c:pt>
                <c:pt idx="1153">
                  <c:v>39099</c:v>
                </c:pt>
                <c:pt idx="1154">
                  <c:v>39100</c:v>
                </c:pt>
                <c:pt idx="1155">
                  <c:v>39101</c:v>
                </c:pt>
                <c:pt idx="1156">
                  <c:v>39104</c:v>
                </c:pt>
                <c:pt idx="1157">
                  <c:v>39105</c:v>
                </c:pt>
                <c:pt idx="1158">
                  <c:v>39106</c:v>
                </c:pt>
                <c:pt idx="1159">
                  <c:v>39107</c:v>
                </c:pt>
                <c:pt idx="1160">
                  <c:v>39108</c:v>
                </c:pt>
                <c:pt idx="1161">
                  <c:v>39111</c:v>
                </c:pt>
                <c:pt idx="1162">
                  <c:v>39112</c:v>
                </c:pt>
                <c:pt idx="1163">
                  <c:v>39113</c:v>
                </c:pt>
                <c:pt idx="1164">
                  <c:v>39114</c:v>
                </c:pt>
                <c:pt idx="1165">
                  <c:v>39115</c:v>
                </c:pt>
                <c:pt idx="1166">
                  <c:v>39118</c:v>
                </c:pt>
                <c:pt idx="1167">
                  <c:v>39119</c:v>
                </c:pt>
                <c:pt idx="1168">
                  <c:v>39120</c:v>
                </c:pt>
                <c:pt idx="1169">
                  <c:v>39121</c:v>
                </c:pt>
                <c:pt idx="1170">
                  <c:v>39122</c:v>
                </c:pt>
                <c:pt idx="1171">
                  <c:v>39125</c:v>
                </c:pt>
                <c:pt idx="1172">
                  <c:v>39126</c:v>
                </c:pt>
                <c:pt idx="1173">
                  <c:v>39127</c:v>
                </c:pt>
                <c:pt idx="1174">
                  <c:v>39128</c:v>
                </c:pt>
                <c:pt idx="1175">
                  <c:v>39129</c:v>
                </c:pt>
                <c:pt idx="1176">
                  <c:v>39139</c:v>
                </c:pt>
                <c:pt idx="1177">
                  <c:v>39140</c:v>
                </c:pt>
                <c:pt idx="1178">
                  <c:v>39141</c:v>
                </c:pt>
                <c:pt idx="1179">
                  <c:v>39142</c:v>
                </c:pt>
                <c:pt idx="1180">
                  <c:v>39143</c:v>
                </c:pt>
                <c:pt idx="1181">
                  <c:v>39146</c:v>
                </c:pt>
                <c:pt idx="1182">
                  <c:v>39147</c:v>
                </c:pt>
                <c:pt idx="1183">
                  <c:v>39148</c:v>
                </c:pt>
                <c:pt idx="1184">
                  <c:v>39149</c:v>
                </c:pt>
                <c:pt idx="1185">
                  <c:v>39150</c:v>
                </c:pt>
                <c:pt idx="1186">
                  <c:v>39153</c:v>
                </c:pt>
                <c:pt idx="1187">
                  <c:v>39154</c:v>
                </c:pt>
                <c:pt idx="1188">
                  <c:v>39155</c:v>
                </c:pt>
                <c:pt idx="1189">
                  <c:v>39156</c:v>
                </c:pt>
                <c:pt idx="1190">
                  <c:v>39157</c:v>
                </c:pt>
                <c:pt idx="1191">
                  <c:v>39160</c:v>
                </c:pt>
                <c:pt idx="1192">
                  <c:v>39161</c:v>
                </c:pt>
                <c:pt idx="1193">
                  <c:v>39162</c:v>
                </c:pt>
                <c:pt idx="1194">
                  <c:v>39163</c:v>
                </c:pt>
                <c:pt idx="1195">
                  <c:v>39164</c:v>
                </c:pt>
                <c:pt idx="1196">
                  <c:v>39167</c:v>
                </c:pt>
                <c:pt idx="1197">
                  <c:v>39168</c:v>
                </c:pt>
                <c:pt idx="1198">
                  <c:v>39169</c:v>
                </c:pt>
                <c:pt idx="1199">
                  <c:v>39170</c:v>
                </c:pt>
                <c:pt idx="1200">
                  <c:v>39171</c:v>
                </c:pt>
                <c:pt idx="1201">
                  <c:v>39174</c:v>
                </c:pt>
                <c:pt idx="1202">
                  <c:v>39175</c:v>
                </c:pt>
                <c:pt idx="1203">
                  <c:v>39176</c:v>
                </c:pt>
                <c:pt idx="1204">
                  <c:v>39177</c:v>
                </c:pt>
                <c:pt idx="1205">
                  <c:v>39178</c:v>
                </c:pt>
                <c:pt idx="1206">
                  <c:v>39181</c:v>
                </c:pt>
                <c:pt idx="1207">
                  <c:v>39182</c:v>
                </c:pt>
                <c:pt idx="1208">
                  <c:v>39183</c:v>
                </c:pt>
                <c:pt idx="1209">
                  <c:v>39184</c:v>
                </c:pt>
                <c:pt idx="1210">
                  <c:v>39185</c:v>
                </c:pt>
                <c:pt idx="1211">
                  <c:v>39188</c:v>
                </c:pt>
                <c:pt idx="1212">
                  <c:v>39189</c:v>
                </c:pt>
                <c:pt idx="1213">
                  <c:v>39190</c:v>
                </c:pt>
                <c:pt idx="1214">
                  <c:v>39191</c:v>
                </c:pt>
                <c:pt idx="1215">
                  <c:v>39192</c:v>
                </c:pt>
                <c:pt idx="1216">
                  <c:v>39195</c:v>
                </c:pt>
                <c:pt idx="1217">
                  <c:v>39196</c:v>
                </c:pt>
                <c:pt idx="1218">
                  <c:v>39197</c:v>
                </c:pt>
                <c:pt idx="1219">
                  <c:v>39198</c:v>
                </c:pt>
                <c:pt idx="1220">
                  <c:v>39199</c:v>
                </c:pt>
                <c:pt idx="1221">
                  <c:v>39202</c:v>
                </c:pt>
                <c:pt idx="1222">
                  <c:v>39210</c:v>
                </c:pt>
                <c:pt idx="1223">
                  <c:v>39211</c:v>
                </c:pt>
                <c:pt idx="1224">
                  <c:v>39212</c:v>
                </c:pt>
                <c:pt idx="1225">
                  <c:v>39213</c:v>
                </c:pt>
                <c:pt idx="1226">
                  <c:v>39216</c:v>
                </c:pt>
                <c:pt idx="1227">
                  <c:v>39217</c:v>
                </c:pt>
                <c:pt idx="1228">
                  <c:v>39218</c:v>
                </c:pt>
                <c:pt idx="1229">
                  <c:v>39219</c:v>
                </c:pt>
                <c:pt idx="1230">
                  <c:v>39220</c:v>
                </c:pt>
                <c:pt idx="1231">
                  <c:v>39223</c:v>
                </c:pt>
                <c:pt idx="1232">
                  <c:v>39224</c:v>
                </c:pt>
                <c:pt idx="1233">
                  <c:v>39225</c:v>
                </c:pt>
                <c:pt idx="1234">
                  <c:v>39226</c:v>
                </c:pt>
                <c:pt idx="1235">
                  <c:v>39227</c:v>
                </c:pt>
                <c:pt idx="1236">
                  <c:v>39230</c:v>
                </c:pt>
                <c:pt idx="1237">
                  <c:v>39231</c:v>
                </c:pt>
                <c:pt idx="1238">
                  <c:v>39232</c:v>
                </c:pt>
                <c:pt idx="1239">
                  <c:v>39233</c:v>
                </c:pt>
                <c:pt idx="1240">
                  <c:v>39234</c:v>
                </c:pt>
                <c:pt idx="1241">
                  <c:v>39237</c:v>
                </c:pt>
                <c:pt idx="1242">
                  <c:v>39238</c:v>
                </c:pt>
                <c:pt idx="1243">
                  <c:v>39239</c:v>
                </c:pt>
                <c:pt idx="1244">
                  <c:v>39240</c:v>
                </c:pt>
                <c:pt idx="1245">
                  <c:v>39241</c:v>
                </c:pt>
                <c:pt idx="1246">
                  <c:v>39244</c:v>
                </c:pt>
                <c:pt idx="1247">
                  <c:v>39245</c:v>
                </c:pt>
                <c:pt idx="1248">
                  <c:v>39246</c:v>
                </c:pt>
                <c:pt idx="1249">
                  <c:v>39247</c:v>
                </c:pt>
                <c:pt idx="1250">
                  <c:v>39248</c:v>
                </c:pt>
                <c:pt idx="1251">
                  <c:v>39251</c:v>
                </c:pt>
                <c:pt idx="1252">
                  <c:v>39252</c:v>
                </c:pt>
                <c:pt idx="1253">
                  <c:v>39253</c:v>
                </c:pt>
                <c:pt idx="1254">
                  <c:v>39254</c:v>
                </c:pt>
                <c:pt idx="1255">
                  <c:v>39255</c:v>
                </c:pt>
                <c:pt idx="1256">
                  <c:v>39258</c:v>
                </c:pt>
                <c:pt idx="1257">
                  <c:v>39259</c:v>
                </c:pt>
                <c:pt idx="1258">
                  <c:v>39260</c:v>
                </c:pt>
                <c:pt idx="1259">
                  <c:v>39261</c:v>
                </c:pt>
                <c:pt idx="1260">
                  <c:v>39262</c:v>
                </c:pt>
                <c:pt idx="1261">
                  <c:v>39265</c:v>
                </c:pt>
                <c:pt idx="1262">
                  <c:v>39266</c:v>
                </c:pt>
                <c:pt idx="1263">
                  <c:v>39267</c:v>
                </c:pt>
                <c:pt idx="1264">
                  <c:v>39268</c:v>
                </c:pt>
                <c:pt idx="1265">
                  <c:v>39269</c:v>
                </c:pt>
                <c:pt idx="1266">
                  <c:v>39272</c:v>
                </c:pt>
                <c:pt idx="1267">
                  <c:v>39273</c:v>
                </c:pt>
                <c:pt idx="1268">
                  <c:v>39274</c:v>
                </c:pt>
                <c:pt idx="1269">
                  <c:v>39275</c:v>
                </c:pt>
                <c:pt idx="1270">
                  <c:v>39276</c:v>
                </c:pt>
                <c:pt idx="1271">
                  <c:v>39279</c:v>
                </c:pt>
                <c:pt idx="1272">
                  <c:v>39280</c:v>
                </c:pt>
                <c:pt idx="1273">
                  <c:v>39281</c:v>
                </c:pt>
                <c:pt idx="1274">
                  <c:v>39282</c:v>
                </c:pt>
                <c:pt idx="1275">
                  <c:v>39283</c:v>
                </c:pt>
                <c:pt idx="1276">
                  <c:v>39286</c:v>
                </c:pt>
                <c:pt idx="1277">
                  <c:v>39287</c:v>
                </c:pt>
                <c:pt idx="1278">
                  <c:v>39288</c:v>
                </c:pt>
                <c:pt idx="1279">
                  <c:v>39289</c:v>
                </c:pt>
                <c:pt idx="1280">
                  <c:v>39290</c:v>
                </c:pt>
                <c:pt idx="1281">
                  <c:v>39293</c:v>
                </c:pt>
                <c:pt idx="1282">
                  <c:v>39294</c:v>
                </c:pt>
                <c:pt idx="1283">
                  <c:v>39295</c:v>
                </c:pt>
                <c:pt idx="1284">
                  <c:v>39296</c:v>
                </c:pt>
                <c:pt idx="1285">
                  <c:v>39297</c:v>
                </c:pt>
                <c:pt idx="1286">
                  <c:v>39300</c:v>
                </c:pt>
                <c:pt idx="1287">
                  <c:v>39301</c:v>
                </c:pt>
                <c:pt idx="1288">
                  <c:v>39302</c:v>
                </c:pt>
                <c:pt idx="1289">
                  <c:v>39303</c:v>
                </c:pt>
                <c:pt idx="1290">
                  <c:v>39304</c:v>
                </c:pt>
                <c:pt idx="1291">
                  <c:v>39307</c:v>
                </c:pt>
                <c:pt idx="1292">
                  <c:v>39308</c:v>
                </c:pt>
                <c:pt idx="1293">
                  <c:v>39309</c:v>
                </c:pt>
                <c:pt idx="1294">
                  <c:v>39310</c:v>
                </c:pt>
                <c:pt idx="1295">
                  <c:v>39311</c:v>
                </c:pt>
                <c:pt idx="1296">
                  <c:v>39314</c:v>
                </c:pt>
                <c:pt idx="1297">
                  <c:v>39315</c:v>
                </c:pt>
                <c:pt idx="1298">
                  <c:v>39316</c:v>
                </c:pt>
                <c:pt idx="1299">
                  <c:v>39317</c:v>
                </c:pt>
                <c:pt idx="1300">
                  <c:v>39318</c:v>
                </c:pt>
                <c:pt idx="1301">
                  <c:v>39321</c:v>
                </c:pt>
                <c:pt idx="1302">
                  <c:v>39322</c:v>
                </c:pt>
                <c:pt idx="1303">
                  <c:v>39323</c:v>
                </c:pt>
                <c:pt idx="1304">
                  <c:v>39324</c:v>
                </c:pt>
                <c:pt idx="1305">
                  <c:v>39325</c:v>
                </c:pt>
                <c:pt idx="1306">
                  <c:v>39328</c:v>
                </c:pt>
                <c:pt idx="1307">
                  <c:v>39329</c:v>
                </c:pt>
                <c:pt idx="1308">
                  <c:v>39330</c:v>
                </c:pt>
                <c:pt idx="1309">
                  <c:v>39331</c:v>
                </c:pt>
                <c:pt idx="1310">
                  <c:v>39332</c:v>
                </c:pt>
                <c:pt idx="1311">
                  <c:v>39335</c:v>
                </c:pt>
                <c:pt idx="1312">
                  <c:v>39336</c:v>
                </c:pt>
                <c:pt idx="1313">
                  <c:v>39337</c:v>
                </c:pt>
                <c:pt idx="1314">
                  <c:v>39338</c:v>
                </c:pt>
                <c:pt idx="1315">
                  <c:v>39339</c:v>
                </c:pt>
                <c:pt idx="1316">
                  <c:v>39342</c:v>
                </c:pt>
                <c:pt idx="1317">
                  <c:v>39343</c:v>
                </c:pt>
                <c:pt idx="1318">
                  <c:v>39344</c:v>
                </c:pt>
                <c:pt idx="1319">
                  <c:v>39345</c:v>
                </c:pt>
                <c:pt idx="1320">
                  <c:v>39346</c:v>
                </c:pt>
                <c:pt idx="1321">
                  <c:v>39349</c:v>
                </c:pt>
                <c:pt idx="1322">
                  <c:v>39350</c:v>
                </c:pt>
                <c:pt idx="1323">
                  <c:v>39351</c:v>
                </c:pt>
                <c:pt idx="1324">
                  <c:v>39352</c:v>
                </c:pt>
                <c:pt idx="1325">
                  <c:v>39353</c:v>
                </c:pt>
                <c:pt idx="1326">
                  <c:v>39363</c:v>
                </c:pt>
                <c:pt idx="1327">
                  <c:v>39364</c:v>
                </c:pt>
                <c:pt idx="1328">
                  <c:v>39365</c:v>
                </c:pt>
                <c:pt idx="1329">
                  <c:v>39366</c:v>
                </c:pt>
                <c:pt idx="1330">
                  <c:v>39367</c:v>
                </c:pt>
                <c:pt idx="1331">
                  <c:v>39370</c:v>
                </c:pt>
                <c:pt idx="1332">
                  <c:v>39371</c:v>
                </c:pt>
                <c:pt idx="1333">
                  <c:v>39372</c:v>
                </c:pt>
                <c:pt idx="1334">
                  <c:v>39373</c:v>
                </c:pt>
                <c:pt idx="1335">
                  <c:v>39374</c:v>
                </c:pt>
                <c:pt idx="1336">
                  <c:v>39377</c:v>
                </c:pt>
                <c:pt idx="1337">
                  <c:v>39378</c:v>
                </c:pt>
                <c:pt idx="1338">
                  <c:v>39379</c:v>
                </c:pt>
                <c:pt idx="1339">
                  <c:v>39380</c:v>
                </c:pt>
                <c:pt idx="1340">
                  <c:v>39381</c:v>
                </c:pt>
                <c:pt idx="1341">
                  <c:v>39384</c:v>
                </c:pt>
                <c:pt idx="1342">
                  <c:v>39385</c:v>
                </c:pt>
                <c:pt idx="1343">
                  <c:v>39386</c:v>
                </c:pt>
                <c:pt idx="1344">
                  <c:v>39387</c:v>
                </c:pt>
                <c:pt idx="1345">
                  <c:v>39388</c:v>
                </c:pt>
                <c:pt idx="1346">
                  <c:v>39391</c:v>
                </c:pt>
                <c:pt idx="1347">
                  <c:v>39392</c:v>
                </c:pt>
                <c:pt idx="1348">
                  <c:v>39393</c:v>
                </c:pt>
                <c:pt idx="1349">
                  <c:v>39394</c:v>
                </c:pt>
                <c:pt idx="1350">
                  <c:v>39395</c:v>
                </c:pt>
                <c:pt idx="1351">
                  <c:v>39398</c:v>
                </c:pt>
                <c:pt idx="1352">
                  <c:v>39399</c:v>
                </c:pt>
                <c:pt idx="1353">
                  <c:v>39400</c:v>
                </c:pt>
                <c:pt idx="1354">
                  <c:v>39401</c:v>
                </c:pt>
                <c:pt idx="1355">
                  <c:v>39402</c:v>
                </c:pt>
                <c:pt idx="1356">
                  <c:v>39405</c:v>
                </c:pt>
                <c:pt idx="1357">
                  <c:v>39406</c:v>
                </c:pt>
                <c:pt idx="1358">
                  <c:v>39407</c:v>
                </c:pt>
                <c:pt idx="1359">
                  <c:v>39408</c:v>
                </c:pt>
                <c:pt idx="1360">
                  <c:v>39409</c:v>
                </c:pt>
                <c:pt idx="1361">
                  <c:v>39412</c:v>
                </c:pt>
                <c:pt idx="1362">
                  <c:v>39413</c:v>
                </c:pt>
                <c:pt idx="1363">
                  <c:v>39414</c:v>
                </c:pt>
                <c:pt idx="1364">
                  <c:v>39415</c:v>
                </c:pt>
                <c:pt idx="1365">
                  <c:v>39416</c:v>
                </c:pt>
                <c:pt idx="1366">
                  <c:v>39419</c:v>
                </c:pt>
                <c:pt idx="1367">
                  <c:v>39420</c:v>
                </c:pt>
                <c:pt idx="1368">
                  <c:v>39421</c:v>
                </c:pt>
                <c:pt idx="1369">
                  <c:v>39422</c:v>
                </c:pt>
                <c:pt idx="1370">
                  <c:v>39423</c:v>
                </c:pt>
                <c:pt idx="1371">
                  <c:v>39426</c:v>
                </c:pt>
                <c:pt idx="1372">
                  <c:v>39427</c:v>
                </c:pt>
                <c:pt idx="1373">
                  <c:v>39428</c:v>
                </c:pt>
                <c:pt idx="1374">
                  <c:v>39429</c:v>
                </c:pt>
                <c:pt idx="1375">
                  <c:v>39430</c:v>
                </c:pt>
                <c:pt idx="1376">
                  <c:v>39433</c:v>
                </c:pt>
                <c:pt idx="1377">
                  <c:v>39434</c:v>
                </c:pt>
                <c:pt idx="1378">
                  <c:v>39435</c:v>
                </c:pt>
                <c:pt idx="1379">
                  <c:v>39436</c:v>
                </c:pt>
                <c:pt idx="1380">
                  <c:v>39437</c:v>
                </c:pt>
                <c:pt idx="1381">
                  <c:v>39440</c:v>
                </c:pt>
                <c:pt idx="1382">
                  <c:v>39441</c:v>
                </c:pt>
                <c:pt idx="1383">
                  <c:v>39442</c:v>
                </c:pt>
                <c:pt idx="1384">
                  <c:v>39443</c:v>
                </c:pt>
                <c:pt idx="1385">
                  <c:v>39444</c:v>
                </c:pt>
                <c:pt idx="1386">
                  <c:v>39449</c:v>
                </c:pt>
                <c:pt idx="1387">
                  <c:v>39450</c:v>
                </c:pt>
                <c:pt idx="1388">
                  <c:v>39451</c:v>
                </c:pt>
                <c:pt idx="1389">
                  <c:v>39454</c:v>
                </c:pt>
                <c:pt idx="1390">
                  <c:v>39455</c:v>
                </c:pt>
                <c:pt idx="1391">
                  <c:v>39456</c:v>
                </c:pt>
                <c:pt idx="1392">
                  <c:v>39457</c:v>
                </c:pt>
                <c:pt idx="1393">
                  <c:v>39458</c:v>
                </c:pt>
                <c:pt idx="1394">
                  <c:v>39461</c:v>
                </c:pt>
                <c:pt idx="1395">
                  <c:v>39462</c:v>
                </c:pt>
                <c:pt idx="1396">
                  <c:v>39463</c:v>
                </c:pt>
                <c:pt idx="1397">
                  <c:v>39464</c:v>
                </c:pt>
                <c:pt idx="1398">
                  <c:v>39465</c:v>
                </c:pt>
                <c:pt idx="1399">
                  <c:v>39468</c:v>
                </c:pt>
                <c:pt idx="1400">
                  <c:v>39469</c:v>
                </c:pt>
                <c:pt idx="1401">
                  <c:v>39470</c:v>
                </c:pt>
                <c:pt idx="1402">
                  <c:v>39471</c:v>
                </c:pt>
                <c:pt idx="1403">
                  <c:v>39472</c:v>
                </c:pt>
                <c:pt idx="1404">
                  <c:v>39475</c:v>
                </c:pt>
                <c:pt idx="1405">
                  <c:v>39476</c:v>
                </c:pt>
                <c:pt idx="1406">
                  <c:v>39477</c:v>
                </c:pt>
                <c:pt idx="1407">
                  <c:v>39478</c:v>
                </c:pt>
                <c:pt idx="1408">
                  <c:v>39479</c:v>
                </c:pt>
                <c:pt idx="1409">
                  <c:v>39482</c:v>
                </c:pt>
                <c:pt idx="1410">
                  <c:v>39483</c:v>
                </c:pt>
                <c:pt idx="1411">
                  <c:v>39491</c:v>
                </c:pt>
                <c:pt idx="1412">
                  <c:v>39492</c:v>
                </c:pt>
                <c:pt idx="1413">
                  <c:v>39493</c:v>
                </c:pt>
                <c:pt idx="1414">
                  <c:v>39496</c:v>
                </c:pt>
                <c:pt idx="1415">
                  <c:v>39497</c:v>
                </c:pt>
                <c:pt idx="1416">
                  <c:v>39498</c:v>
                </c:pt>
                <c:pt idx="1417">
                  <c:v>39499</c:v>
                </c:pt>
                <c:pt idx="1418">
                  <c:v>39500</c:v>
                </c:pt>
                <c:pt idx="1419">
                  <c:v>39503</c:v>
                </c:pt>
                <c:pt idx="1420">
                  <c:v>39504</c:v>
                </c:pt>
                <c:pt idx="1421">
                  <c:v>39505</c:v>
                </c:pt>
                <c:pt idx="1422">
                  <c:v>39506</c:v>
                </c:pt>
                <c:pt idx="1423">
                  <c:v>39507</c:v>
                </c:pt>
                <c:pt idx="1424">
                  <c:v>39510</c:v>
                </c:pt>
                <c:pt idx="1425">
                  <c:v>39511</c:v>
                </c:pt>
                <c:pt idx="1426">
                  <c:v>39512</c:v>
                </c:pt>
                <c:pt idx="1427">
                  <c:v>39513</c:v>
                </c:pt>
                <c:pt idx="1428">
                  <c:v>39514</c:v>
                </c:pt>
                <c:pt idx="1429">
                  <c:v>39517</c:v>
                </c:pt>
                <c:pt idx="1430">
                  <c:v>39518</c:v>
                </c:pt>
                <c:pt idx="1431">
                  <c:v>39519</c:v>
                </c:pt>
                <c:pt idx="1432">
                  <c:v>39520</c:v>
                </c:pt>
                <c:pt idx="1433">
                  <c:v>39521</c:v>
                </c:pt>
                <c:pt idx="1434">
                  <c:v>39524</c:v>
                </c:pt>
                <c:pt idx="1435">
                  <c:v>39525</c:v>
                </c:pt>
                <c:pt idx="1436">
                  <c:v>39526</c:v>
                </c:pt>
                <c:pt idx="1437">
                  <c:v>39527</c:v>
                </c:pt>
                <c:pt idx="1438">
                  <c:v>39528</c:v>
                </c:pt>
                <c:pt idx="1439">
                  <c:v>39531</c:v>
                </c:pt>
                <c:pt idx="1440">
                  <c:v>39532</c:v>
                </c:pt>
                <c:pt idx="1441">
                  <c:v>39533</c:v>
                </c:pt>
                <c:pt idx="1442">
                  <c:v>39534</c:v>
                </c:pt>
                <c:pt idx="1443">
                  <c:v>39535</c:v>
                </c:pt>
                <c:pt idx="1444">
                  <c:v>39538</c:v>
                </c:pt>
                <c:pt idx="1445">
                  <c:v>39539</c:v>
                </c:pt>
                <c:pt idx="1446">
                  <c:v>39540</c:v>
                </c:pt>
                <c:pt idx="1447">
                  <c:v>39541</c:v>
                </c:pt>
                <c:pt idx="1448">
                  <c:v>39545</c:v>
                </c:pt>
                <c:pt idx="1449">
                  <c:v>39546</c:v>
                </c:pt>
                <c:pt idx="1450">
                  <c:v>39547</c:v>
                </c:pt>
                <c:pt idx="1451">
                  <c:v>39548</c:v>
                </c:pt>
                <c:pt idx="1452">
                  <c:v>39549</c:v>
                </c:pt>
                <c:pt idx="1453">
                  <c:v>39552</c:v>
                </c:pt>
                <c:pt idx="1454">
                  <c:v>39553</c:v>
                </c:pt>
                <c:pt idx="1455">
                  <c:v>39554</c:v>
                </c:pt>
                <c:pt idx="1456">
                  <c:v>39555</c:v>
                </c:pt>
                <c:pt idx="1457">
                  <c:v>39556</c:v>
                </c:pt>
                <c:pt idx="1458">
                  <c:v>39559</c:v>
                </c:pt>
                <c:pt idx="1459">
                  <c:v>39560</c:v>
                </c:pt>
                <c:pt idx="1460">
                  <c:v>39561</c:v>
                </c:pt>
                <c:pt idx="1461">
                  <c:v>39562</c:v>
                </c:pt>
                <c:pt idx="1462">
                  <c:v>39563</c:v>
                </c:pt>
                <c:pt idx="1463">
                  <c:v>39566</c:v>
                </c:pt>
                <c:pt idx="1464">
                  <c:v>39567</c:v>
                </c:pt>
                <c:pt idx="1465">
                  <c:v>39568</c:v>
                </c:pt>
                <c:pt idx="1466">
                  <c:v>39573</c:v>
                </c:pt>
                <c:pt idx="1467">
                  <c:v>39574</c:v>
                </c:pt>
                <c:pt idx="1468">
                  <c:v>39575</c:v>
                </c:pt>
                <c:pt idx="1469">
                  <c:v>39576</c:v>
                </c:pt>
                <c:pt idx="1470">
                  <c:v>39577</c:v>
                </c:pt>
                <c:pt idx="1471">
                  <c:v>39580</c:v>
                </c:pt>
                <c:pt idx="1472">
                  <c:v>39581</c:v>
                </c:pt>
                <c:pt idx="1473">
                  <c:v>39582</c:v>
                </c:pt>
                <c:pt idx="1474">
                  <c:v>39583</c:v>
                </c:pt>
                <c:pt idx="1475">
                  <c:v>39584</c:v>
                </c:pt>
                <c:pt idx="1476">
                  <c:v>39587</c:v>
                </c:pt>
                <c:pt idx="1477">
                  <c:v>39588</c:v>
                </c:pt>
                <c:pt idx="1478">
                  <c:v>39589</c:v>
                </c:pt>
                <c:pt idx="1479">
                  <c:v>39590</c:v>
                </c:pt>
                <c:pt idx="1480">
                  <c:v>39591</c:v>
                </c:pt>
                <c:pt idx="1481">
                  <c:v>39594</c:v>
                </c:pt>
                <c:pt idx="1482">
                  <c:v>39595</c:v>
                </c:pt>
                <c:pt idx="1483">
                  <c:v>39596</c:v>
                </c:pt>
                <c:pt idx="1484">
                  <c:v>39597</c:v>
                </c:pt>
                <c:pt idx="1485">
                  <c:v>39598</c:v>
                </c:pt>
                <c:pt idx="1486">
                  <c:v>39601</c:v>
                </c:pt>
                <c:pt idx="1487">
                  <c:v>39602</c:v>
                </c:pt>
                <c:pt idx="1488">
                  <c:v>39603</c:v>
                </c:pt>
                <c:pt idx="1489">
                  <c:v>39604</c:v>
                </c:pt>
                <c:pt idx="1490">
                  <c:v>39605</c:v>
                </c:pt>
                <c:pt idx="1491">
                  <c:v>39609</c:v>
                </c:pt>
                <c:pt idx="1492">
                  <c:v>39610</c:v>
                </c:pt>
                <c:pt idx="1493">
                  <c:v>39611</c:v>
                </c:pt>
                <c:pt idx="1494">
                  <c:v>39612</c:v>
                </c:pt>
                <c:pt idx="1495">
                  <c:v>39615</c:v>
                </c:pt>
                <c:pt idx="1496">
                  <c:v>39616</c:v>
                </c:pt>
                <c:pt idx="1497">
                  <c:v>39617</c:v>
                </c:pt>
                <c:pt idx="1498">
                  <c:v>39618</c:v>
                </c:pt>
                <c:pt idx="1499">
                  <c:v>39619</c:v>
                </c:pt>
                <c:pt idx="1500">
                  <c:v>39622</c:v>
                </c:pt>
                <c:pt idx="1501">
                  <c:v>39623</c:v>
                </c:pt>
                <c:pt idx="1502">
                  <c:v>39624</c:v>
                </c:pt>
                <c:pt idx="1503">
                  <c:v>39625</c:v>
                </c:pt>
                <c:pt idx="1504">
                  <c:v>39626</c:v>
                </c:pt>
                <c:pt idx="1505">
                  <c:v>39629</c:v>
                </c:pt>
                <c:pt idx="1506">
                  <c:v>39630</c:v>
                </c:pt>
                <c:pt idx="1507">
                  <c:v>39631</c:v>
                </c:pt>
                <c:pt idx="1508">
                  <c:v>39632</c:v>
                </c:pt>
                <c:pt idx="1509">
                  <c:v>39633</c:v>
                </c:pt>
                <c:pt idx="1510">
                  <c:v>39636</c:v>
                </c:pt>
                <c:pt idx="1511">
                  <c:v>39637</c:v>
                </c:pt>
                <c:pt idx="1512">
                  <c:v>39638</c:v>
                </c:pt>
                <c:pt idx="1513">
                  <c:v>39639</c:v>
                </c:pt>
                <c:pt idx="1514">
                  <c:v>39640</c:v>
                </c:pt>
                <c:pt idx="1515">
                  <c:v>39643</c:v>
                </c:pt>
                <c:pt idx="1516">
                  <c:v>39644</c:v>
                </c:pt>
                <c:pt idx="1517">
                  <c:v>39645</c:v>
                </c:pt>
                <c:pt idx="1518">
                  <c:v>39646</c:v>
                </c:pt>
                <c:pt idx="1519">
                  <c:v>39647</c:v>
                </c:pt>
                <c:pt idx="1520">
                  <c:v>39650</c:v>
                </c:pt>
                <c:pt idx="1521">
                  <c:v>39651</c:v>
                </c:pt>
                <c:pt idx="1522">
                  <c:v>39652</c:v>
                </c:pt>
                <c:pt idx="1523">
                  <c:v>39653</c:v>
                </c:pt>
                <c:pt idx="1524">
                  <c:v>39654</c:v>
                </c:pt>
                <c:pt idx="1525">
                  <c:v>39657</c:v>
                </c:pt>
                <c:pt idx="1526">
                  <c:v>39658</c:v>
                </c:pt>
                <c:pt idx="1527">
                  <c:v>39659</c:v>
                </c:pt>
                <c:pt idx="1528">
                  <c:v>39660</c:v>
                </c:pt>
                <c:pt idx="1529">
                  <c:v>39661</c:v>
                </c:pt>
                <c:pt idx="1530">
                  <c:v>39664</c:v>
                </c:pt>
                <c:pt idx="1531">
                  <c:v>39665</c:v>
                </c:pt>
                <c:pt idx="1532">
                  <c:v>39666</c:v>
                </c:pt>
                <c:pt idx="1533">
                  <c:v>39667</c:v>
                </c:pt>
                <c:pt idx="1534">
                  <c:v>39668</c:v>
                </c:pt>
                <c:pt idx="1535">
                  <c:v>39671</c:v>
                </c:pt>
                <c:pt idx="1536">
                  <c:v>39672</c:v>
                </c:pt>
                <c:pt idx="1537">
                  <c:v>39673</c:v>
                </c:pt>
                <c:pt idx="1538">
                  <c:v>39674</c:v>
                </c:pt>
                <c:pt idx="1539">
                  <c:v>39675</c:v>
                </c:pt>
                <c:pt idx="1540">
                  <c:v>39678</c:v>
                </c:pt>
                <c:pt idx="1541">
                  <c:v>39679</c:v>
                </c:pt>
                <c:pt idx="1542">
                  <c:v>39680</c:v>
                </c:pt>
                <c:pt idx="1543">
                  <c:v>39681</c:v>
                </c:pt>
                <c:pt idx="1544">
                  <c:v>39682</c:v>
                </c:pt>
                <c:pt idx="1545">
                  <c:v>39685</c:v>
                </c:pt>
                <c:pt idx="1546">
                  <c:v>39686</c:v>
                </c:pt>
                <c:pt idx="1547">
                  <c:v>39687</c:v>
                </c:pt>
                <c:pt idx="1548">
                  <c:v>39688</c:v>
                </c:pt>
                <c:pt idx="1549">
                  <c:v>39689</c:v>
                </c:pt>
                <c:pt idx="1550">
                  <c:v>39692</c:v>
                </c:pt>
                <c:pt idx="1551">
                  <c:v>39693</c:v>
                </c:pt>
                <c:pt idx="1552">
                  <c:v>39694</c:v>
                </c:pt>
                <c:pt idx="1553">
                  <c:v>39695</c:v>
                </c:pt>
                <c:pt idx="1554">
                  <c:v>39696</c:v>
                </c:pt>
                <c:pt idx="1555">
                  <c:v>39699</c:v>
                </c:pt>
                <c:pt idx="1556">
                  <c:v>39700</c:v>
                </c:pt>
                <c:pt idx="1557">
                  <c:v>39701</c:v>
                </c:pt>
                <c:pt idx="1558">
                  <c:v>39702</c:v>
                </c:pt>
                <c:pt idx="1559">
                  <c:v>39703</c:v>
                </c:pt>
                <c:pt idx="1560">
                  <c:v>39707</c:v>
                </c:pt>
                <c:pt idx="1561">
                  <c:v>39708</c:v>
                </c:pt>
                <c:pt idx="1562">
                  <c:v>39709</c:v>
                </c:pt>
                <c:pt idx="1563">
                  <c:v>39710</c:v>
                </c:pt>
                <c:pt idx="1564">
                  <c:v>39713</c:v>
                </c:pt>
                <c:pt idx="1565">
                  <c:v>39714</c:v>
                </c:pt>
                <c:pt idx="1566">
                  <c:v>39715</c:v>
                </c:pt>
                <c:pt idx="1567">
                  <c:v>39716</c:v>
                </c:pt>
                <c:pt idx="1568">
                  <c:v>39717</c:v>
                </c:pt>
                <c:pt idx="1569">
                  <c:v>39727</c:v>
                </c:pt>
                <c:pt idx="1570">
                  <c:v>39728</c:v>
                </c:pt>
                <c:pt idx="1571">
                  <c:v>39729</c:v>
                </c:pt>
                <c:pt idx="1572">
                  <c:v>39730</c:v>
                </c:pt>
                <c:pt idx="1573">
                  <c:v>39731</c:v>
                </c:pt>
                <c:pt idx="1574">
                  <c:v>39734</c:v>
                </c:pt>
                <c:pt idx="1575">
                  <c:v>39735</c:v>
                </c:pt>
                <c:pt idx="1576">
                  <c:v>39736</c:v>
                </c:pt>
                <c:pt idx="1577">
                  <c:v>39737</c:v>
                </c:pt>
                <c:pt idx="1578">
                  <c:v>39738</c:v>
                </c:pt>
                <c:pt idx="1579">
                  <c:v>39741</c:v>
                </c:pt>
                <c:pt idx="1580">
                  <c:v>39742</c:v>
                </c:pt>
                <c:pt idx="1581">
                  <c:v>39743</c:v>
                </c:pt>
                <c:pt idx="1582">
                  <c:v>39744</c:v>
                </c:pt>
                <c:pt idx="1583">
                  <c:v>39745</c:v>
                </c:pt>
                <c:pt idx="1584">
                  <c:v>39748</c:v>
                </c:pt>
                <c:pt idx="1585">
                  <c:v>39749</c:v>
                </c:pt>
                <c:pt idx="1586">
                  <c:v>39750</c:v>
                </c:pt>
                <c:pt idx="1587">
                  <c:v>39751</c:v>
                </c:pt>
                <c:pt idx="1588">
                  <c:v>39752</c:v>
                </c:pt>
                <c:pt idx="1589">
                  <c:v>39755</c:v>
                </c:pt>
                <c:pt idx="1590">
                  <c:v>39756</c:v>
                </c:pt>
                <c:pt idx="1591">
                  <c:v>39757</c:v>
                </c:pt>
                <c:pt idx="1592">
                  <c:v>39758</c:v>
                </c:pt>
                <c:pt idx="1593">
                  <c:v>39759</c:v>
                </c:pt>
                <c:pt idx="1594">
                  <c:v>39762</c:v>
                </c:pt>
                <c:pt idx="1595">
                  <c:v>39763</c:v>
                </c:pt>
                <c:pt idx="1596">
                  <c:v>39764</c:v>
                </c:pt>
                <c:pt idx="1597">
                  <c:v>39765</c:v>
                </c:pt>
                <c:pt idx="1598">
                  <c:v>39766</c:v>
                </c:pt>
                <c:pt idx="1599">
                  <c:v>39769</c:v>
                </c:pt>
                <c:pt idx="1600">
                  <c:v>39770</c:v>
                </c:pt>
                <c:pt idx="1601">
                  <c:v>39771</c:v>
                </c:pt>
                <c:pt idx="1602">
                  <c:v>39772</c:v>
                </c:pt>
                <c:pt idx="1603">
                  <c:v>39773</c:v>
                </c:pt>
                <c:pt idx="1604">
                  <c:v>39776</c:v>
                </c:pt>
                <c:pt idx="1605">
                  <c:v>39777</c:v>
                </c:pt>
                <c:pt idx="1606">
                  <c:v>39778</c:v>
                </c:pt>
                <c:pt idx="1607">
                  <c:v>39779</c:v>
                </c:pt>
                <c:pt idx="1608">
                  <c:v>39780</c:v>
                </c:pt>
                <c:pt idx="1609">
                  <c:v>39783</c:v>
                </c:pt>
                <c:pt idx="1610">
                  <c:v>39784</c:v>
                </c:pt>
                <c:pt idx="1611">
                  <c:v>39785</c:v>
                </c:pt>
                <c:pt idx="1612">
                  <c:v>39786</c:v>
                </c:pt>
                <c:pt idx="1613">
                  <c:v>39787</c:v>
                </c:pt>
                <c:pt idx="1614">
                  <c:v>39790</c:v>
                </c:pt>
                <c:pt idx="1615">
                  <c:v>39791</c:v>
                </c:pt>
                <c:pt idx="1616">
                  <c:v>39792</c:v>
                </c:pt>
                <c:pt idx="1617">
                  <c:v>39793</c:v>
                </c:pt>
                <c:pt idx="1618">
                  <c:v>39794</c:v>
                </c:pt>
                <c:pt idx="1619">
                  <c:v>39797</c:v>
                </c:pt>
                <c:pt idx="1620">
                  <c:v>39798</c:v>
                </c:pt>
                <c:pt idx="1621">
                  <c:v>39799</c:v>
                </c:pt>
                <c:pt idx="1622">
                  <c:v>39800</c:v>
                </c:pt>
                <c:pt idx="1623">
                  <c:v>39801</c:v>
                </c:pt>
                <c:pt idx="1624">
                  <c:v>39804</c:v>
                </c:pt>
                <c:pt idx="1625">
                  <c:v>39805</c:v>
                </c:pt>
                <c:pt idx="1626">
                  <c:v>39806</c:v>
                </c:pt>
                <c:pt idx="1627">
                  <c:v>39807</c:v>
                </c:pt>
                <c:pt idx="1628">
                  <c:v>39808</c:v>
                </c:pt>
                <c:pt idx="1629">
                  <c:v>39811</c:v>
                </c:pt>
                <c:pt idx="1630">
                  <c:v>39812</c:v>
                </c:pt>
                <c:pt idx="1631">
                  <c:v>39813</c:v>
                </c:pt>
                <c:pt idx="1632">
                  <c:v>39818</c:v>
                </c:pt>
                <c:pt idx="1633">
                  <c:v>39819</c:v>
                </c:pt>
                <c:pt idx="1634">
                  <c:v>39820</c:v>
                </c:pt>
                <c:pt idx="1635">
                  <c:v>39821</c:v>
                </c:pt>
                <c:pt idx="1636">
                  <c:v>39822</c:v>
                </c:pt>
                <c:pt idx="1637">
                  <c:v>39825</c:v>
                </c:pt>
                <c:pt idx="1638">
                  <c:v>39826</c:v>
                </c:pt>
                <c:pt idx="1639">
                  <c:v>39827</c:v>
                </c:pt>
                <c:pt idx="1640">
                  <c:v>39828</c:v>
                </c:pt>
                <c:pt idx="1641">
                  <c:v>39829</c:v>
                </c:pt>
                <c:pt idx="1642">
                  <c:v>39832</c:v>
                </c:pt>
                <c:pt idx="1643">
                  <c:v>39833</c:v>
                </c:pt>
                <c:pt idx="1644">
                  <c:v>39834</c:v>
                </c:pt>
                <c:pt idx="1645">
                  <c:v>39835</c:v>
                </c:pt>
                <c:pt idx="1646">
                  <c:v>39836</c:v>
                </c:pt>
                <c:pt idx="1647">
                  <c:v>39846</c:v>
                </c:pt>
                <c:pt idx="1648">
                  <c:v>39847</c:v>
                </c:pt>
                <c:pt idx="1649">
                  <c:v>39848</c:v>
                </c:pt>
                <c:pt idx="1650">
                  <c:v>39849</c:v>
                </c:pt>
                <c:pt idx="1651">
                  <c:v>39850</c:v>
                </c:pt>
                <c:pt idx="1652">
                  <c:v>39853</c:v>
                </c:pt>
                <c:pt idx="1653">
                  <c:v>39854</c:v>
                </c:pt>
                <c:pt idx="1654">
                  <c:v>39855</c:v>
                </c:pt>
                <c:pt idx="1655">
                  <c:v>39856</c:v>
                </c:pt>
                <c:pt idx="1656">
                  <c:v>39857</c:v>
                </c:pt>
                <c:pt idx="1657">
                  <c:v>39860</c:v>
                </c:pt>
                <c:pt idx="1658">
                  <c:v>39861</c:v>
                </c:pt>
                <c:pt idx="1659">
                  <c:v>39862</c:v>
                </c:pt>
                <c:pt idx="1660">
                  <c:v>39863</c:v>
                </c:pt>
                <c:pt idx="1661">
                  <c:v>39864</c:v>
                </c:pt>
                <c:pt idx="1662">
                  <c:v>39867</c:v>
                </c:pt>
                <c:pt idx="1663">
                  <c:v>39868</c:v>
                </c:pt>
                <c:pt idx="1664">
                  <c:v>39869</c:v>
                </c:pt>
                <c:pt idx="1665">
                  <c:v>39870</c:v>
                </c:pt>
                <c:pt idx="1666">
                  <c:v>39871</c:v>
                </c:pt>
                <c:pt idx="1667">
                  <c:v>39874</c:v>
                </c:pt>
                <c:pt idx="1668">
                  <c:v>39875</c:v>
                </c:pt>
                <c:pt idx="1669">
                  <c:v>39876</c:v>
                </c:pt>
                <c:pt idx="1670">
                  <c:v>39877</c:v>
                </c:pt>
                <c:pt idx="1671">
                  <c:v>39878</c:v>
                </c:pt>
                <c:pt idx="1672">
                  <c:v>39881</c:v>
                </c:pt>
                <c:pt idx="1673">
                  <c:v>39882</c:v>
                </c:pt>
                <c:pt idx="1674">
                  <c:v>39883</c:v>
                </c:pt>
                <c:pt idx="1675">
                  <c:v>39884</c:v>
                </c:pt>
                <c:pt idx="1676">
                  <c:v>39885</c:v>
                </c:pt>
                <c:pt idx="1677">
                  <c:v>39888</c:v>
                </c:pt>
                <c:pt idx="1678">
                  <c:v>39889</c:v>
                </c:pt>
                <c:pt idx="1679">
                  <c:v>39890</c:v>
                </c:pt>
                <c:pt idx="1680">
                  <c:v>39891</c:v>
                </c:pt>
                <c:pt idx="1681">
                  <c:v>39892</c:v>
                </c:pt>
                <c:pt idx="1682">
                  <c:v>39895</c:v>
                </c:pt>
                <c:pt idx="1683">
                  <c:v>39896</c:v>
                </c:pt>
                <c:pt idx="1684">
                  <c:v>39897</c:v>
                </c:pt>
                <c:pt idx="1685">
                  <c:v>39898</c:v>
                </c:pt>
                <c:pt idx="1686">
                  <c:v>39899</c:v>
                </c:pt>
                <c:pt idx="1687">
                  <c:v>39902</c:v>
                </c:pt>
                <c:pt idx="1688">
                  <c:v>39903</c:v>
                </c:pt>
                <c:pt idx="1689">
                  <c:v>39904</c:v>
                </c:pt>
                <c:pt idx="1690">
                  <c:v>39905</c:v>
                </c:pt>
                <c:pt idx="1691">
                  <c:v>39906</c:v>
                </c:pt>
                <c:pt idx="1692">
                  <c:v>39910</c:v>
                </c:pt>
                <c:pt idx="1693">
                  <c:v>39911</c:v>
                </c:pt>
                <c:pt idx="1694">
                  <c:v>39912</c:v>
                </c:pt>
                <c:pt idx="1695">
                  <c:v>39913</c:v>
                </c:pt>
                <c:pt idx="1696">
                  <c:v>39916</c:v>
                </c:pt>
                <c:pt idx="1697">
                  <c:v>39917</c:v>
                </c:pt>
                <c:pt idx="1698">
                  <c:v>39918</c:v>
                </c:pt>
                <c:pt idx="1699">
                  <c:v>39919</c:v>
                </c:pt>
                <c:pt idx="1700">
                  <c:v>39920</c:v>
                </c:pt>
                <c:pt idx="1701">
                  <c:v>39923</c:v>
                </c:pt>
                <c:pt idx="1702">
                  <c:v>39924</c:v>
                </c:pt>
                <c:pt idx="1703">
                  <c:v>39925</c:v>
                </c:pt>
                <c:pt idx="1704">
                  <c:v>39926</c:v>
                </c:pt>
                <c:pt idx="1705">
                  <c:v>39927</c:v>
                </c:pt>
                <c:pt idx="1706">
                  <c:v>39930</c:v>
                </c:pt>
                <c:pt idx="1707">
                  <c:v>39931</c:v>
                </c:pt>
                <c:pt idx="1708">
                  <c:v>39932</c:v>
                </c:pt>
                <c:pt idx="1709">
                  <c:v>39933</c:v>
                </c:pt>
                <c:pt idx="1710">
                  <c:v>39937</c:v>
                </c:pt>
                <c:pt idx="1711">
                  <c:v>39938</c:v>
                </c:pt>
                <c:pt idx="1712">
                  <c:v>39939</c:v>
                </c:pt>
                <c:pt idx="1713">
                  <c:v>39940</c:v>
                </c:pt>
                <c:pt idx="1714">
                  <c:v>39941</c:v>
                </c:pt>
                <c:pt idx="1715">
                  <c:v>39944</c:v>
                </c:pt>
                <c:pt idx="1716">
                  <c:v>39945</c:v>
                </c:pt>
                <c:pt idx="1717">
                  <c:v>39946</c:v>
                </c:pt>
                <c:pt idx="1718">
                  <c:v>39947</c:v>
                </c:pt>
                <c:pt idx="1719">
                  <c:v>39948</c:v>
                </c:pt>
                <c:pt idx="1720">
                  <c:v>39951</c:v>
                </c:pt>
                <c:pt idx="1721">
                  <c:v>39952</c:v>
                </c:pt>
                <c:pt idx="1722">
                  <c:v>39953</c:v>
                </c:pt>
                <c:pt idx="1723">
                  <c:v>39954</c:v>
                </c:pt>
                <c:pt idx="1724">
                  <c:v>39955</c:v>
                </c:pt>
                <c:pt idx="1725">
                  <c:v>39958</c:v>
                </c:pt>
                <c:pt idx="1726">
                  <c:v>39959</c:v>
                </c:pt>
                <c:pt idx="1727">
                  <c:v>39960</c:v>
                </c:pt>
                <c:pt idx="1728">
                  <c:v>39965</c:v>
                </c:pt>
                <c:pt idx="1729">
                  <c:v>39966</c:v>
                </c:pt>
                <c:pt idx="1730">
                  <c:v>39967</c:v>
                </c:pt>
                <c:pt idx="1731">
                  <c:v>39968</c:v>
                </c:pt>
                <c:pt idx="1732">
                  <c:v>39969</c:v>
                </c:pt>
                <c:pt idx="1733">
                  <c:v>39972</c:v>
                </c:pt>
                <c:pt idx="1734">
                  <c:v>39973</c:v>
                </c:pt>
                <c:pt idx="1735">
                  <c:v>39974</c:v>
                </c:pt>
                <c:pt idx="1736">
                  <c:v>39975</c:v>
                </c:pt>
                <c:pt idx="1737">
                  <c:v>39976</c:v>
                </c:pt>
                <c:pt idx="1738">
                  <c:v>39979</c:v>
                </c:pt>
                <c:pt idx="1739">
                  <c:v>39980</c:v>
                </c:pt>
                <c:pt idx="1740">
                  <c:v>39981</c:v>
                </c:pt>
                <c:pt idx="1741">
                  <c:v>39982</c:v>
                </c:pt>
                <c:pt idx="1742">
                  <c:v>39983</c:v>
                </c:pt>
                <c:pt idx="1743">
                  <c:v>39986</c:v>
                </c:pt>
                <c:pt idx="1744">
                  <c:v>39987</c:v>
                </c:pt>
                <c:pt idx="1745">
                  <c:v>39988</c:v>
                </c:pt>
                <c:pt idx="1746">
                  <c:v>39989</c:v>
                </c:pt>
                <c:pt idx="1747">
                  <c:v>39990</c:v>
                </c:pt>
                <c:pt idx="1748">
                  <c:v>39993</c:v>
                </c:pt>
                <c:pt idx="1749">
                  <c:v>39994</c:v>
                </c:pt>
                <c:pt idx="1750">
                  <c:v>39995</c:v>
                </c:pt>
                <c:pt idx="1751">
                  <c:v>39996</c:v>
                </c:pt>
                <c:pt idx="1752">
                  <c:v>39997</c:v>
                </c:pt>
                <c:pt idx="1753">
                  <c:v>40000</c:v>
                </c:pt>
                <c:pt idx="1754">
                  <c:v>40001</c:v>
                </c:pt>
                <c:pt idx="1755">
                  <c:v>40002</c:v>
                </c:pt>
                <c:pt idx="1756">
                  <c:v>40003</c:v>
                </c:pt>
                <c:pt idx="1757">
                  <c:v>40004</c:v>
                </c:pt>
                <c:pt idx="1758">
                  <c:v>40007</c:v>
                </c:pt>
                <c:pt idx="1759">
                  <c:v>40008</c:v>
                </c:pt>
                <c:pt idx="1760">
                  <c:v>40009</c:v>
                </c:pt>
                <c:pt idx="1761">
                  <c:v>40010</c:v>
                </c:pt>
                <c:pt idx="1762">
                  <c:v>40011</c:v>
                </c:pt>
                <c:pt idx="1763">
                  <c:v>40014</c:v>
                </c:pt>
                <c:pt idx="1764">
                  <c:v>40015</c:v>
                </c:pt>
                <c:pt idx="1765">
                  <c:v>40016</c:v>
                </c:pt>
                <c:pt idx="1766">
                  <c:v>40017</c:v>
                </c:pt>
                <c:pt idx="1767">
                  <c:v>40018</c:v>
                </c:pt>
                <c:pt idx="1768">
                  <c:v>40021</c:v>
                </c:pt>
                <c:pt idx="1769">
                  <c:v>40022</c:v>
                </c:pt>
                <c:pt idx="1770">
                  <c:v>40023</c:v>
                </c:pt>
                <c:pt idx="1771">
                  <c:v>40024</c:v>
                </c:pt>
                <c:pt idx="1772">
                  <c:v>40025</c:v>
                </c:pt>
                <c:pt idx="1773">
                  <c:v>40028</c:v>
                </c:pt>
                <c:pt idx="1774">
                  <c:v>40029</c:v>
                </c:pt>
                <c:pt idx="1775">
                  <c:v>40030</c:v>
                </c:pt>
                <c:pt idx="1776">
                  <c:v>40031</c:v>
                </c:pt>
                <c:pt idx="1777">
                  <c:v>40032</c:v>
                </c:pt>
                <c:pt idx="1778">
                  <c:v>40035</c:v>
                </c:pt>
                <c:pt idx="1779">
                  <c:v>40036</c:v>
                </c:pt>
                <c:pt idx="1780">
                  <c:v>40037</c:v>
                </c:pt>
                <c:pt idx="1781">
                  <c:v>40038</c:v>
                </c:pt>
                <c:pt idx="1782">
                  <c:v>40039</c:v>
                </c:pt>
                <c:pt idx="1783">
                  <c:v>40042</c:v>
                </c:pt>
                <c:pt idx="1784">
                  <c:v>40043</c:v>
                </c:pt>
                <c:pt idx="1785">
                  <c:v>40044</c:v>
                </c:pt>
                <c:pt idx="1786">
                  <c:v>40045</c:v>
                </c:pt>
                <c:pt idx="1787">
                  <c:v>40046</c:v>
                </c:pt>
                <c:pt idx="1788">
                  <c:v>40049</c:v>
                </c:pt>
                <c:pt idx="1789">
                  <c:v>40050</c:v>
                </c:pt>
                <c:pt idx="1790">
                  <c:v>40051</c:v>
                </c:pt>
                <c:pt idx="1791">
                  <c:v>40052</c:v>
                </c:pt>
                <c:pt idx="1792">
                  <c:v>40053</c:v>
                </c:pt>
                <c:pt idx="1793">
                  <c:v>40056</c:v>
                </c:pt>
                <c:pt idx="1794">
                  <c:v>40057</c:v>
                </c:pt>
                <c:pt idx="1795">
                  <c:v>40058</c:v>
                </c:pt>
                <c:pt idx="1796">
                  <c:v>40059</c:v>
                </c:pt>
                <c:pt idx="1797">
                  <c:v>40060</c:v>
                </c:pt>
                <c:pt idx="1798">
                  <c:v>40063</c:v>
                </c:pt>
                <c:pt idx="1799">
                  <c:v>40064</c:v>
                </c:pt>
                <c:pt idx="1800">
                  <c:v>40065</c:v>
                </c:pt>
                <c:pt idx="1801">
                  <c:v>40066</c:v>
                </c:pt>
                <c:pt idx="1802">
                  <c:v>40067</c:v>
                </c:pt>
                <c:pt idx="1803">
                  <c:v>40070</c:v>
                </c:pt>
                <c:pt idx="1804">
                  <c:v>40071</c:v>
                </c:pt>
                <c:pt idx="1805">
                  <c:v>40072</c:v>
                </c:pt>
                <c:pt idx="1806">
                  <c:v>40073</c:v>
                </c:pt>
                <c:pt idx="1807">
                  <c:v>40074</c:v>
                </c:pt>
                <c:pt idx="1808">
                  <c:v>40077</c:v>
                </c:pt>
                <c:pt idx="1809">
                  <c:v>40078</c:v>
                </c:pt>
                <c:pt idx="1810">
                  <c:v>40079</c:v>
                </c:pt>
                <c:pt idx="1811">
                  <c:v>40080</c:v>
                </c:pt>
                <c:pt idx="1812">
                  <c:v>40081</c:v>
                </c:pt>
                <c:pt idx="1813">
                  <c:v>40084</c:v>
                </c:pt>
                <c:pt idx="1814">
                  <c:v>40085</c:v>
                </c:pt>
                <c:pt idx="1815">
                  <c:v>40086</c:v>
                </c:pt>
                <c:pt idx="1816">
                  <c:v>40095</c:v>
                </c:pt>
                <c:pt idx="1817">
                  <c:v>40098</c:v>
                </c:pt>
                <c:pt idx="1818">
                  <c:v>40099</c:v>
                </c:pt>
                <c:pt idx="1819">
                  <c:v>40100</c:v>
                </c:pt>
                <c:pt idx="1820">
                  <c:v>40101</c:v>
                </c:pt>
                <c:pt idx="1821">
                  <c:v>40102</c:v>
                </c:pt>
                <c:pt idx="1822">
                  <c:v>40105</c:v>
                </c:pt>
                <c:pt idx="1823">
                  <c:v>40106</c:v>
                </c:pt>
                <c:pt idx="1824">
                  <c:v>40107</c:v>
                </c:pt>
                <c:pt idx="1825">
                  <c:v>40108</c:v>
                </c:pt>
                <c:pt idx="1826">
                  <c:v>40109</c:v>
                </c:pt>
                <c:pt idx="1827">
                  <c:v>40112</c:v>
                </c:pt>
                <c:pt idx="1828">
                  <c:v>40113</c:v>
                </c:pt>
                <c:pt idx="1829">
                  <c:v>40114</c:v>
                </c:pt>
                <c:pt idx="1830">
                  <c:v>40115</c:v>
                </c:pt>
                <c:pt idx="1831">
                  <c:v>40116</c:v>
                </c:pt>
                <c:pt idx="1832">
                  <c:v>40119</c:v>
                </c:pt>
                <c:pt idx="1833">
                  <c:v>40120</c:v>
                </c:pt>
                <c:pt idx="1834">
                  <c:v>40121</c:v>
                </c:pt>
                <c:pt idx="1835">
                  <c:v>40122</c:v>
                </c:pt>
                <c:pt idx="1836">
                  <c:v>40123</c:v>
                </c:pt>
                <c:pt idx="1837">
                  <c:v>40126</c:v>
                </c:pt>
                <c:pt idx="1838">
                  <c:v>40127</c:v>
                </c:pt>
                <c:pt idx="1839">
                  <c:v>40128</c:v>
                </c:pt>
                <c:pt idx="1840">
                  <c:v>40129</c:v>
                </c:pt>
                <c:pt idx="1841">
                  <c:v>40130</c:v>
                </c:pt>
                <c:pt idx="1842">
                  <c:v>40133</c:v>
                </c:pt>
                <c:pt idx="1843">
                  <c:v>40134</c:v>
                </c:pt>
                <c:pt idx="1844">
                  <c:v>40135</c:v>
                </c:pt>
                <c:pt idx="1845">
                  <c:v>40136</c:v>
                </c:pt>
                <c:pt idx="1846">
                  <c:v>40137</c:v>
                </c:pt>
                <c:pt idx="1847">
                  <c:v>40140</c:v>
                </c:pt>
                <c:pt idx="1848">
                  <c:v>40141</c:v>
                </c:pt>
                <c:pt idx="1849">
                  <c:v>40142</c:v>
                </c:pt>
                <c:pt idx="1850">
                  <c:v>40143</c:v>
                </c:pt>
                <c:pt idx="1851">
                  <c:v>40144</c:v>
                </c:pt>
                <c:pt idx="1852">
                  <c:v>40147</c:v>
                </c:pt>
                <c:pt idx="1853">
                  <c:v>40148</c:v>
                </c:pt>
                <c:pt idx="1854">
                  <c:v>40149</c:v>
                </c:pt>
                <c:pt idx="1855">
                  <c:v>40150</c:v>
                </c:pt>
                <c:pt idx="1856">
                  <c:v>40151</c:v>
                </c:pt>
                <c:pt idx="1857">
                  <c:v>40154</c:v>
                </c:pt>
                <c:pt idx="1858">
                  <c:v>40155</c:v>
                </c:pt>
                <c:pt idx="1859">
                  <c:v>40156</c:v>
                </c:pt>
                <c:pt idx="1860">
                  <c:v>40157</c:v>
                </c:pt>
                <c:pt idx="1861">
                  <c:v>40158</c:v>
                </c:pt>
                <c:pt idx="1862">
                  <c:v>40161</c:v>
                </c:pt>
                <c:pt idx="1863">
                  <c:v>40162</c:v>
                </c:pt>
                <c:pt idx="1864">
                  <c:v>40163</c:v>
                </c:pt>
                <c:pt idx="1865">
                  <c:v>40164</c:v>
                </c:pt>
                <c:pt idx="1866">
                  <c:v>40165</c:v>
                </c:pt>
                <c:pt idx="1867">
                  <c:v>40168</c:v>
                </c:pt>
                <c:pt idx="1868">
                  <c:v>40169</c:v>
                </c:pt>
                <c:pt idx="1869">
                  <c:v>40170</c:v>
                </c:pt>
                <c:pt idx="1870">
                  <c:v>40171</c:v>
                </c:pt>
                <c:pt idx="1871">
                  <c:v>40172</c:v>
                </c:pt>
                <c:pt idx="1872">
                  <c:v>40175</c:v>
                </c:pt>
                <c:pt idx="1873">
                  <c:v>40176</c:v>
                </c:pt>
                <c:pt idx="1874">
                  <c:v>40177</c:v>
                </c:pt>
                <c:pt idx="1875">
                  <c:v>40178</c:v>
                </c:pt>
                <c:pt idx="1876">
                  <c:v>40182</c:v>
                </c:pt>
                <c:pt idx="1877">
                  <c:v>40183</c:v>
                </c:pt>
                <c:pt idx="1878">
                  <c:v>40184</c:v>
                </c:pt>
                <c:pt idx="1879">
                  <c:v>40185</c:v>
                </c:pt>
                <c:pt idx="1880">
                  <c:v>40186</c:v>
                </c:pt>
                <c:pt idx="1881">
                  <c:v>40189</c:v>
                </c:pt>
                <c:pt idx="1882">
                  <c:v>40190</c:v>
                </c:pt>
                <c:pt idx="1883">
                  <c:v>40191</c:v>
                </c:pt>
                <c:pt idx="1884">
                  <c:v>40192</c:v>
                </c:pt>
                <c:pt idx="1885">
                  <c:v>40193</c:v>
                </c:pt>
                <c:pt idx="1886">
                  <c:v>40196</c:v>
                </c:pt>
                <c:pt idx="1887">
                  <c:v>40197</c:v>
                </c:pt>
                <c:pt idx="1888">
                  <c:v>40198</c:v>
                </c:pt>
                <c:pt idx="1889">
                  <c:v>40199</c:v>
                </c:pt>
                <c:pt idx="1890">
                  <c:v>40200</c:v>
                </c:pt>
                <c:pt idx="1891">
                  <c:v>40203</c:v>
                </c:pt>
                <c:pt idx="1892">
                  <c:v>40204</c:v>
                </c:pt>
                <c:pt idx="1893">
                  <c:v>40205</c:v>
                </c:pt>
                <c:pt idx="1894">
                  <c:v>40206</c:v>
                </c:pt>
                <c:pt idx="1895">
                  <c:v>40207</c:v>
                </c:pt>
                <c:pt idx="1896">
                  <c:v>40210</c:v>
                </c:pt>
                <c:pt idx="1897">
                  <c:v>40211</c:v>
                </c:pt>
                <c:pt idx="1898">
                  <c:v>40212</c:v>
                </c:pt>
                <c:pt idx="1899">
                  <c:v>40213</c:v>
                </c:pt>
                <c:pt idx="1900">
                  <c:v>40214</c:v>
                </c:pt>
                <c:pt idx="1901">
                  <c:v>40217</c:v>
                </c:pt>
                <c:pt idx="1902">
                  <c:v>40218</c:v>
                </c:pt>
                <c:pt idx="1903">
                  <c:v>40219</c:v>
                </c:pt>
                <c:pt idx="1904">
                  <c:v>40220</c:v>
                </c:pt>
                <c:pt idx="1905">
                  <c:v>40221</c:v>
                </c:pt>
                <c:pt idx="1906">
                  <c:v>40231</c:v>
                </c:pt>
                <c:pt idx="1907">
                  <c:v>40232</c:v>
                </c:pt>
                <c:pt idx="1908">
                  <c:v>40233</c:v>
                </c:pt>
                <c:pt idx="1909">
                  <c:v>40234</c:v>
                </c:pt>
                <c:pt idx="1910">
                  <c:v>40235</c:v>
                </c:pt>
                <c:pt idx="1911">
                  <c:v>40238</c:v>
                </c:pt>
                <c:pt idx="1912">
                  <c:v>40239</c:v>
                </c:pt>
                <c:pt idx="1913">
                  <c:v>40240</c:v>
                </c:pt>
                <c:pt idx="1914">
                  <c:v>40241</c:v>
                </c:pt>
                <c:pt idx="1915">
                  <c:v>40242</c:v>
                </c:pt>
                <c:pt idx="1916">
                  <c:v>40245</c:v>
                </c:pt>
                <c:pt idx="1917">
                  <c:v>40246</c:v>
                </c:pt>
                <c:pt idx="1918">
                  <c:v>40247</c:v>
                </c:pt>
                <c:pt idx="1919">
                  <c:v>40248</c:v>
                </c:pt>
                <c:pt idx="1920">
                  <c:v>40249</c:v>
                </c:pt>
                <c:pt idx="1921">
                  <c:v>40252</c:v>
                </c:pt>
                <c:pt idx="1922">
                  <c:v>40253</c:v>
                </c:pt>
                <c:pt idx="1923">
                  <c:v>40254</c:v>
                </c:pt>
                <c:pt idx="1924">
                  <c:v>40255</c:v>
                </c:pt>
                <c:pt idx="1925">
                  <c:v>40256</c:v>
                </c:pt>
                <c:pt idx="1926">
                  <c:v>40259</c:v>
                </c:pt>
                <c:pt idx="1927">
                  <c:v>40260</c:v>
                </c:pt>
                <c:pt idx="1928">
                  <c:v>40261</c:v>
                </c:pt>
                <c:pt idx="1929">
                  <c:v>40262</c:v>
                </c:pt>
                <c:pt idx="1930">
                  <c:v>40263</c:v>
                </c:pt>
                <c:pt idx="1931">
                  <c:v>40266</c:v>
                </c:pt>
                <c:pt idx="1932">
                  <c:v>40267</c:v>
                </c:pt>
                <c:pt idx="1933">
                  <c:v>40268</c:v>
                </c:pt>
                <c:pt idx="1934">
                  <c:v>40269</c:v>
                </c:pt>
                <c:pt idx="1935">
                  <c:v>40270</c:v>
                </c:pt>
                <c:pt idx="1936">
                  <c:v>40274</c:v>
                </c:pt>
                <c:pt idx="1937">
                  <c:v>40275</c:v>
                </c:pt>
                <c:pt idx="1938">
                  <c:v>40276</c:v>
                </c:pt>
                <c:pt idx="1939">
                  <c:v>40277</c:v>
                </c:pt>
                <c:pt idx="1940">
                  <c:v>40280</c:v>
                </c:pt>
                <c:pt idx="1941">
                  <c:v>40281</c:v>
                </c:pt>
                <c:pt idx="1942">
                  <c:v>40282</c:v>
                </c:pt>
                <c:pt idx="1943">
                  <c:v>40283</c:v>
                </c:pt>
                <c:pt idx="1944">
                  <c:v>40284</c:v>
                </c:pt>
                <c:pt idx="1945">
                  <c:v>40287</c:v>
                </c:pt>
                <c:pt idx="1946">
                  <c:v>40288</c:v>
                </c:pt>
                <c:pt idx="1947">
                  <c:v>40289</c:v>
                </c:pt>
                <c:pt idx="1948">
                  <c:v>40290</c:v>
                </c:pt>
                <c:pt idx="1949">
                  <c:v>40291</c:v>
                </c:pt>
                <c:pt idx="1950">
                  <c:v>40294</c:v>
                </c:pt>
                <c:pt idx="1951">
                  <c:v>40295</c:v>
                </c:pt>
                <c:pt idx="1952">
                  <c:v>40296</c:v>
                </c:pt>
                <c:pt idx="1953">
                  <c:v>40297</c:v>
                </c:pt>
                <c:pt idx="1954">
                  <c:v>40298</c:v>
                </c:pt>
                <c:pt idx="1955">
                  <c:v>40302</c:v>
                </c:pt>
                <c:pt idx="1956">
                  <c:v>40303</c:v>
                </c:pt>
                <c:pt idx="1957">
                  <c:v>40304</c:v>
                </c:pt>
                <c:pt idx="1958">
                  <c:v>40305</c:v>
                </c:pt>
                <c:pt idx="1959">
                  <c:v>40308</c:v>
                </c:pt>
                <c:pt idx="1960">
                  <c:v>40309</c:v>
                </c:pt>
                <c:pt idx="1961">
                  <c:v>40310</c:v>
                </c:pt>
                <c:pt idx="1962">
                  <c:v>40311</c:v>
                </c:pt>
                <c:pt idx="1963">
                  <c:v>40312</c:v>
                </c:pt>
                <c:pt idx="1964">
                  <c:v>40315</c:v>
                </c:pt>
                <c:pt idx="1965">
                  <c:v>40316</c:v>
                </c:pt>
                <c:pt idx="1966">
                  <c:v>40317</c:v>
                </c:pt>
                <c:pt idx="1967">
                  <c:v>40318</c:v>
                </c:pt>
                <c:pt idx="1968">
                  <c:v>40319</c:v>
                </c:pt>
                <c:pt idx="1969">
                  <c:v>40322</c:v>
                </c:pt>
                <c:pt idx="1970">
                  <c:v>40323</c:v>
                </c:pt>
                <c:pt idx="1971">
                  <c:v>40324</c:v>
                </c:pt>
                <c:pt idx="1972">
                  <c:v>40325</c:v>
                </c:pt>
                <c:pt idx="1973">
                  <c:v>40326</c:v>
                </c:pt>
                <c:pt idx="1974">
                  <c:v>40329</c:v>
                </c:pt>
                <c:pt idx="1975">
                  <c:v>40330</c:v>
                </c:pt>
                <c:pt idx="1976">
                  <c:v>40331</c:v>
                </c:pt>
                <c:pt idx="1977">
                  <c:v>40332</c:v>
                </c:pt>
                <c:pt idx="1978">
                  <c:v>40333</c:v>
                </c:pt>
                <c:pt idx="1979">
                  <c:v>40336</c:v>
                </c:pt>
                <c:pt idx="1980">
                  <c:v>40337</c:v>
                </c:pt>
                <c:pt idx="1981">
                  <c:v>40338</c:v>
                </c:pt>
                <c:pt idx="1982">
                  <c:v>40339</c:v>
                </c:pt>
                <c:pt idx="1983">
                  <c:v>40340</c:v>
                </c:pt>
                <c:pt idx="1984">
                  <c:v>40346</c:v>
                </c:pt>
                <c:pt idx="1985">
                  <c:v>40347</c:v>
                </c:pt>
                <c:pt idx="1986">
                  <c:v>40350</c:v>
                </c:pt>
                <c:pt idx="1987">
                  <c:v>40351</c:v>
                </c:pt>
                <c:pt idx="1988">
                  <c:v>40352</c:v>
                </c:pt>
                <c:pt idx="1989">
                  <c:v>40353</c:v>
                </c:pt>
                <c:pt idx="1990">
                  <c:v>40354</c:v>
                </c:pt>
                <c:pt idx="1991">
                  <c:v>40357</c:v>
                </c:pt>
                <c:pt idx="1992">
                  <c:v>40358</c:v>
                </c:pt>
                <c:pt idx="1993">
                  <c:v>40359</c:v>
                </c:pt>
                <c:pt idx="1994">
                  <c:v>40360</c:v>
                </c:pt>
                <c:pt idx="1995">
                  <c:v>40361</c:v>
                </c:pt>
                <c:pt idx="1996">
                  <c:v>40364</c:v>
                </c:pt>
                <c:pt idx="1997">
                  <c:v>40365</c:v>
                </c:pt>
                <c:pt idx="1998">
                  <c:v>40366</c:v>
                </c:pt>
                <c:pt idx="1999">
                  <c:v>40367</c:v>
                </c:pt>
                <c:pt idx="2000">
                  <c:v>40368</c:v>
                </c:pt>
                <c:pt idx="2001">
                  <c:v>40371</c:v>
                </c:pt>
                <c:pt idx="2002">
                  <c:v>40372</c:v>
                </c:pt>
                <c:pt idx="2003">
                  <c:v>40373</c:v>
                </c:pt>
                <c:pt idx="2004">
                  <c:v>40374</c:v>
                </c:pt>
                <c:pt idx="2005">
                  <c:v>40375</c:v>
                </c:pt>
                <c:pt idx="2006">
                  <c:v>40378</c:v>
                </c:pt>
                <c:pt idx="2007">
                  <c:v>40379</c:v>
                </c:pt>
                <c:pt idx="2008">
                  <c:v>40380</c:v>
                </c:pt>
                <c:pt idx="2009">
                  <c:v>40381</c:v>
                </c:pt>
                <c:pt idx="2010">
                  <c:v>40382</c:v>
                </c:pt>
                <c:pt idx="2011">
                  <c:v>40385</c:v>
                </c:pt>
                <c:pt idx="2012">
                  <c:v>40386</c:v>
                </c:pt>
                <c:pt idx="2013">
                  <c:v>40387</c:v>
                </c:pt>
                <c:pt idx="2014">
                  <c:v>40388</c:v>
                </c:pt>
                <c:pt idx="2015">
                  <c:v>40389</c:v>
                </c:pt>
                <c:pt idx="2016">
                  <c:v>40392</c:v>
                </c:pt>
                <c:pt idx="2017">
                  <c:v>40393</c:v>
                </c:pt>
                <c:pt idx="2018">
                  <c:v>40394</c:v>
                </c:pt>
                <c:pt idx="2019">
                  <c:v>40395</c:v>
                </c:pt>
                <c:pt idx="2020">
                  <c:v>40396</c:v>
                </c:pt>
                <c:pt idx="2021">
                  <c:v>40399</c:v>
                </c:pt>
                <c:pt idx="2022">
                  <c:v>40400</c:v>
                </c:pt>
                <c:pt idx="2023">
                  <c:v>40401</c:v>
                </c:pt>
                <c:pt idx="2024">
                  <c:v>40402</c:v>
                </c:pt>
                <c:pt idx="2025">
                  <c:v>40403</c:v>
                </c:pt>
                <c:pt idx="2026">
                  <c:v>40406</c:v>
                </c:pt>
                <c:pt idx="2027">
                  <c:v>40407</c:v>
                </c:pt>
                <c:pt idx="2028">
                  <c:v>40408</c:v>
                </c:pt>
                <c:pt idx="2029">
                  <c:v>40409</c:v>
                </c:pt>
                <c:pt idx="2030">
                  <c:v>40410</c:v>
                </c:pt>
                <c:pt idx="2031">
                  <c:v>40413</c:v>
                </c:pt>
                <c:pt idx="2032">
                  <c:v>40414</c:v>
                </c:pt>
                <c:pt idx="2033">
                  <c:v>40415</c:v>
                </c:pt>
                <c:pt idx="2034">
                  <c:v>40416</c:v>
                </c:pt>
                <c:pt idx="2035">
                  <c:v>40417</c:v>
                </c:pt>
                <c:pt idx="2036">
                  <c:v>40420</c:v>
                </c:pt>
                <c:pt idx="2037">
                  <c:v>40421</c:v>
                </c:pt>
                <c:pt idx="2038">
                  <c:v>40422</c:v>
                </c:pt>
                <c:pt idx="2039">
                  <c:v>40423</c:v>
                </c:pt>
                <c:pt idx="2040">
                  <c:v>40424</c:v>
                </c:pt>
                <c:pt idx="2041">
                  <c:v>40427</c:v>
                </c:pt>
                <c:pt idx="2042">
                  <c:v>40428</c:v>
                </c:pt>
                <c:pt idx="2043">
                  <c:v>40429</c:v>
                </c:pt>
                <c:pt idx="2044">
                  <c:v>40430</c:v>
                </c:pt>
                <c:pt idx="2045">
                  <c:v>40431</c:v>
                </c:pt>
                <c:pt idx="2046">
                  <c:v>40434</c:v>
                </c:pt>
                <c:pt idx="2047">
                  <c:v>40435</c:v>
                </c:pt>
                <c:pt idx="2048">
                  <c:v>40436</c:v>
                </c:pt>
                <c:pt idx="2049">
                  <c:v>40437</c:v>
                </c:pt>
                <c:pt idx="2050">
                  <c:v>40438</c:v>
                </c:pt>
                <c:pt idx="2051">
                  <c:v>40441</c:v>
                </c:pt>
                <c:pt idx="2052">
                  <c:v>40442</c:v>
                </c:pt>
                <c:pt idx="2053">
                  <c:v>40448</c:v>
                </c:pt>
                <c:pt idx="2054">
                  <c:v>40449</c:v>
                </c:pt>
                <c:pt idx="2055">
                  <c:v>40450</c:v>
                </c:pt>
                <c:pt idx="2056">
                  <c:v>40451</c:v>
                </c:pt>
                <c:pt idx="2057">
                  <c:v>40459</c:v>
                </c:pt>
                <c:pt idx="2058">
                  <c:v>40462</c:v>
                </c:pt>
                <c:pt idx="2059">
                  <c:v>40463</c:v>
                </c:pt>
                <c:pt idx="2060">
                  <c:v>40464</c:v>
                </c:pt>
                <c:pt idx="2061">
                  <c:v>40465</c:v>
                </c:pt>
                <c:pt idx="2062">
                  <c:v>40466</c:v>
                </c:pt>
                <c:pt idx="2063">
                  <c:v>40469</c:v>
                </c:pt>
                <c:pt idx="2064">
                  <c:v>40470</c:v>
                </c:pt>
                <c:pt idx="2065">
                  <c:v>40471</c:v>
                </c:pt>
                <c:pt idx="2066">
                  <c:v>40472</c:v>
                </c:pt>
                <c:pt idx="2067">
                  <c:v>40473</c:v>
                </c:pt>
                <c:pt idx="2068">
                  <c:v>40476</c:v>
                </c:pt>
                <c:pt idx="2069">
                  <c:v>40477</c:v>
                </c:pt>
                <c:pt idx="2070">
                  <c:v>40478</c:v>
                </c:pt>
                <c:pt idx="2071">
                  <c:v>40479</c:v>
                </c:pt>
                <c:pt idx="2072">
                  <c:v>40480</c:v>
                </c:pt>
                <c:pt idx="2073">
                  <c:v>40483</c:v>
                </c:pt>
                <c:pt idx="2074">
                  <c:v>40484</c:v>
                </c:pt>
                <c:pt idx="2075">
                  <c:v>40485</c:v>
                </c:pt>
                <c:pt idx="2076">
                  <c:v>40486</c:v>
                </c:pt>
                <c:pt idx="2077">
                  <c:v>40487</c:v>
                </c:pt>
                <c:pt idx="2078">
                  <c:v>40490</c:v>
                </c:pt>
                <c:pt idx="2079">
                  <c:v>40491</c:v>
                </c:pt>
                <c:pt idx="2080">
                  <c:v>40492</c:v>
                </c:pt>
                <c:pt idx="2081">
                  <c:v>40493</c:v>
                </c:pt>
                <c:pt idx="2082">
                  <c:v>40494</c:v>
                </c:pt>
                <c:pt idx="2083">
                  <c:v>40497</c:v>
                </c:pt>
                <c:pt idx="2084">
                  <c:v>40498</c:v>
                </c:pt>
                <c:pt idx="2085">
                  <c:v>40499</c:v>
                </c:pt>
                <c:pt idx="2086">
                  <c:v>40500</c:v>
                </c:pt>
                <c:pt idx="2087">
                  <c:v>40501</c:v>
                </c:pt>
                <c:pt idx="2088">
                  <c:v>40504</c:v>
                </c:pt>
                <c:pt idx="2089">
                  <c:v>40505</c:v>
                </c:pt>
                <c:pt idx="2090">
                  <c:v>40506</c:v>
                </c:pt>
                <c:pt idx="2091">
                  <c:v>40507</c:v>
                </c:pt>
                <c:pt idx="2092">
                  <c:v>40508</c:v>
                </c:pt>
                <c:pt idx="2093">
                  <c:v>40511</c:v>
                </c:pt>
                <c:pt idx="2094">
                  <c:v>40512</c:v>
                </c:pt>
                <c:pt idx="2095">
                  <c:v>40513</c:v>
                </c:pt>
                <c:pt idx="2096">
                  <c:v>40514</c:v>
                </c:pt>
                <c:pt idx="2097">
                  <c:v>40515</c:v>
                </c:pt>
                <c:pt idx="2098">
                  <c:v>40518</c:v>
                </c:pt>
                <c:pt idx="2099">
                  <c:v>40519</c:v>
                </c:pt>
                <c:pt idx="2100">
                  <c:v>40520</c:v>
                </c:pt>
                <c:pt idx="2101">
                  <c:v>40521</c:v>
                </c:pt>
                <c:pt idx="2102">
                  <c:v>40522</c:v>
                </c:pt>
                <c:pt idx="2103">
                  <c:v>40525</c:v>
                </c:pt>
                <c:pt idx="2104">
                  <c:v>40526</c:v>
                </c:pt>
                <c:pt idx="2105">
                  <c:v>40527</c:v>
                </c:pt>
                <c:pt idx="2106">
                  <c:v>40528</c:v>
                </c:pt>
                <c:pt idx="2107">
                  <c:v>40529</c:v>
                </c:pt>
                <c:pt idx="2108">
                  <c:v>40532</c:v>
                </c:pt>
                <c:pt idx="2109">
                  <c:v>40533</c:v>
                </c:pt>
                <c:pt idx="2110">
                  <c:v>40534</c:v>
                </c:pt>
                <c:pt idx="2111">
                  <c:v>40535</c:v>
                </c:pt>
                <c:pt idx="2112">
                  <c:v>40536</c:v>
                </c:pt>
                <c:pt idx="2113">
                  <c:v>40539</c:v>
                </c:pt>
                <c:pt idx="2114">
                  <c:v>40540</c:v>
                </c:pt>
                <c:pt idx="2115">
                  <c:v>40541</c:v>
                </c:pt>
                <c:pt idx="2116">
                  <c:v>40542</c:v>
                </c:pt>
                <c:pt idx="2117">
                  <c:v>40543</c:v>
                </c:pt>
                <c:pt idx="2118">
                  <c:v>40547</c:v>
                </c:pt>
                <c:pt idx="2119">
                  <c:v>40548</c:v>
                </c:pt>
                <c:pt idx="2120">
                  <c:v>40549</c:v>
                </c:pt>
                <c:pt idx="2121">
                  <c:v>40550</c:v>
                </c:pt>
                <c:pt idx="2122">
                  <c:v>40553</c:v>
                </c:pt>
                <c:pt idx="2123">
                  <c:v>40554</c:v>
                </c:pt>
                <c:pt idx="2124">
                  <c:v>40555</c:v>
                </c:pt>
                <c:pt idx="2125">
                  <c:v>40556</c:v>
                </c:pt>
                <c:pt idx="2126">
                  <c:v>40557</c:v>
                </c:pt>
                <c:pt idx="2127">
                  <c:v>40560</c:v>
                </c:pt>
                <c:pt idx="2128">
                  <c:v>40561</c:v>
                </c:pt>
                <c:pt idx="2129">
                  <c:v>40562</c:v>
                </c:pt>
                <c:pt idx="2130">
                  <c:v>40563</c:v>
                </c:pt>
                <c:pt idx="2131">
                  <c:v>40564</c:v>
                </c:pt>
                <c:pt idx="2132">
                  <c:v>40567</c:v>
                </c:pt>
                <c:pt idx="2133">
                  <c:v>40568</c:v>
                </c:pt>
                <c:pt idx="2134">
                  <c:v>40569</c:v>
                </c:pt>
                <c:pt idx="2135">
                  <c:v>40570</c:v>
                </c:pt>
                <c:pt idx="2136">
                  <c:v>40571</c:v>
                </c:pt>
                <c:pt idx="2137">
                  <c:v>40574</c:v>
                </c:pt>
                <c:pt idx="2138">
                  <c:v>40575</c:v>
                </c:pt>
                <c:pt idx="2139">
                  <c:v>40583</c:v>
                </c:pt>
                <c:pt idx="2140">
                  <c:v>40584</c:v>
                </c:pt>
                <c:pt idx="2141">
                  <c:v>40585</c:v>
                </c:pt>
                <c:pt idx="2142">
                  <c:v>40588</c:v>
                </c:pt>
                <c:pt idx="2143">
                  <c:v>40589</c:v>
                </c:pt>
                <c:pt idx="2144">
                  <c:v>40590</c:v>
                </c:pt>
                <c:pt idx="2145">
                  <c:v>40591</c:v>
                </c:pt>
                <c:pt idx="2146">
                  <c:v>40592</c:v>
                </c:pt>
                <c:pt idx="2147">
                  <c:v>40595</c:v>
                </c:pt>
                <c:pt idx="2148">
                  <c:v>40596</c:v>
                </c:pt>
                <c:pt idx="2149">
                  <c:v>40597</c:v>
                </c:pt>
                <c:pt idx="2150">
                  <c:v>40598</c:v>
                </c:pt>
                <c:pt idx="2151">
                  <c:v>40599</c:v>
                </c:pt>
                <c:pt idx="2152">
                  <c:v>40602</c:v>
                </c:pt>
                <c:pt idx="2153">
                  <c:v>40603</c:v>
                </c:pt>
                <c:pt idx="2154">
                  <c:v>40604</c:v>
                </c:pt>
                <c:pt idx="2155">
                  <c:v>40605</c:v>
                </c:pt>
                <c:pt idx="2156">
                  <c:v>40606</c:v>
                </c:pt>
                <c:pt idx="2157">
                  <c:v>40609</c:v>
                </c:pt>
                <c:pt idx="2158">
                  <c:v>40610</c:v>
                </c:pt>
                <c:pt idx="2159">
                  <c:v>40611</c:v>
                </c:pt>
                <c:pt idx="2160">
                  <c:v>40612</c:v>
                </c:pt>
                <c:pt idx="2161">
                  <c:v>40613</c:v>
                </c:pt>
                <c:pt idx="2162">
                  <c:v>40616</c:v>
                </c:pt>
                <c:pt idx="2163">
                  <c:v>40617</c:v>
                </c:pt>
                <c:pt idx="2164">
                  <c:v>40618</c:v>
                </c:pt>
                <c:pt idx="2165">
                  <c:v>40619</c:v>
                </c:pt>
                <c:pt idx="2166">
                  <c:v>40620</c:v>
                </c:pt>
                <c:pt idx="2167">
                  <c:v>40623</c:v>
                </c:pt>
                <c:pt idx="2168">
                  <c:v>40624</c:v>
                </c:pt>
                <c:pt idx="2169">
                  <c:v>40625</c:v>
                </c:pt>
                <c:pt idx="2170">
                  <c:v>40626</c:v>
                </c:pt>
                <c:pt idx="2171">
                  <c:v>40627</c:v>
                </c:pt>
                <c:pt idx="2172">
                  <c:v>40630</c:v>
                </c:pt>
                <c:pt idx="2173">
                  <c:v>40631</c:v>
                </c:pt>
                <c:pt idx="2174">
                  <c:v>40632</c:v>
                </c:pt>
                <c:pt idx="2175">
                  <c:v>40633</c:v>
                </c:pt>
                <c:pt idx="2176">
                  <c:v>40634</c:v>
                </c:pt>
                <c:pt idx="2177">
                  <c:v>40639</c:v>
                </c:pt>
                <c:pt idx="2178">
                  <c:v>40640</c:v>
                </c:pt>
                <c:pt idx="2179">
                  <c:v>40641</c:v>
                </c:pt>
                <c:pt idx="2180">
                  <c:v>40644</c:v>
                </c:pt>
                <c:pt idx="2181">
                  <c:v>40645</c:v>
                </c:pt>
                <c:pt idx="2182">
                  <c:v>40646</c:v>
                </c:pt>
                <c:pt idx="2183">
                  <c:v>40647</c:v>
                </c:pt>
                <c:pt idx="2184">
                  <c:v>40648</c:v>
                </c:pt>
                <c:pt idx="2185">
                  <c:v>40651</c:v>
                </c:pt>
                <c:pt idx="2186">
                  <c:v>40652</c:v>
                </c:pt>
                <c:pt idx="2187">
                  <c:v>40653</c:v>
                </c:pt>
                <c:pt idx="2188">
                  <c:v>40654</c:v>
                </c:pt>
                <c:pt idx="2189">
                  <c:v>40655</c:v>
                </c:pt>
                <c:pt idx="2190">
                  <c:v>40658</c:v>
                </c:pt>
                <c:pt idx="2191">
                  <c:v>40659</c:v>
                </c:pt>
                <c:pt idx="2192">
                  <c:v>40660</c:v>
                </c:pt>
                <c:pt idx="2193">
                  <c:v>40661</c:v>
                </c:pt>
                <c:pt idx="2194">
                  <c:v>40662</c:v>
                </c:pt>
                <c:pt idx="2195">
                  <c:v>40666</c:v>
                </c:pt>
                <c:pt idx="2196">
                  <c:v>40667</c:v>
                </c:pt>
                <c:pt idx="2197">
                  <c:v>40668</c:v>
                </c:pt>
                <c:pt idx="2198">
                  <c:v>40669</c:v>
                </c:pt>
                <c:pt idx="2199">
                  <c:v>40672</c:v>
                </c:pt>
                <c:pt idx="2200">
                  <c:v>40673</c:v>
                </c:pt>
                <c:pt idx="2201">
                  <c:v>40674</c:v>
                </c:pt>
                <c:pt idx="2202">
                  <c:v>40675</c:v>
                </c:pt>
                <c:pt idx="2203">
                  <c:v>40676</c:v>
                </c:pt>
                <c:pt idx="2204">
                  <c:v>40679</c:v>
                </c:pt>
                <c:pt idx="2205">
                  <c:v>40680</c:v>
                </c:pt>
                <c:pt idx="2206">
                  <c:v>40681</c:v>
                </c:pt>
                <c:pt idx="2207">
                  <c:v>40682</c:v>
                </c:pt>
                <c:pt idx="2208">
                  <c:v>40683</c:v>
                </c:pt>
                <c:pt idx="2209">
                  <c:v>40686</c:v>
                </c:pt>
                <c:pt idx="2210">
                  <c:v>40687</c:v>
                </c:pt>
                <c:pt idx="2211">
                  <c:v>40688</c:v>
                </c:pt>
                <c:pt idx="2212">
                  <c:v>40689</c:v>
                </c:pt>
                <c:pt idx="2213">
                  <c:v>40690</c:v>
                </c:pt>
                <c:pt idx="2214">
                  <c:v>40693</c:v>
                </c:pt>
                <c:pt idx="2215">
                  <c:v>40694</c:v>
                </c:pt>
                <c:pt idx="2216">
                  <c:v>40695</c:v>
                </c:pt>
                <c:pt idx="2217">
                  <c:v>40696</c:v>
                </c:pt>
                <c:pt idx="2218">
                  <c:v>40697</c:v>
                </c:pt>
                <c:pt idx="2219">
                  <c:v>40701</c:v>
                </c:pt>
                <c:pt idx="2220">
                  <c:v>40702</c:v>
                </c:pt>
                <c:pt idx="2221">
                  <c:v>40703</c:v>
                </c:pt>
                <c:pt idx="2222">
                  <c:v>40704</c:v>
                </c:pt>
                <c:pt idx="2223">
                  <c:v>40707</c:v>
                </c:pt>
                <c:pt idx="2224">
                  <c:v>40708</c:v>
                </c:pt>
                <c:pt idx="2225">
                  <c:v>40709</c:v>
                </c:pt>
                <c:pt idx="2226">
                  <c:v>40710</c:v>
                </c:pt>
                <c:pt idx="2227">
                  <c:v>40711</c:v>
                </c:pt>
                <c:pt idx="2228">
                  <c:v>40714</c:v>
                </c:pt>
                <c:pt idx="2229">
                  <c:v>40715</c:v>
                </c:pt>
                <c:pt idx="2230">
                  <c:v>40716</c:v>
                </c:pt>
                <c:pt idx="2231">
                  <c:v>40717</c:v>
                </c:pt>
                <c:pt idx="2232">
                  <c:v>40718</c:v>
                </c:pt>
                <c:pt idx="2233">
                  <c:v>40721</c:v>
                </c:pt>
                <c:pt idx="2234">
                  <c:v>40722</c:v>
                </c:pt>
                <c:pt idx="2235">
                  <c:v>40723</c:v>
                </c:pt>
                <c:pt idx="2236">
                  <c:v>40724</c:v>
                </c:pt>
                <c:pt idx="2237">
                  <c:v>40725</c:v>
                </c:pt>
                <c:pt idx="2238">
                  <c:v>40728</c:v>
                </c:pt>
                <c:pt idx="2239">
                  <c:v>40729</c:v>
                </c:pt>
                <c:pt idx="2240">
                  <c:v>40730</c:v>
                </c:pt>
                <c:pt idx="2241">
                  <c:v>40731</c:v>
                </c:pt>
                <c:pt idx="2242">
                  <c:v>40732</c:v>
                </c:pt>
                <c:pt idx="2243">
                  <c:v>40735</c:v>
                </c:pt>
                <c:pt idx="2244">
                  <c:v>40736</c:v>
                </c:pt>
                <c:pt idx="2245">
                  <c:v>40737</c:v>
                </c:pt>
                <c:pt idx="2246">
                  <c:v>40738</c:v>
                </c:pt>
                <c:pt idx="2247">
                  <c:v>40739</c:v>
                </c:pt>
                <c:pt idx="2248">
                  <c:v>40742</c:v>
                </c:pt>
                <c:pt idx="2249">
                  <c:v>40743</c:v>
                </c:pt>
                <c:pt idx="2250">
                  <c:v>40744</c:v>
                </c:pt>
                <c:pt idx="2251">
                  <c:v>40745</c:v>
                </c:pt>
                <c:pt idx="2252">
                  <c:v>40746</c:v>
                </c:pt>
                <c:pt idx="2253">
                  <c:v>40749</c:v>
                </c:pt>
                <c:pt idx="2254">
                  <c:v>40750</c:v>
                </c:pt>
                <c:pt idx="2255">
                  <c:v>40751</c:v>
                </c:pt>
                <c:pt idx="2256">
                  <c:v>40752</c:v>
                </c:pt>
                <c:pt idx="2257">
                  <c:v>40753</c:v>
                </c:pt>
                <c:pt idx="2258">
                  <c:v>40756</c:v>
                </c:pt>
                <c:pt idx="2259">
                  <c:v>40757</c:v>
                </c:pt>
                <c:pt idx="2260">
                  <c:v>40758</c:v>
                </c:pt>
                <c:pt idx="2261">
                  <c:v>40759</c:v>
                </c:pt>
                <c:pt idx="2262">
                  <c:v>40760</c:v>
                </c:pt>
                <c:pt idx="2263">
                  <c:v>40763</c:v>
                </c:pt>
                <c:pt idx="2264">
                  <c:v>40764</c:v>
                </c:pt>
                <c:pt idx="2265">
                  <c:v>40765</c:v>
                </c:pt>
                <c:pt idx="2266">
                  <c:v>40766</c:v>
                </c:pt>
                <c:pt idx="2267">
                  <c:v>40767</c:v>
                </c:pt>
                <c:pt idx="2268">
                  <c:v>40770</c:v>
                </c:pt>
                <c:pt idx="2269">
                  <c:v>40771</c:v>
                </c:pt>
                <c:pt idx="2270">
                  <c:v>40772</c:v>
                </c:pt>
                <c:pt idx="2271">
                  <c:v>40773</c:v>
                </c:pt>
                <c:pt idx="2272">
                  <c:v>40774</c:v>
                </c:pt>
                <c:pt idx="2273">
                  <c:v>40777</c:v>
                </c:pt>
                <c:pt idx="2274">
                  <c:v>40778</c:v>
                </c:pt>
                <c:pt idx="2275">
                  <c:v>40779</c:v>
                </c:pt>
                <c:pt idx="2276">
                  <c:v>40780</c:v>
                </c:pt>
                <c:pt idx="2277">
                  <c:v>40781</c:v>
                </c:pt>
                <c:pt idx="2278">
                  <c:v>40784</c:v>
                </c:pt>
                <c:pt idx="2279">
                  <c:v>40785</c:v>
                </c:pt>
                <c:pt idx="2280">
                  <c:v>40786</c:v>
                </c:pt>
                <c:pt idx="2281">
                  <c:v>40787</c:v>
                </c:pt>
                <c:pt idx="2282">
                  <c:v>40788</c:v>
                </c:pt>
                <c:pt idx="2283">
                  <c:v>40791</c:v>
                </c:pt>
                <c:pt idx="2284">
                  <c:v>40792</c:v>
                </c:pt>
                <c:pt idx="2285">
                  <c:v>40793</c:v>
                </c:pt>
                <c:pt idx="2286">
                  <c:v>40794</c:v>
                </c:pt>
                <c:pt idx="2287">
                  <c:v>40795</c:v>
                </c:pt>
                <c:pt idx="2288">
                  <c:v>40799</c:v>
                </c:pt>
                <c:pt idx="2289">
                  <c:v>40800</c:v>
                </c:pt>
                <c:pt idx="2290">
                  <c:v>40801</c:v>
                </c:pt>
                <c:pt idx="2291">
                  <c:v>40802</c:v>
                </c:pt>
                <c:pt idx="2292">
                  <c:v>40805</c:v>
                </c:pt>
                <c:pt idx="2293">
                  <c:v>40806</c:v>
                </c:pt>
                <c:pt idx="2294">
                  <c:v>40807</c:v>
                </c:pt>
                <c:pt idx="2295">
                  <c:v>40808</c:v>
                </c:pt>
                <c:pt idx="2296">
                  <c:v>40809</c:v>
                </c:pt>
                <c:pt idx="2297">
                  <c:v>40812</c:v>
                </c:pt>
                <c:pt idx="2298">
                  <c:v>40813</c:v>
                </c:pt>
                <c:pt idx="2299">
                  <c:v>40814</c:v>
                </c:pt>
                <c:pt idx="2300">
                  <c:v>40815</c:v>
                </c:pt>
                <c:pt idx="2301">
                  <c:v>40816</c:v>
                </c:pt>
                <c:pt idx="2302">
                  <c:v>40826</c:v>
                </c:pt>
                <c:pt idx="2303">
                  <c:v>40827</c:v>
                </c:pt>
                <c:pt idx="2304">
                  <c:v>40828</c:v>
                </c:pt>
                <c:pt idx="2305">
                  <c:v>40829</c:v>
                </c:pt>
                <c:pt idx="2306">
                  <c:v>40830</c:v>
                </c:pt>
                <c:pt idx="2307">
                  <c:v>40833</c:v>
                </c:pt>
                <c:pt idx="2308">
                  <c:v>40834</c:v>
                </c:pt>
                <c:pt idx="2309">
                  <c:v>40835</c:v>
                </c:pt>
                <c:pt idx="2310">
                  <c:v>40836</c:v>
                </c:pt>
                <c:pt idx="2311">
                  <c:v>40837</c:v>
                </c:pt>
                <c:pt idx="2312">
                  <c:v>40840</c:v>
                </c:pt>
                <c:pt idx="2313">
                  <c:v>40841</c:v>
                </c:pt>
                <c:pt idx="2314">
                  <c:v>40842</c:v>
                </c:pt>
                <c:pt idx="2315">
                  <c:v>40843</c:v>
                </c:pt>
                <c:pt idx="2316">
                  <c:v>40844</c:v>
                </c:pt>
                <c:pt idx="2317">
                  <c:v>40847</c:v>
                </c:pt>
                <c:pt idx="2318">
                  <c:v>40848</c:v>
                </c:pt>
                <c:pt idx="2319">
                  <c:v>40849</c:v>
                </c:pt>
                <c:pt idx="2320">
                  <c:v>40850</c:v>
                </c:pt>
                <c:pt idx="2321">
                  <c:v>40851</c:v>
                </c:pt>
                <c:pt idx="2322">
                  <c:v>40854</c:v>
                </c:pt>
                <c:pt idx="2323">
                  <c:v>40855</c:v>
                </c:pt>
                <c:pt idx="2324">
                  <c:v>40856</c:v>
                </c:pt>
                <c:pt idx="2325">
                  <c:v>40857</c:v>
                </c:pt>
                <c:pt idx="2326">
                  <c:v>40858</c:v>
                </c:pt>
                <c:pt idx="2327">
                  <c:v>40861</c:v>
                </c:pt>
                <c:pt idx="2328">
                  <c:v>40862</c:v>
                </c:pt>
                <c:pt idx="2329">
                  <c:v>40863</c:v>
                </c:pt>
                <c:pt idx="2330">
                  <c:v>40864</c:v>
                </c:pt>
                <c:pt idx="2331">
                  <c:v>40865</c:v>
                </c:pt>
                <c:pt idx="2332">
                  <c:v>40868</c:v>
                </c:pt>
                <c:pt idx="2333">
                  <c:v>40869</c:v>
                </c:pt>
                <c:pt idx="2334">
                  <c:v>40870</c:v>
                </c:pt>
                <c:pt idx="2335">
                  <c:v>40871</c:v>
                </c:pt>
                <c:pt idx="2336">
                  <c:v>40872</c:v>
                </c:pt>
                <c:pt idx="2337">
                  <c:v>40875</c:v>
                </c:pt>
                <c:pt idx="2338">
                  <c:v>40876</c:v>
                </c:pt>
                <c:pt idx="2339">
                  <c:v>40877</c:v>
                </c:pt>
                <c:pt idx="2340">
                  <c:v>40878</c:v>
                </c:pt>
                <c:pt idx="2341">
                  <c:v>40879</c:v>
                </c:pt>
                <c:pt idx="2342">
                  <c:v>40882</c:v>
                </c:pt>
                <c:pt idx="2343">
                  <c:v>40883</c:v>
                </c:pt>
                <c:pt idx="2344">
                  <c:v>40884</c:v>
                </c:pt>
                <c:pt idx="2345">
                  <c:v>40885</c:v>
                </c:pt>
                <c:pt idx="2346">
                  <c:v>40886</c:v>
                </c:pt>
                <c:pt idx="2347">
                  <c:v>40889</c:v>
                </c:pt>
                <c:pt idx="2348">
                  <c:v>40890</c:v>
                </c:pt>
                <c:pt idx="2349">
                  <c:v>40891</c:v>
                </c:pt>
                <c:pt idx="2350">
                  <c:v>40892</c:v>
                </c:pt>
                <c:pt idx="2351">
                  <c:v>40893</c:v>
                </c:pt>
                <c:pt idx="2352">
                  <c:v>40896</c:v>
                </c:pt>
                <c:pt idx="2353">
                  <c:v>40897</c:v>
                </c:pt>
                <c:pt idx="2354">
                  <c:v>40898</c:v>
                </c:pt>
                <c:pt idx="2355">
                  <c:v>40899</c:v>
                </c:pt>
                <c:pt idx="2356">
                  <c:v>40900</c:v>
                </c:pt>
                <c:pt idx="2357">
                  <c:v>40903</c:v>
                </c:pt>
                <c:pt idx="2358">
                  <c:v>40904</c:v>
                </c:pt>
                <c:pt idx="2359">
                  <c:v>40905</c:v>
                </c:pt>
                <c:pt idx="2360">
                  <c:v>40906</c:v>
                </c:pt>
                <c:pt idx="2361">
                  <c:v>40907</c:v>
                </c:pt>
                <c:pt idx="2362">
                  <c:v>40912</c:v>
                </c:pt>
                <c:pt idx="2363">
                  <c:v>40913</c:v>
                </c:pt>
                <c:pt idx="2364">
                  <c:v>40914</c:v>
                </c:pt>
                <c:pt idx="2365">
                  <c:v>40917</c:v>
                </c:pt>
                <c:pt idx="2366">
                  <c:v>40918</c:v>
                </c:pt>
                <c:pt idx="2367">
                  <c:v>40919</c:v>
                </c:pt>
                <c:pt idx="2368">
                  <c:v>40920</c:v>
                </c:pt>
                <c:pt idx="2369">
                  <c:v>40921</c:v>
                </c:pt>
                <c:pt idx="2370">
                  <c:v>40924</c:v>
                </c:pt>
                <c:pt idx="2371">
                  <c:v>40925</c:v>
                </c:pt>
                <c:pt idx="2372">
                  <c:v>40926</c:v>
                </c:pt>
                <c:pt idx="2373">
                  <c:v>40927</c:v>
                </c:pt>
                <c:pt idx="2374">
                  <c:v>40928</c:v>
                </c:pt>
                <c:pt idx="2375">
                  <c:v>40938</c:v>
                </c:pt>
                <c:pt idx="2376">
                  <c:v>40939</c:v>
                </c:pt>
                <c:pt idx="2377">
                  <c:v>40940</c:v>
                </c:pt>
                <c:pt idx="2378">
                  <c:v>40941</c:v>
                </c:pt>
                <c:pt idx="2379">
                  <c:v>40942</c:v>
                </c:pt>
                <c:pt idx="2380">
                  <c:v>40945</c:v>
                </c:pt>
                <c:pt idx="2381">
                  <c:v>40946</c:v>
                </c:pt>
                <c:pt idx="2382">
                  <c:v>40947</c:v>
                </c:pt>
                <c:pt idx="2383">
                  <c:v>40948</c:v>
                </c:pt>
                <c:pt idx="2384">
                  <c:v>40949</c:v>
                </c:pt>
                <c:pt idx="2385">
                  <c:v>40952</c:v>
                </c:pt>
                <c:pt idx="2386">
                  <c:v>40953</c:v>
                </c:pt>
                <c:pt idx="2387">
                  <c:v>40954</c:v>
                </c:pt>
                <c:pt idx="2388">
                  <c:v>40955</c:v>
                </c:pt>
                <c:pt idx="2389">
                  <c:v>40956</c:v>
                </c:pt>
                <c:pt idx="2390">
                  <c:v>40959</c:v>
                </c:pt>
                <c:pt idx="2391">
                  <c:v>40960</c:v>
                </c:pt>
                <c:pt idx="2392">
                  <c:v>40961</c:v>
                </c:pt>
                <c:pt idx="2393">
                  <c:v>40962</c:v>
                </c:pt>
                <c:pt idx="2394">
                  <c:v>40963</c:v>
                </c:pt>
                <c:pt idx="2395">
                  <c:v>40966</c:v>
                </c:pt>
                <c:pt idx="2396">
                  <c:v>40967</c:v>
                </c:pt>
                <c:pt idx="2397">
                  <c:v>40968</c:v>
                </c:pt>
                <c:pt idx="2398">
                  <c:v>40969</c:v>
                </c:pt>
                <c:pt idx="2399">
                  <c:v>40970</c:v>
                </c:pt>
                <c:pt idx="2400">
                  <c:v>40973</c:v>
                </c:pt>
                <c:pt idx="2401">
                  <c:v>40974</c:v>
                </c:pt>
                <c:pt idx="2402">
                  <c:v>40975</c:v>
                </c:pt>
                <c:pt idx="2403">
                  <c:v>40976</c:v>
                </c:pt>
                <c:pt idx="2404">
                  <c:v>40977</c:v>
                </c:pt>
                <c:pt idx="2405">
                  <c:v>40980</c:v>
                </c:pt>
                <c:pt idx="2406">
                  <c:v>40981</c:v>
                </c:pt>
                <c:pt idx="2407">
                  <c:v>40982</c:v>
                </c:pt>
                <c:pt idx="2408">
                  <c:v>40983</c:v>
                </c:pt>
                <c:pt idx="2409">
                  <c:v>40984</c:v>
                </c:pt>
                <c:pt idx="2410">
                  <c:v>40987</c:v>
                </c:pt>
                <c:pt idx="2411">
                  <c:v>40988</c:v>
                </c:pt>
                <c:pt idx="2412">
                  <c:v>40989</c:v>
                </c:pt>
                <c:pt idx="2413">
                  <c:v>40990</c:v>
                </c:pt>
                <c:pt idx="2414">
                  <c:v>40991</c:v>
                </c:pt>
                <c:pt idx="2415">
                  <c:v>40994</c:v>
                </c:pt>
                <c:pt idx="2416">
                  <c:v>40995</c:v>
                </c:pt>
                <c:pt idx="2417">
                  <c:v>40996</c:v>
                </c:pt>
                <c:pt idx="2418">
                  <c:v>40997</c:v>
                </c:pt>
                <c:pt idx="2419">
                  <c:v>40998</c:v>
                </c:pt>
                <c:pt idx="2420">
                  <c:v>41004</c:v>
                </c:pt>
                <c:pt idx="2421">
                  <c:v>41005</c:v>
                </c:pt>
                <c:pt idx="2422">
                  <c:v>41008</c:v>
                </c:pt>
                <c:pt idx="2423">
                  <c:v>41009</c:v>
                </c:pt>
                <c:pt idx="2424">
                  <c:v>41010</c:v>
                </c:pt>
                <c:pt idx="2425">
                  <c:v>41011</c:v>
                </c:pt>
                <c:pt idx="2426">
                  <c:v>41012</c:v>
                </c:pt>
                <c:pt idx="2427">
                  <c:v>41015</c:v>
                </c:pt>
                <c:pt idx="2428">
                  <c:v>41016</c:v>
                </c:pt>
                <c:pt idx="2429">
                  <c:v>41017</c:v>
                </c:pt>
                <c:pt idx="2430">
                  <c:v>41018</c:v>
                </c:pt>
                <c:pt idx="2431">
                  <c:v>41019</c:v>
                </c:pt>
                <c:pt idx="2432">
                  <c:v>41022</c:v>
                </c:pt>
                <c:pt idx="2433">
                  <c:v>41023</c:v>
                </c:pt>
                <c:pt idx="2434">
                  <c:v>41024</c:v>
                </c:pt>
                <c:pt idx="2435">
                  <c:v>41025</c:v>
                </c:pt>
                <c:pt idx="2436">
                  <c:v>41026</c:v>
                </c:pt>
                <c:pt idx="2437">
                  <c:v>41031</c:v>
                </c:pt>
                <c:pt idx="2438">
                  <c:v>41032</c:v>
                </c:pt>
                <c:pt idx="2439">
                  <c:v>41033</c:v>
                </c:pt>
                <c:pt idx="2440">
                  <c:v>41036</c:v>
                </c:pt>
                <c:pt idx="2441">
                  <c:v>41037</c:v>
                </c:pt>
                <c:pt idx="2442">
                  <c:v>41038</c:v>
                </c:pt>
                <c:pt idx="2443">
                  <c:v>41039</c:v>
                </c:pt>
                <c:pt idx="2444">
                  <c:v>41040</c:v>
                </c:pt>
                <c:pt idx="2445">
                  <c:v>41043</c:v>
                </c:pt>
                <c:pt idx="2446">
                  <c:v>41044</c:v>
                </c:pt>
                <c:pt idx="2447">
                  <c:v>41045</c:v>
                </c:pt>
                <c:pt idx="2448">
                  <c:v>41046</c:v>
                </c:pt>
                <c:pt idx="2449">
                  <c:v>41047</c:v>
                </c:pt>
                <c:pt idx="2450">
                  <c:v>41050</c:v>
                </c:pt>
                <c:pt idx="2451">
                  <c:v>41051</c:v>
                </c:pt>
                <c:pt idx="2452">
                  <c:v>41052</c:v>
                </c:pt>
                <c:pt idx="2453">
                  <c:v>41053</c:v>
                </c:pt>
                <c:pt idx="2454">
                  <c:v>41054</c:v>
                </c:pt>
                <c:pt idx="2455">
                  <c:v>41057</c:v>
                </c:pt>
                <c:pt idx="2456">
                  <c:v>41058</c:v>
                </c:pt>
                <c:pt idx="2457">
                  <c:v>41059</c:v>
                </c:pt>
                <c:pt idx="2458">
                  <c:v>41060</c:v>
                </c:pt>
                <c:pt idx="2459">
                  <c:v>41061</c:v>
                </c:pt>
                <c:pt idx="2460">
                  <c:v>41064</c:v>
                </c:pt>
                <c:pt idx="2461">
                  <c:v>41065</c:v>
                </c:pt>
                <c:pt idx="2462">
                  <c:v>41066</c:v>
                </c:pt>
                <c:pt idx="2463">
                  <c:v>41067</c:v>
                </c:pt>
                <c:pt idx="2464">
                  <c:v>41068</c:v>
                </c:pt>
                <c:pt idx="2465">
                  <c:v>41071</c:v>
                </c:pt>
                <c:pt idx="2466">
                  <c:v>41072</c:v>
                </c:pt>
                <c:pt idx="2467">
                  <c:v>41073</c:v>
                </c:pt>
                <c:pt idx="2468">
                  <c:v>41074</c:v>
                </c:pt>
                <c:pt idx="2469">
                  <c:v>41075</c:v>
                </c:pt>
                <c:pt idx="2470">
                  <c:v>41078</c:v>
                </c:pt>
                <c:pt idx="2471">
                  <c:v>41079</c:v>
                </c:pt>
                <c:pt idx="2472">
                  <c:v>41080</c:v>
                </c:pt>
                <c:pt idx="2473">
                  <c:v>41081</c:v>
                </c:pt>
                <c:pt idx="2474">
                  <c:v>41085</c:v>
                </c:pt>
                <c:pt idx="2475">
                  <c:v>41086</c:v>
                </c:pt>
                <c:pt idx="2476">
                  <c:v>41087</c:v>
                </c:pt>
                <c:pt idx="2477">
                  <c:v>41088</c:v>
                </c:pt>
                <c:pt idx="2478">
                  <c:v>41089</c:v>
                </c:pt>
                <c:pt idx="2479">
                  <c:v>41092</c:v>
                </c:pt>
                <c:pt idx="2480">
                  <c:v>41093</c:v>
                </c:pt>
                <c:pt idx="2481">
                  <c:v>41094</c:v>
                </c:pt>
                <c:pt idx="2482">
                  <c:v>41095</c:v>
                </c:pt>
                <c:pt idx="2483">
                  <c:v>41096</c:v>
                </c:pt>
                <c:pt idx="2484">
                  <c:v>41099</c:v>
                </c:pt>
                <c:pt idx="2485">
                  <c:v>41100</c:v>
                </c:pt>
                <c:pt idx="2486">
                  <c:v>41101</c:v>
                </c:pt>
                <c:pt idx="2487">
                  <c:v>41102</c:v>
                </c:pt>
                <c:pt idx="2488">
                  <c:v>41103</c:v>
                </c:pt>
                <c:pt idx="2489">
                  <c:v>41106</c:v>
                </c:pt>
                <c:pt idx="2490">
                  <c:v>41107</c:v>
                </c:pt>
                <c:pt idx="2491">
                  <c:v>41108</c:v>
                </c:pt>
                <c:pt idx="2492">
                  <c:v>41109</c:v>
                </c:pt>
                <c:pt idx="2493">
                  <c:v>41110</c:v>
                </c:pt>
                <c:pt idx="2494">
                  <c:v>41113</c:v>
                </c:pt>
                <c:pt idx="2495">
                  <c:v>41114</c:v>
                </c:pt>
                <c:pt idx="2496">
                  <c:v>41115</c:v>
                </c:pt>
                <c:pt idx="2497">
                  <c:v>41116</c:v>
                </c:pt>
                <c:pt idx="2498">
                  <c:v>41117</c:v>
                </c:pt>
                <c:pt idx="2499">
                  <c:v>41120</c:v>
                </c:pt>
                <c:pt idx="2500">
                  <c:v>41121</c:v>
                </c:pt>
                <c:pt idx="2501">
                  <c:v>41122</c:v>
                </c:pt>
                <c:pt idx="2502">
                  <c:v>41123</c:v>
                </c:pt>
                <c:pt idx="2503">
                  <c:v>41124</c:v>
                </c:pt>
                <c:pt idx="2504">
                  <c:v>41127</c:v>
                </c:pt>
                <c:pt idx="2505">
                  <c:v>41128</c:v>
                </c:pt>
                <c:pt idx="2506">
                  <c:v>41129</c:v>
                </c:pt>
                <c:pt idx="2507">
                  <c:v>41130</c:v>
                </c:pt>
                <c:pt idx="2508">
                  <c:v>41131</c:v>
                </c:pt>
                <c:pt idx="2509">
                  <c:v>41134</c:v>
                </c:pt>
                <c:pt idx="2510">
                  <c:v>41135</c:v>
                </c:pt>
                <c:pt idx="2511">
                  <c:v>41136</c:v>
                </c:pt>
                <c:pt idx="2512">
                  <c:v>41137</c:v>
                </c:pt>
                <c:pt idx="2513">
                  <c:v>41138</c:v>
                </c:pt>
                <c:pt idx="2514">
                  <c:v>41141</c:v>
                </c:pt>
                <c:pt idx="2515">
                  <c:v>41142</c:v>
                </c:pt>
                <c:pt idx="2516">
                  <c:v>41143</c:v>
                </c:pt>
                <c:pt idx="2517">
                  <c:v>41144</c:v>
                </c:pt>
                <c:pt idx="2518">
                  <c:v>41145</c:v>
                </c:pt>
                <c:pt idx="2519">
                  <c:v>41148</c:v>
                </c:pt>
                <c:pt idx="2520">
                  <c:v>41149</c:v>
                </c:pt>
                <c:pt idx="2521">
                  <c:v>41150</c:v>
                </c:pt>
                <c:pt idx="2522">
                  <c:v>41151</c:v>
                </c:pt>
                <c:pt idx="2523">
                  <c:v>41152</c:v>
                </c:pt>
                <c:pt idx="2524">
                  <c:v>41155</c:v>
                </c:pt>
                <c:pt idx="2525">
                  <c:v>41156</c:v>
                </c:pt>
                <c:pt idx="2526">
                  <c:v>41157</c:v>
                </c:pt>
                <c:pt idx="2527">
                  <c:v>41158</c:v>
                </c:pt>
                <c:pt idx="2528">
                  <c:v>41159</c:v>
                </c:pt>
                <c:pt idx="2529">
                  <c:v>41162</c:v>
                </c:pt>
                <c:pt idx="2530">
                  <c:v>41163</c:v>
                </c:pt>
                <c:pt idx="2531">
                  <c:v>41164</c:v>
                </c:pt>
                <c:pt idx="2532">
                  <c:v>41165</c:v>
                </c:pt>
                <c:pt idx="2533">
                  <c:v>41166</c:v>
                </c:pt>
                <c:pt idx="2534">
                  <c:v>41169</c:v>
                </c:pt>
                <c:pt idx="2535">
                  <c:v>41170</c:v>
                </c:pt>
                <c:pt idx="2536">
                  <c:v>41171</c:v>
                </c:pt>
                <c:pt idx="2537">
                  <c:v>41172</c:v>
                </c:pt>
                <c:pt idx="2538">
                  <c:v>41173</c:v>
                </c:pt>
                <c:pt idx="2539">
                  <c:v>41176</c:v>
                </c:pt>
                <c:pt idx="2540">
                  <c:v>41177</c:v>
                </c:pt>
                <c:pt idx="2541">
                  <c:v>41178</c:v>
                </c:pt>
                <c:pt idx="2542">
                  <c:v>41179</c:v>
                </c:pt>
                <c:pt idx="2543">
                  <c:v>41180</c:v>
                </c:pt>
                <c:pt idx="2544">
                  <c:v>41190</c:v>
                </c:pt>
                <c:pt idx="2545">
                  <c:v>41191</c:v>
                </c:pt>
                <c:pt idx="2546">
                  <c:v>41192</c:v>
                </c:pt>
                <c:pt idx="2547">
                  <c:v>41193</c:v>
                </c:pt>
                <c:pt idx="2548">
                  <c:v>41194</c:v>
                </c:pt>
                <c:pt idx="2549">
                  <c:v>41197</c:v>
                </c:pt>
                <c:pt idx="2550">
                  <c:v>41198</c:v>
                </c:pt>
                <c:pt idx="2551">
                  <c:v>41199</c:v>
                </c:pt>
                <c:pt idx="2552">
                  <c:v>41200</c:v>
                </c:pt>
                <c:pt idx="2553">
                  <c:v>41201</c:v>
                </c:pt>
                <c:pt idx="2554">
                  <c:v>41204</c:v>
                </c:pt>
                <c:pt idx="2555">
                  <c:v>41205</c:v>
                </c:pt>
                <c:pt idx="2556">
                  <c:v>41206</c:v>
                </c:pt>
                <c:pt idx="2557">
                  <c:v>41207</c:v>
                </c:pt>
                <c:pt idx="2558">
                  <c:v>41208</c:v>
                </c:pt>
                <c:pt idx="2559">
                  <c:v>41211</c:v>
                </c:pt>
                <c:pt idx="2560">
                  <c:v>41212</c:v>
                </c:pt>
                <c:pt idx="2561">
                  <c:v>41213</c:v>
                </c:pt>
                <c:pt idx="2562">
                  <c:v>41214</c:v>
                </c:pt>
                <c:pt idx="2563">
                  <c:v>41215</c:v>
                </c:pt>
                <c:pt idx="2564">
                  <c:v>41218</c:v>
                </c:pt>
                <c:pt idx="2565">
                  <c:v>41219</c:v>
                </c:pt>
                <c:pt idx="2566">
                  <c:v>41220</c:v>
                </c:pt>
                <c:pt idx="2567">
                  <c:v>41221</c:v>
                </c:pt>
                <c:pt idx="2568">
                  <c:v>41222</c:v>
                </c:pt>
                <c:pt idx="2569">
                  <c:v>41225</c:v>
                </c:pt>
                <c:pt idx="2570">
                  <c:v>41226</c:v>
                </c:pt>
                <c:pt idx="2571">
                  <c:v>41227</c:v>
                </c:pt>
                <c:pt idx="2572">
                  <c:v>41228</c:v>
                </c:pt>
                <c:pt idx="2573">
                  <c:v>41229</c:v>
                </c:pt>
                <c:pt idx="2574">
                  <c:v>41232</c:v>
                </c:pt>
                <c:pt idx="2575">
                  <c:v>41233</c:v>
                </c:pt>
                <c:pt idx="2576">
                  <c:v>41234</c:v>
                </c:pt>
                <c:pt idx="2577">
                  <c:v>41235</c:v>
                </c:pt>
                <c:pt idx="2578">
                  <c:v>41236</c:v>
                </c:pt>
                <c:pt idx="2579">
                  <c:v>41239</c:v>
                </c:pt>
                <c:pt idx="2580">
                  <c:v>41240</c:v>
                </c:pt>
                <c:pt idx="2581">
                  <c:v>41241</c:v>
                </c:pt>
                <c:pt idx="2582">
                  <c:v>41242</c:v>
                </c:pt>
                <c:pt idx="2583">
                  <c:v>41243</c:v>
                </c:pt>
                <c:pt idx="2584">
                  <c:v>41246</c:v>
                </c:pt>
                <c:pt idx="2585">
                  <c:v>41247</c:v>
                </c:pt>
                <c:pt idx="2586">
                  <c:v>41248</c:v>
                </c:pt>
                <c:pt idx="2587">
                  <c:v>41249</c:v>
                </c:pt>
                <c:pt idx="2588">
                  <c:v>41250</c:v>
                </c:pt>
                <c:pt idx="2589">
                  <c:v>41253</c:v>
                </c:pt>
                <c:pt idx="2590">
                  <c:v>41254</c:v>
                </c:pt>
                <c:pt idx="2591">
                  <c:v>41255</c:v>
                </c:pt>
                <c:pt idx="2592">
                  <c:v>41256</c:v>
                </c:pt>
                <c:pt idx="2593">
                  <c:v>41257</c:v>
                </c:pt>
                <c:pt idx="2594">
                  <c:v>41260</c:v>
                </c:pt>
                <c:pt idx="2595">
                  <c:v>41261</c:v>
                </c:pt>
                <c:pt idx="2596">
                  <c:v>41262</c:v>
                </c:pt>
                <c:pt idx="2597">
                  <c:v>41263</c:v>
                </c:pt>
                <c:pt idx="2598">
                  <c:v>41264</c:v>
                </c:pt>
                <c:pt idx="2599">
                  <c:v>41267</c:v>
                </c:pt>
                <c:pt idx="2600">
                  <c:v>41268</c:v>
                </c:pt>
                <c:pt idx="2601">
                  <c:v>41269</c:v>
                </c:pt>
                <c:pt idx="2602">
                  <c:v>41270</c:v>
                </c:pt>
                <c:pt idx="2603">
                  <c:v>41271</c:v>
                </c:pt>
                <c:pt idx="2604">
                  <c:v>41274</c:v>
                </c:pt>
                <c:pt idx="2605">
                  <c:v>41278</c:v>
                </c:pt>
                <c:pt idx="2606">
                  <c:v>41281</c:v>
                </c:pt>
                <c:pt idx="2607">
                  <c:v>41282</c:v>
                </c:pt>
                <c:pt idx="2608">
                  <c:v>41283</c:v>
                </c:pt>
                <c:pt idx="2609">
                  <c:v>41284</c:v>
                </c:pt>
                <c:pt idx="2610">
                  <c:v>41285</c:v>
                </c:pt>
                <c:pt idx="2611">
                  <c:v>41288</c:v>
                </c:pt>
                <c:pt idx="2612">
                  <c:v>41289</c:v>
                </c:pt>
                <c:pt idx="2613">
                  <c:v>41290</c:v>
                </c:pt>
                <c:pt idx="2614">
                  <c:v>41291</c:v>
                </c:pt>
                <c:pt idx="2615">
                  <c:v>41292</c:v>
                </c:pt>
                <c:pt idx="2616">
                  <c:v>41295</c:v>
                </c:pt>
                <c:pt idx="2617">
                  <c:v>41296</c:v>
                </c:pt>
                <c:pt idx="2618">
                  <c:v>41297</c:v>
                </c:pt>
                <c:pt idx="2619">
                  <c:v>41298</c:v>
                </c:pt>
                <c:pt idx="2620">
                  <c:v>41299</c:v>
                </c:pt>
                <c:pt idx="2621">
                  <c:v>41302</c:v>
                </c:pt>
                <c:pt idx="2622">
                  <c:v>41303</c:v>
                </c:pt>
                <c:pt idx="2623">
                  <c:v>41304</c:v>
                </c:pt>
                <c:pt idx="2624">
                  <c:v>41305</c:v>
                </c:pt>
                <c:pt idx="2625">
                  <c:v>41306</c:v>
                </c:pt>
                <c:pt idx="2626">
                  <c:v>41309</c:v>
                </c:pt>
                <c:pt idx="2627">
                  <c:v>41310</c:v>
                </c:pt>
                <c:pt idx="2628">
                  <c:v>41311</c:v>
                </c:pt>
                <c:pt idx="2629">
                  <c:v>41312</c:v>
                </c:pt>
                <c:pt idx="2630">
                  <c:v>41313</c:v>
                </c:pt>
                <c:pt idx="2631">
                  <c:v>41323</c:v>
                </c:pt>
                <c:pt idx="2632">
                  <c:v>41324</c:v>
                </c:pt>
                <c:pt idx="2633">
                  <c:v>41325</c:v>
                </c:pt>
                <c:pt idx="2634">
                  <c:v>41326</c:v>
                </c:pt>
                <c:pt idx="2635">
                  <c:v>41327</c:v>
                </c:pt>
                <c:pt idx="2636">
                  <c:v>41330</c:v>
                </c:pt>
                <c:pt idx="2637">
                  <c:v>41331</c:v>
                </c:pt>
                <c:pt idx="2638">
                  <c:v>41332</c:v>
                </c:pt>
                <c:pt idx="2639">
                  <c:v>41333</c:v>
                </c:pt>
                <c:pt idx="2640">
                  <c:v>41334</c:v>
                </c:pt>
                <c:pt idx="2641">
                  <c:v>41337</c:v>
                </c:pt>
                <c:pt idx="2642">
                  <c:v>41338</c:v>
                </c:pt>
                <c:pt idx="2643">
                  <c:v>41339</c:v>
                </c:pt>
                <c:pt idx="2644">
                  <c:v>41340</c:v>
                </c:pt>
                <c:pt idx="2645">
                  <c:v>41341</c:v>
                </c:pt>
                <c:pt idx="2646">
                  <c:v>41344</c:v>
                </c:pt>
                <c:pt idx="2647">
                  <c:v>41345</c:v>
                </c:pt>
                <c:pt idx="2648">
                  <c:v>41346</c:v>
                </c:pt>
                <c:pt idx="2649">
                  <c:v>41347</c:v>
                </c:pt>
                <c:pt idx="2650">
                  <c:v>41348</c:v>
                </c:pt>
                <c:pt idx="2651">
                  <c:v>41351</c:v>
                </c:pt>
                <c:pt idx="2652">
                  <c:v>41352</c:v>
                </c:pt>
                <c:pt idx="2653">
                  <c:v>41353</c:v>
                </c:pt>
                <c:pt idx="2654">
                  <c:v>41354</c:v>
                </c:pt>
                <c:pt idx="2655">
                  <c:v>41355</c:v>
                </c:pt>
                <c:pt idx="2656">
                  <c:v>41358</c:v>
                </c:pt>
                <c:pt idx="2657">
                  <c:v>41359</c:v>
                </c:pt>
                <c:pt idx="2658">
                  <c:v>41360</c:v>
                </c:pt>
                <c:pt idx="2659">
                  <c:v>41361</c:v>
                </c:pt>
                <c:pt idx="2660">
                  <c:v>41362</c:v>
                </c:pt>
                <c:pt idx="2661">
                  <c:v>41365</c:v>
                </c:pt>
                <c:pt idx="2662">
                  <c:v>41366</c:v>
                </c:pt>
                <c:pt idx="2663">
                  <c:v>41367</c:v>
                </c:pt>
                <c:pt idx="2664">
                  <c:v>41372</c:v>
                </c:pt>
                <c:pt idx="2665">
                  <c:v>41373</c:v>
                </c:pt>
                <c:pt idx="2666">
                  <c:v>41374</c:v>
                </c:pt>
                <c:pt idx="2667">
                  <c:v>41375</c:v>
                </c:pt>
                <c:pt idx="2668">
                  <c:v>41376</c:v>
                </c:pt>
                <c:pt idx="2669">
                  <c:v>41379</c:v>
                </c:pt>
                <c:pt idx="2670">
                  <c:v>41380</c:v>
                </c:pt>
                <c:pt idx="2671">
                  <c:v>41381</c:v>
                </c:pt>
                <c:pt idx="2672">
                  <c:v>41382</c:v>
                </c:pt>
                <c:pt idx="2673">
                  <c:v>41383</c:v>
                </c:pt>
                <c:pt idx="2674">
                  <c:v>41386</c:v>
                </c:pt>
                <c:pt idx="2675">
                  <c:v>41387</c:v>
                </c:pt>
                <c:pt idx="2676">
                  <c:v>41388</c:v>
                </c:pt>
                <c:pt idx="2677">
                  <c:v>41389</c:v>
                </c:pt>
                <c:pt idx="2678">
                  <c:v>41390</c:v>
                </c:pt>
                <c:pt idx="2679">
                  <c:v>41396</c:v>
                </c:pt>
                <c:pt idx="2680">
                  <c:v>41397</c:v>
                </c:pt>
                <c:pt idx="2681">
                  <c:v>41400</c:v>
                </c:pt>
                <c:pt idx="2682">
                  <c:v>41401</c:v>
                </c:pt>
                <c:pt idx="2683">
                  <c:v>41402</c:v>
                </c:pt>
                <c:pt idx="2684">
                  <c:v>41403</c:v>
                </c:pt>
                <c:pt idx="2685">
                  <c:v>41404</c:v>
                </c:pt>
                <c:pt idx="2686">
                  <c:v>41407</c:v>
                </c:pt>
                <c:pt idx="2687">
                  <c:v>41408</c:v>
                </c:pt>
                <c:pt idx="2688">
                  <c:v>41409</c:v>
                </c:pt>
                <c:pt idx="2689">
                  <c:v>41410</c:v>
                </c:pt>
                <c:pt idx="2690">
                  <c:v>41411</c:v>
                </c:pt>
                <c:pt idx="2691">
                  <c:v>41414</c:v>
                </c:pt>
                <c:pt idx="2692">
                  <c:v>41415</c:v>
                </c:pt>
                <c:pt idx="2693">
                  <c:v>41416</c:v>
                </c:pt>
                <c:pt idx="2694">
                  <c:v>41417</c:v>
                </c:pt>
                <c:pt idx="2695">
                  <c:v>41418</c:v>
                </c:pt>
                <c:pt idx="2696">
                  <c:v>41421</c:v>
                </c:pt>
                <c:pt idx="2697">
                  <c:v>41422</c:v>
                </c:pt>
                <c:pt idx="2698">
                  <c:v>41423</c:v>
                </c:pt>
                <c:pt idx="2699">
                  <c:v>41424</c:v>
                </c:pt>
                <c:pt idx="2700">
                  <c:v>41425</c:v>
                </c:pt>
                <c:pt idx="2701">
                  <c:v>41428</c:v>
                </c:pt>
                <c:pt idx="2702">
                  <c:v>41429</c:v>
                </c:pt>
                <c:pt idx="2703">
                  <c:v>41430</c:v>
                </c:pt>
                <c:pt idx="2704">
                  <c:v>41431</c:v>
                </c:pt>
                <c:pt idx="2705">
                  <c:v>41432</c:v>
                </c:pt>
                <c:pt idx="2706">
                  <c:v>41438</c:v>
                </c:pt>
                <c:pt idx="2707">
                  <c:v>41439</c:v>
                </c:pt>
                <c:pt idx="2708">
                  <c:v>41442</c:v>
                </c:pt>
                <c:pt idx="2709">
                  <c:v>41443</c:v>
                </c:pt>
                <c:pt idx="2710">
                  <c:v>41444</c:v>
                </c:pt>
                <c:pt idx="2711">
                  <c:v>41445</c:v>
                </c:pt>
                <c:pt idx="2712">
                  <c:v>41446</c:v>
                </c:pt>
                <c:pt idx="2713">
                  <c:v>41449</c:v>
                </c:pt>
                <c:pt idx="2714">
                  <c:v>41450</c:v>
                </c:pt>
                <c:pt idx="2715">
                  <c:v>41451</c:v>
                </c:pt>
                <c:pt idx="2716">
                  <c:v>41452</c:v>
                </c:pt>
                <c:pt idx="2717">
                  <c:v>41453</c:v>
                </c:pt>
                <c:pt idx="2718">
                  <c:v>41456</c:v>
                </c:pt>
                <c:pt idx="2719">
                  <c:v>41457</c:v>
                </c:pt>
                <c:pt idx="2720">
                  <c:v>41458</c:v>
                </c:pt>
                <c:pt idx="2721">
                  <c:v>41459</c:v>
                </c:pt>
                <c:pt idx="2722">
                  <c:v>41460</c:v>
                </c:pt>
                <c:pt idx="2723">
                  <c:v>41463</c:v>
                </c:pt>
                <c:pt idx="2724">
                  <c:v>41464</c:v>
                </c:pt>
                <c:pt idx="2725">
                  <c:v>41465</c:v>
                </c:pt>
                <c:pt idx="2726">
                  <c:v>41466</c:v>
                </c:pt>
                <c:pt idx="2727">
                  <c:v>41467</c:v>
                </c:pt>
                <c:pt idx="2728">
                  <c:v>41470</c:v>
                </c:pt>
                <c:pt idx="2729">
                  <c:v>41471</c:v>
                </c:pt>
                <c:pt idx="2730">
                  <c:v>41472</c:v>
                </c:pt>
                <c:pt idx="2731">
                  <c:v>41473</c:v>
                </c:pt>
                <c:pt idx="2732">
                  <c:v>41474</c:v>
                </c:pt>
                <c:pt idx="2733">
                  <c:v>41477</c:v>
                </c:pt>
                <c:pt idx="2734">
                  <c:v>41478</c:v>
                </c:pt>
                <c:pt idx="2735">
                  <c:v>41479</c:v>
                </c:pt>
                <c:pt idx="2736">
                  <c:v>41480</c:v>
                </c:pt>
                <c:pt idx="2737">
                  <c:v>41481</c:v>
                </c:pt>
                <c:pt idx="2738">
                  <c:v>41484</c:v>
                </c:pt>
                <c:pt idx="2739">
                  <c:v>41485</c:v>
                </c:pt>
                <c:pt idx="2740">
                  <c:v>41486</c:v>
                </c:pt>
                <c:pt idx="2741">
                  <c:v>41487</c:v>
                </c:pt>
                <c:pt idx="2742">
                  <c:v>41488</c:v>
                </c:pt>
                <c:pt idx="2743">
                  <c:v>41491</c:v>
                </c:pt>
                <c:pt idx="2744">
                  <c:v>41492</c:v>
                </c:pt>
                <c:pt idx="2745">
                  <c:v>41493</c:v>
                </c:pt>
                <c:pt idx="2746">
                  <c:v>41494</c:v>
                </c:pt>
                <c:pt idx="2747">
                  <c:v>41495</c:v>
                </c:pt>
                <c:pt idx="2748">
                  <c:v>41498</c:v>
                </c:pt>
                <c:pt idx="2749">
                  <c:v>41499</c:v>
                </c:pt>
                <c:pt idx="2750">
                  <c:v>41500</c:v>
                </c:pt>
                <c:pt idx="2751">
                  <c:v>41501</c:v>
                </c:pt>
                <c:pt idx="2752">
                  <c:v>41502</c:v>
                </c:pt>
                <c:pt idx="2753">
                  <c:v>41505</c:v>
                </c:pt>
                <c:pt idx="2754">
                  <c:v>41506</c:v>
                </c:pt>
                <c:pt idx="2755">
                  <c:v>41507</c:v>
                </c:pt>
                <c:pt idx="2756">
                  <c:v>41508</c:v>
                </c:pt>
                <c:pt idx="2757">
                  <c:v>41509</c:v>
                </c:pt>
                <c:pt idx="2758">
                  <c:v>41512</c:v>
                </c:pt>
                <c:pt idx="2759">
                  <c:v>41513</c:v>
                </c:pt>
                <c:pt idx="2760">
                  <c:v>41514</c:v>
                </c:pt>
                <c:pt idx="2761">
                  <c:v>41515</c:v>
                </c:pt>
                <c:pt idx="2762">
                  <c:v>41516</c:v>
                </c:pt>
                <c:pt idx="2763">
                  <c:v>41519</c:v>
                </c:pt>
                <c:pt idx="2764">
                  <c:v>41520</c:v>
                </c:pt>
                <c:pt idx="2765">
                  <c:v>41521</c:v>
                </c:pt>
                <c:pt idx="2766">
                  <c:v>41522</c:v>
                </c:pt>
                <c:pt idx="2767">
                  <c:v>41523</c:v>
                </c:pt>
                <c:pt idx="2768">
                  <c:v>41526</c:v>
                </c:pt>
                <c:pt idx="2769">
                  <c:v>41527</c:v>
                </c:pt>
                <c:pt idx="2770">
                  <c:v>41528</c:v>
                </c:pt>
                <c:pt idx="2771">
                  <c:v>41529</c:v>
                </c:pt>
                <c:pt idx="2772">
                  <c:v>41530</c:v>
                </c:pt>
                <c:pt idx="2773">
                  <c:v>41533</c:v>
                </c:pt>
                <c:pt idx="2774">
                  <c:v>41534</c:v>
                </c:pt>
                <c:pt idx="2775">
                  <c:v>41535</c:v>
                </c:pt>
                <c:pt idx="2776">
                  <c:v>41540</c:v>
                </c:pt>
                <c:pt idx="2777">
                  <c:v>41541</c:v>
                </c:pt>
                <c:pt idx="2778">
                  <c:v>41542</c:v>
                </c:pt>
                <c:pt idx="2779">
                  <c:v>41543</c:v>
                </c:pt>
                <c:pt idx="2780">
                  <c:v>41544</c:v>
                </c:pt>
                <c:pt idx="2781">
                  <c:v>41547</c:v>
                </c:pt>
                <c:pt idx="2782">
                  <c:v>41555</c:v>
                </c:pt>
                <c:pt idx="2783">
                  <c:v>41556</c:v>
                </c:pt>
                <c:pt idx="2784">
                  <c:v>41557</c:v>
                </c:pt>
                <c:pt idx="2785">
                  <c:v>41558</c:v>
                </c:pt>
                <c:pt idx="2786">
                  <c:v>41561</c:v>
                </c:pt>
                <c:pt idx="2787">
                  <c:v>41562</c:v>
                </c:pt>
                <c:pt idx="2788">
                  <c:v>41563</c:v>
                </c:pt>
                <c:pt idx="2789">
                  <c:v>41564</c:v>
                </c:pt>
                <c:pt idx="2790">
                  <c:v>41565</c:v>
                </c:pt>
                <c:pt idx="2791">
                  <c:v>41568</c:v>
                </c:pt>
                <c:pt idx="2792">
                  <c:v>41569</c:v>
                </c:pt>
                <c:pt idx="2793">
                  <c:v>41570</c:v>
                </c:pt>
                <c:pt idx="2794">
                  <c:v>41571</c:v>
                </c:pt>
                <c:pt idx="2795">
                  <c:v>41572</c:v>
                </c:pt>
                <c:pt idx="2796">
                  <c:v>41575</c:v>
                </c:pt>
                <c:pt idx="2797">
                  <c:v>41576</c:v>
                </c:pt>
                <c:pt idx="2798">
                  <c:v>41577</c:v>
                </c:pt>
                <c:pt idx="2799">
                  <c:v>41578</c:v>
                </c:pt>
                <c:pt idx="2800">
                  <c:v>41579</c:v>
                </c:pt>
                <c:pt idx="2801">
                  <c:v>41582</c:v>
                </c:pt>
                <c:pt idx="2802">
                  <c:v>41583</c:v>
                </c:pt>
                <c:pt idx="2803">
                  <c:v>41584</c:v>
                </c:pt>
                <c:pt idx="2804">
                  <c:v>41585</c:v>
                </c:pt>
                <c:pt idx="2805">
                  <c:v>41586</c:v>
                </c:pt>
                <c:pt idx="2806">
                  <c:v>41589</c:v>
                </c:pt>
                <c:pt idx="2807">
                  <c:v>41590</c:v>
                </c:pt>
                <c:pt idx="2808">
                  <c:v>41591</c:v>
                </c:pt>
                <c:pt idx="2809">
                  <c:v>41592</c:v>
                </c:pt>
                <c:pt idx="2810">
                  <c:v>41593</c:v>
                </c:pt>
                <c:pt idx="2811">
                  <c:v>41596</c:v>
                </c:pt>
                <c:pt idx="2812">
                  <c:v>41597</c:v>
                </c:pt>
                <c:pt idx="2813">
                  <c:v>41598</c:v>
                </c:pt>
                <c:pt idx="2814">
                  <c:v>41599</c:v>
                </c:pt>
                <c:pt idx="2815">
                  <c:v>41600</c:v>
                </c:pt>
                <c:pt idx="2816">
                  <c:v>41603</c:v>
                </c:pt>
                <c:pt idx="2817">
                  <c:v>41604</c:v>
                </c:pt>
                <c:pt idx="2818">
                  <c:v>41605</c:v>
                </c:pt>
                <c:pt idx="2819">
                  <c:v>41606</c:v>
                </c:pt>
                <c:pt idx="2820">
                  <c:v>41607</c:v>
                </c:pt>
                <c:pt idx="2821">
                  <c:v>41610</c:v>
                </c:pt>
                <c:pt idx="2822">
                  <c:v>41611</c:v>
                </c:pt>
                <c:pt idx="2823">
                  <c:v>41612</c:v>
                </c:pt>
                <c:pt idx="2824">
                  <c:v>41613</c:v>
                </c:pt>
                <c:pt idx="2825">
                  <c:v>41614</c:v>
                </c:pt>
                <c:pt idx="2826">
                  <c:v>41617</c:v>
                </c:pt>
                <c:pt idx="2827">
                  <c:v>41618</c:v>
                </c:pt>
                <c:pt idx="2828">
                  <c:v>41619</c:v>
                </c:pt>
                <c:pt idx="2829">
                  <c:v>41620</c:v>
                </c:pt>
                <c:pt idx="2830">
                  <c:v>41621</c:v>
                </c:pt>
                <c:pt idx="2831">
                  <c:v>41624</c:v>
                </c:pt>
                <c:pt idx="2832">
                  <c:v>41625</c:v>
                </c:pt>
                <c:pt idx="2833">
                  <c:v>41626</c:v>
                </c:pt>
                <c:pt idx="2834">
                  <c:v>41627</c:v>
                </c:pt>
                <c:pt idx="2835">
                  <c:v>41628</c:v>
                </c:pt>
                <c:pt idx="2836">
                  <c:v>41631</c:v>
                </c:pt>
                <c:pt idx="2837">
                  <c:v>41632</c:v>
                </c:pt>
                <c:pt idx="2838">
                  <c:v>41633</c:v>
                </c:pt>
                <c:pt idx="2839">
                  <c:v>41634</c:v>
                </c:pt>
                <c:pt idx="2840">
                  <c:v>41635</c:v>
                </c:pt>
                <c:pt idx="2841">
                  <c:v>41638</c:v>
                </c:pt>
                <c:pt idx="2842">
                  <c:v>41639</c:v>
                </c:pt>
                <c:pt idx="2843">
                  <c:v>41641</c:v>
                </c:pt>
                <c:pt idx="2844">
                  <c:v>41642</c:v>
                </c:pt>
                <c:pt idx="2845">
                  <c:v>41645</c:v>
                </c:pt>
                <c:pt idx="2846">
                  <c:v>41646</c:v>
                </c:pt>
                <c:pt idx="2847">
                  <c:v>41647</c:v>
                </c:pt>
                <c:pt idx="2848">
                  <c:v>41648</c:v>
                </c:pt>
                <c:pt idx="2849">
                  <c:v>41649</c:v>
                </c:pt>
                <c:pt idx="2850">
                  <c:v>41652</c:v>
                </c:pt>
                <c:pt idx="2851">
                  <c:v>41653</c:v>
                </c:pt>
                <c:pt idx="2852">
                  <c:v>41654</c:v>
                </c:pt>
                <c:pt idx="2853">
                  <c:v>41655</c:v>
                </c:pt>
                <c:pt idx="2854">
                  <c:v>41656</c:v>
                </c:pt>
                <c:pt idx="2855">
                  <c:v>41659</c:v>
                </c:pt>
                <c:pt idx="2856">
                  <c:v>41660</c:v>
                </c:pt>
                <c:pt idx="2857">
                  <c:v>41661</c:v>
                </c:pt>
                <c:pt idx="2858">
                  <c:v>41662</c:v>
                </c:pt>
                <c:pt idx="2859">
                  <c:v>41663</c:v>
                </c:pt>
                <c:pt idx="2860">
                  <c:v>41666</c:v>
                </c:pt>
                <c:pt idx="2861">
                  <c:v>41667</c:v>
                </c:pt>
                <c:pt idx="2862">
                  <c:v>41668</c:v>
                </c:pt>
                <c:pt idx="2863">
                  <c:v>41669</c:v>
                </c:pt>
                <c:pt idx="2864">
                  <c:v>41677</c:v>
                </c:pt>
                <c:pt idx="2865">
                  <c:v>41680</c:v>
                </c:pt>
                <c:pt idx="2866">
                  <c:v>41681</c:v>
                </c:pt>
                <c:pt idx="2867">
                  <c:v>41682</c:v>
                </c:pt>
                <c:pt idx="2868">
                  <c:v>41683</c:v>
                </c:pt>
                <c:pt idx="2869">
                  <c:v>41684</c:v>
                </c:pt>
                <c:pt idx="2870">
                  <c:v>41687</c:v>
                </c:pt>
                <c:pt idx="2871">
                  <c:v>41688</c:v>
                </c:pt>
                <c:pt idx="2872">
                  <c:v>41689</c:v>
                </c:pt>
                <c:pt idx="2873">
                  <c:v>41690</c:v>
                </c:pt>
                <c:pt idx="2874">
                  <c:v>41691</c:v>
                </c:pt>
                <c:pt idx="2875">
                  <c:v>41694</c:v>
                </c:pt>
                <c:pt idx="2876">
                  <c:v>41695</c:v>
                </c:pt>
                <c:pt idx="2877">
                  <c:v>41696</c:v>
                </c:pt>
                <c:pt idx="2878">
                  <c:v>41697</c:v>
                </c:pt>
                <c:pt idx="2879">
                  <c:v>41698</c:v>
                </c:pt>
                <c:pt idx="2880">
                  <c:v>41701</c:v>
                </c:pt>
                <c:pt idx="2881">
                  <c:v>41702</c:v>
                </c:pt>
                <c:pt idx="2882">
                  <c:v>41703</c:v>
                </c:pt>
                <c:pt idx="2883">
                  <c:v>41704</c:v>
                </c:pt>
                <c:pt idx="2884">
                  <c:v>41705</c:v>
                </c:pt>
                <c:pt idx="2885">
                  <c:v>41708</c:v>
                </c:pt>
                <c:pt idx="2886">
                  <c:v>41709</c:v>
                </c:pt>
                <c:pt idx="2887">
                  <c:v>41710</c:v>
                </c:pt>
                <c:pt idx="2888">
                  <c:v>41711</c:v>
                </c:pt>
                <c:pt idx="2889">
                  <c:v>41712</c:v>
                </c:pt>
                <c:pt idx="2890">
                  <c:v>41715</c:v>
                </c:pt>
                <c:pt idx="2891">
                  <c:v>41716</c:v>
                </c:pt>
                <c:pt idx="2892">
                  <c:v>41717</c:v>
                </c:pt>
                <c:pt idx="2893">
                  <c:v>41718</c:v>
                </c:pt>
                <c:pt idx="2894">
                  <c:v>41719</c:v>
                </c:pt>
                <c:pt idx="2895">
                  <c:v>41722</c:v>
                </c:pt>
                <c:pt idx="2896">
                  <c:v>41723</c:v>
                </c:pt>
                <c:pt idx="2897">
                  <c:v>41724</c:v>
                </c:pt>
                <c:pt idx="2898">
                  <c:v>41725</c:v>
                </c:pt>
                <c:pt idx="2899">
                  <c:v>41726</c:v>
                </c:pt>
                <c:pt idx="2900">
                  <c:v>41729</c:v>
                </c:pt>
                <c:pt idx="2901">
                  <c:v>41730</c:v>
                </c:pt>
                <c:pt idx="2902">
                  <c:v>41731</c:v>
                </c:pt>
                <c:pt idx="2903">
                  <c:v>41732</c:v>
                </c:pt>
                <c:pt idx="2904">
                  <c:v>41733</c:v>
                </c:pt>
                <c:pt idx="2905">
                  <c:v>41737</c:v>
                </c:pt>
                <c:pt idx="2906">
                  <c:v>41738</c:v>
                </c:pt>
                <c:pt idx="2907">
                  <c:v>41739</c:v>
                </c:pt>
                <c:pt idx="2908">
                  <c:v>41740</c:v>
                </c:pt>
                <c:pt idx="2909">
                  <c:v>41743</c:v>
                </c:pt>
                <c:pt idx="2910">
                  <c:v>41744</c:v>
                </c:pt>
                <c:pt idx="2911">
                  <c:v>41745</c:v>
                </c:pt>
                <c:pt idx="2912">
                  <c:v>41746</c:v>
                </c:pt>
                <c:pt idx="2913">
                  <c:v>41747</c:v>
                </c:pt>
                <c:pt idx="2914">
                  <c:v>41750</c:v>
                </c:pt>
                <c:pt idx="2915">
                  <c:v>41751</c:v>
                </c:pt>
                <c:pt idx="2916">
                  <c:v>41752</c:v>
                </c:pt>
                <c:pt idx="2917">
                  <c:v>41753</c:v>
                </c:pt>
                <c:pt idx="2918">
                  <c:v>41754</c:v>
                </c:pt>
                <c:pt idx="2919">
                  <c:v>41757</c:v>
                </c:pt>
                <c:pt idx="2920">
                  <c:v>41758</c:v>
                </c:pt>
                <c:pt idx="2921">
                  <c:v>41759</c:v>
                </c:pt>
                <c:pt idx="2922">
                  <c:v>41764</c:v>
                </c:pt>
                <c:pt idx="2923">
                  <c:v>41765</c:v>
                </c:pt>
                <c:pt idx="2924">
                  <c:v>41766</c:v>
                </c:pt>
                <c:pt idx="2925">
                  <c:v>41767</c:v>
                </c:pt>
                <c:pt idx="2926">
                  <c:v>41768</c:v>
                </c:pt>
                <c:pt idx="2927">
                  <c:v>41771</c:v>
                </c:pt>
                <c:pt idx="2928">
                  <c:v>41772</c:v>
                </c:pt>
                <c:pt idx="2929">
                  <c:v>41773</c:v>
                </c:pt>
                <c:pt idx="2930">
                  <c:v>41774</c:v>
                </c:pt>
                <c:pt idx="2931">
                  <c:v>41775</c:v>
                </c:pt>
                <c:pt idx="2932">
                  <c:v>41778</c:v>
                </c:pt>
                <c:pt idx="2933">
                  <c:v>41779</c:v>
                </c:pt>
                <c:pt idx="2934">
                  <c:v>41780</c:v>
                </c:pt>
                <c:pt idx="2935">
                  <c:v>41781</c:v>
                </c:pt>
                <c:pt idx="2936">
                  <c:v>41782</c:v>
                </c:pt>
                <c:pt idx="2937">
                  <c:v>41785</c:v>
                </c:pt>
                <c:pt idx="2938">
                  <c:v>41786</c:v>
                </c:pt>
                <c:pt idx="2939">
                  <c:v>41787</c:v>
                </c:pt>
                <c:pt idx="2940">
                  <c:v>41788</c:v>
                </c:pt>
                <c:pt idx="2941">
                  <c:v>41789</c:v>
                </c:pt>
                <c:pt idx="2942">
                  <c:v>41793</c:v>
                </c:pt>
                <c:pt idx="2943">
                  <c:v>41794</c:v>
                </c:pt>
                <c:pt idx="2944">
                  <c:v>41795</c:v>
                </c:pt>
                <c:pt idx="2945">
                  <c:v>41796</c:v>
                </c:pt>
                <c:pt idx="2946">
                  <c:v>41799</c:v>
                </c:pt>
                <c:pt idx="2947">
                  <c:v>41800</c:v>
                </c:pt>
                <c:pt idx="2948">
                  <c:v>41801</c:v>
                </c:pt>
                <c:pt idx="2949">
                  <c:v>41802</c:v>
                </c:pt>
                <c:pt idx="2950">
                  <c:v>41803</c:v>
                </c:pt>
                <c:pt idx="2951">
                  <c:v>41806</c:v>
                </c:pt>
                <c:pt idx="2952">
                  <c:v>41807</c:v>
                </c:pt>
                <c:pt idx="2953">
                  <c:v>41808</c:v>
                </c:pt>
                <c:pt idx="2954">
                  <c:v>41809</c:v>
                </c:pt>
                <c:pt idx="2955">
                  <c:v>41810</c:v>
                </c:pt>
                <c:pt idx="2956">
                  <c:v>41813</c:v>
                </c:pt>
                <c:pt idx="2957">
                  <c:v>41814</c:v>
                </c:pt>
                <c:pt idx="2958">
                  <c:v>41815</c:v>
                </c:pt>
                <c:pt idx="2959">
                  <c:v>41816</c:v>
                </c:pt>
                <c:pt idx="2960">
                  <c:v>41817</c:v>
                </c:pt>
                <c:pt idx="2961">
                  <c:v>41820</c:v>
                </c:pt>
                <c:pt idx="2962">
                  <c:v>41821</c:v>
                </c:pt>
                <c:pt idx="2963">
                  <c:v>41822</c:v>
                </c:pt>
                <c:pt idx="2964">
                  <c:v>41823</c:v>
                </c:pt>
                <c:pt idx="2965">
                  <c:v>41824</c:v>
                </c:pt>
                <c:pt idx="2966">
                  <c:v>41827</c:v>
                </c:pt>
                <c:pt idx="2967">
                  <c:v>41828</c:v>
                </c:pt>
                <c:pt idx="2968">
                  <c:v>41829</c:v>
                </c:pt>
                <c:pt idx="2969">
                  <c:v>41830</c:v>
                </c:pt>
                <c:pt idx="2970">
                  <c:v>41831</c:v>
                </c:pt>
                <c:pt idx="2971">
                  <c:v>41834</c:v>
                </c:pt>
                <c:pt idx="2972">
                  <c:v>41835</c:v>
                </c:pt>
                <c:pt idx="2973">
                  <c:v>41836</c:v>
                </c:pt>
                <c:pt idx="2974">
                  <c:v>41837</c:v>
                </c:pt>
                <c:pt idx="2975">
                  <c:v>41838</c:v>
                </c:pt>
                <c:pt idx="2976">
                  <c:v>41841</c:v>
                </c:pt>
                <c:pt idx="2977">
                  <c:v>41842</c:v>
                </c:pt>
                <c:pt idx="2978">
                  <c:v>41843</c:v>
                </c:pt>
                <c:pt idx="2979">
                  <c:v>41844</c:v>
                </c:pt>
                <c:pt idx="2980">
                  <c:v>41845</c:v>
                </c:pt>
                <c:pt idx="2981">
                  <c:v>41848</c:v>
                </c:pt>
                <c:pt idx="2982">
                  <c:v>41849</c:v>
                </c:pt>
                <c:pt idx="2983">
                  <c:v>41850</c:v>
                </c:pt>
                <c:pt idx="2984">
                  <c:v>41851</c:v>
                </c:pt>
                <c:pt idx="2985">
                  <c:v>41852</c:v>
                </c:pt>
                <c:pt idx="2986">
                  <c:v>41855</c:v>
                </c:pt>
                <c:pt idx="2987">
                  <c:v>41856</c:v>
                </c:pt>
                <c:pt idx="2988">
                  <c:v>41857</c:v>
                </c:pt>
                <c:pt idx="2989">
                  <c:v>41858</c:v>
                </c:pt>
                <c:pt idx="2990">
                  <c:v>41859</c:v>
                </c:pt>
                <c:pt idx="2991">
                  <c:v>41862</c:v>
                </c:pt>
                <c:pt idx="2992">
                  <c:v>41863</c:v>
                </c:pt>
                <c:pt idx="2993">
                  <c:v>41864</c:v>
                </c:pt>
                <c:pt idx="2994">
                  <c:v>41865</c:v>
                </c:pt>
                <c:pt idx="2995">
                  <c:v>41866</c:v>
                </c:pt>
                <c:pt idx="2996">
                  <c:v>41869</c:v>
                </c:pt>
                <c:pt idx="2997">
                  <c:v>41870</c:v>
                </c:pt>
                <c:pt idx="2998">
                  <c:v>41871</c:v>
                </c:pt>
                <c:pt idx="2999">
                  <c:v>41872</c:v>
                </c:pt>
                <c:pt idx="3000">
                  <c:v>41873</c:v>
                </c:pt>
                <c:pt idx="3001">
                  <c:v>41876</c:v>
                </c:pt>
                <c:pt idx="3002">
                  <c:v>41877</c:v>
                </c:pt>
                <c:pt idx="3003">
                  <c:v>41878</c:v>
                </c:pt>
                <c:pt idx="3004">
                  <c:v>41879</c:v>
                </c:pt>
                <c:pt idx="3005">
                  <c:v>41880</c:v>
                </c:pt>
                <c:pt idx="3006">
                  <c:v>41883</c:v>
                </c:pt>
                <c:pt idx="3007">
                  <c:v>41884</c:v>
                </c:pt>
                <c:pt idx="3008">
                  <c:v>41885</c:v>
                </c:pt>
                <c:pt idx="3009">
                  <c:v>41886</c:v>
                </c:pt>
                <c:pt idx="3010">
                  <c:v>41887</c:v>
                </c:pt>
                <c:pt idx="3011">
                  <c:v>41891</c:v>
                </c:pt>
                <c:pt idx="3012">
                  <c:v>41892</c:v>
                </c:pt>
                <c:pt idx="3013">
                  <c:v>41893</c:v>
                </c:pt>
                <c:pt idx="3014">
                  <c:v>41894</c:v>
                </c:pt>
                <c:pt idx="3015">
                  <c:v>41897</c:v>
                </c:pt>
                <c:pt idx="3016">
                  <c:v>41898</c:v>
                </c:pt>
                <c:pt idx="3017">
                  <c:v>41899</c:v>
                </c:pt>
                <c:pt idx="3018">
                  <c:v>41900</c:v>
                </c:pt>
                <c:pt idx="3019">
                  <c:v>41901</c:v>
                </c:pt>
                <c:pt idx="3020">
                  <c:v>41904</c:v>
                </c:pt>
                <c:pt idx="3021">
                  <c:v>41905</c:v>
                </c:pt>
                <c:pt idx="3022">
                  <c:v>41906</c:v>
                </c:pt>
                <c:pt idx="3023">
                  <c:v>41907</c:v>
                </c:pt>
                <c:pt idx="3024">
                  <c:v>41908</c:v>
                </c:pt>
                <c:pt idx="3025">
                  <c:v>41911</c:v>
                </c:pt>
                <c:pt idx="3026">
                  <c:v>41912</c:v>
                </c:pt>
                <c:pt idx="3027">
                  <c:v>41920</c:v>
                </c:pt>
                <c:pt idx="3028">
                  <c:v>41921</c:v>
                </c:pt>
                <c:pt idx="3029">
                  <c:v>41922</c:v>
                </c:pt>
                <c:pt idx="3030">
                  <c:v>41925</c:v>
                </c:pt>
                <c:pt idx="3031">
                  <c:v>41926</c:v>
                </c:pt>
                <c:pt idx="3032">
                  <c:v>41927</c:v>
                </c:pt>
                <c:pt idx="3033">
                  <c:v>41928</c:v>
                </c:pt>
                <c:pt idx="3034">
                  <c:v>41929</c:v>
                </c:pt>
                <c:pt idx="3035">
                  <c:v>41932</c:v>
                </c:pt>
                <c:pt idx="3036">
                  <c:v>41933</c:v>
                </c:pt>
                <c:pt idx="3037">
                  <c:v>41934</c:v>
                </c:pt>
                <c:pt idx="3038">
                  <c:v>41935</c:v>
                </c:pt>
                <c:pt idx="3039">
                  <c:v>41936</c:v>
                </c:pt>
                <c:pt idx="3040">
                  <c:v>41939</c:v>
                </c:pt>
                <c:pt idx="3041">
                  <c:v>41940</c:v>
                </c:pt>
                <c:pt idx="3042">
                  <c:v>41941</c:v>
                </c:pt>
                <c:pt idx="3043">
                  <c:v>41942</c:v>
                </c:pt>
                <c:pt idx="3044">
                  <c:v>41943</c:v>
                </c:pt>
                <c:pt idx="3045">
                  <c:v>41946</c:v>
                </c:pt>
                <c:pt idx="3046">
                  <c:v>41947</c:v>
                </c:pt>
                <c:pt idx="3047">
                  <c:v>41948</c:v>
                </c:pt>
                <c:pt idx="3048">
                  <c:v>41949</c:v>
                </c:pt>
                <c:pt idx="3049">
                  <c:v>41950</c:v>
                </c:pt>
                <c:pt idx="3050">
                  <c:v>41953</c:v>
                </c:pt>
                <c:pt idx="3051">
                  <c:v>41954</c:v>
                </c:pt>
                <c:pt idx="3052">
                  <c:v>41955</c:v>
                </c:pt>
                <c:pt idx="3053">
                  <c:v>41956</c:v>
                </c:pt>
                <c:pt idx="3054">
                  <c:v>41957</c:v>
                </c:pt>
                <c:pt idx="3055">
                  <c:v>41960</c:v>
                </c:pt>
                <c:pt idx="3056">
                  <c:v>41961</c:v>
                </c:pt>
                <c:pt idx="3057">
                  <c:v>41962</c:v>
                </c:pt>
                <c:pt idx="3058">
                  <c:v>41963</c:v>
                </c:pt>
                <c:pt idx="3059">
                  <c:v>41964</c:v>
                </c:pt>
                <c:pt idx="3060">
                  <c:v>41967</c:v>
                </c:pt>
                <c:pt idx="3061">
                  <c:v>41968</c:v>
                </c:pt>
                <c:pt idx="3062">
                  <c:v>41969</c:v>
                </c:pt>
                <c:pt idx="3063">
                  <c:v>41970</c:v>
                </c:pt>
                <c:pt idx="3064">
                  <c:v>41971</c:v>
                </c:pt>
                <c:pt idx="3065">
                  <c:v>41974</c:v>
                </c:pt>
                <c:pt idx="3066">
                  <c:v>41975</c:v>
                </c:pt>
                <c:pt idx="3067">
                  <c:v>41976</c:v>
                </c:pt>
                <c:pt idx="3068">
                  <c:v>41977</c:v>
                </c:pt>
                <c:pt idx="3069">
                  <c:v>41978</c:v>
                </c:pt>
                <c:pt idx="3070">
                  <c:v>41981</c:v>
                </c:pt>
                <c:pt idx="3071">
                  <c:v>41982</c:v>
                </c:pt>
                <c:pt idx="3072">
                  <c:v>41983</c:v>
                </c:pt>
                <c:pt idx="3073">
                  <c:v>41984</c:v>
                </c:pt>
                <c:pt idx="3074">
                  <c:v>41985</c:v>
                </c:pt>
                <c:pt idx="3075">
                  <c:v>41988</c:v>
                </c:pt>
                <c:pt idx="3076">
                  <c:v>41989</c:v>
                </c:pt>
                <c:pt idx="3077">
                  <c:v>41990</c:v>
                </c:pt>
                <c:pt idx="3078">
                  <c:v>41991</c:v>
                </c:pt>
                <c:pt idx="3079">
                  <c:v>41992</c:v>
                </c:pt>
                <c:pt idx="3080">
                  <c:v>41995</c:v>
                </c:pt>
                <c:pt idx="3081">
                  <c:v>41996</c:v>
                </c:pt>
                <c:pt idx="3082">
                  <c:v>41997</c:v>
                </c:pt>
                <c:pt idx="3083">
                  <c:v>41998</c:v>
                </c:pt>
                <c:pt idx="3084">
                  <c:v>41999</c:v>
                </c:pt>
                <c:pt idx="3085">
                  <c:v>42002</c:v>
                </c:pt>
                <c:pt idx="3086">
                  <c:v>42003</c:v>
                </c:pt>
                <c:pt idx="3087">
                  <c:v>42004</c:v>
                </c:pt>
                <c:pt idx="3088">
                  <c:v>42009</c:v>
                </c:pt>
                <c:pt idx="3089">
                  <c:v>42010</c:v>
                </c:pt>
                <c:pt idx="3090">
                  <c:v>42011</c:v>
                </c:pt>
                <c:pt idx="3091">
                  <c:v>42012</c:v>
                </c:pt>
                <c:pt idx="3092">
                  <c:v>42013</c:v>
                </c:pt>
                <c:pt idx="3093">
                  <c:v>42016</c:v>
                </c:pt>
                <c:pt idx="3094">
                  <c:v>42017</c:v>
                </c:pt>
                <c:pt idx="3095">
                  <c:v>42018</c:v>
                </c:pt>
                <c:pt idx="3096">
                  <c:v>42019</c:v>
                </c:pt>
                <c:pt idx="3097">
                  <c:v>42020</c:v>
                </c:pt>
                <c:pt idx="3098">
                  <c:v>42023</c:v>
                </c:pt>
                <c:pt idx="3099">
                  <c:v>42024</c:v>
                </c:pt>
                <c:pt idx="3100">
                  <c:v>42025</c:v>
                </c:pt>
                <c:pt idx="3101">
                  <c:v>42026</c:v>
                </c:pt>
                <c:pt idx="3102">
                  <c:v>42027</c:v>
                </c:pt>
                <c:pt idx="3103">
                  <c:v>42030</c:v>
                </c:pt>
                <c:pt idx="3104">
                  <c:v>42031</c:v>
                </c:pt>
                <c:pt idx="3105">
                  <c:v>42032</c:v>
                </c:pt>
                <c:pt idx="3106">
                  <c:v>42033</c:v>
                </c:pt>
                <c:pt idx="3107">
                  <c:v>42034</c:v>
                </c:pt>
                <c:pt idx="3108">
                  <c:v>42037</c:v>
                </c:pt>
                <c:pt idx="3109">
                  <c:v>42038</c:v>
                </c:pt>
                <c:pt idx="3110">
                  <c:v>42039</c:v>
                </c:pt>
                <c:pt idx="3111">
                  <c:v>42040</c:v>
                </c:pt>
                <c:pt idx="3112">
                  <c:v>42041</c:v>
                </c:pt>
                <c:pt idx="3113">
                  <c:v>42044</c:v>
                </c:pt>
                <c:pt idx="3114">
                  <c:v>42045</c:v>
                </c:pt>
                <c:pt idx="3115">
                  <c:v>42046</c:v>
                </c:pt>
                <c:pt idx="3116">
                  <c:v>42047</c:v>
                </c:pt>
                <c:pt idx="3117">
                  <c:v>42048</c:v>
                </c:pt>
                <c:pt idx="3118">
                  <c:v>42051</c:v>
                </c:pt>
                <c:pt idx="3119">
                  <c:v>42052</c:v>
                </c:pt>
                <c:pt idx="3120">
                  <c:v>42060</c:v>
                </c:pt>
                <c:pt idx="3121">
                  <c:v>42061</c:v>
                </c:pt>
                <c:pt idx="3122">
                  <c:v>42062</c:v>
                </c:pt>
                <c:pt idx="3123">
                  <c:v>42065</c:v>
                </c:pt>
                <c:pt idx="3124">
                  <c:v>42066</c:v>
                </c:pt>
                <c:pt idx="3125">
                  <c:v>42067</c:v>
                </c:pt>
                <c:pt idx="3126">
                  <c:v>42068</c:v>
                </c:pt>
                <c:pt idx="3127">
                  <c:v>42069</c:v>
                </c:pt>
                <c:pt idx="3128">
                  <c:v>42072</c:v>
                </c:pt>
                <c:pt idx="3129">
                  <c:v>42073</c:v>
                </c:pt>
                <c:pt idx="3130">
                  <c:v>42074</c:v>
                </c:pt>
                <c:pt idx="3131">
                  <c:v>42075</c:v>
                </c:pt>
                <c:pt idx="3132">
                  <c:v>42076</c:v>
                </c:pt>
                <c:pt idx="3133">
                  <c:v>42079</c:v>
                </c:pt>
                <c:pt idx="3134">
                  <c:v>42080</c:v>
                </c:pt>
                <c:pt idx="3135">
                  <c:v>42081</c:v>
                </c:pt>
                <c:pt idx="3136">
                  <c:v>42082</c:v>
                </c:pt>
                <c:pt idx="3137">
                  <c:v>42083</c:v>
                </c:pt>
                <c:pt idx="3138">
                  <c:v>42086</c:v>
                </c:pt>
                <c:pt idx="3139">
                  <c:v>42087</c:v>
                </c:pt>
                <c:pt idx="3140">
                  <c:v>42088</c:v>
                </c:pt>
                <c:pt idx="3141">
                  <c:v>42089</c:v>
                </c:pt>
                <c:pt idx="3142">
                  <c:v>42090</c:v>
                </c:pt>
                <c:pt idx="3143">
                  <c:v>42093</c:v>
                </c:pt>
                <c:pt idx="3144">
                  <c:v>42094</c:v>
                </c:pt>
                <c:pt idx="3145">
                  <c:v>42095</c:v>
                </c:pt>
                <c:pt idx="3146">
                  <c:v>42096</c:v>
                </c:pt>
                <c:pt idx="3147">
                  <c:v>42097</c:v>
                </c:pt>
                <c:pt idx="3148">
                  <c:v>42101</c:v>
                </c:pt>
                <c:pt idx="3149">
                  <c:v>42102</c:v>
                </c:pt>
                <c:pt idx="3150">
                  <c:v>42103</c:v>
                </c:pt>
                <c:pt idx="3151">
                  <c:v>42104</c:v>
                </c:pt>
                <c:pt idx="3152">
                  <c:v>42107</c:v>
                </c:pt>
                <c:pt idx="3153">
                  <c:v>42108</c:v>
                </c:pt>
                <c:pt idx="3154">
                  <c:v>42109</c:v>
                </c:pt>
                <c:pt idx="3155">
                  <c:v>42110</c:v>
                </c:pt>
                <c:pt idx="3156">
                  <c:v>42111</c:v>
                </c:pt>
                <c:pt idx="3157">
                  <c:v>42114</c:v>
                </c:pt>
                <c:pt idx="3158">
                  <c:v>42115</c:v>
                </c:pt>
                <c:pt idx="3159">
                  <c:v>42116</c:v>
                </c:pt>
                <c:pt idx="3160">
                  <c:v>42117</c:v>
                </c:pt>
                <c:pt idx="3161">
                  <c:v>42118</c:v>
                </c:pt>
                <c:pt idx="3162">
                  <c:v>42121</c:v>
                </c:pt>
                <c:pt idx="3163">
                  <c:v>42122</c:v>
                </c:pt>
                <c:pt idx="3164">
                  <c:v>42123</c:v>
                </c:pt>
                <c:pt idx="3165">
                  <c:v>42124</c:v>
                </c:pt>
                <c:pt idx="3166">
                  <c:v>42128</c:v>
                </c:pt>
                <c:pt idx="3167">
                  <c:v>42129</c:v>
                </c:pt>
                <c:pt idx="3168">
                  <c:v>42130</c:v>
                </c:pt>
                <c:pt idx="3169">
                  <c:v>42131</c:v>
                </c:pt>
                <c:pt idx="3170">
                  <c:v>42132</c:v>
                </c:pt>
                <c:pt idx="3171">
                  <c:v>42135</c:v>
                </c:pt>
                <c:pt idx="3172">
                  <c:v>42136</c:v>
                </c:pt>
                <c:pt idx="3173">
                  <c:v>42137</c:v>
                </c:pt>
                <c:pt idx="3174">
                  <c:v>42138</c:v>
                </c:pt>
                <c:pt idx="3175">
                  <c:v>42139</c:v>
                </c:pt>
                <c:pt idx="3176">
                  <c:v>42142</c:v>
                </c:pt>
                <c:pt idx="3177">
                  <c:v>42143</c:v>
                </c:pt>
                <c:pt idx="3178">
                  <c:v>42144</c:v>
                </c:pt>
                <c:pt idx="3179">
                  <c:v>42145</c:v>
                </c:pt>
                <c:pt idx="3180">
                  <c:v>42146</c:v>
                </c:pt>
                <c:pt idx="3181">
                  <c:v>42149</c:v>
                </c:pt>
                <c:pt idx="3182">
                  <c:v>42150</c:v>
                </c:pt>
                <c:pt idx="3183">
                  <c:v>42151</c:v>
                </c:pt>
                <c:pt idx="3184">
                  <c:v>42152</c:v>
                </c:pt>
                <c:pt idx="3185">
                  <c:v>42153</c:v>
                </c:pt>
                <c:pt idx="3186">
                  <c:v>42156</c:v>
                </c:pt>
                <c:pt idx="3187">
                  <c:v>42157</c:v>
                </c:pt>
                <c:pt idx="3188">
                  <c:v>42158</c:v>
                </c:pt>
                <c:pt idx="3189">
                  <c:v>42159</c:v>
                </c:pt>
                <c:pt idx="3190">
                  <c:v>42160</c:v>
                </c:pt>
                <c:pt idx="3191">
                  <c:v>42163</c:v>
                </c:pt>
                <c:pt idx="3192">
                  <c:v>42164</c:v>
                </c:pt>
                <c:pt idx="3193">
                  <c:v>42165</c:v>
                </c:pt>
                <c:pt idx="3194">
                  <c:v>42166</c:v>
                </c:pt>
                <c:pt idx="3195">
                  <c:v>42167</c:v>
                </c:pt>
                <c:pt idx="3196">
                  <c:v>42170</c:v>
                </c:pt>
                <c:pt idx="3197">
                  <c:v>42171</c:v>
                </c:pt>
                <c:pt idx="3198">
                  <c:v>42172</c:v>
                </c:pt>
                <c:pt idx="3199">
                  <c:v>42173</c:v>
                </c:pt>
                <c:pt idx="3200">
                  <c:v>42174</c:v>
                </c:pt>
                <c:pt idx="3201">
                  <c:v>42178</c:v>
                </c:pt>
                <c:pt idx="3202">
                  <c:v>42179</c:v>
                </c:pt>
                <c:pt idx="3203">
                  <c:v>42180</c:v>
                </c:pt>
                <c:pt idx="3204">
                  <c:v>42181</c:v>
                </c:pt>
                <c:pt idx="3205">
                  <c:v>42184</c:v>
                </c:pt>
                <c:pt idx="3206">
                  <c:v>42185</c:v>
                </c:pt>
                <c:pt idx="3207">
                  <c:v>42186</c:v>
                </c:pt>
                <c:pt idx="3208">
                  <c:v>42187</c:v>
                </c:pt>
                <c:pt idx="3209">
                  <c:v>42188</c:v>
                </c:pt>
                <c:pt idx="3210">
                  <c:v>42191</c:v>
                </c:pt>
                <c:pt idx="3211">
                  <c:v>42192</c:v>
                </c:pt>
                <c:pt idx="3212">
                  <c:v>42193</c:v>
                </c:pt>
                <c:pt idx="3213">
                  <c:v>42194</c:v>
                </c:pt>
                <c:pt idx="3214">
                  <c:v>42195</c:v>
                </c:pt>
                <c:pt idx="3215">
                  <c:v>42198</c:v>
                </c:pt>
                <c:pt idx="3216">
                  <c:v>42199</c:v>
                </c:pt>
                <c:pt idx="3217">
                  <c:v>42200</c:v>
                </c:pt>
                <c:pt idx="3218">
                  <c:v>42201</c:v>
                </c:pt>
                <c:pt idx="3219">
                  <c:v>42202</c:v>
                </c:pt>
                <c:pt idx="3220">
                  <c:v>42205</c:v>
                </c:pt>
                <c:pt idx="3221">
                  <c:v>42206</c:v>
                </c:pt>
                <c:pt idx="3222">
                  <c:v>42207</c:v>
                </c:pt>
                <c:pt idx="3223">
                  <c:v>42208</c:v>
                </c:pt>
                <c:pt idx="3224">
                  <c:v>42209</c:v>
                </c:pt>
                <c:pt idx="3225">
                  <c:v>42212</c:v>
                </c:pt>
                <c:pt idx="3226">
                  <c:v>42213</c:v>
                </c:pt>
                <c:pt idx="3227">
                  <c:v>42214</c:v>
                </c:pt>
                <c:pt idx="3228">
                  <c:v>42215</c:v>
                </c:pt>
                <c:pt idx="3229">
                  <c:v>42216</c:v>
                </c:pt>
                <c:pt idx="3230">
                  <c:v>42219</c:v>
                </c:pt>
                <c:pt idx="3231">
                  <c:v>42220</c:v>
                </c:pt>
                <c:pt idx="3232">
                  <c:v>42221</c:v>
                </c:pt>
                <c:pt idx="3233">
                  <c:v>42222</c:v>
                </c:pt>
                <c:pt idx="3234">
                  <c:v>42223</c:v>
                </c:pt>
                <c:pt idx="3235">
                  <c:v>42226</c:v>
                </c:pt>
                <c:pt idx="3236">
                  <c:v>42227</c:v>
                </c:pt>
                <c:pt idx="3237">
                  <c:v>42228</c:v>
                </c:pt>
                <c:pt idx="3238">
                  <c:v>42229</c:v>
                </c:pt>
                <c:pt idx="3239">
                  <c:v>42230</c:v>
                </c:pt>
                <c:pt idx="3240">
                  <c:v>42233</c:v>
                </c:pt>
                <c:pt idx="3241">
                  <c:v>42234</c:v>
                </c:pt>
                <c:pt idx="3242">
                  <c:v>42235</c:v>
                </c:pt>
                <c:pt idx="3243">
                  <c:v>42236</c:v>
                </c:pt>
                <c:pt idx="3244">
                  <c:v>42237</c:v>
                </c:pt>
                <c:pt idx="3245">
                  <c:v>42240</c:v>
                </c:pt>
                <c:pt idx="3246">
                  <c:v>42241</c:v>
                </c:pt>
                <c:pt idx="3247">
                  <c:v>42242</c:v>
                </c:pt>
                <c:pt idx="3248">
                  <c:v>42243</c:v>
                </c:pt>
                <c:pt idx="3249">
                  <c:v>42244</c:v>
                </c:pt>
                <c:pt idx="3250">
                  <c:v>42247</c:v>
                </c:pt>
                <c:pt idx="3251">
                  <c:v>42248</c:v>
                </c:pt>
                <c:pt idx="3252">
                  <c:v>42249</c:v>
                </c:pt>
                <c:pt idx="3253">
                  <c:v>42254</c:v>
                </c:pt>
                <c:pt idx="3254">
                  <c:v>42255</c:v>
                </c:pt>
                <c:pt idx="3255">
                  <c:v>42256</c:v>
                </c:pt>
                <c:pt idx="3256">
                  <c:v>42257</c:v>
                </c:pt>
                <c:pt idx="3257">
                  <c:v>42258</c:v>
                </c:pt>
                <c:pt idx="3258">
                  <c:v>42261</c:v>
                </c:pt>
                <c:pt idx="3259">
                  <c:v>42262</c:v>
                </c:pt>
                <c:pt idx="3260">
                  <c:v>42263</c:v>
                </c:pt>
                <c:pt idx="3261">
                  <c:v>42264</c:v>
                </c:pt>
                <c:pt idx="3262">
                  <c:v>42265</c:v>
                </c:pt>
                <c:pt idx="3263">
                  <c:v>42268</c:v>
                </c:pt>
                <c:pt idx="3264">
                  <c:v>42269</c:v>
                </c:pt>
                <c:pt idx="3265">
                  <c:v>42270</c:v>
                </c:pt>
                <c:pt idx="3266">
                  <c:v>42271</c:v>
                </c:pt>
                <c:pt idx="3267">
                  <c:v>42272</c:v>
                </c:pt>
                <c:pt idx="3268">
                  <c:v>42275</c:v>
                </c:pt>
                <c:pt idx="3269">
                  <c:v>42276</c:v>
                </c:pt>
                <c:pt idx="3270">
                  <c:v>42277</c:v>
                </c:pt>
                <c:pt idx="3271">
                  <c:v>42285</c:v>
                </c:pt>
                <c:pt idx="3272">
                  <c:v>42286</c:v>
                </c:pt>
                <c:pt idx="3273">
                  <c:v>42289</c:v>
                </c:pt>
                <c:pt idx="3274">
                  <c:v>42290</c:v>
                </c:pt>
                <c:pt idx="3275">
                  <c:v>42291</c:v>
                </c:pt>
                <c:pt idx="3276">
                  <c:v>42292</c:v>
                </c:pt>
                <c:pt idx="3277">
                  <c:v>42293</c:v>
                </c:pt>
                <c:pt idx="3278">
                  <c:v>42296</c:v>
                </c:pt>
                <c:pt idx="3279">
                  <c:v>42297</c:v>
                </c:pt>
                <c:pt idx="3280">
                  <c:v>42298</c:v>
                </c:pt>
                <c:pt idx="3281">
                  <c:v>42299</c:v>
                </c:pt>
                <c:pt idx="3282">
                  <c:v>42300</c:v>
                </c:pt>
                <c:pt idx="3283">
                  <c:v>42303</c:v>
                </c:pt>
                <c:pt idx="3284">
                  <c:v>42304</c:v>
                </c:pt>
                <c:pt idx="3285">
                  <c:v>42305</c:v>
                </c:pt>
                <c:pt idx="3286">
                  <c:v>42306</c:v>
                </c:pt>
                <c:pt idx="3287">
                  <c:v>42307</c:v>
                </c:pt>
                <c:pt idx="3288">
                  <c:v>42310</c:v>
                </c:pt>
                <c:pt idx="3289">
                  <c:v>42311</c:v>
                </c:pt>
                <c:pt idx="3290">
                  <c:v>42312</c:v>
                </c:pt>
                <c:pt idx="3291">
                  <c:v>42313</c:v>
                </c:pt>
                <c:pt idx="3292">
                  <c:v>42314</c:v>
                </c:pt>
                <c:pt idx="3293">
                  <c:v>42317</c:v>
                </c:pt>
                <c:pt idx="3294">
                  <c:v>42318</c:v>
                </c:pt>
                <c:pt idx="3295">
                  <c:v>42319</c:v>
                </c:pt>
                <c:pt idx="3296">
                  <c:v>42320</c:v>
                </c:pt>
                <c:pt idx="3297">
                  <c:v>42321</c:v>
                </c:pt>
                <c:pt idx="3298">
                  <c:v>42324</c:v>
                </c:pt>
                <c:pt idx="3299">
                  <c:v>42325</c:v>
                </c:pt>
                <c:pt idx="3300">
                  <c:v>42326</c:v>
                </c:pt>
                <c:pt idx="3301">
                  <c:v>42327</c:v>
                </c:pt>
                <c:pt idx="3302">
                  <c:v>42328</c:v>
                </c:pt>
                <c:pt idx="3303">
                  <c:v>42331</c:v>
                </c:pt>
                <c:pt idx="3304">
                  <c:v>42332</c:v>
                </c:pt>
                <c:pt idx="3305">
                  <c:v>42333</c:v>
                </c:pt>
                <c:pt idx="3306">
                  <c:v>42334</c:v>
                </c:pt>
                <c:pt idx="3307">
                  <c:v>42335</c:v>
                </c:pt>
                <c:pt idx="3308">
                  <c:v>42338</c:v>
                </c:pt>
                <c:pt idx="3309">
                  <c:v>42339</c:v>
                </c:pt>
                <c:pt idx="3310">
                  <c:v>42340</c:v>
                </c:pt>
                <c:pt idx="3311">
                  <c:v>42341</c:v>
                </c:pt>
                <c:pt idx="3312">
                  <c:v>42342</c:v>
                </c:pt>
                <c:pt idx="3313">
                  <c:v>42345</c:v>
                </c:pt>
                <c:pt idx="3314">
                  <c:v>42346</c:v>
                </c:pt>
                <c:pt idx="3315">
                  <c:v>42347</c:v>
                </c:pt>
                <c:pt idx="3316">
                  <c:v>42348</c:v>
                </c:pt>
                <c:pt idx="3317">
                  <c:v>42349</c:v>
                </c:pt>
                <c:pt idx="3318">
                  <c:v>42352</c:v>
                </c:pt>
                <c:pt idx="3319">
                  <c:v>42353</c:v>
                </c:pt>
                <c:pt idx="3320">
                  <c:v>42354</c:v>
                </c:pt>
                <c:pt idx="3321">
                  <c:v>42355</c:v>
                </c:pt>
                <c:pt idx="3322">
                  <c:v>42356</c:v>
                </c:pt>
                <c:pt idx="3323">
                  <c:v>42359</c:v>
                </c:pt>
                <c:pt idx="3324">
                  <c:v>42360</c:v>
                </c:pt>
                <c:pt idx="3325">
                  <c:v>42361</c:v>
                </c:pt>
                <c:pt idx="3326">
                  <c:v>42362</c:v>
                </c:pt>
                <c:pt idx="3327">
                  <c:v>42363</c:v>
                </c:pt>
                <c:pt idx="3328">
                  <c:v>42366</c:v>
                </c:pt>
                <c:pt idx="3329">
                  <c:v>42367</c:v>
                </c:pt>
                <c:pt idx="3330">
                  <c:v>42368</c:v>
                </c:pt>
                <c:pt idx="3331">
                  <c:v>42369</c:v>
                </c:pt>
                <c:pt idx="3332">
                  <c:v>42373</c:v>
                </c:pt>
                <c:pt idx="3333">
                  <c:v>42374</c:v>
                </c:pt>
                <c:pt idx="3334">
                  <c:v>42375</c:v>
                </c:pt>
                <c:pt idx="3335">
                  <c:v>42376</c:v>
                </c:pt>
                <c:pt idx="3336">
                  <c:v>42377</c:v>
                </c:pt>
                <c:pt idx="3337">
                  <c:v>42380</c:v>
                </c:pt>
                <c:pt idx="3338">
                  <c:v>42381</c:v>
                </c:pt>
                <c:pt idx="3339">
                  <c:v>42382</c:v>
                </c:pt>
                <c:pt idx="3340">
                  <c:v>42383</c:v>
                </c:pt>
                <c:pt idx="3341">
                  <c:v>42384</c:v>
                </c:pt>
                <c:pt idx="3342">
                  <c:v>42387</c:v>
                </c:pt>
                <c:pt idx="3343">
                  <c:v>42388</c:v>
                </c:pt>
                <c:pt idx="3344">
                  <c:v>42389</c:v>
                </c:pt>
                <c:pt idx="3345">
                  <c:v>42390</c:v>
                </c:pt>
                <c:pt idx="3346">
                  <c:v>42391</c:v>
                </c:pt>
                <c:pt idx="3347">
                  <c:v>42394</c:v>
                </c:pt>
                <c:pt idx="3348">
                  <c:v>42395</c:v>
                </c:pt>
                <c:pt idx="3349">
                  <c:v>42396</c:v>
                </c:pt>
                <c:pt idx="3350">
                  <c:v>42397</c:v>
                </c:pt>
                <c:pt idx="3351">
                  <c:v>42398</c:v>
                </c:pt>
                <c:pt idx="3352">
                  <c:v>42401</c:v>
                </c:pt>
                <c:pt idx="3353">
                  <c:v>42402</c:v>
                </c:pt>
                <c:pt idx="3354">
                  <c:v>42403</c:v>
                </c:pt>
                <c:pt idx="3355">
                  <c:v>42404</c:v>
                </c:pt>
                <c:pt idx="3356">
                  <c:v>42405</c:v>
                </c:pt>
                <c:pt idx="3357">
                  <c:v>42415</c:v>
                </c:pt>
                <c:pt idx="3358">
                  <c:v>42416</c:v>
                </c:pt>
                <c:pt idx="3359">
                  <c:v>42417</c:v>
                </c:pt>
                <c:pt idx="3360">
                  <c:v>42418</c:v>
                </c:pt>
                <c:pt idx="3361">
                  <c:v>42419</c:v>
                </c:pt>
                <c:pt idx="3362">
                  <c:v>42422</c:v>
                </c:pt>
                <c:pt idx="3363">
                  <c:v>42423</c:v>
                </c:pt>
                <c:pt idx="3364">
                  <c:v>42424</c:v>
                </c:pt>
                <c:pt idx="3365">
                  <c:v>42425</c:v>
                </c:pt>
                <c:pt idx="3366">
                  <c:v>42426</c:v>
                </c:pt>
                <c:pt idx="3367">
                  <c:v>42429</c:v>
                </c:pt>
                <c:pt idx="3368">
                  <c:v>42430</c:v>
                </c:pt>
                <c:pt idx="3369">
                  <c:v>42431</c:v>
                </c:pt>
                <c:pt idx="3370">
                  <c:v>42432</c:v>
                </c:pt>
                <c:pt idx="3371">
                  <c:v>42433</c:v>
                </c:pt>
                <c:pt idx="3372">
                  <c:v>42436</c:v>
                </c:pt>
                <c:pt idx="3373">
                  <c:v>42437</c:v>
                </c:pt>
                <c:pt idx="3374">
                  <c:v>42438</c:v>
                </c:pt>
                <c:pt idx="3375">
                  <c:v>42439</c:v>
                </c:pt>
                <c:pt idx="3376">
                  <c:v>42440</c:v>
                </c:pt>
                <c:pt idx="3377">
                  <c:v>42443</c:v>
                </c:pt>
                <c:pt idx="3378">
                  <c:v>42444</c:v>
                </c:pt>
                <c:pt idx="3379">
                  <c:v>42445</c:v>
                </c:pt>
                <c:pt idx="3380">
                  <c:v>42446</c:v>
                </c:pt>
                <c:pt idx="3381">
                  <c:v>42447</c:v>
                </c:pt>
                <c:pt idx="3382">
                  <c:v>42450</c:v>
                </c:pt>
                <c:pt idx="3383">
                  <c:v>42451</c:v>
                </c:pt>
                <c:pt idx="3384">
                  <c:v>42452</c:v>
                </c:pt>
                <c:pt idx="3385">
                  <c:v>42453</c:v>
                </c:pt>
                <c:pt idx="3386">
                  <c:v>42454</c:v>
                </c:pt>
                <c:pt idx="3387">
                  <c:v>42457</c:v>
                </c:pt>
                <c:pt idx="3388">
                  <c:v>42458</c:v>
                </c:pt>
                <c:pt idx="3389">
                  <c:v>42459</c:v>
                </c:pt>
                <c:pt idx="3390">
                  <c:v>42460</c:v>
                </c:pt>
                <c:pt idx="3391">
                  <c:v>42461</c:v>
                </c:pt>
                <c:pt idx="3392">
                  <c:v>42465</c:v>
                </c:pt>
                <c:pt idx="3393">
                  <c:v>42466</c:v>
                </c:pt>
                <c:pt idx="3394">
                  <c:v>42467</c:v>
                </c:pt>
                <c:pt idx="3395">
                  <c:v>42468</c:v>
                </c:pt>
                <c:pt idx="3396">
                  <c:v>42471</c:v>
                </c:pt>
                <c:pt idx="3397">
                  <c:v>42472</c:v>
                </c:pt>
                <c:pt idx="3398">
                  <c:v>42473</c:v>
                </c:pt>
                <c:pt idx="3399">
                  <c:v>42474</c:v>
                </c:pt>
                <c:pt idx="3400">
                  <c:v>42475</c:v>
                </c:pt>
                <c:pt idx="3401">
                  <c:v>42478</c:v>
                </c:pt>
                <c:pt idx="3402">
                  <c:v>42479</c:v>
                </c:pt>
                <c:pt idx="3403">
                  <c:v>42480</c:v>
                </c:pt>
                <c:pt idx="3404">
                  <c:v>42481</c:v>
                </c:pt>
                <c:pt idx="3405">
                  <c:v>42482</c:v>
                </c:pt>
                <c:pt idx="3406">
                  <c:v>42485</c:v>
                </c:pt>
                <c:pt idx="3407">
                  <c:v>42486</c:v>
                </c:pt>
                <c:pt idx="3408">
                  <c:v>42487</c:v>
                </c:pt>
                <c:pt idx="3409">
                  <c:v>42488</c:v>
                </c:pt>
                <c:pt idx="3410">
                  <c:v>42489</c:v>
                </c:pt>
                <c:pt idx="3411">
                  <c:v>42493</c:v>
                </c:pt>
                <c:pt idx="3412">
                  <c:v>42494</c:v>
                </c:pt>
                <c:pt idx="3413">
                  <c:v>42495</c:v>
                </c:pt>
                <c:pt idx="3414">
                  <c:v>42496</c:v>
                </c:pt>
                <c:pt idx="3415">
                  <c:v>42499</c:v>
                </c:pt>
                <c:pt idx="3416">
                  <c:v>42500</c:v>
                </c:pt>
                <c:pt idx="3417">
                  <c:v>42501</c:v>
                </c:pt>
                <c:pt idx="3418">
                  <c:v>42502</c:v>
                </c:pt>
                <c:pt idx="3419">
                  <c:v>42503</c:v>
                </c:pt>
                <c:pt idx="3420">
                  <c:v>42506</c:v>
                </c:pt>
                <c:pt idx="3421">
                  <c:v>42507</c:v>
                </c:pt>
                <c:pt idx="3422">
                  <c:v>42508</c:v>
                </c:pt>
                <c:pt idx="3423">
                  <c:v>42509</c:v>
                </c:pt>
                <c:pt idx="3424">
                  <c:v>42510</c:v>
                </c:pt>
                <c:pt idx="3425">
                  <c:v>42513</c:v>
                </c:pt>
                <c:pt idx="3426">
                  <c:v>42514</c:v>
                </c:pt>
                <c:pt idx="3427">
                  <c:v>42515</c:v>
                </c:pt>
                <c:pt idx="3428">
                  <c:v>42516</c:v>
                </c:pt>
                <c:pt idx="3429">
                  <c:v>42517</c:v>
                </c:pt>
                <c:pt idx="3430">
                  <c:v>42520</c:v>
                </c:pt>
                <c:pt idx="3431">
                  <c:v>42521</c:v>
                </c:pt>
                <c:pt idx="3432">
                  <c:v>42522</c:v>
                </c:pt>
                <c:pt idx="3433">
                  <c:v>42523</c:v>
                </c:pt>
                <c:pt idx="3434">
                  <c:v>42524</c:v>
                </c:pt>
                <c:pt idx="3435">
                  <c:v>42527</c:v>
                </c:pt>
                <c:pt idx="3436">
                  <c:v>42528</c:v>
                </c:pt>
                <c:pt idx="3437">
                  <c:v>42529</c:v>
                </c:pt>
                <c:pt idx="3438">
                  <c:v>42534</c:v>
                </c:pt>
                <c:pt idx="3439">
                  <c:v>42535</c:v>
                </c:pt>
                <c:pt idx="3440">
                  <c:v>42536</c:v>
                </c:pt>
                <c:pt idx="3441">
                  <c:v>42537</c:v>
                </c:pt>
                <c:pt idx="3442">
                  <c:v>42538</c:v>
                </c:pt>
                <c:pt idx="3443">
                  <c:v>42541</c:v>
                </c:pt>
                <c:pt idx="3444">
                  <c:v>42542</c:v>
                </c:pt>
                <c:pt idx="3445">
                  <c:v>42543</c:v>
                </c:pt>
                <c:pt idx="3446">
                  <c:v>42544</c:v>
                </c:pt>
                <c:pt idx="3447">
                  <c:v>42545</c:v>
                </c:pt>
                <c:pt idx="3448">
                  <c:v>42548</c:v>
                </c:pt>
                <c:pt idx="3449">
                  <c:v>42549</c:v>
                </c:pt>
                <c:pt idx="3450">
                  <c:v>42550</c:v>
                </c:pt>
                <c:pt idx="3451">
                  <c:v>42551</c:v>
                </c:pt>
                <c:pt idx="3452">
                  <c:v>42552</c:v>
                </c:pt>
                <c:pt idx="3453">
                  <c:v>42555</c:v>
                </c:pt>
                <c:pt idx="3454">
                  <c:v>42556</c:v>
                </c:pt>
                <c:pt idx="3455">
                  <c:v>42557</c:v>
                </c:pt>
                <c:pt idx="3456">
                  <c:v>42558</c:v>
                </c:pt>
                <c:pt idx="3457">
                  <c:v>42559</c:v>
                </c:pt>
                <c:pt idx="3458">
                  <c:v>42562</c:v>
                </c:pt>
                <c:pt idx="3459">
                  <c:v>42563</c:v>
                </c:pt>
                <c:pt idx="3460">
                  <c:v>42564</c:v>
                </c:pt>
                <c:pt idx="3461">
                  <c:v>42565</c:v>
                </c:pt>
                <c:pt idx="3462">
                  <c:v>42566</c:v>
                </c:pt>
                <c:pt idx="3463">
                  <c:v>42569</c:v>
                </c:pt>
                <c:pt idx="3464">
                  <c:v>42570</c:v>
                </c:pt>
                <c:pt idx="3465">
                  <c:v>42571</c:v>
                </c:pt>
                <c:pt idx="3466">
                  <c:v>42572</c:v>
                </c:pt>
                <c:pt idx="3467">
                  <c:v>42573</c:v>
                </c:pt>
                <c:pt idx="3468">
                  <c:v>42576</c:v>
                </c:pt>
                <c:pt idx="3469">
                  <c:v>42577</c:v>
                </c:pt>
                <c:pt idx="3470">
                  <c:v>42578</c:v>
                </c:pt>
                <c:pt idx="3471">
                  <c:v>42579</c:v>
                </c:pt>
                <c:pt idx="3472">
                  <c:v>42580</c:v>
                </c:pt>
                <c:pt idx="3473">
                  <c:v>42583</c:v>
                </c:pt>
                <c:pt idx="3474">
                  <c:v>42584</c:v>
                </c:pt>
                <c:pt idx="3475">
                  <c:v>42585</c:v>
                </c:pt>
                <c:pt idx="3476">
                  <c:v>42586</c:v>
                </c:pt>
                <c:pt idx="3477">
                  <c:v>42587</c:v>
                </c:pt>
                <c:pt idx="3478">
                  <c:v>42590</c:v>
                </c:pt>
                <c:pt idx="3479">
                  <c:v>42591</c:v>
                </c:pt>
                <c:pt idx="3480">
                  <c:v>42592</c:v>
                </c:pt>
                <c:pt idx="3481">
                  <c:v>42593</c:v>
                </c:pt>
                <c:pt idx="3482">
                  <c:v>42594</c:v>
                </c:pt>
                <c:pt idx="3483">
                  <c:v>42597</c:v>
                </c:pt>
                <c:pt idx="3484">
                  <c:v>42598</c:v>
                </c:pt>
                <c:pt idx="3485">
                  <c:v>42599</c:v>
                </c:pt>
                <c:pt idx="3486">
                  <c:v>42600</c:v>
                </c:pt>
                <c:pt idx="3487">
                  <c:v>42601</c:v>
                </c:pt>
                <c:pt idx="3488">
                  <c:v>42604</c:v>
                </c:pt>
                <c:pt idx="3489">
                  <c:v>42605</c:v>
                </c:pt>
                <c:pt idx="3490">
                  <c:v>42606</c:v>
                </c:pt>
                <c:pt idx="3491">
                  <c:v>42607</c:v>
                </c:pt>
                <c:pt idx="3492">
                  <c:v>42608</c:v>
                </c:pt>
                <c:pt idx="3493">
                  <c:v>42611</c:v>
                </c:pt>
                <c:pt idx="3494">
                  <c:v>42612</c:v>
                </c:pt>
                <c:pt idx="3495">
                  <c:v>42613</c:v>
                </c:pt>
                <c:pt idx="3496">
                  <c:v>42614</c:v>
                </c:pt>
                <c:pt idx="3497">
                  <c:v>42615</c:v>
                </c:pt>
                <c:pt idx="3498">
                  <c:v>42618</c:v>
                </c:pt>
                <c:pt idx="3499">
                  <c:v>42619</c:v>
                </c:pt>
                <c:pt idx="3500">
                  <c:v>42620</c:v>
                </c:pt>
                <c:pt idx="3501">
                  <c:v>42621</c:v>
                </c:pt>
                <c:pt idx="3502">
                  <c:v>42622</c:v>
                </c:pt>
                <c:pt idx="3503">
                  <c:v>42625</c:v>
                </c:pt>
                <c:pt idx="3504">
                  <c:v>42626</c:v>
                </c:pt>
                <c:pt idx="3505">
                  <c:v>42627</c:v>
                </c:pt>
                <c:pt idx="3506">
                  <c:v>42632</c:v>
                </c:pt>
                <c:pt idx="3507">
                  <c:v>42633</c:v>
                </c:pt>
                <c:pt idx="3508">
                  <c:v>42634</c:v>
                </c:pt>
                <c:pt idx="3509">
                  <c:v>42635</c:v>
                </c:pt>
                <c:pt idx="3510">
                  <c:v>42636</c:v>
                </c:pt>
                <c:pt idx="3511">
                  <c:v>42639</c:v>
                </c:pt>
                <c:pt idx="3512">
                  <c:v>42640</c:v>
                </c:pt>
                <c:pt idx="3513">
                  <c:v>42641</c:v>
                </c:pt>
                <c:pt idx="3514">
                  <c:v>42642</c:v>
                </c:pt>
                <c:pt idx="3515">
                  <c:v>42643</c:v>
                </c:pt>
                <c:pt idx="3516">
                  <c:v>42653</c:v>
                </c:pt>
                <c:pt idx="3517">
                  <c:v>42654</c:v>
                </c:pt>
                <c:pt idx="3518">
                  <c:v>42655</c:v>
                </c:pt>
                <c:pt idx="3519">
                  <c:v>42656</c:v>
                </c:pt>
                <c:pt idx="3520">
                  <c:v>42657</c:v>
                </c:pt>
                <c:pt idx="3521">
                  <c:v>42660</c:v>
                </c:pt>
                <c:pt idx="3522">
                  <c:v>42661</c:v>
                </c:pt>
                <c:pt idx="3523">
                  <c:v>42662</c:v>
                </c:pt>
                <c:pt idx="3524">
                  <c:v>42663</c:v>
                </c:pt>
                <c:pt idx="3525">
                  <c:v>42664</c:v>
                </c:pt>
                <c:pt idx="3526">
                  <c:v>42667</c:v>
                </c:pt>
                <c:pt idx="3527">
                  <c:v>42668</c:v>
                </c:pt>
                <c:pt idx="3528">
                  <c:v>42669</c:v>
                </c:pt>
                <c:pt idx="3529">
                  <c:v>42670</c:v>
                </c:pt>
                <c:pt idx="3530">
                  <c:v>42671</c:v>
                </c:pt>
                <c:pt idx="3531">
                  <c:v>42674</c:v>
                </c:pt>
                <c:pt idx="3532">
                  <c:v>42675</c:v>
                </c:pt>
                <c:pt idx="3533">
                  <c:v>42676</c:v>
                </c:pt>
                <c:pt idx="3534">
                  <c:v>42677</c:v>
                </c:pt>
                <c:pt idx="3535">
                  <c:v>42678</c:v>
                </c:pt>
                <c:pt idx="3536">
                  <c:v>42681</c:v>
                </c:pt>
                <c:pt idx="3537">
                  <c:v>42682</c:v>
                </c:pt>
                <c:pt idx="3538">
                  <c:v>42683</c:v>
                </c:pt>
                <c:pt idx="3539">
                  <c:v>42684</c:v>
                </c:pt>
                <c:pt idx="3540">
                  <c:v>42685</c:v>
                </c:pt>
                <c:pt idx="3541">
                  <c:v>42688</c:v>
                </c:pt>
                <c:pt idx="3542">
                  <c:v>42689</c:v>
                </c:pt>
                <c:pt idx="3543">
                  <c:v>42690</c:v>
                </c:pt>
                <c:pt idx="3544">
                  <c:v>42691</c:v>
                </c:pt>
                <c:pt idx="3545">
                  <c:v>42692</c:v>
                </c:pt>
                <c:pt idx="3546">
                  <c:v>42695</c:v>
                </c:pt>
                <c:pt idx="3547">
                  <c:v>42696</c:v>
                </c:pt>
                <c:pt idx="3548">
                  <c:v>42697</c:v>
                </c:pt>
                <c:pt idx="3549">
                  <c:v>42698</c:v>
                </c:pt>
                <c:pt idx="3550">
                  <c:v>42699</c:v>
                </c:pt>
                <c:pt idx="3551">
                  <c:v>42702</c:v>
                </c:pt>
                <c:pt idx="3552">
                  <c:v>42703</c:v>
                </c:pt>
                <c:pt idx="3553">
                  <c:v>42704</c:v>
                </c:pt>
                <c:pt idx="3554">
                  <c:v>42705</c:v>
                </c:pt>
                <c:pt idx="3555">
                  <c:v>42706</c:v>
                </c:pt>
                <c:pt idx="3556">
                  <c:v>42709</c:v>
                </c:pt>
                <c:pt idx="3557">
                  <c:v>42710</c:v>
                </c:pt>
                <c:pt idx="3558">
                  <c:v>42711</c:v>
                </c:pt>
                <c:pt idx="3559">
                  <c:v>42712</c:v>
                </c:pt>
                <c:pt idx="3560">
                  <c:v>42713</c:v>
                </c:pt>
                <c:pt idx="3561">
                  <c:v>42716</c:v>
                </c:pt>
                <c:pt idx="3562">
                  <c:v>42717</c:v>
                </c:pt>
                <c:pt idx="3563">
                  <c:v>42718</c:v>
                </c:pt>
                <c:pt idx="3564">
                  <c:v>42719</c:v>
                </c:pt>
                <c:pt idx="3565">
                  <c:v>42720</c:v>
                </c:pt>
                <c:pt idx="3566">
                  <c:v>42723</c:v>
                </c:pt>
                <c:pt idx="3567">
                  <c:v>42724</c:v>
                </c:pt>
                <c:pt idx="3568">
                  <c:v>42725</c:v>
                </c:pt>
                <c:pt idx="3569">
                  <c:v>42726</c:v>
                </c:pt>
                <c:pt idx="3570">
                  <c:v>42727</c:v>
                </c:pt>
                <c:pt idx="3571">
                  <c:v>42730</c:v>
                </c:pt>
                <c:pt idx="3572">
                  <c:v>42731</c:v>
                </c:pt>
                <c:pt idx="3573">
                  <c:v>42732</c:v>
                </c:pt>
                <c:pt idx="3574">
                  <c:v>42733</c:v>
                </c:pt>
                <c:pt idx="3575">
                  <c:v>42734</c:v>
                </c:pt>
                <c:pt idx="3576">
                  <c:v>42738</c:v>
                </c:pt>
                <c:pt idx="3577">
                  <c:v>42739</c:v>
                </c:pt>
                <c:pt idx="3578">
                  <c:v>42740</c:v>
                </c:pt>
                <c:pt idx="3579">
                  <c:v>42741</c:v>
                </c:pt>
                <c:pt idx="3580">
                  <c:v>42744</c:v>
                </c:pt>
                <c:pt idx="3581">
                  <c:v>42745</c:v>
                </c:pt>
                <c:pt idx="3582">
                  <c:v>42746</c:v>
                </c:pt>
                <c:pt idx="3583">
                  <c:v>42747</c:v>
                </c:pt>
                <c:pt idx="3584">
                  <c:v>42748</c:v>
                </c:pt>
                <c:pt idx="3585">
                  <c:v>42751</c:v>
                </c:pt>
                <c:pt idx="3586">
                  <c:v>42752</c:v>
                </c:pt>
                <c:pt idx="3587">
                  <c:v>42753</c:v>
                </c:pt>
                <c:pt idx="3588">
                  <c:v>42754</c:v>
                </c:pt>
                <c:pt idx="3589">
                  <c:v>42755</c:v>
                </c:pt>
                <c:pt idx="3590">
                  <c:v>42758</c:v>
                </c:pt>
                <c:pt idx="3591">
                  <c:v>42759</c:v>
                </c:pt>
                <c:pt idx="3592">
                  <c:v>42760</c:v>
                </c:pt>
                <c:pt idx="3593">
                  <c:v>42761</c:v>
                </c:pt>
                <c:pt idx="3594">
                  <c:v>42769</c:v>
                </c:pt>
                <c:pt idx="3595">
                  <c:v>42772</c:v>
                </c:pt>
                <c:pt idx="3596">
                  <c:v>42773</c:v>
                </c:pt>
                <c:pt idx="3597">
                  <c:v>42774</c:v>
                </c:pt>
                <c:pt idx="3598">
                  <c:v>42775</c:v>
                </c:pt>
                <c:pt idx="3599">
                  <c:v>42776</c:v>
                </c:pt>
                <c:pt idx="3600">
                  <c:v>42779</c:v>
                </c:pt>
                <c:pt idx="3601">
                  <c:v>42780</c:v>
                </c:pt>
                <c:pt idx="3602">
                  <c:v>42781</c:v>
                </c:pt>
                <c:pt idx="3603">
                  <c:v>42782</c:v>
                </c:pt>
                <c:pt idx="3604">
                  <c:v>42783</c:v>
                </c:pt>
                <c:pt idx="3605">
                  <c:v>42786</c:v>
                </c:pt>
                <c:pt idx="3606">
                  <c:v>42787</c:v>
                </c:pt>
                <c:pt idx="3607">
                  <c:v>42788</c:v>
                </c:pt>
                <c:pt idx="3608">
                  <c:v>42789</c:v>
                </c:pt>
                <c:pt idx="3609">
                  <c:v>42790</c:v>
                </c:pt>
                <c:pt idx="3610">
                  <c:v>42793</c:v>
                </c:pt>
                <c:pt idx="3611">
                  <c:v>42794</c:v>
                </c:pt>
                <c:pt idx="3612">
                  <c:v>42795</c:v>
                </c:pt>
                <c:pt idx="3613">
                  <c:v>42796</c:v>
                </c:pt>
                <c:pt idx="3614">
                  <c:v>42797</c:v>
                </c:pt>
                <c:pt idx="3615">
                  <c:v>42800</c:v>
                </c:pt>
                <c:pt idx="3616">
                  <c:v>42801</c:v>
                </c:pt>
                <c:pt idx="3617">
                  <c:v>42802</c:v>
                </c:pt>
                <c:pt idx="3618">
                  <c:v>42803</c:v>
                </c:pt>
                <c:pt idx="3619">
                  <c:v>42804</c:v>
                </c:pt>
                <c:pt idx="3620">
                  <c:v>42807</c:v>
                </c:pt>
                <c:pt idx="3621">
                  <c:v>42808</c:v>
                </c:pt>
                <c:pt idx="3622">
                  <c:v>42809</c:v>
                </c:pt>
                <c:pt idx="3623">
                  <c:v>42810</c:v>
                </c:pt>
                <c:pt idx="3624">
                  <c:v>42811</c:v>
                </c:pt>
                <c:pt idx="3625">
                  <c:v>42814</c:v>
                </c:pt>
                <c:pt idx="3626">
                  <c:v>42815</c:v>
                </c:pt>
                <c:pt idx="3627">
                  <c:v>42816</c:v>
                </c:pt>
                <c:pt idx="3628">
                  <c:v>42817</c:v>
                </c:pt>
                <c:pt idx="3629">
                  <c:v>42818</c:v>
                </c:pt>
                <c:pt idx="3630">
                  <c:v>42821</c:v>
                </c:pt>
                <c:pt idx="3631">
                  <c:v>42822</c:v>
                </c:pt>
                <c:pt idx="3632">
                  <c:v>42823</c:v>
                </c:pt>
                <c:pt idx="3633">
                  <c:v>42824</c:v>
                </c:pt>
                <c:pt idx="3634">
                  <c:v>42825</c:v>
                </c:pt>
                <c:pt idx="3635">
                  <c:v>42830</c:v>
                </c:pt>
                <c:pt idx="3636">
                  <c:v>42831</c:v>
                </c:pt>
                <c:pt idx="3637">
                  <c:v>42832</c:v>
                </c:pt>
                <c:pt idx="3638">
                  <c:v>42835</c:v>
                </c:pt>
                <c:pt idx="3639">
                  <c:v>42836</c:v>
                </c:pt>
                <c:pt idx="3640">
                  <c:v>42837</c:v>
                </c:pt>
                <c:pt idx="3641">
                  <c:v>42838</c:v>
                </c:pt>
                <c:pt idx="3642">
                  <c:v>42839</c:v>
                </c:pt>
                <c:pt idx="3643">
                  <c:v>42842</c:v>
                </c:pt>
                <c:pt idx="3644">
                  <c:v>42843</c:v>
                </c:pt>
                <c:pt idx="3645">
                  <c:v>42844</c:v>
                </c:pt>
                <c:pt idx="3646">
                  <c:v>42845</c:v>
                </c:pt>
                <c:pt idx="3647">
                  <c:v>42846</c:v>
                </c:pt>
                <c:pt idx="3648">
                  <c:v>42849</c:v>
                </c:pt>
                <c:pt idx="3649">
                  <c:v>42850</c:v>
                </c:pt>
                <c:pt idx="3650">
                  <c:v>42851</c:v>
                </c:pt>
                <c:pt idx="3651">
                  <c:v>42852</c:v>
                </c:pt>
                <c:pt idx="3652">
                  <c:v>42853</c:v>
                </c:pt>
                <c:pt idx="3653">
                  <c:v>42857</c:v>
                </c:pt>
                <c:pt idx="3654">
                  <c:v>42858</c:v>
                </c:pt>
                <c:pt idx="3655">
                  <c:v>42859</c:v>
                </c:pt>
                <c:pt idx="3656">
                  <c:v>42860</c:v>
                </c:pt>
                <c:pt idx="3657">
                  <c:v>42863</c:v>
                </c:pt>
                <c:pt idx="3658">
                  <c:v>42864</c:v>
                </c:pt>
                <c:pt idx="3659">
                  <c:v>42865</c:v>
                </c:pt>
                <c:pt idx="3660">
                  <c:v>42866</c:v>
                </c:pt>
                <c:pt idx="3661">
                  <c:v>42867</c:v>
                </c:pt>
                <c:pt idx="3662">
                  <c:v>42870</c:v>
                </c:pt>
                <c:pt idx="3663">
                  <c:v>42871</c:v>
                </c:pt>
                <c:pt idx="3664">
                  <c:v>42872</c:v>
                </c:pt>
                <c:pt idx="3665">
                  <c:v>42873</c:v>
                </c:pt>
                <c:pt idx="3666">
                  <c:v>42874</c:v>
                </c:pt>
                <c:pt idx="3667">
                  <c:v>42877</c:v>
                </c:pt>
                <c:pt idx="3668">
                  <c:v>42878</c:v>
                </c:pt>
                <c:pt idx="3669">
                  <c:v>42879</c:v>
                </c:pt>
                <c:pt idx="3670">
                  <c:v>42880</c:v>
                </c:pt>
                <c:pt idx="3671">
                  <c:v>42881</c:v>
                </c:pt>
                <c:pt idx="3672">
                  <c:v>42886</c:v>
                </c:pt>
                <c:pt idx="3673">
                  <c:v>42887</c:v>
                </c:pt>
                <c:pt idx="3674">
                  <c:v>42888</c:v>
                </c:pt>
                <c:pt idx="3675">
                  <c:v>42891</c:v>
                </c:pt>
                <c:pt idx="3676">
                  <c:v>42892</c:v>
                </c:pt>
                <c:pt idx="3677">
                  <c:v>42893</c:v>
                </c:pt>
                <c:pt idx="3678">
                  <c:v>42894</c:v>
                </c:pt>
                <c:pt idx="3679">
                  <c:v>42895</c:v>
                </c:pt>
                <c:pt idx="3680">
                  <c:v>42898</c:v>
                </c:pt>
                <c:pt idx="3681">
                  <c:v>42899</c:v>
                </c:pt>
                <c:pt idx="3682">
                  <c:v>42900</c:v>
                </c:pt>
                <c:pt idx="3683">
                  <c:v>42901</c:v>
                </c:pt>
                <c:pt idx="3684">
                  <c:v>42902</c:v>
                </c:pt>
                <c:pt idx="3685">
                  <c:v>42905</c:v>
                </c:pt>
                <c:pt idx="3686">
                  <c:v>42906</c:v>
                </c:pt>
                <c:pt idx="3687">
                  <c:v>42907</c:v>
                </c:pt>
                <c:pt idx="3688">
                  <c:v>42908</c:v>
                </c:pt>
                <c:pt idx="3689">
                  <c:v>42909</c:v>
                </c:pt>
                <c:pt idx="3690">
                  <c:v>42912</c:v>
                </c:pt>
                <c:pt idx="3691">
                  <c:v>42913</c:v>
                </c:pt>
                <c:pt idx="3692">
                  <c:v>42914</c:v>
                </c:pt>
                <c:pt idx="3693">
                  <c:v>42915</c:v>
                </c:pt>
                <c:pt idx="3694">
                  <c:v>42916</c:v>
                </c:pt>
                <c:pt idx="3695">
                  <c:v>42919</c:v>
                </c:pt>
                <c:pt idx="3696">
                  <c:v>42920</c:v>
                </c:pt>
                <c:pt idx="3697">
                  <c:v>42921</c:v>
                </c:pt>
                <c:pt idx="3698">
                  <c:v>42922</c:v>
                </c:pt>
                <c:pt idx="3699">
                  <c:v>42923</c:v>
                </c:pt>
                <c:pt idx="3700">
                  <c:v>42926</c:v>
                </c:pt>
                <c:pt idx="3701">
                  <c:v>42927</c:v>
                </c:pt>
                <c:pt idx="3702">
                  <c:v>42928</c:v>
                </c:pt>
                <c:pt idx="3703">
                  <c:v>42929</c:v>
                </c:pt>
                <c:pt idx="3704">
                  <c:v>42930</c:v>
                </c:pt>
                <c:pt idx="3705">
                  <c:v>42933</c:v>
                </c:pt>
                <c:pt idx="3706">
                  <c:v>42934</c:v>
                </c:pt>
                <c:pt idx="3707">
                  <c:v>42935</c:v>
                </c:pt>
                <c:pt idx="3708">
                  <c:v>42936</c:v>
                </c:pt>
                <c:pt idx="3709">
                  <c:v>42937</c:v>
                </c:pt>
                <c:pt idx="3710">
                  <c:v>42940</c:v>
                </c:pt>
                <c:pt idx="3711">
                  <c:v>42941</c:v>
                </c:pt>
                <c:pt idx="3712">
                  <c:v>42942</c:v>
                </c:pt>
                <c:pt idx="3713">
                  <c:v>42943</c:v>
                </c:pt>
                <c:pt idx="3714">
                  <c:v>42944</c:v>
                </c:pt>
                <c:pt idx="3715">
                  <c:v>42947</c:v>
                </c:pt>
                <c:pt idx="3716">
                  <c:v>42948</c:v>
                </c:pt>
                <c:pt idx="3717">
                  <c:v>42949</c:v>
                </c:pt>
                <c:pt idx="3718">
                  <c:v>42950</c:v>
                </c:pt>
                <c:pt idx="3719">
                  <c:v>42951</c:v>
                </c:pt>
                <c:pt idx="3720">
                  <c:v>42954</c:v>
                </c:pt>
                <c:pt idx="3721">
                  <c:v>42955</c:v>
                </c:pt>
                <c:pt idx="3722">
                  <c:v>42956</c:v>
                </c:pt>
                <c:pt idx="3723">
                  <c:v>42957</c:v>
                </c:pt>
                <c:pt idx="3724">
                  <c:v>42958</c:v>
                </c:pt>
                <c:pt idx="3725">
                  <c:v>42961</c:v>
                </c:pt>
                <c:pt idx="3726">
                  <c:v>42962</c:v>
                </c:pt>
                <c:pt idx="3727">
                  <c:v>42963</c:v>
                </c:pt>
                <c:pt idx="3728">
                  <c:v>42964</c:v>
                </c:pt>
                <c:pt idx="3729">
                  <c:v>42965</c:v>
                </c:pt>
                <c:pt idx="3730">
                  <c:v>42968</c:v>
                </c:pt>
                <c:pt idx="3731">
                  <c:v>42969</c:v>
                </c:pt>
                <c:pt idx="3732">
                  <c:v>42970</c:v>
                </c:pt>
                <c:pt idx="3733">
                  <c:v>42971</c:v>
                </c:pt>
                <c:pt idx="3734">
                  <c:v>42972</c:v>
                </c:pt>
                <c:pt idx="3735">
                  <c:v>42975</c:v>
                </c:pt>
                <c:pt idx="3736">
                  <c:v>42976</c:v>
                </c:pt>
                <c:pt idx="3737">
                  <c:v>42977</c:v>
                </c:pt>
                <c:pt idx="3738">
                  <c:v>42978</c:v>
                </c:pt>
                <c:pt idx="3739">
                  <c:v>42979</c:v>
                </c:pt>
                <c:pt idx="3740">
                  <c:v>42982</c:v>
                </c:pt>
                <c:pt idx="3741">
                  <c:v>42983</c:v>
                </c:pt>
                <c:pt idx="3742">
                  <c:v>42984</c:v>
                </c:pt>
                <c:pt idx="3743">
                  <c:v>42985</c:v>
                </c:pt>
                <c:pt idx="3744">
                  <c:v>42986</c:v>
                </c:pt>
                <c:pt idx="3745">
                  <c:v>42989</c:v>
                </c:pt>
                <c:pt idx="3746">
                  <c:v>42990</c:v>
                </c:pt>
                <c:pt idx="3747">
                  <c:v>42991</c:v>
                </c:pt>
                <c:pt idx="3748">
                  <c:v>42992</c:v>
                </c:pt>
                <c:pt idx="3749">
                  <c:v>42993</c:v>
                </c:pt>
                <c:pt idx="3750">
                  <c:v>42996</c:v>
                </c:pt>
                <c:pt idx="3751">
                  <c:v>42997</c:v>
                </c:pt>
                <c:pt idx="3752">
                  <c:v>42998</c:v>
                </c:pt>
                <c:pt idx="3753">
                  <c:v>42999</c:v>
                </c:pt>
                <c:pt idx="3754">
                  <c:v>43000</c:v>
                </c:pt>
                <c:pt idx="3755">
                  <c:v>43003</c:v>
                </c:pt>
                <c:pt idx="3756">
                  <c:v>43004</c:v>
                </c:pt>
                <c:pt idx="3757">
                  <c:v>43005</c:v>
                </c:pt>
                <c:pt idx="3758">
                  <c:v>43006</c:v>
                </c:pt>
                <c:pt idx="3759">
                  <c:v>43007</c:v>
                </c:pt>
                <c:pt idx="3760">
                  <c:v>43017</c:v>
                </c:pt>
                <c:pt idx="3761">
                  <c:v>43018</c:v>
                </c:pt>
                <c:pt idx="3762">
                  <c:v>43019</c:v>
                </c:pt>
                <c:pt idx="3763">
                  <c:v>43020</c:v>
                </c:pt>
                <c:pt idx="3764">
                  <c:v>43021</c:v>
                </c:pt>
                <c:pt idx="3765">
                  <c:v>43024</c:v>
                </c:pt>
                <c:pt idx="3766">
                  <c:v>43025</c:v>
                </c:pt>
                <c:pt idx="3767">
                  <c:v>43026</c:v>
                </c:pt>
                <c:pt idx="3768">
                  <c:v>43027</c:v>
                </c:pt>
                <c:pt idx="3769">
                  <c:v>43028</c:v>
                </c:pt>
                <c:pt idx="3770">
                  <c:v>43031</c:v>
                </c:pt>
                <c:pt idx="3771">
                  <c:v>43032</c:v>
                </c:pt>
                <c:pt idx="3772">
                  <c:v>43033</c:v>
                </c:pt>
                <c:pt idx="3773">
                  <c:v>43034</c:v>
                </c:pt>
                <c:pt idx="3774">
                  <c:v>43035</c:v>
                </c:pt>
                <c:pt idx="3775">
                  <c:v>43038</c:v>
                </c:pt>
                <c:pt idx="3776">
                  <c:v>43039</c:v>
                </c:pt>
                <c:pt idx="3777">
                  <c:v>43040</c:v>
                </c:pt>
                <c:pt idx="3778">
                  <c:v>43041</c:v>
                </c:pt>
                <c:pt idx="3779">
                  <c:v>43042</c:v>
                </c:pt>
                <c:pt idx="3780">
                  <c:v>43045</c:v>
                </c:pt>
                <c:pt idx="3781">
                  <c:v>43046</c:v>
                </c:pt>
                <c:pt idx="3782">
                  <c:v>43047</c:v>
                </c:pt>
                <c:pt idx="3783">
                  <c:v>43048</c:v>
                </c:pt>
                <c:pt idx="3784">
                  <c:v>43049</c:v>
                </c:pt>
                <c:pt idx="3785">
                  <c:v>43052</c:v>
                </c:pt>
                <c:pt idx="3786">
                  <c:v>43053</c:v>
                </c:pt>
                <c:pt idx="3787">
                  <c:v>43054</c:v>
                </c:pt>
                <c:pt idx="3788">
                  <c:v>43055</c:v>
                </c:pt>
                <c:pt idx="3789">
                  <c:v>43056</c:v>
                </c:pt>
                <c:pt idx="3790">
                  <c:v>43059</c:v>
                </c:pt>
                <c:pt idx="3791">
                  <c:v>43060</c:v>
                </c:pt>
                <c:pt idx="3792">
                  <c:v>43061</c:v>
                </c:pt>
                <c:pt idx="3793">
                  <c:v>43062</c:v>
                </c:pt>
                <c:pt idx="3794">
                  <c:v>43063</c:v>
                </c:pt>
                <c:pt idx="3795">
                  <c:v>43066</c:v>
                </c:pt>
                <c:pt idx="3796">
                  <c:v>43067</c:v>
                </c:pt>
                <c:pt idx="3797">
                  <c:v>43068</c:v>
                </c:pt>
                <c:pt idx="3798">
                  <c:v>43069</c:v>
                </c:pt>
                <c:pt idx="3799">
                  <c:v>43070</c:v>
                </c:pt>
                <c:pt idx="3800">
                  <c:v>43073</c:v>
                </c:pt>
                <c:pt idx="3801">
                  <c:v>43074</c:v>
                </c:pt>
                <c:pt idx="3802">
                  <c:v>43075</c:v>
                </c:pt>
                <c:pt idx="3803">
                  <c:v>43076</c:v>
                </c:pt>
                <c:pt idx="3804">
                  <c:v>43077</c:v>
                </c:pt>
                <c:pt idx="3805">
                  <c:v>43080</c:v>
                </c:pt>
                <c:pt idx="3806">
                  <c:v>43081</c:v>
                </c:pt>
                <c:pt idx="3807">
                  <c:v>43082</c:v>
                </c:pt>
                <c:pt idx="3808">
                  <c:v>43083</c:v>
                </c:pt>
                <c:pt idx="3809">
                  <c:v>43084</c:v>
                </c:pt>
                <c:pt idx="3810">
                  <c:v>43087</c:v>
                </c:pt>
                <c:pt idx="3811">
                  <c:v>43088</c:v>
                </c:pt>
                <c:pt idx="3812">
                  <c:v>43089</c:v>
                </c:pt>
                <c:pt idx="3813">
                  <c:v>43090</c:v>
                </c:pt>
                <c:pt idx="3814">
                  <c:v>43091</c:v>
                </c:pt>
                <c:pt idx="3815">
                  <c:v>43094</c:v>
                </c:pt>
                <c:pt idx="3816">
                  <c:v>43095</c:v>
                </c:pt>
                <c:pt idx="3817">
                  <c:v>43096</c:v>
                </c:pt>
                <c:pt idx="3818">
                  <c:v>43097</c:v>
                </c:pt>
                <c:pt idx="3819">
                  <c:v>43098</c:v>
                </c:pt>
                <c:pt idx="3820">
                  <c:v>43102</c:v>
                </c:pt>
                <c:pt idx="3821">
                  <c:v>43103</c:v>
                </c:pt>
                <c:pt idx="3822">
                  <c:v>43104</c:v>
                </c:pt>
                <c:pt idx="3823">
                  <c:v>43105</c:v>
                </c:pt>
                <c:pt idx="3824">
                  <c:v>43108</c:v>
                </c:pt>
                <c:pt idx="3825">
                  <c:v>43109</c:v>
                </c:pt>
                <c:pt idx="3826">
                  <c:v>43110</c:v>
                </c:pt>
                <c:pt idx="3827">
                  <c:v>43111</c:v>
                </c:pt>
                <c:pt idx="3828">
                  <c:v>43112</c:v>
                </c:pt>
                <c:pt idx="3829">
                  <c:v>43115</c:v>
                </c:pt>
                <c:pt idx="3830">
                  <c:v>43116</c:v>
                </c:pt>
                <c:pt idx="3831">
                  <c:v>43117</c:v>
                </c:pt>
                <c:pt idx="3832">
                  <c:v>43118</c:v>
                </c:pt>
                <c:pt idx="3833">
                  <c:v>43119</c:v>
                </c:pt>
                <c:pt idx="3834">
                  <c:v>43122</c:v>
                </c:pt>
                <c:pt idx="3835">
                  <c:v>43123</c:v>
                </c:pt>
                <c:pt idx="3836">
                  <c:v>43124</c:v>
                </c:pt>
                <c:pt idx="3837">
                  <c:v>43125</c:v>
                </c:pt>
                <c:pt idx="3838">
                  <c:v>43126</c:v>
                </c:pt>
                <c:pt idx="3839">
                  <c:v>43129</c:v>
                </c:pt>
                <c:pt idx="3840">
                  <c:v>43130</c:v>
                </c:pt>
                <c:pt idx="3841">
                  <c:v>43131</c:v>
                </c:pt>
                <c:pt idx="3842">
                  <c:v>43132</c:v>
                </c:pt>
                <c:pt idx="3843">
                  <c:v>43133</c:v>
                </c:pt>
                <c:pt idx="3844">
                  <c:v>43136</c:v>
                </c:pt>
                <c:pt idx="3845">
                  <c:v>43137</c:v>
                </c:pt>
                <c:pt idx="3846">
                  <c:v>43138</c:v>
                </c:pt>
                <c:pt idx="3847">
                  <c:v>43139</c:v>
                </c:pt>
                <c:pt idx="3848">
                  <c:v>43140</c:v>
                </c:pt>
                <c:pt idx="3849">
                  <c:v>43143</c:v>
                </c:pt>
                <c:pt idx="3850">
                  <c:v>43144</c:v>
                </c:pt>
                <c:pt idx="3851">
                  <c:v>43145</c:v>
                </c:pt>
                <c:pt idx="3852">
                  <c:v>43153</c:v>
                </c:pt>
                <c:pt idx="3853">
                  <c:v>43154</c:v>
                </c:pt>
                <c:pt idx="3854">
                  <c:v>43157</c:v>
                </c:pt>
                <c:pt idx="3855">
                  <c:v>43158</c:v>
                </c:pt>
                <c:pt idx="3856">
                  <c:v>43159</c:v>
                </c:pt>
                <c:pt idx="3857">
                  <c:v>43160</c:v>
                </c:pt>
                <c:pt idx="3858">
                  <c:v>43161</c:v>
                </c:pt>
                <c:pt idx="3859">
                  <c:v>43164</c:v>
                </c:pt>
                <c:pt idx="3860">
                  <c:v>43165</c:v>
                </c:pt>
                <c:pt idx="3861">
                  <c:v>43166</c:v>
                </c:pt>
                <c:pt idx="3862">
                  <c:v>43167</c:v>
                </c:pt>
                <c:pt idx="3863">
                  <c:v>43168</c:v>
                </c:pt>
                <c:pt idx="3864">
                  <c:v>43171</c:v>
                </c:pt>
                <c:pt idx="3865">
                  <c:v>43172</c:v>
                </c:pt>
                <c:pt idx="3866">
                  <c:v>43173</c:v>
                </c:pt>
                <c:pt idx="3867">
                  <c:v>43174</c:v>
                </c:pt>
                <c:pt idx="3868">
                  <c:v>43175</c:v>
                </c:pt>
                <c:pt idx="3869">
                  <c:v>43178</c:v>
                </c:pt>
                <c:pt idx="3870">
                  <c:v>43179</c:v>
                </c:pt>
                <c:pt idx="3871">
                  <c:v>43180</c:v>
                </c:pt>
                <c:pt idx="3872">
                  <c:v>43181</c:v>
                </c:pt>
                <c:pt idx="3873">
                  <c:v>43182</c:v>
                </c:pt>
                <c:pt idx="3874">
                  <c:v>43185</c:v>
                </c:pt>
                <c:pt idx="3875">
                  <c:v>43186</c:v>
                </c:pt>
                <c:pt idx="3876">
                  <c:v>43187</c:v>
                </c:pt>
                <c:pt idx="3877">
                  <c:v>43188</c:v>
                </c:pt>
                <c:pt idx="3878">
                  <c:v>43189</c:v>
                </c:pt>
                <c:pt idx="3879">
                  <c:v>43192</c:v>
                </c:pt>
                <c:pt idx="3880">
                  <c:v>43193</c:v>
                </c:pt>
                <c:pt idx="3881">
                  <c:v>43194</c:v>
                </c:pt>
                <c:pt idx="3882">
                  <c:v>43199</c:v>
                </c:pt>
                <c:pt idx="3883">
                  <c:v>43200</c:v>
                </c:pt>
                <c:pt idx="3884">
                  <c:v>43201</c:v>
                </c:pt>
                <c:pt idx="3885">
                  <c:v>43202</c:v>
                </c:pt>
                <c:pt idx="3886">
                  <c:v>43203</c:v>
                </c:pt>
                <c:pt idx="3887">
                  <c:v>43206</c:v>
                </c:pt>
                <c:pt idx="3888">
                  <c:v>43207</c:v>
                </c:pt>
                <c:pt idx="3889">
                  <c:v>43208</c:v>
                </c:pt>
                <c:pt idx="3890">
                  <c:v>43209</c:v>
                </c:pt>
                <c:pt idx="3891">
                  <c:v>43210</c:v>
                </c:pt>
                <c:pt idx="3892">
                  <c:v>43213</c:v>
                </c:pt>
                <c:pt idx="3893">
                  <c:v>43214</c:v>
                </c:pt>
                <c:pt idx="3894">
                  <c:v>43215</c:v>
                </c:pt>
                <c:pt idx="3895">
                  <c:v>43216</c:v>
                </c:pt>
                <c:pt idx="3896">
                  <c:v>43217</c:v>
                </c:pt>
                <c:pt idx="3897">
                  <c:v>43222</c:v>
                </c:pt>
                <c:pt idx="3898">
                  <c:v>43223</c:v>
                </c:pt>
                <c:pt idx="3899">
                  <c:v>43224</c:v>
                </c:pt>
                <c:pt idx="3900">
                  <c:v>43227</c:v>
                </c:pt>
                <c:pt idx="3901">
                  <c:v>43228</c:v>
                </c:pt>
                <c:pt idx="3902">
                  <c:v>43229</c:v>
                </c:pt>
                <c:pt idx="3903">
                  <c:v>43230</c:v>
                </c:pt>
                <c:pt idx="3904">
                  <c:v>43231</c:v>
                </c:pt>
                <c:pt idx="3905">
                  <c:v>43234</c:v>
                </c:pt>
                <c:pt idx="3906">
                  <c:v>43235</c:v>
                </c:pt>
                <c:pt idx="3907">
                  <c:v>43236</c:v>
                </c:pt>
                <c:pt idx="3908">
                  <c:v>43237</c:v>
                </c:pt>
                <c:pt idx="3909">
                  <c:v>43238</c:v>
                </c:pt>
                <c:pt idx="3910">
                  <c:v>43241</c:v>
                </c:pt>
                <c:pt idx="3911">
                  <c:v>43242</c:v>
                </c:pt>
                <c:pt idx="3912">
                  <c:v>43243</c:v>
                </c:pt>
                <c:pt idx="3913">
                  <c:v>43244</c:v>
                </c:pt>
                <c:pt idx="3914">
                  <c:v>43245</c:v>
                </c:pt>
                <c:pt idx="3915">
                  <c:v>43248</c:v>
                </c:pt>
                <c:pt idx="3916">
                  <c:v>43249</c:v>
                </c:pt>
                <c:pt idx="3917">
                  <c:v>43250</c:v>
                </c:pt>
                <c:pt idx="3918">
                  <c:v>43251</c:v>
                </c:pt>
                <c:pt idx="3919">
                  <c:v>43252</c:v>
                </c:pt>
                <c:pt idx="3920">
                  <c:v>43255</c:v>
                </c:pt>
                <c:pt idx="3921">
                  <c:v>43256</c:v>
                </c:pt>
                <c:pt idx="3922">
                  <c:v>43257</c:v>
                </c:pt>
                <c:pt idx="3923">
                  <c:v>43258</c:v>
                </c:pt>
                <c:pt idx="3924">
                  <c:v>43259</c:v>
                </c:pt>
                <c:pt idx="3925">
                  <c:v>43262</c:v>
                </c:pt>
                <c:pt idx="3926">
                  <c:v>43263</c:v>
                </c:pt>
                <c:pt idx="3927">
                  <c:v>43264</c:v>
                </c:pt>
                <c:pt idx="3928">
                  <c:v>43265</c:v>
                </c:pt>
                <c:pt idx="3929">
                  <c:v>43266</c:v>
                </c:pt>
                <c:pt idx="3930">
                  <c:v>43270</c:v>
                </c:pt>
                <c:pt idx="3931">
                  <c:v>43271</c:v>
                </c:pt>
                <c:pt idx="3932">
                  <c:v>43272</c:v>
                </c:pt>
                <c:pt idx="3933">
                  <c:v>43273</c:v>
                </c:pt>
                <c:pt idx="3934">
                  <c:v>43276</c:v>
                </c:pt>
                <c:pt idx="3935">
                  <c:v>43277</c:v>
                </c:pt>
                <c:pt idx="3936">
                  <c:v>43278</c:v>
                </c:pt>
                <c:pt idx="3937">
                  <c:v>43279</c:v>
                </c:pt>
                <c:pt idx="3938">
                  <c:v>43280</c:v>
                </c:pt>
                <c:pt idx="3939">
                  <c:v>43283</c:v>
                </c:pt>
                <c:pt idx="3940">
                  <c:v>43284</c:v>
                </c:pt>
                <c:pt idx="3941">
                  <c:v>43285</c:v>
                </c:pt>
                <c:pt idx="3942">
                  <c:v>43286</c:v>
                </c:pt>
                <c:pt idx="3943">
                  <c:v>43287</c:v>
                </c:pt>
                <c:pt idx="3944">
                  <c:v>43290</c:v>
                </c:pt>
                <c:pt idx="3945">
                  <c:v>43291</c:v>
                </c:pt>
                <c:pt idx="3946">
                  <c:v>43292</c:v>
                </c:pt>
                <c:pt idx="3947">
                  <c:v>43293</c:v>
                </c:pt>
                <c:pt idx="3948">
                  <c:v>43294</c:v>
                </c:pt>
                <c:pt idx="3949">
                  <c:v>43297</c:v>
                </c:pt>
                <c:pt idx="3950">
                  <c:v>43298</c:v>
                </c:pt>
                <c:pt idx="3951">
                  <c:v>43299</c:v>
                </c:pt>
                <c:pt idx="3952">
                  <c:v>43300</c:v>
                </c:pt>
                <c:pt idx="3953">
                  <c:v>43301</c:v>
                </c:pt>
                <c:pt idx="3954">
                  <c:v>43304</c:v>
                </c:pt>
                <c:pt idx="3955">
                  <c:v>43305</c:v>
                </c:pt>
                <c:pt idx="3956">
                  <c:v>43306</c:v>
                </c:pt>
                <c:pt idx="3957">
                  <c:v>43307</c:v>
                </c:pt>
                <c:pt idx="3958">
                  <c:v>43308</c:v>
                </c:pt>
                <c:pt idx="3959">
                  <c:v>43311</c:v>
                </c:pt>
                <c:pt idx="3960">
                  <c:v>43312</c:v>
                </c:pt>
                <c:pt idx="3961">
                  <c:v>43313</c:v>
                </c:pt>
                <c:pt idx="3962">
                  <c:v>43314</c:v>
                </c:pt>
                <c:pt idx="3963">
                  <c:v>43315</c:v>
                </c:pt>
                <c:pt idx="3964">
                  <c:v>43318</c:v>
                </c:pt>
                <c:pt idx="3965">
                  <c:v>43319</c:v>
                </c:pt>
                <c:pt idx="3966">
                  <c:v>43320</c:v>
                </c:pt>
                <c:pt idx="3967">
                  <c:v>43321</c:v>
                </c:pt>
                <c:pt idx="3968">
                  <c:v>43322</c:v>
                </c:pt>
                <c:pt idx="3969">
                  <c:v>43325</c:v>
                </c:pt>
                <c:pt idx="3970">
                  <c:v>43326</c:v>
                </c:pt>
                <c:pt idx="3971">
                  <c:v>43327</c:v>
                </c:pt>
                <c:pt idx="3972">
                  <c:v>43328</c:v>
                </c:pt>
                <c:pt idx="3973">
                  <c:v>43329</c:v>
                </c:pt>
                <c:pt idx="3974">
                  <c:v>43332</c:v>
                </c:pt>
                <c:pt idx="3975">
                  <c:v>43333</c:v>
                </c:pt>
                <c:pt idx="3976">
                  <c:v>43334</c:v>
                </c:pt>
                <c:pt idx="3977">
                  <c:v>43335</c:v>
                </c:pt>
                <c:pt idx="3978">
                  <c:v>43336</c:v>
                </c:pt>
                <c:pt idx="3979">
                  <c:v>43339</c:v>
                </c:pt>
                <c:pt idx="3980">
                  <c:v>43340</c:v>
                </c:pt>
                <c:pt idx="3981">
                  <c:v>43341</c:v>
                </c:pt>
                <c:pt idx="3982">
                  <c:v>43342</c:v>
                </c:pt>
                <c:pt idx="3983">
                  <c:v>43343</c:v>
                </c:pt>
                <c:pt idx="3984">
                  <c:v>43346</c:v>
                </c:pt>
                <c:pt idx="3985">
                  <c:v>43347</c:v>
                </c:pt>
                <c:pt idx="3986">
                  <c:v>43348</c:v>
                </c:pt>
                <c:pt idx="3987">
                  <c:v>43349</c:v>
                </c:pt>
                <c:pt idx="3988">
                  <c:v>43350</c:v>
                </c:pt>
                <c:pt idx="3989">
                  <c:v>43353</c:v>
                </c:pt>
                <c:pt idx="3990">
                  <c:v>43354</c:v>
                </c:pt>
                <c:pt idx="3991">
                  <c:v>43355</c:v>
                </c:pt>
                <c:pt idx="3992">
                  <c:v>43356</c:v>
                </c:pt>
                <c:pt idx="3993">
                  <c:v>43357</c:v>
                </c:pt>
                <c:pt idx="3994">
                  <c:v>43360</c:v>
                </c:pt>
                <c:pt idx="3995">
                  <c:v>43361</c:v>
                </c:pt>
                <c:pt idx="3996">
                  <c:v>43362</c:v>
                </c:pt>
                <c:pt idx="3997">
                  <c:v>43363</c:v>
                </c:pt>
                <c:pt idx="3998">
                  <c:v>43364</c:v>
                </c:pt>
                <c:pt idx="3999">
                  <c:v>43368</c:v>
                </c:pt>
                <c:pt idx="4000">
                  <c:v>43369</c:v>
                </c:pt>
                <c:pt idx="4001">
                  <c:v>43370</c:v>
                </c:pt>
                <c:pt idx="4002">
                  <c:v>43371</c:v>
                </c:pt>
                <c:pt idx="4003">
                  <c:v>43381</c:v>
                </c:pt>
                <c:pt idx="4004">
                  <c:v>43382</c:v>
                </c:pt>
                <c:pt idx="4005">
                  <c:v>43383</c:v>
                </c:pt>
                <c:pt idx="4006">
                  <c:v>43384</c:v>
                </c:pt>
                <c:pt idx="4007">
                  <c:v>43385</c:v>
                </c:pt>
                <c:pt idx="4008">
                  <c:v>43388</c:v>
                </c:pt>
                <c:pt idx="4009">
                  <c:v>43389</c:v>
                </c:pt>
                <c:pt idx="4010">
                  <c:v>43390</c:v>
                </c:pt>
                <c:pt idx="4011">
                  <c:v>43391</c:v>
                </c:pt>
                <c:pt idx="4012">
                  <c:v>43392</c:v>
                </c:pt>
                <c:pt idx="4013">
                  <c:v>43395</c:v>
                </c:pt>
                <c:pt idx="4014">
                  <c:v>43396</c:v>
                </c:pt>
                <c:pt idx="4015">
                  <c:v>43397</c:v>
                </c:pt>
                <c:pt idx="4016">
                  <c:v>43398</c:v>
                </c:pt>
                <c:pt idx="4017">
                  <c:v>43399</c:v>
                </c:pt>
                <c:pt idx="4018">
                  <c:v>43402</c:v>
                </c:pt>
                <c:pt idx="4019">
                  <c:v>43403</c:v>
                </c:pt>
                <c:pt idx="4020">
                  <c:v>43404</c:v>
                </c:pt>
                <c:pt idx="4021">
                  <c:v>43405</c:v>
                </c:pt>
                <c:pt idx="4022">
                  <c:v>43406</c:v>
                </c:pt>
                <c:pt idx="4023">
                  <c:v>43409</c:v>
                </c:pt>
                <c:pt idx="4024">
                  <c:v>43410</c:v>
                </c:pt>
                <c:pt idx="4025">
                  <c:v>43411</c:v>
                </c:pt>
                <c:pt idx="4026">
                  <c:v>43412</c:v>
                </c:pt>
                <c:pt idx="4027">
                  <c:v>43413</c:v>
                </c:pt>
                <c:pt idx="4028">
                  <c:v>43416</c:v>
                </c:pt>
                <c:pt idx="4029">
                  <c:v>43417</c:v>
                </c:pt>
                <c:pt idx="4030">
                  <c:v>43418</c:v>
                </c:pt>
                <c:pt idx="4031">
                  <c:v>43419</c:v>
                </c:pt>
                <c:pt idx="4032">
                  <c:v>43420</c:v>
                </c:pt>
                <c:pt idx="4033">
                  <c:v>43423</c:v>
                </c:pt>
                <c:pt idx="4034">
                  <c:v>43424</c:v>
                </c:pt>
                <c:pt idx="4035">
                  <c:v>43425</c:v>
                </c:pt>
                <c:pt idx="4036">
                  <c:v>43426</c:v>
                </c:pt>
                <c:pt idx="4037">
                  <c:v>43427</c:v>
                </c:pt>
                <c:pt idx="4038">
                  <c:v>43430</c:v>
                </c:pt>
                <c:pt idx="4039">
                  <c:v>43431</c:v>
                </c:pt>
                <c:pt idx="4040">
                  <c:v>43432</c:v>
                </c:pt>
                <c:pt idx="4041">
                  <c:v>43433</c:v>
                </c:pt>
                <c:pt idx="4042">
                  <c:v>43434</c:v>
                </c:pt>
                <c:pt idx="4043">
                  <c:v>43437</c:v>
                </c:pt>
                <c:pt idx="4044">
                  <c:v>43438</c:v>
                </c:pt>
                <c:pt idx="4045">
                  <c:v>43439</c:v>
                </c:pt>
                <c:pt idx="4046">
                  <c:v>43440</c:v>
                </c:pt>
                <c:pt idx="4047">
                  <c:v>43441</c:v>
                </c:pt>
                <c:pt idx="4048">
                  <c:v>43444</c:v>
                </c:pt>
                <c:pt idx="4049">
                  <c:v>43445</c:v>
                </c:pt>
                <c:pt idx="4050">
                  <c:v>43446</c:v>
                </c:pt>
                <c:pt idx="4051">
                  <c:v>43447</c:v>
                </c:pt>
                <c:pt idx="4052">
                  <c:v>43448</c:v>
                </c:pt>
                <c:pt idx="4053">
                  <c:v>43451</c:v>
                </c:pt>
                <c:pt idx="4054">
                  <c:v>43452</c:v>
                </c:pt>
                <c:pt idx="4055">
                  <c:v>43453</c:v>
                </c:pt>
                <c:pt idx="4056">
                  <c:v>43454</c:v>
                </c:pt>
                <c:pt idx="4057">
                  <c:v>43455</c:v>
                </c:pt>
                <c:pt idx="4058">
                  <c:v>43458</c:v>
                </c:pt>
                <c:pt idx="4059">
                  <c:v>43459</c:v>
                </c:pt>
                <c:pt idx="4060">
                  <c:v>43460</c:v>
                </c:pt>
                <c:pt idx="4061">
                  <c:v>43461</c:v>
                </c:pt>
                <c:pt idx="4062">
                  <c:v>43462</c:v>
                </c:pt>
                <c:pt idx="4063">
                  <c:v>43467</c:v>
                </c:pt>
                <c:pt idx="4064">
                  <c:v>43468</c:v>
                </c:pt>
                <c:pt idx="4065">
                  <c:v>43469</c:v>
                </c:pt>
                <c:pt idx="4066">
                  <c:v>43472</c:v>
                </c:pt>
                <c:pt idx="4067">
                  <c:v>43473</c:v>
                </c:pt>
                <c:pt idx="4068">
                  <c:v>43474</c:v>
                </c:pt>
                <c:pt idx="4069">
                  <c:v>43475</c:v>
                </c:pt>
                <c:pt idx="4070">
                  <c:v>43476</c:v>
                </c:pt>
                <c:pt idx="4071">
                  <c:v>43479</c:v>
                </c:pt>
                <c:pt idx="4072">
                  <c:v>43480</c:v>
                </c:pt>
                <c:pt idx="4073">
                  <c:v>43481</c:v>
                </c:pt>
                <c:pt idx="4074">
                  <c:v>43482</c:v>
                </c:pt>
                <c:pt idx="4075">
                  <c:v>43483</c:v>
                </c:pt>
                <c:pt idx="4076">
                  <c:v>43486</c:v>
                </c:pt>
                <c:pt idx="4077">
                  <c:v>43487</c:v>
                </c:pt>
                <c:pt idx="4078">
                  <c:v>43488</c:v>
                </c:pt>
                <c:pt idx="4079">
                  <c:v>43489</c:v>
                </c:pt>
                <c:pt idx="4080">
                  <c:v>43490</c:v>
                </c:pt>
                <c:pt idx="4081">
                  <c:v>43493</c:v>
                </c:pt>
                <c:pt idx="4082">
                  <c:v>43494</c:v>
                </c:pt>
                <c:pt idx="4083">
                  <c:v>43495</c:v>
                </c:pt>
                <c:pt idx="4084">
                  <c:v>43496</c:v>
                </c:pt>
                <c:pt idx="4085">
                  <c:v>43497</c:v>
                </c:pt>
                <c:pt idx="4086">
                  <c:v>43507</c:v>
                </c:pt>
                <c:pt idx="4087">
                  <c:v>43508</c:v>
                </c:pt>
                <c:pt idx="4088">
                  <c:v>43509</c:v>
                </c:pt>
                <c:pt idx="4089">
                  <c:v>43510</c:v>
                </c:pt>
                <c:pt idx="4090">
                  <c:v>43511</c:v>
                </c:pt>
                <c:pt idx="4091">
                  <c:v>43514</c:v>
                </c:pt>
                <c:pt idx="4092">
                  <c:v>43515</c:v>
                </c:pt>
                <c:pt idx="4093">
                  <c:v>43516</c:v>
                </c:pt>
                <c:pt idx="4094">
                  <c:v>43517</c:v>
                </c:pt>
                <c:pt idx="4095">
                  <c:v>43518</c:v>
                </c:pt>
                <c:pt idx="4096">
                  <c:v>43521</c:v>
                </c:pt>
                <c:pt idx="4097">
                  <c:v>43522</c:v>
                </c:pt>
                <c:pt idx="4098">
                  <c:v>43523</c:v>
                </c:pt>
                <c:pt idx="4099">
                  <c:v>43524</c:v>
                </c:pt>
                <c:pt idx="4100">
                  <c:v>43525</c:v>
                </c:pt>
                <c:pt idx="4101">
                  <c:v>43528</c:v>
                </c:pt>
                <c:pt idx="4102">
                  <c:v>43529</c:v>
                </c:pt>
                <c:pt idx="4103">
                  <c:v>43530</c:v>
                </c:pt>
                <c:pt idx="4104">
                  <c:v>43531</c:v>
                </c:pt>
                <c:pt idx="4105">
                  <c:v>43532</c:v>
                </c:pt>
                <c:pt idx="4106">
                  <c:v>43535</c:v>
                </c:pt>
                <c:pt idx="4107">
                  <c:v>43536</c:v>
                </c:pt>
                <c:pt idx="4108">
                  <c:v>43537</c:v>
                </c:pt>
                <c:pt idx="4109">
                  <c:v>43538</c:v>
                </c:pt>
                <c:pt idx="4110">
                  <c:v>43539</c:v>
                </c:pt>
                <c:pt idx="4111">
                  <c:v>43542</c:v>
                </c:pt>
                <c:pt idx="4112">
                  <c:v>43543</c:v>
                </c:pt>
                <c:pt idx="4113">
                  <c:v>43544</c:v>
                </c:pt>
                <c:pt idx="4114">
                  <c:v>43545</c:v>
                </c:pt>
                <c:pt idx="4115">
                  <c:v>43546</c:v>
                </c:pt>
                <c:pt idx="4116">
                  <c:v>43549</c:v>
                </c:pt>
                <c:pt idx="4117">
                  <c:v>43550</c:v>
                </c:pt>
                <c:pt idx="4118">
                  <c:v>43551</c:v>
                </c:pt>
                <c:pt idx="4119">
                  <c:v>43552</c:v>
                </c:pt>
                <c:pt idx="4120">
                  <c:v>43553</c:v>
                </c:pt>
                <c:pt idx="4121">
                  <c:v>43556</c:v>
                </c:pt>
                <c:pt idx="4122">
                  <c:v>43557</c:v>
                </c:pt>
                <c:pt idx="4123">
                  <c:v>43558</c:v>
                </c:pt>
                <c:pt idx="4124">
                  <c:v>43559</c:v>
                </c:pt>
                <c:pt idx="4125">
                  <c:v>43563</c:v>
                </c:pt>
                <c:pt idx="4126">
                  <c:v>43564</c:v>
                </c:pt>
                <c:pt idx="4127">
                  <c:v>43565</c:v>
                </c:pt>
                <c:pt idx="4128">
                  <c:v>43566</c:v>
                </c:pt>
                <c:pt idx="4129">
                  <c:v>43567</c:v>
                </c:pt>
                <c:pt idx="4130">
                  <c:v>43570</c:v>
                </c:pt>
                <c:pt idx="4131">
                  <c:v>43571</c:v>
                </c:pt>
                <c:pt idx="4132">
                  <c:v>43572</c:v>
                </c:pt>
                <c:pt idx="4133">
                  <c:v>43573</c:v>
                </c:pt>
                <c:pt idx="4134">
                  <c:v>43574</c:v>
                </c:pt>
                <c:pt idx="4135">
                  <c:v>43577</c:v>
                </c:pt>
                <c:pt idx="4136">
                  <c:v>43578</c:v>
                </c:pt>
                <c:pt idx="4137">
                  <c:v>43579</c:v>
                </c:pt>
                <c:pt idx="4138">
                  <c:v>43580</c:v>
                </c:pt>
                <c:pt idx="4139">
                  <c:v>43581</c:v>
                </c:pt>
                <c:pt idx="4140">
                  <c:v>43584</c:v>
                </c:pt>
                <c:pt idx="4141">
                  <c:v>43585</c:v>
                </c:pt>
                <c:pt idx="4142">
                  <c:v>43591</c:v>
                </c:pt>
                <c:pt idx="4143">
                  <c:v>43592</c:v>
                </c:pt>
                <c:pt idx="4144">
                  <c:v>43593</c:v>
                </c:pt>
                <c:pt idx="4145">
                  <c:v>43594</c:v>
                </c:pt>
                <c:pt idx="4146">
                  <c:v>43595</c:v>
                </c:pt>
                <c:pt idx="4147">
                  <c:v>43598</c:v>
                </c:pt>
                <c:pt idx="4148">
                  <c:v>43599</c:v>
                </c:pt>
                <c:pt idx="4149">
                  <c:v>43600</c:v>
                </c:pt>
                <c:pt idx="4150">
                  <c:v>43601</c:v>
                </c:pt>
                <c:pt idx="4151">
                  <c:v>43602</c:v>
                </c:pt>
                <c:pt idx="4152">
                  <c:v>43605</c:v>
                </c:pt>
                <c:pt idx="4153">
                  <c:v>43606</c:v>
                </c:pt>
                <c:pt idx="4154">
                  <c:v>43607</c:v>
                </c:pt>
                <c:pt idx="4155">
                  <c:v>43608</c:v>
                </c:pt>
                <c:pt idx="4156">
                  <c:v>43609</c:v>
                </c:pt>
                <c:pt idx="4157">
                  <c:v>43612</c:v>
                </c:pt>
                <c:pt idx="4158">
                  <c:v>43613</c:v>
                </c:pt>
                <c:pt idx="4159">
                  <c:v>43614</c:v>
                </c:pt>
                <c:pt idx="4160">
                  <c:v>43615</c:v>
                </c:pt>
                <c:pt idx="4161">
                  <c:v>43616</c:v>
                </c:pt>
                <c:pt idx="4162">
                  <c:v>43619</c:v>
                </c:pt>
                <c:pt idx="4163">
                  <c:v>43620</c:v>
                </c:pt>
                <c:pt idx="4164">
                  <c:v>43621</c:v>
                </c:pt>
                <c:pt idx="4165">
                  <c:v>43622</c:v>
                </c:pt>
                <c:pt idx="4166">
                  <c:v>43626</c:v>
                </c:pt>
                <c:pt idx="4167">
                  <c:v>43627</c:v>
                </c:pt>
                <c:pt idx="4168">
                  <c:v>43628</c:v>
                </c:pt>
                <c:pt idx="4169">
                  <c:v>43629</c:v>
                </c:pt>
                <c:pt idx="4170">
                  <c:v>43630</c:v>
                </c:pt>
                <c:pt idx="4171">
                  <c:v>43633</c:v>
                </c:pt>
                <c:pt idx="4172">
                  <c:v>43634</c:v>
                </c:pt>
                <c:pt idx="4173">
                  <c:v>43635</c:v>
                </c:pt>
                <c:pt idx="4174">
                  <c:v>43636</c:v>
                </c:pt>
                <c:pt idx="4175">
                  <c:v>43637</c:v>
                </c:pt>
                <c:pt idx="4176">
                  <c:v>43640</c:v>
                </c:pt>
                <c:pt idx="4177">
                  <c:v>43641</c:v>
                </c:pt>
                <c:pt idx="4178">
                  <c:v>43642</c:v>
                </c:pt>
                <c:pt idx="4179">
                  <c:v>43643</c:v>
                </c:pt>
                <c:pt idx="4180">
                  <c:v>43644</c:v>
                </c:pt>
                <c:pt idx="4181">
                  <c:v>43647</c:v>
                </c:pt>
                <c:pt idx="4182">
                  <c:v>43648</c:v>
                </c:pt>
                <c:pt idx="4183">
                  <c:v>43649</c:v>
                </c:pt>
                <c:pt idx="4184">
                  <c:v>43650</c:v>
                </c:pt>
                <c:pt idx="4185">
                  <c:v>43651</c:v>
                </c:pt>
                <c:pt idx="4186">
                  <c:v>43654</c:v>
                </c:pt>
                <c:pt idx="4187">
                  <c:v>43655</c:v>
                </c:pt>
                <c:pt idx="4188">
                  <c:v>43656</c:v>
                </c:pt>
                <c:pt idx="4189">
                  <c:v>43657</c:v>
                </c:pt>
                <c:pt idx="4190">
                  <c:v>43658</c:v>
                </c:pt>
                <c:pt idx="4191">
                  <c:v>43661</c:v>
                </c:pt>
                <c:pt idx="4192">
                  <c:v>43662</c:v>
                </c:pt>
                <c:pt idx="4193">
                  <c:v>43663</c:v>
                </c:pt>
                <c:pt idx="4194">
                  <c:v>43664</c:v>
                </c:pt>
                <c:pt idx="4195">
                  <c:v>43665</c:v>
                </c:pt>
                <c:pt idx="4196">
                  <c:v>43668</c:v>
                </c:pt>
                <c:pt idx="4197">
                  <c:v>43669</c:v>
                </c:pt>
                <c:pt idx="4198">
                  <c:v>43670</c:v>
                </c:pt>
                <c:pt idx="4199">
                  <c:v>43671</c:v>
                </c:pt>
                <c:pt idx="4200">
                  <c:v>43672</c:v>
                </c:pt>
                <c:pt idx="4201">
                  <c:v>43675</c:v>
                </c:pt>
                <c:pt idx="4202">
                  <c:v>43676</c:v>
                </c:pt>
                <c:pt idx="4203">
                  <c:v>43677</c:v>
                </c:pt>
                <c:pt idx="4204">
                  <c:v>43678</c:v>
                </c:pt>
                <c:pt idx="4205">
                  <c:v>43679</c:v>
                </c:pt>
                <c:pt idx="4206">
                  <c:v>43682</c:v>
                </c:pt>
                <c:pt idx="4207">
                  <c:v>43683</c:v>
                </c:pt>
                <c:pt idx="4208">
                  <c:v>43684</c:v>
                </c:pt>
                <c:pt idx="4209">
                  <c:v>43685</c:v>
                </c:pt>
                <c:pt idx="4210">
                  <c:v>43686</c:v>
                </c:pt>
                <c:pt idx="4211">
                  <c:v>43689</c:v>
                </c:pt>
                <c:pt idx="4212">
                  <c:v>43690</c:v>
                </c:pt>
                <c:pt idx="4213">
                  <c:v>43691</c:v>
                </c:pt>
                <c:pt idx="4214">
                  <c:v>43692</c:v>
                </c:pt>
                <c:pt idx="4215">
                  <c:v>43693</c:v>
                </c:pt>
                <c:pt idx="4216">
                  <c:v>43696</c:v>
                </c:pt>
                <c:pt idx="4217">
                  <c:v>43697</c:v>
                </c:pt>
                <c:pt idx="4218">
                  <c:v>43698</c:v>
                </c:pt>
                <c:pt idx="4219">
                  <c:v>43699</c:v>
                </c:pt>
                <c:pt idx="4220">
                  <c:v>43700</c:v>
                </c:pt>
                <c:pt idx="4221">
                  <c:v>43703</c:v>
                </c:pt>
                <c:pt idx="4222">
                  <c:v>43704</c:v>
                </c:pt>
                <c:pt idx="4223">
                  <c:v>43705</c:v>
                </c:pt>
                <c:pt idx="4224">
                  <c:v>43706</c:v>
                </c:pt>
                <c:pt idx="4225">
                  <c:v>43707</c:v>
                </c:pt>
                <c:pt idx="4226">
                  <c:v>43710</c:v>
                </c:pt>
                <c:pt idx="4227">
                  <c:v>43711</c:v>
                </c:pt>
                <c:pt idx="4228">
                  <c:v>43712</c:v>
                </c:pt>
                <c:pt idx="4229">
                  <c:v>43713</c:v>
                </c:pt>
                <c:pt idx="4230">
                  <c:v>43714</c:v>
                </c:pt>
                <c:pt idx="4231">
                  <c:v>43717</c:v>
                </c:pt>
                <c:pt idx="4232">
                  <c:v>43718</c:v>
                </c:pt>
                <c:pt idx="4233">
                  <c:v>43719</c:v>
                </c:pt>
                <c:pt idx="4234">
                  <c:v>43720</c:v>
                </c:pt>
                <c:pt idx="4235">
                  <c:v>43724</c:v>
                </c:pt>
                <c:pt idx="4236">
                  <c:v>43725</c:v>
                </c:pt>
                <c:pt idx="4237">
                  <c:v>43726</c:v>
                </c:pt>
                <c:pt idx="4238">
                  <c:v>43727</c:v>
                </c:pt>
                <c:pt idx="4239">
                  <c:v>43728</c:v>
                </c:pt>
                <c:pt idx="4240">
                  <c:v>43731</c:v>
                </c:pt>
                <c:pt idx="4241">
                  <c:v>43732</c:v>
                </c:pt>
                <c:pt idx="4242">
                  <c:v>43733</c:v>
                </c:pt>
                <c:pt idx="4243">
                  <c:v>43734</c:v>
                </c:pt>
                <c:pt idx="4244">
                  <c:v>43735</c:v>
                </c:pt>
                <c:pt idx="4245">
                  <c:v>43738</c:v>
                </c:pt>
                <c:pt idx="4246">
                  <c:v>43746</c:v>
                </c:pt>
                <c:pt idx="4247">
                  <c:v>43747</c:v>
                </c:pt>
                <c:pt idx="4248">
                  <c:v>43748</c:v>
                </c:pt>
                <c:pt idx="4249">
                  <c:v>43749</c:v>
                </c:pt>
                <c:pt idx="4250">
                  <c:v>43752</c:v>
                </c:pt>
                <c:pt idx="4251">
                  <c:v>43753</c:v>
                </c:pt>
                <c:pt idx="4252">
                  <c:v>43754</c:v>
                </c:pt>
                <c:pt idx="4253">
                  <c:v>43755</c:v>
                </c:pt>
                <c:pt idx="4254">
                  <c:v>43756</c:v>
                </c:pt>
                <c:pt idx="4255">
                  <c:v>43759</c:v>
                </c:pt>
                <c:pt idx="4256">
                  <c:v>43760</c:v>
                </c:pt>
                <c:pt idx="4257">
                  <c:v>43761</c:v>
                </c:pt>
                <c:pt idx="4258">
                  <c:v>43762</c:v>
                </c:pt>
                <c:pt idx="4259">
                  <c:v>43763</c:v>
                </c:pt>
                <c:pt idx="4260">
                  <c:v>43766</c:v>
                </c:pt>
                <c:pt idx="4261">
                  <c:v>43767</c:v>
                </c:pt>
                <c:pt idx="4262">
                  <c:v>43768</c:v>
                </c:pt>
                <c:pt idx="4263">
                  <c:v>43769</c:v>
                </c:pt>
                <c:pt idx="4264">
                  <c:v>43770</c:v>
                </c:pt>
                <c:pt idx="4265">
                  <c:v>43773</c:v>
                </c:pt>
                <c:pt idx="4266">
                  <c:v>43774</c:v>
                </c:pt>
                <c:pt idx="4267">
                  <c:v>43775</c:v>
                </c:pt>
                <c:pt idx="4268">
                  <c:v>43776</c:v>
                </c:pt>
                <c:pt idx="4269">
                  <c:v>43777</c:v>
                </c:pt>
                <c:pt idx="4270">
                  <c:v>43780</c:v>
                </c:pt>
                <c:pt idx="4271">
                  <c:v>43781</c:v>
                </c:pt>
                <c:pt idx="4272">
                  <c:v>43782</c:v>
                </c:pt>
                <c:pt idx="4273">
                  <c:v>43783</c:v>
                </c:pt>
                <c:pt idx="4274">
                  <c:v>43784</c:v>
                </c:pt>
                <c:pt idx="4275">
                  <c:v>43787</c:v>
                </c:pt>
                <c:pt idx="4276">
                  <c:v>43788</c:v>
                </c:pt>
                <c:pt idx="4277">
                  <c:v>43789</c:v>
                </c:pt>
                <c:pt idx="4278">
                  <c:v>43790</c:v>
                </c:pt>
                <c:pt idx="4279">
                  <c:v>43791</c:v>
                </c:pt>
                <c:pt idx="4280">
                  <c:v>43794</c:v>
                </c:pt>
                <c:pt idx="4281">
                  <c:v>43795</c:v>
                </c:pt>
                <c:pt idx="4282">
                  <c:v>43796</c:v>
                </c:pt>
                <c:pt idx="4283">
                  <c:v>43797</c:v>
                </c:pt>
                <c:pt idx="4284">
                  <c:v>43798</c:v>
                </c:pt>
                <c:pt idx="4285">
                  <c:v>43801</c:v>
                </c:pt>
                <c:pt idx="4286">
                  <c:v>43802</c:v>
                </c:pt>
                <c:pt idx="4287">
                  <c:v>43803</c:v>
                </c:pt>
                <c:pt idx="4288">
                  <c:v>43804</c:v>
                </c:pt>
                <c:pt idx="4289">
                  <c:v>43805</c:v>
                </c:pt>
                <c:pt idx="4290">
                  <c:v>43808</c:v>
                </c:pt>
                <c:pt idx="4291">
                  <c:v>43809</c:v>
                </c:pt>
                <c:pt idx="4292">
                  <c:v>43810</c:v>
                </c:pt>
                <c:pt idx="4293">
                  <c:v>43811</c:v>
                </c:pt>
                <c:pt idx="4294">
                  <c:v>43812</c:v>
                </c:pt>
                <c:pt idx="4295">
                  <c:v>43815</c:v>
                </c:pt>
                <c:pt idx="4296">
                  <c:v>43816</c:v>
                </c:pt>
                <c:pt idx="4297">
                  <c:v>43817</c:v>
                </c:pt>
                <c:pt idx="4298">
                  <c:v>43818</c:v>
                </c:pt>
                <c:pt idx="4299">
                  <c:v>43819</c:v>
                </c:pt>
                <c:pt idx="4300">
                  <c:v>43822</c:v>
                </c:pt>
                <c:pt idx="4301">
                  <c:v>43823</c:v>
                </c:pt>
                <c:pt idx="4302">
                  <c:v>43824</c:v>
                </c:pt>
                <c:pt idx="4303">
                  <c:v>43825</c:v>
                </c:pt>
                <c:pt idx="4304">
                  <c:v>43826</c:v>
                </c:pt>
                <c:pt idx="4305">
                  <c:v>43829</c:v>
                </c:pt>
                <c:pt idx="4306">
                  <c:v>43830</c:v>
                </c:pt>
                <c:pt idx="4307">
                  <c:v>43832</c:v>
                </c:pt>
                <c:pt idx="4308">
                  <c:v>43833</c:v>
                </c:pt>
                <c:pt idx="4309">
                  <c:v>43836</c:v>
                </c:pt>
                <c:pt idx="4310">
                  <c:v>43837</c:v>
                </c:pt>
                <c:pt idx="4311">
                  <c:v>43838</c:v>
                </c:pt>
                <c:pt idx="4312">
                  <c:v>43839</c:v>
                </c:pt>
                <c:pt idx="4313">
                  <c:v>43840</c:v>
                </c:pt>
                <c:pt idx="4314">
                  <c:v>43843</c:v>
                </c:pt>
                <c:pt idx="4315">
                  <c:v>43844</c:v>
                </c:pt>
                <c:pt idx="4316">
                  <c:v>43845</c:v>
                </c:pt>
                <c:pt idx="4317">
                  <c:v>43846</c:v>
                </c:pt>
                <c:pt idx="4318">
                  <c:v>43847</c:v>
                </c:pt>
                <c:pt idx="4319">
                  <c:v>43850</c:v>
                </c:pt>
                <c:pt idx="4320">
                  <c:v>43851</c:v>
                </c:pt>
                <c:pt idx="4321">
                  <c:v>43852</c:v>
                </c:pt>
                <c:pt idx="4322">
                  <c:v>43853</c:v>
                </c:pt>
                <c:pt idx="4323">
                  <c:v>43864</c:v>
                </c:pt>
                <c:pt idx="4324">
                  <c:v>43865</c:v>
                </c:pt>
                <c:pt idx="4325">
                  <c:v>43866</c:v>
                </c:pt>
                <c:pt idx="4326">
                  <c:v>43867</c:v>
                </c:pt>
                <c:pt idx="4327">
                  <c:v>43868</c:v>
                </c:pt>
                <c:pt idx="4328">
                  <c:v>43871</c:v>
                </c:pt>
                <c:pt idx="4329">
                  <c:v>43872</c:v>
                </c:pt>
                <c:pt idx="4330">
                  <c:v>43873</c:v>
                </c:pt>
                <c:pt idx="4331">
                  <c:v>43874</c:v>
                </c:pt>
                <c:pt idx="4332">
                  <c:v>43875</c:v>
                </c:pt>
                <c:pt idx="4333">
                  <c:v>43878</c:v>
                </c:pt>
                <c:pt idx="4334">
                  <c:v>43879</c:v>
                </c:pt>
                <c:pt idx="4335">
                  <c:v>43880</c:v>
                </c:pt>
                <c:pt idx="4336">
                  <c:v>43881</c:v>
                </c:pt>
                <c:pt idx="4337">
                  <c:v>43882</c:v>
                </c:pt>
                <c:pt idx="4338">
                  <c:v>43885</c:v>
                </c:pt>
                <c:pt idx="4339">
                  <c:v>43886</c:v>
                </c:pt>
                <c:pt idx="4340">
                  <c:v>43887</c:v>
                </c:pt>
                <c:pt idx="4341">
                  <c:v>43888</c:v>
                </c:pt>
                <c:pt idx="4342">
                  <c:v>43889</c:v>
                </c:pt>
                <c:pt idx="4343">
                  <c:v>43892</c:v>
                </c:pt>
                <c:pt idx="4344">
                  <c:v>43893</c:v>
                </c:pt>
                <c:pt idx="4345">
                  <c:v>43894</c:v>
                </c:pt>
                <c:pt idx="4346">
                  <c:v>43895</c:v>
                </c:pt>
                <c:pt idx="4347">
                  <c:v>43896</c:v>
                </c:pt>
                <c:pt idx="4348">
                  <c:v>43899</c:v>
                </c:pt>
                <c:pt idx="4349">
                  <c:v>43900</c:v>
                </c:pt>
                <c:pt idx="4350">
                  <c:v>43901</c:v>
                </c:pt>
                <c:pt idx="4351">
                  <c:v>43902</c:v>
                </c:pt>
                <c:pt idx="4352">
                  <c:v>43903</c:v>
                </c:pt>
                <c:pt idx="4353">
                  <c:v>43906</c:v>
                </c:pt>
                <c:pt idx="4354">
                  <c:v>43907</c:v>
                </c:pt>
                <c:pt idx="4355">
                  <c:v>43908</c:v>
                </c:pt>
                <c:pt idx="4356">
                  <c:v>43909</c:v>
                </c:pt>
                <c:pt idx="4357">
                  <c:v>43910</c:v>
                </c:pt>
                <c:pt idx="4358">
                  <c:v>43913</c:v>
                </c:pt>
                <c:pt idx="4359">
                  <c:v>43914</c:v>
                </c:pt>
                <c:pt idx="4360">
                  <c:v>43915</c:v>
                </c:pt>
                <c:pt idx="4361">
                  <c:v>43916</c:v>
                </c:pt>
                <c:pt idx="4362">
                  <c:v>43917</c:v>
                </c:pt>
                <c:pt idx="4363">
                  <c:v>43920</c:v>
                </c:pt>
                <c:pt idx="4364">
                  <c:v>43921</c:v>
                </c:pt>
                <c:pt idx="4365">
                  <c:v>43922</c:v>
                </c:pt>
                <c:pt idx="4366">
                  <c:v>43923</c:v>
                </c:pt>
                <c:pt idx="4367">
                  <c:v>43924</c:v>
                </c:pt>
                <c:pt idx="4368">
                  <c:v>43928</c:v>
                </c:pt>
                <c:pt idx="4369">
                  <c:v>43929</c:v>
                </c:pt>
                <c:pt idx="4370">
                  <c:v>43930</c:v>
                </c:pt>
                <c:pt idx="4371">
                  <c:v>43931</c:v>
                </c:pt>
                <c:pt idx="4372">
                  <c:v>43934</c:v>
                </c:pt>
                <c:pt idx="4373">
                  <c:v>43935</c:v>
                </c:pt>
                <c:pt idx="4374">
                  <c:v>43936</c:v>
                </c:pt>
                <c:pt idx="4375">
                  <c:v>43937</c:v>
                </c:pt>
                <c:pt idx="4376">
                  <c:v>43938</c:v>
                </c:pt>
                <c:pt idx="4377">
                  <c:v>43941</c:v>
                </c:pt>
                <c:pt idx="4378">
                  <c:v>43942</c:v>
                </c:pt>
                <c:pt idx="4379">
                  <c:v>43943</c:v>
                </c:pt>
                <c:pt idx="4380">
                  <c:v>43944</c:v>
                </c:pt>
                <c:pt idx="4381">
                  <c:v>43945</c:v>
                </c:pt>
                <c:pt idx="4382">
                  <c:v>43948</c:v>
                </c:pt>
                <c:pt idx="4383">
                  <c:v>43949</c:v>
                </c:pt>
                <c:pt idx="4384">
                  <c:v>43950</c:v>
                </c:pt>
                <c:pt idx="4385">
                  <c:v>43951</c:v>
                </c:pt>
                <c:pt idx="4386">
                  <c:v>43957</c:v>
                </c:pt>
                <c:pt idx="4387">
                  <c:v>43958</c:v>
                </c:pt>
                <c:pt idx="4388">
                  <c:v>43959</c:v>
                </c:pt>
                <c:pt idx="4389">
                  <c:v>43962</c:v>
                </c:pt>
                <c:pt idx="4390">
                  <c:v>43963</c:v>
                </c:pt>
                <c:pt idx="4391">
                  <c:v>43964</c:v>
                </c:pt>
                <c:pt idx="4392">
                  <c:v>43965</c:v>
                </c:pt>
                <c:pt idx="4393">
                  <c:v>43966</c:v>
                </c:pt>
                <c:pt idx="4394">
                  <c:v>43969</c:v>
                </c:pt>
                <c:pt idx="4395">
                  <c:v>43970</c:v>
                </c:pt>
                <c:pt idx="4396">
                  <c:v>43971</c:v>
                </c:pt>
                <c:pt idx="4397">
                  <c:v>43972</c:v>
                </c:pt>
                <c:pt idx="4398">
                  <c:v>43973</c:v>
                </c:pt>
                <c:pt idx="4399">
                  <c:v>43976</c:v>
                </c:pt>
                <c:pt idx="4400">
                  <c:v>43977</c:v>
                </c:pt>
                <c:pt idx="4401">
                  <c:v>43978</c:v>
                </c:pt>
                <c:pt idx="4402">
                  <c:v>43979</c:v>
                </c:pt>
                <c:pt idx="4403">
                  <c:v>43980</c:v>
                </c:pt>
                <c:pt idx="4404">
                  <c:v>43983</c:v>
                </c:pt>
                <c:pt idx="4405">
                  <c:v>43984</c:v>
                </c:pt>
                <c:pt idx="4406">
                  <c:v>43985</c:v>
                </c:pt>
                <c:pt idx="4407">
                  <c:v>43986</c:v>
                </c:pt>
                <c:pt idx="4408">
                  <c:v>43987</c:v>
                </c:pt>
                <c:pt idx="4409">
                  <c:v>43990</c:v>
                </c:pt>
                <c:pt idx="4410">
                  <c:v>43991</c:v>
                </c:pt>
                <c:pt idx="4411">
                  <c:v>43992</c:v>
                </c:pt>
                <c:pt idx="4412">
                  <c:v>43993</c:v>
                </c:pt>
                <c:pt idx="4413">
                  <c:v>43994</c:v>
                </c:pt>
                <c:pt idx="4414">
                  <c:v>43997</c:v>
                </c:pt>
                <c:pt idx="4415">
                  <c:v>43998</c:v>
                </c:pt>
                <c:pt idx="4416">
                  <c:v>43999</c:v>
                </c:pt>
                <c:pt idx="4417">
                  <c:v>44000</c:v>
                </c:pt>
                <c:pt idx="4418">
                  <c:v>44001</c:v>
                </c:pt>
                <c:pt idx="4419">
                  <c:v>44004</c:v>
                </c:pt>
                <c:pt idx="4420">
                  <c:v>44005</c:v>
                </c:pt>
                <c:pt idx="4421">
                  <c:v>44006</c:v>
                </c:pt>
                <c:pt idx="4422">
                  <c:v>44011</c:v>
                </c:pt>
                <c:pt idx="4423">
                  <c:v>44012</c:v>
                </c:pt>
                <c:pt idx="4424">
                  <c:v>44013</c:v>
                </c:pt>
                <c:pt idx="4425">
                  <c:v>44014</c:v>
                </c:pt>
                <c:pt idx="4426">
                  <c:v>44015</c:v>
                </c:pt>
                <c:pt idx="4427">
                  <c:v>44018</c:v>
                </c:pt>
                <c:pt idx="4428">
                  <c:v>44019</c:v>
                </c:pt>
                <c:pt idx="4429">
                  <c:v>44020</c:v>
                </c:pt>
                <c:pt idx="4430">
                  <c:v>44021</c:v>
                </c:pt>
                <c:pt idx="4431">
                  <c:v>44022</c:v>
                </c:pt>
                <c:pt idx="4432">
                  <c:v>44025</c:v>
                </c:pt>
                <c:pt idx="4433">
                  <c:v>44026</c:v>
                </c:pt>
                <c:pt idx="4434">
                  <c:v>44027</c:v>
                </c:pt>
                <c:pt idx="4435">
                  <c:v>44028</c:v>
                </c:pt>
                <c:pt idx="4436">
                  <c:v>44029</c:v>
                </c:pt>
                <c:pt idx="4437">
                  <c:v>44032</c:v>
                </c:pt>
                <c:pt idx="4438">
                  <c:v>44033</c:v>
                </c:pt>
                <c:pt idx="4439">
                  <c:v>44034</c:v>
                </c:pt>
                <c:pt idx="4440">
                  <c:v>44035</c:v>
                </c:pt>
                <c:pt idx="4441">
                  <c:v>44036</c:v>
                </c:pt>
                <c:pt idx="4442">
                  <c:v>44039</c:v>
                </c:pt>
                <c:pt idx="4443">
                  <c:v>44040</c:v>
                </c:pt>
                <c:pt idx="4444">
                  <c:v>44041</c:v>
                </c:pt>
                <c:pt idx="4445">
                  <c:v>44042</c:v>
                </c:pt>
                <c:pt idx="4446">
                  <c:v>44043</c:v>
                </c:pt>
                <c:pt idx="4447">
                  <c:v>44046</c:v>
                </c:pt>
                <c:pt idx="4448">
                  <c:v>44047</c:v>
                </c:pt>
                <c:pt idx="4449">
                  <c:v>44048</c:v>
                </c:pt>
                <c:pt idx="4450">
                  <c:v>44049</c:v>
                </c:pt>
                <c:pt idx="4451">
                  <c:v>44050</c:v>
                </c:pt>
                <c:pt idx="4452">
                  <c:v>44053</c:v>
                </c:pt>
                <c:pt idx="4453">
                  <c:v>44054</c:v>
                </c:pt>
                <c:pt idx="4454">
                  <c:v>44055</c:v>
                </c:pt>
                <c:pt idx="4455">
                  <c:v>44056</c:v>
                </c:pt>
                <c:pt idx="4456">
                  <c:v>44057</c:v>
                </c:pt>
                <c:pt idx="4457">
                  <c:v>44060</c:v>
                </c:pt>
                <c:pt idx="4458">
                  <c:v>44061</c:v>
                </c:pt>
                <c:pt idx="4459">
                  <c:v>44062</c:v>
                </c:pt>
                <c:pt idx="4460">
                  <c:v>44063</c:v>
                </c:pt>
                <c:pt idx="4461">
                  <c:v>44064</c:v>
                </c:pt>
                <c:pt idx="4462">
                  <c:v>44067</c:v>
                </c:pt>
                <c:pt idx="4463">
                  <c:v>44068</c:v>
                </c:pt>
                <c:pt idx="4464">
                  <c:v>44069</c:v>
                </c:pt>
                <c:pt idx="4465">
                  <c:v>44070</c:v>
                </c:pt>
                <c:pt idx="4466">
                  <c:v>44071</c:v>
                </c:pt>
                <c:pt idx="4467">
                  <c:v>44074</c:v>
                </c:pt>
                <c:pt idx="4468">
                  <c:v>44075</c:v>
                </c:pt>
                <c:pt idx="4469">
                  <c:v>44076</c:v>
                </c:pt>
                <c:pt idx="4470">
                  <c:v>44077</c:v>
                </c:pt>
                <c:pt idx="4471">
                  <c:v>44078</c:v>
                </c:pt>
                <c:pt idx="4472">
                  <c:v>44081</c:v>
                </c:pt>
                <c:pt idx="4473">
                  <c:v>44082</c:v>
                </c:pt>
                <c:pt idx="4474">
                  <c:v>44083</c:v>
                </c:pt>
                <c:pt idx="4475">
                  <c:v>44084</c:v>
                </c:pt>
                <c:pt idx="4476">
                  <c:v>44085</c:v>
                </c:pt>
                <c:pt idx="4477">
                  <c:v>44088</c:v>
                </c:pt>
                <c:pt idx="4478">
                  <c:v>44089</c:v>
                </c:pt>
                <c:pt idx="4479">
                  <c:v>44090</c:v>
                </c:pt>
                <c:pt idx="4480">
                  <c:v>44091</c:v>
                </c:pt>
                <c:pt idx="4481">
                  <c:v>44092</c:v>
                </c:pt>
                <c:pt idx="4482">
                  <c:v>44095</c:v>
                </c:pt>
                <c:pt idx="4483">
                  <c:v>44096</c:v>
                </c:pt>
                <c:pt idx="4484">
                  <c:v>44097</c:v>
                </c:pt>
                <c:pt idx="4485">
                  <c:v>44098</c:v>
                </c:pt>
                <c:pt idx="4486">
                  <c:v>44099</c:v>
                </c:pt>
                <c:pt idx="4487">
                  <c:v>44102</c:v>
                </c:pt>
                <c:pt idx="4488">
                  <c:v>44103</c:v>
                </c:pt>
                <c:pt idx="4489">
                  <c:v>44104</c:v>
                </c:pt>
                <c:pt idx="4490">
                  <c:v>44113</c:v>
                </c:pt>
                <c:pt idx="4491">
                  <c:v>44116</c:v>
                </c:pt>
                <c:pt idx="4492">
                  <c:v>44117</c:v>
                </c:pt>
                <c:pt idx="4493">
                  <c:v>44118</c:v>
                </c:pt>
                <c:pt idx="4494">
                  <c:v>44119</c:v>
                </c:pt>
                <c:pt idx="4495">
                  <c:v>44120</c:v>
                </c:pt>
                <c:pt idx="4496">
                  <c:v>44123</c:v>
                </c:pt>
                <c:pt idx="4497">
                  <c:v>44124</c:v>
                </c:pt>
                <c:pt idx="4498">
                  <c:v>44125</c:v>
                </c:pt>
                <c:pt idx="4499">
                  <c:v>44126</c:v>
                </c:pt>
                <c:pt idx="4500">
                  <c:v>44127</c:v>
                </c:pt>
                <c:pt idx="4501">
                  <c:v>44130</c:v>
                </c:pt>
                <c:pt idx="4502">
                  <c:v>44131</c:v>
                </c:pt>
                <c:pt idx="4503">
                  <c:v>44132</c:v>
                </c:pt>
                <c:pt idx="4504">
                  <c:v>44133</c:v>
                </c:pt>
                <c:pt idx="4505">
                  <c:v>44134</c:v>
                </c:pt>
                <c:pt idx="4506">
                  <c:v>44137</c:v>
                </c:pt>
                <c:pt idx="4507">
                  <c:v>44138</c:v>
                </c:pt>
                <c:pt idx="4508">
                  <c:v>44139</c:v>
                </c:pt>
                <c:pt idx="4509">
                  <c:v>44140</c:v>
                </c:pt>
                <c:pt idx="4510">
                  <c:v>44141</c:v>
                </c:pt>
                <c:pt idx="4511">
                  <c:v>44144</c:v>
                </c:pt>
                <c:pt idx="4512">
                  <c:v>44145</c:v>
                </c:pt>
                <c:pt idx="4513">
                  <c:v>44146</c:v>
                </c:pt>
                <c:pt idx="4514">
                  <c:v>44147</c:v>
                </c:pt>
                <c:pt idx="4515">
                  <c:v>44148</c:v>
                </c:pt>
                <c:pt idx="4516">
                  <c:v>44151</c:v>
                </c:pt>
                <c:pt idx="4517">
                  <c:v>44152</c:v>
                </c:pt>
                <c:pt idx="4518">
                  <c:v>44153</c:v>
                </c:pt>
                <c:pt idx="4519">
                  <c:v>44154</c:v>
                </c:pt>
                <c:pt idx="4520">
                  <c:v>44155</c:v>
                </c:pt>
                <c:pt idx="4521">
                  <c:v>44158</c:v>
                </c:pt>
                <c:pt idx="4522">
                  <c:v>44159</c:v>
                </c:pt>
                <c:pt idx="4523">
                  <c:v>44160</c:v>
                </c:pt>
                <c:pt idx="4524">
                  <c:v>44161</c:v>
                </c:pt>
                <c:pt idx="4525">
                  <c:v>44162</c:v>
                </c:pt>
                <c:pt idx="4526">
                  <c:v>44165</c:v>
                </c:pt>
                <c:pt idx="4527">
                  <c:v>44166</c:v>
                </c:pt>
                <c:pt idx="4528">
                  <c:v>44167</c:v>
                </c:pt>
                <c:pt idx="4529">
                  <c:v>44168</c:v>
                </c:pt>
                <c:pt idx="4530">
                  <c:v>44169</c:v>
                </c:pt>
                <c:pt idx="4531">
                  <c:v>44172</c:v>
                </c:pt>
                <c:pt idx="4532">
                  <c:v>44173</c:v>
                </c:pt>
                <c:pt idx="4533">
                  <c:v>44174</c:v>
                </c:pt>
                <c:pt idx="4534">
                  <c:v>44175</c:v>
                </c:pt>
                <c:pt idx="4535">
                  <c:v>44176</c:v>
                </c:pt>
                <c:pt idx="4536">
                  <c:v>44179</c:v>
                </c:pt>
                <c:pt idx="4537">
                  <c:v>44180</c:v>
                </c:pt>
                <c:pt idx="4538">
                  <c:v>44181</c:v>
                </c:pt>
                <c:pt idx="4539">
                  <c:v>44182</c:v>
                </c:pt>
                <c:pt idx="4540">
                  <c:v>44183</c:v>
                </c:pt>
                <c:pt idx="4541">
                  <c:v>44186</c:v>
                </c:pt>
                <c:pt idx="4542">
                  <c:v>44187</c:v>
                </c:pt>
                <c:pt idx="4543">
                  <c:v>44188</c:v>
                </c:pt>
                <c:pt idx="4544">
                  <c:v>44189</c:v>
                </c:pt>
                <c:pt idx="4545">
                  <c:v>44190</c:v>
                </c:pt>
                <c:pt idx="4546">
                  <c:v>44193</c:v>
                </c:pt>
                <c:pt idx="4547">
                  <c:v>44194</c:v>
                </c:pt>
                <c:pt idx="4548">
                  <c:v>44195</c:v>
                </c:pt>
                <c:pt idx="4549">
                  <c:v>44196</c:v>
                </c:pt>
                <c:pt idx="4550">
                  <c:v>44200</c:v>
                </c:pt>
                <c:pt idx="4551">
                  <c:v>44201</c:v>
                </c:pt>
                <c:pt idx="4552">
                  <c:v>44202</c:v>
                </c:pt>
                <c:pt idx="4553">
                  <c:v>44203</c:v>
                </c:pt>
                <c:pt idx="4554">
                  <c:v>44204</c:v>
                </c:pt>
                <c:pt idx="4555">
                  <c:v>44207</c:v>
                </c:pt>
                <c:pt idx="4556">
                  <c:v>44208</c:v>
                </c:pt>
                <c:pt idx="4557">
                  <c:v>44209</c:v>
                </c:pt>
                <c:pt idx="4558">
                  <c:v>44210</c:v>
                </c:pt>
                <c:pt idx="4559">
                  <c:v>44211</c:v>
                </c:pt>
                <c:pt idx="4560">
                  <c:v>44214</c:v>
                </c:pt>
                <c:pt idx="4561">
                  <c:v>44215</c:v>
                </c:pt>
                <c:pt idx="4562">
                  <c:v>44216</c:v>
                </c:pt>
                <c:pt idx="4563">
                  <c:v>44217</c:v>
                </c:pt>
                <c:pt idx="4564">
                  <c:v>44218</c:v>
                </c:pt>
                <c:pt idx="4565">
                  <c:v>44221</c:v>
                </c:pt>
                <c:pt idx="4566">
                  <c:v>44222</c:v>
                </c:pt>
                <c:pt idx="4567">
                  <c:v>44223</c:v>
                </c:pt>
                <c:pt idx="4568">
                  <c:v>44224</c:v>
                </c:pt>
                <c:pt idx="4569">
                  <c:v>44225</c:v>
                </c:pt>
                <c:pt idx="4570">
                  <c:v>44228</c:v>
                </c:pt>
                <c:pt idx="4571">
                  <c:v>44229</c:v>
                </c:pt>
                <c:pt idx="4572">
                  <c:v>44230</c:v>
                </c:pt>
                <c:pt idx="4573">
                  <c:v>44231</c:v>
                </c:pt>
                <c:pt idx="4574">
                  <c:v>44232</c:v>
                </c:pt>
                <c:pt idx="4575">
                  <c:v>44235</c:v>
                </c:pt>
                <c:pt idx="4576">
                  <c:v>44236</c:v>
                </c:pt>
                <c:pt idx="4577">
                  <c:v>44237</c:v>
                </c:pt>
                <c:pt idx="4578">
                  <c:v>44245</c:v>
                </c:pt>
                <c:pt idx="4579">
                  <c:v>44246</c:v>
                </c:pt>
                <c:pt idx="4580">
                  <c:v>44249</c:v>
                </c:pt>
                <c:pt idx="4581">
                  <c:v>44250</c:v>
                </c:pt>
                <c:pt idx="4582">
                  <c:v>44251</c:v>
                </c:pt>
                <c:pt idx="4583">
                  <c:v>44252</c:v>
                </c:pt>
                <c:pt idx="4584">
                  <c:v>44253</c:v>
                </c:pt>
                <c:pt idx="4585">
                  <c:v>44256</c:v>
                </c:pt>
                <c:pt idx="4586">
                  <c:v>44257</c:v>
                </c:pt>
                <c:pt idx="4587">
                  <c:v>44258</c:v>
                </c:pt>
                <c:pt idx="4588">
                  <c:v>44259</c:v>
                </c:pt>
                <c:pt idx="4589">
                  <c:v>44260</c:v>
                </c:pt>
                <c:pt idx="4590">
                  <c:v>44263</c:v>
                </c:pt>
                <c:pt idx="4591">
                  <c:v>44264</c:v>
                </c:pt>
                <c:pt idx="4592">
                  <c:v>44265</c:v>
                </c:pt>
                <c:pt idx="4593">
                  <c:v>44266</c:v>
                </c:pt>
                <c:pt idx="4594">
                  <c:v>44267</c:v>
                </c:pt>
                <c:pt idx="4595">
                  <c:v>44270</c:v>
                </c:pt>
                <c:pt idx="4596">
                  <c:v>44271</c:v>
                </c:pt>
                <c:pt idx="4597">
                  <c:v>44272</c:v>
                </c:pt>
                <c:pt idx="4598">
                  <c:v>44273</c:v>
                </c:pt>
                <c:pt idx="4599">
                  <c:v>44274</c:v>
                </c:pt>
                <c:pt idx="4600">
                  <c:v>44277</c:v>
                </c:pt>
                <c:pt idx="4601">
                  <c:v>44278</c:v>
                </c:pt>
                <c:pt idx="4602">
                  <c:v>44279</c:v>
                </c:pt>
                <c:pt idx="4603">
                  <c:v>44280</c:v>
                </c:pt>
                <c:pt idx="4604">
                  <c:v>44281</c:v>
                </c:pt>
                <c:pt idx="4605">
                  <c:v>44284</c:v>
                </c:pt>
                <c:pt idx="4606">
                  <c:v>44285</c:v>
                </c:pt>
                <c:pt idx="4607">
                  <c:v>44286</c:v>
                </c:pt>
                <c:pt idx="4608">
                  <c:v>44287</c:v>
                </c:pt>
                <c:pt idx="4609">
                  <c:v>44288</c:v>
                </c:pt>
                <c:pt idx="4610">
                  <c:v>44292</c:v>
                </c:pt>
                <c:pt idx="4611">
                  <c:v>44293</c:v>
                </c:pt>
                <c:pt idx="4612">
                  <c:v>44294</c:v>
                </c:pt>
                <c:pt idx="4613">
                  <c:v>44295</c:v>
                </c:pt>
                <c:pt idx="4614">
                  <c:v>44298</c:v>
                </c:pt>
                <c:pt idx="4615">
                  <c:v>44299</c:v>
                </c:pt>
                <c:pt idx="4616">
                  <c:v>44300</c:v>
                </c:pt>
                <c:pt idx="4617">
                  <c:v>44301</c:v>
                </c:pt>
                <c:pt idx="4618">
                  <c:v>44302</c:v>
                </c:pt>
                <c:pt idx="4619">
                  <c:v>44305</c:v>
                </c:pt>
                <c:pt idx="4620">
                  <c:v>44306</c:v>
                </c:pt>
                <c:pt idx="4621">
                  <c:v>44307</c:v>
                </c:pt>
                <c:pt idx="4622">
                  <c:v>44308</c:v>
                </c:pt>
                <c:pt idx="4623">
                  <c:v>44309</c:v>
                </c:pt>
                <c:pt idx="4624">
                  <c:v>44312</c:v>
                </c:pt>
                <c:pt idx="4625">
                  <c:v>44313</c:v>
                </c:pt>
                <c:pt idx="4626">
                  <c:v>44314</c:v>
                </c:pt>
                <c:pt idx="4627">
                  <c:v>44315</c:v>
                </c:pt>
                <c:pt idx="4628">
                  <c:v>44316</c:v>
                </c:pt>
                <c:pt idx="4629">
                  <c:v>44322</c:v>
                </c:pt>
                <c:pt idx="4630">
                  <c:v>44323</c:v>
                </c:pt>
                <c:pt idx="4631">
                  <c:v>44326</c:v>
                </c:pt>
                <c:pt idx="4632">
                  <c:v>44327</c:v>
                </c:pt>
                <c:pt idx="4633">
                  <c:v>44328</c:v>
                </c:pt>
                <c:pt idx="4634">
                  <c:v>44329</c:v>
                </c:pt>
                <c:pt idx="4635">
                  <c:v>44330</c:v>
                </c:pt>
                <c:pt idx="4636">
                  <c:v>44333</c:v>
                </c:pt>
                <c:pt idx="4637">
                  <c:v>44334</c:v>
                </c:pt>
                <c:pt idx="4638">
                  <c:v>44335</c:v>
                </c:pt>
                <c:pt idx="4639">
                  <c:v>44336</c:v>
                </c:pt>
                <c:pt idx="4640">
                  <c:v>44337</c:v>
                </c:pt>
                <c:pt idx="4641">
                  <c:v>44340</c:v>
                </c:pt>
                <c:pt idx="4642">
                  <c:v>44341</c:v>
                </c:pt>
                <c:pt idx="4643">
                  <c:v>44342</c:v>
                </c:pt>
                <c:pt idx="4644">
                  <c:v>44343</c:v>
                </c:pt>
                <c:pt idx="4645">
                  <c:v>44344</c:v>
                </c:pt>
                <c:pt idx="4646">
                  <c:v>44347</c:v>
                </c:pt>
                <c:pt idx="4647">
                  <c:v>44348</c:v>
                </c:pt>
                <c:pt idx="4648">
                  <c:v>44349</c:v>
                </c:pt>
                <c:pt idx="4649">
                  <c:v>44350</c:v>
                </c:pt>
                <c:pt idx="4650">
                  <c:v>44351</c:v>
                </c:pt>
                <c:pt idx="4651">
                  <c:v>44354</c:v>
                </c:pt>
                <c:pt idx="4652">
                  <c:v>44355</c:v>
                </c:pt>
                <c:pt idx="4653">
                  <c:v>44356</c:v>
                </c:pt>
                <c:pt idx="4654">
                  <c:v>44357</c:v>
                </c:pt>
                <c:pt idx="4655">
                  <c:v>44358</c:v>
                </c:pt>
                <c:pt idx="4656">
                  <c:v>44362</c:v>
                </c:pt>
                <c:pt idx="4657">
                  <c:v>44363</c:v>
                </c:pt>
                <c:pt idx="4658">
                  <c:v>44364</c:v>
                </c:pt>
                <c:pt idx="4659">
                  <c:v>44365</c:v>
                </c:pt>
                <c:pt idx="4660">
                  <c:v>44368</c:v>
                </c:pt>
                <c:pt idx="4661">
                  <c:v>44369</c:v>
                </c:pt>
                <c:pt idx="4662">
                  <c:v>44370</c:v>
                </c:pt>
                <c:pt idx="4663">
                  <c:v>44371</c:v>
                </c:pt>
                <c:pt idx="4664">
                  <c:v>44372</c:v>
                </c:pt>
                <c:pt idx="4665">
                  <c:v>44375</c:v>
                </c:pt>
                <c:pt idx="4666">
                  <c:v>44376</c:v>
                </c:pt>
                <c:pt idx="4667">
                  <c:v>44377</c:v>
                </c:pt>
                <c:pt idx="4668">
                  <c:v>44378</c:v>
                </c:pt>
                <c:pt idx="4669">
                  <c:v>44379</c:v>
                </c:pt>
                <c:pt idx="4670">
                  <c:v>44382</c:v>
                </c:pt>
                <c:pt idx="4671">
                  <c:v>44383</c:v>
                </c:pt>
                <c:pt idx="4672">
                  <c:v>44384</c:v>
                </c:pt>
                <c:pt idx="4673">
                  <c:v>44385</c:v>
                </c:pt>
                <c:pt idx="4674">
                  <c:v>44386</c:v>
                </c:pt>
                <c:pt idx="4675">
                  <c:v>44389</c:v>
                </c:pt>
                <c:pt idx="4676">
                  <c:v>44390</c:v>
                </c:pt>
                <c:pt idx="4677">
                  <c:v>44391</c:v>
                </c:pt>
                <c:pt idx="4678">
                  <c:v>44392</c:v>
                </c:pt>
                <c:pt idx="4679">
                  <c:v>44393</c:v>
                </c:pt>
                <c:pt idx="4680">
                  <c:v>44396</c:v>
                </c:pt>
                <c:pt idx="4681">
                  <c:v>44397</c:v>
                </c:pt>
                <c:pt idx="4682">
                  <c:v>44398</c:v>
                </c:pt>
                <c:pt idx="4683">
                  <c:v>44399</c:v>
                </c:pt>
                <c:pt idx="4684">
                  <c:v>44400</c:v>
                </c:pt>
                <c:pt idx="4685">
                  <c:v>44403</c:v>
                </c:pt>
                <c:pt idx="4686">
                  <c:v>44404</c:v>
                </c:pt>
                <c:pt idx="4687">
                  <c:v>44405</c:v>
                </c:pt>
                <c:pt idx="4688">
                  <c:v>44406</c:v>
                </c:pt>
                <c:pt idx="4689">
                  <c:v>44407</c:v>
                </c:pt>
                <c:pt idx="4690">
                  <c:v>44410</c:v>
                </c:pt>
                <c:pt idx="4691">
                  <c:v>44411</c:v>
                </c:pt>
                <c:pt idx="4692">
                  <c:v>44412</c:v>
                </c:pt>
                <c:pt idx="4693">
                  <c:v>44413</c:v>
                </c:pt>
                <c:pt idx="4694">
                  <c:v>44414</c:v>
                </c:pt>
                <c:pt idx="4695">
                  <c:v>44417</c:v>
                </c:pt>
                <c:pt idx="4696">
                  <c:v>44418</c:v>
                </c:pt>
                <c:pt idx="4697">
                  <c:v>44419</c:v>
                </c:pt>
                <c:pt idx="4698">
                  <c:v>44420</c:v>
                </c:pt>
                <c:pt idx="4699">
                  <c:v>44421</c:v>
                </c:pt>
                <c:pt idx="4700">
                  <c:v>44424</c:v>
                </c:pt>
                <c:pt idx="4701">
                  <c:v>44425</c:v>
                </c:pt>
                <c:pt idx="4702">
                  <c:v>44426</c:v>
                </c:pt>
                <c:pt idx="4703">
                  <c:v>44427</c:v>
                </c:pt>
                <c:pt idx="4704">
                  <c:v>44428</c:v>
                </c:pt>
                <c:pt idx="4705">
                  <c:v>44431</c:v>
                </c:pt>
                <c:pt idx="4706">
                  <c:v>44432</c:v>
                </c:pt>
                <c:pt idx="4707">
                  <c:v>44433</c:v>
                </c:pt>
                <c:pt idx="4708">
                  <c:v>44434</c:v>
                </c:pt>
                <c:pt idx="4709">
                  <c:v>44435</c:v>
                </c:pt>
                <c:pt idx="4710">
                  <c:v>44438</c:v>
                </c:pt>
                <c:pt idx="4711">
                  <c:v>44439</c:v>
                </c:pt>
                <c:pt idx="4712">
                  <c:v>44440</c:v>
                </c:pt>
                <c:pt idx="4713">
                  <c:v>44441</c:v>
                </c:pt>
                <c:pt idx="4714">
                  <c:v>44442</c:v>
                </c:pt>
                <c:pt idx="4715">
                  <c:v>44445</c:v>
                </c:pt>
                <c:pt idx="4716">
                  <c:v>44446</c:v>
                </c:pt>
                <c:pt idx="4717">
                  <c:v>44447</c:v>
                </c:pt>
                <c:pt idx="4718">
                  <c:v>44448</c:v>
                </c:pt>
                <c:pt idx="4719">
                  <c:v>44449</c:v>
                </c:pt>
                <c:pt idx="4720">
                  <c:v>44452</c:v>
                </c:pt>
                <c:pt idx="4721">
                  <c:v>44453</c:v>
                </c:pt>
                <c:pt idx="4722">
                  <c:v>44454</c:v>
                </c:pt>
                <c:pt idx="4723">
                  <c:v>44455</c:v>
                </c:pt>
                <c:pt idx="4724">
                  <c:v>44456</c:v>
                </c:pt>
                <c:pt idx="4725">
                  <c:v>44461</c:v>
                </c:pt>
                <c:pt idx="4726">
                  <c:v>44462</c:v>
                </c:pt>
                <c:pt idx="4727">
                  <c:v>44463</c:v>
                </c:pt>
                <c:pt idx="4728">
                  <c:v>44466</c:v>
                </c:pt>
                <c:pt idx="4729">
                  <c:v>44467</c:v>
                </c:pt>
                <c:pt idx="4730">
                  <c:v>44468</c:v>
                </c:pt>
                <c:pt idx="4731">
                  <c:v>44469</c:v>
                </c:pt>
                <c:pt idx="4732">
                  <c:v>44477</c:v>
                </c:pt>
                <c:pt idx="4733">
                  <c:v>44480</c:v>
                </c:pt>
                <c:pt idx="4734">
                  <c:v>44481</c:v>
                </c:pt>
                <c:pt idx="4735">
                  <c:v>44482</c:v>
                </c:pt>
                <c:pt idx="4736">
                  <c:v>44483</c:v>
                </c:pt>
                <c:pt idx="4737">
                  <c:v>44484</c:v>
                </c:pt>
                <c:pt idx="4738">
                  <c:v>44487</c:v>
                </c:pt>
                <c:pt idx="4739">
                  <c:v>44488</c:v>
                </c:pt>
                <c:pt idx="4740">
                  <c:v>44489</c:v>
                </c:pt>
                <c:pt idx="4741">
                  <c:v>44490</c:v>
                </c:pt>
                <c:pt idx="4742">
                  <c:v>44491</c:v>
                </c:pt>
                <c:pt idx="4743">
                  <c:v>44494</c:v>
                </c:pt>
                <c:pt idx="4744">
                  <c:v>44495</c:v>
                </c:pt>
                <c:pt idx="4745">
                  <c:v>44496</c:v>
                </c:pt>
                <c:pt idx="4746">
                  <c:v>44497</c:v>
                </c:pt>
                <c:pt idx="4747">
                  <c:v>44498</c:v>
                </c:pt>
                <c:pt idx="4748">
                  <c:v>44501</c:v>
                </c:pt>
                <c:pt idx="4749">
                  <c:v>44502</c:v>
                </c:pt>
                <c:pt idx="4750">
                  <c:v>44503</c:v>
                </c:pt>
                <c:pt idx="4751">
                  <c:v>44504</c:v>
                </c:pt>
                <c:pt idx="4752">
                  <c:v>44505</c:v>
                </c:pt>
                <c:pt idx="4753">
                  <c:v>44508</c:v>
                </c:pt>
                <c:pt idx="4754">
                  <c:v>44509</c:v>
                </c:pt>
                <c:pt idx="4755">
                  <c:v>44510</c:v>
                </c:pt>
                <c:pt idx="4756">
                  <c:v>44511</c:v>
                </c:pt>
                <c:pt idx="4757">
                  <c:v>44512</c:v>
                </c:pt>
                <c:pt idx="4758">
                  <c:v>44515</c:v>
                </c:pt>
                <c:pt idx="4759">
                  <c:v>44516</c:v>
                </c:pt>
                <c:pt idx="4760">
                  <c:v>44517</c:v>
                </c:pt>
                <c:pt idx="4761">
                  <c:v>44518</c:v>
                </c:pt>
                <c:pt idx="4762">
                  <c:v>44519</c:v>
                </c:pt>
                <c:pt idx="4763">
                  <c:v>44522</c:v>
                </c:pt>
                <c:pt idx="4764">
                  <c:v>44523</c:v>
                </c:pt>
                <c:pt idx="4765">
                  <c:v>44524</c:v>
                </c:pt>
                <c:pt idx="4766">
                  <c:v>44525</c:v>
                </c:pt>
                <c:pt idx="4767">
                  <c:v>44526</c:v>
                </c:pt>
                <c:pt idx="4768">
                  <c:v>44529</c:v>
                </c:pt>
                <c:pt idx="4769">
                  <c:v>44530</c:v>
                </c:pt>
                <c:pt idx="4770">
                  <c:v>44531</c:v>
                </c:pt>
                <c:pt idx="4771">
                  <c:v>44532</c:v>
                </c:pt>
                <c:pt idx="4772">
                  <c:v>44533</c:v>
                </c:pt>
                <c:pt idx="4773">
                  <c:v>44536</c:v>
                </c:pt>
                <c:pt idx="4774">
                  <c:v>44537</c:v>
                </c:pt>
                <c:pt idx="4775">
                  <c:v>44538</c:v>
                </c:pt>
                <c:pt idx="4776">
                  <c:v>44539</c:v>
                </c:pt>
                <c:pt idx="4777">
                  <c:v>44540</c:v>
                </c:pt>
                <c:pt idx="4778">
                  <c:v>44543</c:v>
                </c:pt>
                <c:pt idx="4779">
                  <c:v>44544</c:v>
                </c:pt>
                <c:pt idx="4780">
                  <c:v>44545</c:v>
                </c:pt>
                <c:pt idx="4781">
                  <c:v>44546</c:v>
                </c:pt>
                <c:pt idx="4782">
                  <c:v>44547</c:v>
                </c:pt>
                <c:pt idx="4783">
                  <c:v>44550</c:v>
                </c:pt>
                <c:pt idx="4784">
                  <c:v>44551</c:v>
                </c:pt>
                <c:pt idx="4785">
                  <c:v>44552</c:v>
                </c:pt>
                <c:pt idx="4786">
                  <c:v>44553</c:v>
                </c:pt>
                <c:pt idx="4787">
                  <c:v>44554</c:v>
                </c:pt>
                <c:pt idx="4788">
                  <c:v>44557</c:v>
                </c:pt>
                <c:pt idx="4789">
                  <c:v>44558</c:v>
                </c:pt>
                <c:pt idx="4790">
                  <c:v>44559</c:v>
                </c:pt>
                <c:pt idx="4791">
                  <c:v>44560</c:v>
                </c:pt>
                <c:pt idx="4792">
                  <c:v>44561</c:v>
                </c:pt>
                <c:pt idx="4793">
                  <c:v>44565</c:v>
                </c:pt>
                <c:pt idx="4794">
                  <c:v>44566</c:v>
                </c:pt>
                <c:pt idx="4795">
                  <c:v>44567</c:v>
                </c:pt>
                <c:pt idx="4796">
                  <c:v>44568</c:v>
                </c:pt>
                <c:pt idx="4797">
                  <c:v>44571</c:v>
                </c:pt>
                <c:pt idx="4798">
                  <c:v>44572</c:v>
                </c:pt>
                <c:pt idx="4799">
                  <c:v>44573</c:v>
                </c:pt>
                <c:pt idx="4800">
                  <c:v>44574</c:v>
                </c:pt>
                <c:pt idx="4801">
                  <c:v>44575</c:v>
                </c:pt>
                <c:pt idx="4802">
                  <c:v>44578</c:v>
                </c:pt>
                <c:pt idx="4803">
                  <c:v>44579</c:v>
                </c:pt>
                <c:pt idx="4804">
                  <c:v>44580</c:v>
                </c:pt>
                <c:pt idx="4805">
                  <c:v>44581</c:v>
                </c:pt>
                <c:pt idx="4806">
                  <c:v>44582</c:v>
                </c:pt>
                <c:pt idx="4807">
                  <c:v>44585</c:v>
                </c:pt>
                <c:pt idx="4808">
                  <c:v>44586</c:v>
                </c:pt>
                <c:pt idx="4809">
                  <c:v>44587</c:v>
                </c:pt>
                <c:pt idx="4810">
                  <c:v>44588</c:v>
                </c:pt>
                <c:pt idx="4811">
                  <c:v>44589</c:v>
                </c:pt>
                <c:pt idx="4812">
                  <c:v>44599</c:v>
                </c:pt>
                <c:pt idx="4813">
                  <c:v>44600</c:v>
                </c:pt>
                <c:pt idx="4814">
                  <c:v>44601</c:v>
                </c:pt>
                <c:pt idx="4815">
                  <c:v>44602</c:v>
                </c:pt>
                <c:pt idx="4816">
                  <c:v>44603</c:v>
                </c:pt>
                <c:pt idx="4817">
                  <c:v>44606</c:v>
                </c:pt>
                <c:pt idx="4818">
                  <c:v>44607</c:v>
                </c:pt>
                <c:pt idx="4819">
                  <c:v>44608</c:v>
                </c:pt>
                <c:pt idx="4820">
                  <c:v>44609</c:v>
                </c:pt>
                <c:pt idx="4821">
                  <c:v>44610</c:v>
                </c:pt>
                <c:pt idx="4822">
                  <c:v>44613</c:v>
                </c:pt>
                <c:pt idx="4823">
                  <c:v>44614</c:v>
                </c:pt>
                <c:pt idx="4824">
                  <c:v>44615</c:v>
                </c:pt>
                <c:pt idx="4825">
                  <c:v>44616</c:v>
                </c:pt>
                <c:pt idx="4826">
                  <c:v>44617</c:v>
                </c:pt>
                <c:pt idx="4827">
                  <c:v>44620</c:v>
                </c:pt>
                <c:pt idx="4828">
                  <c:v>44621</c:v>
                </c:pt>
                <c:pt idx="4829">
                  <c:v>44622</c:v>
                </c:pt>
                <c:pt idx="4830">
                  <c:v>44623</c:v>
                </c:pt>
                <c:pt idx="4831">
                  <c:v>44624</c:v>
                </c:pt>
                <c:pt idx="4832">
                  <c:v>44627</c:v>
                </c:pt>
                <c:pt idx="4833">
                  <c:v>44628</c:v>
                </c:pt>
                <c:pt idx="4834">
                  <c:v>44629</c:v>
                </c:pt>
                <c:pt idx="4835">
                  <c:v>44630</c:v>
                </c:pt>
                <c:pt idx="4836">
                  <c:v>44631</c:v>
                </c:pt>
                <c:pt idx="4837">
                  <c:v>44634</c:v>
                </c:pt>
                <c:pt idx="4838">
                  <c:v>44635</c:v>
                </c:pt>
                <c:pt idx="4839">
                  <c:v>44636</c:v>
                </c:pt>
                <c:pt idx="4840">
                  <c:v>44637</c:v>
                </c:pt>
                <c:pt idx="4841">
                  <c:v>44638</c:v>
                </c:pt>
                <c:pt idx="4842">
                  <c:v>44641</c:v>
                </c:pt>
                <c:pt idx="4843">
                  <c:v>44642</c:v>
                </c:pt>
                <c:pt idx="4844">
                  <c:v>44643</c:v>
                </c:pt>
                <c:pt idx="4845">
                  <c:v>44644</c:v>
                </c:pt>
                <c:pt idx="4846">
                  <c:v>44645</c:v>
                </c:pt>
                <c:pt idx="4847">
                  <c:v>44648</c:v>
                </c:pt>
                <c:pt idx="4848">
                  <c:v>44649</c:v>
                </c:pt>
                <c:pt idx="4849">
                  <c:v>44650</c:v>
                </c:pt>
                <c:pt idx="4850">
                  <c:v>44651</c:v>
                </c:pt>
                <c:pt idx="4851">
                  <c:v>44652</c:v>
                </c:pt>
                <c:pt idx="4852">
                  <c:v>44657</c:v>
                </c:pt>
                <c:pt idx="4853">
                  <c:v>44658</c:v>
                </c:pt>
                <c:pt idx="4854">
                  <c:v>44659</c:v>
                </c:pt>
              </c:numCache>
            </c:numRef>
          </c:cat>
          <c:val>
            <c:numRef>
              <c:f>'v60'!$C$2:$C$4856</c:f>
              <c:numCache>
                <c:formatCode>General</c:formatCode>
                <c:ptCount val="4855"/>
                <c:pt idx="60">
                  <c:v>1.9700114000000001E-2</c:v>
                </c:pt>
                <c:pt idx="61">
                  <c:v>1.9684928000000001E-2</c:v>
                </c:pt>
                <c:pt idx="62">
                  <c:v>1.9672728E-2</c:v>
                </c:pt>
                <c:pt idx="63">
                  <c:v>1.9626392999999999E-2</c:v>
                </c:pt>
                <c:pt idx="64">
                  <c:v>1.9619916000000001E-2</c:v>
                </c:pt>
                <c:pt idx="65">
                  <c:v>1.9480381000000001E-2</c:v>
                </c:pt>
                <c:pt idx="66">
                  <c:v>1.9243120999999998E-2</c:v>
                </c:pt>
                <c:pt idx="67">
                  <c:v>1.9185699000000001E-2</c:v>
                </c:pt>
                <c:pt idx="68">
                  <c:v>1.9157526000000001E-2</c:v>
                </c:pt>
                <c:pt idx="69">
                  <c:v>1.8748628999999999E-2</c:v>
                </c:pt>
                <c:pt idx="70">
                  <c:v>1.8749175E-2</c:v>
                </c:pt>
                <c:pt idx="71">
                  <c:v>1.8429773E-2</c:v>
                </c:pt>
                <c:pt idx="72">
                  <c:v>1.8429771000000001E-2</c:v>
                </c:pt>
                <c:pt idx="73">
                  <c:v>1.7552280999999999E-2</c:v>
                </c:pt>
                <c:pt idx="74">
                  <c:v>1.7550342999999999E-2</c:v>
                </c:pt>
                <c:pt idx="75">
                  <c:v>1.7551306999999999E-2</c:v>
                </c:pt>
                <c:pt idx="76">
                  <c:v>1.6419136000000001E-2</c:v>
                </c:pt>
                <c:pt idx="77">
                  <c:v>1.6309595999999999E-2</c:v>
                </c:pt>
                <c:pt idx="78">
                  <c:v>1.6309265E-2</c:v>
                </c:pt>
                <c:pt idx="79">
                  <c:v>1.5265305999999999E-2</c:v>
                </c:pt>
                <c:pt idx="80">
                  <c:v>1.5272711E-2</c:v>
                </c:pt>
                <c:pt idx="81">
                  <c:v>1.5216164000000001E-2</c:v>
                </c:pt>
                <c:pt idx="82">
                  <c:v>1.520167E-2</c:v>
                </c:pt>
                <c:pt idx="83">
                  <c:v>1.5036175000000001E-2</c:v>
                </c:pt>
                <c:pt idx="84">
                  <c:v>1.4956156999999999E-2</c:v>
                </c:pt>
                <c:pt idx="85">
                  <c:v>1.4956962000000001E-2</c:v>
                </c:pt>
                <c:pt idx="86">
                  <c:v>1.4895245E-2</c:v>
                </c:pt>
                <c:pt idx="87">
                  <c:v>1.4967945E-2</c:v>
                </c:pt>
                <c:pt idx="88">
                  <c:v>1.4967265E-2</c:v>
                </c:pt>
                <c:pt idx="89">
                  <c:v>1.4952991000000001E-2</c:v>
                </c:pt>
                <c:pt idx="90">
                  <c:v>1.4891545000000001E-2</c:v>
                </c:pt>
                <c:pt idx="91">
                  <c:v>1.4865804999999999E-2</c:v>
                </c:pt>
                <c:pt idx="92">
                  <c:v>1.4717783E-2</c:v>
                </c:pt>
                <c:pt idx="93">
                  <c:v>1.4692891E-2</c:v>
                </c:pt>
                <c:pt idx="94">
                  <c:v>1.4436134999999999E-2</c:v>
                </c:pt>
                <c:pt idx="95">
                  <c:v>1.4348420000000001E-2</c:v>
                </c:pt>
                <c:pt idx="96">
                  <c:v>1.4248201E-2</c:v>
                </c:pt>
                <c:pt idx="97">
                  <c:v>1.4218039999999999E-2</c:v>
                </c:pt>
                <c:pt idx="98">
                  <c:v>1.4167747E-2</c:v>
                </c:pt>
                <c:pt idx="99">
                  <c:v>1.4037892999999999E-2</c:v>
                </c:pt>
                <c:pt idx="100">
                  <c:v>1.3816244E-2</c:v>
                </c:pt>
                <c:pt idx="101">
                  <c:v>1.3835656E-2</c:v>
                </c:pt>
                <c:pt idx="102">
                  <c:v>1.3717254999999999E-2</c:v>
                </c:pt>
                <c:pt idx="103">
                  <c:v>1.3687133000000001E-2</c:v>
                </c:pt>
                <c:pt idx="104">
                  <c:v>1.3687113000000001E-2</c:v>
                </c:pt>
                <c:pt idx="105">
                  <c:v>1.3648633E-2</c:v>
                </c:pt>
                <c:pt idx="106">
                  <c:v>1.3708928E-2</c:v>
                </c:pt>
                <c:pt idx="107">
                  <c:v>1.362582E-2</c:v>
                </c:pt>
                <c:pt idx="108">
                  <c:v>1.3635209000000001E-2</c:v>
                </c:pt>
                <c:pt idx="109">
                  <c:v>1.3743899E-2</c:v>
                </c:pt>
                <c:pt idx="110">
                  <c:v>1.3516036E-2</c:v>
                </c:pt>
                <c:pt idx="111">
                  <c:v>1.3512975E-2</c:v>
                </c:pt>
                <c:pt idx="112">
                  <c:v>1.3438682E-2</c:v>
                </c:pt>
                <c:pt idx="113">
                  <c:v>1.3432726000000001E-2</c:v>
                </c:pt>
                <c:pt idx="114">
                  <c:v>1.3214050999999999E-2</c:v>
                </c:pt>
                <c:pt idx="115">
                  <c:v>1.3214826000000001E-2</c:v>
                </c:pt>
                <c:pt idx="116">
                  <c:v>1.3243361E-2</c:v>
                </c:pt>
                <c:pt idx="117">
                  <c:v>1.3257979E-2</c:v>
                </c:pt>
                <c:pt idx="118">
                  <c:v>1.3246078999999999E-2</c:v>
                </c:pt>
                <c:pt idx="119">
                  <c:v>1.3172440000000001E-2</c:v>
                </c:pt>
                <c:pt idx="120">
                  <c:v>1.3175628E-2</c:v>
                </c:pt>
                <c:pt idx="121">
                  <c:v>1.3174083E-2</c:v>
                </c:pt>
                <c:pt idx="122">
                  <c:v>1.3192015E-2</c:v>
                </c:pt>
                <c:pt idx="123">
                  <c:v>1.3263710999999999E-2</c:v>
                </c:pt>
                <c:pt idx="124">
                  <c:v>1.3235288E-2</c:v>
                </c:pt>
                <c:pt idx="125">
                  <c:v>1.3235076E-2</c:v>
                </c:pt>
                <c:pt idx="126">
                  <c:v>1.3296850000000001E-2</c:v>
                </c:pt>
                <c:pt idx="127">
                  <c:v>1.3291511000000001E-2</c:v>
                </c:pt>
                <c:pt idx="128">
                  <c:v>1.3301199999999999E-2</c:v>
                </c:pt>
                <c:pt idx="129">
                  <c:v>1.3321339999999999E-2</c:v>
                </c:pt>
                <c:pt idx="130">
                  <c:v>1.3286256E-2</c:v>
                </c:pt>
                <c:pt idx="131">
                  <c:v>1.3236456000000001E-2</c:v>
                </c:pt>
                <c:pt idx="132">
                  <c:v>1.3232261E-2</c:v>
                </c:pt>
                <c:pt idx="133">
                  <c:v>1.3213911E-2</c:v>
                </c:pt>
                <c:pt idx="134">
                  <c:v>1.3214244E-2</c:v>
                </c:pt>
                <c:pt idx="135">
                  <c:v>1.3282663E-2</c:v>
                </c:pt>
                <c:pt idx="136">
                  <c:v>1.3318366E-2</c:v>
                </c:pt>
                <c:pt idx="137">
                  <c:v>1.3313063999999999E-2</c:v>
                </c:pt>
                <c:pt idx="138">
                  <c:v>1.3289959E-2</c:v>
                </c:pt>
                <c:pt idx="139">
                  <c:v>1.3150756E-2</c:v>
                </c:pt>
                <c:pt idx="140">
                  <c:v>1.3142558E-2</c:v>
                </c:pt>
                <c:pt idx="141">
                  <c:v>1.3141719E-2</c:v>
                </c:pt>
                <c:pt idx="142">
                  <c:v>1.2822271999999999E-2</c:v>
                </c:pt>
                <c:pt idx="143">
                  <c:v>1.2870311000000001E-2</c:v>
                </c:pt>
                <c:pt idx="144">
                  <c:v>1.2868086000000001E-2</c:v>
                </c:pt>
                <c:pt idx="145">
                  <c:v>1.2832695E-2</c:v>
                </c:pt>
                <c:pt idx="146">
                  <c:v>1.2844444E-2</c:v>
                </c:pt>
                <c:pt idx="147">
                  <c:v>1.3016768999999999E-2</c:v>
                </c:pt>
                <c:pt idx="148">
                  <c:v>1.3108392E-2</c:v>
                </c:pt>
                <c:pt idx="149">
                  <c:v>1.3111555E-2</c:v>
                </c:pt>
                <c:pt idx="150">
                  <c:v>1.3112205E-2</c:v>
                </c:pt>
                <c:pt idx="151">
                  <c:v>1.3101836E-2</c:v>
                </c:pt>
                <c:pt idx="152">
                  <c:v>1.3110785999999999E-2</c:v>
                </c:pt>
                <c:pt idx="153">
                  <c:v>1.3259468E-2</c:v>
                </c:pt>
                <c:pt idx="154">
                  <c:v>1.2779278E-2</c:v>
                </c:pt>
                <c:pt idx="155">
                  <c:v>1.3002329E-2</c:v>
                </c:pt>
                <c:pt idx="156">
                  <c:v>1.3029002E-2</c:v>
                </c:pt>
                <c:pt idx="157">
                  <c:v>1.3011709E-2</c:v>
                </c:pt>
                <c:pt idx="158">
                  <c:v>1.3018266000000001E-2</c:v>
                </c:pt>
                <c:pt idx="159">
                  <c:v>1.2995820999999999E-2</c:v>
                </c:pt>
                <c:pt idx="160">
                  <c:v>1.2963432E-2</c:v>
                </c:pt>
                <c:pt idx="161">
                  <c:v>1.3001214000000001E-2</c:v>
                </c:pt>
                <c:pt idx="162">
                  <c:v>1.2871601E-2</c:v>
                </c:pt>
                <c:pt idx="163">
                  <c:v>1.28512E-2</c:v>
                </c:pt>
                <c:pt idx="164">
                  <c:v>1.2859606000000001E-2</c:v>
                </c:pt>
                <c:pt idx="165">
                  <c:v>1.2476859E-2</c:v>
                </c:pt>
                <c:pt idx="166">
                  <c:v>9.2951700000000002E-3</c:v>
                </c:pt>
                <c:pt idx="167">
                  <c:v>9.2966030000000005E-3</c:v>
                </c:pt>
                <c:pt idx="168">
                  <c:v>9.2747300000000001E-3</c:v>
                </c:pt>
                <c:pt idx="169">
                  <c:v>9.331031E-3</c:v>
                </c:pt>
                <c:pt idx="170">
                  <c:v>9.3091619999999993E-3</c:v>
                </c:pt>
                <c:pt idx="171">
                  <c:v>9.2698420000000004E-3</c:v>
                </c:pt>
                <c:pt idx="172">
                  <c:v>9.2441229999999999E-3</c:v>
                </c:pt>
                <c:pt idx="173">
                  <c:v>9.5449360000000004E-3</c:v>
                </c:pt>
                <c:pt idx="174">
                  <c:v>9.5171209999999999E-3</c:v>
                </c:pt>
                <c:pt idx="175">
                  <c:v>9.5398319999999998E-3</c:v>
                </c:pt>
                <c:pt idx="176">
                  <c:v>9.5153830000000005E-3</c:v>
                </c:pt>
                <c:pt idx="177">
                  <c:v>9.7680809999999996E-3</c:v>
                </c:pt>
                <c:pt idx="178">
                  <c:v>9.6484069999999995E-3</c:v>
                </c:pt>
                <c:pt idx="179">
                  <c:v>9.7175960000000002E-3</c:v>
                </c:pt>
                <c:pt idx="180">
                  <c:v>9.7175260000000006E-3</c:v>
                </c:pt>
                <c:pt idx="181">
                  <c:v>1.0074679E-2</c:v>
                </c:pt>
                <c:pt idx="182">
                  <c:v>1.0231518E-2</c:v>
                </c:pt>
                <c:pt idx="183">
                  <c:v>1.0219485E-2</c:v>
                </c:pt>
                <c:pt idx="184">
                  <c:v>1.0216842E-2</c:v>
                </c:pt>
                <c:pt idx="185">
                  <c:v>1.1376646000000001E-2</c:v>
                </c:pt>
                <c:pt idx="186">
                  <c:v>1.1302174999999999E-2</c:v>
                </c:pt>
                <c:pt idx="187">
                  <c:v>1.1404401E-2</c:v>
                </c:pt>
                <c:pt idx="188">
                  <c:v>1.1408484E-2</c:v>
                </c:pt>
                <c:pt idx="189">
                  <c:v>1.1407607E-2</c:v>
                </c:pt>
                <c:pt idx="190">
                  <c:v>1.1524381E-2</c:v>
                </c:pt>
                <c:pt idx="191">
                  <c:v>1.1512199000000001E-2</c:v>
                </c:pt>
                <c:pt idx="192">
                  <c:v>1.1515275E-2</c:v>
                </c:pt>
                <c:pt idx="193">
                  <c:v>1.1607981999999999E-2</c:v>
                </c:pt>
                <c:pt idx="194">
                  <c:v>1.1679613E-2</c:v>
                </c:pt>
                <c:pt idx="195">
                  <c:v>1.1678055E-2</c:v>
                </c:pt>
                <c:pt idx="196">
                  <c:v>1.1673694E-2</c:v>
                </c:pt>
                <c:pt idx="197">
                  <c:v>1.1680960000000001E-2</c:v>
                </c:pt>
                <c:pt idx="198">
                  <c:v>1.1718067E-2</c:v>
                </c:pt>
                <c:pt idx="199">
                  <c:v>1.176489E-2</c:v>
                </c:pt>
                <c:pt idx="200">
                  <c:v>1.1757775E-2</c:v>
                </c:pt>
                <c:pt idx="201">
                  <c:v>1.1750617E-2</c:v>
                </c:pt>
                <c:pt idx="202">
                  <c:v>1.1763923000000001E-2</c:v>
                </c:pt>
                <c:pt idx="203">
                  <c:v>1.174306E-2</c:v>
                </c:pt>
                <c:pt idx="204">
                  <c:v>1.176521E-2</c:v>
                </c:pt>
                <c:pt idx="205">
                  <c:v>1.1746345E-2</c:v>
                </c:pt>
                <c:pt idx="206">
                  <c:v>1.1869139000000001E-2</c:v>
                </c:pt>
                <c:pt idx="207">
                  <c:v>1.1756476E-2</c:v>
                </c:pt>
                <c:pt idx="208">
                  <c:v>1.1886938E-2</c:v>
                </c:pt>
                <c:pt idx="209">
                  <c:v>1.1860091E-2</c:v>
                </c:pt>
                <c:pt idx="210">
                  <c:v>1.186134E-2</c:v>
                </c:pt>
                <c:pt idx="211">
                  <c:v>1.1834991E-2</c:v>
                </c:pt>
                <c:pt idx="212">
                  <c:v>1.1857911E-2</c:v>
                </c:pt>
                <c:pt idx="213">
                  <c:v>1.1857914000000001E-2</c:v>
                </c:pt>
                <c:pt idx="214">
                  <c:v>1.1856815999999999E-2</c:v>
                </c:pt>
                <c:pt idx="215">
                  <c:v>1.1905906000000001E-2</c:v>
                </c:pt>
                <c:pt idx="216">
                  <c:v>1.1906375E-2</c:v>
                </c:pt>
                <c:pt idx="217">
                  <c:v>1.199127E-2</c:v>
                </c:pt>
                <c:pt idx="218">
                  <c:v>1.1984132999999999E-2</c:v>
                </c:pt>
                <c:pt idx="219">
                  <c:v>1.1944969E-2</c:v>
                </c:pt>
                <c:pt idx="220">
                  <c:v>1.1947704999999999E-2</c:v>
                </c:pt>
                <c:pt idx="221">
                  <c:v>1.1931697E-2</c:v>
                </c:pt>
                <c:pt idx="222">
                  <c:v>1.1932509000000001E-2</c:v>
                </c:pt>
                <c:pt idx="223">
                  <c:v>1.1934148E-2</c:v>
                </c:pt>
                <c:pt idx="224">
                  <c:v>1.1944675E-2</c:v>
                </c:pt>
                <c:pt idx="225">
                  <c:v>1.1947187E-2</c:v>
                </c:pt>
                <c:pt idx="226">
                  <c:v>1.1909039E-2</c:v>
                </c:pt>
                <c:pt idx="227">
                  <c:v>1.1909918E-2</c:v>
                </c:pt>
                <c:pt idx="228">
                  <c:v>1.1925633999999999E-2</c:v>
                </c:pt>
                <c:pt idx="229">
                  <c:v>1.1795371000000001E-2</c:v>
                </c:pt>
                <c:pt idx="230">
                  <c:v>1.2004781000000001E-2</c:v>
                </c:pt>
                <c:pt idx="231">
                  <c:v>1.2005172E-2</c:v>
                </c:pt>
                <c:pt idx="232">
                  <c:v>1.2066784000000001E-2</c:v>
                </c:pt>
                <c:pt idx="233">
                  <c:v>1.2085675000000001E-2</c:v>
                </c:pt>
                <c:pt idx="234">
                  <c:v>1.2073950999999999E-2</c:v>
                </c:pt>
                <c:pt idx="235">
                  <c:v>1.2080117E-2</c:v>
                </c:pt>
                <c:pt idx="236">
                  <c:v>1.2066211E-2</c:v>
                </c:pt>
                <c:pt idx="237">
                  <c:v>1.1934214E-2</c:v>
                </c:pt>
                <c:pt idx="238">
                  <c:v>1.1930158999999999E-2</c:v>
                </c:pt>
                <c:pt idx="239">
                  <c:v>1.203307E-2</c:v>
                </c:pt>
                <c:pt idx="240">
                  <c:v>1.2056180999999999E-2</c:v>
                </c:pt>
                <c:pt idx="241">
                  <c:v>1.2133669999999999E-2</c:v>
                </c:pt>
                <c:pt idx="242">
                  <c:v>1.2317765E-2</c:v>
                </c:pt>
                <c:pt idx="243">
                  <c:v>1.2248421000000001E-2</c:v>
                </c:pt>
                <c:pt idx="244">
                  <c:v>1.2281677E-2</c:v>
                </c:pt>
                <c:pt idx="245">
                  <c:v>1.228131E-2</c:v>
                </c:pt>
                <c:pt idx="246">
                  <c:v>1.2230438E-2</c:v>
                </c:pt>
                <c:pt idx="247">
                  <c:v>1.2370434E-2</c:v>
                </c:pt>
                <c:pt idx="248">
                  <c:v>1.2342738000000001E-2</c:v>
                </c:pt>
                <c:pt idx="249">
                  <c:v>1.2406702E-2</c:v>
                </c:pt>
                <c:pt idx="250">
                  <c:v>1.2638513000000001E-2</c:v>
                </c:pt>
                <c:pt idx="251">
                  <c:v>1.2665714E-2</c:v>
                </c:pt>
                <c:pt idx="252">
                  <c:v>1.3109064E-2</c:v>
                </c:pt>
                <c:pt idx="253">
                  <c:v>1.3185751000000001E-2</c:v>
                </c:pt>
                <c:pt idx="254">
                  <c:v>1.3198876999999999E-2</c:v>
                </c:pt>
                <c:pt idx="255">
                  <c:v>1.3150815999999999E-2</c:v>
                </c:pt>
                <c:pt idx="256">
                  <c:v>1.3328257E-2</c:v>
                </c:pt>
                <c:pt idx="257">
                  <c:v>1.3473038999999999E-2</c:v>
                </c:pt>
                <c:pt idx="258">
                  <c:v>1.3652528000000001E-2</c:v>
                </c:pt>
                <c:pt idx="259">
                  <c:v>1.3505823E-2</c:v>
                </c:pt>
                <c:pt idx="260">
                  <c:v>1.3459452E-2</c:v>
                </c:pt>
                <c:pt idx="261">
                  <c:v>1.3434756000000001E-2</c:v>
                </c:pt>
                <c:pt idx="262">
                  <c:v>1.3430808000000001E-2</c:v>
                </c:pt>
                <c:pt idx="263">
                  <c:v>1.3333932E-2</c:v>
                </c:pt>
                <c:pt idx="264">
                  <c:v>1.3362384E-2</c:v>
                </c:pt>
                <c:pt idx="265">
                  <c:v>1.3336957999999999E-2</c:v>
                </c:pt>
                <c:pt idx="266">
                  <c:v>1.3326159000000001E-2</c:v>
                </c:pt>
                <c:pt idx="267">
                  <c:v>1.3190950999999999E-2</c:v>
                </c:pt>
                <c:pt idx="268">
                  <c:v>1.3007199000000001E-2</c:v>
                </c:pt>
                <c:pt idx="269">
                  <c:v>1.3010733999999999E-2</c:v>
                </c:pt>
                <c:pt idx="270">
                  <c:v>1.3007812000000001E-2</c:v>
                </c:pt>
                <c:pt idx="271">
                  <c:v>1.2918229999999999E-2</c:v>
                </c:pt>
                <c:pt idx="272">
                  <c:v>1.2923574E-2</c:v>
                </c:pt>
                <c:pt idx="273">
                  <c:v>1.2753964E-2</c:v>
                </c:pt>
                <c:pt idx="274">
                  <c:v>1.2781129E-2</c:v>
                </c:pt>
                <c:pt idx="275">
                  <c:v>1.2555132E-2</c:v>
                </c:pt>
                <c:pt idx="276">
                  <c:v>1.2532122E-2</c:v>
                </c:pt>
                <c:pt idx="277">
                  <c:v>1.2625374999999999E-2</c:v>
                </c:pt>
                <c:pt idx="278">
                  <c:v>1.2612689999999999E-2</c:v>
                </c:pt>
                <c:pt idx="279">
                  <c:v>1.2613825E-2</c:v>
                </c:pt>
                <c:pt idx="280">
                  <c:v>1.261337E-2</c:v>
                </c:pt>
                <c:pt idx="281">
                  <c:v>1.2565905E-2</c:v>
                </c:pt>
                <c:pt idx="282">
                  <c:v>1.2556763E-2</c:v>
                </c:pt>
                <c:pt idx="283">
                  <c:v>1.2596039E-2</c:v>
                </c:pt>
                <c:pt idx="284">
                  <c:v>1.2597077E-2</c:v>
                </c:pt>
                <c:pt idx="285">
                  <c:v>1.2618086000000001E-2</c:v>
                </c:pt>
                <c:pt idx="286">
                  <c:v>1.2609054E-2</c:v>
                </c:pt>
                <c:pt idx="287">
                  <c:v>1.2620475000000001E-2</c:v>
                </c:pt>
                <c:pt idx="288">
                  <c:v>1.2647299000000001E-2</c:v>
                </c:pt>
                <c:pt idx="289">
                  <c:v>1.2687797000000001E-2</c:v>
                </c:pt>
                <c:pt idx="290">
                  <c:v>1.2697170000000001E-2</c:v>
                </c:pt>
                <c:pt idx="291">
                  <c:v>1.269701E-2</c:v>
                </c:pt>
                <c:pt idx="292">
                  <c:v>1.2712242E-2</c:v>
                </c:pt>
                <c:pt idx="293">
                  <c:v>1.2438714999999999E-2</c:v>
                </c:pt>
                <c:pt idx="294">
                  <c:v>1.2439762E-2</c:v>
                </c:pt>
                <c:pt idx="295">
                  <c:v>1.2399076E-2</c:v>
                </c:pt>
                <c:pt idx="296">
                  <c:v>1.2397757000000001E-2</c:v>
                </c:pt>
                <c:pt idx="297">
                  <c:v>1.2161129999999999E-2</c:v>
                </c:pt>
                <c:pt idx="298">
                  <c:v>1.2291874E-2</c:v>
                </c:pt>
                <c:pt idx="299">
                  <c:v>1.2265188999999999E-2</c:v>
                </c:pt>
                <c:pt idx="300">
                  <c:v>1.2267903E-2</c:v>
                </c:pt>
                <c:pt idx="301">
                  <c:v>1.2026909000000001E-2</c:v>
                </c:pt>
                <c:pt idx="302">
                  <c:v>1.1927554999999999E-2</c:v>
                </c:pt>
                <c:pt idx="303">
                  <c:v>1.1904849E-2</c:v>
                </c:pt>
                <c:pt idx="304">
                  <c:v>1.2090859000000001E-2</c:v>
                </c:pt>
                <c:pt idx="305">
                  <c:v>1.1108517E-2</c:v>
                </c:pt>
                <c:pt idx="306">
                  <c:v>1.1091573E-2</c:v>
                </c:pt>
                <c:pt idx="307">
                  <c:v>1.1007497E-2</c:v>
                </c:pt>
                <c:pt idx="308">
                  <c:v>1.1017681E-2</c:v>
                </c:pt>
                <c:pt idx="309">
                  <c:v>1.1054715999999999E-2</c:v>
                </c:pt>
                <c:pt idx="310">
                  <c:v>1.0920737E-2</c:v>
                </c:pt>
                <c:pt idx="311">
                  <c:v>1.0929654E-2</c:v>
                </c:pt>
                <c:pt idx="312">
                  <c:v>1.0915204E-2</c:v>
                </c:pt>
                <c:pt idx="313">
                  <c:v>1.0807206E-2</c:v>
                </c:pt>
                <c:pt idx="314">
                  <c:v>1.0745335999999999E-2</c:v>
                </c:pt>
                <c:pt idx="315">
                  <c:v>1.0789811999999999E-2</c:v>
                </c:pt>
                <c:pt idx="316">
                  <c:v>1.0790176E-2</c:v>
                </c:pt>
                <c:pt idx="317">
                  <c:v>1.0718032000000001E-2</c:v>
                </c:pt>
                <c:pt idx="318">
                  <c:v>1.0687640999999999E-2</c:v>
                </c:pt>
                <c:pt idx="319">
                  <c:v>1.0698462000000001E-2</c:v>
                </c:pt>
                <c:pt idx="320">
                  <c:v>1.0693003E-2</c:v>
                </c:pt>
                <c:pt idx="321">
                  <c:v>1.069026E-2</c:v>
                </c:pt>
                <c:pt idx="322">
                  <c:v>1.0730656999999999E-2</c:v>
                </c:pt>
                <c:pt idx="323">
                  <c:v>1.0745106000000001E-2</c:v>
                </c:pt>
                <c:pt idx="324">
                  <c:v>1.0709389999999999E-2</c:v>
                </c:pt>
                <c:pt idx="325">
                  <c:v>1.0711729E-2</c:v>
                </c:pt>
                <c:pt idx="326">
                  <c:v>1.0564977E-2</c:v>
                </c:pt>
                <c:pt idx="327">
                  <c:v>1.0574569000000001E-2</c:v>
                </c:pt>
                <c:pt idx="328">
                  <c:v>1.0442125E-2</c:v>
                </c:pt>
                <c:pt idx="329">
                  <c:v>1.0444686E-2</c:v>
                </c:pt>
                <c:pt idx="330">
                  <c:v>1.0499309E-2</c:v>
                </c:pt>
                <c:pt idx="331">
                  <c:v>1.0500417999999999E-2</c:v>
                </c:pt>
                <c:pt idx="332">
                  <c:v>1.0474152E-2</c:v>
                </c:pt>
                <c:pt idx="333">
                  <c:v>1.0495658999999999E-2</c:v>
                </c:pt>
                <c:pt idx="334">
                  <c:v>1.0517708000000001E-2</c:v>
                </c:pt>
                <c:pt idx="335">
                  <c:v>1.0583405000000001E-2</c:v>
                </c:pt>
                <c:pt idx="336">
                  <c:v>1.0581386E-2</c:v>
                </c:pt>
                <c:pt idx="337">
                  <c:v>1.0460905E-2</c:v>
                </c:pt>
                <c:pt idx="338">
                  <c:v>1.0462068999999999E-2</c:v>
                </c:pt>
                <c:pt idx="339">
                  <c:v>1.0501603E-2</c:v>
                </c:pt>
                <c:pt idx="340">
                  <c:v>1.0497019999999999E-2</c:v>
                </c:pt>
                <c:pt idx="341">
                  <c:v>1.0504911E-2</c:v>
                </c:pt>
                <c:pt idx="342">
                  <c:v>1.0508824E-2</c:v>
                </c:pt>
                <c:pt idx="343">
                  <c:v>1.0500502E-2</c:v>
                </c:pt>
                <c:pt idx="344">
                  <c:v>1.0535338E-2</c:v>
                </c:pt>
                <c:pt idx="345">
                  <c:v>1.0570593E-2</c:v>
                </c:pt>
                <c:pt idx="346">
                  <c:v>1.0560396E-2</c:v>
                </c:pt>
                <c:pt idx="347">
                  <c:v>1.0602679E-2</c:v>
                </c:pt>
                <c:pt idx="348">
                  <c:v>1.0567043E-2</c:v>
                </c:pt>
                <c:pt idx="349">
                  <c:v>1.0561297000000001E-2</c:v>
                </c:pt>
                <c:pt idx="350">
                  <c:v>1.0313602E-2</c:v>
                </c:pt>
                <c:pt idx="351">
                  <c:v>1.0326423E-2</c:v>
                </c:pt>
                <c:pt idx="352">
                  <c:v>1.0255171E-2</c:v>
                </c:pt>
                <c:pt idx="353">
                  <c:v>1.0287085E-2</c:v>
                </c:pt>
                <c:pt idx="354">
                  <c:v>1.0294012E-2</c:v>
                </c:pt>
                <c:pt idx="355">
                  <c:v>1.0344403E-2</c:v>
                </c:pt>
                <c:pt idx="356">
                  <c:v>1.0363648E-2</c:v>
                </c:pt>
                <c:pt idx="357">
                  <c:v>1.0364777E-2</c:v>
                </c:pt>
                <c:pt idx="358">
                  <c:v>1.0360443E-2</c:v>
                </c:pt>
                <c:pt idx="359">
                  <c:v>1.0460492E-2</c:v>
                </c:pt>
                <c:pt idx="360">
                  <c:v>1.0419345999999999E-2</c:v>
                </c:pt>
                <c:pt idx="361">
                  <c:v>1.0332423E-2</c:v>
                </c:pt>
                <c:pt idx="362">
                  <c:v>1.0067164E-2</c:v>
                </c:pt>
                <c:pt idx="363">
                  <c:v>1.0087153E-2</c:v>
                </c:pt>
                <c:pt idx="364">
                  <c:v>1.0063592999999999E-2</c:v>
                </c:pt>
                <c:pt idx="365">
                  <c:v>1.0070132000000001E-2</c:v>
                </c:pt>
                <c:pt idx="366">
                  <c:v>1.0072565E-2</c:v>
                </c:pt>
                <c:pt idx="367">
                  <c:v>1.0200089000000001E-2</c:v>
                </c:pt>
                <c:pt idx="368">
                  <c:v>1.0220313999999999E-2</c:v>
                </c:pt>
                <c:pt idx="369">
                  <c:v>1.0124533999999999E-2</c:v>
                </c:pt>
                <c:pt idx="370">
                  <c:v>9.8203800000000001E-3</c:v>
                </c:pt>
                <c:pt idx="371">
                  <c:v>9.7742509999999994E-3</c:v>
                </c:pt>
                <c:pt idx="372">
                  <c:v>9.1622600000000002E-3</c:v>
                </c:pt>
                <c:pt idx="373">
                  <c:v>9.1135469999999996E-3</c:v>
                </c:pt>
                <c:pt idx="374">
                  <c:v>9.0876269999999992E-3</c:v>
                </c:pt>
                <c:pt idx="375">
                  <c:v>9.1024810000000008E-3</c:v>
                </c:pt>
                <c:pt idx="376">
                  <c:v>8.9313859999999995E-3</c:v>
                </c:pt>
                <c:pt idx="377">
                  <c:v>8.7056349999999998E-3</c:v>
                </c:pt>
                <c:pt idx="378">
                  <c:v>8.5396029999999998E-3</c:v>
                </c:pt>
                <c:pt idx="379">
                  <c:v>8.6143250000000008E-3</c:v>
                </c:pt>
                <c:pt idx="380">
                  <c:v>8.6237499999999995E-3</c:v>
                </c:pt>
                <c:pt idx="381">
                  <c:v>8.5733779999999996E-3</c:v>
                </c:pt>
                <c:pt idx="382">
                  <c:v>8.7083520000000008E-3</c:v>
                </c:pt>
                <c:pt idx="383">
                  <c:v>8.6631720000000002E-3</c:v>
                </c:pt>
                <c:pt idx="384">
                  <c:v>8.635439E-3</c:v>
                </c:pt>
                <c:pt idx="385">
                  <c:v>8.6043400000000003E-3</c:v>
                </c:pt>
                <c:pt idx="386">
                  <c:v>8.6755410000000002E-3</c:v>
                </c:pt>
                <c:pt idx="387">
                  <c:v>8.7563929999999995E-3</c:v>
                </c:pt>
                <c:pt idx="388">
                  <c:v>9.0573040000000004E-3</c:v>
                </c:pt>
                <c:pt idx="389">
                  <c:v>9.0967389999999995E-3</c:v>
                </c:pt>
                <c:pt idx="390">
                  <c:v>9.4911630000000004E-3</c:v>
                </c:pt>
                <c:pt idx="391">
                  <c:v>9.4509369999999995E-3</c:v>
                </c:pt>
                <c:pt idx="392">
                  <c:v>9.4202030000000003E-3</c:v>
                </c:pt>
                <c:pt idx="393">
                  <c:v>9.4660270000000001E-3</c:v>
                </c:pt>
                <c:pt idx="394">
                  <c:v>9.4144299999999997E-3</c:v>
                </c:pt>
                <c:pt idx="395">
                  <c:v>9.6034280000000007E-3</c:v>
                </c:pt>
                <c:pt idx="396">
                  <c:v>9.5878920000000006E-3</c:v>
                </c:pt>
                <c:pt idx="397">
                  <c:v>9.4477390000000001E-3</c:v>
                </c:pt>
                <c:pt idx="398">
                  <c:v>9.4592889999999992E-3</c:v>
                </c:pt>
                <c:pt idx="399">
                  <c:v>9.4538309999999993E-3</c:v>
                </c:pt>
                <c:pt idx="400">
                  <c:v>9.4936340000000008E-3</c:v>
                </c:pt>
                <c:pt idx="401">
                  <c:v>9.5003150000000005E-3</c:v>
                </c:pt>
                <c:pt idx="402">
                  <c:v>9.5824699999999992E-3</c:v>
                </c:pt>
                <c:pt idx="403">
                  <c:v>9.5400829999999995E-3</c:v>
                </c:pt>
                <c:pt idx="404">
                  <c:v>9.5201629999999999E-3</c:v>
                </c:pt>
                <c:pt idx="405">
                  <c:v>9.4780960000000001E-3</c:v>
                </c:pt>
                <c:pt idx="406">
                  <c:v>9.4853079999999996E-3</c:v>
                </c:pt>
                <c:pt idx="407">
                  <c:v>9.4897200000000001E-3</c:v>
                </c:pt>
                <c:pt idx="408">
                  <c:v>9.4515959999999996E-3</c:v>
                </c:pt>
                <c:pt idx="409">
                  <c:v>9.39218E-3</c:v>
                </c:pt>
                <c:pt idx="410">
                  <c:v>9.7081140000000003E-3</c:v>
                </c:pt>
                <c:pt idx="411">
                  <c:v>9.7179880000000003E-3</c:v>
                </c:pt>
                <c:pt idx="412">
                  <c:v>9.7083629999999994E-3</c:v>
                </c:pt>
                <c:pt idx="413">
                  <c:v>9.7079590000000004E-3</c:v>
                </c:pt>
                <c:pt idx="414">
                  <c:v>9.7077020000000003E-3</c:v>
                </c:pt>
                <c:pt idx="415">
                  <c:v>9.7305510000000005E-3</c:v>
                </c:pt>
                <c:pt idx="416">
                  <c:v>9.731913E-3</c:v>
                </c:pt>
                <c:pt idx="417">
                  <c:v>9.7585120000000004E-3</c:v>
                </c:pt>
                <c:pt idx="418">
                  <c:v>9.5947879999999999E-3</c:v>
                </c:pt>
                <c:pt idx="419">
                  <c:v>9.9695659999999992E-3</c:v>
                </c:pt>
                <c:pt idx="420">
                  <c:v>9.9947060000000008E-3</c:v>
                </c:pt>
                <c:pt idx="421">
                  <c:v>1.0052106E-2</c:v>
                </c:pt>
                <c:pt idx="422">
                  <c:v>1.0126658E-2</c:v>
                </c:pt>
                <c:pt idx="423">
                  <c:v>1.0186334E-2</c:v>
                </c:pt>
                <c:pt idx="424">
                  <c:v>1.0178672999999999E-2</c:v>
                </c:pt>
                <c:pt idx="425">
                  <c:v>1.0153248E-2</c:v>
                </c:pt>
                <c:pt idx="426">
                  <c:v>1.0212466999999999E-2</c:v>
                </c:pt>
                <c:pt idx="427">
                  <c:v>1.0214015999999999E-2</c:v>
                </c:pt>
                <c:pt idx="428">
                  <c:v>1.0219921E-2</c:v>
                </c:pt>
                <c:pt idx="429">
                  <c:v>1.0351330000000001E-2</c:v>
                </c:pt>
                <c:pt idx="430">
                  <c:v>1.0575210999999999E-2</c:v>
                </c:pt>
                <c:pt idx="431">
                  <c:v>1.0716144E-2</c:v>
                </c:pt>
                <c:pt idx="432">
                  <c:v>1.0753585E-2</c:v>
                </c:pt>
                <c:pt idx="433">
                  <c:v>1.0910861000000001E-2</c:v>
                </c:pt>
                <c:pt idx="434">
                  <c:v>1.0912437000000001E-2</c:v>
                </c:pt>
                <c:pt idx="435">
                  <c:v>1.0882655E-2</c:v>
                </c:pt>
                <c:pt idx="436">
                  <c:v>1.0970071E-2</c:v>
                </c:pt>
                <c:pt idx="437">
                  <c:v>1.0967114E-2</c:v>
                </c:pt>
                <c:pt idx="438">
                  <c:v>1.0985239000000001E-2</c:v>
                </c:pt>
                <c:pt idx="439">
                  <c:v>1.0942927E-2</c:v>
                </c:pt>
                <c:pt idx="440">
                  <c:v>1.0944558E-2</c:v>
                </c:pt>
                <c:pt idx="441">
                  <c:v>1.1126087E-2</c:v>
                </c:pt>
                <c:pt idx="442">
                  <c:v>1.106266E-2</c:v>
                </c:pt>
                <c:pt idx="443">
                  <c:v>1.1060323E-2</c:v>
                </c:pt>
                <c:pt idx="444">
                  <c:v>1.1067132E-2</c:v>
                </c:pt>
                <c:pt idx="445">
                  <c:v>1.1063389E-2</c:v>
                </c:pt>
                <c:pt idx="446">
                  <c:v>1.1284136E-2</c:v>
                </c:pt>
                <c:pt idx="447">
                  <c:v>1.1274409000000001E-2</c:v>
                </c:pt>
                <c:pt idx="448">
                  <c:v>1.1436023999999999E-2</c:v>
                </c:pt>
                <c:pt idx="449">
                  <c:v>1.1436824999999999E-2</c:v>
                </c:pt>
                <c:pt idx="450">
                  <c:v>1.1416704E-2</c:v>
                </c:pt>
                <c:pt idx="451">
                  <c:v>1.1453829E-2</c:v>
                </c:pt>
                <c:pt idx="452">
                  <c:v>1.1458061E-2</c:v>
                </c:pt>
                <c:pt idx="453">
                  <c:v>1.1540322E-2</c:v>
                </c:pt>
                <c:pt idx="454">
                  <c:v>1.1534157E-2</c:v>
                </c:pt>
                <c:pt idx="455">
                  <c:v>1.1448725E-2</c:v>
                </c:pt>
                <c:pt idx="456">
                  <c:v>1.1580915000000001E-2</c:v>
                </c:pt>
                <c:pt idx="457">
                  <c:v>1.1584529E-2</c:v>
                </c:pt>
                <c:pt idx="458">
                  <c:v>1.176145E-2</c:v>
                </c:pt>
                <c:pt idx="459">
                  <c:v>1.1738561E-2</c:v>
                </c:pt>
                <c:pt idx="460">
                  <c:v>1.1724442E-2</c:v>
                </c:pt>
                <c:pt idx="461">
                  <c:v>1.1873437000000001E-2</c:v>
                </c:pt>
                <c:pt idx="462">
                  <c:v>1.1874566E-2</c:v>
                </c:pt>
                <c:pt idx="463">
                  <c:v>1.1874483E-2</c:v>
                </c:pt>
                <c:pt idx="464">
                  <c:v>1.1963237E-2</c:v>
                </c:pt>
                <c:pt idx="465">
                  <c:v>1.1984187E-2</c:v>
                </c:pt>
                <c:pt idx="466">
                  <c:v>1.1978704999999999E-2</c:v>
                </c:pt>
                <c:pt idx="467">
                  <c:v>1.195219E-2</c:v>
                </c:pt>
                <c:pt idx="468">
                  <c:v>1.1959251000000001E-2</c:v>
                </c:pt>
                <c:pt idx="469">
                  <c:v>1.1959673000000001E-2</c:v>
                </c:pt>
                <c:pt idx="470">
                  <c:v>1.1933465000000001E-2</c:v>
                </c:pt>
                <c:pt idx="471">
                  <c:v>1.1981268999999999E-2</c:v>
                </c:pt>
                <c:pt idx="472">
                  <c:v>1.1981194000000001E-2</c:v>
                </c:pt>
                <c:pt idx="473">
                  <c:v>1.1937359999999999E-2</c:v>
                </c:pt>
                <c:pt idx="474">
                  <c:v>1.1938485E-2</c:v>
                </c:pt>
                <c:pt idx="475">
                  <c:v>1.1867569E-2</c:v>
                </c:pt>
                <c:pt idx="476">
                  <c:v>1.1855035E-2</c:v>
                </c:pt>
                <c:pt idx="477">
                  <c:v>1.1860064E-2</c:v>
                </c:pt>
                <c:pt idx="478">
                  <c:v>1.1857471E-2</c:v>
                </c:pt>
                <c:pt idx="479">
                  <c:v>1.1703847999999999E-2</c:v>
                </c:pt>
                <c:pt idx="480">
                  <c:v>1.1917766E-2</c:v>
                </c:pt>
                <c:pt idx="481">
                  <c:v>1.1895269E-2</c:v>
                </c:pt>
                <c:pt idx="482">
                  <c:v>1.1920099E-2</c:v>
                </c:pt>
                <c:pt idx="483">
                  <c:v>1.1956702E-2</c:v>
                </c:pt>
                <c:pt idx="484">
                  <c:v>1.2000459E-2</c:v>
                </c:pt>
                <c:pt idx="485">
                  <c:v>1.1998244999999999E-2</c:v>
                </c:pt>
                <c:pt idx="486">
                  <c:v>1.2083391000000001E-2</c:v>
                </c:pt>
                <c:pt idx="487">
                  <c:v>1.1918325E-2</c:v>
                </c:pt>
                <c:pt idx="488">
                  <c:v>1.1924211000000001E-2</c:v>
                </c:pt>
                <c:pt idx="489">
                  <c:v>1.192408E-2</c:v>
                </c:pt>
                <c:pt idx="490">
                  <c:v>1.1990443999999999E-2</c:v>
                </c:pt>
                <c:pt idx="491">
                  <c:v>1.1990316000000001E-2</c:v>
                </c:pt>
                <c:pt idx="492">
                  <c:v>1.2011628E-2</c:v>
                </c:pt>
                <c:pt idx="493">
                  <c:v>1.1972477E-2</c:v>
                </c:pt>
                <c:pt idx="494">
                  <c:v>1.2120852999999999E-2</c:v>
                </c:pt>
                <c:pt idx="495">
                  <c:v>1.2093583999999999E-2</c:v>
                </c:pt>
                <c:pt idx="496">
                  <c:v>1.224073E-2</c:v>
                </c:pt>
                <c:pt idx="497">
                  <c:v>1.2235403000000001E-2</c:v>
                </c:pt>
                <c:pt idx="498">
                  <c:v>1.2280618E-2</c:v>
                </c:pt>
                <c:pt idx="499">
                  <c:v>1.2217923E-2</c:v>
                </c:pt>
                <c:pt idx="500">
                  <c:v>1.2398575E-2</c:v>
                </c:pt>
                <c:pt idx="501">
                  <c:v>1.2437439E-2</c:v>
                </c:pt>
                <c:pt idx="502">
                  <c:v>1.2363511000000001E-2</c:v>
                </c:pt>
                <c:pt idx="503">
                  <c:v>1.2363170999999999E-2</c:v>
                </c:pt>
                <c:pt idx="504">
                  <c:v>1.236574E-2</c:v>
                </c:pt>
                <c:pt idx="505">
                  <c:v>1.2368974E-2</c:v>
                </c:pt>
                <c:pt idx="506">
                  <c:v>1.2317483000000001E-2</c:v>
                </c:pt>
                <c:pt idx="507">
                  <c:v>1.2379724E-2</c:v>
                </c:pt>
                <c:pt idx="508">
                  <c:v>1.2127308999999999E-2</c:v>
                </c:pt>
                <c:pt idx="509">
                  <c:v>1.2222942000000001E-2</c:v>
                </c:pt>
                <c:pt idx="510">
                  <c:v>1.1967063999999999E-2</c:v>
                </c:pt>
                <c:pt idx="511">
                  <c:v>1.1969043E-2</c:v>
                </c:pt>
                <c:pt idx="512">
                  <c:v>1.203271E-2</c:v>
                </c:pt>
                <c:pt idx="513">
                  <c:v>1.1966427E-2</c:v>
                </c:pt>
                <c:pt idx="514">
                  <c:v>1.2041885E-2</c:v>
                </c:pt>
                <c:pt idx="515">
                  <c:v>1.1874686000000001E-2</c:v>
                </c:pt>
                <c:pt idx="516">
                  <c:v>1.1944418E-2</c:v>
                </c:pt>
                <c:pt idx="517">
                  <c:v>1.2005227E-2</c:v>
                </c:pt>
                <c:pt idx="518">
                  <c:v>1.2129147999999999E-2</c:v>
                </c:pt>
                <c:pt idx="519">
                  <c:v>1.2129851000000001E-2</c:v>
                </c:pt>
                <c:pt idx="520">
                  <c:v>1.2093991E-2</c:v>
                </c:pt>
                <c:pt idx="521">
                  <c:v>1.2254053000000001E-2</c:v>
                </c:pt>
                <c:pt idx="522">
                  <c:v>1.2299246E-2</c:v>
                </c:pt>
                <c:pt idx="523">
                  <c:v>1.2310602E-2</c:v>
                </c:pt>
                <c:pt idx="524">
                  <c:v>1.2465484000000001E-2</c:v>
                </c:pt>
                <c:pt idx="525">
                  <c:v>1.2507028E-2</c:v>
                </c:pt>
                <c:pt idx="526">
                  <c:v>1.251122E-2</c:v>
                </c:pt>
                <c:pt idx="527">
                  <c:v>1.2526413E-2</c:v>
                </c:pt>
                <c:pt idx="528">
                  <c:v>1.2543864E-2</c:v>
                </c:pt>
                <c:pt idx="529">
                  <c:v>1.2549939E-2</c:v>
                </c:pt>
                <c:pt idx="530">
                  <c:v>1.2377022E-2</c:v>
                </c:pt>
                <c:pt idx="531">
                  <c:v>1.2405004000000001E-2</c:v>
                </c:pt>
                <c:pt idx="532">
                  <c:v>1.2445182000000001E-2</c:v>
                </c:pt>
                <c:pt idx="533">
                  <c:v>1.2451709E-2</c:v>
                </c:pt>
                <c:pt idx="534">
                  <c:v>1.2787919999999999E-2</c:v>
                </c:pt>
                <c:pt idx="535">
                  <c:v>1.2774432E-2</c:v>
                </c:pt>
                <c:pt idx="536">
                  <c:v>1.2758838E-2</c:v>
                </c:pt>
                <c:pt idx="537">
                  <c:v>1.2735832000000001E-2</c:v>
                </c:pt>
                <c:pt idx="538">
                  <c:v>1.2736532E-2</c:v>
                </c:pt>
                <c:pt idx="539">
                  <c:v>1.243651E-2</c:v>
                </c:pt>
                <c:pt idx="540">
                  <c:v>1.2412796E-2</c:v>
                </c:pt>
                <c:pt idx="541">
                  <c:v>1.2496220000000001E-2</c:v>
                </c:pt>
                <c:pt idx="542">
                  <c:v>1.2422488000000001E-2</c:v>
                </c:pt>
                <c:pt idx="543">
                  <c:v>1.2370848E-2</c:v>
                </c:pt>
                <c:pt idx="544">
                  <c:v>1.226318E-2</c:v>
                </c:pt>
                <c:pt idx="545">
                  <c:v>1.2509716000000001E-2</c:v>
                </c:pt>
                <c:pt idx="546">
                  <c:v>1.2472726999999999E-2</c:v>
                </c:pt>
                <c:pt idx="547">
                  <c:v>1.2485543999999999E-2</c:v>
                </c:pt>
                <c:pt idx="548">
                  <c:v>1.245594E-2</c:v>
                </c:pt>
                <c:pt idx="549">
                  <c:v>1.2473464E-2</c:v>
                </c:pt>
                <c:pt idx="550">
                  <c:v>1.231344E-2</c:v>
                </c:pt>
                <c:pt idx="551">
                  <c:v>1.2202770999999999E-2</c:v>
                </c:pt>
                <c:pt idx="552">
                  <c:v>1.2154082E-2</c:v>
                </c:pt>
                <c:pt idx="553">
                  <c:v>1.1995354E-2</c:v>
                </c:pt>
                <c:pt idx="554">
                  <c:v>1.2064640999999999E-2</c:v>
                </c:pt>
                <c:pt idx="555">
                  <c:v>1.2114504E-2</c:v>
                </c:pt>
                <c:pt idx="556">
                  <c:v>1.201525E-2</c:v>
                </c:pt>
                <c:pt idx="557">
                  <c:v>1.202053E-2</c:v>
                </c:pt>
                <c:pt idx="558">
                  <c:v>1.2312399E-2</c:v>
                </c:pt>
                <c:pt idx="559">
                  <c:v>1.2350616999999999E-2</c:v>
                </c:pt>
                <c:pt idx="560">
                  <c:v>1.2350962E-2</c:v>
                </c:pt>
                <c:pt idx="561">
                  <c:v>1.2158092000000001E-2</c:v>
                </c:pt>
                <c:pt idx="562">
                  <c:v>1.2155869999999999E-2</c:v>
                </c:pt>
                <c:pt idx="563">
                  <c:v>1.2152893E-2</c:v>
                </c:pt>
                <c:pt idx="564">
                  <c:v>1.2175764E-2</c:v>
                </c:pt>
                <c:pt idx="565">
                  <c:v>1.2170706999999999E-2</c:v>
                </c:pt>
                <c:pt idx="566">
                  <c:v>1.2032783E-2</c:v>
                </c:pt>
                <c:pt idx="567">
                  <c:v>1.2047850000000001E-2</c:v>
                </c:pt>
                <c:pt idx="568">
                  <c:v>1.1933154E-2</c:v>
                </c:pt>
                <c:pt idx="569">
                  <c:v>1.1952552E-2</c:v>
                </c:pt>
                <c:pt idx="570">
                  <c:v>1.1889469E-2</c:v>
                </c:pt>
                <c:pt idx="571">
                  <c:v>1.1863209E-2</c:v>
                </c:pt>
                <c:pt idx="572">
                  <c:v>1.1929896000000001E-2</c:v>
                </c:pt>
                <c:pt idx="573">
                  <c:v>1.1859613999999999E-2</c:v>
                </c:pt>
                <c:pt idx="574">
                  <c:v>1.1836091E-2</c:v>
                </c:pt>
                <c:pt idx="575">
                  <c:v>1.1860282999999999E-2</c:v>
                </c:pt>
                <c:pt idx="576">
                  <c:v>1.1765797999999999E-2</c:v>
                </c:pt>
                <c:pt idx="577">
                  <c:v>1.1890461999999999E-2</c:v>
                </c:pt>
                <c:pt idx="578">
                  <c:v>1.1727137E-2</c:v>
                </c:pt>
                <c:pt idx="579">
                  <c:v>1.1697157999999999E-2</c:v>
                </c:pt>
                <c:pt idx="580">
                  <c:v>1.1694642E-2</c:v>
                </c:pt>
                <c:pt idx="581">
                  <c:v>1.1468745000000001E-2</c:v>
                </c:pt>
                <c:pt idx="582">
                  <c:v>1.1459558E-2</c:v>
                </c:pt>
                <c:pt idx="583">
                  <c:v>1.1470665999999999E-2</c:v>
                </c:pt>
                <c:pt idx="584">
                  <c:v>1.1470289E-2</c:v>
                </c:pt>
                <c:pt idx="585">
                  <c:v>1.1359842E-2</c:v>
                </c:pt>
                <c:pt idx="586">
                  <c:v>1.1475203E-2</c:v>
                </c:pt>
                <c:pt idx="587">
                  <c:v>1.1850949E-2</c:v>
                </c:pt>
                <c:pt idx="588">
                  <c:v>1.2500821000000001E-2</c:v>
                </c:pt>
                <c:pt idx="589">
                  <c:v>1.2555376E-2</c:v>
                </c:pt>
                <c:pt idx="590">
                  <c:v>1.2929773E-2</c:v>
                </c:pt>
                <c:pt idx="591">
                  <c:v>1.3327533000000001E-2</c:v>
                </c:pt>
                <c:pt idx="592">
                  <c:v>1.3338179E-2</c:v>
                </c:pt>
                <c:pt idx="593">
                  <c:v>1.3413415999999999E-2</c:v>
                </c:pt>
                <c:pt idx="594">
                  <c:v>1.3758192000000001E-2</c:v>
                </c:pt>
                <c:pt idx="595">
                  <c:v>1.3830258E-2</c:v>
                </c:pt>
                <c:pt idx="596">
                  <c:v>1.3838161999999999E-2</c:v>
                </c:pt>
                <c:pt idx="597">
                  <c:v>1.3844881999999999E-2</c:v>
                </c:pt>
                <c:pt idx="598">
                  <c:v>1.3869685E-2</c:v>
                </c:pt>
                <c:pt idx="599">
                  <c:v>1.3906214E-2</c:v>
                </c:pt>
                <c:pt idx="600">
                  <c:v>1.3909938E-2</c:v>
                </c:pt>
                <c:pt idx="601">
                  <c:v>1.3911450000000001E-2</c:v>
                </c:pt>
                <c:pt idx="602">
                  <c:v>1.4005559000000001E-2</c:v>
                </c:pt>
                <c:pt idx="603">
                  <c:v>1.3943258E-2</c:v>
                </c:pt>
                <c:pt idx="604">
                  <c:v>1.4374679E-2</c:v>
                </c:pt>
                <c:pt idx="605">
                  <c:v>1.4341876E-2</c:v>
                </c:pt>
                <c:pt idx="606">
                  <c:v>1.4298819000000001E-2</c:v>
                </c:pt>
                <c:pt idx="607">
                  <c:v>1.4292268E-2</c:v>
                </c:pt>
                <c:pt idx="608">
                  <c:v>1.4278067E-2</c:v>
                </c:pt>
                <c:pt idx="609">
                  <c:v>1.4296685999999999E-2</c:v>
                </c:pt>
                <c:pt idx="610">
                  <c:v>1.4297481000000001E-2</c:v>
                </c:pt>
                <c:pt idx="611">
                  <c:v>1.4335894E-2</c:v>
                </c:pt>
                <c:pt idx="612">
                  <c:v>1.4351465000000001E-2</c:v>
                </c:pt>
                <c:pt idx="613">
                  <c:v>1.4384650000000001E-2</c:v>
                </c:pt>
                <c:pt idx="614">
                  <c:v>1.428545E-2</c:v>
                </c:pt>
                <c:pt idx="615">
                  <c:v>1.4349717999999999E-2</c:v>
                </c:pt>
                <c:pt idx="616">
                  <c:v>1.4183865E-2</c:v>
                </c:pt>
                <c:pt idx="617">
                  <c:v>1.4172864E-2</c:v>
                </c:pt>
                <c:pt idx="618">
                  <c:v>1.4118524E-2</c:v>
                </c:pt>
                <c:pt idx="619">
                  <c:v>1.4230147E-2</c:v>
                </c:pt>
                <c:pt idx="620">
                  <c:v>1.4101259999999999E-2</c:v>
                </c:pt>
                <c:pt idx="621">
                  <c:v>1.4079634000000001E-2</c:v>
                </c:pt>
                <c:pt idx="622">
                  <c:v>1.4031063E-2</c:v>
                </c:pt>
                <c:pt idx="623">
                  <c:v>1.4458946E-2</c:v>
                </c:pt>
                <c:pt idx="624">
                  <c:v>1.4456198E-2</c:v>
                </c:pt>
                <c:pt idx="625">
                  <c:v>1.444404E-2</c:v>
                </c:pt>
                <c:pt idx="626">
                  <c:v>1.4476117E-2</c:v>
                </c:pt>
                <c:pt idx="627">
                  <c:v>1.4375051E-2</c:v>
                </c:pt>
                <c:pt idx="628">
                  <c:v>1.4389465000000001E-2</c:v>
                </c:pt>
                <c:pt idx="629">
                  <c:v>1.4277053E-2</c:v>
                </c:pt>
                <c:pt idx="630">
                  <c:v>1.4283037E-2</c:v>
                </c:pt>
                <c:pt idx="631">
                  <c:v>1.4279181E-2</c:v>
                </c:pt>
                <c:pt idx="632">
                  <c:v>1.4229642000000001E-2</c:v>
                </c:pt>
                <c:pt idx="633">
                  <c:v>1.4215189E-2</c:v>
                </c:pt>
                <c:pt idx="634">
                  <c:v>1.4154118E-2</c:v>
                </c:pt>
                <c:pt idx="635">
                  <c:v>1.4154149E-2</c:v>
                </c:pt>
                <c:pt idx="636">
                  <c:v>1.4145413000000001E-2</c:v>
                </c:pt>
                <c:pt idx="637">
                  <c:v>1.4097749E-2</c:v>
                </c:pt>
                <c:pt idx="638">
                  <c:v>1.3992077E-2</c:v>
                </c:pt>
                <c:pt idx="639">
                  <c:v>1.3990987E-2</c:v>
                </c:pt>
                <c:pt idx="640">
                  <c:v>1.3992604E-2</c:v>
                </c:pt>
                <c:pt idx="641">
                  <c:v>1.3851506E-2</c:v>
                </c:pt>
                <c:pt idx="642">
                  <c:v>1.3790643999999999E-2</c:v>
                </c:pt>
                <c:pt idx="643">
                  <c:v>1.3780041E-2</c:v>
                </c:pt>
                <c:pt idx="644">
                  <c:v>1.3675265000000001E-2</c:v>
                </c:pt>
                <c:pt idx="645">
                  <c:v>1.3702458000000001E-2</c:v>
                </c:pt>
                <c:pt idx="646">
                  <c:v>1.3700469999999999E-2</c:v>
                </c:pt>
                <c:pt idx="647">
                  <c:v>1.3671462000000001E-2</c:v>
                </c:pt>
                <c:pt idx="648">
                  <c:v>1.3657087E-2</c:v>
                </c:pt>
                <c:pt idx="649">
                  <c:v>1.3637476000000001E-2</c:v>
                </c:pt>
                <c:pt idx="650">
                  <c:v>1.3586766E-2</c:v>
                </c:pt>
                <c:pt idx="651">
                  <c:v>1.3600433E-2</c:v>
                </c:pt>
                <c:pt idx="652">
                  <c:v>1.3534796E-2</c:v>
                </c:pt>
                <c:pt idx="653">
                  <c:v>1.3732515000000001E-2</c:v>
                </c:pt>
                <c:pt idx="654">
                  <c:v>1.3520928E-2</c:v>
                </c:pt>
                <c:pt idx="655">
                  <c:v>1.3518847000000001E-2</c:v>
                </c:pt>
                <c:pt idx="656">
                  <c:v>1.3520452000000001E-2</c:v>
                </c:pt>
                <c:pt idx="657">
                  <c:v>1.3512345E-2</c:v>
                </c:pt>
                <c:pt idx="658">
                  <c:v>1.3494467E-2</c:v>
                </c:pt>
                <c:pt idx="659">
                  <c:v>1.3491791E-2</c:v>
                </c:pt>
                <c:pt idx="660">
                  <c:v>1.3488101000000001E-2</c:v>
                </c:pt>
                <c:pt idx="661">
                  <c:v>1.3437695E-2</c:v>
                </c:pt>
                <c:pt idx="662">
                  <c:v>1.3467939999999999E-2</c:v>
                </c:pt>
                <c:pt idx="663">
                  <c:v>1.3489431E-2</c:v>
                </c:pt>
                <c:pt idx="664">
                  <c:v>1.3421982000000001E-2</c:v>
                </c:pt>
                <c:pt idx="665">
                  <c:v>1.3234631E-2</c:v>
                </c:pt>
                <c:pt idx="666">
                  <c:v>1.3238541E-2</c:v>
                </c:pt>
                <c:pt idx="667">
                  <c:v>1.3224921000000001E-2</c:v>
                </c:pt>
                <c:pt idx="668">
                  <c:v>1.3225125000000001E-2</c:v>
                </c:pt>
                <c:pt idx="669">
                  <c:v>1.3058915000000001E-2</c:v>
                </c:pt>
                <c:pt idx="670">
                  <c:v>1.318542E-2</c:v>
                </c:pt>
                <c:pt idx="671">
                  <c:v>1.3161529999999999E-2</c:v>
                </c:pt>
                <c:pt idx="672">
                  <c:v>1.317396E-2</c:v>
                </c:pt>
                <c:pt idx="673">
                  <c:v>1.3194206E-2</c:v>
                </c:pt>
                <c:pt idx="674">
                  <c:v>1.338045E-2</c:v>
                </c:pt>
                <c:pt idx="675">
                  <c:v>1.3410829000000001E-2</c:v>
                </c:pt>
                <c:pt idx="676">
                  <c:v>1.3396363E-2</c:v>
                </c:pt>
                <c:pt idx="677">
                  <c:v>1.3402193999999999E-2</c:v>
                </c:pt>
                <c:pt idx="678">
                  <c:v>1.3216172999999999E-2</c:v>
                </c:pt>
                <c:pt idx="679">
                  <c:v>1.3173522E-2</c:v>
                </c:pt>
                <c:pt idx="680">
                  <c:v>1.3234622E-2</c:v>
                </c:pt>
                <c:pt idx="681">
                  <c:v>1.3225107999999999E-2</c:v>
                </c:pt>
                <c:pt idx="682">
                  <c:v>1.4075545E-2</c:v>
                </c:pt>
                <c:pt idx="683">
                  <c:v>1.4091341E-2</c:v>
                </c:pt>
                <c:pt idx="684">
                  <c:v>1.4235416000000001E-2</c:v>
                </c:pt>
                <c:pt idx="685">
                  <c:v>1.4247859999999999E-2</c:v>
                </c:pt>
                <c:pt idx="686">
                  <c:v>1.4227943999999999E-2</c:v>
                </c:pt>
                <c:pt idx="687">
                  <c:v>1.4277445E-2</c:v>
                </c:pt>
                <c:pt idx="688">
                  <c:v>1.4391370000000001E-2</c:v>
                </c:pt>
                <c:pt idx="689">
                  <c:v>1.4475669E-2</c:v>
                </c:pt>
                <c:pt idx="690">
                  <c:v>1.4477235999999999E-2</c:v>
                </c:pt>
                <c:pt idx="691">
                  <c:v>1.4434047E-2</c:v>
                </c:pt>
                <c:pt idx="692">
                  <c:v>1.4394984E-2</c:v>
                </c:pt>
                <c:pt idx="693">
                  <c:v>1.4403137E-2</c:v>
                </c:pt>
                <c:pt idx="694">
                  <c:v>1.4402208999999999E-2</c:v>
                </c:pt>
                <c:pt idx="695">
                  <c:v>1.4423943E-2</c:v>
                </c:pt>
                <c:pt idx="696">
                  <c:v>1.4435529000000001E-2</c:v>
                </c:pt>
                <c:pt idx="697">
                  <c:v>1.435523E-2</c:v>
                </c:pt>
                <c:pt idx="698">
                  <c:v>1.4300457000000001E-2</c:v>
                </c:pt>
                <c:pt idx="699">
                  <c:v>1.4392172999999999E-2</c:v>
                </c:pt>
                <c:pt idx="700">
                  <c:v>1.4392881999999999E-2</c:v>
                </c:pt>
                <c:pt idx="701">
                  <c:v>1.4546224999999999E-2</c:v>
                </c:pt>
                <c:pt idx="702">
                  <c:v>1.4552509E-2</c:v>
                </c:pt>
                <c:pt idx="703">
                  <c:v>1.4530289E-2</c:v>
                </c:pt>
                <c:pt idx="704">
                  <c:v>1.4514661E-2</c:v>
                </c:pt>
                <c:pt idx="705">
                  <c:v>1.4543494000000001E-2</c:v>
                </c:pt>
                <c:pt idx="706">
                  <c:v>1.4436396000000001E-2</c:v>
                </c:pt>
                <c:pt idx="707">
                  <c:v>1.4230135E-2</c:v>
                </c:pt>
                <c:pt idx="708">
                  <c:v>1.3714976E-2</c:v>
                </c:pt>
                <c:pt idx="709">
                  <c:v>1.3767629E-2</c:v>
                </c:pt>
                <c:pt idx="710">
                  <c:v>1.3438471E-2</c:v>
                </c:pt>
                <c:pt idx="711">
                  <c:v>1.3041745E-2</c:v>
                </c:pt>
                <c:pt idx="712">
                  <c:v>1.3029824000000001E-2</c:v>
                </c:pt>
                <c:pt idx="713">
                  <c:v>1.2909769E-2</c:v>
                </c:pt>
                <c:pt idx="714">
                  <c:v>1.2519175E-2</c:v>
                </c:pt>
                <c:pt idx="715">
                  <c:v>1.251974E-2</c:v>
                </c:pt>
                <c:pt idx="716">
                  <c:v>1.2526494000000001E-2</c:v>
                </c:pt>
                <c:pt idx="717">
                  <c:v>1.2997745E-2</c:v>
                </c:pt>
                <c:pt idx="718">
                  <c:v>1.3042325E-2</c:v>
                </c:pt>
                <c:pt idx="719">
                  <c:v>1.3006802E-2</c:v>
                </c:pt>
                <c:pt idx="720">
                  <c:v>1.2987596000000001E-2</c:v>
                </c:pt>
                <c:pt idx="721">
                  <c:v>1.3033339999999999E-2</c:v>
                </c:pt>
                <c:pt idx="722">
                  <c:v>1.3037283E-2</c:v>
                </c:pt>
                <c:pt idx="723">
                  <c:v>1.3053379E-2</c:v>
                </c:pt>
                <c:pt idx="724">
                  <c:v>1.2616647E-2</c:v>
                </c:pt>
                <c:pt idx="725">
                  <c:v>1.2790413E-2</c:v>
                </c:pt>
                <c:pt idx="726">
                  <c:v>1.2847992000000001E-2</c:v>
                </c:pt>
                <c:pt idx="727">
                  <c:v>1.2894344E-2</c:v>
                </c:pt>
                <c:pt idx="728">
                  <c:v>1.2923534E-2</c:v>
                </c:pt>
                <c:pt idx="729">
                  <c:v>1.2883431000000001E-2</c:v>
                </c:pt>
                <c:pt idx="730">
                  <c:v>1.2897939000000001E-2</c:v>
                </c:pt>
                <c:pt idx="731">
                  <c:v>1.2861785000000001E-2</c:v>
                </c:pt>
                <c:pt idx="732">
                  <c:v>1.2831715E-2</c:v>
                </c:pt>
                <c:pt idx="733">
                  <c:v>1.2816951E-2</c:v>
                </c:pt>
                <c:pt idx="734">
                  <c:v>1.2841383E-2</c:v>
                </c:pt>
                <c:pt idx="735">
                  <c:v>1.2788456E-2</c:v>
                </c:pt>
                <c:pt idx="736">
                  <c:v>1.285295E-2</c:v>
                </c:pt>
                <c:pt idx="737">
                  <c:v>1.2881248E-2</c:v>
                </c:pt>
                <c:pt idx="738">
                  <c:v>1.2951456E-2</c:v>
                </c:pt>
                <c:pt idx="739">
                  <c:v>1.2831723E-2</c:v>
                </c:pt>
                <c:pt idx="740">
                  <c:v>1.2871941E-2</c:v>
                </c:pt>
                <c:pt idx="741">
                  <c:v>1.296129E-2</c:v>
                </c:pt>
                <c:pt idx="742">
                  <c:v>1.2960453E-2</c:v>
                </c:pt>
                <c:pt idx="743">
                  <c:v>1.2522787000000001E-2</c:v>
                </c:pt>
                <c:pt idx="744">
                  <c:v>1.2543086E-2</c:v>
                </c:pt>
                <c:pt idx="745">
                  <c:v>1.2542536999999999E-2</c:v>
                </c:pt>
                <c:pt idx="746">
                  <c:v>1.2489490000000001E-2</c:v>
                </c:pt>
                <c:pt idx="747">
                  <c:v>1.2488572999999999E-2</c:v>
                </c:pt>
                <c:pt idx="748">
                  <c:v>1.2608915E-2</c:v>
                </c:pt>
                <c:pt idx="749">
                  <c:v>1.2583347999999999E-2</c:v>
                </c:pt>
                <c:pt idx="750">
                  <c:v>1.2564672000000001E-2</c:v>
                </c:pt>
                <c:pt idx="751">
                  <c:v>1.2597117999999999E-2</c:v>
                </c:pt>
                <c:pt idx="752">
                  <c:v>1.2599288E-2</c:v>
                </c:pt>
                <c:pt idx="753">
                  <c:v>1.2619774E-2</c:v>
                </c:pt>
                <c:pt idx="754">
                  <c:v>1.2621402E-2</c:v>
                </c:pt>
                <c:pt idx="755">
                  <c:v>1.2750545E-2</c:v>
                </c:pt>
                <c:pt idx="756">
                  <c:v>1.2858161E-2</c:v>
                </c:pt>
                <c:pt idx="757">
                  <c:v>1.2855042000000001E-2</c:v>
                </c:pt>
                <c:pt idx="758">
                  <c:v>1.3095839999999999E-2</c:v>
                </c:pt>
                <c:pt idx="759">
                  <c:v>1.3095844000000001E-2</c:v>
                </c:pt>
                <c:pt idx="760">
                  <c:v>1.501634E-2</c:v>
                </c:pt>
                <c:pt idx="761">
                  <c:v>1.5035262000000001E-2</c:v>
                </c:pt>
                <c:pt idx="762">
                  <c:v>1.5103754E-2</c:v>
                </c:pt>
                <c:pt idx="763">
                  <c:v>1.5102358999999999E-2</c:v>
                </c:pt>
                <c:pt idx="764">
                  <c:v>1.5090602E-2</c:v>
                </c:pt>
                <c:pt idx="765">
                  <c:v>1.5124448E-2</c:v>
                </c:pt>
                <c:pt idx="766">
                  <c:v>1.518722E-2</c:v>
                </c:pt>
                <c:pt idx="767">
                  <c:v>1.5188333E-2</c:v>
                </c:pt>
                <c:pt idx="768">
                  <c:v>1.5433270000000001E-2</c:v>
                </c:pt>
                <c:pt idx="769">
                  <c:v>1.5457729999999999E-2</c:v>
                </c:pt>
                <c:pt idx="770">
                  <c:v>1.5446512000000001E-2</c:v>
                </c:pt>
                <c:pt idx="771">
                  <c:v>1.5417607999999999E-2</c:v>
                </c:pt>
                <c:pt idx="772">
                  <c:v>1.5428292999999999E-2</c:v>
                </c:pt>
                <c:pt idx="773">
                  <c:v>1.5353764000000001E-2</c:v>
                </c:pt>
                <c:pt idx="774">
                  <c:v>1.5316967000000001E-2</c:v>
                </c:pt>
                <c:pt idx="775">
                  <c:v>1.5321193E-2</c:v>
                </c:pt>
                <c:pt idx="776">
                  <c:v>1.5446932999999999E-2</c:v>
                </c:pt>
                <c:pt idx="777">
                  <c:v>1.5564418E-2</c:v>
                </c:pt>
                <c:pt idx="778">
                  <c:v>1.5562678999999999E-2</c:v>
                </c:pt>
                <c:pt idx="779">
                  <c:v>1.5572266E-2</c:v>
                </c:pt>
                <c:pt idx="780">
                  <c:v>1.5583718999999999E-2</c:v>
                </c:pt>
                <c:pt idx="781">
                  <c:v>1.5518565E-2</c:v>
                </c:pt>
                <c:pt idx="782">
                  <c:v>1.5560780999999999E-2</c:v>
                </c:pt>
                <c:pt idx="783">
                  <c:v>1.5550249E-2</c:v>
                </c:pt>
                <c:pt idx="784">
                  <c:v>1.5865917E-2</c:v>
                </c:pt>
                <c:pt idx="785">
                  <c:v>1.5839542000000002E-2</c:v>
                </c:pt>
                <c:pt idx="786">
                  <c:v>1.5841350000000001E-2</c:v>
                </c:pt>
                <c:pt idx="787">
                  <c:v>1.586156E-2</c:v>
                </c:pt>
                <c:pt idx="788">
                  <c:v>1.5878271999999999E-2</c:v>
                </c:pt>
                <c:pt idx="789">
                  <c:v>1.5870144999999999E-2</c:v>
                </c:pt>
                <c:pt idx="790">
                  <c:v>1.5788086E-2</c:v>
                </c:pt>
                <c:pt idx="791">
                  <c:v>1.5770301E-2</c:v>
                </c:pt>
                <c:pt idx="792">
                  <c:v>1.5859934999999999E-2</c:v>
                </c:pt>
                <c:pt idx="793">
                  <c:v>1.5832453999999999E-2</c:v>
                </c:pt>
                <c:pt idx="794">
                  <c:v>1.5770006999999999E-2</c:v>
                </c:pt>
                <c:pt idx="795">
                  <c:v>1.5810976000000001E-2</c:v>
                </c:pt>
                <c:pt idx="796">
                  <c:v>1.5812633999999999E-2</c:v>
                </c:pt>
                <c:pt idx="797">
                  <c:v>1.5800926999999999E-2</c:v>
                </c:pt>
                <c:pt idx="798">
                  <c:v>1.5748835999999999E-2</c:v>
                </c:pt>
                <c:pt idx="799">
                  <c:v>1.5794776E-2</c:v>
                </c:pt>
                <c:pt idx="800">
                  <c:v>1.5752885000000001E-2</c:v>
                </c:pt>
                <c:pt idx="801">
                  <c:v>1.5760430999999998E-2</c:v>
                </c:pt>
                <c:pt idx="802">
                  <c:v>1.5142876E-2</c:v>
                </c:pt>
                <c:pt idx="803">
                  <c:v>1.5101497E-2</c:v>
                </c:pt>
                <c:pt idx="804">
                  <c:v>1.4950690000000001E-2</c:v>
                </c:pt>
                <c:pt idx="805">
                  <c:v>1.4955945E-2</c:v>
                </c:pt>
                <c:pt idx="806">
                  <c:v>1.50177E-2</c:v>
                </c:pt>
                <c:pt idx="807">
                  <c:v>1.5036045E-2</c:v>
                </c:pt>
                <c:pt idx="808">
                  <c:v>1.5013276000000001E-2</c:v>
                </c:pt>
                <c:pt idx="809">
                  <c:v>1.4912111E-2</c:v>
                </c:pt>
                <c:pt idx="810">
                  <c:v>1.4934863E-2</c:v>
                </c:pt>
                <c:pt idx="811">
                  <c:v>1.5247896E-2</c:v>
                </c:pt>
                <c:pt idx="812">
                  <c:v>1.5250062999999999E-2</c:v>
                </c:pt>
                <c:pt idx="813">
                  <c:v>1.5270860000000001E-2</c:v>
                </c:pt>
                <c:pt idx="814">
                  <c:v>1.5285887999999999E-2</c:v>
                </c:pt>
                <c:pt idx="815">
                  <c:v>1.5257659E-2</c:v>
                </c:pt>
                <c:pt idx="816">
                  <c:v>1.5244018999999999E-2</c:v>
                </c:pt>
                <c:pt idx="817">
                  <c:v>1.5241726000000001E-2</c:v>
                </c:pt>
                <c:pt idx="818">
                  <c:v>1.5261303E-2</c:v>
                </c:pt>
                <c:pt idx="819">
                  <c:v>1.5157591999999999E-2</c:v>
                </c:pt>
                <c:pt idx="820">
                  <c:v>1.5221258E-2</c:v>
                </c:pt>
                <c:pt idx="821">
                  <c:v>1.5177052E-2</c:v>
                </c:pt>
                <c:pt idx="822">
                  <c:v>1.5173282E-2</c:v>
                </c:pt>
                <c:pt idx="823">
                  <c:v>1.5177698E-2</c:v>
                </c:pt>
                <c:pt idx="824">
                  <c:v>1.5177016999999999E-2</c:v>
                </c:pt>
                <c:pt idx="825">
                  <c:v>1.5236338E-2</c:v>
                </c:pt>
                <c:pt idx="826">
                  <c:v>1.5212042E-2</c:v>
                </c:pt>
                <c:pt idx="827">
                  <c:v>1.5167745999999999E-2</c:v>
                </c:pt>
                <c:pt idx="828">
                  <c:v>1.5164398000000001E-2</c:v>
                </c:pt>
                <c:pt idx="829">
                  <c:v>1.5135061E-2</c:v>
                </c:pt>
                <c:pt idx="830">
                  <c:v>1.5139448999999999E-2</c:v>
                </c:pt>
                <c:pt idx="831">
                  <c:v>1.5129747000000001E-2</c:v>
                </c:pt>
                <c:pt idx="832">
                  <c:v>1.5130045999999999E-2</c:v>
                </c:pt>
                <c:pt idx="833">
                  <c:v>1.513221E-2</c:v>
                </c:pt>
                <c:pt idx="834">
                  <c:v>1.5148438E-2</c:v>
                </c:pt>
                <c:pt idx="835">
                  <c:v>1.5139820999999999E-2</c:v>
                </c:pt>
                <c:pt idx="836">
                  <c:v>1.5272264000000001E-2</c:v>
                </c:pt>
                <c:pt idx="837">
                  <c:v>1.4889303E-2</c:v>
                </c:pt>
                <c:pt idx="838">
                  <c:v>1.4819417999999999E-2</c:v>
                </c:pt>
                <c:pt idx="839">
                  <c:v>1.4873503E-2</c:v>
                </c:pt>
                <c:pt idx="840">
                  <c:v>1.4768187E-2</c:v>
                </c:pt>
                <c:pt idx="841">
                  <c:v>1.47843E-2</c:v>
                </c:pt>
                <c:pt idx="842">
                  <c:v>1.467716E-2</c:v>
                </c:pt>
                <c:pt idx="843">
                  <c:v>1.4692241E-2</c:v>
                </c:pt>
                <c:pt idx="844">
                  <c:v>1.4674120000000001E-2</c:v>
                </c:pt>
                <c:pt idx="845">
                  <c:v>1.4527889E-2</c:v>
                </c:pt>
                <c:pt idx="846">
                  <c:v>1.4490196E-2</c:v>
                </c:pt>
                <c:pt idx="847">
                  <c:v>1.4487747E-2</c:v>
                </c:pt>
                <c:pt idx="848">
                  <c:v>1.447439E-2</c:v>
                </c:pt>
                <c:pt idx="849">
                  <c:v>1.4482109E-2</c:v>
                </c:pt>
                <c:pt idx="850">
                  <c:v>1.4418922000000001E-2</c:v>
                </c:pt>
                <c:pt idx="851">
                  <c:v>1.4406179E-2</c:v>
                </c:pt>
                <c:pt idx="852">
                  <c:v>1.4407678E-2</c:v>
                </c:pt>
                <c:pt idx="853">
                  <c:v>1.438408E-2</c:v>
                </c:pt>
                <c:pt idx="854">
                  <c:v>1.4419045E-2</c:v>
                </c:pt>
                <c:pt idx="855">
                  <c:v>1.4506162E-2</c:v>
                </c:pt>
                <c:pt idx="856">
                  <c:v>1.4421351000000001E-2</c:v>
                </c:pt>
                <c:pt idx="857">
                  <c:v>1.4415963E-2</c:v>
                </c:pt>
                <c:pt idx="858">
                  <c:v>1.4266938999999999E-2</c:v>
                </c:pt>
                <c:pt idx="859">
                  <c:v>1.4264346000000001E-2</c:v>
                </c:pt>
                <c:pt idx="860">
                  <c:v>1.4258371000000001E-2</c:v>
                </c:pt>
                <c:pt idx="861">
                  <c:v>1.4187999999999999E-2</c:v>
                </c:pt>
                <c:pt idx="862">
                  <c:v>1.4192529000000001E-2</c:v>
                </c:pt>
                <c:pt idx="863">
                  <c:v>1.4135742999999999E-2</c:v>
                </c:pt>
                <c:pt idx="864">
                  <c:v>1.4127901999999999E-2</c:v>
                </c:pt>
                <c:pt idx="865">
                  <c:v>1.4128673E-2</c:v>
                </c:pt>
                <c:pt idx="866">
                  <c:v>1.4230413000000001E-2</c:v>
                </c:pt>
                <c:pt idx="867">
                  <c:v>1.423138E-2</c:v>
                </c:pt>
                <c:pt idx="868">
                  <c:v>1.4088363E-2</c:v>
                </c:pt>
                <c:pt idx="869">
                  <c:v>1.4089734E-2</c:v>
                </c:pt>
                <c:pt idx="870">
                  <c:v>1.4107031000000001E-2</c:v>
                </c:pt>
                <c:pt idx="871">
                  <c:v>1.4057563E-2</c:v>
                </c:pt>
                <c:pt idx="872">
                  <c:v>1.4179031999999999E-2</c:v>
                </c:pt>
                <c:pt idx="873">
                  <c:v>1.4165787000000001E-2</c:v>
                </c:pt>
                <c:pt idx="874">
                  <c:v>1.4245862E-2</c:v>
                </c:pt>
                <c:pt idx="875">
                  <c:v>1.4118215999999999E-2</c:v>
                </c:pt>
                <c:pt idx="876">
                  <c:v>1.3960143E-2</c:v>
                </c:pt>
                <c:pt idx="877">
                  <c:v>1.3961444E-2</c:v>
                </c:pt>
                <c:pt idx="878">
                  <c:v>1.3782872E-2</c:v>
                </c:pt>
                <c:pt idx="879">
                  <c:v>1.3814553E-2</c:v>
                </c:pt>
                <c:pt idx="880">
                  <c:v>1.1789052E-2</c:v>
                </c:pt>
                <c:pt idx="881">
                  <c:v>1.1767191999999999E-2</c:v>
                </c:pt>
                <c:pt idx="882">
                  <c:v>1.1632203000000001E-2</c:v>
                </c:pt>
                <c:pt idx="883">
                  <c:v>1.1680471E-2</c:v>
                </c:pt>
                <c:pt idx="884">
                  <c:v>1.1663376E-2</c:v>
                </c:pt>
                <c:pt idx="885">
                  <c:v>1.1561259000000001E-2</c:v>
                </c:pt>
                <c:pt idx="886">
                  <c:v>1.1487702000000001E-2</c:v>
                </c:pt>
                <c:pt idx="887">
                  <c:v>1.1570153999999999E-2</c:v>
                </c:pt>
                <c:pt idx="888">
                  <c:v>1.1260078E-2</c:v>
                </c:pt>
                <c:pt idx="889">
                  <c:v>1.1214389E-2</c:v>
                </c:pt>
                <c:pt idx="890">
                  <c:v>1.1243632999999999E-2</c:v>
                </c:pt>
                <c:pt idx="891">
                  <c:v>1.1221702E-2</c:v>
                </c:pt>
                <c:pt idx="892">
                  <c:v>1.1228616E-2</c:v>
                </c:pt>
                <c:pt idx="893">
                  <c:v>1.1084056E-2</c:v>
                </c:pt>
                <c:pt idx="894">
                  <c:v>1.1024000000000001E-2</c:v>
                </c:pt>
                <c:pt idx="895">
                  <c:v>1.1021206E-2</c:v>
                </c:pt>
                <c:pt idx="896">
                  <c:v>1.0833570000000001E-2</c:v>
                </c:pt>
                <c:pt idx="897">
                  <c:v>1.0657187E-2</c:v>
                </c:pt>
                <c:pt idx="898">
                  <c:v>1.0664953E-2</c:v>
                </c:pt>
                <c:pt idx="899">
                  <c:v>1.0645971000000001E-2</c:v>
                </c:pt>
                <c:pt idx="900">
                  <c:v>1.0613531000000001E-2</c:v>
                </c:pt>
                <c:pt idx="901">
                  <c:v>1.0661911E-2</c:v>
                </c:pt>
                <c:pt idx="902">
                  <c:v>1.0558444E-2</c:v>
                </c:pt>
                <c:pt idx="903">
                  <c:v>1.0668363E-2</c:v>
                </c:pt>
                <c:pt idx="904">
                  <c:v>1.0382044E-2</c:v>
                </c:pt>
                <c:pt idx="905">
                  <c:v>1.0400772000000001E-2</c:v>
                </c:pt>
                <c:pt idx="906">
                  <c:v>1.0404765999999999E-2</c:v>
                </c:pt>
                <c:pt idx="907">
                  <c:v>1.0353727E-2</c:v>
                </c:pt>
                <c:pt idx="908">
                  <c:v>1.0320943000000001E-2</c:v>
                </c:pt>
                <c:pt idx="909">
                  <c:v>1.0353543999999999E-2</c:v>
                </c:pt>
                <c:pt idx="910">
                  <c:v>1.0349383E-2</c:v>
                </c:pt>
                <c:pt idx="911">
                  <c:v>1.0495948999999999E-2</c:v>
                </c:pt>
                <c:pt idx="912">
                  <c:v>1.0375423999999999E-2</c:v>
                </c:pt>
                <c:pt idx="913">
                  <c:v>1.0509931E-2</c:v>
                </c:pt>
                <c:pt idx="914">
                  <c:v>1.0340334E-2</c:v>
                </c:pt>
                <c:pt idx="915">
                  <c:v>1.0195486E-2</c:v>
                </c:pt>
                <c:pt idx="916">
                  <c:v>1.018904E-2</c:v>
                </c:pt>
                <c:pt idx="917">
                  <c:v>1.0183978E-2</c:v>
                </c:pt>
                <c:pt idx="918">
                  <c:v>1.0217422E-2</c:v>
                </c:pt>
                <c:pt idx="919">
                  <c:v>1.0354578999999999E-2</c:v>
                </c:pt>
                <c:pt idx="920">
                  <c:v>1.0349647999999999E-2</c:v>
                </c:pt>
                <c:pt idx="921">
                  <c:v>1.0331015000000001E-2</c:v>
                </c:pt>
                <c:pt idx="922">
                  <c:v>1.0239886E-2</c:v>
                </c:pt>
                <c:pt idx="923">
                  <c:v>1.0290633E-2</c:v>
                </c:pt>
                <c:pt idx="924">
                  <c:v>1.0280696000000001E-2</c:v>
                </c:pt>
                <c:pt idx="925">
                  <c:v>1.0275015E-2</c:v>
                </c:pt>
                <c:pt idx="926">
                  <c:v>1.0201150000000001E-2</c:v>
                </c:pt>
                <c:pt idx="927">
                  <c:v>1.0270319E-2</c:v>
                </c:pt>
                <c:pt idx="928">
                  <c:v>1.0158794000000001E-2</c:v>
                </c:pt>
                <c:pt idx="929">
                  <c:v>1.0112896E-2</c:v>
                </c:pt>
                <c:pt idx="930">
                  <c:v>1.0194241E-2</c:v>
                </c:pt>
                <c:pt idx="931">
                  <c:v>9.6658249999999994E-3</c:v>
                </c:pt>
                <c:pt idx="932">
                  <c:v>9.6671459999999997E-3</c:v>
                </c:pt>
                <c:pt idx="933">
                  <c:v>9.6567770000000001E-3</c:v>
                </c:pt>
                <c:pt idx="934">
                  <c:v>9.6166120000000001E-3</c:v>
                </c:pt>
                <c:pt idx="935">
                  <c:v>9.6031329999999998E-3</c:v>
                </c:pt>
                <c:pt idx="936">
                  <c:v>9.6044609999999999E-3</c:v>
                </c:pt>
                <c:pt idx="937">
                  <c:v>9.7433699999999995E-3</c:v>
                </c:pt>
                <c:pt idx="938">
                  <c:v>9.6740339999999998E-3</c:v>
                </c:pt>
                <c:pt idx="939">
                  <c:v>9.6739789999999992E-3</c:v>
                </c:pt>
                <c:pt idx="940">
                  <c:v>9.8500229999999994E-3</c:v>
                </c:pt>
                <c:pt idx="941">
                  <c:v>9.7411709999999999E-3</c:v>
                </c:pt>
                <c:pt idx="942">
                  <c:v>9.7499769999999999E-3</c:v>
                </c:pt>
                <c:pt idx="943">
                  <c:v>9.7478319999999997E-3</c:v>
                </c:pt>
                <c:pt idx="944">
                  <c:v>9.6581210000000004E-3</c:v>
                </c:pt>
                <c:pt idx="945">
                  <c:v>9.5415819999999998E-3</c:v>
                </c:pt>
                <c:pt idx="946">
                  <c:v>9.582419E-3</c:v>
                </c:pt>
                <c:pt idx="947">
                  <c:v>9.561557E-3</c:v>
                </c:pt>
                <c:pt idx="948">
                  <c:v>9.5691279999999997E-3</c:v>
                </c:pt>
                <c:pt idx="949">
                  <c:v>9.5493339999999996E-3</c:v>
                </c:pt>
                <c:pt idx="950">
                  <c:v>9.5357759999999993E-3</c:v>
                </c:pt>
                <c:pt idx="951">
                  <c:v>9.5509779999999999E-3</c:v>
                </c:pt>
                <c:pt idx="952">
                  <c:v>9.5474770000000004E-3</c:v>
                </c:pt>
                <c:pt idx="953">
                  <c:v>9.5607069999999999E-3</c:v>
                </c:pt>
                <c:pt idx="954">
                  <c:v>9.5369860000000008E-3</c:v>
                </c:pt>
                <c:pt idx="955">
                  <c:v>9.3808910000000006E-3</c:v>
                </c:pt>
                <c:pt idx="956">
                  <c:v>9.1532149999999993E-3</c:v>
                </c:pt>
                <c:pt idx="957">
                  <c:v>9.165276E-3</c:v>
                </c:pt>
                <c:pt idx="958">
                  <c:v>9.1716420000000007E-3</c:v>
                </c:pt>
                <c:pt idx="959">
                  <c:v>9.1519540000000003E-3</c:v>
                </c:pt>
                <c:pt idx="960">
                  <c:v>9.1775639999999992E-3</c:v>
                </c:pt>
                <c:pt idx="961">
                  <c:v>9.1426479999999997E-3</c:v>
                </c:pt>
                <c:pt idx="962">
                  <c:v>9.1435969999999998E-3</c:v>
                </c:pt>
                <c:pt idx="963">
                  <c:v>9.0713949999999995E-3</c:v>
                </c:pt>
                <c:pt idx="964">
                  <c:v>9.0682999999999996E-3</c:v>
                </c:pt>
                <c:pt idx="965">
                  <c:v>9.0702070000000003E-3</c:v>
                </c:pt>
                <c:pt idx="966">
                  <c:v>9.054744E-3</c:v>
                </c:pt>
                <c:pt idx="967">
                  <c:v>9.1929769999999997E-3</c:v>
                </c:pt>
                <c:pt idx="968">
                  <c:v>9.3426800000000008E-3</c:v>
                </c:pt>
                <c:pt idx="969">
                  <c:v>9.3423559999999996E-3</c:v>
                </c:pt>
                <c:pt idx="970">
                  <c:v>9.3346579999999992E-3</c:v>
                </c:pt>
                <c:pt idx="971">
                  <c:v>9.3424030000000009E-3</c:v>
                </c:pt>
                <c:pt idx="972">
                  <c:v>9.3509319999999993E-3</c:v>
                </c:pt>
                <c:pt idx="973">
                  <c:v>9.4051440000000007E-3</c:v>
                </c:pt>
                <c:pt idx="974">
                  <c:v>9.3199489999999992E-3</c:v>
                </c:pt>
                <c:pt idx="975">
                  <c:v>9.0825119999999992E-3</c:v>
                </c:pt>
                <c:pt idx="976">
                  <c:v>9.1241129999999997E-3</c:v>
                </c:pt>
                <c:pt idx="977">
                  <c:v>9.0647620000000005E-3</c:v>
                </c:pt>
                <c:pt idx="978">
                  <c:v>9.1090670000000002E-3</c:v>
                </c:pt>
                <c:pt idx="979">
                  <c:v>9.6690470000000001E-3</c:v>
                </c:pt>
                <c:pt idx="980">
                  <c:v>9.8884330000000003E-3</c:v>
                </c:pt>
                <c:pt idx="981">
                  <c:v>9.8571400000000003E-3</c:v>
                </c:pt>
                <c:pt idx="982">
                  <c:v>9.9142970000000007E-3</c:v>
                </c:pt>
                <c:pt idx="983">
                  <c:v>1.0261617000000001E-2</c:v>
                </c:pt>
                <c:pt idx="984">
                  <c:v>1.0860104000000001E-2</c:v>
                </c:pt>
                <c:pt idx="985">
                  <c:v>1.0987424000000001E-2</c:v>
                </c:pt>
                <c:pt idx="986">
                  <c:v>1.0796699999999999E-2</c:v>
                </c:pt>
                <c:pt idx="987">
                  <c:v>1.0814096E-2</c:v>
                </c:pt>
                <c:pt idx="988">
                  <c:v>1.0985778E-2</c:v>
                </c:pt>
                <c:pt idx="989">
                  <c:v>1.0946183999999999E-2</c:v>
                </c:pt>
                <c:pt idx="990">
                  <c:v>1.1704371999999999E-2</c:v>
                </c:pt>
                <c:pt idx="991">
                  <c:v>1.1739318E-2</c:v>
                </c:pt>
                <c:pt idx="992">
                  <c:v>1.1613639E-2</c:v>
                </c:pt>
                <c:pt idx="993">
                  <c:v>1.1686887999999999E-2</c:v>
                </c:pt>
                <c:pt idx="994">
                  <c:v>1.1728333000000001E-2</c:v>
                </c:pt>
                <c:pt idx="995">
                  <c:v>1.1733274E-2</c:v>
                </c:pt>
                <c:pt idx="996">
                  <c:v>1.1795681000000001E-2</c:v>
                </c:pt>
                <c:pt idx="997">
                  <c:v>1.1987223E-2</c:v>
                </c:pt>
                <c:pt idx="998">
                  <c:v>1.2021979E-2</c:v>
                </c:pt>
                <c:pt idx="999">
                  <c:v>1.1963638E-2</c:v>
                </c:pt>
                <c:pt idx="1000">
                  <c:v>1.1979549000000001E-2</c:v>
                </c:pt>
                <c:pt idx="1001">
                  <c:v>1.3242491E-2</c:v>
                </c:pt>
                <c:pt idx="1002">
                  <c:v>1.3226857E-2</c:v>
                </c:pt>
                <c:pt idx="1003">
                  <c:v>1.3394622E-2</c:v>
                </c:pt>
                <c:pt idx="1004">
                  <c:v>1.338948E-2</c:v>
                </c:pt>
                <c:pt idx="1005">
                  <c:v>1.3382263E-2</c:v>
                </c:pt>
                <c:pt idx="1006">
                  <c:v>1.3444444999999999E-2</c:v>
                </c:pt>
                <c:pt idx="1007">
                  <c:v>1.3400917E-2</c:v>
                </c:pt>
                <c:pt idx="1008">
                  <c:v>1.3549006000000001E-2</c:v>
                </c:pt>
                <c:pt idx="1009">
                  <c:v>1.357409E-2</c:v>
                </c:pt>
                <c:pt idx="1010">
                  <c:v>1.3560114999999999E-2</c:v>
                </c:pt>
                <c:pt idx="1011">
                  <c:v>1.3566071000000001E-2</c:v>
                </c:pt>
                <c:pt idx="1012">
                  <c:v>1.356921E-2</c:v>
                </c:pt>
                <c:pt idx="1013">
                  <c:v>1.3568826000000001E-2</c:v>
                </c:pt>
                <c:pt idx="1014">
                  <c:v>1.363207E-2</c:v>
                </c:pt>
                <c:pt idx="1015">
                  <c:v>1.3615052000000001E-2</c:v>
                </c:pt>
                <c:pt idx="1016">
                  <c:v>1.3617964E-2</c:v>
                </c:pt>
                <c:pt idx="1017">
                  <c:v>1.3734101E-2</c:v>
                </c:pt>
                <c:pt idx="1018">
                  <c:v>1.3735837000000001E-2</c:v>
                </c:pt>
                <c:pt idx="1019">
                  <c:v>1.3792270000000001E-2</c:v>
                </c:pt>
                <c:pt idx="1020">
                  <c:v>1.3822674E-2</c:v>
                </c:pt>
                <c:pt idx="1021">
                  <c:v>1.3881058E-2</c:v>
                </c:pt>
                <c:pt idx="1022">
                  <c:v>1.3898406E-2</c:v>
                </c:pt>
                <c:pt idx="1023">
                  <c:v>1.3848932E-2</c:v>
                </c:pt>
                <c:pt idx="1024">
                  <c:v>1.3778785999999999E-2</c:v>
                </c:pt>
                <c:pt idx="1025">
                  <c:v>1.3759311999999999E-2</c:v>
                </c:pt>
                <c:pt idx="1026">
                  <c:v>1.3760049999999999E-2</c:v>
                </c:pt>
                <c:pt idx="1027">
                  <c:v>1.4679503E-2</c:v>
                </c:pt>
                <c:pt idx="1028">
                  <c:v>1.4671910999999999E-2</c:v>
                </c:pt>
                <c:pt idx="1029">
                  <c:v>1.4674731E-2</c:v>
                </c:pt>
                <c:pt idx="1030">
                  <c:v>1.4658377E-2</c:v>
                </c:pt>
                <c:pt idx="1031">
                  <c:v>1.4791830000000001E-2</c:v>
                </c:pt>
                <c:pt idx="1032">
                  <c:v>1.4795533E-2</c:v>
                </c:pt>
                <c:pt idx="1033">
                  <c:v>1.4720062000000001E-2</c:v>
                </c:pt>
                <c:pt idx="1034">
                  <c:v>1.4713141000000001E-2</c:v>
                </c:pt>
                <c:pt idx="1035">
                  <c:v>1.4736608999999999E-2</c:v>
                </c:pt>
                <c:pt idx="1036">
                  <c:v>1.4743101E-2</c:v>
                </c:pt>
                <c:pt idx="1037">
                  <c:v>1.4800061E-2</c:v>
                </c:pt>
                <c:pt idx="1038">
                  <c:v>1.4829475E-2</c:v>
                </c:pt>
                <c:pt idx="1039">
                  <c:v>1.5107376E-2</c:v>
                </c:pt>
                <c:pt idx="1040">
                  <c:v>1.5136276000000001E-2</c:v>
                </c:pt>
                <c:pt idx="1041">
                  <c:v>1.5150393E-2</c:v>
                </c:pt>
                <c:pt idx="1042">
                  <c:v>1.5093972000000001E-2</c:v>
                </c:pt>
                <c:pt idx="1043">
                  <c:v>1.5241187999999999E-2</c:v>
                </c:pt>
                <c:pt idx="1044">
                  <c:v>1.5309649E-2</c:v>
                </c:pt>
                <c:pt idx="1045">
                  <c:v>1.5426954999999999E-2</c:v>
                </c:pt>
                <c:pt idx="1046">
                  <c:v>1.5427958E-2</c:v>
                </c:pt>
                <c:pt idx="1047">
                  <c:v>1.5344675E-2</c:v>
                </c:pt>
                <c:pt idx="1048">
                  <c:v>1.5344534E-2</c:v>
                </c:pt>
                <c:pt idx="1049">
                  <c:v>1.5521478999999999E-2</c:v>
                </c:pt>
                <c:pt idx="1050">
                  <c:v>1.5516396E-2</c:v>
                </c:pt>
                <c:pt idx="1051">
                  <c:v>1.5554715E-2</c:v>
                </c:pt>
                <c:pt idx="1052">
                  <c:v>1.5587026E-2</c:v>
                </c:pt>
                <c:pt idx="1053">
                  <c:v>1.5582655000000001E-2</c:v>
                </c:pt>
                <c:pt idx="1054">
                  <c:v>1.5580126999999999E-2</c:v>
                </c:pt>
                <c:pt idx="1055">
                  <c:v>1.5603522999999999E-2</c:v>
                </c:pt>
                <c:pt idx="1056">
                  <c:v>1.5603150999999999E-2</c:v>
                </c:pt>
                <c:pt idx="1057">
                  <c:v>1.5510337000000001E-2</c:v>
                </c:pt>
                <c:pt idx="1058">
                  <c:v>1.5510101E-2</c:v>
                </c:pt>
                <c:pt idx="1059">
                  <c:v>1.5626867999999999E-2</c:v>
                </c:pt>
                <c:pt idx="1060">
                  <c:v>1.5452492999999999E-2</c:v>
                </c:pt>
                <c:pt idx="1061">
                  <c:v>1.543574E-2</c:v>
                </c:pt>
                <c:pt idx="1062">
                  <c:v>1.5421506E-2</c:v>
                </c:pt>
                <c:pt idx="1063">
                  <c:v>1.5506367E-2</c:v>
                </c:pt>
                <c:pt idx="1064">
                  <c:v>1.5526646999999999E-2</c:v>
                </c:pt>
                <c:pt idx="1065">
                  <c:v>1.5522688999999999E-2</c:v>
                </c:pt>
                <c:pt idx="1066">
                  <c:v>1.5505629999999999E-2</c:v>
                </c:pt>
                <c:pt idx="1067">
                  <c:v>1.5568495999999999E-2</c:v>
                </c:pt>
                <c:pt idx="1068">
                  <c:v>1.5559922E-2</c:v>
                </c:pt>
                <c:pt idx="1069">
                  <c:v>1.5528877999999999E-2</c:v>
                </c:pt>
                <c:pt idx="1070">
                  <c:v>1.5534097E-2</c:v>
                </c:pt>
                <c:pt idx="1071">
                  <c:v>1.5550395999999999E-2</c:v>
                </c:pt>
                <c:pt idx="1072">
                  <c:v>1.5551216E-2</c:v>
                </c:pt>
                <c:pt idx="1073">
                  <c:v>1.5601014E-2</c:v>
                </c:pt>
                <c:pt idx="1074">
                  <c:v>1.5607718E-2</c:v>
                </c:pt>
                <c:pt idx="1075">
                  <c:v>1.5605667E-2</c:v>
                </c:pt>
                <c:pt idx="1076">
                  <c:v>1.5595115E-2</c:v>
                </c:pt>
                <c:pt idx="1077">
                  <c:v>1.5565373E-2</c:v>
                </c:pt>
                <c:pt idx="1078">
                  <c:v>1.5597372E-2</c:v>
                </c:pt>
                <c:pt idx="1079">
                  <c:v>1.5541050000000001E-2</c:v>
                </c:pt>
                <c:pt idx="1080">
                  <c:v>1.5570189E-2</c:v>
                </c:pt>
                <c:pt idx="1081">
                  <c:v>1.5571E-2</c:v>
                </c:pt>
                <c:pt idx="1082">
                  <c:v>1.559575E-2</c:v>
                </c:pt>
                <c:pt idx="1083">
                  <c:v>1.5619991E-2</c:v>
                </c:pt>
                <c:pt idx="1084">
                  <c:v>1.5705037000000002E-2</c:v>
                </c:pt>
                <c:pt idx="1085">
                  <c:v>1.5703432999999999E-2</c:v>
                </c:pt>
                <c:pt idx="1086">
                  <c:v>1.5690213000000001E-2</c:v>
                </c:pt>
                <c:pt idx="1087">
                  <c:v>1.5567421999999999E-2</c:v>
                </c:pt>
                <c:pt idx="1088">
                  <c:v>1.5457375000000001E-2</c:v>
                </c:pt>
                <c:pt idx="1089">
                  <c:v>1.5485548999999999E-2</c:v>
                </c:pt>
                <c:pt idx="1090">
                  <c:v>1.5486959E-2</c:v>
                </c:pt>
                <c:pt idx="1091">
                  <c:v>1.5537685000000001E-2</c:v>
                </c:pt>
                <c:pt idx="1092">
                  <c:v>1.5530049000000001E-2</c:v>
                </c:pt>
                <c:pt idx="1093">
                  <c:v>1.5497719E-2</c:v>
                </c:pt>
                <c:pt idx="1094">
                  <c:v>1.5636899999999999E-2</c:v>
                </c:pt>
                <c:pt idx="1095">
                  <c:v>1.5744021E-2</c:v>
                </c:pt>
                <c:pt idx="1096">
                  <c:v>1.5718808000000001E-2</c:v>
                </c:pt>
                <c:pt idx="1097">
                  <c:v>1.5722776000000001E-2</c:v>
                </c:pt>
                <c:pt idx="1098">
                  <c:v>1.5727998999999999E-2</c:v>
                </c:pt>
                <c:pt idx="1099">
                  <c:v>1.5361090000000001E-2</c:v>
                </c:pt>
                <c:pt idx="1100">
                  <c:v>1.5216847E-2</c:v>
                </c:pt>
                <c:pt idx="1101">
                  <c:v>1.521044E-2</c:v>
                </c:pt>
                <c:pt idx="1102">
                  <c:v>1.5183306000000001E-2</c:v>
                </c:pt>
                <c:pt idx="1103">
                  <c:v>1.4919892000000001E-2</c:v>
                </c:pt>
                <c:pt idx="1104">
                  <c:v>1.4476416000000001E-2</c:v>
                </c:pt>
                <c:pt idx="1105">
                  <c:v>1.4401257000000001E-2</c:v>
                </c:pt>
                <c:pt idx="1106">
                  <c:v>1.4448361E-2</c:v>
                </c:pt>
                <c:pt idx="1107">
                  <c:v>1.4522155E-2</c:v>
                </c:pt>
                <c:pt idx="1108">
                  <c:v>1.4403796E-2</c:v>
                </c:pt>
                <c:pt idx="1109">
                  <c:v>1.4509604000000001E-2</c:v>
                </c:pt>
                <c:pt idx="1110">
                  <c:v>1.4016191000000001E-2</c:v>
                </c:pt>
                <c:pt idx="1111">
                  <c:v>1.4194844E-2</c:v>
                </c:pt>
                <c:pt idx="1112">
                  <c:v>1.4195495000000001E-2</c:v>
                </c:pt>
                <c:pt idx="1113">
                  <c:v>1.4204714E-2</c:v>
                </c:pt>
                <c:pt idx="1114">
                  <c:v>1.4121946E-2</c:v>
                </c:pt>
                <c:pt idx="1115">
                  <c:v>1.4137418000000001E-2</c:v>
                </c:pt>
                <c:pt idx="1116">
                  <c:v>1.4111306000000001E-2</c:v>
                </c:pt>
                <c:pt idx="1117">
                  <c:v>1.3922053E-2</c:v>
                </c:pt>
                <c:pt idx="1118">
                  <c:v>1.3889050999999999E-2</c:v>
                </c:pt>
                <c:pt idx="1119">
                  <c:v>1.3888668E-2</c:v>
                </c:pt>
                <c:pt idx="1120">
                  <c:v>1.3894455999999999E-2</c:v>
                </c:pt>
                <c:pt idx="1121">
                  <c:v>1.2821335999999999E-2</c:v>
                </c:pt>
                <c:pt idx="1122">
                  <c:v>1.3037399999999999E-2</c:v>
                </c:pt>
                <c:pt idx="1123">
                  <c:v>1.2821536999999999E-2</c:v>
                </c:pt>
                <c:pt idx="1124">
                  <c:v>1.305534E-2</c:v>
                </c:pt>
                <c:pt idx="1125">
                  <c:v>1.3061451E-2</c:v>
                </c:pt>
                <c:pt idx="1126">
                  <c:v>1.3038559999999999E-2</c:v>
                </c:pt>
                <c:pt idx="1127">
                  <c:v>1.304519E-2</c:v>
                </c:pt>
                <c:pt idx="1128">
                  <c:v>1.3371622E-2</c:v>
                </c:pt>
                <c:pt idx="1129">
                  <c:v>1.3893404999999999E-2</c:v>
                </c:pt>
                <c:pt idx="1130">
                  <c:v>1.3900086000000001E-2</c:v>
                </c:pt>
                <c:pt idx="1131">
                  <c:v>1.3890259E-2</c:v>
                </c:pt>
                <c:pt idx="1132">
                  <c:v>1.3954396000000001E-2</c:v>
                </c:pt>
                <c:pt idx="1133">
                  <c:v>1.4012660999999999E-2</c:v>
                </c:pt>
                <c:pt idx="1134">
                  <c:v>1.4101694999999999E-2</c:v>
                </c:pt>
                <c:pt idx="1135">
                  <c:v>1.4099853000000001E-2</c:v>
                </c:pt>
                <c:pt idx="1136">
                  <c:v>1.4103197E-2</c:v>
                </c:pt>
                <c:pt idx="1137">
                  <c:v>1.4063841000000001E-2</c:v>
                </c:pt>
                <c:pt idx="1138">
                  <c:v>1.4087891E-2</c:v>
                </c:pt>
                <c:pt idx="1139">
                  <c:v>1.4130284999999999E-2</c:v>
                </c:pt>
                <c:pt idx="1140">
                  <c:v>1.4107870999999999E-2</c:v>
                </c:pt>
                <c:pt idx="1141">
                  <c:v>1.4153855E-2</c:v>
                </c:pt>
                <c:pt idx="1142">
                  <c:v>1.4088919E-2</c:v>
                </c:pt>
                <c:pt idx="1143">
                  <c:v>1.4289707E-2</c:v>
                </c:pt>
                <c:pt idx="1144">
                  <c:v>1.4315404E-2</c:v>
                </c:pt>
                <c:pt idx="1145">
                  <c:v>1.4314873000000001E-2</c:v>
                </c:pt>
                <c:pt idx="1146">
                  <c:v>1.4489645000000001E-2</c:v>
                </c:pt>
                <c:pt idx="1147">
                  <c:v>1.3767418999999999E-2</c:v>
                </c:pt>
                <c:pt idx="1148">
                  <c:v>1.3895461E-2</c:v>
                </c:pt>
                <c:pt idx="1149">
                  <c:v>1.3948771E-2</c:v>
                </c:pt>
                <c:pt idx="1150">
                  <c:v>1.4218345E-2</c:v>
                </c:pt>
                <c:pt idx="1151">
                  <c:v>1.4571321999999999E-2</c:v>
                </c:pt>
                <c:pt idx="1152">
                  <c:v>1.4736937E-2</c:v>
                </c:pt>
                <c:pt idx="1153">
                  <c:v>1.4894493E-2</c:v>
                </c:pt>
                <c:pt idx="1154">
                  <c:v>1.4892351999999999E-2</c:v>
                </c:pt>
                <c:pt idx="1155">
                  <c:v>1.5113075E-2</c:v>
                </c:pt>
                <c:pt idx="1156">
                  <c:v>1.5421251E-2</c:v>
                </c:pt>
                <c:pt idx="1157">
                  <c:v>1.5346726E-2</c:v>
                </c:pt>
                <c:pt idx="1158">
                  <c:v>1.528883E-2</c:v>
                </c:pt>
                <c:pt idx="1159">
                  <c:v>1.5240508999999999E-2</c:v>
                </c:pt>
                <c:pt idx="1160">
                  <c:v>1.5275271E-2</c:v>
                </c:pt>
                <c:pt idx="1161">
                  <c:v>1.5344361000000001E-2</c:v>
                </c:pt>
                <c:pt idx="1162">
                  <c:v>1.5391293E-2</c:v>
                </c:pt>
                <c:pt idx="1163">
                  <c:v>1.6570042E-2</c:v>
                </c:pt>
                <c:pt idx="1164">
                  <c:v>1.6469200999999999E-2</c:v>
                </c:pt>
                <c:pt idx="1165">
                  <c:v>1.6941477E-2</c:v>
                </c:pt>
                <c:pt idx="1166">
                  <c:v>1.7000149999999999E-2</c:v>
                </c:pt>
                <c:pt idx="1167">
                  <c:v>1.7020753999999999E-2</c:v>
                </c:pt>
                <c:pt idx="1168">
                  <c:v>1.7098549000000001E-2</c:v>
                </c:pt>
                <c:pt idx="1169">
                  <c:v>1.6923832999999999E-2</c:v>
                </c:pt>
                <c:pt idx="1170">
                  <c:v>1.6925645999999999E-2</c:v>
                </c:pt>
                <c:pt idx="1171">
                  <c:v>1.7140301E-2</c:v>
                </c:pt>
                <c:pt idx="1172">
                  <c:v>1.7106498000000001E-2</c:v>
                </c:pt>
                <c:pt idx="1173">
                  <c:v>1.7184524E-2</c:v>
                </c:pt>
                <c:pt idx="1174">
                  <c:v>1.7326637999999998E-2</c:v>
                </c:pt>
                <c:pt idx="1175">
                  <c:v>1.7322018000000002E-2</c:v>
                </c:pt>
                <c:pt idx="1176">
                  <c:v>1.7320638999999999E-2</c:v>
                </c:pt>
                <c:pt idx="1177">
                  <c:v>1.9715245999999999E-2</c:v>
                </c:pt>
                <c:pt idx="1178">
                  <c:v>1.9895659999999999E-2</c:v>
                </c:pt>
                <c:pt idx="1179">
                  <c:v>2.0067995000000002E-2</c:v>
                </c:pt>
                <c:pt idx="1180">
                  <c:v>2.0083655999999998E-2</c:v>
                </c:pt>
                <c:pt idx="1181">
                  <c:v>2.0154489000000001E-2</c:v>
                </c:pt>
                <c:pt idx="1182">
                  <c:v>2.0186953000000001E-2</c:v>
                </c:pt>
                <c:pt idx="1183">
                  <c:v>2.0192871000000001E-2</c:v>
                </c:pt>
                <c:pt idx="1184">
                  <c:v>2.0193701000000001E-2</c:v>
                </c:pt>
                <c:pt idx="1185">
                  <c:v>2.0220714000000001E-2</c:v>
                </c:pt>
                <c:pt idx="1186">
                  <c:v>2.0223227999999999E-2</c:v>
                </c:pt>
                <c:pt idx="1187">
                  <c:v>2.0149991999999999E-2</c:v>
                </c:pt>
                <c:pt idx="1188">
                  <c:v>2.0248952000000001E-2</c:v>
                </c:pt>
                <c:pt idx="1189">
                  <c:v>2.0282633000000001E-2</c:v>
                </c:pt>
                <c:pt idx="1190">
                  <c:v>2.0376401999999998E-2</c:v>
                </c:pt>
                <c:pt idx="1191">
                  <c:v>2.0392868000000001E-2</c:v>
                </c:pt>
                <c:pt idx="1192">
                  <c:v>2.0385984999999999E-2</c:v>
                </c:pt>
                <c:pt idx="1193">
                  <c:v>2.0361884E-2</c:v>
                </c:pt>
                <c:pt idx="1194">
                  <c:v>2.0359847E-2</c:v>
                </c:pt>
                <c:pt idx="1195">
                  <c:v>2.0360115000000002E-2</c:v>
                </c:pt>
                <c:pt idx="1196">
                  <c:v>2.0381864999999999E-2</c:v>
                </c:pt>
                <c:pt idx="1197">
                  <c:v>2.0382187E-2</c:v>
                </c:pt>
                <c:pt idx="1198">
                  <c:v>2.0336397999999999E-2</c:v>
                </c:pt>
                <c:pt idx="1199">
                  <c:v>2.0349381999999999E-2</c:v>
                </c:pt>
                <c:pt idx="1200">
                  <c:v>2.0300138999999998E-2</c:v>
                </c:pt>
                <c:pt idx="1201">
                  <c:v>2.0365766E-2</c:v>
                </c:pt>
                <c:pt idx="1202">
                  <c:v>2.0370254000000001E-2</c:v>
                </c:pt>
                <c:pt idx="1203">
                  <c:v>2.0364753999999999E-2</c:v>
                </c:pt>
                <c:pt idx="1204">
                  <c:v>2.0310381999999998E-2</c:v>
                </c:pt>
                <c:pt idx="1205">
                  <c:v>2.0306769999999998E-2</c:v>
                </c:pt>
                <c:pt idx="1206">
                  <c:v>2.0348439999999999E-2</c:v>
                </c:pt>
                <c:pt idx="1207">
                  <c:v>2.0326760999999999E-2</c:v>
                </c:pt>
                <c:pt idx="1208">
                  <c:v>2.0332735000000001E-2</c:v>
                </c:pt>
                <c:pt idx="1209">
                  <c:v>2.0308981E-2</c:v>
                </c:pt>
                <c:pt idx="1210">
                  <c:v>2.0306669999999999E-2</c:v>
                </c:pt>
                <c:pt idx="1211">
                  <c:v>2.0372834999999999E-2</c:v>
                </c:pt>
                <c:pt idx="1212">
                  <c:v>2.0366896999999998E-2</c:v>
                </c:pt>
                <c:pt idx="1213">
                  <c:v>2.0358662999999999E-2</c:v>
                </c:pt>
                <c:pt idx="1214">
                  <c:v>2.079686E-2</c:v>
                </c:pt>
                <c:pt idx="1215">
                  <c:v>2.1016349E-2</c:v>
                </c:pt>
                <c:pt idx="1216">
                  <c:v>2.1262044000000001E-2</c:v>
                </c:pt>
                <c:pt idx="1217">
                  <c:v>2.1263878E-2</c:v>
                </c:pt>
                <c:pt idx="1218">
                  <c:v>2.1200323E-2</c:v>
                </c:pt>
                <c:pt idx="1219">
                  <c:v>2.1205762999999999E-2</c:v>
                </c:pt>
                <c:pt idx="1220">
                  <c:v>2.1238503999999998E-2</c:v>
                </c:pt>
                <c:pt idx="1221">
                  <c:v>2.1299728E-2</c:v>
                </c:pt>
                <c:pt idx="1222">
                  <c:v>2.1440043999999998E-2</c:v>
                </c:pt>
                <c:pt idx="1223">
                  <c:v>2.1441781E-2</c:v>
                </c:pt>
                <c:pt idx="1224">
                  <c:v>2.1436144000000001E-2</c:v>
                </c:pt>
                <c:pt idx="1225">
                  <c:v>2.1470405000000001E-2</c:v>
                </c:pt>
                <c:pt idx="1226">
                  <c:v>2.1396658999999998E-2</c:v>
                </c:pt>
                <c:pt idx="1227">
                  <c:v>2.1732781999999999E-2</c:v>
                </c:pt>
                <c:pt idx="1228">
                  <c:v>2.171646E-2</c:v>
                </c:pt>
                <c:pt idx="1229">
                  <c:v>2.1612906000000001E-2</c:v>
                </c:pt>
                <c:pt idx="1230">
                  <c:v>2.1622652999999999E-2</c:v>
                </c:pt>
                <c:pt idx="1231">
                  <c:v>2.1558324E-2</c:v>
                </c:pt>
                <c:pt idx="1232">
                  <c:v>2.1544998999999999E-2</c:v>
                </c:pt>
                <c:pt idx="1233">
                  <c:v>2.1540679E-2</c:v>
                </c:pt>
                <c:pt idx="1234">
                  <c:v>2.1542573999999998E-2</c:v>
                </c:pt>
                <c:pt idx="1235">
                  <c:v>2.1554787999999998E-2</c:v>
                </c:pt>
                <c:pt idx="1236">
                  <c:v>2.1593351E-2</c:v>
                </c:pt>
                <c:pt idx="1237">
                  <c:v>2.1639827E-2</c:v>
                </c:pt>
                <c:pt idx="1238">
                  <c:v>2.2768737000000001E-2</c:v>
                </c:pt>
                <c:pt idx="1239">
                  <c:v>2.2770107000000001E-2</c:v>
                </c:pt>
                <c:pt idx="1240">
                  <c:v>2.3026130999999998E-2</c:v>
                </c:pt>
                <c:pt idx="1241">
                  <c:v>2.4347292E-2</c:v>
                </c:pt>
                <c:pt idx="1242">
                  <c:v>2.4403713E-2</c:v>
                </c:pt>
                <c:pt idx="1243">
                  <c:v>2.4407913999999999E-2</c:v>
                </c:pt>
                <c:pt idx="1244">
                  <c:v>2.4442324000000001E-2</c:v>
                </c:pt>
                <c:pt idx="1245">
                  <c:v>2.4443598E-2</c:v>
                </c:pt>
                <c:pt idx="1246">
                  <c:v>2.4460111E-2</c:v>
                </c:pt>
                <c:pt idx="1247">
                  <c:v>2.4511680000000001E-2</c:v>
                </c:pt>
                <c:pt idx="1248">
                  <c:v>2.4209310000000001E-2</c:v>
                </c:pt>
                <c:pt idx="1249">
                  <c:v>2.4015129999999999E-2</c:v>
                </c:pt>
                <c:pt idx="1250">
                  <c:v>2.401532E-2</c:v>
                </c:pt>
                <c:pt idx="1251">
                  <c:v>2.4107295000000001E-2</c:v>
                </c:pt>
                <c:pt idx="1252">
                  <c:v>2.4087569999999999E-2</c:v>
                </c:pt>
                <c:pt idx="1253">
                  <c:v>2.4221152999999999E-2</c:v>
                </c:pt>
                <c:pt idx="1254">
                  <c:v>2.4159777E-2</c:v>
                </c:pt>
                <c:pt idx="1255">
                  <c:v>2.4458706E-2</c:v>
                </c:pt>
                <c:pt idx="1256">
                  <c:v>2.4881494000000001E-2</c:v>
                </c:pt>
                <c:pt idx="1257">
                  <c:v>2.4820729E-2</c:v>
                </c:pt>
                <c:pt idx="1258">
                  <c:v>2.4873355E-2</c:v>
                </c:pt>
                <c:pt idx="1259">
                  <c:v>2.5281716999999999E-2</c:v>
                </c:pt>
                <c:pt idx="1260">
                  <c:v>2.5428870999999999E-2</c:v>
                </c:pt>
                <c:pt idx="1261">
                  <c:v>2.5387565000000001E-2</c:v>
                </c:pt>
                <c:pt idx="1262">
                  <c:v>2.5413201E-2</c:v>
                </c:pt>
                <c:pt idx="1263">
                  <c:v>2.5444848999999999E-2</c:v>
                </c:pt>
                <c:pt idx="1264">
                  <c:v>2.6049950999999998E-2</c:v>
                </c:pt>
                <c:pt idx="1265">
                  <c:v>2.6346484E-2</c:v>
                </c:pt>
                <c:pt idx="1266">
                  <c:v>2.6358406000000001E-2</c:v>
                </c:pt>
                <c:pt idx="1267">
                  <c:v>2.6286934000000001E-2</c:v>
                </c:pt>
                <c:pt idx="1268">
                  <c:v>2.6218621000000001E-2</c:v>
                </c:pt>
                <c:pt idx="1269">
                  <c:v>2.6182529E-2</c:v>
                </c:pt>
                <c:pt idx="1270">
                  <c:v>2.6031479E-2</c:v>
                </c:pt>
                <c:pt idx="1271">
                  <c:v>2.5900032E-2</c:v>
                </c:pt>
                <c:pt idx="1272">
                  <c:v>2.5869360000000001E-2</c:v>
                </c:pt>
                <c:pt idx="1273">
                  <c:v>2.578076E-2</c:v>
                </c:pt>
                <c:pt idx="1274">
                  <c:v>2.5783713E-2</c:v>
                </c:pt>
                <c:pt idx="1275">
                  <c:v>2.5881225000000001E-2</c:v>
                </c:pt>
                <c:pt idx="1276">
                  <c:v>2.5961478999999999E-2</c:v>
                </c:pt>
                <c:pt idx="1277">
                  <c:v>2.5962064E-2</c:v>
                </c:pt>
                <c:pt idx="1278">
                  <c:v>2.6007203999999999E-2</c:v>
                </c:pt>
                <c:pt idx="1279">
                  <c:v>2.5779914000000001E-2</c:v>
                </c:pt>
                <c:pt idx="1280">
                  <c:v>2.5719326000000001E-2</c:v>
                </c:pt>
                <c:pt idx="1281">
                  <c:v>2.5709683000000001E-2</c:v>
                </c:pt>
                <c:pt idx="1282">
                  <c:v>2.5683589999999999E-2</c:v>
                </c:pt>
                <c:pt idx="1283">
                  <c:v>2.5135168999999999E-2</c:v>
                </c:pt>
                <c:pt idx="1284">
                  <c:v>2.5269342E-2</c:v>
                </c:pt>
                <c:pt idx="1285">
                  <c:v>2.5057295E-2</c:v>
                </c:pt>
                <c:pt idx="1286">
                  <c:v>2.5053813000000001E-2</c:v>
                </c:pt>
                <c:pt idx="1287">
                  <c:v>2.5024655999999999E-2</c:v>
                </c:pt>
                <c:pt idx="1288">
                  <c:v>2.5028590999999999E-2</c:v>
                </c:pt>
                <c:pt idx="1289">
                  <c:v>2.5057869E-2</c:v>
                </c:pt>
                <c:pt idx="1290">
                  <c:v>2.5081413E-2</c:v>
                </c:pt>
                <c:pt idx="1291">
                  <c:v>2.4931492E-2</c:v>
                </c:pt>
                <c:pt idx="1292">
                  <c:v>2.4934026000000001E-2</c:v>
                </c:pt>
                <c:pt idx="1293">
                  <c:v>2.4866872000000002E-2</c:v>
                </c:pt>
                <c:pt idx="1294">
                  <c:v>2.4831282E-2</c:v>
                </c:pt>
                <c:pt idx="1295">
                  <c:v>2.4936871999999999E-2</c:v>
                </c:pt>
                <c:pt idx="1296">
                  <c:v>2.5342092E-2</c:v>
                </c:pt>
                <c:pt idx="1297">
                  <c:v>2.3568414999999999E-2</c:v>
                </c:pt>
                <c:pt idx="1298">
                  <c:v>2.3435529E-2</c:v>
                </c:pt>
                <c:pt idx="1299">
                  <c:v>2.3245180000000001E-2</c:v>
                </c:pt>
                <c:pt idx="1300">
                  <c:v>2.3250449999999999E-2</c:v>
                </c:pt>
                <c:pt idx="1301">
                  <c:v>2.3182161E-2</c:v>
                </c:pt>
                <c:pt idx="1302">
                  <c:v>2.3161075999999999E-2</c:v>
                </c:pt>
                <c:pt idx="1303">
                  <c:v>2.3162275999999999E-2</c:v>
                </c:pt>
                <c:pt idx="1304">
                  <c:v>2.3158367999999999E-2</c:v>
                </c:pt>
                <c:pt idx="1305">
                  <c:v>2.3136179999999999E-2</c:v>
                </c:pt>
                <c:pt idx="1306">
                  <c:v>2.3184601999999999E-2</c:v>
                </c:pt>
                <c:pt idx="1307">
                  <c:v>2.3234527000000001E-2</c:v>
                </c:pt>
                <c:pt idx="1308">
                  <c:v>2.3149611E-2</c:v>
                </c:pt>
                <c:pt idx="1309">
                  <c:v>2.312347E-2</c:v>
                </c:pt>
                <c:pt idx="1310">
                  <c:v>2.3178824000000001E-2</c:v>
                </c:pt>
                <c:pt idx="1311">
                  <c:v>2.3154158000000001E-2</c:v>
                </c:pt>
                <c:pt idx="1312">
                  <c:v>2.3674724000000001E-2</c:v>
                </c:pt>
                <c:pt idx="1313">
                  <c:v>2.3686136E-2</c:v>
                </c:pt>
                <c:pt idx="1314">
                  <c:v>2.3773387999999999E-2</c:v>
                </c:pt>
                <c:pt idx="1315">
                  <c:v>2.3772452999999999E-2</c:v>
                </c:pt>
                <c:pt idx="1316">
                  <c:v>2.3777784E-2</c:v>
                </c:pt>
                <c:pt idx="1317">
                  <c:v>2.3794019999999999E-2</c:v>
                </c:pt>
                <c:pt idx="1318">
                  <c:v>2.3839900000000001E-2</c:v>
                </c:pt>
                <c:pt idx="1319">
                  <c:v>2.3831680000000001E-2</c:v>
                </c:pt>
                <c:pt idx="1320">
                  <c:v>2.3844496E-2</c:v>
                </c:pt>
                <c:pt idx="1321">
                  <c:v>2.3784151999999999E-2</c:v>
                </c:pt>
                <c:pt idx="1322">
                  <c:v>2.3819651000000001E-2</c:v>
                </c:pt>
                <c:pt idx="1323">
                  <c:v>2.3907233999999999E-2</c:v>
                </c:pt>
                <c:pt idx="1324">
                  <c:v>2.3909626E-2</c:v>
                </c:pt>
                <c:pt idx="1325">
                  <c:v>2.3996917E-2</c:v>
                </c:pt>
                <c:pt idx="1326">
                  <c:v>2.3957728000000001E-2</c:v>
                </c:pt>
                <c:pt idx="1327">
                  <c:v>2.3943571E-2</c:v>
                </c:pt>
                <c:pt idx="1328">
                  <c:v>2.3934892999999999E-2</c:v>
                </c:pt>
                <c:pt idx="1329">
                  <c:v>2.3918598999999999E-2</c:v>
                </c:pt>
                <c:pt idx="1330">
                  <c:v>2.3923435E-2</c:v>
                </c:pt>
                <c:pt idx="1331">
                  <c:v>2.3853882999999999E-2</c:v>
                </c:pt>
                <c:pt idx="1332">
                  <c:v>2.3855471999999999E-2</c:v>
                </c:pt>
                <c:pt idx="1333">
                  <c:v>2.3888853000000002E-2</c:v>
                </c:pt>
                <c:pt idx="1334">
                  <c:v>2.3700862999999999E-2</c:v>
                </c:pt>
                <c:pt idx="1335">
                  <c:v>2.3440506E-2</c:v>
                </c:pt>
                <c:pt idx="1336">
                  <c:v>2.3337915000000001E-2</c:v>
                </c:pt>
                <c:pt idx="1337">
                  <c:v>2.3350365000000001E-2</c:v>
                </c:pt>
                <c:pt idx="1338">
                  <c:v>2.3352483E-2</c:v>
                </c:pt>
                <c:pt idx="1339">
                  <c:v>2.3788792999999999E-2</c:v>
                </c:pt>
                <c:pt idx="1340">
                  <c:v>2.3781006E-2</c:v>
                </c:pt>
                <c:pt idx="1341">
                  <c:v>2.3751901999999998E-2</c:v>
                </c:pt>
                <c:pt idx="1342">
                  <c:v>2.3601363E-2</c:v>
                </c:pt>
                <c:pt idx="1343">
                  <c:v>2.3630716999999999E-2</c:v>
                </c:pt>
                <c:pt idx="1344">
                  <c:v>2.3688494000000001E-2</c:v>
                </c:pt>
                <c:pt idx="1345">
                  <c:v>2.3804498E-2</c:v>
                </c:pt>
                <c:pt idx="1346">
                  <c:v>2.3900166E-2</c:v>
                </c:pt>
                <c:pt idx="1347">
                  <c:v>2.3660225E-2</c:v>
                </c:pt>
                <c:pt idx="1348">
                  <c:v>2.3567481000000001E-2</c:v>
                </c:pt>
                <c:pt idx="1349">
                  <c:v>2.3986944E-2</c:v>
                </c:pt>
                <c:pt idx="1350">
                  <c:v>2.4014695999999999E-2</c:v>
                </c:pt>
                <c:pt idx="1351">
                  <c:v>2.4026947999999999E-2</c:v>
                </c:pt>
                <c:pt idx="1352">
                  <c:v>2.4033058E-2</c:v>
                </c:pt>
                <c:pt idx="1353">
                  <c:v>2.4254528000000001E-2</c:v>
                </c:pt>
                <c:pt idx="1354">
                  <c:v>2.4284094999999999E-2</c:v>
                </c:pt>
                <c:pt idx="1355">
                  <c:v>2.4295159E-2</c:v>
                </c:pt>
                <c:pt idx="1356">
                  <c:v>2.4230181E-2</c:v>
                </c:pt>
                <c:pt idx="1357">
                  <c:v>2.4179856E-2</c:v>
                </c:pt>
                <c:pt idx="1358">
                  <c:v>2.3311858000000001E-2</c:v>
                </c:pt>
                <c:pt idx="1359">
                  <c:v>2.3708636000000002E-2</c:v>
                </c:pt>
                <c:pt idx="1360">
                  <c:v>2.3547044999999999E-2</c:v>
                </c:pt>
                <c:pt idx="1361">
                  <c:v>2.2341130000000001E-2</c:v>
                </c:pt>
                <c:pt idx="1362">
                  <c:v>2.2230666E-2</c:v>
                </c:pt>
                <c:pt idx="1363">
                  <c:v>2.2257674000000002E-2</c:v>
                </c:pt>
                <c:pt idx="1364">
                  <c:v>2.2355327000000001E-2</c:v>
                </c:pt>
                <c:pt idx="1365">
                  <c:v>2.2450650999999999E-2</c:v>
                </c:pt>
                <c:pt idx="1366">
                  <c:v>2.2361789E-2</c:v>
                </c:pt>
                <c:pt idx="1367">
                  <c:v>2.2267388999999999E-2</c:v>
                </c:pt>
                <c:pt idx="1368">
                  <c:v>2.2333294E-2</c:v>
                </c:pt>
                <c:pt idx="1369">
                  <c:v>2.2306392000000001E-2</c:v>
                </c:pt>
                <c:pt idx="1370">
                  <c:v>2.2331987000000001E-2</c:v>
                </c:pt>
                <c:pt idx="1371">
                  <c:v>2.2223111E-2</c:v>
                </c:pt>
                <c:pt idx="1372">
                  <c:v>2.2219474999999999E-2</c:v>
                </c:pt>
                <c:pt idx="1373">
                  <c:v>2.2144025000000001E-2</c:v>
                </c:pt>
                <c:pt idx="1374">
                  <c:v>2.2437017E-2</c:v>
                </c:pt>
                <c:pt idx="1375">
                  <c:v>2.2238734999999999E-2</c:v>
                </c:pt>
                <c:pt idx="1376">
                  <c:v>2.197381E-2</c:v>
                </c:pt>
                <c:pt idx="1377">
                  <c:v>2.1960567E-2</c:v>
                </c:pt>
                <c:pt idx="1378">
                  <c:v>2.1919912999999999E-2</c:v>
                </c:pt>
                <c:pt idx="1379">
                  <c:v>2.1524773000000001E-2</c:v>
                </c:pt>
                <c:pt idx="1380">
                  <c:v>2.1401459000000001E-2</c:v>
                </c:pt>
                <c:pt idx="1381">
                  <c:v>2.1459890999999998E-2</c:v>
                </c:pt>
                <c:pt idx="1382">
                  <c:v>2.1403314E-2</c:v>
                </c:pt>
                <c:pt idx="1383">
                  <c:v>2.1277385999999999E-2</c:v>
                </c:pt>
                <c:pt idx="1384">
                  <c:v>2.0612213000000001E-2</c:v>
                </c:pt>
                <c:pt idx="1385">
                  <c:v>2.0221223999999999E-2</c:v>
                </c:pt>
                <c:pt idx="1386">
                  <c:v>2.0081361999999998E-2</c:v>
                </c:pt>
                <c:pt idx="1387">
                  <c:v>2.0037644E-2</c:v>
                </c:pt>
                <c:pt idx="1388">
                  <c:v>2.0051814000000001E-2</c:v>
                </c:pt>
                <c:pt idx="1389">
                  <c:v>2.0069856000000001E-2</c:v>
                </c:pt>
                <c:pt idx="1390">
                  <c:v>2.0083039E-2</c:v>
                </c:pt>
                <c:pt idx="1391">
                  <c:v>1.9844493000000001E-2</c:v>
                </c:pt>
                <c:pt idx="1392">
                  <c:v>1.9760481E-2</c:v>
                </c:pt>
                <c:pt idx="1393">
                  <c:v>1.9760499000000001E-2</c:v>
                </c:pt>
                <c:pt idx="1394">
                  <c:v>1.9758985999999999E-2</c:v>
                </c:pt>
                <c:pt idx="1395">
                  <c:v>1.9448681999999998E-2</c:v>
                </c:pt>
                <c:pt idx="1396">
                  <c:v>1.9343850999999999E-2</c:v>
                </c:pt>
                <c:pt idx="1397">
                  <c:v>1.9513202E-2</c:v>
                </c:pt>
                <c:pt idx="1398">
                  <c:v>1.9434857999999999E-2</c:v>
                </c:pt>
                <c:pt idx="1399">
                  <c:v>2.0006757999999999E-2</c:v>
                </c:pt>
                <c:pt idx="1400">
                  <c:v>2.1320003000000001E-2</c:v>
                </c:pt>
                <c:pt idx="1401">
                  <c:v>2.1607596999999999E-2</c:v>
                </c:pt>
                <c:pt idx="1402">
                  <c:v>2.1604088E-2</c:v>
                </c:pt>
                <c:pt idx="1403">
                  <c:v>2.1304511000000002E-2</c:v>
                </c:pt>
                <c:pt idx="1404">
                  <c:v>2.2089589999999999E-2</c:v>
                </c:pt>
                <c:pt idx="1405">
                  <c:v>2.1855451000000001E-2</c:v>
                </c:pt>
                <c:pt idx="1406">
                  <c:v>2.1780842000000002E-2</c:v>
                </c:pt>
                <c:pt idx="1407">
                  <c:v>2.1848458000000001E-2</c:v>
                </c:pt>
                <c:pt idx="1408">
                  <c:v>2.1842133E-2</c:v>
                </c:pt>
                <c:pt idx="1409">
                  <c:v>2.2925998E-2</c:v>
                </c:pt>
                <c:pt idx="1410">
                  <c:v>2.2910653999999999E-2</c:v>
                </c:pt>
                <c:pt idx="1411">
                  <c:v>2.2998652000000001E-2</c:v>
                </c:pt>
                <c:pt idx="1412">
                  <c:v>2.2986151E-2</c:v>
                </c:pt>
                <c:pt idx="1413">
                  <c:v>2.3021364999999998E-2</c:v>
                </c:pt>
                <c:pt idx="1414">
                  <c:v>2.3045171E-2</c:v>
                </c:pt>
                <c:pt idx="1415">
                  <c:v>2.3050544999999999E-2</c:v>
                </c:pt>
                <c:pt idx="1416">
                  <c:v>2.2609042999999999E-2</c:v>
                </c:pt>
                <c:pt idx="1417">
                  <c:v>2.2558449000000001E-2</c:v>
                </c:pt>
                <c:pt idx="1418">
                  <c:v>2.2749340999999999E-2</c:v>
                </c:pt>
                <c:pt idx="1419">
                  <c:v>2.2969804E-2</c:v>
                </c:pt>
                <c:pt idx="1420">
                  <c:v>2.2917461E-2</c:v>
                </c:pt>
                <c:pt idx="1421">
                  <c:v>2.3056792E-2</c:v>
                </c:pt>
                <c:pt idx="1422">
                  <c:v>2.305689E-2</c:v>
                </c:pt>
                <c:pt idx="1423">
                  <c:v>2.3046495E-2</c:v>
                </c:pt>
                <c:pt idx="1424">
                  <c:v>2.3127106000000001E-2</c:v>
                </c:pt>
                <c:pt idx="1425">
                  <c:v>2.3211147000000001E-2</c:v>
                </c:pt>
                <c:pt idx="1426">
                  <c:v>2.3117954999999999E-2</c:v>
                </c:pt>
                <c:pt idx="1427">
                  <c:v>2.3133049999999999E-2</c:v>
                </c:pt>
                <c:pt idx="1428">
                  <c:v>2.3160559000000001E-2</c:v>
                </c:pt>
                <c:pt idx="1429">
                  <c:v>2.3437162000000001E-2</c:v>
                </c:pt>
                <c:pt idx="1430">
                  <c:v>2.3365405999999998E-2</c:v>
                </c:pt>
                <c:pt idx="1431">
                  <c:v>2.3457763999999999E-2</c:v>
                </c:pt>
                <c:pt idx="1432">
                  <c:v>2.3174804E-2</c:v>
                </c:pt>
                <c:pt idx="1433">
                  <c:v>2.3134060000000001E-2</c:v>
                </c:pt>
                <c:pt idx="1434">
                  <c:v>2.3340761000000002E-2</c:v>
                </c:pt>
                <c:pt idx="1435">
                  <c:v>2.3751663999999999E-2</c:v>
                </c:pt>
                <c:pt idx="1436">
                  <c:v>2.389281E-2</c:v>
                </c:pt>
                <c:pt idx="1437">
                  <c:v>2.4065143000000001E-2</c:v>
                </c:pt>
                <c:pt idx="1438">
                  <c:v>2.4076917999999999E-2</c:v>
                </c:pt>
                <c:pt idx="1439">
                  <c:v>2.4351553000000001E-2</c:v>
                </c:pt>
                <c:pt idx="1440">
                  <c:v>2.4391837E-2</c:v>
                </c:pt>
                <c:pt idx="1441">
                  <c:v>2.4374692999999999E-2</c:v>
                </c:pt>
                <c:pt idx="1442">
                  <c:v>2.4641219999999998E-2</c:v>
                </c:pt>
                <c:pt idx="1443">
                  <c:v>2.4980369999999998E-2</c:v>
                </c:pt>
                <c:pt idx="1444">
                  <c:v>2.5096032000000001E-2</c:v>
                </c:pt>
                <c:pt idx="1445">
                  <c:v>2.5401854000000001E-2</c:v>
                </c:pt>
                <c:pt idx="1446">
                  <c:v>2.5361832000000001E-2</c:v>
                </c:pt>
                <c:pt idx="1447">
                  <c:v>2.5524282999999998E-2</c:v>
                </c:pt>
                <c:pt idx="1448">
                  <c:v>2.6022679E-2</c:v>
                </c:pt>
                <c:pt idx="1449">
                  <c:v>2.6016168999999999E-2</c:v>
                </c:pt>
                <c:pt idx="1450">
                  <c:v>2.6418178E-2</c:v>
                </c:pt>
                <c:pt idx="1451">
                  <c:v>2.6439185E-2</c:v>
                </c:pt>
                <c:pt idx="1452">
                  <c:v>2.6432026000000001E-2</c:v>
                </c:pt>
                <c:pt idx="1453">
                  <c:v>2.7065369999999998E-2</c:v>
                </c:pt>
                <c:pt idx="1454">
                  <c:v>2.6946955000000002E-2</c:v>
                </c:pt>
                <c:pt idx="1455">
                  <c:v>2.7016200000000001E-2</c:v>
                </c:pt>
                <c:pt idx="1456">
                  <c:v>2.7059492000000001E-2</c:v>
                </c:pt>
                <c:pt idx="1457">
                  <c:v>2.7157936000000001E-2</c:v>
                </c:pt>
                <c:pt idx="1458">
                  <c:v>2.7132923999999999E-2</c:v>
                </c:pt>
                <c:pt idx="1459">
                  <c:v>2.6880556E-2</c:v>
                </c:pt>
                <c:pt idx="1460">
                  <c:v>2.7240846999999999E-2</c:v>
                </c:pt>
                <c:pt idx="1461">
                  <c:v>2.8436320000000001E-2</c:v>
                </c:pt>
                <c:pt idx="1462">
                  <c:v>2.8400054000000001E-2</c:v>
                </c:pt>
                <c:pt idx="1463">
                  <c:v>2.8381404999999998E-2</c:v>
                </c:pt>
                <c:pt idx="1464">
                  <c:v>2.8400887E-2</c:v>
                </c:pt>
                <c:pt idx="1465">
                  <c:v>2.8706036000000001E-2</c:v>
                </c:pt>
                <c:pt idx="1466">
                  <c:v>2.8760884E-2</c:v>
                </c:pt>
                <c:pt idx="1467">
                  <c:v>2.8767477999999999E-2</c:v>
                </c:pt>
                <c:pt idx="1468">
                  <c:v>2.9061623000000002E-2</c:v>
                </c:pt>
                <c:pt idx="1469">
                  <c:v>2.8869166000000002E-2</c:v>
                </c:pt>
                <c:pt idx="1470">
                  <c:v>2.8872642E-2</c:v>
                </c:pt>
                <c:pt idx="1471">
                  <c:v>2.8868349000000001E-2</c:v>
                </c:pt>
                <c:pt idx="1472">
                  <c:v>2.8883262999999999E-2</c:v>
                </c:pt>
                <c:pt idx="1473">
                  <c:v>2.8779262E-2</c:v>
                </c:pt>
                <c:pt idx="1474">
                  <c:v>2.8766485000000001E-2</c:v>
                </c:pt>
                <c:pt idx="1475">
                  <c:v>2.8743771000000001E-2</c:v>
                </c:pt>
                <c:pt idx="1476">
                  <c:v>2.8745606E-2</c:v>
                </c:pt>
                <c:pt idx="1477">
                  <c:v>2.9080669999999999E-2</c:v>
                </c:pt>
                <c:pt idx="1478">
                  <c:v>2.9128795999999998E-2</c:v>
                </c:pt>
                <c:pt idx="1479">
                  <c:v>2.8891577000000002E-2</c:v>
                </c:pt>
                <c:pt idx="1480">
                  <c:v>2.8844326999999999E-2</c:v>
                </c:pt>
                <c:pt idx="1481">
                  <c:v>2.8959763999999999E-2</c:v>
                </c:pt>
                <c:pt idx="1482">
                  <c:v>2.8928597E-2</c:v>
                </c:pt>
                <c:pt idx="1483">
                  <c:v>2.9038379E-2</c:v>
                </c:pt>
                <c:pt idx="1484">
                  <c:v>2.8854184000000001E-2</c:v>
                </c:pt>
                <c:pt idx="1485">
                  <c:v>2.8816162999999999E-2</c:v>
                </c:pt>
                <c:pt idx="1486">
                  <c:v>2.8808224E-2</c:v>
                </c:pt>
                <c:pt idx="1487">
                  <c:v>2.8779203999999999E-2</c:v>
                </c:pt>
                <c:pt idx="1488">
                  <c:v>2.868105E-2</c:v>
                </c:pt>
                <c:pt idx="1489">
                  <c:v>2.8686033999999999E-2</c:v>
                </c:pt>
                <c:pt idx="1490">
                  <c:v>2.8645349000000001E-2</c:v>
                </c:pt>
                <c:pt idx="1491">
                  <c:v>2.9527149999999999E-2</c:v>
                </c:pt>
                <c:pt idx="1492">
                  <c:v>2.9563659999999999E-2</c:v>
                </c:pt>
                <c:pt idx="1493">
                  <c:v>2.9581166999999998E-2</c:v>
                </c:pt>
                <c:pt idx="1494">
                  <c:v>2.9544343000000001E-2</c:v>
                </c:pt>
                <c:pt idx="1495">
                  <c:v>2.9471226999999999E-2</c:v>
                </c:pt>
                <c:pt idx="1496">
                  <c:v>2.9572755999999999E-2</c:v>
                </c:pt>
                <c:pt idx="1497">
                  <c:v>3.0001950999999999E-2</c:v>
                </c:pt>
                <c:pt idx="1498">
                  <c:v>3.059713E-2</c:v>
                </c:pt>
                <c:pt idx="1499">
                  <c:v>3.0665304000000001E-2</c:v>
                </c:pt>
                <c:pt idx="1500">
                  <c:v>3.0659042000000001E-2</c:v>
                </c:pt>
                <c:pt idx="1501">
                  <c:v>3.0670156000000001E-2</c:v>
                </c:pt>
                <c:pt idx="1502">
                  <c:v>3.094353E-2</c:v>
                </c:pt>
                <c:pt idx="1503">
                  <c:v>3.0927122000000001E-2</c:v>
                </c:pt>
                <c:pt idx="1504">
                  <c:v>3.1210531999999999E-2</c:v>
                </c:pt>
                <c:pt idx="1505">
                  <c:v>3.1211946000000001E-2</c:v>
                </c:pt>
                <c:pt idx="1506">
                  <c:v>3.1293401999999998E-2</c:v>
                </c:pt>
                <c:pt idx="1507">
                  <c:v>3.1277258000000002E-2</c:v>
                </c:pt>
                <c:pt idx="1508">
                  <c:v>3.1344235999999998E-2</c:v>
                </c:pt>
                <c:pt idx="1509">
                  <c:v>3.1295861000000001E-2</c:v>
                </c:pt>
                <c:pt idx="1510">
                  <c:v>3.1710674000000001E-2</c:v>
                </c:pt>
                <c:pt idx="1511">
                  <c:v>3.1672329999999999E-2</c:v>
                </c:pt>
                <c:pt idx="1512">
                  <c:v>3.1891859000000002E-2</c:v>
                </c:pt>
                <c:pt idx="1513">
                  <c:v>3.188792E-2</c:v>
                </c:pt>
                <c:pt idx="1514">
                  <c:v>3.1871691000000001E-2</c:v>
                </c:pt>
                <c:pt idx="1515">
                  <c:v>3.1893943000000001E-2</c:v>
                </c:pt>
                <c:pt idx="1516">
                  <c:v>3.1963733000000001E-2</c:v>
                </c:pt>
                <c:pt idx="1517">
                  <c:v>3.2051446999999997E-2</c:v>
                </c:pt>
                <c:pt idx="1518">
                  <c:v>3.2025562E-2</c:v>
                </c:pt>
                <c:pt idx="1519">
                  <c:v>3.1969749999999998E-2</c:v>
                </c:pt>
                <c:pt idx="1520">
                  <c:v>3.1421848000000002E-2</c:v>
                </c:pt>
                <c:pt idx="1521">
                  <c:v>3.1089406E-2</c:v>
                </c:pt>
                <c:pt idx="1522">
                  <c:v>3.1060173E-2</c:v>
                </c:pt>
                <c:pt idx="1523">
                  <c:v>3.1212989E-2</c:v>
                </c:pt>
                <c:pt idx="1524">
                  <c:v>3.0626382000000001E-2</c:v>
                </c:pt>
                <c:pt idx="1525">
                  <c:v>3.0629281000000001E-2</c:v>
                </c:pt>
                <c:pt idx="1526">
                  <c:v>3.0652987999999999E-2</c:v>
                </c:pt>
                <c:pt idx="1527">
                  <c:v>3.0622149000000001E-2</c:v>
                </c:pt>
                <c:pt idx="1528">
                  <c:v>3.0694128000000001E-2</c:v>
                </c:pt>
                <c:pt idx="1529">
                  <c:v>2.9757399E-2</c:v>
                </c:pt>
                <c:pt idx="1530">
                  <c:v>2.9810310999999999E-2</c:v>
                </c:pt>
                <c:pt idx="1531">
                  <c:v>2.9830888E-2</c:v>
                </c:pt>
                <c:pt idx="1532">
                  <c:v>2.9804139E-2</c:v>
                </c:pt>
                <c:pt idx="1533">
                  <c:v>2.9795386E-2</c:v>
                </c:pt>
                <c:pt idx="1534">
                  <c:v>2.9973013999999999E-2</c:v>
                </c:pt>
                <c:pt idx="1535">
                  <c:v>3.0183532999999999E-2</c:v>
                </c:pt>
                <c:pt idx="1536">
                  <c:v>3.0144838E-2</c:v>
                </c:pt>
                <c:pt idx="1537">
                  <c:v>3.0149727000000001E-2</c:v>
                </c:pt>
                <c:pt idx="1538">
                  <c:v>3.0021879000000001E-2</c:v>
                </c:pt>
                <c:pt idx="1539">
                  <c:v>2.9863659000000001E-2</c:v>
                </c:pt>
                <c:pt idx="1540">
                  <c:v>3.0225429000000002E-2</c:v>
                </c:pt>
                <c:pt idx="1541">
                  <c:v>3.0135439999999999E-2</c:v>
                </c:pt>
                <c:pt idx="1542">
                  <c:v>3.1035546000000001E-2</c:v>
                </c:pt>
                <c:pt idx="1543">
                  <c:v>3.1124866000000001E-2</c:v>
                </c:pt>
                <c:pt idx="1544">
                  <c:v>3.1017143E-2</c:v>
                </c:pt>
                <c:pt idx="1545">
                  <c:v>3.0966858999999999E-2</c:v>
                </c:pt>
                <c:pt idx="1546">
                  <c:v>3.1040315999999998E-2</c:v>
                </c:pt>
                <c:pt idx="1547">
                  <c:v>3.0998367999999998E-2</c:v>
                </c:pt>
                <c:pt idx="1548">
                  <c:v>3.1004388000000001E-2</c:v>
                </c:pt>
                <c:pt idx="1549">
                  <c:v>3.0936958000000001E-2</c:v>
                </c:pt>
                <c:pt idx="1550">
                  <c:v>3.1049778E-2</c:v>
                </c:pt>
                <c:pt idx="1551">
                  <c:v>3.0970498999999999E-2</c:v>
                </c:pt>
                <c:pt idx="1552">
                  <c:v>3.0932019000000002E-2</c:v>
                </c:pt>
                <c:pt idx="1553">
                  <c:v>3.0936638999999998E-2</c:v>
                </c:pt>
                <c:pt idx="1554">
                  <c:v>3.0780592999999998E-2</c:v>
                </c:pt>
                <c:pt idx="1555">
                  <c:v>3.0538348E-2</c:v>
                </c:pt>
                <c:pt idx="1556">
                  <c:v>3.0360196999999998E-2</c:v>
                </c:pt>
                <c:pt idx="1557">
                  <c:v>3.0209118E-2</c:v>
                </c:pt>
                <c:pt idx="1558">
                  <c:v>3.0292059E-2</c:v>
                </c:pt>
                <c:pt idx="1559">
                  <c:v>3.0073595000000002E-2</c:v>
                </c:pt>
                <c:pt idx="1560">
                  <c:v>3.0176162999999999E-2</c:v>
                </c:pt>
                <c:pt idx="1561">
                  <c:v>3.0298057E-2</c:v>
                </c:pt>
                <c:pt idx="1562">
                  <c:v>3.0122072999999999E-2</c:v>
                </c:pt>
                <c:pt idx="1563">
                  <c:v>3.1018547E-2</c:v>
                </c:pt>
                <c:pt idx="1564">
                  <c:v>3.1528584999999998E-2</c:v>
                </c:pt>
                <c:pt idx="1565">
                  <c:v>3.1326706000000003E-2</c:v>
                </c:pt>
                <c:pt idx="1566">
                  <c:v>3.1340393000000001E-2</c:v>
                </c:pt>
                <c:pt idx="1567">
                  <c:v>3.1444646999999999E-2</c:v>
                </c:pt>
                <c:pt idx="1568">
                  <c:v>3.1041046999999999E-2</c:v>
                </c:pt>
                <c:pt idx="1569">
                  <c:v>3.1312983000000003E-2</c:v>
                </c:pt>
                <c:pt idx="1570">
                  <c:v>3.1000748000000002E-2</c:v>
                </c:pt>
                <c:pt idx="1571">
                  <c:v>3.1083682000000001E-2</c:v>
                </c:pt>
                <c:pt idx="1572">
                  <c:v>3.1070776000000001E-2</c:v>
                </c:pt>
                <c:pt idx="1573">
                  <c:v>3.0759834E-2</c:v>
                </c:pt>
                <c:pt idx="1574">
                  <c:v>3.0994957E-2</c:v>
                </c:pt>
                <c:pt idx="1575">
                  <c:v>3.0999011999999999E-2</c:v>
                </c:pt>
                <c:pt idx="1576">
                  <c:v>3.0908958E-2</c:v>
                </c:pt>
                <c:pt idx="1577">
                  <c:v>3.1068683999999999E-2</c:v>
                </c:pt>
                <c:pt idx="1578">
                  <c:v>3.1085420999999998E-2</c:v>
                </c:pt>
                <c:pt idx="1579">
                  <c:v>3.1263327E-2</c:v>
                </c:pt>
                <c:pt idx="1580">
                  <c:v>3.0906362E-2</c:v>
                </c:pt>
                <c:pt idx="1581">
                  <c:v>2.9730009000000002E-2</c:v>
                </c:pt>
                <c:pt idx="1582">
                  <c:v>2.9710529999999999E-2</c:v>
                </c:pt>
                <c:pt idx="1583">
                  <c:v>2.9761422999999999E-2</c:v>
                </c:pt>
                <c:pt idx="1584">
                  <c:v>3.0344612E-2</c:v>
                </c:pt>
                <c:pt idx="1585">
                  <c:v>3.0132881E-2</c:v>
                </c:pt>
                <c:pt idx="1586">
                  <c:v>3.0057571000000002E-2</c:v>
                </c:pt>
                <c:pt idx="1587">
                  <c:v>3.0187986E-2</c:v>
                </c:pt>
                <c:pt idx="1588">
                  <c:v>2.9973203E-2</c:v>
                </c:pt>
                <c:pt idx="1589">
                  <c:v>2.9812302999999998E-2</c:v>
                </c:pt>
                <c:pt idx="1590">
                  <c:v>2.9819488000000002E-2</c:v>
                </c:pt>
                <c:pt idx="1591">
                  <c:v>3.0082844000000001E-2</c:v>
                </c:pt>
                <c:pt idx="1592">
                  <c:v>3.0121327E-2</c:v>
                </c:pt>
                <c:pt idx="1593">
                  <c:v>2.9990913000000001E-2</c:v>
                </c:pt>
                <c:pt idx="1594">
                  <c:v>3.0833111E-2</c:v>
                </c:pt>
                <c:pt idx="1595">
                  <c:v>3.0834501E-2</c:v>
                </c:pt>
                <c:pt idx="1596">
                  <c:v>3.0878289999999999E-2</c:v>
                </c:pt>
                <c:pt idx="1597">
                  <c:v>3.0855001E-2</c:v>
                </c:pt>
                <c:pt idx="1598">
                  <c:v>3.1011209000000001E-2</c:v>
                </c:pt>
                <c:pt idx="1599">
                  <c:v>3.108841E-2</c:v>
                </c:pt>
                <c:pt idx="1600">
                  <c:v>3.1771008000000003E-2</c:v>
                </c:pt>
                <c:pt idx="1601">
                  <c:v>3.2235135999999998E-2</c:v>
                </c:pt>
                <c:pt idx="1602">
                  <c:v>3.2226650000000003E-2</c:v>
                </c:pt>
                <c:pt idx="1603">
                  <c:v>3.2085673000000002E-2</c:v>
                </c:pt>
                <c:pt idx="1604">
                  <c:v>3.2225297999999999E-2</c:v>
                </c:pt>
                <c:pt idx="1605">
                  <c:v>3.2201329000000001E-2</c:v>
                </c:pt>
                <c:pt idx="1606">
                  <c:v>3.2203981E-2</c:v>
                </c:pt>
                <c:pt idx="1607">
                  <c:v>3.2255875000000003E-2</c:v>
                </c:pt>
                <c:pt idx="1608">
                  <c:v>3.2268056000000003E-2</c:v>
                </c:pt>
                <c:pt idx="1609">
                  <c:v>3.2340151999999997E-2</c:v>
                </c:pt>
                <c:pt idx="1610">
                  <c:v>3.2347478999999998E-2</c:v>
                </c:pt>
                <c:pt idx="1611">
                  <c:v>3.1821738000000002E-2</c:v>
                </c:pt>
                <c:pt idx="1612">
                  <c:v>3.1833522000000003E-2</c:v>
                </c:pt>
                <c:pt idx="1613">
                  <c:v>3.1853745000000003E-2</c:v>
                </c:pt>
                <c:pt idx="1614">
                  <c:v>3.1967220999999997E-2</c:v>
                </c:pt>
                <c:pt idx="1615">
                  <c:v>3.2033079999999998E-2</c:v>
                </c:pt>
                <c:pt idx="1616">
                  <c:v>3.1987649999999999E-2</c:v>
                </c:pt>
                <c:pt idx="1617">
                  <c:v>3.1665480000000003E-2</c:v>
                </c:pt>
                <c:pt idx="1618">
                  <c:v>3.1171188999999998E-2</c:v>
                </c:pt>
                <c:pt idx="1619">
                  <c:v>3.1062552E-2</c:v>
                </c:pt>
                <c:pt idx="1620">
                  <c:v>3.1039311E-2</c:v>
                </c:pt>
                <c:pt idx="1621">
                  <c:v>3.0961124999999999E-2</c:v>
                </c:pt>
                <c:pt idx="1622">
                  <c:v>3.0786753E-2</c:v>
                </c:pt>
                <c:pt idx="1623">
                  <c:v>3.0786017999999998E-2</c:v>
                </c:pt>
                <c:pt idx="1624">
                  <c:v>3.0413290999999999E-2</c:v>
                </c:pt>
                <c:pt idx="1625">
                  <c:v>3.0714462000000001E-2</c:v>
                </c:pt>
                <c:pt idx="1626">
                  <c:v>3.0608483999999998E-2</c:v>
                </c:pt>
                <c:pt idx="1627">
                  <c:v>3.0611222E-2</c:v>
                </c:pt>
                <c:pt idx="1628">
                  <c:v>3.0522021E-2</c:v>
                </c:pt>
                <c:pt idx="1629">
                  <c:v>3.0520350000000002E-2</c:v>
                </c:pt>
                <c:pt idx="1630">
                  <c:v>3.0130826999999999E-2</c:v>
                </c:pt>
                <c:pt idx="1631">
                  <c:v>3.0118832000000002E-2</c:v>
                </c:pt>
                <c:pt idx="1632">
                  <c:v>3.0084344999999998E-2</c:v>
                </c:pt>
                <c:pt idx="1633">
                  <c:v>3.0241006000000001E-2</c:v>
                </c:pt>
                <c:pt idx="1634">
                  <c:v>3.0240347000000001E-2</c:v>
                </c:pt>
                <c:pt idx="1635">
                  <c:v>3.0272770000000001E-2</c:v>
                </c:pt>
                <c:pt idx="1636">
                  <c:v>3.0118180000000001E-2</c:v>
                </c:pt>
                <c:pt idx="1637">
                  <c:v>2.9947267E-2</c:v>
                </c:pt>
                <c:pt idx="1638">
                  <c:v>2.9998694999999999E-2</c:v>
                </c:pt>
                <c:pt idx="1639">
                  <c:v>3.0068794999999999E-2</c:v>
                </c:pt>
                <c:pt idx="1640">
                  <c:v>2.9882624999999999E-2</c:v>
                </c:pt>
                <c:pt idx="1641">
                  <c:v>2.9945302E-2</c:v>
                </c:pt>
                <c:pt idx="1642">
                  <c:v>2.9970941000000001E-2</c:v>
                </c:pt>
                <c:pt idx="1643">
                  <c:v>2.9809215E-2</c:v>
                </c:pt>
                <c:pt idx="1644">
                  <c:v>2.979615E-2</c:v>
                </c:pt>
                <c:pt idx="1645">
                  <c:v>2.9809756E-2</c:v>
                </c:pt>
                <c:pt idx="1646">
                  <c:v>2.9775672E-2</c:v>
                </c:pt>
                <c:pt idx="1647">
                  <c:v>2.9803864999999999E-2</c:v>
                </c:pt>
                <c:pt idx="1648">
                  <c:v>2.9820632E-2</c:v>
                </c:pt>
                <c:pt idx="1649">
                  <c:v>2.9909412999999999E-2</c:v>
                </c:pt>
                <c:pt idx="1650">
                  <c:v>2.9845366000000002E-2</c:v>
                </c:pt>
                <c:pt idx="1651">
                  <c:v>3.0004400000000001E-2</c:v>
                </c:pt>
                <c:pt idx="1652">
                  <c:v>3.0101870999999999E-2</c:v>
                </c:pt>
                <c:pt idx="1653">
                  <c:v>3.0130588999999999E-2</c:v>
                </c:pt>
                <c:pt idx="1654">
                  <c:v>2.9815813E-2</c:v>
                </c:pt>
                <c:pt idx="1655">
                  <c:v>2.9425531000000001E-2</c:v>
                </c:pt>
                <c:pt idx="1656">
                  <c:v>2.9592150000000001E-2</c:v>
                </c:pt>
                <c:pt idx="1657">
                  <c:v>2.9688279000000001E-2</c:v>
                </c:pt>
                <c:pt idx="1658">
                  <c:v>2.9829995000000002E-2</c:v>
                </c:pt>
                <c:pt idx="1659">
                  <c:v>3.0133295000000001E-2</c:v>
                </c:pt>
                <c:pt idx="1660">
                  <c:v>2.9706511000000001E-2</c:v>
                </c:pt>
                <c:pt idx="1661">
                  <c:v>2.9729854999999999E-2</c:v>
                </c:pt>
                <c:pt idx="1662">
                  <c:v>2.9019854000000001E-2</c:v>
                </c:pt>
                <c:pt idx="1663">
                  <c:v>2.9141028999999999E-2</c:v>
                </c:pt>
                <c:pt idx="1664">
                  <c:v>2.9105873000000001E-2</c:v>
                </c:pt>
                <c:pt idx="1665">
                  <c:v>2.9467284999999999E-2</c:v>
                </c:pt>
                <c:pt idx="1666">
                  <c:v>2.9422330999999999E-2</c:v>
                </c:pt>
                <c:pt idx="1667">
                  <c:v>2.944192E-2</c:v>
                </c:pt>
                <c:pt idx="1668">
                  <c:v>2.9451771000000002E-2</c:v>
                </c:pt>
                <c:pt idx="1669">
                  <c:v>2.9969959000000001E-2</c:v>
                </c:pt>
                <c:pt idx="1670">
                  <c:v>2.9809716999999999E-2</c:v>
                </c:pt>
                <c:pt idx="1671">
                  <c:v>2.9803638E-2</c:v>
                </c:pt>
                <c:pt idx="1672">
                  <c:v>2.9957777000000001E-2</c:v>
                </c:pt>
                <c:pt idx="1673">
                  <c:v>2.9998997999999999E-2</c:v>
                </c:pt>
                <c:pt idx="1674">
                  <c:v>2.9879501999999999E-2</c:v>
                </c:pt>
                <c:pt idx="1675">
                  <c:v>2.9780233E-2</c:v>
                </c:pt>
                <c:pt idx="1676">
                  <c:v>2.9779226999999998E-2</c:v>
                </c:pt>
                <c:pt idx="1677">
                  <c:v>2.9814808000000002E-2</c:v>
                </c:pt>
                <c:pt idx="1678">
                  <c:v>2.9818399999999998E-2</c:v>
                </c:pt>
                <c:pt idx="1679">
                  <c:v>2.9819617E-2</c:v>
                </c:pt>
                <c:pt idx="1680">
                  <c:v>2.9660230999999999E-2</c:v>
                </c:pt>
                <c:pt idx="1681">
                  <c:v>2.9456032E-2</c:v>
                </c:pt>
                <c:pt idx="1682">
                  <c:v>2.9477234000000001E-2</c:v>
                </c:pt>
                <c:pt idx="1683">
                  <c:v>2.8365004999999999E-2</c:v>
                </c:pt>
                <c:pt idx="1684">
                  <c:v>2.7865322000000001E-2</c:v>
                </c:pt>
                <c:pt idx="1685">
                  <c:v>2.7772055E-2</c:v>
                </c:pt>
                <c:pt idx="1686">
                  <c:v>2.7772941999999998E-2</c:v>
                </c:pt>
                <c:pt idx="1687">
                  <c:v>2.7564155999999999E-2</c:v>
                </c:pt>
                <c:pt idx="1688">
                  <c:v>2.7564966E-2</c:v>
                </c:pt>
                <c:pt idx="1689">
                  <c:v>2.7153835000000001E-2</c:v>
                </c:pt>
                <c:pt idx="1690">
                  <c:v>2.7137158000000002E-2</c:v>
                </c:pt>
                <c:pt idx="1691">
                  <c:v>2.6885603000000001E-2</c:v>
                </c:pt>
                <c:pt idx="1692">
                  <c:v>2.6846631999999999E-2</c:v>
                </c:pt>
                <c:pt idx="1693">
                  <c:v>2.6754331999999999E-2</c:v>
                </c:pt>
                <c:pt idx="1694">
                  <c:v>2.6551114000000001E-2</c:v>
                </c:pt>
                <c:pt idx="1695">
                  <c:v>2.6551775999999999E-2</c:v>
                </c:pt>
                <c:pt idx="1696">
                  <c:v>2.6591909E-2</c:v>
                </c:pt>
                <c:pt idx="1697">
                  <c:v>2.6147400000000001E-2</c:v>
                </c:pt>
                <c:pt idx="1698">
                  <c:v>2.6145409000000001E-2</c:v>
                </c:pt>
                <c:pt idx="1699">
                  <c:v>2.5992056999999999E-2</c:v>
                </c:pt>
                <c:pt idx="1700">
                  <c:v>2.6016671000000002E-2</c:v>
                </c:pt>
                <c:pt idx="1701">
                  <c:v>2.5934810999999999E-2</c:v>
                </c:pt>
                <c:pt idx="1702">
                  <c:v>2.597114E-2</c:v>
                </c:pt>
                <c:pt idx="1703">
                  <c:v>2.6070157E-2</c:v>
                </c:pt>
                <c:pt idx="1704">
                  <c:v>2.5089942E-2</c:v>
                </c:pt>
                <c:pt idx="1705">
                  <c:v>2.4991418000000001E-2</c:v>
                </c:pt>
                <c:pt idx="1706">
                  <c:v>2.4943427000000001E-2</c:v>
                </c:pt>
                <c:pt idx="1707">
                  <c:v>2.4875358E-2</c:v>
                </c:pt>
                <c:pt idx="1708">
                  <c:v>2.4936027999999999E-2</c:v>
                </c:pt>
                <c:pt idx="1709">
                  <c:v>2.4920975000000001E-2</c:v>
                </c:pt>
                <c:pt idx="1710">
                  <c:v>2.5008605999999999E-2</c:v>
                </c:pt>
                <c:pt idx="1711">
                  <c:v>2.4810871000000002E-2</c:v>
                </c:pt>
                <c:pt idx="1712">
                  <c:v>2.4683337999999999E-2</c:v>
                </c:pt>
                <c:pt idx="1713">
                  <c:v>2.4658258999999998E-2</c:v>
                </c:pt>
                <c:pt idx="1714">
                  <c:v>2.3876749999999999E-2</c:v>
                </c:pt>
                <c:pt idx="1715">
                  <c:v>2.3963465999999999E-2</c:v>
                </c:pt>
                <c:pt idx="1716">
                  <c:v>2.4018294999999999E-2</c:v>
                </c:pt>
                <c:pt idx="1717">
                  <c:v>2.3798422999999999E-2</c:v>
                </c:pt>
                <c:pt idx="1718">
                  <c:v>2.3623386E-2</c:v>
                </c:pt>
                <c:pt idx="1719">
                  <c:v>2.3557945E-2</c:v>
                </c:pt>
                <c:pt idx="1720">
                  <c:v>2.2380225E-2</c:v>
                </c:pt>
                <c:pt idx="1721">
                  <c:v>2.1783413000000001E-2</c:v>
                </c:pt>
                <c:pt idx="1722">
                  <c:v>2.177807E-2</c:v>
                </c:pt>
                <c:pt idx="1723">
                  <c:v>2.1888753E-2</c:v>
                </c:pt>
                <c:pt idx="1724">
                  <c:v>2.1461762999999998E-2</c:v>
                </c:pt>
                <c:pt idx="1725">
                  <c:v>2.1456711999999999E-2</c:v>
                </c:pt>
                <c:pt idx="1726">
                  <c:v>2.1502285999999999E-2</c:v>
                </c:pt>
                <c:pt idx="1727">
                  <c:v>2.1502542999999999E-2</c:v>
                </c:pt>
                <c:pt idx="1728">
                  <c:v>2.1571976999999999E-2</c:v>
                </c:pt>
                <c:pt idx="1729">
                  <c:v>2.152892E-2</c:v>
                </c:pt>
                <c:pt idx="1730">
                  <c:v>2.1622163E-2</c:v>
                </c:pt>
                <c:pt idx="1731">
                  <c:v>2.1303266000000001E-2</c:v>
                </c:pt>
                <c:pt idx="1732">
                  <c:v>2.1288268999999999E-2</c:v>
                </c:pt>
                <c:pt idx="1733">
                  <c:v>2.1260256000000002E-2</c:v>
                </c:pt>
                <c:pt idx="1734">
                  <c:v>2.0990746000000001E-2</c:v>
                </c:pt>
                <c:pt idx="1735">
                  <c:v>2.0828066999999999E-2</c:v>
                </c:pt>
                <c:pt idx="1736">
                  <c:v>2.0744608000000001E-2</c:v>
                </c:pt>
                <c:pt idx="1737">
                  <c:v>2.0692109E-2</c:v>
                </c:pt>
                <c:pt idx="1738">
                  <c:v>2.0317307999999999E-2</c:v>
                </c:pt>
                <c:pt idx="1739">
                  <c:v>2.0319304E-2</c:v>
                </c:pt>
                <c:pt idx="1740">
                  <c:v>2.0346521999999999E-2</c:v>
                </c:pt>
                <c:pt idx="1741">
                  <c:v>2.0376027000000001E-2</c:v>
                </c:pt>
                <c:pt idx="1742">
                  <c:v>2.0311342999999999E-2</c:v>
                </c:pt>
                <c:pt idx="1743">
                  <c:v>2.0312710000000001E-2</c:v>
                </c:pt>
                <c:pt idx="1744">
                  <c:v>2.0227943000000002E-2</c:v>
                </c:pt>
                <c:pt idx="1745">
                  <c:v>1.9629296000000001E-2</c:v>
                </c:pt>
                <c:pt idx="1746">
                  <c:v>1.954125E-2</c:v>
                </c:pt>
                <c:pt idx="1747">
                  <c:v>1.9505516000000001E-2</c:v>
                </c:pt>
                <c:pt idx="1748">
                  <c:v>1.9518865999999999E-2</c:v>
                </c:pt>
                <c:pt idx="1749">
                  <c:v>1.9519990000000001E-2</c:v>
                </c:pt>
                <c:pt idx="1750">
                  <c:v>1.9531283999999999E-2</c:v>
                </c:pt>
                <c:pt idx="1751">
                  <c:v>1.9509074000000001E-2</c:v>
                </c:pt>
                <c:pt idx="1752">
                  <c:v>1.9325169999999999E-2</c:v>
                </c:pt>
                <c:pt idx="1753">
                  <c:v>1.9190486999999999E-2</c:v>
                </c:pt>
                <c:pt idx="1754">
                  <c:v>1.9213830000000001E-2</c:v>
                </c:pt>
                <c:pt idx="1755">
                  <c:v>1.9050520000000001E-2</c:v>
                </c:pt>
                <c:pt idx="1756">
                  <c:v>1.9038003000000001E-2</c:v>
                </c:pt>
                <c:pt idx="1757">
                  <c:v>1.9039054E-2</c:v>
                </c:pt>
                <c:pt idx="1758">
                  <c:v>1.8917966000000001E-2</c:v>
                </c:pt>
                <c:pt idx="1759">
                  <c:v>1.8736228000000001E-2</c:v>
                </c:pt>
                <c:pt idx="1760">
                  <c:v>1.8739591999999999E-2</c:v>
                </c:pt>
                <c:pt idx="1761">
                  <c:v>1.8702225999999999E-2</c:v>
                </c:pt>
                <c:pt idx="1762">
                  <c:v>1.869299E-2</c:v>
                </c:pt>
                <c:pt idx="1763">
                  <c:v>1.8745253E-2</c:v>
                </c:pt>
                <c:pt idx="1764">
                  <c:v>1.8817638000000001E-2</c:v>
                </c:pt>
                <c:pt idx="1765">
                  <c:v>1.8852312999999999E-2</c:v>
                </c:pt>
                <c:pt idx="1766">
                  <c:v>1.8840022000000001E-2</c:v>
                </c:pt>
                <c:pt idx="1767">
                  <c:v>1.8828942000000001E-2</c:v>
                </c:pt>
                <c:pt idx="1768">
                  <c:v>1.8794023999999999E-2</c:v>
                </c:pt>
                <c:pt idx="1769">
                  <c:v>1.8683814999999999E-2</c:v>
                </c:pt>
                <c:pt idx="1770">
                  <c:v>1.9405703E-2</c:v>
                </c:pt>
                <c:pt idx="1771">
                  <c:v>1.9199289000000001E-2</c:v>
                </c:pt>
                <c:pt idx="1772">
                  <c:v>1.9208059999999999E-2</c:v>
                </c:pt>
                <c:pt idx="1773">
                  <c:v>1.9211849E-2</c:v>
                </c:pt>
                <c:pt idx="1774">
                  <c:v>1.9214602000000001E-2</c:v>
                </c:pt>
                <c:pt idx="1775">
                  <c:v>1.9251791000000001E-2</c:v>
                </c:pt>
                <c:pt idx="1776">
                  <c:v>1.918301E-2</c:v>
                </c:pt>
                <c:pt idx="1777">
                  <c:v>1.9311512999999999E-2</c:v>
                </c:pt>
                <c:pt idx="1778">
                  <c:v>1.9052471000000001E-2</c:v>
                </c:pt>
                <c:pt idx="1779">
                  <c:v>1.8481928000000002E-2</c:v>
                </c:pt>
                <c:pt idx="1780">
                  <c:v>1.9015743000000002E-2</c:v>
                </c:pt>
                <c:pt idx="1781">
                  <c:v>1.8974998999999999E-2</c:v>
                </c:pt>
                <c:pt idx="1782">
                  <c:v>1.9055775E-2</c:v>
                </c:pt>
                <c:pt idx="1783">
                  <c:v>1.9477099000000001E-2</c:v>
                </c:pt>
                <c:pt idx="1784">
                  <c:v>1.9488446E-2</c:v>
                </c:pt>
                <c:pt idx="1785">
                  <c:v>1.9491560000000002E-2</c:v>
                </c:pt>
                <c:pt idx="1786">
                  <c:v>1.9677948000000001E-2</c:v>
                </c:pt>
                <c:pt idx="1787">
                  <c:v>1.9715065E-2</c:v>
                </c:pt>
                <c:pt idx="1788">
                  <c:v>1.9679208E-2</c:v>
                </c:pt>
                <c:pt idx="1789">
                  <c:v>1.9218069000000001E-2</c:v>
                </c:pt>
                <c:pt idx="1790">
                  <c:v>1.9275565000000001E-2</c:v>
                </c:pt>
                <c:pt idx="1791">
                  <c:v>1.9263901E-2</c:v>
                </c:pt>
                <c:pt idx="1792">
                  <c:v>1.9227464999999999E-2</c:v>
                </c:pt>
                <c:pt idx="1793">
                  <c:v>2.0406334000000002E-2</c:v>
                </c:pt>
                <c:pt idx="1794">
                  <c:v>2.0382257000000001E-2</c:v>
                </c:pt>
                <c:pt idx="1795">
                  <c:v>2.0420846999999999E-2</c:v>
                </c:pt>
                <c:pt idx="1796">
                  <c:v>2.0954359999999998E-2</c:v>
                </c:pt>
                <c:pt idx="1797">
                  <c:v>2.0923396E-2</c:v>
                </c:pt>
                <c:pt idx="1798">
                  <c:v>2.0713064E-2</c:v>
                </c:pt>
                <c:pt idx="1799">
                  <c:v>2.0783817999999999E-2</c:v>
                </c:pt>
                <c:pt idx="1800">
                  <c:v>2.0718350999999999E-2</c:v>
                </c:pt>
                <c:pt idx="1801">
                  <c:v>2.0747331000000001E-2</c:v>
                </c:pt>
                <c:pt idx="1802">
                  <c:v>2.0736623999999999E-2</c:v>
                </c:pt>
                <c:pt idx="1803">
                  <c:v>2.0777826999999999E-2</c:v>
                </c:pt>
                <c:pt idx="1804">
                  <c:v>2.06673E-2</c:v>
                </c:pt>
                <c:pt idx="1805">
                  <c:v>2.0539798000000001E-2</c:v>
                </c:pt>
                <c:pt idx="1806">
                  <c:v>2.0589443999999998E-2</c:v>
                </c:pt>
                <c:pt idx="1807">
                  <c:v>2.0887365000000001E-2</c:v>
                </c:pt>
                <c:pt idx="1808">
                  <c:v>2.0876876999999999E-2</c:v>
                </c:pt>
                <c:pt idx="1809">
                  <c:v>2.0976402000000002E-2</c:v>
                </c:pt>
                <c:pt idx="1810">
                  <c:v>2.1078593E-2</c:v>
                </c:pt>
                <c:pt idx="1811">
                  <c:v>2.1081414999999999E-2</c:v>
                </c:pt>
                <c:pt idx="1812">
                  <c:v>2.1096508999999999E-2</c:v>
                </c:pt>
                <c:pt idx="1813">
                  <c:v>2.0954791E-2</c:v>
                </c:pt>
                <c:pt idx="1814">
                  <c:v>2.0916563999999999E-2</c:v>
                </c:pt>
                <c:pt idx="1815">
                  <c:v>2.0763690000000001E-2</c:v>
                </c:pt>
                <c:pt idx="1816">
                  <c:v>2.1172521999999999E-2</c:v>
                </c:pt>
                <c:pt idx="1817">
                  <c:v>2.1170273999999999E-2</c:v>
                </c:pt>
                <c:pt idx="1818">
                  <c:v>2.1204569E-2</c:v>
                </c:pt>
                <c:pt idx="1819">
                  <c:v>2.1215297000000001E-2</c:v>
                </c:pt>
                <c:pt idx="1820">
                  <c:v>2.1170161999999999E-2</c:v>
                </c:pt>
                <c:pt idx="1821">
                  <c:v>2.1093312999999999E-2</c:v>
                </c:pt>
                <c:pt idx="1822">
                  <c:v>2.1180179E-2</c:v>
                </c:pt>
                <c:pt idx="1823">
                  <c:v>2.0894396999999999E-2</c:v>
                </c:pt>
                <c:pt idx="1824">
                  <c:v>2.0894777E-2</c:v>
                </c:pt>
                <c:pt idx="1825">
                  <c:v>2.0889224000000001E-2</c:v>
                </c:pt>
                <c:pt idx="1826">
                  <c:v>2.0814155000000001E-2</c:v>
                </c:pt>
                <c:pt idx="1827">
                  <c:v>2.0815136000000001E-2</c:v>
                </c:pt>
                <c:pt idx="1828">
                  <c:v>2.0818017000000001E-2</c:v>
                </c:pt>
                <c:pt idx="1829">
                  <c:v>2.0814683E-2</c:v>
                </c:pt>
                <c:pt idx="1830">
                  <c:v>2.0745933000000001E-2</c:v>
                </c:pt>
                <c:pt idx="1831">
                  <c:v>2.0759217E-2</c:v>
                </c:pt>
                <c:pt idx="1832">
                  <c:v>2.0936564000000001E-2</c:v>
                </c:pt>
                <c:pt idx="1833">
                  <c:v>2.0959469000000001E-2</c:v>
                </c:pt>
                <c:pt idx="1834">
                  <c:v>2.0954369E-2</c:v>
                </c:pt>
                <c:pt idx="1835">
                  <c:v>2.0828254000000001E-2</c:v>
                </c:pt>
                <c:pt idx="1836">
                  <c:v>2.0741409999999998E-2</c:v>
                </c:pt>
                <c:pt idx="1837">
                  <c:v>2.0731422999999999E-2</c:v>
                </c:pt>
                <c:pt idx="1838">
                  <c:v>2.0713214000000001E-2</c:v>
                </c:pt>
                <c:pt idx="1839">
                  <c:v>2.0716703E-2</c:v>
                </c:pt>
                <c:pt idx="1840">
                  <c:v>2.0714555999999999E-2</c:v>
                </c:pt>
                <c:pt idx="1841">
                  <c:v>2.0701944999999999E-2</c:v>
                </c:pt>
                <c:pt idx="1842">
                  <c:v>2.0833750000000002E-2</c:v>
                </c:pt>
                <c:pt idx="1843">
                  <c:v>2.0709667000000001E-2</c:v>
                </c:pt>
                <c:pt idx="1844">
                  <c:v>2.0703679999999999E-2</c:v>
                </c:pt>
                <c:pt idx="1845">
                  <c:v>2.0703042000000001E-2</c:v>
                </c:pt>
                <c:pt idx="1846">
                  <c:v>2.0666998999999998E-2</c:v>
                </c:pt>
                <c:pt idx="1847">
                  <c:v>2.0646914999999998E-2</c:v>
                </c:pt>
                <c:pt idx="1848">
                  <c:v>2.0669106E-2</c:v>
                </c:pt>
                <c:pt idx="1849">
                  <c:v>2.0757141999999999E-2</c:v>
                </c:pt>
                <c:pt idx="1850">
                  <c:v>2.0999488E-2</c:v>
                </c:pt>
                <c:pt idx="1851">
                  <c:v>2.1192608000000002E-2</c:v>
                </c:pt>
                <c:pt idx="1852">
                  <c:v>2.1442837999999999E-2</c:v>
                </c:pt>
                <c:pt idx="1853">
                  <c:v>2.1472328999999998E-2</c:v>
                </c:pt>
                <c:pt idx="1854">
                  <c:v>2.1485583999999999E-2</c:v>
                </c:pt>
                <c:pt idx="1855">
                  <c:v>2.1474698E-2</c:v>
                </c:pt>
                <c:pt idx="1856">
                  <c:v>2.1483556000000001E-2</c:v>
                </c:pt>
                <c:pt idx="1857">
                  <c:v>2.1404716000000001E-2</c:v>
                </c:pt>
                <c:pt idx="1858">
                  <c:v>2.1375813E-2</c:v>
                </c:pt>
                <c:pt idx="1859">
                  <c:v>2.1459984000000001E-2</c:v>
                </c:pt>
                <c:pt idx="1860">
                  <c:v>2.1420275999999999E-2</c:v>
                </c:pt>
                <c:pt idx="1861">
                  <c:v>2.1382196999999999E-2</c:v>
                </c:pt>
                <c:pt idx="1862">
                  <c:v>2.1391596999999998E-2</c:v>
                </c:pt>
                <c:pt idx="1863">
                  <c:v>2.1409147E-2</c:v>
                </c:pt>
                <c:pt idx="1864">
                  <c:v>2.1420234999999999E-2</c:v>
                </c:pt>
                <c:pt idx="1865">
                  <c:v>2.1509515999999999E-2</c:v>
                </c:pt>
                <c:pt idx="1866">
                  <c:v>2.1646078999999999E-2</c:v>
                </c:pt>
                <c:pt idx="1867">
                  <c:v>2.1644804E-2</c:v>
                </c:pt>
                <c:pt idx="1868">
                  <c:v>2.1744656000000001E-2</c:v>
                </c:pt>
                <c:pt idx="1869">
                  <c:v>2.1755937999999999E-2</c:v>
                </c:pt>
                <c:pt idx="1870">
                  <c:v>2.183454E-2</c:v>
                </c:pt>
                <c:pt idx="1871">
                  <c:v>2.1804870000000001E-2</c:v>
                </c:pt>
                <c:pt idx="1872">
                  <c:v>2.1815764000000001E-2</c:v>
                </c:pt>
                <c:pt idx="1873">
                  <c:v>2.1785753000000001E-2</c:v>
                </c:pt>
                <c:pt idx="1874">
                  <c:v>2.1813659999999999E-2</c:v>
                </c:pt>
                <c:pt idx="1875">
                  <c:v>2.1815310000000001E-2</c:v>
                </c:pt>
                <c:pt idx="1876">
                  <c:v>2.1811546000000001E-2</c:v>
                </c:pt>
                <c:pt idx="1877">
                  <c:v>2.1823105999999998E-2</c:v>
                </c:pt>
                <c:pt idx="1878">
                  <c:v>2.1806476000000002E-2</c:v>
                </c:pt>
                <c:pt idx="1879">
                  <c:v>2.1742324E-2</c:v>
                </c:pt>
                <c:pt idx="1880">
                  <c:v>2.1719721000000001E-2</c:v>
                </c:pt>
                <c:pt idx="1881">
                  <c:v>2.1718759000000001E-2</c:v>
                </c:pt>
                <c:pt idx="1882">
                  <c:v>2.1757262999999999E-2</c:v>
                </c:pt>
                <c:pt idx="1883">
                  <c:v>2.1882171999999998E-2</c:v>
                </c:pt>
                <c:pt idx="1884">
                  <c:v>2.1882682000000001E-2</c:v>
                </c:pt>
                <c:pt idx="1885">
                  <c:v>2.1816562000000001E-2</c:v>
                </c:pt>
                <c:pt idx="1886">
                  <c:v>2.1791056E-2</c:v>
                </c:pt>
                <c:pt idx="1887">
                  <c:v>2.1787958999999999E-2</c:v>
                </c:pt>
                <c:pt idx="1888">
                  <c:v>2.1901172E-2</c:v>
                </c:pt>
                <c:pt idx="1889">
                  <c:v>2.1902741999999999E-2</c:v>
                </c:pt>
                <c:pt idx="1890">
                  <c:v>2.1377924E-2</c:v>
                </c:pt>
                <c:pt idx="1891">
                  <c:v>2.1307230999999999E-2</c:v>
                </c:pt>
                <c:pt idx="1892">
                  <c:v>2.1275203999999999E-2</c:v>
                </c:pt>
                <c:pt idx="1893">
                  <c:v>2.1259970999999999E-2</c:v>
                </c:pt>
                <c:pt idx="1894">
                  <c:v>2.1262639999999999E-2</c:v>
                </c:pt>
                <c:pt idx="1895">
                  <c:v>2.1239652000000001E-2</c:v>
                </c:pt>
                <c:pt idx="1896">
                  <c:v>2.1206473E-2</c:v>
                </c:pt>
                <c:pt idx="1897">
                  <c:v>2.1041694E-2</c:v>
                </c:pt>
                <c:pt idx="1898">
                  <c:v>2.119031E-2</c:v>
                </c:pt>
                <c:pt idx="1899">
                  <c:v>2.1188578E-2</c:v>
                </c:pt>
                <c:pt idx="1900">
                  <c:v>2.0862931000000001E-2</c:v>
                </c:pt>
                <c:pt idx="1901">
                  <c:v>2.0826860999999999E-2</c:v>
                </c:pt>
                <c:pt idx="1902">
                  <c:v>2.0678399E-2</c:v>
                </c:pt>
                <c:pt idx="1903">
                  <c:v>1.9901713000000001E-2</c:v>
                </c:pt>
                <c:pt idx="1904">
                  <c:v>1.9881725999999999E-2</c:v>
                </c:pt>
                <c:pt idx="1905">
                  <c:v>1.9336263999999999E-2</c:v>
                </c:pt>
                <c:pt idx="1906">
                  <c:v>1.8961938000000001E-2</c:v>
                </c:pt>
                <c:pt idx="1907">
                  <c:v>1.8911964999999999E-2</c:v>
                </c:pt>
                <c:pt idx="1908">
                  <c:v>1.8942416E-2</c:v>
                </c:pt>
                <c:pt idx="1909">
                  <c:v>1.8664801000000002E-2</c:v>
                </c:pt>
                <c:pt idx="1910">
                  <c:v>1.8581529999999999E-2</c:v>
                </c:pt>
                <c:pt idx="1911">
                  <c:v>1.8610626000000002E-2</c:v>
                </c:pt>
                <c:pt idx="1912">
                  <c:v>1.8322419999999999E-2</c:v>
                </c:pt>
                <c:pt idx="1913">
                  <c:v>1.7002401E-2</c:v>
                </c:pt>
                <c:pt idx="1914">
                  <c:v>1.7177403000000001E-2</c:v>
                </c:pt>
                <c:pt idx="1915">
                  <c:v>1.7119947999999999E-2</c:v>
                </c:pt>
                <c:pt idx="1916">
                  <c:v>1.6418761E-2</c:v>
                </c:pt>
                <c:pt idx="1917">
                  <c:v>1.6411302999999999E-2</c:v>
                </c:pt>
                <c:pt idx="1918">
                  <c:v>1.6412349999999999E-2</c:v>
                </c:pt>
                <c:pt idx="1919">
                  <c:v>1.6300424000000001E-2</c:v>
                </c:pt>
                <c:pt idx="1920">
                  <c:v>1.6334024999999999E-2</c:v>
                </c:pt>
                <c:pt idx="1921">
                  <c:v>1.6370493E-2</c:v>
                </c:pt>
                <c:pt idx="1922">
                  <c:v>1.6238905000000001E-2</c:v>
                </c:pt>
                <c:pt idx="1923">
                  <c:v>1.6285607000000001E-2</c:v>
                </c:pt>
                <c:pt idx="1924">
                  <c:v>1.6284382999999999E-2</c:v>
                </c:pt>
                <c:pt idx="1925">
                  <c:v>1.6253671000000001E-2</c:v>
                </c:pt>
                <c:pt idx="1926">
                  <c:v>1.6164001000000001E-2</c:v>
                </c:pt>
                <c:pt idx="1927">
                  <c:v>1.5822125999999999E-2</c:v>
                </c:pt>
                <c:pt idx="1928">
                  <c:v>1.5820343000000001E-2</c:v>
                </c:pt>
                <c:pt idx="1929">
                  <c:v>1.5716536E-2</c:v>
                </c:pt>
                <c:pt idx="1930">
                  <c:v>1.5620795E-2</c:v>
                </c:pt>
                <c:pt idx="1931">
                  <c:v>1.577195E-2</c:v>
                </c:pt>
                <c:pt idx="1932">
                  <c:v>1.5755392999999999E-2</c:v>
                </c:pt>
                <c:pt idx="1933">
                  <c:v>1.5537491E-2</c:v>
                </c:pt>
                <c:pt idx="1934">
                  <c:v>1.5580754E-2</c:v>
                </c:pt>
                <c:pt idx="1935">
                  <c:v>1.5558024E-2</c:v>
                </c:pt>
                <c:pt idx="1936">
                  <c:v>1.4848198E-2</c:v>
                </c:pt>
                <c:pt idx="1937">
                  <c:v>1.485271E-2</c:v>
                </c:pt>
                <c:pt idx="1938">
                  <c:v>1.4838741000000001E-2</c:v>
                </c:pt>
                <c:pt idx="1939">
                  <c:v>1.4842054E-2</c:v>
                </c:pt>
                <c:pt idx="1940">
                  <c:v>1.4859417E-2</c:v>
                </c:pt>
                <c:pt idx="1941">
                  <c:v>1.4897423999999999E-2</c:v>
                </c:pt>
                <c:pt idx="1942">
                  <c:v>1.4703483999999999E-2</c:v>
                </c:pt>
                <c:pt idx="1943">
                  <c:v>1.4646994E-2</c:v>
                </c:pt>
                <c:pt idx="1944">
                  <c:v>1.4682066000000001E-2</c:v>
                </c:pt>
                <c:pt idx="1945">
                  <c:v>1.5508664E-2</c:v>
                </c:pt>
                <c:pt idx="1946">
                  <c:v>1.5399672E-2</c:v>
                </c:pt>
                <c:pt idx="1947">
                  <c:v>1.5511301E-2</c:v>
                </c:pt>
                <c:pt idx="1948">
                  <c:v>1.5308933E-2</c:v>
                </c:pt>
                <c:pt idx="1949">
                  <c:v>1.5305783E-2</c:v>
                </c:pt>
                <c:pt idx="1950">
                  <c:v>1.5144751999999999E-2</c:v>
                </c:pt>
                <c:pt idx="1951">
                  <c:v>1.5223965000000001E-2</c:v>
                </c:pt>
                <c:pt idx="1952">
                  <c:v>1.4898134E-2</c:v>
                </c:pt>
                <c:pt idx="1953">
                  <c:v>1.4883574E-2</c:v>
                </c:pt>
                <c:pt idx="1954">
                  <c:v>1.4875431999999999E-2</c:v>
                </c:pt>
                <c:pt idx="1955">
                  <c:v>1.4931478E-2</c:v>
                </c:pt>
                <c:pt idx="1956">
                  <c:v>1.4932267000000001E-2</c:v>
                </c:pt>
                <c:pt idx="1957">
                  <c:v>1.5501668E-2</c:v>
                </c:pt>
                <c:pt idx="1958">
                  <c:v>1.5598020000000001E-2</c:v>
                </c:pt>
                <c:pt idx="1959">
                  <c:v>1.5620945000000001E-2</c:v>
                </c:pt>
                <c:pt idx="1960">
                  <c:v>1.5710549000000001E-2</c:v>
                </c:pt>
                <c:pt idx="1961">
                  <c:v>1.5713945999999999E-2</c:v>
                </c:pt>
                <c:pt idx="1962">
                  <c:v>1.5622835999999999E-2</c:v>
                </c:pt>
                <c:pt idx="1963">
                  <c:v>1.5626751000000001E-2</c:v>
                </c:pt>
                <c:pt idx="1964">
                  <c:v>1.6355728E-2</c:v>
                </c:pt>
                <c:pt idx="1965">
                  <c:v>1.6482710000000001E-2</c:v>
                </c:pt>
                <c:pt idx="1966">
                  <c:v>1.6482795000000001E-2</c:v>
                </c:pt>
                <c:pt idx="1967">
                  <c:v>1.6476853999999999E-2</c:v>
                </c:pt>
                <c:pt idx="1968">
                  <c:v>1.6323231000000001E-2</c:v>
                </c:pt>
                <c:pt idx="1969">
                  <c:v>1.6557970000000002E-2</c:v>
                </c:pt>
                <c:pt idx="1970">
                  <c:v>1.6270120999999999E-2</c:v>
                </c:pt>
                <c:pt idx="1971">
                  <c:v>1.6061021000000002E-2</c:v>
                </c:pt>
                <c:pt idx="1972">
                  <c:v>1.5741341999999998E-2</c:v>
                </c:pt>
                <c:pt idx="1973">
                  <c:v>1.5676233000000001E-2</c:v>
                </c:pt>
                <c:pt idx="1974">
                  <c:v>1.5808494999999999E-2</c:v>
                </c:pt>
                <c:pt idx="1975">
                  <c:v>1.5826943999999999E-2</c:v>
                </c:pt>
                <c:pt idx="1976">
                  <c:v>1.5765202999999998E-2</c:v>
                </c:pt>
                <c:pt idx="1977">
                  <c:v>1.5749922E-2</c:v>
                </c:pt>
                <c:pt idx="1978">
                  <c:v>1.5731538999999999E-2</c:v>
                </c:pt>
                <c:pt idx="1979">
                  <c:v>1.5718613999999999E-2</c:v>
                </c:pt>
                <c:pt idx="1980">
                  <c:v>1.5701929999999999E-2</c:v>
                </c:pt>
                <c:pt idx="1981">
                  <c:v>1.5980166000000001E-2</c:v>
                </c:pt>
                <c:pt idx="1982">
                  <c:v>1.5961243999999999E-2</c:v>
                </c:pt>
                <c:pt idx="1983">
                  <c:v>1.5959721E-2</c:v>
                </c:pt>
                <c:pt idx="1984">
                  <c:v>1.5958759999999999E-2</c:v>
                </c:pt>
                <c:pt idx="1985">
                  <c:v>1.5904463000000001E-2</c:v>
                </c:pt>
                <c:pt idx="1986">
                  <c:v>1.6037055000000001E-2</c:v>
                </c:pt>
                <c:pt idx="1987">
                  <c:v>1.6036537E-2</c:v>
                </c:pt>
                <c:pt idx="1988">
                  <c:v>1.5878889E-2</c:v>
                </c:pt>
                <c:pt idx="1989">
                  <c:v>1.5847997999999999E-2</c:v>
                </c:pt>
                <c:pt idx="1990">
                  <c:v>1.5584492E-2</c:v>
                </c:pt>
                <c:pt idx="1991">
                  <c:v>1.5590615E-2</c:v>
                </c:pt>
                <c:pt idx="1992">
                  <c:v>1.6040723E-2</c:v>
                </c:pt>
                <c:pt idx="1993">
                  <c:v>1.6039748999999999E-2</c:v>
                </c:pt>
                <c:pt idx="1994">
                  <c:v>1.5979698000000001E-2</c:v>
                </c:pt>
                <c:pt idx="1995">
                  <c:v>1.5974192000000002E-2</c:v>
                </c:pt>
                <c:pt idx="1996">
                  <c:v>1.5963484999999999E-2</c:v>
                </c:pt>
                <c:pt idx="1997">
                  <c:v>1.6066220999999999E-2</c:v>
                </c:pt>
                <c:pt idx="1998">
                  <c:v>1.6086593E-2</c:v>
                </c:pt>
                <c:pt idx="1999">
                  <c:v>1.6006775000000001E-2</c:v>
                </c:pt>
                <c:pt idx="2000">
                  <c:v>1.6229606000000001E-2</c:v>
                </c:pt>
                <c:pt idx="2001">
                  <c:v>1.6272491E-2</c:v>
                </c:pt>
                <c:pt idx="2002">
                  <c:v>1.6240425999999999E-2</c:v>
                </c:pt>
                <c:pt idx="2003">
                  <c:v>1.6022577999999999E-2</c:v>
                </c:pt>
                <c:pt idx="2004">
                  <c:v>1.6012301E-2</c:v>
                </c:pt>
                <c:pt idx="2005">
                  <c:v>1.6009176E-2</c:v>
                </c:pt>
                <c:pt idx="2006">
                  <c:v>1.6189856999999998E-2</c:v>
                </c:pt>
                <c:pt idx="2007">
                  <c:v>1.6333192E-2</c:v>
                </c:pt>
                <c:pt idx="2008">
                  <c:v>1.6090687999999999E-2</c:v>
                </c:pt>
                <c:pt idx="2009">
                  <c:v>1.6132844E-2</c:v>
                </c:pt>
                <c:pt idx="2010">
                  <c:v>1.6110909E-2</c:v>
                </c:pt>
                <c:pt idx="2011">
                  <c:v>1.6101463E-2</c:v>
                </c:pt>
                <c:pt idx="2012">
                  <c:v>1.5947098E-2</c:v>
                </c:pt>
                <c:pt idx="2013">
                  <c:v>1.6070562E-2</c:v>
                </c:pt>
                <c:pt idx="2014">
                  <c:v>1.6076556999999998E-2</c:v>
                </c:pt>
                <c:pt idx="2015">
                  <c:v>1.6077892999999999E-2</c:v>
                </c:pt>
                <c:pt idx="2016">
                  <c:v>1.6096131999999999E-2</c:v>
                </c:pt>
                <c:pt idx="2017">
                  <c:v>1.6171206E-2</c:v>
                </c:pt>
                <c:pt idx="2018">
                  <c:v>1.5980520000000002E-2</c:v>
                </c:pt>
                <c:pt idx="2019">
                  <c:v>1.5995204999999998E-2</c:v>
                </c:pt>
                <c:pt idx="2020">
                  <c:v>1.5969807999999999E-2</c:v>
                </c:pt>
                <c:pt idx="2021">
                  <c:v>1.5985598E-2</c:v>
                </c:pt>
                <c:pt idx="2022">
                  <c:v>1.6193783E-2</c:v>
                </c:pt>
                <c:pt idx="2023">
                  <c:v>1.6148229E-2</c:v>
                </c:pt>
                <c:pt idx="2024">
                  <c:v>1.6176636000000001E-2</c:v>
                </c:pt>
                <c:pt idx="2025">
                  <c:v>1.6204917999999999E-2</c:v>
                </c:pt>
                <c:pt idx="2026">
                  <c:v>1.6348146000000001E-2</c:v>
                </c:pt>
                <c:pt idx="2027">
                  <c:v>1.6337395000000001E-2</c:v>
                </c:pt>
                <c:pt idx="2028">
                  <c:v>1.6279681000000001E-2</c:v>
                </c:pt>
                <c:pt idx="2029">
                  <c:v>1.6230649E-2</c:v>
                </c:pt>
                <c:pt idx="2030">
                  <c:v>1.6318051E-2</c:v>
                </c:pt>
                <c:pt idx="2031">
                  <c:v>1.6267284999999999E-2</c:v>
                </c:pt>
                <c:pt idx="2032">
                  <c:v>1.6276064999999999E-2</c:v>
                </c:pt>
                <c:pt idx="2033">
                  <c:v>1.6390745000000002E-2</c:v>
                </c:pt>
                <c:pt idx="2034">
                  <c:v>1.6240271000000001E-2</c:v>
                </c:pt>
                <c:pt idx="2035">
                  <c:v>1.6240576999999999E-2</c:v>
                </c:pt>
                <c:pt idx="2036">
                  <c:v>1.6328596000000001E-2</c:v>
                </c:pt>
                <c:pt idx="2037">
                  <c:v>1.6318294000000001E-2</c:v>
                </c:pt>
                <c:pt idx="2038">
                  <c:v>1.6314043E-2</c:v>
                </c:pt>
                <c:pt idx="2039">
                  <c:v>1.6363592999999999E-2</c:v>
                </c:pt>
                <c:pt idx="2040">
                  <c:v>1.6323572000000001E-2</c:v>
                </c:pt>
                <c:pt idx="2041">
                  <c:v>1.6362778000000001E-2</c:v>
                </c:pt>
                <c:pt idx="2042">
                  <c:v>1.6352617999999999E-2</c:v>
                </c:pt>
                <c:pt idx="2043">
                  <c:v>1.6224506E-2</c:v>
                </c:pt>
                <c:pt idx="2044">
                  <c:v>1.6304267000000001E-2</c:v>
                </c:pt>
                <c:pt idx="2045">
                  <c:v>1.6285908000000002E-2</c:v>
                </c:pt>
                <c:pt idx="2046">
                  <c:v>1.6313984E-2</c:v>
                </c:pt>
                <c:pt idx="2047">
                  <c:v>1.6300842999999999E-2</c:v>
                </c:pt>
                <c:pt idx="2048">
                  <c:v>1.6372405999999999E-2</c:v>
                </c:pt>
                <c:pt idx="2049">
                  <c:v>1.6409802000000001E-2</c:v>
                </c:pt>
                <c:pt idx="2050">
                  <c:v>1.6352107000000001E-2</c:v>
                </c:pt>
                <c:pt idx="2051">
                  <c:v>1.6173574E-2</c:v>
                </c:pt>
                <c:pt idx="2052">
                  <c:v>1.6174086000000001E-2</c:v>
                </c:pt>
                <c:pt idx="2053">
                  <c:v>1.6249455999999999E-2</c:v>
                </c:pt>
                <c:pt idx="2054">
                  <c:v>1.6203964000000001E-2</c:v>
                </c:pt>
                <c:pt idx="2055">
                  <c:v>1.6195009E-2</c:v>
                </c:pt>
                <c:pt idx="2056">
                  <c:v>1.6322726999999999E-2</c:v>
                </c:pt>
                <c:pt idx="2057">
                  <c:v>1.6674420999999998E-2</c:v>
                </c:pt>
                <c:pt idx="2058">
                  <c:v>1.6859908E-2</c:v>
                </c:pt>
                <c:pt idx="2059">
                  <c:v>1.6877300000000001E-2</c:v>
                </c:pt>
                <c:pt idx="2060">
                  <c:v>1.6914254E-2</c:v>
                </c:pt>
                <c:pt idx="2061">
                  <c:v>1.6877986000000001E-2</c:v>
                </c:pt>
                <c:pt idx="2062">
                  <c:v>1.7126059999999999E-2</c:v>
                </c:pt>
                <c:pt idx="2063">
                  <c:v>1.7134231E-2</c:v>
                </c:pt>
                <c:pt idx="2064">
                  <c:v>1.7210104E-2</c:v>
                </c:pt>
                <c:pt idx="2065">
                  <c:v>1.6452897000000001E-2</c:v>
                </c:pt>
                <c:pt idx="2066">
                  <c:v>1.6465157000000001E-2</c:v>
                </c:pt>
                <c:pt idx="2067">
                  <c:v>1.6369781E-2</c:v>
                </c:pt>
                <c:pt idx="2068">
                  <c:v>1.6555996999999999E-2</c:v>
                </c:pt>
                <c:pt idx="2069">
                  <c:v>1.6557669000000001E-2</c:v>
                </c:pt>
                <c:pt idx="2070">
                  <c:v>1.6636636999999999E-2</c:v>
                </c:pt>
                <c:pt idx="2071">
                  <c:v>1.6527349E-2</c:v>
                </c:pt>
                <c:pt idx="2072">
                  <c:v>1.6531682999999998E-2</c:v>
                </c:pt>
                <c:pt idx="2073">
                  <c:v>1.6663415000000001E-2</c:v>
                </c:pt>
                <c:pt idx="2074">
                  <c:v>1.6666746999999999E-2</c:v>
                </c:pt>
                <c:pt idx="2075">
                  <c:v>1.6641481E-2</c:v>
                </c:pt>
                <c:pt idx="2076">
                  <c:v>1.6703737E-2</c:v>
                </c:pt>
                <c:pt idx="2077">
                  <c:v>1.6129858E-2</c:v>
                </c:pt>
                <c:pt idx="2078">
                  <c:v>1.6004874999999998E-2</c:v>
                </c:pt>
                <c:pt idx="2079">
                  <c:v>1.6016448999999999E-2</c:v>
                </c:pt>
                <c:pt idx="2080">
                  <c:v>1.5908729999999999E-2</c:v>
                </c:pt>
                <c:pt idx="2081">
                  <c:v>1.5904196999999998E-2</c:v>
                </c:pt>
                <c:pt idx="2082">
                  <c:v>1.6876898000000001E-2</c:v>
                </c:pt>
                <c:pt idx="2083">
                  <c:v>1.6870541999999999E-2</c:v>
                </c:pt>
                <c:pt idx="2084">
                  <c:v>1.6611425999999999E-2</c:v>
                </c:pt>
                <c:pt idx="2085">
                  <c:v>1.6637830999999999E-2</c:v>
                </c:pt>
                <c:pt idx="2086">
                  <c:v>1.6676215000000001E-2</c:v>
                </c:pt>
                <c:pt idx="2087">
                  <c:v>1.6642779999999999E-2</c:v>
                </c:pt>
                <c:pt idx="2088">
                  <c:v>1.6593528E-2</c:v>
                </c:pt>
                <c:pt idx="2089">
                  <c:v>1.6377238999999998E-2</c:v>
                </c:pt>
                <c:pt idx="2090">
                  <c:v>1.6373215E-2</c:v>
                </c:pt>
                <c:pt idx="2091">
                  <c:v>1.6419208000000001E-2</c:v>
                </c:pt>
                <c:pt idx="2092">
                  <c:v>1.6385367000000001E-2</c:v>
                </c:pt>
                <c:pt idx="2093">
                  <c:v>1.6382098000000001E-2</c:v>
                </c:pt>
                <c:pt idx="2094">
                  <c:v>1.6255843999999998E-2</c:v>
                </c:pt>
                <c:pt idx="2095">
                  <c:v>1.6221409999999999E-2</c:v>
                </c:pt>
                <c:pt idx="2096">
                  <c:v>1.6224091E-2</c:v>
                </c:pt>
                <c:pt idx="2097">
                  <c:v>1.6203258000000002E-2</c:v>
                </c:pt>
                <c:pt idx="2098">
                  <c:v>1.6202722999999999E-2</c:v>
                </c:pt>
                <c:pt idx="2099">
                  <c:v>1.6130904000000001E-2</c:v>
                </c:pt>
                <c:pt idx="2100">
                  <c:v>1.6158618999999999E-2</c:v>
                </c:pt>
                <c:pt idx="2101">
                  <c:v>1.6009776999999999E-2</c:v>
                </c:pt>
                <c:pt idx="2102">
                  <c:v>1.6000680999999999E-2</c:v>
                </c:pt>
                <c:pt idx="2103">
                  <c:v>1.6227779000000001E-2</c:v>
                </c:pt>
                <c:pt idx="2104">
                  <c:v>1.6214330999999998E-2</c:v>
                </c:pt>
                <c:pt idx="2105">
                  <c:v>1.6141691999999999E-2</c:v>
                </c:pt>
                <c:pt idx="2106">
                  <c:v>1.5925878000000001E-2</c:v>
                </c:pt>
                <c:pt idx="2107">
                  <c:v>1.5927928000000001E-2</c:v>
                </c:pt>
                <c:pt idx="2108">
                  <c:v>1.5966406999999998E-2</c:v>
                </c:pt>
                <c:pt idx="2109">
                  <c:v>1.6078827E-2</c:v>
                </c:pt>
                <c:pt idx="2110">
                  <c:v>1.6094249000000001E-2</c:v>
                </c:pt>
                <c:pt idx="2111">
                  <c:v>1.6100080999999999E-2</c:v>
                </c:pt>
                <c:pt idx="2112">
                  <c:v>1.549873E-2</c:v>
                </c:pt>
                <c:pt idx="2113">
                  <c:v>1.5582802999999999E-2</c:v>
                </c:pt>
                <c:pt idx="2114">
                  <c:v>1.5614271000000001E-2</c:v>
                </c:pt>
                <c:pt idx="2115">
                  <c:v>1.5617809999999999E-2</c:v>
                </c:pt>
                <c:pt idx="2116">
                  <c:v>1.5590441999999999E-2</c:v>
                </c:pt>
                <c:pt idx="2117">
                  <c:v>1.5599681000000001E-2</c:v>
                </c:pt>
                <c:pt idx="2118">
                  <c:v>1.5677090000000001E-2</c:v>
                </c:pt>
                <c:pt idx="2119">
                  <c:v>1.5683932000000001E-2</c:v>
                </c:pt>
                <c:pt idx="2120">
                  <c:v>1.5518736999999999E-2</c:v>
                </c:pt>
                <c:pt idx="2121">
                  <c:v>1.5494430999999999E-2</c:v>
                </c:pt>
                <c:pt idx="2122">
                  <c:v>1.5524031000000001E-2</c:v>
                </c:pt>
                <c:pt idx="2123">
                  <c:v>1.5519178E-2</c:v>
                </c:pt>
                <c:pt idx="2124">
                  <c:v>1.5429863E-2</c:v>
                </c:pt>
                <c:pt idx="2125">
                  <c:v>1.5430305E-2</c:v>
                </c:pt>
                <c:pt idx="2126">
                  <c:v>1.535801E-2</c:v>
                </c:pt>
                <c:pt idx="2127">
                  <c:v>1.5666864999999999E-2</c:v>
                </c:pt>
                <c:pt idx="2128">
                  <c:v>1.5666349E-2</c:v>
                </c:pt>
                <c:pt idx="2129">
                  <c:v>1.5755383000000001E-2</c:v>
                </c:pt>
                <c:pt idx="2130">
                  <c:v>1.6057947999999999E-2</c:v>
                </c:pt>
                <c:pt idx="2131">
                  <c:v>1.6090231E-2</c:v>
                </c:pt>
                <c:pt idx="2132">
                  <c:v>1.6108806999999999E-2</c:v>
                </c:pt>
                <c:pt idx="2133">
                  <c:v>1.5970024999999999E-2</c:v>
                </c:pt>
                <c:pt idx="2134">
                  <c:v>1.6009933E-2</c:v>
                </c:pt>
                <c:pt idx="2135">
                  <c:v>1.6070675999999999E-2</c:v>
                </c:pt>
                <c:pt idx="2136">
                  <c:v>1.6002987999999999E-2</c:v>
                </c:pt>
                <c:pt idx="2137">
                  <c:v>1.5957227000000001E-2</c:v>
                </c:pt>
                <c:pt idx="2138">
                  <c:v>1.5954778999999999E-2</c:v>
                </c:pt>
                <c:pt idx="2139">
                  <c:v>1.5971717999999999E-2</c:v>
                </c:pt>
                <c:pt idx="2140">
                  <c:v>1.6011924E-2</c:v>
                </c:pt>
                <c:pt idx="2141">
                  <c:v>1.6006923999999999E-2</c:v>
                </c:pt>
                <c:pt idx="2142">
                  <c:v>1.6000170000000001E-2</c:v>
                </c:pt>
                <c:pt idx="2143">
                  <c:v>1.5993803000000001E-2</c:v>
                </c:pt>
                <c:pt idx="2144">
                  <c:v>1.5967868999999999E-2</c:v>
                </c:pt>
                <c:pt idx="2145">
                  <c:v>1.5926494999999999E-2</c:v>
                </c:pt>
                <c:pt idx="2146">
                  <c:v>1.5832016000000001E-2</c:v>
                </c:pt>
                <c:pt idx="2147">
                  <c:v>1.5869910000000001E-2</c:v>
                </c:pt>
                <c:pt idx="2148">
                  <c:v>1.6106722E-2</c:v>
                </c:pt>
                <c:pt idx="2149">
                  <c:v>1.6101001E-2</c:v>
                </c:pt>
                <c:pt idx="2150">
                  <c:v>1.5999246000000002E-2</c:v>
                </c:pt>
                <c:pt idx="2151">
                  <c:v>1.5999043000000001E-2</c:v>
                </c:pt>
                <c:pt idx="2152">
                  <c:v>1.6032542E-2</c:v>
                </c:pt>
                <c:pt idx="2153">
                  <c:v>1.5872569E-2</c:v>
                </c:pt>
                <c:pt idx="2154">
                  <c:v>1.5877835E-2</c:v>
                </c:pt>
                <c:pt idx="2155">
                  <c:v>1.589258E-2</c:v>
                </c:pt>
                <c:pt idx="2156">
                  <c:v>1.5853898000000002E-2</c:v>
                </c:pt>
                <c:pt idx="2157">
                  <c:v>1.5935245000000001E-2</c:v>
                </c:pt>
                <c:pt idx="2158">
                  <c:v>1.5919203999999999E-2</c:v>
                </c:pt>
                <c:pt idx="2159">
                  <c:v>1.5883164000000002E-2</c:v>
                </c:pt>
                <c:pt idx="2160">
                  <c:v>1.5975323E-2</c:v>
                </c:pt>
                <c:pt idx="2161">
                  <c:v>1.5923575999999998E-2</c:v>
                </c:pt>
                <c:pt idx="2162">
                  <c:v>1.5926866000000001E-2</c:v>
                </c:pt>
                <c:pt idx="2163">
                  <c:v>1.6020407E-2</c:v>
                </c:pt>
                <c:pt idx="2164">
                  <c:v>1.5967908999999999E-2</c:v>
                </c:pt>
                <c:pt idx="2165">
                  <c:v>1.6040269999999999E-2</c:v>
                </c:pt>
                <c:pt idx="2166">
                  <c:v>1.6023925000000001E-2</c:v>
                </c:pt>
                <c:pt idx="2167">
                  <c:v>1.6026835999999999E-2</c:v>
                </c:pt>
                <c:pt idx="2168">
                  <c:v>1.5942636E-2</c:v>
                </c:pt>
                <c:pt idx="2169">
                  <c:v>1.5872911E-2</c:v>
                </c:pt>
                <c:pt idx="2170">
                  <c:v>1.5880205000000001E-2</c:v>
                </c:pt>
                <c:pt idx="2171">
                  <c:v>1.5911425999999999E-2</c:v>
                </c:pt>
                <c:pt idx="2172">
                  <c:v>1.5912335999999999E-2</c:v>
                </c:pt>
                <c:pt idx="2173">
                  <c:v>1.5881437000000002E-2</c:v>
                </c:pt>
                <c:pt idx="2174">
                  <c:v>1.5859067000000001E-2</c:v>
                </c:pt>
                <c:pt idx="2175">
                  <c:v>1.5889173999999999E-2</c:v>
                </c:pt>
                <c:pt idx="2176">
                  <c:v>1.5837486000000001E-2</c:v>
                </c:pt>
                <c:pt idx="2177">
                  <c:v>1.5530548999999999E-2</c:v>
                </c:pt>
                <c:pt idx="2178">
                  <c:v>1.5318444000000001E-2</c:v>
                </c:pt>
                <c:pt idx="2179">
                  <c:v>1.5296298E-2</c:v>
                </c:pt>
                <c:pt idx="2180">
                  <c:v>1.5256034999999999E-2</c:v>
                </c:pt>
                <c:pt idx="2181">
                  <c:v>1.5256611999999999E-2</c:v>
                </c:pt>
                <c:pt idx="2182">
                  <c:v>1.5031935E-2</c:v>
                </c:pt>
                <c:pt idx="2183">
                  <c:v>1.5028537E-2</c:v>
                </c:pt>
                <c:pt idx="2184">
                  <c:v>1.4908156000000001E-2</c:v>
                </c:pt>
                <c:pt idx="2185">
                  <c:v>1.489687E-2</c:v>
                </c:pt>
                <c:pt idx="2186">
                  <c:v>1.4986595E-2</c:v>
                </c:pt>
                <c:pt idx="2187">
                  <c:v>1.4986072E-2</c:v>
                </c:pt>
                <c:pt idx="2188">
                  <c:v>1.4742039E-2</c:v>
                </c:pt>
                <c:pt idx="2189">
                  <c:v>1.4744414000000001E-2</c:v>
                </c:pt>
                <c:pt idx="2190">
                  <c:v>1.4718958000000001E-2</c:v>
                </c:pt>
                <c:pt idx="2191">
                  <c:v>1.4726527E-2</c:v>
                </c:pt>
                <c:pt idx="2192">
                  <c:v>1.4731055999999999E-2</c:v>
                </c:pt>
                <c:pt idx="2193">
                  <c:v>1.4569359E-2</c:v>
                </c:pt>
                <c:pt idx="2194">
                  <c:v>1.4599638E-2</c:v>
                </c:pt>
                <c:pt idx="2195">
                  <c:v>1.4570935E-2</c:v>
                </c:pt>
                <c:pt idx="2196">
                  <c:v>1.4658749E-2</c:v>
                </c:pt>
                <c:pt idx="2197">
                  <c:v>1.4614264E-2</c:v>
                </c:pt>
                <c:pt idx="2198">
                  <c:v>1.459161E-2</c:v>
                </c:pt>
                <c:pt idx="2199">
                  <c:v>1.4585420999999999E-2</c:v>
                </c:pt>
                <c:pt idx="2200">
                  <c:v>1.4594842E-2</c:v>
                </c:pt>
                <c:pt idx="2201">
                  <c:v>1.4591075E-2</c:v>
                </c:pt>
                <c:pt idx="2202">
                  <c:v>1.3435949000000001E-2</c:v>
                </c:pt>
                <c:pt idx="2203">
                  <c:v>1.3443792E-2</c:v>
                </c:pt>
                <c:pt idx="2204">
                  <c:v>1.283371E-2</c:v>
                </c:pt>
                <c:pt idx="2205">
                  <c:v>1.2699167000000001E-2</c:v>
                </c:pt>
                <c:pt idx="2206">
                  <c:v>1.2651837000000001E-2</c:v>
                </c:pt>
                <c:pt idx="2207">
                  <c:v>1.2631132999999999E-2</c:v>
                </c:pt>
                <c:pt idx="2208">
                  <c:v>1.2629827E-2</c:v>
                </c:pt>
                <c:pt idx="2209">
                  <c:v>1.282818E-2</c:v>
                </c:pt>
                <c:pt idx="2210">
                  <c:v>1.2661149E-2</c:v>
                </c:pt>
                <c:pt idx="2211">
                  <c:v>1.2629390000000001E-2</c:v>
                </c:pt>
                <c:pt idx="2212">
                  <c:v>1.2610217999999999E-2</c:v>
                </c:pt>
                <c:pt idx="2213">
                  <c:v>1.261661E-2</c:v>
                </c:pt>
                <c:pt idx="2214">
                  <c:v>1.2530692E-2</c:v>
                </c:pt>
                <c:pt idx="2215">
                  <c:v>1.2618720999999999E-2</c:v>
                </c:pt>
                <c:pt idx="2216">
                  <c:v>1.2605430000000001E-2</c:v>
                </c:pt>
                <c:pt idx="2217">
                  <c:v>1.2687474000000001E-2</c:v>
                </c:pt>
                <c:pt idx="2218">
                  <c:v>1.2723564999999999E-2</c:v>
                </c:pt>
                <c:pt idx="2219">
                  <c:v>1.2694278E-2</c:v>
                </c:pt>
                <c:pt idx="2220">
                  <c:v>1.2671880999999999E-2</c:v>
                </c:pt>
                <c:pt idx="2221">
                  <c:v>1.2712236999999999E-2</c:v>
                </c:pt>
                <c:pt idx="2222">
                  <c:v>1.266308E-2</c:v>
                </c:pt>
                <c:pt idx="2223">
                  <c:v>1.2332068E-2</c:v>
                </c:pt>
                <c:pt idx="2224">
                  <c:v>1.2407995999999999E-2</c:v>
                </c:pt>
                <c:pt idx="2225">
                  <c:v>1.2426370000000001E-2</c:v>
                </c:pt>
                <c:pt idx="2226">
                  <c:v>1.2492434E-2</c:v>
                </c:pt>
                <c:pt idx="2227">
                  <c:v>1.2513104000000001E-2</c:v>
                </c:pt>
                <c:pt idx="2228">
                  <c:v>1.2457769E-2</c:v>
                </c:pt>
                <c:pt idx="2229">
                  <c:v>1.2334272E-2</c:v>
                </c:pt>
                <c:pt idx="2230">
                  <c:v>1.230263E-2</c:v>
                </c:pt>
                <c:pt idx="2231">
                  <c:v>1.2386401999999999E-2</c:v>
                </c:pt>
                <c:pt idx="2232">
                  <c:v>1.2558420000000001E-2</c:v>
                </c:pt>
                <c:pt idx="2233">
                  <c:v>1.2428353E-2</c:v>
                </c:pt>
                <c:pt idx="2234">
                  <c:v>1.2322616999999999E-2</c:v>
                </c:pt>
                <c:pt idx="2235">
                  <c:v>1.2375420999999999E-2</c:v>
                </c:pt>
                <c:pt idx="2236">
                  <c:v>1.2447781999999999E-2</c:v>
                </c:pt>
                <c:pt idx="2237">
                  <c:v>1.2301433000000001E-2</c:v>
                </c:pt>
                <c:pt idx="2238">
                  <c:v>1.2359844E-2</c:v>
                </c:pt>
                <c:pt idx="2239">
                  <c:v>1.2353752000000001E-2</c:v>
                </c:pt>
                <c:pt idx="2240">
                  <c:v>1.2347954E-2</c:v>
                </c:pt>
                <c:pt idx="2241">
                  <c:v>1.2350786000000001E-2</c:v>
                </c:pt>
                <c:pt idx="2242">
                  <c:v>1.2235447999999999E-2</c:v>
                </c:pt>
                <c:pt idx="2243">
                  <c:v>1.2226084999999999E-2</c:v>
                </c:pt>
                <c:pt idx="2244">
                  <c:v>1.2327368999999999E-2</c:v>
                </c:pt>
                <c:pt idx="2245">
                  <c:v>1.2416193000000001E-2</c:v>
                </c:pt>
                <c:pt idx="2246">
                  <c:v>1.233417E-2</c:v>
                </c:pt>
                <c:pt idx="2247">
                  <c:v>1.181053E-2</c:v>
                </c:pt>
                <c:pt idx="2248">
                  <c:v>1.1812441999999999E-2</c:v>
                </c:pt>
                <c:pt idx="2249">
                  <c:v>1.1668074000000001E-2</c:v>
                </c:pt>
                <c:pt idx="2250">
                  <c:v>1.1252125999999999E-2</c:v>
                </c:pt>
                <c:pt idx="2251">
                  <c:v>1.1235234E-2</c:v>
                </c:pt>
                <c:pt idx="2252">
                  <c:v>1.1199552999999999E-2</c:v>
                </c:pt>
                <c:pt idx="2253">
                  <c:v>1.1595668E-2</c:v>
                </c:pt>
                <c:pt idx="2254">
                  <c:v>1.1533981E-2</c:v>
                </c:pt>
                <c:pt idx="2255">
                  <c:v>1.1460491E-2</c:v>
                </c:pt>
                <c:pt idx="2256">
                  <c:v>1.1470342999999999E-2</c:v>
                </c:pt>
                <c:pt idx="2257">
                  <c:v>1.1408862000000001E-2</c:v>
                </c:pt>
                <c:pt idx="2258">
                  <c:v>1.1410503000000001E-2</c:v>
                </c:pt>
                <c:pt idx="2259">
                  <c:v>1.1378447999999999E-2</c:v>
                </c:pt>
                <c:pt idx="2260">
                  <c:v>1.1216064E-2</c:v>
                </c:pt>
                <c:pt idx="2261">
                  <c:v>1.1205278000000001E-2</c:v>
                </c:pt>
                <c:pt idx="2262">
                  <c:v>1.0990468E-2</c:v>
                </c:pt>
                <c:pt idx="2263">
                  <c:v>1.1458259E-2</c:v>
                </c:pt>
                <c:pt idx="2264">
                  <c:v>1.1418533999999999E-2</c:v>
                </c:pt>
                <c:pt idx="2265">
                  <c:v>1.1458405E-2</c:v>
                </c:pt>
                <c:pt idx="2266">
                  <c:v>1.1520231000000001E-2</c:v>
                </c:pt>
                <c:pt idx="2267">
                  <c:v>1.1441089E-2</c:v>
                </c:pt>
                <c:pt idx="2268">
                  <c:v>1.1228927999999999E-2</c:v>
                </c:pt>
                <c:pt idx="2269">
                  <c:v>1.1236883E-2</c:v>
                </c:pt>
                <c:pt idx="2270">
                  <c:v>1.1227746E-2</c:v>
                </c:pt>
                <c:pt idx="2271">
                  <c:v>1.1334252E-2</c:v>
                </c:pt>
                <c:pt idx="2272">
                  <c:v>1.1285844E-2</c:v>
                </c:pt>
                <c:pt idx="2273">
                  <c:v>1.1305694999999999E-2</c:v>
                </c:pt>
                <c:pt idx="2274">
                  <c:v>1.1406603E-2</c:v>
                </c:pt>
                <c:pt idx="2275">
                  <c:v>1.1398139E-2</c:v>
                </c:pt>
                <c:pt idx="2276">
                  <c:v>1.1721298E-2</c:v>
                </c:pt>
                <c:pt idx="2277">
                  <c:v>1.1571071E-2</c:v>
                </c:pt>
                <c:pt idx="2278">
                  <c:v>1.1657410999999999E-2</c:v>
                </c:pt>
                <c:pt idx="2279">
                  <c:v>1.1658679999999999E-2</c:v>
                </c:pt>
                <c:pt idx="2280">
                  <c:v>1.1564158E-2</c:v>
                </c:pt>
                <c:pt idx="2281">
                  <c:v>1.1538849E-2</c:v>
                </c:pt>
                <c:pt idx="2282">
                  <c:v>1.1560017000000001E-2</c:v>
                </c:pt>
                <c:pt idx="2283">
                  <c:v>1.1606147000000001E-2</c:v>
                </c:pt>
                <c:pt idx="2284">
                  <c:v>1.1537052000000001E-2</c:v>
                </c:pt>
                <c:pt idx="2285">
                  <c:v>1.1629577E-2</c:v>
                </c:pt>
                <c:pt idx="2286">
                  <c:v>1.1629845E-2</c:v>
                </c:pt>
                <c:pt idx="2287">
                  <c:v>1.1629252E-2</c:v>
                </c:pt>
                <c:pt idx="2288">
                  <c:v>1.1650561E-2</c:v>
                </c:pt>
                <c:pt idx="2289">
                  <c:v>1.1589421000000001E-2</c:v>
                </c:pt>
                <c:pt idx="2290">
                  <c:v>1.1586788000000001E-2</c:v>
                </c:pt>
                <c:pt idx="2291">
                  <c:v>1.1512369999999999E-2</c:v>
                </c:pt>
                <c:pt idx="2292">
                  <c:v>1.1637669E-2</c:v>
                </c:pt>
                <c:pt idx="2293">
                  <c:v>1.1624102000000001E-2</c:v>
                </c:pt>
                <c:pt idx="2294">
                  <c:v>1.1970453000000001E-2</c:v>
                </c:pt>
                <c:pt idx="2295">
                  <c:v>1.2253194E-2</c:v>
                </c:pt>
                <c:pt idx="2296">
                  <c:v>1.2162492E-2</c:v>
                </c:pt>
                <c:pt idx="2297">
                  <c:v>1.2242358E-2</c:v>
                </c:pt>
                <c:pt idx="2298">
                  <c:v>1.2281339E-2</c:v>
                </c:pt>
                <c:pt idx="2299">
                  <c:v>1.226644E-2</c:v>
                </c:pt>
                <c:pt idx="2300">
                  <c:v>1.2275885E-2</c:v>
                </c:pt>
                <c:pt idx="2301">
                  <c:v>1.2275978E-2</c:v>
                </c:pt>
                <c:pt idx="2302">
                  <c:v>1.220911E-2</c:v>
                </c:pt>
                <c:pt idx="2303">
                  <c:v>1.2205613000000001E-2</c:v>
                </c:pt>
                <c:pt idx="2304">
                  <c:v>1.2684351E-2</c:v>
                </c:pt>
                <c:pt idx="2305">
                  <c:v>1.2707849E-2</c:v>
                </c:pt>
                <c:pt idx="2306">
                  <c:v>1.2609766999999999E-2</c:v>
                </c:pt>
                <c:pt idx="2307">
                  <c:v>1.2623831E-2</c:v>
                </c:pt>
                <c:pt idx="2308">
                  <c:v>1.2832367000000001E-2</c:v>
                </c:pt>
                <c:pt idx="2309">
                  <c:v>1.2829689E-2</c:v>
                </c:pt>
                <c:pt idx="2310">
                  <c:v>1.2936122E-2</c:v>
                </c:pt>
                <c:pt idx="2311">
                  <c:v>1.2934608E-2</c:v>
                </c:pt>
                <c:pt idx="2312">
                  <c:v>1.319853E-2</c:v>
                </c:pt>
                <c:pt idx="2313">
                  <c:v>1.3275034E-2</c:v>
                </c:pt>
                <c:pt idx="2314">
                  <c:v>1.327647E-2</c:v>
                </c:pt>
                <c:pt idx="2315">
                  <c:v>1.3264015000000001E-2</c:v>
                </c:pt>
                <c:pt idx="2316">
                  <c:v>1.3207983E-2</c:v>
                </c:pt>
                <c:pt idx="2317">
                  <c:v>1.3212684000000001E-2</c:v>
                </c:pt>
                <c:pt idx="2318">
                  <c:v>1.3213993E-2</c:v>
                </c:pt>
                <c:pt idx="2319">
                  <c:v>1.3308063E-2</c:v>
                </c:pt>
                <c:pt idx="2320">
                  <c:v>1.3285761E-2</c:v>
                </c:pt>
                <c:pt idx="2321">
                  <c:v>1.3306227E-2</c:v>
                </c:pt>
                <c:pt idx="2322">
                  <c:v>1.3279182E-2</c:v>
                </c:pt>
                <c:pt idx="2323">
                  <c:v>1.3251316000000001E-2</c:v>
                </c:pt>
                <c:pt idx="2324">
                  <c:v>1.3262491E-2</c:v>
                </c:pt>
                <c:pt idx="2325">
                  <c:v>1.3353088000000001E-2</c:v>
                </c:pt>
                <c:pt idx="2326">
                  <c:v>1.3329324E-2</c:v>
                </c:pt>
                <c:pt idx="2327">
                  <c:v>1.3466153999999999E-2</c:v>
                </c:pt>
                <c:pt idx="2328">
                  <c:v>1.3465847E-2</c:v>
                </c:pt>
                <c:pt idx="2329">
                  <c:v>1.3383704E-2</c:v>
                </c:pt>
                <c:pt idx="2330">
                  <c:v>1.3383529E-2</c:v>
                </c:pt>
                <c:pt idx="2331">
                  <c:v>1.3471685000000001E-2</c:v>
                </c:pt>
                <c:pt idx="2332">
                  <c:v>1.3470806E-2</c:v>
                </c:pt>
                <c:pt idx="2333">
                  <c:v>1.3466146E-2</c:v>
                </c:pt>
                <c:pt idx="2334">
                  <c:v>1.3488745E-2</c:v>
                </c:pt>
                <c:pt idx="2335">
                  <c:v>1.3401659999999999E-2</c:v>
                </c:pt>
                <c:pt idx="2336">
                  <c:v>1.3411815000000001E-2</c:v>
                </c:pt>
                <c:pt idx="2337">
                  <c:v>1.3342827999999999E-2</c:v>
                </c:pt>
                <c:pt idx="2338">
                  <c:v>1.3369963E-2</c:v>
                </c:pt>
                <c:pt idx="2339">
                  <c:v>1.3684586E-2</c:v>
                </c:pt>
                <c:pt idx="2340">
                  <c:v>1.3883334000000001E-2</c:v>
                </c:pt>
                <c:pt idx="2341">
                  <c:v>1.3811624999999999E-2</c:v>
                </c:pt>
                <c:pt idx="2342">
                  <c:v>1.385538E-2</c:v>
                </c:pt>
                <c:pt idx="2343">
                  <c:v>1.3853492E-2</c:v>
                </c:pt>
                <c:pt idx="2344">
                  <c:v>1.3787814000000001E-2</c:v>
                </c:pt>
                <c:pt idx="2345">
                  <c:v>1.3763928E-2</c:v>
                </c:pt>
                <c:pt idx="2346">
                  <c:v>1.3718542E-2</c:v>
                </c:pt>
                <c:pt idx="2347">
                  <c:v>1.3726623E-2</c:v>
                </c:pt>
                <c:pt idx="2348">
                  <c:v>1.3859646E-2</c:v>
                </c:pt>
                <c:pt idx="2349">
                  <c:v>1.3828254E-2</c:v>
                </c:pt>
                <c:pt idx="2350">
                  <c:v>1.3976736999999999E-2</c:v>
                </c:pt>
                <c:pt idx="2351">
                  <c:v>1.402783E-2</c:v>
                </c:pt>
                <c:pt idx="2352">
                  <c:v>1.3836062E-2</c:v>
                </c:pt>
                <c:pt idx="2353">
                  <c:v>1.3828844999999999E-2</c:v>
                </c:pt>
                <c:pt idx="2354">
                  <c:v>1.3883671E-2</c:v>
                </c:pt>
                <c:pt idx="2355">
                  <c:v>1.3845557E-2</c:v>
                </c:pt>
                <c:pt idx="2356">
                  <c:v>1.3789958E-2</c:v>
                </c:pt>
                <c:pt idx="2357">
                  <c:v>1.3803635E-2</c:v>
                </c:pt>
                <c:pt idx="2358">
                  <c:v>1.3636021E-2</c:v>
                </c:pt>
                <c:pt idx="2359">
                  <c:v>1.3638185000000001E-2</c:v>
                </c:pt>
                <c:pt idx="2360">
                  <c:v>1.3643048E-2</c:v>
                </c:pt>
                <c:pt idx="2361">
                  <c:v>1.3732888E-2</c:v>
                </c:pt>
                <c:pt idx="2362">
                  <c:v>1.3822519E-2</c:v>
                </c:pt>
                <c:pt idx="2363">
                  <c:v>1.38338E-2</c:v>
                </c:pt>
                <c:pt idx="2364">
                  <c:v>1.3781574E-2</c:v>
                </c:pt>
                <c:pt idx="2365">
                  <c:v>1.4066878E-2</c:v>
                </c:pt>
                <c:pt idx="2366">
                  <c:v>1.4417345999999999E-2</c:v>
                </c:pt>
                <c:pt idx="2367">
                  <c:v>1.4408147E-2</c:v>
                </c:pt>
                <c:pt idx="2368">
                  <c:v>1.440922E-2</c:v>
                </c:pt>
                <c:pt idx="2369">
                  <c:v>1.4460035E-2</c:v>
                </c:pt>
                <c:pt idx="2370">
                  <c:v>1.4556908E-2</c:v>
                </c:pt>
                <c:pt idx="2371">
                  <c:v>1.5238864E-2</c:v>
                </c:pt>
                <c:pt idx="2372">
                  <c:v>1.5285313E-2</c:v>
                </c:pt>
                <c:pt idx="2373">
                  <c:v>1.5132537999999999E-2</c:v>
                </c:pt>
                <c:pt idx="2374">
                  <c:v>1.5196219E-2</c:v>
                </c:pt>
                <c:pt idx="2375">
                  <c:v>1.5243849E-2</c:v>
                </c:pt>
                <c:pt idx="2376">
                  <c:v>1.5240202E-2</c:v>
                </c:pt>
                <c:pt idx="2377">
                  <c:v>1.5284668E-2</c:v>
                </c:pt>
                <c:pt idx="2378">
                  <c:v>1.54507E-2</c:v>
                </c:pt>
                <c:pt idx="2379">
                  <c:v>1.5465685E-2</c:v>
                </c:pt>
                <c:pt idx="2380">
                  <c:v>1.5465603E-2</c:v>
                </c:pt>
                <c:pt idx="2381">
                  <c:v>1.5543055E-2</c:v>
                </c:pt>
                <c:pt idx="2382">
                  <c:v>1.5668865000000001E-2</c:v>
                </c:pt>
                <c:pt idx="2383">
                  <c:v>1.5329666E-2</c:v>
                </c:pt>
                <c:pt idx="2384">
                  <c:v>1.5329936000000001E-2</c:v>
                </c:pt>
                <c:pt idx="2385">
                  <c:v>1.5302003999999999E-2</c:v>
                </c:pt>
                <c:pt idx="2386">
                  <c:v>1.5233627E-2</c:v>
                </c:pt>
                <c:pt idx="2387">
                  <c:v>1.5268146999999999E-2</c:v>
                </c:pt>
                <c:pt idx="2388">
                  <c:v>1.5204597E-2</c:v>
                </c:pt>
                <c:pt idx="2389">
                  <c:v>1.5195814E-2</c:v>
                </c:pt>
                <c:pt idx="2390">
                  <c:v>1.5195205E-2</c:v>
                </c:pt>
                <c:pt idx="2391">
                  <c:v>1.5138608E-2</c:v>
                </c:pt>
                <c:pt idx="2392">
                  <c:v>1.5174577999999999E-2</c:v>
                </c:pt>
                <c:pt idx="2393">
                  <c:v>1.5150630999999999E-2</c:v>
                </c:pt>
                <c:pt idx="2394">
                  <c:v>1.5154763999999999E-2</c:v>
                </c:pt>
                <c:pt idx="2395">
                  <c:v>1.5155395E-2</c:v>
                </c:pt>
                <c:pt idx="2396">
                  <c:v>1.4844412E-2</c:v>
                </c:pt>
                <c:pt idx="2397">
                  <c:v>1.4872289E-2</c:v>
                </c:pt>
                <c:pt idx="2398">
                  <c:v>1.4799013E-2</c:v>
                </c:pt>
                <c:pt idx="2399">
                  <c:v>1.4888764000000001E-2</c:v>
                </c:pt>
                <c:pt idx="2400">
                  <c:v>1.4897189999999999E-2</c:v>
                </c:pt>
                <c:pt idx="2401">
                  <c:v>1.4958024E-2</c:v>
                </c:pt>
                <c:pt idx="2402">
                  <c:v>1.4939545E-2</c:v>
                </c:pt>
                <c:pt idx="2403">
                  <c:v>1.4860816000000001E-2</c:v>
                </c:pt>
                <c:pt idx="2404">
                  <c:v>1.4880267000000001E-2</c:v>
                </c:pt>
                <c:pt idx="2405">
                  <c:v>1.4763772999999999E-2</c:v>
                </c:pt>
                <c:pt idx="2406">
                  <c:v>1.4775781999999999E-2</c:v>
                </c:pt>
                <c:pt idx="2407">
                  <c:v>1.5002755E-2</c:v>
                </c:pt>
                <c:pt idx="2408">
                  <c:v>1.4984022E-2</c:v>
                </c:pt>
                <c:pt idx="2409">
                  <c:v>1.5039425E-2</c:v>
                </c:pt>
                <c:pt idx="2410">
                  <c:v>1.5041231E-2</c:v>
                </c:pt>
                <c:pt idx="2411">
                  <c:v>1.5121224000000001E-2</c:v>
                </c:pt>
                <c:pt idx="2412">
                  <c:v>1.5012246999999999E-2</c:v>
                </c:pt>
                <c:pt idx="2413">
                  <c:v>1.5007619999999999E-2</c:v>
                </c:pt>
                <c:pt idx="2414">
                  <c:v>1.4786993999999999E-2</c:v>
                </c:pt>
                <c:pt idx="2415">
                  <c:v>1.4516939E-2</c:v>
                </c:pt>
                <c:pt idx="2416">
                  <c:v>1.4510046E-2</c:v>
                </c:pt>
                <c:pt idx="2417">
                  <c:v>1.4605368000000001E-2</c:v>
                </c:pt>
                <c:pt idx="2418">
                  <c:v>1.4615816E-2</c:v>
                </c:pt>
                <c:pt idx="2419">
                  <c:v>1.4596400000000001E-2</c:v>
                </c:pt>
                <c:pt idx="2420">
                  <c:v>1.4737905000000001E-2</c:v>
                </c:pt>
                <c:pt idx="2421">
                  <c:v>1.4738806E-2</c:v>
                </c:pt>
                <c:pt idx="2422">
                  <c:v>1.4740938E-2</c:v>
                </c:pt>
                <c:pt idx="2423">
                  <c:v>1.476835E-2</c:v>
                </c:pt>
                <c:pt idx="2424">
                  <c:v>1.4395764E-2</c:v>
                </c:pt>
                <c:pt idx="2425">
                  <c:v>1.4499309E-2</c:v>
                </c:pt>
                <c:pt idx="2426">
                  <c:v>1.4501596E-2</c:v>
                </c:pt>
                <c:pt idx="2427">
                  <c:v>1.4495146E-2</c:v>
                </c:pt>
                <c:pt idx="2428">
                  <c:v>1.430766E-2</c:v>
                </c:pt>
                <c:pt idx="2429">
                  <c:v>1.4453729E-2</c:v>
                </c:pt>
                <c:pt idx="2430">
                  <c:v>1.4276591E-2</c:v>
                </c:pt>
                <c:pt idx="2431">
                  <c:v>1.4306866E-2</c:v>
                </c:pt>
                <c:pt idx="2432">
                  <c:v>1.411402E-2</c:v>
                </c:pt>
                <c:pt idx="2433">
                  <c:v>1.4009232999999999E-2</c:v>
                </c:pt>
                <c:pt idx="2434">
                  <c:v>1.3999087E-2</c:v>
                </c:pt>
                <c:pt idx="2435">
                  <c:v>1.3998948000000001E-2</c:v>
                </c:pt>
                <c:pt idx="2436">
                  <c:v>1.3886816999999999E-2</c:v>
                </c:pt>
                <c:pt idx="2437">
                  <c:v>1.4021862E-2</c:v>
                </c:pt>
                <c:pt idx="2438">
                  <c:v>1.4024369E-2</c:v>
                </c:pt>
                <c:pt idx="2439">
                  <c:v>1.3966849999999999E-2</c:v>
                </c:pt>
                <c:pt idx="2440">
                  <c:v>1.3966852E-2</c:v>
                </c:pt>
                <c:pt idx="2441">
                  <c:v>1.3954141999999999E-2</c:v>
                </c:pt>
                <c:pt idx="2442">
                  <c:v>1.4034059999999999E-2</c:v>
                </c:pt>
                <c:pt idx="2443">
                  <c:v>1.4031554E-2</c:v>
                </c:pt>
                <c:pt idx="2444">
                  <c:v>1.4023465000000001E-2</c:v>
                </c:pt>
                <c:pt idx="2445">
                  <c:v>1.3935784999999999E-2</c:v>
                </c:pt>
                <c:pt idx="2446">
                  <c:v>1.3935428E-2</c:v>
                </c:pt>
                <c:pt idx="2447">
                  <c:v>1.3884252999999999E-2</c:v>
                </c:pt>
                <c:pt idx="2448">
                  <c:v>1.3957218E-2</c:v>
                </c:pt>
                <c:pt idx="2449">
                  <c:v>1.380206E-2</c:v>
                </c:pt>
                <c:pt idx="2450">
                  <c:v>1.3808625E-2</c:v>
                </c:pt>
                <c:pt idx="2451">
                  <c:v>1.3747908E-2</c:v>
                </c:pt>
                <c:pt idx="2452">
                  <c:v>1.3752646E-2</c:v>
                </c:pt>
                <c:pt idx="2453">
                  <c:v>1.3773578999999999E-2</c:v>
                </c:pt>
                <c:pt idx="2454">
                  <c:v>1.3766692000000001E-2</c:v>
                </c:pt>
                <c:pt idx="2455">
                  <c:v>1.3843639E-2</c:v>
                </c:pt>
                <c:pt idx="2456">
                  <c:v>1.388228E-2</c:v>
                </c:pt>
                <c:pt idx="2457">
                  <c:v>1.3885613E-2</c:v>
                </c:pt>
                <c:pt idx="2458">
                  <c:v>1.3835617E-2</c:v>
                </c:pt>
                <c:pt idx="2459">
                  <c:v>1.3476638000000001E-2</c:v>
                </c:pt>
                <c:pt idx="2460">
                  <c:v>1.3549736E-2</c:v>
                </c:pt>
                <c:pt idx="2461">
                  <c:v>1.3517471E-2</c:v>
                </c:pt>
                <c:pt idx="2462">
                  <c:v>1.3454707E-2</c:v>
                </c:pt>
                <c:pt idx="2463">
                  <c:v>1.3464825999999999E-2</c:v>
                </c:pt>
                <c:pt idx="2464">
                  <c:v>1.3473648E-2</c:v>
                </c:pt>
                <c:pt idx="2465">
                  <c:v>1.3528212E-2</c:v>
                </c:pt>
                <c:pt idx="2466">
                  <c:v>1.3520949000000001E-2</c:v>
                </c:pt>
                <c:pt idx="2467">
                  <c:v>1.3561475999999999E-2</c:v>
                </c:pt>
                <c:pt idx="2468">
                  <c:v>1.3415636999999999E-2</c:v>
                </c:pt>
                <c:pt idx="2469">
                  <c:v>1.3381865E-2</c:v>
                </c:pt>
                <c:pt idx="2470">
                  <c:v>1.3196334000000001E-2</c:v>
                </c:pt>
                <c:pt idx="2471">
                  <c:v>1.309506E-2</c:v>
                </c:pt>
                <c:pt idx="2472">
                  <c:v>1.3094975999999999E-2</c:v>
                </c:pt>
                <c:pt idx="2473">
                  <c:v>1.3177662E-2</c:v>
                </c:pt>
                <c:pt idx="2474">
                  <c:v>1.3256660999999999E-2</c:v>
                </c:pt>
                <c:pt idx="2475">
                  <c:v>1.3256916000000001E-2</c:v>
                </c:pt>
                <c:pt idx="2476">
                  <c:v>1.3244214000000001E-2</c:v>
                </c:pt>
                <c:pt idx="2477">
                  <c:v>1.3236927000000001E-2</c:v>
                </c:pt>
                <c:pt idx="2478">
                  <c:v>1.3242298E-2</c:v>
                </c:pt>
                <c:pt idx="2479">
                  <c:v>1.3242412E-2</c:v>
                </c:pt>
                <c:pt idx="2480">
                  <c:v>1.324237E-2</c:v>
                </c:pt>
                <c:pt idx="2481">
                  <c:v>1.3178776999999999E-2</c:v>
                </c:pt>
                <c:pt idx="2482">
                  <c:v>1.3109865E-2</c:v>
                </c:pt>
                <c:pt idx="2483">
                  <c:v>1.3164306000000001E-2</c:v>
                </c:pt>
                <c:pt idx="2484">
                  <c:v>1.3332464E-2</c:v>
                </c:pt>
                <c:pt idx="2485">
                  <c:v>1.2986391E-2</c:v>
                </c:pt>
                <c:pt idx="2486">
                  <c:v>1.2656001E-2</c:v>
                </c:pt>
                <c:pt idx="2487">
                  <c:v>1.2679589999999999E-2</c:v>
                </c:pt>
                <c:pt idx="2488">
                  <c:v>1.2679673000000001E-2</c:v>
                </c:pt>
                <c:pt idx="2489">
                  <c:v>1.2730626E-2</c:v>
                </c:pt>
                <c:pt idx="2490">
                  <c:v>1.2600363999999999E-2</c:v>
                </c:pt>
                <c:pt idx="2491">
                  <c:v>1.1813867E-2</c:v>
                </c:pt>
                <c:pt idx="2492">
                  <c:v>1.1732668999999999E-2</c:v>
                </c:pt>
                <c:pt idx="2493">
                  <c:v>1.1643433E-2</c:v>
                </c:pt>
                <c:pt idx="2494">
                  <c:v>1.1630967000000001E-2</c:v>
                </c:pt>
                <c:pt idx="2495">
                  <c:v>1.1533527999999999E-2</c:v>
                </c:pt>
                <c:pt idx="2496">
                  <c:v>1.1547274999999999E-2</c:v>
                </c:pt>
                <c:pt idx="2497">
                  <c:v>1.1484018E-2</c:v>
                </c:pt>
                <c:pt idx="2498">
                  <c:v>1.1277512999999999E-2</c:v>
                </c:pt>
                <c:pt idx="2499">
                  <c:v>1.1260604E-2</c:v>
                </c:pt>
                <c:pt idx="2500">
                  <c:v>1.1260752000000001E-2</c:v>
                </c:pt>
                <c:pt idx="2501">
                  <c:v>1.11854E-2</c:v>
                </c:pt>
                <c:pt idx="2502">
                  <c:v>1.0907356999999999E-2</c:v>
                </c:pt>
                <c:pt idx="2503">
                  <c:v>1.0935914E-2</c:v>
                </c:pt>
                <c:pt idx="2504">
                  <c:v>1.1008967E-2</c:v>
                </c:pt>
                <c:pt idx="2505">
                  <c:v>1.1010277000000001E-2</c:v>
                </c:pt>
                <c:pt idx="2506">
                  <c:v>1.1006043E-2</c:v>
                </c:pt>
                <c:pt idx="2507">
                  <c:v>1.0992306E-2</c:v>
                </c:pt>
                <c:pt idx="2508">
                  <c:v>1.0991025999999999E-2</c:v>
                </c:pt>
                <c:pt idx="2509">
                  <c:v>1.1136315000000001E-2</c:v>
                </c:pt>
                <c:pt idx="2510">
                  <c:v>1.1137660000000001E-2</c:v>
                </c:pt>
                <c:pt idx="2511">
                  <c:v>1.1144279999999999E-2</c:v>
                </c:pt>
                <c:pt idx="2512">
                  <c:v>1.1072277E-2</c:v>
                </c:pt>
                <c:pt idx="2513">
                  <c:v>1.1066222000000001E-2</c:v>
                </c:pt>
                <c:pt idx="2514">
                  <c:v>1.0962342E-2</c:v>
                </c:pt>
                <c:pt idx="2515">
                  <c:v>1.0970287E-2</c:v>
                </c:pt>
                <c:pt idx="2516">
                  <c:v>1.0982842E-2</c:v>
                </c:pt>
                <c:pt idx="2517">
                  <c:v>1.0954459999999999E-2</c:v>
                </c:pt>
                <c:pt idx="2518">
                  <c:v>1.0995712E-2</c:v>
                </c:pt>
                <c:pt idx="2519">
                  <c:v>1.1007454999999999E-2</c:v>
                </c:pt>
                <c:pt idx="2520">
                  <c:v>1.1012109000000001E-2</c:v>
                </c:pt>
                <c:pt idx="2521">
                  <c:v>1.0965656000000001E-2</c:v>
                </c:pt>
                <c:pt idx="2522">
                  <c:v>1.0953963000000001E-2</c:v>
                </c:pt>
                <c:pt idx="2523">
                  <c:v>1.0880088E-2</c:v>
                </c:pt>
                <c:pt idx="2524">
                  <c:v>1.0878616000000001E-2</c:v>
                </c:pt>
                <c:pt idx="2525">
                  <c:v>1.0910042E-2</c:v>
                </c:pt>
                <c:pt idx="2526">
                  <c:v>1.0858217999999999E-2</c:v>
                </c:pt>
                <c:pt idx="2527">
                  <c:v>1.0603761999999999E-2</c:v>
                </c:pt>
                <c:pt idx="2528">
                  <c:v>1.1361169000000001E-2</c:v>
                </c:pt>
                <c:pt idx="2529">
                  <c:v>1.1281035999999999E-2</c:v>
                </c:pt>
                <c:pt idx="2530">
                  <c:v>1.1287052000000001E-2</c:v>
                </c:pt>
                <c:pt idx="2531">
                  <c:v>1.1193061000000001E-2</c:v>
                </c:pt>
                <c:pt idx="2532">
                  <c:v>1.1217736000000001E-2</c:v>
                </c:pt>
                <c:pt idx="2533">
                  <c:v>1.1243707E-2</c:v>
                </c:pt>
                <c:pt idx="2534">
                  <c:v>1.1410155999999999E-2</c:v>
                </c:pt>
                <c:pt idx="2535">
                  <c:v>1.1440952000000001E-2</c:v>
                </c:pt>
                <c:pt idx="2536">
                  <c:v>1.1452393999999999E-2</c:v>
                </c:pt>
                <c:pt idx="2537">
                  <c:v>1.1340851000000001E-2</c:v>
                </c:pt>
                <c:pt idx="2538">
                  <c:v>1.1289547E-2</c:v>
                </c:pt>
                <c:pt idx="2539">
                  <c:v>1.130333E-2</c:v>
                </c:pt>
                <c:pt idx="2540">
                  <c:v>1.1082732E-2</c:v>
                </c:pt>
                <c:pt idx="2541">
                  <c:v>1.1117615000000001E-2</c:v>
                </c:pt>
                <c:pt idx="2542">
                  <c:v>1.1449978E-2</c:v>
                </c:pt>
                <c:pt idx="2543">
                  <c:v>1.1540979E-2</c:v>
                </c:pt>
                <c:pt idx="2544">
                  <c:v>1.1571971E-2</c:v>
                </c:pt>
                <c:pt idx="2545">
                  <c:v>1.1603918E-2</c:v>
                </c:pt>
                <c:pt idx="2546">
                  <c:v>1.1598137E-2</c:v>
                </c:pt>
                <c:pt idx="2547">
                  <c:v>1.1622959E-2</c:v>
                </c:pt>
                <c:pt idx="2548">
                  <c:v>1.157447E-2</c:v>
                </c:pt>
                <c:pt idx="2549">
                  <c:v>1.1376172E-2</c:v>
                </c:pt>
                <c:pt idx="2550">
                  <c:v>1.1378338999999999E-2</c:v>
                </c:pt>
                <c:pt idx="2551">
                  <c:v>1.1319041E-2</c:v>
                </c:pt>
                <c:pt idx="2552">
                  <c:v>1.1398596E-2</c:v>
                </c:pt>
                <c:pt idx="2553">
                  <c:v>1.1398663E-2</c:v>
                </c:pt>
                <c:pt idx="2554">
                  <c:v>1.1377333999999999E-2</c:v>
                </c:pt>
                <c:pt idx="2555">
                  <c:v>1.1423928E-2</c:v>
                </c:pt>
                <c:pt idx="2556">
                  <c:v>1.1423822E-2</c:v>
                </c:pt>
                <c:pt idx="2557">
                  <c:v>1.1244568999999999E-2</c:v>
                </c:pt>
                <c:pt idx="2558">
                  <c:v>1.1353662E-2</c:v>
                </c:pt>
                <c:pt idx="2559">
                  <c:v>1.1317648E-2</c:v>
                </c:pt>
                <c:pt idx="2560">
                  <c:v>1.1319991999999999E-2</c:v>
                </c:pt>
                <c:pt idx="2561">
                  <c:v>1.1344062E-2</c:v>
                </c:pt>
                <c:pt idx="2562">
                  <c:v>1.1378261000000001E-2</c:v>
                </c:pt>
                <c:pt idx="2563">
                  <c:v>1.1387266E-2</c:v>
                </c:pt>
                <c:pt idx="2564">
                  <c:v>1.1371965E-2</c:v>
                </c:pt>
                <c:pt idx="2565">
                  <c:v>1.1357238E-2</c:v>
                </c:pt>
                <c:pt idx="2566">
                  <c:v>1.1356348E-2</c:v>
                </c:pt>
                <c:pt idx="2567">
                  <c:v>1.1382015000000001E-2</c:v>
                </c:pt>
                <c:pt idx="2568">
                  <c:v>1.1283051000000001E-2</c:v>
                </c:pt>
                <c:pt idx="2569">
                  <c:v>1.1221418E-2</c:v>
                </c:pt>
                <c:pt idx="2570">
                  <c:v>1.1307308E-2</c:v>
                </c:pt>
                <c:pt idx="2571">
                  <c:v>1.1216099E-2</c:v>
                </c:pt>
                <c:pt idx="2572">
                  <c:v>1.1266636E-2</c:v>
                </c:pt>
                <c:pt idx="2573">
                  <c:v>1.1262815000000001E-2</c:v>
                </c:pt>
                <c:pt idx="2574">
                  <c:v>1.1243823E-2</c:v>
                </c:pt>
                <c:pt idx="2575">
                  <c:v>1.1132312E-2</c:v>
                </c:pt>
                <c:pt idx="2576">
                  <c:v>1.1132737E-2</c:v>
                </c:pt>
                <c:pt idx="2577">
                  <c:v>1.1146885E-2</c:v>
                </c:pt>
                <c:pt idx="2578">
                  <c:v>1.1172023999999999E-2</c:v>
                </c:pt>
                <c:pt idx="2579">
                  <c:v>1.1185386E-2</c:v>
                </c:pt>
                <c:pt idx="2580">
                  <c:v>1.0947204E-2</c:v>
                </c:pt>
                <c:pt idx="2581">
                  <c:v>1.0974441999999999E-2</c:v>
                </c:pt>
                <c:pt idx="2582">
                  <c:v>1.0982865E-2</c:v>
                </c:pt>
                <c:pt idx="2583">
                  <c:v>1.1037589E-2</c:v>
                </c:pt>
                <c:pt idx="2584">
                  <c:v>1.1090312E-2</c:v>
                </c:pt>
                <c:pt idx="2585">
                  <c:v>1.1062752E-2</c:v>
                </c:pt>
                <c:pt idx="2586">
                  <c:v>1.1547386999999999E-2</c:v>
                </c:pt>
                <c:pt idx="2587">
                  <c:v>1.1441366E-2</c:v>
                </c:pt>
                <c:pt idx="2588">
                  <c:v>1.158005E-2</c:v>
                </c:pt>
                <c:pt idx="2589">
                  <c:v>1.162467E-2</c:v>
                </c:pt>
                <c:pt idx="2590">
                  <c:v>1.1618095E-2</c:v>
                </c:pt>
                <c:pt idx="2591">
                  <c:v>1.1606086E-2</c:v>
                </c:pt>
                <c:pt idx="2592">
                  <c:v>1.1642346E-2</c:v>
                </c:pt>
                <c:pt idx="2593">
                  <c:v>1.2436742000000001E-2</c:v>
                </c:pt>
                <c:pt idx="2594">
                  <c:v>1.2280945999999999E-2</c:v>
                </c:pt>
                <c:pt idx="2595">
                  <c:v>1.2281185E-2</c:v>
                </c:pt>
                <c:pt idx="2596">
                  <c:v>1.2279185999999999E-2</c:v>
                </c:pt>
                <c:pt idx="2597">
                  <c:v>1.2266002E-2</c:v>
                </c:pt>
                <c:pt idx="2598">
                  <c:v>1.2198820000000001E-2</c:v>
                </c:pt>
                <c:pt idx="2599">
                  <c:v>1.2203751000000001E-2</c:v>
                </c:pt>
                <c:pt idx="2600">
                  <c:v>1.2469918999999999E-2</c:v>
                </c:pt>
                <c:pt idx="2601">
                  <c:v>1.2474046000000001E-2</c:v>
                </c:pt>
                <c:pt idx="2602">
                  <c:v>1.2416243E-2</c:v>
                </c:pt>
                <c:pt idx="2603">
                  <c:v>1.2385989E-2</c:v>
                </c:pt>
                <c:pt idx="2604">
                  <c:v>1.2298468999999999E-2</c:v>
                </c:pt>
                <c:pt idx="2605">
                  <c:v>1.2292314E-2</c:v>
                </c:pt>
                <c:pt idx="2606">
                  <c:v>1.2279488999999999E-2</c:v>
                </c:pt>
                <c:pt idx="2607">
                  <c:v>1.2256410000000001E-2</c:v>
                </c:pt>
                <c:pt idx="2608">
                  <c:v>1.2256372E-2</c:v>
                </c:pt>
                <c:pt idx="2609">
                  <c:v>1.2099988000000001E-2</c:v>
                </c:pt>
                <c:pt idx="2610">
                  <c:v>1.2216568000000001E-2</c:v>
                </c:pt>
                <c:pt idx="2611">
                  <c:v>1.2677624E-2</c:v>
                </c:pt>
                <c:pt idx="2612">
                  <c:v>1.2687195E-2</c:v>
                </c:pt>
                <c:pt idx="2613">
                  <c:v>1.2665187E-2</c:v>
                </c:pt>
                <c:pt idx="2614">
                  <c:v>1.2629400000000001E-2</c:v>
                </c:pt>
                <c:pt idx="2615">
                  <c:v>1.2708485E-2</c:v>
                </c:pt>
                <c:pt idx="2616">
                  <c:v>1.2698615E-2</c:v>
                </c:pt>
                <c:pt idx="2617">
                  <c:v>1.2698729000000001E-2</c:v>
                </c:pt>
                <c:pt idx="2618">
                  <c:v>1.2702112999999999E-2</c:v>
                </c:pt>
                <c:pt idx="2619">
                  <c:v>1.2723529000000001E-2</c:v>
                </c:pt>
                <c:pt idx="2620">
                  <c:v>1.2730817E-2</c:v>
                </c:pt>
                <c:pt idx="2621">
                  <c:v>1.2988038E-2</c:v>
                </c:pt>
                <c:pt idx="2622">
                  <c:v>1.2968032000000001E-2</c:v>
                </c:pt>
                <c:pt idx="2623">
                  <c:v>1.2956851E-2</c:v>
                </c:pt>
                <c:pt idx="2624">
                  <c:v>1.2907874E-2</c:v>
                </c:pt>
                <c:pt idx="2625">
                  <c:v>1.3033767999999999E-2</c:v>
                </c:pt>
                <c:pt idx="2626">
                  <c:v>1.3033677E-2</c:v>
                </c:pt>
                <c:pt idx="2627">
                  <c:v>1.3030938000000001E-2</c:v>
                </c:pt>
                <c:pt idx="2628">
                  <c:v>1.3018754E-2</c:v>
                </c:pt>
                <c:pt idx="2629">
                  <c:v>1.2886267E-2</c:v>
                </c:pt>
                <c:pt idx="2630">
                  <c:v>1.2888877999999999E-2</c:v>
                </c:pt>
                <c:pt idx="2631">
                  <c:v>1.2902401000000001E-2</c:v>
                </c:pt>
                <c:pt idx="2632">
                  <c:v>1.3024027000000001E-2</c:v>
                </c:pt>
                <c:pt idx="2633">
                  <c:v>1.3027313E-2</c:v>
                </c:pt>
                <c:pt idx="2634">
                  <c:v>1.3423052E-2</c:v>
                </c:pt>
                <c:pt idx="2635">
                  <c:v>1.3430318E-2</c:v>
                </c:pt>
                <c:pt idx="2636">
                  <c:v>1.3407232E-2</c:v>
                </c:pt>
                <c:pt idx="2637">
                  <c:v>1.3480531E-2</c:v>
                </c:pt>
                <c:pt idx="2638">
                  <c:v>1.3459225E-2</c:v>
                </c:pt>
                <c:pt idx="2639">
                  <c:v>1.3556935000000001E-2</c:v>
                </c:pt>
                <c:pt idx="2640">
                  <c:v>1.3557115E-2</c:v>
                </c:pt>
                <c:pt idx="2641">
                  <c:v>1.4226915999999999E-2</c:v>
                </c:pt>
                <c:pt idx="2642">
                  <c:v>1.4463148E-2</c:v>
                </c:pt>
                <c:pt idx="2643">
                  <c:v>1.4480529000000001E-2</c:v>
                </c:pt>
                <c:pt idx="2644">
                  <c:v>1.4505944E-2</c:v>
                </c:pt>
                <c:pt idx="2645">
                  <c:v>1.4473962E-2</c:v>
                </c:pt>
                <c:pt idx="2646">
                  <c:v>1.448468E-2</c:v>
                </c:pt>
                <c:pt idx="2647">
                  <c:v>1.4541169E-2</c:v>
                </c:pt>
                <c:pt idx="2648">
                  <c:v>1.4043238E-2</c:v>
                </c:pt>
                <c:pt idx="2649">
                  <c:v>1.4040992E-2</c:v>
                </c:pt>
                <c:pt idx="2650">
                  <c:v>1.4026449E-2</c:v>
                </c:pt>
                <c:pt idx="2651">
                  <c:v>1.4096169E-2</c:v>
                </c:pt>
                <c:pt idx="2652">
                  <c:v>1.4086438999999999E-2</c:v>
                </c:pt>
                <c:pt idx="2653">
                  <c:v>1.4380820000000001E-2</c:v>
                </c:pt>
                <c:pt idx="2654">
                  <c:v>1.4182737000000001E-2</c:v>
                </c:pt>
                <c:pt idx="2655">
                  <c:v>1.4142023E-2</c:v>
                </c:pt>
                <c:pt idx="2656">
                  <c:v>1.4141328999999999E-2</c:v>
                </c:pt>
                <c:pt idx="2657">
                  <c:v>1.4046473E-2</c:v>
                </c:pt>
                <c:pt idx="2658">
                  <c:v>1.4047611999999999E-2</c:v>
                </c:pt>
                <c:pt idx="2659">
                  <c:v>1.4384065E-2</c:v>
                </c:pt>
                <c:pt idx="2660">
                  <c:v>1.4382745000000001E-2</c:v>
                </c:pt>
                <c:pt idx="2661">
                  <c:v>1.4337622E-2</c:v>
                </c:pt>
                <c:pt idx="2662">
                  <c:v>1.4090203000000001E-2</c:v>
                </c:pt>
                <c:pt idx="2663">
                  <c:v>1.3999976000000001E-2</c:v>
                </c:pt>
                <c:pt idx="2664">
                  <c:v>1.3973179000000001E-2</c:v>
                </c:pt>
                <c:pt idx="2665">
                  <c:v>1.3849442E-2</c:v>
                </c:pt>
                <c:pt idx="2666">
                  <c:v>1.385056E-2</c:v>
                </c:pt>
                <c:pt idx="2667">
                  <c:v>1.3824581000000001E-2</c:v>
                </c:pt>
                <c:pt idx="2668">
                  <c:v>1.3839295999999999E-2</c:v>
                </c:pt>
                <c:pt idx="2669">
                  <c:v>1.3868215999999999E-2</c:v>
                </c:pt>
                <c:pt idx="2670">
                  <c:v>1.3891239999999999E-2</c:v>
                </c:pt>
                <c:pt idx="2671">
                  <c:v>1.3891446999999999E-2</c:v>
                </c:pt>
                <c:pt idx="2672">
                  <c:v>1.3827104E-2</c:v>
                </c:pt>
                <c:pt idx="2673">
                  <c:v>1.4046067000000001E-2</c:v>
                </c:pt>
                <c:pt idx="2674">
                  <c:v>1.4044038E-2</c:v>
                </c:pt>
                <c:pt idx="2675">
                  <c:v>1.4318164E-2</c:v>
                </c:pt>
                <c:pt idx="2676">
                  <c:v>1.4412082999999999E-2</c:v>
                </c:pt>
                <c:pt idx="2677">
                  <c:v>1.4434773E-2</c:v>
                </c:pt>
                <c:pt idx="2678">
                  <c:v>1.4344638999999999E-2</c:v>
                </c:pt>
                <c:pt idx="2679">
                  <c:v>1.4333699E-2</c:v>
                </c:pt>
                <c:pt idx="2680">
                  <c:v>1.4414778E-2</c:v>
                </c:pt>
                <c:pt idx="2681">
                  <c:v>1.4448979000000001E-2</c:v>
                </c:pt>
                <c:pt idx="2682">
                  <c:v>1.4354142E-2</c:v>
                </c:pt>
                <c:pt idx="2683">
                  <c:v>1.4356730999999999E-2</c:v>
                </c:pt>
                <c:pt idx="2684">
                  <c:v>1.4367437E-2</c:v>
                </c:pt>
                <c:pt idx="2685">
                  <c:v>1.4365523999999999E-2</c:v>
                </c:pt>
                <c:pt idx="2686">
                  <c:v>1.4369857999999999E-2</c:v>
                </c:pt>
                <c:pt idx="2687">
                  <c:v>1.4331989999999999E-2</c:v>
                </c:pt>
                <c:pt idx="2688">
                  <c:v>1.4335535999999999E-2</c:v>
                </c:pt>
                <c:pt idx="2689">
                  <c:v>1.4416675E-2</c:v>
                </c:pt>
                <c:pt idx="2690">
                  <c:v>1.4371208E-2</c:v>
                </c:pt>
                <c:pt idx="2691">
                  <c:v>1.4376261E-2</c:v>
                </c:pt>
                <c:pt idx="2692">
                  <c:v>1.4312609E-2</c:v>
                </c:pt>
                <c:pt idx="2693">
                  <c:v>1.428886E-2</c:v>
                </c:pt>
                <c:pt idx="2694">
                  <c:v>1.4353127E-2</c:v>
                </c:pt>
                <c:pt idx="2695">
                  <c:v>1.4346978E-2</c:v>
                </c:pt>
                <c:pt idx="2696">
                  <c:v>1.4302636000000001E-2</c:v>
                </c:pt>
                <c:pt idx="2697">
                  <c:v>1.4347464000000001E-2</c:v>
                </c:pt>
                <c:pt idx="2698">
                  <c:v>1.4340626E-2</c:v>
                </c:pt>
                <c:pt idx="2699">
                  <c:v>1.4321219E-2</c:v>
                </c:pt>
                <c:pt idx="2700">
                  <c:v>1.4314550000000001E-2</c:v>
                </c:pt>
                <c:pt idx="2701">
                  <c:v>1.4277311000000001E-2</c:v>
                </c:pt>
                <c:pt idx="2702">
                  <c:v>1.4333174000000001E-2</c:v>
                </c:pt>
                <c:pt idx="2703">
                  <c:v>1.4309165E-2</c:v>
                </c:pt>
                <c:pt idx="2704">
                  <c:v>1.4294436000000001E-2</c:v>
                </c:pt>
                <c:pt idx="2705">
                  <c:v>1.4373079E-2</c:v>
                </c:pt>
                <c:pt idx="2706">
                  <c:v>1.4398348E-2</c:v>
                </c:pt>
                <c:pt idx="2707">
                  <c:v>1.4407682E-2</c:v>
                </c:pt>
                <c:pt idx="2708">
                  <c:v>1.4315682999999999E-2</c:v>
                </c:pt>
                <c:pt idx="2709">
                  <c:v>1.4294411E-2</c:v>
                </c:pt>
                <c:pt idx="2710">
                  <c:v>1.430233E-2</c:v>
                </c:pt>
                <c:pt idx="2711">
                  <c:v>1.4632821000000001E-2</c:v>
                </c:pt>
                <c:pt idx="2712">
                  <c:v>1.4596748E-2</c:v>
                </c:pt>
                <c:pt idx="2713">
                  <c:v>1.5098512E-2</c:v>
                </c:pt>
                <c:pt idx="2714">
                  <c:v>1.5091758E-2</c:v>
                </c:pt>
                <c:pt idx="2715">
                  <c:v>1.509245E-2</c:v>
                </c:pt>
                <c:pt idx="2716">
                  <c:v>1.5093405000000001E-2</c:v>
                </c:pt>
                <c:pt idx="2717">
                  <c:v>1.5182129000000001E-2</c:v>
                </c:pt>
                <c:pt idx="2718">
                  <c:v>1.5187066000000001E-2</c:v>
                </c:pt>
                <c:pt idx="2719">
                  <c:v>1.5187129000000001E-2</c:v>
                </c:pt>
                <c:pt idx="2720">
                  <c:v>1.4975629000000001E-2</c:v>
                </c:pt>
                <c:pt idx="2721">
                  <c:v>1.499267E-2</c:v>
                </c:pt>
                <c:pt idx="2722">
                  <c:v>1.4989496E-2</c:v>
                </c:pt>
                <c:pt idx="2723">
                  <c:v>1.5139998E-2</c:v>
                </c:pt>
                <c:pt idx="2724">
                  <c:v>1.5046314E-2</c:v>
                </c:pt>
                <c:pt idx="2725">
                  <c:v>1.5281158E-2</c:v>
                </c:pt>
                <c:pt idx="2726">
                  <c:v>1.5844249000000001E-2</c:v>
                </c:pt>
                <c:pt idx="2727">
                  <c:v>1.5963405999999999E-2</c:v>
                </c:pt>
                <c:pt idx="2728">
                  <c:v>1.6020211999999999E-2</c:v>
                </c:pt>
                <c:pt idx="2729">
                  <c:v>1.6025955000000001E-2</c:v>
                </c:pt>
                <c:pt idx="2730">
                  <c:v>1.5994532999999998E-2</c:v>
                </c:pt>
                <c:pt idx="2731">
                  <c:v>1.5670690000000001E-2</c:v>
                </c:pt>
                <c:pt idx="2732">
                  <c:v>1.5799160999999999E-2</c:v>
                </c:pt>
                <c:pt idx="2733">
                  <c:v>1.5801837999999999E-2</c:v>
                </c:pt>
                <c:pt idx="2734">
                  <c:v>1.6015603E-2</c:v>
                </c:pt>
                <c:pt idx="2735">
                  <c:v>1.5943901E-2</c:v>
                </c:pt>
                <c:pt idx="2736">
                  <c:v>1.5934271999999999E-2</c:v>
                </c:pt>
                <c:pt idx="2737">
                  <c:v>1.5936039999999999E-2</c:v>
                </c:pt>
                <c:pt idx="2738">
                  <c:v>1.6037991000000001E-2</c:v>
                </c:pt>
                <c:pt idx="2739">
                  <c:v>1.6036000000000002E-2</c:v>
                </c:pt>
                <c:pt idx="2740">
                  <c:v>1.6036089999999999E-2</c:v>
                </c:pt>
                <c:pt idx="2741">
                  <c:v>1.5929394999999999E-2</c:v>
                </c:pt>
                <c:pt idx="2742">
                  <c:v>1.5902011000000001E-2</c:v>
                </c:pt>
                <c:pt idx="2743">
                  <c:v>1.5952392999999999E-2</c:v>
                </c:pt>
                <c:pt idx="2744">
                  <c:v>1.5969321000000002E-2</c:v>
                </c:pt>
                <c:pt idx="2745">
                  <c:v>1.5843738E-2</c:v>
                </c:pt>
                <c:pt idx="2746">
                  <c:v>1.5840909E-2</c:v>
                </c:pt>
                <c:pt idx="2747">
                  <c:v>1.5821953999999999E-2</c:v>
                </c:pt>
                <c:pt idx="2748">
                  <c:v>1.6061342999999999E-2</c:v>
                </c:pt>
                <c:pt idx="2749">
                  <c:v>1.6060418999999999E-2</c:v>
                </c:pt>
                <c:pt idx="2750">
                  <c:v>1.6054321999999999E-2</c:v>
                </c:pt>
                <c:pt idx="2751">
                  <c:v>1.6050604999999999E-2</c:v>
                </c:pt>
                <c:pt idx="2752">
                  <c:v>1.5977598999999999E-2</c:v>
                </c:pt>
                <c:pt idx="2753">
                  <c:v>1.6007117000000001E-2</c:v>
                </c:pt>
                <c:pt idx="2754">
                  <c:v>1.5722198E-2</c:v>
                </c:pt>
                <c:pt idx="2755">
                  <c:v>1.5717235E-2</c:v>
                </c:pt>
                <c:pt idx="2756">
                  <c:v>1.5712759999999999E-2</c:v>
                </c:pt>
                <c:pt idx="2757">
                  <c:v>1.5675294999999999E-2</c:v>
                </c:pt>
                <c:pt idx="2758">
                  <c:v>1.5769666000000002E-2</c:v>
                </c:pt>
                <c:pt idx="2759">
                  <c:v>1.5516805999999999E-2</c:v>
                </c:pt>
                <c:pt idx="2760">
                  <c:v>1.552189E-2</c:v>
                </c:pt>
                <c:pt idx="2761">
                  <c:v>1.4934031E-2</c:v>
                </c:pt>
                <c:pt idx="2762">
                  <c:v>1.4665956000000001E-2</c:v>
                </c:pt>
                <c:pt idx="2763">
                  <c:v>1.463251E-2</c:v>
                </c:pt>
                <c:pt idx="2764">
                  <c:v>1.4669821E-2</c:v>
                </c:pt>
                <c:pt idx="2765">
                  <c:v>1.4665559999999999E-2</c:v>
                </c:pt>
                <c:pt idx="2766">
                  <c:v>1.4661623E-2</c:v>
                </c:pt>
                <c:pt idx="2767">
                  <c:v>1.4625669000000001E-2</c:v>
                </c:pt>
                <c:pt idx="2768">
                  <c:v>1.4942169999999999E-2</c:v>
                </c:pt>
                <c:pt idx="2769">
                  <c:v>1.4996308999999999E-2</c:v>
                </c:pt>
                <c:pt idx="2770">
                  <c:v>1.4997973E-2</c:v>
                </c:pt>
                <c:pt idx="2771">
                  <c:v>1.4964708E-2</c:v>
                </c:pt>
                <c:pt idx="2772">
                  <c:v>1.495701E-2</c:v>
                </c:pt>
                <c:pt idx="2773">
                  <c:v>1.4644561E-2</c:v>
                </c:pt>
                <c:pt idx="2774">
                  <c:v>1.4760666E-2</c:v>
                </c:pt>
                <c:pt idx="2775">
                  <c:v>1.476181E-2</c:v>
                </c:pt>
                <c:pt idx="2776">
                  <c:v>1.4840936000000001E-2</c:v>
                </c:pt>
                <c:pt idx="2777">
                  <c:v>1.4818589E-2</c:v>
                </c:pt>
                <c:pt idx="2778">
                  <c:v>1.4823543E-2</c:v>
                </c:pt>
                <c:pt idx="2779">
                  <c:v>1.4611673E-2</c:v>
                </c:pt>
                <c:pt idx="2780">
                  <c:v>1.4617720000000001E-2</c:v>
                </c:pt>
                <c:pt idx="2781">
                  <c:v>1.4628606000000001E-2</c:v>
                </c:pt>
                <c:pt idx="2782">
                  <c:v>1.4680842E-2</c:v>
                </c:pt>
                <c:pt idx="2783">
                  <c:v>1.4687514E-2</c:v>
                </c:pt>
                <c:pt idx="2784">
                  <c:v>1.4709465E-2</c:v>
                </c:pt>
                <c:pt idx="2785">
                  <c:v>1.4769443E-2</c:v>
                </c:pt>
                <c:pt idx="2786">
                  <c:v>1.4769525E-2</c:v>
                </c:pt>
                <c:pt idx="2787">
                  <c:v>1.4768171E-2</c:v>
                </c:pt>
                <c:pt idx="2788">
                  <c:v>1.4857103E-2</c:v>
                </c:pt>
                <c:pt idx="2789">
                  <c:v>1.4830495000000001E-2</c:v>
                </c:pt>
                <c:pt idx="2790">
                  <c:v>1.4813583E-2</c:v>
                </c:pt>
                <c:pt idx="2791">
                  <c:v>1.4910537E-2</c:v>
                </c:pt>
                <c:pt idx="2792">
                  <c:v>1.4938689E-2</c:v>
                </c:pt>
                <c:pt idx="2793">
                  <c:v>1.4754026999999999E-2</c:v>
                </c:pt>
                <c:pt idx="2794">
                  <c:v>1.4767969000000001E-2</c:v>
                </c:pt>
                <c:pt idx="2795">
                  <c:v>1.4518273999999999E-2</c:v>
                </c:pt>
                <c:pt idx="2796">
                  <c:v>1.441345E-2</c:v>
                </c:pt>
                <c:pt idx="2797">
                  <c:v>1.4382133E-2</c:v>
                </c:pt>
                <c:pt idx="2798">
                  <c:v>1.4428933E-2</c:v>
                </c:pt>
                <c:pt idx="2799">
                  <c:v>1.4484851E-2</c:v>
                </c:pt>
                <c:pt idx="2800">
                  <c:v>1.4399800000000001E-2</c:v>
                </c:pt>
                <c:pt idx="2801">
                  <c:v>1.4346275E-2</c:v>
                </c:pt>
                <c:pt idx="2802">
                  <c:v>1.4346075E-2</c:v>
                </c:pt>
                <c:pt idx="2803">
                  <c:v>1.4380164000000001E-2</c:v>
                </c:pt>
                <c:pt idx="2804">
                  <c:v>1.4379054E-2</c:v>
                </c:pt>
                <c:pt idx="2805">
                  <c:v>1.4420651E-2</c:v>
                </c:pt>
                <c:pt idx="2806">
                  <c:v>1.4422816999999999E-2</c:v>
                </c:pt>
                <c:pt idx="2807">
                  <c:v>1.4398698E-2</c:v>
                </c:pt>
                <c:pt idx="2808">
                  <c:v>1.4525715E-2</c:v>
                </c:pt>
                <c:pt idx="2809">
                  <c:v>1.4440336999999999E-2</c:v>
                </c:pt>
                <c:pt idx="2810">
                  <c:v>1.4489204E-2</c:v>
                </c:pt>
                <c:pt idx="2811">
                  <c:v>1.4793735000000001E-2</c:v>
                </c:pt>
                <c:pt idx="2812">
                  <c:v>1.4802955E-2</c:v>
                </c:pt>
                <c:pt idx="2813">
                  <c:v>1.4811848000000001E-2</c:v>
                </c:pt>
                <c:pt idx="2814">
                  <c:v>1.4773144E-2</c:v>
                </c:pt>
                <c:pt idx="2815">
                  <c:v>1.4767768000000001E-2</c:v>
                </c:pt>
                <c:pt idx="2816">
                  <c:v>1.4769981999999999E-2</c:v>
                </c:pt>
                <c:pt idx="2817">
                  <c:v>1.4679044E-2</c:v>
                </c:pt>
                <c:pt idx="2818">
                  <c:v>1.47207E-2</c:v>
                </c:pt>
                <c:pt idx="2819">
                  <c:v>1.4753629000000001E-2</c:v>
                </c:pt>
                <c:pt idx="2820">
                  <c:v>1.4724891E-2</c:v>
                </c:pt>
                <c:pt idx="2821">
                  <c:v>1.474164E-2</c:v>
                </c:pt>
                <c:pt idx="2822">
                  <c:v>1.4718129999999999E-2</c:v>
                </c:pt>
                <c:pt idx="2823">
                  <c:v>1.4769334E-2</c:v>
                </c:pt>
                <c:pt idx="2824">
                  <c:v>1.4725892000000001E-2</c:v>
                </c:pt>
                <c:pt idx="2825">
                  <c:v>1.4651908E-2</c:v>
                </c:pt>
                <c:pt idx="2826">
                  <c:v>1.4306126000000001E-2</c:v>
                </c:pt>
                <c:pt idx="2827">
                  <c:v>1.4292598E-2</c:v>
                </c:pt>
                <c:pt idx="2828">
                  <c:v>1.4366168E-2</c:v>
                </c:pt>
                <c:pt idx="2829">
                  <c:v>1.4355361000000001E-2</c:v>
                </c:pt>
                <c:pt idx="2830">
                  <c:v>1.4339652E-2</c:v>
                </c:pt>
                <c:pt idx="2831">
                  <c:v>1.4082914E-2</c:v>
                </c:pt>
                <c:pt idx="2832">
                  <c:v>1.4089394E-2</c:v>
                </c:pt>
                <c:pt idx="2833">
                  <c:v>1.2742942E-2</c:v>
                </c:pt>
                <c:pt idx="2834">
                  <c:v>1.2780882E-2</c:v>
                </c:pt>
                <c:pt idx="2835">
                  <c:v>1.2969549E-2</c:v>
                </c:pt>
                <c:pt idx="2836">
                  <c:v>1.2966399E-2</c:v>
                </c:pt>
                <c:pt idx="2837">
                  <c:v>1.2862594999999999E-2</c:v>
                </c:pt>
                <c:pt idx="2838">
                  <c:v>1.2869067999999999E-2</c:v>
                </c:pt>
                <c:pt idx="2839">
                  <c:v>1.2966139999999999E-2</c:v>
                </c:pt>
                <c:pt idx="2840">
                  <c:v>1.3030289E-2</c:v>
                </c:pt>
                <c:pt idx="2841">
                  <c:v>1.3011666E-2</c:v>
                </c:pt>
                <c:pt idx="2842">
                  <c:v>1.3063976999999999E-2</c:v>
                </c:pt>
                <c:pt idx="2843">
                  <c:v>1.2790220999999999E-2</c:v>
                </c:pt>
                <c:pt idx="2844">
                  <c:v>1.2854706E-2</c:v>
                </c:pt>
                <c:pt idx="2845">
                  <c:v>1.2780491999999999E-2</c:v>
                </c:pt>
                <c:pt idx="2846">
                  <c:v>1.2088856E-2</c:v>
                </c:pt>
                <c:pt idx="2847">
                  <c:v>1.1919565999999999E-2</c:v>
                </c:pt>
                <c:pt idx="2848">
                  <c:v>1.1874958E-2</c:v>
                </c:pt>
                <c:pt idx="2849">
                  <c:v>1.1886173999999999E-2</c:v>
                </c:pt>
                <c:pt idx="2850">
                  <c:v>1.1815885E-2</c:v>
                </c:pt>
                <c:pt idx="2851">
                  <c:v>1.1749081999999999E-2</c:v>
                </c:pt>
                <c:pt idx="2852">
                  <c:v>1.1529836E-2</c:v>
                </c:pt>
                <c:pt idx="2853">
                  <c:v>1.1520256E-2</c:v>
                </c:pt>
                <c:pt idx="2854">
                  <c:v>1.1301623E-2</c:v>
                </c:pt>
                <c:pt idx="2855">
                  <c:v>1.1294001999999999E-2</c:v>
                </c:pt>
                <c:pt idx="2856">
                  <c:v>1.1323066E-2</c:v>
                </c:pt>
                <c:pt idx="2857">
                  <c:v>1.1548634E-2</c:v>
                </c:pt>
                <c:pt idx="2858">
                  <c:v>1.1382534E-2</c:v>
                </c:pt>
                <c:pt idx="2859">
                  <c:v>1.1382583E-2</c:v>
                </c:pt>
                <c:pt idx="2860">
                  <c:v>1.1448724E-2</c:v>
                </c:pt>
                <c:pt idx="2861">
                  <c:v>1.1243813E-2</c:v>
                </c:pt>
                <c:pt idx="2862">
                  <c:v>1.1248454999999999E-2</c:v>
                </c:pt>
                <c:pt idx="2863">
                  <c:v>1.1223510000000001E-2</c:v>
                </c:pt>
                <c:pt idx="2864">
                  <c:v>1.1213973E-2</c:v>
                </c:pt>
                <c:pt idx="2865">
                  <c:v>1.1430019E-2</c:v>
                </c:pt>
                <c:pt idx="2866">
                  <c:v>1.1452067999999999E-2</c:v>
                </c:pt>
                <c:pt idx="2867">
                  <c:v>1.1448359999999999E-2</c:v>
                </c:pt>
                <c:pt idx="2868">
                  <c:v>1.1146675E-2</c:v>
                </c:pt>
                <c:pt idx="2869">
                  <c:v>1.1163274000000001E-2</c:v>
                </c:pt>
                <c:pt idx="2870">
                  <c:v>1.1176353999999999E-2</c:v>
                </c:pt>
                <c:pt idx="2871">
                  <c:v>1.1184915E-2</c:v>
                </c:pt>
                <c:pt idx="2872">
                  <c:v>1.1213423E-2</c:v>
                </c:pt>
                <c:pt idx="2873">
                  <c:v>1.1192285E-2</c:v>
                </c:pt>
                <c:pt idx="2874">
                  <c:v>1.1205837999999999E-2</c:v>
                </c:pt>
                <c:pt idx="2875">
                  <c:v>1.1384623999999999E-2</c:v>
                </c:pt>
                <c:pt idx="2876">
                  <c:v>1.1620220000000001E-2</c:v>
                </c:pt>
                <c:pt idx="2877">
                  <c:v>1.160635E-2</c:v>
                </c:pt>
                <c:pt idx="2878">
                  <c:v>1.1440774000000001E-2</c:v>
                </c:pt>
                <c:pt idx="2879">
                  <c:v>1.1491466000000001E-2</c:v>
                </c:pt>
                <c:pt idx="2880">
                  <c:v>1.1494723E-2</c:v>
                </c:pt>
                <c:pt idx="2881">
                  <c:v>1.1491645E-2</c:v>
                </c:pt>
                <c:pt idx="2882">
                  <c:v>1.1519270999999999E-2</c:v>
                </c:pt>
                <c:pt idx="2883">
                  <c:v>1.1524355999999999E-2</c:v>
                </c:pt>
                <c:pt idx="2884">
                  <c:v>1.1440682000000001E-2</c:v>
                </c:pt>
                <c:pt idx="2885">
                  <c:v>1.1816696E-2</c:v>
                </c:pt>
                <c:pt idx="2886">
                  <c:v>1.1826827E-2</c:v>
                </c:pt>
                <c:pt idx="2887">
                  <c:v>1.1809963E-2</c:v>
                </c:pt>
                <c:pt idx="2888">
                  <c:v>1.1417445999999999E-2</c:v>
                </c:pt>
                <c:pt idx="2889">
                  <c:v>1.1351092E-2</c:v>
                </c:pt>
                <c:pt idx="2890">
                  <c:v>1.1386172999999999E-2</c:v>
                </c:pt>
                <c:pt idx="2891">
                  <c:v>1.1340797999999999E-2</c:v>
                </c:pt>
                <c:pt idx="2892">
                  <c:v>1.134402E-2</c:v>
                </c:pt>
                <c:pt idx="2893">
                  <c:v>1.1421119E-2</c:v>
                </c:pt>
                <c:pt idx="2894">
                  <c:v>1.1727243E-2</c:v>
                </c:pt>
                <c:pt idx="2895">
                  <c:v>1.175373E-2</c:v>
                </c:pt>
                <c:pt idx="2896">
                  <c:v>1.1647253999999999E-2</c:v>
                </c:pt>
                <c:pt idx="2897">
                  <c:v>1.1607321E-2</c:v>
                </c:pt>
                <c:pt idx="2898">
                  <c:v>1.1611343999999999E-2</c:v>
                </c:pt>
                <c:pt idx="2899">
                  <c:v>1.1498911000000001E-2</c:v>
                </c:pt>
                <c:pt idx="2900">
                  <c:v>1.1489803999999999E-2</c:v>
                </c:pt>
                <c:pt idx="2901">
                  <c:v>1.1500796000000001E-2</c:v>
                </c:pt>
                <c:pt idx="2902">
                  <c:v>1.1454426E-2</c:v>
                </c:pt>
                <c:pt idx="2903">
                  <c:v>1.1456374E-2</c:v>
                </c:pt>
                <c:pt idx="2904">
                  <c:v>1.1466254E-2</c:v>
                </c:pt>
                <c:pt idx="2905">
                  <c:v>1.157797E-2</c:v>
                </c:pt>
                <c:pt idx="2906">
                  <c:v>1.1576499000000001E-2</c:v>
                </c:pt>
                <c:pt idx="2907">
                  <c:v>1.1672299000000001E-2</c:v>
                </c:pt>
                <c:pt idx="2908">
                  <c:v>1.1551702E-2</c:v>
                </c:pt>
                <c:pt idx="2909">
                  <c:v>1.1548902E-2</c:v>
                </c:pt>
                <c:pt idx="2910">
                  <c:v>1.1638692000000001E-2</c:v>
                </c:pt>
                <c:pt idx="2911">
                  <c:v>1.1505638E-2</c:v>
                </c:pt>
                <c:pt idx="2912">
                  <c:v>1.1475030000000001E-2</c:v>
                </c:pt>
                <c:pt idx="2913">
                  <c:v>1.1434547999999999E-2</c:v>
                </c:pt>
                <c:pt idx="2914">
                  <c:v>1.1513397999999999E-2</c:v>
                </c:pt>
                <c:pt idx="2915">
                  <c:v>1.1463788000000001E-2</c:v>
                </c:pt>
                <c:pt idx="2916">
                  <c:v>1.1463747999999999E-2</c:v>
                </c:pt>
                <c:pt idx="2917">
                  <c:v>1.146054E-2</c:v>
                </c:pt>
                <c:pt idx="2918">
                  <c:v>1.1405227E-2</c:v>
                </c:pt>
                <c:pt idx="2919">
                  <c:v>1.141699E-2</c:v>
                </c:pt>
                <c:pt idx="2920">
                  <c:v>1.1456739000000001E-2</c:v>
                </c:pt>
                <c:pt idx="2921">
                  <c:v>1.1456624E-2</c:v>
                </c:pt>
                <c:pt idx="2922">
                  <c:v>1.1454831E-2</c:v>
                </c:pt>
                <c:pt idx="2923">
                  <c:v>1.140267E-2</c:v>
                </c:pt>
                <c:pt idx="2924">
                  <c:v>1.1421252999999999E-2</c:v>
                </c:pt>
                <c:pt idx="2925">
                  <c:v>1.1355761000000001E-2</c:v>
                </c:pt>
                <c:pt idx="2926">
                  <c:v>1.1349545000000001E-2</c:v>
                </c:pt>
                <c:pt idx="2927">
                  <c:v>1.148365E-2</c:v>
                </c:pt>
                <c:pt idx="2928">
                  <c:v>1.1307897000000001E-2</c:v>
                </c:pt>
                <c:pt idx="2929">
                  <c:v>1.1286641E-2</c:v>
                </c:pt>
                <c:pt idx="2930">
                  <c:v>1.1187860000000001E-2</c:v>
                </c:pt>
                <c:pt idx="2931">
                  <c:v>1.0756427000000001E-2</c:v>
                </c:pt>
                <c:pt idx="2932">
                  <c:v>1.0813016E-2</c:v>
                </c:pt>
                <c:pt idx="2933">
                  <c:v>1.0798050999999999E-2</c:v>
                </c:pt>
                <c:pt idx="2934">
                  <c:v>1.0831244E-2</c:v>
                </c:pt>
                <c:pt idx="2935">
                  <c:v>1.0825733000000001E-2</c:v>
                </c:pt>
                <c:pt idx="2936">
                  <c:v>1.0854645E-2</c:v>
                </c:pt>
                <c:pt idx="2937">
                  <c:v>1.0862030999999999E-2</c:v>
                </c:pt>
                <c:pt idx="2938">
                  <c:v>1.0808262000000001E-2</c:v>
                </c:pt>
                <c:pt idx="2939">
                  <c:v>1.0807424E-2</c:v>
                </c:pt>
                <c:pt idx="2940">
                  <c:v>1.0819202E-2</c:v>
                </c:pt>
                <c:pt idx="2941">
                  <c:v>1.0799464999999999E-2</c:v>
                </c:pt>
                <c:pt idx="2942">
                  <c:v>1.0754918E-2</c:v>
                </c:pt>
                <c:pt idx="2943">
                  <c:v>1.0706042000000001E-2</c:v>
                </c:pt>
                <c:pt idx="2944">
                  <c:v>1.0758083E-2</c:v>
                </c:pt>
                <c:pt idx="2945">
                  <c:v>1.0762351999999999E-2</c:v>
                </c:pt>
                <c:pt idx="2946">
                  <c:v>1.0762574E-2</c:v>
                </c:pt>
                <c:pt idx="2947">
                  <c:v>1.0833577E-2</c:v>
                </c:pt>
                <c:pt idx="2948">
                  <c:v>1.0737984000000001E-2</c:v>
                </c:pt>
                <c:pt idx="2949">
                  <c:v>1.0740379E-2</c:v>
                </c:pt>
                <c:pt idx="2950">
                  <c:v>1.0791303E-2</c:v>
                </c:pt>
                <c:pt idx="2951">
                  <c:v>1.0722054999999999E-2</c:v>
                </c:pt>
                <c:pt idx="2952">
                  <c:v>1.0750478000000001E-2</c:v>
                </c:pt>
                <c:pt idx="2953">
                  <c:v>1.0755232999999999E-2</c:v>
                </c:pt>
                <c:pt idx="2954">
                  <c:v>1.0802907E-2</c:v>
                </c:pt>
                <c:pt idx="2955">
                  <c:v>1.0608091E-2</c:v>
                </c:pt>
                <c:pt idx="2956">
                  <c:v>1.0603738999999999E-2</c:v>
                </c:pt>
                <c:pt idx="2957">
                  <c:v>1.0614149999999999E-2</c:v>
                </c:pt>
                <c:pt idx="2958">
                  <c:v>1.0598194E-2</c:v>
                </c:pt>
                <c:pt idx="2959">
                  <c:v>1.0509661999999999E-2</c:v>
                </c:pt>
                <c:pt idx="2960">
                  <c:v>1.0391068999999999E-2</c:v>
                </c:pt>
                <c:pt idx="2961">
                  <c:v>1.0412744999999999E-2</c:v>
                </c:pt>
                <c:pt idx="2962">
                  <c:v>1.0336048E-2</c:v>
                </c:pt>
                <c:pt idx="2963">
                  <c:v>1.0337666000000001E-2</c:v>
                </c:pt>
                <c:pt idx="2964">
                  <c:v>1.0277613999999999E-2</c:v>
                </c:pt>
                <c:pt idx="2965">
                  <c:v>1.0064719E-2</c:v>
                </c:pt>
                <c:pt idx="2966">
                  <c:v>1.0065038E-2</c:v>
                </c:pt>
                <c:pt idx="2967">
                  <c:v>1.0065337000000001E-2</c:v>
                </c:pt>
                <c:pt idx="2968">
                  <c:v>1.0121318000000001E-2</c:v>
                </c:pt>
                <c:pt idx="2969">
                  <c:v>1.0099927999999999E-2</c:v>
                </c:pt>
                <c:pt idx="2970">
                  <c:v>1.0092886000000001E-2</c:v>
                </c:pt>
                <c:pt idx="2971">
                  <c:v>1.0112006E-2</c:v>
                </c:pt>
                <c:pt idx="2972">
                  <c:v>1.0112004000000001E-2</c:v>
                </c:pt>
                <c:pt idx="2973">
                  <c:v>1.0112395999999999E-2</c:v>
                </c:pt>
                <c:pt idx="2974">
                  <c:v>1.0033956E-2</c:v>
                </c:pt>
                <c:pt idx="2975">
                  <c:v>1.0024908000000001E-2</c:v>
                </c:pt>
                <c:pt idx="2976">
                  <c:v>9.9843299999999996E-3</c:v>
                </c:pt>
                <c:pt idx="2977">
                  <c:v>9.7696069999999996E-3</c:v>
                </c:pt>
                <c:pt idx="2978">
                  <c:v>9.7608250000000008E-3</c:v>
                </c:pt>
                <c:pt idx="2979">
                  <c:v>9.8790370000000002E-3</c:v>
                </c:pt>
                <c:pt idx="2980">
                  <c:v>9.8481160000000005E-3</c:v>
                </c:pt>
                <c:pt idx="2981">
                  <c:v>1.0162654E-2</c:v>
                </c:pt>
                <c:pt idx="2982">
                  <c:v>1.0161778999999999E-2</c:v>
                </c:pt>
                <c:pt idx="2983">
                  <c:v>1.0111769E-2</c:v>
                </c:pt>
                <c:pt idx="2984">
                  <c:v>1.0160832999999999E-2</c:v>
                </c:pt>
                <c:pt idx="2985">
                  <c:v>9.9518190000000006E-3</c:v>
                </c:pt>
                <c:pt idx="2986">
                  <c:v>1.0084727E-2</c:v>
                </c:pt>
                <c:pt idx="2987">
                  <c:v>1.0086346E-2</c:v>
                </c:pt>
                <c:pt idx="2988">
                  <c:v>1.0077610000000001E-2</c:v>
                </c:pt>
                <c:pt idx="2989">
                  <c:v>1.0157629E-2</c:v>
                </c:pt>
                <c:pt idx="2990">
                  <c:v>1.0138896999999999E-2</c:v>
                </c:pt>
                <c:pt idx="2991">
                  <c:v>1.0155723E-2</c:v>
                </c:pt>
                <c:pt idx="2992">
                  <c:v>1.0109659E-2</c:v>
                </c:pt>
                <c:pt idx="2993">
                  <c:v>1.0072622E-2</c:v>
                </c:pt>
                <c:pt idx="2994">
                  <c:v>1.0069247E-2</c:v>
                </c:pt>
                <c:pt idx="2995">
                  <c:v>9.8968670000000002E-3</c:v>
                </c:pt>
                <c:pt idx="2996">
                  <c:v>9.6047019999999997E-3</c:v>
                </c:pt>
                <c:pt idx="2997">
                  <c:v>9.6035630000000007E-3</c:v>
                </c:pt>
                <c:pt idx="2998">
                  <c:v>9.600786E-3</c:v>
                </c:pt>
                <c:pt idx="2999">
                  <c:v>9.5645360000000002E-3</c:v>
                </c:pt>
                <c:pt idx="3000">
                  <c:v>9.5626140000000005E-3</c:v>
                </c:pt>
                <c:pt idx="3001">
                  <c:v>9.6028929999999995E-3</c:v>
                </c:pt>
                <c:pt idx="3002">
                  <c:v>9.5924240000000004E-3</c:v>
                </c:pt>
                <c:pt idx="3003">
                  <c:v>9.5862450000000002E-3</c:v>
                </c:pt>
                <c:pt idx="3004">
                  <c:v>9.6075359999999999E-3</c:v>
                </c:pt>
                <c:pt idx="3005">
                  <c:v>9.1487749999999996E-3</c:v>
                </c:pt>
                <c:pt idx="3006">
                  <c:v>9.158935E-3</c:v>
                </c:pt>
                <c:pt idx="3007">
                  <c:v>9.225413E-3</c:v>
                </c:pt>
                <c:pt idx="3008">
                  <c:v>9.1986740000000004E-3</c:v>
                </c:pt>
                <c:pt idx="3009">
                  <c:v>9.1767510000000004E-3</c:v>
                </c:pt>
                <c:pt idx="3010">
                  <c:v>9.1766049999999991E-3</c:v>
                </c:pt>
                <c:pt idx="3011">
                  <c:v>9.1747870000000002E-3</c:v>
                </c:pt>
                <c:pt idx="3012">
                  <c:v>9.1543119999999995E-3</c:v>
                </c:pt>
                <c:pt idx="3013">
                  <c:v>9.0269310000000002E-3</c:v>
                </c:pt>
                <c:pt idx="3014">
                  <c:v>8.5267369999999995E-3</c:v>
                </c:pt>
                <c:pt idx="3015">
                  <c:v>8.5021349999999992E-3</c:v>
                </c:pt>
                <c:pt idx="3016">
                  <c:v>8.7143169999999992E-3</c:v>
                </c:pt>
                <c:pt idx="3017">
                  <c:v>8.7210740000000005E-3</c:v>
                </c:pt>
                <c:pt idx="3018">
                  <c:v>8.6926599999999996E-3</c:v>
                </c:pt>
                <c:pt idx="3019">
                  <c:v>8.7058870000000007E-3</c:v>
                </c:pt>
                <c:pt idx="3020">
                  <c:v>8.8946049999999999E-3</c:v>
                </c:pt>
                <c:pt idx="3021">
                  <c:v>8.9001189999999997E-3</c:v>
                </c:pt>
                <c:pt idx="3022">
                  <c:v>9.0052550000000002E-3</c:v>
                </c:pt>
                <c:pt idx="3023">
                  <c:v>8.9779609999999996E-3</c:v>
                </c:pt>
                <c:pt idx="3024">
                  <c:v>8.9447559999999999E-3</c:v>
                </c:pt>
                <c:pt idx="3025">
                  <c:v>8.7070629999999993E-3</c:v>
                </c:pt>
                <c:pt idx="3026">
                  <c:v>8.7071949999999992E-3</c:v>
                </c:pt>
                <c:pt idx="3027">
                  <c:v>8.6527310000000003E-3</c:v>
                </c:pt>
                <c:pt idx="3028">
                  <c:v>8.6508569999999996E-3</c:v>
                </c:pt>
                <c:pt idx="3029">
                  <c:v>8.6723379999999999E-3</c:v>
                </c:pt>
                <c:pt idx="3030">
                  <c:v>8.5263470000000001E-3</c:v>
                </c:pt>
                <c:pt idx="3031">
                  <c:v>8.5348890000000004E-3</c:v>
                </c:pt>
                <c:pt idx="3032">
                  <c:v>8.5450760000000004E-3</c:v>
                </c:pt>
                <c:pt idx="3033">
                  <c:v>8.5822009999999994E-3</c:v>
                </c:pt>
                <c:pt idx="3034">
                  <c:v>8.4287870000000001E-3</c:v>
                </c:pt>
                <c:pt idx="3035">
                  <c:v>8.4324689999999997E-3</c:v>
                </c:pt>
                <c:pt idx="3036">
                  <c:v>8.4766979999999995E-3</c:v>
                </c:pt>
                <c:pt idx="3037">
                  <c:v>8.4966599999999996E-3</c:v>
                </c:pt>
                <c:pt idx="3038">
                  <c:v>8.4864599999999995E-3</c:v>
                </c:pt>
                <c:pt idx="3039">
                  <c:v>8.3608759999999997E-3</c:v>
                </c:pt>
                <c:pt idx="3040">
                  <c:v>8.3605220000000004E-3</c:v>
                </c:pt>
                <c:pt idx="3041">
                  <c:v>8.5421330000000004E-3</c:v>
                </c:pt>
                <c:pt idx="3042">
                  <c:v>8.6262560000000005E-3</c:v>
                </c:pt>
                <c:pt idx="3043">
                  <c:v>8.6437560000000007E-3</c:v>
                </c:pt>
                <c:pt idx="3044">
                  <c:v>8.6931409999999997E-3</c:v>
                </c:pt>
                <c:pt idx="3045">
                  <c:v>8.6908650000000007E-3</c:v>
                </c:pt>
                <c:pt idx="3046">
                  <c:v>8.6893230000000005E-3</c:v>
                </c:pt>
                <c:pt idx="3047">
                  <c:v>8.5040729999999991E-3</c:v>
                </c:pt>
                <c:pt idx="3048">
                  <c:v>8.4978329999999998E-3</c:v>
                </c:pt>
                <c:pt idx="3049">
                  <c:v>8.4988960000000006E-3</c:v>
                </c:pt>
                <c:pt idx="3050">
                  <c:v>8.6729519999999994E-3</c:v>
                </c:pt>
                <c:pt idx="3051">
                  <c:v>8.6815590000000002E-3</c:v>
                </c:pt>
                <c:pt idx="3052">
                  <c:v>8.6297500000000003E-3</c:v>
                </c:pt>
                <c:pt idx="3053">
                  <c:v>8.654798E-3</c:v>
                </c:pt>
                <c:pt idx="3054">
                  <c:v>8.6253449999999995E-3</c:v>
                </c:pt>
                <c:pt idx="3055">
                  <c:v>8.6416849999999996E-3</c:v>
                </c:pt>
                <c:pt idx="3056">
                  <c:v>8.6842480000000003E-3</c:v>
                </c:pt>
                <c:pt idx="3057">
                  <c:v>8.6864839999999995E-3</c:v>
                </c:pt>
                <c:pt idx="3058">
                  <c:v>8.6732560000000007E-3</c:v>
                </c:pt>
                <c:pt idx="3059">
                  <c:v>8.7700399999999998E-3</c:v>
                </c:pt>
                <c:pt idx="3060">
                  <c:v>9.0011629999999995E-3</c:v>
                </c:pt>
                <c:pt idx="3061">
                  <c:v>9.0656690000000002E-3</c:v>
                </c:pt>
                <c:pt idx="3062">
                  <c:v>9.1204330000000007E-3</c:v>
                </c:pt>
                <c:pt idx="3063">
                  <c:v>9.0930209999999997E-3</c:v>
                </c:pt>
                <c:pt idx="3064">
                  <c:v>9.1999549999999992E-3</c:v>
                </c:pt>
                <c:pt idx="3065">
                  <c:v>9.1582509999999992E-3</c:v>
                </c:pt>
                <c:pt idx="3066">
                  <c:v>9.6648129999999995E-3</c:v>
                </c:pt>
                <c:pt idx="3067">
                  <c:v>9.686297E-3</c:v>
                </c:pt>
                <c:pt idx="3068">
                  <c:v>1.0427693E-2</c:v>
                </c:pt>
                <c:pt idx="3069">
                  <c:v>1.0415832999999999E-2</c:v>
                </c:pt>
                <c:pt idx="3070">
                  <c:v>1.0931196000000001E-2</c:v>
                </c:pt>
                <c:pt idx="3071">
                  <c:v>1.1813756999999999E-2</c:v>
                </c:pt>
                <c:pt idx="3072">
                  <c:v>1.2137093E-2</c:v>
                </c:pt>
                <c:pt idx="3073">
                  <c:v>1.2197862E-2</c:v>
                </c:pt>
                <c:pt idx="3074">
                  <c:v>1.2074755E-2</c:v>
                </c:pt>
                <c:pt idx="3075">
                  <c:v>1.2080064999999999E-2</c:v>
                </c:pt>
                <c:pt idx="3076">
                  <c:v>1.2253459E-2</c:v>
                </c:pt>
                <c:pt idx="3077">
                  <c:v>1.2314980999999999E-2</c:v>
                </c:pt>
                <c:pt idx="3078">
                  <c:v>1.2309234E-2</c:v>
                </c:pt>
                <c:pt idx="3079">
                  <c:v>1.2323076000000001E-2</c:v>
                </c:pt>
                <c:pt idx="3080">
                  <c:v>1.2319558E-2</c:v>
                </c:pt>
                <c:pt idx="3081">
                  <c:v>1.2517446E-2</c:v>
                </c:pt>
                <c:pt idx="3082">
                  <c:v>1.2858335E-2</c:v>
                </c:pt>
                <c:pt idx="3083">
                  <c:v>1.3121666000000001E-2</c:v>
                </c:pt>
                <c:pt idx="3084">
                  <c:v>1.3385826999999999E-2</c:v>
                </c:pt>
                <c:pt idx="3085">
                  <c:v>1.3379772999999999E-2</c:v>
                </c:pt>
                <c:pt idx="3086">
                  <c:v>1.3375364000000001E-2</c:v>
                </c:pt>
                <c:pt idx="3087">
                  <c:v>1.3473779999999999E-2</c:v>
                </c:pt>
                <c:pt idx="3088">
                  <c:v>1.3570601E-2</c:v>
                </c:pt>
                <c:pt idx="3089">
                  <c:v>1.3561201E-2</c:v>
                </c:pt>
                <c:pt idx="3090">
                  <c:v>1.3564108E-2</c:v>
                </c:pt>
                <c:pt idx="3091">
                  <c:v>1.3786461999999999E-2</c:v>
                </c:pt>
                <c:pt idx="3092">
                  <c:v>1.3802091000000001E-2</c:v>
                </c:pt>
                <c:pt idx="3093">
                  <c:v>1.3846216999999999E-2</c:v>
                </c:pt>
                <c:pt idx="3094">
                  <c:v>1.3817896E-2</c:v>
                </c:pt>
                <c:pt idx="3095">
                  <c:v>1.3834140999999999E-2</c:v>
                </c:pt>
                <c:pt idx="3096">
                  <c:v>1.4012274E-2</c:v>
                </c:pt>
                <c:pt idx="3097">
                  <c:v>1.3999284000000001E-2</c:v>
                </c:pt>
                <c:pt idx="3098">
                  <c:v>1.5977557999999999E-2</c:v>
                </c:pt>
                <c:pt idx="3099">
                  <c:v>1.5944435999999999E-2</c:v>
                </c:pt>
                <c:pt idx="3100">
                  <c:v>1.6356038E-2</c:v>
                </c:pt>
                <c:pt idx="3101">
                  <c:v>1.6207837999999999E-2</c:v>
                </c:pt>
                <c:pt idx="3102">
                  <c:v>1.6209311000000001E-2</c:v>
                </c:pt>
                <c:pt idx="3103">
                  <c:v>1.6205101E-2</c:v>
                </c:pt>
                <c:pt idx="3104">
                  <c:v>1.6228738999999999E-2</c:v>
                </c:pt>
                <c:pt idx="3105">
                  <c:v>1.6267802000000001E-2</c:v>
                </c:pt>
                <c:pt idx="3106">
                  <c:v>1.6262938000000001E-2</c:v>
                </c:pt>
                <c:pt idx="3107">
                  <c:v>1.6327522000000001E-2</c:v>
                </c:pt>
                <c:pt idx="3108">
                  <c:v>1.6502027999999998E-2</c:v>
                </c:pt>
                <c:pt idx="3109">
                  <c:v>1.6534183000000001E-2</c:v>
                </c:pt>
                <c:pt idx="3110">
                  <c:v>1.6580681999999999E-2</c:v>
                </c:pt>
                <c:pt idx="3111">
                  <c:v>1.6592066999999999E-2</c:v>
                </c:pt>
                <c:pt idx="3112">
                  <c:v>1.6674992999999999E-2</c:v>
                </c:pt>
                <c:pt idx="3113">
                  <c:v>1.6686909E-2</c:v>
                </c:pt>
                <c:pt idx="3114">
                  <c:v>1.6702597E-2</c:v>
                </c:pt>
                <c:pt idx="3115">
                  <c:v>1.6694719E-2</c:v>
                </c:pt>
                <c:pt idx="3116">
                  <c:v>1.6692868999999999E-2</c:v>
                </c:pt>
                <c:pt idx="3117">
                  <c:v>1.6696038E-2</c:v>
                </c:pt>
                <c:pt idx="3118">
                  <c:v>1.6691289000000002E-2</c:v>
                </c:pt>
                <c:pt idx="3119">
                  <c:v>1.6676296E-2</c:v>
                </c:pt>
                <c:pt idx="3120">
                  <c:v>1.6738078999999999E-2</c:v>
                </c:pt>
                <c:pt idx="3121">
                  <c:v>1.6812114E-2</c:v>
                </c:pt>
                <c:pt idx="3122">
                  <c:v>1.6779263999999999E-2</c:v>
                </c:pt>
                <c:pt idx="3123">
                  <c:v>1.6782815999999999E-2</c:v>
                </c:pt>
                <c:pt idx="3124">
                  <c:v>1.6976343000000001E-2</c:v>
                </c:pt>
                <c:pt idx="3125">
                  <c:v>1.6962159000000001E-2</c:v>
                </c:pt>
                <c:pt idx="3126">
                  <c:v>1.7001366E-2</c:v>
                </c:pt>
                <c:pt idx="3127">
                  <c:v>1.6994183E-2</c:v>
                </c:pt>
                <c:pt idx="3128">
                  <c:v>1.7031241999999999E-2</c:v>
                </c:pt>
                <c:pt idx="3129">
                  <c:v>1.7043045E-2</c:v>
                </c:pt>
                <c:pt idx="3130">
                  <c:v>1.7033906000000001E-2</c:v>
                </c:pt>
                <c:pt idx="3131">
                  <c:v>1.709167E-2</c:v>
                </c:pt>
                <c:pt idx="3132">
                  <c:v>1.7077129999999999E-2</c:v>
                </c:pt>
                <c:pt idx="3133">
                  <c:v>1.7168948999999999E-2</c:v>
                </c:pt>
                <c:pt idx="3134">
                  <c:v>1.7192875E-2</c:v>
                </c:pt>
                <c:pt idx="3135">
                  <c:v>1.7283152E-2</c:v>
                </c:pt>
                <c:pt idx="3136">
                  <c:v>1.7150663999999999E-2</c:v>
                </c:pt>
                <c:pt idx="3137">
                  <c:v>1.7173193999999999E-2</c:v>
                </c:pt>
                <c:pt idx="3138">
                  <c:v>1.7236372999999999E-2</c:v>
                </c:pt>
                <c:pt idx="3139">
                  <c:v>1.7238278999999999E-2</c:v>
                </c:pt>
                <c:pt idx="3140">
                  <c:v>1.7141723000000001E-2</c:v>
                </c:pt>
                <c:pt idx="3141">
                  <c:v>1.7137689000000001E-2</c:v>
                </c:pt>
                <c:pt idx="3142">
                  <c:v>1.7093990999999999E-2</c:v>
                </c:pt>
                <c:pt idx="3143">
                  <c:v>1.7234249E-2</c:v>
                </c:pt>
                <c:pt idx="3144">
                  <c:v>1.7273461E-2</c:v>
                </c:pt>
                <c:pt idx="3145">
                  <c:v>1.7317704999999999E-2</c:v>
                </c:pt>
                <c:pt idx="3146">
                  <c:v>1.7319599000000001E-2</c:v>
                </c:pt>
                <c:pt idx="3147">
                  <c:v>1.7319337000000001E-2</c:v>
                </c:pt>
                <c:pt idx="3148">
                  <c:v>1.7385642999999999E-2</c:v>
                </c:pt>
                <c:pt idx="3149">
                  <c:v>1.7361477E-2</c:v>
                </c:pt>
                <c:pt idx="3150">
                  <c:v>1.737766E-2</c:v>
                </c:pt>
                <c:pt idx="3151">
                  <c:v>1.7412048999999999E-2</c:v>
                </c:pt>
                <c:pt idx="3152">
                  <c:v>1.7449499E-2</c:v>
                </c:pt>
                <c:pt idx="3153">
                  <c:v>1.7409933999999998E-2</c:v>
                </c:pt>
                <c:pt idx="3154">
                  <c:v>1.747926E-2</c:v>
                </c:pt>
                <c:pt idx="3155">
                  <c:v>1.7628187E-2</c:v>
                </c:pt>
                <c:pt idx="3156">
                  <c:v>1.7622005E-2</c:v>
                </c:pt>
                <c:pt idx="3157">
                  <c:v>1.7701775999999999E-2</c:v>
                </c:pt>
                <c:pt idx="3158">
                  <c:v>1.7710241000000002E-2</c:v>
                </c:pt>
                <c:pt idx="3159">
                  <c:v>1.7792499E-2</c:v>
                </c:pt>
                <c:pt idx="3160">
                  <c:v>1.7746936000000001E-2</c:v>
                </c:pt>
                <c:pt idx="3161">
                  <c:v>1.7743241E-2</c:v>
                </c:pt>
                <c:pt idx="3162">
                  <c:v>1.7789708000000001E-2</c:v>
                </c:pt>
                <c:pt idx="3163">
                  <c:v>1.787679E-2</c:v>
                </c:pt>
                <c:pt idx="3164">
                  <c:v>1.7851694000000001E-2</c:v>
                </c:pt>
                <c:pt idx="3165">
                  <c:v>1.7874332E-2</c:v>
                </c:pt>
                <c:pt idx="3166">
                  <c:v>1.7869823E-2</c:v>
                </c:pt>
                <c:pt idx="3167">
                  <c:v>1.8339722999999999E-2</c:v>
                </c:pt>
                <c:pt idx="3168">
                  <c:v>1.8384421000000001E-2</c:v>
                </c:pt>
                <c:pt idx="3169">
                  <c:v>1.8499166000000001E-2</c:v>
                </c:pt>
                <c:pt idx="3170">
                  <c:v>1.8455118E-2</c:v>
                </c:pt>
                <c:pt idx="3171">
                  <c:v>1.8568655999999999E-2</c:v>
                </c:pt>
                <c:pt idx="3172">
                  <c:v>1.8562192000000002E-2</c:v>
                </c:pt>
                <c:pt idx="3173">
                  <c:v>1.8564616999999999E-2</c:v>
                </c:pt>
                <c:pt idx="3174">
                  <c:v>1.8577422999999999E-2</c:v>
                </c:pt>
                <c:pt idx="3175">
                  <c:v>1.8670662000000001E-2</c:v>
                </c:pt>
                <c:pt idx="3176">
                  <c:v>1.8665141E-2</c:v>
                </c:pt>
                <c:pt idx="3177">
                  <c:v>1.8837086999999999E-2</c:v>
                </c:pt>
                <c:pt idx="3178">
                  <c:v>1.8830922999999999E-2</c:v>
                </c:pt>
                <c:pt idx="3179">
                  <c:v>1.8829948999999999E-2</c:v>
                </c:pt>
                <c:pt idx="3180">
                  <c:v>1.8808247E-2</c:v>
                </c:pt>
                <c:pt idx="3181">
                  <c:v>1.8923289999999999E-2</c:v>
                </c:pt>
                <c:pt idx="3182">
                  <c:v>1.8950440999999998E-2</c:v>
                </c:pt>
                <c:pt idx="3183">
                  <c:v>1.8958787000000001E-2</c:v>
                </c:pt>
                <c:pt idx="3184">
                  <c:v>2.0100381E-2</c:v>
                </c:pt>
                <c:pt idx="3185">
                  <c:v>2.0102317000000001E-2</c:v>
                </c:pt>
                <c:pt idx="3186">
                  <c:v>2.0276441999999999E-2</c:v>
                </c:pt>
                <c:pt idx="3187">
                  <c:v>2.0285396000000001E-2</c:v>
                </c:pt>
                <c:pt idx="3188">
                  <c:v>1.9953413E-2</c:v>
                </c:pt>
                <c:pt idx="3189">
                  <c:v>1.9954262E-2</c:v>
                </c:pt>
                <c:pt idx="3190">
                  <c:v>1.9684734999999998E-2</c:v>
                </c:pt>
                <c:pt idx="3191">
                  <c:v>1.9219561999999999E-2</c:v>
                </c:pt>
                <c:pt idx="3192">
                  <c:v>1.902361E-2</c:v>
                </c:pt>
                <c:pt idx="3193">
                  <c:v>1.8972590000000001E-2</c:v>
                </c:pt>
                <c:pt idx="3194">
                  <c:v>1.8977289000000001E-2</c:v>
                </c:pt>
                <c:pt idx="3195">
                  <c:v>1.8975216999999999E-2</c:v>
                </c:pt>
                <c:pt idx="3196">
                  <c:v>1.9009086000000001E-2</c:v>
                </c:pt>
                <c:pt idx="3197">
                  <c:v>1.9223102999999998E-2</c:v>
                </c:pt>
                <c:pt idx="3198">
                  <c:v>1.9236050000000001E-2</c:v>
                </c:pt>
                <c:pt idx="3199">
                  <c:v>1.9655550000000001E-2</c:v>
                </c:pt>
                <c:pt idx="3200">
                  <c:v>2.0518745000000001E-2</c:v>
                </c:pt>
                <c:pt idx="3201">
                  <c:v>2.0575422999999999E-2</c:v>
                </c:pt>
                <c:pt idx="3202">
                  <c:v>2.0418406E-2</c:v>
                </c:pt>
                <c:pt idx="3203">
                  <c:v>2.0565765E-2</c:v>
                </c:pt>
                <c:pt idx="3204">
                  <c:v>2.1796343999999999E-2</c:v>
                </c:pt>
                <c:pt idx="3205">
                  <c:v>2.2040291E-2</c:v>
                </c:pt>
                <c:pt idx="3206">
                  <c:v>2.2786654E-2</c:v>
                </c:pt>
                <c:pt idx="3207">
                  <c:v>2.3213206E-2</c:v>
                </c:pt>
                <c:pt idx="3208">
                  <c:v>2.3297241E-2</c:v>
                </c:pt>
                <c:pt idx="3209">
                  <c:v>2.3862897000000001E-2</c:v>
                </c:pt>
                <c:pt idx="3210">
                  <c:v>2.3999673999999999E-2</c:v>
                </c:pt>
                <c:pt idx="3211">
                  <c:v>2.3957063000000001E-2</c:v>
                </c:pt>
                <c:pt idx="3212">
                  <c:v>2.4807835E-2</c:v>
                </c:pt>
                <c:pt idx="3213">
                  <c:v>2.5424170999999999E-2</c:v>
                </c:pt>
                <c:pt idx="3214">
                  <c:v>2.5852551000000001E-2</c:v>
                </c:pt>
                <c:pt idx="3215">
                  <c:v>2.5941512E-2</c:v>
                </c:pt>
                <c:pt idx="3216">
                  <c:v>2.5924127000000002E-2</c:v>
                </c:pt>
                <c:pt idx="3217">
                  <c:v>2.6134563E-2</c:v>
                </c:pt>
                <c:pt idx="3218">
                  <c:v>2.5058187999999999E-2</c:v>
                </c:pt>
                <c:pt idx="3219">
                  <c:v>2.5259123000000001E-2</c:v>
                </c:pt>
                <c:pt idx="3220">
                  <c:v>2.4957330999999999E-2</c:v>
                </c:pt>
                <c:pt idx="3221">
                  <c:v>2.4954700999999999E-2</c:v>
                </c:pt>
                <c:pt idx="3222">
                  <c:v>2.4956651E-2</c:v>
                </c:pt>
                <c:pt idx="3223">
                  <c:v>2.5017559000000002E-2</c:v>
                </c:pt>
                <c:pt idx="3224">
                  <c:v>2.5059635E-2</c:v>
                </c:pt>
                <c:pt idx="3225">
                  <c:v>2.6361088000000001E-2</c:v>
                </c:pt>
                <c:pt idx="3226">
                  <c:v>2.6334763000000001E-2</c:v>
                </c:pt>
                <c:pt idx="3227">
                  <c:v>2.6442773999999999E-2</c:v>
                </c:pt>
                <c:pt idx="3228">
                  <c:v>2.6495629E-2</c:v>
                </c:pt>
                <c:pt idx="3229">
                  <c:v>2.6407110000000001E-2</c:v>
                </c:pt>
                <c:pt idx="3230">
                  <c:v>2.6387437E-2</c:v>
                </c:pt>
                <c:pt idx="3231">
                  <c:v>2.6504201000000002E-2</c:v>
                </c:pt>
                <c:pt idx="3232">
                  <c:v>2.6532337E-2</c:v>
                </c:pt>
                <c:pt idx="3233">
                  <c:v>2.6536777000000001E-2</c:v>
                </c:pt>
                <c:pt idx="3234">
                  <c:v>2.6544212000000001E-2</c:v>
                </c:pt>
                <c:pt idx="3235">
                  <c:v>2.6829947E-2</c:v>
                </c:pt>
                <c:pt idx="3236">
                  <c:v>2.6834937E-2</c:v>
                </c:pt>
                <c:pt idx="3237">
                  <c:v>2.6858173999999999E-2</c:v>
                </c:pt>
                <c:pt idx="3238">
                  <c:v>2.6878088000000001E-2</c:v>
                </c:pt>
                <c:pt idx="3239">
                  <c:v>2.6874213000000001E-2</c:v>
                </c:pt>
                <c:pt idx="3240">
                  <c:v>2.6844771E-2</c:v>
                </c:pt>
                <c:pt idx="3241">
                  <c:v>2.7407918999999999E-2</c:v>
                </c:pt>
                <c:pt idx="3242">
                  <c:v>2.7442673000000001E-2</c:v>
                </c:pt>
                <c:pt idx="3243">
                  <c:v>2.7602026000000002E-2</c:v>
                </c:pt>
                <c:pt idx="3244">
                  <c:v>2.7830891999999999E-2</c:v>
                </c:pt>
                <c:pt idx="3245">
                  <c:v>2.9056291000000001E-2</c:v>
                </c:pt>
                <c:pt idx="3246">
                  <c:v>2.9800935000000001E-2</c:v>
                </c:pt>
                <c:pt idx="3247">
                  <c:v>2.9801617999999998E-2</c:v>
                </c:pt>
                <c:pt idx="3248">
                  <c:v>3.0240208000000001E-2</c:v>
                </c:pt>
                <c:pt idx="3249">
                  <c:v>3.0486176E-2</c:v>
                </c:pt>
                <c:pt idx="3250">
                  <c:v>3.0493881E-2</c:v>
                </c:pt>
                <c:pt idx="3251">
                  <c:v>3.0440842999999999E-2</c:v>
                </c:pt>
                <c:pt idx="3252">
                  <c:v>3.0433552999999999E-2</c:v>
                </c:pt>
                <c:pt idx="3253">
                  <c:v>3.0507783E-2</c:v>
                </c:pt>
                <c:pt idx="3254">
                  <c:v>3.0573524000000001E-2</c:v>
                </c:pt>
                <c:pt idx="3255">
                  <c:v>3.0548861E-2</c:v>
                </c:pt>
                <c:pt idx="3256">
                  <c:v>3.0566324999999998E-2</c:v>
                </c:pt>
                <c:pt idx="3257">
                  <c:v>3.0536483999999999E-2</c:v>
                </c:pt>
                <c:pt idx="3258">
                  <c:v>3.0519175999999999E-2</c:v>
                </c:pt>
                <c:pt idx="3259">
                  <c:v>3.0720092000000001E-2</c:v>
                </c:pt>
                <c:pt idx="3260">
                  <c:v>3.1058437000000001E-2</c:v>
                </c:pt>
                <c:pt idx="3261">
                  <c:v>3.1113188999999999E-2</c:v>
                </c:pt>
                <c:pt idx="3262">
                  <c:v>3.1111263E-2</c:v>
                </c:pt>
                <c:pt idx="3263">
                  <c:v>3.1033745000000001E-2</c:v>
                </c:pt>
                <c:pt idx="3264">
                  <c:v>3.1042561E-2</c:v>
                </c:pt>
                <c:pt idx="3265">
                  <c:v>3.1051815E-2</c:v>
                </c:pt>
                <c:pt idx="3266">
                  <c:v>3.1061284000000002E-2</c:v>
                </c:pt>
                <c:pt idx="3267">
                  <c:v>3.1065815E-2</c:v>
                </c:pt>
                <c:pt idx="3268">
                  <c:v>3.0995617E-2</c:v>
                </c:pt>
                <c:pt idx="3269">
                  <c:v>3.1021503999999998E-2</c:v>
                </c:pt>
                <c:pt idx="3270">
                  <c:v>3.1031059999999999E-2</c:v>
                </c:pt>
                <c:pt idx="3271">
                  <c:v>3.1099779000000001E-2</c:v>
                </c:pt>
                <c:pt idx="3272">
                  <c:v>3.1079097E-2</c:v>
                </c:pt>
                <c:pt idx="3273">
                  <c:v>3.1229263E-2</c:v>
                </c:pt>
                <c:pt idx="3274">
                  <c:v>3.1213123999999998E-2</c:v>
                </c:pt>
                <c:pt idx="3275">
                  <c:v>3.1085590999999999E-2</c:v>
                </c:pt>
                <c:pt idx="3276">
                  <c:v>3.1118585000000001E-2</c:v>
                </c:pt>
                <c:pt idx="3277">
                  <c:v>3.1124751999999999E-2</c:v>
                </c:pt>
                <c:pt idx="3278">
                  <c:v>3.1051266000000001E-2</c:v>
                </c:pt>
                <c:pt idx="3279">
                  <c:v>3.0973091000000001E-2</c:v>
                </c:pt>
                <c:pt idx="3280">
                  <c:v>3.1072023000000001E-2</c:v>
                </c:pt>
                <c:pt idx="3281">
                  <c:v>3.1107550000000001E-2</c:v>
                </c:pt>
                <c:pt idx="3282">
                  <c:v>3.1059252999999998E-2</c:v>
                </c:pt>
                <c:pt idx="3283">
                  <c:v>3.1049243000000001E-2</c:v>
                </c:pt>
                <c:pt idx="3284">
                  <c:v>3.1039385999999999E-2</c:v>
                </c:pt>
                <c:pt idx="3285">
                  <c:v>3.1075986E-2</c:v>
                </c:pt>
                <c:pt idx="3286">
                  <c:v>3.1064458999999999E-2</c:v>
                </c:pt>
                <c:pt idx="3287">
                  <c:v>3.0866028E-2</c:v>
                </c:pt>
                <c:pt idx="3288">
                  <c:v>3.0886864999999999E-2</c:v>
                </c:pt>
                <c:pt idx="3289">
                  <c:v>3.0850952000000001E-2</c:v>
                </c:pt>
                <c:pt idx="3290">
                  <c:v>3.1100178999999999E-2</c:v>
                </c:pt>
                <c:pt idx="3291">
                  <c:v>3.1046164000000001E-2</c:v>
                </c:pt>
                <c:pt idx="3292">
                  <c:v>3.1105809000000002E-2</c:v>
                </c:pt>
                <c:pt idx="3293">
                  <c:v>3.1130127E-2</c:v>
                </c:pt>
                <c:pt idx="3294">
                  <c:v>3.1129567E-2</c:v>
                </c:pt>
                <c:pt idx="3295">
                  <c:v>3.1094283E-2</c:v>
                </c:pt>
                <c:pt idx="3296">
                  <c:v>3.1096114000000001E-2</c:v>
                </c:pt>
                <c:pt idx="3297">
                  <c:v>3.0944547999999999E-2</c:v>
                </c:pt>
                <c:pt idx="3298">
                  <c:v>3.0944117E-2</c:v>
                </c:pt>
                <c:pt idx="3299">
                  <c:v>3.0889976999999999E-2</c:v>
                </c:pt>
                <c:pt idx="3300">
                  <c:v>3.0817812999999999E-2</c:v>
                </c:pt>
                <c:pt idx="3301">
                  <c:v>3.0724332E-2</c:v>
                </c:pt>
                <c:pt idx="3302">
                  <c:v>3.0659507999999999E-2</c:v>
                </c:pt>
                <c:pt idx="3303">
                  <c:v>3.0660605E-2</c:v>
                </c:pt>
                <c:pt idx="3304">
                  <c:v>3.0039903999999999E-2</c:v>
                </c:pt>
                <c:pt idx="3305">
                  <c:v>3.005066E-2</c:v>
                </c:pt>
                <c:pt idx="3306">
                  <c:v>2.9704375000000002E-2</c:v>
                </c:pt>
                <c:pt idx="3307">
                  <c:v>3.0039079999999999E-2</c:v>
                </c:pt>
                <c:pt idx="3308">
                  <c:v>3.0043627999999999E-2</c:v>
                </c:pt>
                <c:pt idx="3309">
                  <c:v>3.0042877999999999E-2</c:v>
                </c:pt>
                <c:pt idx="3310">
                  <c:v>3.0228881999999999E-2</c:v>
                </c:pt>
                <c:pt idx="3311">
                  <c:v>3.0148014000000001E-2</c:v>
                </c:pt>
                <c:pt idx="3312">
                  <c:v>3.0182988000000001E-2</c:v>
                </c:pt>
                <c:pt idx="3313">
                  <c:v>3.0187326E-2</c:v>
                </c:pt>
                <c:pt idx="3314">
                  <c:v>3.0215861E-2</c:v>
                </c:pt>
                <c:pt idx="3315">
                  <c:v>3.0212026999999999E-2</c:v>
                </c:pt>
                <c:pt idx="3316">
                  <c:v>3.0164573E-2</c:v>
                </c:pt>
                <c:pt idx="3317">
                  <c:v>3.0059507999999999E-2</c:v>
                </c:pt>
                <c:pt idx="3318">
                  <c:v>3.0151858E-2</c:v>
                </c:pt>
                <c:pt idx="3319">
                  <c:v>2.9941730999999999E-2</c:v>
                </c:pt>
                <c:pt idx="3320">
                  <c:v>2.9445623000000001E-2</c:v>
                </c:pt>
                <c:pt idx="3321">
                  <c:v>2.9346681999999999E-2</c:v>
                </c:pt>
                <c:pt idx="3322">
                  <c:v>2.9284147999999999E-2</c:v>
                </c:pt>
                <c:pt idx="3323">
                  <c:v>2.9224245999999999E-2</c:v>
                </c:pt>
                <c:pt idx="3324">
                  <c:v>2.8275686000000001E-2</c:v>
                </c:pt>
                <c:pt idx="3325">
                  <c:v>2.8112712000000002E-2</c:v>
                </c:pt>
                <c:pt idx="3326">
                  <c:v>2.7465895000000001E-2</c:v>
                </c:pt>
                <c:pt idx="3327">
                  <c:v>2.7092451E-2</c:v>
                </c:pt>
                <c:pt idx="3328">
                  <c:v>2.7039659000000001E-2</c:v>
                </c:pt>
                <c:pt idx="3329">
                  <c:v>2.6579640000000002E-2</c:v>
                </c:pt>
                <c:pt idx="3330">
                  <c:v>2.6447027000000001E-2</c:v>
                </c:pt>
                <c:pt idx="3331">
                  <c:v>2.6411166999999999E-2</c:v>
                </c:pt>
                <c:pt idx="3332">
                  <c:v>2.6477667E-2</c:v>
                </c:pt>
                <c:pt idx="3333">
                  <c:v>2.5846734999999999E-2</c:v>
                </c:pt>
                <c:pt idx="3334">
                  <c:v>2.5437043999999999E-2</c:v>
                </c:pt>
                <c:pt idx="3335">
                  <c:v>2.6122157999999999E-2</c:v>
                </c:pt>
                <c:pt idx="3336">
                  <c:v>2.6121927999999999E-2</c:v>
                </c:pt>
                <c:pt idx="3337">
                  <c:v>2.6332438E-2</c:v>
                </c:pt>
                <c:pt idx="3338">
                  <c:v>2.6331179E-2</c:v>
                </c:pt>
                <c:pt idx="3339">
                  <c:v>2.6121170999999999E-2</c:v>
                </c:pt>
                <c:pt idx="3340">
                  <c:v>2.6201622000000001E-2</c:v>
                </c:pt>
                <c:pt idx="3341">
                  <c:v>2.6345157000000001E-2</c:v>
                </c:pt>
                <c:pt idx="3342">
                  <c:v>2.6351332000000002E-2</c:v>
                </c:pt>
                <c:pt idx="3343">
                  <c:v>2.6412100000000001E-2</c:v>
                </c:pt>
                <c:pt idx="3344">
                  <c:v>2.6401061999999999E-2</c:v>
                </c:pt>
                <c:pt idx="3345">
                  <c:v>2.5281991E-2</c:v>
                </c:pt>
                <c:pt idx="3346">
                  <c:v>2.5306312000000001E-2</c:v>
                </c:pt>
                <c:pt idx="3347">
                  <c:v>2.5136677999999999E-2</c:v>
                </c:pt>
                <c:pt idx="3348">
                  <c:v>2.5607406999999999E-2</c:v>
                </c:pt>
                <c:pt idx="3349">
                  <c:v>2.5606627999999999E-2</c:v>
                </c:pt>
                <c:pt idx="3350">
                  <c:v>2.5697074E-2</c:v>
                </c:pt>
                <c:pt idx="3351">
                  <c:v>2.5710917999999999E-2</c:v>
                </c:pt>
                <c:pt idx="3352">
                  <c:v>2.5683272E-2</c:v>
                </c:pt>
                <c:pt idx="3353">
                  <c:v>2.5760833E-2</c:v>
                </c:pt>
                <c:pt idx="3354">
                  <c:v>2.5684934E-2</c:v>
                </c:pt>
                <c:pt idx="3355">
                  <c:v>2.5358318000000001E-2</c:v>
                </c:pt>
                <c:pt idx="3356">
                  <c:v>2.5361075E-2</c:v>
                </c:pt>
                <c:pt idx="3357">
                  <c:v>2.5346508E-2</c:v>
                </c:pt>
                <c:pt idx="3358">
                  <c:v>2.5474614E-2</c:v>
                </c:pt>
                <c:pt idx="3359">
                  <c:v>2.5494046999999999E-2</c:v>
                </c:pt>
                <c:pt idx="3360">
                  <c:v>2.5492173E-2</c:v>
                </c:pt>
                <c:pt idx="3361">
                  <c:v>2.4855851000000002E-2</c:v>
                </c:pt>
                <c:pt idx="3362">
                  <c:v>2.4898078000000001E-2</c:v>
                </c:pt>
                <c:pt idx="3363">
                  <c:v>2.4746937E-2</c:v>
                </c:pt>
                <c:pt idx="3364">
                  <c:v>2.4405896999999999E-2</c:v>
                </c:pt>
                <c:pt idx="3365">
                  <c:v>2.3652303999999999E-2</c:v>
                </c:pt>
                <c:pt idx="3366">
                  <c:v>2.2705425000000001E-2</c:v>
                </c:pt>
                <c:pt idx="3367">
                  <c:v>2.2805493E-2</c:v>
                </c:pt>
                <c:pt idx="3368">
                  <c:v>2.2236876999999999E-2</c:v>
                </c:pt>
                <c:pt idx="3369">
                  <c:v>2.2214679000000001E-2</c:v>
                </c:pt>
                <c:pt idx="3370">
                  <c:v>2.2204363000000001E-2</c:v>
                </c:pt>
                <c:pt idx="3371">
                  <c:v>2.2232802999999999E-2</c:v>
                </c:pt>
                <c:pt idx="3372">
                  <c:v>2.2235550999999999E-2</c:v>
                </c:pt>
                <c:pt idx="3373">
                  <c:v>2.2011915E-2</c:v>
                </c:pt>
                <c:pt idx="3374">
                  <c:v>2.1906892000000001E-2</c:v>
                </c:pt>
                <c:pt idx="3375">
                  <c:v>2.1893767000000001E-2</c:v>
                </c:pt>
                <c:pt idx="3376">
                  <c:v>2.1870107999999999E-2</c:v>
                </c:pt>
                <c:pt idx="3377">
                  <c:v>2.1920690999999999E-2</c:v>
                </c:pt>
                <c:pt idx="3378">
                  <c:v>2.185169E-2</c:v>
                </c:pt>
                <c:pt idx="3379">
                  <c:v>2.1551613000000001E-2</c:v>
                </c:pt>
                <c:pt idx="3380">
                  <c:v>2.1105130999999999E-2</c:v>
                </c:pt>
                <c:pt idx="3381">
                  <c:v>2.1058701999999999E-2</c:v>
                </c:pt>
                <c:pt idx="3382">
                  <c:v>2.1171426E-2</c:v>
                </c:pt>
                <c:pt idx="3383">
                  <c:v>2.1120999000000001E-2</c:v>
                </c:pt>
                <c:pt idx="3384">
                  <c:v>2.1105384000000001E-2</c:v>
                </c:pt>
                <c:pt idx="3385">
                  <c:v>2.1057248000000001E-2</c:v>
                </c:pt>
                <c:pt idx="3386">
                  <c:v>2.1053116E-2</c:v>
                </c:pt>
                <c:pt idx="3387">
                  <c:v>2.1016292999999998E-2</c:v>
                </c:pt>
                <c:pt idx="3388">
                  <c:v>2.1036493999999999E-2</c:v>
                </c:pt>
                <c:pt idx="3389">
                  <c:v>2.1088498000000001E-2</c:v>
                </c:pt>
                <c:pt idx="3390">
                  <c:v>2.1077383000000002E-2</c:v>
                </c:pt>
                <c:pt idx="3391">
                  <c:v>2.0911022000000001E-2</c:v>
                </c:pt>
                <c:pt idx="3392">
                  <c:v>2.0910934999999999E-2</c:v>
                </c:pt>
                <c:pt idx="3393">
                  <c:v>2.0704434000000001E-2</c:v>
                </c:pt>
                <c:pt idx="3394">
                  <c:v>2.0746389E-2</c:v>
                </c:pt>
                <c:pt idx="3395">
                  <c:v>2.0732152E-2</c:v>
                </c:pt>
                <c:pt idx="3396">
                  <c:v>2.0657314E-2</c:v>
                </c:pt>
                <c:pt idx="3397">
                  <c:v>2.0618161999999999E-2</c:v>
                </c:pt>
                <c:pt idx="3398">
                  <c:v>2.0657807E-2</c:v>
                </c:pt>
                <c:pt idx="3399">
                  <c:v>2.0629063E-2</c:v>
                </c:pt>
                <c:pt idx="3400">
                  <c:v>2.045694E-2</c:v>
                </c:pt>
                <c:pt idx="3401">
                  <c:v>2.0442952E-2</c:v>
                </c:pt>
                <c:pt idx="3402">
                  <c:v>2.0405982999999999E-2</c:v>
                </c:pt>
                <c:pt idx="3403">
                  <c:v>2.0457678E-2</c:v>
                </c:pt>
                <c:pt idx="3404">
                  <c:v>2.046282E-2</c:v>
                </c:pt>
                <c:pt idx="3405">
                  <c:v>2.0401438000000001E-2</c:v>
                </c:pt>
                <c:pt idx="3406">
                  <c:v>2.0401289E-2</c:v>
                </c:pt>
                <c:pt idx="3407">
                  <c:v>2.0409218999999999E-2</c:v>
                </c:pt>
                <c:pt idx="3408">
                  <c:v>2.0360379000000001E-2</c:v>
                </c:pt>
                <c:pt idx="3409">
                  <c:v>2.0359512999999999E-2</c:v>
                </c:pt>
                <c:pt idx="3410">
                  <c:v>1.9899606E-2</c:v>
                </c:pt>
                <c:pt idx="3411">
                  <c:v>1.9870947E-2</c:v>
                </c:pt>
                <c:pt idx="3412">
                  <c:v>1.9742569000000001E-2</c:v>
                </c:pt>
                <c:pt idx="3413">
                  <c:v>1.9704012999999999E-2</c:v>
                </c:pt>
                <c:pt idx="3414">
                  <c:v>1.9834300999999999E-2</c:v>
                </c:pt>
                <c:pt idx="3415">
                  <c:v>1.9910840999999999E-2</c:v>
                </c:pt>
                <c:pt idx="3416">
                  <c:v>1.9898378000000001E-2</c:v>
                </c:pt>
                <c:pt idx="3417">
                  <c:v>1.9879304E-2</c:v>
                </c:pt>
                <c:pt idx="3418">
                  <c:v>1.9874047999999998E-2</c:v>
                </c:pt>
                <c:pt idx="3419">
                  <c:v>1.9876309000000002E-2</c:v>
                </c:pt>
                <c:pt idx="3420">
                  <c:v>1.9869976000000001E-2</c:v>
                </c:pt>
                <c:pt idx="3421">
                  <c:v>1.9805838999999999E-2</c:v>
                </c:pt>
                <c:pt idx="3422">
                  <c:v>1.9808968E-2</c:v>
                </c:pt>
                <c:pt idx="3423">
                  <c:v>1.9805778E-2</c:v>
                </c:pt>
                <c:pt idx="3424">
                  <c:v>1.9814866E-2</c:v>
                </c:pt>
                <c:pt idx="3425">
                  <c:v>1.9802044000000001E-2</c:v>
                </c:pt>
                <c:pt idx="3426">
                  <c:v>1.9805955E-2</c:v>
                </c:pt>
                <c:pt idx="3427">
                  <c:v>1.9180407E-2</c:v>
                </c:pt>
                <c:pt idx="3428">
                  <c:v>1.9178891999999999E-2</c:v>
                </c:pt>
                <c:pt idx="3429">
                  <c:v>1.9163684E-2</c:v>
                </c:pt>
                <c:pt idx="3430">
                  <c:v>1.8861406000000001E-2</c:v>
                </c:pt>
                <c:pt idx="3431">
                  <c:v>1.9107497000000001E-2</c:v>
                </c:pt>
                <c:pt idx="3432">
                  <c:v>1.9036780999999999E-2</c:v>
                </c:pt>
                <c:pt idx="3433">
                  <c:v>1.9035729000000001E-2</c:v>
                </c:pt>
                <c:pt idx="3434">
                  <c:v>1.8990238999999999E-2</c:v>
                </c:pt>
                <c:pt idx="3435">
                  <c:v>1.8986543000000002E-2</c:v>
                </c:pt>
                <c:pt idx="3436">
                  <c:v>1.8985299000000001E-2</c:v>
                </c:pt>
                <c:pt idx="3437">
                  <c:v>1.8985252000000001E-2</c:v>
                </c:pt>
                <c:pt idx="3438">
                  <c:v>1.8991137000000002E-2</c:v>
                </c:pt>
                <c:pt idx="3439">
                  <c:v>1.8994009999999999E-2</c:v>
                </c:pt>
                <c:pt idx="3440">
                  <c:v>1.9040306E-2</c:v>
                </c:pt>
                <c:pt idx="3441">
                  <c:v>1.8954538999999999E-2</c:v>
                </c:pt>
                <c:pt idx="3442">
                  <c:v>1.895927E-2</c:v>
                </c:pt>
                <c:pt idx="3443">
                  <c:v>1.8793559000000001E-2</c:v>
                </c:pt>
                <c:pt idx="3444">
                  <c:v>1.8788827000000001E-2</c:v>
                </c:pt>
                <c:pt idx="3445">
                  <c:v>1.8814035999999999E-2</c:v>
                </c:pt>
                <c:pt idx="3446">
                  <c:v>1.8803052000000001E-2</c:v>
                </c:pt>
                <c:pt idx="3447">
                  <c:v>1.8827302000000001E-2</c:v>
                </c:pt>
                <c:pt idx="3448">
                  <c:v>1.8712057000000001E-2</c:v>
                </c:pt>
                <c:pt idx="3449">
                  <c:v>1.8696306999999999E-2</c:v>
                </c:pt>
                <c:pt idx="3450">
                  <c:v>1.8703860999999999E-2</c:v>
                </c:pt>
                <c:pt idx="3451">
                  <c:v>1.8691745999999999E-2</c:v>
                </c:pt>
                <c:pt idx="3452">
                  <c:v>1.7498590000000001E-2</c:v>
                </c:pt>
                <c:pt idx="3453">
                  <c:v>1.7561819999999999E-2</c:v>
                </c:pt>
                <c:pt idx="3454">
                  <c:v>1.7483484000000001E-2</c:v>
                </c:pt>
                <c:pt idx="3455">
                  <c:v>1.6217212000000002E-2</c:v>
                </c:pt>
                <c:pt idx="3456">
                  <c:v>1.6109073000000002E-2</c:v>
                </c:pt>
                <c:pt idx="3457">
                  <c:v>1.5411640000000001E-2</c:v>
                </c:pt>
                <c:pt idx="3458">
                  <c:v>1.5400489999999999E-2</c:v>
                </c:pt>
                <c:pt idx="3459">
                  <c:v>1.542819E-2</c:v>
                </c:pt>
                <c:pt idx="3460">
                  <c:v>1.5316798E-2</c:v>
                </c:pt>
                <c:pt idx="3461">
                  <c:v>1.5021395999999999E-2</c:v>
                </c:pt>
                <c:pt idx="3462">
                  <c:v>1.5018158E-2</c:v>
                </c:pt>
                <c:pt idx="3463">
                  <c:v>1.4789521E-2</c:v>
                </c:pt>
                <c:pt idx="3464">
                  <c:v>1.4727588999999999E-2</c:v>
                </c:pt>
                <c:pt idx="3465">
                  <c:v>1.4471451999999999E-2</c:v>
                </c:pt>
                <c:pt idx="3466">
                  <c:v>1.4447659999999999E-2</c:v>
                </c:pt>
                <c:pt idx="3467">
                  <c:v>1.4463698000000001E-2</c:v>
                </c:pt>
                <c:pt idx="3468">
                  <c:v>1.3276536E-2</c:v>
                </c:pt>
                <c:pt idx="3469">
                  <c:v>1.3309316E-2</c:v>
                </c:pt>
                <c:pt idx="3470">
                  <c:v>1.3159708000000001E-2</c:v>
                </c:pt>
                <c:pt idx="3471">
                  <c:v>1.2849846999999999E-2</c:v>
                </c:pt>
                <c:pt idx="3472">
                  <c:v>1.2776249E-2</c:v>
                </c:pt>
                <c:pt idx="3473">
                  <c:v>1.2674015E-2</c:v>
                </c:pt>
                <c:pt idx="3474">
                  <c:v>1.2669461E-2</c:v>
                </c:pt>
                <c:pt idx="3475">
                  <c:v>1.2625218000000001E-2</c:v>
                </c:pt>
                <c:pt idx="3476">
                  <c:v>1.2606826E-2</c:v>
                </c:pt>
                <c:pt idx="3477">
                  <c:v>1.2593039E-2</c:v>
                </c:pt>
                <c:pt idx="3478">
                  <c:v>1.2321782E-2</c:v>
                </c:pt>
                <c:pt idx="3479">
                  <c:v>1.2313856E-2</c:v>
                </c:pt>
                <c:pt idx="3480">
                  <c:v>1.2316852999999999E-2</c:v>
                </c:pt>
                <c:pt idx="3481">
                  <c:v>1.2320731999999999E-2</c:v>
                </c:pt>
                <c:pt idx="3482">
                  <c:v>1.2278104E-2</c:v>
                </c:pt>
                <c:pt idx="3483">
                  <c:v>1.2529176E-2</c:v>
                </c:pt>
                <c:pt idx="3484">
                  <c:v>1.2527109E-2</c:v>
                </c:pt>
                <c:pt idx="3485">
                  <c:v>1.1057512E-2</c:v>
                </c:pt>
                <c:pt idx="3486">
                  <c:v>1.1033055E-2</c:v>
                </c:pt>
                <c:pt idx="3487">
                  <c:v>1.0784424000000001E-2</c:v>
                </c:pt>
                <c:pt idx="3488">
                  <c:v>1.0705802E-2</c:v>
                </c:pt>
                <c:pt idx="3489">
                  <c:v>1.0077638999999999E-2</c:v>
                </c:pt>
                <c:pt idx="3490">
                  <c:v>1.0084373000000001E-2</c:v>
                </c:pt>
                <c:pt idx="3491">
                  <c:v>1.0054855E-2</c:v>
                </c:pt>
                <c:pt idx="3492">
                  <c:v>1.0051635E-2</c:v>
                </c:pt>
                <c:pt idx="3493">
                  <c:v>1.0051612999999999E-2</c:v>
                </c:pt>
                <c:pt idx="3494">
                  <c:v>9.9899480000000002E-3</c:v>
                </c:pt>
                <c:pt idx="3495">
                  <c:v>9.8265239999999997E-3</c:v>
                </c:pt>
                <c:pt idx="3496">
                  <c:v>9.8584410000000008E-3</c:v>
                </c:pt>
                <c:pt idx="3497">
                  <c:v>9.7676340000000007E-3</c:v>
                </c:pt>
                <c:pt idx="3498">
                  <c:v>9.7657860000000003E-3</c:v>
                </c:pt>
                <c:pt idx="3499">
                  <c:v>9.7745920000000003E-3</c:v>
                </c:pt>
                <c:pt idx="3500">
                  <c:v>9.7286409999999997E-3</c:v>
                </c:pt>
                <c:pt idx="3501">
                  <c:v>9.6354800000000001E-3</c:v>
                </c:pt>
                <c:pt idx="3502">
                  <c:v>9.4050339999999996E-3</c:v>
                </c:pt>
                <c:pt idx="3503">
                  <c:v>9.5086100000000007E-3</c:v>
                </c:pt>
                <c:pt idx="3504">
                  <c:v>9.5046009999999997E-3</c:v>
                </c:pt>
                <c:pt idx="3505">
                  <c:v>9.39626E-3</c:v>
                </c:pt>
                <c:pt idx="3506">
                  <c:v>9.4098589999999996E-3</c:v>
                </c:pt>
                <c:pt idx="3507">
                  <c:v>9.3751619999999994E-3</c:v>
                </c:pt>
                <c:pt idx="3508">
                  <c:v>9.3219930000000006E-3</c:v>
                </c:pt>
                <c:pt idx="3509">
                  <c:v>9.0553379999999996E-3</c:v>
                </c:pt>
                <c:pt idx="3510">
                  <c:v>9.0662880000000005E-3</c:v>
                </c:pt>
                <c:pt idx="3511">
                  <c:v>9.200649E-3</c:v>
                </c:pt>
                <c:pt idx="3512">
                  <c:v>9.1397879999999994E-3</c:v>
                </c:pt>
                <c:pt idx="3513">
                  <c:v>9.1419080000000007E-3</c:v>
                </c:pt>
                <c:pt idx="3514">
                  <c:v>9.0469060000000004E-3</c:v>
                </c:pt>
                <c:pt idx="3515">
                  <c:v>9.0238929999999998E-3</c:v>
                </c:pt>
                <c:pt idx="3516">
                  <c:v>9.00661E-3</c:v>
                </c:pt>
                <c:pt idx="3517">
                  <c:v>9.0060669999999995E-3</c:v>
                </c:pt>
                <c:pt idx="3518">
                  <c:v>8.9279460000000008E-3</c:v>
                </c:pt>
                <c:pt idx="3519">
                  <c:v>8.9193280000000007E-3</c:v>
                </c:pt>
                <c:pt idx="3520">
                  <c:v>8.9190439999999992E-3</c:v>
                </c:pt>
                <c:pt idx="3521">
                  <c:v>8.8670150000000007E-3</c:v>
                </c:pt>
                <c:pt idx="3522">
                  <c:v>8.9428440000000001E-3</c:v>
                </c:pt>
                <c:pt idx="3523">
                  <c:v>8.788756E-3</c:v>
                </c:pt>
                <c:pt idx="3524">
                  <c:v>8.7665460000000001E-3</c:v>
                </c:pt>
                <c:pt idx="3525">
                  <c:v>8.7610780000000003E-3</c:v>
                </c:pt>
                <c:pt idx="3526">
                  <c:v>8.8139140000000008E-3</c:v>
                </c:pt>
                <c:pt idx="3527">
                  <c:v>8.8025970000000005E-3</c:v>
                </c:pt>
                <c:pt idx="3528">
                  <c:v>8.8008570000000005E-3</c:v>
                </c:pt>
                <c:pt idx="3529">
                  <c:v>8.8034879999999999E-3</c:v>
                </c:pt>
                <c:pt idx="3530">
                  <c:v>8.8043159999999995E-3</c:v>
                </c:pt>
                <c:pt idx="3531">
                  <c:v>8.6591289999999998E-3</c:v>
                </c:pt>
                <c:pt idx="3532">
                  <c:v>8.6780629999999997E-3</c:v>
                </c:pt>
                <c:pt idx="3533">
                  <c:v>8.7086379999999994E-3</c:v>
                </c:pt>
                <c:pt idx="3534">
                  <c:v>8.3957760000000006E-3</c:v>
                </c:pt>
                <c:pt idx="3535">
                  <c:v>8.167522E-3</c:v>
                </c:pt>
                <c:pt idx="3536">
                  <c:v>8.1674450000000006E-3</c:v>
                </c:pt>
                <c:pt idx="3537">
                  <c:v>8.1669410000000005E-3</c:v>
                </c:pt>
                <c:pt idx="3538">
                  <c:v>8.1845649999999995E-3</c:v>
                </c:pt>
                <c:pt idx="3539">
                  <c:v>8.2233610000000002E-3</c:v>
                </c:pt>
                <c:pt idx="3540">
                  <c:v>8.231291E-3</c:v>
                </c:pt>
                <c:pt idx="3541">
                  <c:v>8.2281409999999996E-3</c:v>
                </c:pt>
                <c:pt idx="3542">
                  <c:v>8.20538E-3</c:v>
                </c:pt>
                <c:pt idx="3543">
                  <c:v>8.2020559999999992E-3</c:v>
                </c:pt>
                <c:pt idx="3544">
                  <c:v>8.1936739999999997E-3</c:v>
                </c:pt>
                <c:pt idx="3545">
                  <c:v>8.2128549999999998E-3</c:v>
                </c:pt>
                <c:pt idx="3546">
                  <c:v>8.193334E-3</c:v>
                </c:pt>
                <c:pt idx="3547">
                  <c:v>8.2145770000000007E-3</c:v>
                </c:pt>
                <c:pt idx="3548">
                  <c:v>8.2147230000000002E-3</c:v>
                </c:pt>
                <c:pt idx="3549">
                  <c:v>8.2178440000000002E-3</c:v>
                </c:pt>
                <c:pt idx="3550">
                  <c:v>8.2518739999999993E-3</c:v>
                </c:pt>
                <c:pt idx="3551">
                  <c:v>7.7188780000000002E-3</c:v>
                </c:pt>
                <c:pt idx="3552">
                  <c:v>7.7392279999999999E-3</c:v>
                </c:pt>
                <c:pt idx="3553">
                  <c:v>7.7758319999999999E-3</c:v>
                </c:pt>
                <c:pt idx="3554">
                  <c:v>7.7800990000000004E-3</c:v>
                </c:pt>
                <c:pt idx="3555">
                  <c:v>7.8365569999999992E-3</c:v>
                </c:pt>
                <c:pt idx="3556">
                  <c:v>8.0040130000000008E-3</c:v>
                </c:pt>
                <c:pt idx="3557">
                  <c:v>7.9988119999999992E-3</c:v>
                </c:pt>
                <c:pt idx="3558">
                  <c:v>7.4412460000000003E-3</c:v>
                </c:pt>
                <c:pt idx="3559">
                  <c:v>7.4426559999999998E-3</c:v>
                </c:pt>
                <c:pt idx="3560">
                  <c:v>7.3790959999999999E-3</c:v>
                </c:pt>
                <c:pt idx="3561">
                  <c:v>7.703199E-3</c:v>
                </c:pt>
                <c:pt idx="3562">
                  <c:v>7.6953910000000002E-3</c:v>
                </c:pt>
                <c:pt idx="3563">
                  <c:v>7.73392E-3</c:v>
                </c:pt>
                <c:pt idx="3564">
                  <c:v>7.8093060000000002E-3</c:v>
                </c:pt>
                <c:pt idx="3565">
                  <c:v>7.772958E-3</c:v>
                </c:pt>
                <c:pt idx="3566">
                  <c:v>7.7716180000000001E-3</c:v>
                </c:pt>
                <c:pt idx="3567">
                  <c:v>7.6954789999999999E-3</c:v>
                </c:pt>
                <c:pt idx="3568">
                  <c:v>7.6344610000000004E-3</c:v>
                </c:pt>
                <c:pt idx="3569">
                  <c:v>7.6242280000000003E-3</c:v>
                </c:pt>
                <c:pt idx="3570">
                  <c:v>7.6576589999999998E-3</c:v>
                </c:pt>
                <c:pt idx="3571">
                  <c:v>7.6665559999999997E-3</c:v>
                </c:pt>
                <c:pt idx="3572">
                  <c:v>7.6692339999999996E-3</c:v>
                </c:pt>
                <c:pt idx="3573">
                  <c:v>7.5479789999999998E-3</c:v>
                </c:pt>
                <c:pt idx="3574">
                  <c:v>7.54902E-3</c:v>
                </c:pt>
                <c:pt idx="3575">
                  <c:v>7.5517639999999999E-3</c:v>
                </c:pt>
                <c:pt idx="3576">
                  <c:v>7.5973079999999997E-3</c:v>
                </c:pt>
                <c:pt idx="3577">
                  <c:v>7.6081009999999999E-3</c:v>
                </c:pt>
                <c:pt idx="3578">
                  <c:v>7.6032419999999996E-3</c:v>
                </c:pt>
                <c:pt idx="3579">
                  <c:v>7.3716279999999999E-3</c:v>
                </c:pt>
                <c:pt idx="3580">
                  <c:v>7.3795570000000001E-3</c:v>
                </c:pt>
                <c:pt idx="3581">
                  <c:v>7.3791350000000002E-3</c:v>
                </c:pt>
                <c:pt idx="3582">
                  <c:v>7.4091840000000001E-3</c:v>
                </c:pt>
                <c:pt idx="3583">
                  <c:v>7.4131149999999996E-3</c:v>
                </c:pt>
                <c:pt idx="3584">
                  <c:v>7.4023040000000002E-3</c:v>
                </c:pt>
                <c:pt idx="3585">
                  <c:v>7.39553E-3</c:v>
                </c:pt>
                <c:pt idx="3586">
                  <c:v>7.3865520000000002E-3</c:v>
                </c:pt>
                <c:pt idx="3587">
                  <c:v>7.351191E-3</c:v>
                </c:pt>
                <c:pt idx="3588">
                  <c:v>7.3560930000000002E-3</c:v>
                </c:pt>
                <c:pt idx="3589">
                  <c:v>7.3096070000000001E-3</c:v>
                </c:pt>
                <c:pt idx="3590">
                  <c:v>7.1621480000000001E-3</c:v>
                </c:pt>
                <c:pt idx="3591">
                  <c:v>7.162018E-3</c:v>
                </c:pt>
                <c:pt idx="3592">
                  <c:v>7.1478380000000001E-3</c:v>
                </c:pt>
                <c:pt idx="3593">
                  <c:v>7.1058190000000002E-3</c:v>
                </c:pt>
                <c:pt idx="3594">
                  <c:v>7.1318739999999999E-3</c:v>
                </c:pt>
                <c:pt idx="3595">
                  <c:v>7.1340370000000002E-3</c:v>
                </c:pt>
                <c:pt idx="3596">
                  <c:v>7.1358929999999999E-3</c:v>
                </c:pt>
                <c:pt idx="3597">
                  <c:v>7.1490210000000002E-3</c:v>
                </c:pt>
                <c:pt idx="3598">
                  <c:v>7.1122779999999997E-3</c:v>
                </c:pt>
                <c:pt idx="3599">
                  <c:v>7.0991179999999997E-3</c:v>
                </c:pt>
                <c:pt idx="3600">
                  <c:v>7.1092890000000004E-3</c:v>
                </c:pt>
                <c:pt idx="3601">
                  <c:v>7.1019660000000004E-3</c:v>
                </c:pt>
                <c:pt idx="3602">
                  <c:v>6.9147719999999996E-3</c:v>
                </c:pt>
                <c:pt idx="3603">
                  <c:v>6.3851130000000004E-3</c:v>
                </c:pt>
                <c:pt idx="3604">
                  <c:v>6.3933050000000002E-3</c:v>
                </c:pt>
                <c:pt idx="3605">
                  <c:v>6.524808E-3</c:v>
                </c:pt>
                <c:pt idx="3606">
                  <c:v>6.5256289999999998E-3</c:v>
                </c:pt>
                <c:pt idx="3607">
                  <c:v>6.527466E-3</c:v>
                </c:pt>
                <c:pt idx="3608">
                  <c:v>6.4945309999999996E-3</c:v>
                </c:pt>
                <c:pt idx="3609">
                  <c:v>6.4936489999999998E-3</c:v>
                </c:pt>
                <c:pt idx="3610">
                  <c:v>6.5282200000000004E-3</c:v>
                </c:pt>
                <c:pt idx="3611">
                  <c:v>6.5016400000000004E-3</c:v>
                </c:pt>
                <c:pt idx="3612">
                  <c:v>6.5021139999999998E-3</c:v>
                </c:pt>
                <c:pt idx="3613">
                  <c:v>6.5347360000000002E-3</c:v>
                </c:pt>
                <c:pt idx="3614">
                  <c:v>6.5378650000000003E-3</c:v>
                </c:pt>
                <c:pt idx="3615">
                  <c:v>6.5419229999999998E-3</c:v>
                </c:pt>
                <c:pt idx="3616">
                  <c:v>6.500329E-3</c:v>
                </c:pt>
                <c:pt idx="3617">
                  <c:v>6.494962E-3</c:v>
                </c:pt>
                <c:pt idx="3618">
                  <c:v>6.5221660000000002E-3</c:v>
                </c:pt>
                <c:pt idx="3619">
                  <c:v>6.4935979999999997E-3</c:v>
                </c:pt>
                <c:pt idx="3620">
                  <c:v>6.540059E-3</c:v>
                </c:pt>
                <c:pt idx="3621">
                  <c:v>6.5400859999999996E-3</c:v>
                </c:pt>
                <c:pt idx="3622">
                  <c:v>6.5122560000000001E-3</c:v>
                </c:pt>
                <c:pt idx="3623">
                  <c:v>6.3308749999999997E-3</c:v>
                </c:pt>
                <c:pt idx="3624">
                  <c:v>6.4069970000000002E-3</c:v>
                </c:pt>
                <c:pt idx="3625">
                  <c:v>6.3737159999999998E-3</c:v>
                </c:pt>
                <c:pt idx="3626">
                  <c:v>6.353834E-3</c:v>
                </c:pt>
                <c:pt idx="3627">
                  <c:v>6.3683949999999998E-3</c:v>
                </c:pt>
                <c:pt idx="3628">
                  <c:v>6.3705690000000004E-3</c:v>
                </c:pt>
                <c:pt idx="3629">
                  <c:v>6.3751429999999998E-3</c:v>
                </c:pt>
                <c:pt idx="3630">
                  <c:v>6.3668989999999996E-3</c:v>
                </c:pt>
                <c:pt idx="3631">
                  <c:v>6.1645850000000002E-3</c:v>
                </c:pt>
                <c:pt idx="3632">
                  <c:v>6.1445639999999999E-3</c:v>
                </c:pt>
                <c:pt idx="3633">
                  <c:v>6.1882769999999998E-3</c:v>
                </c:pt>
                <c:pt idx="3634">
                  <c:v>6.1967280000000003E-3</c:v>
                </c:pt>
                <c:pt idx="3635">
                  <c:v>6.3102089999999998E-3</c:v>
                </c:pt>
                <c:pt idx="3636">
                  <c:v>6.2201009999999996E-3</c:v>
                </c:pt>
                <c:pt idx="3637">
                  <c:v>6.212792E-3</c:v>
                </c:pt>
                <c:pt idx="3638">
                  <c:v>6.2195059999999996E-3</c:v>
                </c:pt>
                <c:pt idx="3639">
                  <c:v>6.2253589999999998E-3</c:v>
                </c:pt>
                <c:pt idx="3640">
                  <c:v>6.2303469999999998E-3</c:v>
                </c:pt>
                <c:pt idx="3641">
                  <c:v>6.1756119999999996E-3</c:v>
                </c:pt>
                <c:pt idx="3642">
                  <c:v>6.1152899999999998E-3</c:v>
                </c:pt>
                <c:pt idx="3643">
                  <c:v>6.1163049999999998E-3</c:v>
                </c:pt>
                <c:pt idx="3644">
                  <c:v>6.1357340000000003E-3</c:v>
                </c:pt>
                <c:pt idx="3645">
                  <c:v>6.150221E-3</c:v>
                </c:pt>
                <c:pt idx="3646">
                  <c:v>6.0696120000000003E-3</c:v>
                </c:pt>
                <c:pt idx="3647">
                  <c:v>6.0706880000000003E-3</c:v>
                </c:pt>
                <c:pt idx="3648">
                  <c:v>6.1359300000000004E-3</c:v>
                </c:pt>
                <c:pt idx="3649">
                  <c:v>6.1347449999999996E-3</c:v>
                </c:pt>
                <c:pt idx="3650">
                  <c:v>6.1328939999999998E-3</c:v>
                </c:pt>
                <c:pt idx="3651">
                  <c:v>6.1315390000000001E-3</c:v>
                </c:pt>
                <c:pt idx="3652">
                  <c:v>6.1054259999999997E-3</c:v>
                </c:pt>
                <c:pt idx="3653">
                  <c:v>6.0737439999999998E-3</c:v>
                </c:pt>
                <c:pt idx="3654">
                  <c:v>6.0253499999999996E-3</c:v>
                </c:pt>
                <c:pt idx="3655">
                  <c:v>6.0224509999999998E-3</c:v>
                </c:pt>
                <c:pt idx="3656">
                  <c:v>6.0518530000000003E-3</c:v>
                </c:pt>
                <c:pt idx="3657">
                  <c:v>6.0735670000000002E-3</c:v>
                </c:pt>
                <c:pt idx="3658">
                  <c:v>6.0560579999999996E-3</c:v>
                </c:pt>
                <c:pt idx="3659">
                  <c:v>5.9817159999999998E-3</c:v>
                </c:pt>
                <c:pt idx="3660">
                  <c:v>5.9608420000000001E-3</c:v>
                </c:pt>
                <c:pt idx="3661">
                  <c:v>6.0025469999999996E-3</c:v>
                </c:pt>
                <c:pt idx="3662">
                  <c:v>6.0146679999999999E-3</c:v>
                </c:pt>
                <c:pt idx="3663">
                  <c:v>6.0669260000000003E-3</c:v>
                </c:pt>
                <c:pt idx="3664">
                  <c:v>6.0843850000000003E-3</c:v>
                </c:pt>
                <c:pt idx="3665">
                  <c:v>6.0715090000000001E-3</c:v>
                </c:pt>
                <c:pt idx="3666">
                  <c:v>6.0399870000000001E-3</c:v>
                </c:pt>
                <c:pt idx="3667">
                  <c:v>5.9989270000000003E-3</c:v>
                </c:pt>
                <c:pt idx="3668">
                  <c:v>6.0069759999999998E-3</c:v>
                </c:pt>
                <c:pt idx="3669">
                  <c:v>5.9948550000000003E-3</c:v>
                </c:pt>
                <c:pt idx="3670">
                  <c:v>6.1556730000000004E-3</c:v>
                </c:pt>
                <c:pt idx="3671">
                  <c:v>6.1460000000000004E-3</c:v>
                </c:pt>
                <c:pt idx="3672">
                  <c:v>6.1081579999999998E-3</c:v>
                </c:pt>
                <c:pt idx="3673">
                  <c:v>6.0739829999999998E-3</c:v>
                </c:pt>
                <c:pt idx="3674">
                  <c:v>6.0388300000000002E-3</c:v>
                </c:pt>
                <c:pt idx="3675">
                  <c:v>5.9858719999999997E-3</c:v>
                </c:pt>
                <c:pt idx="3676">
                  <c:v>5.8154069999999999E-3</c:v>
                </c:pt>
                <c:pt idx="3677">
                  <c:v>5.9042610000000001E-3</c:v>
                </c:pt>
                <c:pt idx="3678">
                  <c:v>5.9286900000000003E-3</c:v>
                </c:pt>
                <c:pt idx="3679">
                  <c:v>5.9377910000000004E-3</c:v>
                </c:pt>
                <c:pt idx="3680">
                  <c:v>5.9077599999999997E-3</c:v>
                </c:pt>
                <c:pt idx="3681">
                  <c:v>5.4559430000000004E-3</c:v>
                </c:pt>
                <c:pt idx="3682">
                  <c:v>5.593911E-3</c:v>
                </c:pt>
                <c:pt idx="3683">
                  <c:v>5.5488819999999998E-3</c:v>
                </c:pt>
                <c:pt idx="3684">
                  <c:v>5.4493950000000001E-3</c:v>
                </c:pt>
                <c:pt idx="3685">
                  <c:v>5.5160599999999997E-3</c:v>
                </c:pt>
                <c:pt idx="3686">
                  <c:v>5.4968430000000004E-3</c:v>
                </c:pt>
                <c:pt idx="3687">
                  <c:v>5.5561029999999997E-3</c:v>
                </c:pt>
                <c:pt idx="3688">
                  <c:v>5.504653E-3</c:v>
                </c:pt>
                <c:pt idx="3689">
                  <c:v>5.5562190000000003E-3</c:v>
                </c:pt>
                <c:pt idx="3690">
                  <c:v>5.5939479999999996E-3</c:v>
                </c:pt>
                <c:pt idx="3691">
                  <c:v>5.5848169999999997E-3</c:v>
                </c:pt>
                <c:pt idx="3692">
                  <c:v>5.6352360000000001E-3</c:v>
                </c:pt>
                <c:pt idx="3693">
                  <c:v>5.636383E-3</c:v>
                </c:pt>
                <c:pt idx="3694">
                  <c:v>5.6345270000000003E-3</c:v>
                </c:pt>
                <c:pt idx="3695">
                  <c:v>5.6485679999999996E-3</c:v>
                </c:pt>
                <c:pt idx="3696">
                  <c:v>5.6527189999999996E-3</c:v>
                </c:pt>
                <c:pt idx="3697">
                  <c:v>5.6929349999999997E-3</c:v>
                </c:pt>
                <c:pt idx="3698">
                  <c:v>5.6926520000000003E-3</c:v>
                </c:pt>
                <c:pt idx="3699">
                  <c:v>5.6619139999999997E-3</c:v>
                </c:pt>
                <c:pt idx="3700">
                  <c:v>5.650576E-3</c:v>
                </c:pt>
                <c:pt idx="3701">
                  <c:v>5.6579819999999998E-3</c:v>
                </c:pt>
                <c:pt idx="3702">
                  <c:v>5.6240489999999999E-3</c:v>
                </c:pt>
                <c:pt idx="3703">
                  <c:v>5.6328139999999999E-3</c:v>
                </c:pt>
                <c:pt idx="3704">
                  <c:v>5.6418149999999997E-3</c:v>
                </c:pt>
                <c:pt idx="3705">
                  <c:v>5.7403860000000001E-3</c:v>
                </c:pt>
                <c:pt idx="3706">
                  <c:v>5.7392420000000003E-3</c:v>
                </c:pt>
                <c:pt idx="3707">
                  <c:v>5.9183150000000004E-3</c:v>
                </c:pt>
                <c:pt idx="3708">
                  <c:v>5.9178549999999996E-3</c:v>
                </c:pt>
                <c:pt idx="3709">
                  <c:v>5.9120700000000002E-3</c:v>
                </c:pt>
                <c:pt idx="3710">
                  <c:v>5.9164430000000004E-3</c:v>
                </c:pt>
                <c:pt idx="3711">
                  <c:v>5.953468E-3</c:v>
                </c:pt>
                <c:pt idx="3712">
                  <c:v>5.9638030000000002E-3</c:v>
                </c:pt>
                <c:pt idx="3713">
                  <c:v>5.9590880000000004E-3</c:v>
                </c:pt>
                <c:pt idx="3714">
                  <c:v>5.9188749999999997E-3</c:v>
                </c:pt>
                <c:pt idx="3715">
                  <c:v>5.9251030000000001E-3</c:v>
                </c:pt>
                <c:pt idx="3716">
                  <c:v>5.9607150000000001E-3</c:v>
                </c:pt>
                <c:pt idx="3717">
                  <c:v>5.9560159999999997E-3</c:v>
                </c:pt>
                <c:pt idx="3718">
                  <c:v>6.0150100000000003E-3</c:v>
                </c:pt>
                <c:pt idx="3719">
                  <c:v>6.0286360000000004E-3</c:v>
                </c:pt>
                <c:pt idx="3720">
                  <c:v>6.0177939999999999E-3</c:v>
                </c:pt>
                <c:pt idx="3721">
                  <c:v>6.0177360000000001E-3</c:v>
                </c:pt>
                <c:pt idx="3722">
                  <c:v>6.0022549999999997E-3</c:v>
                </c:pt>
                <c:pt idx="3723">
                  <c:v>6.0010460000000003E-3</c:v>
                </c:pt>
                <c:pt idx="3724">
                  <c:v>6.2277000000000001E-3</c:v>
                </c:pt>
                <c:pt idx="3725">
                  <c:v>6.1991989999999999E-3</c:v>
                </c:pt>
                <c:pt idx="3726">
                  <c:v>6.1984340000000001E-3</c:v>
                </c:pt>
                <c:pt idx="3727">
                  <c:v>6.199029E-3</c:v>
                </c:pt>
                <c:pt idx="3728">
                  <c:v>6.1960499999999998E-3</c:v>
                </c:pt>
                <c:pt idx="3729">
                  <c:v>6.1960019999999999E-3</c:v>
                </c:pt>
                <c:pt idx="3730">
                  <c:v>6.154985E-3</c:v>
                </c:pt>
                <c:pt idx="3731">
                  <c:v>6.1576720000000003E-3</c:v>
                </c:pt>
                <c:pt idx="3732">
                  <c:v>6.1571400000000002E-3</c:v>
                </c:pt>
                <c:pt idx="3733">
                  <c:v>6.1472130000000003E-3</c:v>
                </c:pt>
                <c:pt idx="3734">
                  <c:v>6.3028190000000003E-3</c:v>
                </c:pt>
                <c:pt idx="3735">
                  <c:v>6.3755679999999999E-3</c:v>
                </c:pt>
                <c:pt idx="3736">
                  <c:v>6.3804880000000001E-3</c:v>
                </c:pt>
                <c:pt idx="3737">
                  <c:v>6.3772999999999998E-3</c:v>
                </c:pt>
                <c:pt idx="3738">
                  <c:v>6.3537710000000002E-3</c:v>
                </c:pt>
                <c:pt idx="3739">
                  <c:v>6.354602E-3</c:v>
                </c:pt>
                <c:pt idx="3740">
                  <c:v>6.319608E-3</c:v>
                </c:pt>
                <c:pt idx="3741">
                  <c:v>6.3213169999999999E-3</c:v>
                </c:pt>
                <c:pt idx="3742">
                  <c:v>6.3259650000000002E-3</c:v>
                </c:pt>
                <c:pt idx="3743">
                  <c:v>6.3370350000000004E-3</c:v>
                </c:pt>
                <c:pt idx="3744">
                  <c:v>6.2564939999999996E-3</c:v>
                </c:pt>
                <c:pt idx="3745">
                  <c:v>6.2570710000000003E-3</c:v>
                </c:pt>
                <c:pt idx="3746">
                  <c:v>6.2501070000000004E-3</c:v>
                </c:pt>
                <c:pt idx="3747">
                  <c:v>6.22917E-3</c:v>
                </c:pt>
                <c:pt idx="3748">
                  <c:v>6.2363829999999999E-3</c:v>
                </c:pt>
                <c:pt idx="3749">
                  <c:v>6.2021200000000002E-3</c:v>
                </c:pt>
                <c:pt idx="3750">
                  <c:v>6.19412E-3</c:v>
                </c:pt>
                <c:pt idx="3751">
                  <c:v>6.1964710000000003E-3</c:v>
                </c:pt>
                <c:pt idx="3752">
                  <c:v>6.1955659999999996E-3</c:v>
                </c:pt>
                <c:pt idx="3753">
                  <c:v>6.1417900000000003E-3</c:v>
                </c:pt>
                <c:pt idx="3754">
                  <c:v>6.1272339999999996E-3</c:v>
                </c:pt>
                <c:pt idx="3755">
                  <c:v>6.0362100000000002E-3</c:v>
                </c:pt>
                <c:pt idx="3756">
                  <c:v>6.0328769999999999E-3</c:v>
                </c:pt>
                <c:pt idx="3757">
                  <c:v>6.0330610000000002E-3</c:v>
                </c:pt>
                <c:pt idx="3758">
                  <c:v>6.0207639999999996E-3</c:v>
                </c:pt>
                <c:pt idx="3759">
                  <c:v>6.0214509999999997E-3</c:v>
                </c:pt>
                <c:pt idx="3760">
                  <c:v>6.0999210000000003E-3</c:v>
                </c:pt>
                <c:pt idx="3761">
                  <c:v>6.1005299999999998E-3</c:v>
                </c:pt>
                <c:pt idx="3762">
                  <c:v>6.0495899999999997E-3</c:v>
                </c:pt>
                <c:pt idx="3763">
                  <c:v>6.0459099999999998E-3</c:v>
                </c:pt>
                <c:pt idx="3764">
                  <c:v>6.0219289999999997E-3</c:v>
                </c:pt>
                <c:pt idx="3765">
                  <c:v>6.0035519999999997E-3</c:v>
                </c:pt>
                <c:pt idx="3766">
                  <c:v>5.9958989999999998E-3</c:v>
                </c:pt>
                <c:pt idx="3767">
                  <c:v>6.0286879999999999E-3</c:v>
                </c:pt>
                <c:pt idx="3768">
                  <c:v>5.9509050000000003E-3</c:v>
                </c:pt>
                <c:pt idx="3769">
                  <c:v>5.952377E-3</c:v>
                </c:pt>
                <c:pt idx="3770">
                  <c:v>5.952372E-3</c:v>
                </c:pt>
                <c:pt idx="3771">
                  <c:v>5.9784469999999996E-3</c:v>
                </c:pt>
                <c:pt idx="3772">
                  <c:v>5.9785990000000002E-3</c:v>
                </c:pt>
                <c:pt idx="3773">
                  <c:v>5.9664929999999998E-3</c:v>
                </c:pt>
                <c:pt idx="3774">
                  <c:v>5.9704249999999997E-3</c:v>
                </c:pt>
                <c:pt idx="3775">
                  <c:v>5.9732810000000004E-3</c:v>
                </c:pt>
                <c:pt idx="3776">
                  <c:v>5.9333040000000004E-3</c:v>
                </c:pt>
                <c:pt idx="3777">
                  <c:v>5.8934E-3</c:v>
                </c:pt>
                <c:pt idx="3778">
                  <c:v>5.8867570000000003E-3</c:v>
                </c:pt>
                <c:pt idx="3779">
                  <c:v>5.8665510000000002E-3</c:v>
                </c:pt>
                <c:pt idx="3780">
                  <c:v>5.8760879999999998E-3</c:v>
                </c:pt>
                <c:pt idx="3781">
                  <c:v>5.8735239999999998E-3</c:v>
                </c:pt>
                <c:pt idx="3782">
                  <c:v>5.8752400000000003E-3</c:v>
                </c:pt>
                <c:pt idx="3783">
                  <c:v>5.8593309999999997E-3</c:v>
                </c:pt>
                <c:pt idx="3784">
                  <c:v>5.8627250000000001E-3</c:v>
                </c:pt>
                <c:pt idx="3785">
                  <c:v>5.8481460000000002E-3</c:v>
                </c:pt>
                <c:pt idx="3786">
                  <c:v>5.9006340000000001E-3</c:v>
                </c:pt>
                <c:pt idx="3787">
                  <c:v>5.9434759999999996E-3</c:v>
                </c:pt>
                <c:pt idx="3788">
                  <c:v>5.966613E-3</c:v>
                </c:pt>
                <c:pt idx="3789">
                  <c:v>5.9687610000000004E-3</c:v>
                </c:pt>
                <c:pt idx="3790">
                  <c:v>5.7905869999999998E-3</c:v>
                </c:pt>
                <c:pt idx="3791">
                  <c:v>5.9703780000000001E-3</c:v>
                </c:pt>
                <c:pt idx="3792">
                  <c:v>5.9680200000000001E-3</c:v>
                </c:pt>
                <c:pt idx="3793">
                  <c:v>6.6304909999999996E-3</c:v>
                </c:pt>
                <c:pt idx="3794">
                  <c:v>6.6178219999999998E-3</c:v>
                </c:pt>
                <c:pt idx="3795">
                  <c:v>6.7265809999999997E-3</c:v>
                </c:pt>
                <c:pt idx="3796">
                  <c:v>6.706531E-3</c:v>
                </c:pt>
                <c:pt idx="3797">
                  <c:v>6.6393040000000004E-3</c:v>
                </c:pt>
                <c:pt idx="3798">
                  <c:v>6.7165549999999999E-3</c:v>
                </c:pt>
                <c:pt idx="3799">
                  <c:v>6.7151620000000002E-3</c:v>
                </c:pt>
                <c:pt idx="3800">
                  <c:v>6.7249579999999996E-3</c:v>
                </c:pt>
                <c:pt idx="3801">
                  <c:v>6.7355779999999999E-3</c:v>
                </c:pt>
                <c:pt idx="3802">
                  <c:v>6.6398150000000003E-3</c:v>
                </c:pt>
                <c:pt idx="3803">
                  <c:v>6.7286949999999998E-3</c:v>
                </c:pt>
                <c:pt idx="3804">
                  <c:v>6.7505459999999996E-3</c:v>
                </c:pt>
                <c:pt idx="3805">
                  <c:v>6.8472810000000002E-3</c:v>
                </c:pt>
                <c:pt idx="3806">
                  <c:v>6.9660190000000004E-3</c:v>
                </c:pt>
                <c:pt idx="3807">
                  <c:v>6.93138E-3</c:v>
                </c:pt>
                <c:pt idx="3808">
                  <c:v>6.9602079999999998E-3</c:v>
                </c:pt>
                <c:pt idx="3809">
                  <c:v>7.0095080000000002E-3</c:v>
                </c:pt>
                <c:pt idx="3810">
                  <c:v>6.9275669999999999E-3</c:v>
                </c:pt>
                <c:pt idx="3811">
                  <c:v>7.0100099999999997E-3</c:v>
                </c:pt>
                <c:pt idx="3812">
                  <c:v>6.967895E-3</c:v>
                </c:pt>
                <c:pt idx="3813">
                  <c:v>6.9929390000000001E-3</c:v>
                </c:pt>
                <c:pt idx="3814">
                  <c:v>7.0019089999999997E-3</c:v>
                </c:pt>
                <c:pt idx="3815">
                  <c:v>6.9956030000000004E-3</c:v>
                </c:pt>
                <c:pt idx="3816">
                  <c:v>6.9451239999999996E-3</c:v>
                </c:pt>
                <c:pt idx="3817">
                  <c:v>7.0447060000000004E-3</c:v>
                </c:pt>
                <c:pt idx="3818">
                  <c:v>7.0670819999999997E-3</c:v>
                </c:pt>
                <c:pt idx="3819">
                  <c:v>7.0676589999999996E-3</c:v>
                </c:pt>
                <c:pt idx="3820">
                  <c:v>7.1670079999999999E-3</c:v>
                </c:pt>
                <c:pt idx="3821">
                  <c:v>7.1729740000000004E-3</c:v>
                </c:pt>
                <c:pt idx="3822">
                  <c:v>7.1686010000000001E-3</c:v>
                </c:pt>
                <c:pt idx="3823">
                  <c:v>7.1436980000000004E-3</c:v>
                </c:pt>
                <c:pt idx="3824">
                  <c:v>7.1472000000000003E-3</c:v>
                </c:pt>
                <c:pt idx="3825">
                  <c:v>7.0861350000000004E-3</c:v>
                </c:pt>
                <c:pt idx="3826">
                  <c:v>7.0924869999999997E-3</c:v>
                </c:pt>
                <c:pt idx="3827">
                  <c:v>6.9437120000000003E-3</c:v>
                </c:pt>
                <c:pt idx="3828">
                  <c:v>6.9426100000000001E-3</c:v>
                </c:pt>
                <c:pt idx="3829">
                  <c:v>6.9200370000000004E-3</c:v>
                </c:pt>
                <c:pt idx="3830">
                  <c:v>6.9426920000000003E-3</c:v>
                </c:pt>
                <c:pt idx="3831">
                  <c:v>6.9161300000000004E-3</c:v>
                </c:pt>
                <c:pt idx="3832">
                  <c:v>6.9125239999999998E-3</c:v>
                </c:pt>
                <c:pt idx="3833">
                  <c:v>6.9148949999999999E-3</c:v>
                </c:pt>
                <c:pt idx="3834">
                  <c:v>6.982228E-3</c:v>
                </c:pt>
                <c:pt idx="3835">
                  <c:v>7.028248E-3</c:v>
                </c:pt>
                <c:pt idx="3836">
                  <c:v>6.9958420000000004E-3</c:v>
                </c:pt>
                <c:pt idx="3837">
                  <c:v>7.0159869999999996E-3</c:v>
                </c:pt>
                <c:pt idx="3838">
                  <c:v>6.957998E-3</c:v>
                </c:pt>
                <c:pt idx="3839">
                  <c:v>7.1585579999999998E-3</c:v>
                </c:pt>
                <c:pt idx="3840">
                  <c:v>7.2319929999999999E-3</c:v>
                </c:pt>
                <c:pt idx="3841">
                  <c:v>7.2391290000000004E-3</c:v>
                </c:pt>
                <c:pt idx="3842">
                  <c:v>7.2763799999999998E-3</c:v>
                </c:pt>
                <c:pt idx="3843">
                  <c:v>7.2743529999999999E-3</c:v>
                </c:pt>
                <c:pt idx="3844">
                  <c:v>7.0428840000000001E-3</c:v>
                </c:pt>
                <c:pt idx="3845">
                  <c:v>7.5139680000000002E-3</c:v>
                </c:pt>
                <c:pt idx="3846">
                  <c:v>7.8491480000000002E-3</c:v>
                </c:pt>
                <c:pt idx="3847">
                  <c:v>7.9030839999999995E-3</c:v>
                </c:pt>
                <c:pt idx="3848">
                  <c:v>8.8669070000000003E-3</c:v>
                </c:pt>
                <c:pt idx="3849">
                  <c:v>8.9402449999999994E-3</c:v>
                </c:pt>
                <c:pt idx="3850">
                  <c:v>8.9920669999999994E-3</c:v>
                </c:pt>
                <c:pt idx="3851">
                  <c:v>9.0151229999999999E-3</c:v>
                </c:pt>
                <c:pt idx="3852">
                  <c:v>9.2152610000000006E-3</c:v>
                </c:pt>
                <c:pt idx="3853">
                  <c:v>9.2033110000000005E-3</c:v>
                </c:pt>
                <c:pt idx="3854">
                  <c:v>9.1468890000000001E-3</c:v>
                </c:pt>
                <c:pt idx="3855">
                  <c:v>9.188435E-3</c:v>
                </c:pt>
                <c:pt idx="3856">
                  <c:v>9.2238579999999997E-3</c:v>
                </c:pt>
                <c:pt idx="3857">
                  <c:v>9.2394720000000003E-3</c:v>
                </c:pt>
                <c:pt idx="3858">
                  <c:v>9.2665119999999993E-3</c:v>
                </c:pt>
                <c:pt idx="3859">
                  <c:v>9.2650389999999992E-3</c:v>
                </c:pt>
                <c:pt idx="3860">
                  <c:v>9.3198940000000004E-3</c:v>
                </c:pt>
                <c:pt idx="3861">
                  <c:v>9.3444019999999999E-3</c:v>
                </c:pt>
                <c:pt idx="3862">
                  <c:v>9.3837190000000004E-3</c:v>
                </c:pt>
                <c:pt idx="3863">
                  <c:v>9.392124E-3</c:v>
                </c:pt>
                <c:pt idx="3864">
                  <c:v>9.3979440000000001E-3</c:v>
                </c:pt>
                <c:pt idx="3865">
                  <c:v>9.4376479999999999E-3</c:v>
                </c:pt>
                <c:pt idx="3866">
                  <c:v>9.4452089999999995E-3</c:v>
                </c:pt>
                <c:pt idx="3867">
                  <c:v>9.4564269999999999E-3</c:v>
                </c:pt>
                <c:pt idx="3868">
                  <c:v>9.4966400000000006E-3</c:v>
                </c:pt>
                <c:pt idx="3869">
                  <c:v>9.5033240000000005E-3</c:v>
                </c:pt>
                <c:pt idx="3870">
                  <c:v>9.5004270000000005E-3</c:v>
                </c:pt>
                <c:pt idx="3871">
                  <c:v>9.5047110000000008E-3</c:v>
                </c:pt>
                <c:pt idx="3872">
                  <c:v>9.5511060000000002E-3</c:v>
                </c:pt>
                <c:pt idx="3873">
                  <c:v>9.9228479999999997E-3</c:v>
                </c:pt>
                <c:pt idx="3874">
                  <c:v>9.9410079999999994E-3</c:v>
                </c:pt>
                <c:pt idx="3875">
                  <c:v>9.9588109999999997E-3</c:v>
                </c:pt>
                <c:pt idx="3876">
                  <c:v>1.0099235E-2</c:v>
                </c:pt>
                <c:pt idx="3877">
                  <c:v>1.0171105999999999E-2</c:v>
                </c:pt>
                <c:pt idx="3878">
                  <c:v>1.0171489000000001E-2</c:v>
                </c:pt>
                <c:pt idx="3879">
                  <c:v>1.0170401000000001E-2</c:v>
                </c:pt>
                <c:pt idx="3880">
                  <c:v>1.0129297000000001E-2</c:v>
                </c:pt>
                <c:pt idx="3881">
                  <c:v>1.0129114999999999E-2</c:v>
                </c:pt>
                <c:pt idx="3882">
                  <c:v>1.0124433E-2</c:v>
                </c:pt>
                <c:pt idx="3883">
                  <c:v>1.0272181E-2</c:v>
                </c:pt>
                <c:pt idx="3884">
                  <c:v>1.0273730999999999E-2</c:v>
                </c:pt>
                <c:pt idx="3885">
                  <c:v>1.0314129999999999E-2</c:v>
                </c:pt>
                <c:pt idx="3886">
                  <c:v>1.0334174E-2</c:v>
                </c:pt>
                <c:pt idx="3887">
                  <c:v>1.0411640999999999E-2</c:v>
                </c:pt>
                <c:pt idx="3888">
                  <c:v>1.0505861999999999E-2</c:v>
                </c:pt>
                <c:pt idx="3889">
                  <c:v>1.0515900999999999E-2</c:v>
                </c:pt>
                <c:pt idx="3890">
                  <c:v>1.0575754999999999E-2</c:v>
                </c:pt>
                <c:pt idx="3891">
                  <c:v>1.0621194E-2</c:v>
                </c:pt>
                <c:pt idx="3892">
                  <c:v>1.0613256E-2</c:v>
                </c:pt>
                <c:pt idx="3893">
                  <c:v>1.0772906E-2</c:v>
                </c:pt>
                <c:pt idx="3894">
                  <c:v>1.0756006E-2</c:v>
                </c:pt>
                <c:pt idx="3895">
                  <c:v>1.0891058E-2</c:v>
                </c:pt>
                <c:pt idx="3896">
                  <c:v>1.0891362E-2</c:v>
                </c:pt>
                <c:pt idx="3897">
                  <c:v>1.0891885E-2</c:v>
                </c:pt>
                <c:pt idx="3898">
                  <c:v>1.0917888000000001E-2</c:v>
                </c:pt>
                <c:pt idx="3899">
                  <c:v>1.0925205E-2</c:v>
                </c:pt>
                <c:pt idx="3900">
                  <c:v>1.1003117999999999E-2</c:v>
                </c:pt>
                <c:pt idx="3901">
                  <c:v>1.10288E-2</c:v>
                </c:pt>
                <c:pt idx="3902">
                  <c:v>1.1029082000000001E-2</c:v>
                </c:pt>
                <c:pt idx="3903">
                  <c:v>1.1022351999999999E-2</c:v>
                </c:pt>
                <c:pt idx="3904">
                  <c:v>1.0998463E-2</c:v>
                </c:pt>
                <c:pt idx="3905">
                  <c:v>1.1028052E-2</c:v>
                </c:pt>
                <c:pt idx="3906">
                  <c:v>1.1018279000000001E-2</c:v>
                </c:pt>
                <c:pt idx="3907">
                  <c:v>1.1027123999999999E-2</c:v>
                </c:pt>
                <c:pt idx="3908">
                  <c:v>1.1020665000000001E-2</c:v>
                </c:pt>
                <c:pt idx="3909">
                  <c:v>1.1055683E-2</c:v>
                </c:pt>
                <c:pt idx="3910">
                  <c:v>1.105182E-2</c:v>
                </c:pt>
                <c:pt idx="3911">
                  <c:v>1.0929058E-2</c:v>
                </c:pt>
                <c:pt idx="3912">
                  <c:v>1.0986394999999999E-2</c:v>
                </c:pt>
                <c:pt idx="3913">
                  <c:v>1.0667532E-2</c:v>
                </c:pt>
                <c:pt idx="3914">
                  <c:v>1.0669042E-2</c:v>
                </c:pt>
                <c:pt idx="3915">
                  <c:v>1.0614144000000001E-2</c:v>
                </c:pt>
                <c:pt idx="3916">
                  <c:v>1.0632945E-2</c:v>
                </c:pt>
                <c:pt idx="3917">
                  <c:v>1.0802634E-2</c:v>
                </c:pt>
                <c:pt idx="3918">
                  <c:v>1.0933551999999999E-2</c:v>
                </c:pt>
                <c:pt idx="3919">
                  <c:v>1.0956822E-2</c:v>
                </c:pt>
                <c:pt idx="3920">
                  <c:v>1.098474E-2</c:v>
                </c:pt>
                <c:pt idx="3921">
                  <c:v>1.1012724E-2</c:v>
                </c:pt>
                <c:pt idx="3922">
                  <c:v>1.1001616000000001E-2</c:v>
                </c:pt>
                <c:pt idx="3923">
                  <c:v>1.0957064000000001E-2</c:v>
                </c:pt>
                <c:pt idx="3924">
                  <c:v>1.0995288000000001E-2</c:v>
                </c:pt>
                <c:pt idx="3925">
                  <c:v>1.0885389000000001E-2</c:v>
                </c:pt>
                <c:pt idx="3926">
                  <c:v>1.0884201E-2</c:v>
                </c:pt>
                <c:pt idx="3927">
                  <c:v>1.0887528E-2</c:v>
                </c:pt>
                <c:pt idx="3928">
                  <c:v>1.0880845E-2</c:v>
                </c:pt>
                <c:pt idx="3929">
                  <c:v>1.0844599999999999E-2</c:v>
                </c:pt>
                <c:pt idx="3930">
                  <c:v>1.1314441E-2</c:v>
                </c:pt>
                <c:pt idx="3931">
                  <c:v>1.1256973999999999E-2</c:v>
                </c:pt>
                <c:pt idx="3932">
                  <c:v>1.1300697E-2</c:v>
                </c:pt>
                <c:pt idx="3933">
                  <c:v>1.1272795E-2</c:v>
                </c:pt>
                <c:pt idx="3934">
                  <c:v>1.132875E-2</c:v>
                </c:pt>
                <c:pt idx="3935">
                  <c:v>1.1346182E-2</c:v>
                </c:pt>
                <c:pt idx="3936">
                  <c:v>1.1477299E-2</c:v>
                </c:pt>
                <c:pt idx="3937">
                  <c:v>1.1433431000000001E-2</c:v>
                </c:pt>
                <c:pt idx="3938">
                  <c:v>1.1663526E-2</c:v>
                </c:pt>
                <c:pt idx="3939">
                  <c:v>1.1946633999999999E-2</c:v>
                </c:pt>
                <c:pt idx="3940">
                  <c:v>1.1864273999999999E-2</c:v>
                </c:pt>
                <c:pt idx="3941">
                  <c:v>1.1894362E-2</c:v>
                </c:pt>
                <c:pt idx="3942">
                  <c:v>1.1889478E-2</c:v>
                </c:pt>
                <c:pt idx="3943">
                  <c:v>1.1908948000000001E-2</c:v>
                </c:pt>
                <c:pt idx="3944">
                  <c:v>1.2190163E-2</c:v>
                </c:pt>
                <c:pt idx="3945">
                  <c:v>1.2170446E-2</c:v>
                </c:pt>
                <c:pt idx="3946">
                  <c:v>1.2243505E-2</c:v>
                </c:pt>
                <c:pt idx="3947">
                  <c:v>1.2423529000000001E-2</c:v>
                </c:pt>
                <c:pt idx="3948">
                  <c:v>1.2418762E-2</c:v>
                </c:pt>
                <c:pt idx="3949">
                  <c:v>1.2424088E-2</c:v>
                </c:pt>
                <c:pt idx="3950">
                  <c:v>1.2401362000000001E-2</c:v>
                </c:pt>
                <c:pt idx="3951">
                  <c:v>1.2405319E-2</c:v>
                </c:pt>
                <c:pt idx="3952">
                  <c:v>1.2387674E-2</c:v>
                </c:pt>
                <c:pt idx="3953">
                  <c:v>1.2519819E-2</c:v>
                </c:pt>
                <c:pt idx="3954">
                  <c:v>1.2498996E-2</c:v>
                </c:pt>
                <c:pt idx="3955">
                  <c:v>1.2550753E-2</c:v>
                </c:pt>
                <c:pt idx="3956">
                  <c:v>1.2547104E-2</c:v>
                </c:pt>
                <c:pt idx="3957">
                  <c:v>1.257495E-2</c:v>
                </c:pt>
                <c:pt idx="3958">
                  <c:v>1.2566888E-2</c:v>
                </c:pt>
                <c:pt idx="3959">
                  <c:v>1.2475435999999999E-2</c:v>
                </c:pt>
                <c:pt idx="3960">
                  <c:v>1.2449435999999999E-2</c:v>
                </c:pt>
                <c:pt idx="3961">
                  <c:v>1.2550837E-2</c:v>
                </c:pt>
                <c:pt idx="3962">
                  <c:v>1.2682682000000001E-2</c:v>
                </c:pt>
                <c:pt idx="3963">
                  <c:v>1.2732555E-2</c:v>
                </c:pt>
                <c:pt idx="3964">
                  <c:v>1.2766803E-2</c:v>
                </c:pt>
                <c:pt idx="3965">
                  <c:v>1.2824507000000001E-2</c:v>
                </c:pt>
                <c:pt idx="3966">
                  <c:v>1.2730775E-2</c:v>
                </c:pt>
                <c:pt idx="3967">
                  <c:v>1.2935669E-2</c:v>
                </c:pt>
                <c:pt idx="3968">
                  <c:v>1.2339932E-2</c:v>
                </c:pt>
                <c:pt idx="3969">
                  <c:v>1.2277880999999999E-2</c:v>
                </c:pt>
                <c:pt idx="3970">
                  <c:v>1.2226557000000001E-2</c:v>
                </c:pt>
                <c:pt idx="3971">
                  <c:v>1.2375305E-2</c:v>
                </c:pt>
                <c:pt idx="3972">
                  <c:v>1.2196589000000001E-2</c:v>
                </c:pt>
                <c:pt idx="3973">
                  <c:v>1.2237503E-2</c:v>
                </c:pt>
                <c:pt idx="3974">
                  <c:v>1.2237738E-2</c:v>
                </c:pt>
                <c:pt idx="3975">
                  <c:v>1.2316471000000001E-2</c:v>
                </c:pt>
                <c:pt idx="3976">
                  <c:v>1.2304707E-2</c:v>
                </c:pt>
                <c:pt idx="3977">
                  <c:v>1.2292677E-2</c:v>
                </c:pt>
                <c:pt idx="3978">
                  <c:v>1.2281851999999999E-2</c:v>
                </c:pt>
                <c:pt idx="3979">
                  <c:v>1.2503054E-2</c:v>
                </c:pt>
                <c:pt idx="3980">
                  <c:v>1.2442435E-2</c:v>
                </c:pt>
                <c:pt idx="3981">
                  <c:v>1.2432818999999999E-2</c:v>
                </c:pt>
                <c:pt idx="3982">
                  <c:v>1.2414264E-2</c:v>
                </c:pt>
                <c:pt idx="3983">
                  <c:v>1.2388424E-2</c:v>
                </c:pt>
                <c:pt idx="3984">
                  <c:v>1.2376188999999999E-2</c:v>
                </c:pt>
                <c:pt idx="3985">
                  <c:v>1.2428272000000001E-2</c:v>
                </c:pt>
                <c:pt idx="3986">
                  <c:v>1.253547E-2</c:v>
                </c:pt>
                <c:pt idx="3987">
                  <c:v>1.2543719E-2</c:v>
                </c:pt>
                <c:pt idx="3988">
                  <c:v>1.2536245999999999E-2</c:v>
                </c:pt>
                <c:pt idx="3989">
                  <c:v>1.2577725999999999E-2</c:v>
                </c:pt>
                <c:pt idx="3990">
                  <c:v>1.2575127E-2</c:v>
                </c:pt>
                <c:pt idx="3991">
                  <c:v>1.2581765E-2</c:v>
                </c:pt>
                <c:pt idx="3992">
                  <c:v>1.2612626E-2</c:v>
                </c:pt>
                <c:pt idx="3993">
                  <c:v>1.2362989E-2</c:v>
                </c:pt>
                <c:pt idx="3994">
                  <c:v>1.2388634000000001E-2</c:v>
                </c:pt>
                <c:pt idx="3995">
                  <c:v>1.2509757E-2</c:v>
                </c:pt>
                <c:pt idx="3996">
                  <c:v>1.2484772999999999E-2</c:v>
                </c:pt>
                <c:pt idx="3997">
                  <c:v>1.2413291E-2</c:v>
                </c:pt>
                <c:pt idx="3998">
                  <c:v>1.2734659000000001E-2</c:v>
                </c:pt>
                <c:pt idx="3999">
                  <c:v>1.2754122999999999E-2</c:v>
                </c:pt>
                <c:pt idx="4000">
                  <c:v>1.2793413E-2</c:v>
                </c:pt>
                <c:pt idx="4001">
                  <c:v>1.2796022000000001E-2</c:v>
                </c:pt>
                <c:pt idx="4002">
                  <c:v>1.2837816E-2</c:v>
                </c:pt>
                <c:pt idx="4003">
                  <c:v>1.3293579999999999E-2</c:v>
                </c:pt>
                <c:pt idx="4004">
                  <c:v>1.3287869000000001E-2</c:v>
                </c:pt>
                <c:pt idx="4005">
                  <c:v>1.3264270999999999E-2</c:v>
                </c:pt>
                <c:pt idx="4006">
                  <c:v>1.3953709999999999E-2</c:v>
                </c:pt>
                <c:pt idx="4007">
                  <c:v>1.3971526999999999E-2</c:v>
                </c:pt>
                <c:pt idx="4008">
                  <c:v>1.3956332E-2</c:v>
                </c:pt>
                <c:pt idx="4009">
                  <c:v>1.3957713E-2</c:v>
                </c:pt>
                <c:pt idx="4010">
                  <c:v>1.3917015E-2</c:v>
                </c:pt>
                <c:pt idx="4011">
                  <c:v>1.4024438E-2</c:v>
                </c:pt>
                <c:pt idx="4012">
                  <c:v>1.4305863E-2</c:v>
                </c:pt>
                <c:pt idx="4013">
                  <c:v>1.4722086000000001E-2</c:v>
                </c:pt>
                <c:pt idx="4014">
                  <c:v>1.4904459E-2</c:v>
                </c:pt>
                <c:pt idx="4015">
                  <c:v>1.4816777E-2</c:v>
                </c:pt>
                <c:pt idx="4016">
                  <c:v>1.4818968E-2</c:v>
                </c:pt>
                <c:pt idx="4017">
                  <c:v>1.4823477999999999E-2</c:v>
                </c:pt>
                <c:pt idx="4018">
                  <c:v>1.5041718000000001E-2</c:v>
                </c:pt>
                <c:pt idx="4019">
                  <c:v>1.5082234999999999E-2</c:v>
                </c:pt>
                <c:pt idx="4020">
                  <c:v>1.5066178E-2</c:v>
                </c:pt>
                <c:pt idx="4021">
                  <c:v>1.5040173E-2</c:v>
                </c:pt>
                <c:pt idx="4022">
                  <c:v>1.5408355E-2</c:v>
                </c:pt>
                <c:pt idx="4023">
                  <c:v>1.5408414E-2</c:v>
                </c:pt>
                <c:pt idx="4024">
                  <c:v>1.541033E-2</c:v>
                </c:pt>
                <c:pt idx="4025">
                  <c:v>1.5384725E-2</c:v>
                </c:pt>
                <c:pt idx="4026">
                  <c:v>1.5377093999999999E-2</c:v>
                </c:pt>
                <c:pt idx="4027">
                  <c:v>1.5409009E-2</c:v>
                </c:pt>
                <c:pt idx="4028">
                  <c:v>1.5449308E-2</c:v>
                </c:pt>
                <c:pt idx="4029">
                  <c:v>1.5449078E-2</c:v>
                </c:pt>
                <c:pt idx="4030">
                  <c:v>1.5457821E-2</c:v>
                </c:pt>
                <c:pt idx="4031">
                  <c:v>1.5503968E-2</c:v>
                </c:pt>
                <c:pt idx="4032">
                  <c:v>1.5476393E-2</c:v>
                </c:pt>
                <c:pt idx="4033">
                  <c:v>1.5510318E-2</c:v>
                </c:pt>
                <c:pt idx="4034">
                  <c:v>1.5641043E-2</c:v>
                </c:pt>
                <c:pt idx="4035">
                  <c:v>1.5636134999999999E-2</c:v>
                </c:pt>
                <c:pt idx="4036">
                  <c:v>1.5627122E-2</c:v>
                </c:pt>
                <c:pt idx="4037">
                  <c:v>1.5636945999999999E-2</c:v>
                </c:pt>
                <c:pt idx="4038">
                  <c:v>1.5500496000000001E-2</c:v>
                </c:pt>
                <c:pt idx="4039">
                  <c:v>1.5487855E-2</c:v>
                </c:pt>
                <c:pt idx="4040">
                  <c:v>1.5512092E-2</c:v>
                </c:pt>
                <c:pt idx="4041">
                  <c:v>1.5512148E-2</c:v>
                </c:pt>
                <c:pt idx="4042">
                  <c:v>1.5556037E-2</c:v>
                </c:pt>
                <c:pt idx="4043">
                  <c:v>1.5780044E-2</c:v>
                </c:pt>
                <c:pt idx="4044">
                  <c:v>1.5743178E-2</c:v>
                </c:pt>
                <c:pt idx="4045">
                  <c:v>1.5746138E-2</c:v>
                </c:pt>
                <c:pt idx="4046">
                  <c:v>1.5809297999999999E-2</c:v>
                </c:pt>
                <c:pt idx="4047">
                  <c:v>1.5791177E-2</c:v>
                </c:pt>
                <c:pt idx="4048">
                  <c:v>1.5816927000000001E-2</c:v>
                </c:pt>
                <c:pt idx="4049">
                  <c:v>1.5823436E-2</c:v>
                </c:pt>
                <c:pt idx="4050">
                  <c:v>1.5507926999999999E-2</c:v>
                </c:pt>
                <c:pt idx="4051">
                  <c:v>1.5574051E-2</c:v>
                </c:pt>
                <c:pt idx="4052">
                  <c:v>1.5610463999999999E-2</c:v>
                </c:pt>
                <c:pt idx="4053">
                  <c:v>1.5602356E-2</c:v>
                </c:pt>
                <c:pt idx="4054">
                  <c:v>1.5584265999999999E-2</c:v>
                </c:pt>
                <c:pt idx="4055">
                  <c:v>1.5602358E-2</c:v>
                </c:pt>
                <c:pt idx="4056">
                  <c:v>1.5511560000000001E-2</c:v>
                </c:pt>
                <c:pt idx="4057">
                  <c:v>1.5523347999999999E-2</c:v>
                </c:pt>
                <c:pt idx="4058">
                  <c:v>1.5338890000000001E-2</c:v>
                </c:pt>
                <c:pt idx="4059">
                  <c:v>1.5121383E-2</c:v>
                </c:pt>
                <c:pt idx="4060">
                  <c:v>1.5125329999999999E-2</c:v>
                </c:pt>
                <c:pt idx="4061">
                  <c:v>1.5084609000000001E-2</c:v>
                </c:pt>
                <c:pt idx="4062">
                  <c:v>1.5092644000000001E-2</c:v>
                </c:pt>
                <c:pt idx="4063">
                  <c:v>1.5121585E-2</c:v>
                </c:pt>
                <c:pt idx="4064">
                  <c:v>1.4890494000000001E-2</c:v>
                </c:pt>
                <c:pt idx="4065">
                  <c:v>1.5060407E-2</c:v>
                </c:pt>
                <c:pt idx="4066">
                  <c:v>1.4998773999999999E-2</c:v>
                </c:pt>
                <c:pt idx="4067">
                  <c:v>1.4858441999999999E-2</c:v>
                </c:pt>
                <c:pt idx="4068">
                  <c:v>1.4887922E-2</c:v>
                </c:pt>
                <c:pt idx="4069">
                  <c:v>1.4881401000000001E-2</c:v>
                </c:pt>
                <c:pt idx="4070">
                  <c:v>1.4891178E-2</c:v>
                </c:pt>
                <c:pt idx="4071">
                  <c:v>1.4903240999999999E-2</c:v>
                </c:pt>
                <c:pt idx="4072">
                  <c:v>1.5018804E-2</c:v>
                </c:pt>
                <c:pt idx="4073">
                  <c:v>1.4912419999999999E-2</c:v>
                </c:pt>
                <c:pt idx="4074">
                  <c:v>1.488807E-2</c:v>
                </c:pt>
                <c:pt idx="4075">
                  <c:v>1.4911627E-2</c:v>
                </c:pt>
                <c:pt idx="4076">
                  <c:v>1.4923501E-2</c:v>
                </c:pt>
                <c:pt idx="4077">
                  <c:v>1.4934591000000001E-2</c:v>
                </c:pt>
                <c:pt idx="4078">
                  <c:v>1.4931563E-2</c:v>
                </c:pt>
                <c:pt idx="4079">
                  <c:v>1.4943438999999999E-2</c:v>
                </c:pt>
                <c:pt idx="4080">
                  <c:v>1.4965282E-2</c:v>
                </c:pt>
                <c:pt idx="4081">
                  <c:v>1.4858961E-2</c:v>
                </c:pt>
                <c:pt idx="4082">
                  <c:v>1.4727186E-2</c:v>
                </c:pt>
                <c:pt idx="4083">
                  <c:v>1.4668280000000001E-2</c:v>
                </c:pt>
                <c:pt idx="4084">
                  <c:v>1.4656449E-2</c:v>
                </c:pt>
                <c:pt idx="4085">
                  <c:v>1.4473434E-2</c:v>
                </c:pt>
                <c:pt idx="4086">
                  <c:v>1.4494178E-2</c:v>
                </c:pt>
                <c:pt idx="4087">
                  <c:v>1.4329882E-2</c:v>
                </c:pt>
                <c:pt idx="4088">
                  <c:v>1.4444231E-2</c:v>
                </c:pt>
                <c:pt idx="4089">
                  <c:v>1.4439441000000001E-2</c:v>
                </c:pt>
                <c:pt idx="4090">
                  <c:v>1.4534276E-2</c:v>
                </c:pt>
                <c:pt idx="4091">
                  <c:v>1.4646447E-2</c:v>
                </c:pt>
                <c:pt idx="4092">
                  <c:v>1.4640525999999999E-2</c:v>
                </c:pt>
                <c:pt idx="4093">
                  <c:v>1.457891E-2</c:v>
                </c:pt>
                <c:pt idx="4094">
                  <c:v>1.4546330999999999E-2</c:v>
                </c:pt>
                <c:pt idx="4095">
                  <c:v>1.4594200999999999E-2</c:v>
                </c:pt>
                <c:pt idx="4096">
                  <c:v>1.5491573E-2</c:v>
                </c:pt>
                <c:pt idx="4097">
                  <c:v>1.5535469999999999E-2</c:v>
                </c:pt>
                <c:pt idx="4098">
                  <c:v>1.5537102000000001E-2</c:v>
                </c:pt>
                <c:pt idx="4099">
                  <c:v>1.5390994999999999E-2</c:v>
                </c:pt>
                <c:pt idx="4100">
                  <c:v>1.5508421999999999E-2</c:v>
                </c:pt>
                <c:pt idx="4101">
                  <c:v>1.5534041E-2</c:v>
                </c:pt>
                <c:pt idx="4102">
                  <c:v>1.5504034999999999E-2</c:v>
                </c:pt>
                <c:pt idx="4103">
                  <c:v>1.5508126000000001E-2</c:v>
                </c:pt>
                <c:pt idx="4104">
                  <c:v>1.5536701999999999E-2</c:v>
                </c:pt>
                <c:pt idx="4105">
                  <c:v>1.5958656000000002E-2</c:v>
                </c:pt>
                <c:pt idx="4106">
                  <c:v>1.5939256999999998E-2</c:v>
                </c:pt>
                <c:pt idx="4107">
                  <c:v>1.5910764000000001E-2</c:v>
                </c:pt>
                <c:pt idx="4108">
                  <c:v>1.5931289000000001E-2</c:v>
                </c:pt>
                <c:pt idx="4109">
                  <c:v>1.5883041000000001E-2</c:v>
                </c:pt>
                <c:pt idx="4110">
                  <c:v>1.5914470999999999E-2</c:v>
                </c:pt>
                <c:pt idx="4111">
                  <c:v>1.6083733999999999E-2</c:v>
                </c:pt>
                <c:pt idx="4112">
                  <c:v>1.6071081000000001E-2</c:v>
                </c:pt>
                <c:pt idx="4113">
                  <c:v>1.6071330000000002E-2</c:v>
                </c:pt>
                <c:pt idx="4114">
                  <c:v>1.6027514999999999E-2</c:v>
                </c:pt>
                <c:pt idx="4115">
                  <c:v>1.5938689999999998E-2</c:v>
                </c:pt>
                <c:pt idx="4116">
                  <c:v>1.6068011E-2</c:v>
                </c:pt>
                <c:pt idx="4117">
                  <c:v>1.6107193999999998E-2</c:v>
                </c:pt>
                <c:pt idx="4118">
                  <c:v>1.5916234000000001E-2</c:v>
                </c:pt>
                <c:pt idx="4119">
                  <c:v>1.5896786E-2</c:v>
                </c:pt>
                <c:pt idx="4120">
                  <c:v>1.6227318000000001E-2</c:v>
                </c:pt>
                <c:pt idx="4121">
                  <c:v>1.6378054E-2</c:v>
                </c:pt>
                <c:pt idx="4122">
                  <c:v>1.6357901000000001E-2</c:v>
                </c:pt>
                <c:pt idx="4123">
                  <c:v>1.5853091E-2</c:v>
                </c:pt>
                <c:pt idx="4124">
                  <c:v>1.5869378E-2</c:v>
                </c:pt>
                <c:pt idx="4125">
                  <c:v>1.5867681000000002E-2</c:v>
                </c:pt>
                <c:pt idx="4126">
                  <c:v>1.5160119E-2</c:v>
                </c:pt>
                <c:pt idx="4127">
                  <c:v>1.5115757E-2</c:v>
                </c:pt>
                <c:pt idx="4128">
                  <c:v>1.5202121000000001E-2</c:v>
                </c:pt>
                <c:pt idx="4129">
                  <c:v>1.5178179999999999E-2</c:v>
                </c:pt>
                <c:pt idx="4130">
                  <c:v>1.5182721E-2</c:v>
                </c:pt>
                <c:pt idx="4131">
                  <c:v>1.5167262000000001E-2</c:v>
                </c:pt>
                <c:pt idx="4132">
                  <c:v>1.4965325999999999E-2</c:v>
                </c:pt>
                <c:pt idx="4133">
                  <c:v>1.4513094000000001E-2</c:v>
                </c:pt>
                <c:pt idx="4134">
                  <c:v>1.4297796E-2</c:v>
                </c:pt>
                <c:pt idx="4135">
                  <c:v>1.4485642999999999E-2</c:v>
                </c:pt>
                <c:pt idx="4136">
                  <c:v>1.4489339E-2</c:v>
                </c:pt>
                <c:pt idx="4137">
                  <c:v>1.4468831999999999E-2</c:v>
                </c:pt>
                <c:pt idx="4138">
                  <c:v>1.4321784000000001E-2</c:v>
                </c:pt>
                <c:pt idx="4139">
                  <c:v>1.4368305E-2</c:v>
                </c:pt>
                <c:pt idx="4140">
                  <c:v>1.4325793999999999E-2</c:v>
                </c:pt>
                <c:pt idx="4141">
                  <c:v>1.4317362E-2</c:v>
                </c:pt>
                <c:pt idx="4142">
                  <c:v>1.5075534999999999E-2</c:v>
                </c:pt>
                <c:pt idx="4143">
                  <c:v>1.5072171000000001E-2</c:v>
                </c:pt>
                <c:pt idx="4144">
                  <c:v>1.512464E-2</c:v>
                </c:pt>
                <c:pt idx="4145">
                  <c:v>1.5215525000000001E-2</c:v>
                </c:pt>
                <c:pt idx="4146">
                  <c:v>1.5538319E-2</c:v>
                </c:pt>
                <c:pt idx="4147">
                  <c:v>1.5560618E-2</c:v>
                </c:pt>
                <c:pt idx="4148">
                  <c:v>1.5545369E-2</c:v>
                </c:pt>
                <c:pt idx="4149">
                  <c:v>1.5644132000000002E-2</c:v>
                </c:pt>
                <c:pt idx="4150">
                  <c:v>1.5612664E-2</c:v>
                </c:pt>
                <c:pt idx="4151">
                  <c:v>1.5776973E-2</c:v>
                </c:pt>
                <c:pt idx="4152">
                  <c:v>1.5796955000000001E-2</c:v>
                </c:pt>
                <c:pt idx="4153">
                  <c:v>1.5810248999999998E-2</c:v>
                </c:pt>
                <c:pt idx="4154">
                  <c:v>1.5660461000000001E-2</c:v>
                </c:pt>
                <c:pt idx="4155">
                  <c:v>1.5756893000000001E-2</c:v>
                </c:pt>
                <c:pt idx="4156">
                  <c:v>1.5752064999999999E-2</c:v>
                </c:pt>
                <c:pt idx="4157">
                  <c:v>1.5637381999999998E-2</c:v>
                </c:pt>
                <c:pt idx="4158">
                  <c:v>1.5654992E-2</c:v>
                </c:pt>
                <c:pt idx="4159">
                  <c:v>1.5656645E-2</c:v>
                </c:pt>
                <c:pt idx="4160">
                  <c:v>1.563289E-2</c:v>
                </c:pt>
                <c:pt idx="4161">
                  <c:v>1.5583268000000001E-2</c:v>
                </c:pt>
                <c:pt idx="4162">
                  <c:v>1.5556715E-2</c:v>
                </c:pt>
                <c:pt idx="4163">
                  <c:v>1.5395089000000001E-2</c:v>
                </c:pt>
                <c:pt idx="4164">
                  <c:v>1.5395041E-2</c:v>
                </c:pt>
                <c:pt idx="4165">
                  <c:v>1.5412888E-2</c:v>
                </c:pt>
                <c:pt idx="4166">
                  <c:v>1.5309949999999999E-2</c:v>
                </c:pt>
                <c:pt idx="4167">
                  <c:v>1.5529937000000001E-2</c:v>
                </c:pt>
                <c:pt idx="4168">
                  <c:v>1.5506076000000001E-2</c:v>
                </c:pt>
                <c:pt idx="4169">
                  <c:v>1.5505026999999999E-2</c:v>
                </c:pt>
                <c:pt idx="4170">
                  <c:v>1.5528423E-2</c:v>
                </c:pt>
                <c:pt idx="4171">
                  <c:v>1.5473804000000001E-2</c:v>
                </c:pt>
                <c:pt idx="4172">
                  <c:v>1.538723E-2</c:v>
                </c:pt>
                <c:pt idx="4173">
                  <c:v>1.542312E-2</c:v>
                </c:pt>
                <c:pt idx="4174">
                  <c:v>1.5601945000000001E-2</c:v>
                </c:pt>
                <c:pt idx="4175">
                  <c:v>1.5551097999999999E-2</c:v>
                </c:pt>
                <c:pt idx="4176">
                  <c:v>1.5526518E-2</c:v>
                </c:pt>
                <c:pt idx="4177">
                  <c:v>1.5511954999999999E-2</c:v>
                </c:pt>
                <c:pt idx="4178">
                  <c:v>1.5515396000000001E-2</c:v>
                </c:pt>
                <c:pt idx="4179">
                  <c:v>1.5514708E-2</c:v>
                </c:pt>
                <c:pt idx="4180">
                  <c:v>1.5506433E-2</c:v>
                </c:pt>
                <c:pt idx="4181">
                  <c:v>1.5682385E-2</c:v>
                </c:pt>
                <c:pt idx="4182">
                  <c:v>1.5678065000000001E-2</c:v>
                </c:pt>
                <c:pt idx="4183">
                  <c:v>1.5657549999999999E-2</c:v>
                </c:pt>
                <c:pt idx="4184">
                  <c:v>1.5668725000000001E-2</c:v>
                </c:pt>
                <c:pt idx="4185">
                  <c:v>1.5546459E-2</c:v>
                </c:pt>
                <c:pt idx="4186">
                  <c:v>1.5715983999999999E-2</c:v>
                </c:pt>
                <c:pt idx="4187">
                  <c:v>1.5716832999999999E-2</c:v>
                </c:pt>
                <c:pt idx="4188">
                  <c:v>1.5701724E-2</c:v>
                </c:pt>
                <c:pt idx="4189">
                  <c:v>1.5699445999999999E-2</c:v>
                </c:pt>
                <c:pt idx="4190">
                  <c:v>1.5696874999999999E-2</c:v>
                </c:pt>
                <c:pt idx="4191">
                  <c:v>1.5668456000000001E-2</c:v>
                </c:pt>
                <c:pt idx="4192">
                  <c:v>1.5594861999999999E-2</c:v>
                </c:pt>
                <c:pt idx="4193">
                  <c:v>1.5595634000000001E-2</c:v>
                </c:pt>
                <c:pt idx="4194">
                  <c:v>1.5615603E-2</c:v>
                </c:pt>
                <c:pt idx="4195">
                  <c:v>1.5563380999999999E-2</c:v>
                </c:pt>
                <c:pt idx="4196">
                  <c:v>1.5578092999999999E-2</c:v>
                </c:pt>
                <c:pt idx="4197">
                  <c:v>1.5518483E-2</c:v>
                </c:pt>
                <c:pt idx="4198">
                  <c:v>1.5527667E-2</c:v>
                </c:pt>
                <c:pt idx="4199">
                  <c:v>1.553481E-2</c:v>
                </c:pt>
                <c:pt idx="4200">
                  <c:v>1.5523495999999999E-2</c:v>
                </c:pt>
                <c:pt idx="4201">
                  <c:v>1.5524596E-2</c:v>
                </c:pt>
                <c:pt idx="4202">
                  <c:v>1.5525677E-2</c:v>
                </c:pt>
                <c:pt idx="4203">
                  <c:v>1.55315E-2</c:v>
                </c:pt>
                <c:pt idx="4204">
                  <c:v>1.5536414E-2</c:v>
                </c:pt>
                <c:pt idx="4205">
                  <c:v>1.5562111E-2</c:v>
                </c:pt>
                <c:pt idx="4206">
                  <c:v>1.5596179E-2</c:v>
                </c:pt>
                <c:pt idx="4207">
                  <c:v>1.5621256E-2</c:v>
                </c:pt>
                <c:pt idx="4208">
                  <c:v>1.5527922E-2</c:v>
                </c:pt>
                <c:pt idx="4209">
                  <c:v>1.5570238E-2</c:v>
                </c:pt>
                <c:pt idx="4210">
                  <c:v>1.5497083E-2</c:v>
                </c:pt>
                <c:pt idx="4211">
                  <c:v>1.5317571E-2</c:v>
                </c:pt>
                <c:pt idx="4212">
                  <c:v>1.5341420999999999E-2</c:v>
                </c:pt>
                <c:pt idx="4213">
                  <c:v>1.5343265E-2</c:v>
                </c:pt>
                <c:pt idx="4214">
                  <c:v>1.5342221E-2</c:v>
                </c:pt>
                <c:pt idx="4215">
                  <c:v>1.5216756E-2</c:v>
                </c:pt>
                <c:pt idx="4216">
                  <c:v>1.4406675000000001E-2</c:v>
                </c:pt>
                <c:pt idx="4217">
                  <c:v>1.4363066000000001E-2</c:v>
                </c:pt>
                <c:pt idx="4218">
                  <c:v>1.4362919E-2</c:v>
                </c:pt>
                <c:pt idx="4219">
                  <c:v>1.4363145000000001E-2</c:v>
                </c:pt>
                <c:pt idx="4220">
                  <c:v>1.4242347000000001E-2</c:v>
                </c:pt>
                <c:pt idx="4221">
                  <c:v>1.4264109000000001E-2</c:v>
                </c:pt>
                <c:pt idx="4222">
                  <c:v>1.4307795E-2</c:v>
                </c:pt>
                <c:pt idx="4223">
                  <c:v>1.4291036E-2</c:v>
                </c:pt>
                <c:pt idx="4224">
                  <c:v>1.4263542000000001E-2</c:v>
                </c:pt>
                <c:pt idx="4225">
                  <c:v>1.3769504E-2</c:v>
                </c:pt>
                <c:pt idx="4226">
                  <c:v>1.3702964E-2</c:v>
                </c:pt>
                <c:pt idx="4227">
                  <c:v>1.3690203E-2</c:v>
                </c:pt>
                <c:pt idx="4228">
                  <c:v>1.3687477E-2</c:v>
                </c:pt>
                <c:pt idx="4229">
                  <c:v>1.3699429000000001E-2</c:v>
                </c:pt>
                <c:pt idx="4230">
                  <c:v>1.3664004E-2</c:v>
                </c:pt>
                <c:pt idx="4231">
                  <c:v>1.3435657E-2</c:v>
                </c:pt>
                <c:pt idx="4232">
                  <c:v>1.3432481E-2</c:v>
                </c:pt>
                <c:pt idx="4233">
                  <c:v>1.3450673999999999E-2</c:v>
                </c:pt>
                <c:pt idx="4234">
                  <c:v>1.3484766E-2</c:v>
                </c:pt>
                <c:pt idx="4235">
                  <c:v>1.3489322E-2</c:v>
                </c:pt>
                <c:pt idx="4236">
                  <c:v>1.3397523E-2</c:v>
                </c:pt>
                <c:pt idx="4237">
                  <c:v>1.3360129E-2</c:v>
                </c:pt>
                <c:pt idx="4238">
                  <c:v>1.3324508000000001E-2</c:v>
                </c:pt>
                <c:pt idx="4239">
                  <c:v>1.3320192E-2</c:v>
                </c:pt>
                <c:pt idx="4240">
                  <c:v>1.2910611000000001E-2</c:v>
                </c:pt>
                <c:pt idx="4241">
                  <c:v>1.2691967E-2</c:v>
                </c:pt>
                <c:pt idx="4242">
                  <c:v>1.2710808000000001E-2</c:v>
                </c:pt>
                <c:pt idx="4243">
                  <c:v>1.2672956000000001E-2</c:v>
                </c:pt>
                <c:pt idx="4244">
                  <c:v>1.2641411E-2</c:v>
                </c:pt>
                <c:pt idx="4245">
                  <c:v>1.267097E-2</c:v>
                </c:pt>
                <c:pt idx="4246">
                  <c:v>1.2676995999999999E-2</c:v>
                </c:pt>
                <c:pt idx="4247">
                  <c:v>1.2675158000000001E-2</c:v>
                </c:pt>
                <c:pt idx="4248">
                  <c:v>1.254598E-2</c:v>
                </c:pt>
                <c:pt idx="4249">
                  <c:v>1.2576319000000001E-2</c:v>
                </c:pt>
                <c:pt idx="4250">
                  <c:v>1.2610849E-2</c:v>
                </c:pt>
                <c:pt idx="4251">
                  <c:v>1.236139E-2</c:v>
                </c:pt>
                <c:pt idx="4252">
                  <c:v>1.236455E-2</c:v>
                </c:pt>
                <c:pt idx="4253">
                  <c:v>1.2360958999999999E-2</c:v>
                </c:pt>
                <c:pt idx="4254">
                  <c:v>1.2375636000000001E-2</c:v>
                </c:pt>
                <c:pt idx="4255">
                  <c:v>1.2200051E-2</c:v>
                </c:pt>
                <c:pt idx="4256">
                  <c:v>1.2205346000000001E-2</c:v>
                </c:pt>
                <c:pt idx="4257">
                  <c:v>1.2214901E-2</c:v>
                </c:pt>
                <c:pt idx="4258">
                  <c:v>1.2048763000000001E-2</c:v>
                </c:pt>
                <c:pt idx="4259">
                  <c:v>1.2002588E-2</c:v>
                </c:pt>
                <c:pt idx="4260">
                  <c:v>1.2019949E-2</c:v>
                </c:pt>
                <c:pt idx="4261">
                  <c:v>1.2022372E-2</c:v>
                </c:pt>
                <c:pt idx="4262">
                  <c:v>1.0681001000000001E-2</c:v>
                </c:pt>
                <c:pt idx="4263">
                  <c:v>1.0647686E-2</c:v>
                </c:pt>
                <c:pt idx="4264">
                  <c:v>1.0664333E-2</c:v>
                </c:pt>
                <c:pt idx="4265">
                  <c:v>1.0528611E-2</c:v>
                </c:pt>
                <c:pt idx="4266">
                  <c:v>1.0041329E-2</c:v>
                </c:pt>
                <c:pt idx="4267">
                  <c:v>9.9261260000000004E-3</c:v>
                </c:pt>
                <c:pt idx="4268">
                  <c:v>9.9047839999999998E-3</c:v>
                </c:pt>
                <c:pt idx="4269">
                  <c:v>9.7176459999999999E-3</c:v>
                </c:pt>
                <c:pt idx="4270">
                  <c:v>9.8531020000000007E-3</c:v>
                </c:pt>
                <c:pt idx="4271">
                  <c:v>9.5556740000000001E-3</c:v>
                </c:pt>
                <c:pt idx="4272">
                  <c:v>9.5200990000000006E-3</c:v>
                </c:pt>
                <c:pt idx="4273">
                  <c:v>9.4470470000000001E-3</c:v>
                </c:pt>
                <c:pt idx="4274">
                  <c:v>9.4624900000000005E-3</c:v>
                </c:pt>
                <c:pt idx="4275">
                  <c:v>9.3299869999999997E-3</c:v>
                </c:pt>
                <c:pt idx="4276">
                  <c:v>9.3662520000000003E-3</c:v>
                </c:pt>
                <c:pt idx="4277">
                  <c:v>9.360162E-3</c:v>
                </c:pt>
                <c:pt idx="4278">
                  <c:v>9.3355699999999996E-3</c:v>
                </c:pt>
                <c:pt idx="4279">
                  <c:v>9.3834650000000006E-3</c:v>
                </c:pt>
                <c:pt idx="4280">
                  <c:v>9.384323E-3</c:v>
                </c:pt>
                <c:pt idx="4281">
                  <c:v>9.3820220000000003E-3</c:v>
                </c:pt>
                <c:pt idx="4282">
                  <c:v>9.3918600000000001E-3</c:v>
                </c:pt>
                <c:pt idx="4283">
                  <c:v>9.3556349999999993E-3</c:v>
                </c:pt>
                <c:pt idx="4284">
                  <c:v>9.3940099999999995E-3</c:v>
                </c:pt>
                <c:pt idx="4285">
                  <c:v>9.3533420000000006E-3</c:v>
                </c:pt>
                <c:pt idx="4286">
                  <c:v>9.2905639999999994E-3</c:v>
                </c:pt>
                <c:pt idx="4287">
                  <c:v>8.8967209999999998E-3</c:v>
                </c:pt>
                <c:pt idx="4288">
                  <c:v>8.8919389999999997E-3</c:v>
                </c:pt>
                <c:pt idx="4289">
                  <c:v>8.9042080000000003E-3</c:v>
                </c:pt>
                <c:pt idx="4290">
                  <c:v>8.8699199999999999E-3</c:v>
                </c:pt>
                <c:pt idx="4291">
                  <c:v>8.8700259999999996E-3</c:v>
                </c:pt>
                <c:pt idx="4292">
                  <c:v>8.8658599999999997E-3</c:v>
                </c:pt>
                <c:pt idx="4293">
                  <c:v>8.7955640000000005E-3</c:v>
                </c:pt>
                <c:pt idx="4294">
                  <c:v>8.5544169999999999E-3</c:v>
                </c:pt>
                <c:pt idx="4295">
                  <c:v>8.5639679999999999E-3</c:v>
                </c:pt>
                <c:pt idx="4296">
                  <c:v>8.6470869999999995E-3</c:v>
                </c:pt>
                <c:pt idx="4297">
                  <c:v>8.5925410000000004E-3</c:v>
                </c:pt>
                <c:pt idx="4298">
                  <c:v>8.5916310000000006E-3</c:v>
                </c:pt>
                <c:pt idx="4299">
                  <c:v>8.5450160000000008E-3</c:v>
                </c:pt>
                <c:pt idx="4300">
                  <c:v>8.6228469999999995E-3</c:v>
                </c:pt>
                <c:pt idx="4301">
                  <c:v>8.2465980000000008E-3</c:v>
                </c:pt>
                <c:pt idx="4302">
                  <c:v>8.2467800000000004E-3</c:v>
                </c:pt>
                <c:pt idx="4303">
                  <c:v>8.2185739999999993E-3</c:v>
                </c:pt>
                <c:pt idx="4304">
                  <c:v>8.2036090000000006E-3</c:v>
                </c:pt>
                <c:pt idx="4305">
                  <c:v>8.2967200000000005E-3</c:v>
                </c:pt>
                <c:pt idx="4306">
                  <c:v>8.004822E-3</c:v>
                </c:pt>
                <c:pt idx="4307">
                  <c:v>8.0850550000000007E-3</c:v>
                </c:pt>
                <c:pt idx="4308">
                  <c:v>8.0852319999999995E-3</c:v>
                </c:pt>
                <c:pt idx="4309">
                  <c:v>8.0951870000000002E-3</c:v>
                </c:pt>
                <c:pt idx="4310">
                  <c:v>8.1032250000000004E-3</c:v>
                </c:pt>
                <c:pt idx="4311">
                  <c:v>8.1748380000000002E-3</c:v>
                </c:pt>
                <c:pt idx="4312">
                  <c:v>8.2333979999999994E-3</c:v>
                </c:pt>
                <c:pt idx="4313">
                  <c:v>8.2330460000000008E-3</c:v>
                </c:pt>
                <c:pt idx="4314">
                  <c:v>8.2184560000000007E-3</c:v>
                </c:pt>
                <c:pt idx="4315">
                  <c:v>8.1804349999999998E-3</c:v>
                </c:pt>
                <c:pt idx="4316">
                  <c:v>8.1704380000000004E-3</c:v>
                </c:pt>
                <c:pt idx="4317">
                  <c:v>8.1824719999999997E-3</c:v>
                </c:pt>
                <c:pt idx="4318">
                  <c:v>8.1565140000000001E-3</c:v>
                </c:pt>
                <c:pt idx="4319">
                  <c:v>8.1512790000000009E-3</c:v>
                </c:pt>
                <c:pt idx="4320">
                  <c:v>8.3129740000000008E-3</c:v>
                </c:pt>
                <c:pt idx="4321">
                  <c:v>8.3185389999999998E-3</c:v>
                </c:pt>
                <c:pt idx="4322">
                  <c:v>8.8111639999999998E-3</c:v>
                </c:pt>
                <c:pt idx="4323">
                  <c:v>1.1556059E-2</c:v>
                </c:pt>
                <c:pt idx="4324">
                  <c:v>1.1779525000000001E-2</c:v>
                </c:pt>
                <c:pt idx="4325">
                  <c:v>1.1744887000000001E-2</c:v>
                </c:pt>
                <c:pt idx="4326">
                  <c:v>1.1723729E-2</c:v>
                </c:pt>
                <c:pt idx="4327">
                  <c:v>1.1677939E-2</c:v>
                </c:pt>
                <c:pt idx="4328">
                  <c:v>1.1674350999999999E-2</c:v>
                </c:pt>
                <c:pt idx="4329">
                  <c:v>1.1644936E-2</c:v>
                </c:pt>
                <c:pt idx="4330">
                  <c:v>1.1624791000000001E-2</c:v>
                </c:pt>
                <c:pt idx="4331">
                  <c:v>1.1534202E-2</c:v>
                </c:pt>
                <c:pt idx="4332">
                  <c:v>1.1514724E-2</c:v>
                </c:pt>
                <c:pt idx="4333">
                  <c:v>1.1676592E-2</c:v>
                </c:pt>
                <c:pt idx="4334">
                  <c:v>1.168637E-2</c:v>
                </c:pt>
                <c:pt idx="4335">
                  <c:v>1.1683298999999999E-2</c:v>
                </c:pt>
                <c:pt idx="4336">
                  <c:v>1.1703349E-2</c:v>
                </c:pt>
                <c:pt idx="4337">
                  <c:v>1.1702447E-2</c:v>
                </c:pt>
                <c:pt idx="4338">
                  <c:v>1.1708672E-2</c:v>
                </c:pt>
                <c:pt idx="4339">
                  <c:v>1.170964E-2</c:v>
                </c:pt>
                <c:pt idx="4340">
                  <c:v>1.1754862E-2</c:v>
                </c:pt>
                <c:pt idx="4341">
                  <c:v>1.1675082999999999E-2</c:v>
                </c:pt>
                <c:pt idx="4342">
                  <c:v>1.2088328000000001E-2</c:v>
                </c:pt>
                <c:pt idx="4343">
                  <c:v>1.2432230000000001E-2</c:v>
                </c:pt>
                <c:pt idx="4344">
                  <c:v>1.2434692000000001E-2</c:v>
                </c:pt>
                <c:pt idx="4345">
                  <c:v>1.2442429E-2</c:v>
                </c:pt>
                <c:pt idx="4346">
                  <c:v>1.2546696E-2</c:v>
                </c:pt>
                <c:pt idx="4347">
                  <c:v>1.2643145E-2</c:v>
                </c:pt>
                <c:pt idx="4348">
                  <c:v>1.3027431000000001E-2</c:v>
                </c:pt>
                <c:pt idx="4349">
                  <c:v>1.3137071E-2</c:v>
                </c:pt>
                <c:pt idx="4350">
                  <c:v>1.3186267999999999E-2</c:v>
                </c:pt>
                <c:pt idx="4351">
                  <c:v>1.3294976E-2</c:v>
                </c:pt>
                <c:pt idx="4352">
                  <c:v>1.3353949E-2</c:v>
                </c:pt>
                <c:pt idx="4353">
                  <c:v>1.3925488999999999E-2</c:v>
                </c:pt>
                <c:pt idx="4354">
                  <c:v>1.3893348E-2</c:v>
                </c:pt>
                <c:pt idx="4355">
                  <c:v>1.4003338000000001E-2</c:v>
                </c:pt>
                <c:pt idx="4356">
                  <c:v>1.3969904E-2</c:v>
                </c:pt>
                <c:pt idx="4357">
                  <c:v>1.4061709E-2</c:v>
                </c:pt>
                <c:pt idx="4358">
                  <c:v>1.4387532E-2</c:v>
                </c:pt>
                <c:pt idx="4359">
                  <c:v>1.4599449E-2</c:v>
                </c:pt>
                <c:pt idx="4360">
                  <c:v>1.4774232999999999E-2</c:v>
                </c:pt>
                <c:pt idx="4361">
                  <c:v>1.4782422E-2</c:v>
                </c:pt>
                <c:pt idx="4362">
                  <c:v>1.4770849000000001E-2</c:v>
                </c:pt>
                <c:pt idx="4363">
                  <c:v>1.4780369E-2</c:v>
                </c:pt>
                <c:pt idx="4364">
                  <c:v>1.4780931000000001E-2</c:v>
                </c:pt>
                <c:pt idx="4365">
                  <c:v>1.4756717000000001E-2</c:v>
                </c:pt>
                <c:pt idx="4366">
                  <c:v>1.4821004E-2</c:v>
                </c:pt>
                <c:pt idx="4367">
                  <c:v>1.4828647E-2</c:v>
                </c:pt>
                <c:pt idx="4368">
                  <c:v>1.4955670000000001E-2</c:v>
                </c:pt>
                <c:pt idx="4369">
                  <c:v>1.4934473E-2</c:v>
                </c:pt>
                <c:pt idx="4370">
                  <c:v>1.4904860000000001E-2</c:v>
                </c:pt>
                <c:pt idx="4371">
                  <c:v>1.4910253E-2</c:v>
                </c:pt>
                <c:pt idx="4372">
                  <c:v>1.4911785E-2</c:v>
                </c:pt>
                <c:pt idx="4373">
                  <c:v>1.5017295E-2</c:v>
                </c:pt>
                <c:pt idx="4374">
                  <c:v>1.4975982000000001E-2</c:v>
                </c:pt>
                <c:pt idx="4375">
                  <c:v>1.4973867E-2</c:v>
                </c:pt>
                <c:pt idx="4376">
                  <c:v>1.4996600000000001E-2</c:v>
                </c:pt>
                <c:pt idx="4377">
                  <c:v>1.4989315E-2</c:v>
                </c:pt>
                <c:pt idx="4378">
                  <c:v>1.5028079E-2</c:v>
                </c:pt>
                <c:pt idx="4379">
                  <c:v>1.5034308E-2</c:v>
                </c:pt>
                <c:pt idx="4380">
                  <c:v>1.5018904E-2</c:v>
                </c:pt>
                <c:pt idx="4381">
                  <c:v>1.5034132E-2</c:v>
                </c:pt>
                <c:pt idx="4382">
                  <c:v>1.5041594E-2</c:v>
                </c:pt>
                <c:pt idx="4383">
                  <c:v>1.5054941000000001E-2</c:v>
                </c:pt>
                <c:pt idx="4384">
                  <c:v>1.4981593E-2</c:v>
                </c:pt>
                <c:pt idx="4385">
                  <c:v>1.5008687999999999E-2</c:v>
                </c:pt>
                <c:pt idx="4386">
                  <c:v>1.5008143E-2</c:v>
                </c:pt>
                <c:pt idx="4387">
                  <c:v>1.5004956999999999E-2</c:v>
                </c:pt>
                <c:pt idx="4388">
                  <c:v>1.5031493E-2</c:v>
                </c:pt>
                <c:pt idx="4389">
                  <c:v>1.5025526000000001E-2</c:v>
                </c:pt>
                <c:pt idx="4390">
                  <c:v>1.4936355E-2</c:v>
                </c:pt>
                <c:pt idx="4391">
                  <c:v>1.4937361E-2</c:v>
                </c:pt>
                <c:pt idx="4392">
                  <c:v>1.4971038000000001E-2</c:v>
                </c:pt>
                <c:pt idx="4393">
                  <c:v>1.4973301E-2</c:v>
                </c:pt>
                <c:pt idx="4394">
                  <c:v>1.4959502E-2</c:v>
                </c:pt>
                <c:pt idx="4395">
                  <c:v>1.4961957E-2</c:v>
                </c:pt>
                <c:pt idx="4396">
                  <c:v>1.4942406E-2</c:v>
                </c:pt>
                <c:pt idx="4397">
                  <c:v>1.4922809E-2</c:v>
                </c:pt>
                <c:pt idx="4398">
                  <c:v>1.5066728999999999E-2</c:v>
                </c:pt>
                <c:pt idx="4399">
                  <c:v>1.5038615999999999E-2</c:v>
                </c:pt>
                <c:pt idx="4400">
                  <c:v>1.5059329999999999E-2</c:v>
                </c:pt>
                <c:pt idx="4401">
                  <c:v>1.5069482E-2</c:v>
                </c:pt>
                <c:pt idx="4402">
                  <c:v>1.5067287E-2</c:v>
                </c:pt>
                <c:pt idx="4403">
                  <c:v>1.5066052999999999E-2</c:v>
                </c:pt>
                <c:pt idx="4404">
                  <c:v>1.5238247E-2</c:v>
                </c:pt>
                <c:pt idx="4405">
                  <c:v>1.5239633000000001E-2</c:v>
                </c:pt>
                <c:pt idx="4406">
                  <c:v>1.5236057000000001E-2</c:v>
                </c:pt>
                <c:pt idx="4407">
                  <c:v>1.5236069E-2</c:v>
                </c:pt>
                <c:pt idx="4408">
                  <c:v>1.5226668E-2</c:v>
                </c:pt>
                <c:pt idx="4409">
                  <c:v>1.5224454E-2</c:v>
                </c:pt>
                <c:pt idx="4410">
                  <c:v>1.5232986E-2</c:v>
                </c:pt>
                <c:pt idx="4411">
                  <c:v>1.5233966E-2</c:v>
                </c:pt>
                <c:pt idx="4412">
                  <c:v>1.5268202999999999E-2</c:v>
                </c:pt>
                <c:pt idx="4413">
                  <c:v>1.5266027999999999E-2</c:v>
                </c:pt>
                <c:pt idx="4414">
                  <c:v>1.5201686000000001E-2</c:v>
                </c:pt>
                <c:pt idx="4415">
                  <c:v>1.5256773E-2</c:v>
                </c:pt>
                <c:pt idx="4416">
                  <c:v>1.5206579E-2</c:v>
                </c:pt>
                <c:pt idx="4417">
                  <c:v>1.5217464999999999E-2</c:v>
                </c:pt>
                <c:pt idx="4418">
                  <c:v>1.5265321E-2</c:v>
                </c:pt>
                <c:pt idx="4419">
                  <c:v>1.5263545999999999E-2</c:v>
                </c:pt>
                <c:pt idx="4420">
                  <c:v>1.5224043E-2</c:v>
                </c:pt>
                <c:pt idx="4421">
                  <c:v>1.5217573999999999E-2</c:v>
                </c:pt>
                <c:pt idx="4422">
                  <c:v>1.5232384E-2</c:v>
                </c:pt>
                <c:pt idx="4423">
                  <c:v>1.5257979E-2</c:v>
                </c:pt>
                <c:pt idx="4424">
                  <c:v>1.5362496E-2</c:v>
                </c:pt>
                <c:pt idx="4425">
                  <c:v>1.5416849E-2</c:v>
                </c:pt>
                <c:pt idx="4426">
                  <c:v>1.5507922E-2</c:v>
                </c:pt>
                <c:pt idx="4427">
                  <c:v>1.6246258999999999E-2</c:v>
                </c:pt>
                <c:pt idx="4428">
                  <c:v>1.6250679000000001E-2</c:v>
                </c:pt>
                <c:pt idx="4429">
                  <c:v>1.6301712999999999E-2</c:v>
                </c:pt>
                <c:pt idx="4430">
                  <c:v>1.6332956999999999E-2</c:v>
                </c:pt>
                <c:pt idx="4431">
                  <c:v>1.6388469999999999E-2</c:v>
                </c:pt>
                <c:pt idx="4432">
                  <c:v>1.6453325000000001E-2</c:v>
                </c:pt>
                <c:pt idx="4433">
                  <c:v>1.6482585000000001E-2</c:v>
                </c:pt>
                <c:pt idx="4434">
                  <c:v>1.6514381000000002E-2</c:v>
                </c:pt>
                <c:pt idx="4435">
                  <c:v>1.7137172999999999E-2</c:v>
                </c:pt>
                <c:pt idx="4436">
                  <c:v>1.7135398999999999E-2</c:v>
                </c:pt>
                <c:pt idx="4437">
                  <c:v>1.7327578E-2</c:v>
                </c:pt>
                <c:pt idx="4438">
                  <c:v>1.7327940999999999E-2</c:v>
                </c:pt>
                <c:pt idx="4439">
                  <c:v>1.7321757E-2</c:v>
                </c:pt>
                <c:pt idx="4440">
                  <c:v>1.7240917000000001E-2</c:v>
                </c:pt>
                <c:pt idx="4441">
                  <c:v>1.7742392999999999E-2</c:v>
                </c:pt>
                <c:pt idx="4442">
                  <c:v>1.7497024E-2</c:v>
                </c:pt>
                <c:pt idx="4443">
                  <c:v>1.5748694000000001E-2</c:v>
                </c:pt>
                <c:pt idx="4444">
                  <c:v>1.5722916E-2</c:v>
                </c:pt>
                <c:pt idx="4445">
                  <c:v>1.5710074000000001E-2</c:v>
                </c:pt>
                <c:pt idx="4446">
                  <c:v>1.5646121999999998E-2</c:v>
                </c:pt>
                <c:pt idx="4447">
                  <c:v>1.5701792999999999E-2</c:v>
                </c:pt>
                <c:pt idx="4448">
                  <c:v>1.5700312000000001E-2</c:v>
                </c:pt>
                <c:pt idx="4449">
                  <c:v>1.5685132000000001E-2</c:v>
                </c:pt>
                <c:pt idx="4450">
                  <c:v>1.5679256999999999E-2</c:v>
                </c:pt>
                <c:pt idx="4451">
                  <c:v>1.5709199E-2</c:v>
                </c:pt>
                <c:pt idx="4452">
                  <c:v>1.5702150000000002E-2</c:v>
                </c:pt>
                <c:pt idx="4453">
                  <c:v>1.5613537E-2</c:v>
                </c:pt>
                <c:pt idx="4454">
                  <c:v>1.562299E-2</c:v>
                </c:pt>
                <c:pt idx="4455">
                  <c:v>1.5624769E-2</c:v>
                </c:pt>
                <c:pt idx="4456">
                  <c:v>1.5548298E-2</c:v>
                </c:pt>
                <c:pt idx="4457">
                  <c:v>1.5679592999999999E-2</c:v>
                </c:pt>
                <c:pt idx="4458">
                  <c:v>1.5672972E-2</c:v>
                </c:pt>
                <c:pt idx="4459">
                  <c:v>1.5741014000000001E-2</c:v>
                </c:pt>
                <c:pt idx="4460">
                  <c:v>1.574592E-2</c:v>
                </c:pt>
                <c:pt idx="4461">
                  <c:v>1.5759209999999999E-2</c:v>
                </c:pt>
                <c:pt idx="4462">
                  <c:v>1.5391316E-2</c:v>
                </c:pt>
                <c:pt idx="4463">
                  <c:v>1.5127911000000001E-2</c:v>
                </c:pt>
                <c:pt idx="4464">
                  <c:v>1.5170383000000001E-2</c:v>
                </c:pt>
                <c:pt idx="4465">
                  <c:v>1.5169339E-2</c:v>
                </c:pt>
                <c:pt idx="4466">
                  <c:v>1.5187925E-2</c:v>
                </c:pt>
                <c:pt idx="4467">
                  <c:v>1.5116017000000001E-2</c:v>
                </c:pt>
                <c:pt idx="4468">
                  <c:v>1.4751874E-2</c:v>
                </c:pt>
                <c:pt idx="4469">
                  <c:v>1.4641546E-2</c:v>
                </c:pt>
                <c:pt idx="4470">
                  <c:v>1.4592285E-2</c:v>
                </c:pt>
                <c:pt idx="4471">
                  <c:v>1.4502330000000001E-2</c:v>
                </c:pt>
                <c:pt idx="4472">
                  <c:v>1.4582624000000001E-2</c:v>
                </c:pt>
                <c:pt idx="4473">
                  <c:v>1.3972968000000001E-2</c:v>
                </c:pt>
                <c:pt idx="4474">
                  <c:v>1.4153883000000001E-2</c:v>
                </c:pt>
                <c:pt idx="4475">
                  <c:v>1.4013378999999999E-2</c:v>
                </c:pt>
                <c:pt idx="4476">
                  <c:v>1.3963434E-2</c:v>
                </c:pt>
                <c:pt idx="4477">
                  <c:v>1.3892412999999999E-2</c:v>
                </c:pt>
                <c:pt idx="4478">
                  <c:v>1.3496045E-2</c:v>
                </c:pt>
                <c:pt idx="4479">
                  <c:v>1.3336257000000001E-2</c:v>
                </c:pt>
                <c:pt idx="4480">
                  <c:v>1.3161678E-2</c:v>
                </c:pt>
                <c:pt idx="4481">
                  <c:v>1.3270004E-2</c:v>
                </c:pt>
                <c:pt idx="4482">
                  <c:v>1.3312762000000001E-2</c:v>
                </c:pt>
                <c:pt idx="4483">
                  <c:v>1.3330504E-2</c:v>
                </c:pt>
                <c:pt idx="4484">
                  <c:v>1.3330778E-2</c:v>
                </c:pt>
                <c:pt idx="4485">
                  <c:v>1.3464841E-2</c:v>
                </c:pt>
                <c:pt idx="4486">
                  <c:v>1.3400857E-2</c:v>
                </c:pt>
                <c:pt idx="4487">
                  <c:v>1.3383735000000001E-2</c:v>
                </c:pt>
                <c:pt idx="4488">
                  <c:v>1.3245787E-2</c:v>
                </c:pt>
                <c:pt idx="4489">
                  <c:v>1.3235413E-2</c:v>
                </c:pt>
                <c:pt idx="4490">
                  <c:v>1.3343331E-2</c:v>
                </c:pt>
                <c:pt idx="4491">
                  <c:v>1.3567101E-2</c:v>
                </c:pt>
                <c:pt idx="4492">
                  <c:v>1.3555200999999999E-2</c:v>
                </c:pt>
                <c:pt idx="4493">
                  <c:v>1.3487605E-2</c:v>
                </c:pt>
                <c:pt idx="4494">
                  <c:v>1.3464471E-2</c:v>
                </c:pt>
                <c:pt idx="4495">
                  <c:v>1.3467982E-2</c:v>
                </c:pt>
                <c:pt idx="4496">
                  <c:v>1.3476498999999999E-2</c:v>
                </c:pt>
                <c:pt idx="4497">
                  <c:v>1.3487256E-2</c:v>
                </c:pt>
                <c:pt idx="4498">
                  <c:v>1.3429722E-2</c:v>
                </c:pt>
                <c:pt idx="4499">
                  <c:v>1.3424945000000001E-2</c:v>
                </c:pt>
                <c:pt idx="4500">
                  <c:v>1.3483142E-2</c:v>
                </c:pt>
                <c:pt idx="4501">
                  <c:v>1.34675E-2</c:v>
                </c:pt>
                <c:pt idx="4502">
                  <c:v>1.3459601999999999E-2</c:v>
                </c:pt>
                <c:pt idx="4503">
                  <c:v>1.3463810999999999E-2</c:v>
                </c:pt>
                <c:pt idx="4504">
                  <c:v>1.3471534E-2</c:v>
                </c:pt>
                <c:pt idx="4505">
                  <c:v>1.3541060000000001E-2</c:v>
                </c:pt>
                <c:pt idx="4506">
                  <c:v>1.3539453999999999E-2</c:v>
                </c:pt>
                <c:pt idx="4507">
                  <c:v>1.35666E-2</c:v>
                </c:pt>
                <c:pt idx="4508">
                  <c:v>1.3556596000000001E-2</c:v>
                </c:pt>
                <c:pt idx="4509">
                  <c:v>1.3607264000000001E-2</c:v>
                </c:pt>
                <c:pt idx="4510">
                  <c:v>1.360715E-2</c:v>
                </c:pt>
                <c:pt idx="4511">
                  <c:v>1.3702041999999999E-2</c:v>
                </c:pt>
                <c:pt idx="4512">
                  <c:v>1.3668609E-2</c:v>
                </c:pt>
                <c:pt idx="4513">
                  <c:v>1.3703795E-2</c:v>
                </c:pt>
                <c:pt idx="4514">
                  <c:v>1.3704050000000001E-2</c:v>
                </c:pt>
                <c:pt idx="4515">
                  <c:v>1.373718E-2</c:v>
                </c:pt>
                <c:pt idx="4516">
                  <c:v>1.3740959000000001E-2</c:v>
                </c:pt>
                <c:pt idx="4517">
                  <c:v>1.3728947E-2</c:v>
                </c:pt>
                <c:pt idx="4518">
                  <c:v>1.3536052E-2</c:v>
                </c:pt>
                <c:pt idx="4519">
                  <c:v>1.3544683E-2</c:v>
                </c:pt>
                <c:pt idx="4520">
                  <c:v>1.3518647999999999E-2</c:v>
                </c:pt>
                <c:pt idx="4521">
                  <c:v>1.3525565999999999E-2</c:v>
                </c:pt>
                <c:pt idx="4522">
                  <c:v>1.3546895E-2</c:v>
                </c:pt>
                <c:pt idx="4523">
                  <c:v>1.3615657999999999E-2</c:v>
                </c:pt>
                <c:pt idx="4524">
                  <c:v>1.3425581000000001E-2</c:v>
                </c:pt>
                <c:pt idx="4525">
                  <c:v>1.3459789999999999E-2</c:v>
                </c:pt>
                <c:pt idx="4526">
                  <c:v>1.3469883E-2</c:v>
                </c:pt>
                <c:pt idx="4527">
                  <c:v>1.3585102E-2</c:v>
                </c:pt>
                <c:pt idx="4528">
                  <c:v>1.3583912E-2</c:v>
                </c:pt>
                <c:pt idx="4529">
                  <c:v>1.3585478E-2</c:v>
                </c:pt>
                <c:pt idx="4530">
                  <c:v>1.3579693E-2</c:v>
                </c:pt>
                <c:pt idx="4531">
                  <c:v>1.3609659E-2</c:v>
                </c:pt>
                <c:pt idx="4532">
                  <c:v>1.3565076000000001E-2</c:v>
                </c:pt>
                <c:pt idx="4533">
                  <c:v>1.3637589E-2</c:v>
                </c:pt>
                <c:pt idx="4534">
                  <c:v>1.3579566E-2</c:v>
                </c:pt>
                <c:pt idx="4535">
                  <c:v>1.3570943E-2</c:v>
                </c:pt>
                <c:pt idx="4536">
                  <c:v>1.3588199E-2</c:v>
                </c:pt>
                <c:pt idx="4537">
                  <c:v>1.3580661000000001E-2</c:v>
                </c:pt>
                <c:pt idx="4538">
                  <c:v>1.3538128999999999E-2</c:v>
                </c:pt>
                <c:pt idx="4539">
                  <c:v>1.3576314000000001E-2</c:v>
                </c:pt>
                <c:pt idx="4540">
                  <c:v>1.3581406000000001E-2</c:v>
                </c:pt>
                <c:pt idx="4541">
                  <c:v>1.359775E-2</c:v>
                </c:pt>
                <c:pt idx="4542">
                  <c:v>1.3674306000000001E-2</c:v>
                </c:pt>
                <c:pt idx="4543">
                  <c:v>1.364804E-2</c:v>
                </c:pt>
                <c:pt idx="4544">
                  <c:v>1.3545018000000001E-2</c:v>
                </c:pt>
                <c:pt idx="4545">
                  <c:v>1.3445611E-2</c:v>
                </c:pt>
                <c:pt idx="4546">
                  <c:v>1.3347982E-2</c:v>
                </c:pt>
                <c:pt idx="4547">
                  <c:v>1.2396219999999999E-2</c:v>
                </c:pt>
                <c:pt idx="4548">
                  <c:v>1.2446173E-2</c:v>
                </c:pt>
                <c:pt idx="4549">
                  <c:v>1.2478711999999999E-2</c:v>
                </c:pt>
                <c:pt idx="4550">
                  <c:v>1.2454298000000001E-2</c:v>
                </c:pt>
                <c:pt idx="4551">
                  <c:v>1.2441251E-2</c:v>
                </c:pt>
                <c:pt idx="4552">
                  <c:v>1.2330536E-2</c:v>
                </c:pt>
                <c:pt idx="4553">
                  <c:v>1.2385187000000001E-2</c:v>
                </c:pt>
                <c:pt idx="4554">
                  <c:v>1.2323358E-2</c:v>
                </c:pt>
                <c:pt idx="4555">
                  <c:v>1.1460873E-2</c:v>
                </c:pt>
                <c:pt idx="4556">
                  <c:v>1.1707382000000001E-2</c:v>
                </c:pt>
                <c:pt idx="4557">
                  <c:v>1.143539E-2</c:v>
                </c:pt>
                <c:pt idx="4558">
                  <c:v>1.1593466E-2</c:v>
                </c:pt>
                <c:pt idx="4559">
                  <c:v>1.1592913E-2</c:v>
                </c:pt>
                <c:pt idx="4560">
                  <c:v>1.1626238000000001E-2</c:v>
                </c:pt>
                <c:pt idx="4561">
                  <c:v>1.0924569E-2</c:v>
                </c:pt>
                <c:pt idx="4562">
                  <c:v>1.0931761999999999E-2</c:v>
                </c:pt>
                <c:pt idx="4563">
                  <c:v>1.0991976000000001E-2</c:v>
                </c:pt>
                <c:pt idx="4564">
                  <c:v>1.0798557E-2</c:v>
                </c:pt>
                <c:pt idx="4565">
                  <c:v>1.0810761E-2</c:v>
                </c:pt>
                <c:pt idx="4566">
                  <c:v>1.0974876999999999E-2</c:v>
                </c:pt>
                <c:pt idx="4567">
                  <c:v>1.0891157E-2</c:v>
                </c:pt>
                <c:pt idx="4568">
                  <c:v>1.120607E-2</c:v>
                </c:pt>
                <c:pt idx="4569">
                  <c:v>1.1217901000000001E-2</c:v>
                </c:pt>
                <c:pt idx="4570">
                  <c:v>1.1258669000000001E-2</c:v>
                </c:pt>
                <c:pt idx="4571">
                  <c:v>1.1272035E-2</c:v>
                </c:pt>
                <c:pt idx="4572">
                  <c:v>1.1276486E-2</c:v>
                </c:pt>
                <c:pt idx="4573">
                  <c:v>1.1239979000000001E-2</c:v>
                </c:pt>
                <c:pt idx="4574">
                  <c:v>1.121197E-2</c:v>
                </c:pt>
                <c:pt idx="4575">
                  <c:v>1.1271455999999999E-2</c:v>
                </c:pt>
                <c:pt idx="4576">
                  <c:v>1.1356454E-2</c:v>
                </c:pt>
                <c:pt idx="4577">
                  <c:v>1.1324379000000001E-2</c:v>
                </c:pt>
                <c:pt idx="4578">
                  <c:v>1.1348555999999999E-2</c:v>
                </c:pt>
                <c:pt idx="4579">
                  <c:v>1.1245221E-2</c:v>
                </c:pt>
                <c:pt idx="4580">
                  <c:v>1.1579168000000001E-2</c:v>
                </c:pt>
                <c:pt idx="4581">
                  <c:v>1.1569068E-2</c:v>
                </c:pt>
                <c:pt idx="4582">
                  <c:v>1.1816624E-2</c:v>
                </c:pt>
                <c:pt idx="4583">
                  <c:v>1.182457E-2</c:v>
                </c:pt>
                <c:pt idx="4584">
                  <c:v>1.1998569000000001E-2</c:v>
                </c:pt>
                <c:pt idx="4585">
                  <c:v>1.2062299E-2</c:v>
                </c:pt>
                <c:pt idx="4586">
                  <c:v>1.1950298999999999E-2</c:v>
                </c:pt>
                <c:pt idx="4587">
                  <c:v>1.2048655E-2</c:v>
                </c:pt>
                <c:pt idx="4588">
                  <c:v>1.2412210999999999E-2</c:v>
                </c:pt>
                <c:pt idx="4589">
                  <c:v>1.2417872E-2</c:v>
                </c:pt>
                <c:pt idx="4590">
                  <c:v>1.2834676999999999E-2</c:v>
                </c:pt>
                <c:pt idx="4591">
                  <c:v>1.2959895000000001E-2</c:v>
                </c:pt>
                <c:pt idx="4592">
                  <c:v>1.2816610000000001E-2</c:v>
                </c:pt>
                <c:pt idx="4593">
                  <c:v>1.2996077999999999E-2</c:v>
                </c:pt>
                <c:pt idx="4594">
                  <c:v>1.2802630000000001E-2</c:v>
                </c:pt>
                <c:pt idx="4595">
                  <c:v>1.2969196000000001E-2</c:v>
                </c:pt>
                <c:pt idx="4596">
                  <c:v>1.2962754E-2</c:v>
                </c:pt>
                <c:pt idx="4597">
                  <c:v>1.2960477999999999E-2</c:v>
                </c:pt>
                <c:pt idx="4598">
                  <c:v>1.2960351E-2</c:v>
                </c:pt>
                <c:pt idx="4599">
                  <c:v>1.3181330999999999E-2</c:v>
                </c:pt>
                <c:pt idx="4600">
                  <c:v>1.3197405000000001E-2</c:v>
                </c:pt>
                <c:pt idx="4601">
                  <c:v>1.3079771E-2</c:v>
                </c:pt>
                <c:pt idx="4602">
                  <c:v>1.3135793E-2</c:v>
                </c:pt>
                <c:pt idx="4603">
                  <c:v>1.3086828999999999E-2</c:v>
                </c:pt>
                <c:pt idx="4604">
                  <c:v>1.3236035E-2</c:v>
                </c:pt>
                <c:pt idx="4605">
                  <c:v>1.3107173E-2</c:v>
                </c:pt>
                <c:pt idx="4606">
                  <c:v>1.3130526E-2</c:v>
                </c:pt>
                <c:pt idx="4607">
                  <c:v>1.3161518000000001E-2</c:v>
                </c:pt>
                <c:pt idx="4608">
                  <c:v>1.3202679E-2</c:v>
                </c:pt>
                <c:pt idx="4609">
                  <c:v>1.3226999999999999E-2</c:v>
                </c:pt>
                <c:pt idx="4610">
                  <c:v>1.3115573E-2</c:v>
                </c:pt>
                <c:pt idx="4611">
                  <c:v>1.2858078E-2</c:v>
                </c:pt>
                <c:pt idx="4612">
                  <c:v>1.2855879000000001E-2</c:v>
                </c:pt>
                <c:pt idx="4613">
                  <c:v>1.2918614E-2</c:v>
                </c:pt>
                <c:pt idx="4614">
                  <c:v>1.3020677E-2</c:v>
                </c:pt>
                <c:pt idx="4615">
                  <c:v>1.3020874E-2</c:v>
                </c:pt>
                <c:pt idx="4616">
                  <c:v>1.3021097000000001E-2</c:v>
                </c:pt>
                <c:pt idx="4617">
                  <c:v>1.3016811999999999E-2</c:v>
                </c:pt>
                <c:pt idx="4618">
                  <c:v>1.3020042000000001E-2</c:v>
                </c:pt>
                <c:pt idx="4619">
                  <c:v>1.3195108000000001E-2</c:v>
                </c:pt>
                <c:pt idx="4620">
                  <c:v>1.3140875999999999E-2</c:v>
                </c:pt>
                <c:pt idx="4621">
                  <c:v>1.3129355000000001E-2</c:v>
                </c:pt>
                <c:pt idx="4622">
                  <c:v>1.3131085000000001E-2</c:v>
                </c:pt>
                <c:pt idx="4623">
                  <c:v>1.3136060999999999E-2</c:v>
                </c:pt>
                <c:pt idx="4624">
                  <c:v>1.3166791000000001E-2</c:v>
                </c:pt>
                <c:pt idx="4625">
                  <c:v>1.3075724E-2</c:v>
                </c:pt>
                <c:pt idx="4626">
                  <c:v>1.3076378E-2</c:v>
                </c:pt>
                <c:pt idx="4627">
                  <c:v>1.3056412999999999E-2</c:v>
                </c:pt>
                <c:pt idx="4628">
                  <c:v>1.3064106000000001E-2</c:v>
                </c:pt>
                <c:pt idx="4629">
                  <c:v>1.3049593999999999E-2</c:v>
                </c:pt>
                <c:pt idx="4630">
                  <c:v>1.3105408000000001E-2</c:v>
                </c:pt>
                <c:pt idx="4631">
                  <c:v>1.2985884E-2</c:v>
                </c:pt>
                <c:pt idx="4632">
                  <c:v>1.2987597E-2</c:v>
                </c:pt>
                <c:pt idx="4633">
                  <c:v>1.2959916E-2</c:v>
                </c:pt>
                <c:pt idx="4634">
                  <c:v>1.2995285000000001E-2</c:v>
                </c:pt>
                <c:pt idx="4635">
                  <c:v>1.3127572000000001E-2</c:v>
                </c:pt>
                <c:pt idx="4636">
                  <c:v>1.3162940999999999E-2</c:v>
                </c:pt>
                <c:pt idx="4637">
                  <c:v>1.316112E-2</c:v>
                </c:pt>
                <c:pt idx="4638">
                  <c:v>1.3164489999999999E-2</c:v>
                </c:pt>
                <c:pt idx="4639">
                  <c:v>1.3150723E-2</c:v>
                </c:pt>
                <c:pt idx="4640">
                  <c:v>1.3183515999999999E-2</c:v>
                </c:pt>
                <c:pt idx="4641">
                  <c:v>1.3141359999999999E-2</c:v>
                </c:pt>
                <c:pt idx="4642">
                  <c:v>1.3425922E-2</c:v>
                </c:pt>
                <c:pt idx="4643">
                  <c:v>1.3368958E-2</c:v>
                </c:pt>
                <c:pt idx="4644">
                  <c:v>1.3370737000000001E-2</c:v>
                </c:pt>
                <c:pt idx="4645">
                  <c:v>1.3331956000000001E-2</c:v>
                </c:pt>
                <c:pt idx="4646">
                  <c:v>1.3325589000000001E-2</c:v>
                </c:pt>
                <c:pt idx="4647">
                  <c:v>1.3189177E-2</c:v>
                </c:pt>
                <c:pt idx="4648">
                  <c:v>1.3221759E-2</c:v>
                </c:pt>
                <c:pt idx="4649">
                  <c:v>1.3235228999999999E-2</c:v>
                </c:pt>
                <c:pt idx="4650">
                  <c:v>1.3241869E-2</c:v>
                </c:pt>
                <c:pt idx="4651">
                  <c:v>1.3216416E-2</c:v>
                </c:pt>
                <c:pt idx="4652">
                  <c:v>1.3239837000000001E-2</c:v>
                </c:pt>
                <c:pt idx="4653">
                  <c:v>1.3178239E-2</c:v>
                </c:pt>
                <c:pt idx="4654">
                  <c:v>1.3190023E-2</c:v>
                </c:pt>
                <c:pt idx="4655">
                  <c:v>1.3180668E-2</c:v>
                </c:pt>
                <c:pt idx="4656">
                  <c:v>1.3199646000000001E-2</c:v>
                </c:pt>
                <c:pt idx="4657">
                  <c:v>1.329144E-2</c:v>
                </c:pt>
                <c:pt idx="4658">
                  <c:v>1.3295670000000001E-2</c:v>
                </c:pt>
                <c:pt idx="4659">
                  <c:v>1.3245677000000001E-2</c:v>
                </c:pt>
                <c:pt idx="4660">
                  <c:v>1.3243479000000001E-2</c:v>
                </c:pt>
                <c:pt idx="4661">
                  <c:v>1.3228401000000001E-2</c:v>
                </c:pt>
                <c:pt idx="4662">
                  <c:v>1.3147569E-2</c:v>
                </c:pt>
                <c:pt idx="4663">
                  <c:v>1.3126572E-2</c:v>
                </c:pt>
                <c:pt idx="4664">
                  <c:v>1.3205713000000001E-2</c:v>
                </c:pt>
                <c:pt idx="4665">
                  <c:v>1.3186474E-2</c:v>
                </c:pt>
                <c:pt idx="4666">
                  <c:v>1.3226764E-2</c:v>
                </c:pt>
                <c:pt idx="4667">
                  <c:v>1.3232483999999999E-2</c:v>
                </c:pt>
                <c:pt idx="4668">
                  <c:v>1.3173014E-2</c:v>
                </c:pt>
                <c:pt idx="4669">
                  <c:v>1.3322662000000001E-2</c:v>
                </c:pt>
                <c:pt idx="4670">
                  <c:v>1.3284727E-2</c:v>
                </c:pt>
                <c:pt idx="4671">
                  <c:v>1.3166089000000001E-2</c:v>
                </c:pt>
                <c:pt idx="4672">
                  <c:v>1.318038E-2</c:v>
                </c:pt>
                <c:pt idx="4673">
                  <c:v>1.3105285E-2</c:v>
                </c:pt>
                <c:pt idx="4674">
                  <c:v>1.3106001000000001E-2</c:v>
                </c:pt>
                <c:pt idx="4675">
                  <c:v>1.3132013999999999E-2</c:v>
                </c:pt>
                <c:pt idx="4676">
                  <c:v>1.2867346E-2</c:v>
                </c:pt>
                <c:pt idx="4677">
                  <c:v>1.2903291000000001E-2</c:v>
                </c:pt>
                <c:pt idx="4678">
                  <c:v>1.2851619E-2</c:v>
                </c:pt>
                <c:pt idx="4679">
                  <c:v>1.2886834E-2</c:v>
                </c:pt>
                <c:pt idx="4680">
                  <c:v>1.2848726E-2</c:v>
                </c:pt>
                <c:pt idx="4681">
                  <c:v>1.278256E-2</c:v>
                </c:pt>
                <c:pt idx="4682">
                  <c:v>1.2781113E-2</c:v>
                </c:pt>
                <c:pt idx="4683">
                  <c:v>1.2691408E-2</c:v>
                </c:pt>
                <c:pt idx="4684">
                  <c:v>1.2734406E-2</c:v>
                </c:pt>
                <c:pt idx="4685">
                  <c:v>1.3025348000000001E-2</c:v>
                </c:pt>
                <c:pt idx="4686">
                  <c:v>1.3295237E-2</c:v>
                </c:pt>
                <c:pt idx="4687">
                  <c:v>1.3293444999999999E-2</c:v>
                </c:pt>
                <c:pt idx="4688">
                  <c:v>1.3192278E-2</c:v>
                </c:pt>
                <c:pt idx="4689">
                  <c:v>1.3204230000000001E-2</c:v>
                </c:pt>
                <c:pt idx="4690">
                  <c:v>1.3364165000000001E-2</c:v>
                </c:pt>
                <c:pt idx="4691">
                  <c:v>1.3282455E-2</c:v>
                </c:pt>
                <c:pt idx="4692">
                  <c:v>1.3311567999999999E-2</c:v>
                </c:pt>
                <c:pt idx="4693">
                  <c:v>1.3319809E-2</c:v>
                </c:pt>
                <c:pt idx="4694">
                  <c:v>1.332442E-2</c:v>
                </c:pt>
                <c:pt idx="4695">
                  <c:v>1.3307980000000001E-2</c:v>
                </c:pt>
                <c:pt idx="4696">
                  <c:v>1.3195254999999999E-2</c:v>
                </c:pt>
                <c:pt idx="4697">
                  <c:v>1.3042976E-2</c:v>
                </c:pt>
                <c:pt idx="4698">
                  <c:v>1.3049588000000001E-2</c:v>
                </c:pt>
                <c:pt idx="4699">
                  <c:v>1.3052358999999999E-2</c:v>
                </c:pt>
                <c:pt idx="4700">
                  <c:v>1.2744446E-2</c:v>
                </c:pt>
                <c:pt idx="4701">
                  <c:v>1.2875459000000001E-2</c:v>
                </c:pt>
                <c:pt idx="4702">
                  <c:v>1.2727241E-2</c:v>
                </c:pt>
                <c:pt idx="4703">
                  <c:v>1.2722539999999999E-2</c:v>
                </c:pt>
                <c:pt idx="4704">
                  <c:v>1.2648988E-2</c:v>
                </c:pt>
                <c:pt idx="4705">
                  <c:v>1.2634744999999999E-2</c:v>
                </c:pt>
                <c:pt idx="4706">
                  <c:v>1.2632043000000001E-2</c:v>
                </c:pt>
                <c:pt idx="4707">
                  <c:v>1.2503421000000001E-2</c:v>
                </c:pt>
                <c:pt idx="4708">
                  <c:v>1.2298498999999999E-2</c:v>
                </c:pt>
                <c:pt idx="4709">
                  <c:v>1.230857E-2</c:v>
                </c:pt>
                <c:pt idx="4710">
                  <c:v>1.1890711E-2</c:v>
                </c:pt>
                <c:pt idx="4711">
                  <c:v>1.1729405E-2</c:v>
                </c:pt>
                <c:pt idx="4712">
                  <c:v>1.1777611E-2</c:v>
                </c:pt>
                <c:pt idx="4713">
                  <c:v>1.1553835E-2</c:v>
                </c:pt>
                <c:pt idx="4714">
                  <c:v>1.1556940999999999E-2</c:v>
                </c:pt>
                <c:pt idx="4715">
                  <c:v>1.1519531E-2</c:v>
                </c:pt>
                <c:pt idx="4716">
                  <c:v>1.1544209999999999E-2</c:v>
                </c:pt>
                <c:pt idx="4717">
                  <c:v>1.1542912000000001E-2</c:v>
                </c:pt>
                <c:pt idx="4718">
                  <c:v>1.1518205E-2</c:v>
                </c:pt>
                <c:pt idx="4719">
                  <c:v>1.1290174E-2</c:v>
                </c:pt>
                <c:pt idx="4720">
                  <c:v>1.1259887E-2</c:v>
                </c:pt>
                <c:pt idx="4721">
                  <c:v>1.1309816E-2</c:v>
                </c:pt>
                <c:pt idx="4722">
                  <c:v>1.1251147E-2</c:v>
                </c:pt>
                <c:pt idx="4723">
                  <c:v>1.1306292000000001E-2</c:v>
                </c:pt>
                <c:pt idx="4724">
                  <c:v>1.1153332E-2</c:v>
                </c:pt>
                <c:pt idx="4725">
                  <c:v>1.1168653000000001E-2</c:v>
                </c:pt>
                <c:pt idx="4726">
                  <c:v>1.1150151000000001E-2</c:v>
                </c:pt>
                <c:pt idx="4727">
                  <c:v>1.1121170999999999E-2</c:v>
                </c:pt>
                <c:pt idx="4728">
                  <c:v>1.1074699E-2</c:v>
                </c:pt>
                <c:pt idx="4729">
                  <c:v>1.1035446000000001E-2</c:v>
                </c:pt>
                <c:pt idx="4730">
                  <c:v>1.1066818000000001E-2</c:v>
                </c:pt>
                <c:pt idx="4731">
                  <c:v>1.1069203E-2</c:v>
                </c:pt>
                <c:pt idx="4732">
                  <c:v>1.1134887E-2</c:v>
                </c:pt>
                <c:pt idx="4733">
                  <c:v>1.1051462999999999E-2</c:v>
                </c:pt>
                <c:pt idx="4734">
                  <c:v>1.0978082E-2</c:v>
                </c:pt>
                <c:pt idx="4735">
                  <c:v>1.1027706999999999E-2</c:v>
                </c:pt>
                <c:pt idx="4736">
                  <c:v>1.1012114999999999E-2</c:v>
                </c:pt>
                <c:pt idx="4737">
                  <c:v>1.100253E-2</c:v>
                </c:pt>
                <c:pt idx="4738">
                  <c:v>1.1048973E-2</c:v>
                </c:pt>
                <c:pt idx="4739">
                  <c:v>1.0861689000000001E-2</c:v>
                </c:pt>
                <c:pt idx="4740">
                  <c:v>1.0863607000000001E-2</c:v>
                </c:pt>
                <c:pt idx="4741">
                  <c:v>1.0865303999999999E-2</c:v>
                </c:pt>
                <c:pt idx="4742">
                  <c:v>1.0881452E-2</c:v>
                </c:pt>
                <c:pt idx="4743">
                  <c:v>1.0855073999999999E-2</c:v>
                </c:pt>
                <c:pt idx="4744">
                  <c:v>1.0810303E-2</c:v>
                </c:pt>
                <c:pt idx="4745">
                  <c:v>1.0871769E-2</c:v>
                </c:pt>
                <c:pt idx="4746">
                  <c:v>1.0874673E-2</c:v>
                </c:pt>
                <c:pt idx="4747">
                  <c:v>1.0877530999999999E-2</c:v>
                </c:pt>
                <c:pt idx="4748">
                  <c:v>1.0859937E-2</c:v>
                </c:pt>
                <c:pt idx="4749">
                  <c:v>1.0844662E-2</c:v>
                </c:pt>
                <c:pt idx="4750">
                  <c:v>1.0787817999999999E-2</c:v>
                </c:pt>
                <c:pt idx="4751">
                  <c:v>1.0827264E-2</c:v>
                </c:pt>
                <c:pt idx="4752">
                  <c:v>1.0821892E-2</c:v>
                </c:pt>
                <c:pt idx="4753">
                  <c:v>1.0814618E-2</c:v>
                </c:pt>
                <c:pt idx="4754">
                  <c:v>1.0775788E-2</c:v>
                </c:pt>
                <c:pt idx="4755">
                  <c:v>1.0565059E-2</c:v>
                </c:pt>
                <c:pt idx="4756">
                  <c:v>1.0583568E-2</c:v>
                </c:pt>
                <c:pt idx="4757">
                  <c:v>1.0584217999999999E-2</c:v>
                </c:pt>
                <c:pt idx="4758">
                  <c:v>1.0582009E-2</c:v>
                </c:pt>
                <c:pt idx="4759">
                  <c:v>1.0578074E-2</c:v>
                </c:pt>
                <c:pt idx="4760">
                  <c:v>1.054123E-2</c:v>
                </c:pt>
                <c:pt idx="4761">
                  <c:v>1.0568048E-2</c:v>
                </c:pt>
                <c:pt idx="4762">
                  <c:v>1.0213688E-2</c:v>
                </c:pt>
                <c:pt idx="4763">
                  <c:v>1.0224501E-2</c:v>
                </c:pt>
                <c:pt idx="4764">
                  <c:v>1.0218275000000001E-2</c:v>
                </c:pt>
                <c:pt idx="4765">
                  <c:v>1.0216367000000001E-2</c:v>
                </c:pt>
                <c:pt idx="4766">
                  <c:v>1.0218333E-2</c:v>
                </c:pt>
                <c:pt idx="4767">
                  <c:v>1.0233879E-2</c:v>
                </c:pt>
                <c:pt idx="4768">
                  <c:v>1.0201211E-2</c:v>
                </c:pt>
                <c:pt idx="4769">
                  <c:v>1.0191499E-2</c:v>
                </c:pt>
                <c:pt idx="4770">
                  <c:v>1.0181566E-2</c:v>
                </c:pt>
                <c:pt idx="4771">
                  <c:v>1.0185901000000001E-2</c:v>
                </c:pt>
                <c:pt idx="4772">
                  <c:v>1.0198953E-2</c:v>
                </c:pt>
                <c:pt idx="4773">
                  <c:v>1.019872E-2</c:v>
                </c:pt>
                <c:pt idx="4774">
                  <c:v>1.0194974000000001E-2</c:v>
                </c:pt>
                <c:pt idx="4775">
                  <c:v>1.0262637E-2</c:v>
                </c:pt>
                <c:pt idx="4776">
                  <c:v>1.0327516E-2</c:v>
                </c:pt>
                <c:pt idx="4777">
                  <c:v>1.0221872999999999E-2</c:v>
                </c:pt>
                <c:pt idx="4778">
                  <c:v>1.0227807E-2</c:v>
                </c:pt>
                <c:pt idx="4779">
                  <c:v>1.0246066999999999E-2</c:v>
                </c:pt>
                <c:pt idx="4780">
                  <c:v>1.0274258E-2</c:v>
                </c:pt>
                <c:pt idx="4781">
                  <c:v>1.0271858E-2</c:v>
                </c:pt>
                <c:pt idx="4782">
                  <c:v>1.0362496000000001E-2</c:v>
                </c:pt>
                <c:pt idx="4783">
                  <c:v>1.0448403E-2</c:v>
                </c:pt>
                <c:pt idx="4784">
                  <c:v>1.0357566E-2</c:v>
                </c:pt>
                <c:pt idx="4785">
                  <c:v>1.0354624999999999E-2</c:v>
                </c:pt>
                <c:pt idx="4786">
                  <c:v>1.0325618999999999E-2</c:v>
                </c:pt>
                <c:pt idx="4787">
                  <c:v>1.0316953E-2</c:v>
                </c:pt>
                <c:pt idx="4788">
                  <c:v>1.0315941E-2</c:v>
                </c:pt>
                <c:pt idx="4789">
                  <c:v>1.0006136000000001E-2</c:v>
                </c:pt>
                <c:pt idx="4790">
                  <c:v>1.009296E-2</c:v>
                </c:pt>
                <c:pt idx="4791">
                  <c:v>1.0119954E-2</c:v>
                </c:pt>
                <c:pt idx="4792">
                  <c:v>1.0071735E-2</c:v>
                </c:pt>
                <c:pt idx="4793">
                  <c:v>1.0038383999999999E-2</c:v>
                </c:pt>
                <c:pt idx="4794">
                  <c:v>1.0073996E-2</c:v>
                </c:pt>
                <c:pt idx="4795">
                  <c:v>1.0045861999999999E-2</c:v>
                </c:pt>
                <c:pt idx="4796">
                  <c:v>1.0044343000000001E-2</c:v>
                </c:pt>
                <c:pt idx="4797">
                  <c:v>1.0003206000000001E-2</c:v>
                </c:pt>
                <c:pt idx="4798">
                  <c:v>9.9572189999999998E-3</c:v>
                </c:pt>
                <c:pt idx="4799">
                  <c:v>9.955986E-3</c:v>
                </c:pt>
                <c:pt idx="4800">
                  <c:v>1.0057175E-2</c:v>
                </c:pt>
                <c:pt idx="4801">
                  <c:v>1.00815E-2</c:v>
                </c:pt>
                <c:pt idx="4802">
                  <c:v>1.0093334000000001E-2</c:v>
                </c:pt>
                <c:pt idx="4803">
                  <c:v>1.0134875E-2</c:v>
                </c:pt>
                <c:pt idx="4804">
                  <c:v>1.0094983E-2</c:v>
                </c:pt>
                <c:pt idx="4805">
                  <c:v>9.6861849999999999E-3</c:v>
                </c:pt>
                <c:pt idx="4806">
                  <c:v>9.1483859999999997E-3</c:v>
                </c:pt>
                <c:pt idx="4807">
                  <c:v>9.1478029999999995E-3</c:v>
                </c:pt>
                <c:pt idx="4808">
                  <c:v>9.2227620000000007E-3</c:v>
                </c:pt>
                <c:pt idx="4809">
                  <c:v>9.2199090000000001E-3</c:v>
                </c:pt>
                <c:pt idx="4810">
                  <c:v>9.094708E-3</c:v>
                </c:pt>
                <c:pt idx="4811">
                  <c:v>9.1566249999999998E-3</c:v>
                </c:pt>
                <c:pt idx="4812">
                  <c:v>9.2304420000000002E-3</c:v>
                </c:pt>
                <c:pt idx="4813">
                  <c:v>9.2276040000000004E-3</c:v>
                </c:pt>
                <c:pt idx="4814">
                  <c:v>9.2607820000000004E-3</c:v>
                </c:pt>
                <c:pt idx="4815">
                  <c:v>9.1802889999999995E-3</c:v>
                </c:pt>
                <c:pt idx="4816">
                  <c:v>9.1391790000000007E-3</c:v>
                </c:pt>
                <c:pt idx="4817">
                  <c:v>9.1754369999999998E-3</c:v>
                </c:pt>
                <c:pt idx="4818">
                  <c:v>9.2069479999999995E-3</c:v>
                </c:pt>
                <c:pt idx="4819">
                  <c:v>9.2051670000000002E-3</c:v>
                </c:pt>
                <c:pt idx="4820">
                  <c:v>9.2091150000000004E-3</c:v>
                </c:pt>
                <c:pt idx="4821">
                  <c:v>9.0227250000000005E-3</c:v>
                </c:pt>
                <c:pt idx="4822">
                  <c:v>8.9595690000000006E-3</c:v>
                </c:pt>
                <c:pt idx="4823">
                  <c:v>9.0162190000000007E-3</c:v>
                </c:pt>
                <c:pt idx="4824">
                  <c:v>8.9056250000000003E-3</c:v>
                </c:pt>
                <c:pt idx="4825">
                  <c:v>8.9992630000000004E-3</c:v>
                </c:pt>
                <c:pt idx="4826">
                  <c:v>8.9880619999999998E-3</c:v>
                </c:pt>
                <c:pt idx="4827">
                  <c:v>8.9876069999999999E-3</c:v>
                </c:pt>
                <c:pt idx="4828">
                  <c:v>8.8447149999999995E-3</c:v>
                </c:pt>
                <c:pt idx="4829">
                  <c:v>8.8642110000000003E-3</c:v>
                </c:pt>
                <c:pt idx="4830">
                  <c:v>8.8755699999999993E-3</c:v>
                </c:pt>
                <c:pt idx="4831">
                  <c:v>8.9394959999999999E-3</c:v>
                </c:pt>
                <c:pt idx="4832">
                  <c:v>9.3133420000000005E-3</c:v>
                </c:pt>
                <c:pt idx="4833">
                  <c:v>9.4787980000000001E-3</c:v>
                </c:pt>
                <c:pt idx="4834">
                  <c:v>9.4994620000000002E-3</c:v>
                </c:pt>
                <c:pt idx="4835">
                  <c:v>9.4519600000000006E-3</c:v>
                </c:pt>
                <c:pt idx="4836">
                  <c:v>9.3839070000000004E-3</c:v>
                </c:pt>
                <c:pt idx="4837">
                  <c:v>9.7682280000000003E-3</c:v>
                </c:pt>
                <c:pt idx="4838">
                  <c:v>1.0608961E-2</c:v>
                </c:pt>
                <c:pt idx="4839">
                  <c:v>1.1310785E-2</c:v>
                </c:pt>
                <c:pt idx="4840">
                  <c:v>1.1468994999999999E-2</c:v>
                </c:pt>
                <c:pt idx="4841">
                  <c:v>1.1422408E-2</c:v>
                </c:pt>
                <c:pt idx="4842">
                  <c:v>1.1392416000000001E-2</c:v>
                </c:pt>
                <c:pt idx="4843">
                  <c:v>1.1345586E-2</c:v>
                </c:pt>
                <c:pt idx="4844">
                  <c:v>1.131394E-2</c:v>
                </c:pt>
                <c:pt idx="4845">
                  <c:v>1.1309302E-2</c:v>
                </c:pt>
                <c:pt idx="4846">
                  <c:v>1.1395409E-2</c:v>
                </c:pt>
                <c:pt idx="4847">
                  <c:v>1.1404508000000001E-2</c:v>
                </c:pt>
                <c:pt idx="4848">
                  <c:v>1.1387662E-2</c:v>
                </c:pt>
                <c:pt idx="4849">
                  <c:v>1.1709789E-2</c:v>
                </c:pt>
                <c:pt idx="4850">
                  <c:v>1.1694072999999999E-2</c:v>
                </c:pt>
                <c:pt idx="4851">
                  <c:v>1.1739665999999999E-2</c:v>
                </c:pt>
                <c:pt idx="4852">
                  <c:v>1.1669183E-2</c:v>
                </c:pt>
                <c:pt idx="4853">
                  <c:v>1.1715665E-2</c:v>
                </c:pt>
                <c:pt idx="4854">
                  <c:v>1.1698640999999999E-2</c:v>
                </c:pt>
              </c:numCache>
            </c:numRef>
          </c:val>
          <c:smooth val="0"/>
          <c:extLst>
            <c:ext xmlns:c16="http://schemas.microsoft.com/office/drawing/2014/chart" uri="{C3380CC4-5D6E-409C-BE32-E72D297353CC}">
              <c16:uniqueId val="{00000001-B3F6-43F2-BF45-C417764AEFF5}"/>
            </c:ext>
          </c:extLst>
        </c:ser>
        <c:ser>
          <c:idx val="2"/>
          <c:order val="2"/>
          <c:tx>
            <c:strRef>
              <c:f>'v60'!$G$1</c:f>
              <c:strCache>
                <c:ptCount val="1"/>
                <c:pt idx="0">
                  <c:v>250-day turnover rate</c:v>
                </c:pt>
              </c:strCache>
            </c:strRef>
          </c:tx>
          <c:spPr>
            <a:ln w="28575" cap="rnd">
              <a:solidFill>
                <a:schemeClr val="accent5"/>
              </a:solidFill>
              <a:round/>
            </a:ln>
            <a:effectLst/>
          </c:spPr>
          <c:marker>
            <c:symbol val="none"/>
          </c:marker>
          <c:cat>
            <c:numRef>
              <c:f>'v60'!$A$2:$A$4916</c:f>
              <c:numCache>
                <c:formatCode>m/d/yyyy</c:formatCode>
                <c:ptCount val="4915"/>
                <c:pt idx="0">
                  <c:v>37358</c:v>
                </c:pt>
                <c:pt idx="1">
                  <c:v>37361</c:v>
                </c:pt>
                <c:pt idx="2">
                  <c:v>37362</c:v>
                </c:pt>
                <c:pt idx="3">
                  <c:v>37363</c:v>
                </c:pt>
                <c:pt idx="4">
                  <c:v>37364</c:v>
                </c:pt>
                <c:pt idx="5">
                  <c:v>37365</c:v>
                </c:pt>
                <c:pt idx="6">
                  <c:v>37368</c:v>
                </c:pt>
                <c:pt idx="7">
                  <c:v>37369</c:v>
                </c:pt>
                <c:pt idx="8">
                  <c:v>37370</c:v>
                </c:pt>
                <c:pt idx="9">
                  <c:v>37371</c:v>
                </c:pt>
                <c:pt idx="10">
                  <c:v>37372</c:v>
                </c:pt>
                <c:pt idx="11">
                  <c:v>37375</c:v>
                </c:pt>
                <c:pt idx="12">
                  <c:v>37376</c:v>
                </c:pt>
                <c:pt idx="13">
                  <c:v>37384</c:v>
                </c:pt>
                <c:pt idx="14">
                  <c:v>37385</c:v>
                </c:pt>
                <c:pt idx="15">
                  <c:v>37386</c:v>
                </c:pt>
                <c:pt idx="16">
                  <c:v>37389</c:v>
                </c:pt>
                <c:pt idx="17">
                  <c:v>37390</c:v>
                </c:pt>
                <c:pt idx="18">
                  <c:v>37391</c:v>
                </c:pt>
                <c:pt idx="19">
                  <c:v>37392</c:v>
                </c:pt>
                <c:pt idx="20">
                  <c:v>37393</c:v>
                </c:pt>
                <c:pt idx="21">
                  <c:v>37396</c:v>
                </c:pt>
                <c:pt idx="22">
                  <c:v>37397</c:v>
                </c:pt>
                <c:pt idx="23">
                  <c:v>37398</c:v>
                </c:pt>
                <c:pt idx="24">
                  <c:v>37399</c:v>
                </c:pt>
                <c:pt idx="25">
                  <c:v>37400</c:v>
                </c:pt>
                <c:pt idx="26">
                  <c:v>37403</c:v>
                </c:pt>
                <c:pt idx="27">
                  <c:v>37404</c:v>
                </c:pt>
                <c:pt idx="28">
                  <c:v>37405</c:v>
                </c:pt>
                <c:pt idx="29">
                  <c:v>37406</c:v>
                </c:pt>
                <c:pt idx="30">
                  <c:v>37407</c:v>
                </c:pt>
                <c:pt idx="31">
                  <c:v>37410</c:v>
                </c:pt>
                <c:pt idx="32">
                  <c:v>37411</c:v>
                </c:pt>
                <c:pt idx="33">
                  <c:v>37412</c:v>
                </c:pt>
                <c:pt idx="34">
                  <c:v>37413</c:v>
                </c:pt>
                <c:pt idx="35">
                  <c:v>37414</c:v>
                </c:pt>
                <c:pt idx="36">
                  <c:v>37417</c:v>
                </c:pt>
                <c:pt idx="37">
                  <c:v>37418</c:v>
                </c:pt>
                <c:pt idx="38">
                  <c:v>37419</c:v>
                </c:pt>
                <c:pt idx="39">
                  <c:v>37420</c:v>
                </c:pt>
                <c:pt idx="40">
                  <c:v>37421</c:v>
                </c:pt>
                <c:pt idx="41">
                  <c:v>37424</c:v>
                </c:pt>
                <c:pt idx="42">
                  <c:v>37425</c:v>
                </c:pt>
                <c:pt idx="43">
                  <c:v>37426</c:v>
                </c:pt>
                <c:pt idx="44">
                  <c:v>37427</c:v>
                </c:pt>
                <c:pt idx="45">
                  <c:v>37428</c:v>
                </c:pt>
                <c:pt idx="46">
                  <c:v>37431</c:v>
                </c:pt>
                <c:pt idx="47">
                  <c:v>37432</c:v>
                </c:pt>
                <c:pt idx="48">
                  <c:v>37433</c:v>
                </c:pt>
                <c:pt idx="49">
                  <c:v>37434</c:v>
                </c:pt>
                <c:pt idx="50">
                  <c:v>37435</c:v>
                </c:pt>
                <c:pt idx="51">
                  <c:v>37438</c:v>
                </c:pt>
                <c:pt idx="52">
                  <c:v>37439</c:v>
                </c:pt>
                <c:pt idx="53">
                  <c:v>37440</c:v>
                </c:pt>
                <c:pt idx="54">
                  <c:v>37441</c:v>
                </c:pt>
                <c:pt idx="55">
                  <c:v>37442</c:v>
                </c:pt>
                <c:pt idx="56">
                  <c:v>37445</c:v>
                </c:pt>
                <c:pt idx="57">
                  <c:v>37446</c:v>
                </c:pt>
                <c:pt idx="58">
                  <c:v>37447</c:v>
                </c:pt>
                <c:pt idx="59">
                  <c:v>37448</c:v>
                </c:pt>
                <c:pt idx="60">
                  <c:v>37449</c:v>
                </c:pt>
                <c:pt idx="61">
                  <c:v>37452</c:v>
                </c:pt>
                <c:pt idx="62">
                  <c:v>37453</c:v>
                </c:pt>
                <c:pt idx="63">
                  <c:v>37454</c:v>
                </c:pt>
                <c:pt idx="64">
                  <c:v>37455</c:v>
                </c:pt>
                <c:pt idx="65">
                  <c:v>37456</c:v>
                </c:pt>
                <c:pt idx="66">
                  <c:v>37459</c:v>
                </c:pt>
                <c:pt idx="67">
                  <c:v>37460</c:v>
                </c:pt>
                <c:pt idx="68">
                  <c:v>37461</c:v>
                </c:pt>
                <c:pt idx="69">
                  <c:v>37462</c:v>
                </c:pt>
                <c:pt idx="70">
                  <c:v>37463</c:v>
                </c:pt>
                <c:pt idx="71">
                  <c:v>37466</c:v>
                </c:pt>
                <c:pt idx="72">
                  <c:v>37467</c:v>
                </c:pt>
                <c:pt idx="73">
                  <c:v>37468</c:v>
                </c:pt>
                <c:pt idx="74">
                  <c:v>37469</c:v>
                </c:pt>
                <c:pt idx="75">
                  <c:v>37470</c:v>
                </c:pt>
                <c:pt idx="76">
                  <c:v>37473</c:v>
                </c:pt>
                <c:pt idx="77">
                  <c:v>37474</c:v>
                </c:pt>
                <c:pt idx="78">
                  <c:v>37475</c:v>
                </c:pt>
                <c:pt idx="79">
                  <c:v>37476</c:v>
                </c:pt>
                <c:pt idx="80">
                  <c:v>37477</c:v>
                </c:pt>
                <c:pt idx="81">
                  <c:v>37480</c:v>
                </c:pt>
                <c:pt idx="82">
                  <c:v>37481</c:v>
                </c:pt>
                <c:pt idx="83">
                  <c:v>37482</c:v>
                </c:pt>
                <c:pt idx="84">
                  <c:v>37483</c:v>
                </c:pt>
                <c:pt idx="85">
                  <c:v>37484</c:v>
                </c:pt>
                <c:pt idx="86">
                  <c:v>37487</c:v>
                </c:pt>
                <c:pt idx="87">
                  <c:v>37488</c:v>
                </c:pt>
                <c:pt idx="88">
                  <c:v>37489</c:v>
                </c:pt>
                <c:pt idx="89">
                  <c:v>37490</c:v>
                </c:pt>
                <c:pt idx="90">
                  <c:v>37491</c:v>
                </c:pt>
                <c:pt idx="91">
                  <c:v>37494</c:v>
                </c:pt>
                <c:pt idx="92">
                  <c:v>37495</c:v>
                </c:pt>
                <c:pt idx="93">
                  <c:v>37496</c:v>
                </c:pt>
                <c:pt idx="94">
                  <c:v>37497</c:v>
                </c:pt>
                <c:pt idx="95">
                  <c:v>37498</c:v>
                </c:pt>
                <c:pt idx="96">
                  <c:v>37501</c:v>
                </c:pt>
                <c:pt idx="97">
                  <c:v>37502</c:v>
                </c:pt>
                <c:pt idx="98">
                  <c:v>37503</c:v>
                </c:pt>
                <c:pt idx="99">
                  <c:v>37504</c:v>
                </c:pt>
                <c:pt idx="100">
                  <c:v>37505</c:v>
                </c:pt>
                <c:pt idx="101">
                  <c:v>37508</c:v>
                </c:pt>
                <c:pt idx="102">
                  <c:v>37509</c:v>
                </c:pt>
                <c:pt idx="103">
                  <c:v>37510</c:v>
                </c:pt>
                <c:pt idx="104">
                  <c:v>37511</c:v>
                </c:pt>
                <c:pt idx="105">
                  <c:v>37512</c:v>
                </c:pt>
                <c:pt idx="106">
                  <c:v>37515</c:v>
                </c:pt>
                <c:pt idx="107">
                  <c:v>37516</c:v>
                </c:pt>
                <c:pt idx="108">
                  <c:v>37517</c:v>
                </c:pt>
                <c:pt idx="109">
                  <c:v>37518</c:v>
                </c:pt>
                <c:pt idx="110">
                  <c:v>37519</c:v>
                </c:pt>
                <c:pt idx="111">
                  <c:v>37522</c:v>
                </c:pt>
                <c:pt idx="112">
                  <c:v>37523</c:v>
                </c:pt>
                <c:pt idx="113">
                  <c:v>37524</c:v>
                </c:pt>
                <c:pt idx="114">
                  <c:v>37525</c:v>
                </c:pt>
                <c:pt idx="115">
                  <c:v>37526</c:v>
                </c:pt>
                <c:pt idx="116">
                  <c:v>37537</c:v>
                </c:pt>
                <c:pt idx="117">
                  <c:v>37538</c:v>
                </c:pt>
                <c:pt idx="118">
                  <c:v>37539</c:v>
                </c:pt>
                <c:pt idx="119">
                  <c:v>37540</c:v>
                </c:pt>
                <c:pt idx="120">
                  <c:v>37543</c:v>
                </c:pt>
                <c:pt idx="121">
                  <c:v>37544</c:v>
                </c:pt>
                <c:pt idx="122">
                  <c:v>37545</c:v>
                </c:pt>
                <c:pt idx="123">
                  <c:v>37546</c:v>
                </c:pt>
                <c:pt idx="124">
                  <c:v>37547</c:v>
                </c:pt>
                <c:pt idx="125">
                  <c:v>37550</c:v>
                </c:pt>
                <c:pt idx="126">
                  <c:v>37551</c:v>
                </c:pt>
                <c:pt idx="127">
                  <c:v>37552</c:v>
                </c:pt>
                <c:pt idx="128">
                  <c:v>37553</c:v>
                </c:pt>
                <c:pt idx="129">
                  <c:v>37554</c:v>
                </c:pt>
                <c:pt idx="130">
                  <c:v>37557</c:v>
                </c:pt>
                <c:pt idx="131">
                  <c:v>37558</c:v>
                </c:pt>
                <c:pt idx="132">
                  <c:v>37559</c:v>
                </c:pt>
                <c:pt idx="133">
                  <c:v>37560</c:v>
                </c:pt>
                <c:pt idx="134">
                  <c:v>37561</c:v>
                </c:pt>
                <c:pt idx="135">
                  <c:v>37564</c:v>
                </c:pt>
                <c:pt idx="136">
                  <c:v>37565</c:v>
                </c:pt>
                <c:pt idx="137">
                  <c:v>37566</c:v>
                </c:pt>
                <c:pt idx="138">
                  <c:v>37567</c:v>
                </c:pt>
                <c:pt idx="139">
                  <c:v>37568</c:v>
                </c:pt>
                <c:pt idx="140">
                  <c:v>37571</c:v>
                </c:pt>
                <c:pt idx="141">
                  <c:v>37572</c:v>
                </c:pt>
                <c:pt idx="142">
                  <c:v>37573</c:v>
                </c:pt>
                <c:pt idx="143">
                  <c:v>37574</c:v>
                </c:pt>
                <c:pt idx="144">
                  <c:v>37575</c:v>
                </c:pt>
                <c:pt idx="145">
                  <c:v>37578</c:v>
                </c:pt>
                <c:pt idx="146">
                  <c:v>37579</c:v>
                </c:pt>
                <c:pt idx="147">
                  <c:v>37580</c:v>
                </c:pt>
                <c:pt idx="148">
                  <c:v>37581</c:v>
                </c:pt>
                <c:pt idx="149">
                  <c:v>37582</c:v>
                </c:pt>
                <c:pt idx="150">
                  <c:v>37585</c:v>
                </c:pt>
                <c:pt idx="151">
                  <c:v>37586</c:v>
                </c:pt>
                <c:pt idx="152">
                  <c:v>37587</c:v>
                </c:pt>
                <c:pt idx="153">
                  <c:v>37588</c:v>
                </c:pt>
                <c:pt idx="154">
                  <c:v>37589</c:v>
                </c:pt>
                <c:pt idx="155">
                  <c:v>37592</c:v>
                </c:pt>
                <c:pt idx="156">
                  <c:v>37593</c:v>
                </c:pt>
                <c:pt idx="157">
                  <c:v>37594</c:v>
                </c:pt>
                <c:pt idx="158">
                  <c:v>37595</c:v>
                </c:pt>
                <c:pt idx="159">
                  <c:v>37596</c:v>
                </c:pt>
                <c:pt idx="160">
                  <c:v>37599</c:v>
                </c:pt>
                <c:pt idx="161">
                  <c:v>37600</c:v>
                </c:pt>
                <c:pt idx="162">
                  <c:v>37601</c:v>
                </c:pt>
                <c:pt idx="163">
                  <c:v>37602</c:v>
                </c:pt>
                <c:pt idx="164">
                  <c:v>37603</c:v>
                </c:pt>
                <c:pt idx="165">
                  <c:v>37606</c:v>
                </c:pt>
                <c:pt idx="166">
                  <c:v>37607</c:v>
                </c:pt>
                <c:pt idx="167">
                  <c:v>37608</c:v>
                </c:pt>
                <c:pt idx="168">
                  <c:v>37609</c:v>
                </c:pt>
                <c:pt idx="169">
                  <c:v>37610</c:v>
                </c:pt>
                <c:pt idx="170">
                  <c:v>37613</c:v>
                </c:pt>
                <c:pt idx="171">
                  <c:v>37614</c:v>
                </c:pt>
                <c:pt idx="172">
                  <c:v>37615</c:v>
                </c:pt>
                <c:pt idx="173">
                  <c:v>37616</c:v>
                </c:pt>
                <c:pt idx="174">
                  <c:v>37617</c:v>
                </c:pt>
                <c:pt idx="175">
                  <c:v>37620</c:v>
                </c:pt>
                <c:pt idx="176">
                  <c:v>37621</c:v>
                </c:pt>
                <c:pt idx="177">
                  <c:v>37623</c:v>
                </c:pt>
                <c:pt idx="178">
                  <c:v>37624</c:v>
                </c:pt>
                <c:pt idx="179">
                  <c:v>37627</c:v>
                </c:pt>
                <c:pt idx="180">
                  <c:v>37628</c:v>
                </c:pt>
                <c:pt idx="181">
                  <c:v>37629</c:v>
                </c:pt>
                <c:pt idx="182">
                  <c:v>37630</c:v>
                </c:pt>
                <c:pt idx="183">
                  <c:v>37631</c:v>
                </c:pt>
                <c:pt idx="184">
                  <c:v>37634</c:v>
                </c:pt>
                <c:pt idx="185">
                  <c:v>37635</c:v>
                </c:pt>
                <c:pt idx="186">
                  <c:v>37636</c:v>
                </c:pt>
                <c:pt idx="187">
                  <c:v>37637</c:v>
                </c:pt>
                <c:pt idx="188">
                  <c:v>37638</c:v>
                </c:pt>
                <c:pt idx="189">
                  <c:v>37641</c:v>
                </c:pt>
                <c:pt idx="190">
                  <c:v>37642</c:v>
                </c:pt>
                <c:pt idx="191">
                  <c:v>37643</c:v>
                </c:pt>
                <c:pt idx="192">
                  <c:v>37644</c:v>
                </c:pt>
                <c:pt idx="193">
                  <c:v>37645</c:v>
                </c:pt>
                <c:pt idx="194">
                  <c:v>37648</c:v>
                </c:pt>
                <c:pt idx="195">
                  <c:v>37649</c:v>
                </c:pt>
                <c:pt idx="196">
                  <c:v>37650</c:v>
                </c:pt>
                <c:pt idx="197">
                  <c:v>37662</c:v>
                </c:pt>
                <c:pt idx="198">
                  <c:v>37663</c:v>
                </c:pt>
                <c:pt idx="199">
                  <c:v>37664</c:v>
                </c:pt>
                <c:pt idx="200">
                  <c:v>37665</c:v>
                </c:pt>
                <c:pt idx="201">
                  <c:v>37666</c:v>
                </c:pt>
                <c:pt idx="202">
                  <c:v>37669</c:v>
                </c:pt>
                <c:pt idx="203">
                  <c:v>37670</c:v>
                </c:pt>
                <c:pt idx="204">
                  <c:v>37671</c:v>
                </c:pt>
                <c:pt idx="205">
                  <c:v>37672</c:v>
                </c:pt>
                <c:pt idx="206">
                  <c:v>37673</c:v>
                </c:pt>
                <c:pt idx="207">
                  <c:v>37676</c:v>
                </c:pt>
                <c:pt idx="208">
                  <c:v>37677</c:v>
                </c:pt>
                <c:pt idx="209">
                  <c:v>37678</c:v>
                </c:pt>
                <c:pt idx="210">
                  <c:v>37679</c:v>
                </c:pt>
                <c:pt idx="211">
                  <c:v>37680</c:v>
                </c:pt>
                <c:pt idx="212">
                  <c:v>37683</c:v>
                </c:pt>
                <c:pt idx="213">
                  <c:v>37684</c:v>
                </c:pt>
                <c:pt idx="214">
                  <c:v>37685</c:v>
                </c:pt>
                <c:pt idx="215">
                  <c:v>37686</c:v>
                </c:pt>
                <c:pt idx="216">
                  <c:v>37687</c:v>
                </c:pt>
                <c:pt idx="217">
                  <c:v>37690</c:v>
                </c:pt>
                <c:pt idx="218">
                  <c:v>37691</c:v>
                </c:pt>
                <c:pt idx="219">
                  <c:v>37692</c:v>
                </c:pt>
                <c:pt idx="220">
                  <c:v>37693</c:v>
                </c:pt>
                <c:pt idx="221">
                  <c:v>37694</c:v>
                </c:pt>
                <c:pt idx="222">
                  <c:v>37697</c:v>
                </c:pt>
                <c:pt idx="223">
                  <c:v>37698</c:v>
                </c:pt>
                <c:pt idx="224">
                  <c:v>37699</c:v>
                </c:pt>
                <c:pt idx="225">
                  <c:v>37700</c:v>
                </c:pt>
                <c:pt idx="226">
                  <c:v>37701</c:v>
                </c:pt>
                <c:pt idx="227">
                  <c:v>37704</c:v>
                </c:pt>
                <c:pt idx="228">
                  <c:v>37705</c:v>
                </c:pt>
                <c:pt idx="229">
                  <c:v>37706</c:v>
                </c:pt>
                <c:pt idx="230">
                  <c:v>37707</c:v>
                </c:pt>
                <c:pt idx="231">
                  <c:v>37708</c:v>
                </c:pt>
                <c:pt idx="232">
                  <c:v>37711</c:v>
                </c:pt>
                <c:pt idx="233">
                  <c:v>37712</c:v>
                </c:pt>
                <c:pt idx="234">
                  <c:v>37713</c:v>
                </c:pt>
                <c:pt idx="235">
                  <c:v>37714</c:v>
                </c:pt>
                <c:pt idx="236">
                  <c:v>37715</c:v>
                </c:pt>
                <c:pt idx="237">
                  <c:v>37718</c:v>
                </c:pt>
                <c:pt idx="238">
                  <c:v>37719</c:v>
                </c:pt>
                <c:pt idx="239">
                  <c:v>37720</c:v>
                </c:pt>
                <c:pt idx="240">
                  <c:v>37721</c:v>
                </c:pt>
                <c:pt idx="241">
                  <c:v>37722</c:v>
                </c:pt>
                <c:pt idx="242">
                  <c:v>37725</c:v>
                </c:pt>
                <c:pt idx="243">
                  <c:v>37726</c:v>
                </c:pt>
                <c:pt idx="244">
                  <c:v>37727</c:v>
                </c:pt>
                <c:pt idx="245">
                  <c:v>37728</c:v>
                </c:pt>
                <c:pt idx="246">
                  <c:v>37729</c:v>
                </c:pt>
                <c:pt idx="247">
                  <c:v>37732</c:v>
                </c:pt>
                <c:pt idx="248">
                  <c:v>37733</c:v>
                </c:pt>
                <c:pt idx="249">
                  <c:v>37734</c:v>
                </c:pt>
                <c:pt idx="250">
                  <c:v>37735</c:v>
                </c:pt>
                <c:pt idx="251">
                  <c:v>37736</c:v>
                </c:pt>
                <c:pt idx="252">
                  <c:v>37739</c:v>
                </c:pt>
                <c:pt idx="253">
                  <c:v>37740</c:v>
                </c:pt>
                <c:pt idx="254">
                  <c:v>37741</c:v>
                </c:pt>
                <c:pt idx="255">
                  <c:v>37753</c:v>
                </c:pt>
                <c:pt idx="256">
                  <c:v>37754</c:v>
                </c:pt>
                <c:pt idx="257">
                  <c:v>37755</c:v>
                </c:pt>
                <c:pt idx="258">
                  <c:v>37756</c:v>
                </c:pt>
                <c:pt idx="259">
                  <c:v>37757</c:v>
                </c:pt>
                <c:pt idx="260">
                  <c:v>37760</c:v>
                </c:pt>
                <c:pt idx="261">
                  <c:v>37761</c:v>
                </c:pt>
                <c:pt idx="262">
                  <c:v>37762</c:v>
                </c:pt>
                <c:pt idx="263">
                  <c:v>37763</c:v>
                </c:pt>
                <c:pt idx="264">
                  <c:v>37764</c:v>
                </c:pt>
                <c:pt idx="265">
                  <c:v>37767</c:v>
                </c:pt>
                <c:pt idx="266">
                  <c:v>37768</c:v>
                </c:pt>
                <c:pt idx="267">
                  <c:v>37769</c:v>
                </c:pt>
                <c:pt idx="268">
                  <c:v>37770</c:v>
                </c:pt>
                <c:pt idx="269">
                  <c:v>37771</c:v>
                </c:pt>
                <c:pt idx="270">
                  <c:v>37774</c:v>
                </c:pt>
                <c:pt idx="271">
                  <c:v>37775</c:v>
                </c:pt>
                <c:pt idx="272">
                  <c:v>37776</c:v>
                </c:pt>
                <c:pt idx="273">
                  <c:v>37777</c:v>
                </c:pt>
                <c:pt idx="274">
                  <c:v>37778</c:v>
                </c:pt>
                <c:pt idx="275">
                  <c:v>37781</c:v>
                </c:pt>
                <c:pt idx="276">
                  <c:v>37782</c:v>
                </c:pt>
                <c:pt idx="277">
                  <c:v>37783</c:v>
                </c:pt>
                <c:pt idx="278">
                  <c:v>37784</c:v>
                </c:pt>
                <c:pt idx="279">
                  <c:v>37785</c:v>
                </c:pt>
                <c:pt idx="280">
                  <c:v>37788</c:v>
                </c:pt>
                <c:pt idx="281">
                  <c:v>37789</c:v>
                </c:pt>
                <c:pt idx="282">
                  <c:v>37790</c:v>
                </c:pt>
                <c:pt idx="283">
                  <c:v>37791</c:v>
                </c:pt>
                <c:pt idx="284">
                  <c:v>37792</c:v>
                </c:pt>
                <c:pt idx="285">
                  <c:v>37795</c:v>
                </c:pt>
                <c:pt idx="286">
                  <c:v>37796</c:v>
                </c:pt>
                <c:pt idx="287">
                  <c:v>37797</c:v>
                </c:pt>
                <c:pt idx="288">
                  <c:v>37798</c:v>
                </c:pt>
                <c:pt idx="289">
                  <c:v>37799</c:v>
                </c:pt>
                <c:pt idx="290">
                  <c:v>37802</c:v>
                </c:pt>
                <c:pt idx="291">
                  <c:v>37803</c:v>
                </c:pt>
                <c:pt idx="292">
                  <c:v>37804</c:v>
                </c:pt>
                <c:pt idx="293">
                  <c:v>37805</c:v>
                </c:pt>
                <c:pt idx="294">
                  <c:v>37806</c:v>
                </c:pt>
                <c:pt idx="295">
                  <c:v>37809</c:v>
                </c:pt>
                <c:pt idx="296">
                  <c:v>37810</c:v>
                </c:pt>
                <c:pt idx="297">
                  <c:v>37811</c:v>
                </c:pt>
                <c:pt idx="298">
                  <c:v>37812</c:v>
                </c:pt>
                <c:pt idx="299">
                  <c:v>37813</c:v>
                </c:pt>
                <c:pt idx="300">
                  <c:v>37816</c:v>
                </c:pt>
                <c:pt idx="301">
                  <c:v>37817</c:v>
                </c:pt>
                <c:pt idx="302">
                  <c:v>37818</c:v>
                </c:pt>
                <c:pt idx="303">
                  <c:v>37819</c:v>
                </c:pt>
                <c:pt idx="304">
                  <c:v>37820</c:v>
                </c:pt>
                <c:pt idx="305">
                  <c:v>37823</c:v>
                </c:pt>
                <c:pt idx="306">
                  <c:v>37824</c:v>
                </c:pt>
                <c:pt idx="307">
                  <c:v>37825</c:v>
                </c:pt>
                <c:pt idx="308">
                  <c:v>37826</c:v>
                </c:pt>
                <c:pt idx="309">
                  <c:v>37827</c:v>
                </c:pt>
                <c:pt idx="310">
                  <c:v>37830</c:v>
                </c:pt>
                <c:pt idx="311">
                  <c:v>37831</c:v>
                </c:pt>
                <c:pt idx="312">
                  <c:v>37832</c:v>
                </c:pt>
                <c:pt idx="313">
                  <c:v>37833</c:v>
                </c:pt>
                <c:pt idx="314">
                  <c:v>37834</c:v>
                </c:pt>
                <c:pt idx="315">
                  <c:v>37837</c:v>
                </c:pt>
                <c:pt idx="316">
                  <c:v>37838</c:v>
                </c:pt>
                <c:pt idx="317">
                  <c:v>37839</c:v>
                </c:pt>
                <c:pt idx="318">
                  <c:v>37840</c:v>
                </c:pt>
                <c:pt idx="319">
                  <c:v>37841</c:v>
                </c:pt>
                <c:pt idx="320">
                  <c:v>37844</c:v>
                </c:pt>
                <c:pt idx="321">
                  <c:v>37845</c:v>
                </c:pt>
                <c:pt idx="322">
                  <c:v>37846</c:v>
                </c:pt>
                <c:pt idx="323">
                  <c:v>37847</c:v>
                </c:pt>
                <c:pt idx="324">
                  <c:v>37848</c:v>
                </c:pt>
                <c:pt idx="325">
                  <c:v>37851</c:v>
                </c:pt>
                <c:pt idx="326">
                  <c:v>37852</c:v>
                </c:pt>
                <c:pt idx="327">
                  <c:v>37853</c:v>
                </c:pt>
                <c:pt idx="328">
                  <c:v>37854</c:v>
                </c:pt>
                <c:pt idx="329">
                  <c:v>37855</c:v>
                </c:pt>
                <c:pt idx="330">
                  <c:v>37858</c:v>
                </c:pt>
                <c:pt idx="331">
                  <c:v>37859</c:v>
                </c:pt>
                <c:pt idx="332">
                  <c:v>37860</c:v>
                </c:pt>
                <c:pt idx="333">
                  <c:v>37861</c:v>
                </c:pt>
                <c:pt idx="334">
                  <c:v>37862</c:v>
                </c:pt>
                <c:pt idx="335">
                  <c:v>37865</c:v>
                </c:pt>
                <c:pt idx="336">
                  <c:v>37866</c:v>
                </c:pt>
                <c:pt idx="337">
                  <c:v>37867</c:v>
                </c:pt>
                <c:pt idx="338">
                  <c:v>37868</c:v>
                </c:pt>
                <c:pt idx="339">
                  <c:v>37869</c:v>
                </c:pt>
                <c:pt idx="340">
                  <c:v>37872</c:v>
                </c:pt>
                <c:pt idx="341">
                  <c:v>37873</c:v>
                </c:pt>
                <c:pt idx="342">
                  <c:v>37874</c:v>
                </c:pt>
                <c:pt idx="343">
                  <c:v>37875</c:v>
                </c:pt>
                <c:pt idx="344">
                  <c:v>37876</c:v>
                </c:pt>
                <c:pt idx="345">
                  <c:v>37879</c:v>
                </c:pt>
                <c:pt idx="346">
                  <c:v>37880</c:v>
                </c:pt>
                <c:pt idx="347">
                  <c:v>37881</c:v>
                </c:pt>
                <c:pt idx="348">
                  <c:v>37882</c:v>
                </c:pt>
                <c:pt idx="349">
                  <c:v>37883</c:v>
                </c:pt>
                <c:pt idx="350">
                  <c:v>37886</c:v>
                </c:pt>
                <c:pt idx="351">
                  <c:v>37887</c:v>
                </c:pt>
                <c:pt idx="352">
                  <c:v>37888</c:v>
                </c:pt>
                <c:pt idx="353">
                  <c:v>37889</c:v>
                </c:pt>
                <c:pt idx="354">
                  <c:v>37890</c:v>
                </c:pt>
                <c:pt idx="355">
                  <c:v>37893</c:v>
                </c:pt>
                <c:pt idx="356">
                  <c:v>37894</c:v>
                </c:pt>
                <c:pt idx="357">
                  <c:v>37902</c:v>
                </c:pt>
                <c:pt idx="358">
                  <c:v>37903</c:v>
                </c:pt>
                <c:pt idx="359">
                  <c:v>37904</c:v>
                </c:pt>
                <c:pt idx="360">
                  <c:v>37907</c:v>
                </c:pt>
                <c:pt idx="361">
                  <c:v>37908</c:v>
                </c:pt>
                <c:pt idx="362">
                  <c:v>37909</c:v>
                </c:pt>
                <c:pt idx="363">
                  <c:v>37910</c:v>
                </c:pt>
                <c:pt idx="364">
                  <c:v>37911</c:v>
                </c:pt>
                <c:pt idx="365">
                  <c:v>37914</c:v>
                </c:pt>
                <c:pt idx="366">
                  <c:v>37915</c:v>
                </c:pt>
                <c:pt idx="367">
                  <c:v>37916</c:v>
                </c:pt>
                <c:pt idx="368">
                  <c:v>37917</c:v>
                </c:pt>
                <c:pt idx="369">
                  <c:v>37918</c:v>
                </c:pt>
                <c:pt idx="370">
                  <c:v>37921</c:v>
                </c:pt>
                <c:pt idx="371">
                  <c:v>37922</c:v>
                </c:pt>
                <c:pt idx="372">
                  <c:v>37923</c:v>
                </c:pt>
                <c:pt idx="373">
                  <c:v>37924</c:v>
                </c:pt>
                <c:pt idx="374">
                  <c:v>37925</c:v>
                </c:pt>
                <c:pt idx="375">
                  <c:v>37928</c:v>
                </c:pt>
                <c:pt idx="376">
                  <c:v>37929</c:v>
                </c:pt>
                <c:pt idx="377">
                  <c:v>37930</c:v>
                </c:pt>
                <c:pt idx="378">
                  <c:v>37931</c:v>
                </c:pt>
                <c:pt idx="379">
                  <c:v>37932</c:v>
                </c:pt>
                <c:pt idx="380">
                  <c:v>37935</c:v>
                </c:pt>
                <c:pt idx="381">
                  <c:v>37936</c:v>
                </c:pt>
                <c:pt idx="382">
                  <c:v>37937</c:v>
                </c:pt>
                <c:pt idx="383">
                  <c:v>37938</c:v>
                </c:pt>
                <c:pt idx="384">
                  <c:v>37939</c:v>
                </c:pt>
                <c:pt idx="385">
                  <c:v>37942</c:v>
                </c:pt>
                <c:pt idx="386">
                  <c:v>37943</c:v>
                </c:pt>
                <c:pt idx="387">
                  <c:v>37944</c:v>
                </c:pt>
                <c:pt idx="388">
                  <c:v>37945</c:v>
                </c:pt>
                <c:pt idx="389">
                  <c:v>37946</c:v>
                </c:pt>
                <c:pt idx="390">
                  <c:v>37949</c:v>
                </c:pt>
                <c:pt idx="391">
                  <c:v>37950</c:v>
                </c:pt>
                <c:pt idx="392">
                  <c:v>37951</c:v>
                </c:pt>
                <c:pt idx="393">
                  <c:v>37952</c:v>
                </c:pt>
                <c:pt idx="394">
                  <c:v>37953</c:v>
                </c:pt>
                <c:pt idx="395">
                  <c:v>37956</c:v>
                </c:pt>
                <c:pt idx="396">
                  <c:v>37957</c:v>
                </c:pt>
                <c:pt idx="397">
                  <c:v>37958</c:v>
                </c:pt>
                <c:pt idx="398">
                  <c:v>37959</c:v>
                </c:pt>
                <c:pt idx="399">
                  <c:v>37960</c:v>
                </c:pt>
                <c:pt idx="400">
                  <c:v>37963</c:v>
                </c:pt>
                <c:pt idx="401">
                  <c:v>37964</c:v>
                </c:pt>
                <c:pt idx="402">
                  <c:v>37965</c:v>
                </c:pt>
                <c:pt idx="403">
                  <c:v>37966</c:v>
                </c:pt>
                <c:pt idx="404">
                  <c:v>37967</c:v>
                </c:pt>
                <c:pt idx="405">
                  <c:v>37970</c:v>
                </c:pt>
                <c:pt idx="406">
                  <c:v>37971</c:v>
                </c:pt>
                <c:pt idx="407">
                  <c:v>37972</c:v>
                </c:pt>
                <c:pt idx="408">
                  <c:v>37973</c:v>
                </c:pt>
                <c:pt idx="409">
                  <c:v>37974</c:v>
                </c:pt>
                <c:pt idx="410">
                  <c:v>37977</c:v>
                </c:pt>
                <c:pt idx="411">
                  <c:v>37978</c:v>
                </c:pt>
                <c:pt idx="412">
                  <c:v>37979</c:v>
                </c:pt>
                <c:pt idx="413">
                  <c:v>37980</c:v>
                </c:pt>
                <c:pt idx="414">
                  <c:v>37981</c:v>
                </c:pt>
                <c:pt idx="415">
                  <c:v>37984</c:v>
                </c:pt>
                <c:pt idx="416">
                  <c:v>37985</c:v>
                </c:pt>
                <c:pt idx="417">
                  <c:v>37986</c:v>
                </c:pt>
                <c:pt idx="418">
                  <c:v>37988</c:v>
                </c:pt>
                <c:pt idx="419">
                  <c:v>37991</c:v>
                </c:pt>
                <c:pt idx="420">
                  <c:v>37992</c:v>
                </c:pt>
                <c:pt idx="421">
                  <c:v>37993</c:v>
                </c:pt>
                <c:pt idx="422">
                  <c:v>37994</c:v>
                </c:pt>
                <c:pt idx="423">
                  <c:v>37995</c:v>
                </c:pt>
                <c:pt idx="424">
                  <c:v>37998</c:v>
                </c:pt>
                <c:pt idx="425">
                  <c:v>37999</c:v>
                </c:pt>
                <c:pt idx="426">
                  <c:v>38000</c:v>
                </c:pt>
                <c:pt idx="427">
                  <c:v>38001</c:v>
                </c:pt>
                <c:pt idx="428">
                  <c:v>38002</c:v>
                </c:pt>
                <c:pt idx="429">
                  <c:v>38015</c:v>
                </c:pt>
                <c:pt idx="430">
                  <c:v>38016</c:v>
                </c:pt>
                <c:pt idx="431">
                  <c:v>38019</c:v>
                </c:pt>
                <c:pt idx="432">
                  <c:v>38020</c:v>
                </c:pt>
                <c:pt idx="433">
                  <c:v>38021</c:v>
                </c:pt>
                <c:pt idx="434">
                  <c:v>38022</c:v>
                </c:pt>
                <c:pt idx="435">
                  <c:v>38023</c:v>
                </c:pt>
                <c:pt idx="436">
                  <c:v>38026</c:v>
                </c:pt>
                <c:pt idx="437">
                  <c:v>38027</c:v>
                </c:pt>
                <c:pt idx="438">
                  <c:v>38028</c:v>
                </c:pt>
                <c:pt idx="439">
                  <c:v>38029</c:v>
                </c:pt>
                <c:pt idx="440">
                  <c:v>38030</c:v>
                </c:pt>
                <c:pt idx="441">
                  <c:v>38033</c:v>
                </c:pt>
                <c:pt idx="442">
                  <c:v>38034</c:v>
                </c:pt>
                <c:pt idx="443">
                  <c:v>38035</c:v>
                </c:pt>
                <c:pt idx="444">
                  <c:v>38036</c:v>
                </c:pt>
                <c:pt idx="445">
                  <c:v>38037</c:v>
                </c:pt>
                <c:pt idx="446">
                  <c:v>38040</c:v>
                </c:pt>
                <c:pt idx="447">
                  <c:v>38041</c:v>
                </c:pt>
                <c:pt idx="448">
                  <c:v>38042</c:v>
                </c:pt>
                <c:pt idx="449">
                  <c:v>38043</c:v>
                </c:pt>
                <c:pt idx="450">
                  <c:v>38044</c:v>
                </c:pt>
                <c:pt idx="451">
                  <c:v>38047</c:v>
                </c:pt>
                <c:pt idx="452">
                  <c:v>38048</c:v>
                </c:pt>
                <c:pt idx="453">
                  <c:v>38049</c:v>
                </c:pt>
                <c:pt idx="454">
                  <c:v>38050</c:v>
                </c:pt>
                <c:pt idx="455">
                  <c:v>38051</c:v>
                </c:pt>
                <c:pt idx="456">
                  <c:v>38054</c:v>
                </c:pt>
                <c:pt idx="457">
                  <c:v>38055</c:v>
                </c:pt>
                <c:pt idx="458">
                  <c:v>38056</c:v>
                </c:pt>
                <c:pt idx="459">
                  <c:v>38057</c:v>
                </c:pt>
                <c:pt idx="460">
                  <c:v>38058</c:v>
                </c:pt>
                <c:pt idx="461">
                  <c:v>38061</c:v>
                </c:pt>
                <c:pt idx="462">
                  <c:v>38062</c:v>
                </c:pt>
                <c:pt idx="463">
                  <c:v>38063</c:v>
                </c:pt>
                <c:pt idx="464">
                  <c:v>38064</c:v>
                </c:pt>
                <c:pt idx="465">
                  <c:v>38065</c:v>
                </c:pt>
                <c:pt idx="466">
                  <c:v>38068</c:v>
                </c:pt>
                <c:pt idx="467">
                  <c:v>38069</c:v>
                </c:pt>
                <c:pt idx="468">
                  <c:v>38070</c:v>
                </c:pt>
                <c:pt idx="469">
                  <c:v>38071</c:v>
                </c:pt>
                <c:pt idx="470">
                  <c:v>38072</c:v>
                </c:pt>
                <c:pt idx="471">
                  <c:v>38075</c:v>
                </c:pt>
                <c:pt idx="472">
                  <c:v>38076</c:v>
                </c:pt>
                <c:pt idx="473">
                  <c:v>38077</c:v>
                </c:pt>
                <c:pt idx="474">
                  <c:v>38078</c:v>
                </c:pt>
                <c:pt idx="475">
                  <c:v>38079</c:v>
                </c:pt>
                <c:pt idx="476">
                  <c:v>38082</c:v>
                </c:pt>
                <c:pt idx="477">
                  <c:v>38083</c:v>
                </c:pt>
                <c:pt idx="478">
                  <c:v>38084</c:v>
                </c:pt>
                <c:pt idx="479">
                  <c:v>38085</c:v>
                </c:pt>
                <c:pt idx="480">
                  <c:v>38086</c:v>
                </c:pt>
                <c:pt idx="481">
                  <c:v>38089</c:v>
                </c:pt>
                <c:pt idx="482">
                  <c:v>38090</c:v>
                </c:pt>
                <c:pt idx="483">
                  <c:v>38091</c:v>
                </c:pt>
                <c:pt idx="484">
                  <c:v>38092</c:v>
                </c:pt>
                <c:pt idx="485">
                  <c:v>38093</c:v>
                </c:pt>
                <c:pt idx="486">
                  <c:v>38096</c:v>
                </c:pt>
                <c:pt idx="487">
                  <c:v>38097</c:v>
                </c:pt>
                <c:pt idx="488">
                  <c:v>38098</c:v>
                </c:pt>
                <c:pt idx="489">
                  <c:v>38099</c:v>
                </c:pt>
                <c:pt idx="490">
                  <c:v>38100</c:v>
                </c:pt>
                <c:pt idx="491">
                  <c:v>38103</c:v>
                </c:pt>
                <c:pt idx="492">
                  <c:v>38104</c:v>
                </c:pt>
                <c:pt idx="493">
                  <c:v>38105</c:v>
                </c:pt>
                <c:pt idx="494">
                  <c:v>38106</c:v>
                </c:pt>
                <c:pt idx="495">
                  <c:v>38107</c:v>
                </c:pt>
                <c:pt idx="496">
                  <c:v>38117</c:v>
                </c:pt>
                <c:pt idx="497">
                  <c:v>38118</c:v>
                </c:pt>
                <c:pt idx="498">
                  <c:v>38119</c:v>
                </c:pt>
                <c:pt idx="499">
                  <c:v>38120</c:v>
                </c:pt>
                <c:pt idx="500">
                  <c:v>38121</c:v>
                </c:pt>
                <c:pt idx="501">
                  <c:v>38124</c:v>
                </c:pt>
                <c:pt idx="502">
                  <c:v>38125</c:v>
                </c:pt>
                <c:pt idx="503">
                  <c:v>38126</c:v>
                </c:pt>
                <c:pt idx="504">
                  <c:v>38127</c:v>
                </c:pt>
                <c:pt idx="505">
                  <c:v>38128</c:v>
                </c:pt>
                <c:pt idx="506">
                  <c:v>38131</c:v>
                </c:pt>
                <c:pt idx="507">
                  <c:v>38132</c:v>
                </c:pt>
                <c:pt idx="508">
                  <c:v>38133</c:v>
                </c:pt>
                <c:pt idx="509">
                  <c:v>38134</c:v>
                </c:pt>
                <c:pt idx="510">
                  <c:v>38135</c:v>
                </c:pt>
                <c:pt idx="511">
                  <c:v>38138</c:v>
                </c:pt>
                <c:pt idx="512">
                  <c:v>38139</c:v>
                </c:pt>
                <c:pt idx="513">
                  <c:v>38140</c:v>
                </c:pt>
                <c:pt idx="514">
                  <c:v>38141</c:v>
                </c:pt>
                <c:pt idx="515">
                  <c:v>38142</c:v>
                </c:pt>
                <c:pt idx="516">
                  <c:v>38145</c:v>
                </c:pt>
                <c:pt idx="517">
                  <c:v>38146</c:v>
                </c:pt>
                <c:pt idx="518">
                  <c:v>38147</c:v>
                </c:pt>
                <c:pt idx="519">
                  <c:v>38148</c:v>
                </c:pt>
                <c:pt idx="520">
                  <c:v>38149</c:v>
                </c:pt>
                <c:pt idx="521">
                  <c:v>38152</c:v>
                </c:pt>
                <c:pt idx="522">
                  <c:v>38153</c:v>
                </c:pt>
                <c:pt idx="523">
                  <c:v>38154</c:v>
                </c:pt>
                <c:pt idx="524">
                  <c:v>38155</c:v>
                </c:pt>
                <c:pt idx="525">
                  <c:v>38156</c:v>
                </c:pt>
                <c:pt idx="526">
                  <c:v>38159</c:v>
                </c:pt>
                <c:pt idx="527">
                  <c:v>38160</c:v>
                </c:pt>
                <c:pt idx="528">
                  <c:v>38161</c:v>
                </c:pt>
                <c:pt idx="529">
                  <c:v>38162</c:v>
                </c:pt>
                <c:pt idx="530">
                  <c:v>38163</c:v>
                </c:pt>
                <c:pt idx="531">
                  <c:v>38166</c:v>
                </c:pt>
                <c:pt idx="532">
                  <c:v>38167</c:v>
                </c:pt>
                <c:pt idx="533">
                  <c:v>38168</c:v>
                </c:pt>
                <c:pt idx="534">
                  <c:v>38169</c:v>
                </c:pt>
                <c:pt idx="535">
                  <c:v>38170</c:v>
                </c:pt>
                <c:pt idx="536">
                  <c:v>38173</c:v>
                </c:pt>
                <c:pt idx="537">
                  <c:v>38174</c:v>
                </c:pt>
                <c:pt idx="538">
                  <c:v>38175</c:v>
                </c:pt>
                <c:pt idx="539">
                  <c:v>38176</c:v>
                </c:pt>
                <c:pt idx="540">
                  <c:v>38177</c:v>
                </c:pt>
                <c:pt idx="541">
                  <c:v>38180</c:v>
                </c:pt>
                <c:pt idx="542">
                  <c:v>38181</c:v>
                </c:pt>
                <c:pt idx="543">
                  <c:v>38182</c:v>
                </c:pt>
                <c:pt idx="544">
                  <c:v>38183</c:v>
                </c:pt>
                <c:pt idx="545">
                  <c:v>38184</c:v>
                </c:pt>
                <c:pt idx="546">
                  <c:v>38187</c:v>
                </c:pt>
                <c:pt idx="547">
                  <c:v>38188</c:v>
                </c:pt>
                <c:pt idx="548">
                  <c:v>38189</c:v>
                </c:pt>
                <c:pt idx="549">
                  <c:v>38190</c:v>
                </c:pt>
                <c:pt idx="550">
                  <c:v>38191</c:v>
                </c:pt>
                <c:pt idx="551">
                  <c:v>38194</c:v>
                </c:pt>
                <c:pt idx="552">
                  <c:v>38195</c:v>
                </c:pt>
                <c:pt idx="553">
                  <c:v>38196</c:v>
                </c:pt>
                <c:pt idx="554">
                  <c:v>38197</c:v>
                </c:pt>
                <c:pt idx="555">
                  <c:v>38198</c:v>
                </c:pt>
                <c:pt idx="556">
                  <c:v>38201</c:v>
                </c:pt>
                <c:pt idx="557">
                  <c:v>38202</c:v>
                </c:pt>
                <c:pt idx="558">
                  <c:v>38203</c:v>
                </c:pt>
                <c:pt idx="559">
                  <c:v>38204</c:v>
                </c:pt>
                <c:pt idx="560">
                  <c:v>38205</c:v>
                </c:pt>
                <c:pt idx="561">
                  <c:v>38208</c:v>
                </c:pt>
                <c:pt idx="562">
                  <c:v>38209</c:v>
                </c:pt>
                <c:pt idx="563">
                  <c:v>38210</c:v>
                </c:pt>
                <c:pt idx="564">
                  <c:v>38211</c:v>
                </c:pt>
                <c:pt idx="565">
                  <c:v>38212</c:v>
                </c:pt>
                <c:pt idx="566">
                  <c:v>38215</c:v>
                </c:pt>
                <c:pt idx="567">
                  <c:v>38216</c:v>
                </c:pt>
                <c:pt idx="568">
                  <c:v>38217</c:v>
                </c:pt>
                <c:pt idx="569">
                  <c:v>38218</c:v>
                </c:pt>
                <c:pt idx="570">
                  <c:v>38219</c:v>
                </c:pt>
                <c:pt idx="571">
                  <c:v>38222</c:v>
                </c:pt>
                <c:pt idx="572">
                  <c:v>38223</c:v>
                </c:pt>
                <c:pt idx="573">
                  <c:v>38224</c:v>
                </c:pt>
                <c:pt idx="574">
                  <c:v>38225</c:v>
                </c:pt>
                <c:pt idx="575">
                  <c:v>38226</c:v>
                </c:pt>
                <c:pt idx="576">
                  <c:v>38229</c:v>
                </c:pt>
                <c:pt idx="577">
                  <c:v>38230</c:v>
                </c:pt>
                <c:pt idx="578">
                  <c:v>38231</c:v>
                </c:pt>
                <c:pt idx="579">
                  <c:v>38232</c:v>
                </c:pt>
                <c:pt idx="580">
                  <c:v>38233</c:v>
                </c:pt>
                <c:pt idx="581">
                  <c:v>38236</c:v>
                </c:pt>
                <c:pt idx="582">
                  <c:v>38237</c:v>
                </c:pt>
                <c:pt idx="583">
                  <c:v>38238</c:v>
                </c:pt>
                <c:pt idx="584">
                  <c:v>38239</c:v>
                </c:pt>
                <c:pt idx="585">
                  <c:v>38240</c:v>
                </c:pt>
                <c:pt idx="586">
                  <c:v>38243</c:v>
                </c:pt>
                <c:pt idx="587">
                  <c:v>38244</c:v>
                </c:pt>
                <c:pt idx="588">
                  <c:v>38245</c:v>
                </c:pt>
                <c:pt idx="589">
                  <c:v>38246</c:v>
                </c:pt>
                <c:pt idx="590">
                  <c:v>38247</c:v>
                </c:pt>
                <c:pt idx="591">
                  <c:v>38250</c:v>
                </c:pt>
                <c:pt idx="592">
                  <c:v>38251</c:v>
                </c:pt>
                <c:pt idx="593">
                  <c:v>38252</c:v>
                </c:pt>
                <c:pt idx="594">
                  <c:v>38253</c:v>
                </c:pt>
                <c:pt idx="595">
                  <c:v>38254</c:v>
                </c:pt>
                <c:pt idx="596">
                  <c:v>38257</c:v>
                </c:pt>
                <c:pt idx="597">
                  <c:v>38258</c:v>
                </c:pt>
                <c:pt idx="598">
                  <c:v>38259</c:v>
                </c:pt>
                <c:pt idx="599">
                  <c:v>38260</c:v>
                </c:pt>
                <c:pt idx="600">
                  <c:v>38268</c:v>
                </c:pt>
                <c:pt idx="601">
                  <c:v>38271</c:v>
                </c:pt>
                <c:pt idx="602">
                  <c:v>38272</c:v>
                </c:pt>
                <c:pt idx="603">
                  <c:v>38273</c:v>
                </c:pt>
                <c:pt idx="604">
                  <c:v>38274</c:v>
                </c:pt>
                <c:pt idx="605">
                  <c:v>38275</c:v>
                </c:pt>
                <c:pt idx="606">
                  <c:v>38278</c:v>
                </c:pt>
                <c:pt idx="607">
                  <c:v>38279</c:v>
                </c:pt>
                <c:pt idx="608">
                  <c:v>38280</c:v>
                </c:pt>
                <c:pt idx="609">
                  <c:v>38281</c:v>
                </c:pt>
                <c:pt idx="610">
                  <c:v>38282</c:v>
                </c:pt>
                <c:pt idx="611">
                  <c:v>38285</c:v>
                </c:pt>
                <c:pt idx="612">
                  <c:v>38286</c:v>
                </c:pt>
                <c:pt idx="613">
                  <c:v>38287</c:v>
                </c:pt>
                <c:pt idx="614">
                  <c:v>38288</c:v>
                </c:pt>
                <c:pt idx="615">
                  <c:v>38289</c:v>
                </c:pt>
                <c:pt idx="616">
                  <c:v>38292</c:v>
                </c:pt>
                <c:pt idx="617">
                  <c:v>38293</c:v>
                </c:pt>
                <c:pt idx="618">
                  <c:v>38294</c:v>
                </c:pt>
                <c:pt idx="619">
                  <c:v>38295</c:v>
                </c:pt>
                <c:pt idx="620">
                  <c:v>38296</c:v>
                </c:pt>
                <c:pt idx="621">
                  <c:v>38299</c:v>
                </c:pt>
                <c:pt idx="622">
                  <c:v>38300</c:v>
                </c:pt>
                <c:pt idx="623">
                  <c:v>38301</c:v>
                </c:pt>
                <c:pt idx="624">
                  <c:v>38302</c:v>
                </c:pt>
                <c:pt idx="625">
                  <c:v>38303</c:v>
                </c:pt>
                <c:pt idx="626">
                  <c:v>38306</c:v>
                </c:pt>
                <c:pt idx="627">
                  <c:v>38307</c:v>
                </c:pt>
                <c:pt idx="628">
                  <c:v>38308</c:v>
                </c:pt>
                <c:pt idx="629">
                  <c:v>38309</c:v>
                </c:pt>
                <c:pt idx="630">
                  <c:v>38310</c:v>
                </c:pt>
                <c:pt idx="631">
                  <c:v>38313</c:v>
                </c:pt>
                <c:pt idx="632">
                  <c:v>38314</c:v>
                </c:pt>
                <c:pt idx="633">
                  <c:v>38315</c:v>
                </c:pt>
                <c:pt idx="634">
                  <c:v>38316</c:v>
                </c:pt>
                <c:pt idx="635">
                  <c:v>38317</c:v>
                </c:pt>
                <c:pt idx="636">
                  <c:v>38320</c:v>
                </c:pt>
                <c:pt idx="637">
                  <c:v>38321</c:v>
                </c:pt>
                <c:pt idx="638">
                  <c:v>38322</c:v>
                </c:pt>
                <c:pt idx="639">
                  <c:v>38323</c:v>
                </c:pt>
                <c:pt idx="640">
                  <c:v>38324</c:v>
                </c:pt>
                <c:pt idx="641">
                  <c:v>38327</c:v>
                </c:pt>
                <c:pt idx="642">
                  <c:v>38328</c:v>
                </c:pt>
                <c:pt idx="643">
                  <c:v>38329</c:v>
                </c:pt>
                <c:pt idx="644">
                  <c:v>38330</c:v>
                </c:pt>
                <c:pt idx="645">
                  <c:v>38331</c:v>
                </c:pt>
                <c:pt idx="646">
                  <c:v>38334</c:v>
                </c:pt>
                <c:pt idx="647">
                  <c:v>38335</c:v>
                </c:pt>
                <c:pt idx="648">
                  <c:v>38336</c:v>
                </c:pt>
                <c:pt idx="649">
                  <c:v>38337</c:v>
                </c:pt>
                <c:pt idx="650">
                  <c:v>38338</c:v>
                </c:pt>
                <c:pt idx="651">
                  <c:v>38341</c:v>
                </c:pt>
                <c:pt idx="652">
                  <c:v>38342</c:v>
                </c:pt>
                <c:pt idx="653">
                  <c:v>38343</c:v>
                </c:pt>
                <c:pt idx="654">
                  <c:v>38344</c:v>
                </c:pt>
                <c:pt idx="655">
                  <c:v>38345</c:v>
                </c:pt>
                <c:pt idx="656">
                  <c:v>38348</c:v>
                </c:pt>
                <c:pt idx="657">
                  <c:v>38349</c:v>
                </c:pt>
                <c:pt idx="658">
                  <c:v>38350</c:v>
                </c:pt>
                <c:pt idx="659">
                  <c:v>38351</c:v>
                </c:pt>
                <c:pt idx="660">
                  <c:v>38352</c:v>
                </c:pt>
                <c:pt idx="661">
                  <c:v>38356</c:v>
                </c:pt>
                <c:pt idx="662">
                  <c:v>38357</c:v>
                </c:pt>
                <c:pt idx="663">
                  <c:v>38358</c:v>
                </c:pt>
                <c:pt idx="664">
                  <c:v>38359</c:v>
                </c:pt>
                <c:pt idx="665">
                  <c:v>38362</c:v>
                </c:pt>
                <c:pt idx="666">
                  <c:v>38363</c:v>
                </c:pt>
                <c:pt idx="667">
                  <c:v>38364</c:v>
                </c:pt>
                <c:pt idx="668">
                  <c:v>38365</c:v>
                </c:pt>
                <c:pt idx="669">
                  <c:v>38366</c:v>
                </c:pt>
                <c:pt idx="670">
                  <c:v>38369</c:v>
                </c:pt>
                <c:pt idx="671">
                  <c:v>38370</c:v>
                </c:pt>
                <c:pt idx="672">
                  <c:v>38371</c:v>
                </c:pt>
                <c:pt idx="673">
                  <c:v>38372</c:v>
                </c:pt>
                <c:pt idx="674">
                  <c:v>38373</c:v>
                </c:pt>
                <c:pt idx="675">
                  <c:v>38376</c:v>
                </c:pt>
                <c:pt idx="676">
                  <c:v>38377</c:v>
                </c:pt>
                <c:pt idx="677">
                  <c:v>38378</c:v>
                </c:pt>
                <c:pt idx="678">
                  <c:v>38379</c:v>
                </c:pt>
                <c:pt idx="679">
                  <c:v>38380</c:v>
                </c:pt>
                <c:pt idx="680">
                  <c:v>38383</c:v>
                </c:pt>
                <c:pt idx="681">
                  <c:v>38384</c:v>
                </c:pt>
                <c:pt idx="682">
                  <c:v>38385</c:v>
                </c:pt>
                <c:pt idx="683">
                  <c:v>38386</c:v>
                </c:pt>
                <c:pt idx="684">
                  <c:v>38387</c:v>
                </c:pt>
                <c:pt idx="685">
                  <c:v>38399</c:v>
                </c:pt>
                <c:pt idx="686">
                  <c:v>38400</c:v>
                </c:pt>
                <c:pt idx="687">
                  <c:v>38401</c:v>
                </c:pt>
                <c:pt idx="688">
                  <c:v>38404</c:v>
                </c:pt>
                <c:pt idx="689">
                  <c:v>38405</c:v>
                </c:pt>
                <c:pt idx="690">
                  <c:v>38406</c:v>
                </c:pt>
                <c:pt idx="691">
                  <c:v>38407</c:v>
                </c:pt>
                <c:pt idx="692">
                  <c:v>38408</c:v>
                </c:pt>
                <c:pt idx="693">
                  <c:v>38411</c:v>
                </c:pt>
                <c:pt idx="694">
                  <c:v>38412</c:v>
                </c:pt>
                <c:pt idx="695">
                  <c:v>38413</c:v>
                </c:pt>
                <c:pt idx="696">
                  <c:v>38414</c:v>
                </c:pt>
                <c:pt idx="697">
                  <c:v>38415</c:v>
                </c:pt>
                <c:pt idx="698">
                  <c:v>38418</c:v>
                </c:pt>
                <c:pt idx="699">
                  <c:v>38419</c:v>
                </c:pt>
                <c:pt idx="700">
                  <c:v>38420</c:v>
                </c:pt>
                <c:pt idx="701">
                  <c:v>38421</c:v>
                </c:pt>
                <c:pt idx="702">
                  <c:v>38422</c:v>
                </c:pt>
                <c:pt idx="703">
                  <c:v>38425</c:v>
                </c:pt>
                <c:pt idx="704">
                  <c:v>38426</c:v>
                </c:pt>
                <c:pt idx="705">
                  <c:v>38427</c:v>
                </c:pt>
                <c:pt idx="706">
                  <c:v>38428</c:v>
                </c:pt>
                <c:pt idx="707">
                  <c:v>38429</c:v>
                </c:pt>
                <c:pt idx="708">
                  <c:v>38432</c:v>
                </c:pt>
                <c:pt idx="709">
                  <c:v>38433</c:v>
                </c:pt>
                <c:pt idx="710">
                  <c:v>38434</c:v>
                </c:pt>
                <c:pt idx="711">
                  <c:v>38435</c:v>
                </c:pt>
                <c:pt idx="712">
                  <c:v>38436</c:v>
                </c:pt>
                <c:pt idx="713">
                  <c:v>38439</c:v>
                </c:pt>
                <c:pt idx="714">
                  <c:v>38440</c:v>
                </c:pt>
                <c:pt idx="715">
                  <c:v>38441</c:v>
                </c:pt>
                <c:pt idx="716">
                  <c:v>38442</c:v>
                </c:pt>
                <c:pt idx="717">
                  <c:v>38443</c:v>
                </c:pt>
                <c:pt idx="718">
                  <c:v>38446</c:v>
                </c:pt>
                <c:pt idx="719">
                  <c:v>38447</c:v>
                </c:pt>
                <c:pt idx="720">
                  <c:v>38448</c:v>
                </c:pt>
                <c:pt idx="721">
                  <c:v>38449</c:v>
                </c:pt>
                <c:pt idx="722">
                  <c:v>38450</c:v>
                </c:pt>
                <c:pt idx="723">
                  <c:v>38453</c:v>
                </c:pt>
                <c:pt idx="724">
                  <c:v>38454</c:v>
                </c:pt>
                <c:pt idx="725">
                  <c:v>38455</c:v>
                </c:pt>
                <c:pt idx="726">
                  <c:v>38456</c:v>
                </c:pt>
                <c:pt idx="727">
                  <c:v>38457</c:v>
                </c:pt>
                <c:pt idx="728">
                  <c:v>38460</c:v>
                </c:pt>
                <c:pt idx="729">
                  <c:v>38461</c:v>
                </c:pt>
                <c:pt idx="730">
                  <c:v>38462</c:v>
                </c:pt>
                <c:pt idx="731">
                  <c:v>38463</c:v>
                </c:pt>
                <c:pt idx="732">
                  <c:v>38464</c:v>
                </c:pt>
                <c:pt idx="733">
                  <c:v>38467</c:v>
                </c:pt>
                <c:pt idx="734">
                  <c:v>38468</c:v>
                </c:pt>
                <c:pt idx="735">
                  <c:v>38469</c:v>
                </c:pt>
                <c:pt idx="736">
                  <c:v>38470</c:v>
                </c:pt>
                <c:pt idx="737">
                  <c:v>38471</c:v>
                </c:pt>
                <c:pt idx="738">
                  <c:v>38481</c:v>
                </c:pt>
                <c:pt idx="739">
                  <c:v>38482</c:v>
                </c:pt>
                <c:pt idx="740">
                  <c:v>38483</c:v>
                </c:pt>
                <c:pt idx="741">
                  <c:v>38484</c:v>
                </c:pt>
                <c:pt idx="742">
                  <c:v>38485</c:v>
                </c:pt>
                <c:pt idx="743">
                  <c:v>38488</c:v>
                </c:pt>
                <c:pt idx="744">
                  <c:v>38489</c:v>
                </c:pt>
                <c:pt idx="745">
                  <c:v>38490</c:v>
                </c:pt>
                <c:pt idx="746">
                  <c:v>38491</c:v>
                </c:pt>
                <c:pt idx="747">
                  <c:v>38492</c:v>
                </c:pt>
                <c:pt idx="748">
                  <c:v>38495</c:v>
                </c:pt>
                <c:pt idx="749">
                  <c:v>38496</c:v>
                </c:pt>
                <c:pt idx="750">
                  <c:v>38497</c:v>
                </c:pt>
                <c:pt idx="751">
                  <c:v>38498</c:v>
                </c:pt>
                <c:pt idx="752">
                  <c:v>38499</c:v>
                </c:pt>
                <c:pt idx="753">
                  <c:v>38502</c:v>
                </c:pt>
                <c:pt idx="754">
                  <c:v>38503</c:v>
                </c:pt>
                <c:pt idx="755">
                  <c:v>38504</c:v>
                </c:pt>
                <c:pt idx="756">
                  <c:v>38505</c:v>
                </c:pt>
                <c:pt idx="757">
                  <c:v>38506</c:v>
                </c:pt>
                <c:pt idx="758">
                  <c:v>38509</c:v>
                </c:pt>
                <c:pt idx="759">
                  <c:v>38510</c:v>
                </c:pt>
                <c:pt idx="760">
                  <c:v>38511</c:v>
                </c:pt>
                <c:pt idx="761">
                  <c:v>38512</c:v>
                </c:pt>
                <c:pt idx="762">
                  <c:v>38513</c:v>
                </c:pt>
                <c:pt idx="763">
                  <c:v>38516</c:v>
                </c:pt>
                <c:pt idx="764">
                  <c:v>38517</c:v>
                </c:pt>
                <c:pt idx="765">
                  <c:v>38518</c:v>
                </c:pt>
                <c:pt idx="766">
                  <c:v>38519</c:v>
                </c:pt>
                <c:pt idx="767">
                  <c:v>38520</c:v>
                </c:pt>
                <c:pt idx="768">
                  <c:v>38523</c:v>
                </c:pt>
                <c:pt idx="769">
                  <c:v>38524</c:v>
                </c:pt>
                <c:pt idx="770">
                  <c:v>38525</c:v>
                </c:pt>
                <c:pt idx="771">
                  <c:v>38526</c:v>
                </c:pt>
                <c:pt idx="772">
                  <c:v>38527</c:v>
                </c:pt>
                <c:pt idx="773">
                  <c:v>38530</c:v>
                </c:pt>
                <c:pt idx="774">
                  <c:v>38531</c:v>
                </c:pt>
                <c:pt idx="775">
                  <c:v>38532</c:v>
                </c:pt>
                <c:pt idx="776">
                  <c:v>38533</c:v>
                </c:pt>
                <c:pt idx="777">
                  <c:v>38534</c:v>
                </c:pt>
                <c:pt idx="778">
                  <c:v>38537</c:v>
                </c:pt>
                <c:pt idx="779">
                  <c:v>38538</c:v>
                </c:pt>
                <c:pt idx="780">
                  <c:v>38539</c:v>
                </c:pt>
                <c:pt idx="781">
                  <c:v>38540</c:v>
                </c:pt>
                <c:pt idx="782">
                  <c:v>38541</c:v>
                </c:pt>
                <c:pt idx="783">
                  <c:v>38544</c:v>
                </c:pt>
                <c:pt idx="784">
                  <c:v>38545</c:v>
                </c:pt>
                <c:pt idx="785">
                  <c:v>38546</c:v>
                </c:pt>
                <c:pt idx="786">
                  <c:v>38547</c:v>
                </c:pt>
                <c:pt idx="787">
                  <c:v>38548</c:v>
                </c:pt>
                <c:pt idx="788">
                  <c:v>38551</c:v>
                </c:pt>
                <c:pt idx="789">
                  <c:v>38552</c:v>
                </c:pt>
                <c:pt idx="790">
                  <c:v>38553</c:v>
                </c:pt>
                <c:pt idx="791">
                  <c:v>38554</c:v>
                </c:pt>
                <c:pt idx="792">
                  <c:v>38555</c:v>
                </c:pt>
                <c:pt idx="793">
                  <c:v>38558</c:v>
                </c:pt>
                <c:pt idx="794">
                  <c:v>38559</c:v>
                </c:pt>
                <c:pt idx="795">
                  <c:v>38560</c:v>
                </c:pt>
                <c:pt idx="796">
                  <c:v>38561</c:v>
                </c:pt>
                <c:pt idx="797">
                  <c:v>38562</c:v>
                </c:pt>
                <c:pt idx="798">
                  <c:v>38565</c:v>
                </c:pt>
                <c:pt idx="799">
                  <c:v>38566</c:v>
                </c:pt>
                <c:pt idx="800">
                  <c:v>38567</c:v>
                </c:pt>
                <c:pt idx="801">
                  <c:v>38568</c:v>
                </c:pt>
                <c:pt idx="802">
                  <c:v>38569</c:v>
                </c:pt>
                <c:pt idx="803">
                  <c:v>38572</c:v>
                </c:pt>
                <c:pt idx="804">
                  <c:v>38573</c:v>
                </c:pt>
                <c:pt idx="805">
                  <c:v>38574</c:v>
                </c:pt>
                <c:pt idx="806">
                  <c:v>38575</c:v>
                </c:pt>
                <c:pt idx="807">
                  <c:v>38576</c:v>
                </c:pt>
                <c:pt idx="808">
                  <c:v>38579</c:v>
                </c:pt>
                <c:pt idx="809">
                  <c:v>38580</c:v>
                </c:pt>
                <c:pt idx="810">
                  <c:v>38581</c:v>
                </c:pt>
                <c:pt idx="811">
                  <c:v>38582</c:v>
                </c:pt>
                <c:pt idx="812">
                  <c:v>38583</c:v>
                </c:pt>
                <c:pt idx="813">
                  <c:v>38586</c:v>
                </c:pt>
                <c:pt idx="814">
                  <c:v>38587</c:v>
                </c:pt>
                <c:pt idx="815">
                  <c:v>38588</c:v>
                </c:pt>
                <c:pt idx="816">
                  <c:v>38589</c:v>
                </c:pt>
                <c:pt idx="817">
                  <c:v>38590</c:v>
                </c:pt>
                <c:pt idx="818">
                  <c:v>38593</c:v>
                </c:pt>
                <c:pt idx="819">
                  <c:v>38594</c:v>
                </c:pt>
                <c:pt idx="820">
                  <c:v>38595</c:v>
                </c:pt>
                <c:pt idx="821">
                  <c:v>38596</c:v>
                </c:pt>
                <c:pt idx="822">
                  <c:v>38597</c:v>
                </c:pt>
                <c:pt idx="823">
                  <c:v>38600</c:v>
                </c:pt>
                <c:pt idx="824">
                  <c:v>38601</c:v>
                </c:pt>
                <c:pt idx="825">
                  <c:v>38602</c:v>
                </c:pt>
                <c:pt idx="826">
                  <c:v>38603</c:v>
                </c:pt>
                <c:pt idx="827">
                  <c:v>38604</c:v>
                </c:pt>
                <c:pt idx="828">
                  <c:v>38607</c:v>
                </c:pt>
                <c:pt idx="829">
                  <c:v>38608</c:v>
                </c:pt>
                <c:pt idx="830">
                  <c:v>38609</c:v>
                </c:pt>
                <c:pt idx="831">
                  <c:v>38610</c:v>
                </c:pt>
                <c:pt idx="832">
                  <c:v>38611</c:v>
                </c:pt>
                <c:pt idx="833">
                  <c:v>38614</c:v>
                </c:pt>
                <c:pt idx="834">
                  <c:v>38615</c:v>
                </c:pt>
                <c:pt idx="835">
                  <c:v>38616</c:v>
                </c:pt>
                <c:pt idx="836">
                  <c:v>38617</c:v>
                </c:pt>
                <c:pt idx="837">
                  <c:v>38618</c:v>
                </c:pt>
                <c:pt idx="838">
                  <c:v>38621</c:v>
                </c:pt>
                <c:pt idx="839">
                  <c:v>38622</c:v>
                </c:pt>
                <c:pt idx="840">
                  <c:v>38623</c:v>
                </c:pt>
                <c:pt idx="841">
                  <c:v>38624</c:v>
                </c:pt>
                <c:pt idx="842">
                  <c:v>38625</c:v>
                </c:pt>
                <c:pt idx="843">
                  <c:v>38635</c:v>
                </c:pt>
                <c:pt idx="844">
                  <c:v>38636</c:v>
                </c:pt>
                <c:pt idx="845">
                  <c:v>38637</c:v>
                </c:pt>
                <c:pt idx="846">
                  <c:v>38638</c:v>
                </c:pt>
                <c:pt idx="847">
                  <c:v>38639</c:v>
                </c:pt>
                <c:pt idx="848">
                  <c:v>38642</c:v>
                </c:pt>
                <c:pt idx="849">
                  <c:v>38643</c:v>
                </c:pt>
                <c:pt idx="850">
                  <c:v>38644</c:v>
                </c:pt>
                <c:pt idx="851">
                  <c:v>38645</c:v>
                </c:pt>
                <c:pt idx="852">
                  <c:v>38646</c:v>
                </c:pt>
                <c:pt idx="853">
                  <c:v>38649</c:v>
                </c:pt>
                <c:pt idx="854">
                  <c:v>38650</c:v>
                </c:pt>
                <c:pt idx="855">
                  <c:v>38651</c:v>
                </c:pt>
                <c:pt idx="856">
                  <c:v>38652</c:v>
                </c:pt>
                <c:pt idx="857">
                  <c:v>38653</c:v>
                </c:pt>
                <c:pt idx="858">
                  <c:v>38656</c:v>
                </c:pt>
                <c:pt idx="859">
                  <c:v>38657</c:v>
                </c:pt>
                <c:pt idx="860">
                  <c:v>38658</c:v>
                </c:pt>
                <c:pt idx="861">
                  <c:v>38659</c:v>
                </c:pt>
                <c:pt idx="862">
                  <c:v>38660</c:v>
                </c:pt>
                <c:pt idx="863">
                  <c:v>38663</c:v>
                </c:pt>
                <c:pt idx="864">
                  <c:v>38664</c:v>
                </c:pt>
                <c:pt idx="865">
                  <c:v>38665</c:v>
                </c:pt>
                <c:pt idx="866">
                  <c:v>38666</c:v>
                </c:pt>
                <c:pt idx="867">
                  <c:v>38667</c:v>
                </c:pt>
                <c:pt idx="868">
                  <c:v>38670</c:v>
                </c:pt>
                <c:pt idx="869">
                  <c:v>38671</c:v>
                </c:pt>
                <c:pt idx="870">
                  <c:v>38672</c:v>
                </c:pt>
                <c:pt idx="871">
                  <c:v>38673</c:v>
                </c:pt>
                <c:pt idx="872">
                  <c:v>38674</c:v>
                </c:pt>
                <c:pt idx="873">
                  <c:v>38677</c:v>
                </c:pt>
                <c:pt idx="874">
                  <c:v>38678</c:v>
                </c:pt>
                <c:pt idx="875">
                  <c:v>38679</c:v>
                </c:pt>
                <c:pt idx="876">
                  <c:v>38680</c:v>
                </c:pt>
                <c:pt idx="877">
                  <c:v>38681</c:v>
                </c:pt>
                <c:pt idx="878">
                  <c:v>38684</c:v>
                </c:pt>
                <c:pt idx="879">
                  <c:v>38685</c:v>
                </c:pt>
                <c:pt idx="880">
                  <c:v>38686</c:v>
                </c:pt>
                <c:pt idx="881">
                  <c:v>38687</c:v>
                </c:pt>
                <c:pt idx="882">
                  <c:v>38688</c:v>
                </c:pt>
                <c:pt idx="883">
                  <c:v>38691</c:v>
                </c:pt>
                <c:pt idx="884">
                  <c:v>38692</c:v>
                </c:pt>
                <c:pt idx="885">
                  <c:v>38693</c:v>
                </c:pt>
                <c:pt idx="886">
                  <c:v>38694</c:v>
                </c:pt>
                <c:pt idx="887">
                  <c:v>38695</c:v>
                </c:pt>
                <c:pt idx="888">
                  <c:v>38698</c:v>
                </c:pt>
                <c:pt idx="889">
                  <c:v>38699</c:v>
                </c:pt>
                <c:pt idx="890">
                  <c:v>38700</c:v>
                </c:pt>
                <c:pt idx="891">
                  <c:v>38701</c:v>
                </c:pt>
                <c:pt idx="892">
                  <c:v>38702</c:v>
                </c:pt>
                <c:pt idx="893">
                  <c:v>38705</c:v>
                </c:pt>
                <c:pt idx="894">
                  <c:v>38706</c:v>
                </c:pt>
                <c:pt idx="895">
                  <c:v>38707</c:v>
                </c:pt>
                <c:pt idx="896">
                  <c:v>38708</c:v>
                </c:pt>
                <c:pt idx="897">
                  <c:v>38709</c:v>
                </c:pt>
                <c:pt idx="898">
                  <c:v>38712</c:v>
                </c:pt>
                <c:pt idx="899">
                  <c:v>38713</c:v>
                </c:pt>
                <c:pt idx="900">
                  <c:v>38714</c:v>
                </c:pt>
                <c:pt idx="901">
                  <c:v>38715</c:v>
                </c:pt>
                <c:pt idx="902">
                  <c:v>38716</c:v>
                </c:pt>
                <c:pt idx="903">
                  <c:v>38721</c:v>
                </c:pt>
                <c:pt idx="904">
                  <c:v>38722</c:v>
                </c:pt>
                <c:pt idx="905">
                  <c:v>38723</c:v>
                </c:pt>
                <c:pt idx="906">
                  <c:v>38726</c:v>
                </c:pt>
                <c:pt idx="907">
                  <c:v>38727</c:v>
                </c:pt>
                <c:pt idx="908">
                  <c:v>38728</c:v>
                </c:pt>
                <c:pt idx="909">
                  <c:v>38729</c:v>
                </c:pt>
                <c:pt idx="910">
                  <c:v>38730</c:v>
                </c:pt>
                <c:pt idx="911">
                  <c:v>38733</c:v>
                </c:pt>
                <c:pt idx="912">
                  <c:v>38734</c:v>
                </c:pt>
                <c:pt idx="913">
                  <c:v>38735</c:v>
                </c:pt>
                <c:pt idx="914">
                  <c:v>38736</c:v>
                </c:pt>
                <c:pt idx="915">
                  <c:v>38737</c:v>
                </c:pt>
                <c:pt idx="916">
                  <c:v>38740</c:v>
                </c:pt>
                <c:pt idx="917">
                  <c:v>38741</c:v>
                </c:pt>
                <c:pt idx="918">
                  <c:v>38742</c:v>
                </c:pt>
                <c:pt idx="919">
                  <c:v>38754</c:v>
                </c:pt>
                <c:pt idx="920">
                  <c:v>38755</c:v>
                </c:pt>
                <c:pt idx="921">
                  <c:v>38756</c:v>
                </c:pt>
                <c:pt idx="922">
                  <c:v>38757</c:v>
                </c:pt>
                <c:pt idx="923">
                  <c:v>38758</c:v>
                </c:pt>
                <c:pt idx="924">
                  <c:v>38761</c:v>
                </c:pt>
                <c:pt idx="925">
                  <c:v>38762</c:v>
                </c:pt>
                <c:pt idx="926">
                  <c:v>38763</c:v>
                </c:pt>
                <c:pt idx="927">
                  <c:v>38764</c:v>
                </c:pt>
                <c:pt idx="928">
                  <c:v>38765</c:v>
                </c:pt>
                <c:pt idx="929">
                  <c:v>38768</c:v>
                </c:pt>
                <c:pt idx="930">
                  <c:v>38769</c:v>
                </c:pt>
                <c:pt idx="931">
                  <c:v>38770</c:v>
                </c:pt>
                <c:pt idx="932">
                  <c:v>38771</c:v>
                </c:pt>
                <c:pt idx="933">
                  <c:v>38772</c:v>
                </c:pt>
                <c:pt idx="934">
                  <c:v>38775</c:v>
                </c:pt>
                <c:pt idx="935">
                  <c:v>38776</c:v>
                </c:pt>
                <c:pt idx="936">
                  <c:v>38777</c:v>
                </c:pt>
                <c:pt idx="937">
                  <c:v>38778</c:v>
                </c:pt>
                <c:pt idx="938">
                  <c:v>38779</c:v>
                </c:pt>
                <c:pt idx="939">
                  <c:v>38782</c:v>
                </c:pt>
                <c:pt idx="940">
                  <c:v>38783</c:v>
                </c:pt>
                <c:pt idx="941">
                  <c:v>38784</c:v>
                </c:pt>
                <c:pt idx="942">
                  <c:v>38785</c:v>
                </c:pt>
                <c:pt idx="943">
                  <c:v>38786</c:v>
                </c:pt>
                <c:pt idx="944">
                  <c:v>38789</c:v>
                </c:pt>
                <c:pt idx="945">
                  <c:v>38790</c:v>
                </c:pt>
                <c:pt idx="946">
                  <c:v>38791</c:v>
                </c:pt>
                <c:pt idx="947">
                  <c:v>38792</c:v>
                </c:pt>
                <c:pt idx="948">
                  <c:v>38793</c:v>
                </c:pt>
                <c:pt idx="949">
                  <c:v>38796</c:v>
                </c:pt>
                <c:pt idx="950">
                  <c:v>38797</c:v>
                </c:pt>
                <c:pt idx="951">
                  <c:v>38798</c:v>
                </c:pt>
                <c:pt idx="952">
                  <c:v>38799</c:v>
                </c:pt>
                <c:pt idx="953">
                  <c:v>38800</c:v>
                </c:pt>
                <c:pt idx="954">
                  <c:v>38803</c:v>
                </c:pt>
                <c:pt idx="955">
                  <c:v>38804</c:v>
                </c:pt>
                <c:pt idx="956">
                  <c:v>38805</c:v>
                </c:pt>
                <c:pt idx="957">
                  <c:v>38806</c:v>
                </c:pt>
                <c:pt idx="958">
                  <c:v>38807</c:v>
                </c:pt>
                <c:pt idx="959">
                  <c:v>38810</c:v>
                </c:pt>
                <c:pt idx="960">
                  <c:v>38811</c:v>
                </c:pt>
                <c:pt idx="961">
                  <c:v>38812</c:v>
                </c:pt>
                <c:pt idx="962">
                  <c:v>38813</c:v>
                </c:pt>
                <c:pt idx="963">
                  <c:v>38814</c:v>
                </c:pt>
                <c:pt idx="964">
                  <c:v>38817</c:v>
                </c:pt>
                <c:pt idx="965">
                  <c:v>38818</c:v>
                </c:pt>
                <c:pt idx="966">
                  <c:v>38819</c:v>
                </c:pt>
                <c:pt idx="967">
                  <c:v>38820</c:v>
                </c:pt>
                <c:pt idx="968">
                  <c:v>38821</c:v>
                </c:pt>
                <c:pt idx="969">
                  <c:v>38824</c:v>
                </c:pt>
                <c:pt idx="970">
                  <c:v>38825</c:v>
                </c:pt>
                <c:pt idx="971">
                  <c:v>38826</c:v>
                </c:pt>
                <c:pt idx="972">
                  <c:v>38827</c:v>
                </c:pt>
                <c:pt idx="973">
                  <c:v>38828</c:v>
                </c:pt>
                <c:pt idx="974">
                  <c:v>38831</c:v>
                </c:pt>
                <c:pt idx="975">
                  <c:v>38832</c:v>
                </c:pt>
                <c:pt idx="976">
                  <c:v>38833</c:v>
                </c:pt>
                <c:pt idx="977">
                  <c:v>38834</c:v>
                </c:pt>
                <c:pt idx="978">
                  <c:v>38835</c:v>
                </c:pt>
                <c:pt idx="979">
                  <c:v>38845</c:v>
                </c:pt>
                <c:pt idx="980">
                  <c:v>38846</c:v>
                </c:pt>
                <c:pt idx="981">
                  <c:v>38847</c:v>
                </c:pt>
                <c:pt idx="982">
                  <c:v>38848</c:v>
                </c:pt>
                <c:pt idx="983">
                  <c:v>38849</c:v>
                </c:pt>
                <c:pt idx="984">
                  <c:v>38852</c:v>
                </c:pt>
                <c:pt idx="985">
                  <c:v>38853</c:v>
                </c:pt>
                <c:pt idx="986">
                  <c:v>38854</c:v>
                </c:pt>
                <c:pt idx="987">
                  <c:v>38855</c:v>
                </c:pt>
                <c:pt idx="988">
                  <c:v>38856</c:v>
                </c:pt>
                <c:pt idx="989">
                  <c:v>38859</c:v>
                </c:pt>
                <c:pt idx="990">
                  <c:v>38860</c:v>
                </c:pt>
                <c:pt idx="991">
                  <c:v>38861</c:v>
                </c:pt>
                <c:pt idx="992">
                  <c:v>38862</c:v>
                </c:pt>
                <c:pt idx="993">
                  <c:v>38863</c:v>
                </c:pt>
                <c:pt idx="994">
                  <c:v>38866</c:v>
                </c:pt>
                <c:pt idx="995">
                  <c:v>38867</c:v>
                </c:pt>
                <c:pt idx="996">
                  <c:v>38868</c:v>
                </c:pt>
                <c:pt idx="997">
                  <c:v>38869</c:v>
                </c:pt>
                <c:pt idx="998">
                  <c:v>38870</c:v>
                </c:pt>
                <c:pt idx="999">
                  <c:v>38873</c:v>
                </c:pt>
                <c:pt idx="1000">
                  <c:v>38874</c:v>
                </c:pt>
                <c:pt idx="1001">
                  <c:v>38875</c:v>
                </c:pt>
                <c:pt idx="1002">
                  <c:v>38876</c:v>
                </c:pt>
                <c:pt idx="1003">
                  <c:v>38877</c:v>
                </c:pt>
                <c:pt idx="1004">
                  <c:v>38880</c:v>
                </c:pt>
                <c:pt idx="1005">
                  <c:v>38881</c:v>
                </c:pt>
                <c:pt idx="1006">
                  <c:v>38882</c:v>
                </c:pt>
                <c:pt idx="1007">
                  <c:v>38883</c:v>
                </c:pt>
                <c:pt idx="1008">
                  <c:v>38884</c:v>
                </c:pt>
                <c:pt idx="1009">
                  <c:v>38887</c:v>
                </c:pt>
                <c:pt idx="1010">
                  <c:v>38888</c:v>
                </c:pt>
                <c:pt idx="1011">
                  <c:v>38889</c:v>
                </c:pt>
                <c:pt idx="1012">
                  <c:v>38890</c:v>
                </c:pt>
                <c:pt idx="1013">
                  <c:v>38891</c:v>
                </c:pt>
                <c:pt idx="1014">
                  <c:v>38894</c:v>
                </c:pt>
                <c:pt idx="1015">
                  <c:v>38895</c:v>
                </c:pt>
                <c:pt idx="1016">
                  <c:v>38896</c:v>
                </c:pt>
                <c:pt idx="1017">
                  <c:v>38897</c:v>
                </c:pt>
                <c:pt idx="1018">
                  <c:v>38898</c:v>
                </c:pt>
                <c:pt idx="1019">
                  <c:v>38901</c:v>
                </c:pt>
                <c:pt idx="1020">
                  <c:v>38902</c:v>
                </c:pt>
                <c:pt idx="1021">
                  <c:v>38903</c:v>
                </c:pt>
                <c:pt idx="1022">
                  <c:v>38904</c:v>
                </c:pt>
                <c:pt idx="1023">
                  <c:v>38905</c:v>
                </c:pt>
                <c:pt idx="1024">
                  <c:v>38908</c:v>
                </c:pt>
                <c:pt idx="1025">
                  <c:v>38909</c:v>
                </c:pt>
                <c:pt idx="1026">
                  <c:v>38910</c:v>
                </c:pt>
                <c:pt idx="1027">
                  <c:v>38911</c:v>
                </c:pt>
                <c:pt idx="1028">
                  <c:v>38912</c:v>
                </c:pt>
                <c:pt idx="1029">
                  <c:v>38915</c:v>
                </c:pt>
                <c:pt idx="1030">
                  <c:v>38916</c:v>
                </c:pt>
                <c:pt idx="1031">
                  <c:v>38917</c:v>
                </c:pt>
                <c:pt idx="1032">
                  <c:v>38918</c:v>
                </c:pt>
                <c:pt idx="1033">
                  <c:v>38919</c:v>
                </c:pt>
                <c:pt idx="1034">
                  <c:v>38922</c:v>
                </c:pt>
                <c:pt idx="1035">
                  <c:v>38923</c:v>
                </c:pt>
                <c:pt idx="1036">
                  <c:v>38924</c:v>
                </c:pt>
                <c:pt idx="1037">
                  <c:v>38925</c:v>
                </c:pt>
                <c:pt idx="1038">
                  <c:v>38926</c:v>
                </c:pt>
                <c:pt idx="1039">
                  <c:v>38929</c:v>
                </c:pt>
                <c:pt idx="1040">
                  <c:v>38930</c:v>
                </c:pt>
                <c:pt idx="1041">
                  <c:v>38931</c:v>
                </c:pt>
                <c:pt idx="1042">
                  <c:v>38932</c:v>
                </c:pt>
                <c:pt idx="1043">
                  <c:v>38933</c:v>
                </c:pt>
                <c:pt idx="1044">
                  <c:v>38936</c:v>
                </c:pt>
                <c:pt idx="1045">
                  <c:v>38937</c:v>
                </c:pt>
                <c:pt idx="1046">
                  <c:v>38938</c:v>
                </c:pt>
                <c:pt idx="1047">
                  <c:v>38939</c:v>
                </c:pt>
                <c:pt idx="1048">
                  <c:v>38940</c:v>
                </c:pt>
                <c:pt idx="1049">
                  <c:v>38943</c:v>
                </c:pt>
                <c:pt idx="1050">
                  <c:v>38944</c:v>
                </c:pt>
                <c:pt idx="1051">
                  <c:v>38945</c:v>
                </c:pt>
                <c:pt idx="1052">
                  <c:v>38946</c:v>
                </c:pt>
                <c:pt idx="1053">
                  <c:v>38947</c:v>
                </c:pt>
                <c:pt idx="1054">
                  <c:v>38950</c:v>
                </c:pt>
                <c:pt idx="1055">
                  <c:v>38951</c:v>
                </c:pt>
                <c:pt idx="1056">
                  <c:v>38952</c:v>
                </c:pt>
                <c:pt idx="1057">
                  <c:v>38953</c:v>
                </c:pt>
                <c:pt idx="1058">
                  <c:v>38954</c:v>
                </c:pt>
                <c:pt idx="1059">
                  <c:v>38957</c:v>
                </c:pt>
                <c:pt idx="1060">
                  <c:v>38958</c:v>
                </c:pt>
                <c:pt idx="1061">
                  <c:v>38959</c:v>
                </c:pt>
                <c:pt idx="1062">
                  <c:v>38960</c:v>
                </c:pt>
                <c:pt idx="1063">
                  <c:v>38961</c:v>
                </c:pt>
                <c:pt idx="1064">
                  <c:v>38964</c:v>
                </c:pt>
                <c:pt idx="1065">
                  <c:v>38965</c:v>
                </c:pt>
                <c:pt idx="1066">
                  <c:v>38966</c:v>
                </c:pt>
                <c:pt idx="1067">
                  <c:v>38967</c:v>
                </c:pt>
                <c:pt idx="1068">
                  <c:v>38968</c:v>
                </c:pt>
                <c:pt idx="1069">
                  <c:v>38971</c:v>
                </c:pt>
                <c:pt idx="1070">
                  <c:v>38972</c:v>
                </c:pt>
                <c:pt idx="1071">
                  <c:v>38973</c:v>
                </c:pt>
                <c:pt idx="1072">
                  <c:v>38974</c:v>
                </c:pt>
                <c:pt idx="1073">
                  <c:v>38975</c:v>
                </c:pt>
                <c:pt idx="1074">
                  <c:v>38978</c:v>
                </c:pt>
                <c:pt idx="1075">
                  <c:v>38979</c:v>
                </c:pt>
                <c:pt idx="1076">
                  <c:v>38980</c:v>
                </c:pt>
                <c:pt idx="1077">
                  <c:v>38981</c:v>
                </c:pt>
                <c:pt idx="1078">
                  <c:v>38982</c:v>
                </c:pt>
                <c:pt idx="1079">
                  <c:v>38985</c:v>
                </c:pt>
                <c:pt idx="1080">
                  <c:v>38986</c:v>
                </c:pt>
                <c:pt idx="1081">
                  <c:v>38987</c:v>
                </c:pt>
                <c:pt idx="1082">
                  <c:v>38988</c:v>
                </c:pt>
                <c:pt idx="1083">
                  <c:v>38989</c:v>
                </c:pt>
                <c:pt idx="1084">
                  <c:v>38999</c:v>
                </c:pt>
                <c:pt idx="1085">
                  <c:v>39000</c:v>
                </c:pt>
                <c:pt idx="1086">
                  <c:v>39001</c:v>
                </c:pt>
                <c:pt idx="1087">
                  <c:v>39002</c:v>
                </c:pt>
                <c:pt idx="1088">
                  <c:v>39003</c:v>
                </c:pt>
                <c:pt idx="1089">
                  <c:v>39006</c:v>
                </c:pt>
                <c:pt idx="1090">
                  <c:v>39007</c:v>
                </c:pt>
                <c:pt idx="1091">
                  <c:v>39008</c:v>
                </c:pt>
                <c:pt idx="1092">
                  <c:v>39009</c:v>
                </c:pt>
                <c:pt idx="1093">
                  <c:v>39010</c:v>
                </c:pt>
                <c:pt idx="1094">
                  <c:v>39013</c:v>
                </c:pt>
                <c:pt idx="1095">
                  <c:v>39014</c:v>
                </c:pt>
                <c:pt idx="1096">
                  <c:v>39015</c:v>
                </c:pt>
                <c:pt idx="1097">
                  <c:v>39016</c:v>
                </c:pt>
                <c:pt idx="1098">
                  <c:v>39017</c:v>
                </c:pt>
                <c:pt idx="1099">
                  <c:v>39020</c:v>
                </c:pt>
                <c:pt idx="1100">
                  <c:v>39021</c:v>
                </c:pt>
                <c:pt idx="1101">
                  <c:v>39022</c:v>
                </c:pt>
                <c:pt idx="1102">
                  <c:v>39023</c:v>
                </c:pt>
                <c:pt idx="1103">
                  <c:v>39024</c:v>
                </c:pt>
                <c:pt idx="1104">
                  <c:v>39027</c:v>
                </c:pt>
                <c:pt idx="1105">
                  <c:v>39028</c:v>
                </c:pt>
                <c:pt idx="1106">
                  <c:v>39029</c:v>
                </c:pt>
                <c:pt idx="1107">
                  <c:v>39030</c:v>
                </c:pt>
                <c:pt idx="1108">
                  <c:v>39031</c:v>
                </c:pt>
                <c:pt idx="1109">
                  <c:v>39034</c:v>
                </c:pt>
                <c:pt idx="1110">
                  <c:v>39035</c:v>
                </c:pt>
                <c:pt idx="1111">
                  <c:v>39036</c:v>
                </c:pt>
                <c:pt idx="1112">
                  <c:v>39037</c:v>
                </c:pt>
                <c:pt idx="1113">
                  <c:v>39038</c:v>
                </c:pt>
                <c:pt idx="1114">
                  <c:v>39041</c:v>
                </c:pt>
                <c:pt idx="1115">
                  <c:v>39042</c:v>
                </c:pt>
                <c:pt idx="1116">
                  <c:v>39043</c:v>
                </c:pt>
                <c:pt idx="1117">
                  <c:v>39044</c:v>
                </c:pt>
                <c:pt idx="1118">
                  <c:v>39045</c:v>
                </c:pt>
                <c:pt idx="1119">
                  <c:v>39048</c:v>
                </c:pt>
                <c:pt idx="1120">
                  <c:v>39049</c:v>
                </c:pt>
                <c:pt idx="1121">
                  <c:v>39050</c:v>
                </c:pt>
                <c:pt idx="1122">
                  <c:v>39051</c:v>
                </c:pt>
                <c:pt idx="1123">
                  <c:v>39052</c:v>
                </c:pt>
                <c:pt idx="1124">
                  <c:v>39055</c:v>
                </c:pt>
                <c:pt idx="1125">
                  <c:v>39056</c:v>
                </c:pt>
                <c:pt idx="1126">
                  <c:v>39057</c:v>
                </c:pt>
                <c:pt idx="1127">
                  <c:v>39058</c:v>
                </c:pt>
                <c:pt idx="1128">
                  <c:v>39059</c:v>
                </c:pt>
                <c:pt idx="1129">
                  <c:v>39062</c:v>
                </c:pt>
                <c:pt idx="1130">
                  <c:v>39063</c:v>
                </c:pt>
                <c:pt idx="1131">
                  <c:v>39064</c:v>
                </c:pt>
                <c:pt idx="1132">
                  <c:v>39065</c:v>
                </c:pt>
                <c:pt idx="1133">
                  <c:v>39066</c:v>
                </c:pt>
                <c:pt idx="1134">
                  <c:v>39069</c:v>
                </c:pt>
                <c:pt idx="1135">
                  <c:v>39070</c:v>
                </c:pt>
                <c:pt idx="1136">
                  <c:v>39071</c:v>
                </c:pt>
                <c:pt idx="1137">
                  <c:v>39072</c:v>
                </c:pt>
                <c:pt idx="1138">
                  <c:v>39073</c:v>
                </c:pt>
                <c:pt idx="1139">
                  <c:v>39076</c:v>
                </c:pt>
                <c:pt idx="1140">
                  <c:v>39077</c:v>
                </c:pt>
                <c:pt idx="1141">
                  <c:v>39078</c:v>
                </c:pt>
                <c:pt idx="1142">
                  <c:v>39079</c:v>
                </c:pt>
                <c:pt idx="1143">
                  <c:v>39080</c:v>
                </c:pt>
                <c:pt idx="1144">
                  <c:v>39086</c:v>
                </c:pt>
                <c:pt idx="1145">
                  <c:v>39087</c:v>
                </c:pt>
                <c:pt idx="1146">
                  <c:v>39090</c:v>
                </c:pt>
                <c:pt idx="1147">
                  <c:v>39091</c:v>
                </c:pt>
                <c:pt idx="1148">
                  <c:v>39092</c:v>
                </c:pt>
                <c:pt idx="1149">
                  <c:v>39093</c:v>
                </c:pt>
                <c:pt idx="1150">
                  <c:v>39094</c:v>
                </c:pt>
                <c:pt idx="1151">
                  <c:v>39097</c:v>
                </c:pt>
                <c:pt idx="1152">
                  <c:v>39098</c:v>
                </c:pt>
                <c:pt idx="1153">
                  <c:v>39099</c:v>
                </c:pt>
                <c:pt idx="1154">
                  <c:v>39100</c:v>
                </c:pt>
                <c:pt idx="1155">
                  <c:v>39101</c:v>
                </c:pt>
                <c:pt idx="1156">
                  <c:v>39104</c:v>
                </c:pt>
                <c:pt idx="1157">
                  <c:v>39105</c:v>
                </c:pt>
                <c:pt idx="1158">
                  <c:v>39106</c:v>
                </c:pt>
                <c:pt idx="1159">
                  <c:v>39107</c:v>
                </c:pt>
                <c:pt idx="1160">
                  <c:v>39108</c:v>
                </c:pt>
                <c:pt idx="1161">
                  <c:v>39111</c:v>
                </c:pt>
                <c:pt idx="1162">
                  <c:v>39112</c:v>
                </c:pt>
                <c:pt idx="1163">
                  <c:v>39113</c:v>
                </c:pt>
                <c:pt idx="1164">
                  <c:v>39114</c:v>
                </c:pt>
                <c:pt idx="1165">
                  <c:v>39115</c:v>
                </c:pt>
                <c:pt idx="1166">
                  <c:v>39118</c:v>
                </c:pt>
                <c:pt idx="1167">
                  <c:v>39119</c:v>
                </c:pt>
                <c:pt idx="1168">
                  <c:v>39120</c:v>
                </c:pt>
                <c:pt idx="1169">
                  <c:v>39121</c:v>
                </c:pt>
                <c:pt idx="1170">
                  <c:v>39122</c:v>
                </c:pt>
                <c:pt idx="1171">
                  <c:v>39125</c:v>
                </c:pt>
                <c:pt idx="1172">
                  <c:v>39126</c:v>
                </c:pt>
                <c:pt idx="1173">
                  <c:v>39127</c:v>
                </c:pt>
                <c:pt idx="1174">
                  <c:v>39128</c:v>
                </c:pt>
                <c:pt idx="1175">
                  <c:v>39129</c:v>
                </c:pt>
                <c:pt idx="1176">
                  <c:v>39139</c:v>
                </c:pt>
                <c:pt idx="1177">
                  <c:v>39140</c:v>
                </c:pt>
                <c:pt idx="1178">
                  <c:v>39141</c:v>
                </c:pt>
                <c:pt idx="1179">
                  <c:v>39142</c:v>
                </c:pt>
                <c:pt idx="1180">
                  <c:v>39143</c:v>
                </c:pt>
                <c:pt idx="1181">
                  <c:v>39146</c:v>
                </c:pt>
                <c:pt idx="1182">
                  <c:v>39147</c:v>
                </c:pt>
                <c:pt idx="1183">
                  <c:v>39148</c:v>
                </c:pt>
                <c:pt idx="1184">
                  <c:v>39149</c:v>
                </c:pt>
                <c:pt idx="1185">
                  <c:v>39150</c:v>
                </c:pt>
                <c:pt idx="1186">
                  <c:v>39153</c:v>
                </c:pt>
                <c:pt idx="1187">
                  <c:v>39154</c:v>
                </c:pt>
                <c:pt idx="1188">
                  <c:v>39155</c:v>
                </c:pt>
                <c:pt idx="1189">
                  <c:v>39156</c:v>
                </c:pt>
                <c:pt idx="1190">
                  <c:v>39157</c:v>
                </c:pt>
                <c:pt idx="1191">
                  <c:v>39160</c:v>
                </c:pt>
                <c:pt idx="1192">
                  <c:v>39161</c:v>
                </c:pt>
                <c:pt idx="1193">
                  <c:v>39162</c:v>
                </c:pt>
                <c:pt idx="1194">
                  <c:v>39163</c:v>
                </c:pt>
                <c:pt idx="1195">
                  <c:v>39164</c:v>
                </c:pt>
                <c:pt idx="1196">
                  <c:v>39167</c:v>
                </c:pt>
                <c:pt idx="1197">
                  <c:v>39168</c:v>
                </c:pt>
                <c:pt idx="1198">
                  <c:v>39169</c:v>
                </c:pt>
                <c:pt idx="1199">
                  <c:v>39170</c:v>
                </c:pt>
                <c:pt idx="1200">
                  <c:v>39171</c:v>
                </c:pt>
                <c:pt idx="1201">
                  <c:v>39174</c:v>
                </c:pt>
                <c:pt idx="1202">
                  <c:v>39175</c:v>
                </c:pt>
                <c:pt idx="1203">
                  <c:v>39176</c:v>
                </c:pt>
                <c:pt idx="1204">
                  <c:v>39177</c:v>
                </c:pt>
                <c:pt idx="1205">
                  <c:v>39178</c:v>
                </c:pt>
                <c:pt idx="1206">
                  <c:v>39181</c:v>
                </c:pt>
                <c:pt idx="1207">
                  <c:v>39182</c:v>
                </c:pt>
                <c:pt idx="1208">
                  <c:v>39183</c:v>
                </c:pt>
                <c:pt idx="1209">
                  <c:v>39184</c:v>
                </c:pt>
                <c:pt idx="1210">
                  <c:v>39185</c:v>
                </c:pt>
                <c:pt idx="1211">
                  <c:v>39188</c:v>
                </c:pt>
                <c:pt idx="1212">
                  <c:v>39189</c:v>
                </c:pt>
                <c:pt idx="1213">
                  <c:v>39190</c:v>
                </c:pt>
                <c:pt idx="1214">
                  <c:v>39191</c:v>
                </c:pt>
                <c:pt idx="1215">
                  <c:v>39192</c:v>
                </c:pt>
                <c:pt idx="1216">
                  <c:v>39195</c:v>
                </c:pt>
                <c:pt idx="1217">
                  <c:v>39196</c:v>
                </c:pt>
                <c:pt idx="1218">
                  <c:v>39197</c:v>
                </c:pt>
                <c:pt idx="1219">
                  <c:v>39198</c:v>
                </c:pt>
                <c:pt idx="1220">
                  <c:v>39199</c:v>
                </c:pt>
                <c:pt idx="1221">
                  <c:v>39202</c:v>
                </c:pt>
                <c:pt idx="1222">
                  <c:v>39210</c:v>
                </c:pt>
                <c:pt idx="1223">
                  <c:v>39211</c:v>
                </c:pt>
                <c:pt idx="1224">
                  <c:v>39212</c:v>
                </c:pt>
                <c:pt idx="1225">
                  <c:v>39213</c:v>
                </c:pt>
                <c:pt idx="1226">
                  <c:v>39216</c:v>
                </c:pt>
                <c:pt idx="1227">
                  <c:v>39217</c:v>
                </c:pt>
                <c:pt idx="1228">
                  <c:v>39218</c:v>
                </c:pt>
                <c:pt idx="1229">
                  <c:v>39219</c:v>
                </c:pt>
                <c:pt idx="1230">
                  <c:v>39220</c:v>
                </c:pt>
                <c:pt idx="1231">
                  <c:v>39223</c:v>
                </c:pt>
                <c:pt idx="1232">
                  <c:v>39224</c:v>
                </c:pt>
                <c:pt idx="1233">
                  <c:v>39225</c:v>
                </c:pt>
                <c:pt idx="1234">
                  <c:v>39226</c:v>
                </c:pt>
                <c:pt idx="1235">
                  <c:v>39227</c:v>
                </c:pt>
                <c:pt idx="1236">
                  <c:v>39230</c:v>
                </c:pt>
                <c:pt idx="1237">
                  <c:v>39231</c:v>
                </c:pt>
                <c:pt idx="1238">
                  <c:v>39232</c:v>
                </c:pt>
                <c:pt idx="1239">
                  <c:v>39233</c:v>
                </c:pt>
                <c:pt idx="1240">
                  <c:v>39234</c:v>
                </c:pt>
                <c:pt idx="1241">
                  <c:v>39237</c:v>
                </c:pt>
                <c:pt idx="1242">
                  <c:v>39238</c:v>
                </c:pt>
                <c:pt idx="1243">
                  <c:v>39239</c:v>
                </c:pt>
                <c:pt idx="1244">
                  <c:v>39240</c:v>
                </c:pt>
                <c:pt idx="1245">
                  <c:v>39241</c:v>
                </c:pt>
                <c:pt idx="1246">
                  <c:v>39244</c:v>
                </c:pt>
                <c:pt idx="1247">
                  <c:v>39245</c:v>
                </c:pt>
                <c:pt idx="1248">
                  <c:v>39246</c:v>
                </c:pt>
                <c:pt idx="1249">
                  <c:v>39247</c:v>
                </c:pt>
                <c:pt idx="1250">
                  <c:v>39248</c:v>
                </c:pt>
                <c:pt idx="1251">
                  <c:v>39251</c:v>
                </c:pt>
                <c:pt idx="1252">
                  <c:v>39252</c:v>
                </c:pt>
                <c:pt idx="1253">
                  <c:v>39253</c:v>
                </c:pt>
                <c:pt idx="1254">
                  <c:v>39254</c:v>
                </c:pt>
                <c:pt idx="1255">
                  <c:v>39255</c:v>
                </c:pt>
                <c:pt idx="1256">
                  <c:v>39258</c:v>
                </c:pt>
                <c:pt idx="1257">
                  <c:v>39259</c:v>
                </c:pt>
                <c:pt idx="1258">
                  <c:v>39260</c:v>
                </c:pt>
                <c:pt idx="1259">
                  <c:v>39261</c:v>
                </c:pt>
                <c:pt idx="1260">
                  <c:v>39262</c:v>
                </c:pt>
                <c:pt idx="1261">
                  <c:v>39265</c:v>
                </c:pt>
                <c:pt idx="1262">
                  <c:v>39266</c:v>
                </c:pt>
                <c:pt idx="1263">
                  <c:v>39267</c:v>
                </c:pt>
                <c:pt idx="1264">
                  <c:v>39268</c:v>
                </c:pt>
                <c:pt idx="1265">
                  <c:v>39269</c:v>
                </c:pt>
                <c:pt idx="1266">
                  <c:v>39272</c:v>
                </c:pt>
                <c:pt idx="1267">
                  <c:v>39273</c:v>
                </c:pt>
                <c:pt idx="1268">
                  <c:v>39274</c:v>
                </c:pt>
                <c:pt idx="1269">
                  <c:v>39275</c:v>
                </c:pt>
                <c:pt idx="1270">
                  <c:v>39276</c:v>
                </c:pt>
                <c:pt idx="1271">
                  <c:v>39279</c:v>
                </c:pt>
                <c:pt idx="1272">
                  <c:v>39280</c:v>
                </c:pt>
                <c:pt idx="1273">
                  <c:v>39281</c:v>
                </c:pt>
                <c:pt idx="1274">
                  <c:v>39282</c:v>
                </c:pt>
                <c:pt idx="1275">
                  <c:v>39283</c:v>
                </c:pt>
                <c:pt idx="1276">
                  <c:v>39286</c:v>
                </c:pt>
                <c:pt idx="1277">
                  <c:v>39287</c:v>
                </c:pt>
                <c:pt idx="1278">
                  <c:v>39288</c:v>
                </c:pt>
                <c:pt idx="1279">
                  <c:v>39289</c:v>
                </c:pt>
                <c:pt idx="1280">
                  <c:v>39290</c:v>
                </c:pt>
                <c:pt idx="1281">
                  <c:v>39293</c:v>
                </c:pt>
                <c:pt idx="1282">
                  <c:v>39294</c:v>
                </c:pt>
                <c:pt idx="1283">
                  <c:v>39295</c:v>
                </c:pt>
                <c:pt idx="1284">
                  <c:v>39296</c:v>
                </c:pt>
                <c:pt idx="1285">
                  <c:v>39297</c:v>
                </c:pt>
                <c:pt idx="1286">
                  <c:v>39300</c:v>
                </c:pt>
                <c:pt idx="1287">
                  <c:v>39301</c:v>
                </c:pt>
                <c:pt idx="1288">
                  <c:v>39302</c:v>
                </c:pt>
                <c:pt idx="1289">
                  <c:v>39303</c:v>
                </c:pt>
                <c:pt idx="1290">
                  <c:v>39304</c:v>
                </c:pt>
                <c:pt idx="1291">
                  <c:v>39307</c:v>
                </c:pt>
                <c:pt idx="1292">
                  <c:v>39308</c:v>
                </c:pt>
                <c:pt idx="1293">
                  <c:v>39309</c:v>
                </c:pt>
                <c:pt idx="1294">
                  <c:v>39310</c:v>
                </c:pt>
                <c:pt idx="1295">
                  <c:v>39311</c:v>
                </c:pt>
                <c:pt idx="1296">
                  <c:v>39314</c:v>
                </c:pt>
                <c:pt idx="1297">
                  <c:v>39315</c:v>
                </c:pt>
                <c:pt idx="1298">
                  <c:v>39316</c:v>
                </c:pt>
                <c:pt idx="1299">
                  <c:v>39317</c:v>
                </c:pt>
                <c:pt idx="1300">
                  <c:v>39318</c:v>
                </c:pt>
                <c:pt idx="1301">
                  <c:v>39321</c:v>
                </c:pt>
                <c:pt idx="1302">
                  <c:v>39322</c:v>
                </c:pt>
                <c:pt idx="1303">
                  <c:v>39323</c:v>
                </c:pt>
                <c:pt idx="1304">
                  <c:v>39324</c:v>
                </c:pt>
                <c:pt idx="1305">
                  <c:v>39325</c:v>
                </c:pt>
                <c:pt idx="1306">
                  <c:v>39328</c:v>
                </c:pt>
                <c:pt idx="1307">
                  <c:v>39329</c:v>
                </c:pt>
                <c:pt idx="1308">
                  <c:v>39330</c:v>
                </c:pt>
                <c:pt idx="1309">
                  <c:v>39331</c:v>
                </c:pt>
                <c:pt idx="1310">
                  <c:v>39332</c:v>
                </c:pt>
                <c:pt idx="1311">
                  <c:v>39335</c:v>
                </c:pt>
                <c:pt idx="1312">
                  <c:v>39336</c:v>
                </c:pt>
                <c:pt idx="1313">
                  <c:v>39337</c:v>
                </c:pt>
                <c:pt idx="1314">
                  <c:v>39338</c:v>
                </c:pt>
                <c:pt idx="1315">
                  <c:v>39339</c:v>
                </c:pt>
                <c:pt idx="1316">
                  <c:v>39342</c:v>
                </c:pt>
                <c:pt idx="1317">
                  <c:v>39343</c:v>
                </c:pt>
                <c:pt idx="1318">
                  <c:v>39344</c:v>
                </c:pt>
                <c:pt idx="1319">
                  <c:v>39345</c:v>
                </c:pt>
                <c:pt idx="1320">
                  <c:v>39346</c:v>
                </c:pt>
                <c:pt idx="1321">
                  <c:v>39349</c:v>
                </c:pt>
                <c:pt idx="1322">
                  <c:v>39350</c:v>
                </c:pt>
                <c:pt idx="1323">
                  <c:v>39351</c:v>
                </c:pt>
                <c:pt idx="1324">
                  <c:v>39352</c:v>
                </c:pt>
                <c:pt idx="1325">
                  <c:v>39353</c:v>
                </c:pt>
                <c:pt idx="1326">
                  <c:v>39363</c:v>
                </c:pt>
                <c:pt idx="1327">
                  <c:v>39364</c:v>
                </c:pt>
                <c:pt idx="1328">
                  <c:v>39365</c:v>
                </c:pt>
                <c:pt idx="1329">
                  <c:v>39366</c:v>
                </c:pt>
                <c:pt idx="1330">
                  <c:v>39367</c:v>
                </c:pt>
                <c:pt idx="1331">
                  <c:v>39370</c:v>
                </c:pt>
                <c:pt idx="1332">
                  <c:v>39371</c:v>
                </c:pt>
                <c:pt idx="1333">
                  <c:v>39372</c:v>
                </c:pt>
                <c:pt idx="1334">
                  <c:v>39373</c:v>
                </c:pt>
                <c:pt idx="1335">
                  <c:v>39374</c:v>
                </c:pt>
                <c:pt idx="1336">
                  <c:v>39377</c:v>
                </c:pt>
                <c:pt idx="1337">
                  <c:v>39378</c:v>
                </c:pt>
                <c:pt idx="1338">
                  <c:v>39379</c:v>
                </c:pt>
                <c:pt idx="1339">
                  <c:v>39380</c:v>
                </c:pt>
                <c:pt idx="1340">
                  <c:v>39381</c:v>
                </c:pt>
                <c:pt idx="1341">
                  <c:v>39384</c:v>
                </c:pt>
                <c:pt idx="1342">
                  <c:v>39385</c:v>
                </c:pt>
                <c:pt idx="1343">
                  <c:v>39386</c:v>
                </c:pt>
                <c:pt idx="1344">
                  <c:v>39387</c:v>
                </c:pt>
                <c:pt idx="1345">
                  <c:v>39388</c:v>
                </c:pt>
                <c:pt idx="1346">
                  <c:v>39391</c:v>
                </c:pt>
                <c:pt idx="1347">
                  <c:v>39392</c:v>
                </c:pt>
                <c:pt idx="1348">
                  <c:v>39393</c:v>
                </c:pt>
                <c:pt idx="1349">
                  <c:v>39394</c:v>
                </c:pt>
                <c:pt idx="1350">
                  <c:v>39395</c:v>
                </c:pt>
                <c:pt idx="1351">
                  <c:v>39398</c:v>
                </c:pt>
                <c:pt idx="1352">
                  <c:v>39399</c:v>
                </c:pt>
                <c:pt idx="1353">
                  <c:v>39400</c:v>
                </c:pt>
                <c:pt idx="1354">
                  <c:v>39401</c:v>
                </c:pt>
                <c:pt idx="1355">
                  <c:v>39402</c:v>
                </c:pt>
                <c:pt idx="1356">
                  <c:v>39405</c:v>
                </c:pt>
                <c:pt idx="1357">
                  <c:v>39406</c:v>
                </c:pt>
                <c:pt idx="1358">
                  <c:v>39407</c:v>
                </c:pt>
                <c:pt idx="1359">
                  <c:v>39408</c:v>
                </c:pt>
                <c:pt idx="1360">
                  <c:v>39409</c:v>
                </c:pt>
                <c:pt idx="1361">
                  <c:v>39412</c:v>
                </c:pt>
                <c:pt idx="1362">
                  <c:v>39413</c:v>
                </c:pt>
                <c:pt idx="1363">
                  <c:v>39414</c:v>
                </c:pt>
                <c:pt idx="1364">
                  <c:v>39415</c:v>
                </c:pt>
                <c:pt idx="1365">
                  <c:v>39416</c:v>
                </c:pt>
                <c:pt idx="1366">
                  <c:v>39419</c:v>
                </c:pt>
                <c:pt idx="1367">
                  <c:v>39420</c:v>
                </c:pt>
                <c:pt idx="1368">
                  <c:v>39421</c:v>
                </c:pt>
                <c:pt idx="1369">
                  <c:v>39422</c:v>
                </c:pt>
                <c:pt idx="1370">
                  <c:v>39423</c:v>
                </c:pt>
                <c:pt idx="1371">
                  <c:v>39426</c:v>
                </c:pt>
                <c:pt idx="1372">
                  <c:v>39427</c:v>
                </c:pt>
                <c:pt idx="1373">
                  <c:v>39428</c:v>
                </c:pt>
                <c:pt idx="1374">
                  <c:v>39429</c:v>
                </c:pt>
                <c:pt idx="1375">
                  <c:v>39430</c:v>
                </c:pt>
                <c:pt idx="1376">
                  <c:v>39433</c:v>
                </c:pt>
                <c:pt idx="1377">
                  <c:v>39434</c:v>
                </c:pt>
                <c:pt idx="1378">
                  <c:v>39435</c:v>
                </c:pt>
                <c:pt idx="1379">
                  <c:v>39436</c:v>
                </c:pt>
                <c:pt idx="1380">
                  <c:v>39437</c:v>
                </c:pt>
                <c:pt idx="1381">
                  <c:v>39440</c:v>
                </c:pt>
                <c:pt idx="1382">
                  <c:v>39441</c:v>
                </c:pt>
                <c:pt idx="1383">
                  <c:v>39442</c:v>
                </c:pt>
                <c:pt idx="1384">
                  <c:v>39443</c:v>
                </c:pt>
                <c:pt idx="1385">
                  <c:v>39444</c:v>
                </c:pt>
                <c:pt idx="1386">
                  <c:v>39449</c:v>
                </c:pt>
                <c:pt idx="1387">
                  <c:v>39450</c:v>
                </c:pt>
                <c:pt idx="1388">
                  <c:v>39451</c:v>
                </c:pt>
                <c:pt idx="1389">
                  <c:v>39454</c:v>
                </c:pt>
                <c:pt idx="1390">
                  <c:v>39455</c:v>
                </c:pt>
                <c:pt idx="1391">
                  <c:v>39456</c:v>
                </c:pt>
                <c:pt idx="1392">
                  <c:v>39457</c:v>
                </c:pt>
                <c:pt idx="1393">
                  <c:v>39458</c:v>
                </c:pt>
                <c:pt idx="1394">
                  <c:v>39461</c:v>
                </c:pt>
                <c:pt idx="1395">
                  <c:v>39462</c:v>
                </c:pt>
                <c:pt idx="1396">
                  <c:v>39463</c:v>
                </c:pt>
                <c:pt idx="1397">
                  <c:v>39464</c:v>
                </c:pt>
                <c:pt idx="1398">
                  <c:v>39465</c:v>
                </c:pt>
                <c:pt idx="1399">
                  <c:v>39468</c:v>
                </c:pt>
                <c:pt idx="1400">
                  <c:v>39469</c:v>
                </c:pt>
                <c:pt idx="1401">
                  <c:v>39470</c:v>
                </c:pt>
                <c:pt idx="1402">
                  <c:v>39471</c:v>
                </c:pt>
                <c:pt idx="1403">
                  <c:v>39472</c:v>
                </c:pt>
                <c:pt idx="1404">
                  <c:v>39475</c:v>
                </c:pt>
                <c:pt idx="1405">
                  <c:v>39476</c:v>
                </c:pt>
                <c:pt idx="1406">
                  <c:v>39477</c:v>
                </c:pt>
                <c:pt idx="1407">
                  <c:v>39478</c:v>
                </c:pt>
                <c:pt idx="1408">
                  <c:v>39479</c:v>
                </c:pt>
                <c:pt idx="1409">
                  <c:v>39482</c:v>
                </c:pt>
                <c:pt idx="1410">
                  <c:v>39483</c:v>
                </c:pt>
                <c:pt idx="1411">
                  <c:v>39491</c:v>
                </c:pt>
                <c:pt idx="1412">
                  <c:v>39492</c:v>
                </c:pt>
                <c:pt idx="1413">
                  <c:v>39493</c:v>
                </c:pt>
                <c:pt idx="1414">
                  <c:v>39496</c:v>
                </c:pt>
                <c:pt idx="1415">
                  <c:v>39497</c:v>
                </c:pt>
                <c:pt idx="1416">
                  <c:v>39498</c:v>
                </c:pt>
                <c:pt idx="1417">
                  <c:v>39499</c:v>
                </c:pt>
                <c:pt idx="1418">
                  <c:v>39500</c:v>
                </c:pt>
                <c:pt idx="1419">
                  <c:v>39503</c:v>
                </c:pt>
                <c:pt idx="1420">
                  <c:v>39504</c:v>
                </c:pt>
                <c:pt idx="1421">
                  <c:v>39505</c:v>
                </c:pt>
                <c:pt idx="1422">
                  <c:v>39506</c:v>
                </c:pt>
                <c:pt idx="1423">
                  <c:v>39507</c:v>
                </c:pt>
                <c:pt idx="1424">
                  <c:v>39510</c:v>
                </c:pt>
                <c:pt idx="1425">
                  <c:v>39511</c:v>
                </c:pt>
                <c:pt idx="1426">
                  <c:v>39512</c:v>
                </c:pt>
                <c:pt idx="1427">
                  <c:v>39513</c:v>
                </c:pt>
                <c:pt idx="1428">
                  <c:v>39514</c:v>
                </c:pt>
                <c:pt idx="1429">
                  <c:v>39517</c:v>
                </c:pt>
                <c:pt idx="1430">
                  <c:v>39518</c:v>
                </c:pt>
                <c:pt idx="1431">
                  <c:v>39519</c:v>
                </c:pt>
                <c:pt idx="1432">
                  <c:v>39520</c:v>
                </c:pt>
                <c:pt idx="1433">
                  <c:v>39521</c:v>
                </c:pt>
                <c:pt idx="1434">
                  <c:v>39524</c:v>
                </c:pt>
                <c:pt idx="1435">
                  <c:v>39525</c:v>
                </c:pt>
                <c:pt idx="1436">
                  <c:v>39526</c:v>
                </c:pt>
                <c:pt idx="1437">
                  <c:v>39527</c:v>
                </c:pt>
                <c:pt idx="1438">
                  <c:v>39528</c:v>
                </c:pt>
                <c:pt idx="1439">
                  <c:v>39531</c:v>
                </c:pt>
                <c:pt idx="1440">
                  <c:v>39532</c:v>
                </c:pt>
                <c:pt idx="1441">
                  <c:v>39533</c:v>
                </c:pt>
                <c:pt idx="1442">
                  <c:v>39534</c:v>
                </c:pt>
                <c:pt idx="1443">
                  <c:v>39535</c:v>
                </c:pt>
                <c:pt idx="1444">
                  <c:v>39538</c:v>
                </c:pt>
                <c:pt idx="1445">
                  <c:v>39539</c:v>
                </c:pt>
                <c:pt idx="1446">
                  <c:v>39540</c:v>
                </c:pt>
                <c:pt idx="1447">
                  <c:v>39541</c:v>
                </c:pt>
                <c:pt idx="1448">
                  <c:v>39545</c:v>
                </c:pt>
                <c:pt idx="1449">
                  <c:v>39546</c:v>
                </c:pt>
                <c:pt idx="1450">
                  <c:v>39547</c:v>
                </c:pt>
                <c:pt idx="1451">
                  <c:v>39548</c:v>
                </c:pt>
                <c:pt idx="1452">
                  <c:v>39549</c:v>
                </c:pt>
                <c:pt idx="1453">
                  <c:v>39552</c:v>
                </c:pt>
                <c:pt idx="1454">
                  <c:v>39553</c:v>
                </c:pt>
                <c:pt idx="1455">
                  <c:v>39554</c:v>
                </c:pt>
                <c:pt idx="1456">
                  <c:v>39555</c:v>
                </c:pt>
                <c:pt idx="1457">
                  <c:v>39556</c:v>
                </c:pt>
                <c:pt idx="1458">
                  <c:v>39559</c:v>
                </c:pt>
                <c:pt idx="1459">
                  <c:v>39560</c:v>
                </c:pt>
                <c:pt idx="1460">
                  <c:v>39561</c:v>
                </c:pt>
                <c:pt idx="1461">
                  <c:v>39562</c:v>
                </c:pt>
                <c:pt idx="1462">
                  <c:v>39563</c:v>
                </c:pt>
                <c:pt idx="1463">
                  <c:v>39566</c:v>
                </c:pt>
                <c:pt idx="1464">
                  <c:v>39567</c:v>
                </c:pt>
                <c:pt idx="1465">
                  <c:v>39568</c:v>
                </c:pt>
                <c:pt idx="1466">
                  <c:v>39573</c:v>
                </c:pt>
                <c:pt idx="1467">
                  <c:v>39574</c:v>
                </c:pt>
                <c:pt idx="1468">
                  <c:v>39575</c:v>
                </c:pt>
                <c:pt idx="1469">
                  <c:v>39576</c:v>
                </c:pt>
                <c:pt idx="1470">
                  <c:v>39577</c:v>
                </c:pt>
                <c:pt idx="1471">
                  <c:v>39580</c:v>
                </c:pt>
                <c:pt idx="1472">
                  <c:v>39581</c:v>
                </c:pt>
                <c:pt idx="1473">
                  <c:v>39582</c:v>
                </c:pt>
                <c:pt idx="1474">
                  <c:v>39583</c:v>
                </c:pt>
                <c:pt idx="1475">
                  <c:v>39584</c:v>
                </c:pt>
                <c:pt idx="1476">
                  <c:v>39587</c:v>
                </c:pt>
                <c:pt idx="1477">
                  <c:v>39588</c:v>
                </c:pt>
                <c:pt idx="1478">
                  <c:v>39589</c:v>
                </c:pt>
                <c:pt idx="1479">
                  <c:v>39590</c:v>
                </c:pt>
                <c:pt idx="1480">
                  <c:v>39591</c:v>
                </c:pt>
                <c:pt idx="1481">
                  <c:v>39594</c:v>
                </c:pt>
                <c:pt idx="1482">
                  <c:v>39595</c:v>
                </c:pt>
                <c:pt idx="1483">
                  <c:v>39596</c:v>
                </c:pt>
                <c:pt idx="1484">
                  <c:v>39597</c:v>
                </c:pt>
                <c:pt idx="1485">
                  <c:v>39598</c:v>
                </c:pt>
                <c:pt idx="1486">
                  <c:v>39601</c:v>
                </c:pt>
                <c:pt idx="1487">
                  <c:v>39602</c:v>
                </c:pt>
                <c:pt idx="1488">
                  <c:v>39603</c:v>
                </c:pt>
                <c:pt idx="1489">
                  <c:v>39604</c:v>
                </c:pt>
                <c:pt idx="1490">
                  <c:v>39605</c:v>
                </c:pt>
                <c:pt idx="1491">
                  <c:v>39609</c:v>
                </c:pt>
                <c:pt idx="1492">
                  <c:v>39610</c:v>
                </c:pt>
                <c:pt idx="1493">
                  <c:v>39611</c:v>
                </c:pt>
                <c:pt idx="1494">
                  <c:v>39612</c:v>
                </c:pt>
                <c:pt idx="1495">
                  <c:v>39615</c:v>
                </c:pt>
                <c:pt idx="1496">
                  <c:v>39616</c:v>
                </c:pt>
                <c:pt idx="1497">
                  <c:v>39617</c:v>
                </c:pt>
                <c:pt idx="1498">
                  <c:v>39618</c:v>
                </c:pt>
                <c:pt idx="1499">
                  <c:v>39619</c:v>
                </c:pt>
                <c:pt idx="1500">
                  <c:v>39622</c:v>
                </c:pt>
                <c:pt idx="1501">
                  <c:v>39623</c:v>
                </c:pt>
                <c:pt idx="1502">
                  <c:v>39624</c:v>
                </c:pt>
                <c:pt idx="1503">
                  <c:v>39625</c:v>
                </c:pt>
                <c:pt idx="1504">
                  <c:v>39626</c:v>
                </c:pt>
                <c:pt idx="1505">
                  <c:v>39629</c:v>
                </c:pt>
                <c:pt idx="1506">
                  <c:v>39630</c:v>
                </c:pt>
                <c:pt idx="1507">
                  <c:v>39631</c:v>
                </c:pt>
                <c:pt idx="1508">
                  <c:v>39632</c:v>
                </c:pt>
                <c:pt idx="1509">
                  <c:v>39633</c:v>
                </c:pt>
                <c:pt idx="1510">
                  <c:v>39636</c:v>
                </c:pt>
                <c:pt idx="1511">
                  <c:v>39637</c:v>
                </c:pt>
                <c:pt idx="1512">
                  <c:v>39638</c:v>
                </c:pt>
                <c:pt idx="1513">
                  <c:v>39639</c:v>
                </c:pt>
                <c:pt idx="1514">
                  <c:v>39640</c:v>
                </c:pt>
                <c:pt idx="1515">
                  <c:v>39643</c:v>
                </c:pt>
                <c:pt idx="1516">
                  <c:v>39644</c:v>
                </c:pt>
                <c:pt idx="1517">
                  <c:v>39645</c:v>
                </c:pt>
                <c:pt idx="1518">
                  <c:v>39646</c:v>
                </c:pt>
                <c:pt idx="1519">
                  <c:v>39647</c:v>
                </c:pt>
                <c:pt idx="1520">
                  <c:v>39650</c:v>
                </c:pt>
                <c:pt idx="1521">
                  <c:v>39651</c:v>
                </c:pt>
                <c:pt idx="1522">
                  <c:v>39652</c:v>
                </c:pt>
                <c:pt idx="1523">
                  <c:v>39653</c:v>
                </c:pt>
                <c:pt idx="1524">
                  <c:v>39654</c:v>
                </c:pt>
                <c:pt idx="1525">
                  <c:v>39657</c:v>
                </c:pt>
                <c:pt idx="1526">
                  <c:v>39658</c:v>
                </c:pt>
                <c:pt idx="1527">
                  <c:v>39659</c:v>
                </c:pt>
                <c:pt idx="1528">
                  <c:v>39660</c:v>
                </c:pt>
                <c:pt idx="1529">
                  <c:v>39661</c:v>
                </c:pt>
                <c:pt idx="1530">
                  <c:v>39664</c:v>
                </c:pt>
                <c:pt idx="1531">
                  <c:v>39665</c:v>
                </c:pt>
                <c:pt idx="1532">
                  <c:v>39666</c:v>
                </c:pt>
                <c:pt idx="1533">
                  <c:v>39667</c:v>
                </c:pt>
                <c:pt idx="1534">
                  <c:v>39668</c:v>
                </c:pt>
                <c:pt idx="1535">
                  <c:v>39671</c:v>
                </c:pt>
                <c:pt idx="1536">
                  <c:v>39672</c:v>
                </c:pt>
                <c:pt idx="1537">
                  <c:v>39673</c:v>
                </c:pt>
                <c:pt idx="1538">
                  <c:v>39674</c:v>
                </c:pt>
                <c:pt idx="1539">
                  <c:v>39675</c:v>
                </c:pt>
                <c:pt idx="1540">
                  <c:v>39678</c:v>
                </c:pt>
                <c:pt idx="1541">
                  <c:v>39679</c:v>
                </c:pt>
                <c:pt idx="1542">
                  <c:v>39680</c:v>
                </c:pt>
                <c:pt idx="1543">
                  <c:v>39681</c:v>
                </c:pt>
                <c:pt idx="1544">
                  <c:v>39682</c:v>
                </c:pt>
                <c:pt idx="1545">
                  <c:v>39685</c:v>
                </c:pt>
                <c:pt idx="1546">
                  <c:v>39686</c:v>
                </c:pt>
                <c:pt idx="1547">
                  <c:v>39687</c:v>
                </c:pt>
                <c:pt idx="1548">
                  <c:v>39688</c:v>
                </c:pt>
                <c:pt idx="1549">
                  <c:v>39689</c:v>
                </c:pt>
                <c:pt idx="1550">
                  <c:v>39692</c:v>
                </c:pt>
                <c:pt idx="1551">
                  <c:v>39693</c:v>
                </c:pt>
                <c:pt idx="1552">
                  <c:v>39694</c:v>
                </c:pt>
                <c:pt idx="1553">
                  <c:v>39695</c:v>
                </c:pt>
                <c:pt idx="1554">
                  <c:v>39696</c:v>
                </c:pt>
                <c:pt idx="1555">
                  <c:v>39699</c:v>
                </c:pt>
                <c:pt idx="1556">
                  <c:v>39700</c:v>
                </c:pt>
                <c:pt idx="1557">
                  <c:v>39701</c:v>
                </c:pt>
                <c:pt idx="1558">
                  <c:v>39702</c:v>
                </c:pt>
                <c:pt idx="1559">
                  <c:v>39703</c:v>
                </c:pt>
                <c:pt idx="1560">
                  <c:v>39707</c:v>
                </c:pt>
                <c:pt idx="1561">
                  <c:v>39708</c:v>
                </c:pt>
                <c:pt idx="1562">
                  <c:v>39709</c:v>
                </c:pt>
                <c:pt idx="1563">
                  <c:v>39710</c:v>
                </c:pt>
                <c:pt idx="1564">
                  <c:v>39713</c:v>
                </c:pt>
                <c:pt idx="1565">
                  <c:v>39714</c:v>
                </c:pt>
                <c:pt idx="1566">
                  <c:v>39715</c:v>
                </c:pt>
                <c:pt idx="1567">
                  <c:v>39716</c:v>
                </c:pt>
                <c:pt idx="1568">
                  <c:v>39717</c:v>
                </c:pt>
                <c:pt idx="1569">
                  <c:v>39727</c:v>
                </c:pt>
                <c:pt idx="1570">
                  <c:v>39728</c:v>
                </c:pt>
                <c:pt idx="1571">
                  <c:v>39729</c:v>
                </c:pt>
                <c:pt idx="1572">
                  <c:v>39730</c:v>
                </c:pt>
                <c:pt idx="1573">
                  <c:v>39731</c:v>
                </c:pt>
                <c:pt idx="1574">
                  <c:v>39734</c:v>
                </c:pt>
                <c:pt idx="1575">
                  <c:v>39735</c:v>
                </c:pt>
                <c:pt idx="1576">
                  <c:v>39736</c:v>
                </c:pt>
                <c:pt idx="1577">
                  <c:v>39737</c:v>
                </c:pt>
                <c:pt idx="1578">
                  <c:v>39738</c:v>
                </c:pt>
                <c:pt idx="1579">
                  <c:v>39741</c:v>
                </c:pt>
                <c:pt idx="1580">
                  <c:v>39742</c:v>
                </c:pt>
                <c:pt idx="1581">
                  <c:v>39743</c:v>
                </c:pt>
                <c:pt idx="1582">
                  <c:v>39744</c:v>
                </c:pt>
                <c:pt idx="1583">
                  <c:v>39745</c:v>
                </c:pt>
                <c:pt idx="1584">
                  <c:v>39748</c:v>
                </c:pt>
                <c:pt idx="1585">
                  <c:v>39749</c:v>
                </c:pt>
                <c:pt idx="1586">
                  <c:v>39750</c:v>
                </c:pt>
                <c:pt idx="1587">
                  <c:v>39751</c:v>
                </c:pt>
                <c:pt idx="1588">
                  <c:v>39752</c:v>
                </c:pt>
                <c:pt idx="1589">
                  <c:v>39755</c:v>
                </c:pt>
                <c:pt idx="1590">
                  <c:v>39756</c:v>
                </c:pt>
                <c:pt idx="1591">
                  <c:v>39757</c:v>
                </c:pt>
                <c:pt idx="1592">
                  <c:v>39758</c:v>
                </c:pt>
                <c:pt idx="1593">
                  <c:v>39759</c:v>
                </c:pt>
                <c:pt idx="1594">
                  <c:v>39762</c:v>
                </c:pt>
                <c:pt idx="1595">
                  <c:v>39763</c:v>
                </c:pt>
                <c:pt idx="1596">
                  <c:v>39764</c:v>
                </c:pt>
                <c:pt idx="1597">
                  <c:v>39765</c:v>
                </c:pt>
                <c:pt idx="1598">
                  <c:v>39766</c:v>
                </c:pt>
                <c:pt idx="1599">
                  <c:v>39769</c:v>
                </c:pt>
                <c:pt idx="1600">
                  <c:v>39770</c:v>
                </c:pt>
                <c:pt idx="1601">
                  <c:v>39771</c:v>
                </c:pt>
                <c:pt idx="1602">
                  <c:v>39772</c:v>
                </c:pt>
                <c:pt idx="1603">
                  <c:v>39773</c:v>
                </c:pt>
                <c:pt idx="1604">
                  <c:v>39776</c:v>
                </c:pt>
                <c:pt idx="1605">
                  <c:v>39777</c:v>
                </c:pt>
                <c:pt idx="1606">
                  <c:v>39778</c:v>
                </c:pt>
                <c:pt idx="1607">
                  <c:v>39779</c:v>
                </c:pt>
                <c:pt idx="1608">
                  <c:v>39780</c:v>
                </c:pt>
                <c:pt idx="1609">
                  <c:v>39783</c:v>
                </c:pt>
                <c:pt idx="1610">
                  <c:v>39784</c:v>
                </c:pt>
                <c:pt idx="1611">
                  <c:v>39785</c:v>
                </c:pt>
                <c:pt idx="1612">
                  <c:v>39786</c:v>
                </c:pt>
                <c:pt idx="1613">
                  <c:v>39787</c:v>
                </c:pt>
                <c:pt idx="1614">
                  <c:v>39790</c:v>
                </c:pt>
                <c:pt idx="1615">
                  <c:v>39791</c:v>
                </c:pt>
                <c:pt idx="1616">
                  <c:v>39792</c:v>
                </c:pt>
                <c:pt idx="1617">
                  <c:v>39793</c:v>
                </c:pt>
                <c:pt idx="1618">
                  <c:v>39794</c:v>
                </c:pt>
                <c:pt idx="1619">
                  <c:v>39797</c:v>
                </c:pt>
                <c:pt idx="1620">
                  <c:v>39798</c:v>
                </c:pt>
                <c:pt idx="1621">
                  <c:v>39799</c:v>
                </c:pt>
                <c:pt idx="1622">
                  <c:v>39800</c:v>
                </c:pt>
                <c:pt idx="1623">
                  <c:v>39801</c:v>
                </c:pt>
                <c:pt idx="1624">
                  <c:v>39804</c:v>
                </c:pt>
                <c:pt idx="1625">
                  <c:v>39805</c:v>
                </c:pt>
                <c:pt idx="1626">
                  <c:v>39806</c:v>
                </c:pt>
                <c:pt idx="1627">
                  <c:v>39807</c:v>
                </c:pt>
                <c:pt idx="1628">
                  <c:v>39808</c:v>
                </c:pt>
                <c:pt idx="1629">
                  <c:v>39811</c:v>
                </c:pt>
                <c:pt idx="1630">
                  <c:v>39812</c:v>
                </c:pt>
                <c:pt idx="1631">
                  <c:v>39813</c:v>
                </c:pt>
                <c:pt idx="1632">
                  <c:v>39818</c:v>
                </c:pt>
                <c:pt idx="1633">
                  <c:v>39819</c:v>
                </c:pt>
                <c:pt idx="1634">
                  <c:v>39820</c:v>
                </c:pt>
                <c:pt idx="1635">
                  <c:v>39821</c:v>
                </c:pt>
                <c:pt idx="1636">
                  <c:v>39822</c:v>
                </c:pt>
                <c:pt idx="1637">
                  <c:v>39825</c:v>
                </c:pt>
                <c:pt idx="1638">
                  <c:v>39826</c:v>
                </c:pt>
                <c:pt idx="1639">
                  <c:v>39827</c:v>
                </c:pt>
                <c:pt idx="1640">
                  <c:v>39828</c:v>
                </c:pt>
                <c:pt idx="1641">
                  <c:v>39829</c:v>
                </c:pt>
                <c:pt idx="1642">
                  <c:v>39832</c:v>
                </c:pt>
                <c:pt idx="1643">
                  <c:v>39833</c:v>
                </c:pt>
                <c:pt idx="1644">
                  <c:v>39834</c:v>
                </c:pt>
                <c:pt idx="1645">
                  <c:v>39835</c:v>
                </c:pt>
                <c:pt idx="1646">
                  <c:v>39836</c:v>
                </c:pt>
                <c:pt idx="1647">
                  <c:v>39846</c:v>
                </c:pt>
                <c:pt idx="1648">
                  <c:v>39847</c:v>
                </c:pt>
                <c:pt idx="1649">
                  <c:v>39848</c:v>
                </c:pt>
                <c:pt idx="1650">
                  <c:v>39849</c:v>
                </c:pt>
                <c:pt idx="1651">
                  <c:v>39850</c:v>
                </c:pt>
                <c:pt idx="1652">
                  <c:v>39853</c:v>
                </c:pt>
                <c:pt idx="1653">
                  <c:v>39854</c:v>
                </c:pt>
                <c:pt idx="1654">
                  <c:v>39855</c:v>
                </c:pt>
                <c:pt idx="1655">
                  <c:v>39856</c:v>
                </c:pt>
                <c:pt idx="1656">
                  <c:v>39857</c:v>
                </c:pt>
                <c:pt idx="1657">
                  <c:v>39860</c:v>
                </c:pt>
                <c:pt idx="1658">
                  <c:v>39861</c:v>
                </c:pt>
                <c:pt idx="1659">
                  <c:v>39862</c:v>
                </c:pt>
                <c:pt idx="1660">
                  <c:v>39863</c:v>
                </c:pt>
                <c:pt idx="1661">
                  <c:v>39864</c:v>
                </c:pt>
                <c:pt idx="1662">
                  <c:v>39867</c:v>
                </c:pt>
                <c:pt idx="1663">
                  <c:v>39868</c:v>
                </c:pt>
                <c:pt idx="1664">
                  <c:v>39869</c:v>
                </c:pt>
                <c:pt idx="1665">
                  <c:v>39870</c:v>
                </c:pt>
                <c:pt idx="1666">
                  <c:v>39871</c:v>
                </c:pt>
                <c:pt idx="1667">
                  <c:v>39874</c:v>
                </c:pt>
                <c:pt idx="1668">
                  <c:v>39875</c:v>
                </c:pt>
                <c:pt idx="1669">
                  <c:v>39876</c:v>
                </c:pt>
                <c:pt idx="1670">
                  <c:v>39877</c:v>
                </c:pt>
                <c:pt idx="1671">
                  <c:v>39878</c:v>
                </c:pt>
                <c:pt idx="1672">
                  <c:v>39881</c:v>
                </c:pt>
                <c:pt idx="1673">
                  <c:v>39882</c:v>
                </c:pt>
                <c:pt idx="1674">
                  <c:v>39883</c:v>
                </c:pt>
                <c:pt idx="1675">
                  <c:v>39884</c:v>
                </c:pt>
                <c:pt idx="1676">
                  <c:v>39885</c:v>
                </c:pt>
                <c:pt idx="1677">
                  <c:v>39888</c:v>
                </c:pt>
                <c:pt idx="1678">
                  <c:v>39889</c:v>
                </c:pt>
                <c:pt idx="1679">
                  <c:v>39890</c:v>
                </c:pt>
                <c:pt idx="1680">
                  <c:v>39891</c:v>
                </c:pt>
                <c:pt idx="1681">
                  <c:v>39892</c:v>
                </c:pt>
                <c:pt idx="1682">
                  <c:v>39895</c:v>
                </c:pt>
                <c:pt idx="1683">
                  <c:v>39896</c:v>
                </c:pt>
                <c:pt idx="1684">
                  <c:v>39897</c:v>
                </c:pt>
                <c:pt idx="1685">
                  <c:v>39898</c:v>
                </c:pt>
                <c:pt idx="1686">
                  <c:v>39899</c:v>
                </c:pt>
                <c:pt idx="1687">
                  <c:v>39902</c:v>
                </c:pt>
                <c:pt idx="1688">
                  <c:v>39903</c:v>
                </c:pt>
                <c:pt idx="1689">
                  <c:v>39904</c:v>
                </c:pt>
                <c:pt idx="1690">
                  <c:v>39905</c:v>
                </c:pt>
                <c:pt idx="1691">
                  <c:v>39906</c:v>
                </c:pt>
                <c:pt idx="1692">
                  <c:v>39910</c:v>
                </c:pt>
                <c:pt idx="1693">
                  <c:v>39911</c:v>
                </c:pt>
                <c:pt idx="1694">
                  <c:v>39912</c:v>
                </c:pt>
                <c:pt idx="1695">
                  <c:v>39913</c:v>
                </c:pt>
                <c:pt idx="1696">
                  <c:v>39916</c:v>
                </c:pt>
                <c:pt idx="1697">
                  <c:v>39917</c:v>
                </c:pt>
                <c:pt idx="1698">
                  <c:v>39918</c:v>
                </c:pt>
                <c:pt idx="1699">
                  <c:v>39919</c:v>
                </c:pt>
                <c:pt idx="1700">
                  <c:v>39920</c:v>
                </c:pt>
                <c:pt idx="1701">
                  <c:v>39923</c:v>
                </c:pt>
                <c:pt idx="1702">
                  <c:v>39924</c:v>
                </c:pt>
                <c:pt idx="1703">
                  <c:v>39925</c:v>
                </c:pt>
                <c:pt idx="1704">
                  <c:v>39926</c:v>
                </c:pt>
                <c:pt idx="1705">
                  <c:v>39927</c:v>
                </c:pt>
                <c:pt idx="1706">
                  <c:v>39930</c:v>
                </c:pt>
                <c:pt idx="1707">
                  <c:v>39931</c:v>
                </c:pt>
                <c:pt idx="1708">
                  <c:v>39932</c:v>
                </c:pt>
                <c:pt idx="1709">
                  <c:v>39933</c:v>
                </c:pt>
                <c:pt idx="1710">
                  <c:v>39937</c:v>
                </c:pt>
                <c:pt idx="1711">
                  <c:v>39938</c:v>
                </c:pt>
                <c:pt idx="1712">
                  <c:v>39939</c:v>
                </c:pt>
                <c:pt idx="1713">
                  <c:v>39940</c:v>
                </c:pt>
                <c:pt idx="1714">
                  <c:v>39941</c:v>
                </c:pt>
                <c:pt idx="1715">
                  <c:v>39944</c:v>
                </c:pt>
                <c:pt idx="1716">
                  <c:v>39945</c:v>
                </c:pt>
                <c:pt idx="1717">
                  <c:v>39946</c:v>
                </c:pt>
                <c:pt idx="1718">
                  <c:v>39947</c:v>
                </c:pt>
                <c:pt idx="1719">
                  <c:v>39948</c:v>
                </c:pt>
                <c:pt idx="1720">
                  <c:v>39951</c:v>
                </c:pt>
                <c:pt idx="1721">
                  <c:v>39952</c:v>
                </c:pt>
                <c:pt idx="1722">
                  <c:v>39953</c:v>
                </c:pt>
                <c:pt idx="1723">
                  <c:v>39954</c:v>
                </c:pt>
                <c:pt idx="1724">
                  <c:v>39955</c:v>
                </c:pt>
                <c:pt idx="1725">
                  <c:v>39958</c:v>
                </c:pt>
                <c:pt idx="1726">
                  <c:v>39959</c:v>
                </c:pt>
                <c:pt idx="1727">
                  <c:v>39960</c:v>
                </c:pt>
                <c:pt idx="1728">
                  <c:v>39965</c:v>
                </c:pt>
                <c:pt idx="1729">
                  <c:v>39966</c:v>
                </c:pt>
                <c:pt idx="1730">
                  <c:v>39967</c:v>
                </c:pt>
                <c:pt idx="1731">
                  <c:v>39968</c:v>
                </c:pt>
                <c:pt idx="1732">
                  <c:v>39969</c:v>
                </c:pt>
                <c:pt idx="1733">
                  <c:v>39972</c:v>
                </c:pt>
                <c:pt idx="1734">
                  <c:v>39973</c:v>
                </c:pt>
                <c:pt idx="1735">
                  <c:v>39974</c:v>
                </c:pt>
                <c:pt idx="1736">
                  <c:v>39975</c:v>
                </c:pt>
                <c:pt idx="1737">
                  <c:v>39976</c:v>
                </c:pt>
                <c:pt idx="1738">
                  <c:v>39979</c:v>
                </c:pt>
                <c:pt idx="1739">
                  <c:v>39980</c:v>
                </c:pt>
                <c:pt idx="1740">
                  <c:v>39981</c:v>
                </c:pt>
                <c:pt idx="1741">
                  <c:v>39982</c:v>
                </c:pt>
                <c:pt idx="1742">
                  <c:v>39983</c:v>
                </c:pt>
                <c:pt idx="1743">
                  <c:v>39986</c:v>
                </c:pt>
                <c:pt idx="1744">
                  <c:v>39987</c:v>
                </c:pt>
                <c:pt idx="1745">
                  <c:v>39988</c:v>
                </c:pt>
                <c:pt idx="1746">
                  <c:v>39989</c:v>
                </c:pt>
                <c:pt idx="1747">
                  <c:v>39990</c:v>
                </c:pt>
                <c:pt idx="1748">
                  <c:v>39993</c:v>
                </c:pt>
                <c:pt idx="1749">
                  <c:v>39994</c:v>
                </c:pt>
                <c:pt idx="1750">
                  <c:v>39995</c:v>
                </c:pt>
                <c:pt idx="1751">
                  <c:v>39996</c:v>
                </c:pt>
                <c:pt idx="1752">
                  <c:v>39997</c:v>
                </c:pt>
                <c:pt idx="1753">
                  <c:v>40000</c:v>
                </c:pt>
                <c:pt idx="1754">
                  <c:v>40001</c:v>
                </c:pt>
                <c:pt idx="1755">
                  <c:v>40002</c:v>
                </c:pt>
                <c:pt idx="1756">
                  <c:v>40003</c:v>
                </c:pt>
                <c:pt idx="1757">
                  <c:v>40004</c:v>
                </c:pt>
                <c:pt idx="1758">
                  <c:v>40007</c:v>
                </c:pt>
                <c:pt idx="1759">
                  <c:v>40008</c:v>
                </c:pt>
                <c:pt idx="1760">
                  <c:v>40009</c:v>
                </c:pt>
                <c:pt idx="1761">
                  <c:v>40010</c:v>
                </c:pt>
                <c:pt idx="1762">
                  <c:v>40011</c:v>
                </c:pt>
                <c:pt idx="1763">
                  <c:v>40014</c:v>
                </c:pt>
                <c:pt idx="1764">
                  <c:v>40015</c:v>
                </c:pt>
                <c:pt idx="1765">
                  <c:v>40016</c:v>
                </c:pt>
                <c:pt idx="1766">
                  <c:v>40017</c:v>
                </c:pt>
                <c:pt idx="1767">
                  <c:v>40018</c:v>
                </c:pt>
                <c:pt idx="1768">
                  <c:v>40021</c:v>
                </c:pt>
                <c:pt idx="1769">
                  <c:v>40022</c:v>
                </c:pt>
                <c:pt idx="1770">
                  <c:v>40023</c:v>
                </c:pt>
                <c:pt idx="1771">
                  <c:v>40024</c:v>
                </c:pt>
                <c:pt idx="1772">
                  <c:v>40025</c:v>
                </c:pt>
                <c:pt idx="1773">
                  <c:v>40028</c:v>
                </c:pt>
                <c:pt idx="1774">
                  <c:v>40029</c:v>
                </c:pt>
                <c:pt idx="1775">
                  <c:v>40030</c:v>
                </c:pt>
                <c:pt idx="1776">
                  <c:v>40031</c:v>
                </c:pt>
                <c:pt idx="1777">
                  <c:v>40032</c:v>
                </c:pt>
                <c:pt idx="1778">
                  <c:v>40035</c:v>
                </c:pt>
                <c:pt idx="1779">
                  <c:v>40036</c:v>
                </c:pt>
                <c:pt idx="1780">
                  <c:v>40037</c:v>
                </c:pt>
                <c:pt idx="1781">
                  <c:v>40038</c:v>
                </c:pt>
                <c:pt idx="1782">
                  <c:v>40039</c:v>
                </c:pt>
                <c:pt idx="1783">
                  <c:v>40042</c:v>
                </c:pt>
                <c:pt idx="1784">
                  <c:v>40043</c:v>
                </c:pt>
                <c:pt idx="1785">
                  <c:v>40044</c:v>
                </c:pt>
                <c:pt idx="1786">
                  <c:v>40045</c:v>
                </c:pt>
                <c:pt idx="1787">
                  <c:v>40046</c:v>
                </c:pt>
                <c:pt idx="1788">
                  <c:v>40049</c:v>
                </c:pt>
                <c:pt idx="1789">
                  <c:v>40050</c:v>
                </c:pt>
                <c:pt idx="1790">
                  <c:v>40051</c:v>
                </c:pt>
                <c:pt idx="1791">
                  <c:v>40052</c:v>
                </c:pt>
                <c:pt idx="1792">
                  <c:v>40053</c:v>
                </c:pt>
                <c:pt idx="1793">
                  <c:v>40056</c:v>
                </c:pt>
                <c:pt idx="1794">
                  <c:v>40057</c:v>
                </c:pt>
                <c:pt idx="1795">
                  <c:v>40058</c:v>
                </c:pt>
                <c:pt idx="1796">
                  <c:v>40059</c:v>
                </c:pt>
                <c:pt idx="1797">
                  <c:v>40060</c:v>
                </c:pt>
                <c:pt idx="1798">
                  <c:v>40063</c:v>
                </c:pt>
                <c:pt idx="1799">
                  <c:v>40064</c:v>
                </c:pt>
                <c:pt idx="1800">
                  <c:v>40065</c:v>
                </c:pt>
                <c:pt idx="1801">
                  <c:v>40066</c:v>
                </c:pt>
                <c:pt idx="1802">
                  <c:v>40067</c:v>
                </c:pt>
                <c:pt idx="1803">
                  <c:v>40070</c:v>
                </c:pt>
                <c:pt idx="1804">
                  <c:v>40071</c:v>
                </c:pt>
                <c:pt idx="1805">
                  <c:v>40072</c:v>
                </c:pt>
                <c:pt idx="1806">
                  <c:v>40073</c:v>
                </c:pt>
                <c:pt idx="1807">
                  <c:v>40074</c:v>
                </c:pt>
                <c:pt idx="1808">
                  <c:v>40077</c:v>
                </c:pt>
                <c:pt idx="1809">
                  <c:v>40078</c:v>
                </c:pt>
                <c:pt idx="1810">
                  <c:v>40079</c:v>
                </c:pt>
                <c:pt idx="1811">
                  <c:v>40080</c:v>
                </c:pt>
                <c:pt idx="1812">
                  <c:v>40081</c:v>
                </c:pt>
                <c:pt idx="1813">
                  <c:v>40084</c:v>
                </c:pt>
                <c:pt idx="1814">
                  <c:v>40085</c:v>
                </c:pt>
                <c:pt idx="1815">
                  <c:v>40086</c:v>
                </c:pt>
                <c:pt idx="1816">
                  <c:v>40095</c:v>
                </c:pt>
                <c:pt idx="1817">
                  <c:v>40098</c:v>
                </c:pt>
                <c:pt idx="1818">
                  <c:v>40099</c:v>
                </c:pt>
                <c:pt idx="1819">
                  <c:v>40100</c:v>
                </c:pt>
                <c:pt idx="1820">
                  <c:v>40101</c:v>
                </c:pt>
                <c:pt idx="1821">
                  <c:v>40102</c:v>
                </c:pt>
                <c:pt idx="1822">
                  <c:v>40105</c:v>
                </c:pt>
                <c:pt idx="1823">
                  <c:v>40106</c:v>
                </c:pt>
                <c:pt idx="1824">
                  <c:v>40107</c:v>
                </c:pt>
                <c:pt idx="1825">
                  <c:v>40108</c:v>
                </c:pt>
                <c:pt idx="1826">
                  <c:v>40109</c:v>
                </c:pt>
                <c:pt idx="1827">
                  <c:v>40112</c:v>
                </c:pt>
                <c:pt idx="1828">
                  <c:v>40113</c:v>
                </c:pt>
                <c:pt idx="1829">
                  <c:v>40114</c:v>
                </c:pt>
                <c:pt idx="1830">
                  <c:v>40115</c:v>
                </c:pt>
                <c:pt idx="1831">
                  <c:v>40116</c:v>
                </c:pt>
                <c:pt idx="1832">
                  <c:v>40119</c:v>
                </c:pt>
                <c:pt idx="1833">
                  <c:v>40120</c:v>
                </c:pt>
                <c:pt idx="1834">
                  <c:v>40121</c:v>
                </c:pt>
                <c:pt idx="1835">
                  <c:v>40122</c:v>
                </c:pt>
                <c:pt idx="1836">
                  <c:v>40123</c:v>
                </c:pt>
                <c:pt idx="1837">
                  <c:v>40126</c:v>
                </c:pt>
                <c:pt idx="1838">
                  <c:v>40127</c:v>
                </c:pt>
                <c:pt idx="1839">
                  <c:v>40128</c:v>
                </c:pt>
                <c:pt idx="1840">
                  <c:v>40129</c:v>
                </c:pt>
                <c:pt idx="1841">
                  <c:v>40130</c:v>
                </c:pt>
                <c:pt idx="1842">
                  <c:v>40133</c:v>
                </c:pt>
                <c:pt idx="1843">
                  <c:v>40134</c:v>
                </c:pt>
                <c:pt idx="1844">
                  <c:v>40135</c:v>
                </c:pt>
                <c:pt idx="1845">
                  <c:v>40136</c:v>
                </c:pt>
                <c:pt idx="1846">
                  <c:v>40137</c:v>
                </c:pt>
                <c:pt idx="1847">
                  <c:v>40140</c:v>
                </c:pt>
                <c:pt idx="1848">
                  <c:v>40141</c:v>
                </c:pt>
                <c:pt idx="1849">
                  <c:v>40142</c:v>
                </c:pt>
                <c:pt idx="1850">
                  <c:v>40143</c:v>
                </c:pt>
                <c:pt idx="1851">
                  <c:v>40144</c:v>
                </c:pt>
                <c:pt idx="1852">
                  <c:v>40147</c:v>
                </c:pt>
                <c:pt idx="1853">
                  <c:v>40148</c:v>
                </c:pt>
                <c:pt idx="1854">
                  <c:v>40149</c:v>
                </c:pt>
                <c:pt idx="1855">
                  <c:v>40150</c:v>
                </c:pt>
                <c:pt idx="1856">
                  <c:v>40151</c:v>
                </c:pt>
                <c:pt idx="1857">
                  <c:v>40154</c:v>
                </c:pt>
                <c:pt idx="1858">
                  <c:v>40155</c:v>
                </c:pt>
                <c:pt idx="1859">
                  <c:v>40156</c:v>
                </c:pt>
                <c:pt idx="1860">
                  <c:v>40157</c:v>
                </c:pt>
                <c:pt idx="1861">
                  <c:v>40158</c:v>
                </c:pt>
                <c:pt idx="1862">
                  <c:v>40161</c:v>
                </c:pt>
                <c:pt idx="1863">
                  <c:v>40162</c:v>
                </c:pt>
                <c:pt idx="1864">
                  <c:v>40163</c:v>
                </c:pt>
                <c:pt idx="1865">
                  <c:v>40164</c:v>
                </c:pt>
                <c:pt idx="1866">
                  <c:v>40165</c:v>
                </c:pt>
                <c:pt idx="1867">
                  <c:v>40168</c:v>
                </c:pt>
                <c:pt idx="1868">
                  <c:v>40169</c:v>
                </c:pt>
                <c:pt idx="1869">
                  <c:v>40170</c:v>
                </c:pt>
                <c:pt idx="1870">
                  <c:v>40171</c:v>
                </c:pt>
                <c:pt idx="1871">
                  <c:v>40172</c:v>
                </c:pt>
                <c:pt idx="1872">
                  <c:v>40175</c:v>
                </c:pt>
                <c:pt idx="1873">
                  <c:v>40176</c:v>
                </c:pt>
                <c:pt idx="1874">
                  <c:v>40177</c:v>
                </c:pt>
                <c:pt idx="1875">
                  <c:v>40178</c:v>
                </c:pt>
                <c:pt idx="1876">
                  <c:v>40182</c:v>
                </c:pt>
                <c:pt idx="1877">
                  <c:v>40183</c:v>
                </c:pt>
                <c:pt idx="1878">
                  <c:v>40184</c:v>
                </c:pt>
                <c:pt idx="1879">
                  <c:v>40185</c:v>
                </c:pt>
                <c:pt idx="1880">
                  <c:v>40186</c:v>
                </c:pt>
                <c:pt idx="1881">
                  <c:v>40189</c:v>
                </c:pt>
                <c:pt idx="1882">
                  <c:v>40190</c:v>
                </c:pt>
                <c:pt idx="1883">
                  <c:v>40191</c:v>
                </c:pt>
                <c:pt idx="1884">
                  <c:v>40192</c:v>
                </c:pt>
                <c:pt idx="1885">
                  <c:v>40193</c:v>
                </c:pt>
                <c:pt idx="1886">
                  <c:v>40196</c:v>
                </c:pt>
                <c:pt idx="1887">
                  <c:v>40197</c:v>
                </c:pt>
                <c:pt idx="1888">
                  <c:v>40198</c:v>
                </c:pt>
                <c:pt idx="1889">
                  <c:v>40199</c:v>
                </c:pt>
                <c:pt idx="1890">
                  <c:v>40200</c:v>
                </c:pt>
                <c:pt idx="1891">
                  <c:v>40203</c:v>
                </c:pt>
                <c:pt idx="1892">
                  <c:v>40204</c:v>
                </c:pt>
                <c:pt idx="1893">
                  <c:v>40205</c:v>
                </c:pt>
                <c:pt idx="1894">
                  <c:v>40206</c:v>
                </c:pt>
                <c:pt idx="1895">
                  <c:v>40207</c:v>
                </c:pt>
                <c:pt idx="1896">
                  <c:v>40210</c:v>
                </c:pt>
                <c:pt idx="1897">
                  <c:v>40211</c:v>
                </c:pt>
                <c:pt idx="1898">
                  <c:v>40212</c:v>
                </c:pt>
                <c:pt idx="1899">
                  <c:v>40213</c:v>
                </c:pt>
                <c:pt idx="1900">
                  <c:v>40214</c:v>
                </c:pt>
                <c:pt idx="1901">
                  <c:v>40217</c:v>
                </c:pt>
                <c:pt idx="1902">
                  <c:v>40218</c:v>
                </c:pt>
                <c:pt idx="1903">
                  <c:v>40219</c:v>
                </c:pt>
                <c:pt idx="1904">
                  <c:v>40220</c:v>
                </c:pt>
                <c:pt idx="1905">
                  <c:v>40221</c:v>
                </c:pt>
                <c:pt idx="1906">
                  <c:v>40231</c:v>
                </c:pt>
                <c:pt idx="1907">
                  <c:v>40232</c:v>
                </c:pt>
                <c:pt idx="1908">
                  <c:v>40233</c:v>
                </c:pt>
                <c:pt idx="1909">
                  <c:v>40234</c:v>
                </c:pt>
                <c:pt idx="1910">
                  <c:v>40235</c:v>
                </c:pt>
                <c:pt idx="1911">
                  <c:v>40238</c:v>
                </c:pt>
                <c:pt idx="1912">
                  <c:v>40239</c:v>
                </c:pt>
                <c:pt idx="1913">
                  <c:v>40240</c:v>
                </c:pt>
                <c:pt idx="1914">
                  <c:v>40241</c:v>
                </c:pt>
                <c:pt idx="1915">
                  <c:v>40242</c:v>
                </c:pt>
                <c:pt idx="1916">
                  <c:v>40245</c:v>
                </c:pt>
                <c:pt idx="1917">
                  <c:v>40246</c:v>
                </c:pt>
                <c:pt idx="1918">
                  <c:v>40247</c:v>
                </c:pt>
                <c:pt idx="1919">
                  <c:v>40248</c:v>
                </c:pt>
                <c:pt idx="1920">
                  <c:v>40249</c:v>
                </c:pt>
                <c:pt idx="1921">
                  <c:v>40252</c:v>
                </c:pt>
                <c:pt idx="1922">
                  <c:v>40253</c:v>
                </c:pt>
                <c:pt idx="1923">
                  <c:v>40254</c:v>
                </c:pt>
                <c:pt idx="1924">
                  <c:v>40255</c:v>
                </c:pt>
                <c:pt idx="1925">
                  <c:v>40256</c:v>
                </c:pt>
                <c:pt idx="1926">
                  <c:v>40259</c:v>
                </c:pt>
                <c:pt idx="1927">
                  <c:v>40260</c:v>
                </c:pt>
                <c:pt idx="1928">
                  <c:v>40261</c:v>
                </c:pt>
                <c:pt idx="1929">
                  <c:v>40262</c:v>
                </c:pt>
                <c:pt idx="1930">
                  <c:v>40263</c:v>
                </c:pt>
                <c:pt idx="1931">
                  <c:v>40266</c:v>
                </c:pt>
                <c:pt idx="1932">
                  <c:v>40267</c:v>
                </c:pt>
                <c:pt idx="1933">
                  <c:v>40268</c:v>
                </c:pt>
                <c:pt idx="1934">
                  <c:v>40269</c:v>
                </c:pt>
                <c:pt idx="1935">
                  <c:v>40270</c:v>
                </c:pt>
                <c:pt idx="1936">
                  <c:v>40274</c:v>
                </c:pt>
                <c:pt idx="1937">
                  <c:v>40275</c:v>
                </c:pt>
                <c:pt idx="1938">
                  <c:v>40276</c:v>
                </c:pt>
                <c:pt idx="1939">
                  <c:v>40277</c:v>
                </c:pt>
                <c:pt idx="1940">
                  <c:v>40280</c:v>
                </c:pt>
                <c:pt idx="1941">
                  <c:v>40281</c:v>
                </c:pt>
                <c:pt idx="1942">
                  <c:v>40282</c:v>
                </c:pt>
                <c:pt idx="1943">
                  <c:v>40283</c:v>
                </c:pt>
                <c:pt idx="1944">
                  <c:v>40284</c:v>
                </c:pt>
                <c:pt idx="1945">
                  <c:v>40287</c:v>
                </c:pt>
                <c:pt idx="1946">
                  <c:v>40288</c:v>
                </c:pt>
                <c:pt idx="1947">
                  <c:v>40289</c:v>
                </c:pt>
                <c:pt idx="1948">
                  <c:v>40290</c:v>
                </c:pt>
                <c:pt idx="1949">
                  <c:v>40291</c:v>
                </c:pt>
                <c:pt idx="1950">
                  <c:v>40294</c:v>
                </c:pt>
                <c:pt idx="1951">
                  <c:v>40295</c:v>
                </c:pt>
                <c:pt idx="1952">
                  <c:v>40296</c:v>
                </c:pt>
                <c:pt idx="1953">
                  <c:v>40297</c:v>
                </c:pt>
                <c:pt idx="1954">
                  <c:v>40298</c:v>
                </c:pt>
                <c:pt idx="1955">
                  <c:v>40302</c:v>
                </c:pt>
                <c:pt idx="1956">
                  <c:v>40303</c:v>
                </c:pt>
                <c:pt idx="1957">
                  <c:v>40304</c:v>
                </c:pt>
                <c:pt idx="1958">
                  <c:v>40305</c:v>
                </c:pt>
                <c:pt idx="1959">
                  <c:v>40308</c:v>
                </c:pt>
                <c:pt idx="1960">
                  <c:v>40309</c:v>
                </c:pt>
                <c:pt idx="1961">
                  <c:v>40310</c:v>
                </c:pt>
                <c:pt idx="1962">
                  <c:v>40311</c:v>
                </c:pt>
                <c:pt idx="1963">
                  <c:v>40312</c:v>
                </c:pt>
                <c:pt idx="1964">
                  <c:v>40315</c:v>
                </c:pt>
                <c:pt idx="1965">
                  <c:v>40316</c:v>
                </c:pt>
                <c:pt idx="1966">
                  <c:v>40317</c:v>
                </c:pt>
                <c:pt idx="1967">
                  <c:v>40318</c:v>
                </c:pt>
                <c:pt idx="1968">
                  <c:v>40319</c:v>
                </c:pt>
                <c:pt idx="1969">
                  <c:v>40322</c:v>
                </c:pt>
                <c:pt idx="1970">
                  <c:v>40323</c:v>
                </c:pt>
                <c:pt idx="1971">
                  <c:v>40324</c:v>
                </c:pt>
                <c:pt idx="1972">
                  <c:v>40325</c:v>
                </c:pt>
                <c:pt idx="1973">
                  <c:v>40326</c:v>
                </c:pt>
                <c:pt idx="1974">
                  <c:v>40329</c:v>
                </c:pt>
                <c:pt idx="1975">
                  <c:v>40330</c:v>
                </c:pt>
                <c:pt idx="1976">
                  <c:v>40331</c:v>
                </c:pt>
                <c:pt idx="1977">
                  <c:v>40332</c:v>
                </c:pt>
                <c:pt idx="1978">
                  <c:v>40333</c:v>
                </c:pt>
                <c:pt idx="1979">
                  <c:v>40336</c:v>
                </c:pt>
                <c:pt idx="1980">
                  <c:v>40337</c:v>
                </c:pt>
                <c:pt idx="1981">
                  <c:v>40338</c:v>
                </c:pt>
                <c:pt idx="1982">
                  <c:v>40339</c:v>
                </c:pt>
                <c:pt idx="1983">
                  <c:v>40340</c:v>
                </c:pt>
                <c:pt idx="1984">
                  <c:v>40346</c:v>
                </c:pt>
                <c:pt idx="1985">
                  <c:v>40347</c:v>
                </c:pt>
                <c:pt idx="1986">
                  <c:v>40350</c:v>
                </c:pt>
                <c:pt idx="1987">
                  <c:v>40351</c:v>
                </c:pt>
                <c:pt idx="1988">
                  <c:v>40352</c:v>
                </c:pt>
                <c:pt idx="1989">
                  <c:v>40353</c:v>
                </c:pt>
                <c:pt idx="1990">
                  <c:v>40354</c:v>
                </c:pt>
                <c:pt idx="1991">
                  <c:v>40357</c:v>
                </c:pt>
                <c:pt idx="1992">
                  <c:v>40358</c:v>
                </c:pt>
                <c:pt idx="1993">
                  <c:v>40359</c:v>
                </c:pt>
                <c:pt idx="1994">
                  <c:v>40360</c:v>
                </c:pt>
                <c:pt idx="1995">
                  <c:v>40361</c:v>
                </c:pt>
                <c:pt idx="1996">
                  <c:v>40364</c:v>
                </c:pt>
                <c:pt idx="1997">
                  <c:v>40365</c:v>
                </c:pt>
                <c:pt idx="1998">
                  <c:v>40366</c:v>
                </c:pt>
                <c:pt idx="1999">
                  <c:v>40367</c:v>
                </c:pt>
                <c:pt idx="2000">
                  <c:v>40368</c:v>
                </c:pt>
                <c:pt idx="2001">
                  <c:v>40371</c:v>
                </c:pt>
                <c:pt idx="2002">
                  <c:v>40372</c:v>
                </c:pt>
                <c:pt idx="2003">
                  <c:v>40373</c:v>
                </c:pt>
                <c:pt idx="2004">
                  <c:v>40374</c:v>
                </c:pt>
                <c:pt idx="2005">
                  <c:v>40375</c:v>
                </c:pt>
                <c:pt idx="2006">
                  <c:v>40378</c:v>
                </c:pt>
                <c:pt idx="2007">
                  <c:v>40379</c:v>
                </c:pt>
                <c:pt idx="2008">
                  <c:v>40380</c:v>
                </c:pt>
                <c:pt idx="2009">
                  <c:v>40381</c:v>
                </c:pt>
                <c:pt idx="2010">
                  <c:v>40382</c:v>
                </c:pt>
                <c:pt idx="2011">
                  <c:v>40385</c:v>
                </c:pt>
                <c:pt idx="2012">
                  <c:v>40386</c:v>
                </c:pt>
                <c:pt idx="2013">
                  <c:v>40387</c:v>
                </c:pt>
                <c:pt idx="2014">
                  <c:v>40388</c:v>
                </c:pt>
                <c:pt idx="2015">
                  <c:v>40389</c:v>
                </c:pt>
                <c:pt idx="2016">
                  <c:v>40392</c:v>
                </c:pt>
                <c:pt idx="2017">
                  <c:v>40393</c:v>
                </c:pt>
                <c:pt idx="2018">
                  <c:v>40394</c:v>
                </c:pt>
                <c:pt idx="2019">
                  <c:v>40395</c:v>
                </c:pt>
                <c:pt idx="2020">
                  <c:v>40396</c:v>
                </c:pt>
                <c:pt idx="2021">
                  <c:v>40399</c:v>
                </c:pt>
                <c:pt idx="2022">
                  <c:v>40400</c:v>
                </c:pt>
                <c:pt idx="2023">
                  <c:v>40401</c:v>
                </c:pt>
                <c:pt idx="2024">
                  <c:v>40402</c:v>
                </c:pt>
                <c:pt idx="2025">
                  <c:v>40403</c:v>
                </c:pt>
                <c:pt idx="2026">
                  <c:v>40406</c:v>
                </c:pt>
                <c:pt idx="2027">
                  <c:v>40407</c:v>
                </c:pt>
                <c:pt idx="2028">
                  <c:v>40408</c:v>
                </c:pt>
                <c:pt idx="2029">
                  <c:v>40409</c:v>
                </c:pt>
                <c:pt idx="2030">
                  <c:v>40410</c:v>
                </c:pt>
                <c:pt idx="2031">
                  <c:v>40413</c:v>
                </c:pt>
                <c:pt idx="2032">
                  <c:v>40414</c:v>
                </c:pt>
                <c:pt idx="2033">
                  <c:v>40415</c:v>
                </c:pt>
                <c:pt idx="2034">
                  <c:v>40416</c:v>
                </c:pt>
                <c:pt idx="2035">
                  <c:v>40417</c:v>
                </c:pt>
                <c:pt idx="2036">
                  <c:v>40420</c:v>
                </c:pt>
                <c:pt idx="2037">
                  <c:v>40421</c:v>
                </c:pt>
                <c:pt idx="2038">
                  <c:v>40422</c:v>
                </c:pt>
                <c:pt idx="2039">
                  <c:v>40423</c:v>
                </c:pt>
                <c:pt idx="2040">
                  <c:v>40424</c:v>
                </c:pt>
                <c:pt idx="2041">
                  <c:v>40427</c:v>
                </c:pt>
                <c:pt idx="2042">
                  <c:v>40428</c:v>
                </c:pt>
                <c:pt idx="2043">
                  <c:v>40429</c:v>
                </c:pt>
                <c:pt idx="2044">
                  <c:v>40430</c:v>
                </c:pt>
                <c:pt idx="2045">
                  <c:v>40431</c:v>
                </c:pt>
                <c:pt idx="2046">
                  <c:v>40434</c:v>
                </c:pt>
                <c:pt idx="2047">
                  <c:v>40435</c:v>
                </c:pt>
                <c:pt idx="2048">
                  <c:v>40436</c:v>
                </c:pt>
                <c:pt idx="2049">
                  <c:v>40437</c:v>
                </c:pt>
                <c:pt idx="2050">
                  <c:v>40438</c:v>
                </c:pt>
                <c:pt idx="2051">
                  <c:v>40441</c:v>
                </c:pt>
                <c:pt idx="2052">
                  <c:v>40442</c:v>
                </c:pt>
                <c:pt idx="2053">
                  <c:v>40448</c:v>
                </c:pt>
                <c:pt idx="2054">
                  <c:v>40449</c:v>
                </c:pt>
                <c:pt idx="2055">
                  <c:v>40450</c:v>
                </c:pt>
                <c:pt idx="2056">
                  <c:v>40451</c:v>
                </c:pt>
                <c:pt idx="2057">
                  <c:v>40459</c:v>
                </c:pt>
                <c:pt idx="2058">
                  <c:v>40462</c:v>
                </c:pt>
                <c:pt idx="2059">
                  <c:v>40463</c:v>
                </c:pt>
                <c:pt idx="2060">
                  <c:v>40464</c:v>
                </c:pt>
                <c:pt idx="2061">
                  <c:v>40465</c:v>
                </c:pt>
                <c:pt idx="2062">
                  <c:v>40466</c:v>
                </c:pt>
                <c:pt idx="2063">
                  <c:v>40469</c:v>
                </c:pt>
                <c:pt idx="2064">
                  <c:v>40470</c:v>
                </c:pt>
                <c:pt idx="2065">
                  <c:v>40471</c:v>
                </c:pt>
                <c:pt idx="2066">
                  <c:v>40472</c:v>
                </c:pt>
                <c:pt idx="2067">
                  <c:v>40473</c:v>
                </c:pt>
                <c:pt idx="2068">
                  <c:v>40476</c:v>
                </c:pt>
                <c:pt idx="2069">
                  <c:v>40477</c:v>
                </c:pt>
                <c:pt idx="2070">
                  <c:v>40478</c:v>
                </c:pt>
                <c:pt idx="2071">
                  <c:v>40479</c:v>
                </c:pt>
                <c:pt idx="2072">
                  <c:v>40480</c:v>
                </c:pt>
                <c:pt idx="2073">
                  <c:v>40483</c:v>
                </c:pt>
                <c:pt idx="2074">
                  <c:v>40484</c:v>
                </c:pt>
                <c:pt idx="2075">
                  <c:v>40485</c:v>
                </c:pt>
                <c:pt idx="2076">
                  <c:v>40486</c:v>
                </c:pt>
                <c:pt idx="2077">
                  <c:v>40487</c:v>
                </c:pt>
                <c:pt idx="2078">
                  <c:v>40490</c:v>
                </c:pt>
                <c:pt idx="2079">
                  <c:v>40491</c:v>
                </c:pt>
                <c:pt idx="2080">
                  <c:v>40492</c:v>
                </c:pt>
                <c:pt idx="2081">
                  <c:v>40493</c:v>
                </c:pt>
                <c:pt idx="2082">
                  <c:v>40494</c:v>
                </c:pt>
                <c:pt idx="2083">
                  <c:v>40497</c:v>
                </c:pt>
                <c:pt idx="2084">
                  <c:v>40498</c:v>
                </c:pt>
                <c:pt idx="2085">
                  <c:v>40499</c:v>
                </c:pt>
                <c:pt idx="2086">
                  <c:v>40500</c:v>
                </c:pt>
                <c:pt idx="2087">
                  <c:v>40501</c:v>
                </c:pt>
                <c:pt idx="2088">
                  <c:v>40504</c:v>
                </c:pt>
                <c:pt idx="2089">
                  <c:v>40505</c:v>
                </c:pt>
                <c:pt idx="2090">
                  <c:v>40506</c:v>
                </c:pt>
                <c:pt idx="2091">
                  <c:v>40507</c:v>
                </c:pt>
                <c:pt idx="2092">
                  <c:v>40508</c:v>
                </c:pt>
                <c:pt idx="2093">
                  <c:v>40511</c:v>
                </c:pt>
                <c:pt idx="2094">
                  <c:v>40512</c:v>
                </c:pt>
                <c:pt idx="2095">
                  <c:v>40513</c:v>
                </c:pt>
                <c:pt idx="2096">
                  <c:v>40514</c:v>
                </c:pt>
                <c:pt idx="2097">
                  <c:v>40515</c:v>
                </c:pt>
                <c:pt idx="2098">
                  <c:v>40518</c:v>
                </c:pt>
                <c:pt idx="2099">
                  <c:v>40519</c:v>
                </c:pt>
                <c:pt idx="2100">
                  <c:v>40520</c:v>
                </c:pt>
                <c:pt idx="2101">
                  <c:v>40521</c:v>
                </c:pt>
                <c:pt idx="2102">
                  <c:v>40522</c:v>
                </c:pt>
                <c:pt idx="2103">
                  <c:v>40525</c:v>
                </c:pt>
                <c:pt idx="2104">
                  <c:v>40526</c:v>
                </c:pt>
                <c:pt idx="2105">
                  <c:v>40527</c:v>
                </c:pt>
                <c:pt idx="2106">
                  <c:v>40528</c:v>
                </c:pt>
                <c:pt idx="2107">
                  <c:v>40529</c:v>
                </c:pt>
                <c:pt idx="2108">
                  <c:v>40532</c:v>
                </c:pt>
                <c:pt idx="2109">
                  <c:v>40533</c:v>
                </c:pt>
                <c:pt idx="2110">
                  <c:v>40534</c:v>
                </c:pt>
                <c:pt idx="2111">
                  <c:v>40535</c:v>
                </c:pt>
                <c:pt idx="2112">
                  <c:v>40536</c:v>
                </c:pt>
                <c:pt idx="2113">
                  <c:v>40539</c:v>
                </c:pt>
                <c:pt idx="2114">
                  <c:v>40540</c:v>
                </c:pt>
                <c:pt idx="2115">
                  <c:v>40541</c:v>
                </c:pt>
                <c:pt idx="2116">
                  <c:v>40542</c:v>
                </c:pt>
                <c:pt idx="2117">
                  <c:v>40543</c:v>
                </c:pt>
                <c:pt idx="2118">
                  <c:v>40547</c:v>
                </c:pt>
                <c:pt idx="2119">
                  <c:v>40548</c:v>
                </c:pt>
                <c:pt idx="2120">
                  <c:v>40549</c:v>
                </c:pt>
                <c:pt idx="2121">
                  <c:v>40550</c:v>
                </c:pt>
                <c:pt idx="2122">
                  <c:v>40553</c:v>
                </c:pt>
                <c:pt idx="2123">
                  <c:v>40554</c:v>
                </c:pt>
                <c:pt idx="2124">
                  <c:v>40555</c:v>
                </c:pt>
                <c:pt idx="2125">
                  <c:v>40556</c:v>
                </c:pt>
                <c:pt idx="2126">
                  <c:v>40557</c:v>
                </c:pt>
                <c:pt idx="2127">
                  <c:v>40560</c:v>
                </c:pt>
                <c:pt idx="2128">
                  <c:v>40561</c:v>
                </c:pt>
                <c:pt idx="2129">
                  <c:v>40562</c:v>
                </c:pt>
                <c:pt idx="2130">
                  <c:v>40563</c:v>
                </c:pt>
                <c:pt idx="2131">
                  <c:v>40564</c:v>
                </c:pt>
                <c:pt idx="2132">
                  <c:v>40567</c:v>
                </c:pt>
                <c:pt idx="2133">
                  <c:v>40568</c:v>
                </c:pt>
                <c:pt idx="2134">
                  <c:v>40569</c:v>
                </c:pt>
                <c:pt idx="2135">
                  <c:v>40570</c:v>
                </c:pt>
                <c:pt idx="2136">
                  <c:v>40571</c:v>
                </c:pt>
                <c:pt idx="2137">
                  <c:v>40574</c:v>
                </c:pt>
                <c:pt idx="2138">
                  <c:v>40575</c:v>
                </c:pt>
                <c:pt idx="2139">
                  <c:v>40583</c:v>
                </c:pt>
                <c:pt idx="2140">
                  <c:v>40584</c:v>
                </c:pt>
                <c:pt idx="2141">
                  <c:v>40585</c:v>
                </c:pt>
                <c:pt idx="2142">
                  <c:v>40588</c:v>
                </c:pt>
                <c:pt idx="2143">
                  <c:v>40589</c:v>
                </c:pt>
                <c:pt idx="2144">
                  <c:v>40590</c:v>
                </c:pt>
                <c:pt idx="2145">
                  <c:v>40591</c:v>
                </c:pt>
                <c:pt idx="2146">
                  <c:v>40592</c:v>
                </c:pt>
                <c:pt idx="2147">
                  <c:v>40595</c:v>
                </c:pt>
                <c:pt idx="2148">
                  <c:v>40596</c:v>
                </c:pt>
                <c:pt idx="2149">
                  <c:v>40597</c:v>
                </c:pt>
                <c:pt idx="2150">
                  <c:v>40598</c:v>
                </c:pt>
                <c:pt idx="2151">
                  <c:v>40599</c:v>
                </c:pt>
                <c:pt idx="2152">
                  <c:v>40602</c:v>
                </c:pt>
                <c:pt idx="2153">
                  <c:v>40603</c:v>
                </c:pt>
                <c:pt idx="2154">
                  <c:v>40604</c:v>
                </c:pt>
                <c:pt idx="2155">
                  <c:v>40605</c:v>
                </c:pt>
                <c:pt idx="2156">
                  <c:v>40606</c:v>
                </c:pt>
                <c:pt idx="2157">
                  <c:v>40609</c:v>
                </c:pt>
                <c:pt idx="2158">
                  <c:v>40610</c:v>
                </c:pt>
                <c:pt idx="2159">
                  <c:v>40611</c:v>
                </c:pt>
                <c:pt idx="2160">
                  <c:v>40612</c:v>
                </c:pt>
                <c:pt idx="2161">
                  <c:v>40613</c:v>
                </c:pt>
                <c:pt idx="2162">
                  <c:v>40616</c:v>
                </c:pt>
                <c:pt idx="2163">
                  <c:v>40617</c:v>
                </c:pt>
                <c:pt idx="2164">
                  <c:v>40618</c:v>
                </c:pt>
                <c:pt idx="2165">
                  <c:v>40619</c:v>
                </c:pt>
                <c:pt idx="2166">
                  <c:v>40620</c:v>
                </c:pt>
                <c:pt idx="2167">
                  <c:v>40623</c:v>
                </c:pt>
                <c:pt idx="2168">
                  <c:v>40624</c:v>
                </c:pt>
                <c:pt idx="2169">
                  <c:v>40625</c:v>
                </c:pt>
                <c:pt idx="2170">
                  <c:v>40626</c:v>
                </c:pt>
                <c:pt idx="2171">
                  <c:v>40627</c:v>
                </c:pt>
                <c:pt idx="2172">
                  <c:v>40630</c:v>
                </c:pt>
                <c:pt idx="2173">
                  <c:v>40631</c:v>
                </c:pt>
                <c:pt idx="2174">
                  <c:v>40632</c:v>
                </c:pt>
                <c:pt idx="2175">
                  <c:v>40633</c:v>
                </c:pt>
                <c:pt idx="2176">
                  <c:v>40634</c:v>
                </c:pt>
                <c:pt idx="2177">
                  <c:v>40639</c:v>
                </c:pt>
                <c:pt idx="2178">
                  <c:v>40640</c:v>
                </c:pt>
                <c:pt idx="2179">
                  <c:v>40641</c:v>
                </c:pt>
                <c:pt idx="2180">
                  <c:v>40644</c:v>
                </c:pt>
                <c:pt idx="2181">
                  <c:v>40645</c:v>
                </c:pt>
                <c:pt idx="2182">
                  <c:v>40646</c:v>
                </c:pt>
                <c:pt idx="2183">
                  <c:v>40647</c:v>
                </c:pt>
                <c:pt idx="2184">
                  <c:v>40648</c:v>
                </c:pt>
                <c:pt idx="2185">
                  <c:v>40651</c:v>
                </c:pt>
                <c:pt idx="2186">
                  <c:v>40652</c:v>
                </c:pt>
                <c:pt idx="2187">
                  <c:v>40653</c:v>
                </c:pt>
                <c:pt idx="2188">
                  <c:v>40654</c:v>
                </c:pt>
                <c:pt idx="2189">
                  <c:v>40655</c:v>
                </c:pt>
                <c:pt idx="2190">
                  <c:v>40658</c:v>
                </c:pt>
                <c:pt idx="2191">
                  <c:v>40659</c:v>
                </c:pt>
                <c:pt idx="2192">
                  <c:v>40660</c:v>
                </c:pt>
                <c:pt idx="2193">
                  <c:v>40661</c:v>
                </c:pt>
                <c:pt idx="2194">
                  <c:v>40662</c:v>
                </c:pt>
                <c:pt idx="2195">
                  <c:v>40666</c:v>
                </c:pt>
                <c:pt idx="2196">
                  <c:v>40667</c:v>
                </c:pt>
                <c:pt idx="2197">
                  <c:v>40668</c:v>
                </c:pt>
                <c:pt idx="2198">
                  <c:v>40669</c:v>
                </c:pt>
                <c:pt idx="2199">
                  <c:v>40672</c:v>
                </c:pt>
                <c:pt idx="2200">
                  <c:v>40673</c:v>
                </c:pt>
                <c:pt idx="2201">
                  <c:v>40674</c:v>
                </c:pt>
                <c:pt idx="2202">
                  <c:v>40675</c:v>
                </c:pt>
                <c:pt idx="2203">
                  <c:v>40676</c:v>
                </c:pt>
                <c:pt idx="2204">
                  <c:v>40679</c:v>
                </c:pt>
                <c:pt idx="2205">
                  <c:v>40680</c:v>
                </c:pt>
                <c:pt idx="2206">
                  <c:v>40681</c:v>
                </c:pt>
                <c:pt idx="2207">
                  <c:v>40682</c:v>
                </c:pt>
                <c:pt idx="2208">
                  <c:v>40683</c:v>
                </c:pt>
                <c:pt idx="2209">
                  <c:v>40686</c:v>
                </c:pt>
                <c:pt idx="2210">
                  <c:v>40687</c:v>
                </c:pt>
                <c:pt idx="2211">
                  <c:v>40688</c:v>
                </c:pt>
                <c:pt idx="2212">
                  <c:v>40689</c:v>
                </c:pt>
                <c:pt idx="2213">
                  <c:v>40690</c:v>
                </c:pt>
                <c:pt idx="2214">
                  <c:v>40693</c:v>
                </c:pt>
                <c:pt idx="2215">
                  <c:v>40694</c:v>
                </c:pt>
                <c:pt idx="2216">
                  <c:v>40695</c:v>
                </c:pt>
                <c:pt idx="2217">
                  <c:v>40696</c:v>
                </c:pt>
                <c:pt idx="2218">
                  <c:v>40697</c:v>
                </c:pt>
                <c:pt idx="2219">
                  <c:v>40701</c:v>
                </c:pt>
                <c:pt idx="2220">
                  <c:v>40702</c:v>
                </c:pt>
                <c:pt idx="2221">
                  <c:v>40703</c:v>
                </c:pt>
                <c:pt idx="2222">
                  <c:v>40704</c:v>
                </c:pt>
                <c:pt idx="2223">
                  <c:v>40707</c:v>
                </c:pt>
                <c:pt idx="2224">
                  <c:v>40708</c:v>
                </c:pt>
                <c:pt idx="2225">
                  <c:v>40709</c:v>
                </c:pt>
                <c:pt idx="2226">
                  <c:v>40710</c:v>
                </c:pt>
                <c:pt idx="2227">
                  <c:v>40711</c:v>
                </c:pt>
                <c:pt idx="2228">
                  <c:v>40714</c:v>
                </c:pt>
                <c:pt idx="2229">
                  <c:v>40715</c:v>
                </c:pt>
                <c:pt idx="2230">
                  <c:v>40716</c:v>
                </c:pt>
                <c:pt idx="2231">
                  <c:v>40717</c:v>
                </c:pt>
                <c:pt idx="2232">
                  <c:v>40718</c:v>
                </c:pt>
                <c:pt idx="2233">
                  <c:v>40721</c:v>
                </c:pt>
                <c:pt idx="2234">
                  <c:v>40722</c:v>
                </c:pt>
                <c:pt idx="2235">
                  <c:v>40723</c:v>
                </c:pt>
                <c:pt idx="2236">
                  <c:v>40724</c:v>
                </c:pt>
                <c:pt idx="2237">
                  <c:v>40725</c:v>
                </c:pt>
                <c:pt idx="2238">
                  <c:v>40728</c:v>
                </c:pt>
                <c:pt idx="2239">
                  <c:v>40729</c:v>
                </c:pt>
                <c:pt idx="2240">
                  <c:v>40730</c:v>
                </c:pt>
                <c:pt idx="2241">
                  <c:v>40731</c:v>
                </c:pt>
                <c:pt idx="2242">
                  <c:v>40732</c:v>
                </c:pt>
                <c:pt idx="2243">
                  <c:v>40735</c:v>
                </c:pt>
                <c:pt idx="2244">
                  <c:v>40736</c:v>
                </c:pt>
                <c:pt idx="2245">
                  <c:v>40737</c:v>
                </c:pt>
                <c:pt idx="2246">
                  <c:v>40738</c:v>
                </c:pt>
                <c:pt idx="2247">
                  <c:v>40739</c:v>
                </c:pt>
                <c:pt idx="2248">
                  <c:v>40742</c:v>
                </c:pt>
                <c:pt idx="2249">
                  <c:v>40743</c:v>
                </c:pt>
                <c:pt idx="2250">
                  <c:v>40744</c:v>
                </c:pt>
                <c:pt idx="2251">
                  <c:v>40745</c:v>
                </c:pt>
                <c:pt idx="2252">
                  <c:v>40746</c:v>
                </c:pt>
                <c:pt idx="2253">
                  <c:v>40749</c:v>
                </c:pt>
                <c:pt idx="2254">
                  <c:v>40750</c:v>
                </c:pt>
                <c:pt idx="2255">
                  <c:v>40751</c:v>
                </c:pt>
                <c:pt idx="2256">
                  <c:v>40752</c:v>
                </c:pt>
                <c:pt idx="2257">
                  <c:v>40753</c:v>
                </c:pt>
                <c:pt idx="2258">
                  <c:v>40756</c:v>
                </c:pt>
                <c:pt idx="2259">
                  <c:v>40757</c:v>
                </c:pt>
                <c:pt idx="2260">
                  <c:v>40758</c:v>
                </c:pt>
                <c:pt idx="2261">
                  <c:v>40759</c:v>
                </c:pt>
                <c:pt idx="2262">
                  <c:v>40760</c:v>
                </c:pt>
                <c:pt idx="2263">
                  <c:v>40763</c:v>
                </c:pt>
                <c:pt idx="2264">
                  <c:v>40764</c:v>
                </c:pt>
                <c:pt idx="2265">
                  <c:v>40765</c:v>
                </c:pt>
                <c:pt idx="2266">
                  <c:v>40766</c:v>
                </c:pt>
                <c:pt idx="2267">
                  <c:v>40767</c:v>
                </c:pt>
                <c:pt idx="2268">
                  <c:v>40770</c:v>
                </c:pt>
                <c:pt idx="2269">
                  <c:v>40771</c:v>
                </c:pt>
                <c:pt idx="2270">
                  <c:v>40772</c:v>
                </c:pt>
                <c:pt idx="2271">
                  <c:v>40773</c:v>
                </c:pt>
                <c:pt idx="2272">
                  <c:v>40774</c:v>
                </c:pt>
                <c:pt idx="2273">
                  <c:v>40777</c:v>
                </c:pt>
                <c:pt idx="2274">
                  <c:v>40778</c:v>
                </c:pt>
                <c:pt idx="2275">
                  <c:v>40779</c:v>
                </c:pt>
                <c:pt idx="2276">
                  <c:v>40780</c:v>
                </c:pt>
                <c:pt idx="2277">
                  <c:v>40781</c:v>
                </c:pt>
                <c:pt idx="2278">
                  <c:v>40784</c:v>
                </c:pt>
                <c:pt idx="2279">
                  <c:v>40785</c:v>
                </c:pt>
                <c:pt idx="2280">
                  <c:v>40786</c:v>
                </c:pt>
                <c:pt idx="2281">
                  <c:v>40787</c:v>
                </c:pt>
                <c:pt idx="2282">
                  <c:v>40788</c:v>
                </c:pt>
                <c:pt idx="2283">
                  <c:v>40791</c:v>
                </c:pt>
                <c:pt idx="2284">
                  <c:v>40792</c:v>
                </c:pt>
                <c:pt idx="2285">
                  <c:v>40793</c:v>
                </c:pt>
                <c:pt idx="2286">
                  <c:v>40794</c:v>
                </c:pt>
                <c:pt idx="2287">
                  <c:v>40795</c:v>
                </c:pt>
                <c:pt idx="2288">
                  <c:v>40799</c:v>
                </c:pt>
                <c:pt idx="2289">
                  <c:v>40800</c:v>
                </c:pt>
                <c:pt idx="2290">
                  <c:v>40801</c:v>
                </c:pt>
                <c:pt idx="2291">
                  <c:v>40802</c:v>
                </c:pt>
                <c:pt idx="2292">
                  <c:v>40805</c:v>
                </c:pt>
                <c:pt idx="2293">
                  <c:v>40806</c:v>
                </c:pt>
                <c:pt idx="2294">
                  <c:v>40807</c:v>
                </c:pt>
                <c:pt idx="2295">
                  <c:v>40808</c:v>
                </c:pt>
                <c:pt idx="2296">
                  <c:v>40809</c:v>
                </c:pt>
                <c:pt idx="2297">
                  <c:v>40812</c:v>
                </c:pt>
                <c:pt idx="2298">
                  <c:v>40813</c:v>
                </c:pt>
                <c:pt idx="2299">
                  <c:v>40814</c:v>
                </c:pt>
                <c:pt idx="2300">
                  <c:v>40815</c:v>
                </c:pt>
                <c:pt idx="2301">
                  <c:v>40816</c:v>
                </c:pt>
                <c:pt idx="2302">
                  <c:v>40826</c:v>
                </c:pt>
                <c:pt idx="2303">
                  <c:v>40827</c:v>
                </c:pt>
                <c:pt idx="2304">
                  <c:v>40828</c:v>
                </c:pt>
                <c:pt idx="2305">
                  <c:v>40829</c:v>
                </c:pt>
                <c:pt idx="2306">
                  <c:v>40830</c:v>
                </c:pt>
                <c:pt idx="2307">
                  <c:v>40833</c:v>
                </c:pt>
                <c:pt idx="2308">
                  <c:v>40834</c:v>
                </c:pt>
                <c:pt idx="2309">
                  <c:v>40835</c:v>
                </c:pt>
                <c:pt idx="2310">
                  <c:v>40836</c:v>
                </c:pt>
                <c:pt idx="2311">
                  <c:v>40837</c:v>
                </c:pt>
                <c:pt idx="2312">
                  <c:v>40840</c:v>
                </c:pt>
                <c:pt idx="2313">
                  <c:v>40841</c:v>
                </c:pt>
                <c:pt idx="2314">
                  <c:v>40842</c:v>
                </c:pt>
                <c:pt idx="2315">
                  <c:v>40843</c:v>
                </c:pt>
                <c:pt idx="2316">
                  <c:v>40844</c:v>
                </c:pt>
                <c:pt idx="2317">
                  <c:v>40847</c:v>
                </c:pt>
                <c:pt idx="2318">
                  <c:v>40848</c:v>
                </c:pt>
                <c:pt idx="2319">
                  <c:v>40849</c:v>
                </c:pt>
                <c:pt idx="2320">
                  <c:v>40850</c:v>
                </c:pt>
                <c:pt idx="2321">
                  <c:v>40851</c:v>
                </c:pt>
                <c:pt idx="2322">
                  <c:v>40854</c:v>
                </c:pt>
                <c:pt idx="2323">
                  <c:v>40855</c:v>
                </c:pt>
                <c:pt idx="2324">
                  <c:v>40856</c:v>
                </c:pt>
                <c:pt idx="2325">
                  <c:v>40857</c:v>
                </c:pt>
                <c:pt idx="2326">
                  <c:v>40858</c:v>
                </c:pt>
                <c:pt idx="2327">
                  <c:v>40861</c:v>
                </c:pt>
                <c:pt idx="2328">
                  <c:v>40862</c:v>
                </c:pt>
                <c:pt idx="2329">
                  <c:v>40863</c:v>
                </c:pt>
                <c:pt idx="2330">
                  <c:v>40864</c:v>
                </c:pt>
                <c:pt idx="2331">
                  <c:v>40865</c:v>
                </c:pt>
                <c:pt idx="2332">
                  <c:v>40868</c:v>
                </c:pt>
                <c:pt idx="2333">
                  <c:v>40869</c:v>
                </c:pt>
                <c:pt idx="2334">
                  <c:v>40870</c:v>
                </c:pt>
                <c:pt idx="2335">
                  <c:v>40871</c:v>
                </c:pt>
                <c:pt idx="2336">
                  <c:v>40872</c:v>
                </c:pt>
                <c:pt idx="2337">
                  <c:v>40875</c:v>
                </c:pt>
                <c:pt idx="2338">
                  <c:v>40876</c:v>
                </c:pt>
                <c:pt idx="2339">
                  <c:v>40877</c:v>
                </c:pt>
                <c:pt idx="2340">
                  <c:v>40878</c:v>
                </c:pt>
                <c:pt idx="2341">
                  <c:v>40879</c:v>
                </c:pt>
                <c:pt idx="2342">
                  <c:v>40882</c:v>
                </c:pt>
                <c:pt idx="2343">
                  <c:v>40883</c:v>
                </c:pt>
                <c:pt idx="2344">
                  <c:v>40884</c:v>
                </c:pt>
                <c:pt idx="2345">
                  <c:v>40885</c:v>
                </c:pt>
                <c:pt idx="2346">
                  <c:v>40886</c:v>
                </c:pt>
                <c:pt idx="2347">
                  <c:v>40889</c:v>
                </c:pt>
                <c:pt idx="2348">
                  <c:v>40890</c:v>
                </c:pt>
                <c:pt idx="2349">
                  <c:v>40891</c:v>
                </c:pt>
                <c:pt idx="2350">
                  <c:v>40892</c:v>
                </c:pt>
                <c:pt idx="2351">
                  <c:v>40893</c:v>
                </c:pt>
                <c:pt idx="2352">
                  <c:v>40896</c:v>
                </c:pt>
                <c:pt idx="2353">
                  <c:v>40897</c:v>
                </c:pt>
                <c:pt idx="2354">
                  <c:v>40898</c:v>
                </c:pt>
                <c:pt idx="2355">
                  <c:v>40899</c:v>
                </c:pt>
                <c:pt idx="2356">
                  <c:v>40900</c:v>
                </c:pt>
                <c:pt idx="2357">
                  <c:v>40903</c:v>
                </c:pt>
                <c:pt idx="2358">
                  <c:v>40904</c:v>
                </c:pt>
                <c:pt idx="2359">
                  <c:v>40905</c:v>
                </c:pt>
                <c:pt idx="2360">
                  <c:v>40906</c:v>
                </c:pt>
                <c:pt idx="2361">
                  <c:v>40907</c:v>
                </c:pt>
                <c:pt idx="2362">
                  <c:v>40912</c:v>
                </c:pt>
                <c:pt idx="2363">
                  <c:v>40913</c:v>
                </c:pt>
                <c:pt idx="2364">
                  <c:v>40914</c:v>
                </c:pt>
                <c:pt idx="2365">
                  <c:v>40917</c:v>
                </c:pt>
                <c:pt idx="2366">
                  <c:v>40918</c:v>
                </c:pt>
                <c:pt idx="2367">
                  <c:v>40919</c:v>
                </c:pt>
                <c:pt idx="2368">
                  <c:v>40920</c:v>
                </c:pt>
                <c:pt idx="2369">
                  <c:v>40921</c:v>
                </c:pt>
                <c:pt idx="2370">
                  <c:v>40924</c:v>
                </c:pt>
                <c:pt idx="2371">
                  <c:v>40925</c:v>
                </c:pt>
                <c:pt idx="2372">
                  <c:v>40926</c:v>
                </c:pt>
                <c:pt idx="2373">
                  <c:v>40927</c:v>
                </c:pt>
                <c:pt idx="2374">
                  <c:v>40928</c:v>
                </c:pt>
                <c:pt idx="2375">
                  <c:v>40938</c:v>
                </c:pt>
                <c:pt idx="2376">
                  <c:v>40939</c:v>
                </c:pt>
                <c:pt idx="2377">
                  <c:v>40940</c:v>
                </c:pt>
                <c:pt idx="2378">
                  <c:v>40941</c:v>
                </c:pt>
                <c:pt idx="2379">
                  <c:v>40942</c:v>
                </c:pt>
                <c:pt idx="2380">
                  <c:v>40945</c:v>
                </c:pt>
                <c:pt idx="2381">
                  <c:v>40946</c:v>
                </c:pt>
                <c:pt idx="2382">
                  <c:v>40947</c:v>
                </c:pt>
                <c:pt idx="2383">
                  <c:v>40948</c:v>
                </c:pt>
                <c:pt idx="2384">
                  <c:v>40949</c:v>
                </c:pt>
                <c:pt idx="2385">
                  <c:v>40952</c:v>
                </c:pt>
                <c:pt idx="2386">
                  <c:v>40953</c:v>
                </c:pt>
                <c:pt idx="2387">
                  <c:v>40954</c:v>
                </c:pt>
                <c:pt idx="2388">
                  <c:v>40955</c:v>
                </c:pt>
                <c:pt idx="2389">
                  <c:v>40956</c:v>
                </c:pt>
                <c:pt idx="2390">
                  <c:v>40959</c:v>
                </c:pt>
                <c:pt idx="2391">
                  <c:v>40960</c:v>
                </c:pt>
                <c:pt idx="2392">
                  <c:v>40961</c:v>
                </c:pt>
                <c:pt idx="2393">
                  <c:v>40962</c:v>
                </c:pt>
                <c:pt idx="2394">
                  <c:v>40963</c:v>
                </c:pt>
                <c:pt idx="2395">
                  <c:v>40966</c:v>
                </c:pt>
                <c:pt idx="2396">
                  <c:v>40967</c:v>
                </c:pt>
                <c:pt idx="2397">
                  <c:v>40968</c:v>
                </c:pt>
                <c:pt idx="2398">
                  <c:v>40969</c:v>
                </c:pt>
                <c:pt idx="2399">
                  <c:v>40970</c:v>
                </c:pt>
                <c:pt idx="2400">
                  <c:v>40973</c:v>
                </c:pt>
                <c:pt idx="2401">
                  <c:v>40974</c:v>
                </c:pt>
                <c:pt idx="2402">
                  <c:v>40975</c:v>
                </c:pt>
                <c:pt idx="2403">
                  <c:v>40976</c:v>
                </c:pt>
                <c:pt idx="2404">
                  <c:v>40977</c:v>
                </c:pt>
                <c:pt idx="2405">
                  <c:v>40980</c:v>
                </c:pt>
                <c:pt idx="2406">
                  <c:v>40981</c:v>
                </c:pt>
                <c:pt idx="2407">
                  <c:v>40982</c:v>
                </c:pt>
                <c:pt idx="2408">
                  <c:v>40983</c:v>
                </c:pt>
                <c:pt idx="2409">
                  <c:v>40984</c:v>
                </c:pt>
                <c:pt idx="2410">
                  <c:v>40987</c:v>
                </c:pt>
                <c:pt idx="2411">
                  <c:v>40988</c:v>
                </c:pt>
                <c:pt idx="2412">
                  <c:v>40989</c:v>
                </c:pt>
                <c:pt idx="2413">
                  <c:v>40990</c:v>
                </c:pt>
                <c:pt idx="2414">
                  <c:v>40991</c:v>
                </c:pt>
                <c:pt idx="2415">
                  <c:v>40994</c:v>
                </c:pt>
                <c:pt idx="2416">
                  <c:v>40995</c:v>
                </c:pt>
                <c:pt idx="2417">
                  <c:v>40996</c:v>
                </c:pt>
                <c:pt idx="2418">
                  <c:v>40997</c:v>
                </c:pt>
                <c:pt idx="2419">
                  <c:v>40998</c:v>
                </c:pt>
                <c:pt idx="2420">
                  <c:v>41004</c:v>
                </c:pt>
                <c:pt idx="2421">
                  <c:v>41005</c:v>
                </c:pt>
                <c:pt idx="2422">
                  <c:v>41008</c:v>
                </c:pt>
                <c:pt idx="2423">
                  <c:v>41009</c:v>
                </c:pt>
                <c:pt idx="2424">
                  <c:v>41010</c:v>
                </c:pt>
                <c:pt idx="2425">
                  <c:v>41011</c:v>
                </c:pt>
                <c:pt idx="2426">
                  <c:v>41012</c:v>
                </c:pt>
                <c:pt idx="2427">
                  <c:v>41015</c:v>
                </c:pt>
                <c:pt idx="2428">
                  <c:v>41016</c:v>
                </c:pt>
                <c:pt idx="2429">
                  <c:v>41017</c:v>
                </c:pt>
                <c:pt idx="2430">
                  <c:v>41018</c:v>
                </c:pt>
                <c:pt idx="2431">
                  <c:v>41019</c:v>
                </c:pt>
                <c:pt idx="2432">
                  <c:v>41022</c:v>
                </c:pt>
                <c:pt idx="2433">
                  <c:v>41023</c:v>
                </c:pt>
                <c:pt idx="2434">
                  <c:v>41024</c:v>
                </c:pt>
                <c:pt idx="2435">
                  <c:v>41025</c:v>
                </c:pt>
                <c:pt idx="2436">
                  <c:v>41026</c:v>
                </c:pt>
                <c:pt idx="2437">
                  <c:v>41031</c:v>
                </c:pt>
                <c:pt idx="2438">
                  <c:v>41032</c:v>
                </c:pt>
                <c:pt idx="2439">
                  <c:v>41033</c:v>
                </c:pt>
                <c:pt idx="2440">
                  <c:v>41036</c:v>
                </c:pt>
                <c:pt idx="2441">
                  <c:v>41037</c:v>
                </c:pt>
                <c:pt idx="2442">
                  <c:v>41038</c:v>
                </c:pt>
                <c:pt idx="2443">
                  <c:v>41039</c:v>
                </c:pt>
                <c:pt idx="2444">
                  <c:v>41040</c:v>
                </c:pt>
                <c:pt idx="2445">
                  <c:v>41043</c:v>
                </c:pt>
                <c:pt idx="2446">
                  <c:v>41044</c:v>
                </c:pt>
                <c:pt idx="2447">
                  <c:v>41045</c:v>
                </c:pt>
                <c:pt idx="2448">
                  <c:v>41046</c:v>
                </c:pt>
                <c:pt idx="2449">
                  <c:v>41047</c:v>
                </c:pt>
                <c:pt idx="2450">
                  <c:v>41050</c:v>
                </c:pt>
                <c:pt idx="2451">
                  <c:v>41051</c:v>
                </c:pt>
                <c:pt idx="2452">
                  <c:v>41052</c:v>
                </c:pt>
                <c:pt idx="2453">
                  <c:v>41053</c:v>
                </c:pt>
                <c:pt idx="2454">
                  <c:v>41054</c:v>
                </c:pt>
                <c:pt idx="2455">
                  <c:v>41057</c:v>
                </c:pt>
                <c:pt idx="2456">
                  <c:v>41058</c:v>
                </c:pt>
                <c:pt idx="2457">
                  <c:v>41059</c:v>
                </c:pt>
                <c:pt idx="2458">
                  <c:v>41060</c:v>
                </c:pt>
                <c:pt idx="2459">
                  <c:v>41061</c:v>
                </c:pt>
                <c:pt idx="2460">
                  <c:v>41064</c:v>
                </c:pt>
                <c:pt idx="2461">
                  <c:v>41065</c:v>
                </c:pt>
                <c:pt idx="2462">
                  <c:v>41066</c:v>
                </c:pt>
                <c:pt idx="2463">
                  <c:v>41067</c:v>
                </c:pt>
                <c:pt idx="2464">
                  <c:v>41068</c:v>
                </c:pt>
                <c:pt idx="2465">
                  <c:v>41071</c:v>
                </c:pt>
                <c:pt idx="2466">
                  <c:v>41072</c:v>
                </c:pt>
                <c:pt idx="2467">
                  <c:v>41073</c:v>
                </c:pt>
                <c:pt idx="2468">
                  <c:v>41074</c:v>
                </c:pt>
                <c:pt idx="2469">
                  <c:v>41075</c:v>
                </c:pt>
                <c:pt idx="2470">
                  <c:v>41078</c:v>
                </c:pt>
                <c:pt idx="2471">
                  <c:v>41079</c:v>
                </c:pt>
                <c:pt idx="2472">
                  <c:v>41080</c:v>
                </c:pt>
                <c:pt idx="2473">
                  <c:v>41081</c:v>
                </c:pt>
                <c:pt idx="2474">
                  <c:v>41085</c:v>
                </c:pt>
                <c:pt idx="2475">
                  <c:v>41086</c:v>
                </c:pt>
                <c:pt idx="2476">
                  <c:v>41087</c:v>
                </c:pt>
                <c:pt idx="2477">
                  <c:v>41088</c:v>
                </c:pt>
                <c:pt idx="2478">
                  <c:v>41089</c:v>
                </c:pt>
                <c:pt idx="2479">
                  <c:v>41092</c:v>
                </c:pt>
                <c:pt idx="2480">
                  <c:v>41093</c:v>
                </c:pt>
                <c:pt idx="2481">
                  <c:v>41094</c:v>
                </c:pt>
                <c:pt idx="2482">
                  <c:v>41095</c:v>
                </c:pt>
                <c:pt idx="2483">
                  <c:v>41096</c:v>
                </c:pt>
                <c:pt idx="2484">
                  <c:v>41099</c:v>
                </c:pt>
                <c:pt idx="2485">
                  <c:v>41100</c:v>
                </c:pt>
                <c:pt idx="2486">
                  <c:v>41101</c:v>
                </c:pt>
                <c:pt idx="2487">
                  <c:v>41102</c:v>
                </c:pt>
                <c:pt idx="2488">
                  <c:v>41103</c:v>
                </c:pt>
                <c:pt idx="2489">
                  <c:v>41106</c:v>
                </c:pt>
                <c:pt idx="2490">
                  <c:v>41107</c:v>
                </c:pt>
                <c:pt idx="2491">
                  <c:v>41108</c:v>
                </c:pt>
                <c:pt idx="2492">
                  <c:v>41109</c:v>
                </c:pt>
                <c:pt idx="2493">
                  <c:v>41110</c:v>
                </c:pt>
                <c:pt idx="2494">
                  <c:v>41113</c:v>
                </c:pt>
                <c:pt idx="2495">
                  <c:v>41114</c:v>
                </c:pt>
                <c:pt idx="2496">
                  <c:v>41115</c:v>
                </c:pt>
                <c:pt idx="2497">
                  <c:v>41116</c:v>
                </c:pt>
                <c:pt idx="2498">
                  <c:v>41117</c:v>
                </c:pt>
                <c:pt idx="2499">
                  <c:v>41120</c:v>
                </c:pt>
                <c:pt idx="2500">
                  <c:v>41121</c:v>
                </c:pt>
                <c:pt idx="2501">
                  <c:v>41122</c:v>
                </c:pt>
                <c:pt idx="2502">
                  <c:v>41123</c:v>
                </c:pt>
                <c:pt idx="2503">
                  <c:v>41124</c:v>
                </c:pt>
                <c:pt idx="2504">
                  <c:v>41127</c:v>
                </c:pt>
                <c:pt idx="2505">
                  <c:v>41128</c:v>
                </c:pt>
                <c:pt idx="2506">
                  <c:v>41129</c:v>
                </c:pt>
                <c:pt idx="2507">
                  <c:v>41130</c:v>
                </c:pt>
                <c:pt idx="2508">
                  <c:v>41131</c:v>
                </c:pt>
                <c:pt idx="2509">
                  <c:v>41134</c:v>
                </c:pt>
                <c:pt idx="2510">
                  <c:v>41135</c:v>
                </c:pt>
                <c:pt idx="2511">
                  <c:v>41136</c:v>
                </c:pt>
                <c:pt idx="2512">
                  <c:v>41137</c:v>
                </c:pt>
                <c:pt idx="2513">
                  <c:v>41138</c:v>
                </c:pt>
                <c:pt idx="2514">
                  <c:v>41141</c:v>
                </c:pt>
                <c:pt idx="2515">
                  <c:v>41142</c:v>
                </c:pt>
                <c:pt idx="2516">
                  <c:v>41143</c:v>
                </c:pt>
                <c:pt idx="2517">
                  <c:v>41144</c:v>
                </c:pt>
                <c:pt idx="2518">
                  <c:v>41145</c:v>
                </c:pt>
                <c:pt idx="2519">
                  <c:v>41148</c:v>
                </c:pt>
                <c:pt idx="2520">
                  <c:v>41149</c:v>
                </c:pt>
                <c:pt idx="2521">
                  <c:v>41150</c:v>
                </c:pt>
                <c:pt idx="2522">
                  <c:v>41151</c:v>
                </c:pt>
                <c:pt idx="2523">
                  <c:v>41152</c:v>
                </c:pt>
                <c:pt idx="2524">
                  <c:v>41155</c:v>
                </c:pt>
                <c:pt idx="2525">
                  <c:v>41156</c:v>
                </c:pt>
                <c:pt idx="2526">
                  <c:v>41157</c:v>
                </c:pt>
                <c:pt idx="2527">
                  <c:v>41158</c:v>
                </c:pt>
                <c:pt idx="2528">
                  <c:v>41159</c:v>
                </c:pt>
                <c:pt idx="2529">
                  <c:v>41162</c:v>
                </c:pt>
                <c:pt idx="2530">
                  <c:v>41163</c:v>
                </c:pt>
                <c:pt idx="2531">
                  <c:v>41164</c:v>
                </c:pt>
                <c:pt idx="2532">
                  <c:v>41165</c:v>
                </c:pt>
                <c:pt idx="2533">
                  <c:v>41166</c:v>
                </c:pt>
                <c:pt idx="2534">
                  <c:v>41169</c:v>
                </c:pt>
                <c:pt idx="2535">
                  <c:v>41170</c:v>
                </c:pt>
                <c:pt idx="2536">
                  <c:v>41171</c:v>
                </c:pt>
                <c:pt idx="2537">
                  <c:v>41172</c:v>
                </c:pt>
                <c:pt idx="2538">
                  <c:v>41173</c:v>
                </c:pt>
                <c:pt idx="2539">
                  <c:v>41176</c:v>
                </c:pt>
                <c:pt idx="2540">
                  <c:v>41177</c:v>
                </c:pt>
                <c:pt idx="2541">
                  <c:v>41178</c:v>
                </c:pt>
                <c:pt idx="2542">
                  <c:v>41179</c:v>
                </c:pt>
                <c:pt idx="2543">
                  <c:v>41180</c:v>
                </c:pt>
                <c:pt idx="2544">
                  <c:v>41190</c:v>
                </c:pt>
                <c:pt idx="2545">
                  <c:v>41191</c:v>
                </c:pt>
                <c:pt idx="2546">
                  <c:v>41192</c:v>
                </c:pt>
                <c:pt idx="2547">
                  <c:v>41193</c:v>
                </c:pt>
                <c:pt idx="2548">
                  <c:v>41194</c:v>
                </c:pt>
                <c:pt idx="2549">
                  <c:v>41197</c:v>
                </c:pt>
                <c:pt idx="2550">
                  <c:v>41198</c:v>
                </c:pt>
                <c:pt idx="2551">
                  <c:v>41199</c:v>
                </c:pt>
                <c:pt idx="2552">
                  <c:v>41200</c:v>
                </c:pt>
                <c:pt idx="2553">
                  <c:v>41201</c:v>
                </c:pt>
                <c:pt idx="2554">
                  <c:v>41204</c:v>
                </c:pt>
                <c:pt idx="2555">
                  <c:v>41205</c:v>
                </c:pt>
                <c:pt idx="2556">
                  <c:v>41206</c:v>
                </c:pt>
                <c:pt idx="2557">
                  <c:v>41207</c:v>
                </c:pt>
                <c:pt idx="2558">
                  <c:v>41208</c:v>
                </c:pt>
                <c:pt idx="2559">
                  <c:v>41211</c:v>
                </c:pt>
                <c:pt idx="2560">
                  <c:v>41212</c:v>
                </c:pt>
                <c:pt idx="2561">
                  <c:v>41213</c:v>
                </c:pt>
                <c:pt idx="2562">
                  <c:v>41214</c:v>
                </c:pt>
                <c:pt idx="2563">
                  <c:v>41215</c:v>
                </c:pt>
                <c:pt idx="2564">
                  <c:v>41218</c:v>
                </c:pt>
                <c:pt idx="2565">
                  <c:v>41219</c:v>
                </c:pt>
                <c:pt idx="2566">
                  <c:v>41220</c:v>
                </c:pt>
                <c:pt idx="2567">
                  <c:v>41221</c:v>
                </c:pt>
                <c:pt idx="2568">
                  <c:v>41222</c:v>
                </c:pt>
                <c:pt idx="2569">
                  <c:v>41225</c:v>
                </c:pt>
                <c:pt idx="2570">
                  <c:v>41226</c:v>
                </c:pt>
                <c:pt idx="2571">
                  <c:v>41227</c:v>
                </c:pt>
                <c:pt idx="2572">
                  <c:v>41228</c:v>
                </c:pt>
                <c:pt idx="2573">
                  <c:v>41229</c:v>
                </c:pt>
                <c:pt idx="2574">
                  <c:v>41232</c:v>
                </c:pt>
                <c:pt idx="2575">
                  <c:v>41233</c:v>
                </c:pt>
                <c:pt idx="2576">
                  <c:v>41234</c:v>
                </c:pt>
                <c:pt idx="2577">
                  <c:v>41235</c:v>
                </c:pt>
                <c:pt idx="2578">
                  <c:v>41236</c:v>
                </c:pt>
                <c:pt idx="2579">
                  <c:v>41239</c:v>
                </c:pt>
                <c:pt idx="2580">
                  <c:v>41240</c:v>
                </c:pt>
                <c:pt idx="2581">
                  <c:v>41241</c:v>
                </c:pt>
                <c:pt idx="2582">
                  <c:v>41242</c:v>
                </c:pt>
                <c:pt idx="2583">
                  <c:v>41243</c:v>
                </c:pt>
                <c:pt idx="2584">
                  <c:v>41246</c:v>
                </c:pt>
                <c:pt idx="2585">
                  <c:v>41247</c:v>
                </c:pt>
                <c:pt idx="2586">
                  <c:v>41248</c:v>
                </c:pt>
                <c:pt idx="2587">
                  <c:v>41249</c:v>
                </c:pt>
                <c:pt idx="2588">
                  <c:v>41250</c:v>
                </c:pt>
                <c:pt idx="2589">
                  <c:v>41253</c:v>
                </c:pt>
                <c:pt idx="2590">
                  <c:v>41254</c:v>
                </c:pt>
                <c:pt idx="2591">
                  <c:v>41255</c:v>
                </c:pt>
                <c:pt idx="2592">
                  <c:v>41256</c:v>
                </c:pt>
                <c:pt idx="2593">
                  <c:v>41257</c:v>
                </c:pt>
                <c:pt idx="2594">
                  <c:v>41260</c:v>
                </c:pt>
                <c:pt idx="2595">
                  <c:v>41261</c:v>
                </c:pt>
                <c:pt idx="2596">
                  <c:v>41262</c:v>
                </c:pt>
                <c:pt idx="2597">
                  <c:v>41263</c:v>
                </c:pt>
                <c:pt idx="2598">
                  <c:v>41264</c:v>
                </c:pt>
                <c:pt idx="2599">
                  <c:v>41267</c:v>
                </c:pt>
                <c:pt idx="2600">
                  <c:v>41268</c:v>
                </c:pt>
                <c:pt idx="2601">
                  <c:v>41269</c:v>
                </c:pt>
                <c:pt idx="2602">
                  <c:v>41270</c:v>
                </c:pt>
                <c:pt idx="2603">
                  <c:v>41271</c:v>
                </c:pt>
                <c:pt idx="2604">
                  <c:v>41274</c:v>
                </c:pt>
                <c:pt idx="2605">
                  <c:v>41278</c:v>
                </c:pt>
                <c:pt idx="2606">
                  <c:v>41281</c:v>
                </c:pt>
                <c:pt idx="2607">
                  <c:v>41282</c:v>
                </c:pt>
                <c:pt idx="2608">
                  <c:v>41283</c:v>
                </c:pt>
                <c:pt idx="2609">
                  <c:v>41284</c:v>
                </c:pt>
                <c:pt idx="2610">
                  <c:v>41285</c:v>
                </c:pt>
                <c:pt idx="2611">
                  <c:v>41288</c:v>
                </c:pt>
                <c:pt idx="2612">
                  <c:v>41289</c:v>
                </c:pt>
                <c:pt idx="2613">
                  <c:v>41290</c:v>
                </c:pt>
                <c:pt idx="2614">
                  <c:v>41291</c:v>
                </c:pt>
                <c:pt idx="2615">
                  <c:v>41292</c:v>
                </c:pt>
                <c:pt idx="2616">
                  <c:v>41295</c:v>
                </c:pt>
                <c:pt idx="2617">
                  <c:v>41296</c:v>
                </c:pt>
                <c:pt idx="2618">
                  <c:v>41297</c:v>
                </c:pt>
                <c:pt idx="2619">
                  <c:v>41298</c:v>
                </c:pt>
                <c:pt idx="2620">
                  <c:v>41299</c:v>
                </c:pt>
                <c:pt idx="2621">
                  <c:v>41302</c:v>
                </c:pt>
                <c:pt idx="2622">
                  <c:v>41303</c:v>
                </c:pt>
                <c:pt idx="2623">
                  <c:v>41304</c:v>
                </c:pt>
                <c:pt idx="2624">
                  <c:v>41305</c:v>
                </c:pt>
                <c:pt idx="2625">
                  <c:v>41306</c:v>
                </c:pt>
                <c:pt idx="2626">
                  <c:v>41309</c:v>
                </c:pt>
                <c:pt idx="2627">
                  <c:v>41310</c:v>
                </c:pt>
                <c:pt idx="2628">
                  <c:v>41311</c:v>
                </c:pt>
                <c:pt idx="2629">
                  <c:v>41312</c:v>
                </c:pt>
                <c:pt idx="2630">
                  <c:v>41313</c:v>
                </c:pt>
                <c:pt idx="2631">
                  <c:v>41323</c:v>
                </c:pt>
                <c:pt idx="2632">
                  <c:v>41324</c:v>
                </c:pt>
                <c:pt idx="2633">
                  <c:v>41325</c:v>
                </c:pt>
                <c:pt idx="2634">
                  <c:v>41326</c:v>
                </c:pt>
                <c:pt idx="2635">
                  <c:v>41327</c:v>
                </c:pt>
                <c:pt idx="2636">
                  <c:v>41330</c:v>
                </c:pt>
                <c:pt idx="2637">
                  <c:v>41331</c:v>
                </c:pt>
                <c:pt idx="2638">
                  <c:v>41332</c:v>
                </c:pt>
                <c:pt idx="2639">
                  <c:v>41333</c:v>
                </c:pt>
                <c:pt idx="2640">
                  <c:v>41334</c:v>
                </c:pt>
                <c:pt idx="2641">
                  <c:v>41337</c:v>
                </c:pt>
                <c:pt idx="2642">
                  <c:v>41338</c:v>
                </c:pt>
                <c:pt idx="2643">
                  <c:v>41339</c:v>
                </c:pt>
                <c:pt idx="2644">
                  <c:v>41340</c:v>
                </c:pt>
                <c:pt idx="2645">
                  <c:v>41341</c:v>
                </c:pt>
                <c:pt idx="2646">
                  <c:v>41344</c:v>
                </c:pt>
                <c:pt idx="2647">
                  <c:v>41345</c:v>
                </c:pt>
                <c:pt idx="2648">
                  <c:v>41346</c:v>
                </c:pt>
                <c:pt idx="2649">
                  <c:v>41347</c:v>
                </c:pt>
                <c:pt idx="2650">
                  <c:v>41348</c:v>
                </c:pt>
                <c:pt idx="2651">
                  <c:v>41351</c:v>
                </c:pt>
                <c:pt idx="2652">
                  <c:v>41352</c:v>
                </c:pt>
                <c:pt idx="2653">
                  <c:v>41353</c:v>
                </c:pt>
                <c:pt idx="2654">
                  <c:v>41354</c:v>
                </c:pt>
                <c:pt idx="2655">
                  <c:v>41355</c:v>
                </c:pt>
                <c:pt idx="2656">
                  <c:v>41358</c:v>
                </c:pt>
                <c:pt idx="2657">
                  <c:v>41359</c:v>
                </c:pt>
                <c:pt idx="2658">
                  <c:v>41360</c:v>
                </c:pt>
                <c:pt idx="2659">
                  <c:v>41361</c:v>
                </c:pt>
                <c:pt idx="2660">
                  <c:v>41362</c:v>
                </c:pt>
                <c:pt idx="2661">
                  <c:v>41365</c:v>
                </c:pt>
                <c:pt idx="2662">
                  <c:v>41366</c:v>
                </c:pt>
                <c:pt idx="2663">
                  <c:v>41367</c:v>
                </c:pt>
                <c:pt idx="2664">
                  <c:v>41372</c:v>
                </c:pt>
                <c:pt idx="2665">
                  <c:v>41373</c:v>
                </c:pt>
                <c:pt idx="2666">
                  <c:v>41374</c:v>
                </c:pt>
                <c:pt idx="2667">
                  <c:v>41375</c:v>
                </c:pt>
                <c:pt idx="2668">
                  <c:v>41376</c:v>
                </c:pt>
                <c:pt idx="2669">
                  <c:v>41379</c:v>
                </c:pt>
                <c:pt idx="2670">
                  <c:v>41380</c:v>
                </c:pt>
                <c:pt idx="2671">
                  <c:v>41381</c:v>
                </c:pt>
                <c:pt idx="2672">
                  <c:v>41382</c:v>
                </c:pt>
                <c:pt idx="2673">
                  <c:v>41383</c:v>
                </c:pt>
                <c:pt idx="2674">
                  <c:v>41386</c:v>
                </c:pt>
                <c:pt idx="2675">
                  <c:v>41387</c:v>
                </c:pt>
                <c:pt idx="2676">
                  <c:v>41388</c:v>
                </c:pt>
                <c:pt idx="2677">
                  <c:v>41389</c:v>
                </c:pt>
                <c:pt idx="2678">
                  <c:v>41390</c:v>
                </c:pt>
                <c:pt idx="2679">
                  <c:v>41396</c:v>
                </c:pt>
                <c:pt idx="2680">
                  <c:v>41397</c:v>
                </c:pt>
                <c:pt idx="2681">
                  <c:v>41400</c:v>
                </c:pt>
                <c:pt idx="2682">
                  <c:v>41401</c:v>
                </c:pt>
                <c:pt idx="2683">
                  <c:v>41402</c:v>
                </c:pt>
                <c:pt idx="2684">
                  <c:v>41403</c:v>
                </c:pt>
                <c:pt idx="2685">
                  <c:v>41404</c:v>
                </c:pt>
                <c:pt idx="2686">
                  <c:v>41407</c:v>
                </c:pt>
                <c:pt idx="2687">
                  <c:v>41408</c:v>
                </c:pt>
                <c:pt idx="2688">
                  <c:v>41409</c:v>
                </c:pt>
                <c:pt idx="2689">
                  <c:v>41410</c:v>
                </c:pt>
                <c:pt idx="2690">
                  <c:v>41411</c:v>
                </c:pt>
                <c:pt idx="2691">
                  <c:v>41414</c:v>
                </c:pt>
                <c:pt idx="2692">
                  <c:v>41415</c:v>
                </c:pt>
                <c:pt idx="2693">
                  <c:v>41416</c:v>
                </c:pt>
                <c:pt idx="2694">
                  <c:v>41417</c:v>
                </c:pt>
                <c:pt idx="2695">
                  <c:v>41418</c:v>
                </c:pt>
                <c:pt idx="2696">
                  <c:v>41421</c:v>
                </c:pt>
                <c:pt idx="2697">
                  <c:v>41422</c:v>
                </c:pt>
                <c:pt idx="2698">
                  <c:v>41423</c:v>
                </c:pt>
                <c:pt idx="2699">
                  <c:v>41424</c:v>
                </c:pt>
                <c:pt idx="2700">
                  <c:v>41425</c:v>
                </c:pt>
                <c:pt idx="2701">
                  <c:v>41428</c:v>
                </c:pt>
                <c:pt idx="2702">
                  <c:v>41429</c:v>
                </c:pt>
                <c:pt idx="2703">
                  <c:v>41430</c:v>
                </c:pt>
                <c:pt idx="2704">
                  <c:v>41431</c:v>
                </c:pt>
                <c:pt idx="2705">
                  <c:v>41432</c:v>
                </c:pt>
                <c:pt idx="2706">
                  <c:v>41438</c:v>
                </c:pt>
                <c:pt idx="2707">
                  <c:v>41439</c:v>
                </c:pt>
                <c:pt idx="2708">
                  <c:v>41442</c:v>
                </c:pt>
                <c:pt idx="2709">
                  <c:v>41443</c:v>
                </c:pt>
                <c:pt idx="2710">
                  <c:v>41444</c:v>
                </c:pt>
                <c:pt idx="2711">
                  <c:v>41445</c:v>
                </c:pt>
                <c:pt idx="2712">
                  <c:v>41446</c:v>
                </c:pt>
                <c:pt idx="2713">
                  <c:v>41449</c:v>
                </c:pt>
                <c:pt idx="2714">
                  <c:v>41450</c:v>
                </c:pt>
                <c:pt idx="2715">
                  <c:v>41451</c:v>
                </c:pt>
                <c:pt idx="2716">
                  <c:v>41452</c:v>
                </c:pt>
                <c:pt idx="2717">
                  <c:v>41453</c:v>
                </c:pt>
                <c:pt idx="2718">
                  <c:v>41456</c:v>
                </c:pt>
                <c:pt idx="2719">
                  <c:v>41457</c:v>
                </c:pt>
                <c:pt idx="2720">
                  <c:v>41458</c:v>
                </c:pt>
                <c:pt idx="2721">
                  <c:v>41459</c:v>
                </c:pt>
                <c:pt idx="2722">
                  <c:v>41460</c:v>
                </c:pt>
                <c:pt idx="2723">
                  <c:v>41463</c:v>
                </c:pt>
                <c:pt idx="2724">
                  <c:v>41464</c:v>
                </c:pt>
                <c:pt idx="2725">
                  <c:v>41465</c:v>
                </c:pt>
                <c:pt idx="2726">
                  <c:v>41466</c:v>
                </c:pt>
                <c:pt idx="2727">
                  <c:v>41467</c:v>
                </c:pt>
                <c:pt idx="2728">
                  <c:v>41470</c:v>
                </c:pt>
                <c:pt idx="2729">
                  <c:v>41471</c:v>
                </c:pt>
                <c:pt idx="2730">
                  <c:v>41472</c:v>
                </c:pt>
                <c:pt idx="2731">
                  <c:v>41473</c:v>
                </c:pt>
                <c:pt idx="2732">
                  <c:v>41474</c:v>
                </c:pt>
                <c:pt idx="2733">
                  <c:v>41477</c:v>
                </c:pt>
                <c:pt idx="2734">
                  <c:v>41478</c:v>
                </c:pt>
                <c:pt idx="2735">
                  <c:v>41479</c:v>
                </c:pt>
                <c:pt idx="2736">
                  <c:v>41480</c:v>
                </c:pt>
                <c:pt idx="2737">
                  <c:v>41481</c:v>
                </c:pt>
                <c:pt idx="2738">
                  <c:v>41484</c:v>
                </c:pt>
                <c:pt idx="2739">
                  <c:v>41485</c:v>
                </c:pt>
                <c:pt idx="2740">
                  <c:v>41486</c:v>
                </c:pt>
                <c:pt idx="2741">
                  <c:v>41487</c:v>
                </c:pt>
                <c:pt idx="2742">
                  <c:v>41488</c:v>
                </c:pt>
                <c:pt idx="2743">
                  <c:v>41491</c:v>
                </c:pt>
                <c:pt idx="2744">
                  <c:v>41492</c:v>
                </c:pt>
                <c:pt idx="2745">
                  <c:v>41493</c:v>
                </c:pt>
                <c:pt idx="2746">
                  <c:v>41494</c:v>
                </c:pt>
                <c:pt idx="2747">
                  <c:v>41495</c:v>
                </c:pt>
                <c:pt idx="2748">
                  <c:v>41498</c:v>
                </c:pt>
                <c:pt idx="2749">
                  <c:v>41499</c:v>
                </c:pt>
                <c:pt idx="2750">
                  <c:v>41500</c:v>
                </c:pt>
                <c:pt idx="2751">
                  <c:v>41501</c:v>
                </c:pt>
                <c:pt idx="2752">
                  <c:v>41502</c:v>
                </c:pt>
                <c:pt idx="2753">
                  <c:v>41505</c:v>
                </c:pt>
                <c:pt idx="2754">
                  <c:v>41506</c:v>
                </c:pt>
                <c:pt idx="2755">
                  <c:v>41507</c:v>
                </c:pt>
                <c:pt idx="2756">
                  <c:v>41508</c:v>
                </c:pt>
                <c:pt idx="2757">
                  <c:v>41509</c:v>
                </c:pt>
                <c:pt idx="2758">
                  <c:v>41512</c:v>
                </c:pt>
                <c:pt idx="2759">
                  <c:v>41513</c:v>
                </c:pt>
                <c:pt idx="2760">
                  <c:v>41514</c:v>
                </c:pt>
                <c:pt idx="2761">
                  <c:v>41515</c:v>
                </c:pt>
                <c:pt idx="2762">
                  <c:v>41516</c:v>
                </c:pt>
                <c:pt idx="2763">
                  <c:v>41519</c:v>
                </c:pt>
                <c:pt idx="2764">
                  <c:v>41520</c:v>
                </c:pt>
                <c:pt idx="2765">
                  <c:v>41521</c:v>
                </c:pt>
                <c:pt idx="2766">
                  <c:v>41522</c:v>
                </c:pt>
                <c:pt idx="2767">
                  <c:v>41523</c:v>
                </c:pt>
                <c:pt idx="2768">
                  <c:v>41526</c:v>
                </c:pt>
                <c:pt idx="2769">
                  <c:v>41527</c:v>
                </c:pt>
                <c:pt idx="2770">
                  <c:v>41528</c:v>
                </c:pt>
                <c:pt idx="2771">
                  <c:v>41529</c:v>
                </c:pt>
                <c:pt idx="2772">
                  <c:v>41530</c:v>
                </c:pt>
                <c:pt idx="2773">
                  <c:v>41533</c:v>
                </c:pt>
                <c:pt idx="2774">
                  <c:v>41534</c:v>
                </c:pt>
                <c:pt idx="2775">
                  <c:v>41535</c:v>
                </c:pt>
                <c:pt idx="2776">
                  <c:v>41540</c:v>
                </c:pt>
                <c:pt idx="2777">
                  <c:v>41541</c:v>
                </c:pt>
                <c:pt idx="2778">
                  <c:v>41542</c:v>
                </c:pt>
                <c:pt idx="2779">
                  <c:v>41543</c:v>
                </c:pt>
                <c:pt idx="2780">
                  <c:v>41544</c:v>
                </c:pt>
                <c:pt idx="2781">
                  <c:v>41547</c:v>
                </c:pt>
                <c:pt idx="2782">
                  <c:v>41555</c:v>
                </c:pt>
                <c:pt idx="2783">
                  <c:v>41556</c:v>
                </c:pt>
                <c:pt idx="2784">
                  <c:v>41557</c:v>
                </c:pt>
                <c:pt idx="2785">
                  <c:v>41558</c:v>
                </c:pt>
                <c:pt idx="2786">
                  <c:v>41561</c:v>
                </c:pt>
                <c:pt idx="2787">
                  <c:v>41562</c:v>
                </c:pt>
                <c:pt idx="2788">
                  <c:v>41563</c:v>
                </c:pt>
                <c:pt idx="2789">
                  <c:v>41564</c:v>
                </c:pt>
                <c:pt idx="2790">
                  <c:v>41565</c:v>
                </c:pt>
                <c:pt idx="2791">
                  <c:v>41568</c:v>
                </c:pt>
                <c:pt idx="2792">
                  <c:v>41569</c:v>
                </c:pt>
                <c:pt idx="2793">
                  <c:v>41570</c:v>
                </c:pt>
                <c:pt idx="2794">
                  <c:v>41571</c:v>
                </c:pt>
                <c:pt idx="2795">
                  <c:v>41572</c:v>
                </c:pt>
                <c:pt idx="2796">
                  <c:v>41575</c:v>
                </c:pt>
                <c:pt idx="2797">
                  <c:v>41576</c:v>
                </c:pt>
                <c:pt idx="2798">
                  <c:v>41577</c:v>
                </c:pt>
                <c:pt idx="2799">
                  <c:v>41578</c:v>
                </c:pt>
                <c:pt idx="2800">
                  <c:v>41579</c:v>
                </c:pt>
                <c:pt idx="2801">
                  <c:v>41582</c:v>
                </c:pt>
                <c:pt idx="2802">
                  <c:v>41583</c:v>
                </c:pt>
                <c:pt idx="2803">
                  <c:v>41584</c:v>
                </c:pt>
                <c:pt idx="2804">
                  <c:v>41585</c:v>
                </c:pt>
                <c:pt idx="2805">
                  <c:v>41586</c:v>
                </c:pt>
                <c:pt idx="2806">
                  <c:v>41589</c:v>
                </c:pt>
                <c:pt idx="2807">
                  <c:v>41590</c:v>
                </c:pt>
                <c:pt idx="2808">
                  <c:v>41591</c:v>
                </c:pt>
                <c:pt idx="2809">
                  <c:v>41592</c:v>
                </c:pt>
                <c:pt idx="2810">
                  <c:v>41593</c:v>
                </c:pt>
                <c:pt idx="2811">
                  <c:v>41596</c:v>
                </c:pt>
                <c:pt idx="2812">
                  <c:v>41597</c:v>
                </c:pt>
                <c:pt idx="2813">
                  <c:v>41598</c:v>
                </c:pt>
                <c:pt idx="2814">
                  <c:v>41599</c:v>
                </c:pt>
                <c:pt idx="2815">
                  <c:v>41600</c:v>
                </c:pt>
                <c:pt idx="2816">
                  <c:v>41603</c:v>
                </c:pt>
                <c:pt idx="2817">
                  <c:v>41604</c:v>
                </c:pt>
                <c:pt idx="2818">
                  <c:v>41605</c:v>
                </c:pt>
                <c:pt idx="2819">
                  <c:v>41606</c:v>
                </c:pt>
                <c:pt idx="2820">
                  <c:v>41607</c:v>
                </c:pt>
                <c:pt idx="2821">
                  <c:v>41610</c:v>
                </c:pt>
                <c:pt idx="2822">
                  <c:v>41611</c:v>
                </c:pt>
                <c:pt idx="2823">
                  <c:v>41612</c:v>
                </c:pt>
                <c:pt idx="2824">
                  <c:v>41613</c:v>
                </c:pt>
                <c:pt idx="2825">
                  <c:v>41614</c:v>
                </c:pt>
                <c:pt idx="2826">
                  <c:v>41617</c:v>
                </c:pt>
                <c:pt idx="2827">
                  <c:v>41618</c:v>
                </c:pt>
                <c:pt idx="2828">
                  <c:v>41619</c:v>
                </c:pt>
                <c:pt idx="2829">
                  <c:v>41620</c:v>
                </c:pt>
                <c:pt idx="2830">
                  <c:v>41621</c:v>
                </c:pt>
                <c:pt idx="2831">
                  <c:v>41624</c:v>
                </c:pt>
                <c:pt idx="2832">
                  <c:v>41625</c:v>
                </c:pt>
                <c:pt idx="2833">
                  <c:v>41626</c:v>
                </c:pt>
                <c:pt idx="2834">
                  <c:v>41627</c:v>
                </c:pt>
                <c:pt idx="2835">
                  <c:v>41628</c:v>
                </c:pt>
                <c:pt idx="2836">
                  <c:v>41631</c:v>
                </c:pt>
                <c:pt idx="2837">
                  <c:v>41632</c:v>
                </c:pt>
                <c:pt idx="2838">
                  <c:v>41633</c:v>
                </c:pt>
                <c:pt idx="2839">
                  <c:v>41634</c:v>
                </c:pt>
                <c:pt idx="2840">
                  <c:v>41635</c:v>
                </c:pt>
                <c:pt idx="2841">
                  <c:v>41638</c:v>
                </c:pt>
                <c:pt idx="2842">
                  <c:v>41639</c:v>
                </c:pt>
                <c:pt idx="2843">
                  <c:v>41641</c:v>
                </c:pt>
                <c:pt idx="2844">
                  <c:v>41642</c:v>
                </c:pt>
                <c:pt idx="2845">
                  <c:v>41645</c:v>
                </c:pt>
                <c:pt idx="2846">
                  <c:v>41646</c:v>
                </c:pt>
                <c:pt idx="2847">
                  <c:v>41647</c:v>
                </c:pt>
                <c:pt idx="2848">
                  <c:v>41648</c:v>
                </c:pt>
                <c:pt idx="2849">
                  <c:v>41649</c:v>
                </c:pt>
                <c:pt idx="2850">
                  <c:v>41652</c:v>
                </c:pt>
                <c:pt idx="2851">
                  <c:v>41653</c:v>
                </c:pt>
                <c:pt idx="2852">
                  <c:v>41654</c:v>
                </c:pt>
                <c:pt idx="2853">
                  <c:v>41655</c:v>
                </c:pt>
                <c:pt idx="2854">
                  <c:v>41656</c:v>
                </c:pt>
                <c:pt idx="2855">
                  <c:v>41659</c:v>
                </c:pt>
                <c:pt idx="2856">
                  <c:v>41660</c:v>
                </c:pt>
                <c:pt idx="2857">
                  <c:v>41661</c:v>
                </c:pt>
                <c:pt idx="2858">
                  <c:v>41662</c:v>
                </c:pt>
                <c:pt idx="2859">
                  <c:v>41663</c:v>
                </c:pt>
                <c:pt idx="2860">
                  <c:v>41666</c:v>
                </c:pt>
                <c:pt idx="2861">
                  <c:v>41667</c:v>
                </c:pt>
                <c:pt idx="2862">
                  <c:v>41668</c:v>
                </c:pt>
                <c:pt idx="2863">
                  <c:v>41669</c:v>
                </c:pt>
                <c:pt idx="2864">
                  <c:v>41677</c:v>
                </c:pt>
                <c:pt idx="2865">
                  <c:v>41680</c:v>
                </c:pt>
                <c:pt idx="2866">
                  <c:v>41681</c:v>
                </c:pt>
                <c:pt idx="2867">
                  <c:v>41682</c:v>
                </c:pt>
                <c:pt idx="2868">
                  <c:v>41683</c:v>
                </c:pt>
                <c:pt idx="2869">
                  <c:v>41684</c:v>
                </c:pt>
                <c:pt idx="2870">
                  <c:v>41687</c:v>
                </c:pt>
                <c:pt idx="2871">
                  <c:v>41688</c:v>
                </c:pt>
                <c:pt idx="2872">
                  <c:v>41689</c:v>
                </c:pt>
                <c:pt idx="2873">
                  <c:v>41690</c:v>
                </c:pt>
                <c:pt idx="2874">
                  <c:v>41691</c:v>
                </c:pt>
                <c:pt idx="2875">
                  <c:v>41694</c:v>
                </c:pt>
                <c:pt idx="2876">
                  <c:v>41695</c:v>
                </c:pt>
                <c:pt idx="2877">
                  <c:v>41696</c:v>
                </c:pt>
                <c:pt idx="2878">
                  <c:v>41697</c:v>
                </c:pt>
                <c:pt idx="2879">
                  <c:v>41698</c:v>
                </c:pt>
                <c:pt idx="2880">
                  <c:v>41701</c:v>
                </c:pt>
                <c:pt idx="2881">
                  <c:v>41702</c:v>
                </c:pt>
                <c:pt idx="2882">
                  <c:v>41703</c:v>
                </c:pt>
                <c:pt idx="2883">
                  <c:v>41704</c:v>
                </c:pt>
                <c:pt idx="2884">
                  <c:v>41705</c:v>
                </c:pt>
                <c:pt idx="2885">
                  <c:v>41708</c:v>
                </c:pt>
                <c:pt idx="2886">
                  <c:v>41709</c:v>
                </c:pt>
                <c:pt idx="2887">
                  <c:v>41710</c:v>
                </c:pt>
                <c:pt idx="2888">
                  <c:v>41711</c:v>
                </c:pt>
                <c:pt idx="2889">
                  <c:v>41712</c:v>
                </c:pt>
                <c:pt idx="2890">
                  <c:v>41715</c:v>
                </c:pt>
                <c:pt idx="2891">
                  <c:v>41716</c:v>
                </c:pt>
                <c:pt idx="2892">
                  <c:v>41717</c:v>
                </c:pt>
                <c:pt idx="2893">
                  <c:v>41718</c:v>
                </c:pt>
                <c:pt idx="2894">
                  <c:v>41719</c:v>
                </c:pt>
                <c:pt idx="2895">
                  <c:v>41722</c:v>
                </c:pt>
                <c:pt idx="2896">
                  <c:v>41723</c:v>
                </c:pt>
                <c:pt idx="2897">
                  <c:v>41724</c:v>
                </c:pt>
                <c:pt idx="2898">
                  <c:v>41725</c:v>
                </c:pt>
                <c:pt idx="2899">
                  <c:v>41726</c:v>
                </c:pt>
                <c:pt idx="2900">
                  <c:v>41729</c:v>
                </c:pt>
                <c:pt idx="2901">
                  <c:v>41730</c:v>
                </c:pt>
                <c:pt idx="2902">
                  <c:v>41731</c:v>
                </c:pt>
                <c:pt idx="2903">
                  <c:v>41732</c:v>
                </c:pt>
                <c:pt idx="2904">
                  <c:v>41733</c:v>
                </c:pt>
                <c:pt idx="2905">
                  <c:v>41737</c:v>
                </c:pt>
                <c:pt idx="2906">
                  <c:v>41738</c:v>
                </c:pt>
                <c:pt idx="2907">
                  <c:v>41739</c:v>
                </c:pt>
                <c:pt idx="2908">
                  <c:v>41740</c:v>
                </c:pt>
                <c:pt idx="2909">
                  <c:v>41743</c:v>
                </c:pt>
                <c:pt idx="2910">
                  <c:v>41744</c:v>
                </c:pt>
                <c:pt idx="2911">
                  <c:v>41745</c:v>
                </c:pt>
                <c:pt idx="2912">
                  <c:v>41746</c:v>
                </c:pt>
                <c:pt idx="2913">
                  <c:v>41747</c:v>
                </c:pt>
                <c:pt idx="2914">
                  <c:v>41750</c:v>
                </c:pt>
                <c:pt idx="2915">
                  <c:v>41751</c:v>
                </c:pt>
                <c:pt idx="2916">
                  <c:v>41752</c:v>
                </c:pt>
                <c:pt idx="2917">
                  <c:v>41753</c:v>
                </c:pt>
                <c:pt idx="2918">
                  <c:v>41754</c:v>
                </c:pt>
                <c:pt idx="2919">
                  <c:v>41757</c:v>
                </c:pt>
                <c:pt idx="2920">
                  <c:v>41758</c:v>
                </c:pt>
                <c:pt idx="2921">
                  <c:v>41759</c:v>
                </c:pt>
                <c:pt idx="2922">
                  <c:v>41764</c:v>
                </c:pt>
                <c:pt idx="2923">
                  <c:v>41765</c:v>
                </c:pt>
                <c:pt idx="2924">
                  <c:v>41766</c:v>
                </c:pt>
                <c:pt idx="2925">
                  <c:v>41767</c:v>
                </c:pt>
                <c:pt idx="2926">
                  <c:v>41768</c:v>
                </c:pt>
                <c:pt idx="2927">
                  <c:v>41771</c:v>
                </c:pt>
                <c:pt idx="2928">
                  <c:v>41772</c:v>
                </c:pt>
                <c:pt idx="2929">
                  <c:v>41773</c:v>
                </c:pt>
                <c:pt idx="2930">
                  <c:v>41774</c:v>
                </c:pt>
                <c:pt idx="2931">
                  <c:v>41775</c:v>
                </c:pt>
                <c:pt idx="2932">
                  <c:v>41778</c:v>
                </c:pt>
                <c:pt idx="2933">
                  <c:v>41779</c:v>
                </c:pt>
                <c:pt idx="2934">
                  <c:v>41780</c:v>
                </c:pt>
                <c:pt idx="2935">
                  <c:v>41781</c:v>
                </c:pt>
                <c:pt idx="2936">
                  <c:v>41782</c:v>
                </c:pt>
                <c:pt idx="2937">
                  <c:v>41785</c:v>
                </c:pt>
                <c:pt idx="2938">
                  <c:v>41786</c:v>
                </c:pt>
                <c:pt idx="2939">
                  <c:v>41787</c:v>
                </c:pt>
                <c:pt idx="2940">
                  <c:v>41788</c:v>
                </c:pt>
                <c:pt idx="2941">
                  <c:v>41789</c:v>
                </c:pt>
                <c:pt idx="2942">
                  <c:v>41793</c:v>
                </c:pt>
                <c:pt idx="2943">
                  <c:v>41794</c:v>
                </c:pt>
                <c:pt idx="2944">
                  <c:v>41795</c:v>
                </c:pt>
                <c:pt idx="2945">
                  <c:v>41796</c:v>
                </c:pt>
                <c:pt idx="2946">
                  <c:v>41799</c:v>
                </c:pt>
                <c:pt idx="2947">
                  <c:v>41800</c:v>
                </c:pt>
                <c:pt idx="2948">
                  <c:v>41801</c:v>
                </c:pt>
                <c:pt idx="2949">
                  <c:v>41802</c:v>
                </c:pt>
                <c:pt idx="2950">
                  <c:v>41803</c:v>
                </c:pt>
                <c:pt idx="2951">
                  <c:v>41806</c:v>
                </c:pt>
                <c:pt idx="2952">
                  <c:v>41807</c:v>
                </c:pt>
                <c:pt idx="2953">
                  <c:v>41808</c:v>
                </c:pt>
                <c:pt idx="2954">
                  <c:v>41809</c:v>
                </c:pt>
                <c:pt idx="2955">
                  <c:v>41810</c:v>
                </c:pt>
                <c:pt idx="2956">
                  <c:v>41813</c:v>
                </c:pt>
                <c:pt idx="2957">
                  <c:v>41814</c:v>
                </c:pt>
                <c:pt idx="2958">
                  <c:v>41815</c:v>
                </c:pt>
                <c:pt idx="2959">
                  <c:v>41816</c:v>
                </c:pt>
                <c:pt idx="2960">
                  <c:v>41817</c:v>
                </c:pt>
                <c:pt idx="2961">
                  <c:v>41820</c:v>
                </c:pt>
                <c:pt idx="2962">
                  <c:v>41821</c:v>
                </c:pt>
                <c:pt idx="2963">
                  <c:v>41822</c:v>
                </c:pt>
                <c:pt idx="2964">
                  <c:v>41823</c:v>
                </c:pt>
                <c:pt idx="2965">
                  <c:v>41824</c:v>
                </c:pt>
                <c:pt idx="2966">
                  <c:v>41827</c:v>
                </c:pt>
                <c:pt idx="2967">
                  <c:v>41828</c:v>
                </c:pt>
                <c:pt idx="2968">
                  <c:v>41829</c:v>
                </c:pt>
                <c:pt idx="2969">
                  <c:v>41830</c:v>
                </c:pt>
                <c:pt idx="2970">
                  <c:v>41831</c:v>
                </c:pt>
                <c:pt idx="2971">
                  <c:v>41834</c:v>
                </c:pt>
                <c:pt idx="2972">
                  <c:v>41835</c:v>
                </c:pt>
                <c:pt idx="2973">
                  <c:v>41836</c:v>
                </c:pt>
                <c:pt idx="2974">
                  <c:v>41837</c:v>
                </c:pt>
                <c:pt idx="2975">
                  <c:v>41838</c:v>
                </c:pt>
                <c:pt idx="2976">
                  <c:v>41841</c:v>
                </c:pt>
                <c:pt idx="2977">
                  <c:v>41842</c:v>
                </c:pt>
                <c:pt idx="2978">
                  <c:v>41843</c:v>
                </c:pt>
                <c:pt idx="2979">
                  <c:v>41844</c:v>
                </c:pt>
                <c:pt idx="2980">
                  <c:v>41845</c:v>
                </c:pt>
                <c:pt idx="2981">
                  <c:v>41848</c:v>
                </c:pt>
                <c:pt idx="2982">
                  <c:v>41849</c:v>
                </c:pt>
                <c:pt idx="2983">
                  <c:v>41850</c:v>
                </c:pt>
                <c:pt idx="2984">
                  <c:v>41851</c:v>
                </c:pt>
                <c:pt idx="2985">
                  <c:v>41852</c:v>
                </c:pt>
                <c:pt idx="2986">
                  <c:v>41855</c:v>
                </c:pt>
                <c:pt idx="2987">
                  <c:v>41856</c:v>
                </c:pt>
                <c:pt idx="2988">
                  <c:v>41857</c:v>
                </c:pt>
                <c:pt idx="2989">
                  <c:v>41858</c:v>
                </c:pt>
                <c:pt idx="2990">
                  <c:v>41859</c:v>
                </c:pt>
                <c:pt idx="2991">
                  <c:v>41862</c:v>
                </c:pt>
                <c:pt idx="2992">
                  <c:v>41863</c:v>
                </c:pt>
                <c:pt idx="2993">
                  <c:v>41864</c:v>
                </c:pt>
                <c:pt idx="2994">
                  <c:v>41865</c:v>
                </c:pt>
                <c:pt idx="2995">
                  <c:v>41866</c:v>
                </c:pt>
                <c:pt idx="2996">
                  <c:v>41869</c:v>
                </c:pt>
                <c:pt idx="2997">
                  <c:v>41870</c:v>
                </c:pt>
                <c:pt idx="2998">
                  <c:v>41871</c:v>
                </c:pt>
                <c:pt idx="2999">
                  <c:v>41872</c:v>
                </c:pt>
                <c:pt idx="3000">
                  <c:v>41873</c:v>
                </c:pt>
                <c:pt idx="3001">
                  <c:v>41876</c:v>
                </c:pt>
                <c:pt idx="3002">
                  <c:v>41877</c:v>
                </c:pt>
                <c:pt idx="3003">
                  <c:v>41878</c:v>
                </c:pt>
                <c:pt idx="3004">
                  <c:v>41879</c:v>
                </c:pt>
                <c:pt idx="3005">
                  <c:v>41880</c:v>
                </c:pt>
                <c:pt idx="3006">
                  <c:v>41883</c:v>
                </c:pt>
                <c:pt idx="3007">
                  <c:v>41884</c:v>
                </c:pt>
                <c:pt idx="3008">
                  <c:v>41885</c:v>
                </c:pt>
                <c:pt idx="3009">
                  <c:v>41886</c:v>
                </c:pt>
                <c:pt idx="3010">
                  <c:v>41887</c:v>
                </c:pt>
                <c:pt idx="3011">
                  <c:v>41891</c:v>
                </c:pt>
                <c:pt idx="3012">
                  <c:v>41892</c:v>
                </c:pt>
                <c:pt idx="3013">
                  <c:v>41893</c:v>
                </c:pt>
                <c:pt idx="3014">
                  <c:v>41894</c:v>
                </c:pt>
                <c:pt idx="3015">
                  <c:v>41897</c:v>
                </c:pt>
                <c:pt idx="3016">
                  <c:v>41898</c:v>
                </c:pt>
                <c:pt idx="3017">
                  <c:v>41899</c:v>
                </c:pt>
                <c:pt idx="3018">
                  <c:v>41900</c:v>
                </c:pt>
                <c:pt idx="3019">
                  <c:v>41901</c:v>
                </c:pt>
                <c:pt idx="3020">
                  <c:v>41904</c:v>
                </c:pt>
                <c:pt idx="3021">
                  <c:v>41905</c:v>
                </c:pt>
                <c:pt idx="3022">
                  <c:v>41906</c:v>
                </c:pt>
                <c:pt idx="3023">
                  <c:v>41907</c:v>
                </c:pt>
                <c:pt idx="3024">
                  <c:v>41908</c:v>
                </c:pt>
                <c:pt idx="3025">
                  <c:v>41911</c:v>
                </c:pt>
                <c:pt idx="3026">
                  <c:v>41912</c:v>
                </c:pt>
                <c:pt idx="3027">
                  <c:v>41920</c:v>
                </c:pt>
                <c:pt idx="3028">
                  <c:v>41921</c:v>
                </c:pt>
                <c:pt idx="3029">
                  <c:v>41922</c:v>
                </c:pt>
                <c:pt idx="3030">
                  <c:v>41925</c:v>
                </c:pt>
                <c:pt idx="3031">
                  <c:v>41926</c:v>
                </c:pt>
                <c:pt idx="3032">
                  <c:v>41927</c:v>
                </c:pt>
                <c:pt idx="3033">
                  <c:v>41928</c:v>
                </c:pt>
                <c:pt idx="3034">
                  <c:v>41929</c:v>
                </c:pt>
                <c:pt idx="3035">
                  <c:v>41932</c:v>
                </c:pt>
                <c:pt idx="3036">
                  <c:v>41933</c:v>
                </c:pt>
                <c:pt idx="3037">
                  <c:v>41934</c:v>
                </c:pt>
                <c:pt idx="3038">
                  <c:v>41935</c:v>
                </c:pt>
                <c:pt idx="3039">
                  <c:v>41936</c:v>
                </c:pt>
                <c:pt idx="3040">
                  <c:v>41939</c:v>
                </c:pt>
                <c:pt idx="3041">
                  <c:v>41940</c:v>
                </c:pt>
                <c:pt idx="3042">
                  <c:v>41941</c:v>
                </c:pt>
                <c:pt idx="3043">
                  <c:v>41942</c:v>
                </c:pt>
                <c:pt idx="3044">
                  <c:v>41943</c:v>
                </c:pt>
                <c:pt idx="3045">
                  <c:v>41946</c:v>
                </c:pt>
                <c:pt idx="3046">
                  <c:v>41947</c:v>
                </c:pt>
                <c:pt idx="3047">
                  <c:v>41948</c:v>
                </c:pt>
                <c:pt idx="3048">
                  <c:v>41949</c:v>
                </c:pt>
                <c:pt idx="3049">
                  <c:v>41950</c:v>
                </c:pt>
                <c:pt idx="3050">
                  <c:v>41953</c:v>
                </c:pt>
                <c:pt idx="3051">
                  <c:v>41954</c:v>
                </c:pt>
                <c:pt idx="3052">
                  <c:v>41955</c:v>
                </c:pt>
                <c:pt idx="3053">
                  <c:v>41956</c:v>
                </c:pt>
                <c:pt idx="3054">
                  <c:v>41957</c:v>
                </c:pt>
                <c:pt idx="3055">
                  <c:v>41960</c:v>
                </c:pt>
                <c:pt idx="3056">
                  <c:v>41961</c:v>
                </c:pt>
                <c:pt idx="3057">
                  <c:v>41962</c:v>
                </c:pt>
                <c:pt idx="3058">
                  <c:v>41963</c:v>
                </c:pt>
                <c:pt idx="3059">
                  <c:v>41964</c:v>
                </c:pt>
                <c:pt idx="3060">
                  <c:v>41967</c:v>
                </c:pt>
                <c:pt idx="3061">
                  <c:v>41968</c:v>
                </c:pt>
                <c:pt idx="3062">
                  <c:v>41969</c:v>
                </c:pt>
                <c:pt idx="3063">
                  <c:v>41970</c:v>
                </c:pt>
                <c:pt idx="3064">
                  <c:v>41971</c:v>
                </c:pt>
                <c:pt idx="3065">
                  <c:v>41974</c:v>
                </c:pt>
                <c:pt idx="3066">
                  <c:v>41975</c:v>
                </c:pt>
                <c:pt idx="3067">
                  <c:v>41976</c:v>
                </c:pt>
                <c:pt idx="3068">
                  <c:v>41977</c:v>
                </c:pt>
                <c:pt idx="3069">
                  <c:v>41978</c:v>
                </c:pt>
                <c:pt idx="3070">
                  <c:v>41981</c:v>
                </c:pt>
                <c:pt idx="3071">
                  <c:v>41982</c:v>
                </c:pt>
                <c:pt idx="3072">
                  <c:v>41983</c:v>
                </c:pt>
                <c:pt idx="3073">
                  <c:v>41984</c:v>
                </c:pt>
                <c:pt idx="3074">
                  <c:v>41985</c:v>
                </c:pt>
                <c:pt idx="3075">
                  <c:v>41988</c:v>
                </c:pt>
                <c:pt idx="3076">
                  <c:v>41989</c:v>
                </c:pt>
                <c:pt idx="3077">
                  <c:v>41990</c:v>
                </c:pt>
                <c:pt idx="3078">
                  <c:v>41991</c:v>
                </c:pt>
                <c:pt idx="3079">
                  <c:v>41992</c:v>
                </c:pt>
                <c:pt idx="3080">
                  <c:v>41995</c:v>
                </c:pt>
                <c:pt idx="3081">
                  <c:v>41996</c:v>
                </c:pt>
                <c:pt idx="3082">
                  <c:v>41997</c:v>
                </c:pt>
                <c:pt idx="3083">
                  <c:v>41998</c:v>
                </c:pt>
                <c:pt idx="3084">
                  <c:v>41999</c:v>
                </c:pt>
                <c:pt idx="3085">
                  <c:v>42002</c:v>
                </c:pt>
                <c:pt idx="3086">
                  <c:v>42003</c:v>
                </c:pt>
                <c:pt idx="3087">
                  <c:v>42004</c:v>
                </c:pt>
                <c:pt idx="3088">
                  <c:v>42009</c:v>
                </c:pt>
                <c:pt idx="3089">
                  <c:v>42010</c:v>
                </c:pt>
                <c:pt idx="3090">
                  <c:v>42011</c:v>
                </c:pt>
                <c:pt idx="3091">
                  <c:v>42012</c:v>
                </c:pt>
                <c:pt idx="3092">
                  <c:v>42013</c:v>
                </c:pt>
                <c:pt idx="3093">
                  <c:v>42016</c:v>
                </c:pt>
                <c:pt idx="3094">
                  <c:v>42017</c:v>
                </c:pt>
                <c:pt idx="3095">
                  <c:v>42018</c:v>
                </c:pt>
                <c:pt idx="3096">
                  <c:v>42019</c:v>
                </c:pt>
                <c:pt idx="3097">
                  <c:v>42020</c:v>
                </c:pt>
                <c:pt idx="3098">
                  <c:v>42023</c:v>
                </c:pt>
                <c:pt idx="3099">
                  <c:v>42024</c:v>
                </c:pt>
                <c:pt idx="3100">
                  <c:v>42025</c:v>
                </c:pt>
                <c:pt idx="3101">
                  <c:v>42026</c:v>
                </c:pt>
                <c:pt idx="3102">
                  <c:v>42027</c:v>
                </c:pt>
                <c:pt idx="3103">
                  <c:v>42030</c:v>
                </c:pt>
                <c:pt idx="3104">
                  <c:v>42031</c:v>
                </c:pt>
                <c:pt idx="3105">
                  <c:v>42032</c:v>
                </c:pt>
                <c:pt idx="3106">
                  <c:v>42033</c:v>
                </c:pt>
                <c:pt idx="3107">
                  <c:v>42034</c:v>
                </c:pt>
                <c:pt idx="3108">
                  <c:v>42037</c:v>
                </c:pt>
                <c:pt idx="3109">
                  <c:v>42038</c:v>
                </c:pt>
                <c:pt idx="3110">
                  <c:v>42039</c:v>
                </c:pt>
                <c:pt idx="3111">
                  <c:v>42040</c:v>
                </c:pt>
                <c:pt idx="3112">
                  <c:v>42041</c:v>
                </c:pt>
                <c:pt idx="3113">
                  <c:v>42044</c:v>
                </c:pt>
                <c:pt idx="3114">
                  <c:v>42045</c:v>
                </c:pt>
                <c:pt idx="3115">
                  <c:v>42046</c:v>
                </c:pt>
                <c:pt idx="3116">
                  <c:v>42047</c:v>
                </c:pt>
                <c:pt idx="3117">
                  <c:v>42048</c:v>
                </c:pt>
                <c:pt idx="3118">
                  <c:v>42051</c:v>
                </c:pt>
                <c:pt idx="3119">
                  <c:v>42052</c:v>
                </c:pt>
                <c:pt idx="3120">
                  <c:v>42060</c:v>
                </c:pt>
                <c:pt idx="3121">
                  <c:v>42061</c:v>
                </c:pt>
                <c:pt idx="3122">
                  <c:v>42062</c:v>
                </c:pt>
                <c:pt idx="3123">
                  <c:v>42065</c:v>
                </c:pt>
                <c:pt idx="3124">
                  <c:v>42066</c:v>
                </c:pt>
                <c:pt idx="3125">
                  <c:v>42067</c:v>
                </c:pt>
                <c:pt idx="3126">
                  <c:v>42068</c:v>
                </c:pt>
                <c:pt idx="3127">
                  <c:v>42069</c:v>
                </c:pt>
                <c:pt idx="3128">
                  <c:v>42072</c:v>
                </c:pt>
                <c:pt idx="3129">
                  <c:v>42073</c:v>
                </c:pt>
                <c:pt idx="3130">
                  <c:v>42074</c:v>
                </c:pt>
                <c:pt idx="3131">
                  <c:v>42075</c:v>
                </c:pt>
                <c:pt idx="3132">
                  <c:v>42076</c:v>
                </c:pt>
                <c:pt idx="3133">
                  <c:v>42079</c:v>
                </c:pt>
                <c:pt idx="3134">
                  <c:v>42080</c:v>
                </c:pt>
                <c:pt idx="3135">
                  <c:v>42081</c:v>
                </c:pt>
                <c:pt idx="3136">
                  <c:v>42082</c:v>
                </c:pt>
                <c:pt idx="3137">
                  <c:v>42083</c:v>
                </c:pt>
                <c:pt idx="3138">
                  <c:v>42086</c:v>
                </c:pt>
                <c:pt idx="3139">
                  <c:v>42087</c:v>
                </c:pt>
                <c:pt idx="3140">
                  <c:v>42088</c:v>
                </c:pt>
                <c:pt idx="3141">
                  <c:v>42089</c:v>
                </c:pt>
                <c:pt idx="3142">
                  <c:v>42090</c:v>
                </c:pt>
                <c:pt idx="3143">
                  <c:v>42093</c:v>
                </c:pt>
                <c:pt idx="3144">
                  <c:v>42094</c:v>
                </c:pt>
                <c:pt idx="3145">
                  <c:v>42095</c:v>
                </c:pt>
                <c:pt idx="3146">
                  <c:v>42096</c:v>
                </c:pt>
                <c:pt idx="3147">
                  <c:v>42097</c:v>
                </c:pt>
                <c:pt idx="3148">
                  <c:v>42101</c:v>
                </c:pt>
                <c:pt idx="3149">
                  <c:v>42102</c:v>
                </c:pt>
                <c:pt idx="3150">
                  <c:v>42103</c:v>
                </c:pt>
                <c:pt idx="3151">
                  <c:v>42104</c:v>
                </c:pt>
                <c:pt idx="3152">
                  <c:v>42107</c:v>
                </c:pt>
                <c:pt idx="3153">
                  <c:v>42108</c:v>
                </c:pt>
                <c:pt idx="3154">
                  <c:v>42109</c:v>
                </c:pt>
                <c:pt idx="3155">
                  <c:v>42110</c:v>
                </c:pt>
                <c:pt idx="3156">
                  <c:v>42111</c:v>
                </c:pt>
                <c:pt idx="3157">
                  <c:v>42114</c:v>
                </c:pt>
                <c:pt idx="3158">
                  <c:v>42115</c:v>
                </c:pt>
                <c:pt idx="3159">
                  <c:v>42116</c:v>
                </c:pt>
                <c:pt idx="3160">
                  <c:v>42117</c:v>
                </c:pt>
                <c:pt idx="3161">
                  <c:v>42118</c:v>
                </c:pt>
                <c:pt idx="3162">
                  <c:v>42121</c:v>
                </c:pt>
                <c:pt idx="3163">
                  <c:v>42122</c:v>
                </c:pt>
                <c:pt idx="3164">
                  <c:v>42123</c:v>
                </c:pt>
                <c:pt idx="3165">
                  <c:v>42124</c:v>
                </c:pt>
                <c:pt idx="3166">
                  <c:v>42128</c:v>
                </c:pt>
                <c:pt idx="3167">
                  <c:v>42129</c:v>
                </c:pt>
                <c:pt idx="3168">
                  <c:v>42130</c:v>
                </c:pt>
                <c:pt idx="3169">
                  <c:v>42131</c:v>
                </c:pt>
                <c:pt idx="3170">
                  <c:v>42132</c:v>
                </c:pt>
                <c:pt idx="3171">
                  <c:v>42135</c:v>
                </c:pt>
                <c:pt idx="3172">
                  <c:v>42136</c:v>
                </c:pt>
                <c:pt idx="3173">
                  <c:v>42137</c:v>
                </c:pt>
                <c:pt idx="3174">
                  <c:v>42138</c:v>
                </c:pt>
                <c:pt idx="3175">
                  <c:v>42139</c:v>
                </c:pt>
                <c:pt idx="3176">
                  <c:v>42142</c:v>
                </c:pt>
                <c:pt idx="3177">
                  <c:v>42143</c:v>
                </c:pt>
                <c:pt idx="3178">
                  <c:v>42144</c:v>
                </c:pt>
                <c:pt idx="3179">
                  <c:v>42145</c:v>
                </c:pt>
                <c:pt idx="3180">
                  <c:v>42146</c:v>
                </c:pt>
                <c:pt idx="3181">
                  <c:v>42149</c:v>
                </c:pt>
                <c:pt idx="3182">
                  <c:v>42150</c:v>
                </c:pt>
                <c:pt idx="3183">
                  <c:v>42151</c:v>
                </c:pt>
                <c:pt idx="3184">
                  <c:v>42152</c:v>
                </c:pt>
                <c:pt idx="3185">
                  <c:v>42153</c:v>
                </c:pt>
                <c:pt idx="3186">
                  <c:v>42156</c:v>
                </c:pt>
                <c:pt idx="3187">
                  <c:v>42157</c:v>
                </c:pt>
                <c:pt idx="3188">
                  <c:v>42158</c:v>
                </c:pt>
                <c:pt idx="3189">
                  <c:v>42159</c:v>
                </c:pt>
                <c:pt idx="3190">
                  <c:v>42160</c:v>
                </c:pt>
                <c:pt idx="3191">
                  <c:v>42163</c:v>
                </c:pt>
                <c:pt idx="3192">
                  <c:v>42164</c:v>
                </c:pt>
                <c:pt idx="3193">
                  <c:v>42165</c:v>
                </c:pt>
                <c:pt idx="3194">
                  <c:v>42166</c:v>
                </c:pt>
                <c:pt idx="3195">
                  <c:v>42167</c:v>
                </c:pt>
                <c:pt idx="3196">
                  <c:v>42170</c:v>
                </c:pt>
                <c:pt idx="3197">
                  <c:v>42171</c:v>
                </c:pt>
                <c:pt idx="3198">
                  <c:v>42172</c:v>
                </c:pt>
                <c:pt idx="3199">
                  <c:v>42173</c:v>
                </c:pt>
                <c:pt idx="3200">
                  <c:v>42174</c:v>
                </c:pt>
                <c:pt idx="3201">
                  <c:v>42178</c:v>
                </c:pt>
                <c:pt idx="3202">
                  <c:v>42179</c:v>
                </c:pt>
                <c:pt idx="3203">
                  <c:v>42180</c:v>
                </c:pt>
                <c:pt idx="3204">
                  <c:v>42181</c:v>
                </c:pt>
                <c:pt idx="3205">
                  <c:v>42184</c:v>
                </c:pt>
                <c:pt idx="3206">
                  <c:v>42185</c:v>
                </c:pt>
                <c:pt idx="3207">
                  <c:v>42186</c:v>
                </c:pt>
                <c:pt idx="3208">
                  <c:v>42187</c:v>
                </c:pt>
                <c:pt idx="3209">
                  <c:v>42188</c:v>
                </c:pt>
                <c:pt idx="3210">
                  <c:v>42191</c:v>
                </c:pt>
                <c:pt idx="3211">
                  <c:v>42192</c:v>
                </c:pt>
                <c:pt idx="3212">
                  <c:v>42193</c:v>
                </c:pt>
                <c:pt idx="3213">
                  <c:v>42194</c:v>
                </c:pt>
                <c:pt idx="3214">
                  <c:v>42195</c:v>
                </c:pt>
                <c:pt idx="3215">
                  <c:v>42198</c:v>
                </c:pt>
                <c:pt idx="3216">
                  <c:v>42199</c:v>
                </c:pt>
                <c:pt idx="3217">
                  <c:v>42200</c:v>
                </c:pt>
                <c:pt idx="3218">
                  <c:v>42201</c:v>
                </c:pt>
                <c:pt idx="3219">
                  <c:v>42202</c:v>
                </c:pt>
                <c:pt idx="3220">
                  <c:v>42205</c:v>
                </c:pt>
                <c:pt idx="3221">
                  <c:v>42206</c:v>
                </c:pt>
                <c:pt idx="3222">
                  <c:v>42207</c:v>
                </c:pt>
                <c:pt idx="3223">
                  <c:v>42208</c:v>
                </c:pt>
                <c:pt idx="3224">
                  <c:v>42209</c:v>
                </c:pt>
                <c:pt idx="3225">
                  <c:v>42212</c:v>
                </c:pt>
                <c:pt idx="3226">
                  <c:v>42213</c:v>
                </c:pt>
                <c:pt idx="3227">
                  <c:v>42214</c:v>
                </c:pt>
                <c:pt idx="3228">
                  <c:v>42215</c:v>
                </c:pt>
                <c:pt idx="3229">
                  <c:v>42216</c:v>
                </c:pt>
                <c:pt idx="3230">
                  <c:v>42219</c:v>
                </c:pt>
                <c:pt idx="3231">
                  <c:v>42220</c:v>
                </c:pt>
                <c:pt idx="3232">
                  <c:v>42221</c:v>
                </c:pt>
                <c:pt idx="3233">
                  <c:v>42222</c:v>
                </c:pt>
                <c:pt idx="3234">
                  <c:v>42223</c:v>
                </c:pt>
                <c:pt idx="3235">
                  <c:v>42226</c:v>
                </c:pt>
                <c:pt idx="3236">
                  <c:v>42227</c:v>
                </c:pt>
                <c:pt idx="3237">
                  <c:v>42228</c:v>
                </c:pt>
                <c:pt idx="3238">
                  <c:v>42229</c:v>
                </c:pt>
                <c:pt idx="3239">
                  <c:v>42230</c:v>
                </c:pt>
                <c:pt idx="3240">
                  <c:v>42233</c:v>
                </c:pt>
                <c:pt idx="3241">
                  <c:v>42234</c:v>
                </c:pt>
                <c:pt idx="3242">
                  <c:v>42235</c:v>
                </c:pt>
                <c:pt idx="3243">
                  <c:v>42236</c:v>
                </c:pt>
                <c:pt idx="3244">
                  <c:v>42237</c:v>
                </c:pt>
                <c:pt idx="3245">
                  <c:v>42240</c:v>
                </c:pt>
                <c:pt idx="3246">
                  <c:v>42241</c:v>
                </c:pt>
                <c:pt idx="3247">
                  <c:v>42242</c:v>
                </c:pt>
                <c:pt idx="3248">
                  <c:v>42243</c:v>
                </c:pt>
                <c:pt idx="3249">
                  <c:v>42244</c:v>
                </c:pt>
                <c:pt idx="3250">
                  <c:v>42247</c:v>
                </c:pt>
                <c:pt idx="3251">
                  <c:v>42248</c:v>
                </c:pt>
                <c:pt idx="3252">
                  <c:v>42249</c:v>
                </c:pt>
                <c:pt idx="3253">
                  <c:v>42254</c:v>
                </c:pt>
                <c:pt idx="3254">
                  <c:v>42255</c:v>
                </c:pt>
                <c:pt idx="3255">
                  <c:v>42256</c:v>
                </c:pt>
                <c:pt idx="3256">
                  <c:v>42257</c:v>
                </c:pt>
                <c:pt idx="3257">
                  <c:v>42258</c:v>
                </c:pt>
                <c:pt idx="3258">
                  <c:v>42261</c:v>
                </c:pt>
                <c:pt idx="3259">
                  <c:v>42262</c:v>
                </c:pt>
                <c:pt idx="3260">
                  <c:v>42263</c:v>
                </c:pt>
                <c:pt idx="3261">
                  <c:v>42264</c:v>
                </c:pt>
                <c:pt idx="3262">
                  <c:v>42265</c:v>
                </c:pt>
                <c:pt idx="3263">
                  <c:v>42268</c:v>
                </c:pt>
                <c:pt idx="3264">
                  <c:v>42269</c:v>
                </c:pt>
                <c:pt idx="3265">
                  <c:v>42270</c:v>
                </c:pt>
                <c:pt idx="3266">
                  <c:v>42271</c:v>
                </c:pt>
                <c:pt idx="3267">
                  <c:v>42272</c:v>
                </c:pt>
                <c:pt idx="3268">
                  <c:v>42275</c:v>
                </c:pt>
                <c:pt idx="3269">
                  <c:v>42276</c:v>
                </c:pt>
                <c:pt idx="3270">
                  <c:v>42277</c:v>
                </c:pt>
                <c:pt idx="3271">
                  <c:v>42285</c:v>
                </c:pt>
                <c:pt idx="3272">
                  <c:v>42286</c:v>
                </c:pt>
                <c:pt idx="3273">
                  <c:v>42289</c:v>
                </c:pt>
                <c:pt idx="3274">
                  <c:v>42290</c:v>
                </c:pt>
                <c:pt idx="3275">
                  <c:v>42291</c:v>
                </c:pt>
                <c:pt idx="3276">
                  <c:v>42292</c:v>
                </c:pt>
                <c:pt idx="3277">
                  <c:v>42293</c:v>
                </c:pt>
                <c:pt idx="3278">
                  <c:v>42296</c:v>
                </c:pt>
                <c:pt idx="3279">
                  <c:v>42297</c:v>
                </c:pt>
                <c:pt idx="3280">
                  <c:v>42298</c:v>
                </c:pt>
                <c:pt idx="3281">
                  <c:v>42299</c:v>
                </c:pt>
                <c:pt idx="3282">
                  <c:v>42300</c:v>
                </c:pt>
                <c:pt idx="3283">
                  <c:v>42303</c:v>
                </c:pt>
                <c:pt idx="3284">
                  <c:v>42304</c:v>
                </c:pt>
                <c:pt idx="3285">
                  <c:v>42305</c:v>
                </c:pt>
                <c:pt idx="3286">
                  <c:v>42306</c:v>
                </c:pt>
                <c:pt idx="3287">
                  <c:v>42307</c:v>
                </c:pt>
                <c:pt idx="3288">
                  <c:v>42310</c:v>
                </c:pt>
                <c:pt idx="3289">
                  <c:v>42311</c:v>
                </c:pt>
                <c:pt idx="3290">
                  <c:v>42312</c:v>
                </c:pt>
                <c:pt idx="3291">
                  <c:v>42313</c:v>
                </c:pt>
                <c:pt idx="3292">
                  <c:v>42314</c:v>
                </c:pt>
                <c:pt idx="3293">
                  <c:v>42317</c:v>
                </c:pt>
                <c:pt idx="3294">
                  <c:v>42318</c:v>
                </c:pt>
                <c:pt idx="3295">
                  <c:v>42319</c:v>
                </c:pt>
                <c:pt idx="3296">
                  <c:v>42320</c:v>
                </c:pt>
                <c:pt idx="3297">
                  <c:v>42321</c:v>
                </c:pt>
                <c:pt idx="3298">
                  <c:v>42324</c:v>
                </c:pt>
                <c:pt idx="3299">
                  <c:v>42325</c:v>
                </c:pt>
                <c:pt idx="3300">
                  <c:v>42326</c:v>
                </c:pt>
                <c:pt idx="3301">
                  <c:v>42327</c:v>
                </c:pt>
                <c:pt idx="3302">
                  <c:v>42328</c:v>
                </c:pt>
                <c:pt idx="3303">
                  <c:v>42331</c:v>
                </c:pt>
                <c:pt idx="3304">
                  <c:v>42332</c:v>
                </c:pt>
                <c:pt idx="3305">
                  <c:v>42333</c:v>
                </c:pt>
                <c:pt idx="3306">
                  <c:v>42334</c:v>
                </c:pt>
                <c:pt idx="3307">
                  <c:v>42335</c:v>
                </c:pt>
                <c:pt idx="3308">
                  <c:v>42338</c:v>
                </c:pt>
                <c:pt idx="3309">
                  <c:v>42339</c:v>
                </c:pt>
                <c:pt idx="3310">
                  <c:v>42340</c:v>
                </c:pt>
                <c:pt idx="3311">
                  <c:v>42341</c:v>
                </c:pt>
                <c:pt idx="3312">
                  <c:v>42342</c:v>
                </c:pt>
                <c:pt idx="3313">
                  <c:v>42345</c:v>
                </c:pt>
                <c:pt idx="3314">
                  <c:v>42346</c:v>
                </c:pt>
                <c:pt idx="3315">
                  <c:v>42347</c:v>
                </c:pt>
                <c:pt idx="3316">
                  <c:v>42348</c:v>
                </c:pt>
                <c:pt idx="3317">
                  <c:v>42349</c:v>
                </c:pt>
                <c:pt idx="3318">
                  <c:v>42352</c:v>
                </c:pt>
                <c:pt idx="3319">
                  <c:v>42353</c:v>
                </c:pt>
                <c:pt idx="3320">
                  <c:v>42354</c:v>
                </c:pt>
                <c:pt idx="3321">
                  <c:v>42355</c:v>
                </c:pt>
                <c:pt idx="3322">
                  <c:v>42356</c:v>
                </c:pt>
                <c:pt idx="3323">
                  <c:v>42359</c:v>
                </c:pt>
                <c:pt idx="3324">
                  <c:v>42360</c:v>
                </c:pt>
                <c:pt idx="3325">
                  <c:v>42361</c:v>
                </c:pt>
                <c:pt idx="3326">
                  <c:v>42362</c:v>
                </c:pt>
                <c:pt idx="3327">
                  <c:v>42363</c:v>
                </c:pt>
                <c:pt idx="3328">
                  <c:v>42366</c:v>
                </c:pt>
                <c:pt idx="3329">
                  <c:v>42367</c:v>
                </c:pt>
                <c:pt idx="3330">
                  <c:v>42368</c:v>
                </c:pt>
                <c:pt idx="3331">
                  <c:v>42369</c:v>
                </c:pt>
                <c:pt idx="3332">
                  <c:v>42373</c:v>
                </c:pt>
                <c:pt idx="3333">
                  <c:v>42374</c:v>
                </c:pt>
                <c:pt idx="3334">
                  <c:v>42375</c:v>
                </c:pt>
                <c:pt idx="3335">
                  <c:v>42376</c:v>
                </c:pt>
                <c:pt idx="3336">
                  <c:v>42377</c:v>
                </c:pt>
                <c:pt idx="3337">
                  <c:v>42380</c:v>
                </c:pt>
                <c:pt idx="3338">
                  <c:v>42381</c:v>
                </c:pt>
                <c:pt idx="3339">
                  <c:v>42382</c:v>
                </c:pt>
                <c:pt idx="3340">
                  <c:v>42383</c:v>
                </c:pt>
                <c:pt idx="3341">
                  <c:v>42384</c:v>
                </c:pt>
                <c:pt idx="3342">
                  <c:v>42387</c:v>
                </c:pt>
                <c:pt idx="3343">
                  <c:v>42388</c:v>
                </c:pt>
                <c:pt idx="3344">
                  <c:v>42389</c:v>
                </c:pt>
                <c:pt idx="3345">
                  <c:v>42390</c:v>
                </c:pt>
                <c:pt idx="3346">
                  <c:v>42391</c:v>
                </c:pt>
                <c:pt idx="3347">
                  <c:v>42394</c:v>
                </c:pt>
                <c:pt idx="3348">
                  <c:v>42395</c:v>
                </c:pt>
                <c:pt idx="3349">
                  <c:v>42396</c:v>
                </c:pt>
                <c:pt idx="3350">
                  <c:v>42397</c:v>
                </c:pt>
                <c:pt idx="3351">
                  <c:v>42398</c:v>
                </c:pt>
                <c:pt idx="3352">
                  <c:v>42401</c:v>
                </c:pt>
                <c:pt idx="3353">
                  <c:v>42402</c:v>
                </c:pt>
                <c:pt idx="3354">
                  <c:v>42403</c:v>
                </c:pt>
                <c:pt idx="3355">
                  <c:v>42404</c:v>
                </c:pt>
                <c:pt idx="3356">
                  <c:v>42405</c:v>
                </c:pt>
                <c:pt idx="3357">
                  <c:v>42415</c:v>
                </c:pt>
                <c:pt idx="3358">
                  <c:v>42416</c:v>
                </c:pt>
                <c:pt idx="3359">
                  <c:v>42417</c:v>
                </c:pt>
                <c:pt idx="3360">
                  <c:v>42418</c:v>
                </c:pt>
                <c:pt idx="3361">
                  <c:v>42419</c:v>
                </c:pt>
                <c:pt idx="3362">
                  <c:v>42422</c:v>
                </c:pt>
                <c:pt idx="3363">
                  <c:v>42423</c:v>
                </c:pt>
                <c:pt idx="3364">
                  <c:v>42424</c:v>
                </c:pt>
                <c:pt idx="3365">
                  <c:v>42425</c:v>
                </c:pt>
                <c:pt idx="3366">
                  <c:v>42426</c:v>
                </c:pt>
                <c:pt idx="3367">
                  <c:v>42429</c:v>
                </c:pt>
                <c:pt idx="3368">
                  <c:v>42430</c:v>
                </c:pt>
                <c:pt idx="3369">
                  <c:v>42431</c:v>
                </c:pt>
                <c:pt idx="3370">
                  <c:v>42432</c:v>
                </c:pt>
                <c:pt idx="3371">
                  <c:v>42433</c:v>
                </c:pt>
                <c:pt idx="3372">
                  <c:v>42436</c:v>
                </c:pt>
                <c:pt idx="3373">
                  <c:v>42437</c:v>
                </c:pt>
                <c:pt idx="3374">
                  <c:v>42438</c:v>
                </c:pt>
                <c:pt idx="3375">
                  <c:v>42439</c:v>
                </c:pt>
                <c:pt idx="3376">
                  <c:v>42440</c:v>
                </c:pt>
                <c:pt idx="3377">
                  <c:v>42443</c:v>
                </c:pt>
                <c:pt idx="3378">
                  <c:v>42444</c:v>
                </c:pt>
                <c:pt idx="3379">
                  <c:v>42445</c:v>
                </c:pt>
                <c:pt idx="3380">
                  <c:v>42446</c:v>
                </c:pt>
                <c:pt idx="3381">
                  <c:v>42447</c:v>
                </c:pt>
                <c:pt idx="3382">
                  <c:v>42450</c:v>
                </c:pt>
                <c:pt idx="3383">
                  <c:v>42451</c:v>
                </c:pt>
                <c:pt idx="3384">
                  <c:v>42452</c:v>
                </c:pt>
                <c:pt idx="3385">
                  <c:v>42453</c:v>
                </c:pt>
                <c:pt idx="3386">
                  <c:v>42454</c:v>
                </c:pt>
                <c:pt idx="3387">
                  <c:v>42457</c:v>
                </c:pt>
                <c:pt idx="3388">
                  <c:v>42458</c:v>
                </c:pt>
                <c:pt idx="3389">
                  <c:v>42459</c:v>
                </c:pt>
                <c:pt idx="3390">
                  <c:v>42460</c:v>
                </c:pt>
                <c:pt idx="3391">
                  <c:v>42461</c:v>
                </c:pt>
                <c:pt idx="3392">
                  <c:v>42465</c:v>
                </c:pt>
                <c:pt idx="3393">
                  <c:v>42466</c:v>
                </c:pt>
                <c:pt idx="3394">
                  <c:v>42467</c:v>
                </c:pt>
                <c:pt idx="3395">
                  <c:v>42468</c:v>
                </c:pt>
                <c:pt idx="3396">
                  <c:v>42471</c:v>
                </c:pt>
                <c:pt idx="3397">
                  <c:v>42472</c:v>
                </c:pt>
                <c:pt idx="3398">
                  <c:v>42473</c:v>
                </c:pt>
                <c:pt idx="3399">
                  <c:v>42474</c:v>
                </c:pt>
                <c:pt idx="3400">
                  <c:v>42475</c:v>
                </c:pt>
                <c:pt idx="3401">
                  <c:v>42478</c:v>
                </c:pt>
                <c:pt idx="3402">
                  <c:v>42479</c:v>
                </c:pt>
                <c:pt idx="3403">
                  <c:v>42480</c:v>
                </c:pt>
                <c:pt idx="3404">
                  <c:v>42481</c:v>
                </c:pt>
                <c:pt idx="3405">
                  <c:v>42482</c:v>
                </c:pt>
                <c:pt idx="3406">
                  <c:v>42485</c:v>
                </c:pt>
                <c:pt idx="3407">
                  <c:v>42486</c:v>
                </c:pt>
                <c:pt idx="3408">
                  <c:v>42487</c:v>
                </c:pt>
                <c:pt idx="3409">
                  <c:v>42488</c:v>
                </c:pt>
                <c:pt idx="3410">
                  <c:v>42489</c:v>
                </c:pt>
                <c:pt idx="3411">
                  <c:v>42493</c:v>
                </c:pt>
                <c:pt idx="3412">
                  <c:v>42494</c:v>
                </c:pt>
                <c:pt idx="3413">
                  <c:v>42495</c:v>
                </c:pt>
                <c:pt idx="3414">
                  <c:v>42496</c:v>
                </c:pt>
                <c:pt idx="3415">
                  <c:v>42499</c:v>
                </c:pt>
                <c:pt idx="3416">
                  <c:v>42500</c:v>
                </c:pt>
                <c:pt idx="3417">
                  <c:v>42501</c:v>
                </c:pt>
                <c:pt idx="3418">
                  <c:v>42502</c:v>
                </c:pt>
                <c:pt idx="3419">
                  <c:v>42503</c:v>
                </c:pt>
                <c:pt idx="3420">
                  <c:v>42506</c:v>
                </c:pt>
                <c:pt idx="3421">
                  <c:v>42507</c:v>
                </c:pt>
                <c:pt idx="3422">
                  <c:v>42508</c:v>
                </c:pt>
                <c:pt idx="3423">
                  <c:v>42509</c:v>
                </c:pt>
                <c:pt idx="3424">
                  <c:v>42510</c:v>
                </c:pt>
                <c:pt idx="3425">
                  <c:v>42513</c:v>
                </c:pt>
                <c:pt idx="3426">
                  <c:v>42514</c:v>
                </c:pt>
                <c:pt idx="3427">
                  <c:v>42515</c:v>
                </c:pt>
                <c:pt idx="3428">
                  <c:v>42516</c:v>
                </c:pt>
                <c:pt idx="3429">
                  <c:v>42517</c:v>
                </c:pt>
                <c:pt idx="3430">
                  <c:v>42520</c:v>
                </c:pt>
                <c:pt idx="3431">
                  <c:v>42521</c:v>
                </c:pt>
                <c:pt idx="3432">
                  <c:v>42522</c:v>
                </c:pt>
                <c:pt idx="3433">
                  <c:v>42523</c:v>
                </c:pt>
                <c:pt idx="3434">
                  <c:v>42524</c:v>
                </c:pt>
                <c:pt idx="3435">
                  <c:v>42527</c:v>
                </c:pt>
                <c:pt idx="3436">
                  <c:v>42528</c:v>
                </c:pt>
                <c:pt idx="3437">
                  <c:v>42529</c:v>
                </c:pt>
                <c:pt idx="3438">
                  <c:v>42534</c:v>
                </c:pt>
                <c:pt idx="3439">
                  <c:v>42535</c:v>
                </c:pt>
                <c:pt idx="3440">
                  <c:v>42536</c:v>
                </c:pt>
                <c:pt idx="3441">
                  <c:v>42537</c:v>
                </c:pt>
                <c:pt idx="3442">
                  <c:v>42538</c:v>
                </c:pt>
                <c:pt idx="3443">
                  <c:v>42541</c:v>
                </c:pt>
                <c:pt idx="3444">
                  <c:v>42542</c:v>
                </c:pt>
                <c:pt idx="3445">
                  <c:v>42543</c:v>
                </c:pt>
                <c:pt idx="3446">
                  <c:v>42544</c:v>
                </c:pt>
                <c:pt idx="3447">
                  <c:v>42545</c:v>
                </c:pt>
                <c:pt idx="3448">
                  <c:v>42548</c:v>
                </c:pt>
                <c:pt idx="3449">
                  <c:v>42549</c:v>
                </c:pt>
                <c:pt idx="3450">
                  <c:v>42550</c:v>
                </c:pt>
                <c:pt idx="3451">
                  <c:v>42551</c:v>
                </c:pt>
                <c:pt idx="3452">
                  <c:v>42552</c:v>
                </c:pt>
                <c:pt idx="3453">
                  <c:v>42555</c:v>
                </c:pt>
                <c:pt idx="3454">
                  <c:v>42556</c:v>
                </c:pt>
                <c:pt idx="3455">
                  <c:v>42557</c:v>
                </c:pt>
                <c:pt idx="3456">
                  <c:v>42558</c:v>
                </c:pt>
                <c:pt idx="3457">
                  <c:v>42559</c:v>
                </c:pt>
                <c:pt idx="3458">
                  <c:v>42562</c:v>
                </c:pt>
                <c:pt idx="3459">
                  <c:v>42563</c:v>
                </c:pt>
                <c:pt idx="3460">
                  <c:v>42564</c:v>
                </c:pt>
                <c:pt idx="3461">
                  <c:v>42565</c:v>
                </c:pt>
                <c:pt idx="3462">
                  <c:v>42566</c:v>
                </c:pt>
                <c:pt idx="3463">
                  <c:v>42569</c:v>
                </c:pt>
                <c:pt idx="3464">
                  <c:v>42570</c:v>
                </c:pt>
                <c:pt idx="3465">
                  <c:v>42571</c:v>
                </c:pt>
                <c:pt idx="3466">
                  <c:v>42572</c:v>
                </c:pt>
                <c:pt idx="3467">
                  <c:v>42573</c:v>
                </c:pt>
                <c:pt idx="3468">
                  <c:v>42576</c:v>
                </c:pt>
                <c:pt idx="3469">
                  <c:v>42577</c:v>
                </c:pt>
                <c:pt idx="3470">
                  <c:v>42578</c:v>
                </c:pt>
                <c:pt idx="3471">
                  <c:v>42579</c:v>
                </c:pt>
                <c:pt idx="3472">
                  <c:v>42580</c:v>
                </c:pt>
                <c:pt idx="3473">
                  <c:v>42583</c:v>
                </c:pt>
                <c:pt idx="3474">
                  <c:v>42584</c:v>
                </c:pt>
                <c:pt idx="3475">
                  <c:v>42585</c:v>
                </c:pt>
                <c:pt idx="3476">
                  <c:v>42586</c:v>
                </c:pt>
                <c:pt idx="3477">
                  <c:v>42587</c:v>
                </c:pt>
                <c:pt idx="3478">
                  <c:v>42590</c:v>
                </c:pt>
                <c:pt idx="3479">
                  <c:v>42591</c:v>
                </c:pt>
                <c:pt idx="3480">
                  <c:v>42592</c:v>
                </c:pt>
                <c:pt idx="3481">
                  <c:v>42593</c:v>
                </c:pt>
                <c:pt idx="3482">
                  <c:v>42594</c:v>
                </c:pt>
                <c:pt idx="3483">
                  <c:v>42597</c:v>
                </c:pt>
                <c:pt idx="3484">
                  <c:v>42598</c:v>
                </c:pt>
                <c:pt idx="3485">
                  <c:v>42599</c:v>
                </c:pt>
                <c:pt idx="3486">
                  <c:v>42600</c:v>
                </c:pt>
                <c:pt idx="3487">
                  <c:v>42601</c:v>
                </c:pt>
                <c:pt idx="3488">
                  <c:v>42604</c:v>
                </c:pt>
                <c:pt idx="3489">
                  <c:v>42605</c:v>
                </c:pt>
                <c:pt idx="3490">
                  <c:v>42606</c:v>
                </c:pt>
                <c:pt idx="3491">
                  <c:v>42607</c:v>
                </c:pt>
                <c:pt idx="3492">
                  <c:v>42608</c:v>
                </c:pt>
                <c:pt idx="3493">
                  <c:v>42611</c:v>
                </c:pt>
                <c:pt idx="3494">
                  <c:v>42612</c:v>
                </c:pt>
                <c:pt idx="3495">
                  <c:v>42613</c:v>
                </c:pt>
                <c:pt idx="3496">
                  <c:v>42614</c:v>
                </c:pt>
                <c:pt idx="3497">
                  <c:v>42615</c:v>
                </c:pt>
                <c:pt idx="3498">
                  <c:v>42618</c:v>
                </c:pt>
                <c:pt idx="3499">
                  <c:v>42619</c:v>
                </c:pt>
                <c:pt idx="3500">
                  <c:v>42620</c:v>
                </c:pt>
                <c:pt idx="3501">
                  <c:v>42621</c:v>
                </c:pt>
                <c:pt idx="3502">
                  <c:v>42622</c:v>
                </c:pt>
                <c:pt idx="3503">
                  <c:v>42625</c:v>
                </c:pt>
                <c:pt idx="3504">
                  <c:v>42626</c:v>
                </c:pt>
                <c:pt idx="3505">
                  <c:v>42627</c:v>
                </c:pt>
                <c:pt idx="3506">
                  <c:v>42632</c:v>
                </c:pt>
                <c:pt idx="3507">
                  <c:v>42633</c:v>
                </c:pt>
                <c:pt idx="3508">
                  <c:v>42634</c:v>
                </c:pt>
                <c:pt idx="3509">
                  <c:v>42635</c:v>
                </c:pt>
                <c:pt idx="3510">
                  <c:v>42636</c:v>
                </c:pt>
                <c:pt idx="3511">
                  <c:v>42639</c:v>
                </c:pt>
                <c:pt idx="3512">
                  <c:v>42640</c:v>
                </c:pt>
                <c:pt idx="3513">
                  <c:v>42641</c:v>
                </c:pt>
                <c:pt idx="3514">
                  <c:v>42642</c:v>
                </c:pt>
                <c:pt idx="3515">
                  <c:v>42643</c:v>
                </c:pt>
                <c:pt idx="3516">
                  <c:v>42653</c:v>
                </c:pt>
                <c:pt idx="3517">
                  <c:v>42654</c:v>
                </c:pt>
                <c:pt idx="3518">
                  <c:v>42655</c:v>
                </c:pt>
                <c:pt idx="3519">
                  <c:v>42656</c:v>
                </c:pt>
                <c:pt idx="3520">
                  <c:v>42657</c:v>
                </c:pt>
                <c:pt idx="3521">
                  <c:v>42660</c:v>
                </c:pt>
                <c:pt idx="3522">
                  <c:v>42661</c:v>
                </c:pt>
                <c:pt idx="3523">
                  <c:v>42662</c:v>
                </c:pt>
                <c:pt idx="3524">
                  <c:v>42663</c:v>
                </c:pt>
                <c:pt idx="3525">
                  <c:v>42664</c:v>
                </c:pt>
                <c:pt idx="3526">
                  <c:v>42667</c:v>
                </c:pt>
                <c:pt idx="3527">
                  <c:v>42668</c:v>
                </c:pt>
                <c:pt idx="3528">
                  <c:v>42669</c:v>
                </c:pt>
                <c:pt idx="3529">
                  <c:v>42670</c:v>
                </c:pt>
                <c:pt idx="3530">
                  <c:v>42671</c:v>
                </c:pt>
                <c:pt idx="3531">
                  <c:v>42674</c:v>
                </c:pt>
                <c:pt idx="3532">
                  <c:v>42675</c:v>
                </c:pt>
                <c:pt idx="3533">
                  <c:v>42676</c:v>
                </c:pt>
                <c:pt idx="3534">
                  <c:v>42677</c:v>
                </c:pt>
                <c:pt idx="3535">
                  <c:v>42678</c:v>
                </c:pt>
                <c:pt idx="3536">
                  <c:v>42681</c:v>
                </c:pt>
                <c:pt idx="3537">
                  <c:v>42682</c:v>
                </c:pt>
                <c:pt idx="3538">
                  <c:v>42683</c:v>
                </c:pt>
                <c:pt idx="3539">
                  <c:v>42684</c:v>
                </c:pt>
                <c:pt idx="3540">
                  <c:v>42685</c:v>
                </c:pt>
                <c:pt idx="3541">
                  <c:v>42688</c:v>
                </c:pt>
                <c:pt idx="3542">
                  <c:v>42689</c:v>
                </c:pt>
                <c:pt idx="3543">
                  <c:v>42690</c:v>
                </c:pt>
                <c:pt idx="3544">
                  <c:v>42691</c:v>
                </c:pt>
                <c:pt idx="3545">
                  <c:v>42692</c:v>
                </c:pt>
                <c:pt idx="3546">
                  <c:v>42695</c:v>
                </c:pt>
                <c:pt idx="3547">
                  <c:v>42696</c:v>
                </c:pt>
                <c:pt idx="3548">
                  <c:v>42697</c:v>
                </c:pt>
                <c:pt idx="3549">
                  <c:v>42698</c:v>
                </c:pt>
                <c:pt idx="3550">
                  <c:v>42699</c:v>
                </c:pt>
                <c:pt idx="3551">
                  <c:v>42702</c:v>
                </c:pt>
                <c:pt idx="3552">
                  <c:v>42703</c:v>
                </c:pt>
                <c:pt idx="3553">
                  <c:v>42704</c:v>
                </c:pt>
                <c:pt idx="3554">
                  <c:v>42705</c:v>
                </c:pt>
                <c:pt idx="3555">
                  <c:v>42706</c:v>
                </c:pt>
                <c:pt idx="3556">
                  <c:v>42709</c:v>
                </c:pt>
                <c:pt idx="3557">
                  <c:v>42710</c:v>
                </c:pt>
                <c:pt idx="3558">
                  <c:v>42711</c:v>
                </c:pt>
                <c:pt idx="3559">
                  <c:v>42712</c:v>
                </c:pt>
                <c:pt idx="3560">
                  <c:v>42713</c:v>
                </c:pt>
                <c:pt idx="3561">
                  <c:v>42716</c:v>
                </c:pt>
                <c:pt idx="3562">
                  <c:v>42717</c:v>
                </c:pt>
                <c:pt idx="3563">
                  <c:v>42718</c:v>
                </c:pt>
                <c:pt idx="3564">
                  <c:v>42719</c:v>
                </c:pt>
                <c:pt idx="3565">
                  <c:v>42720</c:v>
                </c:pt>
                <c:pt idx="3566">
                  <c:v>42723</c:v>
                </c:pt>
                <c:pt idx="3567">
                  <c:v>42724</c:v>
                </c:pt>
                <c:pt idx="3568">
                  <c:v>42725</c:v>
                </c:pt>
                <c:pt idx="3569">
                  <c:v>42726</c:v>
                </c:pt>
                <c:pt idx="3570">
                  <c:v>42727</c:v>
                </c:pt>
                <c:pt idx="3571">
                  <c:v>42730</c:v>
                </c:pt>
                <c:pt idx="3572">
                  <c:v>42731</c:v>
                </c:pt>
                <c:pt idx="3573">
                  <c:v>42732</c:v>
                </c:pt>
                <c:pt idx="3574">
                  <c:v>42733</c:v>
                </c:pt>
                <c:pt idx="3575">
                  <c:v>42734</c:v>
                </c:pt>
                <c:pt idx="3576">
                  <c:v>42738</c:v>
                </c:pt>
                <c:pt idx="3577">
                  <c:v>42739</c:v>
                </c:pt>
                <c:pt idx="3578">
                  <c:v>42740</c:v>
                </c:pt>
                <c:pt idx="3579">
                  <c:v>42741</c:v>
                </c:pt>
                <c:pt idx="3580">
                  <c:v>42744</c:v>
                </c:pt>
                <c:pt idx="3581">
                  <c:v>42745</c:v>
                </c:pt>
                <c:pt idx="3582">
                  <c:v>42746</c:v>
                </c:pt>
                <c:pt idx="3583">
                  <c:v>42747</c:v>
                </c:pt>
                <c:pt idx="3584">
                  <c:v>42748</c:v>
                </c:pt>
                <c:pt idx="3585">
                  <c:v>42751</c:v>
                </c:pt>
                <c:pt idx="3586">
                  <c:v>42752</c:v>
                </c:pt>
                <c:pt idx="3587">
                  <c:v>42753</c:v>
                </c:pt>
                <c:pt idx="3588">
                  <c:v>42754</c:v>
                </c:pt>
                <c:pt idx="3589">
                  <c:v>42755</c:v>
                </c:pt>
                <c:pt idx="3590">
                  <c:v>42758</c:v>
                </c:pt>
                <c:pt idx="3591">
                  <c:v>42759</c:v>
                </c:pt>
                <c:pt idx="3592">
                  <c:v>42760</c:v>
                </c:pt>
                <c:pt idx="3593">
                  <c:v>42761</c:v>
                </c:pt>
                <c:pt idx="3594">
                  <c:v>42769</c:v>
                </c:pt>
                <c:pt idx="3595">
                  <c:v>42772</c:v>
                </c:pt>
                <c:pt idx="3596">
                  <c:v>42773</c:v>
                </c:pt>
                <c:pt idx="3597">
                  <c:v>42774</c:v>
                </c:pt>
                <c:pt idx="3598">
                  <c:v>42775</c:v>
                </c:pt>
                <c:pt idx="3599">
                  <c:v>42776</c:v>
                </c:pt>
                <c:pt idx="3600">
                  <c:v>42779</c:v>
                </c:pt>
                <c:pt idx="3601">
                  <c:v>42780</c:v>
                </c:pt>
                <c:pt idx="3602">
                  <c:v>42781</c:v>
                </c:pt>
                <c:pt idx="3603">
                  <c:v>42782</c:v>
                </c:pt>
                <c:pt idx="3604">
                  <c:v>42783</c:v>
                </c:pt>
                <c:pt idx="3605">
                  <c:v>42786</c:v>
                </c:pt>
                <c:pt idx="3606">
                  <c:v>42787</c:v>
                </c:pt>
                <c:pt idx="3607">
                  <c:v>42788</c:v>
                </c:pt>
                <c:pt idx="3608">
                  <c:v>42789</c:v>
                </c:pt>
                <c:pt idx="3609">
                  <c:v>42790</c:v>
                </c:pt>
                <c:pt idx="3610">
                  <c:v>42793</c:v>
                </c:pt>
                <c:pt idx="3611">
                  <c:v>42794</c:v>
                </c:pt>
                <c:pt idx="3612">
                  <c:v>42795</c:v>
                </c:pt>
                <c:pt idx="3613">
                  <c:v>42796</c:v>
                </c:pt>
                <c:pt idx="3614">
                  <c:v>42797</c:v>
                </c:pt>
                <c:pt idx="3615">
                  <c:v>42800</c:v>
                </c:pt>
                <c:pt idx="3616">
                  <c:v>42801</c:v>
                </c:pt>
                <c:pt idx="3617">
                  <c:v>42802</c:v>
                </c:pt>
                <c:pt idx="3618">
                  <c:v>42803</c:v>
                </c:pt>
                <c:pt idx="3619">
                  <c:v>42804</c:v>
                </c:pt>
                <c:pt idx="3620">
                  <c:v>42807</c:v>
                </c:pt>
                <c:pt idx="3621">
                  <c:v>42808</c:v>
                </c:pt>
                <c:pt idx="3622">
                  <c:v>42809</c:v>
                </c:pt>
                <c:pt idx="3623">
                  <c:v>42810</c:v>
                </c:pt>
                <c:pt idx="3624">
                  <c:v>42811</c:v>
                </c:pt>
                <c:pt idx="3625">
                  <c:v>42814</c:v>
                </c:pt>
                <c:pt idx="3626">
                  <c:v>42815</c:v>
                </c:pt>
                <c:pt idx="3627">
                  <c:v>42816</c:v>
                </c:pt>
                <c:pt idx="3628">
                  <c:v>42817</c:v>
                </c:pt>
                <c:pt idx="3629">
                  <c:v>42818</c:v>
                </c:pt>
                <c:pt idx="3630">
                  <c:v>42821</c:v>
                </c:pt>
                <c:pt idx="3631">
                  <c:v>42822</c:v>
                </c:pt>
                <c:pt idx="3632">
                  <c:v>42823</c:v>
                </c:pt>
                <c:pt idx="3633">
                  <c:v>42824</c:v>
                </c:pt>
                <c:pt idx="3634">
                  <c:v>42825</c:v>
                </c:pt>
                <c:pt idx="3635">
                  <c:v>42830</c:v>
                </c:pt>
                <c:pt idx="3636">
                  <c:v>42831</c:v>
                </c:pt>
                <c:pt idx="3637">
                  <c:v>42832</c:v>
                </c:pt>
                <c:pt idx="3638">
                  <c:v>42835</c:v>
                </c:pt>
                <c:pt idx="3639">
                  <c:v>42836</c:v>
                </c:pt>
                <c:pt idx="3640">
                  <c:v>42837</c:v>
                </c:pt>
                <c:pt idx="3641">
                  <c:v>42838</c:v>
                </c:pt>
                <c:pt idx="3642">
                  <c:v>42839</c:v>
                </c:pt>
                <c:pt idx="3643">
                  <c:v>42842</c:v>
                </c:pt>
                <c:pt idx="3644">
                  <c:v>42843</c:v>
                </c:pt>
                <c:pt idx="3645">
                  <c:v>42844</c:v>
                </c:pt>
                <c:pt idx="3646">
                  <c:v>42845</c:v>
                </c:pt>
                <c:pt idx="3647">
                  <c:v>42846</c:v>
                </c:pt>
                <c:pt idx="3648">
                  <c:v>42849</c:v>
                </c:pt>
                <c:pt idx="3649">
                  <c:v>42850</c:v>
                </c:pt>
                <c:pt idx="3650">
                  <c:v>42851</c:v>
                </c:pt>
                <c:pt idx="3651">
                  <c:v>42852</c:v>
                </c:pt>
                <c:pt idx="3652">
                  <c:v>42853</c:v>
                </c:pt>
                <c:pt idx="3653">
                  <c:v>42857</c:v>
                </c:pt>
                <c:pt idx="3654">
                  <c:v>42858</c:v>
                </c:pt>
                <c:pt idx="3655">
                  <c:v>42859</c:v>
                </c:pt>
                <c:pt idx="3656">
                  <c:v>42860</c:v>
                </c:pt>
                <c:pt idx="3657">
                  <c:v>42863</c:v>
                </c:pt>
                <c:pt idx="3658">
                  <c:v>42864</c:v>
                </c:pt>
                <c:pt idx="3659">
                  <c:v>42865</c:v>
                </c:pt>
                <c:pt idx="3660">
                  <c:v>42866</c:v>
                </c:pt>
                <c:pt idx="3661">
                  <c:v>42867</c:v>
                </c:pt>
                <c:pt idx="3662">
                  <c:v>42870</c:v>
                </c:pt>
                <c:pt idx="3663">
                  <c:v>42871</c:v>
                </c:pt>
                <c:pt idx="3664">
                  <c:v>42872</c:v>
                </c:pt>
                <c:pt idx="3665">
                  <c:v>42873</c:v>
                </c:pt>
                <c:pt idx="3666">
                  <c:v>42874</c:v>
                </c:pt>
                <c:pt idx="3667">
                  <c:v>42877</c:v>
                </c:pt>
                <c:pt idx="3668">
                  <c:v>42878</c:v>
                </c:pt>
                <c:pt idx="3669">
                  <c:v>42879</c:v>
                </c:pt>
                <c:pt idx="3670">
                  <c:v>42880</c:v>
                </c:pt>
                <c:pt idx="3671">
                  <c:v>42881</c:v>
                </c:pt>
                <c:pt idx="3672">
                  <c:v>42886</c:v>
                </c:pt>
                <c:pt idx="3673">
                  <c:v>42887</c:v>
                </c:pt>
                <c:pt idx="3674">
                  <c:v>42888</c:v>
                </c:pt>
                <c:pt idx="3675">
                  <c:v>42891</c:v>
                </c:pt>
                <c:pt idx="3676">
                  <c:v>42892</c:v>
                </c:pt>
                <c:pt idx="3677">
                  <c:v>42893</c:v>
                </c:pt>
                <c:pt idx="3678">
                  <c:v>42894</c:v>
                </c:pt>
                <c:pt idx="3679">
                  <c:v>42895</c:v>
                </c:pt>
                <c:pt idx="3680">
                  <c:v>42898</c:v>
                </c:pt>
                <c:pt idx="3681">
                  <c:v>42899</c:v>
                </c:pt>
                <c:pt idx="3682">
                  <c:v>42900</c:v>
                </c:pt>
                <c:pt idx="3683">
                  <c:v>42901</c:v>
                </c:pt>
                <c:pt idx="3684">
                  <c:v>42902</c:v>
                </c:pt>
                <c:pt idx="3685">
                  <c:v>42905</c:v>
                </c:pt>
                <c:pt idx="3686">
                  <c:v>42906</c:v>
                </c:pt>
                <c:pt idx="3687">
                  <c:v>42907</c:v>
                </c:pt>
                <c:pt idx="3688">
                  <c:v>42908</c:v>
                </c:pt>
                <c:pt idx="3689">
                  <c:v>42909</c:v>
                </c:pt>
                <c:pt idx="3690">
                  <c:v>42912</c:v>
                </c:pt>
                <c:pt idx="3691">
                  <c:v>42913</c:v>
                </c:pt>
                <c:pt idx="3692">
                  <c:v>42914</c:v>
                </c:pt>
                <c:pt idx="3693">
                  <c:v>42915</c:v>
                </c:pt>
                <c:pt idx="3694">
                  <c:v>42916</c:v>
                </c:pt>
                <c:pt idx="3695">
                  <c:v>42919</c:v>
                </c:pt>
                <c:pt idx="3696">
                  <c:v>42920</c:v>
                </c:pt>
                <c:pt idx="3697">
                  <c:v>42921</c:v>
                </c:pt>
                <c:pt idx="3698">
                  <c:v>42922</c:v>
                </c:pt>
                <c:pt idx="3699">
                  <c:v>42923</c:v>
                </c:pt>
                <c:pt idx="3700">
                  <c:v>42926</c:v>
                </c:pt>
                <c:pt idx="3701">
                  <c:v>42927</c:v>
                </c:pt>
                <c:pt idx="3702">
                  <c:v>42928</c:v>
                </c:pt>
                <c:pt idx="3703">
                  <c:v>42929</c:v>
                </c:pt>
                <c:pt idx="3704">
                  <c:v>42930</c:v>
                </c:pt>
                <c:pt idx="3705">
                  <c:v>42933</c:v>
                </c:pt>
                <c:pt idx="3706">
                  <c:v>42934</c:v>
                </c:pt>
                <c:pt idx="3707">
                  <c:v>42935</c:v>
                </c:pt>
                <c:pt idx="3708">
                  <c:v>42936</c:v>
                </c:pt>
                <c:pt idx="3709">
                  <c:v>42937</c:v>
                </c:pt>
                <c:pt idx="3710">
                  <c:v>42940</c:v>
                </c:pt>
                <c:pt idx="3711">
                  <c:v>42941</c:v>
                </c:pt>
                <c:pt idx="3712">
                  <c:v>42942</c:v>
                </c:pt>
                <c:pt idx="3713">
                  <c:v>42943</c:v>
                </c:pt>
                <c:pt idx="3714">
                  <c:v>42944</c:v>
                </c:pt>
                <c:pt idx="3715">
                  <c:v>42947</c:v>
                </c:pt>
                <c:pt idx="3716">
                  <c:v>42948</c:v>
                </c:pt>
                <c:pt idx="3717">
                  <c:v>42949</c:v>
                </c:pt>
                <c:pt idx="3718">
                  <c:v>42950</c:v>
                </c:pt>
                <c:pt idx="3719">
                  <c:v>42951</c:v>
                </c:pt>
                <c:pt idx="3720">
                  <c:v>42954</c:v>
                </c:pt>
                <c:pt idx="3721">
                  <c:v>42955</c:v>
                </c:pt>
                <c:pt idx="3722">
                  <c:v>42956</c:v>
                </c:pt>
                <c:pt idx="3723">
                  <c:v>42957</c:v>
                </c:pt>
                <c:pt idx="3724">
                  <c:v>42958</c:v>
                </c:pt>
                <c:pt idx="3725">
                  <c:v>42961</c:v>
                </c:pt>
                <c:pt idx="3726">
                  <c:v>42962</c:v>
                </c:pt>
                <c:pt idx="3727">
                  <c:v>42963</c:v>
                </c:pt>
                <c:pt idx="3728">
                  <c:v>42964</c:v>
                </c:pt>
                <c:pt idx="3729">
                  <c:v>42965</c:v>
                </c:pt>
                <c:pt idx="3730">
                  <c:v>42968</c:v>
                </c:pt>
                <c:pt idx="3731">
                  <c:v>42969</c:v>
                </c:pt>
                <c:pt idx="3732">
                  <c:v>42970</c:v>
                </c:pt>
                <c:pt idx="3733">
                  <c:v>42971</c:v>
                </c:pt>
                <c:pt idx="3734">
                  <c:v>42972</c:v>
                </c:pt>
                <c:pt idx="3735">
                  <c:v>42975</c:v>
                </c:pt>
                <c:pt idx="3736">
                  <c:v>42976</c:v>
                </c:pt>
                <c:pt idx="3737">
                  <c:v>42977</c:v>
                </c:pt>
                <c:pt idx="3738">
                  <c:v>42978</c:v>
                </c:pt>
                <c:pt idx="3739">
                  <c:v>42979</c:v>
                </c:pt>
                <c:pt idx="3740">
                  <c:v>42982</c:v>
                </c:pt>
                <c:pt idx="3741">
                  <c:v>42983</c:v>
                </c:pt>
                <c:pt idx="3742">
                  <c:v>42984</c:v>
                </c:pt>
                <c:pt idx="3743">
                  <c:v>42985</c:v>
                </c:pt>
                <c:pt idx="3744">
                  <c:v>42986</c:v>
                </c:pt>
                <c:pt idx="3745">
                  <c:v>42989</c:v>
                </c:pt>
                <c:pt idx="3746">
                  <c:v>42990</c:v>
                </c:pt>
                <c:pt idx="3747">
                  <c:v>42991</c:v>
                </c:pt>
                <c:pt idx="3748">
                  <c:v>42992</c:v>
                </c:pt>
                <c:pt idx="3749">
                  <c:v>42993</c:v>
                </c:pt>
                <c:pt idx="3750">
                  <c:v>42996</c:v>
                </c:pt>
                <c:pt idx="3751">
                  <c:v>42997</c:v>
                </c:pt>
                <c:pt idx="3752">
                  <c:v>42998</c:v>
                </c:pt>
                <c:pt idx="3753">
                  <c:v>42999</c:v>
                </c:pt>
                <c:pt idx="3754">
                  <c:v>43000</c:v>
                </c:pt>
                <c:pt idx="3755">
                  <c:v>43003</c:v>
                </c:pt>
                <c:pt idx="3756">
                  <c:v>43004</c:v>
                </c:pt>
                <c:pt idx="3757">
                  <c:v>43005</c:v>
                </c:pt>
                <c:pt idx="3758">
                  <c:v>43006</c:v>
                </c:pt>
                <c:pt idx="3759">
                  <c:v>43007</c:v>
                </c:pt>
                <c:pt idx="3760">
                  <c:v>43017</c:v>
                </c:pt>
                <c:pt idx="3761">
                  <c:v>43018</c:v>
                </c:pt>
                <c:pt idx="3762">
                  <c:v>43019</c:v>
                </c:pt>
                <c:pt idx="3763">
                  <c:v>43020</c:v>
                </c:pt>
                <c:pt idx="3764">
                  <c:v>43021</c:v>
                </c:pt>
                <c:pt idx="3765">
                  <c:v>43024</c:v>
                </c:pt>
                <c:pt idx="3766">
                  <c:v>43025</c:v>
                </c:pt>
                <c:pt idx="3767">
                  <c:v>43026</c:v>
                </c:pt>
                <c:pt idx="3768">
                  <c:v>43027</c:v>
                </c:pt>
                <c:pt idx="3769">
                  <c:v>43028</c:v>
                </c:pt>
                <c:pt idx="3770">
                  <c:v>43031</c:v>
                </c:pt>
                <c:pt idx="3771">
                  <c:v>43032</c:v>
                </c:pt>
                <c:pt idx="3772">
                  <c:v>43033</c:v>
                </c:pt>
                <c:pt idx="3773">
                  <c:v>43034</c:v>
                </c:pt>
                <c:pt idx="3774">
                  <c:v>43035</c:v>
                </c:pt>
                <c:pt idx="3775">
                  <c:v>43038</c:v>
                </c:pt>
                <c:pt idx="3776">
                  <c:v>43039</c:v>
                </c:pt>
                <c:pt idx="3777">
                  <c:v>43040</c:v>
                </c:pt>
                <c:pt idx="3778">
                  <c:v>43041</c:v>
                </c:pt>
                <c:pt idx="3779">
                  <c:v>43042</c:v>
                </c:pt>
                <c:pt idx="3780">
                  <c:v>43045</c:v>
                </c:pt>
                <c:pt idx="3781">
                  <c:v>43046</c:v>
                </c:pt>
                <c:pt idx="3782">
                  <c:v>43047</c:v>
                </c:pt>
                <c:pt idx="3783">
                  <c:v>43048</c:v>
                </c:pt>
                <c:pt idx="3784">
                  <c:v>43049</c:v>
                </c:pt>
                <c:pt idx="3785">
                  <c:v>43052</c:v>
                </c:pt>
                <c:pt idx="3786">
                  <c:v>43053</c:v>
                </c:pt>
                <c:pt idx="3787">
                  <c:v>43054</c:v>
                </c:pt>
                <c:pt idx="3788">
                  <c:v>43055</c:v>
                </c:pt>
                <c:pt idx="3789">
                  <c:v>43056</c:v>
                </c:pt>
                <c:pt idx="3790">
                  <c:v>43059</c:v>
                </c:pt>
                <c:pt idx="3791">
                  <c:v>43060</c:v>
                </c:pt>
                <c:pt idx="3792">
                  <c:v>43061</c:v>
                </c:pt>
                <c:pt idx="3793">
                  <c:v>43062</c:v>
                </c:pt>
                <c:pt idx="3794">
                  <c:v>43063</c:v>
                </c:pt>
                <c:pt idx="3795">
                  <c:v>43066</c:v>
                </c:pt>
                <c:pt idx="3796">
                  <c:v>43067</c:v>
                </c:pt>
                <c:pt idx="3797">
                  <c:v>43068</c:v>
                </c:pt>
                <c:pt idx="3798">
                  <c:v>43069</c:v>
                </c:pt>
                <c:pt idx="3799">
                  <c:v>43070</c:v>
                </c:pt>
                <c:pt idx="3800">
                  <c:v>43073</c:v>
                </c:pt>
                <c:pt idx="3801">
                  <c:v>43074</c:v>
                </c:pt>
                <c:pt idx="3802">
                  <c:v>43075</c:v>
                </c:pt>
                <c:pt idx="3803">
                  <c:v>43076</c:v>
                </c:pt>
                <c:pt idx="3804">
                  <c:v>43077</c:v>
                </c:pt>
                <c:pt idx="3805">
                  <c:v>43080</c:v>
                </c:pt>
                <c:pt idx="3806">
                  <c:v>43081</c:v>
                </c:pt>
                <c:pt idx="3807">
                  <c:v>43082</c:v>
                </c:pt>
                <c:pt idx="3808">
                  <c:v>43083</c:v>
                </c:pt>
                <c:pt idx="3809">
                  <c:v>43084</c:v>
                </c:pt>
                <c:pt idx="3810">
                  <c:v>43087</c:v>
                </c:pt>
                <c:pt idx="3811">
                  <c:v>43088</c:v>
                </c:pt>
                <c:pt idx="3812">
                  <c:v>43089</c:v>
                </c:pt>
                <c:pt idx="3813">
                  <c:v>43090</c:v>
                </c:pt>
                <c:pt idx="3814">
                  <c:v>43091</c:v>
                </c:pt>
                <c:pt idx="3815">
                  <c:v>43094</c:v>
                </c:pt>
                <c:pt idx="3816">
                  <c:v>43095</c:v>
                </c:pt>
                <c:pt idx="3817">
                  <c:v>43096</c:v>
                </c:pt>
                <c:pt idx="3818">
                  <c:v>43097</c:v>
                </c:pt>
                <c:pt idx="3819">
                  <c:v>43098</c:v>
                </c:pt>
                <c:pt idx="3820">
                  <c:v>43102</c:v>
                </c:pt>
                <c:pt idx="3821">
                  <c:v>43103</c:v>
                </c:pt>
                <c:pt idx="3822">
                  <c:v>43104</c:v>
                </c:pt>
                <c:pt idx="3823">
                  <c:v>43105</c:v>
                </c:pt>
                <c:pt idx="3824">
                  <c:v>43108</c:v>
                </c:pt>
                <c:pt idx="3825">
                  <c:v>43109</c:v>
                </c:pt>
                <c:pt idx="3826">
                  <c:v>43110</c:v>
                </c:pt>
                <c:pt idx="3827">
                  <c:v>43111</c:v>
                </c:pt>
                <c:pt idx="3828">
                  <c:v>43112</c:v>
                </c:pt>
                <c:pt idx="3829">
                  <c:v>43115</c:v>
                </c:pt>
                <c:pt idx="3830">
                  <c:v>43116</c:v>
                </c:pt>
                <c:pt idx="3831">
                  <c:v>43117</c:v>
                </c:pt>
                <c:pt idx="3832">
                  <c:v>43118</c:v>
                </c:pt>
                <c:pt idx="3833">
                  <c:v>43119</c:v>
                </c:pt>
                <c:pt idx="3834">
                  <c:v>43122</c:v>
                </c:pt>
                <c:pt idx="3835">
                  <c:v>43123</c:v>
                </c:pt>
                <c:pt idx="3836">
                  <c:v>43124</c:v>
                </c:pt>
                <c:pt idx="3837">
                  <c:v>43125</c:v>
                </c:pt>
                <c:pt idx="3838">
                  <c:v>43126</c:v>
                </c:pt>
                <c:pt idx="3839">
                  <c:v>43129</c:v>
                </c:pt>
                <c:pt idx="3840">
                  <c:v>43130</c:v>
                </c:pt>
                <c:pt idx="3841">
                  <c:v>43131</c:v>
                </c:pt>
                <c:pt idx="3842">
                  <c:v>43132</c:v>
                </c:pt>
                <c:pt idx="3843">
                  <c:v>43133</c:v>
                </c:pt>
                <c:pt idx="3844">
                  <c:v>43136</c:v>
                </c:pt>
                <c:pt idx="3845">
                  <c:v>43137</c:v>
                </c:pt>
                <c:pt idx="3846">
                  <c:v>43138</c:v>
                </c:pt>
                <c:pt idx="3847">
                  <c:v>43139</c:v>
                </c:pt>
                <c:pt idx="3848">
                  <c:v>43140</c:v>
                </c:pt>
                <c:pt idx="3849">
                  <c:v>43143</c:v>
                </c:pt>
                <c:pt idx="3850">
                  <c:v>43144</c:v>
                </c:pt>
                <c:pt idx="3851">
                  <c:v>43145</c:v>
                </c:pt>
                <c:pt idx="3852">
                  <c:v>43153</c:v>
                </c:pt>
                <c:pt idx="3853">
                  <c:v>43154</c:v>
                </c:pt>
                <c:pt idx="3854">
                  <c:v>43157</c:v>
                </c:pt>
                <c:pt idx="3855">
                  <c:v>43158</c:v>
                </c:pt>
                <c:pt idx="3856">
                  <c:v>43159</c:v>
                </c:pt>
                <c:pt idx="3857">
                  <c:v>43160</c:v>
                </c:pt>
                <c:pt idx="3858">
                  <c:v>43161</c:v>
                </c:pt>
                <c:pt idx="3859">
                  <c:v>43164</c:v>
                </c:pt>
                <c:pt idx="3860">
                  <c:v>43165</c:v>
                </c:pt>
                <c:pt idx="3861">
                  <c:v>43166</c:v>
                </c:pt>
                <c:pt idx="3862">
                  <c:v>43167</c:v>
                </c:pt>
                <c:pt idx="3863">
                  <c:v>43168</c:v>
                </c:pt>
                <c:pt idx="3864">
                  <c:v>43171</c:v>
                </c:pt>
                <c:pt idx="3865">
                  <c:v>43172</c:v>
                </c:pt>
                <c:pt idx="3866">
                  <c:v>43173</c:v>
                </c:pt>
                <c:pt idx="3867">
                  <c:v>43174</c:v>
                </c:pt>
                <c:pt idx="3868">
                  <c:v>43175</c:v>
                </c:pt>
                <c:pt idx="3869">
                  <c:v>43178</c:v>
                </c:pt>
                <c:pt idx="3870">
                  <c:v>43179</c:v>
                </c:pt>
                <c:pt idx="3871">
                  <c:v>43180</c:v>
                </c:pt>
                <c:pt idx="3872">
                  <c:v>43181</c:v>
                </c:pt>
                <c:pt idx="3873">
                  <c:v>43182</c:v>
                </c:pt>
                <c:pt idx="3874">
                  <c:v>43185</c:v>
                </c:pt>
                <c:pt idx="3875">
                  <c:v>43186</c:v>
                </c:pt>
                <c:pt idx="3876">
                  <c:v>43187</c:v>
                </c:pt>
                <c:pt idx="3877">
                  <c:v>43188</c:v>
                </c:pt>
                <c:pt idx="3878">
                  <c:v>43189</c:v>
                </c:pt>
                <c:pt idx="3879">
                  <c:v>43192</c:v>
                </c:pt>
                <c:pt idx="3880">
                  <c:v>43193</c:v>
                </c:pt>
                <c:pt idx="3881">
                  <c:v>43194</c:v>
                </c:pt>
                <c:pt idx="3882">
                  <c:v>43199</c:v>
                </c:pt>
                <c:pt idx="3883">
                  <c:v>43200</c:v>
                </c:pt>
                <c:pt idx="3884">
                  <c:v>43201</c:v>
                </c:pt>
                <c:pt idx="3885">
                  <c:v>43202</c:v>
                </c:pt>
                <c:pt idx="3886">
                  <c:v>43203</c:v>
                </c:pt>
                <c:pt idx="3887">
                  <c:v>43206</c:v>
                </c:pt>
                <c:pt idx="3888">
                  <c:v>43207</c:v>
                </c:pt>
                <c:pt idx="3889">
                  <c:v>43208</c:v>
                </c:pt>
                <c:pt idx="3890">
                  <c:v>43209</c:v>
                </c:pt>
                <c:pt idx="3891">
                  <c:v>43210</c:v>
                </c:pt>
                <c:pt idx="3892">
                  <c:v>43213</c:v>
                </c:pt>
                <c:pt idx="3893">
                  <c:v>43214</c:v>
                </c:pt>
                <c:pt idx="3894">
                  <c:v>43215</c:v>
                </c:pt>
                <c:pt idx="3895">
                  <c:v>43216</c:v>
                </c:pt>
                <c:pt idx="3896">
                  <c:v>43217</c:v>
                </c:pt>
                <c:pt idx="3897">
                  <c:v>43222</c:v>
                </c:pt>
                <c:pt idx="3898">
                  <c:v>43223</c:v>
                </c:pt>
                <c:pt idx="3899">
                  <c:v>43224</c:v>
                </c:pt>
                <c:pt idx="3900">
                  <c:v>43227</c:v>
                </c:pt>
                <c:pt idx="3901">
                  <c:v>43228</c:v>
                </c:pt>
                <c:pt idx="3902">
                  <c:v>43229</c:v>
                </c:pt>
                <c:pt idx="3903">
                  <c:v>43230</c:v>
                </c:pt>
                <c:pt idx="3904">
                  <c:v>43231</c:v>
                </c:pt>
                <c:pt idx="3905">
                  <c:v>43234</c:v>
                </c:pt>
                <c:pt idx="3906">
                  <c:v>43235</c:v>
                </c:pt>
                <c:pt idx="3907">
                  <c:v>43236</c:v>
                </c:pt>
                <c:pt idx="3908">
                  <c:v>43237</c:v>
                </c:pt>
                <c:pt idx="3909">
                  <c:v>43238</c:v>
                </c:pt>
                <c:pt idx="3910">
                  <c:v>43241</c:v>
                </c:pt>
                <c:pt idx="3911">
                  <c:v>43242</c:v>
                </c:pt>
                <c:pt idx="3912">
                  <c:v>43243</c:v>
                </c:pt>
                <c:pt idx="3913">
                  <c:v>43244</c:v>
                </c:pt>
                <c:pt idx="3914">
                  <c:v>43245</c:v>
                </c:pt>
                <c:pt idx="3915">
                  <c:v>43248</c:v>
                </c:pt>
                <c:pt idx="3916">
                  <c:v>43249</c:v>
                </c:pt>
                <c:pt idx="3917">
                  <c:v>43250</c:v>
                </c:pt>
                <c:pt idx="3918">
                  <c:v>43251</c:v>
                </c:pt>
                <c:pt idx="3919">
                  <c:v>43252</c:v>
                </c:pt>
                <c:pt idx="3920">
                  <c:v>43255</c:v>
                </c:pt>
                <c:pt idx="3921">
                  <c:v>43256</c:v>
                </c:pt>
                <c:pt idx="3922">
                  <c:v>43257</c:v>
                </c:pt>
                <c:pt idx="3923">
                  <c:v>43258</c:v>
                </c:pt>
                <c:pt idx="3924">
                  <c:v>43259</c:v>
                </c:pt>
                <c:pt idx="3925">
                  <c:v>43262</c:v>
                </c:pt>
                <c:pt idx="3926">
                  <c:v>43263</c:v>
                </c:pt>
                <c:pt idx="3927">
                  <c:v>43264</c:v>
                </c:pt>
                <c:pt idx="3928">
                  <c:v>43265</c:v>
                </c:pt>
                <c:pt idx="3929">
                  <c:v>43266</c:v>
                </c:pt>
                <c:pt idx="3930">
                  <c:v>43270</c:v>
                </c:pt>
                <c:pt idx="3931">
                  <c:v>43271</c:v>
                </c:pt>
                <c:pt idx="3932">
                  <c:v>43272</c:v>
                </c:pt>
                <c:pt idx="3933">
                  <c:v>43273</c:v>
                </c:pt>
                <c:pt idx="3934">
                  <c:v>43276</c:v>
                </c:pt>
                <c:pt idx="3935">
                  <c:v>43277</c:v>
                </c:pt>
                <c:pt idx="3936">
                  <c:v>43278</c:v>
                </c:pt>
                <c:pt idx="3937">
                  <c:v>43279</c:v>
                </c:pt>
                <c:pt idx="3938">
                  <c:v>43280</c:v>
                </c:pt>
                <c:pt idx="3939">
                  <c:v>43283</c:v>
                </c:pt>
                <c:pt idx="3940">
                  <c:v>43284</c:v>
                </c:pt>
                <c:pt idx="3941">
                  <c:v>43285</c:v>
                </c:pt>
                <c:pt idx="3942">
                  <c:v>43286</c:v>
                </c:pt>
                <c:pt idx="3943">
                  <c:v>43287</c:v>
                </c:pt>
                <c:pt idx="3944">
                  <c:v>43290</c:v>
                </c:pt>
                <c:pt idx="3945">
                  <c:v>43291</c:v>
                </c:pt>
                <c:pt idx="3946">
                  <c:v>43292</c:v>
                </c:pt>
                <c:pt idx="3947">
                  <c:v>43293</c:v>
                </c:pt>
                <c:pt idx="3948">
                  <c:v>43294</c:v>
                </c:pt>
                <c:pt idx="3949">
                  <c:v>43297</c:v>
                </c:pt>
                <c:pt idx="3950">
                  <c:v>43298</c:v>
                </c:pt>
                <c:pt idx="3951">
                  <c:v>43299</c:v>
                </c:pt>
                <c:pt idx="3952">
                  <c:v>43300</c:v>
                </c:pt>
                <c:pt idx="3953">
                  <c:v>43301</c:v>
                </c:pt>
                <c:pt idx="3954">
                  <c:v>43304</c:v>
                </c:pt>
                <c:pt idx="3955">
                  <c:v>43305</c:v>
                </c:pt>
                <c:pt idx="3956">
                  <c:v>43306</c:v>
                </c:pt>
                <c:pt idx="3957">
                  <c:v>43307</c:v>
                </c:pt>
                <c:pt idx="3958">
                  <c:v>43308</c:v>
                </c:pt>
                <c:pt idx="3959">
                  <c:v>43311</c:v>
                </c:pt>
                <c:pt idx="3960">
                  <c:v>43312</c:v>
                </c:pt>
                <c:pt idx="3961">
                  <c:v>43313</c:v>
                </c:pt>
                <c:pt idx="3962">
                  <c:v>43314</c:v>
                </c:pt>
                <c:pt idx="3963">
                  <c:v>43315</c:v>
                </c:pt>
                <c:pt idx="3964">
                  <c:v>43318</c:v>
                </c:pt>
                <c:pt idx="3965">
                  <c:v>43319</c:v>
                </c:pt>
                <c:pt idx="3966">
                  <c:v>43320</c:v>
                </c:pt>
                <c:pt idx="3967">
                  <c:v>43321</c:v>
                </c:pt>
                <c:pt idx="3968">
                  <c:v>43322</c:v>
                </c:pt>
                <c:pt idx="3969">
                  <c:v>43325</c:v>
                </c:pt>
                <c:pt idx="3970">
                  <c:v>43326</c:v>
                </c:pt>
                <c:pt idx="3971">
                  <c:v>43327</c:v>
                </c:pt>
                <c:pt idx="3972">
                  <c:v>43328</c:v>
                </c:pt>
                <c:pt idx="3973">
                  <c:v>43329</c:v>
                </c:pt>
                <c:pt idx="3974">
                  <c:v>43332</c:v>
                </c:pt>
                <c:pt idx="3975">
                  <c:v>43333</c:v>
                </c:pt>
                <c:pt idx="3976">
                  <c:v>43334</c:v>
                </c:pt>
                <c:pt idx="3977">
                  <c:v>43335</c:v>
                </c:pt>
                <c:pt idx="3978">
                  <c:v>43336</c:v>
                </c:pt>
                <c:pt idx="3979">
                  <c:v>43339</c:v>
                </c:pt>
                <c:pt idx="3980">
                  <c:v>43340</c:v>
                </c:pt>
                <c:pt idx="3981">
                  <c:v>43341</c:v>
                </c:pt>
                <c:pt idx="3982">
                  <c:v>43342</c:v>
                </c:pt>
                <c:pt idx="3983">
                  <c:v>43343</c:v>
                </c:pt>
                <c:pt idx="3984">
                  <c:v>43346</c:v>
                </c:pt>
                <c:pt idx="3985">
                  <c:v>43347</c:v>
                </c:pt>
                <c:pt idx="3986">
                  <c:v>43348</c:v>
                </c:pt>
                <c:pt idx="3987">
                  <c:v>43349</c:v>
                </c:pt>
                <c:pt idx="3988">
                  <c:v>43350</c:v>
                </c:pt>
                <c:pt idx="3989">
                  <c:v>43353</c:v>
                </c:pt>
                <c:pt idx="3990">
                  <c:v>43354</c:v>
                </c:pt>
                <c:pt idx="3991">
                  <c:v>43355</c:v>
                </c:pt>
                <c:pt idx="3992">
                  <c:v>43356</c:v>
                </c:pt>
                <c:pt idx="3993">
                  <c:v>43357</c:v>
                </c:pt>
                <c:pt idx="3994">
                  <c:v>43360</c:v>
                </c:pt>
                <c:pt idx="3995">
                  <c:v>43361</c:v>
                </c:pt>
                <c:pt idx="3996">
                  <c:v>43362</c:v>
                </c:pt>
                <c:pt idx="3997">
                  <c:v>43363</c:v>
                </c:pt>
                <c:pt idx="3998">
                  <c:v>43364</c:v>
                </c:pt>
                <c:pt idx="3999">
                  <c:v>43368</c:v>
                </c:pt>
                <c:pt idx="4000">
                  <c:v>43369</c:v>
                </c:pt>
                <c:pt idx="4001">
                  <c:v>43370</c:v>
                </c:pt>
                <c:pt idx="4002">
                  <c:v>43371</c:v>
                </c:pt>
                <c:pt idx="4003">
                  <c:v>43381</c:v>
                </c:pt>
                <c:pt idx="4004">
                  <c:v>43382</c:v>
                </c:pt>
                <c:pt idx="4005">
                  <c:v>43383</c:v>
                </c:pt>
                <c:pt idx="4006">
                  <c:v>43384</c:v>
                </c:pt>
                <c:pt idx="4007">
                  <c:v>43385</c:v>
                </c:pt>
                <c:pt idx="4008">
                  <c:v>43388</c:v>
                </c:pt>
                <c:pt idx="4009">
                  <c:v>43389</c:v>
                </c:pt>
                <c:pt idx="4010">
                  <c:v>43390</c:v>
                </c:pt>
                <c:pt idx="4011">
                  <c:v>43391</c:v>
                </c:pt>
                <c:pt idx="4012">
                  <c:v>43392</c:v>
                </c:pt>
                <c:pt idx="4013">
                  <c:v>43395</c:v>
                </c:pt>
                <c:pt idx="4014">
                  <c:v>43396</c:v>
                </c:pt>
                <c:pt idx="4015">
                  <c:v>43397</c:v>
                </c:pt>
                <c:pt idx="4016">
                  <c:v>43398</c:v>
                </c:pt>
                <c:pt idx="4017">
                  <c:v>43399</c:v>
                </c:pt>
                <c:pt idx="4018">
                  <c:v>43402</c:v>
                </c:pt>
                <c:pt idx="4019">
                  <c:v>43403</c:v>
                </c:pt>
                <c:pt idx="4020">
                  <c:v>43404</c:v>
                </c:pt>
                <c:pt idx="4021">
                  <c:v>43405</c:v>
                </c:pt>
                <c:pt idx="4022">
                  <c:v>43406</c:v>
                </c:pt>
                <c:pt idx="4023">
                  <c:v>43409</c:v>
                </c:pt>
                <c:pt idx="4024">
                  <c:v>43410</c:v>
                </c:pt>
                <c:pt idx="4025">
                  <c:v>43411</c:v>
                </c:pt>
                <c:pt idx="4026">
                  <c:v>43412</c:v>
                </c:pt>
                <c:pt idx="4027">
                  <c:v>43413</c:v>
                </c:pt>
                <c:pt idx="4028">
                  <c:v>43416</c:v>
                </c:pt>
                <c:pt idx="4029">
                  <c:v>43417</c:v>
                </c:pt>
                <c:pt idx="4030">
                  <c:v>43418</c:v>
                </c:pt>
                <c:pt idx="4031">
                  <c:v>43419</c:v>
                </c:pt>
                <c:pt idx="4032">
                  <c:v>43420</c:v>
                </c:pt>
                <c:pt idx="4033">
                  <c:v>43423</c:v>
                </c:pt>
                <c:pt idx="4034">
                  <c:v>43424</c:v>
                </c:pt>
                <c:pt idx="4035">
                  <c:v>43425</c:v>
                </c:pt>
                <c:pt idx="4036">
                  <c:v>43426</c:v>
                </c:pt>
                <c:pt idx="4037">
                  <c:v>43427</c:v>
                </c:pt>
                <c:pt idx="4038">
                  <c:v>43430</c:v>
                </c:pt>
                <c:pt idx="4039">
                  <c:v>43431</c:v>
                </c:pt>
                <c:pt idx="4040">
                  <c:v>43432</c:v>
                </c:pt>
                <c:pt idx="4041">
                  <c:v>43433</c:v>
                </c:pt>
                <c:pt idx="4042">
                  <c:v>43434</c:v>
                </c:pt>
                <c:pt idx="4043">
                  <c:v>43437</c:v>
                </c:pt>
                <c:pt idx="4044">
                  <c:v>43438</c:v>
                </c:pt>
                <c:pt idx="4045">
                  <c:v>43439</c:v>
                </c:pt>
                <c:pt idx="4046">
                  <c:v>43440</c:v>
                </c:pt>
                <c:pt idx="4047">
                  <c:v>43441</c:v>
                </c:pt>
                <c:pt idx="4048">
                  <c:v>43444</c:v>
                </c:pt>
                <c:pt idx="4049">
                  <c:v>43445</c:v>
                </c:pt>
                <c:pt idx="4050">
                  <c:v>43446</c:v>
                </c:pt>
                <c:pt idx="4051">
                  <c:v>43447</c:v>
                </c:pt>
                <c:pt idx="4052">
                  <c:v>43448</c:v>
                </c:pt>
                <c:pt idx="4053">
                  <c:v>43451</c:v>
                </c:pt>
                <c:pt idx="4054">
                  <c:v>43452</c:v>
                </c:pt>
                <c:pt idx="4055">
                  <c:v>43453</c:v>
                </c:pt>
                <c:pt idx="4056">
                  <c:v>43454</c:v>
                </c:pt>
                <c:pt idx="4057">
                  <c:v>43455</c:v>
                </c:pt>
                <c:pt idx="4058">
                  <c:v>43458</c:v>
                </c:pt>
                <c:pt idx="4059">
                  <c:v>43459</c:v>
                </c:pt>
                <c:pt idx="4060">
                  <c:v>43460</c:v>
                </c:pt>
                <c:pt idx="4061">
                  <c:v>43461</c:v>
                </c:pt>
                <c:pt idx="4062">
                  <c:v>43462</c:v>
                </c:pt>
                <c:pt idx="4063">
                  <c:v>43467</c:v>
                </c:pt>
                <c:pt idx="4064">
                  <c:v>43468</c:v>
                </c:pt>
                <c:pt idx="4065">
                  <c:v>43469</c:v>
                </c:pt>
                <c:pt idx="4066">
                  <c:v>43472</c:v>
                </c:pt>
                <c:pt idx="4067">
                  <c:v>43473</c:v>
                </c:pt>
                <c:pt idx="4068">
                  <c:v>43474</c:v>
                </c:pt>
                <c:pt idx="4069">
                  <c:v>43475</c:v>
                </c:pt>
                <c:pt idx="4070">
                  <c:v>43476</c:v>
                </c:pt>
                <c:pt idx="4071">
                  <c:v>43479</c:v>
                </c:pt>
                <c:pt idx="4072">
                  <c:v>43480</c:v>
                </c:pt>
                <c:pt idx="4073">
                  <c:v>43481</c:v>
                </c:pt>
                <c:pt idx="4074">
                  <c:v>43482</c:v>
                </c:pt>
                <c:pt idx="4075">
                  <c:v>43483</c:v>
                </c:pt>
                <c:pt idx="4076">
                  <c:v>43486</c:v>
                </c:pt>
                <c:pt idx="4077">
                  <c:v>43487</c:v>
                </c:pt>
                <c:pt idx="4078">
                  <c:v>43488</c:v>
                </c:pt>
                <c:pt idx="4079">
                  <c:v>43489</c:v>
                </c:pt>
                <c:pt idx="4080">
                  <c:v>43490</c:v>
                </c:pt>
                <c:pt idx="4081">
                  <c:v>43493</c:v>
                </c:pt>
                <c:pt idx="4082">
                  <c:v>43494</c:v>
                </c:pt>
                <c:pt idx="4083">
                  <c:v>43495</c:v>
                </c:pt>
                <c:pt idx="4084">
                  <c:v>43496</c:v>
                </c:pt>
                <c:pt idx="4085">
                  <c:v>43497</c:v>
                </c:pt>
                <c:pt idx="4086">
                  <c:v>43507</c:v>
                </c:pt>
                <c:pt idx="4087">
                  <c:v>43508</c:v>
                </c:pt>
                <c:pt idx="4088">
                  <c:v>43509</c:v>
                </c:pt>
                <c:pt idx="4089">
                  <c:v>43510</c:v>
                </c:pt>
                <c:pt idx="4090">
                  <c:v>43511</c:v>
                </c:pt>
                <c:pt idx="4091">
                  <c:v>43514</c:v>
                </c:pt>
                <c:pt idx="4092">
                  <c:v>43515</c:v>
                </c:pt>
                <c:pt idx="4093">
                  <c:v>43516</c:v>
                </c:pt>
                <c:pt idx="4094">
                  <c:v>43517</c:v>
                </c:pt>
                <c:pt idx="4095">
                  <c:v>43518</c:v>
                </c:pt>
                <c:pt idx="4096">
                  <c:v>43521</c:v>
                </c:pt>
                <c:pt idx="4097">
                  <c:v>43522</c:v>
                </c:pt>
                <c:pt idx="4098">
                  <c:v>43523</c:v>
                </c:pt>
                <c:pt idx="4099">
                  <c:v>43524</c:v>
                </c:pt>
                <c:pt idx="4100">
                  <c:v>43525</c:v>
                </c:pt>
                <c:pt idx="4101">
                  <c:v>43528</c:v>
                </c:pt>
                <c:pt idx="4102">
                  <c:v>43529</c:v>
                </c:pt>
                <c:pt idx="4103">
                  <c:v>43530</c:v>
                </c:pt>
                <c:pt idx="4104">
                  <c:v>43531</c:v>
                </c:pt>
                <c:pt idx="4105">
                  <c:v>43532</c:v>
                </c:pt>
                <c:pt idx="4106">
                  <c:v>43535</c:v>
                </c:pt>
                <c:pt idx="4107">
                  <c:v>43536</c:v>
                </c:pt>
                <c:pt idx="4108">
                  <c:v>43537</c:v>
                </c:pt>
                <c:pt idx="4109">
                  <c:v>43538</c:v>
                </c:pt>
                <c:pt idx="4110">
                  <c:v>43539</c:v>
                </c:pt>
                <c:pt idx="4111">
                  <c:v>43542</c:v>
                </c:pt>
                <c:pt idx="4112">
                  <c:v>43543</c:v>
                </c:pt>
                <c:pt idx="4113">
                  <c:v>43544</c:v>
                </c:pt>
                <c:pt idx="4114">
                  <c:v>43545</c:v>
                </c:pt>
                <c:pt idx="4115">
                  <c:v>43546</c:v>
                </c:pt>
                <c:pt idx="4116">
                  <c:v>43549</c:v>
                </c:pt>
                <c:pt idx="4117">
                  <c:v>43550</c:v>
                </c:pt>
                <c:pt idx="4118">
                  <c:v>43551</c:v>
                </c:pt>
                <c:pt idx="4119">
                  <c:v>43552</c:v>
                </c:pt>
                <c:pt idx="4120">
                  <c:v>43553</c:v>
                </c:pt>
                <c:pt idx="4121">
                  <c:v>43556</c:v>
                </c:pt>
                <c:pt idx="4122">
                  <c:v>43557</c:v>
                </c:pt>
                <c:pt idx="4123">
                  <c:v>43558</c:v>
                </c:pt>
                <c:pt idx="4124">
                  <c:v>43559</c:v>
                </c:pt>
                <c:pt idx="4125">
                  <c:v>43563</c:v>
                </c:pt>
                <c:pt idx="4126">
                  <c:v>43564</c:v>
                </c:pt>
                <c:pt idx="4127">
                  <c:v>43565</c:v>
                </c:pt>
                <c:pt idx="4128">
                  <c:v>43566</c:v>
                </c:pt>
                <c:pt idx="4129">
                  <c:v>43567</c:v>
                </c:pt>
                <c:pt idx="4130">
                  <c:v>43570</c:v>
                </c:pt>
                <c:pt idx="4131">
                  <c:v>43571</c:v>
                </c:pt>
                <c:pt idx="4132">
                  <c:v>43572</c:v>
                </c:pt>
                <c:pt idx="4133">
                  <c:v>43573</c:v>
                </c:pt>
                <c:pt idx="4134">
                  <c:v>43574</c:v>
                </c:pt>
                <c:pt idx="4135">
                  <c:v>43577</c:v>
                </c:pt>
                <c:pt idx="4136">
                  <c:v>43578</c:v>
                </c:pt>
                <c:pt idx="4137">
                  <c:v>43579</c:v>
                </c:pt>
                <c:pt idx="4138">
                  <c:v>43580</c:v>
                </c:pt>
                <c:pt idx="4139">
                  <c:v>43581</c:v>
                </c:pt>
                <c:pt idx="4140">
                  <c:v>43584</c:v>
                </c:pt>
                <c:pt idx="4141">
                  <c:v>43585</c:v>
                </c:pt>
                <c:pt idx="4142">
                  <c:v>43591</c:v>
                </c:pt>
                <c:pt idx="4143">
                  <c:v>43592</c:v>
                </c:pt>
                <c:pt idx="4144">
                  <c:v>43593</c:v>
                </c:pt>
                <c:pt idx="4145">
                  <c:v>43594</c:v>
                </c:pt>
                <c:pt idx="4146">
                  <c:v>43595</c:v>
                </c:pt>
                <c:pt idx="4147">
                  <c:v>43598</c:v>
                </c:pt>
                <c:pt idx="4148">
                  <c:v>43599</c:v>
                </c:pt>
                <c:pt idx="4149">
                  <c:v>43600</c:v>
                </c:pt>
                <c:pt idx="4150">
                  <c:v>43601</c:v>
                </c:pt>
                <c:pt idx="4151">
                  <c:v>43602</c:v>
                </c:pt>
                <c:pt idx="4152">
                  <c:v>43605</c:v>
                </c:pt>
                <c:pt idx="4153">
                  <c:v>43606</c:v>
                </c:pt>
                <c:pt idx="4154">
                  <c:v>43607</c:v>
                </c:pt>
                <c:pt idx="4155">
                  <c:v>43608</c:v>
                </c:pt>
                <c:pt idx="4156">
                  <c:v>43609</c:v>
                </c:pt>
                <c:pt idx="4157">
                  <c:v>43612</c:v>
                </c:pt>
                <c:pt idx="4158">
                  <c:v>43613</c:v>
                </c:pt>
                <c:pt idx="4159">
                  <c:v>43614</c:v>
                </c:pt>
                <c:pt idx="4160">
                  <c:v>43615</c:v>
                </c:pt>
                <c:pt idx="4161">
                  <c:v>43616</c:v>
                </c:pt>
                <c:pt idx="4162">
                  <c:v>43619</c:v>
                </c:pt>
                <c:pt idx="4163">
                  <c:v>43620</c:v>
                </c:pt>
                <c:pt idx="4164">
                  <c:v>43621</c:v>
                </c:pt>
                <c:pt idx="4165">
                  <c:v>43622</c:v>
                </c:pt>
                <c:pt idx="4166">
                  <c:v>43626</c:v>
                </c:pt>
                <c:pt idx="4167">
                  <c:v>43627</c:v>
                </c:pt>
                <c:pt idx="4168">
                  <c:v>43628</c:v>
                </c:pt>
                <c:pt idx="4169">
                  <c:v>43629</c:v>
                </c:pt>
                <c:pt idx="4170">
                  <c:v>43630</c:v>
                </c:pt>
                <c:pt idx="4171">
                  <c:v>43633</c:v>
                </c:pt>
                <c:pt idx="4172">
                  <c:v>43634</c:v>
                </c:pt>
                <c:pt idx="4173">
                  <c:v>43635</c:v>
                </c:pt>
                <c:pt idx="4174">
                  <c:v>43636</c:v>
                </c:pt>
                <c:pt idx="4175">
                  <c:v>43637</c:v>
                </c:pt>
                <c:pt idx="4176">
                  <c:v>43640</c:v>
                </c:pt>
                <c:pt idx="4177">
                  <c:v>43641</c:v>
                </c:pt>
                <c:pt idx="4178">
                  <c:v>43642</c:v>
                </c:pt>
                <c:pt idx="4179">
                  <c:v>43643</c:v>
                </c:pt>
                <c:pt idx="4180">
                  <c:v>43644</c:v>
                </c:pt>
                <c:pt idx="4181">
                  <c:v>43647</c:v>
                </c:pt>
                <c:pt idx="4182">
                  <c:v>43648</c:v>
                </c:pt>
                <c:pt idx="4183">
                  <c:v>43649</c:v>
                </c:pt>
                <c:pt idx="4184">
                  <c:v>43650</c:v>
                </c:pt>
                <c:pt idx="4185">
                  <c:v>43651</c:v>
                </c:pt>
                <c:pt idx="4186">
                  <c:v>43654</c:v>
                </c:pt>
                <c:pt idx="4187">
                  <c:v>43655</c:v>
                </c:pt>
                <c:pt idx="4188">
                  <c:v>43656</c:v>
                </c:pt>
                <c:pt idx="4189">
                  <c:v>43657</c:v>
                </c:pt>
                <c:pt idx="4190">
                  <c:v>43658</c:v>
                </c:pt>
                <c:pt idx="4191">
                  <c:v>43661</c:v>
                </c:pt>
                <c:pt idx="4192">
                  <c:v>43662</c:v>
                </c:pt>
                <c:pt idx="4193">
                  <c:v>43663</c:v>
                </c:pt>
                <c:pt idx="4194">
                  <c:v>43664</c:v>
                </c:pt>
                <c:pt idx="4195">
                  <c:v>43665</c:v>
                </c:pt>
                <c:pt idx="4196">
                  <c:v>43668</c:v>
                </c:pt>
                <c:pt idx="4197">
                  <c:v>43669</c:v>
                </c:pt>
                <c:pt idx="4198">
                  <c:v>43670</c:v>
                </c:pt>
                <c:pt idx="4199">
                  <c:v>43671</c:v>
                </c:pt>
                <c:pt idx="4200">
                  <c:v>43672</c:v>
                </c:pt>
                <c:pt idx="4201">
                  <c:v>43675</c:v>
                </c:pt>
                <c:pt idx="4202">
                  <c:v>43676</c:v>
                </c:pt>
                <c:pt idx="4203">
                  <c:v>43677</c:v>
                </c:pt>
                <c:pt idx="4204">
                  <c:v>43678</c:v>
                </c:pt>
                <c:pt idx="4205">
                  <c:v>43679</c:v>
                </c:pt>
                <c:pt idx="4206">
                  <c:v>43682</c:v>
                </c:pt>
                <c:pt idx="4207">
                  <c:v>43683</c:v>
                </c:pt>
                <c:pt idx="4208">
                  <c:v>43684</c:v>
                </c:pt>
                <c:pt idx="4209">
                  <c:v>43685</c:v>
                </c:pt>
                <c:pt idx="4210">
                  <c:v>43686</c:v>
                </c:pt>
                <c:pt idx="4211">
                  <c:v>43689</c:v>
                </c:pt>
                <c:pt idx="4212">
                  <c:v>43690</c:v>
                </c:pt>
                <c:pt idx="4213">
                  <c:v>43691</c:v>
                </c:pt>
                <c:pt idx="4214">
                  <c:v>43692</c:v>
                </c:pt>
                <c:pt idx="4215">
                  <c:v>43693</c:v>
                </c:pt>
                <c:pt idx="4216">
                  <c:v>43696</c:v>
                </c:pt>
                <c:pt idx="4217">
                  <c:v>43697</c:v>
                </c:pt>
                <c:pt idx="4218">
                  <c:v>43698</c:v>
                </c:pt>
                <c:pt idx="4219">
                  <c:v>43699</c:v>
                </c:pt>
                <c:pt idx="4220">
                  <c:v>43700</c:v>
                </c:pt>
                <c:pt idx="4221">
                  <c:v>43703</c:v>
                </c:pt>
                <c:pt idx="4222">
                  <c:v>43704</c:v>
                </c:pt>
                <c:pt idx="4223">
                  <c:v>43705</c:v>
                </c:pt>
                <c:pt idx="4224">
                  <c:v>43706</c:v>
                </c:pt>
                <c:pt idx="4225">
                  <c:v>43707</c:v>
                </c:pt>
                <c:pt idx="4226">
                  <c:v>43710</c:v>
                </c:pt>
                <c:pt idx="4227">
                  <c:v>43711</c:v>
                </c:pt>
                <c:pt idx="4228">
                  <c:v>43712</c:v>
                </c:pt>
                <c:pt idx="4229">
                  <c:v>43713</c:v>
                </c:pt>
                <c:pt idx="4230">
                  <c:v>43714</c:v>
                </c:pt>
                <c:pt idx="4231">
                  <c:v>43717</c:v>
                </c:pt>
                <c:pt idx="4232">
                  <c:v>43718</c:v>
                </c:pt>
                <c:pt idx="4233">
                  <c:v>43719</c:v>
                </c:pt>
                <c:pt idx="4234">
                  <c:v>43720</c:v>
                </c:pt>
                <c:pt idx="4235">
                  <c:v>43724</c:v>
                </c:pt>
                <c:pt idx="4236">
                  <c:v>43725</c:v>
                </c:pt>
                <c:pt idx="4237">
                  <c:v>43726</c:v>
                </c:pt>
                <c:pt idx="4238">
                  <c:v>43727</c:v>
                </c:pt>
                <c:pt idx="4239">
                  <c:v>43728</c:v>
                </c:pt>
                <c:pt idx="4240">
                  <c:v>43731</c:v>
                </c:pt>
                <c:pt idx="4241">
                  <c:v>43732</c:v>
                </c:pt>
                <c:pt idx="4242">
                  <c:v>43733</c:v>
                </c:pt>
                <c:pt idx="4243">
                  <c:v>43734</c:v>
                </c:pt>
                <c:pt idx="4244">
                  <c:v>43735</c:v>
                </c:pt>
                <c:pt idx="4245">
                  <c:v>43738</c:v>
                </c:pt>
                <c:pt idx="4246">
                  <c:v>43746</c:v>
                </c:pt>
                <c:pt idx="4247">
                  <c:v>43747</c:v>
                </c:pt>
                <c:pt idx="4248">
                  <c:v>43748</c:v>
                </c:pt>
                <c:pt idx="4249">
                  <c:v>43749</c:v>
                </c:pt>
                <c:pt idx="4250">
                  <c:v>43752</c:v>
                </c:pt>
                <c:pt idx="4251">
                  <c:v>43753</c:v>
                </c:pt>
                <c:pt idx="4252">
                  <c:v>43754</c:v>
                </c:pt>
                <c:pt idx="4253">
                  <c:v>43755</c:v>
                </c:pt>
                <c:pt idx="4254">
                  <c:v>43756</c:v>
                </c:pt>
                <c:pt idx="4255">
                  <c:v>43759</c:v>
                </c:pt>
                <c:pt idx="4256">
                  <c:v>43760</c:v>
                </c:pt>
                <c:pt idx="4257">
                  <c:v>43761</c:v>
                </c:pt>
                <c:pt idx="4258">
                  <c:v>43762</c:v>
                </c:pt>
                <c:pt idx="4259">
                  <c:v>43763</c:v>
                </c:pt>
                <c:pt idx="4260">
                  <c:v>43766</c:v>
                </c:pt>
                <c:pt idx="4261">
                  <c:v>43767</c:v>
                </c:pt>
                <c:pt idx="4262">
                  <c:v>43768</c:v>
                </c:pt>
                <c:pt idx="4263">
                  <c:v>43769</c:v>
                </c:pt>
                <c:pt idx="4264">
                  <c:v>43770</c:v>
                </c:pt>
                <c:pt idx="4265">
                  <c:v>43773</c:v>
                </c:pt>
                <c:pt idx="4266">
                  <c:v>43774</c:v>
                </c:pt>
                <c:pt idx="4267">
                  <c:v>43775</c:v>
                </c:pt>
                <c:pt idx="4268">
                  <c:v>43776</c:v>
                </c:pt>
                <c:pt idx="4269">
                  <c:v>43777</c:v>
                </c:pt>
                <c:pt idx="4270">
                  <c:v>43780</c:v>
                </c:pt>
                <c:pt idx="4271">
                  <c:v>43781</c:v>
                </c:pt>
                <c:pt idx="4272">
                  <c:v>43782</c:v>
                </c:pt>
                <c:pt idx="4273">
                  <c:v>43783</c:v>
                </c:pt>
                <c:pt idx="4274">
                  <c:v>43784</c:v>
                </c:pt>
                <c:pt idx="4275">
                  <c:v>43787</c:v>
                </c:pt>
                <c:pt idx="4276">
                  <c:v>43788</c:v>
                </c:pt>
                <c:pt idx="4277">
                  <c:v>43789</c:v>
                </c:pt>
                <c:pt idx="4278">
                  <c:v>43790</c:v>
                </c:pt>
                <c:pt idx="4279">
                  <c:v>43791</c:v>
                </c:pt>
                <c:pt idx="4280">
                  <c:v>43794</c:v>
                </c:pt>
                <c:pt idx="4281">
                  <c:v>43795</c:v>
                </c:pt>
                <c:pt idx="4282">
                  <c:v>43796</c:v>
                </c:pt>
                <c:pt idx="4283">
                  <c:v>43797</c:v>
                </c:pt>
                <c:pt idx="4284">
                  <c:v>43798</c:v>
                </c:pt>
                <c:pt idx="4285">
                  <c:v>43801</c:v>
                </c:pt>
                <c:pt idx="4286">
                  <c:v>43802</c:v>
                </c:pt>
                <c:pt idx="4287">
                  <c:v>43803</c:v>
                </c:pt>
                <c:pt idx="4288">
                  <c:v>43804</c:v>
                </c:pt>
                <c:pt idx="4289">
                  <c:v>43805</c:v>
                </c:pt>
                <c:pt idx="4290">
                  <c:v>43808</c:v>
                </c:pt>
                <c:pt idx="4291">
                  <c:v>43809</c:v>
                </c:pt>
                <c:pt idx="4292">
                  <c:v>43810</c:v>
                </c:pt>
                <c:pt idx="4293">
                  <c:v>43811</c:v>
                </c:pt>
                <c:pt idx="4294">
                  <c:v>43812</c:v>
                </c:pt>
                <c:pt idx="4295">
                  <c:v>43815</c:v>
                </c:pt>
                <c:pt idx="4296">
                  <c:v>43816</c:v>
                </c:pt>
                <c:pt idx="4297">
                  <c:v>43817</c:v>
                </c:pt>
                <c:pt idx="4298">
                  <c:v>43818</c:v>
                </c:pt>
                <c:pt idx="4299">
                  <c:v>43819</c:v>
                </c:pt>
                <c:pt idx="4300">
                  <c:v>43822</c:v>
                </c:pt>
                <c:pt idx="4301">
                  <c:v>43823</c:v>
                </c:pt>
                <c:pt idx="4302">
                  <c:v>43824</c:v>
                </c:pt>
                <c:pt idx="4303">
                  <c:v>43825</c:v>
                </c:pt>
                <c:pt idx="4304">
                  <c:v>43826</c:v>
                </c:pt>
                <c:pt idx="4305">
                  <c:v>43829</c:v>
                </c:pt>
                <c:pt idx="4306">
                  <c:v>43830</c:v>
                </c:pt>
                <c:pt idx="4307">
                  <c:v>43832</c:v>
                </c:pt>
                <c:pt idx="4308">
                  <c:v>43833</c:v>
                </c:pt>
                <c:pt idx="4309">
                  <c:v>43836</c:v>
                </c:pt>
                <c:pt idx="4310">
                  <c:v>43837</c:v>
                </c:pt>
                <c:pt idx="4311">
                  <c:v>43838</c:v>
                </c:pt>
                <c:pt idx="4312">
                  <c:v>43839</c:v>
                </c:pt>
                <c:pt idx="4313">
                  <c:v>43840</c:v>
                </c:pt>
                <c:pt idx="4314">
                  <c:v>43843</c:v>
                </c:pt>
                <c:pt idx="4315">
                  <c:v>43844</c:v>
                </c:pt>
                <c:pt idx="4316">
                  <c:v>43845</c:v>
                </c:pt>
                <c:pt idx="4317">
                  <c:v>43846</c:v>
                </c:pt>
                <c:pt idx="4318">
                  <c:v>43847</c:v>
                </c:pt>
                <c:pt idx="4319">
                  <c:v>43850</c:v>
                </c:pt>
                <c:pt idx="4320">
                  <c:v>43851</c:v>
                </c:pt>
                <c:pt idx="4321">
                  <c:v>43852</c:v>
                </c:pt>
                <c:pt idx="4322">
                  <c:v>43853</c:v>
                </c:pt>
                <c:pt idx="4323">
                  <c:v>43864</c:v>
                </c:pt>
                <c:pt idx="4324">
                  <c:v>43865</c:v>
                </c:pt>
                <c:pt idx="4325">
                  <c:v>43866</c:v>
                </c:pt>
                <c:pt idx="4326">
                  <c:v>43867</c:v>
                </c:pt>
                <c:pt idx="4327">
                  <c:v>43868</c:v>
                </c:pt>
                <c:pt idx="4328">
                  <c:v>43871</c:v>
                </c:pt>
                <c:pt idx="4329">
                  <c:v>43872</c:v>
                </c:pt>
                <c:pt idx="4330">
                  <c:v>43873</c:v>
                </c:pt>
                <c:pt idx="4331">
                  <c:v>43874</c:v>
                </c:pt>
                <c:pt idx="4332">
                  <c:v>43875</c:v>
                </c:pt>
                <c:pt idx="4333">
                  <c:v>43878</c:v>
                </c:pt>
                <c:pt idx="4334">
                  <c:v>43879</c:v>
                </c:pt>
                <c:pt idx="4335">
                  <c:v>43880</c:v>
                </c:pt>
                <c:pt idx="4336">
                  <c:v>43881</c:v>
                </c:pt>
                <c:pt idx="4337">
                  <c:v>43882</c:v>
                </c:pt>
                <c:pt idx="4338">
                  <c:v>43885</c:v>
                </c:pt>
                <c:pt idx="4339">
                  <c:v>43886</c:v>
                </c:pt>
                <c:pt idx="4340">
                  <c:v>43887</c:v>
                </c:pt>
                <c:pt idx="4341">
                  <c:v>43888</c:v>
                </c:pt>
                <c:pt idx="4342">
                  <c:v>43889</c:v>
                </c:pt>
                <c:pt idx="4343">
                  <c:v>43892</c:v>
                </c:pt>
                <c:pt idx="4344">
                  <c:v>43893</c:v>
                </c:pt>
                <c:pt idx="4345">
                  <c:v>43894</c:v>
                </c:pt>
                <c:pt idx="4346">
                  <c:v>43895</c:v>
                </c:pt>
                <c:pt idx="4347">
                  <c:v>43896</c:v>
                </c:pt>
                <c:pt idx="4348">
                  <c:v>43899</c:v>
                </c:pt>
                <c:pt idx="4349">
                  <c:v>43900</c:v>
                </c:pt>
                <c:pt idx="4350">
                  <c:v>43901</c:v>
                </c:pt>
                <c:pt idx="4351">
                  <c:v>43902</c:v>
                </c:pt>
                <c:pt idx="4352">
                  <c:v>43903</c:v>
                </c:pt>
                <c:pt idx="4353">
                  <c:v>43906</c:v>
                </c:pt>
                <c:pt idx="4354">
                  <c:v>43907</c:v>
                </c:pt>
                <c:pt idx="4355">
                  <c:v>43908</c:v>
                </c:pt>
                <c:pt idx="4356">
                  <c:v>43909</c:v>
                </c:pt>
                <c:pt idx="4357">
                  <c:v>43910</c:v>
                </c:pt>
                <c:pt idx="4358">
                  <c:v>43913</c:v>
                </c:pt>
                <c:pt idx="4359">
                  <c:v>43914</c:v>
                </c:pt>
                <c:pt idx="4360">
                  <c:v>43915</c:v>
                </c:pt>
                <c:pt idx="4361">
                  <c:v>43916</c:v>
                </c:pt>
                <c:pt idx="4362">
                  <c:v>43917</c:v>
                </c:pt>
                <c:pt idx="4363">
                  <c:v>43920</c:v>
                </c:pt>
                <c:pt idx="4364">
                  <c:v>43921</c:v>
                </c:pt>
                <c:pt idx="4365">
                  <c:v>43922</c:v>
                </c:pt>
                <c:pt idx="4366">
                  <c:v>43923</c:v>
                </c:pt>
                <c:pt idx="4367">
                  <c:v>43924</c:v>
                </c:pt>
                <c:pt idx="4368">
                  <c:v>43928</c:v>
                </c:pt>
                <c:pt idx="4369">
                  <c:v>43929</c:v>
                </c:pt>
                <c:pt idx="4370">
                  <c:v>43930</c:v>
                </c:pt>
                <c:pt idx="4371">
                  <c:v>43931</c:v>
                </c:pt>
                <c:pt idx="4372">
                  <c:v>43934</c:v>
                </c:pt>
                <c:pt idx="4373">
                  <c:v>43935</c:v>
                </c:pt>
                <c:pt idx="4374">
                  <c:v>43936</c:v>
                </c:pt>
                <c:pt idx="4375">
                  <c:v>43937</c:v>
                </c:pt>
                <c:pt idx="4376">
                  <c:v>43938</c:v>
                </c:pt>
                <c:pt idx="4377">
                  <c:v>43941</c:v>
                </c:pt>
                <c:pt idx="4378">
                  <c:v>43942</c:v>
                </c:pt>
                <c:pt idx="4379">
                  <c:v>43943</c:v>
                </c:pt>
                <c:pt idx="4380">
                  <c:v>43944</c:v>
                </c:pt>
                <c:pt idx="4381">
                  <c:v>43945</c:v>
                </c:pt>
                <c:pt idx="4382">
                  <c:v>43948</c:v>
                </c:pt>
                <c:pt idx="4383">
                  <c:v>43949</c:v>
                </c:pt>
                <c:pt idx="4384">
                  <c:v>43950</c:v>
                </c:pt>
                <c:pt idx="4385">
                  <c:v>43951</c:v>
                </c:pt>
                <c:pt idx="4386">
                  <c:v>43957</c:v>
                </c:pt>
                <c:pt idx="4387">
                  <c:v>43958</c:v>
                </c:pt>
                <c:pt idx="4388">
                  <c:v>43959</c:v>
                </c:pt>
                <c:pt idx="4389">
                  <c:v>43962</c:v>
                </c:pt>
                <c:pt idx="4390">
                  <c:v>43963</c:v>
                </c:pt>
                <c:pt idx="4391">
                  <c:v>43964</c:v>
                </c:pt>
                <c:pt idx="4392">
                  <c:v>43965</c:v>
                </c:pt>
                <c:pt idx="4393">
                  <c:v>43966</c:v>
                </c:pt>
                <c:pt idx="4394">
                  <c:v>43969</c:v>
                </c:pt>
                <c:pt idx="4395">
                  <c:v>43970</c:v>
                </c:pt>
                <c:pt idx="4396">
                  <c:v>43971</c:v>
                </c:pt>
                <c:pt idx="4397">
                  <c:v>43972</c:v>
                </c:pt>
                <c:pt idx="4398">
                  <c:v>43973</c:v>
                </c:pt>
                <c:pt idx="4399">
                  <c:v>43976</c:v>
                </c:pt>
                <c:pt idx="4400">
                  <c:v>43977</c:v>
                </c:pt>
                <c:pt idx="4401">
                  <c:v>43978</c:v>
                </c:pt>
                <c:pt idx="4402">
                  <c:v>43979</c:v>
                </c:pt>
                <c:pt idx="4403">
                  <c:v>43980</c:v>
                </c:pt>
                <c:pt idx="4404">
                  <c:v>43983</c:v>
                </c:pt>
                <c:pt idx="4405">
                  <c:v>43984</c:v>
                </c:pt>
                <c:pt idx="4406">
                  <c:v>43985</c:v>
                </c:pt>
                <c:pt idx="4407">
                  <c:v>43986</c:v>
                </c:pt>
                <c:pt idx="4408">
                  <c:v>43987</c:v>
                </c:pt>
                <c:pt idx="4409">
                  <c:v>43990</c:v>
                </c:pt>
                <c:pt idx="4410">
                  <c:v>43991</c:v>
                </c:pt>
                <c:pt idx="4411">
                  <c:v>43992</c:v>
                </c:pt>
                <c:pt idx="4412">
                  <c:v>43993</c:v>
                </c:pt>
                <c:pt idx="4413">
                  <c:v>43994</c:v>
                </c:pt>
                <c:pt idx="4414">
                  <c:v>43997</c:v>
                </c:pt>
                <c:pt idx="4415">
                  <c:v>43998</c:v>
                </c:pt>
                <c:pt idx="4416">
                  <c:v>43999</c:v>
                </c:pt>
                <c:pt idx="4417">
                  <c:v>44000</c:v>
                </c:pt>
                <c:pt idx="4418">
                  <c:v>44001</c:v>
                </c:pt>
                <c:pt idx="4419">
                  <c:v>44004</c:v>
                </c:pt>
                <c:pt idx="4420">
                  <c:v>44005</c:v>
                </c:pt>
                <c:pt idx="4421">
                  <c:v>44006</c:v>
                </c:pt>
                <c:pt idx="4422">
                  <c:v>44011</c:v>
                </c:pt>
                <c:pt idx="4423">
                  <c:v>44012</c:v>
                </c:pt>
                <c:pt idx="4424">
                  <c:v>44013</c:v>
                </c:pt>
                <c:pt idx="4425">
                  <c:v>44014</c:v>
                </c:pt>
                <c:pt idx="4426">
                  <c:v>44015</c:v>
                </c:pt>
                <c:pt idx="4427">
                  <c:v>44018</c:v>
                </c:pt>
                <c:pt idx="4428">
                  <c:v>44019</c:v>
                </c:pt>
                <c:pt idx="4429">
                  <c:v>44020</c:v>
                </c:pt>
                <c:pt idx="4430">
                  <c:v>44021</c:v>
                </c:pt>
                <c:pt idx="4431">
                  <c:v>44022</c:v>
                </c:pt>
                <c:pt idx="4432">
                  <c:v>44025</c:v>
                </c:pt>
                <c:pt idx="4433">
                  <c:v>44026</c:v>
                </c:pt>
                <c:pt idx="4434">
                  <c:v>44027</c:v>
                </c:pt>
                <c:pt idx="4435">
                  <c:v>44028</c:v>
                </c:pt>
                <c:pt idx="4436">
                  <c:v>44029</c:v>
                </c:pt>
                <c:pt idx="4437">
                  <c:v>44032</c:v>
                </c:pt>
                <c:pt idx="4438">
                  <c:v>44033</c:v>
                </c:pt>
                <c:pt idx="4439">
                  <c:v>44034</c:v>
                </c:pt>
                <c:pt idx="4440">
                  <c:v>44035</c:v>
                </c:pt>
                <c:pt idx="4441">
                  <c:v>44036</c:v>
                </c:pt>
                <c:pt idx="4442">
                  <c:v>44039</c:v>
                </c:pt>
                <c:pt idx="4443">
                  <c:v>44040</c:v>
                </c:pt>
                <c:pt idx="4444">
                  <c:v>44041</c:v>
                </c:pt>
                <c:pt idx="4445">
                  <c:v>44042</c:v>
                </c:pt>
                <c:pt idx="4446">
                  <c:v>44043</c:v>
                </c:pt>
                <c:pt idx="4447">
                  <c:v>44046</c:v>
                </c:pt>
                <c:pt idx="4448">
                  <c:v>44047</c:v>
                </c:pt>
                <c:pt idx="4449">
                  <c:v>44048</c:v>
                </c:pt>
                <c:pt idx="4450">
                  <c:v>44049</c:v>
                </c:pt>
                <c:pt idx="4451">
                  <c:v>44050</c:v>
                </c:pt>
                <c:pt idx="4452">
                  <c:v>44053</c:v>
                </c:pt>
                <c:pt idx="4453">
                  <c:v>44054</c:v>
                </c:pt>
                <c:pt idx="4454">
                  <c:v>44055</c:v>
                </c:pt>
                <c:pt idx="4455">
                  <c:v>44056</c:v>
                </c:pt>
                <c:pt idx="4456">
                  <c:v>44057</c:v>
                </c:pt>
                <c:pt idx="4457">
                  <c:v>44060</c:v>
                </c:pt>
                <c:pt idx="4458">
                  <c:v>44061</c:v>
                </c:pt>
                <c:pt idx="4459">
                  <c:v>44062</c:v>
                </c:pt>
                <c:pt idx="4460">
                  <c:v>44063</c:v>
                </c:pt>
                <c:pt idx="4461">
                  <c:v>44064</c:v>
                </c:pt>
                <c:pt idx="4462">
                  <c:v>44067</c:v>
                </c:pt>
                <c:pt idx="4463">
                  <c:v>44068</c:v>
                </c:pt>
                <c:pt idx="4464">
                  <c:v>44069</c:v>
                </c:pt>
                <c:pt idx="4465">
                  <c:v>44070</c:v>
                </c:pt>
                <c:pt idx="4466">
                  <c:v>44071</c:v>
                </c:pt>
                <c:pt idx="4467">
                  <c:v>44074</c:v>
                </c:pt>
                <c:pt idx="4468">
                  <c:v>44075</c:v>
                </c:pt>
                <c:pt idx="4469">
                  <c:v>44076</c:v>
                </c:pt>
                <c:pt idx="4470">
                  <c:v>44077</c:v>
                </c:pt>
                <c:pt idx="4471">
                  <c:v>44078</c:v>
                </c:pt>
                <c:pt idx="4472">
                  <c:v>44081</c:v>
                </c:pt>
                <c:pt idx="4473">
                  <c:v>44082</c:v>
                </c:pt>
                <c:pt idx="4474">
                  <c:v>44083</c:v>
                </c:pt>
                <c:pt idx="4475">
                  <c:v>44084</c:v>
                </c:pt>
                <c:pt idx="4476">
                  <c:v>44085</c:v>
                </c:pt>
                <c:pt idx="4477">
                  <c:v>44088</c:v>
                </c:pt>
                <c:pt idx="4478">
                  <c:v>44089</c:v>
                </c:pt>
                <c:pt idx="4479">
                  <c:v>44090</c:v>
                </c:pt>
                <c:pt idx="4480">
                  <c:v>44091</c:v>
                </c:pt>
                <c:pt idx="4481">
                  <c:v>44092</c:v>
                </c:pt>
                <c:pt idx="4482">
                  <c:v>44095</c:v>
                </c:pt>
                <c:pt idx="4483">
                  <c:v>44096</c:v>
                </c:pt>
                <c:pt idx="4484">
                  <c:v>44097</c:v>
                </c:pt>
                <c:pt idx="4485">
                  <c:v>44098</c:v>
                </c:pt>
                <c:pt idx="4486">
                  <c:v>44099</c:v>
                </c:pt>
                <c:pt idx="4487">
                  <c:v>44102</c:v>
                </c:pt>
                <c:pt idx="4488">
                  <c:v>44103</c:v>
                </c:pt>
                <c:pt idx="4489">
                  <c:v>44104</c:v>
                </c:pt>
                <c:pt idx="4490">
                  <c:v>44113</c:v>
                </c:pt>
                <c:pt idx="4491">
                  <c:v>44116</c:v>
                </c:pt>
                <c:pt idx="4492">
                  <c:v>44117</c:v>
                </c:pt>
                <c:pt idx="4493">
                  <c:v>44118</c:v>
                </c:pt>
                <c:pt idx="4494">
                  <c:v>44119</c:v>
                </c:pt>
                <c:pt idx="4495">
                  <c:v>44120</c:v>
                </c:pt>
                <c:pt idx="4496">
                  <c:v>44123</c:v>
                </c:pt>
                <c:pt idx="4497">
                  <c:v>44124</c:v>
                </c:pt>
                <c:pt idx="4498">
                  <c:v>44125</c:v>
                </c:pt>
                <c:pt idx="4499">
                  <c:v>44126</c:v>
                </c:pt>
                <c:pt idx="4500">
                  <c:v>44127</c:v>
                </c:pt>
                <c:pt idx="4501">
                  <c:v>44130</c:v>
                </c:pt>
                <c:pt idx="4502">
                  <c:v>44131</c:v>
                </c:pt>
                <c:pt idx="4503">
                  <c:v>44132</c:v>
                </c:pt>
                <c:pt idx="4504">
                  <c:v>44133</c:v>
                </c:pt>
                <c:pt idx="4505">
                  <c:v>44134</c:v>
                </c:pt>
                <c:pt idx="4506">
                  <c:v>44137</c:v>
                </c:pt>
                <c:pt idx="4507">
                  <c:v>44138</c:v>
                </c:pt>
                <c:pt idx="4508">
                  <c:v>44139</c:v>
                </c:pt>
                <c:pt idx="4509">
                  <c:v>44140</c:v>
                </c:pt>
                <c:pt idx="4510">
                  <c:v>44141</c:v>
                </c:pt>
                <c:pt idx="4511">
                  <c:v>44144</c:v>
                </c:pt>
                <c:pt idx="4512">
                  <c:v>44145</c:v>
                </c:pt>
                <c:pt idx="4513">
                  <c:v>44146</c:v>
                </c:pt>
                <c:pt idx="4514">
                  <c:v>44147</c:v>
                </c:pt>
                <c:pt idx="4515">
                  <c:v>44148</c:v>
                </c:pt>
                <c:pt idx="4516">
                  <c:v>44151</c:v>
                </c:pt>
                <c:pt idx="4517">
                  <c:v>44152</c:v>
                </c:pt>
                <c:pt idx="4518">
                  <c:v>44153</c:v>
                </c:pt>
                <c:pt idx="4519">
                  <c:v>44154</c:v>
                </c:pt>
                <c:pt idx="4520">
                  <c:v>44155</c:v>
                </c:pt>
                <c:pt idx="4521">
                  <c:v>44158</c:v>
                </c:pt>
                <c:pt idx="4522">
                  <c:v>44159</c:v>
                </c:pt>
                <c:pt idx="4523">
                  <c:v>44160</c:v>
                </c:pt>
                <c:pt idx="4524">
                  <c:v>44161</c:v>
                </c:pt>
                <c:pt idx="4525">
                  <c:v>44162</c:v>
                </c:pt>
                <c:pt idx="4526">
                  <c:v>44165</c:v>
                </c:pt>
                <c:pt idx="4527">
                  <c:v>44166</c:v>
                </c:pt>
                <c:pt idx="4528">
                  <c:v>44167</c:v>
                </c:pt>
                <c:pt idx="4529">
                  <c:v>44168</c:v>
                </c:pt>
                <c:pt idx="4530">
                  <c:v>44169</c:v>
                </c:pt>
                <c:pt idx="4531">
                  <c:v>44172</c:v>
                </c:pt>
                <c:pt idx="4532">
                  <c:v>44173</c:v>
                </c:pt>
                <c:pt idx="4533">
                  <c:v>44174</c:v>
                </c:pt>
                <c:pt idx="4534">
                  <c:v>44175</c:v>
                </c:pt>
                <c:pt idx="4535">
                  <c:v>44176</c:v>
                </c:pt>
                <c:pt idx="4536">
                  <c:v>44179</c:v>
                </c:pt>
                <c:pt idx="4537">
                  <c:v>44180</c:v>
                </c:pt>
                <c:pt idx="4538">
                  <c:v>44181</c:v>
                </c:pt>
                <c:pt idx="4539">
                  <c:v>44182</c:v>
                </c:pt>
                <c:pt idx="4540">
                  <c:v>44183</c:v>
                </c:pt>
                <c:pt idx="4541">
                  <c:v>44186</c:v>
                </c:pt>
                <c:pt idx="4542">
                  <c:v>44187</c:v>
                </c:pt>
                <c:pt idx="4543">
                  <c:v>44188</c:v>
                </c:pt>
                <c:pt idx="4544">
                  <c:v>44189</c:v>
                </c:pt>
                <c:pt idx="4545">
                  <c:v>44190</c:v>
                </c:pt>
                <c:pt idx="4546">
                  <c:v>44193</c:v>
                </c:pt>
                <c:pt idx="4547">
                  <c:v>44194</c:v>
                </c:pt>
                <c:pt idx="4548">
                  <c:v>44195</c:v>
                </c:pt>
                <c:pt idx="4549">
                  <c:v>44196</c:v>
                </c:pt>
                <c:pt idx="4550">
                  <c:v>44200</c:v>
                </c:pt>
                <c:pt idx="4551">
                  <c:v>44201</c:v>
                </c:pt>
                <c:pt idx="4552">
                  <c:v>44202</c:v>
                </c:pt>
                <c:pt idx="4553">
                  <c:v>44203</c:v>
                </c:pt>
                <c:pt idx="4554">
                  <c:v>44204</c:v>
                </c:pt>
                <c:pt idx="4555">
                  <c:v>44207</c:v>
                </c:pt>
                <c:pt idx="4556">
                  <c:v>44208</c:v>
                </c:pt>
                <c:pt idx="4557">
                  <c:v>44209</c:v>
                </c:pt>
                <c:pt idx="4558">
                  <c:v>44210</c:v>
                </c:pt>
                <c:pt idx="4559">
                  <c:v>44211</c:v>
                </c:pt>
                <c:pt idx="4560">
                  <c:v>44214</c:v>
                </c:pt>
                <c:pt idx="4561">
                  <c:v>44215</c:v>
                </c:pt>
                <c:pt idx="4562">
                  <c:v>44216</c:v>
                </c:pt>
                <c:pt idx="4563">
                  <c:v>44217</c:v>
                </c:pt>
                <c:pt idx="4564">
                  <c:v>44218</c:v>
                </c:pt>
                <c:pt idx="4565">
                  <c:v>44221</c:v>
                </c:pt>
                <c:pt idx="4566">
                  <c:v>44222</c:v>
                </c:pt>
                <c:pt idx="4567">
                  <c:v>44223</c:v>
                </c:pt>
                <c:pt idx="4568">
                  <c:v>44224</c:v>
                </c:pt>
                <c:pt idx="4569">
                  <c:v>44225</c:v>
                </c:pt>
                <c:pt idx="4570">
                  <c:v>44228</c:v>
                </c:pt>
                <c:pt idx="4571">
                  <c:v>44229</c:v>
                </c:pt>
                <c:pt idx="4572">
                  <c:v>44230</c:v>
                </c:pt>
                <c:pt idx="4573">
                  <c:v>44231</c:v>
                </c:pt>
                <c:pt idx="4574">
                  <c:v>44232</c:v>
                </c:pt>
                <c:pt idx="4575">
                  <c:v>44235</c:v>
                </c:pt>
                <c:pt idx="4576">
                  <c:v>44236</c:v>
                </c:pt>
                <c:pt idx="4577">
                  <c:v>44237</c:v>
                </c:pt>
                <c:pt idx="4578">
                  <c:v>44245</c:v>
                </c:pt>
                <c:pt idx="4579">
                  <c:v>44246</c:v>
                </c:pt>
                <c:pt idx="4580">
                  <c:v>44249</c:v>
                </c:pt>
                <c:pt idx="4581">
                  <c:v>44250</c:v>
                </c:pt>
                <c:pt idx="4582">
                  <c:v>44251</c:v>
                </c:pt>
                <c:pt idx="4583">
                  <c:v>44252</c:v>
                </c:pt>
                <c:pt idx="4584">
                  <c:v>44253</c:v>
                </c:pt>
                <c:pt idx="4585">
                  <c:v>44256</c:v>
                </c:pt>
                <c:pt idx="4586">
                  <c:v>44257</c:v>
                </c:pt>
                <c:pt idx="4587">
                  <c:v>44258</c:v>
                </c:pt>
                <c:pt idx="4588">
                  <c:v>44259</c:v>
                </c:pt>
                <c:pt idx="4589">
                  <c:v>44260</c:v>
                </c:pt>
                <c:pt idx="4590">
                  <c:v>44263</c:v>
                </c:pt>
                <c:pt idx="4591">
                  <c:v>44264</c:v>
                </c:pt>
                <c:pt idx="4592">
                  <c:v>44265</c:v>
                </c:pt>
                <c:pt idx="4593">
                  <c:v>44266</c:v>
                </c:pt>
                <c:pt idx="4594">
                  <c:v>44267</c:v>
                </c:pt>
                <c:pt idx="4595">
                  <c:v>44270</c:v>
                </c:pt>
                <c:pt idx="4596">
                  <c:v>44271</c:v>
                </c:pt>
                <c:pt idx="4597">
                  <c:v>44272</c:v>
                </c:pt>
                <c:pt idx="4598">
                  <c:v>44273</c:v>
                </c:pt>
                <c:pt idx="4599">
                  <c:v>44274</c:v>
                </c:pt>
                <c:pt idx="4600">
                  <c:v>44277</c:v>
                </c:pt>
                <c:pt idx="4601">
                  <c:v>44278</c:v>
                </c:pt>
                <c:pt idx="4602">
                  <c:v>44279</c:v>
                </c:pt>
                <c:pt idx="4603">
                  <c:v>44280</c:v>
                </c:pt>
                <c:pt idx="4604">
                  <c:v>44281</c:v>
                </c:pt>
                <c:pt idx="4605">
                  <c:v>44284</c:v>
                </c:pt>
                <c:pt idx="4606">
                  <c:v>44285</c:v>
                </c:pt>
                <c:pt idx="4607">
                  <c:v>44286</c:v>
                </c:pt>
                <c:pt idx="4608">
                  <c:v>44287</c:v>
                </c:pt>
                <c:pt idx="4609">
                  <c:v>44288</c:v>
                </c:pt>
                <c:pt idx="4610">
                  <c:v>44292</c:v>
                </c:pt>
                <c:pt idx="4611">
                  <c:v>44293</c:v>
                </c:pt>
                <c:pt idx="4612">
                  <c:v>44294</c:v>
                </c:pt>
                <c:pt idx="4613">
                  <c:v>44295</c:v>
                </c:pt>
                <c:pt idx="4614">
                  <c:v>44298</c:v>
                </c:pt>
                <c:pt idx="4615">
                  <c:v>44299</c:v>
                </c:pt>
                <c:pt idx="4616">
                  <c:v>44300</c:v>
                </c:pt>
                <c:pt idx="4617">
                  <c:v>44301</c:v>
                </c:pt>
                <c:pt idx="4618">
                  <c:v>44302</c:v>
                </c:pt>
                <c:pt idx="4619">
                  <c:v>44305</c:v>
                </c:pt>
                <c:pt idx="4620">
                  <c:v>44306</c:v>
                </c:pt>
                <c:pt idx="4621">
                  <c:v>44307</c:v>
                </c:pt>
                <c:pt idx="4622">
                  <c:v>44308</c:v>
                </c:pt>
                <c:pt idx="4623">
                  <c:v>44309</c:v>
                </c:pt>
                <c:pt idx="4624">
                  <c:v>44312</c:v>
                </c:pt>
                <c:pt idx="4625">
                  <c:v>44313</c:v>
                </c:pt>
                <c:pt idx="4626">
                  <c:v>44314</c:v>
                </c:pt>
                <c:pt idx="4627">
                  <c:v>44315</c:v>
                </c:pt>
                <c:pt idx="4628">
                  <c:v>44316</c:v>
                </c:pt>
                <c:pt idx="4629">
                  <c:v>44322</c:v>
                </c:pt>
                <c:pt idx="4630">
                  <c:v>44323</c:v>
                </c:pt>
                <c:pt idx="4631">
                  <c:v>44326</c:v>
                </c:pt>
                <c:pt idx="4632">
                  <c:v>44327</c:v>
                </c:pt>
                <c:pt idx="4633">
                  <c:v>44328</c:v>
                </c:pt>
                <c:pt idx="4634">
                  <c:v>44329</c:v>
                </c:pt>
                <c:pt idx="4635">
                  <c:v>44330</c:v>
                </c:pt>
                <c:pt idx="4636">
                  <c:v>44333</c:v>
                </c:pt>
                <c:pt idx="4637">
                  <c:v>44334</c:v>
                </c:pt>
                <c:pt idx="4638">
                  <c:v>44335</c:v>
                </c:pt>
                <c:pt idx="4639">
                  <c:v>44336</c:v>
                </c:pt>
                <c:pt idx="4640">
                  <c:v>44337</c:v>
                </c:pt>
                <c:pt idx="4641">
                  <c:v>44340</c:v>
                </c:pt>
                <c:pt idx="4642">
                  <c:v>44341</c:v>
                </c:pt>
                <c:pt idx="4643">
                  <c:v>44342</c:v>
                </c:pt>
                <c:pt idx="4644">
                  <c:v>44343</c:v>
                </c:pt>
                <c:pt idx="4645">
                  <c:v>44344</c:v>
                </c:pt>
                <c:pt idx="4646">
                  <c:v>44347</c:v>
                </c:pt>
                <c:pt idx="4647">
                  <c:v>44348</c:v>
                </c:pt>
                <c:pt idx="4648">
                  <c:v>44349</c:v>
                </c:pt>
                <c:pt idx="4649">
                  <c:v>44350</c:v>
                </c:pt>
                <c:pt idx="4650">
                  <c:v>44351</c:v>
                </c:pt>
                <c:pt idx="4651">
                  <c:v>44354</c:v>
                </c:pt>
                <c:pt idx="4652">
                  <c:v>44355</c:v>
                </c:pt>
                <c:pt idx="4653">
                  <c:v>44356</c:v>
                </c:pt>
                <c:pt idx="4654">
                  <c:v>44357</c:v>
                </c:pt>
                <c:pt idx="4655">
                  <c:v>44358</c:v>
                </c:pt>
                <c:pt idx="4656">
                  <c:v>44362</c:v>
                </c:pt>
                <c:pt idx="4657">
                  <c:v>44363</c:v>
                </c:pt>
                <c:pt idx="4658">
                  <c:v>44364</c:v>
                </c:pt>
                <c:pt idx="4659">
                  <c:v>44365</c:v>
                </c:pt>
                <c:pt idx="4660">
                  <c:v>44368</c:v>
                </c:pt>
                <c:pt idx="4661">
                  <c:v>44369</c:v>
                </c:pt>
                <c:pt idx="4662">
                  <c:v>44370</c:v>
                </c:pt>
                <c:pt idx="4663">
                  <c:v>44371</c:v>
                </c:pt>
                <c:pt idx="4664">
                  <c:v>44372</c:v>
                </c:pt>
                <c:pt idx="4665">
                  <c:v>44375</c:v>
                </c:pt>
                <c:pt idx="4666">
                  <c:v>44376</c:v>
                </c:pt>
                <c:pt idx="4667">
                  <c:v>44377</c:v>
                </c:pt>
                <c:pt idx="4668">
                  <c:v>44378</c:v>
                </c:pt>
                <c:pt idx="4669">
                  <c:v>44379</c:v>
                </c:pt>
                <c:pt idx="4670">
                  <c:v>44382</c:v>
                </c:pt>
                <c:pt idx="4671">
                  <c:v>44383</c:v>
                </c:pt>
                <c:pt idx="4672">
                  <c:v>44384</c:v>
                </c:pt>
                <c:pt idx="4673">
                  <c:v>44385</c:v>
                </c:pt>
                <c:pt idx="4674">
                  <c:v>44386</c:v>
                </c:pt>
                <c:pt idx="4675">
                  <c:v>44389</c:v>
                </c:pt>
                <c:pt idx="4676">
                  <c:v>44390</c:v>
                </c:pt>
                <c:pt idx="4677">
                  <c:v>44391</c:v>
                </c:pt>
                <c:pt idx="4678">
                  <c:v>44392</c:v>
                </c:pt>
                <c:pt idx="4679">
                  <c:v>44393</c:v>
                </c:pt>
                <c:pt idx="4680">
                  <c:v>44396</c:v>
                </c:pt>
                <c:pt idx="4681">
                  <c:v>44397</c:v>
                </c:pt>
                <c:pt idx="4682">
                  <c:v>44398</c:v>
                </c:pt>
                <c:pt idx="4683">
                  <c:v>44399</c:v>
                </c:pt>
                <c:pt idx="4684">
                  <c:v>44400</c:v>
                </c:pt>
                <c:pt idx="4685">
                  <c:v>44403</c:v>
                </c:pt>
                <c:pt idx="4686">
                  <c:v>44404</c:v>
                </c:pt>
                <c:pt idx="4687">
                  <c:v>44405</c:v>
                </c:pt>
                <c:pt idx="4688">
                  <c:v>44406</c:v>
                </c:pt>
                <c:pt idx="4689">
                  <c:v>44407</c:v>
                </c:pt>
                <c:pt idx="4690">
                  <c:v>44410</c:v>
                </c:pt>
                <c:pt idx="4691">
                  <c:v>44411</c:v>
                </c:pt>
                <c:pt idx="4692">
                  <c:v>44412</c:v>
                </c:pt>
                <c:pt idx="4693">
                  <c:v>44413</c:v>
                </c:pt>
                <c:pt idx="4694">
                  <c:v>44414</c:v>
                </c:pt>
                <c:pt idx="4695">
                  <c:v>44417</c:v>
                </c:pt>
                <c:pt idx="4696">
                  <c:v>44418</c:v>
                </c:pt>
                <c:pt idx="4697">
                  <c:v>44419</c:v>
                </c:pt>
                <c:pt idx="4698">
                  <c:v>44420</c:v>
                </c:pt>
                <c:pt idx="4699">
                  <c:v>44421</c:v>
                </c:pt>
                <c:pt idx="4700">
                  <c:v>44424</c:v>
                </c:pt>
                <c:pt idx="4701">
                  <c:v>44425</c:v>
                </c:pt>
                <c:pt idx="4702">
                  <c:v>44426</c:v>
                </c:pt>
                <c:pt idx="4703">
                  <c:v>44427</c:v>
                </c:pt>
                <c:pt idx="4704">
                  <c:v>44428</c:v>
                </c:pt>
                <c:pt idx="4705">
                  <c:v>44431</c:v>
                </c:pt>
                <c:pt idx="4706">
                  <c:v>44432</c:v>
                </c:pt>
                <c:pt idx="4707">
                  <c:v>44433</c:v>
                </c:pt>
                <c:pt idx="4708">
                  <c:v>44434</c:v>
                </c:pt>
                <c:pt idx="4709">
                  <c:v>44435</c:v>
                </c:pt>
                <c:pt idx="4710">
                  <c:v>44438</c:v>
                </c:pt>
                <c:pt idx="4711">
                  <c:v>44439</c:v>
                </c:pt>
                <c:pt idx="4712">
                  <c:v>44440</c:v>
                </c:pt>
                <c:pt idx="4713">
                  <c:v>44441</c:v>
                </c:pt>
                <c:pt idx="4714">
                  <c:v>44442</c:v>
                </c:pt>
                <c:pt idx="4715">
                  <c:v>44445</c:v>
                </c:pt>
                <c:pt idx="4716">
                  <c:v>44446</c:v>
                </c:pt>
                <c:pt idx="4717">
                  <c:v>44447</c:v>
                </c:pt>
                <c:pt idx="4718">
                  <c:v>44448</c:v>
                </c:pt>
                <c:pt idx="4719">
                  <c:v>44449</c:v>
                </c:pt>
                <c:pt idx="4720">
                  <c:v>44452</c:v>
                </c:pt>
                <c:pt idx="4721">
                  <c:v>44453</c:v>
                </c:pt>
                <c:pt idx="4722">
                  <c:v>44454</c:v>
                </c:pt>
                <c:pt idx="4723">
                  <c:v>44455</c:v>
                </c:pt>
                <c:pt idx="4724">
                  <c:v>44456</c:v>
                </c:pt>
                <c:pt idx="4725">
                  <c:v>44461</c:v>
                </c:pt>
                <c:pt idx="4726">
                  <c:v>44462</c:v>
                </c:pt>
                <c:pt idx="4727">
                  <c:v>44463</c:v>
                </c:pt>
                <c:pt idx="4728">
                  <c:v>44466</c:v>
                </c:pt>
                <c:pt idx="4729">
                  <c:v>44467</c:v>
                </c:pt>
                <c:pt idx="4730">
                  <c:v>44468</c:v>
                </c:pt>
                <c:pt idx="4731">
                  <c:v>44469</c:v>
                </c:pt>
                <c:pt idx="4732">
                  <c:v>44477</c:v>
                </c:pt>
                <c:pt idx="4733">
                  <c:v>44480</c:v>
                </c:pt>
                <c:pt idx="4734">
                  <c:v>44481</c:v>
                </c:pt>
                <c:pt idx="4735">
                  <c:v>44482</c:v>
                </c:pt>
                <c:pt idx="4736">
                  <c:v>44483</c:v>
                </c:pt>
                <c:pt idx="4737">
                  <c:v>44484</c:v>
                </c:pt>
                <c:pt idx="4738">
                  <c:v>44487</c:v>
                </c:pt>
                <c:pt idx="4739">
                  <c:v>44488</c:v>
                </c:pt>
                <c:pt idx="4740">
                  <c:v>44489</c:v>
                </c:pt>
                <c:pt idx="4741">
                  <c:v>44490</c:v>
                </c:pt>
                <c:pt idx="4742">
                  <c:v>44491</c:v>
                </c:pt>
                <c:pt idx="4743">
                  <c:v>44494</c:v>
                </c:pt>
                <c:pt idx="4744">
                  <c:v>44495</c:v>
                </c:pt>
                <c:pt idx="4745">
                  <c:v>44496</c:v>
                </c:pt>
                <c:pt idx="4746">
                  <c:v>44497</c:v>
                </c:pt>
                <c:pt idx="4747">
                  <c:v>44498</c:v>
                </c:pt>
                <c:pt idx="4748">
                  <c:v>44501</c:v>
                </c:pt>
                <c:pt idx="4749">
                  <c:v>44502</c:v>
                </c:pt>
                <c:pt idx="4750">
                  <c:v>44503</c:v>
                </c:pt>
                <c:pt idx="4751">
                  <c:v>44504</c:v>
                </c:pt>
                <c:pt idx="4752">
                  <c:v>44505</c:v>
                </c:pt>
                <c:pt idx="4753">
                  <c:v>44508</c:v>
                </c:pt>
                <c:pt idx="4754">
                  <c:v>44509</c:v>
                </c:pt>
                <c:pt idx="4755">
                  <c:v>44510</c:v>
                </c:pt>
                <c:pt idx="4756">
                  <c:v>44511</c:v>
                </c:pt>
                <c:pt idx="4757">
                  <c:v>44512</c:v>
                </c:pt>
                <c:pt idx="4758">
                  <c:v>44515</c:v>
                </c:pt>
                <c:pt idx="4759">
                  <c:v>44516</c:v>
                </c:pt>
                <c:pt idx="4760">
                  <c:v>44517</c:v>
                </c:pt>
                <c:pt idx="4761">
                  <c:v>44518</c:v>
                </c:pt>
                <c:pt idx="4762">
                  <c:v>44519</c:v>
                </c:pt>
                <c:pt idx="4763">
                  <c:v>44522</c:v>
                </c:pt>
                <c:pt idx="4764">
                  <c:v>44523</c:v>
                </c:pt>
                <c:pt idx="4765">
                  <c:v>44524</c:v>
                </c:pt>
                <c:pt idx="4766">
                  <c:v>44525</c:v>
                </c:pt>
                <c:pt idx="4767">
                  <c:v>44526</c:v>
                </c:pt>
                <c:pt idx="4768">
                  <c:v>44529</c:v>
                </c:pt>
                <c:pt idx="4769">
                  <c:v>44530</c:v>
                </c:pt>
                <c:pt idx="4770">
                  <c:v>44531</c:v>
                </c:pt>
                <c:pt idx="4771">
                  <c:v>44532</c:v>
                </c:pt>
                <c:pt idx="4772">
                  <c:v>44533</c:v>
                </c:pt>
                <c:pt idx="4773">
                  <c:v>44536</c:v>
                </c:pt>
                <c:pt idx="4774">
                  <c:v>44537</c:v>
                </c:pt>
                <c:pt idx="4775">
                  <c:v>44538</c:v>
                </c:pt>
                <c:pt idx="4776">
                  <c:v>44539</c:v>
                </c:pt>
                <c:pt idx="4777">
                  <c:v>44540</c:v>
                </c:pt>
                <c:pt idx="4778">
                  <c:v>44543</c:v>
                </c:pt>
                <c:pt idx="4779">
                  <c:v>44544</c:v>
                </c:pt>
                <c:pt idx="4780">
                  <c:v>44545</c:v>
                </c:pt>
                <c:pt idx="4781">
                  <c:v>44546</c:v>
                </c:pt>
                <c:pt idx="4782">
                  <c:v>44547</c:v>
                </c:pt>
                <c:pt idx="4783">
                  <c:v>44550</c:v>
                </c:pt>
                <c:pt idx="4784">
                  <c:v>44551</c:v>
                </c:pt>
                <c:pt idx="4785">
                  <c:v>44552</c:v>
                </c:pt>
                <c:pt idx="4786">
                  <c:v>44553</c:v>
                </c:pt>
                <c:pt idx="4787">
                  <c:v>44554</c:v>
                </c:pt>
                <c:pt idx="4788">
                  <c:v>44557</c:v>
                </c:pt>
                <c:pt idx="4789">
                  <c:v>44558</c:v>
                </c:pt>
                <c:pt idx="4790">
                  <c:v>44559</c:v>
                </c:pt>
                <c:pt idx="4791">
                  <c:v>44560</c:v>
                </c:pt>
                <c:pt idx="4792">
                  <c:v>44561</c:v>
                </c:pt>
                <c:pt idx="4793">
                  <c:v>44565</c:v>
                </c:pt>
                <c:pt idx="4794">
                  <c:v>44566</c:v>
                </c:pt>
                <c:pt idx="4795">
                  <c:v>44567</c:v>
                </c:pt>
                <c:pt idx="4796">
                  <c:v>44568</c:v>
                </c:pt>
                <c:pt idx="4797">
                  <c:v>44571</c:v>
                </c:pt>
                <c:pt idx="4798">
                  <c:v>44572</c:v>
                </c:pt>
                <c:pt idx="4799">
                  <c:v>44573</c:v>
                </c:pt>
                <c:pt idx="4800">
                  <c:v>44574</c:v>
                </c:pt>
                <c:pt idx="4801">
                  <c:v>44575</c:v>
                </c:pt>
                <c:pt idx="4802">
                  <c:v>44578</c:v>
                </c:pt>
                <c:pt idx="4803">
                  <c:v>44579</c:v>
                </c:pt>
                <c:pt idx="4804">
                  <c:v>44580</c:v>
                </c:pt>
                <c:pt idx="4805">
                  <c:v>44581</c:v>
                </c:pt>
                <c:pt idx="4806">
                  <c:v>44582</c:v>
                </c:pt>
                <c:pt idx="4807">
                  <c:v>44585</c:v>
                </c:pt>
                <c:pt idx="4808">
                  <c:v>44586</c:v>
                </c:pt>
                <c:pt idx="4809">
                  <c:v>44587</c:v>
                </c:pt>
                <c:pt idx="4810">
                  <c:v>44588</c:v>
                </c:pt>
                <c:pt idx="4811">
                  <c:v>44589</c:v>
                </c:pt>
                <c:pt idx="4812">
                  <c:v>44599</c:v>
                </c:pt>
                <c:pt idx="4813">
                  <c:v>44600</c:v>
                </c:pt>
                <c:pt idx="4814">
                  <c:v>44601</c:v>
                </c:pt>
                <c:pt idx="4815">
                  <c:v>44602</c:v>
                </c:pt>
                <c:pt idx="4816">
                  <c:v>44603</c:v>
                </c:pt>
                <c:pt idx="4817">
                  <c:v>44606</c:v>
                </c:pt>
                <c:pt idx="4818">
                  <c:v>44607</c:v>
                </c:pt>
                <c:pt idx="4819">
                  <c:v>44608</c:v>
                </c:pt>
                <c:pt idx="4820">
                  <c:v>44609</c:v>
                </c:pt>
                <c:pt idx="4821">
                  <c:v>44610</c:v>
                </c:pt>
                <c:pt idx="4822">
                  <c:v>44613</c:v>
                </c:pt>
                <c:pt idx="4823">
                  <c:v>44614</c:v>
                </c:pt>
                <c:pt idx="4824">
                  <c:v>44615</c:v>
                </c:pt>
                <c:pt idx="4825">
                  <c:v>44616</c:v>
                </c:pt>
                <c:pt idx="4826">
                  <c:v>44617</c:v>
                </c:pt>
                <c:pt idx="4827">
                  <c:v>44620</c:v>
                </c:pt>
                <c:pt idx="4828">
                  <c:v>44621</c:v>
                </c:pt>
                <c:pt idx="4829">
                  <c:v>44622</c:v>
                </c:pt>
                <c:pt idx="4830">
                  <c:v>44623</c:v>
                </c:pt>
                <c:pt idx="4831">
                  <c:v>44624</c:v>
                </c:pt>
                <c:pt idx="4832">
                  <c:v>44627</c:v>
                </c:pt>
                <c:pt idx="4833">
                  <c:v>44628</c:v>
                </c:pt>
                <c:pt idx="4834">
                  <c:v>44629</c:v>
                </c:pt>
                <c:pt idx="4835">
                  <c:v>44630</c:v>
                </c:pt>
                <c:pt idx="4836">
                  <c:v>44631</c:v>
                </c:pt>
                <c:pt idx="4837">
                  <c:v>44634</c:v>
                </c:pt>
                <c:pt idx="4838">
                  <c:v>44635</c:v>
                </c:pt>
                <c:pt idx="4839">
                  <c:v>44636</c:v>
                </c:pt>
                <c:pt idx="4840">
                  <c:v>44637</c:v>
                </c:pt>
                <c:pt idx="4841">
                  <c:v>44638</c:v>
                </c:pt>
                <c:pt idx="4842">
                  <c:v>44641</c:v>
                </c:pt>
                <c:pt idx="4843">
                  <c:v>44642</c:v>
                </c:pt>
                <c:pt idx="4844">
                  <c:v>44643</c:v>
                </c:pt>
                <c:pt idx="4845">
                  <c:v>44644</c:v>
                </c:pt>
                <c:pt idx="4846">
                  <c:v>44645</c:v>
                </c:pt>
                <c:pt idx="4847">
                  <c:v>44648</c:v>
                </c:pt>
                <c:pt idx="4848">
                  <c:v>44649</c:v>
                </c:pt>
                <c:pt idx="4849">
                  <c:v>44650</c:v>
                </c:pt>
                <c:pt idx="4850">
                  <c:v>44651</c:v>
                </c:pt>
                <c:pt idx="4851">
                  <c:v>44652</c:v>
                </c:pt>
                <c:pt idx="4852">
                  <c:v>44657</c:v>
                </c:pt>
                <c:pt idx="4853">
                  <c:v>44658</c:v>
                </c:pt>
                <c:pt idx="4854">
                  <c:v>44659</c:v>
                </c:pt>
              </c:numCache>
            </c:numRef>
          </c:cat>
          <c:val>
            <c:numRef>
              <c:f>'v60'!$G$2:$G$4916</c:f>
              <c:numCache>
                <c:formatCode>General</c:formatCode>
                <c:ptCount val="4915"/>
                <c:pt idx="910">
                  <c:v>1.1053479844E-2</c:v>
                </c:pt>
                <c:pt idx="911">
                  <c:v>1.1091429524E-2</c:v>
                </c:pt>
                <c:pt idx="912">
                  <c:v>1.1116569620000001E-2</c:v>
                </c:pt>
                <c:pt idx="913">
                  <c:v>1.1158744183999999E-2</c:v>
                </c:pt>
                <c:pt idx="914">
                  <c:v>1.1211994644E-2</c:v>
                </c:pt>
                <c:pt idx="915">
                  <c:v>1.1265077084E-2</c:v>
                </c:pt>
                <c:pt idx="916">
                  <c:v>1.1307929168000001E-2</c:v>
                </c:pt>
                <c:pt idx="917">
                  <c:v>1.1356918944E-2</c:v>
                </c:pt>
                <c:pt idx="918">
                  <c:v>1.139473498E-2</c:v>
                </c:pt>
                <c:pt idx="919">
                  <c:v>1.1428887984E-2</c:v>
                </c:pt>
                <c:pt idx="920">
                  <c:v>1.1493800683999999E-2</c:v>
                </c:pt>
                <c:pt idx="921">
                  <c:v>1.1539143712000001E-2</c:v>
                </c:pt>
                <c:pt idx="922">
                  <c:v>1.1570866367999999E-2</c:v>
                </c:pt>
                <c:pt idx="923">
                  <c:v>1.1585653784E-2</c:v>
                </c:pt>
                <c:pt idx="924">
                  <c:v>1.1571267448E-2</c:v>
                </c:pt>
                <c:pt idx="925">
                  <c:v>1.15531208239999E-2</c:v>
                </c:pt>
                <c:pt idx="926">
                  <c:v>1.1595063692E-2</c:v>
                </c:pt>
                <c:pt idx="927">
                  <c:v>1.16332301279999E-2</c:v>
                </c:pt>
                <c:pt idx="928">
                  <c:v>1.1655747887999999E-2</c:v>
                </c:pt>
                <c:pt idx="929">
                  <c:v>1.1685210368E-2</c:v>
                </c:pt>
                <c:pt idx="930">
                  <c:v>1.17318934199999E-2</c:v>
                </c:pt>
                <c:pt idx="931">
                  <c:v>1.1786020144000001E-2</c:v>
                </c:pt>
                <c:pt idx="932">
                  <c:v>1.17717636679999E-2</c:v>
                </c:pt>
                <c:pt idx="933">
                  <c:v>1.1756860387999999E-2</c:v>
                </c:pt>
                <c:pt idx="934">
                  <c:v>1.1773320752000001E-2</c:v>
                </c:pt>
                <c:pt idx="935">
                  <c:v>1.178532316E-2</c:v>
                </c:pt>
                <c:pt idx="936">
                  <c:v>1.18052623439999E-2</c:v>
                </c:pt>
                <c:pt idx="937">
                  <c:v>1.1851938031999999E-2</c:v>
                </c:pt>
                <c:pt idx="938">
                  <c:v>1.1880116844E-2</c:v>
                </c:pt>
                <c:pt idx="939">
                  <c:v>1.1865117943999999E-2</c:v>
                </c:pt>
                <c:pt idx="940">
                  <c:v>1.1856731319999999E-2</c:v>
                </c:pt>
                <c:pt idx="941">
                  <c:v>1.1859784680000001E-2</c:v>
                </c:pt>
                <c:pt idx="942">
                  <c:v>1.1839808088E-2</c:v>
                </c:pt>
                <c:pt idx="943">
                  <c:v>1.1818815764E-2</c:v>
                </c:pt>
                <c:pt idx="944">
                  <c:v>1.1820338515999999E-2</c:v>
                </c:pt>
                <c:pt idx="945">
                  <c:v>1.1807046151999999E-2</c:v>
                </c:pt>
                <c:pt idx="946">
                  <c:v>1.1821162428E-2</c:v>
                </c:pt>
                <c:pt idx="947">
                  <c:v>1.1837347587999999E-2</c:v>
                </c:pt>
                <c:pt idx="948">
                  <c:v>1.1853462444E-2</c:v>
                </c:pt>
                <c:pt idx="949">
                  <c:v>1.1848299051999999E-2</c:v>
                </c:pt>
                <c:pt idx="950">
                  <c:v>1.1831761519999999E-2</c:v>
                </c:pt>
                <c:pt idx="951">
                  <c:v>1.1820920572E-2</c:v>
                </c:pt>
                <c:pt idx="952">
                  <c:v>1.1832211092E-2</c:v>
                </c:pt>
                <c:pt idx="953">
                  <c:v>1.1830590615999999E-2</c:v>
                </c:pt>
                <c:pt idx="954">
                  <c:v>1.1829771632E-2</c:v>
                </c:pt>
                <c:pt idx="955">
                  <c:v>1.1863618964000001E-2</c:v>
                </c:pt>
                <c:pt idx="956">
                  <c:v>1.1924324300000001E-2</c:v>
                </c:pt>
                <c:pt idx="957">
                  <c:v>1.1960152528E-2</c:v>
                </c:pt>
                <c:pt idx="958">
                  <c:v>1.2000803355999999E-2</c:v>
                </c:pt>
                <c:pt idx="959">
                  <c:v>1.2031405888E-2</c:v>
                </c:pt>
                <c:pt idx="960">
                  <c:v>1.2064854135999999E-2</c:v>
                </c:pt>
                <c:pt idx="961">
                  <c:v>1.2101167439999999E-2</c:v>
                </c:pt>
                <c:pt idx="962">
                  <c:v>1.21557566439999E-2</c:v>
                </c:pt>
                <c:pt idx="963">
                  <c:v>1.2206460124E-2</c:v>
                </c:pt>
                <c:pt idx="964">
                  <c:v>1.22555000639999E-2</c:v>
                </c:pt>
                <c:pt idx="965">
                  <c:v>1.2314635508000001E-2</c:v>
                </c:pt>
                <c:pt idx="966">
                  <c:v>1.2352457440000001E-2</c:v>
                </c:pt>
                <c:pt idx="967">
                  <c:v>1.2362960768E-2</c:v>
                </c:pt>
                <c:pt idx="968">
                  <c:v>1.2409930824E-2</c:v>
                </c:pt>
                <c:pt idx="969">
                  <c:v>1.2491361011999999E-2</c:v>
                </c:pt>
                <c:pt idx="970">
                  <c:v>1.2531861788E-2</c:v>
                </c:pt>
                <c:pt idx="971">
                  <c:v>1.2554831556E-2</c:v>
                </c:pt>
                <c:pt idx="972">
                  <c:v>1.2606205327999999E-2</c:v>
                </c:pt>
                <c:pt idx="973">
                  <c:v>1.26493103479999E-2</c:v>
                </c:pt>
                <c:pt idx="974">
                  <c:v>1.2730949836E-2</c:v>
                </c:pt>
                <c:pt idx="975">
                  <c:v>1.2755690472E-2</c:v>
                </c:pt>
                <c:pt idx="976">
                  <c:v>1.2805918907999999E-2</c:v>
                </c:pt>
                <c:pt idx="977">
                  <c:v>1.28373669759999E-2</c:v>
                </c:pt>
                <c:pt idx="978">
                  <c:v>1.2926846228E-2</c:v>
                </c:pt>
                <c:pt idx="979">
                  <c:v>1.3008148696E-2</c:v>
                </c:pt>
                <c:pt idx="980">
                  <c:v>1.31072282919999E-2</c:v>
                </c:pt>
                <c:pt idx="981">
                  <c:v>1.318961714E-2</c:v>
                </c:pt>
                <c:pt idx="982">
                  <c:v>1.3293698756E-2</c:v>
                </c:pt>
                <c:pt idx="983">
                  <c:v>1.3391628904000001E-2</c:v>
                </c:pt>
                <c:pt idx="984">
                  <c:v>1.3538888375999999E-2</c:v>
                </c:pt>
                <c:pt idx="985">
                  <c:v>1.3674373764000001E-2</c:v>
                </c:pt>
                <c:pt idx="986">
                  <c:v>1.3760166304E-2</c:v>
                </c:pt>
                <c:pt idx="987">
                  <c:v>1.3841854472000001E-2</c:v>
                </c:pt>
                <c:pt idx="988">
                  <c:v>1.402737794E-2</c:v>
                </c:pt>
                <c:pt idx="989">
                  <c:v>1.41580952E-2</c:v>
                </c:pt>
                <c:pt idx="990">
                  <c:v>1.4279048367999999E-2</c:v>
                </c:pt>
                <c:pt idx="991">
                  <c:v>1.4357809679999899E-2</c:v>
                </c:pt>
                <c:pt idx="992">
                  <c:v>1.441240222E-2</c:v>
                </c:pt>
                <c:pt idx="993">
                  <c:v>1.4486448156E-2</c:v>
                </c:pt>
                <c:pt idx="994">
                  <c:v>1.4552755528E-2</c:v>
                </c:pt>
                <c:pt idx="995">
                  <c:v>1.4625536744E-2</c:v>
                </c:pt>
                <c:pt idx="996">
                  <c:v>1.4703843736E-2</c:v>
                </c:pt>
                <c:pt idx="997">
                  <c:v>1.4807706868E-2</c:v>
                </c:pt>
                <c:pt idx="998">
                  <c:v>1.49337976E-2</c:v>
                </c:pt>
                <c:pt idx="999">
                  <c:v>1.50454864159999E-2</c:v>
                </c:pt>
                <c:pt idx="1000">
                  <c:v>1.5133181767999999E-2</c:v>
                </c:pt>
                <c:pt idx="1001">
                  <c:v>1.5239801223999899E-2</c:v>
                </c:pt>
                <c:pt idx="1002">
                  <c:v>1.5316553336000001E-2</c:v>
                </c:pt>
                <c:pt idx="1003">
                  <c:v>1.5378639584000001E-2</c:v>
                </c:pt>
                <c:pt idx="1004">
                  <c:v>1.5416035167999999E-2</c:v>
                </c:pt>
                <c:pt idx="1005">
                  <c:v>1.54617227E-2</c:v>
                </c:pt>
                <c:pt idx="1006">
                  <c:v>1.5497800864000001E-2</c:v>
                </c:pt>
                <c:pt idx="1007">
                  <c:v>1.551938074E-2</c:v>
                </c:pt>
                <c:pt idx="1008">
                  <c:v>1.5556349303999999E-2</c:v>
                </c:pt>
                <c:pt idx="1009">
                  <c:v>1.55871471239999E-2</c:v>
                </c:pt>
                <c:pt idx="1010">
                  <c:v>1.55303212799999E-2</c:v>
                </c:pt>
                <c:pt idx="1011">
                  <c:v>1.5497408256E-2</c:v>
                </c:pt>
                <c:pt idx="1012">
                  <c:v>1.5472959428E-2</c:v>
                </c:pt>
                <c:pt idx="1013">
                  <c:v>1.5473873423999999E-2</c:v>
                </c:pt>
                <c:pt idx="1014">
                  <c:v>1.5492987456E-2</c:v>
                </c:pt>
                <c:pt idx="1015">
                  <c:v>1.5512951743999999E-2</c:v>
                </c:pt>
                <c:pt idx="1016">
                  <c:v>1.5523359763999999E-2</c:v>
                </c:pt>
                <c:pt idx="1017">
                  <c:v>1.5573293740000001E-2</c:v>
                </c:pt>
                <c:pt idx="1018">
                  <c:v>1.5597598716E-2</c:v>
                </c:pt>
                <c:pt idx="1019">
                  <c:v>1.5660174368000001E-2</c:v>
                </c:pt>
                <c:pt idx="1020">
                  <c:v>1.57188580359999E-2</c:v>
                </c:pt>
                <c:pt idx="1021">
                  <c:v>1.5877309236E-2</c:v>
                </c:pt>
                <c:pt idx="1022">
                  <c:v>1.5932540096000002E-2</c:v>
                </c:pt>
                <c:pt idx="1023">
                  <c:v>1.5957727868E-2</c:v>
                </c:pt>
                <c:pt idx="1024">
                  <c:v>1.598300314E-2</c:v>
                </c:pt>
                <c:pt idx="1025">
                  <c:v>1.6007190059999999E-2</c:v>
                </c:pt>
                <c:pt idx="1026">
                  <c:v>1.605442818E-2</c:v>
                </c:pt>
                <c:pt idx="1027">
                  <c:v>1.6145237616000001E-2</c:v>
                </c:pt>
                <c:pt idx="1028">
                  <c:v>1.6196238908E-2</c:v>
                </c:pt>
                <c:pt idx="1029">
                  <c:v>1.621419918E-2</c:v>
                </c:pt>
                <c:pt idx="1030">
                  <c:v>1.6236058748E-2</c:v>
                </c:pt>
                <c:pt idx="1031">
                  <c:v>1.6269977216000001E-2</c:v>
                </c:pt>
                <c:pt idx="1032">
                  <c:v>1.6287131951999999E-2</c:v>
                </c:pt>
                <c:pt idx="1033">
                  <c:v>1.6301731367999998E-2</c:v>
                </c:pt>
                <c:pt idx="1034">
                  <c:v>1.6282452744E-2</c:v>
                </c:pt>
                <c:pt idx="1035">
                  <c:v>1.6296234683999999E-2</c:v>
                </c:pt>
                <c:pt idx="1036">
                  <c:v>1.6304367556E-2</c:v>
                </c:pt>
                <c:pt idx="1037">
                  <c:v>1.6329623992000001E-2</c:v>
                </c:pt>
                <c:pt idx="1038">
                  <c:v>1.6347163483999901E-2</c:v>
                </c:pt>
                <c:pt idx="1039">
                  <c:v>1.6381001403999999E-2</c:v>
                </c:pt>
                <c:pt idx="1040">
                  <c:v>1.6427047888E-2</c:v>
                </c:pt>
                <c:pt idx="1041">
                  <c:v>1.6454212911999999E-2</c:v>
                </c:pt>
                <c:pt idx="1042">
                  <c:v>1.6400178043999999E-2</c:v>
                </c:pt>
                <c:pt idx="1043">
                  <c:v>1.6400337960000001E-2</c:v>
                </c:pt>
                <c:pt idx="1044">
                  <c:v>1.63589908959999E-2</c:v>
                </c:pt>
                <c:pt idx="1045">
                  <c:v>1.6331197616E-2</c:v>
                </c:pt>
                <c:pt idx="1046">
                  <c:v>1.6299763687999999E-2</c:v>
                </c:pt>
                <c:pt idx="1047">
                  <c:v>1.6311996015999999E-2</c:v>
                </c:pt>
                <c:pt idx="1048">
                  <c:v>1.6311443055999901E-2</c:v>
                </c:pt>
                <c:pt idx="1049">
                  <c:v>1.6313343543999999E-2</c:v>
                </c:pt>
                <c:pt idx="1050">
                  <c:v>1.6277887976000001E-2</c:v>
                </c:pt>
                <c:pt idx="1051">
                  <c:v>1.6289977420000001E-2</c:v>
                </c:pt>
                <c:pt idx="1052">
                  <c:v>1.6259210943999999E-2</c:v>
                </c:pt>
                <c:pt idx="1053">
                  <c:v>1.62464912479999E-2</c:v>
                </c:pt>
                <c:pt idx="1054">
                  <c:v>1.6220787072E-2</c:v>
                </c:pt>
                <c:pt idx="1055">
                  <c:v>1.61865148039999E-2</c:v>
                </c:pt>
                <c:pt idx="1056">
                  <c:v>1.6144344804E-2</c:v>
                </c:pt>
                <c:pt idx="1057">
                  <c:v>1.6083245739999901E-2</c:v>
                </c:pt>
                <c:pt idx="1058">
                  <c:v>1.6032075576000001E-2</c:v>
                </c:pt>
                <c:pt idx="1059">
                  <c:v>1.601606958E-2</c:v>
                </c:pt>
                <c:pt idx="1060">
                  <c:v>1.6018667583999901E-2</c:v>
                </c:pt>
                <c:pt idx="1061">
                  <c:v>1.5928607896000001E-2</c:v>
                </c:pt>
                <c:pt idx="1062">
                  <c:v>1.5903176451999901E-2</c:v>
                </c:pt>
                <c:pt idx="1063">
                  <c:v>1.5900528476E-2</c:v>
                </c:pt>
                <c:pt idx="1064">
                  <c:v>1.5897626615999999E-2</c:v>
                </c:pt>
                <c:pt idx="1065">
                  <c:v>1.5906820251999999E-2</c:v>
                </c:pt>
                <c:pt idx="1066">
                  <c:v>1.5908098555999999E-2</c:v>
                </c:pt>
                <c:pt idx="1067">
                  <c:v>1.5910937931999901E-2</c:v>
                </c:pt>
                <c:pt idx="1068">
                  <c:v>1.5900776684000001E-2</c:v>
                </c:pt>
                <c:pt idx="1069">
                  <c:v>1.591796786E-2</c:v>
                </c:pt>
                <c:pt idx="1070">
                  <c:v>1.5963012488E-2</c:v>
                </c:pt>
                <c:pt idx="1071">
                  <c:v>1.5999148123999999E-2</c:v>
                </c:pt>
                <c:pt idx="1072">
                  <c:v>1.600672828E-2</c:v>
                </c:pt>
                <c:pt idx="1073">
                  <c:v>1.6065456355999999E-2</c:v>
                </c:pt>
                <c:pt idx="1074">
                  <c:v>1.60889483439999E-2</c:v>
                </c:pt>
                <c:pt idx="1075">
                  <c:v>1.6094257955999999E-2</c:v>
                </c:pt>
                <c:pt idx="1076">
                  <c:v>1.6090690615999999E-2</c:v>
                </c:pt>
                <c:pt idx="1077">
                  <c:v>1.6108753127999999E-2</c:v>
                </c:pt>
                <c:pt idx="1078">
                  <c:v>1.6150316043999999E-2</c:v>
                </c:pt>
                <c:pt idx="1079">
                  <c:v>1.6162039967999999E-2</c:v>
                </c:pt>
                <c:pt idx="1080">
                  <c:v>1.61548902639999E-2</c:v>
                </c:pt>
                <c:pt idx="1081">
                  <c:v>1.6154615168E-2</c:v>
                </c:pt>
                <c:pt idx="1082">
                  <c:v>1.6170373200000001E-2</c:v>
                </c:pt>
                <c:pt idx="1083">
                  <c:v>1.6202033368E-2</c:v>
                </c:pt>
                <c:pt idx="1084">
                  <c:v>1.6275282539999901E-2</c:v>
                </c:pt>
                <c:pt idx="1085">
                  <c:v>1.6314380207999999E-2</c:v>
                </c:pt>
                <c:pt idx="1086">
                  <c:v>1.6334914268E-2</c:v>
                </c:pt>
                <c:pt idx="1087">
                  <c:v>1.6380836943999999E-2</c:v>
                </c:pt>
                <c:pt idx="1088">
                  <c:v>1.6421328983999998E-2</c:v>
                </c:pt>
                <c:pt idx="1089">
                  <c:v>1.6445439167999999E-2</c:v>
                </c:pt>
                <c:pt idx="1090">
                  <c:v>1.6474511072E-2</c:v>
                </c:pt>
                <c:pt idx="1091">
                  <c:v>1.6486734483999999E-2</c:v>
                </c:pt>
                <c:pt idx="1092">
                  <c:v>1.6513399072000001E-2</c:v>
                </c:pt>
                <c:pt idx="1093">
                  <c:v>1.6554375736E-2</c:v>
                </c:pt>
                <c:pt idx="1094">
                  <c:v>1.6604010919999999E-2</c:v>
                </c:pt>
                <c:pt idx="1095">
                  <c:v>1.6637637503999901E-2</c:v>
                </c:pt>
                <c:pt idx="1096">
                  <c:v>1.6692338391999999E-2</c:v>
                </c:pt>
                <c:pt idx="1097">
                  <c:v>1.6788681816E-2</c:v>
                </c:pt>
                <c:pt idx="1098">
                  <c:v>1.6984032423999901E-2</c:v>
                </c:pt>
                <c:pt idx="1099">
                  <c:v>1.7041019599999999E-2</c:v>
                </c:pt>
                <c:pt idx="1100">
                  <c:v>1.710343798E-2</c:v>
                </c:pt>
                <c:pt idx="1101">
                  <c:v>1.7145695603999998E-2</c:v>
                </c:pt>
                <c:pt idx="1102">
                  <c:v>1.72080166479999E-2</c:v>
                </c:pt>
                <c:pt idx="1103">
                  <c:v>1.7270839832E-2</c:v>
                </c:pt>
                <c:pt idx="1104">
                  <c:v>1.7334052847999999E-2</c:v>
                </c:pt>
                <c:pt idx="1105">
                  <c:v>1.7387536759999999E-2</c:v>
                </c:pt>
                <c:pt idx="1106">
                  <c:v>1.7411015408E-2</c:v>
                </c:pt>
                <c:pt idx="1107">
                  <c:v>1.7460914955999999E-2</c:v>
                </c:pt>
                <c:pt idx="1108">
                  <c:v>1.7584591252000001E-2</c:v>
                </c:pt>
                <c:pt idx="1109">
                  <c:v>1.7668267979999999E-2</c:v>
                </c:pt>
                <c:pt idx="1110">
                  <c:v>1.7729778336E-2</c:v>
                </c:pt>
                <c:pt idx="1111">
                  <c:v>1.7801470943999999E-2</c:v>
                </c:pt>
                <c:pt idx="1112">
                  <c:v>1.7944695367999999E-2</c:v>
                </c:pt>
                <c:pt idx="1113">
                  <c:v>1.8030838896E-2</c:v>
                </c:pt>
                <c:pt idx="1114">
                  <c:v>1.8133177220000001E-2</c:v>
                </c:pt>
                <c:pt idx="1115">
                  <c:v>1.8208797584E-2</c:v>
                </c:pt>
                <c:pt idx="1116">
                  <c:v>1.8313917820000001E-2</c:v>
                </c:pt>
                <c:pt idx="1117">
                  <c:v>1.8417306992000001E-2</c:v>
                </c:pt>
                <c:pt idx="1118">
                  <c:v>1.8514474723999998E-2</c:v>
                </c:pt>
                <c:pt idx="1119">
                  <c:v>1.8600390171999999E-2</c:v>
                </c:pt>
                <c:pt idx="1120">
                  <c:v>1.8680202752E-2</c:v>
                </c:pt>
                <c:pt idx="1121">
                  <c:v>1.8754336088E-2</c:v>
                </c:pt>
                <c:pt idx="1122">
                  <c:v>1.8824223556000001E-2</c:v>
                </c:pt>
                <c:pt idx="1123">
                  <c:v>1.8908528968E-2</c:v>
                </c:pt>
                <c:pt idx="1124">
                  <c:v>1.9046309840000001E-2</c:v>
                </c:pt>
                <c:pt idx="1125">
                  <c:v>1.9171069015999999E-2</c:v>
                </c:pt>
                <c:pt idx="1126">
                  <c:v>1.9316568776E-2</c:v>
                </c:pt>
                <c:pt idx="1127">
                  <c:v>1.9486440771999999E-2</c:v>
                </c:pt>
                <c:pt idx="1128">
                  <c:v>1.9621995600000001E-2</c:v>
                </c:pt>
                <c:pt idx="1129">
                  <c:v>1.9725276723999999E-2</c:v>
                </c:pt>
                <c:pt idx="1130">
                  <c:v>1.9857932040000002E-2</c:v>
                </c:pt>
                <c:pt idx="1131">
                  <c:v>1.9958277468E-2</c:v>
                </c:pt>
                <c:pt idx="1132">
                  <c:v>2.0023276736E-2</c:v>
                </c:pt>
                <c:pt idx="1133">
                  <c:v>2.0090392735999999E-2</c:v>
                </c:pt>
                <c:pt idx="1134">
                  <c:v>2.0190876963999901E-2</c:v>
                </c:pt>
                <c:pt idx="1135">
                  <c:v>2.0312050684000001E-2</c:v>
                </c:pt>
                <c:pt idx="1136">
                  <c:v>2.0386529308000001E-2</c:v>
                </c:pt>
                <c:pt idx="1137">
                  <c:v>2.0453860511999999E-2</c:v>
                </c:pt>
                <c:pt idx="1138">
                  <c:v>2.0514087744000001E-2</c:v>
                </c:pt>
                <c:pt idx="1139">
                  <c:v>2.0628393828E-2</c:v>
                </c:pt>
                <c:pt idx="1140">
                  <c:v>2.0728311863999999E-2</c:v>
                </c:pt>
                <c:pt idx="1141">
                  <c:v>2.0819529292E-2</c:v>
                </c:pt>
                <c:pt idx="1142">
                  <c:v>2.0949164215999998E-2</c:v>
                </c:pt>
                <c:pt idx="1143">
                  <c:v>2.1109183827999999E-2</c:v>
                </c:pt>
                <c:pt idx="1144">
                  <c:v>2.1353227643999901E-2</c:v>
                </c:pt>
                <c:pt idx="1145">
                  <c:v>2.1550711731999999E-2</c:v>
                </c:pt>
                <c:pt idx="1146">
                  <c:v>2.1713232712E-2</c:v>
                </c:pt>
                <c:pt idx="1147">
                  <c:v>2.18792678879999E-2</c:v>
                </c:pt>
                <c:pt idx="1148">
                  <c:v>2.2021064779999999E-2</c:v>
                </c:pt>
                <c:pt idx="1149">
                  <c:v>2.216529108E-2</c:v>
                </c:pt>
                <c:pt idx="1150">
                  <c:v>2.228725556E-2</c:v>
                </c:pt>
                <c:pt idx="1151">
                  <c:v>2.237498316E-2</c:v>
                </c:pt>
                <c:pt idx="1152">
                  <c:v>2.2489263483999999E-2</c:v>
                </c:pt>
                <c:pt idx="1153">
                  <c:v>2.2597599095999999E-2</c:v>
                </c:pt>
                <c:pt idx="1154">
                  <c:v>2.268100554E-2</c:v>
                </c:pt>
                <c:pt idx="1155">
                  <c:v>2.2739225735999999E-2</c:v>
                </c:pt>
                <c:pt idx="1156">
                  <c:v>2.2860924107999999E-2</c:v>
                </c:pt>
                <c:pt idx="1157">
                  <c:v>2.3010891267999999E-2</c:v>
                </c:pt>
                <c:pt idx="1158">
                  <c:v>2.3116734016E-2</c:v>
                </c:pt>
                <c:pt idx="1159">
                  <c:v>2.3231492592000001E-2</c:v>
                </c:pt>
                <c:pt idx="1160">
                  <c:v>2.333995778E-2</c:v>
                </c:pt>
                <c:pt idx="1161">
                  <c:v>2.3466541144E-2</c:v>
                </c:pt>
                <c:pt idx="1162">
                  <c:v>2.3593039428E-2</c:v>
                </c:pt>
                <c:pt idx="1163">
                  <c:v>2.3714624963999901E-2</c:v>
                </c:pt>
                <c:pt idx="1164">
                  <c:v>2.3780969020000001E-2</c:v>
                </c:pt>
                <c:pt idx="1165">
                  <c:v>2.3837367799999998E-2</c:v>
                </c:pt>
                <c:pt idx="1166">
                  <c:v>2.3890368588000001E-2</c:v>
                </c:pt>
                <c:pt idx="1167">
                  <c:v>2.3994834932000001E-2</c:v>
                </c:pt>
                <c:pt idx="1168">
                  <c:v>2.4098672044E-2</c:v>
                </c:pt>
                <c:pt idx="1169">
                  <c:v>2.4145068796000001E-2</c:v>
                </c:pt>
                <c:pt idx="1170">
                  <c:v>2.4158184792E-2</c:v>
                </c:pt>
                <c:pt idx="1171">
                  <c:v>2.41932419999999E-2</c:v>
                </c:pt>
                <c:pt idx="1172">
                  <c:v>2.4228187432E-2</c:v>
                </c:pt>
                <c:pt idx="1173">
                  <c:v>2.43016460759999E-2</c:v>
                </c:pt>
                <c:pt idx="1174">
                  <c:v>2.4390200059999999E-2</c:v>
                </c:pt>
                <c:pt idx="1175">
                  <c:v>2.4496461251999901E-2</c:v>
                </c:pt>
                <c:pt idx="1176">
                  <c:v>2.4577065868E-2</c:v>
                </c:pt>
                <c:pt idx="1177">
                  <c:v>2.4717253123999999E-2</c:v>
                </c:pt>
                <c:pt idx="1178">
                  <c:v>2.4824378968000001E-2</c:v>
                </c:pt>
                <c:pt idx="1179">
                  <c:v>2.4927996572E-2</c:v>
                </c:pt>
                <c:pt idx="1180">
                  <c:v>2.4974744059999901E-2</c:v>
                </c:pt>
                <c:pt idx="1181">
                  <c:v>2.503894802E-2</c:v>
                </c:pt>
                <c:pt idx="1182">
                  <c:v>2.5099455872E-2</c:v>
                </c:pt>
                <c:pt idx="1183">
                  <c:v>2.5165285427999999E-2</c:v>
                </c:pt>
                <c:pt idx="1184">
                  <c:v>2.5176374815999901E-2</c:v>
                </c:pt>
                <c:pt idx="1185">
                  <c:v>2.5264604167999999E-2</c:v>
                </c:pt>
                <c:pt idx="1186">
                  <c:v>2.5331306452000001E-2</c:v>
                </c:pt>
                <c:pt idx="1187">
                  <c:v>2.5373425023999901E-2</c:v>
                </c:pt>
                <c:pt idx="1188">
                  <c:v>2.54247653439999E-2</c:v>
                </c:pt>
                <c:pt idx="1189">
                  <c:v>2.5480930871999999E-2</c:v>
                </c:pt>
                <c:pt idx="1190">
                  <c:v>2.5559739328E-2</c:v>
                </c:pt>
                <c:pt idx="1191">
                  <c:v>2.5673971108000002E-2</c:v>
                </c:pt>
                <c:pt idx="1192">
                  <c:v>2.574976256E-2</c:v>
                </c:pt>
                <c:pt idx="1193">
                  <c:v>2.5836483800000001E-2</c:v>
                </c:pt>
                <c:pt idx="1194">
                  <c:v>2.5964549527999901E-2</c:v>
                </c:pt>
                <c:pt idx="1195">
                  <c:v>2.6071209519999999E-2</c:v>
                </c:pt>
                <c:pt idx="1196">
                  <c:v>2.6185929152E-2</c:v>
                </c:pt>
                <c:pt idx="1197">
                  <c:v>2.630732702E-2</c:v>
                </c:pt>
                <c:pt idx="1198">
                  <c:v>2.6519958127999999E-2</c:v>
                </c:pt>
                <c:pt idx="1199">
                  <c:v>2.6748455767999901E-2</c:v>
                </c:pt>
                <c:pt idx="1200">
                  <c:v>2.6829591715999999E-2</c:v>
                </c:pt>
                <c:pt idx="1201">
                  <c:v>2.6916339444000001E-2</c:v>
                </c:pt>
                <c:pt idx="1202">
                  <c:v>2.7011393179999999E-2</c:v>
                </c:pt>
                <c:pt idx="1203">
                  <c:v>2.7111194663999999E-2</c:v>
                </c:pt>
                <c:pt idx="1204">
                  <c:v>2.7217034788E-2</c:v>
                </c:pt>
                <c:pt idx="1205">
                  <c:v>2.7286792179999901E-2</c:v>
                </c:pt>
                <c:pt idx="1206">
                  <c:v>2.735858326E-2</c:v>
                </c:pt>
                <c:pt idx="1207">
                  <c:v>2.7493338935999999E-2</c:v>
                </c:pt>
                <c:pt idx="1208">
                  <c:v>2.7636236328E-2</c:v>
                </c:pt>
                <c:pt idx="1209">
                  <c:v>2.7736898728E-2</c:v>
                </c:pt>
                <c:pt idx="1210">
                  <c:v>2.78516307159999E-2</c:v>
                </c:pt>
                <c:pt idx="1211">
                  <c:v>2.7945840755999998E-2</c:v>
                </c:pt>
                <c:pt idx="1212">
                  <c:v>2.8053843932E-2</c:v>
                </c:pt>
                <c:pt idx="1213">
                  <c:v>2.8166280283999999E-2</c:v>
                </c:pt>
                <c:pt idx="1214">
                  <c:v>2.8303166679999998E-2</c:v>
                </c:pt>
                <c:pt idx="1215">
                  <c:v>2.8386556383999999E-2</c:v>
                </c:pt>
                <c:pt idx="1216">
                  <c:v>2.8543539079999999E-2</c:v>
                </c:pt>
                <c:pt idx="1217">
                  <c:v>2.867554336E-2</c:v>
                </c:pt>
                <c:pt idx="1218">
                  <c:v>2.8789172571999901E-2</c:v>
                </c:pt>
                <c:pt idx="1219">
                  <c:v>2.88218049959999E-2</c:v>
                </c:pt>
                <c:pt idx="1220">
                  <c:v>2.8908435832E-2</c:v>
                </c:pt>
                <c:pt idx="1221">
                  <c:v>2.8978975952E-2</c:v>
                </c:pt>
                <c:pt idx="1222">
                  <c:v>2.9078627039999999E-2</c:v>
                </c:pt>
                <c:pt idx="1223">
                  <c:v>2.9273751243999901E-2</c:v>
                </c:pt>
                <c:pt idx="1224">
                  <c:v>2.93983229679999E-2</c:v>
                </c:pt>
                <c:pt idx="1225">
                  <c:v>2.948915224E-2</c:v>
                </c:pt>
                <c:pt idx="1226">
                  <c:v>2.9570234928000001E-2</c:v>
                </c:pt>
                <c:pt idx="1227">
                  <c:v>2.9706202588E-2</c:v>
                </c:pt>
                <c:pt idx="1228">
                  <c:v>2.9737659436E-2</c:v>
                </c:pt>
                <c:pt idx="1229">
                  <c:v>2.9768749859999999E-2</c:v>
                </c:pt>
                <c:pt idx="1230">
                  <c:v>2.9779700679999899E-2</c:v>
                </c:pt>
                <c:pt idx="1231">
                  <c:v>2.9843934696E-2</c:v>
                </c:pt>
                <c:pt idx="1232">
                  <c:v>2.9870588088E-2</c:v>
                </c:pt>
                <c:pt idx="1233">
                  <c:v>2.9888990364000001E-2</c:v>
                </c:pt>
                <c:pt idx="1234">
                  <c:v>2.9898934576E-2</c:v>
                </c:pt>
                <c:pt idx="1235">
                  <c:v>2.9875245912000001E-2</c:v>
                </c:pt>
                <c:pt idx="1236">
                  <c:v>2.9915293688E-2</c:v>
                </c:pt>
                <c:pt idx="1237">
                  <c:v>2.9980216723999999E-2</c:v>
                </c:pt>
                <c:pt idx="1238">
                  <c:v>3.0001804635999999E-2</c:v>
                </c:pt>
                <c:pt idx="1239">
                  <c:v>3.00590549E-2</c:v>
                </c:pt>
                <c:pt idx="1240">
                  <c:v>3.0114645387999999E-2</c:v>
                </c:pt>
                <c:pt idx="1241">
                  <c:v>3.0152816727999899E-2</c:v>
                </c:pt>
                <c:pt idx="1242">
                  <c:v>3.0233039531999999E-2</c:v>
                </c:pt>
                <c:pt idx="1243">
                  <c:v>3.0278281455999999E-2</c:v>
                </c:pt>
                <c:pt idx="1244">
                  <c:v>3.0325561732E-2</c:v>
                </c:pt>
                <c:pt idx="1245">
                  <c:v>3.0357045975999999E-2</c:v>
                </c:pt>
                <c:pt idx="1246">
                  <c:v>3.0392539608000001E-2</c:v>
                </c:pt>
                <c:pt idx="1247">
                  <c:v>3.0404996263999999E-2</c:v>
                </c:pt>
                <c:pt idx="1248">
                  <c:v>3.04257267439999E-2</c:v>
                </c:pt>
                <c:pt idx="1249">
                  <c:v>3.0404035172E-2</c:v>
                </c:pt>
                <c:pt idx="1250">
                  <c:v>3.0392594615999999E-2</c:v>
                </c:pt>
                <c:pt idx="1251">
                  <c:v>3.0410581728E-2</c:v>
                </c:pt>
                <c:pt idx="1252">
                  <c:v>3.0429776612000001E-2</c:v>
                </c:pt>
                <c:pt idx="1253">
                  <c:v>3.0462132895999999E-2</c:v>
                </c:pt>
                <c:pt idx="1254">
                  <c:v>3.0506980911999999E-2</c:v>
                </c:pt>
                <c:pt idx="1255">
                  <c:v>3.0551839347999901E-2</c:v>
                </c:pt>
                <c:pt idx="1256">
                  <c:v>3.0587143588E-2</c:v>
                </c:pt>
                <c:pt idx="1257">
                  <c:v>3.0634523091999901E-2</c:v>
                </c:pt>
                <c:pt idx="1258">
                  <c:v>3.0673643904E-2</c:v>
                </c:pt>
                <c:pt idx="1259">
                  <c:v>3.0715737335999999E-2</c:v>
                </c:pt>
                <c:pt idx="1260">
                  <c:v>3.0745200176E-2</c:v>
                </c:pt>
                <c:pt idx="1261">
                  <c:v>3.0755695471999901E-2</c:v>
                </c:pt>
                <c:pt idx="1262">
                  <c:v>3.0774067119999901E-2</c:v>
                </c:pt>
                <c:pt idx="1263">
                  <c:v>3.0778349883999901E-2</c:v>
                </c:pt>
                <c:pt idx="1264">
                  <c:v>3.0773206096E-2</c:v>
                </c:pt>
                <c:pt idx="1265">
                  <c:v>3.0790675311999999E-2</c:v>
                </c:pt>
                <c:pt idx="1266">
                  <c:v>3.0824789528E-2</c:v>
                </c:pt>
                <c:pt idx="1267">
                  <c:v>3.0819765287999901E-2</c:v>
                </c:pt>
                <c:pt idx="1268">
                  <c:v>3.0783380584E-2</c:v>
                </c:pt>
                <c:pt idx="1269">
                  <c:v>3.0731795336000001E-2</c:v>
                </c:pt>
                <c:pt idx="1270">
                  <c:v>3.0683736E-2</c:v>
                </c:pt>
                <c:pt idx="1271">
                  <c:v>3.0542654863999999E-2</c:v>
                </c:pt>
                <c:pt idx="1272">
                  <c:v>3.0512567080000001E-2</c:v>
                </c:pt>
                <c:pt idx="1273">
                  <c:v>3.0522844375999999E-2</c:v>
                </c:pt>
                <c:pt idx="1274">
                  <c:v>3.0536267563999998E-2</c:v>
                </c:pt>
                <c:pt idx="1275">
                  <c:v>3.0578010648E-2</c:v>
                </c:pt>
                <c:pt idx="1276">
                  <c:v>3.0662594944000001E-2</c:v>
                </c:pt>
                <c:pt idx="1277">
                  <c:v>3.0662670807999899E-2</c:v>
                </c:pt>
                <c:pt idx="1278">
                  <c:v>3.0693821651999999E-2</c:v>
                </c:pt>
                <c:pt idx="1279">
                  <c:v>3.0749332396000001E-2</c:v>
                </c:pt>
                <c:pt idx="1280">
                  <c:v>3.0804615115999998E-2</c:v>
                </c:pt>
                <c:pt idx="1281">
                  <c:v>3.0872320799999999E-2</c:v>
                </c:pt>
                <c:pt idx="1282">
                  <c:v>3.0938782963999999E-2</c:v>
                </c:pt>
                <c:pt idx="1283">
                  <c:v>3.1028369900000002E-2</c:v>
                </c:pt>
                <c:pt idx="1284">
                  <c:v>3.1088401892E-2</c:v>
                </c:pt>
                <c:pt idx="1285">
                  <c:v>3.1190515612000001E-2</c:v>
                </c:pt>
                <c:pt idx="1286">
                  <c:v>3.1275136724000001E-2</c:v>
                </c:pt>
                <c:pt idx="1287">
                  <c:v>3.1354003248000001E-2</c:v>
                </c:pt>
                <c:pt idx="1288">
                  <c:v>3.14993576E-2</c:v>
                </c:pt>
                <c:pt idx="1289">
                  <c:v>3.1588613091999999E-2</c:v>
                </c:pt>
                <c:pt idx="1290">
                  <c:v>3.1645511911999998E-2</c:v>
                </c:pt>
                <c:pt idx="1291">
                  <c:v>3.1769328655999997E-2</c:v>
                </c:pt>
                <c:pt idx="1292">
                  <c:v>3.1836592816000001E-2</c:v>
                </c:pt>
                <c:pt idx="1293">
                  <c:v>3.1906485044000003E-2</c:v>
                </c:pt>
                <c:pt idx="1294">
                  <c:v>3.19813558E-2</c:v>
                </c:pt>
                <c:pt idx="1295">
                  <c:v>3.2069923439999898E-2</c:v>
                </c:pt>
                <c:pt idx="1296">
                  <c:v>3.2150894467999999E-2</c:v>
                </c:pt>
                <c:pt idx="1297">
                  <c:v>3.2225800620000002E-2</c:v>
                </c:pt>
                <c:pt idx="1298">
                  <c:v>3.2303851644000001E-2</c:v>
                </c:pt>
                <c:pt idx="1299">
                  <c:v>3.2367853964E-2</c:v>
                </c:pt>
                <c:pt idx="1300">
                  <c:v>3.2445764935999898E-2</c:v>
                </c:pt>
                <c:pt idx="1301">
                  <c:v>3.2525921839999902E-2</c:v>
                </c:pt>
                <c:pt idx="1302">
                  <c:v>3.2608697175999998E-2</c:v>
                </c:pt>
                <c:pt idx="1303">
                  <c:v>3.26605510359999E-2</c:v>
                </c:pt>
                <c:pt idx="1304">
                  <c:v>3.2713759455999997E-2</c:v>
                </c:pt>
                <c:pt idx="1305">
                  <c:v>3.2771170571999998E-2</c:v>
                </c:pt>
                <c:pt idx="1306">
                  <c:v>3.2849119500000003E-2</c:v>
                </c:pt>
                <c:pt idx="1307">
                  <c:v>3.2946294128E-2</c:v>
                </c:pt>
                <c:pt idx="1308">
                  <c:v>3.3010273495999998E-2</c:v>
                </c:pt>
                <c:pt idx="1309">
                  <c:v>3.3072099488000002E-2</c:v>
                </c:pt>
                <c:pt idx="1310">
                  <c:v>3.3135460812E-2</c:v>
                </c:pt>
                <c:pt idx="1311">
                  <c:v>3.3197808128000002E-2</c:v>
                </c:pt>
                <c:pt idx="1312">
                  <c:v>3.3263215047999999E-2</c:v>
                </c:pt>
                <c:pt idx="1313">
                  <c:v>3.3308661747999999E-2</c:v>
                </c:pt>
                <c:pt idx="1314">
                  <c:v>3.3353501068000002E-2</c:v>
                </c:pt>
                <c:pt idx="1315">
                  <c:v>3.3384856556E-2</c:v>
                </c:pt>
                <c:pt idx="1316">
                  <c:v>3.3442598976E-2</c:v>
                </c:pt>
                <c:pt idx="1317">
                  <c:v>3.3497991884000003E-2</c:v>
                </c:pt>
                <c:pt idx="1318">
                  <c:v>3.3554781923999903E-2</c:v>
                </c:pt>
                <c:pt idx="1319">
                  <c:v>3.3584726904000002E-2</c:v>
                </c:pt>
                <c:pt idx="1320">
                  <c:v>3.3594885755999997E-2</c:v>
                </c:pt>
                <c:pt idx="1321">
                  <c:v>3.3579227464000001E-2</c:v>
                </c:pt>
                <c:pt idx="1322">
                  <c:v>3.3675903463999998E-2</c:v>
                </c:pt>
                <c:pt idx="1323">
                  <c:v>3.3635062424000002E-2</c:v>
                </c:pt>
                <c:pt idx="1324">
                  <c:v>3.3626605391999902E-2</c:v>
                </c:pt>
                <c:pt idx="1325">
                  <c:v>3.3664898727999999E-2</c:v>
                </c:pt>
                <c:pt idx="1326">
                  <c:v>3.3756590375999998E-2</c:v>
                </c:pt>
                <c:pt idx="1327">
                  <c:v>3.3810646283999997E-2</c:v>
                </c:pt>
                <c:pt idx="1328">
                  <c:v>3.386675242E-2</c:v>
                </c:pt>
                <c:pt idx="1329">
                  <c:v>3.3948180724E-2</c:v>
                </c:pt>
                <c:pt idx="1330">
                  <c:v>3.4052087763999997E-2</c:v>
                </c:pt>
                <c:pt idx="1331">
                  <c:v>3.4149255496000001E-2</c:v>
                </c:pt>
                <c:pt idx="1332">
                  <c:v>3.4236758992000002E-2</c:v>
                </c:pt>
                <c:pt idx="1333">
                  <c:v>3.4255226367999998E-2</c:v>
                </c:pt>
                <c:pt idx="1334">
                  <c:v>3.4221882612000001E-2</c:v>
                </c:pt>
                <c:pt idx="1335">
                  <c:v>3.4188314127999997E-2</c:v>
                </c:pt>
                <c:pt idx="1336">
                  <c:v>3.4171743591999898E-2</c:v>
                </c:pt>
                <c:pt idx="1337">
                  <c:v>3.4168010515999998E-2</c:v>
                </c:pt>
                <c:pt idx="1338">
                  <c:v>3.4185123843999903E-2</c:v>
                </c:pt>
                <c:pt idx="1339">
                  <c:v>3.4214880384000002E-2</c:v>
                </c:pt>
                <c:pt idx="1340">
                  <c:v>3.4219988075999998E-2</c:v>
                </c:pt>
                <c:pt idx="1341">
                  <c:v>3.4233550015999897E-2</c:v>
                </c:pt>
                <c:pt idx="1342">
                  <c:v>3.4251899039999999E-2</c:v>
                </c:pt>
                <c:pt idx="1343">
                  <c:v>3.4277575140000002E-2</c:v>
                </c:pt>
                <c:pt idx="1344">
                  <c:v>3.4293752419999997E-2</c:v>
                </c:pt>
                <c:pt idx="1345">
                  <c:v>3.430473136E-2</c:v>
                </c:pt>
                <c:pt idx="1346">
                  <c:v>3.4329930539999998E-2</c:v>
                </c:pt>
                <c:pt idx="1347">
                  <c:v>3.4265414847999998E-2</c:v>
                </c:pt>
                <c:pt idx="1348">
                  <c:v>3.4093725547999998E-2</c:v>
                </c:pt>
                <c:pt idx="1349">
                  <c:v>3.4068156035999997E-2</c:v>
                </c:pt>
                <c:pt idx="1350">
                  <c:v>3.4036226188E-2</c:v>
                </c:pt>
                <c:pt idx="1351">
                  <c:v>3.4017591020000001E-2</c:v>
                </c:pt>
                <c:pt idx="1352">
                  <c:v>3.3981312755999998E-2</c:v>
                </c:pt>
                <c:pt idx="1353">
                  <c:v>3.3930468195999999E-2</c:v>
                </c:pt>
                <c:pt idx="1354">
                  <c:v>3.3882269027999998E-2</c:v>
                </c:pt>
                <c:pt idx="1355">
                  <c:v>3.3816290832000002E-2</c:v>
                </c:pt>
                <c:pt idx="1356">
                  <c:v>3.3787848255999897E-2</c:v>
                </c:pt>
                <c:pt idx="1357">
                  <c:v>3.3743912191999903E-2</c:v>
                </c:pt>
                <c:pt idx="1358">
                  <c:v>3.3620605008000001E-2</c:v>
                </c:pt>
                <c:pt idx="1359">
                  <c:v>3.3547596976000002E-2</c:v>
                </c:pt>
                <c:pt idx="1360">
                  <c:v>3.3480197135999999E-2</c:v>
                </c:pt>
                <c:pt idx="1361">
                  <c:v>3.3411626707999999E-2</c:v>
                </c:pt>
                <c:pt idx="1362">
                  <c:v>3.3270986704E-2</c:v>
                </c:pt>
                <c:pt idx="1363">
                  <c:v>3.3201717068E-2</c:v>
                </c:pt>
                <c:pt idx="1364">
                  <c:v>3.3136908452E-2</c:v>
                </c:pt>
                <c:pt idx="1365">
                  <c:v>3.3074173675999997E-2</c:v>
                </c:pt>
                <c:pt idx="1366">
                  <c:v>3.3026549331999902E-2</c:v>
                </c:pt>
                <c:pt idx="1367">
                  <c:v>3.2954918075999998E-2</c:v>
                </c:pt>
                <c:pt idx="1368">
                  <c:v>3.2908156112E-2</c:v>
                </c:pt>
                <c:pt idx="1369">
                  <c:v>3.2842164399999998E-2</c:v>
                </c:pt>
                <c:pt idx="1370">
                  <c:v>3.2784039867999999E-2</c:v>
                </c:pt>
                <c:pt idx="1371">
                  <c:v>3.2752662703999999E-2</c:v>
                </c:pt>
                <c:pt idx="1372">
                  <c:v>3.2690493180000002E-2</c:v>
                </c:pt>
                <c:pt idx="1373">
                  <c:v>3.264772984E-2</c:v>
                </c:pt>
                <c:pt idx="1374">
                  <c:v>3.2547237427999899E-2</c:v>
                </c:pt>
                <c:pt idx="1375">
                  <c:v>3.2453735579999997E-2</c:v>
                </c:pt>
                <c:pt idx="1376">
                  <c:v>3.2330664215999998E-2</c:v>
                </c:pt>
                <c:pt idx="1377">
                  <c:v>3.2168208224000003E-2</c:v>
                </c:pt>
                <c:pt idx="1378">
                  <c:v>3.2054229528000001E-2</c:v>
                </c:pt>
                <c:pt idx="1379">
                  <c:v>3.1980243024000002E-2</c:v>
                </c:pt>
                <c:pt idx="1380">
                  <c:v>3.1879992804000001E-2</c:v>
                </c:pt>
                <c:pt idx="1381">
                  <c:v>3.1833719195999997E-2</c:v>
                </c:pt>
                <c:pt idx="1382">
                  <c:v>3.1808217444000003E-2</c:v>
                </c:pt>
                <c:pt idx="1383">
                  <c:v>3.1778014436E-2</c:v>
                </c:pt>
                <c:pt idx="1384">
                  <c:v>3.1730070736000003E-2</c:v>
                </c:pt>
                <c:pt idx="1385">
                  <c:v>3.1653775272000001E-2</c:v>
                </c:pt>
                <c:pt idx="1386">
                  <c:v>3.1618624668E-2</c:v>
                </c:pt>
                <c:pt idx="1387">
                  <c:v>3.1603150268000001E-2</c:v>
                </c:pt>
                <c:pt idx="1388">
                  <c:v>3.158934528E-2</c:v>
                </c:pt>
                <c:pt idx="1389">
                  <c:v>3.1535578227999898E-2</c:v>
                </c:pt>
                <c:pt idx="1390">
                  <c:v>3.1496164144E-2</c:v>
                </c:pt>
                <c:pt idx="1391">
                  <c:v>3.1418801503999998E-2</c:v>
                </c:pt>
                <c:pt idx="1392">
                  <c:v>3.1346794088E-2</c:v>
                </c:pt>
                <c:pt idx="1393">
                  <c:v>3.1253664792000001E-2</c:v>
                </c:pt>
                <c:pt idx="1394">
                  <c:v>3.1048348172000001E-2</c:v>
                </c:pt>
                <c:pt idx="1395">
                  <c:v>3.08990881599999E-2</c:v>
                </c:pt>
                <c:pt idx="1396">
                  <c:v>3.0798156316000001E-2</c:v>
                </c:pt>
                <c:pt idx="1397">
                  <c:v>3.0690669520000002E-2</c:v>
                </c:pt>
                <c:pt idx="1398">
                  <c:v>3.05632472559999E-2</c:v>
                </c:pt>
                <c:pt idx="1399">
                  <c:v>3.045185546E-2</c:v>
                </c:pt>
                <c:pt idx="1400">
                  <c:v>3.0382077155999901E-2</c:v>
                </c:pt>
                <c:pt idx="1401">
                  <c:v>3.0317350407999901E-2</c:v>
                </c:pt>
                <c:pt idx="1402">
                  <c:v>3.0229348887999899E-2</c:v>
                </c:pt>
                <c:pt idx="1403">
                  <c:v>3.0108923111999999E-2</c:v>
                </c:pt>
                <c:pt idx="1404">
                  <c:v>2.9992313520000001E-2</c:v>
                </c:pt>
                <c:pt idx="1405">
                  <c:v>2.9875867744000001E-2</c:v>
                </c:pt>
                <c:pt idx="1406">
                  <c:v>2.9731621132000001E-2</c:v>
                </c:pt>
                <c:pt idx="1407">
                  <c:v>2.9558635691999999E-2</c:v>
                </c:pt>
                <c:pt idx="1408">
                  <c:v>2.9446307248E-2</c:v>
                </c:pt>
                <c:pt idx="1409">
                  <c:v>2.9354156619999999E-2</c:v>
                </c:pt>
                <c:pt idx="1410">
                  <c:v>2.9244437004E-2</c:v>
                </c:pt>
                <c:pt idx="1411">
                  <c:v>2.9089925339999899E-2</c:v>
                </c:pt>
                <c:pt idx="1412">
                  <c:v>2.894375074E-2</c:v>
                </c:pt>
                <c:pt idx="1413">
                  <c:v>2.8794837816E-2</c:v>
                </c:pt>
                <c:pt idx="1414">
                  <c:v>2.8698381887999998E-2</c:v>
                </c:pt>
                <c:pt idx="1415">
                  <c:v>2.8621296923999999E-2</c:v>
                </c:pt>
                <c:pt idx="1416">
                  <c:v>2.8568267195999999E-2</c:v>
                </c:pt>
                <c:pt idx="1417">
                  <c:v>2.8452777636000001E-2</c:v>
                </c:pt>
                <c:pt idx="1418">
                  <c:v>2.835397294E-2</c:v>
                </c:pt>
                <c:pt idx="1419">
                  <c:v>2.8293468992000002E-2</c:v>
                </c:pt>
                <c:pt idx="1420">
                  <c:v>2.8240704576E-2</c:v>
                </c:pt>
                <c:pt idx="1421">
                  <c:v>2.8171435504E-2</c:v>
                </c:pt>
                <c:pt idx="1422">
                  <c:v>2.8104028055999899E-2</c:v>
                </c:pt>
                <c:pt idx="1423">
                  <c:v>2.8010725452E-2</c:v>
                </c:pt>
                <c:pt idx="1424">
                  <c:v>2.7927821932E-2</c:v>
                </c:pt>
                <c:pt idx="1425">
                  <c:v>2.7839884876E-2</c:v>
                </c:pt>
                <c:pt idx="1426">
                  <c:v>2.7729996568000001E-2</c:v>
                </c:pt>
                <c:pt idx="1427">
                  <c:v>2.75765437079999E-2</c:v>
                </c:pt>
                <c:pt idx="1428">
                  <c:v>2.7454765108E-2</c:v>
                </c:pt>
                <c:pt idx="1429">
                  <c:v>2.7377114379999901E-2</c:v>
                </c:pt>
                <c:pt idx="1430">
                  <c:v>2.730824758E-2</c:v>
                </c:pt>
                <c:pt idx="1431">
                  <c:v>2.7216110975999901E-2</c:v>
                </c:pt>
                <c:pt idx="1432">
                  <c:v>2.7163779379999999E-2</c:v>
                </c:pt>
                <c:pt idx="1433">
                  <c:v>2.7087804471999901E-2</c:v>
                </c:pt>
                <c:pt idx="1434">
                  <c:v>2.703420594E-2</c:v>
                </c:pt>
                <c:pt idx="1435">
                  <c:v>2.6942525111999901E-2</c:v>
                </c:pt>
                <c:pt idx="1436">
                  <c:v>2.68806969559999E-2</c:v>
                </c:pt>
                <c:pt idx="1437">
                  <c:v>2.6832200848000001E-2</c:v>
                </c:pt>
                <c:pt idx="1438">
                  <c:v>2.6770129948000002E-2</c:v>
                </c:pt>
                <c:pt idx="1439">
                  <c:v>2.6713661319999998E-2</c:v>
                </c:pt>
                <c:pt idx="1440">
                  <c:v>2.6627303012E-2</c:v>
                </c:pt>
                <c:pt idx="1441">
                  <c:v>2.65064210679999E-2</c:v>
                </c:pt>
                <c:pt idx="1442">
                  <c:v>2.6443543892000002E-2</c:v>
                </c:pt>
                <c:pt idx="1443">
                  <c:v>2.6400717283999901E-2</c:v>
                </c:pt>
                <c:pt idx="1444">
                  <c:v>2.6290333068000001E-2</c:v>
                </c:pt>
                <c:pt idx="1445">
                  <c:v>2.620592674E-2</c:v>
                </c:pt>
                <c:pt idx="1446">
                  <c:v>2.6129610992000001E-2</c:v>
                </c:pt>
                <c:pt idx="1447">
                  <c:v>2.6019145024E-2</c:v>
                </c:pt>
                <c:pt idx="1448">
                  <c:v>2.5827485984E-2</c:v>
                </c:pt>
                <c:pt idx="1449">
                  <c:v>2.5615536075999999E-2</c:v>
                </c:pt>
                <c:pt idx="1450">
                  <c:v>2.5537393112000002E-2</c:v>
                </c:pt>
                <c:pt idx="1451">
                  <c:v>2.5440867911999999E-2</c:v>
                </c:pt>
                <c:pt idx="1452">
                  <c:v>2.5328112207999999E-2</c:v>
                </c:pt>
                <c:pt idx="1453">
                  <c:v>2.5224715631999999E-2</c:v>
                </c:pt>
                <c:pt idx="1454">
                  <c:v>2.51198421719999E-2</c:v>
                </c:pt>
                <c:pt idx="1455">
                  <c:v>2.501736454E-2</c:v>
                </c:pt>
                <c:pt idx="1456">
                  <c:v>2.4890150011999901E-2</c:v>
                </c:pt>
                <c:pt idx="1457">
                  <c:v>2.4730849507999999E-2</c:v>
                </c:pt>
                <c:pt idx="1458">
                  <c:v>2.4585282619999999E-2</c:v>
                </c:pt>
                <c:pt idx="1459">
                  <c:v>2.4462927432000001E-2</c:v>
                </c:pt>
                <c:pt idx="1460">
                  <c:v>2.4351623651999998E-2</c:v>
                </c:pt>
                <c:pt idx="1461">
                  <c:v>2.4349438415999999E-2</c:v>
                </c:pt>
                <c:pt idx="1462">
                  <c:v>2.43115766439999E-2</c:v>
                </c:pt>
                <c:pt idx="1463">
                  <c:v>2.4196985364000001E-2</c:v>
                </c:pt>
                <c:pt idx="1464">
                  <c:v>2.40492215039999E-2</c:v>
                </c:pt>
                <c:pt idx="1465">
                  <c:v>2.39944692E-2</c:v>
                </c:pt>
                <c:pt idx="1466">
                  <c:v>2.38648376559999E-2</c:v>
                </c:pt>
                <c:pt idx="1467">
                  <c:v>2.3750469723999999E-2</c:v>
                </c:pt>
                <c:pt idx="1468">
                  <c:v>2.3630775292E-2</c:v>
                </c:pt>
                <c:pt idx="1469">
                  <c:v>2.3548440552000002E-2</c:v>
                </c:pt>
                <c:pt idx="1470">
                  <c:v>2.3449963896000001E-2</c:v>
                </c:pt>
                <c:pt idx="1471">
                  <c:v>2.3339643492E-2</c:v>
                </c:pt>
                <c:pt idx="1472">
                  <c:v>2.3199174555999999E-2</c:v>
                </c:pt>
                <c:pt idx="1473">
                  <c:v>2.2964364107999999E-2</c:v>
                </c:pt>
                <c:pt idx="1474">
                  <c:v>2.2783405867999901E-2</c:v>
                </c:pt>
                <c:pt idx="1475">
                  <c:v>2.2654024056000002E-2</c:v>
                </c:pt>
                <c:pt idx="1476">
                  <c:v>2.2509503051999901E-2</c:v>
                </c:pt>
                <c:pt idx="1477">
                  <c:v>2.2350808071999999E-2</c:v>
                </c:pt>
                <c:pt idx="1478">
                  <c:v>2.2247153959999998E-2</c:v>
                </c:pt>
                <c:pt idx="1479">
                  <c:v>2.2142945048E-2</c:v>
                </c:pt>
                <c:pt idx="1480">
                  <c:v>2.2045629476E-2</c:v>
                </c:pt>
                <c:pt idx="1481">
                  <c:v>2.1899789007999999E-2</c:v>
                </c:pt>
                <c:pt idx="1482">
                  <c:v>2.17593859399999E-2</c:v>
                </c:pt>
                <c:pt idx="1483">
                  <c:v>2.1638560387999901E-2</c:v>
                </c:pt>
                <c:pt idx="1484">
                  <c:v>2.1476448967999998E-2</c:v>
                </c:pt>
                <c:pt idx="1485">
                  <c:v>2.1354503952E-2</c:v>
                </c:pt>
                <c:pt idx="1486">
                  <c:v>2.1207176639999999E-2</c:v>
                </c:pt>
                <c:pt idx="1487">
                  <c:v>2.1066348055999998E-2</c:v>
                </c:pt>
                <c:pt idx="1488">
                  <c:v>2.08668747999999E-2</c:v>
                </c:pt>
                <c:pt idx="1489">
                  <c:v>2.066614508E-2</c:v>
                </c:pt>
                <c:pt idx="1490">
                  <c:v>2.0484871092E-2</c:v>
                </c:pt>
                <c:pt idx="1491">
                  <c:v>2.0373110056E-2</c:v>
                </c:pt>
                <c:pt idx="1492">
                  <c:v>2.0235665051999901E-2</c:v>
                </c:pt>
                <c:pt idx="1493">
                  <c:v>2.0127945992000001E-2</c:v>
                </c:pt>
                <c:pt idx="1494">
                  <c:v>2.00123437399999E-2</c:v>
                </c:pt>
                <c:pt idx="1495">
                  <c:v>1.9910940432E-2</c:v>
                </c:pt>
                <c:pt idx="1496">
                  <c:v>1.9797816207999999E-2</c:v>
                </c:pt>
                <c:pt idx="1497">
                  <c:v>1.9708219344000001E-2</c:v>
                </c:pt>
                <c:pt idx="1498">
                  <c:v>1.9577972839999999E-2</c:v>
                </c:pt>
                <c:pt idx="1499">
                  <c:v>1.9514261000000001E-2</c:v>
                </c:pt>
                <c:pt idx="1500">
                  <c:v>1.9441027792E-2</c:v>
                </c:pt>
                <c:pt idx="1501">
                  <c:v>1.93312839439999E-2</c:v>
                </c:pt>
                <c:pt idx="1502">
                  <c:v>1.9251159332000001E-2</c:v>
                </c:pt>
                <c:pt idx="1503">
                  <c:v>1.917889574E-2</c:v>
                </c:pt>
                <c:pt idx="1504">
                  <c:v>1.9114345328E-2</c:v>
                </c:pt>
                <c:pt idx="1505">
                  <c:v>1.9027517787999999E-2</c:v>
                </c:pt>
                <c:pt idx="1506">
                  <c:v>1.8951172267999999E-2</c:v>
                </c:pt>
                <c:pt idx="1507">
                  <c:v>1.8880277811999999E-2</c:v>
                </c:pt>
                <c:pt idx="1508">
                  <c:v>1.8818444244000001E-2</c:v>
                </c:pt>
                <c:pt idx="1509">
                  <c:v>1.87391613639999E-2</c:v>
                </c:pt>
                <c:pt idx="1510">
                  <c:v>1.8696984875999901E-2</c:v>
                </c:pt>
                <c:pt idx="1511">
                  <c:v>1.8661478291999999E-2</c:v>
                </c:pt>
                <c:pt idx="1512">
                  <c:v>1.8654468723999999E-2</c:v>
                </c:pt>
                <c:pt idx="1513">
                  <c:v>1.8652508248000001E-2</c:v>
                </c:pt>
                <c:pt idx="1514">
                  <c:v>1.8625006364E-2</c:v>
                </c:pt>
                <c:pt idx="1515">
                  <c:v>1.8581213363999999E-2</c:v>
                </c:pt>
                <c:pt idx="1516">
                  <c:v>1.8539023551999999E-2</c:v>
                </c:pt>
                <c:pt idx="1517">
                  <c:v>1.8480640672E-2</c:v>
                </c:pt>
                <c:pt idx="1518">
                  <c:v>1.8454990835999999E-2</c:v>
                </c:pt>
                <c:pt idx="1519">
                  <c:v>1.8447895264000001E-2</c:v>
                </c:pt>
                <c:pt idx="1520">
                  <c:v>1.8451087863999901E-2</c:v>
                </c:pt>
                <c:pt idx="1521">
                  <c:v>1.8440584603999999E-2</c:v>
                </c:pt>
                <c:pt idx="1522">
                  <c:v>1.8419491059999901E-2</c:v>
                </c:pt>
                <c:pt idx="1523">
                  <c:v>1.8379425091999999E-2</c:v>
                </c:pt>
                <c:pt idx="1524">
                  <c:v>1.8350349719999999E-2</c:v>
                </c:pt>
                <c:pt idx="1525">
                  <c:v>1.8279524203999999E-2</c:v>
                </c:pt>
                <c:pt idx="1526">
                  <c:v>1.8146563463999999E-2</c:v>
                </c:pt>
                <c:pt idx="1527">
                  <c:v>1.8051585719999999E-2</c:v>
                </c:pt>
                <c:pt idx="1528">
                  <c:v>1.7964700728000001E-2</c:v>
                </c:pt>
                <c:pt idx="1529">
                  <c:v>1.78911038679999E-2</c:v>
                </c:pt>
                <c:pt idx="1530">
                  <c:v>1.7810970975999998E-2</c:v>
                </c:pt>
                <c:pt idx="1531">
                  <c:v>1.7715567419999901E-2</c:v>
                </c:pt>
                <c:pt idx="1532">
                  <c:v>1.7634066223999999E-2</c:v>
                </c:pt>
                <c:pt idx="1533">
                  <c:v>1.75241901E-2</c:v>
                </c:pt>
                <c:pt idx="1534">
                  <c:v>1.7450008547999999E-2</c:v>
                </c:pt>
                <c:pt idx="1535">
                  <c:v>1.7332547536000002E-2</c:v>
                </c:pt>
                <c:pt idx="1536">
                  <c:v>1.7227222495999998E-2</c:v>
                </c:pt>
                <c:pt idx="1537">
                  <c:v>1.7118595952E-2</c:v>
                </c:pt>
                <c:pt idx="1538">
                  <c:v>1.6946522972E-2</c:v>
                </c:pt>
                <c:pt idx="1539">
                  <c:v>1.68150276959999E-2</c:v>
                </c:pt>
                <c:pt idx="1540">
                  <c:v>1.6735211044000001E-2</c:v>
                </c:pt>
                <c:pt idx="1541">
                  <c:v>1.6585091691999999E-2</c:v>
                </c:pt>
                <c:pt idx="1542">
                  <c:v>1.6536541376E-2</c:v>
                </c:pt>
                <c:pt idx="1543">
                  <c:v>1.6466628463999999E-2</c:v>
                </c:pt>
                <c:pt idx="1544">
                  <c:v>1.63781019479999E-2</c:v>
                </c:pt>
                <c:pt idx="1545">
                  <c:v>1.62760463999999E-2</c:v>
                </c:pt>
                <c:pt idx="1546">
                  <c:v>1.6186042628E-2</c:v>
                </c:pt>
                <c:pt idx="1547">
                  <c:v>1.608592168E-2</c:v>
                </c:pt>
                <c:pt idx="1548">
                  <c:v>1.5994996811999999E-2</c:v>
                </c:pt>
                <c:pt idx="1549">
                  <c:v>1.5921170727999999E-2</c:v>
                </c:pt>
                <c:pt idx="1550">
                  <c:v>1.5827964584000001E-2</c:v>
                </c:pt>
                <c:pt idx="1551">
                  <c:v>1.5713493408E-2</c:v>
                </c:pt>
                <c:pt idx="1552">
                  <c:v>1.5620137403999999E-2</c:v>
                </c:pt>
                <c:pt idx="1553">
                  <c:v>1.5535353832E-2</c:v>
                </c:pt>
                <c:pt idx="1554">
                  <c:v>1.5470152744E-2</c:v>
                </c:pt>
                <c:pt idx="1555">
                  <c:v>1.5397232492E-2</c:v>
                </c:pt>
                <c:pt idx="1556">
                  <c:v>1.5289131888000001E-2</c:v>
                </c:pt>
                <c:pt idx="1557">
                  <c:v>1.5175974896E-2</c:v>
                </c:pt>
                <c:pt idx="1558">
                  <c:v>1.5092530959999999E-2</c:v>
                </c:pt>
                <c:pt idx="1559">
                  <c:v>1.4988336404E-2</c:v>
                </c:pt>
                <c:pt idx="1560">
                  <c:v>1.4894733231999999E-2</c:v>
                </c:pt>
                <c:pt idx="1561">
                  <c:v>1.4829823668E-2</c:v>
                </c:pt>
                <c:pt idx="1562">
                  <c:v>1.47729976519999E-2</c:v>
                </c:pt>
                <c:pt idx="1563">
                  <c:v>1.4714780675999999E-2</c:v>
                </c:pt>
                <c:pt idx="1564">
                  <c:v>1.473765526E-2</c:v>
                </c:pt>
                <c:pt idx="1565">
                  <c:v>1.4739359452E-2</c:v>
                </c:pt>
                <c:pt idx="1566">
                  <c:v>1.4686514035999999E-2</c:v>
                </c:pt>
                <c:pt idx="1567">
                  <c:v>1.4658122664E-2</c:v>
                </c:pt>
                <c:pt idx="1568">
                  <c:v>1.4621989096E-2</c:v>
                </c:pt>
                <c:pt idx="1569">
                  <c:v>1.458431952E-2</c:v>
                </c:pt>
                <c:pt idx="1570">
                  <c:v>1.4533846312E-2</c:v>
                </c:pt>
                <c:pt idx="1571">
                  <c:v>1.4489636171999999E-2</c:v>
                </c:pt>
                <c:pt idx="1572">
                  <c:v>1.43691191679999E-2</c:v>
                </c:pt>
                <c:pt idx="1573">
                  <c:v>1.43401202119999E-2</c:v>
                </c:pt>
                <c:pt idx="1574">
                  <c:v>1.43181919319999E-2</c:v>
                </c:pt>
                <c:pt idx="1575">
                  <c:v>1.4280442060000001E-2</c:v>
                </c:pt>
                <c:pt idx="1576">
                  <c:v>1.4162860584E-2</c:v>
                </c:pt>
                <c:pt idx="1577">
                  <c:v>1.4083644399999999E-2</c:v>
                </c:pt>
                <c:pt idx="1578">
                  <c:v>1.3982560788E-2</c:v>
                </c:pt>
                <c:pt idx="1579">
                  <c:v>1.3875804384E-2</c:v>
                </c:pt>
                <c:pt idx="1580">
                  <c:v>1.3763257736E-2</c:v>
                </c:pt>
                <c:pt idx="1581">
                  <c:v>1.3666152419999999E-2</c:v>
                </c:pt>
                <c:pt idx="1582">
                  <c:v>1.356866514E-2</c:v>
                </c:pt>
                <c:pt idx="1583">
                  <c:v>1.3518636224E-2</c:v>
                </c:pt>
                <c:pt idx="1584">
                  <c:v>1.34659973839999E-2</c:v>
                </c:pt>
                <c:pt idx="1585">
                  <c:v>1.3450827388E-2</c:v>
                </c:pt>
                <c:pt idx="1586">
                  <c:v>1.3431566168E-2</c:v>
                </c:pt>
                <c:pt idx="1587">
                  <c:v>1.33995645919999E-2</c:v>
                </c:pt>
                <c:pt idx="1588">
                  <c:v>1.3337677896000001E-2</c:v>
                </c:pt>
                <c:pt idx="1589">
                  <c:v>1.3272299984000001E-2</c:v>
                </c:pt>
                <c:pt idx="1590">
                  <c:v>1.32379351959999E-2</c:v>
                </c:pt>
                <c:pt idx="1591">
                  <c:v>1.3218656052E-2</c:v>
                </c:pt>
                <c:pt idx="1592">
                  <c:v>1.317623282E-2</c:v>
                </c:pt>
                <c:pt idx="1593">
                  <c:v>1.3120486351999999E-2</c:v>
                </c:pt>
                <c:pt idx="1594">
                  <c:v>1.3105275596000001E-2</c:v>
                </c:pt>
                <c:pt idx="1595">
                  <c:v>1.30890927119999E-2</c:v>
                </c:pt>
                <c:pt idx="1596">
                  <c:v>1.3021504472E-2</c:v>
                </c:pt>
                <c:pt idx="1597">
                  <c:v>1.3048092767999999E-2</c:v>
                </c:pt>
                <c:pt idx="1598">
                  <c:v>1.3078945452E-2</c:v>
                </c:pt>
                <c:pt idx="1599">
                  <c:v>1.3113973120000001E-2</c:v>
                </c:pt>
                <c:pt idx="1600">
                  <c:v>1.3163339384E-2</c:v>
                </c:pt>
                <c:pt idx="1601">
                  <c:v>1.3180497839999999E-2</c:v>
                </c:pt>
                <c:pt idx="1602">
                  <c:v>1.320229818E-2</c:v>
                </c:pt>
                <c:pt idx="1603">
                  <c:v>1.3228626227999999E-2</c:v>
                </c:pt>
                <c:pt idx="1604">
                  <c:v>1.3230769084E-2</c:v>
                </c:pt>
                <c:pt idx="1605">
                  <c:v>1.3237877628E-2</c:v>
                </c:pt>
                <c:pt idx="1606">
                  <c:v>1.32427595999999E-2</c:v>
                </c:pt>
                <c:pt idx="1607">
                  <c:v>1.3286642868E-2</c:v>
                </c:pt>
                <c:pt idx="1608">
                  <c:v>1.3302118336E-2</c:v>
                </c:pt>
                <c:pt idx="1609">
                  <c:v>1.3304895824000001E-2</c:v>
                </c:pt>
                <c:pt idx="1610">
                  <c:v>1.3329075344E-2</c:v>
                </c:pt>
                <c:pt idx="1611">
                  <c:v>1.33754565919999E-2</c:v>
                </c:pt>
                <c:pt idx="1612">
                  <c:v>1.34608193879999E-2</c:v>
                </c:pt>
                <c:pt idx="1613">
                  <c:v>1.34882516559999E-2</c:v>
                </c:pt>
                <c:pt idx="1614">
                  <c:v>1.3526844616000001E-2</c:v>
                </c:pt>
                <c:pt idx="1615">
                  <c:v>1.3560349500000001E-2</c:v>
                </c:pt>
                <c:pt idx="1616">
                  <c:v>1.35485563159999E-2</c:v>
                </c:pt>
                <c:pt idx="1617">
                  <c:v>1.355939544E-2</c:v>
                </c:pt>
                <c:pt idx="1618">
                  <c:v>1.3557877416E-2</c:v>
                </c:pt>
                <c:pt idx="1619">
                  <c:v>1.3563216084000001E-2</c:v>
                </c:pt>
                <c:pt idx="1620">
                  <c:v>1.3563703648000001E-2</c:v>
                </c:pt>
                <c:pt idx="1621">
                  <c:v>1.35505212E-2</c:v>
                </c:pt>
                <c:pt idx="1622">
                  <c:v>1.3548890764E-2</c:v>
                </c:pt>
                <c:pt idx="1623">
                  <c:v>1.3544198328000001E-2</c:v>
                </c:pt>
                <c:pt idx="1624">
                  <c:v>1.3532179864E-2</c:v>
                </c:pt>
                <c:pt idx="1625">
                  <c:v>1.3540003476E-2</c:v>
                </c:pt>
                <c:pt idx="1626">
                  <c:v>1.3519913184000001E-2</c:v>
                </c:pt>
                <c:pt idx="1627">
                  <c:v>1.3519709608000001E-2</c:v>
                </c:pt>
                <c:pt idx="1628">
                  <c:v>1.3503377111999899E-2</c:v>
                </c:pt>
                <c:pt idx="1629">
                  <c:v>1.3490673056E-2</c:v>
                </c:pt>
                <c:pt idx="1630">
                  <c:v>1.34670518599999E-2</c:v>
                </c:pt>
                <c:pt idx="1631">
                  <c:v>1.3423549175999999E-2</c:v>
                </c:pt>
                <c:pt idx="1632">
                  <c:v>1.3402621499999901E-2</c:v>
                </c:pt>
                <c:pt idx="1633">
                  <c:v>1.34083909879999E-2</c:v>
                </c:pt>
                <c:pt idx="1634">
                  <c:v>1.337466832E-2</c:v>
                </c:pt>
                <c:pt idx="1635">
                  <c:v>1.3348415335999999E-2</c:v>
                </c:pt>
                <c:pt idx="1636">
                  <c:v>1.3322354555999999E-2</c:v>
                </c:pt>
                <c:pt idx="1637">
                  <c:v>1.327402938E-2</c:v>
                </c:pt>
                <c:pt idx="1638">
                  <c:v>1.324388888E-2</c:v>
                </c:pt>
                <c:pt idx="1639">
                  <c:v>1.321030824E-2</c:v>
                </c:pt>
                <c:pt idx="1640">
                  <c:v>1.31851989E-2</c:v>
                </c:pt>
                <c:pt idx="1641">
                  <c:v>1.3220276515999999E-2</c:v>
                </c:pt>
                <c:pt idx="1642">
                  <c:v>1.3217839736000001E-2</c:v>
                </c:pt>
                <c:pt idx="1643">
                  <c:v>1.3173600076E-2</c:v>
                </c:pt>
                <c:pt idx="1644">
                  <c:v>1.3174091044E-2</c:v>
                </c:pt>
                <c:pt idx="1645">
                  <c:v>1.31515155719999E-2</c:v>
                </c:pt>
                <c:pt idx="1646">
                  <c:v>1.312363626E-2</c:v>
                </c:pt>
                <c:pt idx="1647">
                  <c:v>1.3077339444E-2</c:v>
                </c:pt>
                <c:pt idx="1648">
                  <c:v>1.3106526679999999E-2</c:v>
                </c:pt>
                <c:pt idx="1649">
                  <c:v>1.3144270344E-2</c:v>
                </c:pt>
                <c:pt idx="1650">
                  <c:v>1.31651491679999E-2</c:v>
                </c:pt>
                <c:pt idx="1651">
                  <c:v>1.3187458136E-2</c:v>
                </c:pt>
                <c:pt idx="1652">
                  <c:v>1.3232206368E-2</c:v>
                </c:pt>
                <c:pt idx="1653">
                  <c:v>1.3277832603999999E-2</c:v>
                </c:pt>
                <c:pt idx="1654">
                  <c:v>1.3369152112E-2</c:v>
                </c:pt>
                <c:pt idx="1655">
                  <c:v>1.3441216739999999E-2</c:v>
                </c:pt>
                <c:pt idx="1656">
                  <c:v>1.35334495439999E-2</c:v>
                </c:pt>
                <c:pt idx="1657">
                  <c:v>1.3635642872E-2</c:v>
                </c:pt>
                <c:pt idx="1658">
                  <c:v>1.36997954439999E-2</c:v>
                </c:pt>
                <c:pt idx="1659">
                  <c:v>1.373571304E-2</c:v>
                </c:pt>
                <c:pt idx="1660">
                  <c:v>1.3766132788000001E-2</c:v>
                </c:pt>
                <c:pt idx="1661">
                  <c:v>1.3813254204E-2</c:v>
                </c:pt>
                <c:pt idx="1662">
                  <c:v>1.3896429159999999E-2</c:v>
                </c:pt>
                <c:pt idx="1663">
                  <c:v>1.3985741891999999E-2</c:v>
                </c:pt>
                <c:pt idx="1664">
                  <c:v>1.4050122603999999E-2</c:v>
                </c:pt>
                <c:pt idx="1665">
                  <c:v>1.4105478992000001E-2</c:v>
                </c:pt>
                <c:pt idx="1666">
                  <c:v>1.4133541328E-2</c:v>
                </c:pt>
                <c:pt idx="1667">
                  <c:v>1.41451888E-2</c:v>
                </c:pt>
                <c:pt idx="1668">
                  <c:v>1.4145535012000001E-2</c:v>
                </c:pt>
                <c:pt idx="1669">
                  <c:v>1.4212736268000001E-2</c:v>
                </c:pt>
                <c:pt idx="1670">
                  <c:v>1.430482512E-2</c:v>
                </c:pt>
                <c:pt idx="1671">
                  <c:v>1.434791884E-2</c:v>
                </c:pt>
                <c:pt idx="1672">
                  <c:v>1.4408639872000001E-2</c:v>
                </c:pt>
                <c:pt idx="1673">
                  <c:v>1.4435863136E-2</c:v>
                </c:pt>
                <c:pt idx="1674">
                  <c:v>1.4446262792E-2</c:v>
                </c:pt>
                <c:pt idx="1675">
                  <c:v>1.4438284164E-2</c:v>
                </c:pt>
                <c:pt idx="1676">
                  <c:v>1.4442206363999999E-2</c:v>
                </c:pt>
                <c:pt idx="1677">
                  <c:v>1.4437339275999999E-2</c:v>
                </c:pt>
                <c:pt idx="1678">
                  <c:v>1.44920045439999E-2</c:v>
                </c:pt>
                <c:pt idx="1679">
                  <c:v>1.45067392319999E-2</c:v>
                </c:pt>
                <c:pt idx="1680">
                  <c:v>1.4545026803999999E-2</c:v>
                </c:pt>
                <c:pt idx="1681">
                  <c:v>1.4590822180000001E-2</c:v>
                </c:pt>
                <c:pt idx="1682">
                  <c:v>1.46294212479999E-2</c:v>
                </c:pt>
                <c:pt idx="1683">
                  <c:v>1.4694271856E-2</c:v>
                </c:pt>
                <c:pt idx="1684">
                  <c:v>1.4740062244000001E-2</c:v>
                </c:pt>
                <c:pt idx="1685">
                  <c:v>1.4796171412E-2</c:v>
                </c:pt>
                <c:pt idx="1686">
                  <c:v>1.4864395239999899E-2</c:v>
                </c:pt>
                <c:pt idx="1687">
                  <c:v>1.4883912972E-2</c:v>
                </c:pt>
                <c:pt idx="1688">
                  <c:v>1.4915655748E-2</c:v>
                </c:pt>
                <c:pt idx="1689">
                  <c:v>1.4981682028E-2</c:v>
                </c:pt>
                <c:pt idx="1690">
                  <c:v>1.5064713092E-2</c:v>
                </c:pt>
                <c:pt idx="1691">
                  <c:v>1.5144887776E-2</c:v>
                </c:pt>
                <c:pt idx="1692">
                  <c:v>1.5172180719999999E-2</c:v>
                </c:pt>
                <c:pt idx="1693">
                  <c:v>1.5193142244000001E-2</c:v>
                </c:pt>
                <c:pt idx="1694">
                  <c:v>1.5211390528E-2</c:v>
                </c:pt>
                <c:pt idx="1695">
                  <c:v>1.5246631512E-2</c:v>
                </c:pt>
                <c:pt idx="1696">
                  <c:v>1.5294357252E-2</c:v>
                </c:pt>
                <c:pt idx="1697">
                  <c:v>1.5345093339999999E-2</c:v>
                </c:pt>
                <c:pt idx="1698">
                  <c:v>1.5379549007999999E-2</c:v>
                </c:pt>
                <c:pt idx="1699">
                  <c:v>1.5421861444E-2</c:v>
                </c:pt>
                <c:pt idx="1700">
                  <c:v>1.5456289036E-2</c:v>
                </c:pt>
                <c:pt idx="1701">
                  <c:v>1.5508096311999999E-2</c:v>
                </c:pt>
                <c:pt idx="1702">
                  <c:v>1.5573183088000001E-2</c:v>
                </c:pt>
                <c:pt idx="1703">
                  <c:v>1.5646766175999999E-2</c:v>
                </c:pt>
                <c:pt idx="1704">
                  <c:v>1.5680521975999999E-2</c:v>
                </c:pt>
                <c:pt idx="1705">
                  <c:v>1.5716173092000001E-2</c:v>
                </c:pt>
                <c:pt idx="1706">
                  <c:v>1.5749922988000001E-2</c:v>
                </c:pt>
                <c:pt idx="1707">
                  <c:v>1.5769386923999901E-2</c:v>
                </c:pt>
                <c:pt idx="1708">
                  <c:v>1.5795932451999999E-2</c:v>
                </c:pt>
                <c:pt idx="1709">
                  <c:v>1.5832929087999999E-2</c:v>
                </c:pt>
                <c:pt idx="1710">
                  <c:v>1.5862526071999901E-2</c:v>
                </c:pt>
                <c:pt idx="1711">
                  <c:v>1.5798422295999998E-2</c:v>
                </c:pt>
                <c:pt idx="1712">
                  <c:v>1.5750471775999999E-2</c:v>
                </c:pt>
                <c:pt idx="1713">
                  <c:v>1.5797279588E-2</c:v>
                </c:pt>
                <c:pt idx="1714">
                  <c:v>1.5844309971999999E-2</c:v>
                </c:pt>
                <c:pt idx="1715">
                  <c:v>1.5858064072000001E-2</c:v>
                </c:pt>
                <c:pt idx="1716">
                  <c:v>1.5848337016E-2</c:v>
                </c:pt>
                <c:pt idx="1717">
                  <c:v>1.5861221267999999E-2</c:v>
                </c:pt>
                <c:pt idx="1718">
                  <c:v>1.5860082107999999E-2</c:v>
                </c:pt>
                <c:pt idx="1719">
                  <c:v>1.5855461436000001E-2</c:v>
                </c:pt>
                <c:pt idx="1720">
                  <c:v>1.5853965272E-2</c:v>
                </c:pt>
                <c:pt idx="1721">
                  <c:v>1.587780682E-2</c:v>
                </c:pt>
                <c:pt idx="1722">
                  <c:v>1.5891656479999999E-2</c:v>
                </c:pt>
                <c:pt idx="1723">
                  <c:v>1.5908302352000001E-2</c:v>
                </c:pt>
                <c:pt idx="1724">
                  <c:v>1.5898642444000001E-2</c:v>
                </c:pt>
                <c:pt idx="1725">
                  <c:v>1.5919005888E-2</c:v>
                </c:pt>
                <c:pt idx="1726">
                  <c:v>1.5942334964E-2</c:v>
                </c:pt>
                <c:pt idx="1727">
                  <c:v>1.5960618344000001E-2</c:v>
                </c:pt>
                <c:pt idx="1728">
                  <c:v>1.6016941707999999E-2</c:v>
                </c:pt>
                <c:pt idx="1729">
                  <c:v>1.6068277488E-2</c:v>
                </c:pt>
                <c:pt idx="1730">
                  <c:v>1.6129014024E-2</c:v>
                </c:pt>
                <c:pt idx="1731">
                  <c:v>1.6211857459999899E-2</c:v>
                </c:pt>
                <c:pt idx="1732">
                  <c:v>1.6275855772000001E-2</c:v>
                </c:pt>
                <c:pt idx="1733">
                  <c:v>1.6333218223999999E-2</c:v>
                </c:pt>
                <c:pt idx="1734">
                  <c:v>1.6385365327999901E-2</c:v>
                </c:pt>
                <c:pt idx="1735">
                  <c:v>1.64479119479999E-2</c:v>
                </c:pt>
                <c:pt idx="1736">
                  <c:v>1.6490281812000001E-2</c:v>
                </c:pt>
                <c:pt idx="1737">
                  <c:v>1.6511573403999901E-2</c:v>
                </c:pt>
                <c:pt idx="1738">
                  <c:v>1.6545535011999998E-2</c:v>
                </c:pt>
                <c:pt idx="1739">
                  <c:v>1.6587000391999999E-2</c:v>
                </c:pt>
                <c:pt idx="1740">
                  <c:v>1.66323564279999E-2</c:v>
                </c:pt>
                <c:pt idx="1741">
                  <c:v>1.6676687839999999E-2</c:v>
                </c:pt>
                <c:pt idx="1742">
                  <c:v>1.6735934471999999E-2</c:v>
                </c:pt>
                <c:pt idx="1743">
                  <c:v>1.6795386199999901E-2</c:v>
                </c:pt>
                <c:pt idx="1744">
                  <c:v>1.6869357839999901E-2</c:v>
                </c:pt>
                <c:pt idx="1745">
                  <c:v>1.6932149811999999E-2</c:v>
                </c:pt>
                <c:pt idx="1746">
                  <c:v>1.6973793931999999E-2</c:v>
                </c:pt>
                <c:pt idx="1747">
                  <c:v>1.6982768156E-2</c:v>
                </c:pt>
                <c:pt idx="1748">
                  <c:v>1.70102574679999E-2</c:v>
                </c:pt>
                <c:pt idx="1749">
                  <c:v>1.70320650679999E-2</c:v>
                </c:pt>
                <c:pt idx="1750">
                  <c:v>1.7089764311999999E-2</c:v>
                </c:pt>
                <c:pt idx="1751">
                  <c:v>1.7154414175999999E-2</c:v>
                </c:pt>
                <c:pt idx="1752">
                  <c:v>1.7194711299999998E-2</c:v>
                </c:pt>
                <c:pt idx="1753">
                  <c:v>1.7216816271999998E-2</c:v>
                </c:pt>
                <c:pt idx="1754">
                  <c:v>1.7237176664000001E-2</c:v>
                </c:pt>
                <c:pt idx="1755">
                  <c:v>1.7270693672000001E-2</c:v>
                </c:pt>
                <c:pt idx="1756">
                  <c:v>1.72950037359999E-2</c:v>
                </c:pt>
                <c:pt idx="1757">
                  <c:v>1.7317151892000001E-2</c:v>
                </c:pt>
                <c:pt idx="1758">
                  <c:v>1.7319642471999901E-2</c:v>
                </c:pt>
                <c:pt idx="1759">
                  <c:v>1.733575058E-2</c:v>
                </c:pt>
                <c:pt idx="1760">
                  <c:v>1.7342145832E-2</c:v>
                </c:pt>
                <c:pt idx="1761">
                  <c:v>1.7352359224E-2</c:v>
                </c:pt>
                <c:pt idx="1762">
                  <c:v>1.7327807479999999E-2</c:v>
                </c:pt>
                <c:pt idx="1763">
                  <c:v>1.7333069372E-2</c:v>
                </c:pt>
                <c:pt idx="1764">
                  <c:v>1.7355806152000001E-2</c:v>
                </c:pt>
                <c:pt idx="1765">
                  <c:v>1.7379127867999999E-2</c:v>
                </c:pt>
                <c:pt idx="1766">
                  <c:v>1.7393328388E-2</c:v>
                </c:pt>
                <c:pt idx="1767">
                  <c:v>1.7420086380000002E-2</c:v>
                </c:pt>
                <c:pt idx="1768">
                  <c:v>1.7457705051999999E-2</c:v>
                </c:pt>
                <c:pt idx="1769">
                  <c:v>1.7480481244E-2</c:v>
                </c:pt>
                <c:pt idx="1770">
                  <c:v>1.7557450932E-2</c:v>
                </c:pt>
                <c:pt idx="1771">
                  <c:v>1.7612734211999999E-2</c:v>
                </c:pt>
                <c:pt idx="1772">
                  <c:v>1.7650398711999998E-2</c:v>
                </c:pt>
                <c:pt idx="1773">
                  <c:v>1.7666488756E-2</c:v>
                </c:pt>
                <c:pt idx="1774">
                  <c:v>1.7692604367999999E-2</c:v>
                </c:pt>
                <c:pt idx="1775">
                  <c:v>1.7717434220000002E-2</c:v>
                </c:pt>
                <c:pt idx="1776">
                  <c:v>1.7740882711999899E-2</c:v>
                </c:pt>
                <c:pt idx="1777">
                  <c:v>1.7760648184E-2</c:v>
                </c:pt>
                <c:pt idx="1778">
                  <c:v>1.7777329943999901E-2</c:v>
                </c:pt>
                <c:pt idx="1779">
                  <c:v>1.7777411231999999E-2</c:v>
                </c:pt>
                <c:pt idx="1780">
                  <c:v>1.7803540811999901E-2</c:v>
                </c:pt>
                <c:pt idx="1781">
                  <c:v>1.781937426E-2</c:v>
                </c:pt>
                <c:pt idx="1782">
                  <c:v>1.78366725639999E-2</c:v>
                </c:pt>
                <c:pt idx="1783">
                  <c:v>1.7860132003999999E-2</c:v>
                </c:pt>
                <c:pt idx="1784">
                  <c:v>1.7869405535999999E-2</c:v>
                </c:pt>
                <c:pt idx="1785">
                  <c:v>1.787808406E-2</c:v>
                </c:pt>
                <c:pt idx="1786">
                  <c:v>1.7895594136E-2</c:v>
                </c:pt>
                <c:pt idx="1787">
                  <c:v>1.7911272528E-2</c:v>
                </c:pt>
                <c:pt idx="1788">
                  <c:v>1.7931460143999999E-2</c:v>
                </c:pt>
                <c:pt idx="1789">
                  <c:v>1.7962295959999999E-2</c:v>
                </c:pt>
                <c:pt idx="1790">
                  <c:v>1.7946377188E-2</c:v>
                </c:pt>
                <c:pt idx="1791">
                  <c:v>1.79571411079999E-2</c:v>
                </c:pt>
                <c:pt idx="1792">
                  <c:v>1.7942294756E-2</c:v>
                </c:pt>
                <c:pt idx="1793">
                  <c:v>1.7943192359999999E-2</c:v>
                </c:pt>
                <c:pt idx="1794">
                  <c:v>1.7949075484000002E-2</c:v>
                </c:pt>
                <c:pt idx="1795">
                  <c:v>1.7959593688E-2</c:v>
                </c:pt>
                <c:pt idx="1796">
                  <c:v>1.7984257035999901E-2</c:v>
                </c:pt>
                <c:pt idx="1797">
                  <c:v>1.7999233428E-2</c:v>
                </c:pt>
                <c:pt idx="1798">
                  <c:v>1.80158347319999E-2</c:v>
                </c:pt>
                <c:pt idx="1799">
                  <c:v>1.8024466940000001E-2</c:v>
                </c:pt>
                <c:pt idx="1800">
                  <c:v>1.80448180239999E-2</c:v>
                </c:pt>
                <c:pt idx="1801">
                  <c:v>1.8056221787999999E-2</c:v>
                </c:pt>
                <c:pt idx="1802">
                  <c:v>1.8072203608E-2</c:v>
                </c:pt>
                <c:pt idx="1803">
                  <c:v>1.8092368083999999E-2</c:v>
                </c:pt>
                <c:pt idx="1804">
                  <c:v>1.8108376772000001E-2</c:v>
                </c:pt>
                <c:pt idx="1805">
                  <c:v>1.8126747592E-2</c:v>
                </c:pt>
                <c:pt idx="1806">
                  <c:v>1.8152120955999999E-2</c:v>
                </c:pt>
                <c:pt idx="1807">
                  <c:v>1.8177719620000001E-2</c:v>
                </c:pt>
                <c:pt idx="1808">
                  <c:v>1.8200293456000001E-2</c:v>
                </c:pt>
                <c:pt idx="1809">
                  <c:v>1.822178482E-2</c:v>
                </c:pt>
                <c:pt idx="1810">
                  <c:v>1.8218190919999998E-2</c:v>
                </c:pt>
                <c:pt idx="1811">
                  <c:v>1.8215835095999999E-2</c:v>
                </c:pt>
                <c:pt idx="1812">
                  <c:v>1.818441212E-2</c:v>
                </c:pt>
                <c:pt idx="1813">
                  <c:v>1.8167069947999999E-2</c:v>
                </c:pt>
                <c:pt idx="1814">
                  <c:v>1.8075996356000001E-2</c:v>
                </c:pt>
                <c:pt idx="1815">
                  <c:v>1.80194248759999E-2</c:v>
                </c:pt>
                <c:pt idx="1816">
                  <c:v>1.8016851596E-2</c:v>
                </c:pt>
                <c:pt idx="1817">
                  <c:v>1.7987740331999999E-2</c:v>
                </c:pt>
                <c:pt idx="1818">
                  <c:v>1.7965078791999999E-2</c:v>
                </c:pt>
                <c:pt idx="1819">
                  <c:v>1.7996646219999999E-2</c:v>
                </c:pt>
                <c:pt idx="1820">
                  <c:v>1.800443312E-2</c:v>
                </c:pt>
                <c:pt idx="1821">
                  <c:v>1.8000015556000001E-2</c:v>
                </c:pt>
                <c:pt idx="1822">
                  <c:v>1.8013090491999999E-2</c:v>
                </c:pt>
                <c:pt idx="1823">
                  <c:v>1.8032834783999901E-2</c:v>
                </c:pt>
                <c:pt idx="1824">
                  <c:v>1.8038502995999999E-2</c:v>
                </c:pt>
                <c:pt idx="1825">
                  <c:v>1.80150985E-2</c:v>
                </c:pt>
                <c:pt idx="1826">
                  <c:v>1.8036807524000002E-2</c:v>
                </c:pt>
                <c:pt idx="1827">
                  <c:v>1.803702058E-2</c:v>
                </c:pt>
                <c:pt idx="1828">
                  <c:v>1.8035363004E-2</c:v>
                </c:pt>
                <c:pt idx="1829">
                  <c:v>1.80235487999999E-2</c:v>
                </c:pt>
                <c:pt idx="1830">
                  <c:v>1.8015961744000001E-2</c:v>
                </c:pt>
                <c:pt idx="1831">
                  <c:v>1.8000508475999901E-2</c:v>
                </c:pt>
                <c:pt idx="1832">
                  <c:v>1.7992240360000002E-2</c:v>
                </c:pt>
                <c:pt idx="1833">
                  <c:v>1.79851708199999E-2</c:v>
                </c:pt>
                <c:pt idx="1834">
                  <c:v>1.7978883251999998E-2</c:v>
                </c:pt>
                <c:pt idx="1835">
                  <c:v>1.7956812387999999E-2</c:v>
                </c:pt>
                <c:pt idx="1836">
                  <c:v>1.79466078E-2</c:v>
                </c:pt>
                <c:pt idx="1837">
                  <c:v>1.7928199175999901E-2</c:v>
                </c:pt>
                <c:pt idx="1838">
                  <c:v>1.793007252E-2</c:v>
                </c:pt>
                <c:pt idx="1839">
                  <c:v>1.7929877728000001E-2</c:v>
                </c:pt>
                <c:pt idx="1840">
                  <c:v>1.7930859088E-2</c:v>
                </c:pt>
                <c:pt idx="1841">
                  <c:v>1.7916095928E-2</c:v>
                </c:pt>
                <c:pt idx="1842">
                  <c:v>1.7930951715999999E-2</c:v>
                </c:pt>
                <c:pt idx="1843">
                  <c:v>1.7934678748000001E-2</c:v>
                </c:pt>
                <c:pt idx="1844">
                  <c:v>1.7896426900000002E-2</c:v>
                </c:pt>
                <c:pt idx="1845">
                  <c:v>1.7871213147999901E-2</c:v>
                </c:pt>
                <c:pt idx="1846">
                  <c:v>1.7863651195999999E-2</c:v>
                </c:pt>
                <c:pt idx="1847">
                  <c:v>1.7809159232000001E-2</c:v>
                </c:pt>
                <c:pt idx="1848">
                  <c:v>1.7779724595999899E-2</c:v>
                </c:pt>
                <c:pt idx="1849">
                  <c:v>1.7729202616E-2</c:v>
                </c:pt>
                <c:pt idx="1850">
                  <c:v>1.76677126839999E-2</c:v>
                </c:pt>
                <c:pt idx="1851">
                  <c:v>1.7612948316E-2</c:v>
                </c:pt>
                <c:pt idx="1852">
                  <c:v>1.7557261312E-2</c:v>
                </c:pt>
                <c:pt idx="1853">
                  <c:v>1.7508405752000002E-2</c:v>
                </c:pt>
                <c:pt idx="1854">
                  <c:v>1.7490836135999999E-2</c:v>
                </c:pt>
                <c:pt idx="1855">
                  <c:v>1.74787831119999E-2</c:v>
                </c:pt>
                <c:pt idx="1856">
                  <c:v>1.7492670972E-2</c:v>
                </c:pt>
                <c:pt idx="1857">
                  <c:v>1.7436618668E-2</c:v>
                </c:pt>
                <c:pt idx="1858">
                  <c:v>1.7418358956E-2</c:v>
                </c:pt>
                <c:pt idx="1859">
                  <c:v>1.7400151239999901E-2</c:v>
                </c:pt>
                <c:pt idx="1860">
                  <c:v>1.7364760835999998E-2</c:v>
                </c:pt>
                <c:pt idx="1861">
                  <c:v>1.7299589771999899E-2</c:v>
                </c:pt>
                <c:pt idx="1862">
                  <c:v>1.7216393447999901E-2</c:v>
                </c:pt>
                <c:pt idx="1863">
                  <c:v>1.7176800767999999E-2</c:v>
                </c:pt>
                <c:pt idx="1864">
                  <c:v>1.7100596951999999E-2</c:v>
                </c:pt>
                <c:pt idx="1865">
                  <c:v>1.7046214096E-2</c:v>
                </c:pt>
                <c:pt idx="1866">
                  <c:v>1.6996748304000001E-2</c:v>
                </c:pt>
                <c:pt idx="1867">
                  <c:v>1.6948493323999999E-2</c:v>
                </c:pt>
                <c:pt idx="1868">
                  <c:v>1.6905340299999998E-2</c:v>
                </c:pt>
                <c:pt idx="1869">
                  <c:v>1.688047384E-2</c:v>
                </c:pt>
                <c:pt idx="1870">
                  <c:v>1.6861393648E-2</c:v>
                </c:pt>
                <c:pt idx="1871">
                  <c:v>1.6826120508E-2</c:v>
                </c:pt>
                <c:pt idx="1872">
                  <c:v>1.6790988048E-2</c:v>
                </c:pt>
                <c:pt idx="1873">
                  <c:v>1.6754239204000002E-2</c:v>
                </c:pt>
                <c:pt idx="1874">
                  <c:v>1.67447613639999E-2</c:v>
                </c:pt>
                <c:pt idx="1875">
                  <c:v>1.6759494936E-2</c:v>
                </c:pt>
                <c:pt idx="1876">
                  <c:v>1.6780979868E-2</c:v>
                </c:pt>
                <c:pt idx="1877">
                  <c:v>1.6823989260000002E-2</c:v>
                </c:pt>
                <c:pt idx="1878">
                  <c:v>1.6861094704000001E-2</c:v>
                </c:pt>
                <c:pt idx="1879">
                  <c:v>1.6894599948000001E-2</c:v>
                </c:pt>
                <c:pt idx="1880">
                  <c:v>1.6910829547999998E-2</c:v>
                </c:pt>
                <c:pt idx="1881">
                  <c:v>1.69636460199999E-2</c:v>
                </c:pt>
                <c:pt idx="1882">
                  <c:v>1.6992677059999999E-2</c:v>
                </c:pt>
                <c:pt idx="1883">
                  <c:v>1.7018909028E-2</c:v>
                </c:pt>
                <c:pt idx="1884">
                  <c:v>1.7034156259999999E-2</c:v>
                </c:pt>
                <c:pt idx="1885">
                  <c:v>1.7040260936000001E-2</c:v>
                </c:pt>
                <c:pt idx="1886">
                  <c:v>1.7063080436000001E-2</c:v>
                </c:pt>
                <c:pt idx="1887">
                  <c:v>1.7073679024000001E-2</c:v>
                </c:pt>
                <c:pt idx="1888">
                  <c:v>1.7101536383999999E-2</c:v>
                </c:pt>
                <c:pt idx="1889">
                  <c:v>1.7102860807999901E-2</c:v>
                </c:pt>
                <c:pt idx="1890">
                  <c:v>1.7105144940000001E-2</c:v>
                </c:pt>
                <c:pt idx="1891">
                  <c:v>1.7043775655999901E-2</c:v>
                </c:pt>
                <c:pt idx="1892">
                  <c:v>1.7006070956E-2</c:v>
                </c:pt>
                <c:pt idx="1893">
                  <c:v>1.6999260151999901E-2</c:v>
                </c:pt>
                <c:pt idx="1894">
                  <c:v>1.6970781171999998E-2</c:v>
                </c:pt>
                <c:pt idx="1895">
                  <c:v>1.6955572524000002E-2</c:v>
                </c:pt>
                <c:pt idx="1896">
                  <c:v>1.6946416204E-2</c:v>
                </c:pt>
                <c:pt idx="1897">
                  <c:v>1.6942729276000001E-2</c:v>
                </c:pt>
                <c:pt idx="1898">
                  <c:v>1.6905284864E-2</c:v>
                </c:pt>
                <c:pt idx="1899">
                  <c:v>1.6840162632E-2</c:v>
                </c:pt>
                <c:pt idx="1900">
                  <c:v>1.6764613455999999E-2</c:v>
                </c:pt>
                <c:pt idx="1901">
                  <c:v>1.6685925008000001E-2</c:v>
                </c:pt>
                <c:pt idx="1902">
                  <c:v>1.6584781544000001E-2</c:v>
                </c:pt>
                <c:pt idx="1903">
                  <c:v>1.6498799788E-2</c:v>
                </c:pt>
                <c:pt idx="1904">
                  <c:v>1.6376102167999999E-2</c:v>
                </c:pt>
                <c:pt idx="1905">
                  <c:v>1.6290861359999999E-2</c:v>
                </c:pt>
                <c:pt idx="1906">
                  <c:v>1.61745192399999E-2</c:v>
                </c:pt>
                <c:pt idx="1907">
                  <c:v>1.6055905448E-2</c:v>
                </c:pt>
                <c:pt idx="1908">
                  <c:v>1.5957318535999999E-2</c:v>
                </c:pt>
                <c:pt idx="1909">
                  <c:v>1.5894765708000001E-2</c:v>
                </c:pt>
                <c:pt idx="1910">
                  <c:v>1.5847740079999999E-2</c:v>
                </c:pt>
                <c:pt idx="1911">
                  <c:v>1.5807994563999998E-2</c:v>
                </c:pt>
                <c:pt idx="1912">
                  <c:v>1.5731583527999901E-2</c:v>
                </c:pt>
                <c:pt idx="1913">
                  <c:v>1.5643242936000001E-2</c:v>
                </c:pt>
                <c:pt idx="1914">
                  <c:v>1.5579497724E-2</c:v>
                </c:pt>
                <c:pt idx="1915">
                  <c:v>1.5505796975999899E-2</c:v>
                </c:pt>
                <c:pt idx="1916">
                  <c:v>1.5447425628E-2</c:v>
                </c:pt>
                <c:pt idx="1917">
                  <c:v>1.54272420199999E-2</c:v>
                </c:pt>
                <c:pt idx="1918">
                  <c:v>1.5401387064000001E-2</c:v>
                </c:pt>
                <c:pt idx="1919">
                  <c:v>1.53169084079999E-2</c:v>
                </c:pt>
                <c:pt idx="1920">
                  <c:v>1.5201182052E-2</c:v>
                </c:pt>
                <c:pt idx="1921">
                  <c:v>1.5143028696E-2</c:v>
                </c:pt>
                <c:pt idx="1922">
                  <c:v>1.507914858E-2</c:v>
                </c:pt>
                <c:pt idx="1923">
                  <c:v>1.5060998552E-2</c:v>
                </c:pt>
                <c:pt idx="1924">
                  <c:v>1.5032071812E-2</c:v>
                </c:pt>
                <c:pt idx="1925">
                  <c:v>1.5015109584E-2</c:v>
                </c:pt>
                <c:pt idx="1926">
                  <c:v>1.5005694056E-2</c:v>
                </c:pt>
                <c:pt idx="1927">
                  <c:v>1.4992342216E-2</c:v>
                </c:pt>
                <c:pt idx="1928">
                  <c:v>1.4936778439999999E-2</c:v>
                </c:pt>
                <c:pt idx="1929">
                  <c:v>1.4881253912E-2</c:v>
                </c:pt>
                <c:pt idx="1930">
                  <c:v>1.4835528436000001E-2</c:v>
                </c:pt>
                <c:pt idx="1931">
                  <c:v>1.482067192E-2</c:v>
                </c:pt>
                <c:pt idx="1932">
                  <c:v>1.47651388439999E-2</c:v>
                </c:pt>
                <c:pt idx="1933">
                  <c:v>1.4703374012E-2</c:v>
                </c:pt>
                <c:pt idx="1934">
                  <c:v>1.4670217835999999E-2</c:v>
                </c:pt>
                <c:pt idx="1935">
                  <c:v>1.4612814135999999E-2</c:v>
                </c:pt>
                <c:pt idx="1936">
                  <c:v>1.4536425303999999E-2</c:v>
                </c:pt>
                <c:pt idx="1937">
                  <c:v>1.44907230039999E-2</c:v>
                </c:pt>
                <c:pt idx="1938">
                  <c:v>1.4454536143999899E-2</c:v>
                </c:pt>
                <c:pt idx="1939">
                  <c:v>1.4380266516000001E-2</c:v>
                </c:pt>
                <c:pt idx="1940">
                  <c:v>1.4312687804E-2</c:v>
                </c:pt>
                <c:pt idx="1941">
                  <c:v>1.4257110684000001E-2</c:v>
                </c:pt>
                <c:pt idx="1942">
                  <c:v>1.4223612996E-2</c:v>
                </c:pt>
                <c:pt idx="1943">
                  <c:v>1.4177071059999999E-2</c:v>
                </c:pt>
                <c:pt idx="1944">
                  <c:v>1.4145890160000001E-2</c:v>
                </c:pt>
                <c:pt idx="1945">
                  <c:v>1.4130609556E-2</c:v>
                </c:pt>
                <c:pt idx="1946">
                  <c:v>1.40567497599999E-2</c:v>
                </c:pt>
                <c:pt idx="1947">
                  <c:v>1.4007408676E-2</c:v>
                </c:pt>
                <c:pt idx="1948">
                  <c:v>1.39702385719999E-2</c:v>
                </c:pt>
                <c:pt idx="1949">
                  <c:v>1.3918334847999999E-2</c:v>
                </c:pt>
                <c:pt idx="1950">
                  <c:v>1.3870862980000001E-2</c:v>
                </c:pt>
                <c:pt idx="1951">
                  <c:v>1.3838720279999999E-2</c:v>
                </c:pt>
                <c:pt idx="1952">
                  <c:v>1.3774661664E-2</c:v>
                </c:pt>
                <c:pt idx="1953">
                  <c:v>1.3688469496E-2</c:v>
                </c:pt>
                <c:pt idx="1954">
                  <c:v>1.36550868559999E-2</c:v>
                </c:pt>
                <c:pt idx="1955">
                  <c:v>1.3615631943999999E-2</c:v>
                </c:pt>
                <c:pt idx="1956">
                  <c:v>1.35919889759999E-2</c:v>
                </c:pt>
                <c:pt idx="1957">
                  <c:v>1.3575596092E-2</c:v>
                </c:pt>
                <c:pt idx="1958">
                  <c:v>1.3533417732E-2</c:v>
                </c:pt>
                <c:pt idx="1959">
                  <c:v>1.348392256E-2</c:v>
                </c:pt>
                <c:pt idx="1960">
                  <c:v>1.3424291967999999E-2</c:v>
                </c:pt>
                <c:pt idx="1961">
                  <c:v>1.3368955236000001E-2</c:v>
                </c:pt>
                <c:pt idx="1962">
                  <c:v>1.33130485639999E-2</c:v>
                </c:pt>
                <c:pt idx="1963">
                  <c:v>1.3228605336E-2</c:v>
                </c:pt>
                <c:pt idx="1964">
                  <c:v>1.3159731652E-2</c:v>
                </c:pt>
                <c:pt idx="1965">
                  <c:v>1.3068095139999999E-2</c:v>
                </c:pt>
                <c:pt idx="1966">
                  <c:v>1.3019131376E-2</c:v>
                </c:pt>
                <c:pt idx="1967">
                  <c:v>1.2948279128E-2</c:v>
                </c:pt>
                <c:pt idx="1968">
                  <c:v>1.29106223159999E-2</c:v>
                </c:pt>
                <c:pt idx="1969">
                  <c:v>1.29073536359999E-2</c:v>
                </c:pt>
                <c:pt idx="1970">
                  <c:v>1.287427818E-2</c:v>
                </c:pt>
                <c:pt idx="1971">
                  <c:v>1.2821796531999999E-2</c:v>
                </c:pt>
                <c:pt idx="1972">
                  <c:v>1.2785211732E-2</c:v>
                </c:pt>
                <c:pt idx="1973">
                  <c:v>1.2744988711999999E-2</c:v>
                </c:pt>
                <c:pt idx="1974">
                  <c:v>1.2730547211999999E-2</c:v>
                </c:pt>
                <c:pt idx="1975">
                  <c:v>1.2702915112E-2</c:v>
                </c:pt>
                <c:pt idx="1976">
                  <c:v>1.26802108679999E-2</c:v>
                </c:pt>
                <c:pt idx="1977">
                  <c:v>1.26470490119999E-2</c:v>
                </c:pt>
                <c:pt idx="1978">
                  <c:v>1.2567993459999901E-2</c:v>
                </c:pt>
                <c:pt idx="1979">
                  <c:v>1.2501598768E-2</c:v>
                </c:pt>
                <c:pt idx="1980">
                  <c:v>1.24255756719999E-2</c:v>
                </c:pt>
                <c:pt idx="1981">
                  <c:v>1.23579804959999E-2</c:v>
                </c:pt>
                <c:pt idx="1982">
                  <c:v>1.2310027031999999E-2</c:v>
                </c:pt>
                <c:pt idx="1983">
                  <c:v>1.2251498708E-2</c:v>
                </c:pt>
                <c:pt idx="1984">
                  <c:v>1.21912874279999E-2</c:v>
                </c:pt>
                <c:pt idx="1985">
                  <c:v>1.2129928244000001E-2</c:v>
                </c:pt>
                <c:pt idx="1986">
                  <c:v>1.2099427236E-2</c:v>
                </c:pt>
                <c:pt idx="1987">
                  <c:v>1.2058023459999999E-2</c:v>
                </c:pt>
                <c:pt idx="1988">
                  <c:v>1.2013107536E-2</c:v>
                </c:pt>
                <c:pt idx="1989">
                  <c:v>1.19675750839999E-2</c:v>
                </c:pt>
                <c:pt idx="1990">
                  <c:v>1.19226160159999E-2</c:v>
                </c:pt>
                <c:pt idx="1991">
                  <c:v>1.1854943436E-2</c:v>
                </c:pt>
                <c:pt idx="1992">
                  <c:v>1.1801402020000001E-2</c:v>
                </c:pt>
                <c:pt idx="1993">
                  <c:v>1.1737717088E-2</c:v>
                </c:pt>
                <c:pt idx="1994">
                  <c:v>1.1661417552E-2</c:v>
                </c:pt>
                <c:pt idx="1995">
                  <c:v>1.1604477623999999E-2</c:v>
                </c:pt>
                <c:pt idx="1996">
                  <c:v>1.15582414319999E-2</c:v>
                </c:pt>
                <c:pt idx="1997">
                  <c:v>1.1531055036E-2</c:v>
                </c:pt>
                <c:pt idx="1998">
                  <c:v>1.1490667019999999E-2</c:v>
                </c:pt>
                <c:pt idx="1999">
                  <c:v>1.1435752212E-2</c:v>
                </c:pt>
                <c:pt idx="2000">
                  <c:v>1.1392768080000001E-2</c:v>
                </c:pt>
                <c:pt idx="2001">
                  <c:v>1.133626098E-2</c:v>
                </c:pt>
                <c:pt idx="2002">
                  <c:v>1.1282010360000001E-2</c:v>
                </c:pt>
                <c:pt idx="2003">
                  <c:v>1.1250920632E-2</c:v>
                </c:pt>
                <c:pt idx="2004">
                  <c:v>1.1270527108E-2</c:v>
                </c:pt>
                <c:pt idx="2005">
                  <c:v>1.1255185136E-2</c:v>
                </c:pt>
                <c:pt idx="2006">
                  <c:v>1.1254667883999999E-2</c:v>
                </c:pt>
                <c:pt idx="2007">
                  <c:v>1.1270841912E-2</c:v>
                </c:pt>
                <c:pt idx="2008">
                  <c:v>1.1277789904E-2</c:v>
                </c:pt>
                <c:pt idx="2009">
                  <c:v>1.1282544024E-2</c:v>
                </c:pt>
                <c:pt idx="2010">
                  <c:v>1.1291835992E-2</c:v>
                </c:pt>
                <c:pt idx="2011">
                  <c:v>1.1272901916E-2</c:v>
                </c:pt>
                <c:pt idx="2012">
                  <c:v>1.1258958348E-2</c:v>
                </c:pt>
                <c:pt idx="2013">
                  <c:v>1.1261794207999999E-2</c:v>
                </c:pt>
                <c:pt idx="2014">
                  <c:v>1.1269975828E-2</c:v>
                </c:pt>
                <c:pt idx="2015">
                  <c:v>1.125814042E-2</c:v>
                </c:pt>
                <c:pt idx="2016">
                  <c:v>1.1249493348E-2</c:v>
                </c:pt>
                <c:pt idx="2017">
                  <c:v>1.124292906E-2</c:v>
                </c:pt>
                <c:pt idx="2018">
                  <c:v>1.12250881239999E-2</c:v>
                </c:pt>
                <c:pt idx="2019">
                  <c:v>1.1205682248000001E-2</c:v>
                </c:pt>
                <c:pt idx="2020">
                  <c:v>1.1130360628E-2</c:v>
                </c:pt>
                <c:pt idx="2021">
                  <c:v>1.10903902E-2</c:v>
                </c:pt>
                <c:pt idx="2022">
                  <c:v>1.1072224255999999E-2</c:v>
                </c:pt>
                <c:pt idx="2023">
                  <c:v>1.10453732E-2</c:v>
                </c:pt>
                <c:pt idx="2024">
                  <c:v>1.1017745355999999E-2</c:v>
                </c:pt>
                <c:pt idx="2025">
                  <c:v>1.0996636104E-2</c:v>
                </c:pt>
                <c:pt idx="2026">
                  <c:v>1.0996111756E-2</c:v>
                </c:pt>
                <c:pt idx="2027">
                  <c:v>1.0999916408E-2</c:v>
                </c:pt>
                <c:pt idx="2028">
                  <c:v>1.1034787276E-2</c:v>
                </c:pt>
                <c:pt idx="2029">
                  <c:v>1.106620832E-2</c:v>
                </c:pt>
                <c:pt idx="2030">
                  <c:v>1.10726497559999E-2</c:v>
                </c:pt>
                <c:pt idx="2031">
                  <c:v>1.10669896E-2</c:v>
                </c:pt>
                <c:pt idx="2032">
                  <c:v>1.106661728E-2</c:v>
                </c:pt>
                <c:pt idx="2033">
                  <c:v>1.1065231872E-2</c:v>
                </c:pt>
                <c:pt idx="2034">
                  <c:v>1.1062940608E-2</c:v>
                </c:pt>
                <c:pt idx="2035">
                  <c:v>1.10518890799999E-2</c:v>
                </c:pt>
                <c:pt idx="2036">
                  <c:v>1.1063967276E-2</c:v>
                </c:pt>
                <c:pt idx="2037">
                  <c:v>1.1074123856E-2</c:v>
                </c:pt>
                <c:pt idx="2038">
                  <c:v>1.1097411955999999E-2</c:v>
                </c:pt>
                <c:pt idx="2039">
                  <c:v>1.1100703948E-2</c:v>
                </c:pt>
                <c:pt idx="2040">
                  <c:v>1.1115054328E-2</c:v>
                </c:pt>
                <c:pt idx="2041">
                  <c:v>1.114095122E-2</c:v>
                </c:pt>
                <c:pt idx="2042">
                  <c:v>1.11455118399999E-2</c:v>
                </c:pt>
                <c:pt idx="2043">
                  <c:v>1.1154982508E-2</c:v>
                </c:pt>
                <c:pt idx="2044">
                  <c:v>1.117673018E-2</c:v>
                </c:pt>
                <c:pt idx="2045">
                  <c:v>1.1191081488E-2</c:v>
                </c:pt>
                <c:pt idx="2046">
                  <c:v>1.1192184799999999E-2</c:v>
                </c:pt>
                <c:pt idx="2047">
                  <c:v>1.1201932216E-2</c:v>
                </c:pt>
                <c:pt idx="2048">
                  <c:v>1.12094557599999E-2</c:v>
                </c:pt>
                <c:pt idx="2049">
                  <c:v>1.1223723308E-2</c:v>
                </c:pt>
                <c:pt idx="2050">
                  <c:v>1.1221043856E-2</c:v>
                </c:pt>
                <c:pt idx="2051">
                  <c:v>1.12298336199999E-2</c:v>
                </c:pt>
                <c:pt idx="2052">
                  <c:v>1.1215899352E-2</c:v>
                </c:pt>
                <c:pt idx="2053">
                  <c:v>1.12144626479999E-2</c:v>
                </c:pt>
                <c:pt idx="2054">
                  <c:v>1.1223949255999999E-2</c:v>
                </c:pt>
                <c:pt idx="2055">
                  <c:v>1.1226712004E-2</c:v>
                </c:pt>
                <c:pt idx="2056">
                  <c:v>1.1233777012E-2</c:v>
                </c:pt>
                <c:pt idx="2057">
                  <c:v>1.1257910895999999E-2</c:v>
                </c:pt>
                <c:pt idx="2058">
                  <c:v>1.133241892E-2</c:v>
                </c:pt>
                <c:pt idx="2059">
                  <c:v>1.1384379155999999E-2</c:v>
                </c:pt>
                <c:pt idx="2060">
                  <c:v>1.1460286104E-2</c:v>
                </c:pt>
                <c:pt idx="2061">
                  <c:v>1.1576860232E-2</c:v>
                </c:pt>
                <c:pt idx="2062">
                  <c:v>1.171204266E-2</c:v>
                </c:pt>
                <c:pt idx="2063">
                  <c:v>1.1859080308E-2</c:v>
                </c:pt>
                <c:pt idx="2064">
                  <c:v>1.1933485504E-2</c:v>
                </c:pt>
                <c:pt idx="2065">
                  <c:v>1.202002804E-2</c:v>
                </c:pt>
                <c:pt idx="2066">
                  <c:v>1.2062491084E-2</c:v>
                </c:pt>
                <c:pt idx="2067">
                  <c:v>1.2093766016000001E-2</c:v>
                </c:pt>
                <c:pt idx="2068">
                  <c:v>1.21609208199999E-2</c:v>
                </c:pt>
                <c:pt idx="2069">
                  <c:v>1.2186727555999999E-2</c:v>
                </c:pt>
                <c:pt idx="2070">
                  <c:v>1.2220622144E-2</c:v>
                </c:pt>
                <c:pt idx="2071">
                  <c:v>1.2254119359999999E-2</c:v>
                </c:pt>
                <c:pt idx="2072">
                  <c:v>1.2273882428E-2</c:v>
                </c:pt>
                <c:pt idx="2073">
                  <c:v>1.2295568135999999E-2</c:v>
                </c:pt>
                <c:pt idx="2074">
                  <c:v>1.2337911264000001E-2</c:v>
                </c:pt>
                <c:pt idx="2075">
                  <c:v>1.2392241552E-2</c:v>
                </c:pt>
                <c:pt idx="2076">
                  <c:v>1.2420834667999999E-2</c:v>
                </c:pt>
                <c:pt idx="2077">
                  <c:v>1.2476324524E-2</c:v>
                </c:pt>
                <c:pt idx="2078">
                  <c:v>1.2534057895999999E-2</c:v>
                </c:pt>
                <c:pt idx="2079">
                  <c:v>1.2597203984000001E-2</c:v>
                </c:pt>
                <c:pt idx="2080">
                  <c:v>1.264965872E-2</c:v>
                </c:pt>
                <c:pt idx="2081">
                  <c:v>1.272236966E-2</c:v>
                </c:pt>
                <c:pt idx="2082">
                  <c:v>1.2803226508000001E-2</c:v>
                </c:pt>
                <c:pt idx="2083">
                  <c:v>1.2848989115999999E-2</c:v>
                </c:pt>
                <c:pt idx="2084">
                  <c:v>1.289127504E-2</c:v>
                </c:pt>
                <c:pt idx="2085">
                  <c:v>1.2918919468000001E-2</c:v>
                </c:pt>
                <c:pt idx="2086">
                  <c:v>1.2937582408E-2</c:v>
                </c:pt>
                <c:pt idx="2087">
                  <c:v>1.2971292283999999E-2</c:v>
                </c:pt>
                <c:pt idx="2088">
                  <c:v>1.29985275199999E-2</c:v>
                </c:pt>
                <c:pt idx="2089">
                  <c:v>1.3026549444E-2</c:v>
                </c:pt>
                <c:pt idx="2090">
                  <c:v>1.3054020436E-2</c:v>
                </c:pt>
                <c:pt idx="2091">
                  <c:v>1.3083226364E-2</c:v>
                </c:pt>
                <c:pt idx="2092">
                  <c:v>1.3081991007999999E-2</c:v>
                </c:pt>
                <c:pt idx="2093">
                  <c:v>1.3086977752E-2</c:v>
                </c:pt>
                <c:pt idx="2094">
                  <c:v>1.3114692988E-2</c:v>
                </c:pt>
                <c:pt idx="2095">
                  <c:v>1.3111030948000001E-2</c:v>
                </c:pt>
                <c:pt idx="2096">
                  <c:v>1.3119951856E-2</c:v>
                </c:pt>
                <c:pt idx="2097">
                  <c:v>1.3120515772E-2</c:v>
                </c:pt>
                <c:pt idx="2098">
                  <c:v>1.3108269168E-2</c:v>
                </c:pt>
                <c:pt idx="2099">
                  <c:v>1.3103470835999999E-2</c:v>
                </c:pt>
                <c:pt idx="2100">
                  <c:v>1.30931510479999E-2</c:v>
                </c:pt>
                <c:pt idx="2101">
                  <c:v>1.3087047256E-2</c:v>
                </c:pt>
                <c:pt idx="2102">
                  <c:v>1.307922108E-2</c:v>
                </c:pt>
                <c:pt idx="2103">
                  <c:v>1.30843638E-2</c:v>
                </c:pt>
                <c:pt idx="2104">
                  <c:v>1.3083912352E-2</c:v>
                </c:pt>
                <c:pt idx="2105">
                  <c:v>1.3083141424E-2</c:v>
                </c:pt>
                <c:pt idx="2106">
                  <c:v>1.3048416207999999E-2</c:v>
                </c:pt>
                <c:pt idx="2107">
                  <c:v>1.3028716464000001E-2</c:v>
                </c:pt>
                <c:pt idx="2108">
                  <c:v>1.3025966816E-2</c:v>
                </c:pt>
                <c:pt idx="2109">
                  <c:v>1.3034508416E-2</c:v>
                </c:pt>
                <c:pt idx="2110">
                  <c:v>1.3041521888E-2</c:v>
                </c:pt>
                <c:pt idx="2111">
                  <c:v>1.305141252E-2</c:v>
                </c:pt>
                <c:pt idx="2112">
                  <c:v>1.3042545612E-2</c:v>
                </c:pt>
                <c:pt idx="2113">
                  <c:v>1.3048437276E-2</c:v>
                </c:pt>
                <c:pt idx="2114">
                  <c:v>1.3045855148E-2</c:v>
                </c:pt>
                <c:pt idx="2115">
                  <c:v>1.3038254636E-2</c:v>
                </c:pt>
                <c:pt idx="2116">
                  <c:v>1.3033758031999999E-2</c:v>
                </c:pt>
                <c:pt idx="2117">
                  <c:v>1.3056014275999899E-2</c:v>
                </c:pt>
                <c:pt idx="2118">
                  <c:v>1.308919746E-2</c:v>
                </c:pt>
                <c:pt idx="2119">
                  <c:v>1.3120283672000001E-2</c:v>
                </c:pt>
                <c:pt idx="2120">
                  <c:v>1.3132351648E-2</c:v>
                </c:pt>
                <c:pt idx="2121">
                  <c:v>1.317728982E-2</c:v>
                </c:pt>
                <c:pt idx="2122">
                  <c:v>1.3201808568E-2</c:v>
                </c:pt>
                <c:pt idx="2123">
                  <c:v>1.3219285204E-2</c:v>
                </c:pt>
                <c:pt idx="2124">
                  <c:v>1.32199262399999E-2</c:v>
                </c:pt>
                <c:pt idx="2125">
                  <c:v>1.3183211592E-2</c:v>
                </c:pt>
                <c:pt idx="2126">
                  <c:v>1.3158595332000001E-2</c:v>
                </c:pt>
                <c:pt idx="2127">
                  <c:v>1.3127566128E-2</c:v>
                </c:pt>
                <c:pt idx="2128">
                  <c:v>1.3087629408E-2</c:v>
                </c:pt>
                <c:pt idx="2129">
                  <c:v>1.30533263959999E-2</c:v>
                </c:pt>
                <c:pt idx="2130">
                  <c:v>1.3041144859999999E-2</c:v>
                </c:pt>
                <c:pt idx="2131">
                  <c:v>1.3002036844E-2</c:v>
                </c:pt>
                <c:pt idx="2132">
                  <c:v>1.2966326884E-2</c:v>
                </c:pt>
                <c:pt idx="2133">
                  <c:v>1.2897679271999999E-2</c:v>
                </c:pt>
                <c:pt idx="2134">
                  <c:v>1.2849105336E-2</c:v>
                </c:pt>
                <c:pt idx="2135">
                  <c:v>1.2841392187999999E-2</c:v>
                </c:pt>
                <c:pt idx="2136">
                  <c:v>1.2815936635999999E-2</c:v>
                </c:pt>
                <c:pt idx="2137">
                  <c:v>1.2796555796E-2</c:v>
                </c:pt>
                <c:pt idx="2138">
                  <c:v>1.2750592504E-2</c:v>
                </c:pt>
                <c:pt idx="2139">
                  <c:v>1.2725698299999999E-2</c:v>
                </c:pt>
                <c:pt idx="2140">
                  <c:v>1.2682965288E-2</c:v>
                </c:pt>
                <c:pt idx="2141">
                  <c:v>1.2687387016E-2</c:v>
                </c:pt>
                <c:pt idx="2142">
                  <c:v>1.27162581159999E-2</c:v>
                </c:pt>
                <c:pt idx="2143">
                  <c:v>1.27431941919999E-2</c:v>
                </c:pt>
                <c:pt idx="2144">
                  <c:v>1.2763553192E-2</c:v>
                </c:pt>
                <c:pt idx="2145">
                  <c:v>1.2777155008E-2</c:v>
                </c:pt>
                <c:pt idx="2146">
                  <c:v>1.2775724216E-2</c:v>
                </c:pt>
                <c:pt idx="2147">
                  <c:v>1.2783512148E-2</c:v>
                </c:pt>
                <c:pt idx="2148">
                  <c:v>1.27995177839999E-2</c:v>
                </c:pt>
                <c:pt idx="2149">
                  <c:v>1.28053194319999E-2</c:v>
                </c:pt>
                <c:pt idx="2150">
                  <c:v>1.28067972439999E-2</c:v>
                </c:pt>
                <c:pt idx="2151">
                  <c:v>1.281746072E-2</c:v>
                </c:pt>
                <c:pt idx="2152">
                  <c:v>1.28412842839999E-2</c:v>
                </c:pt>
                <c:pt idx="2153">
                  <c:v>1.2875361024E-2</c:v>
                </c:pt>
                <c:pt idx="2154">
                  <c:v>1.2905973451999999E-2</c:v>
                </c:pt>
                <c:pt idx="2155">
                  <c:v>1.2956834144E-2</c:v>
                </c:pt>
                <c:pt idx="2156">
                  <c:v>1.298166404E-2</c:v>
                </c:pt>
                <c:pt idx="2157">
                  <c:v>1.302694502E-2</c:v>
                </c:pt>
                <c:pt idx="2158">
                  <c:v>1.3044485103999999E-2</c:v>
                </c:pt>
                <c:pt idx="2159">
                  <c:v>1.30418944E-2</c:v>
                </c:pt>
                <c:pt idx="2160">
                  <c:v>1.3053033768000001E-2</c:v>
                </c:pt>
                <c:pt idx="2161">
                  <c:v>1.3052549456E-2</c:v>
                </c:pt>
                <c:pt idx="2162">
                  <c:v>1.305474484E-2</c:v>
                </c:pt>
                <c:pt idx="2163">
                  <c:v>1.3078526952E-2</c:v>
                </c:pt>
                <c:pt idx="2164">
                  <c:v>1.3081186716E-2</c:v>
                </c:pt>
                <c:pt idx="2165">
                  <c:v>1.3101509088E-2</c:v>
                </c:pt>
                <c:pt idx="2166">
                  <c:v>1.3112655252E-2</c:v>
                </c:pt>
                <c:pt idx="2167">
                  <c:v>1.3107216352E-2</c:v>
                </c:pt>
                <c:pt idx="2168">
                  <c:v>1.3108559551999899E-2</c:v>
                </c:pt>
                <c:pt idx="2169">
                  <c:v>1.3116855179999999E-2</c:v>
                </c:pt>
                <c:pt idx="2170">
                  <c:v>1.3121415956000001E-2</c:v>
                </c:pt>
                <c:pt idx="2171">
                  <c:v>1.3149097824E-2</c:v>
                </c:pt>
                <c:pt idx="2172">
                  <c:v>1.3186350483999999E-2</c:v>
                </c:pt>
                <c:pt idx="2173">
                  <c:v>1.3218052851999999E-2</c:v>
                </c:pt>
                <c:pt idx="2174">
                  <c:v>1.323033532E-2</c:v>
                </c:pt>
                <c:pt idx="2175">
                  <c:v>1.3236085836E-2</c:v>
                </c:pt>
                <c:pt idx="2176">
                  <c:v>1.3235877536E-2</c:v>
                </c:pt>
                <c:pt idx="2177">
                  <c:v>1.3281478824E-2</c:v>
                </c:pt>
                <c:pt idx="2178">
                  <c:v>1.3304649536E-2</c:v>
                </c:pt>
                <c:pt idx="2179">
                  <c:v>1.3317473680000001E-2</c:v>
                </c:pt>
                <c:pt idx="2180">
                  <c:v>1.3343784528000001E-2</c:v>
                </c:pt>
                <c:pt idx="2181">
                  <c:v>1.33287156159999E-2</c:v>
                </c:pt>
                <c:pt idx="2182">
                  <c:v>1.3340008751999999E-2</c:v>
                </c:pt>
                <c:pt idx="2183">
                  <c:v>1.3356990811999999E-2</c:v>
                </c:pt>
                <c:pt idx="2184">
                  <c:v>1.3352032804E-2</c:v>
                </c:pt>
                <c:pt idx="2185">
                  <c:v>1.3355595160000001E-2</c:v>
                </c:pt>
                <c:pt idx="2186">
                  <c:v>1.336079288E-2</c:v>
                </c:pt>
                <c:pt idx="2187">
                  <c:v>1.3364868259999999E-2</c:v>
                </c:pt>
                <c:pt idx="2188">
                  <c:v>1.3357983219999999E-2</c:v>
                </c:pt>
                <c:pt idx="2189">
                  <c:v>1.3359481364E-2</c:v>
                </c:pt>
                <c:pt idx="2190">
                  <c:v>1.3347041255999999E-2</c:v>
                </c:pt>
                <c:pt idx="2191">
                  <c:v>1.33195224E-2</c:v>
                </c:pt>
                <c:pt idx="2192">
                  <c:v>1.3316390232E-2</c:v>
                </c:pt>
                <c:pt idx="2193">
                  <c:v>1.3315178112E-2</c:v>
                </c:pt>
                <c:pt idx="2194">
                  <c:v>1.3317085451999999E-2</c:v>
                </c:pt>
                <c:pt idx="2195">
                  <c:v>1.3275328416E-2</c:v>
                </c:pt>
                <c:pt idx="2196">
                  <c:v>1.3264705872E-2</c:v>
                </c:pt>
                <c:pt idx="2197">
                  <c:v>1.3243121191999999E-2</c:v>
                </c:pt>
                <c:pt idx="2198">
                  <c:v>1.3219120192E-2</c:v>
                </c:pt>
                <c:pt idx="2199">
                  <c:v>1.3197054244E-2</c:v>
                </c:pt>
                <c:pt idx="2200">
                  <c:v>1.3179737076E-2</c:v>
                </c:pt>
                <c:pt idx="2201">
                  <c:v>1.31534208439999E-2</c:v>
                </c:pt>
                <c:pt idx="2202">
                  <c:v>1.3148167271999999E-2</c:v>
                </c:pt>
                <c:pt idx="2203">
                  <c:v>1.31434314879999E-2</c:v>
                </c:pt>
                <c:pt idx="2204">
                  <c:v>1.3127252124E-2</c:v>
                </c:pt>
                <c:pt idx="2205">
                  <c:v>1.31254945879999E-2</c:v>
                </c:pt>
                <c:pt idx="2206">
                  <c:v>1.3099825244E-2</c:v>
                </c:pt>
                <c:pt idx="2207">
                  <c:v>1.3084386848E-2</c:v>
                </c:pt>
                <c:pt idx="2208">
                  <c:v>1.3064432335999999E-2</c:v>
                </c:pt>
                <c:pt idx="2209">
                  <c:v>1.3065341976000001E-2</c:v>
                </c:pt>
                <c:pt idx="2210">
                  <c:v>1.3048767156E-2</c:v>
                </c:pt>
                <c:pt idx="2211">
                  <c:v>1.3032827952E-2</c:v>
                </c:pt>
                <c:pt idx="2212">
                  <c:v>1.3012065063999999E-2</c:v>
                </c:pt>
                <c:pt idx="2213">
                  <c:v>1.3009054864000001E-2</c:v>
                </c:pt>
                <c:pt idx="2214">
                  <c:v>1.2993803991999999E-2</c:v>
                </c:pt>
                <c:pt idx="2215">
                  <c:v>1.2979975796E-2</c:v>
                </c:pt>
                <c:pt idx="2216">
                  <c:v>1.29710834E-2</c:v>
                </c:pt>
                <c:pt idx="2217">
                  <c:v>1.29792114519999E-2</c:v>
                </c:pt>
                <c:pt idx="2218">
                  <c:v>1.2965341639999999E-2</c:v>
                </c:pt>
                <c:pt idx="2219">
                  <c:v>1.2934896879999999E-2</c:v>
                </c:pt>
                <c:pt idx="2220">
                  <c:v>1.29238065239999E-2</c:v>
                </c:pt>
                <c:pt idx="2221">
                  <c:v>1.29281909479999E-2</c:v>
                </c:pt>
                <c:pt idx="2222">
                  <c:v>1.29204094319999E-2</c:v>
                </c:pt>
                <c:pt idx="2223">
                  <c:v>1.2909974935999999E-2</c:v>
                </c:pt>
                <c:pt idx="2224">
                  <c:v>1.2914367035999999E-2</c:v>
                </c:pt>
                <c:pt idx="2225">
                  <c:v>1.2909928216E-2</c:v>
                </c:pt>
                <c:pt idx="2226">
                  <c:v>1.2906039035999999E-2</c:v>
                </c:pt>
                <c:pt idx="2227">
                  <c:v>1.2905158644000001E-2</c:v>
                </c:pt>
                <c:pt idx="2228">
                  <c:v>1.2904792131999999E-2</c:v>
                </c:pt>
                <c:pt idx="2229">
                  <c:v>1.2902354596000001E-2</c:v>
                </c:pt>
                <c:pt idx="2230">
                  <c:v>1.29017327E-2</c:v>
                </c:pt>
                <c:pt idx="2231">
                  <c:v>1.28839788679999E-2</c:v>
                </c:pt>
                <c:pt idx="2232">
                  <c:v>1.2900350436E-2</c:v>
                </c:pt>
                <c:pt idx="2233">
                  <c:v>1.2908957992E-2</c:v>
                </c:pt>
                <c:pt idx="2234">
                  <c:v>1.2918751636E-2</c:v>
                </c:pt>
                <c:pt idx="2235">
                  <c:v>1.2922532856000001E-2</c:v>
                </c:pt>
                <c:pt idx="2236">
                  <c:v>1.2920547704E-2</c:v>
                </c:pt>
                <c:pt idx="2237">
                  <c:v>1.29281202279999E-2</c:v>
                </c:pt>
                <c:pt idx="2238">
                  <c:v>1.2954241619999999E-2</c:v>
                </c:pt>
                <c:pt idx="2239">
                  <c:v>1.2977993320000001E-2</c:v>
                </c:pt>
                <c:pt idx="2240">
                  <c:v>1.29953696759999E-2</c:v>
                </c:pt>
                <c:pt idx="2241">
                  <c:v>1.302235626E-2</c:v>
                </c:pt>
                <c:pt idx="2242">
                  <c:v>1.301723384E-2</c:v>
                </c:pt>
                <c:pt idx="2243">
                  <c:v>1.3015027996E-2</c:v>
                </c:pt>
                <c:pt idx="2244">
                  <c:v>1.3024824748E-2</c:v>
                </c:pt>
                <c:pt idx="2245">
                  <c:v>1.30237713159999E-2</c:v>
                </c:pt>
                <c:pt idx="2246">
                  <c:v>1.3036198404000001E-2</c:v>
                </c:pt>
                <c:pt idx="2247">
                  <c:v>1.3044586504E-2</c:v>
                </c:pt>
                <c:pt idx="2248">
                  <c:v>1.3055212112E-2</c:v>
                </c:pt>
                <c:pt idx="2249">
                  <c:v>1.3064015968E-2</c:v>
                </c:pt>
                <c:pt idx="2250">
                  <c:v>1.30494115E-2</c:v>
                </c:pt>
                <c:pt idx="2251">
                  <c:v>1.3034340596E-2</c:v>
                </c:pt>
                <c:pt idx="2252">
                  <c:v>1.3026587352E-2</c:v>
                </c:pt>
                <c:pt idx="2253">
                  <c:v>1.3035168252E-2</c:v>
                </c:pt>
                <c:pt idx="2254">
                  <c:v>1.29800789239999E-2</c:v>
                </c:pt>
                <c:pt idx="2255">
                  <c:v>1.2965273903999999E-2</c:v>
                </c:pt>
                <c:pt idx="2256">
                  <c:v>1.2941174748E-2</c:v>
                </c:pt>
                <c:pt idx="2257">
                  <c:v>1.2906287363999999E-2</c:v>
                </c:pt>
                <c:pt idx="2258">
                  <c:v>1.2872117775999999E-2</c:v>
                </c:pt>
                <c:pt idx="2259">
                  <c:v>1.283830368E-2</c:v>
                </c:pt>
                <c:pt idx="2260">
                  <c:v>1.2790740416E-2</c:v>
                </c:pt>
                <c:pt idx="2261">
                  <c:v>1.2765850384000001E-2</c:v>
                </c:pt>
                <c:pt idx="2262">
                  <c:v>1.2761310008E-2</c:v>
                </c:pt>
                <c:pt idx="2263">
                  <c:v>1.2740942471999901E-2</c:v>
                </c:pt>
                <c:pt idx="2264">
                  <c:v>1.27171928439999E-2</c:v>
                </c:pt>
                <c:pt idx="2265">
                  <c:v>1.27197449E-2</c:v>
                </c:pt>
                <c:pt idx="2266">
                  <c:v>1.2714155495999999E-2</c:v>
                </c:pt>
                <c:pt idx="2267">
                  <c:v>1.2698658756E-2</c:v>
                </c:pt>
                <c:pt idx="2268">
                  <c:v>1.2692989607999999E-2</c:v>
                </c:pt>
                <c:pt idx="2269">
                  <c:v>1.2679102784E-2</c:v>
                </c:pt>
                <c:pt idx="2270">
                  <c:v>1.2656615100000001E-2</c:v>
                </c:pt>
                <c:pt idx="2271">
                  <c:v>1.2631833964E-2</c:v>
                </c:pt>
                <c:pt idx="2272">
                  <c:v>1.2603303776E-2</c:v>
                </c:pt>
                <c:pt idx="2273">
                  <c:v>1.2584116899999999E-2</c:v>
                </c:pt>
                <c:pt idx="2274">
                  <c:v>1.2563459548E-2</c:v>
                </c:pt>
                <c:pt idx="2275">
                  <c:v>1.2541221664000001E-2</c:v>
                </c:pt>
                <c:pt idx="2276">
                  <c:v>1.2537424452E-2</c:v>
                </c:pt>
                <c:pt idx="2277">
                  <c:v>1.2517346628E-2</c:v>
                </c:pt>
                <c:pt idx="2278">
                  <c:v>1.24714046959999E-2</c:v>
                </c:pt>
                <c:pt idx="2279">
                  <c:v>1.243699824E-2</c:v>
                </c:pt>
                <c:pt idx="2280">
                  <c:v>1.2403511036000001E-2</c:v>
                </c:pt>
                <c:pt idx="2281">
                  <c:v>1.23854206119999E-2</c:v>
                </c:pt>
                <c:pt idx="2282">
                  <c:v>1.2361068648E-2</c:v>
                </c:pt>
                <c:pt idx="2283">
                  <c:v>1.2335661919999999E-2</c:v>
                </c:pt>
                <c:pt idx="2284">
                  <c:v>1.2318815231999999E-2</c:v>
                </c:pt>
                <c:pt idx="2285">
                  <c:v>1.2311272192000001E-2</c:v>
                </c:pt>
                <c:pt idx="2286">
                  <c:v>1.22763781279999E-2</c:v>
                </c:pt>
                <c:pt idx="2287">
                  <c:v>1.2244866147999999E-2</c:v>
                </c:pt>
                <c:pt idx="2288">
                  <c:v>1.22024075E-2</c:v>
                </c:pt>
                <c:pt idx="2289">
                  <c:v>1.217306372E-2</c:v>
                </c:pt>
                <c:pt idx="2290">
                  <c:v>1.21414824159999E-2</c:v>
                </c:pt>
                <c:pt idx="2291">
                  <c:v>1.2095010192000001E-2</c:v>
                </c:pt>
                <c:pt idx="2292">
                  <c:v>1.2067940807999999E-2</c:v>
                </c:pt>
                <c:pt idx="2293">
                  <c:v>1.2033538848E-2</c:v>
                </c:pt>
                <c:pt idx="2294">
                  <c:v>1.201270244E-2</c:v>
                </c:pt>
                <c:pt idx="2295">
                  <c:v>1.19975721879999E-2</c:v>
                </c:pt>
                <c:pt idx="2296">
                  <c:v>1.1976569648E-2</c:v>
                </c:pt>
                <c:pt idx="2297">
                  <c:v>1.1952515648E-2</c:v>
                </c:pt>
                <c:pt idx="2298">
                  <c:v>1.1928719395999999E-2</c:v>
                </c:pt>
                <c:pt idx="2299">
                  <c:v>1.1896365315999999E-2</c:v>
                </c:pt>
                <c:pt idx="2300">
                  <c:v>1.1880285572E-2</c:v>
                </c:pt>
                <c:pt idx="2301">
                  <c:v>1.1859455584000001E-2</c:v>
                </c:pt>
                <c:pt idx="2302">
                  <c:v>1.1849499092000001E-2</c:v>
                </c:pt>
                <c:pt idx="2303">
                  <c:v>1.1838640992E-2</c:v>
                </c:pt>
                <c:pt idx="2304">
                  <c:v>1.1832422527999899E-2</c:v>
                </c:pt>
                <c:pt idx="2305">
                  <c:v>1.1824035052E-2</c:v>
                </c:pt>
                <c:pt idx="2306">
                  <c:v>1.1795995836E-2</c:v>
                </c:pt>
                <c:pt idx="2307">
                  <c:v>1.1743405247999999E-2</c:v>
                </c:pt>
                <c:pt idx="2308">
                  <c:v>1.1656682452E-2</c:v>
                </c:pt>
                <c:pt idx="2309">
                  <c:v>1.1588038187999999E-2</c:v>
                </c:pt>
                <c:pt idx="2310">
                  <c:v>1.1502978224E-2</c:v>
                </c:pt>
                <c:pt idx="2311">
                  <c:v>1.13687179119999E-2</c:v>
                </c:pt>
                <c:pt idx="2312">
                  <c:v>1.1239340884E-2</c:v>
                </c:pt>
                <c:pt idx="2313">
                  <c:v>1.11068124039999E-2</c:v>
                </c:pt>
                <c:pt idx="2314">
                  <c:v>1.1050484056000001E-2</c:v>
                </c:pt>
                <c:pt idx="2315">
                  <c:v>1.0951324032E-2</c:v>
                </c:pt>
                <c:pt idx="2316">
                  <c:v>1.0901469816000001E-2</c:v>
                </c:pt>
                <c:pt idx="2317">
                  <c:v>1.084826734E-2</c:v>
                </c:pt>
                <c:pt idx="2318">
                  <c:v>1.07750805399999E-2</c:v>
                </c:pt>
                <c:pt idx="2319">
                  <c:v>1.0708063275999999E-2</c:v>
                </c:pt>
                <c:pt idx="2320">
                  <c:v>1.0667288552E-2</c:v>
                </c:pt>
                <c:pt idx="2321">
                  <c:v>1.0628118872000001E-2</c:v>
                </c:pt>
                <c:pt idx="2322">
                  <c:v>1.0580859115999999E-2</c:v>
                </c:pt>
                <c:pt idx="2323">
                  <c:v>1.0520854628000001E-2</c:v>
                </c:pt>
                <c:pt idx="2324">
                  <c:v>1.0447121828E-2</c:v>
                </c:pt>
                <c:pt idx="2325">
                  <c:v>1.0384911183999999E-2</c:v>
                </c:pt>
                <c:pt idx="2326">
                  <c:v>1.0319935868000001E-2</c:v>
                </c:pt>
                <c:pt idx="2327">
                  <c:v>1.02471901879999E-2</c:v>
                </c:pt>
                <c:pt idx="2328">
                  <c:v>1.0181962488000001E-2</c:v>
                </c:pt>
                <c:pt idx="2329">
                  <c:v>1.0126691251999999E-2</c:v>
                </c:pt>
                <c:pt idx="2330">
                  <c:v>1.0060155435999999E-2</c:v>
                </c:pt>
                <c:pt idx="2331">
                  <c:v>9.9846798319999999E-3</c:v>
                </c:pt>
                <c:pt idx="2332">
                  <c:v>9.8846322839999997E-3</c:v>
                </c:pt>
                <c:pt idx="2333">
                  <c:v>9.8238649839999994E-3</c:v>
                </c:pt>
                <c:pt idx="2334">
                  <c:v>9.7664330359999892E-3</c:v>
                </c:pt>
                <c:pt idx="2335">
                  <c:v>9.7237704959999994E-3</c:v>
                </c:pt>
                <c:pt idx="2336">
                  <c:v>9.6850109600000005E-3</c:v>
                </c:pt>
                <c:pt idx="2337">
                  <c:v>9.6375777240000002E-3</c:v>
                </c:pt>
                <c:pt idx="2338">
                  <c:v>9.5966309519999998E-3</c:v>
                </c:pt>
                <c:pt idx="2339">
                  <c:v>9.5664311279999997E-3</c:v>
                </c:pt>
                <c:pt idx="2340">
                  <c:v>9.5497474440000008E-3</c:v>
                </c:pt>
                <c:pt idx="2341">
                  <c:v>9.5060132839999995E-3</c:v>
                </c:pt>
                <c:pt idx="2342">
                  <c:v>9.4813214719999903E-3</c:v>
                </c:pt>
                <c:pt idx="2343">
                  <c:v>9.4548994839999904E-3</c:v>
                </c:pt>
                <c:pt idx="2344">
                  <c:v>9.4064961279999998E-3</c:v>
                </c:pt>
                <c:pt idx="2345">
                  <c:v>9.3877395079999901E-3</c:v>
                </c:pt>
                <c:pt idx="2346">
                  <c:v>9.3564759239999993E-3</c:v>
                </c:pt>
                <c:pt idx="2347">
                  <c:v>9.3356137000000002E-3</c:v>
                </c:pt>
                <c:pt idx="2348">
                  <c:v>9.3122285080000002E-3</c:v>
                </c:pt>
                <c:pt idx="2349">
                  <c:v>9.2842792519999898E-3</c:v>
                </c:pt>
                <c:pt idx="2350">
                  <c:v>9.2625589680000002E-3</c:v>
                </c:pt>
                <c:pt idx="2351">
                  <c:v>9.2541888119999898E-3</c:v>
                </c:pt>
                <c:pt idx="2352">
                  <c:v>9.2508749520000006E-3</c:v>
                </c:pt>
                <c:pt idx="2353">
                  <c:v>9.2251677639999998E-3</c:v>
                </c:pt>
                <c:pt idx="2354">
                  <c:v>9.205688008E-3</c:v>
                </c:pt>
                <c:pt idx="2355">
                  <c:v>9.1951511239999999E-3</c:v>
                </c:pt>
                <c:pt idx="2356">
                  <c:v>9.1884989119999996E-3</c:v>
                </c:pt>
                <c:pt idx="2357">
                  <c:v>9.1858001200000004E-3</c:v>
                </c:pt>
                <c:pt idx="2358">
                  <c:v>9.1705034759999998E-3</c:v>
                </c:pt>
                <c:pt idx="2359">
                  <c:v>9.1545996960000001E-3</c:v>
                </c:pt>
                <c:pt idx="2360">
                  <c:v>9.1418888039999993E-3</c:v>
                </c:pt>
                <c:pt idx="2361">
                  <c:v>9.134095444E-3</c:v>
                </c:pt>
                <c:pt idx="2362">
                  <c:v>9.1269031119999896E-3</c:v>
                </c:pt>
                <c:pt idx="2363">
                  <c:v>9.1207408519999901E-3</c:v>
                </c:pt>
                <c:pt idx="2364">
                  <c:v>9.1156739960000007E-3</c:v>
                </c:pt>
                <c:pt idx="2365">
                  <c:v>9.1324919839999904E-3</c:v>
                </c:pt>
                <c:pt idx="2366">
                  <c:v>9.1629849880000003E-3</c:v>
                </c:pt>
                <c:pt idx="2367">
                  <c:v>9.1577737639999997E-3</c:v>
                </c:pt>
                <c:pt idx="2368">
                  <c:v>9.1322744719999904E-3</c:v>
                </c:pt>
                <c:pt idx="2369">
                  <c:v>9.1061745639999993E-3</c:v>
                </c:pt>
                <c:pt idx="2370">
                  <c:v>9.0850005639999901E-3</c:v>
                </c:pt>
                <c:pt idx="2371">
                  <c:v>9.0626377719999901E-3</c:v>
                </c:pt>
                <c:pt idx="2372">
                  <c:v>9.0548032919999903E-3</c:v>
                </c:pt>
                <c:pt idx="2373">
                  <c:v>9.0504682479999998E-3</c:v>
                </c:pt>
                <c:pt idx="2374">
                  <c:v>9.0463134680000001E-3</c:v>
                </c:pt>
                <c:pt idx="2375">
                  <c:v>9.0399563120000005E-3</c:v>
                </c:pt>
                <c:pt idx="2376">
                  <c:v>9.0248980439999998E-3</c:v>
                </c:pt>
                <c:pt idx="2377">
                  <c:v>9.0005596479999991E-3</c:v>
                </c:pt>
                <c:pt idx="2378">
                  <c:v>8.9996531999999903E-3</c:v>
                </c:pt>
                <c:pt idx="2379">
                  <c:v>8.9970882879999992E-3</c:v>
                </c:pt>
                <c:pt idx="2380">
                  <c:v>8.9866648440000002E-3</c:v>
                </c:pt>
                <c:pt idx="2381">
                  <c:v>8.9633977120000003E-3</c:v>
                </c:pt>
                <c:pt idx="2382">
                  <c:v>8.9541121119999997E-3</c:v>
                </c:pt>
                <c:pt idx="2383">
                  <c:v>8.9579031199999992E-3</c:v>
                </c:pt>
                <c:pt idx="2384">
                  <c:v>8.9730546960000001E-3</c:v>
                </c:pt>
                <c:pt idx="2385">
                  <c:v>8.9533949839999995E-3</c:v>
                </c:pt>
                <c:pt idx="2386">
                  <c:v>8.9364159119999995E-3</c:v>
                </c:pt>
                <c:pt idx="2387">
                  <c:v>8.9322871919999998E-3</c:v>
                </c:pt>
                <c:pt idx="2388">
                  <c:v>8.9354586599999994E-3</c:v>
                </c:pt>
                <c:pt idx="2389">
                  <c:v>8.9242179399999996E-3</c:v>
                </c:pt>
                <c:pt idx="2390">
                  <c:v>8.9223161320000008E-3</c:v>
                </c:pt>
                <c:pt idx="2391">
                  <c:v>8.904568828E-3</c:v>
                </c:pt>
                <c:pt idx="2392">
                  <c:v>8.8722645400000008E-3</c:v>
                </c:pt>
                <c:pt idx="2393">
                  <c:v>8.8434178959999991E-3</c:v>
                </c:pt>
                <c:pt idx="2394">
                  <c:v>8.8400598119999993E-3</c:v>
                </c:pt>
                <c:pt idx="2395">
                  <c:v>8.8524289120000006E-3</c:v>
                </c:pt>
                <c:pt idx="2396">
                  <c:v>8.8560704280000006E-3</c:v>
                </c:pt>
                <c:pt idx="2397">
                  <c:v>8.8435672279999992E-3</c:v>
                </c:pt>
                <c:pt idx="2398">
                  <c:v>8.8021830559999997E-3</c:v>
                </c:pt>
                <c:pt idx="2399">
                  <c:v>8.8005473479999992E-3</c:v>
                </c:pt>
                <c:pt idx="2400">
                  <c:v>8.8084793959999994E-3</c:v>
                </c:pt>
                <c:pt idx="2401">
                  <c:v>8.81383682799999E-3</c:v>
                </c:pt>
                <c:pt idx="2402">
                  <c:v>8.8044407280000007E-3</c:v>
                </c:pt>
                <c:pt idx="2403">
                  <c:v>8.7841682839999904E-3</c:v>
                </c:pt>
                <c:pt idx="2404">
                  <c:v>8.7690598439999993E-3</c:v>
                </c:pt>
                <c:pt idx="2405">
                  <c:v>8.7335123399999992E-3</c:v>
                </c:pt>
                <c:pt idx="2406">
                  <c:v>8.7156074040000003E-3</c:v>
                </c:pt>
                <c:pt idx="2407">
                  <c:v>8.7088348039999902E-3</c:v>
                </c:pt>
                <c:pt idx="2408">
                  <c:v>8.7020053480000008E-3</c:v>
                </c:pt>
                <c:pt idx="2409">
                  <c:v>8.6910755399999904E-3</c:v>
                </c:pt>
                <c:pt idx="2410">
                  <c:v>8.6753505119999998E-3</c:v>
                </c:pt>
                <c:pt idx="2411">
                  <c:v>8.669380204E-3</c:v>
                </c:pt>
                <c:pt idx="2412">
                  <c:v>8.6639831599999995E-3</c:v>
                </c:pt>
                <c:pt idx="2413">
                  <c:v>8.6300049359999895E-3</c:v>
                </c:pt>
                <c:pt idx="2414">
                  <c:v>8.6087627999999992E-3</c:v>
                </c:pt>
                <c:pt idx="2415">
                  <c:v>8.5747631920000001E-3</c:v>
                </c:pt>
                <c:pt idx="2416">
                  <c:v>8.5556117799999998E-3</c:v>
                </c:pt>
                <c:pt idx="2417">
                  <c:v>8.5499410719999999E-3</c:v>
                </c:pt>
                <c:pt idx="2418">
                  <c:v>8.544847316E-3</c:v>
                </c:pt>
                <c:pt idx="2419">
                  <c:v>8.5249593919999901E-3</c:v>
                </c:pt>
                <c:pt idx="2420">
                  <c:v>8.5277881199999992E-3</c:v>
                </c:pt>
                <c:pt idx="2421">
                  <c:v>8.4982951359999902E-3</c:v>
                </c:pt>
                <c:pt idx="2422">
                  <c:v>8.4537621799999994E-3</c:v>
                </c:pt>
                <c:pt idx="2423">
                  <c:v>8.4095067759999993E-3</c:v>
                </c:pt>
                <c:pt idx="2424">
                  <c:v>8.3861145119999998E-3</c:v>
                </c:pt>
                <c:pt idx="2425">
                  <c:v>8.3823598599999903E-3</c:v>
                </c:pt>
                <c:pt idx="2426">
                  <c:v>8.3718837360000006E-3</c:v>
                </c:pt>
                <c:pt idx="2427">
                  <c:v>8.3160502199999993E-3</c:v>
                </c:pt>
                <c:pt idx="2428">
                  <c:v>8.2814731199999901E-3</c:v>
                </c:pt>
                <c:pt idx="2429">
                  <c:v>8.2738445120000004E-3</c:v>
                </c:pt>
                <c:pt idx="2430">
                  <c:v>8.2398303280000005E-3</c:v>
                </c:pt>
                <c:pt idx="2431">
                  <c:v>8.2210848440000001E-3</c:v>
                </c:pt>
                <c:pt idx="2432">
                  <c:v>8.2066725559999994E-3</c:v>
                </c:pt>
                <c:pt idx="2433">
                  <c:v>8.1974040080000001E-3</c:v>
                </c:pt>
                <c:pt idx="2434">
                  <c:v>8.1891228640000001E-3</c:v>
                </c:pt>
                <c:pt idx="2435">
                  <c:v>8.1656054599999993E-3</c:v>
                </c:pt>
                <c:pt idx="2436">
                  <c:v>8.1423505960000007E-3</c:v>
                </c:pt>
                <c:pt idx="2437">
                  <c:v>8.1480111399999996E-3</c:v>
                </c:pt>
                <c:pt idx="2438">
                  <c:v>8.1411895639999995E-3</c:v>
                </c:pt>
                <c:pt idx="2439">
                  <c:v>8.1389388160000003E-3</c:v>
                </c:pt>
                <c:pt idx="2440">
                  <c:v>8.1319787240000004E-3</c:v>
                </c:pt>
                <c:pt idx="2441">
                  <c:v>8.1322799719999901E-3</c:v>
                </c:pt>
                <c:pt idx="2442">
                  <c:v>8.1242100439999996E-3</c:v>
                </c:pt>
                <c:pt idx="2443">
                  <c:v>8.1087318559999993E-3</c:v>
                </c:pt>
                <c:pt idx="2444">
                  <c:v>8.0947866160000007E-3</c:v>
                </c:pt>
                <c:pt idx="2445">
                  <c:v>8.0928921000000004E-3</c:v>
                </c:pt>
                <c:pt idx="2446">
                  <c:v>8.0790138519999995E-3</c:v>
                </c:pt>
                <c:pt idx="2447">
                  <c:v>8.074975408E-3</c:v>
                </c:pt>
                <c:pt idx="2448">
                  <c:v>8.0685444479999899E-3</c:v>
                </c:pt>
                <c:pt idx="2449">
                  <c:v>8.0659719879999994E-3</c:v>
                </c:pt>
                <c:pt idx="2450">
                  <c:v>8.0650574200000005E-3</c:v>
                </c:pt>
                <c:pt idx="2451">
                  <c:v>8.0624532759999996E-3</c:v>
                </c:pt>
                <c:pt idx="2452">
                  <c:v>8.0635626320000008E-3</c:v>
                </c:pt>
                <c:pt idx="2453">
                  <c:v>8.0617997720000001E-3</c:v>
                </c:pt>
                <c:pt idx="2454">
                  <c:v>8.06027369599999E-3</c:v>
                </c:pt>
                <c:pt idx="2455">
                  <c:v>8.0660846760000002E-3</c:v>
                </c:pt>
                <c:pt idx="2456">
                  <c:v>8.0861805279999997E-3</c:v>
                </c:pt>
                <c:pt idx="2457">
                  <c:v>8.0871918720000005E-3</c:v>
                </c:pt>
                <c:pt idx="2458">
                  <c:v>8.0892653000000005E-3</c:v>
                </c:pt>
                <c:pt idx="2459">
                  <c:v>8.0812495479999896E-3</c:v>
                </c:pt>
                <c:pt idx="2460">
                  <c:v>8.0895683799999899E-3</c:v>
                </c:pt>
                <c:pt idx="2461">
                  <c:v>8.0892221999999993E-3</c:v>
                </c:pt>
                <c:pt idx="2462">
                  <c:v>8.0886441640000001E-3</c:v>
                </c:pt>
                <c:pt idx="2463">
                  <c:v>8.0838161719999895E-3</c:v>
                </c:pt>
                <c:pt idx="2464">
                  <c:v>8.0944955359999998E-3</c:v>
                </c:pt>
                <c:pt idx="2465">
                  <c:v>8.0977045320000003E-3</c:v>
                </c:pt>
                <c:pt idx="2466">
                  <c:v>8.1002234120000002E-3</c:v>
                </c:pt>
                <c:pt idx="2467">
                  <c:v>8.0937252680000002E-3</c:v>
                </c:pt>
                <c:pt idx="2468">
                  <c:v>8.0953847079999995E-3</c:v>
                </c:pt>
                <c:pt idx="2469">
                  <c:v>8.1013607039999904E-3</c:v>
                </c:pt>
                <c:pt idx="2470">
                  <c:v>8.0977432319999897E-3</c:v>
                </c:pt>
                <c:pt idx="2471">
                  <c:v>8.0870592959999994E-3</c:v>
                </c:pt>
                <c:pt idx="2472">
                  <c:v>8.0773478000000006E-3</c:v>
                </c:pt>
                <c:pt idx="2473">
                  <c:v>8.0746494479999997E-3</c:v>
                </c:pt>
                <c:pt idx="2474">
                  <c:v>8.0622389479999904E-3</c:v>
                </c:pt>
                <c:pt idx="2475">
                  <c:v>8.0529401719999904E-3</c:v>
                </c:pt>
                <c:pt idx="2476">
                  <c:v>8.0455634000000005E-3</c:v>
                </c:pt>
                <c:pt idx="2477">
                  <c:v>8.0356088359999998E-3</c:v>
                </c:pt>
                <c:pt idx="2478">
                  <c:v>8.0365480319999991E-3</c:v>
                </c:pt>
                <c:pt idx="2479">
                  <c:v>8.0340384920000001E-3</c:v>
                </c:pt>
                <c:pt idx="2480">
                  <c:v>8.0336970479999992E-3</c:v>
                </c:pt>
                <c:pt idx="2481">
                  <c:v>8.0243328640000004E-3</c:v>
                </c:pt>
                <c:pt idx="2482">
                  <c:v>7.9868966999999992E-3</c:v>
                </c:pt>
                <c:pt idx="2483">
                  <c:v>7.9782768039999997E-3</c:v>
                </c:pt>
                <c:pt idx="2484">
                  <c:v>7.9767031159999995E-3</c:v>
                </c:pt>
                <c:pt idx="2485">
                  <c:v>7.9638722599999993E-3</c:v>
                </c:pt>
                <c:pt idx="2486">
                  <c:v>7.9448963000000004E-3</c:v>
                </c:pt>
                <c:pt idx="2487">
                  <c:v>7.9450954960000007E-3</c:v>
                </c:pt>
                <c:pt idx="2488">
                  <c:v>7.9155682520000003E-3</c:v>
                </c:pt>
                <c:pt idx="2489">
                  <c:v>7.8975334000000001E-3</c:v>
                </c:pt>
                <c:pt idx="2490">
                  <c:v>7.8766610999999997E-3</c:v>
                </c:pt>
                <c:pt idx="2491">
                  <c:v>7.8544793919999994E-3</c:v>
                </c:pt>
                <c:pt idx="2492">
                  <c:v>7.8488894319999995E-3</c:v>
                </c:pt>
                <c:pt idx="2493">
                  <c:v>7.8433233759999995E-3</c:v>
                </c:pt>
                <c:pt idx="2494">
                  <c:v>7.8271874959999904E-3</c:v>
                </c:pt>
                <c:pt idx="2495">
                  <c:v>7.8108738119999997E-3</c:v>
                </c:pt>
                <c:pt idx="2496">
                  <c:v>7.7883640719999996E-3</c:v>
                </c:pt>
                <c:pt idx="2497">
                  <c:v>7.769020576E-3</c:v>
                </c:pt>
                <c:pt idx="2498">
                  <c:v>7.7520500439999997E-3</c:v>
                </c:pt>
                <c:pt idx="2499">
                  <c:v>7.7380814599999998E-3</c:v>
                </c:pt>
                <c:pt idx="2500">
                  <c:v>7.7307988119999999E-3</c:v>
                </c:pt>
                <c:pt idx="2501">
                  <c:v>7.72299725199999E-3</c:v>
                </c:pt>
                <c:pt idx="2502">
                  <c:v>7.7200046519999999E-3</c:v>
                </c:pt>
                <c:pt idx="2503">
                  <c:v>7.6950373999999898E-3</c:v>
                </c:pt>
                <c:pt idx="2504">
                  <c:v>7.6920210360000001E-3</c:v>
                </c:pt>
                <c:pt idx="2505">
                  <c:v>7.6845415320000001E-3</c:v>
                </c:pt>
                <c:pt idx="2506">
                  <c:v>7.6768200879999996E-3</c:v>
                </c:pt>
                <c:pt idx="2507">
                  <c:v>7.6653886560000004E-3</c:v>
                </c:pt>
                <c:pt idx="2508">
                  <c:v>7.6655579559999996E-3</c:v>
                </c:pt>
                <c:pt idx="2509">
                  <c:v>7.6707203640000001E-3</c:v>
                </c:pt>
                <c:pt idx="2510">
                  <c:v>7.6721436040000004E-3</c:v>
                </c:pt>
                <c:pt idx="2511">
                  <c:v>7.67130505999999E-3</c:v>
                </c:pt>
                <c:pt idx="2512">
                  <c:v>7.6536534839999996E-3</c:v>
                </c:pt>
                <c:pt idx="2513">
                  <c:v>7.6198957399999899E-3</c:v>
                </c:pt>
                <c:pt idx="2514">
                  <c:v>7.5874288280000004E-3</c:v>
                </c:pt>
                <c:pt idx="2515">
                  <c:v>7.5615303879999997E-3</c:v>
                </c:pt>
                <c:pt idx="2516">
                  <c:v>7.5345409799999997E-3</c:v>
                </c:pt>
                <c:pt idx="2517">
                  <c:v>7.5119277680000002E-3</c:v>
                </c:pt>
                <c:pt idx="2518">
                  <c:v>7.4853324959999997E-3</c:v>
                </c:pt>
                <c:pt idx="2519">
                  <c:v>7.4723239280000001E-3</c:v>
                </c:pt>
                <c:pt idx="2520">
                  <c:v>7.4662668839999896E-3</c:v>
                </c:pt>
                <c:pt idx="2521">
                  <c:v>7.4587514480000004E-3</c:v>
                </c:pt>
                <c:pt idx="2522">
                  <c:v>7.4538067879999998E-3</c:v>
                </c:pt>
                <c:pt idx="2523">
                  <c:v>7.4473445200000004E-3</c:v>
                </c:pt>
                <c:pt idx="2524">
                  <c:v>7.4500851639999997E-3</c:v>
                </c:pt>
                <c:pt idx="2525">
                  <c:v>7.4497967880000002E-3</c:v>
                </c:pt>
                <c:pt idx="2526">
                  <c:v>7.4189088720000001E-3</c:v>
                </c:pt>
                <c:pt idx="2527">
                  <c:v>7.4069041039999898E-3</c:v>
                </c:pt>
                <c:pt idx="2528">
                  <c:v>7.43652387199999E-3</c:v>
                </c:pt>
                <c:pt idx="2529">
                  <c:v>7.4442619640000002E-3</c:v>
                </c:pt>
                <c:pt idx="2530">
                  <c:v>7.4493982119999899E-3</c:v>
                </c:pt>
                <c:pt idx="2531">
                  <c:v>7.4558826199999997E-3</c:v>
                </c:pt>
                <c:pt idx="2532">
                  <c:v>7.4601481400000001E-3</c:v>
                </c:pt>
                <c:pt idx="2533">
                  <c:v>7.47759665199999E-3</c:v>
                </c:pt>
                <c:pt idx="2534">
                  <c:v>7.4884300799999996E-3</c:v>
                </c:pt>
                <c:pt idx="2535">
                  <c:v>7.4852652159999996E-3</c:v>
                </c:pt>
                <c:pt idx="2536">
                  <c:v>7.4904701080000004E-3</c:v>
                </c:pt>
                <c:pt idx="2537">
                  <c:v>7.4979748639999897E-3</c:v>
                </c:pt>
                <c:pt idx="2538">
                  <c:v>7.5041441759999897E-3</c:v>
                </c:pt>
                <c:pt idx="2539">
                  <c:v>7.5036618879999999E-3</c:v>
                </c:pt>
                <c:pt idx="2540">
                  <c:v>7.4963252119999999E-3</c:v>
                </c:pt>
                <c:pt idx="2541">
                  <c:v>7.4924316679999999E-3</c:v>
                </c:pt>
                <c:pt idx="2542">
                  <c:v>7.5050899120000002E-3</c:v>
                </c:pt>
                <c:pt idx="2543">
                  <c:v>7.5233071120000003E-3</c:v>
                </c:pt>
                <c:pt idx="2544">
                  <c:v>7.4980923799999998E-3</c:v>
                </c:pt>
                <c:pt idx="2545">
                  <c:v>7.4875326879999997E-3</c:v>
                </c:pt>
                <c:pt idx="2546">
                  <c:v>7.4859528079999904E-3</c:v>
                </c:pt>
                <c:pt idx="2547">
                  <c:v>7.4837362200000004E-3</c:v>
                </c:pt>
                <c:pt idx="2548">
                  <c:v>7.4837573879999999E-3</c:v>
                </c:pt>
                <c:pt idx="2549">
                  <c:v>7.4804480960000003E-3</c:v>
                </c:pt>
                <c:pt idx="2550">
                  <c:v>7.4773077039999997E-3</c:v>
                </c:pt>
                <c:pt idx="2551">
                  <c:v>7.4807435079999899E-3</c:v>
                </c:pt>
                <c:pt idx="2552">
                  <c:v>7.4971590119999997E-3</c:v>
                </c:pt>
                <c:pt idx="2553">
                  <c:v>7.4926196679999998E-3</c:v>
                </c:pt>
                <c:pt idx="2554">
                  <c:v>7.4740653119999998E-3</c:v>
                </c:pt>
                <c:pt idx="2555">
                  <c:v>7.4620530079999997E-3</c:v>
                </c:pt>
                <c:pt idx="2556">
                  <c:v>7.463724568E-3</c:v>
                </c:pt>
                <c:pt idx="2557">
                  <c:v>7.4698576839999998E-3</c:v>
                </c:pt>
                <c:pt idx="2558">
                  <c:v>7.459580316E-3</c:v>
                </c:pt>
                <c:pt idx="2559">
                  <c:v>7.4529838120000001E-3</c:v>
                </c:pt>
                <c:pt idx="2560">
                  <c:v>7.4492179959999997E-3</c:v>
                </c:pt>
                <c:pt idx="2561">
                  <c:v>7.4550583999999998E-3</c:v>
                </c:pt>
                <c:pt idx="2562">
                  <c:v>7.4585964560000004E-3</c:v>
                </c:pt>
                <c:pt idx="2563">
                  <c:v>7.4488690560000001E-3</c:v>
                </c:pt>
                <c:pt idx="2564">
                  <c:v>7.4328365400000004E-3</c:v>
                </c:pt>
                <c:pt idx="2565">
                  <c:v>7.4306045879999998E-3</c:v>
                </c:pt>
                <c:pt idx="2566">
                  <c:v>7.4095989920000003E-3</c:v>
                </c:pt>
                <c:pt idx="2567">
                  <c:v>7.4012652239999997E-3</c:v>
                </c:pt>
                <c:pt idx="2568">
                  <c:v>7.38714781199999E-3</c:v>
                </c:pt>
                <c:pt idx="2569">
                  <c:v>7.3726088680000001E-3</c:v>
                </c:pt>
                <c:pt idx="2570">
                  <c:v>7.3459953119999997E-3</c:v>
                </c:pt>
                <c:pt idx="2571">
                  <c:v>7.3305129439999997E-3</c:v>
                </c:pt>
                <c:pt idx="2572">
                  <c:v>7.3244892319999999E-3</c:v>
                </c:pt>
                <c:pt idx="2573">
                  <c:v>7.318047296E-3</c:v>
                </c:pt>
                <c:pt idx="2574">
                  <c:v>7.3102536839999999E-3</c:v>
                </c:pt>
                <c:pt idx="2575">
                  <c:v>7.2936979799999996E-3</c:v>
                </c:pt>
                <c:pt idx="2576">
                  <c:v>7.2926293399999996E-3</c:v>
                </c:pt>
                <c:pt idx="2577">
                  <c:v>7.2803473759999997E-3</c:v>
                </c:pt>
                <c:pt idx="2578">
                  <c:v>7.2769423479999897E-3</c:v>
                </c:pt>
                <c:pt idx="2579">
                  <c:v>7.2607642000000003E-3</c:v>
                </c:pt>
                <c:pt idx="2580">
                  <c:v>7.2609798040000001E-3</c:v>
                </c:pt>
                <c:pt idx="2581">
                  <c:v>7.2568980120000003E-3</c:v>
                </c:pt>
                <c:pt idx="2582">
                  <c:v>7.2599212159999999E-3</c:v>
                </c:pt>
                <c:pt idx="2583">
                  <c:v>7.2666268439999897E-3</c:v>
                </c:pt>
                <c:pt idx="2584">
                  <c:v>7.2777818319999998E-3</c:v>
                </c:pt>
                <c:pt idx="2585">
                  <c:v>7.2853195799999996E-3</c:v>
                </c:pt>
                <c:pt idx="2586">
                  <c:v>7.3306566039999998E-3</c:v>
                </c:pt>
                <c:pt idx="2587">
                  <c:v>7.3490794760000004E-3</c:v>
                </c:pt>
                <c:pt idx="2588">
                  <c:v>7.3832270279999904E-3</c:v>
                </c:pt>
                <c:pt idx="2589">
                  <c:v>7.4072794959999999E-3</c:v>
                </c:pt>
                <c:pt idx="2590">
                  <c:v>7.3999700520000003E-3</c:v>
                </c:pt>
                <c:pt idx="2591">
                  <c:v>7.41102388E-3</c:v>
                </c:pt>
                <c:pt idx="2592">
                  <c:v>7.4191134599999996E-3</c:v>
                </c:pt>
                <c:pt idx="2593">
                  <c:v>7.4786741719999996E-3</c:v>
                </c:pt>
                <c:pt idx="2594">
                  <c:v>7.5276348999999999E-3</c:v>
                </c:pt>
                <c:pt idx="2595">
                  <c:v>7.5671548479999996E-3</c:v>
                </c:pt>
                <c:pt idx="2596">
                  <c:v>7.5958863559999999E-3</c:v>
                </c:pt>
                <c:pt idx="2597">
                  <c:v>7.6249674639999997E-3</c:v>
                </c:pt>
                <c:pt idx="2598">
                  <c:v>7.6458197840000002E-3</c:v>
                </c:pt>
                <c:pt idx="2599">
                  <c:v>7.6660565199999997E-3</c:v>
                </c:pt>
                <c:pt idx="2600">
                  <c:v>7.7067614559999898E-3</c:v>
                </c:pt>
                <c:pt idx="2601">
                  <c:v>7.7288818040000002E-3</c:v>
                </c:pt>
                <c:pt idx="2602">
                  <c:v>7.7495713719999996E-3</c:v>
                </c:pt>
                <c:pt idx="2603">
                  <c:v>7.7722026399999998E-3</c:v>
                </c:pt>
                <c:pt idx="2604">
                  <c:v>7.8071992159999999E-3</c:v>
                </c:pt>
                <c:pt idx="2605">
                  <c:v>7.8492844119999999E-3</c:v>
                </c:pt>
                <c:pt idx="2606">
                  <c:v>7.8805862559999992E-3</c:v>
                </c:pt>
                <c:pt idx="2607">
                  <c:v>7.9107991920000006E-3</c:v>
                </c:pt>
                <c:pt idx="2608">
                  <c:v>7.9378888280000007E-3</c:v>
                </c:pt>
                <c:pt idx="2609">
                  <c:v>7.9619803319999904E-3</c:v>
                </c:pt>
                <c:pt idx="2610">
                  <c:v>7.9926233359999994E-3</c:v>
                </c:pt>
                <c:pt idx="2611">
                  <c:v>8.0342324239999902E-3</c:v>
                </c:pt>
                <c:pt idx="2612">
                  <c:v>8.0744684759999994E-3</c:v>
                </c:pt>
                <c:pt idx="2613">
                  <c:v>8.1045456039999901E-3</c:v>
                </c:pt>
                <c:pt idx="2614">
                  <c:v>8.1271103360000003E-3</c:v>
                </c:pt>
                <c:pt idx="2615">
                  <c:v>8.1384603479999901E-3</c:v>
                </c:pt>
                <c:pt idx="2616">
                  <c:v>8.1371260439999892E-3</c:v>
                </c:pt>
                <c:pt idx="2617">
                  <c:v>8.1720994639999898E-3</c:v>
                </c:pt>
                <c:pt idx="2618">
                  <c:v>8.1903906879999995E-3</c:v>
                </c:pt>
                <c:pt idx="2619">
                  <c:v>8.2364667759999999E-3</c:v>
                </c:pt>
                <c:pt idx="2620">
                  <c:v>8.2547650599999901E-3</c:v>
                </c:pt>
                <c:pt idx="2621">
                  <c:v>8.2773347959999993E-3</c:v>
                </c:pt>
                <c:pt idx="2622">
                  <c:v>8.3065716519999996E-3</c:v>
                </c:pt>
                <c:pt idx="2623">
                  <c:v>8.3368266839999993E-3</c:v>
                </c:pt>
                <c:pt idx="2624">
                  <c:v>8.3610349039999997E-3</c:v>
                </c:pt>
                <c:pt idx="2625">
                  <c:v>8.3993815320000005E-3</c:v>
                </c:pt>
                <c:pt idx="2626">
                  <c:v>8.4632837520000007E-3</c:v>
                </c:pt>
                <c:pt idx="2627">
                  <c:v>8.5168971080000003E-3</c:v>
                </c:pt>
                <c:pt idx="2628">
                  <c:v>8.5428221639999996E-3</c:v>
                </c:pt>
                <c:pt idx="2629">
                  <c:v>8.5728785360000004E-3</c:v>
                </c:pt>
                <c:pt idx="2630">
                  <c:v>8.5965528399999901E-3</c:v>
                </c:pt>
                <c:pt idx="2631">
                  <c:v>8.6210163800000007E-3</c:v>
                </c:pt>
                <c:pt idx="2632">
                  <c:v>8.63695011599999E-3</c:v>
                </c:pt>
                <c:pt idx="2633">
                  <c:v>8.6485865519999993E-3</c:v>
                </c:pt>
                <c:pt idx="2634">
                  <c:v>8.6761148840000003E-3</c:v>
                </c:pt>
                <c:pt idx="2635">
                  <c:v>8.6826044879999998E-3</c:v>
                </c:pt>
                <c:pt idx="2636">
                  <c:v>8.6935010399999992E-3</c:v>
                </c:pt>
                <c:pt idx="2637">
                  <c:v>8.7129525520000008E-3</c:v>
                </c:pt>
                <c:pt idx="2638">
                  <c:v>8.7251526479999904E-3</c:v>
                </c:pt>
                <c:pt idx="2639">
                  <c:v>8.7639913639999904E-3</c:v>
                </c:pt>
                <c:pt idx="2640">
                  <c:v>8.7776693320000005E-3</c:v>
                </c:pt>
                <c:pt idx="2641">
                  <c:v>8.8247091239999995E-3</c:v>
                </c:pt>
                <c:pt idx="2642">
                  <c:v>8.8358007839999999E-3</c:v>
                </c:pt>
                <c:pt idx="2643">
                  <c:v>8.8577519640000001E-3</c:v>
                </c:pt>
                <c:pt idx="2644">
                  <c:v>8.8631838560000002E-3</c:v>
                </c:pt>
                <c:pt idx="2645">
                  <c:v>8.8342342280000007E-3</c:v>
                </c:pt>
                <c:pt idx="2646">
                  <c:v>8.8170331359999996E-3</c:v>
                </c:pt>
                <c:pt idx="2647">
                  <c:v>8.8268256599999904E-3</c:v>
                </c:pt>
                <c:pt idx="2648">
                  <c:v>8.8353181119999995E-3</c:v>
                </c:pt>
                <c:pt idx="2649">
                  <c:v>8.8219672959999901E-3</c:v>
                </c:pt>
                <c:pt idx="2650">
                  <c:v>8.8302393200000006E-3</c:v>
                </c:pt>
                <c:pt idx="2651">
                  <c:v>8.8277871759999994E-3</c:v>
                </c:pt>
                <c:pt idx="2652">
                  <c:v>8.8254310999999995E-3</c:v>
                </c:pt>
                <c:pt idx="2653">
                  <c:v>8.8512538479999896E-3</c:v>
                </c:pt>
                <c:pt idx="2654">
                  <c:v>8.8553157439999995E-3</c:v>
                </c:pt>
                <c:pt idx="2655">
                  <c:v>8.8488345959999992E-3</c:v>
                </c:pt>
                <c:pt idx="2656">
                  <c:v>8.8508936359999995E-3</c:v>
                </c:pt>
                <c:pt idx="2657">
                  <c:v>8.8232644679999903E-3</c:v>
                </c:pt>
                <c:pt idx="2658">
                  <c:v>8.8143187599999898E-3</c:v>
                </c:pt>
                <c:pt idx="2659">
                  <c:v>8.8388793319999995E-3</c:v>
                </c:pt>
                <c:pt idx="2660">
                  <c:v>8.8395051080000005E-3</c:v>
                </c:pt>
                <c:pt idx="2661">
                  <c:v>8.8335752559999901E-3</c:v>
                </c:pt>
                <c:pt idx="2662">
                  <c:v>8.8359866679999996E-3</c:v>
                </c:pt>
                <c:pt idx="2663">
                  <c:v>8.8376016399999997E-3</c:v>
                </c:pt>
                <c:pt idx="2664">
                  <c:v>8.8433507879999897E-3</c:v>
                </c:pt>
                <c:pt idx="2665">
                  <c:v>8.8561542000000007E-3</c:v>
                </c:pt>
                <c:pt idx="2666">
                  <c:v>8.8636508039999992E-3</c:v>
                </c:pt>
                <c:pt idx="2667">
                  <c:v>8.8569833559999991E-3</c:v>
                </c:pt>
                <c:pt idx="2668">
                  <c:v>8.8491001279999999E-3</c:v>
                </c:pt>
                <c:pt idx="2669">
                  <c:v>8.8521388639999903E-3</c:v>
                </c:pt>
                <c:pt idx="2670">
                  <c:v>8.8499027080000004E-3</c:v>
                </c:pt>
                <c:pt idx="2671">
                  <c:v>8.8509031679999892E-3</c:v>
                </c:pt>
                <c:pt idx="2672">
                  <c:v>8.8591314719999904E-3</c:v>
                </c:pt>
                <c:pt idx="2673">
                  <c:v>8.8853420039999992E-3</c:v>
                </c:pt>
                <c:pt idx="2674">
                  <c:v>8.8958010879999997E-3</c:v>
                </c:pt>
                <c:pt idx="2675">
                  <c:v>8.8969884159999998E-3</c:v>
                </c:pt>
                <c:pt idx="2676">
                  <c:v>8.9047373959999995E-3</c:v>
                </c:pt>
                <c:pt idx="2677">
                  <c:v>8.9164360879999995E-3</c:v>
                </c:pt>
                <c:pt idx="2678">
                  <c:v>8.9213063280000008E-3</c:v>
                </c:pt>
                <c:pt idx="2679">
                  <c:v>8.9112316719999994E-3</c:v>
                </c:pt>
                <c:pt idx="2680">
                  <c:v>8.9188588120000002E-3</c:v>
                </c:pt>
                <c:pt idx="2681">
                  <c:v>8.9117452319999995E-3</c:v>
                </c:pt>
                <c:pt idx="2682">
                  <c:v>8.9030565599999903E-3</c:v>
                </c:pt>
                <c:pt idx="2683">
                  <c:v>8.8884190839999995E-3</c:v>
                </c:pt>
                <c:pt idx="2684">
                  <c:v>8.8824701839999992E-3</c:v>
                </c:pt>
                <c:pt idx="2685">
                  <c:v>8.8793002640000004E-3</c:v>
                </c:pt>
                <c:pt idx="2686">
                  <c:v>8.8817823719999998E-3</c:v>
                </c:pt>
                <c:pt idx="2687">
                  <c:v>8.86349866E-3</c:v>
                </c:pt>
                <c:pt idx="2688">
                  <c:v>8.8519259679999997E-3</c:v>
                </c:pt>
                <c:pt idx="2689">
                  <c:v>8.8554128839999999E-3</c:v>
                </c:pt>
                <c:pt idx="2690">
                  <c:v>8.8616982800000001E-3</c:v>
                </c:pt>
                <c:pt idx="2691">
                  <c:v>8.8758438399999997E-3</c:v>
                </c:pt>
                <c:pt idx="2692">
                  <c:v>8.8837841999999997E-3</c:v>
                </c:pt>
                <c:pt idx="2693">
                  <c:v>8.8964386720000004E-3</c:v>
                </c:pt>
                <c:pt idx="2694">
                  <c:v>8.9237731400000006E-3</c:v>
                </c:pt>
                <c:pt idx="2695">
                  <c:v>8.9256100520000003E-3</c:v>
                </c:pt>
                <c:pt idx="2696">
                  <c:v>8.9344158919999993E-3</c:v>
                </c:pt>
                <c:pt idx="2697">
                  <c:v>8.9573003160000001E-3</c:v>
                </c:pt>
                <c:pt idx="2698">
                  <c:v>8.9742788880000004E-3</c:v>
                </c:pt>
                <c:pt idx="2699">
                  <c:v>8.9894996760000005E-3</c:v>
                </c:pt>
                <c:pt idx="2700">
                  <c:v>9.0009873080000007E-3</c:v>
                </c:pt>
                <c:pt idx="2701">
                  <c:v>9.0071876999999901E-3</c:v>
                </c:pt>
                <c:pt idx="2702">
                  <c:v>9.0179637960000007E-3</c:v>
                </c:pt>
                <c:pt idx="2703">
                  <c:v>9.0155976239999994E-3</c:v>
                </c:pt>
                <c:pt idx="2704">
                  <c:v>9.0195454040000005E-3</c:v>
                </c:pt>
                <c:pt idx="2705">
                  <c:v>9.0203116960000003E-3</c:v>
                </c:pt>
                <c:pt idx="2706">
                  <c:v>9.0200647759999999E-3</c:v>
                </c:pt>
                <c:pt idx="2707">
                  <c:v>9.0240256680000006E-3</c:v>
                </c:pt>
                <c:pt idx="2708">
                  <c:v>9.0253185760000004E-3</c:v>
                </c:pt>
                <c:pt idx="2709">
                  <c:v>9.0243393719999995E-3</c:v>
                </c:pt>
                <c:pt idx="2710">
                  <c:v>9.0185354879999992E-3</c:v>
                </c:pt>
                <c:pt idx="2711">
                  <c:v>9.0276073040000005E-3</c:v>
                </c:pt>
                <c:pt idx="2712">
                  <c:v>9.0422908759999997E-3</c:v>
                </c:pt>
                <c:pt idx="2713">
                  <c:v>9.0774861519999899E-3</c:v>
                </c:pt>
                <c:pt idx="2714">
                  <c:v>9.1152957319999995E-3</c:v>
                </c:pt>
                <c:pt idx="2715">
                  <c:v>9.1381102200000005E-3</c:v>
                </c:pt>
                <c:pt idx="2716">
                  <c:v>9.1580678719999902E-3</c:v>
                </c:pt>
                <c:pt idx="2717">
                  <c:v>9.1753843040000005E-3</c:v>
                </c:pt>
                <c:pt idx="2718">
                  <c:v>9.1848471719999901E-3</c:v>
                </c:pt>
                <c:pt idx="2719">
                  <c:v>9.1941876080000005E-3</c:v>
                </c:pt>
                <c:pt idx="2720">
                  <c:v>9.2116619359999992E-3</c:v>
                </c:pt>
                <c:pt idx="2721">
                  <c:v>9.2309503960000001E-3</c:v>
                </c:pt>
                <c:pt idx="2722">
                  <c:v>9.2466424719999992E-3</c:v>
                </c:pt>
                <c:pt idx="2723">
                  <c:v>9.2568841399999994E-3</c:v>
                </c:pt>
                <c:pt idx="2724">
                  <c:v>9.25668992E-3</c:v>
                </c:pt>
                <c:pt idx="2725">
                  <c:v>9.2747363519999904E-3</c:v>
                </c:pt>
                <c:pt idx="2726">
                  <c:v>9.3382001119999992E-3</c:v>
                </c:pt>
                <c:pt idx="2727">
                  <c:v>9.3759617239999992E-3</c:v>
                </c:pt>
                <c:pt idx="2728">
                  <c:v>9.3962254999999904E-3</c:v>
                </c:pt>
                <c:pt idx="2729">
                  <c:v>9.4113178440000007E-3</c:v>
                </c:pt>
                <c:pt idx="2730">
                  <c:v>9.4272151400000004E-3</c:v>
                </c:pt>
                <c:pt idx="2731">
                  <c:v>9.441432332E-3</c:v>
                </c:pt>
                <c:pt idx="2732">
                  <c:v>9.4631157919999997E-3</c:v>
                </c:pt>
                <c:pt idx="2733">
                  <c:v>9.4630254839999997E-3</c:v>
                </c:pt>
                <c:pt idx="2734">
                  <c:v>9.4756188240000001E-3</c:v>
                </c:pt>
                <c:pt idx="2735">
                  <c:v>9.4949036679999998E-3</c:v>
                </c:pt>
                <c:pt idx="2736">
                  <c:v>9.5112183480000004E-3</c:v>
                </c:pt>
                <c:pt idx="2737">
                  <c:v>9.5046652679999996E-3</c:v>
                </c:pt>
                <c:pt idx="2738">
                  <c:v>9.5151012040000007E-3</c:v>
                </c:pt>
                <c:pt idx="2739">
                  <c:v>9.5218571719999992E-3</c:v>
                </c:pt>
                <c:pt idx="2740">
                  <c:v>9.5305993319999994E-3</c:v>
                </c:pt>
                <c:pt idx="2741">
                  <c:v>9.5401448320000005E-3</c:v>
                </c:pt>
                <c:pt idx="2742">
                  <c:v>9.5462841599999997E-3</c:v>
                </c:pt>
                <c:pt idx="2743">
                  <c:v>9.5528954080000006E-3</c:v>
                </c:pt>
                <c:pt idx="2744">
                  <c:v>9.5760958239999999E-3</c:v>
                </c:pt>
                <c:pt idx="2745">
                  <c:v>9.5991484799999999E-3</c:v>
                </c:pt>
                <c:pt idx="2746">
                  <c:v>9.6141221999999898E-3</c:v>
                </c:pt>
                <c:pt idx="2747">
                  <c:v>9.6311757239999993E-3</c:v>
                </c:pt>
                <c:pt idx="2748">
                  <c:v>9.6694686399999997E-3</c:v>
                </c:pt>
                <c:pt idx="2749">
                  <c:v>9.6947726839999998E-3</c:v>
                </c:pt>
                <c:pt idx="2750">
                  <c:v>9.717946844E-3</c:v>
                </c:pt>
                <c:pt idx="2751">
                  <c:v>9.7321755360000005E-3</c:v>
                </c:pt>
                <c:pt idx="2752">
                  <c:v>9.7917380519999993E-3</c:v>
                </c:pt>
                <c:pt idx="2753">
                  <c:v>9.8181607799999997E-3</c:v>
                </c:pt>
                <c:pt idx="2754">
                  <c:v>9.8395293919999998E-3</c:v>
                </c:pt>
                <c:pt idx="2755">
                  <c:v>9.8509769480000006E-3</c:v>
                </c:pt>
                <c:pt idx="2756">
                  <c:v>9.8620375560000001E-3</c:v>
                </c:pt>
                <c:pt idx="2757">
                  <c:v>9.8833077599999996E-3</c:v>
                </c:pt>
                <c:pt idx="2758">
                  <c:v>9.9055230559999992E-3</c:v>
                </c:pt>
                <c:pt idx="2759">
                  <c:v>9.9172216999999993E-3</c:v>
                </c:pt>
                <c:pt idx="2760">
                  <c:v>9.9435543280000007E-3</c:v>
                </c:pt>
                <c:pt idx="2761">
                  <c:v>9.96080221599999E-3</c:v>
                </c:pt>
                <c:pt idx="2762">
                  <c:v>9.9916489760000001E-3</c:v>
                </c:pt>
                <c:pt idx="2763">
                  <c:v>1.002542624E-2</c:v>
                </c:pt>
                <c:pt idx="2764">
                  <c:v>1.0056930908E-2</c:v>
                </c:pt>
                <c:pt idx="2765">
                  <c:v>1.0080671463999999E-2</c:v>
                </c:pt>
                <c:pt idx="2766">
                  <c:v>1.00977348399999E-2</c:v>
                </c:pt>
                <c:pt idx="2767">
                  <c:v>1.0121411496E-2</c:v>
                </c:pt>
                <c:pt idx="2768">
                  <c:v>1.02070417439999E-2</c:v>
                </c:pt>
                <c:pt idx="2769">
                  <c:v>1.0283729784E-2</c:v>
                </c:pt>
                <c:pt idx="2770">
                  <c:v>1.0363014532E-2</c:v>
                </c:pt>
                <c:pt idx="2771">
                  <c:v>1.0438361296000001E-2</c:v>
                </c:pt>
                <c:pt idx="2772">
                  <c:v>1.0479992267999999E-2</c:v>
                </c:pt>
                <c:pt idx="2773">
                  <c:v>1.0532219176E-2</c:v>
                </c:pt>
                <c:pt idx="2774">
                  <c:v>1.0570819184E-2</c:v>
                </c:pt>
                <c:pt idx="2775">
                  <c:v>1.0595164388000001E-2</c:v>
                </c:pt>
                <c:pt idx="2776">
                  <c:v>1.0622196892E-2</c:v>
                </c:pt>
                <c:pt idx="2777">
                  <c:v>1.0664959127999999E-2</c:v>
                </c:pt>
                <c:pt idx="2778">
                  <c:v>1.0660638964E-2</c:v>
                </c:pt>
                <c:pt idx="2779">
                  <c:v>1.0675389612E-2</c:v>
                </c:pt>
                <c:pt idx="2780">
                  <c:v>1.0688794668000001E-2</c:v>
                </c:pt>
                <c:pt idx="2781">
                  <c:v>1.0694742484E-2</c:v>
                </c:pt>
                <c:pt idx="2782">
                  <c:v>1.0721590632000001E-2</c:v>
                </c:pt>
                <c:pt idx="2783">
                  <c:v>1.0727332272E-2</c:v>
                </c:pt>
                <c:pt idx="2784">
                  <c:v>1.074854714E-2</c:v>
                </c:pt>
                <c:pt idx="2785">
                  <c:v>1.0784441092E-2</c:v>
                </c:pt>
                <c:pt idx="2786">
                  <c:v>1.0819332451999999E-2</c:v>
                </c:pt>
                <c:pt idx="2787">
                  <c:v>1.0838991875999999E-2</c:v>
                </c:pt>
                <c:pt idx="2788">
                  <c:v>1.0863390568E-2</c:v>
                </c:pt>
                <c:pt idx="2789">
                  <c:v>1.0878525215999999E-2</c:v>
                </c:pt>
                <c:pt idx="2790">
                  <c:v>1.08963239559999E-2</c:v>
                </c:pt>
                <c:pt idx="2791">
                  <c:v>1.092797702E-2</c:v>
                </c:pt>
                <c:pt idx="2792">
                  <c:v>1.0943141016E-2</c:v>
                </c:pt>
                <c:pt idx="2793">
                  <c:v>1.09578637479999E-2</c:v>
                </c:pt>
                <c:pt idx="2794">
                  <c:v>1.0983673752E-2</c:v>
                </c:pt>
                <c:pt idx="2795">
                  <c:v>1.1009934208E-2</c:v>
                </c:pt>
                <c:pt idx="2796">
                  <c:v>1.10184518199999E-2</c:v>
                </c:pt>
                <c:pt idx="2797">
                  <c:v>1.1062838008E-2</c:v>
                </c:pt>
                <c:pt idx="2798">
                  <c:v>1.1097586608000001E-2</c:v>
                </c:pt>
                <c:pt idx="2799">
                  <c:v>1.1130716727999999E-2</c:v>
                </c:pt>
                <c:pt idx="2800">
                  <c:v>1.1150860199999999E-2</c:v>
                </c:pt>
                <c:pt idx="2801">
                  <c:v>1.1160440092E-2</c:v>
                </c:pt>
                <c:pt idx="2802">
                  <c:v>1.1164495468E-2</c:v>
                </c:pt>
                <c:pt idx="2803">
                  <c:v>1.1178367052E-2</c:v>
                </c:pt>
                <c:pt idx="2804">
                  <c:v>1.11870451439999E-2</c:v>
                </c:pt>
                <c:pt idx="2805">
                  <c:v>1.11953067519999E-2</c:v>
                </c:pt>
                <c:pt idx="2806">
                  <c:v>1.119858648E-2</c:v>
                </c:pt>
                <c:pt idx="2807">
                  <c:v>1.120144642E-2</c:v>
                </c:pt>
                <c:pt idx="2808">
                  <c:v>1.121088982E-2</c:v>
                </c:pt>
                <c:pt idx="2809">
                  <c:v>1.1225565959999999E-2</c:v>
                </c:pt>
                <c:pt idx="2810">
                  <c:v>1.125417896E-2</c:v>
                </c:pt>
                <c:pt idx="2811">
                  <c:v>1.1298565232000001E-2</c:v>
                </c:pt>
                <c:pt idx="2812">
                  <c:v>1.13116675079999E-2</c:v>
                </c:pt>
                <c:pt idx="2813">
                  <c:v>1.1325531412E-2</c:v>
                </c:pt>
                <c:pt idx="2814">
                  <c:v>1.1348404392E-2</c:v>
                </c:pt>
                <c:pt idx="2815">
                  <c:v>1.1366500364E-2</c:v>
                </c:pt>
                <c:pt idx="2816">
                  <c:v>1.13828476559999E-2</c:v>
                </c:pt>
                <c:pt idx="2817">
                  <c:v>1.1392090115999899E-2</c:v>
                </c:pt>
                <c:pt idx="2818">
                  <c:v>1.1414821552E-2</c:v>
                </c:pt>
                <c:pt idx="2819">
                  <c:v>1.1441166628E-2</c:v>
                </c:pt>
                <c:pt idx="2820">
                  <c:v>1.1454636731999999E-2</c:v>
                </c:pt>
                <c:pt idx="2821">
                  <c:v>1.15136881719999E-2</c:v>
                </c:pt>
                <c:pt idx="2822">
                  <c:v>1.1540124307999999E-2</c:v>
                </c:pt>
                <c:pt idx="2823">
                  <c:v>1.1582823444000001E-2</c:v>
                </c:pt>
                <c:pt idx="2824">
                  <c:v>1.1612381656000001E-2</c:v>
                </c:pt>
                <c:pt idx="2825">
                  <c:v>1.1636436887999899E-2</c:v>
                </c:pt>
                <c:pt idx="2826">
                  <c:v>1.1650149872E-2</c:v>
                </c:pt>
                <c:pt idx="2827">
                  <c:v>1.1674832887999999E-2</c:v>
                </c:pt>
                <c:pt idx="2828">
                  <c:v>1.1696913832E-2</c:v>
                </c:pt>
                <c:pt idx="2829">
                  <c:v>1.1710510188E-2</c:v>
                </c:pt>
                <c:pt idx="2830">
                  <c:v>1.172052514E-2</c:v>
                </c:pt>
                <c:pt idx="2831">
                  <c:v>1.1737439148E-2</c:v>
                </c:pt>
                <c:pt idx="2832">
                  <c:v>1.17450311719999E-2</c:v>
                </c:pt>
                <c:pt idx="2833">
                  <c:v>1.174398776E-2</c:v>
                </c:pt>
                <c:pt idx="2834">
                  <c:v>1.1744555504E-2</c:v>
                </c:pt>
                <c:pt idx="2835">
                  <c:v>1.1762414271999999E-2</c:v>
                </c:pt>
                <c:pt idx="2836">
                  <c:v>1.1731262584E-2</c:v>
                </c:pt>
                <c:pt idx="2837">
                  <c:v>1.17253163E-2</c:v>
                </c:pt>
                <c:pt idx="2838">
                  <c:v>1.1701563424E-2</c:v>
                </c:pt>
                <c:pt idx="2839">
                  <c:v>1.1683377260000001E-2</c:v>
                </c:pt>
                <c:pt idx="2840">
                  <c:v>1.168428484E-2</c:v>
                </c:pt>
                <c:pt idx="2841">
                  <c:v>1.1685565604E-2</c:v>
                </c:pt>
                <c:pt idx="2842">
                  <c:v>1.1693875372E-2</c:v>
                </c:pt>
                <c:pt idx="2843">
                  <c:v>1.1646131212E-2</c:v>
                </c:pt>
                <c:pt idx="2844">
                  <c:v>1.1619813931999999E-2</c:v>
                </c:pt>
                <c:pt idx="2845">
                  <c:v>1.1605351276E-2</c:v>
                </c:pt>
                <c:pt idx="2846">
                  <c:v>1.1589798384E-2</c:v>
                </c:pt>
                <c:pt idx="2847">
                  <c:v>1.1579573504000001E-2</c:v>
                </c:pt>
                <c:pt idx="2848">
                  <c:v>1.1569537963999999E-2</c:v>
                </c:pt>
                <c:pt idx="2849">
                  <c:v>1.1564864676E-2</c:v>
                </c:pt>
                <c:pt idx="2850">
                  <c:v>1.1533315440000001E-2</c:v>
                </c:pt>
                <c:pt idx="2851">
                  <c:v>1.1520113576E-2</c:v>
                </c:pt>
                <c:pt idx="2852">
                  <c:v>1.1505155412E-2</c:v>
                </c:pt>
                <c:pt idx="2853">
                  <c:v>1.1493574972000001E-2</c:v>
                </c:pt>
                <c:pt idx="2854">
                  <c:v>1.14700530199999E-2</c:v>
                </c:pt>
                <c:pt idx="2855">
                  <c:v>1.1429367996000001E-2</c:v>
                </c:pt>
                <c:pt idx="2856">
                  <c:v>1.1402505396E-2</c:v>
                </c:pt>
                <c:pt idx="2857">
                  <c:v>1.1397880831999999E-2</c:v>
                </c:pt>
                <c:pt idx="2858">
                  <c:v>1.1386268424E-2</c:v>
                </c:pt>
                <c:pt idx="2859">
                  <c:v>1.1377316255999999E-2</c:v>
                </c:pt>
                <c:pt idx="2860">
                  <c:v>1.1374674268E-2</c:v>
                </c:pt>
                <c:pt idx="2861">
                  <c:v>1.1346549612E-2</c:v>
                </c:pt>
                <c:pt idx="2862">
                  <c:v>1.1318739192000001E-2</c:v>
                </c:pt>
                <c:pt idx="2863">
                  <c:v>1.1287232756E-2</c:v>
                </c:pt>
                <c:pt idx="2864">
                  <c:v>1.12729137E-2</c:v>
                </c:pt>
                <c:pt idx="2865">
                  <c:v>1.1271393672E-2</c:v>
                </c:pt>
                <c:pt idx="2866">
                  <c:v>1.1277133135999999E-2</c:v>
                </c:pt>
                <c:pt idx="2867">
                  <c:v>1.12487037879999E-2</c:v>
                </c:pt>
                <c:pt idx="2868">
                  <c:v>1.12586412999999E-2</c:v>
                </c:pt>
                <c:pt idx="2869">
                  <c:v>1.122091592E-2</c:v>
                </c:pt>
                <c:pt idx="2870">
                  <c:v>1.1233957336E-2</c:v>
                </c:pt>
                <c:pt idx="2871">
                  <c:v>1.12181988399999E-2</c:v>
                </c:pt>
                <c:pt idx="2872">
                  <c:v>1.1209918664E-2</c:v>
                </c:pt>
                <c:pt idx="2873">
                  <c:v>1.1206961059999999E-2</c:v>
                </c:pt>
                <c:pt idx="2874">
                  <c:v>1.1188108628E-2</c:v>
                </c:pt>
                <c:pt idx="2875">
                  <c:v>1.117350364E-2</c:v>
                </c:pt>
                <c:pt idx="2876">
                  <c:v>1.114543816E-2</c:v>
                </c:pt>
                <c:pt idx="2877">
                  <c:v>1.1117492527999999E-2</c:v>
                </c:pt>
                <c:pt idx="2878">
                  <c:v>1.1117439563999999E-2</c:v>
                </c:pt>
                <c:pt idx="2879">
                  <c:v>1.1098158824000001E-2</c:v>
                </c:pt>
                <c:pt idx="2880">
                  <c:v>1.1094363252E-2</c:v>
                </c:pt>
                <c:pt idx="2881">
                  <c:v>1.1088216656000001E-2</c:v>
                </c:pt>
                <c:pt idx="2882">
                  <c:v>1.1072332584E-2</c:v>
                </c:pt>
                <c:pt idx="2883">
                  <c:v>1.106687716E-2</c:v>
                </c:pt>
                <c:pt idx="2884">
                  <c:v>1.10362396399999E-2</c:v>
                </c:pt>
                <c:pt idx="2885">
                  <c:v>1.1040060627999899E-2</c:v>
                </c:pt>
                <c:pt idx="2886">
                  <c:v>1.1039999300000001E-2</c:v>
                </c:pt>
                <c:pt idx="2887">
                  <c:v>1.10261621039999E-2</c:v>
                </c:pt>
                <c:pt idx="2888">
                  <c:v>1.1025401432000001E-2</c:v>
                </c:pt>
                <c:pt idx="2889">
                  <c:v>1.0998365396E-2</c:v>
                </c:pt>
                <c:pt idx="2890">
                  <c:v>1.0977434023999999E-2</c:v>
                </c:pt>
                <c:pt idx="2891">
                  <c:v>1.0932162995999899E-2</c:v>
                </c:pt>
                <c:pt idx="2892">
                  <c:v>1.0902282676E-2</c:v>
                </c:pt>
                <c:pt idx="2893">
                  <c:v>1.08711220559999E-2</c:v>
                </c:pt>
                <c:pt idx="2894">
                  <c:v>1.0872084400000001E-2</c:v>
                </c:pt>
                <c:pt idx="2895">
                  <c:v>1.0893450432000001E-2</c:v>
                </c:pt>
                <c:pt idx="2896">
                  <c:v>1.09058063719999E-2</c:v>
                </c:pt>
                <c:pt idx="2897">
                  <c:v>1.0889287564E-2</c:v>
                </c:pt>
                <c:pt idx="2898">
                  <c:v>1.0895312276E-2</c:v>
                </c:pt>
                <c:pt idx="2899">
                  <c:v>1.0906613880000001E-2</c:v>
                </c:pt>
                <c:pt idx="2900">
                  <c:v>1.088209914E-2</c:v>
                </c:pt>
                <c:pt idx="2901">
                  <c:v>1.0869907452E-2</c:v>
                </c:pt>
                <c:pt idx="2902">
                  <c:v>1.0870469252E-2</c:v>
                </c:pt>
                <c:pt idx="2903">
                  <c:v>1.0847805968E-2</c:v>
                </c:pt>
                <c:pt idx="2904">
                  <c:v>1.08293909759999E-2</c:v>
                </c:pt>
                <c:pt idx="2905">
                  <c:v>1.0856430492E-2</c:v>
                </c:pt>
                <c:pt idx="2906">
                  <c:v>1.0857396219999999E-2</c:v>
                </c:pt>
                <c:pt idx="2907">
                  <c:v>1.088894336E-2</c:v>
                </c:pt>
                <c:pt idx="2908">
                  <c:v>1.0908955004E-2</c:v>
                </c:pt>
                <c:pt idx="2909">
                  <c:v>1.0879834716E-2</c:v>
                </c:pt>
                <c:pt idx="2910">
                  <c:v>1.0883559048000001E-2</c:v>
                </c:pt>
                <c:pt idx="2911">
                  <c:v>1.0881839644E-2</c:v>
                </c:pt>
                <c:pt idx="2912">
                  <c:v>1.0871234164E-2</c:v>
                </c:pt>
                <c:pt idx="2913">
                  <c:v>1.0868450988E-2</c:v>
                </c:pt>
                <c:pt idx="2914">
                  <c:v>1.0866303268E-2</c:v>
                </c:pt>
                <c:pt idx="2915">
                  <c:v>1.0867318248E-2</c:v>
                </c:pt>
                <c:pt idx="2916">
                  <c:v>1.0866809091999999E-2</c:v>
                </c:pt>
                <c:pt idx="2917">
                  <c:v>1.086735588E-2</c:v>
                </c:pt>
                <c:pt idx="2918">
                  <c:v>1.0877047628E-2</c:v>
                </c:pt>
                <c:pt idx="2919">
                  <c:v>1.0881296544E-2</c:v>
                </c:pt>
                <c:pt idx="2920">
                  <c:v>1.0873300747999999E-2</c:v>
                </c:pt>
                <c:pt idx="2921">
                  <c:v>1.0871575115999999E-2</c:v>
                </c:pt>
                <c:pt idx="2922">
                  <c:v>1.0872773684E-2</c:v>
                </c:pt>
                <c:pt idx="2923">
                  <c:v>1.084753666E-2</c:v>
                </c:pt>
                <c:pt idx="2924">
                  <c:v>1.0832963624E-2</c:v>
                </c:pt>
                <c:pt idx="2925">
                  <c:v>1.0820391828000001E-2</c:v>
                </c:pt>
                <c:pt idx="2926">
                  <c:v>1.08050307639999E-2</c:v>
                </c:pt>
                <c:pt idx="2927">
                  <c:v>1.081233218E-2</c:v>
                </c:pt>
                <c:pt idx="2928">
                  <c:v>1.081629206E-2</c:v>
                </c:pt>
                <c:pt idx="2929">
                  <c:v>1.0810997439999999E-2</c:v>
                </c:pt>
                <c:pt idx="2930">
                  <c:v>1.0795604124E-2</c:v>
                </c:pt>
                <c:pt idx="2931">
                  <c:v>1.0781206123999999E-2</c:v>
                </c:pt>
                <c:pt idx="2932">
                  <c:v>1.0771220503999999E-2</c:v>
                </c:pt>
                <c:pt idx="2933">
                  <c:v>1.0753839160000001E-2</c:v>
                </c:pt>
                <c:pt idx="2934">
                  <c:v>1.073921284E-2</c:v>
                </c:pt>
                <c:pt idx="2935">
                  <c:v>1.0735393336E-2</c:v>
                </c:pt>
                <c:pt idx="2936">
                  <c:v>1.0722137584000001E-2</c:v>
                </c:pt>
                <c:pt idx="2937">
                  <c:v>1.0710017687999999E-2</c:v>
                </c:pt>
                <c:pt idx="2938">
                  <c:v>1.0704512788E-2</c:v>
                </c:pt>
                <c:pt idx="2939">
                  <c:v>1.0690866508E-2</c:v>
                </c:pt>
                <c:pt idx="2940">
                  <c:v>1.06680602599999E-2</c:v>
                </c:pt>
                <c:pt idx="2941">
                  <c:v>1.0638413788E-2</c:v>
                </c:pt>
                <c:pt idx="2942">
                  <c:v>1.061842518E-2</c:v>
                </c:pt>
                <c:pt idx="2943">
                  <c:v>1.0598397787999999E-2</c:v>
                </c:pt>
                <c:pt idx="2944">
                  <c:v>1.05668274359999E-2</c:v>
                </c:pt>
                <c:pt idx="2945">
                  <c:v>1.0552969024E-2</c:v>
                </c:pt>
                <c:pt idx="2946">
                  <c:v>1.053886574E-2</c:v>
                </c:pt>
                <c:pt idx="2947">
                  <c:v>1.0517648764E-2</c:v>
                </c:pt>
                <c:pt idx="2948">
                  <c:v>1.04942920159999E-2</c:v>
                </c:pt>
                <c:pt idx="2949">
                  <c:v>1.0476717471999899E-2</c:v>
                </c:pt>
                <c:pt idx="2950">
                  <c:v>1.0478967699999901E-2</c:v>
                </c:pt>
                <c:pt idx="2951">
                  <c:v>1.0485759948E-2</c:v>
                </c:pt>
                <c:pt idx="2952">
                  <c:v>1.047401884E-2</c:v>
                </c:pt>
                <c:pt idx="2953">
                  <c:v>1.0475346187999999E-2</c:v>
                </c:pt>
                <c:pt idx="2954">
                  <c:v>1.0475588344E-2</c:v>
                </c:pt>
                <c:pt idx="2955">
                  <c:v>1.0464420655999999E-2</c:v>
                </c:pt>
                <c:pt idx="2956">
                  <c:v>1.0442578015999999E-2</c:v>
                </c:pt>
                <c:pt idx="2957">
                  <c:v>1.0429988268E-2</c:v>
                </c:pt>
                <c:pt idx="2958">
                  <c:v>1.0420820319999999E-2</c:v>
                </c:pt>
                <c:pt idx="2959">
                  <c:v>1.0416054875999999E-2</c:v>
                </c:pt>
                <c:pt idx="2960">
                  <c:v>1.0414197432E-2</c:v>
                </c:pt>
                <c:pt idx="2961">
                  <c:v>1.04097595399999E-2</c:v>
                </c:pt>
                <c:pt idx="2962">
                  <c:v>1.0399227592E-2</c:v>
                </c:pt>
                <c:pt idx="2963">
                  <c:v>1.0372665292E-2</c:v>
                </c:pt>
                <c:pt idx="2964">
                  <c:v>1.0334987156E-2</c:v>
                </c:pt>
                <c:pt idx="2965">
                  <c:v>1.0310647504000001E-2</c:v>
                </c:pt>
                <c:pt idx="2966">
                  <c:v>1.0289782763999999E-2</c:v>
                </c:pt>
                <c:pt idx="2967">
                  <c:v>1.02677396439999E-2</c:v>
                </c:pt>
                <c:pt idx="2968">
                  <c:v>1.0264919884000001E-2</c:v>
                </c:pt>
                <c:pt idx="2969">
                  <c:v>1.02569973319999E-2</c:v>
                </c:pt>
                <c:pt idx="2970">
                  <c:v>1.0248421384000001E-2</c:v>
                </c:pt>
                <c:pt idx="2971">
                  <c:v>1.0241769783999899E-2</c:v>
                </c:pt>
                <c:pt idx="2972">
                  <c:v>1.0245550823999999E-2</c:v>
                </c:pt>
                <c:pt idx="2973">
                  <c:v>1.0255957075999999E-2</c:v>
                </c:pt>
                <c:pt idx="2974">
                  <c:v>1.0259069144E-2</c:v>
                </c:pt>
                <c:pt idx="2975">
                  <c:v>1.025554526E-2</c:v>
                </c:pt>
                <c:pt idx="2976">
                  <c:v>1.0201280396E-2</c:v>
                </c:pt>
                <c:pt idx="2977">
                  <c:v>1.0185014676E-2</c:v>
                </c:pt>
                <c:pt idx="2978">
                  <c:v>1.0182609228E-2</c:v>
                </c:pt>
                <c:pt idx="2979">
                  <c:v>1.0210406768E-2</c:v>
                </c:pt>
                <c:pt idx="2980">
                  <c:v>1.02215115919999E-2</c:v>
                </c:pt>
                <c:pt idx="2981">
                  <c:v>1.0288480736E-2</c:v>
                </c:pt>
                <c:pt idx="2982">
                  <c:v>1.0320363612E-2</c:v>
                </c:pt>
                <c:pt idx="2983">
                  <c:v>1.0355743020000001E-2</c:v>
                </c:pt>
                <c:pt idx="2984">
                  <c:v>1.0367917395999999E-2</c:v>
                </c:pt>
                <c:pt idx="2985">
                  <c:v>1.0396068008E-2</c:v>
                </c:pt>
                <c:pt idx="2986">
                  <c:v>1.0422894364000001E-2</c:v>
                </c:pt>
                <c:pt idx="2987">
                  <c:v>1.0448822324E-2</c:v>
                </c:pt>
                <c:pt idx="2988">
                  <c:v>1.0474990092E-2</c:v>
                </c:pt>
                <c:pt idx="2989">
                  <c:v>1.05009986439999E-2</c:v>
                </c:pt>
                <c:pt idx="2990">
                  <c:v>1.051951732E-2</c:v>
                </c:pt>
                <c:pt idx="2991">
                  <c:v>1.0530944612E-2</c:v>
                </c:pt>
                <c:pt idx="2992">
                  <c:v>1.0540671220000001E-2</c:v>
                </c:pt>
                <c:pt idx="2993">
                  <c:v>1.0560312864000001E-2</c:v>
                </c:pt>
                <c:pt idx="2994">
                  <c:v>1.0565104104E-2</c:v>
                </c:pt>
                <c:pt idx="2995">
                  <c:v>1.0571588712E-2</c:v>
                </c:pt>
                <c:pt idx="2996">
                  <c:v>1.0594547875999999E-2</c:v>
                </c:pt>
                <c:pt idx="2997">
                  <c:v>1.0607642008E-2</c:v>
                </c:pt>
                <c:pt idx="2998">
                  <c:v>1.0593394212E-2</c:v>
                </c:pt>
                <c:pt idx="2999">
                  <c:v>1.0596226412E-2</c:v>
                </c:pt>
                <c:pt idx="3000">
                  <c:v>1.0593320967999999E-2</c:v>
                </c:pt>
                <c:pt idx="3001">
                  <c:v>1.0607024792E-2</c:v>
                </c:pt>
                <c:pt idx="3002">
                  <c:v>1.0571556855999999E-2</c:v>
                </c:pt>
                <c:pt idx="3003">
                  <c:v>1.0557375104E-2</c:v>
                </c:pt>
                <c:pt idx="3004">
                  <c:v>1.0545660964E-2</c:v>
                </c:pt>
                <c:pt idx="3005">
                  <c:v>1.0541874523999999E-2</c:v>
                </c:pt>
                <c:pt idx="3006">
                  <c:v>1.0548073571999999E-2</c:v>
                </c:pt>
                <c:pt idx="3007">
                  <c:v>1.0564546536000001E-2</c:v>
                </c:pt>
                <c:pt idx="3008">
                  <c:v>1.058465982E-2</c:v>
                </c:pt>
                <c:pt idx="3009">
                  <c:v>1.060145226E-2</c:v>
                </c:pt>
                <c:pt idx="3010">
                  <c:v>1.0620223379999899E-2</c:v>
                </c:pt>
                <c:pt idx="3011">
                  <c:v>1.0638977968E-2</c:v>
                </c:pt>
                <c:pt idx="3012">
                  <c:v>1.064319048E-2</c:v>
                </c:pt>
                <c:pt idx="3013">
                  <c:v>1.0656998564E-2</c:v>
                </c:pt>
                <c:pt idx="3014">
                  <c:v>1.0664942927999899E-2</c:v>
                </c:pt>
                <c:pt idx="3015">
                  <c:v>1.0682666156E-2</c:v>
                </c:pt>
                <c:pt idx="3016">
                  <c:v>1.07486816239999E-2</c:v>
                </c:pt>
                <c:pt idx="3017">
                  <c:v>1.0773861624E-2</c:v>
                </c:pt>
                <c:pt idx="3018">
                  <c:v>1.0733057632E-2</c:v>
                </c:pt>
                <c:pt idx="3019">
                  <c:v>1.068954722E-2</c:v>
                </c:pt>
                <c:pt idx="3020">
                  <c:v>1.0644329668E-2</c:v>
                </c:pt>
                <c:pt idx="3021">
                  <c:v>1.0594562227999999E-2</c:v>
                </c:pt>
                <c:pt idx="3022">
                  <c:v>1.0607718576E-2</c:v>
                </c:pt>
                <c:pt idx="3023">
                  <c:v>1.0613544759999999E-2</c:v>
                </c:pt>
                <c:pt idx="3024">
                  <c:v>1.05978378719999E-2</c:v>
                </c:pt>
                <c:pt idx="3025">
                  <c:v>1.06170414839999E-2</c:v>
                </c:pt>
                <c:pt idx="3026">
                  <c:v>1.0623476452E-2</c:v>
                </c:pt>
                <c:pt idx="3027">
                  <c:v>1.0625376912E-2</c:v>
                </c:pt>
                <c:pt idx="3028">
                  <c:v>1.06435828039999E-2</c:v>
                </c:pt>
                <c:pt idx="3029">
                  <c:v>1.0672427856E-2</c:v>
                </c:pt>
                <c:pt idx="3030">
                  <c:v>1.0706102719999999E-2</c:v>
                </c:pt>
                <c:pt idx="3031">
                  <c:v>1.0739837703999999E-2</c:v>
                </c:pt>
                <c:pt idx="3032">
                  <c:v>1.0762438448000001E-2</c:v>
                </c:pt>
                <c:pt idx="3033">
                  <c:v>1.0813427295999999E-2</c:v>
                </c:pt>
                <c:pt idx="3034">
                  <c:v>1.0836696412E-2</c:v>
                </c:pt>
                <c:pt idx="3035">
                  <c:v>1.0833495635999999E-2</c:v>
                </c:pt>
                <c:pt idx="3036">
                  <c:v>1.0829807639999999E-2</c:v>
                </c:pt>
                <c:pt idx="3037">
                  <c:v>1.0831672936E-2</c:v>
                </c:pt>
                <c:pt idx="3038">
                  <c:v>1.0838567655999999E-2</c:v>
                </c:pt>
                <c:pt idx="3039">
                  <c:v>1.0841559968E-2</c:v>
                </c:pt>
                <c:pt idx="3040">
                  <c:v>1.0852059148E-2</c:v>
                </c:pt>
                <c:pt idx="3041">
                  <c:v>1.0863359644E-2</c:v>
                </c:pt>
                <c:pt idx="3042">
                  <c:v>1.0905692083999999E-2</c:v>
                </c:pt>
                <c:pt idx="3043">
                  <c:v>1.0964174524E-2</c:v>
                </c:pt>
                <c:pt idx="3044">
                  <c:v>1.10744898E-2</c:v>
                </c:pt>
                <c:pt idx="3045">
                  <c:v>1.1149091076E-2</c:v>
                </c:pt>
                <c:pt idx="3046">
                  <c:v>1.123589096E-2</c:v>
                </c:pt>
                <c:pt idx="3047">
                  <c:v>1.1268502648000001E-2</c:v>
                </c:pt>
                <c:pt idx="3048">
                  <c:v>1.12911032959999E-2</c:v>
                </c:pt>
                <c:pt idx="3049">
                  <c:v>1.1362578107999999E-2</c:v>
                </c:pt>
                <c:pt idx="3050">
                  <c:v>1.1466367179999999E-2</c:v>
                </c:pt>
                <c:pt idx="3051">
                  <c:v>1.1640663252E-2</c:v>
                </c:pt>
                <c:pt idx="3052">
                  <c:v>1.1714419231999999E-2</c:v>
                </c:pt>
                <c:pt idx="3053">
                  <c:v>1.1805334176E-2</c:v>
                </c:pt>
                <c:pt idx="3054">
                  <c:v>1.1872834820000001E-2</c:v>
                </c:pt>
                <c:pt idx="3055">
                  <c:v>1.1934617484E-2</c:v>
                </c:pt>
                <c:pt idx="3056">
                  <c:v>1.1993629528E-2</c:v>
                </c:pt>
                <c:pt idx="3057">
                  <c:v>1.2031086127999999E-2</c:v>
                </c:pt>
                <c:pt idx="3058">
                  <c:v>1.2054414875999999E-2</c:v>
                </c:pt>
                <c:pt idx="3059">
                  <c:v>1.2108818691999999E-2</c:v>
                </c:pt>
                <c:pt idx="3060">
                  <c:v>1.22259644319999E-2</c:v>
                </c:pt>
                <c:pt idx="3061">
                  <c:v>1.2284249956E-2</c:v>
                </c:pt>
                <c:pt idx="3062">
                  <c:v>1.2382259352E-2</c:v>
                </c:pt>
                <c:pt idx="3063">
                  <c:v>1.2501879812000001E-2</c:v>
                </c:pt>
                <c:pt idx="3064">
                  <c:v>1.2622307332E-2</c:v>
                </c:pt>
                <c:pt idx="3065">
                  <c:v>1.2741776E-2</c:v>
                </c:pt>
                <c:pt idx="3066">
                  <c:v>1.2867880619999999E-2</c:v>
                </c:pt>
                <c:pt idx="3067">
                  <c:v>1.3043354504E-2</c:v>
                </c:pt>
                <c:pt idx="3068">
                  <c:v>1.318731764E-2</c:v>
                </c:pt>
                <c:pt idx="3069">
                  <c:v>1.3379585612E-2</c:v>
                </c:pt>
                <c:pt idx="3070">
                  <c:v>1.3569624224E-2</c:v>
                </c:pt>
                <c:pt idx="3071">
                  <c:v>1.3781861935999999E-2</c:v>
                </c:pt>
                <c:pt idx="3072">
                  <c:v>1.3934552015999999E-2</c:v>
                </c:pt>
                <c:pt idx="3073">
                  <c:v>1.4030090372000001E-2</c:v>
                </c:pt>
                <c:pt idx="3074">
                  <c:v>1.4109229275999899E-2</c:v>
                </c:pt>
                <c:pt idx="3075">
                  <c:v>1.419300582E-2</c:v>
                </c:pt>
                <c:pt idx="3076">
                  <c:v>1.4321564067999899E-2</c:v>
                </c:pt>
                <c:pt idx="3077">
                  <c:v>1.4496676276000001E-2</c:v>
                </c:pt>
                <c:pt idx="3078">
                  <c:v>1.46234155319999E-2</c:v>
                </c:pt>
                <c:pt idx="3079">
                  <c:v>1.477815004E-2</c:v>
                </c:pt>
                <c:pt idx="3080">
                  <c:v>1.50048047639999E-2</c:v>
                </c:pt>
                <c:pt idx="3081">
                  <c:v>1.5147313904000001E-2</c:v>
                </c:pt>
                <c:pt idx="3082">
                  <c:v>1.5270489660000001E-2</c:v>
                </c:pt>
                <c:pt idx="3083">
                  <c:v>1.5394761959999999E-2</c:v>
                </c:pt>
                <c:pt idx="3084">
                  <c:v>1.5549632304E-2</c:v>
                </c:pt>
                <c:pt idx="3085">
                  <c:v>1.5712296396000001E-2</c:v>
                </c:pt>
                <c:pt idx="3086">
                  <c:v>1.5841927416000001E-2</c:v>
                </c:pt>
                <c:pt idx="3087">
                  <c:v>1.6010881736000002E-2</c:v>
                </c:pt>
                <c:pt idx="3088">
                  <c:v>1.6228170268000001E-2</c:v>
                </c:pt>
                <c:pt idx="3089">
                  <c:v>1.6423097064000001E-2</c:v>
                </c:pt>
                <c:pt idx="3090">
                  <c:v>1.65602355919999E-2</c:v>
                </c:pt>
                <c:pt idx="3091">
                  <c:v>1.66851649E-2</c:v>
                </c:pt>
                <c:pt idx="3092">
                  <c:v>1.6842687988E-2</c:v>
                </c:pt>
                <c:pt idx="3093">
                  <c:v>1.6956922744E-2</c:v>
                </c:pt>
                <c:pt idx="3094">
                  <c:v>1.7017700284000001E-2</c:v>
                </c:pt>
                <c:pt idx="3095">
                  <c:v>1.7086183312E-2</c:v>
                </c:pt>
                <c:pt idx="3096">
                  <c:v>1.7197187911999999E-2</c:v>
                </c:pt>
                <c:pt idx="3097">
                  <c:v>1.7322837088E-2</c:v>
                </c:pt>
                <c:pt idx="3098">
                  <c:v>1.746860318E-2</c:v>
                </c:pt>
                <c:pt idx="3099">
                  <c:v>1.7602071279999999E-2</c:v>
                </c:pt>
                <c:pt idx="3100">
                  <c:v>1.7755523416000001E-2</c:v>
                </c:pt>
                <c:pt idx="3101">
                  <c:v>1.786593232E-2</c:v>
                </c:pt>
                <c:pt idx="3102">
                  <c:v>1.7985989067999999E-2</c:v>
                </c:pt>
                <c:pt idx="3103">
                  <c:v>1.8081178383999998E-2</c:v>
                </c:pt>
                <c:pt idx="3104">
                  <c:v>1.8203871343999999E-2</c:v>
                </c:pt>
                <c:pt idx="3105">
                  <c:v>1.82902631519999E-2</c:v>
                </c:pt>
                <c:pt idx="3106">
                  <c:v>1.8372243535999901E-2</c:v>
                </c:pt>
                <c:pt idx="3107">
                  <c:v>1.8427133804E-2</c:v>
                </c:pt>
                <c:pt idx="3108">
                  <c:v>1.8511853095999901E-2</c:v>
                </c:pt>
                <c:pt idx="3109">
                  <c:v>1.8595783332000002E-2</c:v>
                </c:pt>
                <c:pt idx="3110">
                  <c:v>1.8665662036000001E-2</c:v>
                </c:pt>
                <c:pt idx="3111">
                  <c:v>1.8786749456E-2</c:v>
                </c:pt>
                <c:pt idx="3112">
                  <c:v>1.8871295028000001E-2</c:v>
                </c:pt>
                <c:pt idx="3113">
                  <c:v>1.8952987251999901E-2</c:v>
                </c:pt>
                <c:pt idx="3114">
                  <c:v>1.9021813296000001E-2</c:v>
                </c:pt>
                <c:pt idx="3115">
                  <c:v>1.9057918779999999E-2</c:v>
                </c:pt>
                <c:pt idx="3116">
                  <c:v>1.9089495852E-2</c:v>
                </c:pt>
                <c:pt idx="3117">
                  <c:v>1.91628715959999E-2</c:v>
                </c:pt>
                <c:pt idx="3118">
                  <c:v>1.9194376691999901E-2</c:v>
                </c:pt>
                <c:pt idx="3119">
                  <c:v>1.9246333048000001E-2</c:v>
                </c:pt>
                <c:pt idx="3120">
                  <c:v>1.9290300412E-2</c:v>
                </c:pt>
                <c:pt idx="3121">
                  <c:v>1.9379364100000001E-2</c:v>
                </c:pt>
                <c:pt idx="3122">
                  <c:v>1.9449602659999999E-2</c:v>
                </c:pt>
                <c:pt idx="3123">
                  <c:v>1.9523109048E-2</c:v>
                </c:pt>
                <c:pt idx="3124">
                  <c:v>1.9622951204000001E-2</c:v>
                </c:pt>
                <c:pt idx="3125">
                  <c:v>1.9674075148E-2</c:v>
                </c:pt>
                <c:pt idx="3126">
                  <c:v>1.9738996947999899E-2</c:v>
                </c:pt>
                <c:pt idx="3127">
                  <c:v>1.9785647888E-2</c:v>
                </c:pt>
                <c:pt idx="3128">
                  <c:v>1.9875878856E-2</c:v>
                </c:pt>
                <c:pt idx="3129">
                  <c:v>1.994070958E-2</c:v>
                </c:pt>
                <c:pt idx="3130">
                  <c:v>1.9998960919999999E-2</c:v>
                </c:pt>
                <c:pt idx="3131">
                  <c:v>2.0119400480000001E-2</c:v>
                </c:pt>
                <c:pt idx="3132">
                  <c:v>2.02314533E-2</c:v>
                </c:pt>
                <c:pt idx="3133">
                  <c:v>2.0344796331999999E-2</c:v>
                </c:pt>
                <c:pt idx="3134">
                  <c:v>2.0521784283999998E-2</c:v>
                </c:pt>
                <c:pt idx="3135">
                  <c:v>2.0716954999999999E-2</c:v>
                </c:pt>
                <c:pt idx="3136">
                  <c:v>2.0899538031999999E-2</c:v>
                </c:pt>
                <c:pt idx="3137">
                  <c:v>2.10938890479999E-2</c:v>
                </c:pt>
                <c:pt idx="3138">
                  <c:v>2.1270547632000002E-2</c:v>
                </c:pt>
                <c:pt idx="3139">
                  <c:v>2.1495350723999999E-2</c:v>
                </c:pt>
                <c:pt idx="3140">
                  <c:v>2.1680103595999999E-2</c:v>
                </c:pt>
                <c:pt idx="3141">
                  <c:v>2.1844509371999998E-2</c:v>
                </c:pt>
                <c:pt idx="3142">
                  <c:v>2.198539804E-2</c:v>
                </c:pt>
                <c:pt idx="3143">
                  <c:v>2.2214351487999998E-2</c:v>
                </c:pt>
                <c:pt idx="3144">
                  <c:v>2.2414238723999998E-2</c:v>
                </c:pt>
                <c:pt idx="3145">
                  <c:v>2.2546695687999999E-2</c:v>
                </c:pt>
                <c:pt idx="3146">
                  <c:v>2.2691342683999999E-2</c:v>
                </c:pt>
                <c:pt idx="3147">
                  <c:v>2.2837711303999999E-2</c:v>
                </c:pt>
                <c:pt idx="3148">
                  <c:v>2.3039001236000001E-2</c:v>
                </c:pt>
                <c:pt idx="3149">
                  <c:v>2.3272828400000001E-2</c:v>
                </c:pt>
                <c:pt idx="3150">
                  <c:v>2.3502977791999901E-2</c:v>
                </c:pt>
                <c:pt idx="3151">
                  <c:v>2.3679143060000001E-2</c:v>
                </c:pt>
                <c:pt idx="3152">
                  <c:v>2.3904813739999999E-2</c:v>
                </c:pt>
                <c:pt idx="3153">
                  <c:v>2.4118588907999901E-2</c:v>
                </c:pt>
                <c:pt idx="3154">
                  <c:v>2.4371067188000001E-2</c:v>
                </c:pt>
                <c:pt idx="3155">
                  <c:v>2.4547397855999999E-2</c:v>
                </c:pt>
                <c:pt idx="3156">
                  <c:v>2.4822942319999999E-2</c:v>
                </c:pt>
                <c:pt idx="3157">
                  <c:v>2.5132420419999999E-2</c:v>
                </c:pt>
                <c:pt idx="3158">
                  <c:v>2.535202634E-2</c:v>
                </c:pt>
                <c:pt idx="3159">
                  <c:v>2.5604883788E-2</c:v>
                </c:pt>
                <c:pt idx="3160">
                  <c:v>2.58313687839999E-2</c:v>
                </c:pt>
                <c:pt idx="3161">
                  <c:v>2.60630956199999E-2</c:v>
                </c:pt>
                <c:pt idx="3162">
                  <c:v>2.6322698968000002E-2</c:v>
                </c:pt>
                <c:pt idx="3163">
                  <c:v>2.6654932964000001E-2</c:v>
                </c:pt>
                <c:pt idx="3164">
                  <c:v>2.6851420503999999E-2</c:v>
                </c:pt>
                <c:pt idx="3165">
                  <c:v>2.7043472636000002E-2</c:v>
                </c:pt>
                <c:pt idx="3166">
                  <c:v>2.7226608576000001E-2</c:v>
                </c:pt>
                <c:pt idx="3167">
                  <c:v>2.7460287159999999E-2</c:v>
                </c:pt>
                <c:pt idx="3168">
                  <c:v>2.76394201759999E-2</c:v>
                </c:pt>
                <c:pt idx="3169">
                  <c:v>2.7773035083999999E-2</c:v>
                </c:pt>
                <c:pt idx="3170">
                  <c:v>2.7915201976E-2</c:v>
                </c:pt>
                <c:pt idx="3171">
                  <c:v>2.80967382119999E-2</c:v>
                </c:pt>
                <c:pt idx="3172">
                  <c:v>2.8275133963999999E-2</c:v>
                </c:pt>
                <c:pt idx="3173">
                  <c:v>2.8445138764E-2</c:v>
                </c:pt>
                <c:pt idx="3174">
                  <c:v>2.8603268548000001E-2</c:v>
                </c:pt>
                <c:pt idx="3175">
                  <c:v>2.8754994943999999E-2</c:v>
                </c:pt>
                <c:pt idx="3176">
                  <c:v>2.8870174408E-2</c:v>
                </c:pt>
                <c:pt idx="3177">
                  <c:v>2.8995189508000001E-2</c:v>
                </c:pt>
                <c:pt idx="3178">
                  <c:v>2.9153331328E-2</c:v>
                </c:pt>
                <c:pt idx="3179">
                  <c:v>2.9281823775999999E-2</c:v>
                </c:pt>
                <c:pt idx="3180">
                  <c:v>2.9498323048E-2</c:v>
                </c:pt>
                <c:pt idx="3181">
                  <c:v>2.9724222796E-2</c:v>
                </c:pt>
                <c:pt idx="3182">
                  <c:v>2.9960822604000001E-2</c:v>
                </c:pt>
                <c:pt idx="3183">
                  <c:v>3.0185329008E-2</c:v>
                </c:pt>
                <c:pt idx="3184">
                  <c:v>3.0473890024E-2</c:v>
                </c:pt>
                <c:pt idx="3185">
                  <c:v>3.0682140916000002E-2</c:v>
                </c:pt>
                <c:pt idx="3186">
                  <c:v>3.0894436056000001E-2</c:v>
                </c:pt>
                <c:pt idx="3187">
                  <c:v>3.1090708548000001E-2</c:v>
                </c:pt>
                <c:pt idx="3188">
                  <c:v>3.1285892147999997E-2</c:v>
                </c:pt>
                <c:pt idx="3189">
                  <c:v>3.1517529528E-2</c:v>
                </c:pt>
                <c:pt idx="3190">
                  <c:v>3.1771159376000002E-2</c:v>
                </c:pt>
                <c:pt idx="3191">
                  <c:v>3.2099557991999997E-2</c:v>
                </c:pt>
                <c:pt idx="3192">
                  <c:v>3.2390163099999897E-2</c:v>
                </c:pt>
                <c:pt idx="3193">
                  <c:v>3.2589984952000002E-2</c:v>
                </c:pt>
                <c:pt idx="3194">
                  <c:v>3.2764864636E-2</c:v>
                </c:pt>
                <c:pt idx="3195">
                  <c:v>3.2958347515999999E-2</c:v>
                </c:pt>
                <c:pt idx="3196">
                  <c:v>3.3163278056000001E-2</c:v>
                </c:pt>
                <c:pt idx="3197">
                  <c:v>3.3331280788000003E-2</c:v>
                </c:pt>
                <c:pt idx="3198">
                  <c:v>3.3504851075999903E-2</c:v>
                </c:pt>
                <c:pt idx="3199">
                  <c:v>3.3651987123999999E-2</c:v>
                </c:pt>
                <c:pt idx="3200">
                  <c:v>3.3794866295999898E-2</c:v>
                </c:pt>
                <c:pt idx="3201">
                  <c:v>3.3933943032000001E-2</c:v>
                </c:pt>
                <c:pt idx="3202">
                  <c:v>3.4111606971999997E-2</c:v>
                </c:pt>
                <c:pt idx="3203">
                  <c:v>3.4297883696000002E-2</c:v>
                </c:pt>
                <c:pt idx="3204">
                  <c:v>3.4502400459999999E-2</c:v>
                </c:pt>
                <c:pt idx="3205">
                  <c:v>3.4751564011999997E-2</c:v>
                </c:pt>
                <c:pt idx="3206">
                  <c:v>3.5008888919999898E-2</c:v>
                </c:pt>
                <c:pt idx="3207">
                  <c:v>3.5205792972000001E-2</c:v>
                </c:pt>
                <c:pt idx="3208">
                  <c:v>3.5426134127999998E-2</c:v>
                </c:pt>
                <c:pt idx="3209">
                  <c:v>3.5618577595999998E-2</c:v>
                </c:pt>
                <c:pt idx="3210">
                  <c:v>3.5940696504000003E-2</c:v>
                </c:pt>
                <c:pt idx="3211">
                  <c:v>3.6269472871999997E-2</c:v>
                </c:pt>
                <c:pt idx="3212">
                  <c:v>3.6582212448000001E-2</c:v>
                </c:pt>
                <c:pt idx="3213">
                  <c:v>3.6832154387999999E-2</c:v>
                </c:pt>
                <c:pt idx="3214">
                  <c:v>3.7088371211999899E-2</c:v>
                </c:pt>
                <c:pt idx="3215">
                  <c:v>3.7329386623999997E-2</c:v>
                </c:pt>
                <c:pt idx="3216">
                  <c:v>3.7534784924000003E-2</c:v>
                </c:pt>
                <c:pt idx="3217">
                  <c:v>3.7716206035999997E-2</c:v>
                </c:pt>
                <c:pt idx="3218">
                  <c:v>3.7844410564000001E-2</c:v>
                </c:pt>
                <c:pt idx="3219">
                  <c:v>3.7973706172E-2</c:v>
                </c:pt>
                <c:pt idx="3220">
                  <c:v>3.8108096920000001E-2</c:v>
                </c:pt>
                <c:pt idx="3221">
                  <c:v>3.8226074220000003E-2</c:v>
                </c:pt>
                <c:pt idx="3222">
                  <c:v>3.8332942023999998E-2</c:v>
                </c:pt>
                <c:pt idx="3223">
                  <c:v>3.8447130247999999E-2</c:v>
                </c:pt>
                <c:pt idx="3224">
                  <c:v>3.8593438731999899E-2</c:v>
                </c:pt>
                <c:pt idx="3225">
                  <c:v>3.8729256848E-2</c:v>
                </c:pt>
                <c:pt idx="3226">
                  <c:v>3.888122108E-2</c:v>
                </c:pt>
                <c:pt idx="3227">
                  <c:v>3.8965161847999898E-2</c:v>
                </c:pt>
                <c:pt idx="3228">
                  <c:v>3.9039560500000001E-2</c:v>
                </c:pt>
                <c:pt idx="3229">
                  <c:v>3.9069721131999899E-2</c:v>
                </c:pt>
                <c:pt idx="3230">
                  <c:v>3.9129006639999998E-2</c:v>
                </c:pt>
                <c:pt idx="3231">
                  <c:v>3.9122125463999999E-2</c:v>
                </c:pt>
                <c:pt idx="3232">
                  <c:v>3.9135413568000002E-2</c:v>
                </c:pt>
                <c:pt idx="3233">
                  <c:v>3.9132084008000001E-2</c:v>
                </c:pt>
                <c:pt idx="3234">
                  <c:v>3.9156565275999998E-2</c:v>
                </c:pt>
                <c:pt idx="3235">
                  <c:v>3.9228311523999998E-2</c:v>
                </c:pt>
                <c:pt idx="3236">
                  <c:v>3.9311376071999901E-2</c:v>
                </c:pt>
                <c:pt idx="3237">
                  <c:v>3.9372853223999998E-2</c:v>
                </c:pt>
                <c:pt idx="3238">
                  <c:v>3.9424143224000001E-2</c:v>
                </c:pt>
                <c:pt idx="3239">
                  <c:v>3.9474956191999998E-2</c:v>
                </c:pt>
                <c:pt idx="3240">
                  <c:v>3.9540519291999997E-2</c:v>
                </c:pt>
                <c:pt idx="3241">
                  <c:v>3.9640242807999999E-2</c:v>
                </c:pt>
                <c:pt idx="3242">
                  <c:v>3.9717975128000002E-2</c:v>
                </c:pt>
                <c:pt idx="3243">
                  <c:v>3.9759291263999998E-2</c:v>
                </c:pt>
                <c:pt idx="3244">
                  <c:v>3.9810143944000002E-2</c:v>
                </c:pt>
                <c:pt idx="3245">
                  <c:v>3.9893418351999999E-2</c:v>
                </c:pt>
                <c:pt idx="3246">
                  <c:v>3.9977369259999999E-2</c:v>
                </c:pt>
                <c:pt idx="3247">
                  <c:v>4.0075237508000003E-2</c:v>
                </c:pt>
                <c:pt idx="3248">
                  <c:v>4.0162562127999998E-2</c:v>
                </c:pt>
                <c:pt idx="3249">
                  <c:v>4.0253791307999998E-2</c:v>
                </c:pt>
                <c:pt idx="3250">
                  <c:v>4.0343511331999898E-2</c:v>
                </c:pt>
                <c:pt idx="3251">
                  <c:v>4.0465865391999999E-2</c:v>
                </c:pt>
                <c:pt idx="3252">
                  <c:v>4.0595346412000001E-2</c:v>
                </c:pt>
                <c:pt idx="3253">
                  <c:v>4.0663950836000003E-2</c:v>
                </c:pt>
                <c:pt idx="3254">
                  <c:v>4.0703018287999999E-2</c:v>
                </c:pt>
                <c:pt idx="3255">
                  <c:v>4.0775094195999999E-2</c:v>
                </c:pt>
                <c:pt idx="3256">
                  <c:v>4.0802580991999897E-2</c:v>
                </c:pt>
                <c:pt idx="3257">
                  <c:v>4.0793082292000002E-2</c:v>
                </c:pt>
                <c:pt idx="3258">
                  <c:v>4.0827786480000003E-2</c:v>
                </c:pt>
                <c:pt idx="3259">
                  <c:v>4.0839454184E-2</c:v>
                </c:pt>
                <c:pt idx="3260">
                  <c:v>4.0844545491999999E-2</c:v>
                </c:pt>
                <c:pt idx="3261">
                  <c:v>4.0866833055999897E-2</c:v>
                </c:pt>
                <c:pt idx="3262">
                  <c:v>4.0865794832000001E-2</c:v>
                </c:pt>
                <c:pt idx="3263">
                  <c:v>4.0856034467999999E-2</c:v>
                </c:pt>
                <c:pt idx="3264">
                  <c:v>4.0864072495999999E-2</c:v>
                </c:pt>
                <c:pt idx="3265">
                  <c:v>4.0856102375999903E-2</c:v>
                </c:pt>
                <c:pt idx="3266">
                  <c:v>4.0798995687999898E-2</c:v>
                </c:pt>
                <c:pt idx="3267">
                  <c:v>4.0783665711999997E-2</c:v>
                </c:pt>
                <c:pt idx="3268">
                  <c:v>4.0751781452000001E-2</c:v>
                </c:pt>
                <c:pt idx="3269">
                  <c:v>4.0733074115999898E-2</c:v>
                </c:pt>
                <c:pt idx="3270">
                  <c:v>4.0713887799999897E-2</c:v>
                </c:pt>
                <c:pt idx="3271">
                  <c:v>4.0730803711999997E-2</c:v>
                </c:pt>
                <c:pt idx="3272">
                  <c:v>4.0707386476000001E-2</c:v>
                </c:pt>
                <c:pt idx="3273">
                  <c:v>4.0735910735999997E-2</c:v>
                </c:pt>
                <c:pt idx="3274">
                  <c:v>4.0752635567999997E-2</c:v>
                </c:pt>
                <c:pt idx="3275">
                  <c:v>4.0755166664000003E-2</c:v>
                </c:pt>
                <c:pt idx="3276">
                  <c:v>4.0774474659999997E-2</c:v>
                </c:pt>
                <c:pt idx="3277">
                  <c:v>4.0802541163999999E-2</c:v>
                </c:pt>
                <c:pt idx="3278">
                  <c:v>4.0817267608000002E-2</c:v>
                </c:pt>
                <c:pt idx="3279">
                  <c:v>4.0814656495999899E-2</c:v>
                </c:pt>
                <c:pt idx="3280">
                  <c:v>4.0876447975999999E-2</c:v>
                </c:pt>
                <c:pt idx="3281">
                  <c:v>4.0895719220000001E-2</c:v>
                </c:pt>
                <c:pt idx="3282">
                  <c:v>4.0907526324E-2</c:v>
                </c:pt>
                <c:pt idx="3283">
                  <c:v>4.0902259207999898E-2</c:v>
                </c:pt>
                <c:pt idx="3284">
                  <c:v>4.0901454736000001E-2</c:v>
                </c:pt>
                <c:pt idx="3285">
                  <c:v>4.0916606160000001E-2</c:v>
                </c:pt>
                <c:pt idx="3286">
                  <c:v>4.0914375731999998E-2</c:v>
                </c:pt>
                <c:pt idx="3287">
                  <c:v>4.0923656144000002E-2</c:v>
                </c:pt>
                <c:pt idx="3288">
                  <c:v>4.0923458840000003E-2</c:v>
                </c:pt>
                <c:pt idx="3289">
                  <c:v>4.0926752992E-2</c:v>
                </c:pt>
                <c:pt idx="3290">
                  <c:v>4.0976954336000002E-2</c:v>
                </c:pt>
                <c:pt idx="3291">
                  <c:v>4.1112224420000003E-2</c:v>
                </c:pt>
                <c:pt idx="3292">
                  <c:v>4.1163429511999999E-2</c:v>
                </c:pt>
                <c:pt idx="3293">
                  <c:v>4.1226813991999997E-2</c:v>
                </c:pt>
                <c:pt idx="3294">
                  <c:v>4.1206673744E-2</c:v>
                </c:pt>
                <c:pt idx="3295">
                  <c:v>4.1188380703999897E-2</c:v>
                </c:pt>
                <c:pt idx="3296">
                  <c:v>4.1161136303999903E-2</c:v>
                </c:pt>
                <c:pt idx="3297">
                  <c:v>4.11475548E-2</c:v>
                </c:pt>
                <c:pt idx="3298">
                  <c:v>4.1139177755999998E-2</c:v>
                </c:pt>
                <c:pt idx="3299">
                  <c:v>4.1124700947999998E-2</c:v>
                </c:pt>
                <c:pt idx="3300">
                  <c:v>4.1068474639999998E-2</c:v>
                </c:pt>
                <c:pt idx="3301">
                  <c:v>4.0934649339999997E-2</c:v>
                </c:pt>
                <c:pt idx="3302">
                  <c:v>4.0905926735999999E-2</c:v>
                </c:pt>
                <c:pt idx="3303">
                  <c:v>4.0856021068000001E-2</c:v>
                </c:pt>
                <c:pt idx="3304">
                  <c:v>4.0823070803999897E-2</c:v>
                </c:pt>
                <c:pt idx="3305">
                  <c:v>4.0798597347999899E-2</c:v>
                </c:pt>
                <c:pt idx="3306">
                  <c:v>4.0786819007999901E-2</c:v>
                </c:pt>
                <c:pt idx="3307">
                  <c:v>4.0784370164000001E-2</c:v>
                </c:pt>
                <c:pt idx="3308">
                  <c:v>4.0781808407999998E-2</c:v>
                </c:pt>
                <c:pt idx="3309">
                  <c:v>4.0738486799999897E-2</c:v>
                </c:pt>
                <c:pt idx="3310">
                  <c:v>4.0646968524000002E-2</c:v>
                </c:pt>
                <c:pt idx="3311">
                  <c:v>4.0590944688000001E-2</c:v>
                </c:pt>
                <c:pt idx="3312">
                  <c:v>4.0494378912000001E-2</c:v>
                </c:pt>
                <c:pt idx="3313">
                  <c:v>4.0369026180000003E-2</c:v>
                </c:pt>
                <c:pt idx="3314">
                  <c:v>4.0238134616000003E-2</c:v>
                </c:pt>
                <c:pt idx="3315">
                  <c:v>4.0110938007999898E-2</c:v>
                </c:pt>
                <c:pt idx="3316">
                  <c:v>3.9984641484000001E-2</c:v>
                </c:pt>
                <c:pt idx="3317">
                  <c:v>3.9811819232000001E-2</c:v>
                </c:pt>
                <c:pt idx="3318">
                  <c:v>3.967315808E-2</c:v>
                </c:pt>
                <c:pt idx="3319">
                  <c:v>3.9469014176000003E-2</c:v>
                </c:pt>
                <c:pt idx="3320">
                  <c:v>3.9275482799999997E-2</c:v>
                </c:pt>
                <c:pt idx="3321">
                  <c:v>3.9038495351999998E-2</c:v>
                </c:pt>
                <c:pt idx="3322">
                  <c:v>3.8895693336000001E-2</c:v>
                </c:pt>
                <c:pt idx="3323">
                  <c:v>3.8808094192000001E-2</c:v>
                </c:pt>
                <c:pt idx="3324">
                  <c:v>3.8735254423999999E-2</c:v>
                </c:pt>
                <c:pt idx="3325">
                  <c:v>3.8676721391999999E-2</c:v>
                </c:pt>
                <c:pt idx="3326">
                  <c:v>3.8561405195999897E-2</c:v>
                </c:pt>
                <c:pt idx="3327">
                  <c:v>3.8381267391999999E-2</c:v>
                </c:pt>
                <c:pt idx="3328">
                  <c:v>3.8261844823999899E-2</c:v>
                </c:pt>
                <c:pt idx="3329">
                  <c:v>3.8121129131999998E-2</c:v>
                </c:pt>
                <c:pt idx="3330">
                  <c:v>3.7912293423999897E-2</c:v>
                </c:pt>
                <c:pt idx="3331">
                  <c:v>3.7779513967999903E-2</c:v>
                </c:pt>
                <c:pt idx="3332">
                  <c:v>3.7680418888E-2</c:v>
                </c:pt>
                <c:pt idx="3333">
                  <c:v>3.7605176896E-2</c:v>
                </c:pt>
                <c:pt idx="3334">
                  <c:v>3.7481902431999899E-2</c:v>
                </c:pt>
                <c:pt idx="3335">
                  <c:v>3.7294688351999998E-2</c:v>
                </c:pt>
                <c:pt idx="3336">
                  <c:v>3.7216556136000001E-2</c:v>
                </c:pt>
                <c:pt idx="3337">
                  <c:v>3.7094232375999903E-2</c:v>
                </c:pt>
                <c:pt idx="3338">
                  <c:v>3.6904129796000003E-2</c:v>
                </c:pt>
                <c:pt idx="3339">
                  <c:v>3.6727754215999997E-2</c:v>
                </c:pt>
                <c:pt idx="3340">
                  <c:v>3.6613508724000002E-2</c:v>
                </c:pt>
                <c:pt idx="3341">
                  <c:v>3.6509754056000002E-2</c:v>
                </c:pt>
                <c:pt idx="3342">
                  <c:v>3.6358672395999998E-2</c:v>
                </c:pt>
                <c:pt idx="3343">
                  <c:v>3.6272458048E-2</c:v>
                </c:pt>
                <c:pt idx="3344">
                  <c:v>3.6232524308000003E-2</c:v>
                </c:pt>
                <c:pt idx="3345">
                  <c:v>3.6172430636000001E-2</c:v>
                </c:pt>
                <c:pt idx="3346">
                  <c:v>3.6073873312000002E-2</c:v>
                </c:pt>
                <c:pt idx="3347">
                  <c:v>3.5950088527999899E-2</c:v>
                </c:pt>
                <c:pt idx="3348">
                  <c:v>3.5826873603999998E-2</c:v>
                </c:pt>
                <c:pt idx="3349">
                  <c:v>3.5719968027999899E-2</c:v>
                </c:pt>
                <c:pt idx="3350">
                  <c:v>3.5579179023999999E-2</c:v>
                </c:pt>
                <c:pt idx="3351">
                  <c:v>3.5488482096000001E-2</c:v>
                </c:pt>
                <c:pt idx="3352">
                  <c:v>3.5377676336000002E-2</c:v>
                </c:pt>
                <c:pt idx="3353">
                  <c:v>3.5290348255999998E-2</c:v>
                </c:pt>
                <c:pt idx="3354">
                  <c:v>3.5171459584000003E-2</c:v>
                </c:pt>
                <c:pt idx="3355">
                  <c:v>3.5100573307999997E-2</c:v>
                </c:pt>
                <c:pt idx="3356">
                  <c:v>3.5026649492000003E-2</c:v>
                </c:pt>
                <c:pt idx="3357">
                  <c:v>3.4961305143999998E-2</c:v>
                </c:pt>
                <c:pt idx="3358">
                  <c:v>3.4892409623999997E-2</c:v>
                </c:pt>
                <c:pt idx="3359">
                  <c:v>3.4829164952000002E-2</c:v>
                </c:pt>
                <c:pt idx="3360">
                  <c:v>3.4766803316000003E-2</c:v>
                </c:pt>
                <c:pt idx="3361">
                  <c:v>3.4648149423999998E-2</c:v>
                </c:pt>
                <c:pt idx="3362">
                  <c:v>3.4588089555999998E-2</c:v>
                </c:pt>
                <c:pt idx="3363">
                  <c:v>3.4523993587999999E-2</c:v>
                </c:pt>
                <c:pt idx="3364">
                  <c:v>3.4470314703999999E-2</c:v>
                </c:pt>
                <c:pt idx="3365">
                  <c:v>3.4449878975999999E-2</c:v>
                </c:pt>
                <c:pt idx="3366">
                  <c:v>3.4399376731999998E-2</c:v>
                </c:pt>
                <c:pt idx="3367">
                  <c:v>3.4334528428E-2</c:v>
                </c:pt>
                <c:pt idx="3368">
                  <c:v>3.4289797208000003E-2</c:v>
                </c:pt>
                <c:pt idx="3369">
                  <c:v>3.4271644704000001E-2</c:v>
                </c:pt>
                <c:pt idx="3370">
                  <c:v>3.4245130992000002E-2</c:v>
                </c:pt>
                <c:pt idx="3371">
                  <c:v>3.4208746919999998E-2</c:v>
                </c:pt>
                <c:pt idx="3372">
                  <c:v>3.4133013259999997E-2</c:v>
                </c:pt>
                <c:pt idx="3373">
                  <c:v>3.4049413347999997E-2</c:v>
                </c:pt>
                <c:pt idx="3374">
                  <c:v>3.3951647215999997E-2</c:v>
                </c:pt>
                <c:pt idx="3375">
                  <c:v>3.3876225288000002E-2</c:v>
                </c:pt>
                <c:pt idx="3376">
                  <c:v>3.3786430951999999E-2</c:v>
                </c:pt>
                <c:pt idx="3377">
                  <c:v>3.3739832572E-2</c:v>
                </c:pt>
                <c:pt idx="3378">
                  <c:v>3.3637540787999999E-2</c:v>
                </c:pt>
                <c:pt idx="3379">
                  <c:v>3.3587906988000002E-2</c:v>
                </c:pt>
                <c:pt idx="3380">
                  <c:v>3.3531633396000002E-2</c:v>
                </c:pt>
                <c:pt idx="3381">
                  <c:v>3.3449009112000001E-2</c:v>
                </c:pt>
                <c:pt idx="3382">
                  <c:v>3.3401907863999998E-2</c:v>
                </c:pt>
                <c:pt idx="3383">
                  <c:v>3.3313462875999997E-2</c:v>
                </c:pt>
                <c:pt idx="3384">
                  <c:v>3.3149336012E-2</c:v>
                </c:pt>
                <c:pt idx="3385">
                  <c:v>3.2961201648000003E-2</c:v>
                </c:pt>
                <c:pt idx="3386">
                  <c:v>3.2779850015999999E-2</c:v>
                </c:pt>
                <c:pt idx="3387">
                  <c:v>3.2583664787999997E-2</c:v>
                </c:pt>
                <c:pt idx="3388">
                  <c:v>3.2399710631999999E-2</c:v>
                </c:pt>
                <c:pt idx="3389">
                  <c:v>3.2187561080000003E-2</c:v>
                </c:pt>
                <c:pt idx="3390">
                  <c:v>3.2019382040000002E-2</c:v>
                </c:pt>
                <c:pt idx="3391">
                  <c:v>3.1868680548000003E-2</c:v>
                </c:pt>
                <c:pt idx="3392">
                  <c:v>3.1752224324000003E-2</c:v>
                </c:pt>
                <c:pt idx="3393">
                  <c:v>3.1529610771999998E-2</c:v>
                </c:pt>
                <c:pt idx="3394">
                  <c:v>3.1306871648000001E-2</c:v>
                </c:pt>
                <c:pt idx="3395">
                  <c:v>3.1152292979999999E-2</c:v>
                </c:pt>
                <c:pt idx="3396">
                  <c:v>3.1011638144000001E-2</c:v>
                </c:pt>
                <c:pt idx="3397">
                  <c:v>3.0867435119999901E-2</c:v>
                </c:pt>
                <c:pt idx="3398">
                  <c:v>3.0699129259999999E-2</c:v>
                </c:pt>
                <c:pt idx="3399">
                  <c:v>3.0463892020000001E-2</c:v>
                </c:pt>
                <c:pt idx="3400">
                  <c:v>3.0238932360000002E-2</c:v>
                </c:pt>
                <c:pt idx="3401">
                  <c:v>3.007262204E-2</c:v>
                </c:pt>
                <c:pt idx="3402">
                  <c:v>2.9839773832E-2</c:v>
                </c:pt>
                <c:pt idx="3403">
                  <c:v>2.9651928532000001E-2</c:v>
                </c:pt>
                <c:pt idx="3404">
                  <c:v>2.94131396439999E-2</c:v>
                </c:pt>
                <c:pt idx="3405">
                  <c:v>2.9205250168000001E-2</c:v>
                </c:pt>
                <c:pt idx="3406">
                  <c:v>2.8917852912000001E-2</c:v>
                </c:pt>
                <c:pt idx="3407">
                  <c:v>2.8555597868E-2</c:v>
                </c:pt>
                <c:pt idx="3408">
                  <c:v>2.830017642E-2</c:v>
                </c:pt>
                <c:pt idx="3409">
                  <c:v>2.8040776452E-2</c:v>
                </c:pt>
                <c:pt idx="3410">
                  <c:v>2.7798656852E-2</c:v>
                </c:pt>
                <c:pt idx="3411">
                  <c:v>2.7579189819999999E-2</c:v>
                </c:pt>
                <c:pt idx="3412">
                  <c:v>2.73282290039999E-2</c:v>
                </c:pt>
                <c:pt idx="3413">
                  <c:v>2.6997366876E-2</c:v>
                </c:pt>
                <c:pt idx="3414">
                  <c:v>2.6813213932E-2</c:v>
                </c:pt>
                <c:pt idx="3415">
                  <c:v>2.6626655712E-2</c:v>
                </c:pt>
                <c:pt idx="3416">
                  <c:v>2.6441996775999999E-2</c:v>
                </c:pt>
                <c:pt idx="3417">
                  <c:v>2.621404036E-2</c:v>
                </c:pt>
                <c:pt idx="3418">
                  <c:v>2.6030839928E-2</c:v>
                </c:pt>
                <c:pt idx="3419">
                  <c:v>2.5889689444E-2</c:v>
                </c:pt>
                <c:pt idx="3420">
                  <c:v>2.5743321436E-2</c:v>
                </c:pt>
                <c:pt idx="3421">
                  <c:v>2.5560777207999999E-2</c:v>
                </c:pt>
                <c:pt idx="3422">
                  <c:v>2.5386712328000001E-2</c:v>
                </c:pt>
                <c:pt idx="3423">
                  <c:v>2.5213289843999901E-2</c:v>
                </c:pt>
                <c:pt idx="3424">
                  <c:v>2.5052318431999999E-2</c:v>
                </c:pt>
                <c:pt idx="3425">
                  <c:v>2.489700878E-2</c:v>
                </c:pt>
                <c:pt idx="3426">
                  <c:v>2.4776997631999899E-2</c:v>
                </c:pt>
                <c:pt idx="3427">
                  <c:v>2.4627188468000001E-2</c:v>
                </c:pt>
                <c:pt idx="3428">
                  <c:v>2.4458579904000001E-2</c:v>
                </c:pt>
                <c:pt idx="3429">
                  <c:v>2.4330092628E-2</c:v>
                </c:pt>
                <c:pt idx="3430">
                  <c:v>2.4113801244000001E-2</c:v>
                </c:pt>
                <c:pt idx="3431">
                  <c:v>2.3922370120000001E-2</c:v>
                </c:pt>
                <c:pt idx="3432">
                  <c:v>2.3705918404E-2</c:v>
                </c:pt>
                <c:pt idx="3433">
                  <c:v>2.3494082095999999E-2</c:v>
                </c:pt>
                <c:pt idx="3434">
                  <c:v>2.3225778699999901E-2</c:v>
                </c:pt>
                <c:pt idx="3435">
                  <c:v>2.3022987863999901E-2</c:v>
                </c:pt>
                <c:pt idx="3436">
                  <c:v>2.2817606588E-2</c:v>
                </c:pt>
                <c:pt idx="3437">
                  <c:v>2.2628775583999901E-2</c:v>
                </c:pt>
                <c:pt idx="3438">
                  <c:v>2.2449879240000001E-2</c:v>
                </c:pt>
                <c:pt idx="3439">
                  <c:v>2.2214717472E-2</c:v>
                </c:pt>
                <c:pt idx="3440">
                  <c:v>2.1970065351999999E-2</c:v>
                </c:pt>
                <c:pt idx="3441">
                  <c:v>2.1652356363999901E-2</c:v>
                </c:pt>
                <c:pt idx="3442">
                  <c:v>2.1372434271999901E-2</c:v>
                </c:pt>
                <c:pt idx="3443">
                  <c:v>2.1174551691999999E-2</c:v>
                </c:pt>
                <c:pt idx="3444">
                  <c:v>2.1014149287999901E-2</c:v>
                </c:pt>
                <c:pt idx="3445">
                  <c:v>2.0825420107999999E-2</c:v>
                </c:pt>
                <c:pt idx="3446">
                  <c:v>2.0623213779999899E-2</c:v>
                </c:pt>
                <c:pt idx="3447">
                  <c:v>2.0466437736000001E-2</c:v>
                </c:pt>
                <c:pt idx="3448">
                  <c:v>2.030093136E-2</c:v>
                </c:pt>
                <c:pt idx="3449">
                  <c:v>2.0163946491999998E-2</c:v>
                </c:pt>
                <c:pt idx="3450">
                  <c:v>2.0025883147999999E-2</c:v>
                </c:pt>
                <c:pt idx="3451">
                  <c:v>1.9878818459999999E-2</c:v>
                </c:pt>
                <c:pt idx="3452">
                  <c:v>1.9702197139999999E-2</c:v>
                </c:pt>
                <c:pt idx="3453">
                  <c:v>1.9542626051999998E-2</c:v>
                </c:pt>
                <c:pt idx="3454">
                  <c:v>1.9359545132E-2</c:v>
                </c:pt>
                <c:pt idx="3455">
                  <c:v>1.9139405548000001E-2</c:v>
                </c:pt>
                <c:pt idx="3456">
                  <c:v>1.8910062392E-2</c:v>
                </c:pt>
                <c:pt idx="3457">
                  <c:v>1.872893414E-2</c:v>
                </c:pt>
                <c:pt idx="3458">
                  <c:v>1.8548914592000001E-2</c:v>
                </c:pt>
                <c:pt idx="3459">
                  <c:v>1.8402520711999999E-2</c:v>
                </c:pt>
                <c:pt idx="3460">
                  <c:v>1.8119436707999901E-2</c:v>
                </c:pt>
                <c:pt idx="3461">
                  <c:v>1.7800824452E-2</c:v>
                </c:pt>
                <c:pt idx="3462">
                  <c:v>1.7500606916E-2</c:v>
                </c:pt>
                <c:pt idx="3463">
                  <c:v>1.72635706E-2</c:v>
                </c:pt>
                <c:pt idx="3464">
                  <c:v>1.701121018E-2</c:v>
                </c:pt>
                <c:pt idx="3465">
                  <c:v>1.6771925228000001E-2</c:v>
                </c:pt>
                <c:pt idx="3466">
                  <c:v>1.6574704736E-2</c:v>
                </c:pt>
                <c:pt idx="3467">
                  <c:v>1.6399302259999901E-2</c:v>
                </c:pt>
                <c:pt idx="3468">
                  <c:v>1.6266315616000001E-2</c:v>
                </c:pt>
                <c:pt idx="3469">
                  <c:v>1.61374544719999E-2</c:v>
                </c:pt>
                <c:pt idx="3470">
                  <c:v>1.6032697751999999E-2</c:v>
                </c:pt>
                <c:pt idx="3471">
                  <c:v>1.5924880320000001E-2</c:v>
                </c:pt>
                <c:pt idx="3472">
                  <c:v>1.5813747892000001E-2</c:v>
                </c:pt>
                <c:pt idx="3473">
                  <c:v>1.5689670472000001E-2</c:v>
                </c:pt>
                <c:pt idx="3474">
                  <c:v>1.55366696599999E-2</c:v>
                </c:pt>
                <c:pt idx="3475">
                  <c:v>1.53929336399999E-2</c:v>
                </c:pt>
                <c:pt idx="3476">
                  <c:v>1.52398851999999E-2</c:v>
                </c:pt>
                <c:pt idx="3477">
                  <c:v>1.5148166292E-2</c:v>
                </c:pt>
                <c:pt idx="3478">
                  <c:v>1.5065264016E-2</c:v>
                </c:pt>
                <c:pt idx="3479">
                  <c:v>1.5003242432E-2</c:v>
                </c:pt>
                <c:pt idx="3480">
                  <c:v>1.4926141204E-2</c:v>
                </c:pt>
                <c:pt idx="3481">
                  <c:v>1.4870930688E-2</c:v>
                </c:pt>
                <c:pt idx="3482">
                  <c:v>1.4832102915999901E-2</c:v>
                </c:pt>
                <c:pt idx="3483">
                  <c:v>1.4855356235999999E-2</c:v>
                </c:pt>
                <c:pt idx="3484">
                  <c:v>1.4855345807999999E-2</c:v>
                </c:pt>
                <c:pt idx="3485">
                  <c:v>1.4765037788E-2</c:v>
                </c:pt>
                <c:pt idx="3486">
                  <c:v>1.4668209432E-2</c:v>
                </c:pt>
                <c:pt idx="3487">
                  <c:v>1.4593430328E-2</c:v>
                </c:pt>
                <c:pt idx="3488">
                  <c:v>1.45220341519999E-2</c:v>
                </c:pt>
                <c:pt idx="3489">
                  <c:v>1.4447362163999999E-2</c:v>
                </c:pt>
                <c:pt idx="3490">
                  <c:v>1.436563986E-2</c:v>
                </c:pt>
                <c:pt idx="3491">
                  <c:v>1.4255490596E-2</c:v>
                </c:pt>
                <c:pt idx="3492">
                  <c:v>1.4163715832E-2</c:v>
                </c:pt>
                <c:pt idx="3493">
                  <c:v>1.4101373235999999E-2</c:v>
                </c:pt>
                <c:pt idx="3494">
                  <c:v>1.4031700768E-2</c:v>
                </c:pt>
                <c:pt idx="3495">
                  <c:v>1.3930005832000001E-2</c:v>
                </c:pt>
                <c:pt idx="3496">
                  <c:v>1.38242142919999E-2</c:v>
                </c:pt>
                <c:pt idx="3497">
                  <c:v>1.3706787959999999E-2</c:v>
                </c:pt>
                <c:pt idx="3498">
                  <c:v>1.3603595531999999E-2</c:v>
                </c:pt>
                <c:pt idx="3499">
                  <c:v>1.35014827999999E-2</c:v>
                </c:pt>
                <c:pt idx="3500">
                  <c:v>1.3408508392E-2</c:v>
                </c:pt>
                <c:pt idx="3501">
                  <c:v>1.3263837116E-2</c:v>
                </c:pt>
                <c:pt idx="3502">
                  <c:v>1.3121104464E-2</c:v>
                </c:pt>
                <c:pt idx="3503">
                  <c:v>1.307178132E-2</c:v>
                </c:pt>
                <c:pt idx="3504">
                  <c:v>1.302246434E-2</c:v>
                </c:pt>
                <c:pt idx="3505">
                  <c:v>1.2947411755999999E-2</c:v>
                </c:pt>
                <c:pt idx="3506">
                  <c:v>1.2903658340000001E-2</c:v>
                </c:pt>
                <c:pt idx="3507">
                  <c:v>1.2874734448E-2</c:v>
                </c:pt>
                <c:pt idx="3508">
                  <c:v>1.2798199668E-2</c:v>
                </c:pt>
                <c:pt idx="3509">
                  <c:v>1.2760913656E-2</c:v>
                </c:pt>
                <c:pt idx="3510">
                  <c:v>1.2708280739999999E-2</c:v>
                </c:pt>
                <c:pt idx="3511">
                  <c:v>1.2658021572E-2</c:v>
                </c:pt>
                <c:pt idx="3512">
                  <c:v>1.2631029128E-2</c:v>
                </c:pt>
                <c:pt idx="3513">
                  <c:v>1.2593944596E-2</c:v>
                </c:pt>
                <c:pt idx="3514">
                  <c:v>1.2550095392000001E-2</c:v>
                </c:pt>
                <c:pt idx="3515">
                  <c:v>1.25121553759999E-2</c:v>
                </c:pt>
                <c:pt idx="3516">
                  <c:v>1.250032192E-2</c:v>
                </c:pt>
                <c:pt idx="3517">
                  <c:v>1.24818015799999E-2</c:v>
                </c:pt>
                <c:pt idx="3518">
                  <c:v>1.2475755531999999E-2</c:v>
                </c:pt>
                <c:pt idx="3519">
                  <c:v>1.2468911208E-2</c:v>
                </c:pt>
                <c:pt idx="3520">
                  <c:v>1.2462948539999999E-2</c:v>
                </c:pt>
                <c:pt idx="3521">
                  <c:v>1.2434438056000001E-2</c:v>
                </c:pt>
                <c:pt idx="3522">
                  <c:v>1.2419711155999999E-2</c:v>
                </c:pt>
                <c:pt idx="3523">
                  <c:v>1.2355493024E-2</c:v>
                </c:pt>
                <c:pt idx="3524">
                  <c:v>1.2319179079999999E-2</c:v>
                </c:pt>
                <c:pt idx="3525">
                  <c:v>1.2294163416E-2</c:v>
                </c:pt>
                <c:pt idx="3526">
                  <c:v>1.22790961919999E-2</c:v>
                </c:pt>
                <c:pt idx="3527">
                  <c:v>1.2230658496E-2</c:v>
                </c:pt>
                <c:pt idx="3528">
                  <c:v>1.21804386719999E-2</c:v>
                </c:pt>
                <c:pt idx="3529">
                  <c:v>1.2131678595999999E-2</c:v>
                </c:pt>
                <c:pt idx="3530">
                  <c:v>1.2033467712E-2</c:v>
                </c:pt>
                <c:pt idx="3531">
                  <c:v>1.1975812612E-2</c:v>
                </c:pt>
                <c:pt idx="3532">
                  <c:v>1.1921889212000001E-2</c:v>
                </c:pt>
                <c:pt idx="3533">
                  <c:v>1.1869663712E-2</c:v>
                </c:pt>
                <c:pt idx="3534">
                  <c:v>1.1846050604E-2</c:v>
                </c:pt>
                <c:pt idx="3535">
                  <c:v>1.1821623072E-2</c:v>
                </c:pt>
                <c:pt idx="3536">
                  <c:v>1.18120241479999E-2</c:v>
                </c:pt>
                <c:pt idx="3537">
                  <c:v>1.1796598611999999E-2</c:v>
                </c:pt>
                <c:pt idx="3538">
                  <c:v>1.1801428096000001E-2</c:v>
                </c:pt>
                <c:pt idx="3539">
                  <c:v>1.1812122636E-2</c:v>
                </c:pt>
                <c:pt idx="3540">
                  <c:v>1.1796864163999899E-2</c:v>
                </c:pt>
                <c:pt idx="3541">
                  <c:v>1.1689264868E-2</c:v>
                </c:pt>
                <c:pt idx="3542">
                  <c:v>1.1598708592E-2</c:v>
                </c:pt>
                <c:pt idx="3543">
                  <c:v>1.1473319383999999E-2</c:v>
                </c:pt>
                <c:pt idx="3544">
                  <c:v>1.1390959636E-2</c:v>
                </c:pt>
                <c:pt idx="3545">
                  <c:v>1.1335921743999999E-2</c:v>
                </c:pt>
                <c:pt idx="3546">
                  <c:v>1.1304224571999999E-2</c:v>
                </c:pt>
                <c:pt idx="3547">
                  <c:v>1.12884317439999E-2</c:v>
                </c:pt>
                <c:pt idx="3548">
                  <c:v>1.1286321148E-2</c:v>
                </c:pt>
                <c:pt idx="3549">
                  <c:v>1.1236791584000001E-2</c:v>
                </c:pt>
                <c:pt idx="3550">
                  <c:v>1.1211546276E-2</c:v>
                </c:pt>
                <c:pt idx="3551">
                  <c:v>1.1232413619999999E-2</c:v>
                </c:pt>
                <c:pt idx="3552">
                  <c:v>1.1252971092E-2</c:v>
                </c:pt>
                <c:pt idx="3553">
                  <c:v>1.1250364555999899E-2</c:v>
                </c:pt>
                <c:pt idx="3554">
                  <c:v>1.1264554959999999E-2</c:v>
                </c:pt>
                <c:pt idx="3555">
                  <c:v>1.1280851115999999E-2</c:v>
                </c:pt>
                <c:pt idx="3556">
                  <c:v>1.1287558107999999E-2</c:v>
                </c:pt>
                <c:pt idx="3557">
                  <c:v>1.1272339296E-2</c:v>
                </c:pt>
                <c:pt idx="3558">
                  <c:v>1.1262342704E-2</c:v>
                </c:pt>
                <c:pt idx="3559">
                  <c:v>1.1268419051999899E-2</c:v>
                </c:pt>
                <c:pt idx="3560">
                  <c:v>1.1261239692E-2</c:v>
                </c:pt>
                <c:pt idx="3561">
                  <c:v>1.1271240175999999E-2</c:v>
                </c:pt>
                <c:pt idx="3562">
                  <c:v>1.1273868879999999E-2</c:v>
                </c:pt>
                <c:pt idx="3563">
                  <c:v>1.1292647768E-2</c:v>
                </c:pt>
                <c:pt idx="3564">
                  <c:v>1.1305565752000001E-2</c:v>
                </c:pt>
                <c:pt idx="3565">
                  <c:v>1.1308292296E-2</c:v>
                </c:pt>
                <c:pt idx="3566">
                  <c:v>1.1303578372E-2</c:v>
                </c:pt>
                <c:pt idx="3567">
                  <c:v>1.1308073084E-2</c:v>
                </c:pt>
                <c:pt idx="3568">
                  <c:v>1.1307326528000001E-2</c:v>
                </c:pt>
                <c:pt idx="3569">
                  <c:v>1.1307047347999999E-2</c:v>
                </c:pt>
                <c:pt idx="3570">
                  <c:v>1.1314094916E-2</c:v>
                </c:pt>
                <c:pt idx="3571">
                  <c:v>1.129927922E-2</c:v>
                </c:pt>
                <c:pt idx="3572">
                  <c:v>1.12761574039999E-2</c:v>
                </c:pt>
                <c:pt idx="3573">
                  <c:v>1.1234266067999999E-2</c:v>
                </c:pt>
                <c:pt idx="3574">
                  <c:v>1.1208813135999999E-2</c:v>
                </c:pt>
                <c:pt idx="3575">
                  <c:v>1.1175006256E-2</c:v>
                </c:pt>
                <c:pt idx="3576">
                  <c:v>1.116809884E-2</c:v>
                </c:pt>
                <c:pt idx="3577">
                  <c:v>1.1172562188E-2</c:v>
                </c:pt>
                <c:pt idx="3578">
                  <c:v>1.1162079903999899E-2</c:v>
                </c:pt>
                <c:pt idx="3579">
                  <c:v>1.1155227936E-2</c:v>
                </c:pt>
                <c:pt idx="3580">
                  <c:v>1.1144710567999899E-2</c:v>
                </c:pt>
                <c:pt idx="3581">
                  <c:v>1.1134273724000001E-2</c:v>
                </c:pt>
                <c:pt idx="3582">
                  <c:v>1.11232457759999E-2</c:v>
                </c:pt>
                <c:pt idx="3583">
                  <c:v>1.1088095468000001E-2</c:v>
                </c:pt>
                <c:pt idx="3584">
                  <c:v>1.1066364603999901E-2</c:v>
                </c:pt>
                <c:pt idx="3585">
                  <c:v>1.1121606948000001E-2</c:v>
                </c:pt>
                <c:pt idx="3586">
                  <c:v>1.1072446044E-2</c:v>
                </c:pt>
                <c:pt idx="3587">
                  <c:v>1.10302716679999E-2</c:v>
                </c:pt>
                <c:pt idx="3588">
                  <c:v>1.1006223367999999E-2</c:v>
                </c:pt>
                <c:pt idx="3589">
                  <c:v>1.0985203404000001E-2</c:v>
                </c:pt>
                <c:pt idx="3590">
                  <c:v>1.0961438092E-2</c:v>
                </c:pt>
                <c:pt idx="3591">
                  <c:v>1.0938001488000001E-2</c:v>
                </c:pt>
                <c:pt idx="3592">
                  <c:v>1.0920980948E-2</c:v>
                </c:pt>
                <c:pt idx="3593">
                  <c:v>1.0895660123999999E-2</c:v>
                </c:pt>
                <c:pt idx="3594">
                  <c:v>1.0864727376E-2</c:v>
                </c:pt>
                <c:pt idx="3595">
                  <c:v>1.084659076E-2</c:v>
                </c:pt>
                <c:pt idx="3596">
                  <c:v>1.0836604692E-2</c:v>
                </c:pt>
                <c:pt idx="3597">
                  <c:v>1.08389403879999E-2</c:v>
                </c:pt>
                <c:pt idx="3598">
                  <c:v>1.0828779496E-2</c:v>
                </c:pt>
                <c:pt idx="3599">
                  <c:v>1.0828260895999999E-2</c:v>
                </c:pt>
                <c:pt idx="3600">
                  <c:v>1.0841690407999999E-2</c:v>
                </c:pt>
                <c:pt idx="3601">
                  <c:v>1.0832894152E-2</c:v>
                </c:pt>
                <c:pt idx="3602">
                  <c:v>1.0852282396E-2</c:v>
                </c:pt>
                <c:pt idx="3603">
                  <c:v>1.08647007E-2</c:v>
                </c:pt>
                <c:pt idx="3604">
                  <c:v>1.0879454808E-2</c:v>
                </c:pt>
                <c:pt idx="3605">
                  <c:v>1.09027205919999E-2</c:v>
                </c:pt>
                <c:pt idx="3606">
                  <c:v>1.092289368E-2</c:v>
                </c:pt>
                <c:pt idx="3607">
                  <c:v>1.0936786295999999E-2</c:v>
                </c:pt>
                <c:pt idx="3608">
                  <c:v>1.09319306359999E-2</c:v>
                </c:pt>
                <c:pt idx="3609">
                  <c:v>1.0918795724000001E-2</c:v>
                </c:pt>
                <c:pt idx="3610">
                  <c:v>1.0911194500000001E-2</c:v>
                </c:pt>
                <c:pt idx="3611">
                  <c:v>1.0908643752E-2</c:v>
                </c:pt>
                <c:pt idx="3612">
                  <c:v>1.0898987676E-2</c:v>
                </c:pt>
                <c:pt idx="3613">
                  <c:v>1.0896413272E-2</c:v>
                </c:pt>
                <c:pt idx="3614">
                  <c:v>1.0888235568000001E-2</c:v>
                </c:pt>
                <c:pt idx="3615">
                  <c:v>1.0863036519999999E-2</c:v>
                </c:pt>
                <c:pt idx="3616">
                  <c:v>1.0856981704000001E-2</c:v>
                </c:pt>
                <c:pt idx="3617">
                  <c:v>1.08391542799999E-2</c:v>
                </c:pt>
                <c:pt idx="3618">
                  <c:v>1.0830922095999999E-2</c:v>
                </c:pt>
                <c:pt idx="3619">
                  <c:v>1.0789155876E-2</c:v>
                </c:pt>
                <c:pt idx="3620">
                  <c:v>1.0762877771999999E-2</c:v>
                </c:pt>
                <c:pt idx="3621">
                  <c:v>1.0694212824E-2</c:v>
                </c:pt>
                <c:pt idx="3622">
                  <c:v>1.0672294096E-2</c:v>
                </c:pt>
                <c:pt idx="3623">
                  <c:v>1.0662835815999999E-2</c:v>
                </c:pt>
                <c:pt idx="3624">
                  <c:v>1.0663292012E-2</c:v>
                </c:pt>
                <c:pt idx="3625">
                  <c:v>1.0671109099999999E-2</c:v>
                </c:pt>
                <c:pt idx="3626">
                  <c:v>1.0678603300000001E-2</c:v>
                </c:pt>
                <c:pt idx="3627">
                  <c:v>1.067661412E-2</c:v>
                </c:pt>
                <c:pt idx="3628">
                  <c:v>1.0675558076E-2</c:v>
                </c:pt>
                <c:pt idx="3629">
                  <c:v>1.06733759759999E-2</c:v>
                </c:pt>
                <c:pt idx="3630">
                  <c:v>1.0672605472E-2</c:v>
                </c:pt>
                <c:pt idx="3631">
                  <c:v>1.06267296079999E-2</c:v>
                </c:pt>
                <c:pt idx="3632">
                  <c:v>1.0568774424E-2</c:v>
                </c:pt>
                <c:pt idx="3633">
                  <c:v>1.0551197088E-2</c:v>
                </c:pt>
                <c:pt idx="3634">
                  <c:v>1.0542057299999999E-2</c:v>
                </c:pt>
                <c:pt idx="3635">
                  <c:v>1.0558611612E-2</c:v>
                </c:pt>
                <c:pt idx="3636">
                  <c:v>1.0578162868E-2</c:v>
                </c:pt>
                <c:pt idx="3637">
                  <c:v>1.05922176159999E-2</c:v>
                </c:pt>
                <c:pt idx="3638">
                  <c:v>1.0608083000000001E-2</c:v>
                </c:pt>
                <c:pt idx="3639">
                  <c:v>1.0625129156E-2</c:v>
                </c:pt>
                <c:pt idx="3640">
                  <c:v>1.0633206060000001E-2</c:v>
                </c:pt>
                <c:pt idx="3641">
                  <c:v>1.06255830839999E-2</c:v>
                </c:pt>
                <c:pt idx="3642">
                  <c:v>1.06121127039999E-2</c:v>
                </c:pt>
                <c:pt idx="3643">
                  <c:v>1.0610443068E-2</c:v>
                </c:pt>
                <c:pt idx="3644">
                  <c:v>1.0608109552000001E-2</c:v>
                </c:pt>
                <c:pt idx="3645">
                  <c:v>1.0614627012E-2</c:v>
                </c:pt>
                <c:pt idx="3646">
                  <c:v>1.0605089032E-2</c:v>
                </c:pt>
                <c:pt idx="3647">
                  <c:v>1.0610552156E-2</c:v>
                </c:pt>
                <c:pt idx="3648">
                  <c:v>1.058046034E-2</c:v>
                </c:pt>
                <c:pt idx="3649">
                  <c:v>1.0572332948E-2</c:v>
                </c:pt>
                <c:pt idx="3650">
                  <c:v>1.0575084016E-2</c:v>
                </c:pt>
                <c:pt idx="3651">
                  <c:v>1.0581013804E-2</c:v>
                </c:pt>
                <c:pt idx="3652">
                  <c:v>1.0584638212E-2</c:v>
                </c:pt>
                <c:pt idx="3653">
                  <c:v>1.0546555807999999E-2</c:v>
                </c:pt>
                <c:pt idx="3654">
                  <c:v>1.0538024199999999E-2</c:v>
                </c:pt>
                <c:pt idx="3655">
                  <c:v>1.0541273156E-2</c:v>
                </c:pt>
                <c:pt idx="3656">
                  <c:v>1.0555761836E-2</c:v>
                </c:pt>
                <c:pt idx="3657">
                  <c:v>1.0582920823999999E-2</c:v>
                </c:pt>
                <c:pt idx="3658">
                  <c:v>1.0589672452E-2</c:v>
                </c:pt>
                <c:pt idx="3659">
                  <c:v>1.0596954275999999E-2</c:v>
                </c:pt>
                <c:pt idx="3660">
                  <c:v>1.0614269328E-2</c:v>
                </c:pt>
                <c:pt idx="3661">
                  <c:v>1.0609042916000001E-2</c:v>
                </c:pt>
                <c:pt idx="3662">
                  <c:v>1.06061104439999E-2</c:v>
                </c:pt>
                <c:pt idx="3663">
                  <c:v>1.061709118E-2</c:v>
                </c:pt>
                <c:pt idx="3664">
                  <c:v>1.0609446052E-2</c:v>
                </c:pt>
                <c:pt idx="3665">
                  <c:v>1.05997664E-2</c:v>
                </c:pt>
                <c:pt idx="3666">
                  <c:v>1.059720584E-2</c:v>
                </c:pt>
                <c:pt idx="3667">
                  <c:v>1.06003741959999E-2</c:v>
                </c:pt>
                <c:pt idx="3668">
                  <c:v>1.0617239944E-2</c:v>
                </c:pt>
                <c:pt idx="3669">
                  <c:v>1.06234732079999E-2</c:v>
                </c:pt>
                <c:pt idx="3670">
                  <c:v>1.0656040512E-2</c:v>
                </c:pt>
                <c:pt idx="3671">
                  <c:v>1.0670353396000001E-2</c:v>
                </c:pt>
                <c:pt idx="3672">
                  <c:v>1.0681684876E-2</c:v>
                </c:pt>
                <c:pt idx="3673">
                  <c:v>1.0701307964E-2</c:v>
                </c:pt>
                <c:pt idx="3674">
                  <c:v>1.071397122E-2</c:v>
                </c:pt>
                <c:pt idx="3675">
                  <c:v>1.0724838028E-2</c:v>
                </c:pt>
                <c:pt idx="3676">
                  <c:v>1.0730162156000001E-2</c:v>
                </c:pt>
                <c:pt idx="3677">
                  <c:v>1.07504286639999E-2</c:v>
                </c:pt>
                <c:pt idx="3678">
                  <c:v>1.0764152256E-2</c:v>
                </c:pt>
                <c:pt idx="3679">
                  <c:v>1.0782671319999999E-2</c:v>
                </c:pt>
                <c:pt idx="3680">
                  <c:v>1.0795399196E-2</c:v>
                </c:pt>
                <c:pt idx="3681">
                  <c:v>1.0768382308E-2</c:v>
                </c:pt>
                <c:pt idx="3682">
                  <c:v>1.0759653272E-2</c:v>
                </c:pt>
                <c:pt idx="3683">
                  <c:v>1.0757419272E-2</c:v>
                </c:pt>
                <c:pt idx="3684">
                  <c:v>1.0746230767999999E-2</c:v>
                </c:pt>
                <c:pt idx="3685">
                  <c:v>1.0747452699999899E-2</c:v>
                </c:pt>
                <c:pt idx="3686">
                  <c:v>1.075142726E-2</c:v>
                </c:pt>
                <c:pt idx="3687">
                  <c:v>1.0754608743999999E-2</c:v>
                </c:pt>
                <c:pt idx="3688">
                  <c:v>1.077503914E-2</c:v>
                </c:pt>
                <c:pt idx="3689">
                  <c:v>1.0790214564000001E-2</c:v>
                </c:pt>
                <c:pt idx="3690">
                  <c:v>1.08140712439999E-2</c:v>
                </c:pt>
                <c:pt idx="3691">
                  <c:v>1.0819443200000001E-2</c:v>
                </c:pt>
                <c:pt idx="3692">
                  <c:v>1.0825597403999999E-2</c:v>
                </c:pt>
                <c:pt idx="3693">
                  <c:v>1.0835652156000001E-2</c:v>
                </c:pt>
                <c:pt idx="3694">
                  <c:v>1.0833719552E-2</c:v>
                </c:pt>
                <c:pt idx="3695">
                  <c:v>1.084374514E-2</c:v>
                </c:pt>
                <c:pt idx="3696">
                  <c:v>1.0857000356000001E-2</c:v>
                </c:pt>
                <c:pt idx="3697">
                  <c:v>1.0850197288E-2</c:v>
                </c:pt>
                <c:pt idx="3698">
                  <c:v>1.0859999552E-2</c:v>
                </c:pt>
                <c:pt idx="3699">
                  <c:v>1.0866652328E-2</c:v>
                </c:pt>
                <c:pt idx="3700">
                  <c:v>1.0871890136E-2</c:v>
                </c:pt>
                <c:pt idx="3701">
                  <c:v>1.0890759772E-2</c:v>
                </c:pt>
                <c:pt idx="3702">
                  <c:v>1.0915705051999999E-2</c:v>
                </c:pt>
                <c:pt idx="3703">
                  <c:v>1.09176292959999E-2</c:v>
                </c:pt>
                <c:pt idx="3704">
                  <c:v>1.0912984064E-2</c:v>
                </c:pt>
                <c:pt idx="3705">
                  <c:v>1.0938046024E-2</c:v>
                </c:pt>
                <c:pt idx="3706">
                  <c:v>1.0943236508E-2</c:v>
                </c:pt>
                <c:pt idx="3707">
                  <c:v>1.098379258E-2</c:v>
                </c:pt>
                <c:pt idx="3708">
                  <c:v>1.0983576884E-2</c:v>
                </c:pt>
                <c:pt idx="3709">
                  <c:v>1.0962137832E-2</c:v>
                </c:pt>
                <c:pt idx="3710">
                  <c:v>1.0950532912E-2</c:v>
                </c:pt>
                <c:pt idx="3711">
                  <c:v>1.095960558E-2</c:v>
                </c:pt>
                <c:pt idx="3712">
                  <c:v>1.09763223319999E-2</c:v>
                </c:pt>
                <c:pt idx="3713">
                  <c:v>1.0986348163999999E-2</c:v>
                </c:pt>
                <c:pt idx="3714">
                  <c:v>1.099082524E-2</c:v>
                </c:pt>
                <c:pt idx="3715">
                  <c:v>1.102113012E-2</c:v>
                </c:pt>
                <c:pt idx="3716">
                  <c:v>1.1046840024E-2</c:v>
                </c:pt>
                <c:pt idx="3717">
                  <c:v>1.1078335536E-2</c:v>
                </c:pt>
                <c:pt idx="3718">
                  <c:v>1.1105485268000001E-2</c:v>
                </c:pt>
                <c:pt idx="3719">
                  <c:v>1.1132561188E-2</c:v>
                </c:pt>
                <c:pt idx="3720">
                  <c:v>1.11196033399999E-2</c:v>
                </c:pt>
                <c:pt idx="3721">
                  <c:v>1.1128044836E-2</c:v>
                </c:pt>
                <c:pt idx="3722">
                  <c:v>1.1143763668E-2</c:v>
                </c:pt>
                <c:pt idx="3723">
                  <c:v>1.1162159456E-2</c:v>
                </c:pt>
                <c:pt idx="3724">
                  <c:v>1.1202103712E-2</c:v>
                </c:pt>
                <c:pt idx="3725">
                  <c:v>1.1225384408E-2</c:v>
                </c:pt>
                <c:pt idx="3726">
                  <c:v>1.1243010668E-2</c:v>
                </c:pt>
                <c:pt idx="3727">
                  <c:v>1.1252732596000001E-2</c:v>
                </c:pt>
                <c:pt idx="3728">
                  <c:v>1.1261158572E-2</c:v>
                </c:pt>
                <c:pt idx="3729">
                  <c:v>1.12618360679999E-2</c:v>
                </c:pt>
                <c:pt idx="3730">
                  <c:v>1.12677020999999E-2</c:v>
                </c:pt>
                <c:pt idx="3731">
                  <c:v>1.127149448E-2</c:v>
                </c:pt>
                <c:pt idx="3732">
                  <c:v>1.1268269815999999E-2</c:v>
                </c:pt>
                <c:pt idx="3733">
                  <c:v>1.121892706E-2</c:v>
                </c:pt>
                <c:pt idx="3734">
                  <c:v>1.1195402852E-2</c:v>
                </c:pt>
                <c:pt idx="3735">
                  <c:v>1.1221522915999999E-2</c:v>
                </c:pt>
                <c:pt idx="3736">
                  <c:v>1.1222075216000001E-2</c:v>
                </c:pt>
                <c:pt idx="3737">
                  <c:v>1.1240700031999999E-2</c:v>
                </c:pt>
                <c:pt idx="3738">
                  <c:v>1.1258757431999999E-2</c:v>
                </c:pt>
                <c:pt idx="3739">
                  <c:v>1.1290995087999999E-2</c:v>
                </c:pt>
                <c:pt idx="3740">
                  <c:v>1.1324243632E-2</c:v>
                </c:pt>
                <c:pt idx="3741">
                  <c:v>1.1342185863999999E-2</c:v>
                </c:pt>
                <c:pt idx="3742">
                  <c:v>1.1367131399999999E-2</c:v>
                </c:pt>
                <c:pt idx="3743">
                  <c:v>1.138781292E-2</c:v>
                </c:pt>
                <c:pt idx="3744">
                  <c:v>1.1403423043999999E-2</c:v>
                </c:pt>
                <c:pt idx="3745">
                  <c:v>1.14272547199999E-2</c:v>
                </c:pt>
                <c:pt idx="3746">
                  <c:v>1.1455521244000001E-2</c:v>
                </c:pt>
                <c:pt idx="3747">
                  <c:v>1.1463546756E-2</c:v>
                </c:pt>
                <c:pt idx="3748">
                  <c:v>1.1480211448000001E-2</c:v>
                </c:pt>
                <c:pt idx="3749">
                  <c:v>1.14899035479999E-2</c:v>
                </c:pt>
                <c:pt idx="3750">
                  <c:v>1.1500144032E-2</c:v>
                </c:pt>
                <c:pt idx="3751">
                  <c:v>1.1519126328E-2</c:v>
                </c:pt>
                <c:pt idx="3752">
                  <c:v>1.15289671039999E-2</c:v>
                </c:pt>
                <c:pt idx="3753">
                  <c:v>1.1523740419999999E-2</c:v>
                </c:pt>
                <c:pt idx="3754">
                  <c:v>1.15385520359999E-2</c:v>
                </c:pt>
                <c:pt idx="3755">
                  <c:v>1.1553079144E-2</c:v>
                </c:pt>
                <c:pt idx="3756">
                  <c:v>1.1564724024E-2</c:v>
                </c:pt>
                <c:pt idx="3757">
                  <c:v>1.1581495156E-2</c:v>
                </c:pt>
                <c:pt idx="3758">
                  <c:v>1.1599937344E-2</c:v>
                </c:pt>
                <c:pt idx="3759">
                  <c:v>1.1610984511999999E-2</c:v>
                </c:pt>
                <c:pt idx="3760">
                  <c:v>1.1649898004000001E-2</c:v>
                </c:pt>
                <c:pt idx="3761">
                  <c:v>1.16701804319999E-2</c:v>
                </c:pt>
                <c:pt idx="3762">
                  <c:v>1.1691250892E-2</c:v>
                </c:pt>
                <c:pt idx="3763">
                  <c:v>1.1715931684E-2</c:v>
                </c:pt>
                <c:pt idx="3764">
                  <c:v>1.1735691459999999E-2</c:v>
                </c:pt>
                <c:pt idx="3765">
                  <c:v>1.1770775984E-2</c:v>
                </c:pt>
                <c:pt idx="3766">
                  <c:v>1.17728177439999E-2</c:v>
                </c:pt>
                <c:pt idx="3767">
                  <c:v>1.178385256E-2</c:v>
                </c:pt>
                <c:pt idx="3768">
                  <c:v>1.1804209031999999E-2</c:v>
                </c:pt>
                <c:pt idx="3769">
                  <c:v>1.1804998779999999E-2</c:v>
                </c:pt>
                <c:pt idx="3770">
                  <c:v>1.18092456039999E-2</c:v>
                </c:pt>
                <c:pt idx="3771">
                  <c:v>1.18151962559999E-2</c:v>
                </c:pt>
                <c:pt idx="3772">
                  <c:v>1.181428392E-2</c:v>
                </c:pt>
                <c:pt idx="3773">
                  <c:v>1.18347189359999E-2</c:v>
                </c:pt>
                <c:pt idx="3774">
                  <c:v>1.1863389848E-2</c:v>
                </c:pt>
                <c:pt idx="3775">
                  <c:v>1.1891481136E-2</c:v>
                </c:pt>
                <c:pt idx="3776">
                  <c:v>1.1881687679999999E-2</c:v>
                </c:pt>
                <c:pt idx="3777">
                  <c:v>1.18977742479999E-2</c:v>
                </c:pt>
                <c:pt idx="3778">
                  <c:v>1.1916576167999999E-2</c:v>
                </c:pt>
                <c:pt idx="3779">
                  <c:v>1.1943566371999999E-2</c:v>
                </c:pt>
                <c:pt idx="3780">
                  <c:v>1.1964948384E-2</c:v>
                </c:pt>
                <c:pt idx="3781">
                  <c:v>1.2007084728E-2</c:v>
                </c:pt>
                <c:pt idx="3782">
                  <c:v>1.2044401484E-2</c:v>
                </c:pt>
                <c:pt idx="3783">
                  <c:v>1.2062407724E-2</c:v>
                </c:pt>
                <c:pt idx="3784">
                  <c:v>1.2077495212E-2</c:v>
                </c:pt>
                <c:pt idx="3785">
                  <c:v>1.2105682336E-2</c:v>
                </c:pt>
                <c:pt idx="3786">
                  <c:v>1.213021658E-2</c:v>
                </c:pt>
                <c:pt idx="3787">
                  <c:v>1.2142343167999999E-2</c:v>
                </c:pt>
                <c:pt idx="3788">
                  <c:v>1.21389801159999E-2</c:v>
                </c:pt>
                <c:pt idx="3789">
                  <c:v>1.21727042719999E-2</c:v>
                </c:pt>
                <c:pt idx="3790">
                  <c:v>1.2158610964E-2</c:v>
                </c:pt>
                <c:pt idx="3791">
                  <c:v>1.2159550908E-2</c:v>
                </c:pt>
                <c:pt idx="3792">
                  <c:v>1.220034712E-2</c:v>
                </c:pt>
                <c:pt idx="3793">
                  <c:v>1.22391361639999E-2</c:v>
                </c:pt>
                <c:pt idx="3794">
                  <c:v>1.2256743824000001E-2</c:v>
                </c:pt>
                <c:pt idx="3795">
                  <c:v>1.2279388327999999E-2</c:v>
                </c:pt>
                <c:pt idx="3796">
                  <c:v>1.2264948376E-2</c:v>
                </c:pt>
                <c:pt idx="3797">
                  <c:v>1.2250075900000001E-2</c:v>
                </c:pt>
                <c:pt idx="3798">
                  <c:v>1.2230336907999999E-2</c:v>
                </c:pt>
                <c:pt idx="3799">
                  <c:v>1.2218669963999999E-2</c:v>
                </c:pt>
                <c:pt idx="3800">
                  <c:v>1.220528028E-2</c:v>
                </c:pt>
                <c:pt idx="3801">
                  <c:v>1.2185876476E-2</c:v>
                </c:pt>
                <c:pt idx="3802">
                  <c:v>1.2134783135999999E-2</c:v>
                </c:pt>
                <c:pt idx="3803">
                  <c:v>1.2100723383999999E-2</c:v>
                </c:pt>
                <c:pt idx="3804">
                  <c:v>1.20642274479999E-2</c:v>
                </c:pt>
                <c:pt idx="3805">
                  <c:v>1.2026774360000001E-2</c:v>
                </c:pt>
                <c:pt idx="3806">
                  <c:v>1.1987454424E-2</c:v>
                </c:pt>
                <c:pt idx="3807">
                  <c:v>1.1975196992E-2</c:v>
                </c:pt>
                <c:pt idx="3808">
                  <c:v>1.1969030148E-2</c:v>
                </c:pt>
                <c:pt idx="3809">
                  <c:v>1.1963420972E-2</c:v>
                </c:pt>
                <c:pt idx="3810">
                  <c:v>1.1931613524E-2</c:v>
                </c:pt>
                <c:pt idx="3811">
                  <c:v>1.1888180843999899E-2</c:v>
                </c:pt>
                <c:pt idx="3812">
                  <c:v>1.18796599759999E-2</c:v>
                </c:pt>
                <c:pt idx="3813">
                  <c:v>1.1876396668E-2</c:v>
                </c:pt>
                <c:pt idx="3814">
                  <c:v>1.1862489544E-2</c:v>
                </c:pt>
                <c:pt idx="3815">
                  <c:v>1.1871989372E-2</c:v>
                </c:pt>
                <c:pt idx="3816">
                  <c:v>1.1885159399999999E-2</c:v>
                </c:pt>
                <c:pt idx="3817">
                  <c:v>1.1899435043999901E-2</c:v>
                </c:pt>
                <c:pt idx="3818">
                  <c:v>1.1908251395999899E-2</c:v>
                </c:pt>
                <c:pt idx="3819">
                  <c:v>1.1914909652E-2</c:v>
                </c:pt>
                <c:pt idx="3820">
                  <c:v>1.1946475147999999E-2</c:v>
                </c:pt>
                <c:pt idx="3821">
                  <c:v>1.1979206068000001E-2</c:v>
                </c:pt>
                <c:pt idx="3822">
                  <c:v>1.20086397359999E-2</c:v>
                </c:pt>
                <c:pt idx="3823">
                  <c:v>1.2047327579999999E-2</c:v>
                </c:pt>
                <c:pt idx="3824">
                  <c:v>1.2097237028E-2</c:v>
                </c:pt>
                <c:pt idx="3825">
                  <c:v>1.2131363776E-2</c:v>
                </c:pt>
                <c:pt idx="3826">
                  <c:v>1.2164475556E-2</c:v>
                </c:pt>
                <c:pt idx="3827">
                  <c:v>1.21827131079999E-2</c:v>
                </c:pt>
                <c:pt idx="3828">
                  <c:v>1.2197078615999999E-2</c:v>
                </c:pt>
                <c:pt idx="3829">
                  <c:v>1.224279006E-2</c:v>
                </c:pt>
                <c:pt idx="3830">
                  <c:v>1.22847884E-2</c:v>
                </c:pt>
                <c:pt idx="3831">
                  <c:v>1.2353510036E-2</c:v>
                </c:pt>
                <c:pt idx="3832">
                  <c:v>1.2397696712E-2</c:v>
                </c:pt>
                <c:pt idx="3833">
                  <c:v>1.24583161E-2</c:v>
                </c:pt>
                <c:pt idx="3834">
                  <c:v>1.2500754879999999E-2</c:v>
                </c:pt>
                <c:pt idx="3835">
                  <c:v>1.2524663647999999E-2</c:v>
                </c:pt>
                <c:pt idx="3836">
                  <c:v>1.2596178328E-2</c:v>
                </c:pt>
                <c:pt idx="3837">
                  <c:v>1.2652938896000001E-2</c:v>
                </c:pt>
                <c:pt idx="3838">
                  <c:v>1.2704739624000001E-2</c:v>
                </c:pt>
                <c:pt idx="3839">
                  <c:v>1.2763691412000001E-2</c:v>
                </c:pt>
                <c:pt idx="3840">
                  <c:v>1.2792486195999901E-2</c:v>
                </c:pt>
                <c:pt idx="3841">
                  <c:v>1.2827682696000001E-2</c:v>
                </c:pt>
                <c:pt idx="3842">
                  <c:v>1.2887536543999999E-2</c:v>
                </c:pt>
                <c:pt idx="3843">
                  <c:v>1.2920535008E-2</c:v>
                </c:pt>
                <c:pt idx="3844">
                  <c:v>1.29689906799999E-2</c:v>
                </c:pt>
                <c:pt idx="3845">
                  <c:v>1.30379593399999E-2</c:v>
                </c:pt>
                <c:pt idx="3846">
                  <c:v>1.3104118416E-2</c:v>
                </c:pt>
                <c:pt idx="3847">
                  <c:v>1.3143289728E-2</c:v>
                </c:pt>
                <c:pt idx="3848">
                  <c:v>1.3195179507999999E-2</c:v>
                </c:pt>
                <c:pt idx="3849">
                  <c:v>1.3193602948E-2</c:v>
                </c:pt>
                <c:pt idx="3850">
                  <c:v>1.3191724584E-2</c:v>
                </c:pt>
                <c:pt idx="3851">
                  <c:v>1.3182440595999999E-2</c:v>
                </c:pt>
                <c:pt idx="3852">
                  <c:v>1.3172533255999999E-2</c:v>
                </c:pt>
                <c:pt idx="3853">
                  <c:v>1.3165842856000001E-2</c:v>
                </c:pt>
                <c:pt idx="3854">
                  <c:v>1.3181195204000001E-2</c:v>
                </c:pt>
                <c:pt idx="3855">
                  <c:v>1.3177445996000001E-2</c:v>
                </c:pt>
                <c:pt idx="3856">
                  <c:v>1.31754084E-2</c:v>
                </c:pt>
                <c:pt idx="3857">
                  <c:v>1.3181307983999999E-2</c:v>
                </c:pt>
                <c:pt idx="3858">
                  <c:v>1.3182227463999999E-2</c:v>
                </c:pt>
                <c:pt idx="3859">
                  <c:v>1.3181270784E-2</c:v>
                </c:pt>
                <c:pt idx="3860">
                  <c:v>1.32018600559999E-2</c:v>
                </c:pt>
                <c:pt idx="3861">
                  <c:v>1.3217820119999999E-2</c:v>
                </c:pt>
                <c:pt idx="3862">
                  <c:v>1.3212749216E-2</c:v>
                </c:pt>
                <c:pt idx="3863">
                  <c:v>1.3221702468E-2</c:v>
                </c:pt>
                <c:pt idx="3864">
                  <c:v>1.3249231760000001E-2</c:v>
                </c:pt>
                <c:pt idx="3865">
                  <c:v>1.3261356824E-2</c:v>
                </c:pt>
                <c:pt idx="3866">
                  <c:v>1.3270169443999899E-2</c:v>
                </c:pt>
                <c:pt idx="3867">
                  <c:v>1.3274104159999999E-2</c:v>
                </c:pt>
                <c:pt idx="3868">
                  <c:v>1.3274146347999999E-2</c:v>
                </c:pt>
                <c:pt idx="3869">
                  <c:v>1.3281290812E-2</c:v>
                </c:pt>
                <c:pt idx="3870">
                  <c:v>1.32761113439999E-2</c:v>
                </c:pt>
                <c:pt idx="3871">
                  <c:v>1.3286709900000001E-2</c:v>
                </c:pt>
                <c:pt idx="3872">
                  <c:v>1.3292864032E-2</c:v>
                </c:pt>
                <c:pt idx="3873">
                  <c:v>1.3327978116E-2</c:v>
                </c:pt>
                <c:pt idx="3874">
                  <c:v>1.3335293236000001E-2</c:v>
                </c:pt>
                <c:pt idx="3875">
                  <c:v>1.3350713728000001E-2</c:v>
                </c:pt>
                <c:pt idx="3876">
                  <c:v>1.3358269552E-2</c:v>
                </c:pt>
                <c:pt idx="3877">
                  <c:v>1.3364541244E-2</c:v>
                </c:pt>
                <c:pt idx="3878">
                  <c:v>1.3366860308E-2</c:v>
                </c:pt>
                <c:pt idx="3879">
                  <c:v>1.3359450651999999E-2</c:v>
                </c:pt>
                <c:pt idx="3880">
                  <c:v>1.3352776667999999E-2</c:v>
                </c:pt>
                <c:pt idx="3881">
                  <c:v>1.335661244E-2</c:v>
                </c:pt>
                <c:pt idx="3882">
                  <c:v>1.3352159820000001E-2</c:v>
                </c:pt>
                <c:pt idx="3883">
                  <c:v>1.3351345124E-2</c:v>
                </c:pt>
                <c:pt idx="3884">
                  <c:v>1.3359122068000001E-2</c:v>
                </c:pt>
                <c:pt idx="3885">
                  <c:v>1.332732394E-2</c:v>
                </c:pt>
                <c:pt idx="3886">
                  <c:v>1.33023870599999E-2</c:v>
                </c:pt>
                <c:pt idx="3887">
                  <c:v>1.3293657812000001E-2</c:v>
                </c:pt>
                <c:pt idx="3888">
                  <c:v>1.32813596159999E-2</c:v>
                </c:pt>
                <c:pt idx="3889">
                  <c:v>1.3266842839999999E-2</c:v>
                </c:pt>
                <c:pt idx="3890">
                  <c:v>1.3257540096E-2</c:v>
                </c:pt>
                <c:pt idx="3891">
                  <c:v>1.3263431884000001E-2</c:v>
                </c:pt>
                <c:pt idx="3892">
                  <c:v>1.326078568E-2</c:v>
                </c:pt>
                <c:pt idx="3893">
                  <c:v>1.327339768E-2</c:v>
                </c:pt>
                <c:pt idx="3894">
                  <c:v>1.3269589512E-2</c:v>
                </c:pt>
                <c:pt idx="3895">
                  <c:v>1.3263264604E-2</c:v>
                </c:pt>
                <c:pt idx="3896">
                  <c:v>1.3263032304E-2</c:v>
                </c:pt>
                <c:pt idx="3897">
                  <c:v>1.32608544199999E-2</c:v>
                </c:pt>
                <c:pt idx="3898">
                  <c:v>1.32573944799999E-2</c:v>
                </c:pt>
                <c:pt idx="3899">
                  <c:v>1.325564508E-2</c:v>
                </c:pt>
                <c:pt idx="3900">
                  <c:v>1.32533867E-2</c:v>
                </c:pt>
                <c:pt idx="3901">
                  <c:v>1.3253587988E-2</c:v>
                </c:pt>
                <c:pt idx="3902">
                  <c:v>1.32493368759999E-2</c:v>
                </c:pt>
                <c:pt idx="3903">
                  <c:v>1.32504308159999E-2</c:v>
                </c:pt>
                <c:pt idx="3904">
                  <c:v>1.3250847511999999E-2</c:v>
                </c:pt>
                <c:pt idx="3905">
                  <c:v>1.3254608312E-2</c:v>
                </c:pt>
                <c:pt idx="3906">
                  <c:v>1.3248165624E-2</c:v>
                </c:pt>
                <c:pt idx="3907">
                  <c:v>1.3230163087999999E-2</c:v>
                </c:pt>
                <c:pt idx="3908">
                  <c:v>1.3225192259999999E-2</c:v>
                </c:pt>
                <c:pt idx="3909">
                  <c:v>1.32211992159999E-2</c:v>
                </c:pt>
                <c:pt idx="3910">
                  <c:v>1.3218143716000001E-2</c:v>
                </c:pt>
                <c:pt idx="3911">
                  <c:v>1.32142316839999E-2</c:v>
                </c:pt>
                <c:pt idx="3912">
                  <c:v>1.3218953036E-2</c:v>
                </c:pt>
                <c:pt idx="3913">
                  <c:v>1.32084967719999E-2</c:v>
                </c:pt>
                <c:pt idx="3914">
                  <c:v>1.3204491424000001E-2</c:v>
                </c:pt>
                <c:pt idx="3915">
                  <c:v>1.32066036E-2</c:v>
                </c:pt>
                <c:pt idx="3916">
                  <c:v>1.3217425192000001E-2</c:v>
                </c:pt>
                <c:pt idx="3917">
                  <c:v>1.3220410607999999E-2</c:v>
                </c:pt>
                <c:pt idx="3918">
                  <c:v>1.3214916528E-2</c:v>
                </c:pt>
                <c:pt idx="3919">
                  <c:v>1.3215426196E-2</c:v>
                </c:pt>
                <c:pt idx="3920">
                  <c:v>1.3192789868E-2</c:v>
                </c:pt>
                <c:pt idx="3921">
                  <c:v>1.31877898039999E-2</c:v>
                </c:pt>
                <c:pt idx="3922">
                  <c:v>1.3177735756E-2</c:v>
                </c:pt>
                <c:pt idx="3923">
                  <c:v>1.3169957475999999E-2</c:v>
                </c:pt>
                <c:pt idx="3924">
                  <c:v>1.31711575399999E-2</c:v>
                </c:pt>
                <c:pt idx="3925">
                  <c:v>1.3166251963999899E-2</c:v>
                </c:pt>
                <c:pt idx="3926">
                  <c:v>1.3173098007999999E-2</c:v>
                </c:pt>
                <c:pt idx="3927">
                  <c:v>1.3164822519999999E-2</c:v>
                </c:pt>
                <c:pt idx="3928">
                  <c:v>1.3158462871999999E-2</c:v>
                </c:pt>
                <c:pt idx="3929">
                  <c:v>1.3151899032E-2</c:v>
                </c:pt>
                <c:pt idx="3930">
                  <c:v>1.3185245664000001E-2</c:v>
                </c:pt>
                <c:pt idx="3931">
                  <c:v>1.3192314183999999E-2</c:v>
                </c:pt>
                <c:pt idx="3932">
                  <c:v>1.3197802456E-2</c:v>
                </c:pt>
                <c:pt idx="3933">
                  <c:v>1.3199444875999999E-2</c:v>
                </c:pt>
                <c:pt idx="3934">
                  <c:v>1.3206414515999999E-2</c:v>
                </c:pt>
                <c:pt idx="3935">
                  <c:v>1.3213310779999999E-2</c:v>
                </c:pt>
                <c:pt idx="3936">
                  <c:v>1.3221476344E-2</c:v>
                </c:pt>
                <c:pt idx="3937">
                  <c:v>1.3224185903999999E-2</c:v>
                </c:pt>
                <c:pt idx="3938">
                  <c:v>1.32033856279999E-2</c:v>
                </c:pt>
                <c:pt idx="3939">
                  <c:v>1.3201224819999999E-2</c:v>
                </c:pt>
                <c:pt idx="3940">
                  <c:v>1.3185451779999999E-2</c:v>
                </c:pt>
                <c:pt idx="3941">
                  <c:v>1.3178276355999999E-2</c:v>
                </c:pt>
                <c:pt idx="3942">
                  <c:v>1.3174517572E-2</c:v>
                </c:pt>
                <c:pt idx="3943">
                  <c:v>1.31781488599999E-2</c:v>
                </c:pt>
                <c:pt idx="3944">
                  <c:v>1.3179656404E-2</c:v>
                </c:pt>
                <c:pt idx="3945">
                  <c:v>1.31748703639999E-2</c:v>
                </c:pt>
                <c:pt idx="3946">
                  <c:v>1.3167684252E-2</c:v>
                </c:pt>
                <c:pt idx="3947">
                  <c:v>1.3175957972E-2</c:v>
                </c:pt>
                <c:pt idx="3948">
                  <c:v>1.316769254E-2</c:v>
                </c:pt>
                <c:pt idx="3949">
                  <c:v>1.3157085288E-2</c:v>
                </c:pt>
                <c:pt idx="3950">
                  <c:v>1.3136983919999999E-2</c:v>
                </c:pt>
                <c:pt idx="3951">
                  <c:v>1.3115464884E-2</c:v>
                </c:pt>
                <c:pt idx="3952">
                  <c:v>1.3090526232000001E-2</c:v>
                </c:pt>
                <c:pt idx="3953">
                  <c:v>1.3080562695999999E-2</c:v>
                </c:pt>
                <c:pt idx="3954">
                  <c:v>1.308637828E-2</c:v>
                </c:pt>
                <c:pt idx="3955">
                  <c:v>1.3075371972E-2</c:v>
                </c:pt>
                <c:pt idx="3956">
                  <c:v>1.3061637839999999E-2</c:v>
                </c:pt>
                <c:pt idx="3957">
                  <c:v>1.30220790759999E-2</c:v>
                </c:pt>
                <c:pt idx="3958">
                  <c:v>1.2991116279999999E-2</c:v>
                </c:pt>
                <c:pt idx="3959">
                  <c:v>1.2977251364000001E-2</c:v>
                </c:pt>
                <c:pt idx="3960">
                  <c:v>1.2950289088E-2</c:v>
                </c:pt>
                <c:pt idx="3961">
                  <c:v>1.29384078799999E-2</c:v>
                </c:pt>
                <c:pt idx="3962">
                  <c:v>1.29245811599999E-2</c:v>
                </c:pt>
                <c:pt idx="3963">
                  <c:v>1.2901126860000001E-2</c:v>
                </c:pt>
                <c:pt idx="3964">
                  <c:v>1.2894163976E-2</c:v>
                </c:pt>
                <c:pt idx="3965">
                  <c:v>1.2875022175999999E-2</c:v>
                </c:pt>
                <c:pt idx="3966">
                  <c:v>1.2848083436E-2</c:v>
                </c:pt>
                <c:pt idx="3967">
                  <c:v>1.2823205779999999E-2</c:v>
                </c:pt>
                <c:pt idx="3968">
                  <c:v>1.2796201432E-2</c:v>
                </c:pt>
                <c:pt idx="3969">
                  <c:v>1.2770274131999999E-2</c:v>
                </c:pt>
                <c:pt idx="3970">
                  <c:v>1.2745888052E-2</c:v>
                </c:pt>
                <c:pt idx="3971">
                  <c:v>1.27212055679999E-2</c:v>
                </c:pt>
                <c:pt idx="3972">
                  <c:v>1.2702742868E-2</c:v>
                </c:pt>
                <c:pt idx="3973">
                  <c:v>1.2678424988E-2</c:v>
                </c:pt>
                <c:pt idx="3974">
                  <c:v>1.2646465604E-2</c:v>
                </c:pt>
                <c:pt idx="3975">
                  <c:v>1.2629209335999999E-2</c:v>
                </c:pt>
                <c:pt idx="3976">
                  <c:v>1.2605858419999999E-2</c:v>
                </c:pt>
                <c:pt idx="3977">
                  <c:v>1.2590001619999999E-2</c:v>
                </c:pt>
                <c:pt idx="3978">
                  <c:v>1.2573302412E-2</c:v>
                </c:pt>
                <c:pt idx="3979">
                  <c:v>1.2577109336E-2</c:v>
                </c:pt>
                <c:pt idx="3980">
                  <c:v>1.2569146616000001E-2</c:v>
                </c:pt>
                <c:pt idx="3981">
                  <c:v>1.2553824504E-2</c:v>
                </c:pt>
                <c:pt idx="3982">
                  <c:v>1.2536332196E-2</c:v>
                </c:pt>
                <c:pt idx="3983">
                  <c:v>1.2529453003999999E-2</c:v>
                </c:pt>
                <c:pt idx="3984">
                  <c:v>1.24974993679999E-2</c:v>
                </c:pt>
                <c:pt idx="3985">
                  <c:v>1.2447431364E-2</c:v>
                </c:pt>
                <c:pt idx="3986">
                  <c:v>1.24206707679999E-2</c:v>
                </c:pt>
                <c:pt idx="3987">
                  <c:v>1.23870002E-2</c:v>
                </c:pt>
                <c:pt idx="3988">
                  <c:v>1.235809532E-2</c:v>
                </c:pt>
                <c:pt idx="3989">
                  <c:v>1.23170119599999E-2</c:v>
                </c:pt>
                <c:pt idx="3990">
                  <c:v>1.2275894504E-2</c:v>
                </c:pt>
                <c:pt idx="3991">
                  <c:v>1.2243742655999999E-2</c:v>
                </c:pt>
                <c:pt idx="3992">
                  <c:v>1.2217227688E-2</c:v>
                </c:pt>
                <c:pt idx="3993">
                  <c:v>1.2192327060000001E-2</c:v>
                </c:pt>
                <c:pt idx="3994">
                  <c:v>1.2169101732E-2</c:v>
                </c:pt>
                <c:pt idx="3995">
                  <c:v>1.2144602944000001E-2</c:v>
                </c:pt>
                <c:pt idx="3996">
                  <c:v>1.2122701592000001E-2</c:v>
                </c:pt>
                <c:pt idx="3997">
                  <c:v>1.2111078367999999E-2</c:v>
                </c:pt>
                <c:pt idx="3998">
                  <c:v>1.2113575947999999E-2</c:v>
                </c:pt>
                <c:pt idx="3999">
                  <c:v>1.2096160212000001E-2</c:v>
                </c:pt>
                <c:pt idx="4000">
                  <c:v>1.2088054379999999E-2</c:v>
                </c:pt>
                <c:pt idx="4001">
                  <c:v>1.2072202988E-2</c:v>
                </c:pt>
                <c:pt idx="4002">
                  <c:v>1.2067607879999999E-2</c:v>
                </c:pt>
                <c:pt idx="4003">
                  <c:v>1.2065646056000001E-2</c:v>
                </c:pt>
                <c:pt idx="4004">
                  <c:v>1.2054196507999999E-2</c:v>
                </c:pt>
                <c:pt idx="4005">
                  <c:v>1.203910662E-2</c:v>
                </c:pt>
                <c:pt idx="4006">
                  <c:v>1.20548634479999E-2</c:v>
                </c:pt>
                <c:pt idx="4007">
                  <c:v>1.2058724404E-2</c:v>
                </c:pt>
                <c:pt idx="4008">
                  <c:v>1.2047632627999899E-2</c:v>
                </c:pt>
                <c:pt idx="4009">
                  <c:v>1.20341777879999E-2</c:v>
                </c:pt>
                <c:pt idx="4010">
                  <c:v>1.2005330119999999E-2</c:v>
                </c:pt>
                <c:pt idx="4011">
                  <c:v>1.1987979855999999E-2</c:v>
                </c:pt>
                <c:pt idx="4012">
                  <c:v>1.1987384616E-2</c:v>
                </c:pt>
                <c:pt idx="4013">
                  <c:v>1.20060384359999E-2</c:v>
                </c:pt>
                <c:pt idx="4014">
                  <c:v>1.2015179188E-2</c:v>
                </c:pt>
                <c:pt idx="4015">
                  <c:v>1.2009035852E-2</c:v>
                </c:pt>
                <c:pt idx="4016">
                  <c:v>1.2015911791999999E-2</c:v>
                </c:pt>
                <c:pt idx="4017">
                  <c:v>1.20083491719999E-2</c:v>
                </c:pt>
                <c:pt idx="4018">
                  <c:v>1.1998832855999999E-2</c:v>
                </c:pt>
                <c:pt idx="4019">
                  <c:v>1.2012738899999899E-2</c:v>
                </c:pt>
                <c:pt idx="4020">
                  <c:v>1.202163556E-2</c:v>
                </c:pt>
                <c:pt idx="4021">
                  <c:v>1.203544696E-2</c:v>
                </c:pt>
                <c:pt idx="4022">
                  <c:v>1.20593853759999E-2</c:v>
                </c:pt>
                <c:pt idx="4023">
                  <c:v>1.20426576719999E-2</c:v>
                </c:pt>
                <c:pt idx="4024">
                  <c:v>1.2019866568E-2</c:v>
                </c:pt>
                <c:pt idx="4025">
                  <c:v>1.1986296668E-2</c:v>
                </c:pt>
                <c:pt idx="4026">
                  <c:v>1.1966814227999899E-2</c:v>
                </c:pt>
                <c:pt idx="4027">
                  <c:v>1.194066448E-2</c:v>
                </c:pt>
                <c:pt idx="4028">
                  <c:v>1.1918475872E-2</c:v>
                </c:pt>
                <c:pt idx="4029">
                  <c:v>1.1908503811999999E-2</c:v>
                </c:pt>
                <c:pt idx="4030">
                  <c:v>1.1891741268E-2</c:v>
                </c:pt>
                <c:pt idx="4031">
                  <c:v>1.1858328523999999E-2</c:v>
                </c:pt>
                <c:pt idx="4032">
                  <c:v>1.1836347364000001E-2</c:v>
                </c:pt>
                <c:pt idx="4033">
                  <c:v>1.1823186415999999E-2</c:v>
                </c:pt>
                <c:pt idx="4034">
                  <c:v>1.1798322603999999E-2</c:v>
                </c:pt>
                <c:pt idx="4035">
                  <c:v>1.175998028E-2</c:v>
                </c:pt>
                <c:pt idx="4036">
                  <c:v>1.1719179916E-2</c:v>
                </c:pt>
                <c:pt idx="4037">
                  <c:v>1.1699770216000001E-2</c:v>
                </c:pt>
                <c:pt idx="4038">
                  <c:v>1.1666784035999999E-2</c:v>
                </c:pt>
                <c:pt idx="4039">
                  <c:v>1.1601442623999999E-2</c:v>
                </c:pt>
                <c:pt idx="4040">
                  <c:v>1.1565601092E-2</c:v>
                </c:pt>
                <c:pt idx="4041">
                  <c:v>1.1509781615999999E-2</c:v>
                </c:pt>
                <c:pt idx="4042">
                  <c:v>1.1446970355999999E-2</c:v>
                </c:pt>
                <c:pt idx="4043">
                  <c:v>1.1411740444E-2</c:v>
                </c:pt>
                <c:pt idx="4044">
                  <c:v>1.13806283119999E-2</c:v>
                </c:pt>
                <c:pt idx="4045">
                  <c:v>1.1340862587999901E-2</c:v>
                </c:pt>
                <c:pt idx="4046">
                  <c:v>1.1323975984E-2</c:v>
                </c:pt>
                <c:pt idx="4047">
                  <c:v>1.1287524048E-2</c:v>
                </c:pt>
                <c:pt idx="4048">
                  <c:v>1.12619858399999E-2</c:v>
                </c:pt>
                <c:pt idx="4049">
                  <c:v>1.123377626E-2</c:v>
                </c:pt>
                <c:pt idx="4050">
                  <c:v>1.1205345263999999E-2</c:v>
                </c:pt>
                <c:pt idx="4051">
                  <c:v>1.1167794048E-2</c:v>
                </c:pt>
                <c:pt idx="4052">
                  <c:v>1.1148986444E-2</c:v>
                </c:pt>
                <c:pt idx="4053">
                  <c:v>1.1134703672E-2</c:v>
                </c:pt>
                <c:pt idx="4054">
                  <c:v>1.111736242E-2</c:v>
                </c:pt>
                <c:pt idx="4055">
                  <c:v>1.10928194E-2</c:v>
                </c:pt>
                <c:pt idx="4056">
                  <c:v>1.1081294552E-2</c:v>
                </c:pt>
                <c:pt idx="4057">
                  <c:v>1.1077023515999899E-2</c:v>
                </c:pt>
                <c:pt idx="4058">
                  <c:v>1.10620117159999E-2</c:v>
                </c:pt>
                <c:pt idx="4059">
                  <c:v>1.1050614436E-2</c:v>
                </c:pt>
                <c:pt idx="4060">
                  <c:v>1.1035902756000001E-2</c:v>
                </c:pt>
                <c:pt idx="4061">
                  <c:v>1.1030247587999999E-2</c:v>
                </c:pt>
                <c:pt idx="4062">
                  <c:v>1.1016460904E-2</c:v>
                </c:pt>
                <c:pt idx="4063">
                  <c:v>1.099370044E-2</c:v>
                </c:pt>
                <c:pt idx="4064">
                  <c:v>1.09841351359999E-2</c:v>
                </c:pt>
                <c:pt idx="4065">
                  <c:v>1.0975823908000001E-2</c:v>
                </c:pt>
                <c:pt idx="4066">
                  <c:v>1.0967727968E-2</c:v>
                </c:pt>
                <c:pt idx="4067">
                  <c:v>1.0947520295999999E-2</c:v>
                </c:pt>
                <c:pt idx="4068">
                  <c:v>1.0935369192E-2</c:v>
                </c:pt>
                <c:pt idx="4069">
                  <c:v>1.09231808E-2</c:v>
                </c:pt>
                <c:pt idx="4070">
                  <c:v>1.0879192427999999E-2</c:v>
                </c:pt>
                <c:pt idx="4071">
                  <c:v>1.0835463740000001E-2</c:v>
                </c:pt>
                <c:pt idx="4072">
                  <c:v>1.0808324628E-2</c:v>
                </c:pt>
                <c:pt idx="4073">
                  <c:v>1.0770122983999901E-2</c:v>
                </c:pt>
                <c:pt idx="4074">
                  <c:v>1.07204887239999E-2</c:v>
                </c:pt>
                <c:pt idx="4075">
                  <c:v>1.0692088064E-2</c:v>
                </c:pt>
                <c:pt idx="4076">
                  <c:v>1.0654240747999999E-2</c:v>
                </c:pt>
                <c:pt idx="4077">
                  <c:v>1.06239007719999E-2</c:v>
                </c:pt>
                <c:pt idx="4078">
                  <c:v>1.0593431416E-2</c:v>
                </c:pt>
                <c:pt idx="4079">
                  <c:v>1.0540624028E-2</c:v>
                </c:pt>
                <c:pt idx="4080">
                  <c:v>1.0495886935999999E-2</c:v>
                </c:pt>
                <c:pt idx="4081">
                  <c:v>1.0424366787999999E-2</c:v>
                </c:pt>
                <c:pt idx="4082">
                  <c:v>1.0371900983999999E-2</c:v>
                </c:pt>
                <c:pt idx="4083">
                  <c:v>1.0300274987999999E-2</c:v>
                </c:pt>
                <c:pt idx="4084">
                  <c:v>1.0254555804000001E-2</c:v>
                </c:pt>
                <c:pt idx="4085">
                  <c:v>1.019043566E-2</c:v>
                </c:pt>
                <c:pt idx="4086">
                  <c:v>1.0129208667999901E-2</c:v>
                </c:pt>
                <c:pt idx="4087">
                  <c:v>1.0091203072E-2</c:v>
                </c:pt>
                <c:pt idx="4088">
                  <c:v>1.0074912528E-2</c:v>
                </c:pt>
                <c:pt idx="4089">
                  <c:v>1.00518914159999E-2</c:v>
                </c:pt>
                <c:pt idx="4090">
                  <c:v>1.004897926E-2</c:v>
                </c:pt>
                <c:pt idx="4091">
                  <c:v>1.00601934159999E-2</c:v>
                </c:pt>
                <c:pt idx="4092">
                  <c:v>1.0048343620000001E-2</c:v>
                </c:pt>
                <c:pt idx="4093">
                  <c:v>1.0044676212E-2</c:v>
                </c:pt>
                <c:pt idx="4094">
                  <c:v>1.0040811948E-2</c:v>
                </c:pt>
                <c:pt idx="4095">
                  <c:v>1.0015175015999999E-2</c:v>
                </c:pt>
                <c:pt idx="4096">
                  <c:v>1.0058154135999999E-2</c:v>
                </c:pt>
                <c:pt idx="4097">
                  <c:v>1.01281856319999E-2</c:v>
                </c:pt>
                <c:pt idx="4098">
                  <c:v>1.0149657764E-2</c:v>
                </c:pt>
                <c:pt idx="4099">
                  <c:v>1.0170908516000001E-2</c:v>
                </c:pt>
                <c:pt idx="4100">
                  <c:v>1.0200814548E-2</c:v>
                </c:pt>
                <c:pt idx="4101">
                  <c:v>1.0298941164E-2</c:v>
                </c:pt>
                <c:pt idx="4102">
                  <c:v>1.0344905744E-2</c:v>
                </c:pt>
                <c:pt idx="4103">
                  <c:v>1.04241767519999E-2</c:v>
                </c:pt>
                <c:pt idx="4104">
                  <c:v>1.04812116E-2</c:v>
                </c:pt>
                <c:pt idx="4105">
                  <c:v>1.05443227239999E-2</c:v>
                </c:pt>
                <c:pt idx="4106">
                  <c:v>1.058658178E-2</c:v>
                </c:pt>
                <c:pt idx="4107">
                  <c:v>1.0638821391999899E-2</c:v>
                </c:pt>
                <c:pt idx="4108">
                  <c:v>1.0684124032E-2</c:v>
                </c:pt>
                <c:pt idx="4109">
                  <c:v>1.0717354615999999E-2</c:v>
                </c:pt>
                <c:pt idx="4110">
                  <c:v>1.0721169756E-2</c:v>
                </c:pt>
                <c:pt idx="4111">
                  <c:v>1.07590605519999E-2</c:v>
                </c:pt>
                <c:pt idx="4112">
                  <c:v>1.0787095996E-2</c:v>
                </c:pt>
                <c:pt idx="4113">
                  <c:v>1.08057636479999E-2</c:v>
                </c:pt>
                <c:pt idx="4114">
                  <c:v>1.0815547928E-2</c:v>
                </c:pt>
                <c:pt idx="4115">
                  <c:v>1.0830923048000001E-2</c:v>
                </c:pt>
                <c:pt idx="4116">
                  <c:v>1.0865135184000001E-2</c:v>
                </c:pt>
                <c:pt idx="4117">
                  <c:v>1.0893811712E-2</c:v>
                </c:pt>
                <c:pt idx="4118">
                  <c:v>1.09106206159999E-2</c:v>
                </c:pt>
                <c:pt idx="4119">
                  <c:v>1.0925053824000001E-2</c:v>
                </c:pt>
                <c:pt idx="4120">
                  <c:v>1.0976509584E-2</c:v>
                </c:pt>
                <c:pt idx="4121">
                  <c:v>1.104052302E-2</c:v>
                </c:pt>
                <c:pt idx="4122">
                  <c:v>1.1087420335999999E-2</c:v>
                </c:pt>
                <c:pt idx="4123">
                  <c:v>1.109395728E-2</c:v>
                </c:pt>
                <c:pt idx="4124">
                  <c:v>1.1138457332E-2</c:v>
                </c:pt>
                <c:pt idx="4125">
                  <c:v>1.1187617004E-2</c:v>
                </c:pt>
                <c:pt idx="4126">
                  <c:v>1.12096081079999E-2</c:v>
                </c:pt>
                <c:pt idx="4127">
                  <c:v>1.12293153799999E-2</c:v>
                </c:pt>
                <c:pt idx="4128">
                  <c:v>1.1251294952E-2</c:v>
                </c:pt>
                <c:pt idx="4129">
                  <c:v>1.1251258112E-2</c:v>
                </c:pt>
                <c:pt idx="4130">
                  <c:v>1.1278199724E-2</c:v>
                </c:pt>
                <c:pt idx="4131">
                  <c:v>1.131673802E-2</c:v>
                </c:pt>
                <c:pt idx="4132">
                  <c:v>1.1348282708E-2</c:v>
                </c:pt>
                <c:pt idx="4133">
                  <c:v>1.1353805348E-2</c:v>
                </c:pt>
                <c:pt idx="4134">
                  <c:v>1.13566679559999E-2</c:v>
                </c:pt>
                <c:pt idx="4135">
                  <c:v>1.1390608839999899E-2</c:v>
                </c:pt>
                <c:pt idx="4136">
                  <c:v>1.1417380228E-2</c:v>
                </c:pt>
                <c:pt idx="4137">
                  <c:v>1.14285726679999E-2</c:v>
                </c:pt>
                <c:pt idx="4138">
                  <c:v>1.1449860788E-2</c:v>
                </c:pt>
                <c:pt idx="4139">
                  <c:v>1.1454887691999999E-2</c:v>
                </c:pt>
                <c:pt idx="4140">
                  <c:v>1.14691778319999E-2</c:v>
                </c:pt>
                <c:pt idx="4141">
                  <c:v>1.1470855584E-2</c:v>
                </c:pt>
                <c:pt idx="4142">
                  <c:v>1.15088853319999E-2</c:v>
                </c:pt>
                <c:pt idx="4143">
                  <c:v>1.150912768E-2</c:v>
                </c:pt>
                <c:pt idx="4144">
                  <c:v>1.15203165599999E-2</c:v>
                </c:pt>
                <c:pt idx="4145">
                  <c:v>1.1523835580000001E-2</c:v>
                </c:pt>
                <c:pt idx="4146">
                  <c:v>1.154196446E-2</c:v>
                </c:pt>
                <c:pt idx="4147">
                  <c:v>1.1544080987999999E-2</c:v>
                </c:pt>
                <c:pt idx="4148">
                  <c:v>1.1541120124E-2</c:v>
                </c:pt>
                <c:pt idx="4149">
                  <c:v>1.1552323844E-2</c:v>
                </c:pt>
                <c:pt idx="4150">
                  <c:v>1.15574916519999E-2</c:v>
                </c:pt>
                <c:pt idx="4151">
                  <c:v>1.1563035736E-2</c:v>
                </c:pt>
                <c:pt idx="4152">
                  <c:v>1.1578385155999999E-2</c:v>
                </c:pt>
                <c:pt idx="4153">
                  <c:v>1.1594203791999999E-2</c:v>
                </c:pt>
                <c:pt idx="4154">
                  <c:v>1.160212658E-2</c:v>
                </c:pt>
                <c:pt idx="4155">
                  <c:v>1.1605676568E-2</c:v>
                </c:pt>
                <c:pt idx="4156">
                  <c:v>1.1605224496000001E-2</c:v>
                </c:pt>
                <c:pt idx="4157">
                  <c:v>1.1619122588E-2</c:v>
                </c:pt>
                <c:pt idx="4158">
                  <c:v>1.1643531628E-2</c:v>
                </c:pt>
                <c:pt idx="4159">
                  <c:v>1.1651327576000001E-2</c:v>
                </c:pt>
                <c:pt idx="4160">
                  <c:v>1.1650813244E-2</c:v>
                </c:pt>
                <c:pt idx="4161">
                  <c:v>1.1655916792000001E-2</c:v>
                </c:pt>
                <c:pt idx="4162">
                  <c:v>1.1660835824E-2</c:v>
                </c:pt>
                <c:pt idx="4163">
                  <c:v>1.166629036E-2</c:v>
                </c:pt>
                <c:pt idx="4164">
                  <c:v>1.1670062868E-2</c:v>
                </c:pt>
                <c:pt idx="4165">
                  <c:v>1.1672138072E-2</c:v>
                </c:pt>
                <c:pt idx="4166">
                  <c:v>1.1673280556000001E-2</c:v>
                </c:pt>
                <c:pt idx="4167">
                  <c:v>1.169432766E-2</c:v>
                </c:pt>
                <c:pt idx="4168">
                  <c:v>1.1700032728E-2</c:v>
                </c:pt>
                <c:pt idx="4169">
                  <c:v>1.1704850632E-2</c:v>
                </c:pt>
                <c:pt idx="4170">
                  <c:v>1.17107525759999E-2</c:v>
                </c:pt>
                <c:pt idx="4171">
                  <c:v>1.1704115871999999E-2</c:v>
                </c:pt>
                <c:pt idx="4172">
                  <c:v>1.16974007399999E-2</c:v>
                </c:pt>
                <c:pt idx="4173">
                  <c:v>1.1713646804E-2</c:v>
                </c:pt>
                <c:pt idx="4174">
                  <c:v>1.174626502E-2</c:v>
                </c:pt>
                <c:pt idx="4175">
                  <c:v>1.1779476548E-2</c:v>
                </c:pt>
                <c:pt idx="4176">
                  <c:v>1.17868196E-2</c:v>
                </c:pt>
                <c:pt idx="4177">
                  <c:v>1.1804785163999999E-2</c:v>
                </c:pt>
                <c:pt idx="4178">
                  <c:v>1.1807498792E-2</c:v>
                </c:pt>
                <c:pt idx="4179">
                  <c:v>1.18137327519999E-2</c:v>
                </c:pt>
                <c:pt idx="4180">
                  <c:v>1.1776349780000001E-2</c:v>
                </c:pt>
                <c:pt idx="4181">
                  <c:v>1.18040380999999E-2</c:v>
                </c:pt>
                <c:pt idx="4182">
                  <c:v>1.18176616919999E-2</c:v>
                </c:pt>
                <c:pt idx="4183">
                  <c:v>1.1830623588E-2</c:v>
                </c:pt>
                <c:pt idx="4184">
                  <c:v>1.1834042372E-2</c:v>
                </c:pt>
                <c:pt idx="4185">
                  <c:v>1.1825497152E-2</c:v>
                </c:pt>
                <c:pt idx="4186">
                  <c:v>1.1829614267999999E-2</c:v>
                </c:pt>
                <c:pt idx="4187">
                  <c:v>1.18240379879999E-2</c:v>
                </c:pt>
                <c:pt idx="4188">
                  <c:v>1.1816733467999999E-2</c:v>
                </c:pt>
                <c:pt idx="4189">
                  <c:v>1.1807798047999999E-2</c:v>
                </c:pt>
                <c:pt idx="4190">
                  <c:v>1.1795609956E-2</c:v>
                </c:pt>
                <c:pt idx="4191">
                  <c:v>1.18030905E-2</c:v>
                </c:pt>
                <c:pt idx="4192">
                  <c:v>1.1799783495999999E-2</c:v>
                </c:pt>
                <c:pt idx="4193">
                  <c:v>1.1801888088E-2</c:v>
                </c:pt>
                <c:pt idx="4194">
                  <c:v>1.1804655868000001E-2</c:v>
                </c:pt>
                <c:pt idx="4195">
                  <c:v>1.1809845264E-2</c:v>
                </c:pt>
                <c:pt idx="4196">
                  <c:v>1.182097876E-2</c:v>
                </c:pt>
                <c:pt idx="4197">
                  <c:v>1.1809117871999999E-2</c:v>
                </c:pt>
                <c:pt idx="4198">
                  <c:v>1.1814797627999999E-2</c:v>
                </c:pt>
                <c:pt idx="4199">
                  <c:v>1.1826970819999999E-2</c:v>
                </c:pt>
                <c:pt idx="4200">
                  <c:v>1.183685432E-2</c:v>
                </c:pt>
                <c:pt idx="4201">
                  <c:v>1.1843407436E-2</c:v>
                </c:pt>
                <c:pt idx="4202">
                  <c:v>1.1854321332E-2</c:v>
                </c:pt>
                <c:pt idx="4203">
                  <c:v>1.1843943664E-2</c:v>
                </c:pt>
                <c:pt idx="4204">
                  <c:v>1.18283038E-2</c:v>
                </c:pt>
                <c:pt idx="4205">
                  <c:v>1.1809226444000001E-2</c:v>
                </c:pt>
                <c:pt idx="4206">
                  <c:v>1.1813589859999999E-2</c:v>
                </c:pt>
                <c:pt idx="4207">
                  <c:v>1.1833412692E-2</c:v>
                </c:pt>
                <c:pt idx="4208">
                  <c:v>1.1843751184000001E-2</c:v>
                </c:pt>
                <c:pt idx="4209">
                  <c:v>1.18498526279999E-2</c:v>
                </c:pt>
                <c:pt idx="4210">
                  <c:v>1.18595958039999E-2</c:v>
                </c:pt>
                <c:pt idx="4211">
                  <c:v>1.1858730392E-2</c:v>
                </c:pt>
                <c:pt idx="4212">
                  <c:v>1.1849050668000001E-2</c:v>
                </c:pt>
                <c:pt idx="4213">
                  <c:v>1.1858470339999899E-2</c:v>
                </c:pt>
                <c:pt idx="4214">
                  <c:v>1.1863951475999999E-2</c:v>
                </c:pt>
                <c:pt idx="4215">
                  <c:v>1.18642841679999E-2</c:v>
                </c:pt>
                <c:pt idx="4216">
                  <c:v>1.1893594568E-2</c:v>
                </c:pt>
                <c:pt idx="4217">
                  <c:v>1.18998520439999E-2</c:v>
                </c:pt>
                <c:pt idx="4218">
                  <c:v>1.1907348456E-2</c:v>
                </c:pt>
                <c:pt idx="4219">
                  <c:v>1.191279732E-2</c:v>
                </c:pt>
                <c:pt idx="4220">
                  <c:v>1.1926439088E-2</c:v>
                </c:pt>
                <c:pt idx="4221">
                  <c:v>1.1939750648E-2</c:v>
                </c:pt>
                <c:pt idx="4222">
                  <c:v>1.1962584756000001E-2</c:v>
                </c:pt>
                <c:pt idx="4223">
                  <c:v>1.19737188E-2</c:v>
                </c:pt>
                <c:pt idx="4224">
                  <c:v>1.19824279159999E-2</c:v>
                </c:pt>
                <c:pt idx="4225">
                  <c:v>1.1999817356E-2</c:v>
                </c:pt>
                <c:pt idx="4226">
                  <c:v>1.2029354672E-2</c:v>
                </c:pt>
                <c:pt idx="4227">
                  <c:v>1.2049782868E-2</c:v>
                </c:pt>
                <c:pt idx="4228">
                  <c:v>1.20788300479999E-2</c:v>
                </c:pt>
                <c:pt idx="4229">
                  <c:v>1.2116376268000001E-2</c:v>
                </c:pt>
                <c:pt idx="4230">
                  <c:v>1.213850206E-2</c:v>
                </c:pt>
                <c:pt idx="4231">
                  <c:v>1.2173525387999999E-2</c:v>
                </c:pt>
                <c:pt idx="4232">
                  <c:v>1.2200578408E-2</c:v>
                </c:pt>
                <c:pt idx="4233">
                  <c:v>1.2226659724E-2</c:v>
                </c:pt>
                <c:pt idx="4234">
                  <c:v>1.2246111876E-2</c:v>
                </c:pt>
                <c:pt idx="4235">
                  <c:v>1.22648040399999E-2</c:v>
                </c:pt>
                <c:pt idx="4236">
                  <c:v>1.2286334572000001E-2</c:v>
                </c:pt>
                <c:pt idx="4237">
                  <c:v>1.22954615119999E-2</c:v>
                </c:pt>
                <c:pt idx="4238">
                  <c:v>1.2303196799999999E-2</c:v>
                </c:pt>
                <c:pt idx="4239">
                  <c:v>1.2319935244E-2</c:v>
                </c:pt>
                <c:pt idx="4240">
                  <c:v>1.2335880679999999E-2</c:v>
                </c:pt>
                <c:pt idx="4241">
                  <c:v>1.2352874971999999E-2</c:v>
                </c:pt>
                <c:pt idx="4242">
                  <c:v>1.2363162076E-2</c:v>
                </c:pt>
                <c:pt idx="4243">
                  <c:v>1.2383308524E-2</c:v>
                </c:pt>
                <c:pt idx="4244">
                  <c:v>1.2394023588E-2</c:v>
                </c:pt>
                <c:pt idx="4245">
                  <c:v>1.23912236999999E-2</c:v>
                </c:pt>
                <c:pt idx="4246">
                  <c:v>1.2384650860000001E-2</c:v>
                </c:pt>
                <c:pt idx="4247">
                  <c:v>1.2388697727999999E-2</c:v>
                </c:pt>
                <c:pt idx="4248">
                  <c:v>1.2373524104E-2</c:v>
                </c:pt>
                <c:pt idx="4249">
                  <c:v>1.2382860584E-2</c:v>
                </c:pt>
                <c:pt idx="4250">
                  <c:v>1.2393080759999999E-2</c:v>
                </c:pt>
                <c:pt idx="4251">
                  <c:v>1.23984506879999E-2</c:v>
                </c:pt>
                <c:pt idx="4252">
                  <c:v>1.2395859124E-2</c:v>
                </c:pt>
                <c:pt idx="4253">
                  <c:v>1.23794907479999E-2</c:v>
                </c:pt>
                <c:pt idx="4254">
                  <c:v>1.2383751812E-2</c:v>
                </c:pt>
                <c:pt idx="4255">
                  <c:v>1.2386226152E-2</c:v>
                </c:pt>
                <c:pt idx="4256">
                  <c:v>1.2363041396E-2</c:v>
                </c:pt>
                <c:pt idx="4257">
                  <c:v>1.2352180928000001E-2</c:v>
                </c:pt>
                <c:pt idx="4258">
                  <c:v>1.2352566112E-2</c:v>
                </c:pt>
                <c:pt idx="4259">
                  <c:v>1.2356752152E-2</c:v>
                </c:pt>
                <c:pt idx="4260">
                  <c:v>1.2364567884E-2</c:v>
                </c:pt>
                <c:pt idx="4261">
                  <c:v>1.2369079612000001E-2</c:v>
                </c:pt>
                <c:pt idx="4262">
                  <c:v>1.2359561579999999E-2</c:v>
                </c:pt>
                <c:pt idx="4263">
                  <c:v>1.2336481244000001E-2</c:v>
                </c:pt>
                <c:pt idx="4264">
                  <c:v>1.2326458168E-2</c:v>
                </c:pt>
                <c:pt idx="4265">
                  <c:v>1.2322081107999899E-2</c:v>
                </c:pt>
                <c:pt idx="4266">
                  <c:v>1.2325819804E-2</c:v>
                </c:pt>
                <c:pt idx="4267">
                  <c:v>1.232718838E-2</c:v>
                </c:pt>
                <c:pt idx="4268">
                  <c:v>1.2325087195999999E-2</c:v>
                </c:pt>
                <c:pt idx="4269">
                  <c:v>1.2318674108E-2</c:v>
                </c:pt>
                <c:pt idx="4270">
                  <c:v>1.2312020856E-2</c:v>
                </c:pt>
                <c:pt idx="4271">
                  <c:v>1.2289742771999901E-2</c:v>
                </c:pt>
                <c:pt idx="4272">
                  <c:v>1.2255730292E-2</c:v>
                </c:pt>
                <c:pt idx="4273">
                  <c:v>1.224679698E-2</c:v>
                </c:pt>
                <c:pt idx="4274">
                  <c:v>1.2245379664E-2</c:v>
                </c:pt>
                <c:pt idx="4275">
                  <c:v>1.2237725555999999E-2</c:v>
                </c:pt>
                <c:pt idx="4276">
                  <c:v>1.2239099640000001E-2</c:v>
                </c:pt>
                <c:pt idx="4277">
                  <c:v>1.2235950688E-2</c:v>
                </c:pt>
                <c:pt idx="4278">
                  <c:v>1.2228439807999999E-2</c:v>
                </c:pt>
                <c:pt idx="4279">
                  <c:v>1.2219537028000001E-2</c:v>
                </c:pt>
                <c:pt idx="4280">
                  <c:v>1.2220295164E-2</c:v>
                </c:pt>
                <c:pt idx="4281">
                  <c:v>1.2232844452E-2</c:v>
                </c:pt>
                <c:pt idx="4282">
                  <c:v>1.22192239879999E-2</c:v>
                </c:pt>
                <c:pt idx="4283">
                  <c:v>1.2203849204E-2</c:v>
                </c:pt>
                <c:pt idx="4284">
                  <c:v>1.2193457448E-2</c:v>
                </c:pt>
                <c:pt idx="4285">
                  <c:v>1.21919633399999E-2</c:v>
                </c:pt>
                <c:pt idx="4286">
                  <c:v>1.2196544504E-2</c:v>
                </c:pt>
                <c:pt idx="4287">
                  <c:v>1.2194857619999999E-2</c:v>
                </c:pt>
                <c:pt idx="4288">
                  <c:v>1.22069097519999E-2</c:v>
                </c:pt>
                <c:pt idx="4289">
                  <c:v>1.2216434072E-2</c:v>
                </c:pt>
                <c:pt idx="4290">
                  <c:v>1.22269777639999E-2</c:v>
                </c:pt>
                <c:pt idx="4291">
                  <c:v>1.2238096364000001E-2</c:v>
                </c:pt>
                <c:pt idx="4292">
                  <c:v>1.2251894347999901E-2</c:v>
                </c:pt>
                <c:pt idx="4293">
                  <c:v>1.2234829192E-2</c:v>
                </c:pt>
                <c:pt idx="4294">
                  <c:v>1.2261021928E-2</c:v>
                </c:pt>
                <c:pt idx="4295">
                  <c:v>1.2291197996E-2</c:v>
                </c:pt>
                <c:pt idx="4296">
                  <c:v>1.2342650516E-2</c:v>
                </c:pt>
                <c:pt idx="4297">
                  <c:v>1.2382294764000001E-2</c:v>
                </c:pt>
                <c:pt idx="4298">
                  <c:v>1.2406076340000001E-2</c:v>
                </c:pt>
                <c:pt idx="4299">
                  <c:v>1.243620996E-2</c:v>
                </c:pt>
                <c:pt idx="4300">
                  <c:v>1.2467031567999999E-2</c:v>
                </c:pt>
                <c:pt idx="4301">
                  <c:v>1.2469785216E-2</c:v>
                </c:pt>
                <c:pt idx="4302">
                  <c:v>1.2477803803999999E-2</c:v>
                </c:pt>
                <c:pt idx="4303">
                  <c:v>1.2495335103999999E-2</c:v>
                </c:pt>
                <c:pt idx="4304">
                  <c:v>1.2530181592000001E-2</c:v>
                </c:pt>
                <c:pt idx="4305">
                  <c:v>1.2570788772E-2</c:v>
                </c:pt>
                <c:pt idx="4306">
                  <c:v>1.2589135071999999E-2</c:v>
                </c:pt>
                <c:pt idx="4307">
                  <c:v>1.2627501520000001E-2</c:v>
                </c:pt>
                <c:pt idx="4308">
                  <c:v>1.26592434039999E-2</c:v>
                </c:pt>
                <c:pt idx="4309">
                  <c:v>1.2695259111999899E-2</c:v>
                </c:pt>
                <c:pt idx="4310">
                  <c:v>1.2724833955999999E-2</c:v>
                </c:pt>
                <c:pt idx="4311">
                  <c:v>1.2757558612E-2</c:v>
                </c:pt>
                <c:pt idx="4312">
                  <c:v>1.2781093068E-2</c:v>
                </c:pt>
                <c:pt idx="4313">
                  <c:v>1.2796911708E-2</c:v>
                </c:pt>
                <c:pt idx="4314">
                  <c:v>1.2814993544E-2</c:v>
                </c:pt>
                <c:pt idx="4315">
                  <c:v>1.2823398499999999E-2</c:v>
                </c:pt>
                <c:pt idx="4316">
                  <c:v>1.2824149712000001E-2</c:v>
                </c:pt>
                <c:pt idx="4317">
                  <c:v>1.2837427392E-2</c:v>
                </c:pt>
                <c:pt idx="4318">
                  <c:v>1.2835373156E-2</c:v>
                </c:pt>
                <c:pt idx="4319">
                  <c:v>1.2853327664E-2</c:v>
                </c:pt>
                <c:pt idx="4320">
                  <c:v>1.2880855667999999E-2</c:v>
                </c:pt>
                <c:pt idx="4321">
                  <c:v>1.290798554E-2</c:v>
                </c:pt>
                <c:pt idx="4322">
                  <c:v>1.29401296719999E-2</c:v>
                </c:pt>
                <c:pt idx="4323">
                  <c:v>1.2977621908E-2</c:v>
                </c:pt>
                <c:pt idx="4324">
                  <c:v>1.3035013356E-2</c:v>
                </c:pt>
                <c:pt idx="4325">
                  <c:v>1.3070254808E-2</c:v>
                </c:pt>
                <c:pt idx="4326">
                  <c:v>1.31078187639999E-2</c:v>
                </c:pt>
                <c:pt idx="4327">
                  <c:v>1.3145519336E-2</c:v>
                </c:pt>
                <c:pt idx="4328">
                  <c:v>1.3186030876E-2</c:v>
                </c:pt>
                <c:pt idx="4329">
                  <c:v>1.321520394E-2</c:v>
                </c:pt>
                <c:pt idx="4330">
                  <c:v>1.3233869948E-2</c:v>
                </c:pt>
                <c:pt idx="4331">
                  <c:v>1.3260449236E-2</c:v>
                </c:pt>
                <c:pt idx="4332">
                  <c:v>1.3286595844E-2</c:v>
                </c:pt>
                <c:pt idx="4333">
                  <c:v>1.3332958068E-2</c:v>
                </c:pt>
                <c:pt idx="4334">
                  <c:v>1.3363903228000001E-2</c:v>
                </c:pt>
                <c:pt idx="4335">
                  <c:v>1.3397975336E-2</c:v>
                </c:pt>
                <c:pt idx="4336">
                  <c:v>1.344159076E-2</c:v>
                </c:pt>
                <c:pt idx="4337">
                  <c:v>1.3475998808E-2</c:v>
                </c:pt>
                <c:pt idx="4338">
                  <c:v>1.3493045655999999E-2</c:v>
                </c:pt>
                <c:pt idx="4339">
                  <c:v>1.35222946E-2</c:v>
                </c:pt>
                <c:pt idx="4340">
                  <c:v>1.35623527079999E-2</c:v>
                </c:pt>
                <c:pt idx="4341">
                  <c:v>1.3558109904E-2</c:v>
                </c:pt>
                <c:pt idx="4342">
                  <c:v>1.3575663019999899E-2</c:v>
                </c:pt>
                <c:pt idx="4343">
                  <c:v>1.36014054679999E-2</c:v>
                </c:pt>
                <c:pt idx="4344">
                  <c:v>1.3614908691999999E-2</c:v>
                </c:pt>
                <c:pt idx="4345">
                  <c:v>1.3611211087999999E-2</c:v>
                </c:pt>
                <c:pt idx="4346">
                  <c:v>1.3562620016000001E-2</c:v>
                </c:pt>
                <c:pt idx="4347">
                  <c:v>1.3486100488000001E-2</c:v>
                </c:pt>
                <c:pt idx="4348">
                  <c:v>1.3451042091999999E-2</c:v>
                </c:pt>
                <c:pt idx="4349">
                  <c:v>1.34524801479999E-2</c:v>
                </c:pt>
                <c:pt idx="4350">
                  <c:v>1.3427930768E-2</c:v>
                </c:pt>
                <c:pt idx="4351">
                  <c:v>1.33571820679999E-2</c:v>
                </c:pt>
                <c:pt idx="4352">
                  <c:v>1.3336434100000001E-2</c:v>
                </c:pt>
                <c:pt idx="4353">
                  <c:v>1.32863461839999E-2</c:v>
                </c:pt>
                <c:pt idx="4354">
                  <c:v>1.32306928559999E-2</c:v>
                </c:pt>
                <c:pt idx="4355">
                  <c:v>1.3170416319999999E-2</c:v>
                </c:pt>
                <c:pt idx="4356">
                  <c:v>1.3150751628E-2</c:v>
                </c:pt>
                <c:pt idx="4357">
                  <c:v>1.3102012408E-2</c:v>
                </c:pt>
                <c:pt idx="4358">
                  <c:v>1.3066554336E-2</c:v>
                </c:pt>
                <c:pt idx="4359">
                  <c:v>1.30482951719999E-2</c:v>
                </c:pt>
                <c:pt idx="4360">
                  <c:v>1.3040043368E-2</c:v>
                </c:pt>
                <c:pt idx="4361">
                  <c:v>1.2996143672000001E-2</c:v>
                </c:pt>
                <c:pt idx="4362">
                  <c:v>1.2974099403999999E-2</c:v>
                </c:pt>
                <c:pt idx="4363">
                  <c:v>1.2954412808E-2</c:v>
                </c:pt>
                <c:pt idx="4364">
                  <c:v>1.2923088524000001E-2</c:v>
                </c:pt>
                <c:pt idx="4365">
                  <c:v>1.29038796839999E-2</c:v>
                </c:pt>
                <c:pt idx="4366">
                  <c:v>1.287040322E-2</c:v>
                </c:pt>
                <c:pt idx="4367">
                  <c:v>1.2840930208E-2</c:v>
                </c:pt>
                <c:pt idx="4368">
                  <c:v>1.2842048603999999E-2</c:v>
                </c:pt>
                <c:pt idx="4369">
                  <c:v>1.2833137959999999E-2</c:v>
                </c:pt>
                <c:pt idx="4370">
                  <c:v>1.2783209184E-2</c:v>
                </c:pt>
                <c:pt idx="4371">
                  <c:v>1.2715740348E-2</c:v>
                </c:pt>
                <c:pt idx="4372">
                  <c:v>1.2660711352E-2</c:v>
                </c:pt>
                <c:pt idx="4373">
                  <c:v>1.2617559972E-2</c:v>
                </c:pt>
                <c:pt idx="4374">
                  <c:v>1.256119774E-2</c:v>
                </c:pt>
                <c:pt idx="4375">
                  <c:v>1.2494370536000001E-2</c:v>
                </c:pt>
                <c:pt idx="4376">
                  <c:v>1.247772286E-2</c:v>
                </c:pt>
                <c:pt idx="4377">
                  <c:v>1.2444470104E-2</c:v>
                </c:pt>
                <c:pt idx="4378">
                  <c:v>1.2418021864E-2</c:v>
                </c:pt>
                <c:pt idx="4379">
                  <c:v>1.2400170800000001E-2</c:v>
                </c:pt>
                <c:pt idx="4380">
                  <c:v>1.2365459352000001E-2</c:v>
                </c:pt>
                <c:pt idx="4381">
                  <c:v>1.2320826532E-2</c:v>
                </c:pt>
                <c:pt idx="4382">
                  <c:v>1.2286363543999999E-2</c:v>
                </c:pt>
                <c:pt idx="4383">
                  <c:v>1.2279256755999999E-2</c:v>
                </c:pt>
                <c:pt idx="4384">
                  <c:v>1.2264891631999999E-2</c:v>
                </c:pt>
                <c:pt idx="4385">
                  <c:v>1.2248899392000001E-2</c:v>
                </c:pt>
                <c:pt idx="4386">
                  <c:v>1.2247035095999999E-2</c:v>
                </c:pt>
                <c:pt idx="4387">
                  <c:v>1.2232298436000001E-2</c:v>
                </c:pt>
                <c:pt idx="4388">
                  <c:v>1.22164903079999E-2</c:v>
                </c:pt>
                <c:pt idx="4389">
                  <c:v>1.2207727064E-2</c:v>
                </c:pt>
                <c:pt idx="4390">
                  <c:v>1.2185218964000001E-2</c:v>
                </c:pt>
                <c:pt idx="4391">
                  <c:v>1.2173686292E-2</c:v>
                </c:pt>
                <c:pt idx="4392">
                  <c:v>1.2129123476E-2</c:v>
                </c:pt>
                <c:pt idx="4393">
                  <c:v>1.2112523619999999E-2</c:v>
                </c:pt>
                <c:pt idx="4394">
                  <c:v>1.2111553648E-2</c:v>
                </c:pt>
                <c:pt idx="4395">
                  <c:v>1.2107402135999999E-2</c:v>
                </c:pt>
                <c:pt idx="4396">
                  <c:v>1.2089077156E-2</c:v>
                </c:pt>
                <c:pt idx="4397">
                  <c:v>1.2085956599999999E-2</c:v>
                </c:pt>
                <c:pt idx="4398">
                  <c:v>1.2086798772E-2</c:v>
                </c:pt>
                <c:pt idx="4399">
                  <c:v>1.20742920479999E-2</c:v>
                </c:pt>
                <c:pt idx="4400">
                  <c:v>1.2062058576E-2</c:v>
                </c:pt>
                <c:pt idx="4401">
                  <c:v>1.2045401572E-2</c:v>
                </c:pt>
                <c:pt idx="4402">
                  <c:v>1.20372263239999E-2</c:v>
                </c:pt>
                <c:pt idx="4403">
                  <c:v>1.2026172852E-2</c:v>
                </c:pt>
                <c:pt idx="4404">
                  <c:v>1.2037254779999999E-2</c:v>
                </c:pt>
                <c:pt idx="4405">
                  <c:v>1.2051436524E-2</c:v>
                </c:pt>
                <c:pt idx="4406">
                  <c:v>1.20706122839999E-2</c:v>
                </c:pt>
                <c:pt idx="4407">
                  <c:v>1.2065692344E-2</c:v>
                </c:pt>
                <c:pt idx="4408">
                  <c:v>1.2054971988000001E-2</c:v>
                </c:pt>
                <c:pt idx="4409">
                  <c:v>1.206954948E-2</c:v>
                </c:pt>
                <c:pt idx="4410">
                  <c:v>1.20745754239999E-2</c:v>
                </c:pt>
                <c:pt idx="4411">
                  <c:v>1.2082652568E-2</c:v>
                </c:pt>
                <c:pt idx="4412">
                  <c:v>1.20910079439999E-2</c:v>
                </c:pt>
                <c:pt idx="4413">
                  <c:v>1.2107801991999999E-2</c:v>
                </c:pt>
                <c:pt idx="4414">
                  <c:v>1.2123031915999999E-2</c:v>
                </c:pt>
                <c:pt idx="4415">
                  <c:v>1.213384356E-2</c:v>
                </c:pt>
                <c:pt idx="4416">
                  <c:v>1.21385937359999E-2</c:v>
                </c:pt>
                <c:pt idx="4417">
                  <c:v>1.2133285684E-2</c:v>
                </c:pt>
                <c:pt idx="4418">
                  <c:v>1.2145417164E-2</c:v>
                </c:pt>
                <c:pt idx="4419">
                  <c:v>1.2170358823999999E-2</c:v>
                </c:pt>
                <c:pt idx="4420">
                  <c:v>1.2181233316E-2</c:v>
                </c:pt>
                <c:pt idx="4421">
                  <c:v>1.22007619519999E-2</c:v>
                </c:pt>
                <c:pt idx="4422">
                  <c:v>1.2224608051999999E-2</c:v>
                </c:pt>
                <c:pt idx="4423">
                  <c:v>1.2222234032E-2</c:v>
                </c:pt>
                <c:pt idx="4424">
                  <c:v>1.2219109044E-2</c:v>
                </c:pt>
                <c:pt idx="4425">
                  <c:v>1.2253206028000001E-2</c:v>
                </c:pt>
                <c:pt idx="4426">
                  <c:v>1.2321809455999999E-2</c:v>
                </c:pt>
                <c:pt idx="4427">
                  <c:v>1.2421928108E-2</c:v>
                </c:pt>
                <c:pt idx="4428">
                  <c:v>1.25425053959999E-2</c:v>
                </c:pt>
                <c:pt idx="4429">
                  <c:v>1.2629249448E-2</c:v>
                </c:pt>
                <c:pt idx="4430">
                  <c:v>1.2725020635999999E-2</c:v>
                </c:pt>
                <c:pt idx="4431">
                  <c:v>1.27768776E-2</c:v>
                </c:pt>
                <c:pt idx="4432">
                  <c:v>1.2842782255999999E-2</c:v>
                </c:pt>
                <c:pt idx="4433">
                  <c:v>1.2908852012E-2</c:v>
                </c:pt>
                <c:pt idx="4434">
                  <c:v>1.2972202275999999E-2</c:v>
                </c:pt>
                <c:pt idx="4435">
                  <c:v>1.3049846976E-2</c:v>
                </c:pt>
                <c:pt idx="4436">
                  <c:v>1.3084768219999999E-2</c:v>
                </c:pt>
                <c:pt idx="4437">
                  <c:v>1.3146455943999999E-2</c:v>
                </c:pt>
                <c:pt idx="4438">
                  <c:v>1.3190721347999999E-2</c:v>
                </c:pt>
                <c:pt idx="4439">
                  <c:v>1.324167048E-2</c:v>
                </c:pt>
                <c:pt idx="4440">
                  <c:v>1.3297685948E-2</c:v>
                </c:pt>
                <c:pt idx="4441">
                  <c:v>1.33486145E-2</c:v>
                </c:pt>
                <c:pt idx="4442">
                  <c:v>1.3379200244E-2</c:v>
                </c:pt>
                <c:pt idx="4443">
                  <c:v>1.3397977432E-2</c:v>
                </c:pt>
                <c:pt idx="4444">
                  <c:v>1.34305193719999E-2</c:v>
                </c:pt>
                <c:pt idx="4445">
                  <c:v>1.3455479572000001E-2</c:v>
                </c:pt>
                <c:pt idx="4446">
                  <c:v>1.34808869319999E-2</c:v>
                </c:pt>
                <c:pt idx="4447">
                  <c:v>1.3528347296E-2</c:v>
                </c:pt>
                <c:pt idx="4448">
                  <c:v>1.3577604587999999E-2</c:v>
                </c:pt>
                <c:pt idx="4449">
                  <c:v>1.3607606519999999E-2</c:v>
                </c:pt>
                <c:pt idx="4450">
                  <c:v>1.3655148904E-2</c:v>
                </c:pt>
                <c:pt idx="4451">
                  <c:v>1.3698218260000001E-2</c:v>
                </c:pt>
                <c:pt idx="4452">
                  <c:v>1.3734465116000001E-2</c:v>
                </c:pt>
                <c:pt idx="4453">
                  <c:v>1.3775380195999999E-2</c:v>
                </c:pt>
                <c:pt idx="4454">
                  <c:v>1.3815096572E-2</c:v>
                </c:pt>
                <c:pt idx="4455">
                  <c:v>1.38224133199999E-2</c:v>
                </c:pt>
                <c:pt idx="4456">
                  <c:v>1.38310057479999E-2</c:v>
                </c:pt>
                <c:pt idx="4457">
                  <c:v>1.38726841999999E-2</c:v>
                </c:pt>
                <c:pt idx="4458">
                  <c:v>1.39025358239999E-2</c:v>
                </c:pt>
                <c:pt idx="4459">
                  <c:v>1.3932961128E-2</c:v>
                </c:pt>
                <c:pt idx="4460">
                  <c:v>1.3951623999999999E-2</c:v>
                </c:pt>
                <c:pt idx="4461">
                  <c:v>1.3966739783999999E-2</c:v>
                </c:pt>
                <c:pt idx="4462">
                  <c:v>1.3991262076000001E-2</c:v>
                </c:pt>
                <c:pt idx="4463">
                  <c:v>1.4003860472E-2</c:v>
                </c:pt>
                <c:pt idx="4464">
                  <c:v>1.4020845044E-2</c:v>
                </c:pt>
                <c:pt idx="4465">
                  <c:v>1.4024952592E-2</c:v>
                </c:pt>
                <c:pt idx="4466">
                  <c:v>1.4022492708E-2</c:v>
                </c:pt>
                <c:pt idx="4467">
                  <c:v>1.4051296459999999E-2</c:v>
                </c:pt>
                <c:pt idx="4468">
                  <c:v>1.4064438856E-2</c:v>
                </c:pt>
                <c:pt idx="4469">
                  <c:v>1.408407972E-2</c:v>
                </c:pt>
                <c:pt idx="4470">
                  <c:v>1.4099186511999999E-2</c:v>
                </c:pt>
                <c:pt idx="4471">
                  <c:v>1.4101502696000001E-2</c:v>
                </c:pt>
                <c:pt idx="4472">
                  <c:v>1.410234262E-2</c:v>
                </c:pt>
                <c:pt idx="4473">
                  <c:v>1.4113787851999999E-2</c:v>
                </c:pt>
                <c:pt idx="4474">
                  <c:v>1.4131260059999999E-2</c:v>
                </c:pt>
                <c:pt idx="4475">
                  <c:v>1.4133773132E-2</c:v>
                </c:pt>
                <c:pt idx="4476">
                  <c:v>1.41226079519999E-2</c:v>
                </c:pt>
                <c:pt idx="4477">
                  <c:v>1.4114652104E-2</c:v>
                </c:pt>
                <c:pt idx="4478">
                  <c:v>1.4095230308000001E-2</c:v>
                </c:pt>
                <c:pt idx="4479">
                  <c:v>1.4054563647999899E-2</c:v>
                </c:pt>
                <c:pt idx="4480">
                  <c:v>1.403994068E-2</c:v>
                </c:pt>
                <c:pt idx="4481">
                  <c:v>1.4035347924E-2</c:v>
                </c:pt>
                <c:pt idx="4482">
                  <c:v>1.4024450548E-2</c:v>
                </c:pt>
                <c:pt idx="4483">
                  <c:v>1.4008559916E-2</c:v>
                </c:pt>
                <c:pt idx="4484">
                  <c:v>1.3996962867999899E-2</c:v>
                </c:pt>
                <c:pt idx="4485">
                  <c:v>1.3991125464E-2</c:v>
                </c:pt>
                <c:pt idx="4486">
                  <c:v>1.3976171335999999E-2</c:v>
                </c:pt>
                <c:pt idx="4487">
                  <c:v>1.3971453444E-2</c:v>
                </c:pt>
                <c:pt idx="4488">
                  <c:v>1.396752616E-2</c:v>
                </c:pt>
                <c:pt idx="4489">
                  <c:v>1.3956429695999899E-2</c:v>
                </c:pt>
                <c:pt idx="4490">
                  <c:v>1.3958318528E-2</c:v>
                </c:pt>
                <c:pt idx="4491">
                  <c:v>1.39773354159999E-2</c:v>
                </c:pt>
                <c:pt idx="4492">
                  <c:v>1.3982075324E-2</c:v>
                </c:pt>
                <c:pt idx="4493">
                  <c:v>1.397968032E-2</c:v>
                </c:pt>
                <c:pt idx="4494">
                  <c:v>1.39905457079999E-2</c:v>
                </c:pt>
                <c:pt idx="4495">
                  <c:v>1.4008287108000001E-2</c:v>
                </c:pt>
                <c:pt idx="4496">
                  <c:v>1.4026177335999999E-2</c:v>
                </c:pt>
                <c:pt idx="4497">
                  <c:v>1.4032562012E-2</c:v>
                </c:pt>
                <c:pt idx="4498">
                  <c:v>1.4038601511999999E-2</c:v>
                </c:pt>
                <c:pt idx="4499">
                  <c:v>1.4037444099999999E-2</c:v>
                </c:pt>
                <c:pt idx="4500">
                  <c:v>1.4027561843999999E-2</c:v>
                </c:pt>
                <c:pt idx="4501">
                  <c:v>1.4033917296E-2</c:v>
                </c:pt>
                <c:pt idx="4502">
                  <c:v>1.4035142763999999E-2</c:v>
                </c:pt>
                <c:pt idx="4503">
                  <c:v>1.4049776056E-2</c:v>
                </c:pt>
                <c:pt idx="4504">
                  <c:v>1.4061713864E-2</c:v>
                </c:pt>
                <c:pt idx="4505">
                  <c:v>1.40827719159999E-2</c:v>
                </c:pt>
                <c:pt idx="4506">
                  <c:v>1.4110473356E-2</c:v>
                </c:pt>
                <c:pt idx="4507">
                  <c:v>1.4133086755999899E-2</c:v>
                </c:pt>
                <c:pt idx="4508">
                  <c:v>1.41476353839999E-2</c:v>
                </c:pt>
                <c:pt idx="4509">
                  <c:v>1.4168222039999999E-2</c:v>
                </c:pt>
                <c:pt idx="4510">
                  <c:v>1.418761338E-2</c:v>
                </c:pt>
                <c:pt idx="4511">
                  <c:v>1.4227157296E-2</c:v>
                </c:pt>
                <c:pt idx="4512">
                  <c:v>1.4262125291999999E-2</c:v>
                </c:pt>
                <c:pt idx="4513">
                  <c:v>1.4288170964000001E-2</c:v>
                </c:pt>
                <c:pt idx="4514">
                  <c:v>1.4294858172E-2</c:v>
                </c:pt>
                <c:pt idx="4515">
                  <c:v>1.4304203208000001E-2</c:v>
                </c:pt>
                <c:pt idx="4516">
                  <c:v>1.4312888372E-2</c:v>
                </c:pt>
                <c:pt idx="4517">
                  <c:v>1.4329070768E-2</c:v>
                </c:pt>
                <c:pt idx="4518">
                  <c:v>1.4355697092E-2</c:v>
                </c:pt>
                <c:pt idx="4519">
                  <c:v>1.4365978367999899E-2</c:v>
                </c:pt>
                <c:pt idx="4520">
                  <c:v>1.4374858192E-2</c:v>
                </c:pt>
                <c:pt idx="4521">
                  <c:v>1.4418623856E-2</c:v>
                </c:pt>
                <c:pt idx="4522">
                  <c:v>1.4445870355999899E-2</c:v>
                </c:pt>
                <c:pt idx="4523">
                  <c:v>1.4473615691999999E-2</c:v>
                </c:pt>
                <c:pt idx="4524">
                  <c:v>1.4489975243999999E-2</c:v>
                </c:pt>
                <c:pt idx="4525">
                  <c:v>1.4519437539999999E-2</c:v>
                </c:pt>
                <c:pt idx="4526">
                  <c:v>1.4586192236E-2</c:v>
                </c:pt>
                <c:pt idx="4527">
                  <c:v>1.4630198016E-2</c:v>
                </c:pt>
                <c:pt idx="4528">
                  <c:v>1.4674232512E-2</c:v>
                </c:pt>
                <c:pt idx="4529">
                  <c:v>1.4699859148E-2</c:v>
                </c:pt>
                <c:pt idx="4530">
                  <c:v>1.4710169916E-2</c:v>
                </c:pt>
                <c:pt idx="4531">
                  <c:v>1.471196038E-2</c:v>
                </c:pt>
                <c:pt idx="4532">
                  <c:v>1.4723982147999999E-2</c:v>
                </c:pt>
                <c:pt idx="4533">
                  <c:v>1.4746726424E-2</c:v>
                </c:pt>
                <c:pt idx="4534">
                  <c:v>1.4760775279999999E-2</c:v>
                </c:pt>
                <c:pt idx="4535">
                  <c:v>1.4785950371999999E-2</c:v>
                </c:pt>
                <c:pt idx="4536">
                  <c:v>1.4802180240000001E-2</c:v>
                </c:pt>
                <c:pt idx="4537">
                  <c:v>1.4814144868E-2</c:v>
                </c:pt>
                <c:pt idx="4538">
                  <c:v>1.48186178999999E-2</c:v>
                </c:pt>
                <c:pt idx="4539">
                  <c:v>1.4836939524E-2</c:v>
                </c:pt>
                <c:pt idx="4540">
                  <c:v>1.4846188856E-2</c:v>
                </c:pt>
                <c:pt idx="4541">
                  <c:v>1.4857873012000001E-2</c:v>
                </c:pt>
                <c:pt idx="4542">
                  <c:v>1.4877416371999999E-2</c:v>
                </c:pt>
                <c:pt idx="4543">
                  <c:v>1.489747216E-2</c:v>
                </c:pt>
                <c:pt idx="4544">
                  <c:v>1.4881877524E-2</c:v>
                </c:pt>
                <c:pt idx="4545">
                  <c:v>1.4866721648E-2</c:v>
                </c:pt>
                <c:pt idx="4546">
                  <c:v>1.4835407659999999E-2</c:v>
                </c:pt>
                <c:pt idx="4547">
                  <c:v>1.48285331719999E-2</c:v>
                </c:pt>
                <c:pt idx="4548">
                  <c:v>1.4836633824E-2</c:v>
                </c:pt>
                <c:pt idx="4549">
                  <c:v>1.4851884628E-2</c:v>
                </c:pt>
                <c:pt idx="4550">
                  <c:v>1.488090112E-2</c:v>
                </c:pt>
                <c:pt idx="4551">
                  <c:v>1.4927715451999999E-2</c:v>
                </c:pt>
                <c:pt idx="4552">
                  <c:v>1.4961015923999999E-2</c:v>
                </c:pt>
                <c:pt idx="4553">
                  <c:v>1.5001153660000001E-2</c:v>
                </c:pt>
                <c:pt idx="4554">
                  <c:v>1.5018921748E-2</c:v>
                </c:pt>
                <c:pt idx="4555">
                  <c:v>1.504427046E-2</c:v>
                </c:pt>
                <c:pt idx="4556">
                  <c:v>1.5082486403999999E-2</c:v>
                </c:pt>
                <c:pt idx="4557">
                  <c:v>1.5111070695999901E-2</c:v>
                </c:pt>
                <c:pt idx="4558">
                  <c:v>1.5148486080000001E-2</c:v>
                </c:pt>
                <c:pt idx="4559">
                  <c:v>1.517329314E-2</c:v>
                </c:pt>
                <c:pt idx="4560">
                  <c:v>1.5201799556E-2</c:v>
                </c:pt>
                <c:pt idx="4561">
                  <c:v>1.5217765828E-2</c:v>
                </c:pt>
                <c:pt idx="4562">
                  <c:v>1.5231361412000001E-2</c:v>
                </c:pt>
                <c:pt idx="4563">
                  <c:v>1.5265684012E-2</c:v>
                </c:pt>
                <c:pt idx="4564">
                  <c:v>1.5293122784E-2</c:v>
                </c:pt>
                <c:pt idx="4565">
                  <c:v>1.5318442895999901E-2</c:v>
                </c:pt>
                <c:pt idx="4566">
                  <c:v>1.5342712535999999E-2</c:v>
                </c:pt>
                <c:pt idx="4567">
                  <c:v>1.535637336E-2</c:v>
                </c:pt>
                <c:pt idx="4568">
                  <c:v>1.53783044399999E-2</c:v>
                </c:pt>
                <c:pt idx="4569">
                  <c:v>1.5395783368E-2</c:v>
                </c:pt>
                <c:pt idx="4570">
                  <c:v>1.54025135839999E-2</c:v>
                </c:pt>
                <c:pt idx="4571">
                  <c:v>1.5410302932E-2</c:v>
                </c:pt>
                <c:pt idx="4572">
                  <c:v>1.5414401724E-2</c:v>
                </c:pt>
                <c:pt idx="4573">
                  <c:v>1.5414606672E-2</c:v>
                </c:pt>
                <c:pt idx="4574">
                  <c:v>1.5398697560000001E-2</c:v>
                </c:pt>
                <c:pt idx="4575">
                  <c:v>1.5387784396E-2</c:v>
                </c:pt>
                <c:pt idx="4576">
                  <c:v>1.5375817724000001E-2</c:v>
                </c:pt>
                <c:pt idx="4577">
                  <c:v>1.5374577604E-2</c:v>
                </c:pt>
                <c:pt idx="4578">
                  <c:v>1.5393094632E-2</c:v>
                </c:pt>
                <c:pt idx="4579">
                  <c:v>1.5413524344E-2</c:v>
                </c:pt>
                <c:pt idx="4580">
                  <c:v>1.54648959559999E-2</c:v>
                </c:pt>
                <c:pt idx="4581">
                  <c:v>1.5492245292000001E-2</c:v>
                </c:pt>
                <c:pt idx="4582">
                  <c:v>1.55181450279999E-2</c:v>
                </c:pt>
                <c:pt idx="4583">
                  <c:v>1.5530551175999999E-2</c:v>
                </c:pt>
                <c:pt idx="4584">
                  <c:v>1.5541875556E-2</c:v>
                </c:pt>
                <c:pt idx="4585">
                  <c:v>1.55409054399999E-2</c:v>
                </c:pt>
                <c:pt idx="4586">
                  <c:v>1.55313528E-2</c:v>
                </c:pt>
                <c:pt idx="4587">
                  <c:v>1.5519418944E-2</c:v>
                </c:pt>
                <c:pt idx="4588">
                  <c:v>1.5516483940000001E-2</c:v>
                </c:pt>
                <c:pt idx="4589">
                  <c:v>1.5499160824E-2</c:v>
                </c:pt>
                <c:pt idx="4590">
                  <c:v>1.5486757544E-2</c:v>
                </c:pt>
                <c:pt idx="4591">
                  <c:v>1.5501550415999999E-2</c:v>
                </c:pt>
                <c:pt idx="4592">
                  <c:v>1.5473810588E-2</c:v>
                </c:pt>
                <c:pt idx="4593">
                  <c:v>1.54599368439999E-2</c:v>
                </c:pt>
                <c:pt idx="4594">
                  <c:v>1.5450607436E-2</c:v>
                </c:pt>
                <c:pt idx="4595">
                  <c:v>1.5455737755999999E-2</c:v>
                </c:pt>
                <c:pt idx="4596">
                  <c:v>1.5424929132E-2</c:v>
                </c:pt>
                <c:pt idx="4597">
                  <c:v>1.54110182919999E-2</c:v>
                </c:pt>
                <c:pt idx="4598">
                  <c:v>1.538080742E-2</c:v>
                </c:pt>
                <c:pt idx="4599">
                  <c:v>1.53643867E-2</c:v>
                </c:pt>
                <c:pt idx="4600">
                  <c:v>1.5366264208E-2</c:v>
                </c:pt>
                <c:pt idx="4601">
                  <c:v>1.5364725871999999E-2</c:v>
                </c:pt>
                <c:pt idx="4602">
                  <c:v>1.5350592531999999E-2</c:v>
                </c:pt>
                <c:pt idx="4603">
                  <c:v>1.5326964259999999E-2</c:v>
                </c:pt>
                <c:pt idx="4604">
                  <c:v>1.531603436E-2</c:v>
                </c:pt>
                <c:pt idx="4605">
                  <c:v>1.5308505944E-2</c:v>
                </c:pt>
                <c:pt idx="4606">
                  <c:v>1.52880626479999E-2</c:v>
                </c:pt>
                <c:pt idx="4607">
                  <c:v>1.5284604671999999E-2</c:v>
                </c:pt>
                <c:pt idx="4608">
                  <c:v>1.5273900924E-2</c:v>
                </c:pt>
                <c:pt idx="4609">
                  <c:v>1.5263346428000001E-2</c:v>
                </c:pt>
                <c:pt idx="4610">
                  <c:v>1.5241596763999899E-2</c:v>
                </c:pt>
                <c:pt idx="4611">
                  <c:v>1.5248631979999899E-2</c:v>
                </c:pt>
                <c:pt idx="4612">
                  <c:v>1.5250409312E-2</c:v>
                </c:pt>
                <c:pt idx="4613">
                  <c:v>1.524714026E-2</c:v>
                </c:pt>
                <c:pt idx="4614">
                  <c:v>1.5259092436E-2</c:v>
                </c:pt>
                <c:pt idx="4615">
                  <c:v>1.5259741928E-2</c:v>
                </c:pt>
                <c:pt idx="4616">
                  <c:v>1.52586976799999E-2</c:v>
                </c:pt>
                <c:pt idx="4617">
                  <c:v>1.5259094763999901E-2</c:v>
                </c:pt>
                <c:pt idx="4618">
                  <c:v>1.5242313176E-2</c:v>
                </c:pt>
                <c:pt idx="4619">
                  <c:v>1.5254221547999901E-2</c:v>
                </c:pt>
                <c:pt idx="4620">
                  <c:v>1.5264649088E-2</c:v>
                </c:pt>
                <c:pt idx="4621">
                  <c:v>1.5269529307999999E-2</c:v>
                </c:pt>
                <c:pt idx="4622">
                  <c:v>1.5281263452E-2</c:v>
                </c:pt>
                <c:pt idx="4623">
                  <c:v>1.5281435556000001E-2</c:v>
                </c:pt>
                <c:pt idx="4624">
                  <c:v>1.529481804E-2</c:v>
                </c:pt>
                <c:pt idx="4625">
                  <c:v>1.530294768E-2</c:v>
                </c:pt>
                <c:pt idx="4626">
                  <c:v>1.5294070155999999E-2</c:v>
                </c:pt>
                <c:pt idx="4627">
                  <c:v>1.5305156116E-2</c:v>
                </c:pt>
                <c:pt idx="4628">
                  <c:v>1.5323855807999999E-2</c:v>
                </c:pt>
                <c:pt idx="4629">
                  <c:v>1.534946108E-2</c:v>
                </c:pt>
                <c:pt idx="4630">
                  <c:v>1.5376583148E-2</c:v>
                </c:pt>
                <c:pt idx="4631">
                  <c:v>1.5404382592000001E-2</c:v>
                </c:pt>
                <c:pt idx="4632">
                  <c:v>1.54243789679999E-2</c:v>
                </c:pt>
                <c:pt idx="4633">
                  <c:v>1.5423479303999999E-2</c:v>
                </c:pt>
                <c:pt idx="4634">
                  <c:v>1.5434192636E-2</c:v>
                </c:pt>
                <c:pt idx="4635">
                  <c:v>1.5438530604E-2</c:v>
                </c:pt>
                <c:pt idx="4636">
                  <c:v>1.54384709559999E-2</c:v>
                </c:pt>
                <c:pt idx="4637">
                  <c:v>1.5438687432E-2</c:v>
                </c:pt>
                <c:pt idx="4638">
                  <c:v>1.5435387012E-2</c:v>
                </c:pt>
                <c:pt idx="4639">
                  <c:v>1.5438632296E-2</c:v>
                </c:pt>
                <c:pt idx="4640">
                  <c:v>1.5446099756E-2</c:v>
                </c:pt>
                <c:pt idx="4641">
                  <c:v>1.54583045679999E-2</c:v>
                </c:pt>
                <c:pt idx="4642">
                  <c:v>1.54891814E-2</c:v>
                </c:pt>
                <c:pt idx="4643">
                  <c:v>1.55130427E-2</c:v>
                </c:pt>
                <c:pt idx="4644">
                  <c:v>1.5521175772E-2</c:v>
                </c:pt>
                <c:pt idx="4645">
                  <c:v>1.5542310324000001E-2</c:v>
                </c:pt>
                <c:pt idx="4646">
                  <c:v>1.5553728384E-2</c:v>
                </c:pt>
                <c:pt idx="4647">
                  <c:v>1.55679400079999E-2</c:v>
                </c:pt>
                <c:pt idx="4648">
                  <c:v>1.5576440888E-2</c:v>
                </c:pt>
                <c:pt idx="4649">
                  <c:v>1.5596824108E-2</c:v>
                </c:pt>
                <c:pt idx="4650">
                  <c:v>1.5615633203999999E-2</c:v>
                </c:pt>
                <c:pt idx="4651">
                  <c:v>1.5626780084000001E-2</c:v>
                </c:pt>
                <c:pt idx="4652">
                  <c:v>1.5635444583999999E-2</c:v>
                </c:pt>
                <c:pt idx="4653">
                  <c:v>1.564187216E-2</c:v>
                </c:pt>
                <c:pt idx="4654">
                  <c:v>1.5639105647999901E-2</c:v>
                </c:pt>
                <c:pt idx="4655">
                  <c:v>1.5645930119999998E-2</c:v>
                </c:pt>
                <c:pt idx="4656">
                  <c:v>1.5658212428000001E-2</c:v>
                </c:pt>
                <c:pt idx="4657">
                  <c:v>1.5674705059999999E-2</c:v>
                </c:pt>
                <c:pt idx="4658">
                  <c:v>1.5683137611999999E-2</c:v>
                </c:pt>
                <c:pt idx="4659">
                  <c:v>1.5684584091999999E-2</c:v>
                </c:pt>
                <c:pt idx="4660">
                  <c:v>1.5688614292000001E-2</c:v>
                </c:pt>
                <c:pt idx="4661">
                  <c:v>1.5690287628E-2</c:v>
                </c:pt>
                <c:pt idx="4662">
                  <c:v>1.5688788948E-2</c:v>
                </c:pt>
                <c:pt idx="4663">
                  <c:v>1.5695006931999999E-2</c:v>
                </c:pt>
                <c:pt idx="4664">
                  <c:v>1.5707978144E-2</c:v>
                </c:pt>
                <c:pt idx="4665">
                  <c:v>1.5718816308000001E-2</c:v>
                </c:pt>
                <c:pt idx="4666">
                  <c:v>1.5729736420000001E-2</c:v>
                </c:pt>
                <c:pt idx="4667">
                  <c:v>1.5718690455999999E-2</c:v>
                </c:pt>
                <c:pt idx="4668">
                  <c:v>1.5709474856000001E-2</c:v>
                </c:pt>
                <c:pt idx="4669">
                  <c:v>1.5699534152E-2</c:v>
                </c:pt>
                <c:pt idx="4670">
                  <c:v>1.5701214048000001E-2</c:v>
                </c:pt>
                <c:pt idx="4671">
                  <c:v>1.5711364132E-2</c:v>
                </c:pt>
                <c:pt idx="4672">
                  <c:v>1.5720897316000002E-2</c:v>
                </c:pt>
                <c:pt idx="4673">
                  <c:v>1.5742577364000001E-2</c:v>
                </c:pt>
                <c:pt idx="4674">
                  <c:v>1.5742869828000002E-2</c:v>
                </c:pt>
                <c:pt idx="4675">
                  <c:v>1.5728140275999999E-2</c:v>
                </c:pt>
                <c:pt idx="4676">
                  <c:v>1.5686080155999999E-2</c:v>
                </c:pt>
                <c:pt idx="4677">
                  <c:v>1.5610922812E-2</c:v>
                </c:pt>
                <c:pt idx="4678">
                  <c:v>1.5529098848E-2</c:v>
                </c:pt>
                <c:pt idx="4679">
                  <c:v>1.5466649104E-2</c:v>
                </c:pt>
                <c:pt idx="4680">
                  <c:v>1.5396891819999901E-2</c:v>
                </c:pt>
                <c:pt idx="4681">
                  <c:v>1.5328445356E-2</c:v>
                </c:pt>
                <c:pt idx="4682">
                  <c:v>1.5272444892E-2</c:v>
                </c:pt>
                <c:pt idx="4683">
                  <c:v>1.5231763832000001E-2</c:v>
                </c:pt>
                <c:pt idx="4684">
                  <c:v>1.5211107368E-2</c:v>
                </c:pt>
                <c:pt idx="4685">
                  <c:v>1.5188512852E-2</c:v>
                </c:pt>
                <c:pt idx="4686">
                  <c:v>1.5202010124E-2</c:v>
                </c:pt>
                <c:pt idx="4687">
                  <c:v>1.5183723792E-2</c:v>
                </c:pt>
                <c:pt idx="4688">
                  <c:v>1.517625586E-2</c:v>
                </c:pt>
                <c:pt idx="4689">
                  <c:v>1.5164684423999999E-2</c:v>
                </c:pt>
                <c:pt idx="4690">
                  <c:v>1.5163586115999999E-2</c:v>
                </c:pt>
                <c:pt idx="4691">
                  <c:v>1.5148523652E-2</c:v>
                </c:pt>
                <c:pt idx="4692">
                  <c:v>1.5151579027999899E-2</c:v>
                </c:pt>
                <c:pt idx="4693">
                  <c:v>1.5154850628E-2</c:v>
                </c:pt>
                <c:pt idx="4694">
                  <c:v>1.5142673852000001E-2</c:v>
                </c:pt>
                <c:pt idx="4695">
                  <c:v>1.514967108E-2</c:v>
                </c:pt>
                <c:pt idx="4696">
                  <c:v>1.5142154483999999E-2</c:v>
                </c:pt>
                <c:pt idx="4697">
                  <c:v>1.5129828176000001E-2</c:v>
                </c:pt>
                <c:pt idx="4698">
                  <c:v>1.51024055759999E-2</c:v>
                </c:pt>
                <c:pt idx="4699">
                  <c:v>1.5086964799999899E-2</c:v>
                </c:pt>
                <c:pt idx="4700">
                  <c:v>1.5064049836E-2</c:v>
                </c:pt>
                <c:pt idx="4701">
                  <c:v>1.50529695439999E-2</c:v>
                </c:pt>
                <c:pt idx="4702">
                  <c:v>1.5046888292E-2</c:v>
                </c:pt>
                <c:pt idx="4703">
                  <c:v>1.504302672E-2</c:v>
                </c:pt>
                <c:pt idx="4704">
                  <c:v>1.5045855944E-2</c:v>
                </c:pt>
                <c:pt idx="4705">
                  <c:v>1.5051056084E-2</c:v>
                </c:pt>
                <c:pt idx="4706">
                  <c:v>1.5070850448E-2</c:v>
                </c:pt>
                <c:pt idx="4707">
                  <c:v>1.5050157056E-2</c:v>
                </c:pt>
                <c:pt idx="4708">
                  <c:v>1.5060414236E-2</c:v>
                </c:pt>
                <c:pt idx="4709">
                  <c:v>1.50610544599999E-2</c:v>
                </c:pt>
                <c:pt idx="4710">
                  <c:v>1.5089582652E-2</c:v>
                </c:pt>
                <c:pt idx="4711">
                  <c:v>1.5127828264E-2</c:v>
                </c:pt>
                <c:pt idx="4712">
                  <c:v>1.5193768991999999E-2</c:v>
                </c:pt>
                <c:pt idx="4713">
                  <c:v>1.5245365104E-2</c:v>
                </c:pt>
                <c:pt idx="4714">
                  <c:v>1.5295028204E-2</c:v>
                </c:pt>
                <c:pt idx="4715">
                  <c:v>1.5345195387999999E-2</c:v>
                </c:pt>
                <c:pt idx="4716">
                  <c:v>1.5379983468E-2</c:v>
                </c:pt>
                <c:pt idx="4717">
                  <c:v>1.5406953728E-2</c:v>
                </c:pt>
                <c:pt idx="4718">
                  <c:v>1.5455673531999999E-2</c:v>
                </c:pt>
                <c:pt idx="4719">
                  <c:v>1.5506082736E-2</c:v>
                </c:pt>
                <c:pt idx="4720">
                  <c:v>1.5546841492E-2</c:v>
                </c:pt>
                <c:pt idx="4721">
                  <c:v>1.5594819479999999E-2</c:v>
                </c:pt>
                <c:pt idx="4722">
                  <c:v>1.5609443436000001E-2</c:v>
                </c:pt>
                <c:pt idx="4723">
                  <c:v>1.5640352507999999E-2</c:v>
                </c:pt>
                <c:pt idx="4724">
                  <c:v>1.5665565887999999E-2</c:v>
                </c:pt>
                <c:pt idx="4725">
                  <c:v>1.5690269795999998E-2</c:v>
                </c:pt>
                <c:pt idx="4726">
                  <c:v>1.5739079400000001E-2</c:v>
                </c:pt>
                <c:pt idx="4727">
                  <c:v>1.5780794284000001E-2</c:v>
                </c:pt>
                <c:pt idx="4728">
                  <c:v>1.5826726004000001E-2</c:v>
                </c:pt>
                <c:pt idx="4729">
                  <c:v>1.5864764600000001E-2</c:v>
                </c:pt>
                <c:pt idx="4730">
                  <c:v>1.5900549592000001E-2</c:v>
                </c:pt>
                <c:pt idx="4731">
                  <c:v>1.5910837711999901E-2</c:v>
                </c:pt>
                <c:pt idx="4732">
                  <c:v>1.5936736112E-2</c:v>
                </c:pt>
                <c:pt idx="4733">
                  <c:v>1.5961641403999999E-2</c:v>
                </c:pt>
                <c:pt idx="4734">
                  <c:v>1.5996174419999998E-2</c:v>
                </c:pt>
                <c:pt idx="4735">
                  <c:v>1.6008489640000002E-2</c:v>
                </c:pt>
                <c:pt idx="4736">
                  <c:v>1.6023112244E-2</c:v>
                </c:pt>
                <c:pt idx="4737">
                  <c:v>1.6047139039999998E-2</c:v>
                </c:pt>
                <c:pt idx="4738">
                  <c:v>1.6071612523999999E-2</c:v>
                </c:pt>
                <c:pt idx="4739">
                  <c:v>1.60919690319999E-2</c:v>
                </c:pt>
                <c:pt idx="4740">
                  <c:v>1.6107357724000002E-2</c:v>
                </c:pt>
                <c:pt idx="4741">
                  <c:v>1.6107095120000001E-2</c:v>
                </c:pt>
                <c:pt idx="4742">
                  <c:v>1.6119407635999901E-2</c:v>
                </c:pt>
                <c:pt idx="4743">
                  <c:v>1.6131952155999999E-2</c:v>
                </c:pt>
                <c:pt idx="4744">
                  <c:v>1.6145320859999999E-2</c:v>
                </c:pt>
                <c:pt idx="4745">
                  <c:v>1.61598581559999E-2</c:v>
                </c:pt>
                <c:pt idx="4746">
                  <c:v>1.6174912731999998E-2</c:v>
                </c:pt>
                <c:pt idx="4747">
                  <c:v>1.6200533063999999E-2</c:v>
                </c:pt>
                <c:pt idx="4748">
                  <c:v>1.6230882172E-2</c:v>
                </c:pt>
                <c:pt idx="4749">
                  <c:v>1.6266218328000001E-2</c:v>
                </c:pt>
                <c:pt idx="4750">
                  <c:v>1.6278669619999998E-2</c:v>
                </c:pt>
                <c:pt idx="4751">
                  <c:v>1.6288406448E-2</c:v>
                </c:pt>
                <c:pt idx="4752">
                  <c:v>1.631024792E-2</c:v>
                </c:pt>
                <c:pt idx="4753">
                  <c:v>1.6320628627999999E-2</c:v>
                </c:pt>
                <c:pt idx="4754">
                  <c:v>1.6321172992000001E-2</c:v>
                </c:pt>
                <c:pt idx="4755">
                  <c:v>1.6320141843999901E-2</c:v>
                </c:pt>
                <c:pt idx="4756">
                  <c:v>1.6323624187999999E-2</c:v>
                </c:pt>
                <c:pt idx="4757">
                  <c:v>1.6319533795999999E-2</c:v>
                </c:pt>
                <c:pt idx="4758">
                  <c:v>1.6320841956000001E-2</c:v>
                </c:pt>
                <c:pt idx="4759">
                  <c:v>1.6313738344E-2</c:v>
                </c:pt>
                <c:pt idx="4760">
                  <c:v>1.6293851663999999E-2</c:v>
                </c:pt>
                <c:pt idx="4761">
                  <c:v>1.6261234416000001E-2</c:v>
                </c:pt>
                <c:pt idx="4762">
                  <c:v>1.6238648331999998E-2</c:v>
                </c:pt>
                <c:pt idx="4763">
                  <c:v>1.622564592E-2</c:v>
                </c:pt>
                <c:pt idx="4764">
                  <c:v>1.6235282792E-2</c:v>
                </c:pt>
                <c:pt idx="4765">
                  <c:v>1.6234505744E-2</c:v>
                </c:pt>
                <c:pt idx="4766">
                  <c:v>1.6222464656E-2</c:v>
                </c:pt>
                <c:pt idx="4767">
                  <c:v>1.6210071868000001E-2</c:v>
                </c:pt>
                <c:pt idx="4768">
                  <c:v>1.6198872344000002E-2</c:v>
                </c:pt>
                <c:pt idx="4769">
                  <c:v>1.6202409495999999E-2</c:v>
                </c:pt>
                <c:pt idx="4770">
                  <c:v>1.6202891568000002E-2</c:v>
                </c:pt>
                <c:pt idx="4771">
                  <c:v>1.6184867139999899E-2</c:v>
                </c:pt>
                <c:pt idx="4772">
                  <c:v>1.6186204643999998E-2</c:v>
                </c:pt>
                <c:pt idx="4773">
                  <c:v>1.6193608040000002E-2</c:v>
                </c:pt>
                <c:pt idx="4774">
                  <c:v>1.6211161243999999E-2</c:v>
                </c:pt>
                <c:pt idx="4775">
                  <c:v>1.6209577100000001E-2</c:v>
                </c:pt>
                <c:pt idx="4776">
                  <c:v>1.6191573872000001E-2</c:v>
                </c:pt>
                <c:pt idx="4777">
                  <c:v>1.6188903288E-2</c:v>
                </c:pt>
                <c:pt idx="4778">
                  <c:v>1.6192804012E-2</c:v>
                </c:pt>
                <c:pt idx="4779">
                  <c:v>1.6185437572E-2</c:v>
                </c:pt>
                <c:pt idx="4780">
                  <c:v>1.6186228447999999E-2</c:v>
                </c:pt>
                <c:pt idx="4781">
                  <c:v>1.6185979183999999E-2</c:v>
                </c:pt>
                <c:pt idx="4782">
                  <c:v>1.6193954584000001E-2</c:v>
                </c:pt>
                <c:pt idx="4783">
                  <c:v>1.6205097315999999E-2</c:v>
                </c:pt>
                <c:pt idx="4784">
                  <c:v>1.6211259796000001E-2</c:v>
                </c:pt>
                <c:pt idx="4785">
                  <c:v>1.620177586E-2</c:v>
                </c:pt>
                <c:pt idx="4786">
                  <c:v>1.6205526767999998E-2</c:v>
                </c:pt>
                <c:pt idx="4787">
                  <c:v>1.6210564271999999E-2</c:v>
                </c:pt>
                <c:pt idx="4788">
                  <c:v>1.6213561968000001E-2</c:v>
                </c:pt>
                <c:pt idx="4789">
                  <c:v>1.6209413280000001E-2</c:v>
                </c:pt>
                <c:pt idx="4790">
                  <c:v>1.6200606124000001E-2</c:v>
                </c:pt>
                <c:pt idx="4791">
                  <c:v>1.6189652860000001E-2</c:v>
                </c:pt>
                <c:pt idx="4792">
                  <c:v>1.6171879383999901E-2</c:v>
                </c:pt>
                <c:pt idx="4793">
                  <c:v>1.61738347559999E-2</c:v>
                </c:pt>
                <c:pt idx="4794">
                  <c:v>1.6197046643999999E-2</c:v>
                </c:pt>
                <c:pt idx="4795">
                  <c:v>1.6209967419999999E-2</c:v>
                </c:pt>
                <c:pt idx="4796">
                  <c:v>1.62275269479999E-2</c:v>
                </c:pt>
                <c:pt idx="4797">
                  <c:v>1.6231348895999999E-2</c:v>
                </c:pt>
                <c:pt idx="4798">
                  <c:v>1.6228513327999999E-2</c:v>
                </c:pt>
                <c:pt idx="4799">
                  <c:v>1.6216567427999901E-2</c:v>
                </c:pt>
                <c:pt idx="4800">
                  <c:v>1.6189142124000001E-2</c:v>
                </c:pt>
                <c:pt idx="4801">
                  <c:v>1.6158002075999999E-2</c:v>
                </c:pt>
                <c:pt idx="4802">
                  <c:v>1.6126311495999999E-2</c:v>
                </c:pt>
                <c:pt idx="4803">
                  <c:v>1.6098066216E-2</c:v>
                </c:pt>
                <c:pt idx="4804">
                  <c:v>1.6069486596E-2</c:v>
                </c:pt>
                <c:pt idx="4805">
                  <c:v>1.6041905312000001E-2</c:v>
                </c:pt>
                <c:pt idx="4806">
                  <c:v>1.6007110743999999E-2</c:v>
                </c:pt>
                <c:pt idx="4807">
                  <c:v>1.5949167944E-2</c:v>
                </c:pt>
                <c:pt idx="4808">
                  <c:v>1.5905135144E-2</c:v>
                </c:pt>
                <c:pt idx="4809">
                  <c:v>1.5851206012000001E-2</c:v>
                </c:pt>
                <c:pt idx="4810">
                  <c:v>1.5815015796E-2</c:v>
                </c:pt>
                <c:pt idx="4811">
                  <c:v>1.5780254548E-2</c:v>
                </c:pt>
                <c:pt idx="4812">
                  <c:v>1.57672362999999E-2</c:v>
                </c:pt>
                <c:pt idx="4813">
                  <c:v>1.5746523288000001E-2</c:v>
                </c:pt>
                <c:pt idx="4814">
                  <c:v>1.5727155092000001E-2</c:v>
                </c:pt>
                <c:pt idx="4815">
                  <c:v>1.5708823956000002E-2</c:v>
                </c:pt>
                <c:pt idx="4816">
                  <c:v>1.57021683679999E-2</c:v>
                </c:pt>
                <c:pt idx="4817">
                  <c:v>1.5695183099999999E-2</c:v>
                </c:pt>
                <c:pt idx="4818">
                  <c:v>1.5673966872000001E-2</c:v>
                </c:pt>
                <c:pt idx="4819">
                  <c:v>1.5645263376000001E-2</c:v>
                </c:pt>
                <c:pt idx="4820">
                  <c:v>1.5624157148000001E-2</c:v>
                </c:pt>
                <c:pt idx="4821">
                  <c:v>1.5601653484E-2</c:v>
                </c:pt>
                <c:pt idx="4822">
                  <c:v>1.5572473135999999E-2</c:v>
                </c:pt>
                <c:pt idx="4823">
                  <c:v>1.5551104519999999E-2</c:v>
                </c:pt>
                <c:pt idx="4824">
                  <c:v>1.5525729532E-2</c:v>
                </c:pt>
                <c:pt idx="4825">
                  <c:v>1.55328227879999E-2</c:v>
                </c:pt>
                <c:pt idx="4826">
                  <c:v>1.55274020319999E-2</c:v>
                </c:pt>
                <c:pt idx="4827">
                  <c:v>1.5514319824000001E-2</c:v>
                </c:pt>
                <c:pt idx="4828">
                  <c:v>1.5478901172000001E-2</c:v>
                </c:pt>
                <c:pt idx="4829">
                  <c:v>1.5441405712000001E-2</c:v>
                </c:pt>
                <c:pt idx="4830">
                  <c:v>1.5388155444000001E-2</c:v>
                </c:pt>
                <c:pt idx="4831">
                  <c:v>1.53483894319999E-2</c:v>
                </c:pt>
                <c:pt idx="4832">
                  <c:v>1.53245808679999E-2</c:v>
                </c:pt>
                <c:pt idx="4833">
                  <c:v>1.5302090968E-2</c:v>
                </c:pt>
                <c:pt idx="4834">
                  <c:v>1.5296112212E-2</c:v>
                </c:pt>
                <c:pt idx="4835">
                  <c:v>1.5284239079999999E-2</c:v>
                </c:pt>
                <c:pt idx="4836">
                  <c:v>1.5266618296E-2</c:v>
                </c:pt>
                <c:pt idx="4837">
                  <c:v>1.5242173372E-2</c:v>
                </c:pt>
                <c:pt idx="4838">
                  <c:v>1.5237407836E-2</c:v>
                </c:pt>
                <c:pt idx="4839">
                  <c:v>1.5234522488E-2</c:v>
                </c:pt>
                <c:pt idx="4840">
                  <c:v>1.5214939483999899E-2</c:v>
                </c:pt>
                <c:pt idx="4841">
                  <c:v>1.5184197611999999E-2</c:v>
                </c:pt>
                <c:pt idx="4842">
                  <c:v>1.5167762479999999E-2</c:v>
                </c:pt>
                <c:pt idx="4843">
                  <c:v>1.5143199812E-2</c:v>
                </c:pt>
                <c:pt idx="4844">
                  <c:v>1.5111235252E-2</c:v>
                </c:pt>
                <c:pt idx="4845">
                  <c:v>1.50748787239999E-2</c:v>
                </c:pt>
                <c:pt idx="4846">
                  <c:v>1.5056081048E-2</c:v>
                </c:pt>
                <c:pt idx="4847">
                  <c:v>1.5045337644E-2</c:v>
                </c:pt>
                <c:pt idx="4848">
                  <c:v>1.5029693068E-2</c:v>
                </c:pt>
                <c:pt idx="4849">
                  <c:v>1.5019987627999999E-2</c:v>
                </c:pt>
                <c:pt idx="4850">
                  <c:v>1.500838052E-2</c:v>
                </c:pt>
                <c:pt idx="4851">
                  <c:v>1.4999580752000001E-2</c:v>
                </c:pt>
                <c:pt idx="4852">
                  <c:v>1.49998621999999E-2</c:v>
                </c:pt>
                <c:pt idx="4853">
                  <c:v>1.5000229024E-2</c:v>
                </c:pt>
                <c:pt idx="4854">
                  <c:v>1.4998756631999999E-2</c:v>
                </c:pt>
                <c:pt idx="4855">
                  <c:v>1.5000246352E-2</c:v>
                </c:pt>
                <c:pt idx="4856">
                  <c:v>1.5001665644E-2</c:v>
                </c:pt>
                <c:pt idx="4857">
                  <c:v>1.4996446144E-2</c:v>
                </c:pt>
                <c:pt idx="4858">
                  <c:v>1.4998810676E-2</c:v>
                </c:pt>
                <c:pt idx="4859">
                  <c:v>1.4998527467999999E-2</c:v>
                </c:pt>
                <c:pt idx="4860">
                  <c:v>1.4958320524E-2</c:v>
                </c:pt>
              </c:numCache>
            </c:numRef>
          </c:val>
          <c:smooth val="0"/>
          <c:extLst>
            <c:ext xmlns:c16="http://schemas.microsoft.com/office/drawing/2014/chart" uri="{C3380CC4-5D6E-409C-BE32-E72D297353CC}">
              <c16:uniqueId val="{00000002-B3F6-43F2-BF45-C417764AEFF5}"/>
            </c:ext>
          </c:extLst>
        </c:ser>
        <c:dLbls>
          <c:showLegendKey val="0"/>
          <c:showVal val="0"/>
          <c:showCatName val="0"/>
          <c:showSerName val="0"/>
          <c:showPercent val="0"/>
          <c:showBubbleSize val="0"/>
        </c:dLbls>
        <c:marker val="1"/>
        <c:smooth val="0"/>
        <c:axId val="624872400"/>
        <c:axId val="624871120"/>
      </c:lineChart>
      <c:dateAx>
        <c:axId val="282592720"/>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zh-CN"/>
          </a:p>
        </c:txPr>
        <c:crossAx val="282589200"/>
        <c:crosses val="autoZero"/>
        <c:auto val="1"/>
        <c:lblOffset val="100"/>
        <c:baseTimeUnit val="days"/>
        <c:majorUnit val="2"/>
        <c:majorTimeUnit val="years"/>
      </c:dateAx>
      <c:valAx>
        <c:axId val="282589200"/>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zh-CN"/>
          </a:p>
        </c:txPr>
        <c:crossAx val="282592720"/>
        <c:crosses val="autoZero"/>
        <c:crossBetween val="between"/>
      </c:valAx>
      <c:valAx>
        <c:axId val="624871120"/>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zh-CN"/>
          </a:p>
        </c:txPr>
        <c:crossAx val="624872400"/>
        <c:crosses val="max"/>
        <c:crossBetween val="between"/>
      </c:valAx>
      <c:dateAx>
        <c:axId val="624872400"/>
        <c:scaling>
          <c:orientation val="minMax"/>
        </c:scaling>
        <c:delete val="1"/>
        <c:axPos val="b"/>
        <c:numFmt formatCode="m/d/yyyy" sourceLinked="1"/>
        <c:majorTickMark val="out"/>
        <c:minorTickMark val="none"/>
        <c:tickLblPos val="nextTo"/>
        <c:crossAx val="624871120"/>
        <c:crosses val="autoZero"/>
        <c:auto val="1"/>
        <c:lblOffset val="100"/>
        <c:baseTimeUnit val="days"/>
      </c:dateAx>
      <c:spPr>
        <a:noFill/>
        <a:ln>
          <a:noFill/>
        </a:ln>
        <a:effectLst/>
      </c:spPr>
    </c:plotArea>
    <c:legend>
      <c:legendPos val="b"/>
      <c:layout>
        <c:manualLayout>
          <c:xMode val="edge"/>
          <c:yMode val="edge"/>
          <c:x val="0.18935150271708995"/>
          <c:y val="0.89116976283946348"/>
          <c:w val="0.6212969945658201"/>
          <c:h val="6.9034191892535013E-2"/>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pPr>
      <a:endParaRPr lang="zh-CN"/>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indicators!$G$1</c:f>
              <c:strCache>
                <c:ptCount val="1"/>
                <c:pt idx="0">
                  <c:v>close price</c:v>
                </c:pt>
              </c:strCache>
            </c:strRef>
          </c:tx>
          <c:spPr>
            <a:ln w="28575" cap="rnd">
              <a:solidFill>
                <a:schemeClr val="accent1"/>
              </a:solidFill>
              <a:round/>
            </a:ln>
            <a:effectLst/>
          </c:spPr>
          <c:marker>
            <c:symbol val="none"/>
          </c:marker>
          <c:cat>
            <c:numRef>
              <c:f>indicators!$A$2:$A$3224</c:f>
              <c:numCache>
                <c:formatCode>yyyy\-mm\-dd;@</c:formatCode>
                <c:ptCount val="3223"/>
                <c:pt idx="0">
                  <c:v>39818</c:v>
                </c:pt>
                <c:pt idx="1">
                  <c:v>39819</c:v>
                </c:pt>
                <c:pt idx="2">
                  <c:v>39820</c:v>
                </c:pt>
                <c:pt idx="3">
                  <c:v>39821</c:v>
                </c:pt>
                <c:pt idx="4">
                  <c:v>39822</c:v>
                </c:pt>
                <c:pt idx="5">
                  <c:v>39825</c:v>
                </c:pt>
                <c:pt idx="6">
                  <c:v>39826</c:v>
                </c:pt>
                <c:pt idx="7">
                  <c:v>39827</c:v>
                </c:pt>
                <c:pt idx="8">
                  <c:v>39828</c:v>
                </c:pt>
                <c:pt idx="9">
                  <c:v>39829</c:v>
                </c:pt>
                <c:pt idx="10">
                  <c:v>39832</c:v>
                </c:pt>
                <c:pt idx="11">
                  <c:v>39833</c:v>
                </c:pt>
                <c:pt idx="12">
                  <c:v>39834</c:v>
                </c:pt>
                <c:pt idx="13">
                  <c:v>39835</c:v>
                </c:pt>
                <c:pt idx="14">
                  <c:v>39836</c:v>
                </c:pt>
                <c:pt idx="15">
                  <c:v>39846</c:v>
                </c:pt>
                <c:pt idx="16">
                  <c:v>39847</c:v>
                </c:pt>
                <c:pt idx="17">
                  <c:v>39848</c:v>
                </c:pt>
                <c:pt idx="18">
                  <c:v>39849</c:v>
                </c:pt>
                <c:pt idx="19">
                  <c:v>39850</c:v>
                </c:pt>
                <c:pt idx="20">
                  <c:v>39853</c:v>
                </c:pt>
                <c:pt idx="21">
                  <c:v>39854</c:v>
                </c:pt>
                <c:pt idx="22">
                  <c:v>39855</c:v>
                </c:pt>
                <c:pt idx="23">
                  <c:v>39856</c:v>
                </c:pt>
                <c:pt idx="24">
                  <c:v>39857</c:v>
                </c:pt>
                <c:pt idx="25">
                  <c:v>39860</c:v>
                </c:pt>
                <c:pt idx="26">
                  <c:v>39861</c:v>
                </c:pt>
                <c:pt idx="27">
                  <c:v>39862</c:v>
                </c:pt>
                <c:pt idx="28">
                  <c:v>39863</c:v>
                </c:pt>
                <c:pt idx="29">
                  <c:v>39864</c:v>
                </c:pt>
                <c:pt idx="30">
                  <c:v>39867</c:v>
                </c:pt>
                <c:pt idx="31">
                  <c:v>39868</c:v>
                </c:pt>
                <c:pt idx="32">
                  <c:v>39869</c:v>
                </c:pt>
                <c:pt idx="33">
                  <c:v>39870</c:v>
                </c:pt>
                <c:pt idx="34">
                  <c:v>39871</c:v>
                </c:pt>
                <c:pt idx="35">
                  <c:v>39874</c:v>
                </c:pt>
                <c:pt idx="36">
                  <c:v>39875</c:v>
                </c:pt>
                <c:pt idx="37">
                  <c:v>39876</c:v>
                </c:pt>
                <c:pt idx="38">
                  <c:v>39877</c:v>
                </c:pt>
                <c:pt idx="39">
                  <c:v>39878</c:v>
                </c:pt>
                <c:pt idx="40">
                  <c:v>39881</c:v>
                </c:pt>
                <c:pt idx="41">
                  <c:v>39882</c:v>
                </c:pt>
                <c:pt idx="42">
                  <c:v>39883</c:v>
                </c:pt>
                <c:pt idx="43">
                  <c:v>39884</c:v>
                </c:pt>
                <c:pt idx="44">
                  <c:v>39885</c:v>
                </c:pt>
                <c:pt idx="45">
                  <c:v>39888</c:v>
                </c:pt>
                <c:pt idx="46">
                  <c:v>39889</c:v>
                </c:pt>
                <c:pt idx="47">
                  <c:v>39890</c:v>
                </c:pt>
                <c:pt idx="48">
                  <c:v>39891</c:v>
                </c:pt>
                <c:pt idx="49">
                  <c:v>39892</c:v>
                </c:pt>
                <c:pt idx="50">
                  <c:v>39895</c:v>
                </c:pt>
                <c:pt idx="51">
                  <c:v>39896</c:v>
                </c:pt>
                <c:pt idx="52">
                  <c:v>39897</c:v>
                </c:pt>
                <c:pt idx="53">
                  <c:v>39898</c:v>
                </c:pt>
                <c:pt idx="54">
                  <c:v>39899</c:v>
                </c:pt>
                <c:pt idx="55">
                  <c:v>39902</c:v>
                </c:pt>
                <c:pt idx="56">
                  <c:v>39903</c:v>
                </c:pt>
                <c:pt idx="57">
                  <c:v>39904</c:v>
                </c:pt>
                <c:pt idx="58">
                  <c:v>39905</c:v>
                </c:pt>
                <c:pt idx="59">
                  <c:v>39906</c:v>
                </c:pt>
                <c:pt idx="60">
                  <c:v>39910</c:v>
                </c:pt>
                <c:pt idx="61">
                  <c:v>39911</c:v>
                </c:pt>
                <c:pt idx="62">
                  <c:v>39912</c:v>
                </c:pt>
                <c:pt idx="63">
                  <c:v>39913</c:v>
                </c:pt>
                <c:pt idx="64">
                  <c:v>39916</c:v>
                </c:pt>
                <c:pt idx="65">
                  <c:v>39917</c:v>
                </c:pt>
                <c:pt idx="66">
                  <c:v>39918</c:v>
                </c:pt>
                <c:pt idx="67">
                  <c:v>39919</c:v>
                </c:pt>
                <c:pt idx="68">
                  <c:v>39920</c:v>
                </c:pt>
                <c:pt idx="69">
                  <c:v>39923</c:v>
                </c:pt>
                <c:pt idx="70">
                  <c:v>39924</c:v>
                </c:pt>
                <c:pt idx="71">
                  <c:v>39925</c:v>
                </c:pt>
                <c:pt idx="72">
                  <c:v>39926</c:v>
                </c:pt>
                <c:pt idx="73">
                  <c:v>39927</c:v>
                </c:pt>
                <c:pt idx="74">
                  <c:v>39930</c:v>
                </c:pt>
                <c:pt idx="75">
                  <c:v>39931</c:v>
                </c:pt>
                <c:pt idx="76">
                  <c:v>39932</c:v>
                </c:pt>
                <c:pt idx="77">
                  <c:v>39933</c:v>
                </c:pt>
                <c:pt idx="78">
                  <c:v>39937</c:v>
                </c:pt>
                <c:pt idx="79">
                  <c:v>39938</c:v>
                </c:pt>
                <c:pt idx="80">
                  <c:v>39939</c:v>
                </c:pt>
                <c:pt idx="81">
                  <c:v>39940</c:v>
                </c:pt>
                <c:pt idx="82">
                  <c:v>39941</c:v>
                </c:pt>
                <c:pt idx="83">
                  <c:v>39944</c:v>
                </c:pt>
                <c:pt idx="84">
                  <c:v>39945</c:v>
                </c:pt>
                <c:pt idx="85">
                  <c:v>39946</c:v>
                </c:pt>
                <c:pt idx="86">
                  <c:v>39947</c:v>
                </c:pt>
                <c:pt idx="87">
                  <c:v>39948</c:v>
                </c:pt>
                <c:pt idx="88">
                  <c:v>39951</c:v>
                </c:pt>
                <c:pt idx="89">
                  <c:v>39952</c:v>
                </c:pt>
                <c:pt idx="90">
                  <c:v>39953</c:v>
                </c:pt>
                <c:pt idx="91">
                  <c:v>39954</c:v>
                </c:pt>
                <c:pt idx="92">
                  <c:v>39955</c:v>
                </c:pt>
                <c:pt idx="93">
                  <c:v>39958</c:v>
                </c:pt>
                <c:pt idx="94">
                  <c:v>39959</c:v>
                </c:pt>
                <c:pt idx="95">
                  <c:v>39960</c:v>
                </c:pt>
                <c:pt idx="96">
                  <c:v>39965</c:v>
                </c:pt>
                <c:pt idx="97">
                  <c:v>39966</c:v>
                </c:pt>
                <c:pt idx="98">
                  <c:v>39967</c:v>
                </c:pt>
                <c:pt idx="99">
                  <c:v>39968</c:v>
                </c:pt>
                <c:pt idx="100">
                  <c:v>39969</c:v>
                </c:pt>
                <c:pt idx="101">
                  <c:v>39972</c:v>
                </c:pt>
                <c:pt idx="102">
                  <c:v>39973</c:v>
                </c:pt>
                <c:pt idx="103">
                  <c:v>39974</c:v>
                </c:pt>
                <c:pt idx="104">
                  <c:v>39975</c:v>
                </c:pt>
                <c:pt idx="105">
                  <c:v>39976</c:v>
                </c:pt>
                <c:pt idx="106">
                  <c:v>39979</c:v>
                </c:pt>
                <c:pt idx="107">
                  <c:v>39980</c:v>
                </c:pt>
                <c:pt idx="108">
                  <c:v>39981</c:v>
                </c:pt>
                <c:pt idx="109">
                  <c:v>39982</c:v>
                </c:pt>
                <c:pt idx="110">
                  <c:v>39983</c:v>
                </c:pt>
                <c:pt idx="111">
                  <c:v>39986</c:v>
                </c:pt>
                <c:pt idx="112">
                  <c:v>39987</c:v>
                </c:pt>
                <c:pt idx="113">
                  <c:v>39988</c:v>
                </c:pt>
                <c:pt idx="114">
                  <c:v>39989</c:v>
                </c:pt>
                <c:pt idx="115">
                  <c:v>39990</c:v>
                </c:pt>
                <c:pt idx="116">
                  <c:v>39993</c:v>
                </c:pt>
                <c:pt idx="117">
                  <c:v>39994</c:v>
                </c:pt>
                <c:pt idx="118">
                  <c:v>39995</c:v>
                </c:pt>
                <c:pt idx="119">
                  <c:v>39996</c:v>
                </c:pt>
                <c:pt idx="120">
                  <c:v>39997</c:v>
                </c:pt>
                <c:pt idx="121">
                  <c:v>40000</c:v>
                </c:pt>
                <c:pt idx="122">
                  <c:v>40001</c:v>
                </c:pt>
                <c:pt idx="123">
                  <c:v>40002</c:v>
                </c:pt>
                <c:pt idx="124">
                  <c:v>40003</c:v>
                </c:pt>
                <c:pt idx="125">
                  <c:v>40004</c:v>
                </c:pt>
                <c:pt idx="126">
                  <c:v>40007</c:v>
                </c:pt>
                <c:pt idx="127">
                  <c:v>40008</c:v>
                </c:pt>
                <c:pt idx="128">
                  <c:v>40009</c:v>
                </c:pt>
                <c:pt idx="129">
                  <c:v>40010</c:v>
                </c:pt>
                <c:pt idx="130">
                  <c:v>40011</c:v>
                </c:pt>
                <c:pt idx="131">
                  <c:v>40014</c:v>
                </c:pt>
                <c:pt idx="132">
                  <c:v>40015</c:v>
                </c:pt>
                <c:pt idx="133">
                  <c:v>40016</c:v>
                </c:pt>
                <c:pt idx="134">
                  <c:v>40017</c:v>
                </c:pt>
                <c:pt idx="135">
                  <c:v>40018</c:v>
                </c:pt>
                <c:pt idx="136">
                  <c:v>40021</c:v>
                </c:pt>
                <c:pt idx="137">
                  <c:v>40022</c:v>
                </c:pt>
                <c:pt idx="138">
                  <c:v>40023</c:v>
                </c:pt>
                <c:pt idx="139">
                  <c:v>40024</c:v>
                </c:pt>
                <c:pt idx="140">
                  <c:v>40025</c:v>
                </c:pt>
                <c:pt idx="141">
                  <c:v>40028</c:v>
                </c:pt>
                <c:pt idx="142">
                  <c:v>40029</c:v>
                </c:pt>
                <c:pt idx="143">
                  <c:v>40030</c:v>
                </c:pt>
                <c:pt idx="144">
                  <c:v>40031</c:v>
                </c:pt>
                <c:pt idx="145">
                  <c:v>40032</c:v>
                </c:pt>
                <c:pt idx="146">
                  <c:v>40035</c:v>
                </c:pt>
                <c:pt idx="147">
                  <c:v>40036</c:v>
                </c:pt>
                <c:pt idx="148">
                  <c:v>40037</c:v>
                </c:pt>
                <c:pt idx="149">
                  <c:v>40038</c:v>
                </c:pt>
                <c:pt idx="150">
                  <c:v>40039</c:v>
                </c:pt>
                <c:pt idx="151">
                  <c:v>40042</c:v>
                </c:pt>
                <c:pt idx="152">
                  <c:v>40043</c:v>
                </c:pt>
                <c:pt idx="153">
                  <c:v>40044</c:v>
                </c:pt>
                <c:pt idx="154">
                  <c:v>40045</c:v>
                </c:pt>
                <c:pt idx="155">
                  <c:v>40046</c:v>
                </c:pt>
                <c:pt idx="156">
                  <c:v>40049</c:v>
                </c:pt>
                <c:pt idx="157">
                  <c:v>40050</c:v>
                </c:pt>
                <c:pt idx="158">
                  <c:v>40051</c:v>
                </c:pt>
                <c:pt idx="159">
                  <c:v>40052</c:v>
                </c:pt>
                <c:pt idx="160">
                  <c:v>40053</c:v>
                </c:pt>
                <c:pt idx="161">
                  <c:v>40056</c:v>
                </c:pt>
                <c:pt idx="162">
                  <c:v>40057</c:v>
                </c:pt>
                <c:pt idx="163">
                  <c:v>40058</c:v>
                </c:pt>
                <c:pt idx="164">
                  <c:v>40059</c:v>
                </c:pt>
                <c:pt idx="165">
                  <c:v>40060</c:v>
                </c:pt>
                <c:pt idx="166">
                  <c:v>40063</c:v>
                </c:pt>
                <c:pt idx="167">
                  <c:v>40064</c:v>
                </c:pt>
                <c:pt idx="168">
                  <c:v>40065</c:v>
                </c:pt>
                <c:pt idx="169">
                  <c:v>40066</c:v>
                </c:pt>
                <c:pt idx="170">
                  <c:v>40067</c:v>
                </c:pt>
                <c:pt idx="171">
                  <c:v>40070</c:v>
                </c:pt>
                <c:pt idx="172">
                  <c:v>40071</c:v>
                </c:pt>
                <c:pt idx="173">
                  <c:v>40072</c:v>
                </c:pt>
                <c:pt idx="174">
                  <c:v>40073</c:v>
                </c:pt>
                <c:pt idx="175">
                  <c:v>40074</c:v>
                </c:pt>
                <c:pt idx="176">
                  <c:v>40077</c:v>
                </c:pt>
                <c:pt idx="177">
                  <c:v>40078</c:v>
                </c:pt>
                <c:pt idx="178">
                  <c:v>40079</c:v>
                </c:pt>
                <c:pt idx="179">
                  <c:v>40080</c:v>
                </c:pt>
                <c:pt idx="180">
                  <c:v>40081</c:v>
                </c:pt>
                <c:pt idx="181">
                  <c:v>40084</c:v>
                </c:pt>
                <c:pt idx="182">
                  <c:v>40085</c:v>
                </c:pt>
                <c:pt idx="183">
                  <c:v>40086</c:v>
                </c:pt>
                <c:pt idx="184">
                  <c:v>40095</c:v>
                </c:pt>
                <c:pt idx="185">
                  <c:v>40098</c:v>
                </c:pt>
                <c:pt idx="186">
                  <c:v>40099</c:v>
                </c:pt>
                <c:pt idx="187">
                  <c:v>40100</c:v>
                </c:pt>
                <c:pt idx="188">
                  <c:v>40101</c:v>
                </c:pt>
                <c:pt idx="189">
                  <c:v>40102</c:v>
                </c:pt>
                <c:pt idx="190">
                  <c:v>40105</c:v>
                </c:pt>
                <c:pt idx="191">
                  <c:v>40106</c:v>
                </c:pt>
                <c:pt idx="192">
                  <c:v>40107</c:v>
                </c:pt>
                <c:pt idx="193">
                  <c:v>40108</c:v>
                </c:pt>
                <c:pt idx="194">
                  <c:v>40109</c:v>
                </c:pt>
                <c:pt idx="195">
                  <c:v>40112</c:v>
                </c:pt>
                <c:pt idx="196">
                  <c:v>40113</c:v>
                </c:pt>
                <c:pt idx="197">
                  <c:v>40114</c:v>
                </c:pt>
                <c:pt idx="198">
                  <c:v>40115</c:v>
                </c:pt>
                <c:pt idx="199">
                  <c:v>40116</c:v>
                </c:pt>
                <c:pt idx="200">
                  <c:v>40119</c:v>
                </c:pt>
                <c:pt idx="201">
                  <c:v>40120</c:v>
                </c:pt>
                <c:pt idx="202">
                  <c:v>40121</c:v>
                </c:pt>
                <c:pt idx="203">
                  <c:v>40122</c:v>
                </c:pt>
                <c:pt idx="204">
                  <c:v>40123</c:v>
                </c:pt>
                <c:pt idx="205">
                  <c:v>40126</c:v>
                </c:pt>
                <c:pt idx="206">
                  <c:v>40127</c:v>
                </c:pt>
                <c:pt idx="207">
                  <c:v>40128</c:v>
                </c:pt>
                <c:pt idx="208">
                  <c:v>40129</c:v>
                </c:pt>
                <c:pt idx="209">
                  <c:v>40130</c:v>
                </c:pt>
                <c:pt idx="210">
                  <c:v>40133</c:v>
                </c:pt>
                <c:pt idx="211">
                  <c:v>40134</c:v>
                </c:pt>
                <c:pt idx="212">
                  <c:v>40135</c:v>
                </c:pt>
                <c:pt idx="213">
                  <c:v>40136</c:v>
                </c:pt>
                <c:pt idx="214">
                  <c:v>40137</c:v>
                </c:pt>
                <c:pt idx="215">
                  <c:v>40140</c:v>
                </c:pt>
                <c:pt idx="216">
                  <c:v>40141</c:v>
                </c:pt>
                <c:pt idx="217">
                  <c:v>40142</c:v>
                </c:pt>
                <c:pt idx="218">
                  <c:v>40143</c:v>
                </c:pt>
                <c:pt idx="219">
                  <c:v>40144</c:v>
                </c:pt>
                <c:pt idx="220">
                  <c:v>40147</c:v>
                </c:pt>
                <c:pt idx="221">
                  <c:v>40148</c:v>
                </c:pt>
                <c:pt idx="222">
                  <c:v>40149</c:v>
                </c:pt>
                <c:pt idx="223">
                  <c:v>40150</c:v>
                </c:pt>
                <c:pt idx="224">
                  <c:v>40151</c:v>
                </c:pt>
                <c:pt idx="225">
                  <c:v>40154</c:v>
                </c:pt>
                <c:pt idx="226">
                  <c:v>40155</c:v>
                </c:pt>
                <c:pt idx="227">
                  <c:v>40156</c:v>
                </c:pt>
                <c:pt idx="228">
                  <c:v>40157</c:v>
                </c:pt>
                <c:pt idx="229">
                  <c:v>40158</c:v>
                </c:pt>
                <c:pt idx="230">
                  <c:v>40161</c:v>
                </c:pt>
                <c:pt idx="231">
                  <c:v>40162</c:v>
                </c:pt>
                <c:pt idx="232">
                  <c:v>40163</c:v>
                </c:pt>
                <c:pt idx="233">
                  <c:v>40164</c:v>
                </c:pt>
                <c:pt idx="234">
                  <c:v>40165</c:v>
                </c:pt>
                <c:pt idx="235">
                  <c:v>40168</c:v>
                </c:pt>
                <c:pt idx="236">
                  <c:v>40169</c:v>
                </c:pt>
                <c:pt idx="237">
                  <c:v>40170</c:v>
                </c:pt>
                <c:pt idx="238">
                  <c:v>40171</c:v>
                </c:pt>
                <c:pt idx="239">
                  <c:v>40172</c:v>
                </c:pt>
                <c:pt idx="240">
                  <c:v>40175</c:v>
                </c:pt>
                <c:pt idx="241">
                  <c:v>40176</c:v>
                </c:pt>
                <c:pt idx="242">
                  <c:v>40177</c:v>
                </c:pt>
                <c:pt idx="243">
                  <c:v>40178</c:v>
                </c:pt>
                <c:pt idx="244">
                  <c:v>40182</c:v>
                </c:pt>
                <c:pt idx="245">
                  <c:v>40183</c:v>
                </c:pt>
                <c:pt idx="246">
                  <c:v>40184</c:v>
                </c:pt>
                <c:pt idx="247">
                  <c:v>40185</c:v>
                </c:pt>
                <c:pt idx="248">
                  <c:v>40186</c:v>
                </c:pt>
                <c:pt idx="249">
                  <c:v>40189</c:v>
                </c:pt>
                <c:pt idx="250">
                  <c:v>40190</c:v>
                </c:pt>
                <c:pt idx="251">
                  <c:v>40191</c:v>
                </c:pt>
                <c:pt idx="252">
                  <c:v>40192</c:v>
                </c:pt>
                <c:pt idx="253">
                  <c:v>40193</c:v>
                </c:pt>
                <c:pt idx="254">
                  <c:v>40196</c:v>
                </c:pt>
                <c:pt idx="255">
                  <c:v>40197</c:v>
                </c:pt>
                <c:pt idx="256">
                  <c:v>40198</c:v>
                </c:pt>
                <c:pt idx="257">
                  <c:v>40199</c:v>
                </c:pt>
                <c:pt idx="258">
                  <c:v>40200</c:v>
                </c:pt>
                <c:pt idx="259">
                  <c:v>40203</c:v>
                </c:pt>
                <c:pt idx="260">
                  <c:v>40204</c:v>
                </c:pt>
                <c:pt idx="261">
                  <c:v>40205</c:v>
                </c:pt>
                <c:pt idx="262">
                  <c:v>40206</c:v>
                </c:pt>
                <c:pt idx="263">
                  <c:v>40207</c:v>
                </c:pt>
                <c:pt idx="264">
                  <c:v>40210</c:v>
                </c:pt>
                <c:pt idx="265">
                  <c:v>40211</c:v>
                </c:pt>
                <c:pt idx="266">
                  <c:v>40212</c:v>
                </c:pt>
                <c:pt idx="267">
                  <c:v>40213</c:v>
                </c:pt>
                <c:pt idx="268">
                  <c:v>40214</c:v>
                </c:pt>
                <c:pt idx="269">
                  <c:v>40217</c:v>
                </c:pt>
                <c:pt idx="270">
                  <c:v>40218</c:v>
                </c:pt>
                <c:pt idx="271">
                  <c:v>40219</c:v>
                </c:pt>
                <c:pt idx="272">
                  <c:v>40220</c:v>
                </c:pt>
                <c:pt idx="273">
                  <c:v>40221</c:v>
                </c:pt>
                <c:pt idx="274">
                  <c:v>40231</c:v>
                </c:pt>
                <c:pt idx="275">
                  <c:v>40232</c:v>
                </c:pt>
                <c:pt idx="276">
                  <c:v>40233</c:v>
                </c:pt>
                <c:pt idx="277">
                  <c:v>40234</c:v>
                </c:pt>
                <c:pt idx="278">
                  <c:v>40235</c:v>
                </c:pt>
                <c:pt idx="279">
                  <c:v>40238</c:v>
                </c:pt>
                <c:pt idx="280">
                  <c:v>40239</c:v>
                </c:pt>
                <c:pt idx="281">
                  <c:v>40240</c:v>
                </c:pt>
                <c:pt idx="282">
                  <c:v>40241</c:v>
                </c:pt>
                <c:pt idx="283">
                  <c:v>40242</c:v>
                </c:pt>
                <c:pt idx="284">
                  <c:v>40245</c:v>
                </c:pt>
                <c:pt idx="285">
                  <c:v>40246</c:v>
                </c:pt>
                <c:pt idx="286">
                  <c:v>40247</c:v>
                </c:pt>
                <c:pt idx="287">
                  <c:v>40248</c:v>
                </c:pt>
                <c:pt idx="288">
                  <c:v>40249</c:v>
                </c:pt>
                <c:pt idx="289">
                  <c:v>40252</c:v>
                </c:pt>
                <c:pt idx="290">
                  <c:v>40253</c:v>
                </c:pt>
                <c:pt idx="291">
                  <c:v>40254</c:v>
                </c:pt>
                <c:pt idx="292">
                  <c:v>40255</c:v>
                </c:pt>
                <c:pt idx="293">
                  <c:v>40256</c:v>
                </c:pt>
                <c:pt idx="294">
                  <c:v>40259</c:v>
                </c:pt>
                <c:pt idx="295">
                  <c:v>40260</c:v>
                </c:pt>
                <c:pt idx="296">
                  <c:v>40261</c:v>
                </c:pt>
                <c:pt idx="297">
                  <c:v>40262</c:v>
                </c:pt>
                <c:pt idx="298">
                  <c:v>40263</c:v>
                </c:pt>
                <c:pt idx="299">
                  <c:v>40266</c:v>
                </c:pt>
                <c:pt idx="300">
                  <c:v>40267</c:v>
                </c:pt>
                <c:pt idx="301">
                  <c:v>40268</c:v>
                </c:pt>
                <c:pt idx="302">
                  <c:v>40269</c:v>
                </c:pt>
                <c:pt idx="303">
                  <c:v>40270</c:v>
                </c:pt>
                <c:pt idx="304">
                  <c:v>40274</c:v>
                </c:pt>
                <c:pt idx="305">
                  <c:v>40275</c:v>
                </c:pt>
                <c:pt idx="306">
                  <c:v>40276</c:v>
                </c:pt>
                <c:pt idx="307">
                  <c:v>40277</c:v>
                </c:pt>
                <c:pt idx="308">
                  <c:v>40280</c:v>
                </c:pt>
                <c:pt idx="309">
                  <c:v>40281</c:v>
                </c:pt>
                <c:pt idx="310">
                  <c:v>40282</c:v>
                </c:pt>
                <c:pt idx="311">
                  <c:v>40283</c:v>
                </c:pt>
                <c:pt idx="312">
                  <c:v>40284</c:v>
                </c:pt>
                <c:pt idx="313">
                  <c:v>40287</c:v>
                </c:pt>
                <c:pt idx="314">
                  <c:v>40288</c:v>
                </c:pt>
                <c:pt idx="315">
                  <c:v>40289</c:v>
                </c:pt>
                <c:pt idx="316">
                  <c:v>40290</c:v>
                </c:pt>
                <c:pt idx="317">
                  <c:v>40291</c:v>
                </c:pt>
                <c:pt idx="318">
                  <c:v>40294</c:v>
                </c:pt>
                <c:pt idx="319">
                  <c:v>40295</c:v>
                </c:pt>
                <c:pt idx="320">
                  <c:v>40296</c:v>
                </c:pt>
                <c:pt idx="321">
                  <c:v>40297</c:v>
                </c:pt>
                <c:pt idx="322">
                  <c:v>40298</c:v>
                </c:pt>
                <c:pt idx="323">
                  <c:v>40302</c:v>
                </c:pt>
                <c:pt idx="324">
                  <c:v>40303</c:v>
                </c:pt>
                <c:pt idx="325">
                  <c:v>40304</c:v>
                </c:pt>
                <c:pt idx="326">
                  <c:v>40305</c:v>
                </c:pt>
                <c:pt idx="327">
                  <c:v>40308</c:v>
                </c:pt>
                <c:pt idx="328">
                  <c:v>40309</c:v>
                </c:pt>
                <c:pt idx="329">
                  <c:v>40310</c:v>
                </c:pt>
                <c:pt idx="330">
                  <c:v>40311</c:v>
                </c:pt>
                <c:pt idx="331">
                  <c:v>40312</c:v>
                </c:pt>
                <c:pt idx="332">
                  <c:v>40315</c:v>
                </c:pt>
                <c:pt idx="333">
                  <c:v>40316</c:v>
                </c:pt>
                <c:pt idx="334">
                  <c:v>40317</c:v>
                </c:pt>
                <c:pt idx="335">
                  <c:v>40318</c:v>
                </c:pt>
                <c:pt idx="336">
                  <c:v>40319</c:v>
                </c:pt>
                <c:pt idx="337">
                  <c:v>40322</c:v>
                </c:pt>
                <c:pt idx="338">
                  <c:v>40323</c:v>
                </c:pt>
                <c:pt idx="339">
                  <c:v>40324</c:v>
                </c:pt>
                <c:pt idx="340">
                  <c:v>40325</c:v>
                </c:pt>
                <c:pt idx="341">
                  <c:v>40326</c:v>
                </c:pt>
                <c:pt idx="342">
                  <c:v>40329</c:v>
                </c:pt>
                <c:pt idx="343">
                  <c:v>40330</c:v>
                </c:pt>
                <c:pt idx="344">
                  <c:v>40331</c:v>
                </c:pt>
                <c:pt idx="345">
                  <c:v>40332</c:v>
                </c:pt>
                <c:pt idx="346">
                  <c:v>40333</c:v>
                </c:pt>
                <c:pt idx="347">
                  <c:v>40336</c:v>
                </c:pt>
                <c:pt idx="348">
                  <c:v>40337</c:v>
                </c:pt>
                <c:pt idx="349">
                  <c:v>40338</c:v>
                </c:pt>
                <c:pt idx="350">
                  <c:v>40339</c:v>
                </c:pt>
                <c:pt idx="351">
                  <c:v>40340</c:v>
                </c:pt>
                <c:pt idx="352">
                  <c:v>40346</c:v>
                </c:pt>
                <c:pt idx="353">
                  <c:v>40347</c:v>
                </c:pt>
                <c:pt idx="354">
                  <c:v>40350</c:v>
                </c:pt>
                <c:pt idx="355">
                  <c:v>40351</c:v>
                </c:pt>
                <c:pt idx="356">
                  <c:v>40352</c:v>
                </c:pt>
                <c:pt idx="357">
                  <c:v>40353</c:v>
                </c:pt>
                <c:pt idx="358">
                  <c:v>40354</c:v>
                </c:pt>
                <c:pt idx="359">
                  <c:v>40357</c:v>
                </c:pt>
                <c:pt idx="360">
                  <c:v>40358</c:v>
                </c:pt>
                <c:pt idx="361">
                  <c:v>40359</c:v>
                </c:pt>
                <c:pt idx="362">
                  <c:v>40360</c:v>
                </c:pt>
                <c:pt idx="363">
                  <c:v>40361</c:v>
                </c:pt>
                <c:pt idx="364">
                  <c:v>40364</c:v>
                </c:pt>
                <c:pt idx="365">
                  <c:v>40365</c:v>
                </c:pt>
                <c:pt idx="366">
                  <c:v>40366</c:v>
                </c:pt>
                <c:pt idx="367">
                  <c:v>40367</c:v>
                </c:pt>
                <c:pt idx="368">
                  <c:v>40368</c:v>
                </c:pt>
                <c:pt idx="369">
                  <c:v>40371</c:v>
                </c:pt>
                <c:pt idx="370">
                  <c:v>40372</c:v>
                </c:pt>
                <c:pt idx="371">
                  <c:v>40373</c:v>
                </c:pt>
                <c:pt idx="372">
                  <c:v>40374</c:v>
                </c:pt>
                <c:pt idx="373">
                  <c:v>40375</c:v>
                </c:pt>
                <c:pt idx="374">
                  <c:v>40378</c:v>
                </c:pt>
                <c:pt idx="375">
                  <c:v>40379</c:v>
                </c:pt>
                <c:pt idx="376">
                  <c:v>40380</c:v>
                </c:pt>
                <c:pt idx="377">
                  <c:v>40381</c:v>
                </c:pt>
                <c:pt idx="378">
                  <c:v>40382</c:v>
                </c:pt>
                <c:pt idx="379">
                  <c:v>40385</c:v>
                </c:pt>
                <c:pt idx="380">
                  <c:v>40386</c:v>
                </c:pt>
                <c:pt idx="381">
                  <c:v>40387</c:v>
                </c:pt>
                <c:pt idx="382">
                  <c:v>40388</c:v>
                </c:pt>
                <c:pt idx="383">
                  <c:v>40389</c:v>
                </c:pt>
                <c:pt idx="384">
                  <c:v>40392</c:v>
                </c:pt>
                <c:pt idx="385">
                  <c:v>40393</c:v>
                </c:pt>
                <c:pt idx="386">
                  <c:v>40394</c:v>
                </c:pt>
                <c:pt idx="387">
                  <c:v>40395</c:v>
                </c:pt>
                <c:pt idx="388">
                  <c:v>40396</c:v>
                </c:pt>
                <c:pt idx="389">
                  <c:v>40399</c:v>
                </c:pt>
                <c:pt idx="390">
                  <c:v>40400</c:v>
                </c:pt>
                <c:pt idx="391">
                  <c:v>40401</c:v>
                </c:pt>
                <c:pt idx="392">
                  <c:v>40402</c:v>
                </c:pt>
                <c:pt idx="393">
                  <c:v>40403</c:v>
                </c:pt>
                <c:pt idx="394">
                  <c:v>40406</c:v>
                </c:pt>
                <c:pt idx="395">
                  <c:v>40407</c:v>
                </c:pt>
                <c:pt idx="396">
                  <c:v>40408</c:v>
                </c:pt>
                <c:pt idx="397">
                  <c:v>40409</c:v>
                </c:pt>
                <c:pt idx="398">
                  <c:v>40410</c:v>
                </c:pt>
                <c:pt idx="399">
                  <c:v>40413</c:v>
                </c:pt>
                <c:pt idx="400">
                  <c:v>40414</c:v>
                </c:pt>
                <c:pt idx="401">
                  <c:v>40415</c:v>
                </c:pt>
                <c:pt idx="402">
                  <c:v>40416</c:v>
                </c:pt>
                <c:pt idx="403">
                  <c:v>40417</c:v>
                </c:pt>
                <c:pt idx="404">
                  <c:v>40420</c:v>
                </c:pt>
                <c:pt idx="405">
                  <c:v>40421</c:v>
                </c:pt>
                <c:pt idx="406">
                  <c:v>40422</c:v>
                </c:pt>
                <c:pt idx="407">
                  <c:v>40423</c:v>
                </c:pt>
                <c:pt idx="408">
                  <c:v>40424</c:v>
                </c:pt>
                <c:pt idx="409">
                  <c:v>40427</c:v>
                </c:pt>
                <c:pt idx="410">
                  <c:v>40428</c:v>
                </c:pt>
                <c:pt idx="411">
                  <c:v>40429</c:v>
                </c:pt>
                <c:pt idx="412">
                  <c:v>40430</c:v>
                </c:pt>
                <c:pt idx="413">
                  <c:v>40431</c:v>
                </c:pt>
                <c:pt idx="414">
                  <c:v>40434</c:v>
                </c:pt>
                <c:pt idx="415">
                  <c:v>40435</c:v>
                </c:pt>
                <c:pt idx="416">
                  <c:v>40436</c:v>
                </c:pt>
                <c:pt idx="417">
                  <c:v>40437</c:v>
                </c:pt>
                <c:pt idx="418">
                  <c:v>40438</c:v>
                </c:pt>
                <c:pt idx="419">
                  <c:v>40441</c:v>
                </c:pt>
                <c:pt idx="420">
                  <c:v>40442</c:v>
                </c:pt>
                <c:pt idx="421">
                  <c:v>40448</c:v>
                </c:pt>
                <c:pt idx="422">
                  <c:v>40449</c:v>
                </c:pt>
                <c:pt idx="423">
                  <c:v>40450</c:v>
                </c:pt>
                <c:pt idx="424">
                  <c:v>40451</c:v>
                </c:pt>
                <c:pt idx="425">
                  <c:v>40459</c:v>
                </c:pt>
                <c:pt idx="426">
                  <c:v>40462</c:v>
                </c:pt>
                <c:pt idx="427">
                  <c:v>40463</c:v>
                </c:pt>
                <c:pt idx="428">
                  <c:v>40464</c:v>
                </c:pt>
                <c:pt idx="429">
                  <c:v>40465</c:v>
                </c:pt>
                <c:pt idx="430">
                  <c:v>40466</c:v>
                </c:pt>
                <c:pt idx="431">
                  <c:v>40469</c:v>
                </c:pt>
                <c:pt idx="432">
                  <c:v>40470</c:v>
                </c:pt>
                <c:pt idx="433">
                  <c:v>40471</c:v>
                </c:pt>
                <c:pt idx="434">
                  <c:v>40472</c:v>
                </c:pt>
                <c:pt idx="435">
                  <c:v>40473</c:v>
                </c:pt>
                <c:pt idx="436">
                  <c:v>40476</c:v>
                </c:pt>
                <c:pt idx="437">
                  <c:v>40477</c:v>
                </c:pt>
                <c:pt idx="438">
                  <c:v>40478</c:v>
                </c:pt>
                <c:pt idx="439">
                  <c:v>40479</c:v>
                </c:pt>
                <c:pt idx="440">
                  <c:v>40480</c:v>
                </c:pt>
                <c:pt idx="441">
                  <c:v>40483</c:v>
                </c:pt>
                <c:pt idx="442">
                  <c:v>40484</c:v>
                </c:pt>
                <c:pt idx="443">
                  <c:v>40485</c:v>
                </c:pt>
                <c:pt idx="444">
                  <c:v>40486</c:v>
                </c:pt>
                <c:pt idx="445">
                  <c:v>40487</c:v>
                </c:pt>
                <c:pt idx="446">
                  <c:v>40490</c:v>
                </c:pt>
                <c:pt idx="447">
                  <c:v>40491</c:v>
                </c:pt>
                <c:pt idx="448">
                  <c:v>40492</c:v>
                </c:pt>
                <c:pt idx="449">
                  <c:v>40493</c:v>
                </c:pt>
                <c:pt idx="450">
                  <c:v>40494</c:v>
                </c:pt>
                <c:pt idx="451">
                  <c:v>40497</c:v>
                </c:pt>
                <c:pt idx="452">
                  <c:v>40498</c:v>
                </c:pt>
                <c:pt idx="453">
                  <c:v>40499</c:v>
                </c:pt>
                <c:pt idx="454">
                  <c:v>40500</c:v>
                </c:pt>
                <c:pt idx="455">
                  <c:v>40501</c:v>
                </c:pt>
                <c:pt idx="456">
                  <c:v>40504</c:v>
                </c:pt>
                <c:pt idx="457">
                  <c:v>40505</c:v>
                </c:pt>
                <c:pt idx="458">
                  <c:v>40506</c:v>
                </c:pt>
                <c:pt idx="459">
                  <c:v>40507</c:v>
                </c:pt>
                <c:pt idx="460">
                  <c:v>40508</c:v>
                </c:pt>
                <c:pt idx="461">
                  <c:v>40511</c:v>
                </c:pt>
                <c:pt idx="462">
                  <c:v>40512</c:v>
                </c:pt>
                <c:pt idx="463">
                  <c:v>40513</c:v>
                </c:pt>
                <c:pt idx="464">
                  <c:v>40514</c:v>
                </c:pt>
                <c:pt idx="465">
                  <c:v>40515</c:v>
                </c:pt>
                <c:pt idx="466">
                  <c:v>40518</c:v>
                </c:pt>
                <c:pt idx="467">
                  <c:v>40519</c:v>
                </c:pt>
                <c:pt idx="468">
                  <c:v>40520</c:v>
                </c:pt>
                <c:pt idx="469">
                  <c:v>40521</c:v>
                </c:pt>
                <c:pt idx="470">
                  <c:v>40522</c:v>
                </c:pt>
                <c:pt idx="471">
                  <c:v>40525</c:v>
                </c:pt>
                <c:pt idx="472">
                  <c:v>40526</c:v>
                </c:pt>
                <c:pt idx="473">
                  <c:v>40527</c:v>
                </c:pt>
                <c:pt idx="474">
                  <c:v>40528</c:v>
                </c:pt>
                <c:pt idx="475">
                  <c:v>40529</c:v>
                </c:pt>
                <c:pt idx="476">
                  <c:v>40532</c:v>
                </c:pt>
                <c:pt idx="477">
                  <c:v>40533</c:v>
                </c:pt>
                <c:pt idx="478">
                  <c:v>40534</c:v>
                </c:pt>
                <c:pt idx="479">
                  <c:v>40535</c:v>
                </c:pt>
                <c:pt idx="480">
                  <c:v>40536</c:v>
                </c:pt>
                <c:pt idx="481">
                  <c:v>40539</c:v>
                </c:pt>
                <c:pt idx="482">
                  <c:v>40540</c:v>
                </c:pt>
                <c:pt idx="483">
                  <c:v>40541</c:v>
                </c:pt>
                <c:pt idx="484">
                  <c:v>40542</c:v>
                </c:pt>
                <c:pt idx="485">
                  <c:v>40543</c:v>
                </c:pt>
                <c:pt idx="486">
                  <c:v>40547</c:v>
                </c:pt>
                <c:pt idx="487">
                  <c:v>40548</c:v>
                </c:pt>
                <c:pt idx="488">
                  <c:v>40549</c:v>
                </c:pt>
                <c:pt idx="489">
                  <c:v>40550</c:v>
                </c:pt>
                <c:pt idx="490">
                  <c:v>40553</c:v>
                </c:pt>
                <c:pt idx="491">
                  <c:v>40554</c:v>
                </c:pt>
                <c:pt idx="492">
                  <c:v>40555</c:v>
                </c:pt>
                <c:pt idx="493">
                  <c:v>40556</c:v>
                </c:pt>
                <c:pt idx="494">
                  <c:v>40557</c:v>
                </c:pt>
                <c:pt idx="495">
                  <c:v>40560</c:v>
                </c:pt>
                <c:pt idx="496">
                  <c:v>40561</c:v>
                </c:pt>
                <c:pt idx="497">
                  <c:v>40562</c:v>
                </c:pt>
                <c:pt idx="498">
                  <c:v>40563</c:v>
                </c:pt>
                <c:pt idx="499">
                  <c:v>40564</c:v>
                </c:pt>
                <c:pt idx="500">
                  <c:v>40567</c:v>
                </c:pt>
                <c:pt idx="501">
                  <c:v>40568</c:v>
                </c:pt>
                <c:pt idx="502">
                  <c:v>40569</c:v>
                </c:pt>
                <c:pt idx="503">
                  <c:v>40570</c:v>
                </c:pt>
                <c:pt idx="504">
                  <c:v>40571</c:v>
                </c:pt>
                <c:pt idx="505">
                  <c:v>40574</c:v>
                </c:pt>
                <c:pt idx="506">
                  <c:v>40575</c:v>
                </c:pt>
                <c:pt idx="507">
                  <c:v>40583</c:v>
                </c:pt>
                <c:pt idx="508">
                  <c:v>40584</c:v>
                </c:pt>
                <c:pt idx="509">
                  <c:v>40585</c:v>
                </c:pt>
                <c:pt idx="510">
                  <c:v>40588</c:v>
                </c:pt>
                <c:pt idx="511">
                  <c:v>40589</c:v>
                </c:pt>
                <c:pt idx="512">
                  <c:v>40590</c:v>
                </c:pt>
                <c:pt idx="513">
                  <c:v>40591</c:v>
                </c:pt>
                <c:pt idx="514">
                  <c:v>40592</c:v>
                </c:pt>
                <c:pt idx="515">
                  <c:v>40595</c:v>
                </c:pt>
                <c:pt idx="516">
                  <c:v>40596</c:v>
                </c:pt>
                <c:pt idx="517">
                  <c:v>40597</c:v>
                </c:pt>
                <c:pt idx="518">
                  <c:v>40598</c:v>
                </c:pt>
                <c:pt idx="519">
                  <c:v>40599</c:v>
                </c:pt>
                <c:pt idx="520">
                  <c:v>40602</c:v>
                </c:pt>
                <c:pt idx="521">
                  <c:v>40603</c:v>
                </c:pt>
                <c:pt idx="522">
                  <c:v>40604</c:v>
                </c:pt>
                <c:pt idx="523">
                  <c:v>40605</c:v>
                </c:pt>
                <c:pt idx="524">
                  <c:v>40606</c:v>
                </c:pt>
                <c:pt idx="525">
                  <c:v>40609</c:v>
                </c:pt>
                <c:pt idx="526">
                  <c:v>40610</c:v>
                </c:pt>
                <c:pt idx="527">
                  <c:v>40611</c:v>
                </c:pt>
                <c:pt idx="528">
                  <c:v>40612</c:v>
                </c:pt>
                <c:pt idx="529">
                  <c:v>40613</c:v>
                </c:pt>
                <c:pt idx="530">
                  <c:v>40616</c:v>
                </c:pt>
                <c:pt idx="531">
                  <c:v>40617</c:v>
                </c:pt>
                <c:pt idx="532">
                  <c:v>40618</c:v>
                </c:pt>
                <c:pt idx="533">
                  <c:v>40619</c:v>
                </c:pt>
                <c:pt idx="534">
                  <c:v>40620</c:v>
                </c:pt>
                <c:pt idx="535">
                  <c:v>40623</c:v>
                </c:pt>
                <c:pt idx="536">
                  <c:v>40624</c:v>
                </c:pt>
                <c:pt idx="537">
                  <c:v>40625</c:v>
                </c:pt>
                <c:pt idx="538">
                  <c:v>40626</c:v>
                </c:pt>
                <c:pt idx="539">
                  <c:v>40627</c:v>
                </c:pt>
                <c:pt idx="540">
                  <c:v>40630</c:v>
                </c:pt>
                <c:pt idx="541">
                  <c:v>40631</c:v>
                </c:pt>
                <c:pt idx="542">
                  <c:v>40632</c:v>
                </c:pt>
                <c:pt idx="543">
                  <c:v>40633</c:v>
                </c:pt>
                <c:pt idx="544">
                  <c:v>40634</c:v>
                </c:pt>
                <c:pt idx="545">
                  <c:v>40639</c:v>
                </c:pt>
                <c:pt idx="546">
                  <c:v>40640</c:v>
                </c:pt>
                <c:pt idx="547">
                  <c:v>40641</c:v>
                </c:pt>
                <c:pt idx="548">
                  <c:v>40644</c:v>
                </c:pt>
                <c:pt idx="549">
                  <c:v>40645</c:v>
                </c:pt>
                <c:pt idx="550">
                  <c:v>40646</c:v>
                </c:pt>
                <c:pt idx="551">
                  <c:v>40647</c:v>
                </c:pt>
                <c:pt idx="552">
                  <c:v>40648</c:v>
                </c:pt>
                <c:pt idx="553">
                  <c:v>40651</c:v>
                </c:pt>
                <c:pt idx="554">
                  <c:v>40652</c:v>
                </c:pt>
                <c:pt idx="555">
                  <c:v>40653</c:v>
                </c:pt>
                <c:pt idx="556">
                  <c:v>40654</c:v>
                </c:pt>
                <c:pt idx="557">
                  <c:v>40655</c:v>
                </c:pt>
                <c:pt idx="558">
                  <c:v>40658</c:v>
                </c:pt>
                <c:pt idx="559">
                  <c:v>40659</c:v>
                </c:pt>
                <c:pt idx="560">
                  <c:v>40660</c:v>
                </c:pt>
                <c:pt idx="561">
                  <c:v>40661</c:v>
                </c:pt>
                <c:pt idx="562">
                  <c:v>40662</c:v>
                </c:pt>
                <c:pt idx="563">
                  <c:v>40666</c:v>
                </c:pt>
                <c:pt idx="564">
                  <c:v>40667</c:v>
                </c:pt>
                <c:pt idx="565">
                  <c:v>40668</c:v>
                </c:pt>
                <c:pt idx="566">
                  <c:v>40669</c:v>
                </c:pt>
                <c:pt idx="567">
                  <c:v>40672</c:v>
                </c:pt>
                <c:pt idx="568">
                  <c:v>40673</c:v>
                </c:pt>
                <c:pt idx="569">
                  <c:v>40674</c:v>
                </c:pt>
                <c:pt idx="570">
                  <c:v>40675</c:v>
                </c:pt>
                <c:pt idx="571">
                  <c:v>40676</c:v>
                </c:pt>
                <c:pt idx="572">
                  <c:v>40679</c:v>
                </c:pt>
                <c:pt idx="573">
                  <c:v>40680</c:v>
                </c:pt>
                <c:pt idx="574">
                  <c:v>40681</c:v>
                </c:pt>
                <c:pt idx="575">
                  <c:v>40682</c:v>
                </c:pt>
                <c:pt idx="576">
                  <c:v>40683</c:v>
                </c:pt>
                <c:pt idx="577">
                  <c:v>40686</c:v>
                </c:pt>
                <c:pt idx="578">
                  <c:v>40687</c:v>
                </c:pt>
                <c:pt idx="579">
                  <c:v>40688</c:v>
                </c:pt>
                <c:pt idx="580">
                  <c:v>40689</c:v>
                </c:pt>
                <c:pt idx="581">
                  <c:v>40690</c:v>
                </c:pt>
                <c:pt idx="582">
                  <c:v>40693</c:v>
                </c:pt>
                <c:pt idx="583">
                  <c:v>40694</c:v>
                </c:pt>
                <c:pt idx="584">
                  <c:v>40695</c:v>
                </c:pt>
                <c:pt idx="585">
                  <c:v>40696</c:v>
                </c:pt>
                <c:pt idx="586">
                  <c:v>40697</c:v>
                </c:pt>
                <c:pt idx="587">
                  <c:v>40701</c:v>
                </c:pt>
                <c:pt idx="588">
                  <c:v>40702</c:v>
                </c:pt>
                <c:pt idx="589">
                  <c:v>40703</c:v>
                </c:pt>
                <c:pt idx="590">
                  <c:v>40704</c:v>
                </c:pt>
                <c:pt idx="591">
                  <c:v>40707</c:v>
                </c:pt>
                <c:pt idx="592">
                  <c:v>40708</c:v>
                </c:pt>
                <c:pt idx="593">
                  <c:v>40709</c:v>
                </c:pt>
                <c:pt idx="594">
                  <c:v>40710</c:v>
                </c:pt>
                <c:pt idx="595">
                  <c:v>40711</c:v>
                </c:pt>
                <c:pt idx="596">
                  <c:v>40714</c:v>
                </c:pt>
                <c:pt idx="597">
                  <c:v>40715</c:v>
                </c:pt>
                <c:pt idx="598">
                  <c:v>40716</c:v>
                </c:pt>
                <c:pt idx="599">
                  <c:v>40717</c:v>
                </c:pt>
                <c:pt idx="600">
                  <c:v>40718</c:v>
                </c:pt>
                <c:pt idx="601">
                  <c:v>40721</c:v>
                </c:pt>
                <c:pt idx="602">
                  <c:v>40722</c:v>
                </c:pt>
                <c:pt idx="603">
                  <c:v>40723</c:v>
                </c:pt>
                <c:pt idx="604">
                  <c:v>40724</c:v>
                </c:pt>
                <c:pt idx="605">
                  <c:v>40725</c:v>
                </c:pt>
                <c:pt idx="606">
                  <c:v>40728</c:v>
                </c:pt>
                <c:pt idx="607">
                  <c:v>40729</c:v>
                </c:pt>
                <c:pt idx="608">
                  <c:v>40730</c:v>
                </c:pt>
                <c:pt idx="609">
                  <c:v>40731</c:v>
                </c:pt>
                <c:pt idx="610">
                  <c:v>40732</c:v>
                </c:pt>
                <c:pt idx="611">
                  <c:v>40735</c:v>
                </c:pt>
                <c:pt idx="612">
                  <c:v>40736</c:v>
                </c:pt>
                <c:pt idx="613">
                  <c:v>40737</c:v>
                </c:pt>
                <c:pt idx="614">
                  <c:v>40738</c:v>
                </c:pt>
                <c:pt idx="615">
                  <c:v>40739</c:v>
                </c:pt>
                <c:pt idx="616">
                  <c:v>40742</c:v>
                </c:pt>
                <c:pt idx="617">
                  <c:v>40743</c:v>
                </c:pt>
                <c:pt idx="618">
                  <c:v>40744</c:v>
                </c:pt>
                <c:pt idx="619">
                  <c:v>40745</c:v>
                </c:pt>
                <c:pt idx="620">
                  <c:v>40746</c:v>
                </c:pt>
                <c:pt idx="621">
                  <c:v>40749</c:v>
                </c:pt>
                <c:pt idx="622">
                  <c:v>40750</c:v>
                </c:pt>
                <c:pt idx="623">
                  <c:v>40751</c:v>
                </c:pt>
                <c:pt idx="624">
                  <c:v>40752</c:v>
                </c:pt>
                <c:pt idx="625">
                  <c:v>40753</c:v>
                </c:pt>
                <c:pt idx="626">
                  <c:v>40756</c:v>
                </c:pt>
                <c:pt idx="627">
                  <c:v>40757</c:v>
                </c:pt>
                <c:pt idx="628">
                  <c:v>40758</c:v>
                </c:pt>
                <c:pt idx="629">
                  <c:v>40759</c:v>
                </c:pt>
                <c:pt idx="630">
                  <c:v>40760</c:v>
                </c:pt>
                <c:pt idx="631">
                  <c:v>40763</c:v>
                </c:pt>
                <c:pt idx="632">
                  <c:v>40764</c:v>
                </c:pt>
                <c:pt idx="633">
                  <c:v>40765</c:v>
                </c:pt>
                <c:pt idx="634">
                  <c:v>40766</c:v>
                </c:pt>
                <c:pt idx="635">
                  <c:v>40767</c:v>
                </c:pt>
                <c:pt idx="636">
                  <c:v>40770</c:v>
                </c:pt>
                <c:pt idx="637">
                  <c:v>40771</c:v>
                </c:pt>
                <c:pt idx="638">
                  <c:v>40772</c:v>
                </c:pt>
                <c:pt idx="639">
                  <c:v>40773</c:v>
                </c:pt>
                <c:pt idx="640">
                  <c:v>40774</c:v>
                </c:pt>
                <c:pt idx="641">
                  <c:v>40777</c:v>
                </c:pt>
                <c:pt idx="642">
                  <c:v>40778</c:v>
                </c:pt>
                <c:pt idx="643">
                  <c:v>40779</c:v>
                </c:pt>
                <c:pt idx="644">
                  <c:v>40780</c:v>
                </c:pt>
                <c:pt idx="645">
                  <c:v>40781</c:v>
                </c:pt>
                <c:pt idx="646">
                  <c:v>40784</c:v>
                </c:pt>
                <c:pt idx="647">
                  <c:v>40785</c:v>
                </c:pt>
                <c:pt idx="648">
                  <c:v>40786</c:v>
                </c:pt>
                <c:pt idx="649">
                  <c:v>40787</c:v>
                </c:pt>
                <c:pt idx="650">
                  <c:v>40788</c:v>
                </c:pt>
                <c:pt idx="651">
                  <c:v>40791</c:v>
                </c:pt>
                <c:pt idx="652">
                  <c:v>40792</c:v>
                </c:pt>
                <c:pt idx="653">
                  <c:v>40793</c:v>
                </c:pt>
                <c:pt idx="654">
                  <c:v>40794</c:v>
                </c:pt>
                <c:pt idx="655">
                  <c:v>40795</c:v>
                </c:pt>
                <c:pt idx="656">
                  <c:v>40799</c:v>
                </c:pt>
                <c:pt idx="657">
                  <c:v>40800</c:v>
                </c:pt>
                <c:pt idx="658">
                  <c:v>40801</c:v>
                </c:pt>
                <c:pt idx="659">
                  <c:v>40802</c:v>
                </c:pt>
                <c:pt idx="660">
                  <c:v>40805</c:v>
                </c:pt>
                <c:pt idx="661">
                  <c:v>40806</c:v>
                </c:pt>
                <c:pt idx="662">
                  <c:v>40807</c:v>
                </c:pt>
                <c:pt idx="663">
                  <c:v>40808</c:v>
                </c:pt>
                <c:pt idx="664">
                  <c:v>40809</c:v>
                </c:pt>
                <c:pt idx="665">
                  <c:v>40812</c:v>
                </c:pt>
                <c:pt idx="666">
                  <c:v>40813</c:v>
                </c:pt>
                <c:pt idx="667">
                  <c:v>40814</c:v>
                </c:pt>
                <c:pt idx="668">
                  <c:v>40815</c:v>
                </c:pt>
                <c:pt idx="669">
                  <c:v>40816</c:v>
                </c:pt>
                <c:pt idx="670">
                  <c:v>40826</c:v>
                </c:pt>
                <c:pt idx="671">
                  <c:v>40827</c:v>
                </c:pt>
                <c:pt idx="672">
                  <c:v>40828</c:v>
                </c:pt>
                <c:pt idx="673">
                  <c:v>40829</c:v>
                </c:pt>
                <c:pt idx="674">
                  <c:v>40830</c:v>
                </c:pt>
                <c:pt idx="675">
                  <c:v>40833</c:v>
                </c:pt>
                <c:pt idx="676">
                  <c:v>40834</c:v>
                </c:pt>
                <c:pt idx="677">
                  <c:v>40835</c:v>
                </c:pt>
                <c:pt idx="678">
                  <c:v>40836</c:v>
                </c:pt>
                <c:pt idx="679">
                  <c:v>40837</c:v>
                </c:pt>
                <c:pt idx="680">
                  <c:v>40840</c:v>
                </c:pt>
                <c:pt idx="681">
                  <c:v>40841</c:v>
                </c:pt>
                <c:pt idx="682">
                  <c:v>40842</c:v>
                </c:pt>
                <c:pt idx="683">
                  <c:v>40843</c:v>
                </c:pt>
                <c:pt idx="684">
                  <c:v>40844</c:v>
                </c:pt>
                <c:pt idx="685">
                  <c:v>40847</c:v>
                </c:pt>
                <c:pt idx="686">
                  <c:v>40848</c:v>
                </c:pt>
                <c:pt idx="687">
                  <c:v>40849</c:v>
                </c:pt>
                <c:pt idx="688">
                  <c:v>40850</c:v>
                </c:pt>
                <c:pt idx="689">
                  <c:v>40851</c:v>
                </c:pt>
                <c:pt idx="690">
                  <c:v>40854</c:v>
                </c:pt>
                <c:pt idx="691">
                  <c:v>40855</c:v>
                </c:pt>
                <c:pt idx="692">
                  <c:v>40856</c:v>
                </c:pt>
                <c:pt idx="693">
                  <c:v>40857</c:v>
                </c:pt>
                <c:pt idx="694">
                  <c:v>40858</c:v>
                </c:pt>
                <c:pt idx="695">
                  <c:v>40861</c:v>
                </c:pt>
                <c:pt idx="696">
                  <c:v>40862</c:v>
                </c:pt>
                <c:pt idx="697">
                  <c:v>40863</c:v>
                </c:pt>
                <c:pt idx="698">
                  <c:v>40864</c:v>
                </c:pt>
                <c:pt idx="699">
                  <c:v>40865</c:v>
                </c:pt>
                <c:pt idx="700">
                  <c:v>40868</c:v>
                </c:pt>
                <c:pt idx="701">
                  <c:v>40869</c:v>
                </c:pt>
                <c:pt idx="702">
                  <c:v>40870</c:v>
                </c:pt>
                <c:pt idx="703">
                  <c:v>40871</c:v>
                </c:pt>
                <c:pt idx="704">
                  <c:v>40872</c:v>
                </c:pt>
                <c:pt idx="705">
                  <c:v>40875</c:v>
                </c:pt>
                <c:pt idx="706">
                  <c:v>40876</c:v>
                </c:pt>
                <c:pt idx="707">
                  <c:v>40877</c:v>
                </c:pt>
                <c:pt idx="708">
                  <c:v>40878</c:v>
                </c:pt>
                <c:pt idx="709">
                  <c:v>40879</c:v>
                </c:pt>
                <c:pt idx="710">
                  <c:v>40882</c:v>
                </c:pt>
                <c:pt idx="711">
                  <c:v>40883</c:v>
                </c:pt>
                <c:pt idx="712">
                  <c:v>40884</c:v>
                </c:pt>
                <c:pt idx="713">
                  <c:v>40885</c:v>
                </c:pt>
                <c:pt idx="714">
                  <c:v>40886</c:v>
                </c:pt>
                <c:pt idx="715">
                  <c:v>40889</c:v>
                </c:pt>
                <c:pt idx="716">
                  <c:v>40890</c:v>
                </c:pt>
                <c:pt idx="717">
                  <c:v>40891</c:v>
                </c:pt>
                <c:pt idx="718">
                  <c:v>40892</c:v>
                </c:pt>
                <c:pt idx="719">
                  <c:v>40893</c:v>
                </c:pt>
                <c:pt idx="720">
                  <c:v>40896</c:v>
                </c:pt>
                <c:pt idx="721">
                  <c:v>40897</c:v>
                </c:pt>
                <c:pt idx="722">
                  <c:v>40898</c:v>
                </c:pt>
                <c:pt idx="723">
                  <c:v>40899</c:v>
                </c:pt>
                <c:pt idx="724">
                  <c:v>40900</c:v>
                </c:pt>
                <c:pt idx="725">
                  <c:v>40903</c:v>
                </c:pt>
                <c:pt idx="726">
                  <c:v>40904</c:v>
                </c:pt>
                <c:pt idx="727">
                  <c:v>40905</c:v>
                </c:pt>
                <c:pt idx="728">
                  <c:v>40906</c:v>
                </c:pt>
                <c:pt idx="729">
                  <c:v>40907</c:v>
                </c:pt>
                <c:pt idx="730">
                  <c:v>40912</c:v>
                </c:pt>
                <c:pt idx="731">
                  <c:v>40913</c:v>
                </c:pt>
                <c:pt idx="732">
                  <c:v>40914</c:v>
                </c:pt>
                <c:pt idx="733">
                  <c:v>40917</c:v>
                </c:pt>
                <c:pt idx="734">
                  <c:v>40918</c:v>
                </c:pt>
                <c:pt idx="735">
                  <c:v>40919</c:v>
                </c:pt>
                <c:pt idx="736">
                  <c:v>40920</c:v>
                </c:pt>
                <c:pt idx="737">
                  <c:v>40921</c:v>
                </c:pt>
                <c:pt idx="738">
                  <c:v>40924</c:v>
                </c:pt>
                <c:pt idx="739">
                  <c:v>40925</c:v>
                </c:pt>
                <c:pt idx="740">
                  <c:v>40926</c:v>
                </c:pt>
                <c:pt idx="741">
                  <c:v>40927</c:v>
                </c:pt>
                <c:pt idx="742">
                  <c:v>40928</c:v>
                </c:pt>
                <c:pt idx="743">
                  <c:v>40938</c:v>
                </c:pt>
                <c:pt idx="744">
                  <c:v>40939</c:v>
                </c:pt>
                <c:pt idx="745">
                  <c:v>40940</c:v>
                </c:pt>
                <c:pt idx="746">
                  <c:v>40941</c:v>
                </c:pt>
                <c:pt idx="747">
                  <c:v>40942</c:v>
                </c:pt>
                <c:pt idx="748">
                  <c:v>40945</c:v>
                </c:pt>
                <c:pt idx="749">
                  <c:v>40946</c:v>
                </c:pt>
                <c:pt idx="750">
                  <c:v>40947</c:v>
                </c:pt>
                <c:pt idx="751">
                  <c:v>40948</c:v>
                </c:pt>
                <c:pt idx="752">
                  <c:v>40949</c:v>
                </c:pt>
                <c:pt idx="753">
                  <c:v>40952</c:v>
                </c:pt>
                <c:pt idx="754">
                  <c:v>40953</c:v>
                </c:pt>
                <c:pt idx="755">
                  <c:v>40954</c:v>
                </c:pt>
                <c:pt idx="756">
                  <c:v>40955</c:v>
                </c:pt>
                <c:pt idx="757">
                  <c:v>40956</c:v>
                </c:pt>
                <c:pt idx="758">
                  <c:v>40959</c:v>
                </c:pt>
                <c:pt idx="759">
                  <c:v>40960</c:v>
                </c:pt>
                <c:pt idx="760">
                  <c:v>40961</c:v>
                </c:pt>
                <c:pt idx="761">
                  <c:v>40962</c:v>
                </c:pt>
                <c:pt idx="762">
                  <c:v>40963</c:v>
                </c:pt>
                <c:pt idx="763">
                  <c:v>40966</c:v>
                </c:pt>
                <c:pt idx="764">
                  <c:v>40967</c:v>
                </c:pt>
                <c:pt idx="765">
                  <c:v>40968</c:v>
                </c:pt>
                <c:pt idx="766">
                  <c:v>40969</c:v>
                </c:pt>
                <c:pt idx="767">
                  <c:v>40970</c:v>
                </c:pt>
                <c:pt idx="768">
                  <c:v>40973</c:v>
                </c:pt>
                <c:pt idx="769">
                  <c:v>40974</c:v>
                </c:pt>
                <c:pt idx="770">
                  <c:v>40975</c:v>
                </c:pt>
                <c:pt idx="771">
                  <c:v>40976</c:v>
                </c:pt>
                <c:pt idx="772">
                  <c:v>40977</c:v>
                </c:pt>
                <c:pt idx="773">
                  <c:v>40980</c:v>
                </c:pt>
                <c:pt idx="774">
                  <c:v>40981</c:v>
                </c:pt>
                <c:pt idx="775">
                  <c:v>40982</c:v>
                </c:pt>
                <c:pt idx="776">
                  <c:v>40983</c:v>
                </c:pt>
                <c:pt idx="777">
                  <c:v>40984</c:v>
                </c:pt>
                <c:pt idx="778">
                  <c:v>40987</c:v>
                </c:pt>
                <c:pt idx="779">
                  <c:v>40988</c:v>
                </c:pt>
                <c:pt idx="780">
                  <c:v>40989</c:v>
                </c:pt>
                <c:pt idx="781">
                  <c:v>40990</c:v>
                </c:pt>
                <c:pt idx="782">
                  <c:v>40991</c:v>
                </c:pt>
                <c:pt idx="783">
                  <c:v>40994</c:v>
                </c:pt>
                <c:pt idx="784">
                  <c:v>40995</c:v>
                </c:pt>
                <c:pt idx="785">
                  <c:v>40996</c:v>
                </c:pt>
                <c:pt idx="786">
                  <c:v>40997</c:v>
                </c:pt>
                <c:pt idx="787">
                  <c:v>40998</c:v>
                </c:pt>
                <c:pt idx="788">
                  <c:v>41004</c:v>
                </c:pt>
                <c:pt idx="789">
                  <c:v>41005</c:v>
                </c:pt>
                <c:pt idx="790">
                  <c:v>41008</c:v>
                </c:pt>
                <c:pt idx="791">
                  <c:v>41009</c:v>
                </c:pt>
                <c:pt idx="792">
                  <c:v>41010</c:v>
                </c:pt>
                <c:pt idx="793">
                  <c:v>41011</c:v>
                </c:pt>
                <c:pt idx="794">
                  <c:v>41012</c:v>
                </c:pt>
                <c:pt idx="795">
                  <c:v>41015</c:v>
                </c:pt>
                <c:pt idx="796">
                  <c:v>41016</c:v>
                </c:pt>
                <c:pt idx="797">
                  <c:v>41017</c:v>
                </c:pt>
                <c:pt idx="798">
                  <c:v>41018</c:v>
                </c:pt>
                <c:pt idx="799">
                  <c:v>41019</c:v>
                </c:pt>
                <c:pt idx="800">
                  <c:v>41022</c:v>
                </c:pt>
                <c:pt idx="801">
                  <c:v>41023</c:v>
                </c:pt>
                <c:pt idx="802">
                  <c:v>41024</c:v>
                </c:pt>
                <c:pt idx="803">
                  <c:v>41025</c:v>
                </c:pt>
                <c:pt idx="804">
                  <c:v>41026</c:v>
                </c:pt>
                <c:pt idx="805">
                  <c:v>41031</c:v>
                </c:pt>
                <c:pt idx="806">
                  <c:v>41032</c:v>
                </c:pt>
                <c:pt idx="807">
                  <c:v>41033</c:v>
                </c:pt>
                <c:pt idx="808">
                  <c:v>41036</c:v>
                </c:pt>
                <c:pt idx="809">
                  <c:v>41037</c:v>
                </c:pt>
                <c:pt idx="810">
                  <c:v>41038</c:v>
                </c:pt>
                <c:pt idx="811">
                  <c:v>41039</c:v>
                </c:pt>
                <c:pt idx="812">
                  <c:v>41040</c:v>
                </c:pt>
                <c:pt idx="813">
                  <c:v>41043</c:v>
                </c:pt>
                <c:pt idx="814">
                  <c:v>41044</c:v>
                </c:pt>
                <c:pt idx="815">
                  <c:v>41045</c:v>
                </c:pt>
                <c:pt idx="816">
                  <c:v>41046</c:v>
                </c:pt>
                <c:pt idx="817">
                  <c:v>41047</c:v>
                </c:pt>
                <c:pt idx="818">
                  <c:v>41050</c:v>
                </c:pt>
                <c:pt idx="819">
                  <c:v>41051</c:v>
                </c:pt>
                <c:pt idx="820">
                  <c:v>41052</c:v>
                </c:pt>
                <c:pt idx="821">
                  <c:v>41053</c:v>
                </c:pt>
                <c:pt idx="822">
                  <c:v>41054</c:v>
                </c:pt>
                <c:pt idx="823">
                  <c:v>41057</c:v>
                </c:pt>
                <c:pt idx="824">
                  <c:v>41058</c:v>
                </c:pt>
                <c:pt idx="825">
                  <c:v>41059</c:v>
                </c:pt>
                <c:pt idx="826">
                  <c:v>41060</c:v>
                </c:pt>
                <c:pt idx="827">
                  <c:v>41061</c:v>
                </c:pt>
                <c:pt idx="828">
                  <c:v>41064</c:v>
                </c:pt>
                <c:pt idx="829">
                  <c:v>41065</c:v>
                </c:pt>
                <c:pt idx="830">
                  <c:v>41066</c:v>
                </c:pt>
                <c:pt idx="831">
                  <c:v>41067</c:v>
                </c:pt>
                <c:pt idx="832">
                  <c:v>41068</c:v>
                </c:pt>
                <c:pt idx="833">
                  <c:v>41071</c:v>
                </c:pt>
                <c:pt idx="834">
                  <c:v>41072</c:v>
                </c:pt>
                <c:pt idx="835">
                  <c:v>41073</c:v>
                </c:pt>
                <c:pt idx="836">
                  <c:v>41074</c:v>
                </c:pt>
                <c:pt idx="837">
                  <c:v>41075</c:v>
                </c:pt>
                <c:pt idx="838">
                  <c:v>41078</c:v>
                </c:pt>
                <c:pt idx="839">
                  <c:v>41079</c:v>
                </c:pt>
                <c:pt idx="840">
                  <c:v>41080</c:v>
                </c:pt>
                <c:pt idx="841">
                  <c:v>41081</c:v>
                </c:pt>
                <c:pt idx="842">
                  <c:v>41085</c:v>
                </c:pt>
                <c:pt idx="843">
                  <c:v>41086</c:v>
                </c:pt>
                <c:pt idx="844">
                  <c:v>41087</c:v>
                </c:pt>
                <c:pt idx="845">
                  <c:v>41088</c:v>
                </c:pt>
                <c:pt idx="846">
                  <c:v>41089</c:v>
                </c:pt>
                <c:pt idx="847">
                  <c:v>41092</c:v>
                </c:pt>
                <c:pt idx="848">
                  <c:v>41093</c:v>
                </c:pt>
                <c:pt idx="849">
                  <c:v>41094</c:v>
                </c:pt>
                <c:pt idx="850">
                  <c:v>41095</c:v>
                </c:pt>
                <c:pt idx="851">
                  <c:v>41096</c:v>
                </c:pt>
                <c:pt idx="852">
                  <c:v>41099</c:v>
                </c:pt>
                <c:pt idx="853">
                  <c:v>41100</c:v>
                </c:pt>
                <c:pt idx="854">
                  <c:v>41101</c:v>
                </c:pt>
                <c:pt idx="855">
                  <c:v>41102</c:v>
                </c:pt>
                <c:pt idx="856">
                  <c:v>41103</c:v>
                </c:pt>
                <c:pt idx="857">
                  <c:v>41106</c:v>
                </c:pt>
                <c:pt idx="858">
                  <c:v>41107</c:v>
                </c:pt>
                <c:pt idx="859">
                  <c:v>41108</c:v>
                </c:pt>
                <c:pt idx="860">
                  <c:v>41109</c:v>
                </c:pt>
                <c:pt idx="861">
                  <c:v>41110</c:v>
                </c:pt>
                <c:pt idx="862">
                  <c:v>41113</c:v>
                </c:pt>
                <c:pt idx="863">
                  <c:v>41114</c:v>
                </c:pt>
                <c:pt idx="864">
                  <c:v>41115</c:v>
                </c:pt>
                <c:pt idx="865">
                  <c:v>41116</c:v>
                </c:pt>
                <c:pt idx="866">
                  <c:v>41117</c:v>
                </c:pt>
                <c:pt idx="867">
                  <c:v>41120</c:v>
                </c:pt>
                <c:pt idx="868">
                  <c:v>41121</c:v>
                </c:pt>
                <c:pt idx="869">
                  <c:v>41122</c:v>
                </c:pt>
                <c:pt idx="870">
                  <c:v>41123</c:v>
                </c:pt>
                <c:pt idx="871">
                  <c:v>41124</c:v>
                </c:pt>
                <c:pt idx="872">
                  <c:v>41127</c:v>
                </c:pt>
                <c:pt idx="873">
                  <c:v>41128</c:v>
                </c:pt>
                <c:pt idx="874">
                  <c:v>41129</c:v>
                </c:pt>
                <c:pt idx="875">
                  <c:v>41130</c:v>
                </c:pt>
                <c:pt idx="876">
                  <c:v>41131</c:v>
                </c:pt>
                <c:pt idx="877">
                  <c:v>41134</c:v>
                </c:pt>
                <c:pt idx="878">
                  <c:v>41135</c:v>
                </c:pt>
                <c:pt idx="879">
                  <c:v>41136</c:v>
                </c:pt>
                <c:pt idx="880">
                  <c:v>41137</c:v>
                </c:pt>
                <c:pt idx="881">
                  <c:v>41138</c:v>
                </c:pt>
                <c:pt idx="882">
                  <c:v>41141</c:v>
                </c:pt>
                <c:pt idx="883">
                  <c:v>41142</c:v>
                </c:pt>
                <c:pt idx="884">
                  <c:v>41143</c:v>
                </c:pt>
                <c:pt idx="885">
                  <c:v>41144</c:v>
                </c:pt>
                <c:pt idx="886">
                  <c:v>41145</c:v>
                </c:pt>
                <c:pt idx="887">
                  <c:v>41148</c:v>
                </c:pt>
                <c:pt idx="888">
                  <c:v>41149</c:v>
                </c:pt>
                <c:pt idx="889">
                  <c:v>41150</c:v>
                </c:pt>
                <c:pt idx="890">
                  <c:v>41151</c:v>
                </c:pt>
                <c:pt idx="891">
                  <c:v>41152</c:v>
                </c:pt>
                <c:pt idx="892">
                  <c:v>41155</c:v>
                </c:pt>
                <c:pt idx="893">
                  <c:v>41156</c:v>
                </c:pt>
                <c:pt idx="894">
                  <c:v>41157</c:v>
                </c:pt>
                <c:pt idx="895">
                  <c:v>41158</c:v>
                </c:pt>
                <c:pt idx="896">
                  <c:v>41159</c:v>
                </c:pt>
                <c:pt idx="897">
                  <c:v>41162</c:v>
                </c:pt>
                <c:pt idx="898">
                  <c:v>41163</c:v>
                </c:pt>
                <c:pt idx="899">
                  <c:v>41164</c:v>
                </c:pt>
                <c:pt idx="900">
                  <c:v>41165</c:v>
                </c:pt>
                <c:pt idx="901">
                  <c:v>41166</c:v>
                </c:pt>
                <c:pt idx="902">
                  <c:v>41169</c:v>
                </c:pt>
                <c:pt idx="903">
                  <c:v>41170</c:v>
                </c:pt>
                <c:pt idx="904">
                  <c:v>41171</c:v>
                </c:pt>
                <c:pt idx="905">
                  <c:v>41172</c:v>
                </c:pt>
                <c:pt idx="906">
                  <c:v>41173</c:v>
                </c:pt>
                <c:pt idx="907">
                  <c:v>41176</c:v>
                </c:pt>
                <c:pt idx="908">
                  <c:v>41177</c:v>
                </c:pt>
                <c:pt idx="909">
                  <c:v>41178</c:v>
                </c:pt>
                <c:pt idx="910">
                  <c:v>41179</c:v>
                </c:pt>
                <c:pt idx="911">
                  <c:v>41180</c:v>
                </c:pt>
                <c:pt idx="912">
                  <c:v>41190</c:v>
                </c:pt>
                <c:pt idx="913">
                  <c:v>41191</c:v>
                </c:pt>
                <c:pt idx="914">
                  <c:v>41192</c:v>
                </c:pt>
                <c:pt idx="915">
                  <c:v>41193</c:v>
                </c:pt>
                <c:pt idx="916">
                  <c:v>41194</c:v>
                </c:pt>
                <c:pt idx="917">
                  <c:v>41197</c:v>
                </c:pt>
                <c:pt idx="918">
                  <c:v>41198</c:v>
                </c:pt>
                <c:pt idx="919">
                  <c:v>41199</c:v>
                </c:pt>
                <c:pt idx="920">
                  <c:v>41200</c:v>
                </c:pt>
                <c:pt idx="921">
                  <c:v>41201</c:v>
                </c:pt>
                <c:pt idx="922">
                  <c:v>41204</c:v>
                </c:pt>
                <c:pt idx="923">
                  <c:v>41205</c:v>
                </c:pt>
                <c:pt idx="924">
                  <c:v>41206</c:v>
                </c:pt>
                <c:pt idx="925">
                  <c:v>41207</c:v>
                </c:pt>
                <c:pt idx="926">
                  <c:v>41208</c:v>
                </c:pt>
                <c:pt idx="927">
                  <c:v>41211</c:v>
                </c:pt>
                <c:pt idx="928">
                  <c:v>41212</c:v>
                </c:pt>
                <c:pt idx="929">
                  <c:v>41213</c:v>
                </c:pt>
                <c:pt idx="930">
                  <c:v>41214</c:v>
                </c:pt>
                <c:pt idx="931">
                  <c:v>41215</c:v>
                </c:pt>
                <c:pt idx="932">
                  <c:v>41218</c:v>
                </c:pt>
                <c:pt idx="933">
                  <c:v>41219</c:v>
                </c:pt>
                <c:pt idx="934">
                  <c:v>41220</c:v>
                </c:pt>
                <c:pt idx="935">
                  <c:v>41221</c:v>
                </c:pt>
                <c:pt idx="936">
                  <c:v>41222</c:v>
                </c:pt>
                <c:pt idx="937">
                  <c:v>41225</c:v>
                </c:pt>
                <c:pt idx="938">
                  <c:v>41226</c:v>
                </c:pt>
                <c:pt idx="939">
                  <c:v>41227</c:v>
                </c:pt>
                <c:pt idx="940">
                  <c:v>41228</c:v>
                </c:pt>
                <c:pt idx="941">
                  <c:v>41229</c:v>
                </c:pt>
                <c:pt idx="942">
                  <c:v>41232</c:v>
                </c:pt>
                <c:pt idx="943">
                  <c:v>41233</c:v>
                </c:pt>
                <c:pt idx="944">
                  <c:v>41234</c:v>
                </c:pt>
                <c:pt idx="945">
                  <c:v>41235</c:v>
                </c:pt>
                <c:pt idx="946">
                  <c:v>41236</c:v>
                </c:pt>
                <c:pt idx="947">
                  <c:v>41239</c:v>
                </c:pt>
                <c:pt idx="948">
                  <c:v>41240</c:v>
                </c:pt>
                <c:pt idx="949">
                  <c:v>41241</c:v>
                </c:pt>
                <c:pt idx="950">
                  <c:v>41242</c:v>
                </c:pt>
                <c:pt idx="951">
                  <c:v>41243</c:v>
                </c:pt>
                <c:pt idx="952">
                  <c:v>41246</c:v>
                </c:pt>
                <c:pt idx="953">
                  <c:v>41247</c:v>
                </c:pt>
                <c:pt idx="954">
                  <c:v>41248</c:v>
                </c:pt>
                <c:pt idx="955">
                  <c:v>41249</c:v>
                </c:pt>
                <c:pt idx="956">
                  <c:v>41250</c:v>
                </c:pt>
                <c:pt idx="957">
                  <c:v>41253</c:v>
                </c:pt>
                <c:pt idx="958">
                  <c:v>41254</c:v>
                </c:pt>
                <c:pt idx="959">
                  <c:v>41255</c:v>
                </c:pt>
                <c:pt idx="960">
                  <c:v>41256</c:v>
                </c:pt>
                <c:pt idx="961">
                  <c:v>41257</c:v>
                </c:pt>
                <c:pt idx="962">
                  <c:v>41260</c:v>
                </c:pt>
                <c:pt idx="963">
                  <c:v>41261</c:v>
                </c:pt>
                <c:pt idx="964">
                  <c:v>41262</c:v>
                </c:pt>
                <c:pt idx="965">
                  <c:v>41263</c:v>
                </c:pt>
                <c:pt idx="966">
                  <c:v>41264</c:v>
                </c:pt>
                <c:pt idx="967">
                  <c:v>41267</c:v>
                </c:pt>
                <c:pt idx="968">
                  <c:v>41268</c:v>
                </c:pt>
                <c:pt idx="969">
                  <c:v>41269</c:v>
                </c:pt>
                <c:pt idx="970">
                  <c:v>41270</c:v>
                </c:pt>
                <c:pt idx="971">
                  <c:v>41271</c:v>
                </c:pt>
                <c:pt idx="972">
                  <c:v>41274</c:v>
                </c:pt>
                <c:pt idx="973">
                  <c:v>41278</c:v>
                </c:pt>
                <c:pt idx="974">
                  <c:v>41281</c:v>
                </c:pt>
                <c:pt idx="975">
                  <c:v>41282</c:v>
                </c:pt>
                <c:pt idx="976">
                  <c:v>41283</c:v>
                </c:pt>
                <c:pt idx="977">
                  <c:v>41284</c:v>
                </c:pt>
                <c:pt idx="978">
                  <c:v>41285</c:v>
                </c:pt>
                <c:pt idx="979">
                  <c:v>41288</c:v>
                </c:pt>
                <c:pt idx="980">
                  <c:v>41289</c:v>
                </c:pt>
                <c:pt idx="981">
                  <c:v>41290</c:v>
                </c:pt>
                <c:pt idx="982">
                  <c:v>41291</c:v>
                </c:pt>
                <c:pt idx="983">
                  <c:v>41292</c:v>
                </c:pt>
                <c:pt idx="984">
                  <c:v>41295</c:v>
                </c:pt>
                <c:pt idx="985">
                  <c:v>41296</c:v>
                </c:pt>
                <c:pt idx="986">
                  <c:v>41297</c:v>
                </c:pt>
                <c:pt idx="987">
                  <c:v>41298</c:v>
                </c:pt>
                <c:pt idx="988">
                  <c:v>41299</c:v>
                </c:pt>
                <c:pt idx="989">
                  <c:v>41302</c:v>
                </c:pt>
                <c:pt idx="990">
                  <c:v>41303</c:v>
                </c:pt>
                <c:pt idx="991">
                  <c:v>41304</c:v>
                </c:pt>
                <c:pt idx="992">
                  <c:v>41305</c:v>
                </c:pt>
                <c:pt idx="993">
                  <c:v>41306</c:v>
                </c:pt>
                <c:pt idx="994">
                  <c:v>41309</c:v>
                </c:pt>
                <c:pt idx="995">
                  <c:v>41310</c:v>
                </c:pt>
                <c:pt idx="996">
                  <c:v>41311</c:v>
                </c:pt>
                <c:pt idx="997">
                  <c:v>41312</c:v>
                </c:pt>
                <c:pt idx="998">
                  <c:v>41313</c:v>
                </c:pt>
                <c:pt idx="999">
                  <c:v>41323</c:v>
                </c:pt>
                <c:pt idx="1000">
                  <c:v>41324</c:v>
                </c:pt>
                <c:pt idx="1001">
                  <c:v>41325</c:v>
                </c:pt>
                <c:pt idx="1002">
                  <c:v>41326</c:v>
                </c:pt>
                <c:pt idx="1003">
                  <c:v>41327</c:v>
                </c:pt>
                <c:pt idx="1004">
                  <c:v>41330</c:v>
                </c:pt>
                <c:pt idx="1005">
                  <c:v>41331</c:v>
                </c:pt>
                <c:pt idx="1006">
                  <c:v>41332</c:v>
                </c:pt>
                <c:pt idx="1007">
                  <c:v>41333</c:v>
                </c:pt>
                <c:pt idx="1008">
                  <c:v>41334</c:v>
                </c:pt>
                <c:pt idx="1009">
                  <c:v>41337</c:v>
                </c:pt>
                <c:pt idx="1010">
                  <c:v>41338</c:v>
                </c:pt>
                <c:pt idx="1011">
                  <c:v>41339</c:v>
                </c:pt>
                <c:pt idx="1012">
                  <c:v>41340</c:v>
                </c:pt>
                <c:pt idx="1013">
                  <c:v>41341</c:v>
                </c:pt>
                <c:pt idx="1014">
                  <c:v>41344</c:v>
                </c:pt>
                <c:pt idx="1015">
                  <c:v>41345</c:v>
                </c:pt>
                <c:pt idx="1016">
                  <c:v>41346</c:v>
                </c:pt>
                <c:pt idx="1017">
                  <c:v>41347</c:v>
                </c:pt>
                <c:pt idx="1018">
                  <c:v>41348</c:v>
                </c:pt>
                <c:pt idx="1019">
                  <c:v>41351</c:v>
                </c:pt>
                <c:pt idx="1020">
                  <c:v>41352</c:v>
                </c:pt>
                <c:pt idx="1021">
                  <c:v>41353</c:v>
                </c:pt>
                <c:pt idx="1022">
                  <c:v>41354</c:v>
                </c:pt>
                <c:pt idx="1023">
                  <c:v>41355</c:v>
                </c:pt>
                <c:pt idx="1024">
                  <c:v>41358</c:v>
                </c:pt>
                <c:pt idx="1025">
                  <c:v>41359</c:v>
                </c:pt>
                <c:pt idx="1026">
                  <c:v>41360</c:v>
                </c:pt>
                <c:pt idx="1027">
                  <c:v>41361</c:v>
                </c:pt>
                <c:pt idx="1028">
                  <c:v>41362</c:v>
                </c:pt>
                <c:pt idx="1029">
                  <c:v>41365</c:v>
                </c:pt>
                <c:pt idx="1030">
                  <c:v>41366</c:v>
                </c:pt>
                <c:pt idx="1031">
                  <c:v>41367</c:v>
                </c:pt>
                <c:pt idx="1032">
                  <c:v>41372</c:v>
                </c:pt>
                <c:pt idx="1033">
                  <c:v>41373</c:v>
                </c:pt>
                <c:pt idx="1034">
                  <c:v>41374</c:v>
                </c:pt>
                <c:pt idx="1035">
                  <c:v>41375</c:v>
                </c:pt>
                <c:pt idx="1036">
                  <c:v>41376</c:v>
                </c:pt>
                <c:pt idx="1037">
                  <c:v>41379</c:v>
                </c:pt>
                <c:pt idx="1038">
                  <c:v>41380</c:v>
                </c:pt>
                <c:pt idx="1039">
                  <c:v>41381</c:v>
                </c:pt>
                <c:pt idx="1040">
                  <c:v>41382</c:v>
                </c:pt>
                <c:pt idx="1041">
                  <c:v>41383</c:v>
                </c:pt>
                <c:pt idx="1042">
                  <c:v>41386</c:v>
                </c:pt>
                <c:pt idx="1043">
                  <c:v>41387</c:v>
                </c:pt>
                <c:pt idx="1044">
                  <c:v>41388</c:v>
                </c:pt>
                <c:pt idx="1045">
                  <c:v>41389</c:v>
                </c:pt>
                <c:pt idx="1046">
                  <c:v>41390</c:v>
                </c:pt>
                <c:pt idx="1047">
                  <c:v>41396</c:v>
                </c:pt>
                <c:pt idx="1048">
                  <c:v>41397</c:v>
                </c:pt>
                <c:pt idx="1049">
                  <c:v>41400</c:v>
                </c:pt>
                <c:pt idx="1050">
                  <c:v>41401</c:v>
                </c:pt>
                <c:pt idx="1051">
                  <c:v>41402</c:v>
                </c:pt>
                <c:pt idx="1052">
                  <c:v>41403</c:v>
                </c:pt>
                <c:pt idx="1053">
                  <c:v>41404</c:v>
                </c:pt>
                <c:pt idx="1054">
                  <c:v>41407</c:v>
                </c:pt>
                <c:pt idx="1055">
                  <c:v>41408</c:v>
                </c:pt>
                <c:pt idx="1056">
                  <c:v>41409</c:v>
                </c:pt>
                <c:pt idx="1057">
                  <c:v>41410</c:v>
                </c:pt>
                <c:pt idx="1058">
                  <c:v>41411</c:v>
                </c:pt>
                <c:pt idx="1059">
                  <c:v>41414</c:v>
                </c:pt>
                <c:pt idx="1060">
                  <c:v>41415</c:v>
                </c:pt>
                <c:pt idx="1061">
                  <c:v>41416</c:v>
                </c:pt>
                <c:pt idx="1062">
                  <c:v>41417</c:v>
                </c:pt>
                <c:pt idx="1063">
                  <c:v>41418</c:v>
                </c:pt>
                <c:pt idx="1064">
                  <c:v>41421</c:v>
                </c:pt>
                <c:pt idx="1065">
                  <c:v>41422</c:v>
                </c:pt>
                <c:pt idx="1066">
                  <c:v>41423</c:v>
                </c:pt>
                <c:pt idx="1067">
                  <c:v>41424</c:v>
                </c:pt>
                <c:pt idx="1068">
                  <c:v>41425</c:v>
                </c:pt>
                <c:pt idx="1069">
                  <c:v>41428</c:v>
                </c:pt>
                <c:pt idx="1070">
                  <c:v>41429</c:v>
                </c:pt>
                <c:pt idx="1071">
                  <c:v>41430</c:v>
                </c:pt>
                <c:pt idx="1072">
                  <c:v>41431</c:v>
                </c:pt>
                <c:pt idx="1073">
                  <c:v>41432</c:v>
                </c:pt>
                <c:pt idx="1074">
                  <c:v>41438</c:v>
                </c:pt>
                <c:pt idx="1075">
                  <c:v>41439</c:v>
                </c:pt>
                <c:pt idx="1076">
                  <c:v>41442</c:v>
                </c:pt>
                <c:pt idx="1077">
                  <c:v>41443</c:v>
                </c:pt>
                <c:pt idx="1078">
                  <c:v>41444</c:v>
                </c:pt>
                <c:pt idx="1079">
                  <c:v>41445</c:v>
                </c:pt>
                <c:pt idx="1080">
                  <c:v>41446</c:v>
                </c:pt>
                <c:pt idx="1081">
                  <c:v>41449</c:v>
                </c:pt>
                <c:pt idx="1082">
                  <c:v>41450</c:v>
                </c:pt>
                <c:pt idx="1083">
                  <c:v>41451</c:v>
                </c:pt>
                <c:pt idx="1084">
                  <c:v>41452</c:v>
                </c:pt>
                <c:pt idx="1085">
                  <c:v>41453</c:v>
                </c:pt>
                <c:pt idx="1086">
                  <c:v>41456</c:v>
                </c:pt>
                <c:pt idx="1087">
                  <c:v>41457</c:v>
                </c:pt>
                <c:pt idx="1088">
                  <c:v>41458</c:v>
                </c:pt>
                <c:pt idx="1089">
                  <c:v>41459</c:v>
                </c:pt>
                <c:pt idx="1090">
                  <c:v>41460</c:v>
                </c:pt>
                <c:pt idx="1091">
                  <c:v>41463</c:v>
                </c:pt>
                <c:pt idx="1092">
                  <c:v>41464</c:v>
                </c:pt>
                <c:pt idx="1093">
                  <c:v>41465</c:v>
                </c:pt>
                <c:pt idx="1094">
                  <c:v>41466</c:v>
                </c:pt>
                <c:pt idx="1095">
                  <c:v>41467</c:v>
                </c:pt>
                <c:pt idx="1096">
                  <c:v>41470</c:v>
                </c:pt>
                <c:pt idx="1097">
                  <c:v>41471</c:v>
                </c:pt>
                <c:pt idx="1098">
                  <c:v>41472</c:v>
                </c:pt>
                <c:pt idx="1099">
                  <c:v>41473</c:v>
                </c:pt>
                <c:pt idx="1100">
                  <c:v>41474</c:v>
                </c:pt>
                <c:pt idx="1101">
                  <c:v>41477</c:v>
                </c:pt>
                <c:pt idx="1102">
                  <c:v>41478</c:v>
                </c:pt>
                <c:pt idx="1103">
                  <c:v>41479</c:v>
                </c:pt>
                <c:pt idx="1104">
                  <c:v>41480</c:v>
                </c:pt>
                <c:pt idx="1105">
                  <c:v>41481</c:v>
                </c:pt>
                <c:pt idx="1106">
                  <c:v>41484</c:v>
                </c:pt>
                <c:pt idx="1107">
                  <c:v>41485</c:v>
                </c:pt>
                <c:pt idx="1108">
                  <c:v>41486</c:v>
                </c:pt>
                <c:pt idx="1109">
                  <c:v>41487</c:v>
                </c:pt>
                <c:pt idx="1110">
                  <c:v>41488</c:v>
                </c:pt>
                <c:pt idx="1111">
                  <c:v>41491</c:v>
                </c:pt>
                <c:pt idx="1112">
                  <c:v>41492</c:v>
                </c:pt>
                <c:pt idx="1113">
                  <c:v>41493</c:v>
                </c:pt>
                <c:pt idx="1114">
                  <c:v>41494</c:v>
                </c:pt>
                <c:pt idx="1115">
                  <c:v>41495</c:v>
                </c:pt>
                <c:pt idx="1116">
                  <c:v>41498</c:v>
                </c:pt>
                <c:pt idx="1117">
                  <c:v>41499</c:v>
                </c:pt>
                <c:pt idx="1118">
                  <c:v>41500</c:v>
                </c:pt>
                <c:pt idx="1119">
                  <c:v>41501</c:v>
                </c:pt>
                <c:pt idx="1120">
                  <c:v>41502</c:v>
                </c:pt>
                <c:pt idx="1121">
                  <c:v>41505</c:v>
                </c:pt>
                <c:pt idx="1122">
                  <c:v>41506</c:v>
                </c:pt>
                <c:pt idx="1123">
                  <c:v>41507</c:v>
                </c:pt>
                <c:pt idx="1124">
                  <c:v>41508</c:v>
                </c:pt>
                <c:pt idx="1125">
                  <c:v>41509</c:v>
                </c:pt>
                <c:pt idx="1126">
                  <c:v>41512</c:v>
                </c:pt>
                <c:pt idx="1127">
                  <c:v>41513</c:v>
                </c:pt>
                <c:pt idx="1128">
                  <c:v>41514</c:v>
                </c:pt>
                <c:pt idx="1129">
                  <c:v>41515</c:v>
                </c:pt>
                <c:pt idx="1130">
                  <c:v>41516</c:v>
                </c:pt>
                <c:pt idx="1131">
                  <c:v>41519</c:v>
                </c:pt>
                <c:pt idx="1132">
                  <c:v>41520</c:v>
                </c:pt>
                <c:pt idx="1133">
                  <c:v>41521</c:v>
                </c:pt>
                <c:pt idx="1134">
                  <c:v>41522</c:v>
                </c:pt>
                <c:pt idx="1135">
                  <c:v>41523</c:v>
                </c:pt>
                <c:pt idx="1136">
                  <c:v>41526</c:v>
                </c:pt>
                <c:pt idx="1137">
                  <c:v>41527</c:v>
                </c:pt>
                <c:pt idx="1138">
                  <c:v>41528</c:v>
                </c:pt>
                <c:pt idx="1139">
                  <c:v>41529</c:v>
                </c:pt>
                <c:pt idx="1140">
                  <c:v>41530</c:v>
                </c:pt>
                <c:pt idx="1141">
                  <c:v>41533</c:v>
                </c:pt>
                <c:pt idx="1142">
                  <c:v>41534</c:v>
                </c:pt>
                <c:pt idx="1143">
                  <c:v>41535</c:v>
                </c:pt>
                <c:pt idx="1144">
                  <c:v>41540</c:v>
                </c:pt>
                <c:pt idx="1145">
                  <c:v>41541</c:v>
                </c:pt>
                <c:pt idx="1146">
                  <c:v>41542</c:v>
                </c:pt>
                <c:pt idx="1147">
                  <c:v>41543</c:v>
                </c:pt>
                <c:pt idx="1148">
                  <c:v>41544</c:v>
                </c:pt>
                <c:pt idx="1149">
                  <c:v>41547</c:v>
                </c:pt>
                <c:pt idx="1150">
                  <c:v>41555</c:v>
                </c:pt>
                <c:pt idx="1151">
                  <c:v>41556</c:v>
                </c:pt>
                <c:pt idx="1152">
                  <c:v>41557</c:v>
                </c:pt>
                <c:pt idx="1153">
                  <c:v>41558</c:v>
                </c:pt>
                <c:pt idx="1154">
                  <c:v>41561</c:v>
                </c:pt>
                <c:pt idx="1155">
                  <c:v>41562</c:v>
                </c:pt>
                <c:pt idx="1156">
                  <c:v>41563</c:v>
                </c:pt>
                <c:pt idx="1157">
                  <c:v>41564</c:v>
                </c:pt>
                <c:pt idx="1158">
                  <c:v>41565</c:v>
                </c:pt>
                <c:pt idx="1159">
                  <c:v>41568</c:v>
                </c:pt>
                <c:pt idx="1160">
                  <c:v>41569</c:v>
                </c:pt>
                <c:pt idx="1161">
                  <c:v>41570</c:v>
                </c:pt>
                <c:pt idx="1162">
                  <c:v>41571</c:v>
                </c:pt>
                <c:pt idx="1163">
                  <c:v>41572</c:v>
                </c:pt>
                <c:pt idx="1164">
                  <c:v>41575</c:v>
                </c:pt>
                <c:pt idx="1165">
                  <c:v>41576</c:v>
                </c:pt>
                <c:pt idx="1166">
                  <c:v>41577</c:v>
                </c:pt>
                <c:pt idx="1167">
                  <c:v>41578</c:v>
                </c:pt>
                <c:pt idx="1168">
                  <c:v>41579</c:v>
                </c:pt>
                <c:pt idx="1169">
                  <c:v>41582</c:v>
                </c:pt>
                <c:pt idx="1170">
                  <c:v>41583</c:v>
                </c:pt>
                <c:pt idx="1171">
                  <c:v>41584</c:v>
                </c:pt>
                <c:pt idx="1172">
                  <c:v>41585</c:v>
                </c:pt>
                <c:pt idx="1173">
                  <c:v>41586</c:v>
                </c:pt>
                <c:pt idx="1174">
                  <c:v>41589</c:v>
                </c:pt>
                <c:pt idx="1175">
                  <c:v>41590</c:v>
                </c:pt>
                <c:pt idx="1176">
                  <c:v>41591</c:v>
                </c:pt>
                <c:pt idx="1177">
                  <c:v>41592</c:v>
                </c:pt>
                <c:pt idx="1178">
                  <c:v>41593</c:v>
                </c:pt>
                <c:pt idx="1179">
                  <c:v>41596</c:v>
                </c:pt>
                <c:pt idx="1180">
                  <c:v>41597</c:v>
                </c:pt>
                <c:pt idx="1181">
                  <c:v>41598</c:v>
                </c:pt>
                <c:pt idx="1182">
                  <c:v>41599</c:v>
                </c:pt>
                <c:pt idx="1183">
                  <c:v>41600</c:v>
                </c:pt>
                <c:pt idx="1184">
                  <c:v>41603</c:v>
                </c:pt>
                <c:pt idx="1185">
                  <c:v>41604</c:v>
                </c:pt>
                <c:pt idx="1186">
                  <c:v>41605</c:v>
                </c:pt>
                <c:pt idx="1187">
                  <c:v>41606</c:v>
                </c:pt>
                <c:pt idx="1188">
                  <c:v>41607</c:v>
                </c:pt>
                <c:pt idx="1189">
                  <c:v>41610</c:v>
                </c:pt>
                <c:pt idx="1190">
                  <c:v>41611</c:v>
                </c:pt>
                <c:pt idx="1191">
                  <c:v>41612</c:v>
                </c:pt>
                <c:pt idx="1192">
                  <c:v>41613</c:v>
                </c:pt>
                <c:pt idx="1193">
                  <c:v>41614</c:v>
                </c:pt>
                <c:pt idx="1194">
                  <c:v>41617</c:v>
                </c:pt>
                <c:pt idx="1195">
                  <c:v>41618</c:v>
                </c:pt>
                <c:pt idx="1196">
                  <c:v>41619</c:v>
                </c:pt>
                <c:pt idx="1197">
                  <c:v>41620</c:v>
                </c:pt>
                <c:pt idx="1198">
                  <c:v>41621</c:v>
                </c:pt>
                <c:pt idx="1199">
                  <c:v>41624</c:v>
                </c:pt>
                <c:pt idx="1200">
                  <c:v>41625</c:v>
                </c:pt>
                <c:pt idx="1201">
                  <c:v>41626</c:v>
                </c:pt>
                <c:pt idx="1202">
                  <c:v>41627</c:v>
                </c:pt>
                <c:pt idx="1203">
                  <c:v>41628</c:v>
                </c:pt>
                <c:pt idx="1204">
                  <c:v>41631</c:v>
                </c:pt>
                <c:pt idx="1205">
                  <c:v>41632</c:v>
                </c:pt>
                <c:pt idx="1206">
                  <c:v>41633</c:v>
                </c:pt>
                <c:pt idx="1207">
                  <c:v>41634</c:v>
                </c:pt>
                <c:pt idx="1208">
                  <c:v>41635</c:v>
                </c:pt>
                <c:pt idx="1209">
                  <c:v>41638</c:v>
                </c:pt>
                <c:pt idx="1210">
                  <c:v>41639</c:v>
                </c:pt>
                <c:pt idx="1211">
                  <c:v>41641</c:v>
                </c:pt>
                <c:pt idx="1212">
                  <c:v>41642</c:v>
                </c:pt>
                <c:pt idx="1213">
                  <c:v>41645</c:v>
                </c:pt>
                <c:pt idx="1214">
                  <c:v>41646</c:v>
                </c:pt>
                <c:pt idx="1215">
                  <c:v>41647</c:v>
                </c:pt>
                <c:pt idx="1216">
                  <c:v>41648</c:v>
                </c:pt>
                <c:pt idx="1217">
                  <c:v>41649</c:v>
                </c:pt>
                <c:pt idx="1218">
                  <c:v>41652</c:v>
                </c:pt>
                <c:pt idx="1219">
                  <c:v>41653</c:v>
                </c:pt>
                <c:pt idx="1220">
                  <c:v>41654</c:v>
                </c:pt>
                <c:pt idx="1221">
                  <c:v>41655</c:v>
                </c:pt>
                <c:pt idx="1222">
                  <c:v>41656</c:v>
                </c:pt>
                <c:pt idx="1223">
                  <c:v>41659</c:v>
                </c:pt>
                <c:pt idx="1224">
                  <c:v>41660</c:v>
                </c:pt>
                <c:pt idx="1225">
                  <c:v>41661</c:v>
                </c:pt>
                <c:pt idx="1226">
                  <c:v>41662</c:v>
                </c:pt>
                <c:pt idx="1227">
                  <c:v>41663</c:v>
                </c:pt>
                <c:pt idx="1228">
                  <c:v>41666</c:v>
                </c:pt>
                <c:pt idx="1229">
                  <c:v>41667</c:v>
                </c:pt>
                <c:pt idx="1230">
                  <c:v>41668</c:v>
                </c:pt>
                <c:pt idx="1231">
                  <c:v>41669</c:v>
                </c:pt>
                <c:pt idx="1232">
                  <c:v>41677</c:v>
                </c:pt>
                <c:pt idx="1233">
                  <c:v>41680</c:v>
                </c:pt>
                <c:pt idx="1234">
                  <c:v>41681</c:v>
                </c:pt>
                <c:pt idx="1235">
                  <c:v>41682</c:v>
                </c:pt>
                <c:pt idx="1236">
                  <c:v>41683</c:v>
                </c:pt>
                <c:pt idx="1237">
                  <c:v>41684</c:v>
                </c:pt>
                <c:pt idx="1238">
                  <c:v>41687</c:v>
                </c:pt>
                <c:pt idx="1239">
                  <c:v>41688</c:v>
                </c:pt>
                <c:pt idx="1240">
                  <c:v>41689</c:v>
                </c:pt>
                <c:pt idx="1241">
                  <c:v>41690</c:v>
                </c:pt>
                <c:pt idx="1242">
                  <c:v>41691</c:v>
                </c:pt>
                <c:pt idx="1243">
                  <c:v>41694</c:v>
                </c:pt>
                <c:pt idx="1244">
                  <c:v>41695</c:v>
                </c:pt>
                <c:pt idx="1245">
                  <c:v>41696</c:v>
                </c:pt>
                <c:pt idx="1246">
                  <c:v>41697</c:v>
                </c:pt>
                <c:pt idx="1247">
                  <c:v>41698</c:v>
                </c:pt>
                <c:pt idx="1248">
                  <c:v>41701</c:v>
                </c:pt>
                <c:pt idx="1249">
                  <c:v>41702</c:v>
                </c:pt>
                <c:pt idx="1250">
                  <c:v>41703</c:v>
                </c:pt>
                <c:pt idx="1251">
                  <c:v>41704</c:v>
                </c:pt>
                <c:pt idx="1252">
                  <c:v>41705</c:v>
                </c:pt>
                <c:pt idx="1253">
                  <c:v>41708</c:v>
                </c:pt>
                <c:pt idx="1254">
                  <c:v>41709</c:v>
                </c:pt>
                <c:pt idx="1255">
                  <c:v>41710</c:v>
                </c:pt>
                <c:pt idx="1256">
                  <c:v>41711</c:v>
                </c:pt>
                <c:pt idx="1257">
                  <c:v>41712</c:v>
                </c:pt>
                <c:pt idx="1258">
                  <c:v>41715</c:v>
                </c:pt>
                <c:pt idx="1259">
                  <c:v>41716</c:v>
                </c:pt>
                <c:pt idx="1260">
                  <c:v>41717</c:v>
                </c:pt>
                <c:pt idx="1261">
                  <c:v>41718</c:v>
                </c:pt>
                <c:pt idx="1262">
                  <c:v>41719</c:v>
                </c:pt>
                <c:pt idx="1263">
                  <c:v>41722</c:v>
                </c:pt>
                <c:pt idx="1264">
                  <c:v>41723</c:v>
                </c:pt>
                <c:pt idx="1265">
                  <c:v>41724</c:v>
                </c:pt>
                <c:pt idx="1266">
                  <c:v>41725</c:v>
                </c:pt>
                <c:pt idx="1267">
                  <c:v>41726</c:v>
                </c:pt>
                <c:pt idx="1268">
                  <c:v>41729</c:v>
                </c:pt>
                <c:pt idx="1269">
                  <c:v>41730</c:v>
                </c:pt>
                <c:pt idx="1270">
                  <c:v>41731</c:v>
                </c:pt>
                <c:pt idx="1271">
                  <c:v>41732</c:v>
                </c:pt>
                <c:pt idx="1272">
                  <c:v>41733</c:v>
                </c:pt>
                <c:pt idx="1273">
                  <c:v>41737</c:v>
                </c:pt>
                <c:pt idx="1274">
                  <c:v>41738</c:v>
                </c:pt>
                <c:pt idx="1275">
                  <c:v>41739</c:v>
                </c:pt>
                <c:pt idx="1276">
                  <c:v>41740</c:v>
                </c:pt>
                <c:pt idx="1277">
                  <c:v>41743</c:v>
                </c:pt>
                <c:pt idx="1278">
                  <c:v>41744</c:v>
                </c:pt>
                <c:pt idx="1279">
                  <c:v>41745</c:v>
                </c:pt>
                <c:pt idx="1280">
                  <c:v>41746</c:v>
                </c:pt>
                <c:pt idx="1281">
                  <c:v>41747</c:v>
                </c:pt>
                <c:pt idx="1282">
                  <c:v>41750</c:v>
                </c:pt>
                <c:pt idx="1283">
                  <c:v>41751</c:v>
                </c:pt>
                <c:pt idx="1284">
                  <c:v>41752</c:v>
                </c:pt>
                <c:pt idx="1285">
                  <c:v>41753</c:v>
                </c:pt>
                <c:pt idx="1286">
                  <c:v>41754</c:v>
                </c:pt>
                <c:pt idx="1287">
                  <c:v>41757</c:v>
                </c:pt>
                <c:pt idx="1288">
                  <c:v>41758</c:v>
                </c:pt>
                <c:pt idx="1289">
                  <c:v>41759</c:v>
                </c:pt>
                <c:pt idx="1290">
                  <c:v>41764</c:v>
                </c:pt>
                <c:pt idx="1291">
                  <c:v>41765</c:v>
                </c:pt>
                <c:pt idx="1292">
                  <c:v>41766</c:v>
                </c:pt>
                <c:pt idx="1293">
                  <c:v>41767</c:v>
                </c:pt>
                <c:pt idx="1294">
                  <c:v>41768</c:v>
                </c:pt>
                <c:pt idx="1295">
                  <c:v>41771</c:v>
                </c:pt>
                <c:pt idx="1296">
                  <c:v>41772</c:v>
                </c:pt>
                <c:pt idx="1297">
                  <c:v>41773</c:v>
                </c:pt>
                <c:pt idx="1298">
                  <c:v>41774</c:v>
                </c:pt>
                <c:pt idx="1299">
                  <c:v>41775</c:v>
                </c:pt>
                <c:pt idx="1300">
                  <c:v>41778</c:v>
                </c:pt>
                <c:pt idx="1301">
                  <c:v>41779</c:v>
                </c:pt>
                <c:pt idx="1302">
                  <c:v>41780</c:v>
                </c:pt>
                <c:pt idx="1303">
                  <c:v>41781</c:v>
                </c:pt>
                <c:pt idx="1304">
                  <c:v>41782</c:v>
                </c:pt>
                <c:pt idx="1305">
                  <c:v>41785</c:v>
                </c:pt>
                <c:pt idx="1306">
                  <c:v>41786</c:v>
                </c:pt>
                <c:pt idx="1307">
                  <c:v>41787</c:v>
                </c:pt>
                <c:pt idx="1308">
                  <c:v>41788</c:v>
                </c:pt>
                <c:pt idx="1309">
                  <c:v>41789</c:v>
                </c:pt>
                <c:pt idx="1310">
                  <c:v>41793</c:v>
                </c:pt>
                <c:pt idx="1311">
                  <c:v>41794</c:v>
                </c:pt>
                <c:pt idx="1312">
                  <c:v>41795</c:v>
                </c:pt>
                <c:pt idx="1313">
                  <c:v>41796</c:v>
                </c:pt>
                <c:pt idx="1314">
                  <c:v>41799</c:v>
                </c:pt>
                <c:pt idx="1315">
                  <c:v>41800</c:v>
                </c:pt>
                <c:pt idx="1316">
                  <c:v>41801</c:v>
                </c:pt>
                <c:pt idx="1317">
                  <c:v>41802</c:v>
                </c:pt>
                <c:pt idx="1318">
                  <c:v>41803</c:v>
                </c:pt>
                <c:pt idx="1319">
                  <c:v>41806</c:v>
                </c:pt>
                <c:pt idx="1320">
                  <c:v>41807</c:v>
                </c:pt>
                <c:pt idx="1321">
                  <c:v>41808</c:v>
                </c:pt>
                <c:pt idx="1322">
                  <c:v>41809</c:v>
                </c:pt>
                <c:pt idx="1323">
                  <c:v>41810</c:v>
                </c:pt>
                <c:pt idx="1324">
                  <c:v>41813</c:v>
                </c:pt>
                <c:pt idx="1325">
                  <c:v>41814</c:v>
                </c:pt>
                <c:pt idx="1326">
                  <c:v>41815</c:v>
                </c:pt>
                <c:pt idx="1327">
                  <c:v>41816</c:v>
                </c:pt>
                <c:pt idx="1328">
                  <c:v>41817</c:v>
                </c:pt>
                <c:pt idx="1329">
                  <c:v>41820</c:v>
                </c:pt>
                <c:pt idx="1330">
                  <c:v>41821</c:v>
                </c:pt>
                <c:pt idx="1331">
                  <c:v>41822</c:v>
                </c:pt>
                <c:pt idx="1332">
                  <c:v>41823</c:v>
                </c:pt>
                <c:pt idx="1333">
                  <c:v>41824</c:v>
                </c:pt>
                <c:pt idx="1334">
                  <c:v>41827</c:v>
                </c:pt>
                <c:pt idx="1335">
                  <c:v>41828</c:v>
                </c:pt>
                <c:pt idx="1336">
                  <c:v>41829</c:v>
                </c:pt>
                <c:pt idx="1337">
                  <c:v>41830</c:v>
                </c:pt>
                <c:pt idx="1338">
                  <c:v>41831</c:v>
                </c:pt>
                <c:pt idx="1339">
                  <c:v>41834</c:v>
                </c:pt>
                <c:pt idx="1340">
                  <c:v>41835</c:v>
                </c:pt>
                <c:pt idx="1341">
                  <c:v>41836</c:v>
                </c:pt>
                <c:pt idx="1342">
                  <c:v>41837</c:v>
                </c:pt>
                <c:pt idx="1343">
                  <c:v>41838</c:v>
                </c:pt>
                <c:pt idx="1344">
                  <c:v>41841</c:v>
                </c:pt>
                <c:pt idx="1345">
                  <c:v>41842</c:v>
                </c:pt>
                <c:pt idx="1346">
                  <c:v>41843</c:v>
                </c:pt>
                <c:pt idx="1347">
                  <c:v>41844</c:v>
                </c:pt>
                <c:pt idx="1348">
                  <c:v>41845</c:v>
                </c:pt>
                <c:pt idx="1349">
                  <c:v>41848</c:v>
                </c:pt>
                <c:pt idx="1350">
                  <c:v>41849</c:v>
                </c:pt>
                <c:pt idx="1351">
                  <c:v>41850</c:v>
                </c:pt>
                <c:pt idx="1352">
                  <c:v>41851</c:v>
                </c:pt>
                <c:pt idx="1353">
                  <c:v>41852</c:v>
                </c:pt>
                <c:pt idx="1354">
                  <c:v>41855</c:v>
                </c:pt>
                <c:pt idx="1355">
                  <c:v>41856</c:v>
                </c:pt>
                <c:pt idx="1356">
                  <c:v>41857</c:v>
                </c:pt>
                <c:pt idx="1357">
                  <c:v>41858</c:v>
                </c:pt>
                <c:pt idx="1358">
                  <c:v>41859</c:v>
                </c:pt>
                <c:pt idx="1359">
                  <c:v>41862</c:v>
                </c:pt>
                <c:pt idx="1360">
                  <c:v>41863</c:v>
                </c:pt>
                <c:pt idx="1361">
                  <c:v>41864</c:v>
                </c:pt>
                <c:pt idx="1362">
                  <c:v>41865</c:v>
                </c:pt>
                <c:pt idx="1363">
                  <c:v>41866</c:v>
                </c:pt>
                <c:pt idx="1364">
                  <c:v>41869</c:v>
                </c:pt>
                <c:pt idx="1365">
                  <c:v>41870</c:v>
                </c:pt>
                <c:pt idx="1366">
                  <c:v>41871</c:v>
                </c:pt>
                <c:pt idx="1367">
                  <c:v>41872</c:v>
                </c:pt>
                <c:pt idx="1368">
                  <c:v>41873</c:v>
                </c:pt>
                <c:pt idx="1369">
                  <c:v>41876</c:v>
                </c:pt>
                <c:pt idx="1370">
                  <c:v>41877</c:v>
                </c:pt>
                <c:pt idx="1371">
                  <c:v>41878</c:v>
                </c:pt>
                <c:pt idx="1372">
                  <c:v>41879</c:v>
                </c:pt>
                <c:pt idx="1373">
                  <c:v>41880</c:v>
                </c:pt>
                <c:pt idx="1374">
                  <c:v>41883</c:v>
                </c:pt>
                <c:pt idx="1375">
                  <c:v>41884</c:v>
                </c:pt>
                <c:pt idx="1376">
                  <c:v>41885</c:v>
                </c:pt>
                <c:pt idx="1377">
                  <c:v>41886</c:v>
                </c:pt>
                <c:pt idx="1378">
                  <c:v>41887</c:v>
                </c:pt>
                <c:pt idx="1379">
                  <c:v>41891</c:v>
                </c:pt>
                <c:pt idx="1380">
                  <c:v>41892</c:v>
                </c:pt>
                <c:pt idx="1381">
                  <c:v>41893</c:v>
                </c:pt>
                <c:pt idx="1382">
                  <c:v>41894</c:v>
                </c:pt>
                <c:pt idx="1383">
                  <c:v>41897</c:v>
                </c:pt>
                <c:pt idx="1384">
                  <c:v>41898</c:v>
                </c:pt>
                <c:pt idx="1385">
                  <c:v>41899</c:v>
                </c:pt>
                <c:pt idx="1386">
                  <c:v>41900</c:v>
                </c:pt>
                <c:pt idx="1387">
                  <c:v>41901</c:v>
                </c:pt>
                <c:pt idx="1388">
                  <c:v>41904</c:v>
                </c:pt>
                <c:pt idx="1389">
                  <c:v>41905</c:v>
                </c:pt>
                <c:pt idx="1390">
                  <c:v>41906</c:v>
                </c:pt>
                <c:pt idx="1391">
                  <c:v>41907</c:v>
                </c:pt>
                <c:pt idx="1392">
                  <c:v>41908</c:v>
                </c:pt>
                <c:pt idx="1393">
                  <c:v>41911</c:v>
                </c:pt>
                <c:pt idx="1394">
                  <c:v>41912</c:v>
                </c:pt>
                <c:pt idx="1395">
                  <c:v>41920</c:v>
                </c:pt>
                <c:pt idx="1396">
                  <c:v>41921</c:v>
                </c:pt>
                <c:pt idx="1397">
                  <c:v>41922</c:v>
                </c:pt>
                <c:pt idx="1398">
                  <c:v>41925</c:v>
                </c:pt>
                <c:pt idx="1399">
                  <c:v>41926</c:v>
                </c:pt>
                <c:pt idx="1400">
                  <c:v>41927</c:v>
                </c:pt>
                <c:pt idx="1401">
                  <c:v>41928</c:v>
                </c:pt>
                <c:pt idx="1402">
                  <c:v>41929</c:v>
                </c:pt>
                <c:pt idx="1403">
                  <c:v>41932</c:v>
                </c:pt>
                <c:pt idx="1404">
                  <c:v>41933</c:v>
                </c:pt>
                <c:pt idx="1405">
                  <c:v>41934</c:v>
                </c:pt>
                <c:pt idx="1406">
                  <c:v>41935</c:v>
                </c:pt>
                <c:pt idx="1407">
                  <c:v>41936</c:v>
                </c:pt>
                <c:pt idx="1408">
                  <c:v>41939</c:v>
                </c:pt>
                <c:pt idx="1409">
                  <c:v>41940</c:v>
                </c:pt>
                <c:pt idx="1410">
                  <c:v>41941</c:v>
                </c:pt>
                <c:pt idx="1411">
                  <c:v>41942</c:v>
                </c:pt>
                <c:pt idx="1412">
                  <c:v>41943</c:v>
                </c:pt>
                <c:pt idx="1413">
                  <c:v>41946</c:v>
                </c:pt>
                <c:pt idx="1414">
                  <c:v>41947</c:v>
                </c:pt>
                <c:pt idx="1415">
                  <c:v>41948</c:v>
                </c:pt>
                <c:pt idx="1416">
                  <c:v>41949</c:v>
                </c:pt>
                <c:pt idx="1417">
                  <c:v>41950</c:v>
                </c:pt>
                <c:pt idx="1418">
                  <c:v>41953</c:v>
                </c:pt>
                <c:pt idx="1419">
                  <c:v>41954</c:v>
                </c:pt>
                <c:pt idx="1420">
                  <c:v>41955</c:v>
                </c:pt>
                <c:pt idx="1421">
                  <c:v>41956</c:v>
                </c:pt>
                <c:pt idx="1422">
                  <c:v>41957</c:v>
                </c:pt>
                <c:pt idx="1423">
                  <c:v>41960</c:v>
                </c:pt>
                <c:pt idx="1424">
                  <c:v>41961</c:v>
                </c:pt>
                <c:pt idx="1425">
                  <c:v>41962</c:v>
                </c:pt>
                <c:pt idx="1426">
                  <c:v>41963</c:v>
                </c:pt>
                <c:pt idx="1427">
                  <c:v>41964</c:v>
                </c:pt>
                <c:pt idx="1428">
                  <c:v>41967</c:v>
                </c:pt>
                <c:pt idx="1429">
                  <c:v>41968</c:v>
                </c:pt>
                <c:pt idx="1430">
                  <c:v>41969</c:v>
                </c:pt>
                <c:pt idx="1431">
                  <c:v>41970</c:v>
                </c:pt>
                <c:pt idx="1432">
                  <c:v>41971</c:v>
                </c:pt>
                <c:pt idx="1433">
                  <c:v>41974</c:v>
                </c:pt>
                <c:pt idx="1434">
                  <c:v>41975</c:v>
                </c:pt>
                <c:pt idx="1435">
                  <c:v>41976</c:v>
                </c:pt>
                <c:pt idx="1436">
                  <c:v>41977</c:v>
                </c:pt>
                <c:pt idx="1437">
                  <c:v>41978</c:v>
                </c:pt>
                <c:pt idx="1438">
                  <c:v>41981</c:v>
                </c:pt>
                <c:pt idx="1439">
                  <c:v>41982</c:v>
                </c:pt>
                <c:pt idx="1440">
                  <c:v>41983</c:v>
                </c:pt>
                <c:pt idx="1441">
                  <c:v>41984</c:v>
                </c:pt>
                <c:pt idx="1442">
                  <c:v>41985</c:v>
                </c:pt>
                <c:pt idx="1443">
                  <c:v>41988</c:v>
                </c:pt>
                <c:pt idx="1444">
                  <c:v>41989</c:v>
                </c:pt>
                <c:pt idx="1445">
                  <c:v>41990</c:v>
                </c:pt>
                <c:pt idx="1446">
                  <c:v>41991</c:v>
                </c:pt>
                <c:pt idx="1447">
                  <c:v>41992</c:v>
                </c:pt>
                <c:pt idx="1448">
                  <c:v>41995</c:v>
                </c:pt>
                <c:pt idx="1449">
                  <c:v>41996</c:v>
                </c:pt>
                <c:pt idx="1450">
                  <c:v>41997</c:v>
                </c:pt>
                <c:pt idx="1451">
                  <c:v>41998</c:v>
                </c:pt>
                <c:pt idx="1452">
                  <c:v>41999</c:v>
                </c:pt>
                <c:pt idx="1453">
                  <c:v>42002</c:v>
                </c:pt>
                <c:pt idx="1454">
                  <c:v>42003</c:v>
                </c:pt>
                <c:pt idx="1455">
                  <c:v>42004</c:v>
                </c:pt>
                <c:pt idx="1456">
                  <c:v>42009</c:v>
                </c:pt>
                <c:pt idx="1457">
                  <c:v>42010</c:v>
                </c:pt>
                <c:pt idx="1458">
                  <c:v>42011</c:v>
                </c:pt>
                <c:pt idx="1459">
                  <c:v>42012</c:v>
                </c:pt>
                <c:pt idx="1460">
                  <c:v>42013</c:v>
                </c:pt>
                <c:pt idx="1461">
                  <c:v>42016</c:v>
                </c:pt>
                <c:pt idx="1462">
                  <c:v>42017</c:v>
                </c:pt>
                <c:pt idx="1463">
                  <c:v>42018</c:v>
                </c:pt>
                <c:pt idx="1464">
                  <c:v>42019</c:v>
                </c:pt>
                <c:pt idx="1465">
                  <c:v>42020</c:v>
                </c:pt>
                <c:pt idx="1466">
                  <c:v>42023</c:v>
                </c:pt>
                <c:pt idx="1467">
                  <c:v>42024</c:v>
                </c:pt>
                <c:pt idx="1468">
                  <c:v>42025</c:v>
                </c:pt>
                <c:pt idx="1469">
                  <c:v>42026</c:v>
                </c:pt>
                <c:pt idx="1470">
                  <c:v>42027</c:v>
                </c:pt>
                <c:pt idx="1471">
                  <c:v>42030</c:v>
                </c:pt>
                <c:pt idx="1472">
                  <c:v>42031</c:v>
                </c:pt>
                <c:pt idx="1473">
                  <c:v>42032</c:v>
                </c:pt>
                <c:pt idx="1474">
                  <c:v>42033</c:v>
                </c:pt>
                <c:pt idx="1475">
                  <c:v>42034</c:v>
                </c:pt>
                <c:pt idx="1476">
                  <c:v>42037</c:v>
                </c:pt>
                <c:pt idx="1477">
                  <c:v>42038</c:v>
                </c:pt>
                <c:pt idx="1478">
                  <c:v>42039</c:v>
                </c:pt>
                <c:pt idx="1479">
                  <c:v>42040</c:v>
                </c:pt>
                <c:pt idx="1480">
                  <c:v>42041</c:v>
                </c:pt>
                <c:pt idx="1481">
                  <c:v>42044</c:v>
                </c:pt>
                <c:pt idx="1482">
                  <c:v>42045</c:v>
                </c:pt>
                <c:pt idx="1483">
                  <c:v>42046</c:v>
                </c:pt>
                <c:pt idx="1484">
                  <c:v>42047</c:v>
                </c:pt>
                <c:pt idx="1485">
                  <c:v>42048</c:v>
                </c:pt>
                <c:pt idx="1486">
                  <c:v>42051</c:v>
                </c:pt>
                <c:pt idx="1487">
                  <c:v>42052</c:v>
                </c:pt>
                <c:pt idx="1488">
                  <c:v>42060</c:v>
                </c:pt>
                <c:pt idx="1489">
                  <c:v>42061</c:v>
                </c:pt>
                <c:pt idx="1490">
                  <c:v>42062</c:v>
                </c:pt>
                <c:pt idx="1491">
                  <c:v>42065</c:v>
                </c:pt>
                <c:pt idx="1492">
                  <c:v>42066</c:v>
                </c:pt>
                <c:pt idx="1493">
                  <c:v>42067</c:v>
                </c:pt>
                <c:pt idx="1494">
                  <c:v>42068</c:v>
                </c:pt>
                <c:pt idx="1495">
                  <c:v>42069</c:v>
                </c:pt>
                <c:pt idx="1496">
                  <c:v>42072</c:v>
                </c:pt>
                <c:pt idx="1497">
                  <c:v>42073</c:v>
                </c:pt>
                <c:pt idx="1498">
                  <c:v>42074</c:v>
                </c:pt>
                <c:pt idx="1499">
                  <c:v>42075</c:v>
                </c:pt>
                <c:pt idx="1500">
                  <c:v>42076</c:v>
                </c:pt>
                <c:pt idx="1501">
                  <c:v>42079</c:v>
                </c:pt>
                <c:pt idx="1502">
                  <c:v>42080</c:v>
                </c:pt>
                <c:pt idx="1503">
                  <c:v>42081</c:v>
                </c:pt>
                <c:pt idx="1504">
                  <c:v>42082</c:v>
                </c:pt>
                <c:pt idx="1505">
                  <c:v>42083</c:v>
                </c:pt>
                <c:pt idx="1506">
                  <c:v>42086</c:v>
                </c:pt>
                <c:pt idx="1507">
                  <c:v>42087</c:v>
                </c:pt>
                <c:pt idx="1508">
                  <c:v>42088</c:v>
                </c:pt>
                <c:pt idx="1509">
                  <c:v>42089</c:v>
                </c:pt>
                <c:pt idx="1510">
                  <c:v>42090</c:v>
                </c:pt>
                <c:pt idx="1511">
                  <c:v>42093</c:v>
                </c:pt>
                <c:pt idx="1512">
                  <c:v>42094</c:v>
                </c:pt>
                <c:pt idx="1513">
                  <c:v>42095</c:v>
                </c:pt>
                <c:pt idx="1514">
                  <c:v>42096</c:v>
                </c:pt>
                <c:pt idx="1515">
                  <c:v>42097</c:v>
                </c:pt>
                <c:pt idx="1516">
                  <c:v>42101</c:v>
                </c:pt>
                <c:pt idx="1517">
                  <c:v>42102</c:v>
                </c:pt>
                <c:pt idx="1518">
                  <c:v>42103</c:v>
                </c:pt>
                <c:pt idx="1519">
                  <c:v>42104</c:v>
                </c:pt>
                <c:pt idx="1520">
                  <c:v>42107</c:v>
                </c:pt>
                <c:pt idx="1521">
                  <c:v>42108</c:v>
                </c:pt>
                <c:pt idx="1522">
                  <c:v>42109</c:v>
                </c:pt>
                <c:pt idx="1523">
                  <c:v>42110</c:v>
                </c:pt>
                <c:pt idx="1524">
                  <c:v>42111</c:v>
                </c:pt>
                <c:pt idx="1525">
                  <c:v>42114</c:v>
                </c:pt>
                <c:pt idx="1526">
                  <c:v>42115</c:v>
                </c:pt>
                <c:pt idx="1527">
                  <c:v>42116</c:v>
                </c:pt>
                <c:pt idx="1528">
                  <c:v>42117</c:v>
                </c:pt>
                <c:pt idx="1529">
                  <c:v>42118</c:v>
                </c:pt>
                <c:pt idx="1530">
                  <c:v>42121</c:v>
                </c:pt>
                <c:pt idx="1531">
                  <c:v>42122</c:v>
                </c:pt>
                <c:pt idx="1532">
                  <c:v>42123</c:v>
                </c:pt>
                <c:pt idx="1533">
                  <c:v>42124</c:v>
                </c:pt>
                <c:pt idx="1534">
                  <c:v>42128</c:v>
                </c:pt>
                <c:pt idx="1535">
                  <c:v>42129</c:v>
                </c:pt>
                <c:pt idx="1536">
                  <c:v>42130</c:v>
                </c:pt>
                <c:pt idx="1537">
                  <c:v>42131</c:v>
                </c:pt>
                <c:pt idx="1538">
                  <c:v>42132</c:v>
                </c:pt>
                <c:pt idx="1539">
                  <c:v>42135</c:v>
                </c:pt>
                <c:pt idx="1540">
                  <c:v>42136</c:v>
                </c:pt>
                <c:pt idx="1541">
                  <c:v>42137</c:v>
                </c:pt>
                <c:pt idx="1542">
                  <c:v>42138</c:v>
                </c:pt>
                <c:pt idx="1543">
                  <c:v>42139</c:v>
                </c:pt>
                <c:pt idx="1544">
                  <c:v>42142</c:v>
                </c:pt>
                <c:pt idx="1545">
                  <c:v>42143</c:v>
                </c:pt>
                <c:pt idx="1546">
                  <c:v>42144</c:v>
                </c:pt>
                <c:pt idx="1547">
                  <c:v>42145</c:v>
                </c:pt>
                <c:pt idx="1548">
                  <c:v>42146</c:v>
                </c:pt>
                <c:pt idx="1549">
                  <c:v>42149</c:v>
                </c:pt>
                <c:pt idx="1550">
                  <c:v>42150</c:v>
                </c:pt>
                <c:pt idx="1551">
                  <c:v>42151</c:v>
                </c:pt>
                <c:pt idx="1552">
                  <c:v>42152</c:v>
                </c:pt>
                <c:pt idx="1553">
                  <c:v>42153</c:v>
                </c:pt>
                <c:pt idx="1554">
                  <c:v>42156</c:v>
                </c:pt>
                <c:pt idx="1555">
                  <c:v>42157</c:v>
                </c:pt>
                <c:pt idx="1556">
                  <c:v>42158</c:v>
                </c:pt>
                <c:pt idx="1557">
                  <c:v>42159</c:v>
                </c:pt>
                <c:pt idx="1558">
                  <c:v>42160</c:v>
                </c:pt>
                <c:pt idx="1559">
                  <c:v>42163</c:v>
                </c:pt>
                <c:pt idx="1560">
                  <c:v>42164</c:v>
                </c:pt>
                <c:pt idx="1561">
                  <c:v>42165</c:v>
                </c:pt>
                <c:pt idx="1562">
                  <c:v>42166</c:v>
                </c:pt>
                <c:pt idx="1563">
                  <c:v>42167</c:v>
                </c:pt>
                <c:pt idx="1564">
                  <c:v>42170</c:v>
                </c:pt>
                <c:pt idx="1565">
                  <c:v>42171</c:v>
                </c:pt>
                <c:pt idx="1566">
                  <c:v>42172</c:v>
                </c:pt>
                <c:pt idx="1567">
                  <c:v>42173</c:v>
                </c:pt>
                <c:pt idx="1568">
                  <c:v>42174</c:v>
                </c:pt>
                <c:pt idx="1569">
                  <c:v>42178</c:v>
                </c:pt>
                <c:pt idx="1570">
                  <c:v>42179</c:v>
                </c:pt>
                <c:pt idx="1571">
                  <c:v>42180</c:v>
                </c:pt>
                <c:pt idx="1572">
                  <c:v>42181</c:v>
                </c:pt>
                <c:pt idx="1573">
                  <c:v>42184</c:v>
                </c:pt>
                <c:pt idx="1574">
                  <c:v>42185</c:v>
                </c:pt>
                <c:pt idx="1575">
                  <c:v>42186</c:v>
                </c:pt>
                <c:pt idx="1576">
                  <c:v>42187</c:v>
                </c:pt>
                <c:pt idx="1577">
                  <c:v>42188</c:v>
                </c:pt>
                <c:pt idx="1578">
                  <c:v>42191</c:v>
                </c:pt>
                <c:pt idx="1579">
                  <c:v>42192</c:v>
                </c:pt>
                <c:pt idx="1580">
                  <c:v>42193</c:v>
                </c:pt>
                <c:pt idx="1581">
                  <c:v>42194</c:v>
                </c:pt>
                <c:pt idx="1582">
                  <c:v>42195</c:v>
                </c:pt>
                <c:pt idx="1583">
                  <c:v>42198</c:v>
                </c:pt>
                <c:pt idx="1584">
                  <c:v>42199</c:v>
                </c:pt>
                <c:pt idx="1585">
                  <c:v>42200</c:v>
                </c:pt>
                <c:pt idx="1586">
                  <c:v>42201</c:v>
                </c:pt>
                <c:pt idx="1587">
                  <c:v>42202</c:v>
                </c:pt>
                <c:pt idx="1588">
                  <c:v>42205</c:v>
                </c:pt>
                <c:pt idx="1589">
                  <c:v>42206</c:v>
                </c:pt>
                <c:pt idx="1590">
                  <c:v>42207</c:v>
                </c:pt>
                <c:pt idx="1591">
                  <c:v>42208</c:v>
                </c:pt>
                <c:pt idx="1592">
                  <c:v>42209</c:v>
                </c:pt>
                <c:pt idx="1593">
                  <c:v>42212</c:v>
                </c:pt>
                <c:pt idx="1594">
                  <c:v>42213</c:v>
                </c:pt>
                <c:pt idx="1595">
                  <c:v>42214</c:v>
                </c:pt>
                <c:pt idx="1596">
                  <c:v>42215</c:v>
                </c:pt>
                <c:pt idx="1597">
                  <c:v>42216</c:v>
                </c:pt>
                <c:pt idx="1598">
                  <c:v>42219</c:v>
                </c:pt>
                <c:pt idx="1599">
                  <c:v>42220</c:v>
                </c:pt>
                <c:pt idx="1600">
                  <c:v>42221</c:v>
                </c:pt>
                <c:pt idx="1601">
                  <c:v>42222</c:v>
                </c:pt>
                <c:pt idx="1602">
                  <c:v>42223</c:v>
                </c:pt>
                <c:pt idx="1603">
                  <c:v>42226</c:v>
                </c:pt>
                <c:pt idx="1604">
                  <c:v>42227</c:v>
                </c:pt>
                <c:pt idx="1605">
                  <c:v>42228</c:v>
                </c:pt>
                <c:pt idx="1606">
                  <c:v>42229</c:v>
                </c:pt>
                <c:pt idx="1607">
                  <c:v>42230</c:v>
                </c:pt>
                <c:pt idx="1608">
                  <c:v>42233</c:v>
                </c:pt>
                <c:pt idx="1609">
                  <c:v>42234</c:v>
                </c:pt>
                <c:pt idx="1610">
                  <c:v>42235</c:v>
                </c:pt>
                <c:pt idx="1611">
                  <c:v>42236</c:v>
                </c:pt>
                <c:pt idx="1612">
                  <c:v>42237</c:v>
                </c:pt>
                <c:pt idx="1613">
                  <c:v>42240</c:v>
                </c:pt>
                <c:pt idx="1614">
                  <c:v>42241</c:v>
                </c:pt>
                <c:pt idx="1615">
                  <c:v>42242</c:v>
                </c:pt>
                <c:pt idx="1616">
                  <c:v>42243</c:v>
                </c:pt>
                <c:pt idx="1617">
                  <c:v>42244</c:v>
                </c:pt>
                <c:pt idx="1618">
                  <c:v>42247</c:v>
                </c:pt>
                <c:pt idx="1619">
                  <c:v>42248</c:v>
                </c:pt>
                <c:pt idx="1620">
                  <c:v>42249</c:v>
                </c:pt>
                <c:pt idx="1621">
                  <c:v>42254</c:v>
                </c:pt>
                <c:pt idx="1622">
                  <c:v>42255</c:v>
                </c:pt>
                <c:pt idx="1623">
                  <c:v>42256</c:v>
                </c:pt>
                <c:pt idx="1624">
                  <c:v>42257</c:v>
                </c:pt>
                <c:pt idx="1625">
                  <c:v>42258</c:v>
                </c:pt>
                <c:pt idx="1626">
                  <c:v>42261</c:v>
                </c:pt>
                <c:pt idx="1627">
                  <c:v>42262</c:v>
                </c:pt>
                <c:pt idx="1628">
                  <c:v>42263</c:v>
                </c:pt>
                <c:pt idx="1629">
                  <c:v>42264</c:v>
                </c:pt>
                <c:pt idx="1630">
                  <c:v>42265</c:v>
                </c:pt>
                <c:pt idx="1631">
                  <c:v>42268</c:v>
                </c:pt>
                <c:pt idx="1632">
                  <c:v>42269</c:v>
                </c:pt>
                <c:pt idx="1633">
                  <c:v>42270</c:v>
                </c:pt>
                <c:pt idx="1634">
                  <c:v>42271</c:v>
                </c:pt>
                <c:pt idx="1635">
                  <c:v>42272</c:v>
                </c:pt>
                <c:pt idx="1636">
                  <c:v>42275</c:v>
                </c:pt>
                <c:pt idx="1637">
                  <c:v>42276</c:v>
                </c:pt>
                <c:pt idx="1638">
                  <c:v>42277</c:v>
                </c:pt>
                <c:pt idx="1639">
                  <c:v>42285</c:v>
                </c:pt>
                <c:pt idx="1640">
                  <c:v>42286</c:v>
                </c:pt>
                <c:pt idx="1641">
                  <c:v>42289</c:v>
                </c:pt>
                <c:pt idx="1642">
                  <c:v>42290</c:v>
                </c:pt>
                <c:pt idx="1643">
                  <c:v>42291</c:v>
                </c:pt>
                <c:pt idx="1644">
                  <c:v>42292</c:v>
                </c:pt>
                <c:pt idx="1645">
                  <c:v>42293</c:v>
                </c:pt>
                <c:pt idx="1646">
                  <c:v>42296</c:v>
                </c:pt>
                <c:pt idx="1647">
                  <c:v>42297</c:v>
                </c:pt>
                <c:pt idx="1648">
                  <c:v>42298</c:v>
                </c:pt>
                <c:pt idx="1649">
                  <c:v>42299</c:v>
                </c:pt>
                <c:pt idx="1650">
                  <c:v>42300</c:v>
                </c:pt>
                <c:pt idx="1651">
                  <c:v>42303</c:v>
                </c:pt>
                <c:pt idx="1652">
                  <c:v>42304</c:v>
                </c:pt>
                <c:pt idx="1653">
                  <c:v>42305</c:v>
                </c:pt>
                <c:pt idx="1654">
                  <c:v>42306</c:v>
                </c:pt>
                <c:pt idx="1655">
                  <c:v>42307</c:v>
                </c:pt>
                <c:pt idx="1656">
                  <c:v>42310</c:v>
                </c:pt>
                <c:pt idx="1657">
                  <c:v>42311</c:v>
                </c:pt>
                <c:pt idx="1658">
                  <c:v>42312</c:v>
                </c:pt>
                <c:pt idx="1659">
                  <c:v>42313</c:v>
                </c:pt>
                <c:pt idx="1660">
                  <c:v>42314</c:v>
                </c:pt>
                <c:pt idx="1661">
                  <c:v>42317</c:v>
                </c:pt>
                <c:pt idx="1662">
                  <c:v>42318</c:v>
                </c:pt>
                <c:pt idx="1663">
                  <c:v>42319</c:v>
                </c:pt>
                <c:pt idx="1664">
                  <c:v>42320</c:v>
                </c:pt>
                <c:pt idx="1665">
                  <c:v>42321</c:v>
                </c:pt>
                <c:pt idx="1666">
                  <c:v>42324</c:v>
                </c:pt>
                <c:pt idx="1667">
                  <c:v>42325</c:v>
                </c:pt>
                <c:pt idx="1668">
                  <c:v>42326</c:v>
                </c:pt>
                <c:pt idx="1669">
                  <c:v>42327</c:v>
                </c:pt>
                <c:pt idx="1670">
                  <c:v>42328</c:v>
                </c:pt>
                <c:pt idx="1671">
                  <c:v>42331</c:v>
                </c:pt>
                <c:pt idx="1672">
                  <c:v>42332</c:v>
                </c:pt>
                <c:pt idx="1673">
                  <c:v>42333</c:v>
                </c:pt>
                <c:pt idx="1674">
                  <c:v>42334</c:v>
                </c:pt>
                <c:pt idx="1675">
                  <c:v>42335</c:v>
                </c:pt>
                <c:pt idx="1676">
                  <c:v>42338</c:v>
                </c:pt>
                <c:pt idx="1677">
                  <c:v>42339</c:v>
                </c:pt>
                <c:pt idx="1678">
                  <c:v>42340</c:v>
                </c:pt>
                <c:pt idx="1679">
                  <c:v>42341</c:v>
                </c:pt>
                <c:pt idx="1680">
                  <c:v>42342</c:v>
                </c:pt>
                <c:pt idx="1681">
                  <c:v>42345</c:v>
                </c:pt>
                <c:pt idx="1682">
                  <c:v>42346</c:v>
                </c:pt>
                <c:pt idx="1683">
                  <c:v>42347</c:v>
                </c:pt>
                <c:pt idx="1684">
                  <c:v>42348</c:v>
                </c:pt>
                <c:pt idx="1685">
                  <c:v>42349</c:v>
                </c:pt>
                <c:pt idx="1686">
                  <c:v>42352</c:v>
                </c:pt>
                <c:pt idx="1687">
                  <c:v>42353</c:v>
                </c:pt>
                <c:pt idx="1688">
                  <c:v>42354</c:v>
                </c:pt>
                <c:pt idx="1689">
                  <c:v>42355</c:v>
                </c:pt>
                <c:pt idx="1690">
                  <c:v>42356</c:v>
                </c:pt>
                <c:pt idx="1691">
                  <c:v>42359</c:v>
                </c:pt>
                <c:pt idx="1692">
                  <c:v>42360</c:v>
                </c:pt>
                <c:pt idx="1693">
                  <c:v>42361</c:v>
                </c:pt>
                <c:pt idx="1694">
                  <c:v>42362</c:v>
                </c:pt>
                <c:pt idx="1695">
                  <c:v>42363</c:v>
                </c:pt>
                <c:pt idx="1696">
                  <c:v>42366</c:v>
                </c:pt>
                <c:pt idx="1697">
                  <c:v>42367</c:v>
                </c:pt>
                <c:pt idx="1698">
                  <c:v>42368</c:v>
                </c:pt>
                <c:pt idx="1699">
                  <c:v>42369</c:v>
                </c:pt>
                <c:pt idx="1700">
                  <c:v>42373</c:v>
                </c:pt>
                <c:pt idx="1701">
                  <c:v>42374</c:v>
                </c:pt>
                <c:pt idx="1702">
                  <c:v>42375</c:v>
                </c:pt>
                <c:pt idx="1703">
                  <c:v>42376</c:v>
                </c:pt>
                <c:pt idx="1704">
                  <c:v>42377</c:v>
                </c:pt>
                <c:pt idx="1705">
                  <c:v>42380</c:v>
                </c:pt>
                <c:pt idx="1706">
                  <c:v>42381</c:v>
                </c:pt>
                <c:pt idx="1707">
                  <c:v>42382</c:v>
                </c:pt>
                <c:pt idx="1708">
                  <c:v>42383</c:v>
                </c:pt>
                <c:pt idx="1709">
                  <c:v>42384</c:v>
                </c:pt>
                <c:pt idx="1710">
                  <c:v>42387</c:v>
                </c:pt>
                <c:pt idx="1711">
                  <c:v>42388</c:v>
                </c:pt>
                <c:pt idx="1712">
                  <c:v>42389</c:v>
                </c:pt>
                <c:pt idx="1713">
                  <c:v>42390</c:v>
                </c:pt>
                <c:pt idx="1714">
                  <c:v>42391</c:v>
                </c:pt>
                <c:pt idx="1715">
                  <c:v>42394</c:v>
                </c:pt>
                <c:pt idx="1716">
                  <c:v>42395</c:v>
                </c:pt>
                <c:pt idx="1717">
                  <c:v>42396</c:v>
                </c:pt>
                <c:pt idx="1718">
                  <c:v>42397</c:v>
                </c:pt>
                <c:pt idx="1719">
                  <c:v>42398</c:v>
                </c:pt>
                <c:pt idx="1720">
                  <c:v>42401</c:v>
                </c:pt>
                <c:pt idx="1721">
                  <c:v>42402</c:v>
                </c:pt>
                <c:pt idx="1722">
                  <c:v>42403</c:v>
                </c:pt>
                <c:pt idx="1723">
                  <c:v>42404</c:v>
                </c:pt>
                <c:pt idx="1724">
                  <c:v>42405</c:v>
                </c:pt>
                <c:pt idx="1725">
                  <c:v>42415</c:v>
                </c:pt>
                <c:pt idx="1726">
                  <c:v>42416</c:v>
                </c:pt>
                <c:pt idx="1727">
                  <c:v>42417</c:v>
                </c:pt>
                <c:pt idx="1728">
                  <c:v>42418</c:v>
                </c:pt>
                <c:pt idx="1729">
                  <c:v>42419</c:v>
                </c:pt>
                <c:pt idx="1730">
                  <c:v>42422</c:v>
                </c:pt>
                <c:pt idx="1731">
                  <c:v>42423</c:v>
                </c:pt>
                <c:pt idx="1732">
                  <c:v>42424</c:v>
                </c:pt>
                <c:pt idx="1733">
                  <c:v>42425</c:v>
                </c:pt>
                <c:pt idx="1734">
                  <c:v>42426</c:v>
                </c:pt>
                <c:pt idx="1735">
                  <c:v>42429</c:v>
                </c:pt>
                <c:pt idx="1736">
                  <c:v>42430</c:v>
                </c:pt>
                <c:pt idx="1737">
                  <c:v>42431</c:v>
                </c:pt>
                <c:pt idx="1738">
                  <c:v>42432</c:v>
                </c:pt>
                <c:pt idx="1739">
                  <c:v>42433</c:v>
                </c:pt>
                <c:pt idx="1740">
                  <c:v>42436</c:v>
                </c:pt>
                <c:pt idx="1741">
                  <c:v>42437</c:v>
                </c:pt>
                <c:pt idx="1742">
                  <c:v>42438</c:v>
                </c:pt>
                <c:pt idx="1743">
                  <c:v>42439</c:v>
                </c:pt>
                <c:pt idx="1744">
                  <c:v>42440</c:v>
                </c:pt>
                <c:pt idx="1745">
                  <c:v>42443</c:v>
                </c:pt>
                <c:pt idx="1746">
                  <c:v>42444</c:v>
                </c:pt>
                <c:pt idx="1747">
                  <c:v>42445</c:v>
                </c:pt>
                <c:pt idx="1748">
                  <c:v>42446</c:v>
                </c:pt>
                <c:pt idx="1749">
                  <c:v>42447</c:v>
                </c:pt>
                <c:pt idx="1750">
                  <c:v>42450</c:v>
                </c:pt>
                <c:pt idx="1751">
                  <c:v>42451</c:v>
                </c:pt>
                <c:pt idx="1752">
                  <c:v>42452</c:v>
                </c:pt>
                <c:pt idx="1753">
                  <c:v>42453</c:v>
                </c:pt>
                <c:pt idx="1754">
                  <c:v>42454</c:v>
                </c:pt>
                <c:pt idx="1755">
                  <c:v>42457</c:v>
                </c:pt>
                <c:pt idx="1756">
                  <c:v>42458</c:v>
                </c:pt>
                <c:pt idx="1757">
                  <c:v>42459</c:v>
                </c:pt>
                <c:pt idx="1758">
                  <c:v>42460</c:v>
                </c:pt>
                <c:pt idx="1759">
                  <c:v>42461</c:v>
                </c:pt>
                <c:pt idx="1760">
                  <c:v>42465</c:v>
                </c:pt>
                <c:pt idx="1761">
                  <c:v>42466</c:v>
                </c:pt>
                <c:pt idx="1762">
                  <c:v>42467</c:v>
                </c:pt>
                <c:pt idx="1763">
                  <c:v>42468</c:v>
                </c:pt>
                <c:pt idx="1764">
                  <c:v>42471</c:v>
                </c:pt>
                <c:pt idx="1765">
                  <c:v>42472</c:v>
                </c:pt>
                <c:pt idx="1766">
                  <c:v>42473</c:v>
                </c:pt>
                <c:pt idx="1767">
                  <c:v>42474</c:v>
                </c:pt>
                <c:pt idx="1768">
                  <c:v>42475</c:v>
                </c:pt>
                <c:pt idx="1769">
                  <c:v>42478</c:v>
                </c:pt>
                <c:pt idx="1770">
                  <c:v>42479</c:v>
                </c:pt>
                <c:pt idx="1771">
                  <c:v>42480</c:v>
                </c:pt>
                <c:pt idx="1772">
                  <c:v>42481</c:v>
                </c:pt>
                <c:pt idx="1773">
                  <c:v>42482</c:v>
                </c:pt>
                <c:pt idx="1774">
                  <c:v>42485</c:v>
                </c:pt>
                <c:pt idx="1775">
                  <c:v>42486</c:v>
                </c:pt>
                <c:pt idx="1776">
                  <c:v>42487</c:v>
                </c:pt>
                <c:pt idx="1777">
                  <c:v>42488</c:v>
                </c:pt>
                <c:pt idx="1778">
                  <c:v>42489</c:v>
                </c:pt>
                <c:pt idx="1779">
                  <c:v>42493</c:v>
                </c:pt>
                <c:pt idx="1780">
                  <c:v>42494</c:v>
                </c:pt>
                <c:pt idx="1781">
                  <c:v>42495</c:v>
                </c:pt>
                <c:pt idx="1782">
                  <c:v>42496</c:v>
                </c:pt>
                <c:pt idx="1783">
                  <c:v>42499</c:v>
                </c:pt>
                <c:pt idx="1784">
                  <c:v>42500</c:v>
                </c:pt>
                <c:pt idx="1785">
                  <c:v>42501</c:v>
                </c:pt>
                <c:pt idx="1786">
                  <c:v>42502</c:v>
                </c:pt>
                <c:pt idx="1787">
                  <c:v>42503</c:v>
                </c:pt>
                <c:pt idx="1788">
                  <c:v>42506</c:v>
                </c:pt>
                <c:pt idx="1789">
                  <c:v>42507</c:v>
                </c:pt>
                <c:pt idx="1790">
                  <c:v>42508</c:v>
                </c:pt>
                <c:pt idx="1791">
                  <c:v>42509</c:v>
                </c:pt>
                <c:pt idx="1792">
                  <c:v>42510</c:v>
                </c:pt>
                <c:pt idx="1793">
                  <c:v>42513</c:v>
                </c:pt>
                <c:pt idx="1794">
                  <c:v>42514</c:v>
                </c:pt>
                <c:pt idx="1795">
                  <c:v>42515</c:v>
                </c:pt>
                <c:pt idx="1796">
                  <c:v>42516</c:v>
                </c:pt>
                <c:pt idx="1797">
                  <c:v>42517</c:v>
                </c:pt>
                <c:pt idx="1798">
                  <c:v>42520</c:v>
                </c:pt>
                <c:pt idx="1799">
                  <c:v>42521</c:v>
                </c:pt>
                <c:pt idx="1800">
                  <c:v>42522</c:v>
                </c:pt>
                <c:pt idx="1801">
                  <c:v>42523</c:v>
                </c:pt>
                <c:pt idx="1802">
                  <c:v>42524</c:v>
                </c:pt>
                <c:pt idx="1803">
                  <c:v>42527</c:v>
                </c:pt>
                <c:pt idx="1804">
                  <c:v>42528</c:v>
                </c:pt>
                <c:pt idx="1805">
                  <c:v>42529</c:v>
                </c:pt>
                <c:pt idx="1806">
                  <c:v>42534</c:v>
                </c:pt>
                <c:pt idx="1807">
                  <c:v>42535</c:v>
                </c:pt>
                <c:pt idx="1808">
                  <c:v>42536</c:v>
                </c:pt>
                <c:pt idx="1809">
                  <c:v>42537</c:v>
                </c:pt>
                <c:pt idx="1810">
                  <c:v>42538</c:v>
                </c:pt>
                <c:pt idx="1811">
                  <c:v>42541</c:v>
                </c:pt>
                <c:pt idx="1812">
                  <c:v>42542</c:v>
                </c:pt>
                <c:pt idx="1813">
                  <c:v>42543</c:v>
                </c:pt>
                <c:pt idx="1814">
                  <c:v>42544</c:v>
                </c:pt>
                <c:pt idx="1815">
                  <c:v>42545</c:v>
                </c:pt>
                <c:pt idx="1816">
                  <c:v>42548</c:v>
                </c:pt>
                <c:pt idx="1817">
                  <c:v>42549</c:v>
                </c:pt>
                <c:pt idx="1818">
                  <c:v>42550</c:v>
                </c:pt>
                <c:pt idx="1819">
                  <c:v>42551</c:v>
                </c:pt>
                <c:pt idx="1820">
                  <c:v>42552</c:v>
                </c:pt>
                <c:pt idx="1821">
                  <c:v>42555</c:v>
                </c:pt>
                <c:pt idx="1822">
                  <c:v>42556</c:v>
                </c:pt>
                <c:pt idx="1823">
                  <c:v>42557</c:v>
                </c:pt>
                <c:pt idx="1824">
                  <c:v>42558</c:v>
                </c:pt>
                <c:pt idx="1825">
                  <c:v>42559</c:v>
                </c:pt>
                <c:pt idx="1826">
                  <c:v>42562</c:v>
                </c:pt>
                <c:pt idx="1827">
                  <c:v>42563</c:v>
                </c:pt>
                <c:pt idx="1828">
                  <c:v>42564</c:v>
                </c:pt>
                <c:pt idx="1829">
                  <c:v>42565</c:v>
                </c:pt>
                <c:pt idx="1830">
                  <c:v>42566</c:v>
                </c:pt>
                <c:pt idx="1831">
                  <c:v>42569</c:v>
                </c:pt>
                <c:pt idx="1832">
                  <c:v>42570</c:v>
                </c:pt>
                <c:pt idx="1833">
                  <c:v>42571</c:v>
                </c:pt>
                <c:pt idx="1834">
                  <c:v>42572</c:v>
                </c:pt>
                <c:pt idx="1835">
                  <c:v>42573</c:v>
                </c:pt>
                <c:pt idx="1836">
                  <c:v>42576</c:v>
                </c:pt>
                <c:pt idx="1837">
                  <c:v>42577</c:v>
                </c:pt>
                <c:pt idx="1838">
                  <c:v>42578</c:v>
                </c:pt>
                <c:pt idx="1839">
                  <c:v>42579</c:v>
                </c:pt>
                <c:pt idx="1840">
                  <c:v>42580</c:v>
                </c:pt>
                <c:pt idx="1841">
                  <c:v>42583</c:v>
                </c:pt>
                <c:pt idx="1842">
                  <c:v>42584</c:v>
                </c:pt>
                <c:pt idx="1843">
                  <c:v>42585</c:v>
                </c:pt>
                <c:pt idx="1844">
                  <c:v>42586</c:v>
                </c:pt>
                <c:pt idx="1845">
                  <c:v>42587</c:v>
                </c:pt>
                <c:pt idx="1846">
                  <c:v>42590</c:v>
                </c:pt>
                <c:pt idx="1847">
                  <c:v>42591</c:v>
                </c:pt>
                <c:pt idx="1848">
                  <c:v>42592</c:v>
                </c:pt>
                <c:pt idx="1849">
                  <c:v>42593</c:v>
                </c:pt>
                <c:pt idx="1850">
                  <c:v>42594</c:v>
                </c:pt>
                <c:pt idx="1851">
                  <c:v>42597</c:v>
                </c:pt>
                <c:pt idx="1852">
                  <c:v>42598</c:v>
                </c:pt>
                <c:pt idx="1853">
                  <c:v>42599</c:v>
                </c:pt>
                <c:pt idx="1854">
                  <c:v>42600</c:v>
                </c:pt>
                <c:pt idx="1855">
                  <c:v>42601</c:v>
                </c:pt>
                <c:pt idx="1856">
                  <c:v>42604</c:v>
                </c:pt>
                <c:pt idx="1857">
                  <c:v>42605</c:v>
                </c:pt>
                <c:pt idx="1858">
                  <c:v>42606</c:v>
                </c:pt>
                <c:pt idx="1859">
                  <c:v>42607</c:v>
                </c:pt>
                <c:pt idx="1860">
                  <c:v>42608</c:v>
                </c:pt>
                <c:pt idx="1861">
                  <c:v>42611</c:v>
                </c:pt>
                <c:pt idx="1862">
                  <c:v>42612</c:v>
                </c:pt>
                <c:pt idx="1863">
                  <c:v>42613</c:v>
                </c:pt>
                <c:pt idx="1864">
                  <c:v>42614</c:v>
                </c:pt>
                <c:pt idx="1865">
                  <c:v>42615</c:v>
                </c:pt>
                <c:pt idx="1866">
                  <c:v>42618</c:v>
                </c:pt>
                <c:pt idx="1867">
                  <c:v>42619</c:v>
                </c:pt>
                <c:pt idx="1868">
                  <c:v>42620</c:v>
                </c:pt>
                <c:pt idx="1869">
                  <c:v>42621</c:v>
                </c:pt>
                <c:pt idx="1870">
                  <c:v>42622</c:v>
                </c:pt>
                <c:pt idx="1871">
                  <c:v>42625</c:v>
                </c:pt>
                <c:pt idx="1872">
                  <c:v>42626</c:v>
                </c:pt>
                <c:pt idx="1873">
                  <c:v>42627</c:v>
                </c:pt>
                <c:pt idx="1874">
                  <c:v>42632</c:v>
                </c:pt>
                <c:pt idx="1875">
                  <c:v>42633</c:v>
                </c:pt>
                <c:pt idx="1876">
                  <c:v>42634</c:v>
                </c:pt>
                <c:pt idx="1877">
                  <c:v>42635</c:v>
                </c:pt>
                <c:pt idx="1878">
                  <c:v>42636</c:v>
                </c:pt>
                <c:pt idx="1879">
                  <c:v>42639</c:v>
                </c:pt>
                <c:pt idx="1880">
                  <c:v>42640</c:v>
                </c:pt>
                <c:pt idx="1881">
                  <c:v>42641</c:v>
                </c:pt>
                <c:pt idx="1882">
                  <c:v>42642</c:v>
                </c:pt>
                <c:pt idx="1883">
                  <c:v>42643</c:v>
                </c:pt>
                <c:pt idx="1884">
                  <c:v>42653</c:v>
                </c:pt>
                <c:pt idx="1885">
                  <c:v>42654</c:v>
                </c:pt>
                <c:pt idx="1886">
                  <c:v>42655</c:v>
                </c:pt>
                <c:pt idx="1887">
                  <c:v>42656</c:v>
                </c:pt>
                <c:pt idx="1888">
                  <c:v>42657</c:v>
                </c:pt>
                <c:pt idx="1889">
                  <c:v>42660</c:v>
                </c:pt>
                <c:pt idx="1890">
                  <c:v>42661</c:v>
                </c:pt>
                <c:pt idx="1891">
                  <c:v>42662</c:v>
                </c:pt>
                <c:pt idx="1892">
                  <c:v>42663</c:v>
                </c:pt>
                <c:pt idx="1893">
                  <c:v>42664</c:v>
                </c:pt>
                <c:pt idx="1894">
                  <c:v>42667</c:v>
                </c:pt>
                <c:pt idx="1895">
                  <c:v>42668</c:v>
                </c:pt>
                <c:pt idx="1896">
                  <c:v>42669</c:v>
                </c:pt>
                <c:pt idx="1897">
                  <c:v>42670</c:v>
                </c:pt>
                <c:pt idx="1898">
                  <c:v>42671</c:v>
                </c:pt>
                <c:pt idx="1899">
                  <c:v>42674</c:v>
                </c:pt>
                <c:pt idx="1900">
                  <c:v>42675</c:v>
                </c:pt>
                <c:pt idx="1901">
                  <c:v>42676</c:v>
                </c:pt>
                <c:pt idx="1902">
                  <c:v>42677</c:v>
                </c:pt>
                <c:pt idx="1903">
                  <c:v>42678</c:v>
                </c:pt>
                <c:pt idx="1904">
                  <c:v>42681</c:v>
                </c:pt>
                <c:pt idx="1905">
                  <c:v>42682</c:v>
                </c:pt>
                <c:pt idx="1906">
                  <c:v>42683</c:v>
                </c:pt>
                <c:pt idx="1907">
                  <c:v>42684</c:v>
                </c:pt>
                <c:pt idx="1908">
                  <c:v>42685</c:v>
                </c:pt>
                <c:pt idx="1909">
                  <c:v>42688</c:v>
                </c:pt>
                <c:pt idx="1910">
                  <c:v>42689</c:v>
                </c:pt>
                <c:pt idx="1911">
                  <c:v>42690</c:v>
                </c:pt>
                <c:pt idx="1912">
                  <c:v>42691</c:v>
                </c:pt>
                <c:pt idx="1913">
                  <c:v>42692</c:v>
                </c:pt>
                <c:pt idx="1914">
                  <c:v>42695</c:v>
                </c:pt>
                <c:pt idx="1915">
                  <c:v>42696</c:v>
                </c:pt>
                <c:pt idx="1916">
                  <c:v>42697</c:v>
                </c:pt>
                <c:pt idx="1917">
                  <c:v>42698</c:v>
                </c:pt>
                <c:pt idx="1918">
                  <c:v>42699</c:v>
                </c:pt>
                <c:pt idx="1919">
                  <c:v>42702</c:v>
                </c:pt>
                <c:pt idx="1920">
                  <c:v>42703</c:v>
                </c:pt>
                <c:pt idx="1921">
                  <c:v>42704</c:v>
                </c:pt>
                <c:pt idx="1922">
                  <c:v>42705</c:v>
                </c:pt>
                <c:pt idx="1923">
                  <c:v>42706</c:v>
                </c:pt>
                <c:pt idx="1924">
                  <c:v>42709</c:v>
                </c:pt>
                <c:pt idx="1925">
                  <c:v>42710</c:v>
                </c:pt>
                <c:pt idx="1926">
                  <c:v>42711</c:v>
                </c:pt>
                <c:pt idx="1927">
                  <c:v>42712</c:v>
                </c:pt>
                <c:pt idx="1928">
                  <c:v>42713</c:v>
                </c:pt>
                <c:pt idx="1929">
                  <c:v>42716</c:v>
                </c:pt>
                <c:pt idx="1930">
                  <c:v>42717</c:v>
                </c:pt>
                <c:pt idx="1931">
                  <c:v>42718</c:v>
                </c:pt>
                <c:pt idx="1932">
                  <c:v>42719</c:v>
                </c:pt>
                <c:pt idx="1933">
                  <c:v>42720</c:v>
                </c:pt>
                <c:pt idx="1934">
                  <c:v>42723</c:v>
                </c:pt>
                <c:pt idx="1935">
                  <c:v>42724</c:v>
                </c:pt>
                <c:pt idx="1936">
                  <c:v>42725</c:v>
                </c:pt>
                <c:pt idx="1937">
                  <c:v>42726</c:v>
                </c:pt>
                <c:pt idx="1938">
                  <c:v>42727</c:v>
                </c:pt>
                <c:pt idx="1939">
                  <c:v>42730</c:v>
                </c:pt>
                <c:pt idx="1940">
                  <c:v>42731</c:v>
                </c:pt>
                <c:pt idx="1941">
                  <c:v>42732</c:v>
                </c:pt>
                <c:pt idx="1942">
                  <c:v>42733</c:v>
                </c:pt>
                <c:pt idx="1943">
                  <c:v>42734</c:v>
                </c:pt>
                <c:pt idx="1944">
                  <c:v>42738</c:v>
                </c:pt>
                <c:pt idx="1945">
                  <c:v>42739</c:v>
                </c:pt>
                <c:pt idx="1946">
                  <c:v>42740</c:v>
                </c:pt>
                <c:pt idx="1947">
                  <c:v>42741</c:v>
                </c:pt>
                <c:pt idx="1948">
                  <c:v>42744</c:v>
                </c:pt>
                <c:pt idx="1949">
                  <c:v>42745</c:v>
                </c:pt>
                <c:pt idx="1950">
                  <c:v>42746</c:v>
                </c:pt>
                <c:pt idx="1951">
                  <c:v>42747</c:v>
                </c:pt>
                <c:pt idx="1952">
                  <c:v>42748</c:v>
                </c:pt>
                <c:pt idx="1953">
                  <c:v>42751</c:v>
                </c:pt>
                <c:pt idx="1954">
                  <c:v>42752</c:v>
                </c:pt>
                <c:pt idx="1955">
                  <c:v>42753</c:v>
                </c:pt>
                <c:pt idx="1956">
                  <c:v>42754</c:v>
                </c:pt>
                <c:pt idx="1957">
                  <c:v>42755</c:v>
                </c:pt>
                <c:pt idx="1958">
                  <c:v>42758</c:v>
                </c:pt>
                <c:pt idx="1959">
                  <c:v>42759</c:v>
                </c:pt>
                <c:pt idx="1960">
                  <c:v>42760</c:v>
                </c:pt>
                <c:pt idx="1961">
                  <c:v>42761</c:v>
                </c:pt>
                <c:pt idx="1962">
                  <c:v>42769</c:v>
                </c:pt>
                <c:pt idx="1963">
                  <c:v>42772</c:v>
                </c:pt>
                <c:pt idx="1964">
                  <c:v>42773</c:v>
                </c:pt>
                <c:pt idx="1965">
                  <c:v>42774</c:v>
                </c:pt>
                <c:pt idx="1966">
                  <c:v>42775</c:v>
                </c:pt>
                <c:pt idx="1967">
                  <c:v>42776</c:v>
                </c:pt>
                <c:pt idx="1968">
                  <c:v>42779</c:v>
                </c:pt>
                <c:pt idx="1969">
                  <c:v>42780</c:v>
                </c:pt>
                <c:pt idx="1970">
                  <c:v>42781</c:v>
                </c:pt>
                <c:pt idx="1971">
                  <c:v>42782</c:v>
                </c:pt>
                <c:pt idx="1972">
                  <c:v>42783</c:v>
                </c:pt>
                <c:pt idx="1973">
                  <c:v>42786</c:v>
                </c:pt>
                <c:pt idx="1974">
                  <c:v>42787</c:v>
                </c:pt>
                <c:pt idx="1975">
                  <c:v>42788</c:v>
                </c:pt>
                <c:pt idx="1976">
                  <c:v>42789</c:v>
                </c:pt>
                <c:pt idx="1977">
                  <c:v>42790</c:v>
                </c:pt>
                <c:pt idx="1978">
                  <c:v>42793</c:v>
                </c:pt>
                <c:pt idx="1979">
                  <c:v>42794</c:v>
                </c:pt>
                <c:pt idx="1980">
                  <c:v>42795</c:v>
                </c:pt>
                <c:pt idx="1981">
                  <c:v>42796</c:v>
                </c:pt>
                <c:pt idx="1982">
                  <c:v>42797</c:v>
                </c:pt>
                <c:pt idx="1983">
                  <c:v>42800</c:v>
                </c:pt>
                <c:pt idx="1984">
                  <c:v>42801</c:v>
                </c:pt>
                <c:pt idx="1985">
                  <c:v>42802</c:v>
                </c:pt>
                <c:pt idx="1986">
                  <c:v>42803</c:v>
                </c:pt>
                <c:pt idx="1987">
                  <c:v>42804</c:v>
                </c:pt>
                <c:pt idx="1988">
                  <c:v>42807</c:v>
                </c:pt>
                <c:pt idx="1989">
                  <c:v>42808</c:v>
                </c:pt>
                <c:pt idx="1990">
                  <c:v>42809</c:v>
                </c:pt>
                <c:pt idx="1991">
                  <c:v>42810</c:v>
                </c:pt>
                <c:pt idx="1992">
                  <c:v>42811</c:v>
                </c:pt>
                <c:pt idx="1993">
                  <c:v>42814</c:v>
                </c:pt>
                <c:pt idx="1994">
                  <c:v>42815</c:v>
                </c:pt>
                <c:pt idx="1995">
                  <c:v>42816</c:v>
                </c:pt>
                <c:pt idx="1996">
                  <c:v>42817</c:v>
                </c:pt>
                <c:pt idx="1997">
                  <c:v>42818</c:v>
                </c:pt>
                <c:pt idx="1998">
                  <c:v>42821</c:v>
                </c:pt>
                <c:pt idx="1999">
                  <c:v>42822</c:v>
                </c:pt>
                <c:pt idx="2000">
                  <c:v>42823</c:v>
                </c:pt>
                <c:pt idx="2001">
                  <c:v>42824</c:v>
                </c:pt>
                <c:pt idx="2002">
                  <c:v>42825</c:v>
                </c:pt>
                <c:pt idx="2003">
                  <c:v>42830</c:v>
                </c:pt>
                <c:pt idx="2004">
                  <c:v>42831</c:v>
                </c:pt>
                <c:pt idx="2005">
                  <c:v>42832</c:v>
                </c:pt>
                <c:pt idx="2006">
                  <c:v>42835</c:v>
                </c:pt>
                <c:pt idx="2007">
                  <c:v>42836</c:v>
                </c:pt>
                <c:pt idx="2008">
                  <c:v>42837</c:v>
                </c:pt>
                <c:pt idx="2009">
                  <c:v>42838</c:v>
                </c:pt>
                <c:pt idx="2010">
                  <c:v>42839</c:v>
                </c:pt>
                <c:pt idx="2011">
                  <c:v>42842</c:v>
                </c:pt>
                <c:pt idx="2012">
                  <c:v>42843</c:v>
                </c:pt>
                <c:pt idx="2013">
                  <c:v>42844</c:v>
                </c:pt>
                <c:pt idx="2014">
                  <c:v>42845</c:v>
                </c:pt>
                <c:pt idx="2015">
                  <c:v>42846</c:v>
                </c:pt>
                <c:pt idx="2016">
                  <c:v>42849</c:v>
                </c:pt>
                <c:pt idx="2017">
                  <c:v>42850</c:v>
                </c:pt>
                <c:pt idx="2018">
                  <c:v>42851</c:v>
                </c:pt>
                <c:pt idx="2019">
                  <c:v>42852</c:v>
                </c:pt>
                <c:pt idx="2020">
                  <c:v>42853</c:v>
                </c:pt>
                <c:pt idx="2021">
                  <c:v>42857</c:v>
                </c:pt>
                <c:pt idx="2022">
                  <c:v>42858</c:v>
                </c:pt>
                <c:pt idx="2023">
                  <c:v>42859</c:v>
                </c:pt>
                <c:pt idx="2024">
                  <c:v>42860</c:v>
                </c:pt>
                <c:pt idx="2025">
                  <c:v>42863</c:v>
                </c:pt>
                <c:pt idx="2026">
                  <c:v>42864</c:v>
                </c:pt>
                <c:pt idx="2027">
                  <c:v>42865</c:v>
                </c:pt>
                <c:pt idx="2028">
                  <c:v>42866</c:v>
                </c:pt>
                <c:pt idx="2029">
                  <c:v>42867</c:v>
                </c:pt>
                <c:pt idx="2030">
                  <c:v>42870</c:v>
                </c:pt>
                <c:pt idx="2031">
                  <c:v>42871</c:v>
                </c:pt>
                <c:pt idx="2032">
                  <c:v>42872</c:v>
                </c:pt>
                <c:pt idx="2033">
                  <c:v>42873</c:v>
                </c:pt>
                <c:pt idx="2034">
                  <c:v>42874</c:v>
                </c:pt>
                <c:pt idx="2035">
                  <c:v>42877</c:v>
                </c:pt>
                <c:pt idx="2036">
                  <c:v>42878</c:v>
                </c:pt>
                <c:pt idx="2037">
                  <c:v>42879</c:v>
                </c:pt>
                <c:pt idx="2038">
                  <c:v>42880</c:v>
                </c:pt>
                <c:pt idx="2039">
                  <c:v>42881</c:v>
                </c:pt>
                <c:pt idx="2040">
                  <c:v>42886</c:v>
                </c:pt>
                <c:pt idx="2041">
                  <c:v>42887</c:v>
                </c:pt>
                <c:pt idx="2042">
                  <c:v>42888</c:v>
                </c:pt>
                <c:pt idx="2043">
                  <c:v>42891</c:v>
                </c:pt>
                <c:pt idx="2044">
                  <c:v>42892</c:v>
                </c:pt>
                <c:pt idx="2045">
                  <c:v>42893</c:v>
                </c:pt>
                <c:pt idx="2046">
                  <c:v>42894</c:v>
                </c:pt>
                <c:pt idx="2047">
                  <c:v>42895</c:v>
                </c:pt>
                <c:pt idx="2048">
                  <c:v>42898</c:v>
                </c:pt>
                <c:pt idx="2049">
                  <c:v>42899</c:v>
                </c:pt>
                <c:pt idx="2050">
                  <c:v>42900</c:v>
                </c:pt>
                <c:pt idx="2051">
                  <c:v>42901</c:v>
                </c:pt>
                <c:pt idx="2052">
                  <c:v>42902</c:v>
                </c:pt>
                <c:pt idx="2053">
                  <c:v>42905</c:v>
                </c:pt>
                <c:pt idx="2054">
                  <c:v>42906</c:v>
                </c:pt>
                <c:pt idx="2055">
                  <c:v>42907</c:v>
                </c:pt>
                <c:pt idx="2056">
                  <c:v>42908</c:v>
                </c:pt>
                <c:pt idx="2057">
                  <c:v>42909</c:v>
                </c:pt>
                <c:pt idx="2058">
                  <c:v>42912</c:v>
                </c:pt>
                <c:pt idx="2059">
                  <c:v>42913</c:v>
                </c:pt>
                <c:pt idx="2060">
                  <c:v>42914</c:v>
                </c:pt>
                <c:pt idx="2061">
                  <c:v>42915</c:v>
                </c:pt>
                <c:pt idx="2062">
                  <c:v>42916</c:v>
                </c:pt>
                <c:pt idx="2063">
                  <c:v>42919</c:v>
                </c:pt>
                <c:pt idx="2064">
                  <c:v>42920</c:v>
                </c:pt>
                <c:pt idx="2065">
                  <c:v>42921</c:v>
                </c:pt>
                <c:pt idx="2066">
                  <c:v>42922</c:v>
                </c:pt>
                <c:pt idx="2067">
                  <c:v>42923</c:v>
                </c:pt>
                <c:pt idx="2068">
                  <c:v>42926</c:v>
                </c:pt>
                <c:pt idx="2069">
                  <c:v>42927</c:v>
                </c:pt>
                <c:pt idx="2070">
                  <c:v>42928</c:v>
                </c:pt>
                <c:pt idx="2071">
                  <c:v>42929</c:v>
                </c:pt>
                <c:pt idx="2072">
                  <c:v>42930</c:v>
                </c:pt>
                <c:pt idx="2073">
                  <c:v>42933</c:v>
                </c:pt>
                <c:pt idx="2074">
                  <c:v>42934</c:v>
                </c:pt>
                <c:pt idx="2075">
                  <c:v>42935</c:v>
                </c:pt>
                <c:pt idx="2076">
                  <c:v>42936</c:v>
                </c:pt>
                <c:pt idx="2077">
                  <c:v>42937</c:v>
                </c:pt>
                <c:pt idx="2078">
                  <c:v>42940</c:v>
                </c:pt>
                <c:pt idx="2079">
                  <c:v>42941</c:v>
                </c:pt>
                <c:pt idx="2080">
                  <c:v>42942</c:v>
                </c:pt>
                <c:pt idx="2081">
                  <c:v>42943</c:v>
                </c:pt>
                <c:pt idx="2082">
                  <c:v>42944</c:v>
                </c:pt>
                <c:pt idx="2083">
                  <c:v>42947</c:v>
                </c:pt>
                <c:pt idx="2084">
                  <c:v>42948</c:v>
                </c:pt>
                <c:pt idx="2085">
                  <c:v>42949</c:v>
                </c:pt>
                <c:pt idx="2086">
                  <c:v>42950</c:v>
                </c:pt>
                <c:pt idx="2087">
                  <c:v>42951</c:v>
                </c:pt>
                <c:pt idx="2088">
                  <c:v>42954</c:v>
                </c:pt>
                <c:pt idx="2089">
                  <c:v>42955</c:v>
                </c:pt>
                <c:pt idx="2090">
                  <c:v>42956</c:v>
                </c:pt>
                <c:pt idx="2091">
                  <c:v>42957</c:v>
                </c:pt>
                <c:pt idx="2092">
                  <c:v>42958</c:v>
                </c:pt>
                <c:pt idx="2093">
                  <c:v>42961</c:v>
                </c:pt>
                <c:pt idx="2094">
                  <c:v>42962</c:v>
                </c:pt>
                <c:pt idx="2095">
                  <c:v>42963</c:v>
                </c:pt>
                <c:pt idx="2096">
                  <c:v>42964</c:v>
                </c:pt>
                <c:pt idx="2097">
                  <c:v>42965</c:v>
                </c:pt>
                <c:pt idx="2098">
                  <c:v>42968</c:v>
                </c:pt>
                <c:pt idx="2099">
                  <c:v>42969</c:v>
                </c:pt>
                <c:pt idx="2100">
                  <c:v>42970</c:v>
                </c:pt>
                <c:pt idx="2101">
                  <c:v>42971</c:v>
                </c:pt>
                <c:pt idx="2102">
                  <c:v>42972</c:v>
                </c:pt>
                <c:pt idx="2103">
                  <c:v>42975</c:v>
                </c:pt>
                <c:pt idx="2104">
                  <c:v>42976</c:v>
                </c:pt>
                <c:pt idx="2105">
                  <c:v>42977</c:v>
                </c:pt>
                <c:pt idx="2106">
                  <c:v>42978</c:v>
                </c:pt>
                <c:pt idx="2107">
                  <c:v>42979</c:v>
                </c:pt>
                <c:pt idx="2108">
                  <c:v>42982</c:v>
                </c:pt>
                <c:pt idx="2109">
                  <c:v>42983</c:v>
                </c:pt>
                <c:pt idx="2110">
                  <c:v>42984</c:v>
                </c:pt>
                <c:pt idx="2111">
                  <c:v>42985</c:v>
                </c:pt>
                <c:pt idx="2112">
                  <c:v>42986</c:v>
                </c:pt>
                <c:pt idx="2113">
                  <c:v>42989</c:v>
                </c:pt>
                <c:pt idx="2114">
                  <c:v>42990</c:v>
                </c:pt>
                <c:pt idx="2115">
                  <c:v>42991</c:v>
                </c:pt>
                <c:pt idx="2116">
                  <c:v>42992</c:v>
                </c:pt>
                <c:pt idx="2117">
                  <c:v>42993</c:v>
                </c:pt>
                <c:pt idx="2118">
                  <c:v>42996</c:v>
                </c:pt>
                <c:pt idx="2119">
                  <c:v>42997</c:v>
                </c:pt>
                <c:pt idx="2120">
                  <c:v>42998</c:v>
                </c:pt>
                <c:pt idx="2121">
                  <c:v>42999</c:v>
                </c:pt>
                <c:pt idx="2122">
                  <c:v>43000</c:v>
                </c:pt>
                <c:pt idx="2123">
                  <c:v>43003</c:v>
                </c:pt>
                <c:pt idx="2124">
                  <c:v>43004</c:v>
                </c:pt>
                <c:pt idx="2125">
                  <c:v>43005</c:v>
                </c:pt>
                <c:pt idx="2126">
                  <c:v>43006</c:v>
                </c:pt>
                <c:pt idx="2127">
                  <c:v>43007</c:v>
                </c:pt>
                <c:pt idx="2128">
                  <c:v>43017</c:v>
                </c:pt>
                <c:pt idx="2129">
                  <c:v>43018</c:v>
                </c:pt>
                <c:pt idx="2130">
                  <c:v>43019</c:v>
                </c:pt>
                <c:pt idx="2131">
                  <c:v>43020</c:v>
                </c:pt>
                <c:pt idx="2132">
                  <c:v>43021</c:v>
                </c:pt>
                <c:pt idx="2133">
                  <c:v>43024</c:v>
                </c:pt>
                <c:pt idx="2134">
                  <c:v>43025</c:v>
                </c:pt>
                <c:pt idx="2135">
                  <c:v>43026</c:v>
                </c:pt>
                <c:pt idx="2136">
                  <c:v>43027</c:v>
                </c:pt>
                <c:pt idx="2137">
                  <c:v>43028</c:v>
                </c:pt>
                <c:pt idx="2138">
                  <c:v>43031</c:v>
                </c:pt>
                <c:pt idx="2139">
                  <c:v>43032</c:v>
                </c:pt>
                <c:pt idx="2140">
                  <c:v>43033</c:v>
                </c:pt>
                <c:pt idx="2141">
                  <c:v>43034</c:v>
                </c:pt>
                <c:pt idx="2142">
                  <c:v>43035</c:v>
                </c:pt>
                <c:pt idx="2143">
                  <c:v>43038</c:v>
                </c:pt>
                <c:pt idx="2144">
                  <c:v>43039</c:v>
                </c:pt>
                <c:pt idx="2145">
                  <c:v>43040</c:v>
                </c:pt>
                <c:pt idx="2146">
                  <c:v>43041</c:v>
                </c:pt>
                <c:pt idx="2147">
                  <c:v>43042</c:v>
                </c:pt>
                <c:pt idx="2148">
                  <c:v>43045</c:v>
                </c:pt>
                <c:pt idx="2149">
                  <c:v>43046</c:v>
                </c:pt>
                <c:pt idx="2150">
                  <c:v>43047</c:v>
                </c:pt>
                <c:pt idx="2151">
                  <c:v>43048</c:v>
                </c:pt>
                <c:pt idx="2152">
                  <c:v>43049</c:v>
                </c:pt>
                <c:pt idx="2153">
                  <c:v>43052</c:v>
                </c:pt>
                <c:pt idx="2154">
                  <c:v>43053</c:v>
                </c:pt>
                <c:pt idx="2155">
                  <c:v>43054</c:v>
                </c:pt>
                <c:pt idx="2156">
                  <c:v>43055</c:v>
                </c:pt>
                <c:pt idx="2157">
                  <c:v>43056</c:v>
                </c:pt>
                <c:pt idx="2158">
                  <c:v>43059</c:v>
                </c:pt>
                <c:pt idx="2159">
                  <c:v>43060</c:v>
                </c:pt>
                <c:pt idx="2160">
                  <c:v>43061</c:v>
                </c:pt>
                <c:pt idx="2161">
                  <c:v>43062</c:v>
                </c:pt>
                <c:pt idx="2162">
                  <c:v>43063</c:v>
                </c:pt>
                <c:pt idx="2163">
                  <c:v>43066</c:v>
                </c:pt>
                <c:pt idx="2164">
                  <c:v>43067</c:v>
                </c:pt>
                <c:pt idx="2165">
                  <c:v>43068</c:v>
                </c:pt>
                <c:pt idx="2166">
                  <c:v>43069</c:v>
                </c:pt>
                <c:pt idx="2167">
                  <c:v>43070</c:v>
                </c:pt>
                <c:pt idx="2168">
                  <c:v>43073</c:v>
                </c:pt>
                <c:pt idx="2169">
                  <c:v>43074</c:v>
                </c:pt>
                <c:pt idx="2170">
                  <c:v>43075</c:v>
                </c:pt>
                <c:pt idx="2171">
                  <c:v>43076</c:v>
                </c:pt>
                <c:pt idx="2172">
                  <c:v>43077</c:v>
                </c:pt>
                <c:pt idx="2173">
                  <c:v>43080</c:v>
                </c:pt>
                <c:pt idx="2174">
                  <c:v>43081</c:v>
                </c:pt>
                <c:pt idx="2175">
                  <c:v>43082</c:v>
                </c:pt>
                <c:pt idx="2176">
                  <c:v>43083</c:v>
                </c:pt>
                <c:pt idx="2177">
                  <c:v>43084</c:v>
                </c:pt>
                <c:pt idx="2178">
                  <c:v>43087</c:v>
                </c:pt>
                <c:pt idx="2179">
                  <c:v>43088</c:v>
                </c:pt>
                <c:pt idx="2180">
                  <c:v>43089</c:v>
                </c:pt>
                <c:pt idx="2181">
                  <c:v>43090</c:v>
                </c:pt>
                <c:pt idx="2182">
                  <c:v>43091</c:v>
                </c:pt>
                <c:pt idx="2183">
                  <c:v>43094</c:v>
                </c:pt>
                <c:pt idx="2184">
                  <c:v>43095</c:v>
                </c:pt>
                <c:pt idx="2185">
                  <c:v>43096</c:v>
                </c:pt>
                <c:pt idx="2186">
                  <c:v>43097</c:v>
                </c:pt>
                <c:pt idx="2187">
                  <c:v>43098</c:v>
                </c:pt>
                <c:pt idx="2188">
                  <c:v>43102</c:v>
                </c:pt>
                <c:pt idx="2189">
                  <c:v>43103</c:v>
                </c:pt>
                <c:pt idx="2190">
                  <c:v>43104</c:v>
                </c:pt>
                <c:pt idx="2191">
                  <c:v>43105</c:v>
                </c:pt>
                <c:pt idx="2192">
                  <c:v>43108</c:v>
                </c:pt>
                <c:pt idx="2193">
                  <c:v>43109</c:v>
                </c:pt>
                <c:pt idx="2194">
                  <c:v>43110</c:v>
                </c:pt>
                <c:pt idx="2195">
                  <c:v>43111</c:v>
                </c:pt>
                <c:pt idx="2196">
                  <c:v>43112</c:v>
                </c:pt>
                <c:pt idx="2197">
                  <c:v>43115</c:v>
                </c:pt>
                <c:pt idx="2198">
                  <c:v>43116</c:v>
                </c:pt>
                <c:pt idx="2199">
                  <c:v>43117</c:v>
                </c:pt>
                <c:pt idx="2200">
                  <c:v>43118</c:v>
                </c:pt>
                <c:pt idx="2201">
                  <c:v>43119</c:v>
                </c:pt>
                <c:pt idx="2202">
                  <c:v>43122</c:v>
                </c:pt>
                <c:pt idx="2203">
                  <c:v>43123</c:v>
                </c:pt>
                <c:pt idx="2204">
                  <c:v>43124</c:v>
                </c:pt>
                <c:pt idx="2205">
                  <c:v>43125</c:v>
                </c:pt>
                <c:pt idx="2206">
                  <c:v>43126</c:v>
                </c:pt>
                <c:pt idx="2207">
                  <c:v>43129</c:v>
                </c:pt>
                <c:pt idx="2208">
                  <c:v>43130</c:v>
                </c:pt>
                <c:pt idx="2209">
                  <c:v>43131</c:v>
                </c:pt>
                <c:pt idx="2210">
                  <c:v>43132</c:v>
                </c:pt>
                <c:pt idx="2211">
                  <c:v>43133</c:v>
                </c:pt>
                <c:pt idx="2212">
                  <c:v>43136</c:v>
                </c:pt>
                <c:pt idx="2213">
                  <c:v>43137</c:v>
                </c:pt>
                <c:pt idx="2214">
                  <c:v>43138</c:v>
                </c:pt>
                <c:pt idx="2215">
                  <c:v>43139</c:v>
                </c:pt>
                <c:pt idx="2216">
                  <c:v>43140</c:v>
                </c:pt>
                <c:pt idx="2217">
                  <c:v>43143</c:v>
                </c:pt>
                <c:pt idx="2218">
                  <c:v>43144</c:v>
                </c:pt>
                <c:pt idx="2219">
                  <c:v>43145</c:v>
                </c:pt>
                <c:pt idx="2220">
                  <c:v>43153</c:v>
                </c:pt>
                <c:pt idx="2221">
                  <c:v>43154</c:v>
                </c:pt>
                <c:pt idx="2222">
                  <c:v>43157</c:v>
                </c:pt>
                <c:pt idx="2223">
                  <c:v>43158</c:v>
                </c:pt>
                <c:pt idx="2224">
                  <c:v>43159</c:v>
                </c:pt>
                <c:pt idx="2225">
                  <c:v>43160</c:v>
                </c:pt>
                <c:pt idx="2226">
                  <c:v>43161</c:v>
                </c:pt>
                <c:pt idx="2227">
                  <c:v>43164</c:v>
                </c:pt>
                <c:pt idx="2228">
                  <c:v>43165</c:v>
                </c:pt>
                <c:pt idx="2229">
                  <c:v>43166</c:v>
                </c:pt>
                <c:pt idx="2230">
                  <c:v>43167</c:v>
                </c:pt>
                <c:pt idx="2231">
                  <c:v>43168</c:v>
                </c:pt>
                <c:pt idx="2232">
                  <c:v>43171</c:v>
                </c:pt>
                <c:pt idx="2233">
                  <c:v>43172</c:v>
                </c:pt>
                <c:pt idx="2234">
                  <c:v>43173</c:v>
                </c:pt>
                <c:pt idx="2235">
                  <c:v>43174</c:v>
                </c:pt>
                <c:pt idx="2236">
                  <c:v>43175</c:v>
                </c:pt>
                <c:pt idx="2237">
                  <c:v>43178</c:v>
                </c:pt>
                <c:pt idx="2238">
                  <c:v>43179</c:v>
                </c:pt>
                <c:pt idx="2239">
                  <c:v>43180</c:v>
                </c:pt>
                <c:pt idx="2240">
                  <c:v>43181</c:v>
                </c:pt>
                <c:pt idx="2241">
                  <c:v>43182</c:v>
                </c:pt>
                <c:pt idx="2242">
                  <c:v>43185</c:v>
                </c:pt>
                <c:pt idx="2243">
                  <c:v>43186</c:v>
                </c:pt>
                <c:pt idx="2244">
                  <c:v>43187</c:v>
                </c:pt>
                <c:pt idx="2245">
                  <c:v>43188</c:v>
                </c:pt>
                <c:pt idx="2246">
                  <c:v>43189</c:v>
                </c:pt>
                <c:pt idx="2247">
                  <c:v>43192</c:v>
                </c:pt>
                <c:pt idx="2248">
                  <c:v>43193</c:v>
                </c:pt>
                <c:pt idx="2249">
                  <c:v>43194</c:v>
                </c:pt>
                <c:pt idx="2250">
                  <c:v>43199</c:v>
                </c:pt>
                <c:pt idx="2251">
                  <c:v>43200</c:v>
                </c:pt>
                <c:pt idx="2252">
                  <c:v>43201</c:v>
                </c:pt>
                <c:pt idx="2253">
                  <c:v>43202</c:v>
                </c:pt>
                <c:pt idx="2254">
                  <c:v>43203</c:v>
                </c:pt>
                <c:pt idx="2255">
                  <c:v>43206</c:v>
                </c:pt>
                <c:pt idx="2256">
                  <c:v>43207</c:v>
                </c:pt>
                <c:pt idx="2257">
                  <c:v>43208</c:v>
                </c:pt>
                <c:pt idx="2258">
                  <c:v>43209</c:v>
                </c:pt>
                <c:pt idx="2259">
                  <c:v>43210</c:v>
                </c:pt>
                <c:pt idx="2260">
                  <c:v>43213</c:v>
                </c:pt>
                <c:pt idx="2261">
                  <c:v>43214</c:v>
                </c:pt>
                <c:pt idx="2262">
                  <c:v>43215</c:v>
                </c:pt>
                <c:pt idx="2263">
                  <c:v>43216</c:v>
                </c:pt>
                <c:pt idx="2264">
                  <c:v>43217</c:v>
                </c:pt>
                <c:pt idx="2265">
                  <c:v>43222</c:v>
                </c:pt>
                <c:pt idx="2266">
                  <c:v>43223</c:v>
                </c:pt>
                <c:pt idx="2267">
                  <c:v>43224</c:v>
                </c:pt>
                <c:pt idx="2268">
                  <c:v>43227</c:v>
                </c:pt>
                <c:pt idx="2269">
                  <c:v>43228</c:v>
                </c:pt>
                <c:pt idx="2270">
                  <c:v>43229</c:v>
                </c:pt>
                <c:pt idx="2271">
                  <c:v>43230</c:v>
                </c:pt>
                <c:pt idx="2272">
                  <c:v>43231</c:v>
                </c:pt>
                <c:pt idx="2273">
                  <c:v>43234</c:v>
                </c:pt>
                <c:pt idx="2274">
                  <c:v>43235</c:v>
                </c:pt>
                <c:pt idx="2275">
                  <c:v>43236</c:v>
                </c:pt>
                <c:pt idx="2276">
                  <c:v>43237</c:v>
                </c:pt>
                <c:pt idx="2277">
                  <c:v>43238</c:v>
                </c:pt>
                <c:pt idx="2278">
                  <c:v>43241</c:v>
                </c:pt>
                <c:pt idx="2279">
                  <c:v>43242</c:v>
                </c:pt>
                <c:pt idx="2280">
                  <c:v>43243</c:v>
                </c:pt>
                <c:pt idx="2281">
                  <c:v>43244</c:v>
                </c:pt>
                <c:pt idx="2282">
                  <c:v>43245</c:v>
                </c:pt>
                <c:pt idx="2283">
                  <c:v>43248</c:v>
                </c:pt>
                <c:pt idx="2284">
                  <c:v>43249</c:v>
                </c:pt>
                <c:pt idx="2285">
                  <c:v>43250</c:v>
                </c:pt>
                <c:pt idx="2286">
                  <c:v>43251</c:v>
                </c:pt>
                <c:pt idx="2287">
                  <c:v>43252</c:v>
                </c:pt>
                <c:pt idx="2288">
                  <c:v>43255</c:v>
                </c:pt>
                <c:pt idx="2289">
                  <c:v>43256</c:v>
                </c:pt>
                <c:pt idx="2290">
                  <c:v>43257</c:v>
                </c:pt>
                <c:pt idx="2291">
                  <c:v>43258</c:v>
                </c:pt>
                <c:pt idx="2292">
                  <c:v>43259</c:v>
                </c:pt>
                <c:pt idx="2293">
                  <c:v>43262</c:v>
                </c:pt>
                <c:pt idx="2294">
                  <c:v>43263</c:v>
                </c:pt>
                <c:pt idx="2295">
                  <c:v>43264</c:v>
                </c:pt>
                <c:pt idx="2296">
                  <c:v>43265</c:v>
                </c:pt>
                <c:pt idx="2297">
                  <c:v>43266</c:v>
                </c:pt>
                <c:pt idx="2298">
                  <c:v>43270</c:v>
                </c:pt>
                <c:pt idx="2299">
                  <c:v>43271</c:v>
                </c:pt>
                <c:pt idx="2300">
                  <c:v>43272</c:v>
                </c:pt>
                <c:pt idx="2301">
                  <c:v>43273</c:v>
                </c:pt>
                <c:pt idx="2302">
                  <c:v>43276</c:v>
                </c:pt>
                <c:pt idx="2303">
                  <c:v>43277</c:v>
                </c:pt>
                <c:pt idx="2304">
                  <c:v>43278</c:v>
                </c:pt>
                <c:pt idx="2305">
                  <c:v>43279</c:v>
                </c:pt>
                <c:pt idx="2306">
                  <c:v>43280</c:v>
                </c:pt>
                <c:pt idx="2307">
                  <c:v>43283</c:v>
                </c:pt>
                <c:pt idx="2308">
                  <c:v>43284</c:v>
                </c:pt>
                <c:pt idx="2309">
                  <c:v>43285</c:v>
                </c:pt>
                <c:pt idx="2310">
                  <c:v>43286</c:v>
                </c:pt>
                <c:pt idx="2311">
                  <c:v>43287</c:v>
                </c:pt>
                <c:pt idx="2312">
                  <c:v>43290</c:v>
                </c:pt>
                <c:pt idx="2313">
                  <c:v>43291</c:v>
                </c:pt>
                <c:pt idx="2314">
                  <c:v>43292</c:v>
                </c:pt>
                <c:pt idx="2315">
                  <c:v>43293</c:v>
                </c:pt>
                <c:pt idx="2316">
                  <c:v>43294</c:v>
                </c:pt>
                <c:pt idx="2317">
                  <c:v>43297</c:v>
                </c:pt>
                <c:pt idx="2318">
                  <c:v>43298</c:v>
                </c:pt>
                <c:pt idx="2319">
                  <c:v>43299</c:v>
                </c:pt>
                <c:pt idx="2320">
                  <c:v>43300</c:v>
                </c:pt>
                <c:pt idx="2321">
                  <c:v>43301</c:v>
                </c:pt>
                <c:pt idx="2322">
                  <c:v>43304</c:v>
                </c:pt>
                <c:pt idx="2323">
                  <c:v>43305</c:v>
                </c:pt>
                <c:pt idx="2324">
                  <c:v>43306</c:v>
                </c:pt>
                <c:pt idx="2325">
                  <c:v>43307</c:v>
                </c:pt>
                <c:pt idx="2326">
                  <c:v>43308</c:v>
                </c:pt>
                <c:pt idx="2327">
                  <c:v>43311</c:v>
                </c:pt>
                <c:pt idx="2328">
                  <c:v>43312</c:v>
                </c:pt>
                <c:pt idx="2329">
                  <c:v>43313</c:v>
                </c:pt>
                <c:pt idx="2330">
                  <c:v>43314</c:v>
                </c:pt>
                <c:pt idx="2331">
                  <c:v>43315</c:v>
                </c:pt>
                <c:pt idx="2332">
                  <c:v>43318</c:v>
                </c:pt>
                <c:pt idx="2333">
                  <c:v>43319</c:v>
                </c:pt>
                <c:pt idx="2334">
                  <c:v>43320</c:v>
                </c:pt>
                <c:pt idx="2335">
                  <c:v>43321</c:v>
                </c:pt>
                <c:pt idx="2336">
                  <c:v>43322</c:v>
                </c:pt>
                <c:pt idx="2337">
                  <c:v>43325</c:v>
                </c:pt>
                <c:pt idx="2338">
                  <c:v>43326</c:v>
                </c:pt>
                <c:pt idx="2339">
                  <c:v>43327</c:v>
                </c:pt>
                <c:pt idx="2340">
                  <c:v>43328</c:v>
                </c:pt>
                <c:pt idx="2341">
                  <c:v>43329</c:v>
                </c:pt>
                <c:pt idx="2342">
                  <c:v>43332</c:v>
                </c:pt>
                <c:pt idx="2343">
                  <c:v>43333</c:v>
                </c:pt>
                <c:pt idx="2344">
                  <c:v>43334</c:v>
                </c:pt>
                <c:pt idx="2345">
                  <c:v>43335</c:v>
                </c:pt>
                <c:pt idx="2346">
                  <c:v>43336</c:v>
                </c:pt>
                <c:pt idx="2347">
                  <c:v>43339</c:v>
                </c:pt>
                <c:pt idx="2348">
                  <c:v>43340</c:v>
                </c:pt>
                <c:pt idx="2349">
                  <c:v>43341</c:v>
                </c:pt>
                <c:pt idx="2350">
                  <c:v>43342</c:v>
                </c:pt>
                <c:pt idx="2351">
                  <c:v>43343</c:v>
                </c:pt>
                <c:pt idx="2352">
                  <c:v>43346</c:v>
                </c:pt>
                <c:pt idx="2353">
                  <c:v>43347</c:v>
                </c:pt>
                <c:pt idx="2354">
                  <c:v>43348</c:v>
                </c:pt>
                <c:pt idx="2355">
                  <c:v>43349</c:v>
                </c:pt>
                <c:pt idx="2356">
                  <c:v>43350</c:v>
                </c:pt>
                <c:pt idx="2357">
                  <c:v>43353</c:v>
                </c:pt>
                <c:pt idx="2358">
                  <c:v>43354</c:v>
                </c:pt>
                <c:pt idx="2359">
                  <c:v>43355</c:v>
                </c:pt>
                <c:pt idx="2360">
                  <c:v>43356</c:v>
                </c:pt>
                <c:pt idx="2361">
                  <c:v>43357</c:v>
                </c:pt>
                <c:pt idx="2362">
                  <c:v>43360</c:v>
                </c:pt>
                <c:pt idx="2363">
                  <c:v>43361</c:v>
                </c:pt>
                <c:pt idx="2364">
                  <c:v>43362</c:v>
                </c:pt>
                <c:pt idx="2365">
                  <c:v>43363</c:v>
                </c:pt>
                <c:pt idx="2366">
                  <c:v>43364</c:v>
                </c:pt>
                <c:pt idx="2367">
                  <c:v>43368</c:v>
                </c:pt>
                <c:pt idx="2368">
                  <c:v>43369</c:v>
                </c:pt>
                <c:pt idx="2369">
                  <c:v>43370</c:v>
                </c:pt>
                <c:pt idx="2370">
                  <c:v>43371</c:v>
                </c:pt>
                <c:pt idx="2371">
                  <c:v>43381</c:v>
                </c:pt>
                <c:pt idx="2372">
                  <c:v>43382</c:v>
                </c:pt>
                <c:pt idx="2373">
                  <c:v>43383</c:v>
                </c:pt>
                <c:pt idx="2374">
                  <c:v>43384</c:v>
                </c:pt>
                <c:pt idx="2375">
                  <c:v>43385</c:v>
                </c:pt>
                <c:pt idx="2376">
                  <c:v>43388</c:v>
                </c:pt>
                <c:pt idx="2377">
                  <c:v>43389</c:v>
                </c:pt>
                <c:pt idx="2378">
                  <c:v>43390</c:v>
                </c:pt>
                <c:pt idx="2379">
                  <c:v>43391</c:v>
                </c:pt>
                <c:pt idx="2380">
                  <c:v>43392</c:v>
                </c:pt>
                <c:pt idx="2381">
                  <c:v>43395</c:v>
                </c:pt>
                <c:pt idx="2382">
                  <c:v>43396</c:v>
                </c:pt>
                <c:pt idx="2383">
                  <c:v>43397</c:v>
                </c:pt>
                <c:pt idx="2384">
                  <c:v>43398</c:v>
                </c:pt>
                <c:pt idx="2385">
                  <c:v>43399</c:v>
                </c:pt>
                <c:pt idx="2386">
                  <c:v>43402</c:v>
                </c:pt>
                <c:pt idx="2387">
                  <c:v>43403</c:v>
                </c:pt>
                <c:pt idx="2388">
                  <c:v>43404</c:v>
                </c:pt>
                <c:pt idx="2389">
                  <c:v>43405</c:v>
                </c:pt>
                <c:pt idx="2390">
                  <c:v>43406</c:v>
                </c:pt>
                <c:pt idx="2391">
                  <c:v>43409</c:v>
                </c:pt>
                <c:pt idx="2392">
                  <c:v>43410</c:v>
                </c:pt>
                <c:pt idx="2393">
                  <c:v>43411</c:v>
                </c:pt>
                <c:pt idx="2394">
                  <c:v>43412</c:v>
                </c:pt>
                <c:pt idx="2395">
                  <c:v>43413</c:v>
                </c:pt>
                <c:pt idx="2396">
                  <c:v>43416</c:v>
                </c:pt>
                <c:pt idx="2397">
                  <c:v>43417</c:v>
                </c:pt>
                <c:pt idx="2398">
                  <c:v>43418</c:v>
                </c:pt>
                <c:pt idx="2399">
                  <c:v>43419</c:v>
                </c:pt>
                <c:pt idx="2400">
                  <c:v>43420</c:v>
                </c:pt>
                <c:pt idx="2401">
                  <c:v>43423</c:v>
                </c:pt>
                <c:pt idx="2402">
                  <c:v>43424</c:v>
                </c:pt>
                <c:pt idx="2403">
                  <c:v>43425</c:v>
                </c:pt>
                <c:pt idx="2404">
                  <c:v>43426</c:v>
                </c:pt>
                <c:pt idx="2405">
                  <c:v>43427</c:v>
                </c:pt>
                <c:pt idx="2406">
                  <c:v>43430</c:v>
                </c:pt>
                <c:pt idx="2407">
                  <c:v>43431</c:v>
                </c:pt>
                <c:pt idx="2408">
                  <c:v>43432</c:v>
                </c:pt>
                <c:pt idx="2409">
                  <c:v>43433</c:v>
                </c:pt>
                <c:pt idx="2410">
                  <c:v>43434</c:v>
                </c:pt>
                <c:pt idx="2411">
                  <c:v>43437</c:v>
                </c:pt>
                <c:pt idx="2412">
                  <c:v>43438</c:v>
                </c:pt>
                <c:pt idx="2413">
                  <c:v>43439</c:v>
                </c:pt>
                <c:pt idx="2414">
                  <c:v>43440</c:v>
                </c:pt>
                <c:pt idx="2415">
                  <c:v>43441</c:v>
                </c:pt>
                <c:pt idx="2416">
                  <c:v>43444</c:v>
                </c:pt>
                <c:pt idx="2417">
                  <c:v>43445</c:v>
                </c:pt>
                <c:pt idx="2418">
                  <c:v>43446</c:v>
                </c:pt>
                <c:pt idx="2419">
                  <c:v>43447</c:v>
                </c:pt>
                <c:pt idx="2420">
                  <c:v>43448</c:v>
                </c:pt>
                <c:pt idx="2421">
                  <c:v>43451</c:v>
                </c:pt>
                <c:pt idx="2422">
                  <c:v>43452</c:v>
                </c:pt>
                <c:pt idx="2423">
                  <c:v>43453</c:v>
                </c:pt>
                <c:pt idx="2424">
                  <c:v>43454</c:v>
                </c:pt>
                <c:pt idx="2425">
                  <c:v>43455</c:v>
                </c:pt>
                <c:pt idx="2426">
                  <c:v>43458</c:v>
                </c:pt>
                <c:pt idx="2427">
                  <c:v>43459</c:v>
                </c:pt>
                <c:pt idx="2428">
                  <c:v>43460</c:v>
                </c:pt>
                <c:pt idx="2429">
                  <c:v>43461</c:v>
                </c:pt>
                <c:pt idx="2430">
                  <c:v>43462</c:v>
                </c:pt>
                <c:pt idx="2431">
                  <c:v>43467</c:v>
                </c:pt>
                <c:pt idx="2432">
                  <c:v>43468</c:v>
                </c:pt>
                <c:pt idx="2433">
                  <c:v>43469</c:v>
                </c:pt>
                <c:pt idx="2434">
                  <c:v>43472</c:v>
                </c:pt>
                <c:pt idx="2435">
                  <c:v>43473</c:v>
                </c:pt>
                <c:pt idx="2436">
                  <c:v>43474</c:v>
                </c:pt>
                <c:pt idx="2437">
                  <c:v>43475</c:v>
                </c:pt>
                <c:pt idx="2438">
                  <c:v>43476</c:v>
                </c:pt>
                <c:pt idx="2439">
                  <c:v>43479</c:v>
                </c:pt>
                <c:pt idx="2440">
                  <c:v>43480</c:v>
                </c:pt>
                <c:pt idx="2441">
                  <c:v>43481</c:v>
                </c:pt>
                <c:pt idx="2442">
                  <c:v>43482</c:v>
                </c:pt>
                <c:pt idx="2443">
                  <c:v>43483</c:v>
                </c:pt>
                <c:pt idx="2444">
                  <c:v>43486</c:v>
                </c:pt>
                <c:pt idx="2445">
                  <c:v>43487</c:v>
                </c:pt>
                <c:pt idx="2446">
                  <c:v>43488</c:v>
                </c:pt>
                <c:pt idx="2447">
                  <c:v>43489</c:v>
                </c:pt>
                <c:pt idx="2448">
                  <c:v>43490</c:v>
                </c:pt>
                <c:pt idx="2449">
                  <c:v>43493</c:v>
                </c:pt>
                <c:pt idx="2450">
                  <c:v>43494</c:v>
                </c:pt>
                <c:pt idx="2451">
                  <c:v>43495</c:v>
                </c:pt>
                <c:pt idx="2452">
                  <c:v>43496</c:v>
                </c:pt>
                <c:pt idx="2453">
                  <c:v>43497</c:v>
                </c:pt>
                <c:pt idx="2454">
                  <c:v>43507</c:v>
                </c:pt>
                <c:pt idx="2455">
                  <c:v>43508</c:v>
                </c:pt>
                <c:pt idx="2456">
                  <c:v>43509</c:v>
                </c:pt>
                <c:pt idx="2457">
                  <c:v>43510</c:v>
                </c:pt>
                <c:pt idx="2458">
                  <c:v>43511</c:v>
                </c:pt>
                <c:pt idx="2459">
                  <c:v>43514</c:v>
                </c:pt>
                <c:pt idx="2460">
                  <c:v>43515</c:v>
                </c:pt>
                <c:pt idx="2461">
                  <c:v>43516</c:v>
                </c:pt>
                <c:pt idx="2462">
                  <c:v>43517</c:v>
                </c:pt>
                <c:pt idx="2463">
                  <c:v>43518</c:v>
                </c:pt>
                <c:pt idx="2464">
                  <c:v>43521</c:v>
                </c:pt>
                <c:pt idx="2465">
                  <c:v>43522</c:v>
                </c:pt>
                <c:pt idx="2466">
                  <c:v>43523</c:v>
                </c:pt>
                <c:pt idx="2467">
                  <c:v>43524</c:v>
                </c:pt>
                <c:pt idx="2468">
                  <c:v>43525</c:v>
                </c:pt>
                <c:pt idx="2469">
                  <c:v>43528</c:v>
                </c:pt>
                <c:pt idx="2470">
                  <c:v>43529</c:v>
                </c:pt>
                <c:pt idx="2471">
                  <c:v>43530</c:v>
                </c:pt>
                <c:pt idx="2472">
                  <c:v>43531</c:v>
                </c:pt>
                <c:pt idx="2473">
                  <c:v>43532</c:v>
                </c:pt>
                <c:pt idx="2474">
                  <c:v>43535</c:v>
                </c:pt>
                <c:pt idx="2475">
                  <c:v>43536</c:v>
                </c:pt>
                <c:pt idx="2476">
                  <c:v>43537</c:v>
                </c:pt>
                <c:pt idx="2477">
                  <c:v>43538</c:v>
                </c:pt>
                <c:pt idx="2478">
                  <c:v>43539</c:v>
                </c:pt>
                <c:pt idx="2479">
                  <c:v>43542</c:v>
                </c:pt>
                <c:pt idx="2480">
                  <c:v>43543</c:v>
                </c:pt>
                <c:pt idx="2481">
                  <c:v>43544</c:v>
                </c:pt>
                <c:pt idx="2482">
                  <c:v>43545</c:v>
                </c:pt>
                <c:pt idx="2483">
                  <c:v>43546</c:v>
                </c:pt>
                <c:pt idx="2484">
                  <c:v>43549</c:v>
                </c:pt>
                <c:pt idx="2485">
                  <c:v>43550</c:v>
                </c:pt>
                <c:pt idx="2486">
                  <c:v>43551</c:v>
                </c:pt>
                <c:pt idx="2487">
                  <c:v>43552</c:v>
                </c:pt>
                <c:pt idx="2488">
                  <c:v>43553</c:v>
                </c:pt>
                <c:pt idx="2489">
                  <c:v>43556</c:v>
                </c:pt>
                <c:pt idx="2490">
                  <c:v>43557</c:v>
                </c:pt>
                <c:pt idx="2491">
                  <c:v>43558</c:v>
                </c:pt>
                <c:pt idx="2492">
                  <c:v>43559</c:v>
                </c:pt>
                <c:pt idx="2493">
                  <c:v>43563</c:v>
                </c:pt>
                <c:pt idx="2494">
                  <c:v>43564</c:v>
                </c:pt>
                <c:pt idx="2495">
                  <c:v>43565</c:v>
                </c:pt>
                <c:pt idx="2496">
                  <c:v>43566</c:v>
                </c:pt>
                <c:pt idx="2497">
                  <c:v>43567</c:v>
                </c:pt>
                <c:pt idx="2498">
                  <c:v>43570</c:v>
                </c:pt>
                <c:pt idx="2499">
                  <c:v>43571</c:v>
                </c:pt>
                <c:pt idx="2500">
                  <c:v>43572</c:v>
                </c:pt>
                <c:pt idx="2501">
                  <c:v>43573</c:v>
                </c:pt>
                <c:pt idx="2502">
                  <c:v>43574</c:v>
                </c:pt>
                <c:pt idx="2503">
                  <c:v>43577</c:v>
                </c:pt>
                <c:pt idx="2504">
                  <c:v>43578</c:v>
                </c:pt>
                <c:pt idx="2505">
                  <c:v>43579</c:v>
                </c:pt>
                <c:pt idx="2506">
                  <c:v>43580</c:v>
                </c:pt>
                <c:pt idx="2507">
                  <c:v>43581</c:v>
                </c:pt>
                <c:pt idx="2508">
                  <c:v>43584</c:v>
                </c:pt>
                <c:pt idx="2509">
                  <c:v>43585</c:v>
                </c:pt>
                <c:pt idx="2510">
                  <c:v>43591</c:v>
                </c:pt>
                <c:pt idx="2511">
                  <c:v>43592</c:v>
                </c:pt>
                <c:pt idx="2512">
                  <c:v>43593</c:v>
                </c:pt>
                <c:pt idx="2513">
                  <c:v>43594</c:v>
                </c:pt>
                <c:pt idx="2514">
                  <c:v>43595</c:v>
                </c:pt>
                <c:pt idx="2515">
                  <c:v>43598</c:v>
                </c:pt>
                <c:pt idx="2516">
                  <c:v>43599</c:v>
                </c:pt>
                <c:pt idx="2517">
                  <c:v>43600</c:v>
                </c:pt>
                <c:pt idx="2518">
                  <c:v>43601</c:v>
                </c:pt>
                <c:pt idx="2519">
                  <c:v>43602</c:v>
                </c:pt>
                <c:pt idx="2520">
                  <c:v>43605</c:v>
                </c:pt>
                <c:pt idx="2521">
                  <c:v>43606</c:v>
                </c:pt>
                <c:pt idx="2522">
                  <c:v>43607</c:v>
                </c:pt>
                <c:pt idx="2523">
                  <c:v>43608</c:v>
                </c:pt>
                <c:pt idx="2524">
                  <c:v>43609</c:v>
                </c:pt>
                <c:pt idx="2525">
                  <c:v>43612</c:v>
                </c:pt>
                <c:pt idx="2526">
                  <c:v>43613</c:v>
                </c:pt>
                <c:pt idx="2527">
                  <c:v>43614</c:v>
                </c:pt>
                <c:pt idx="2528">
                  <c:v>43615</c:v>
                </c:pt>
                <c:pt idx="2529">
                  <c:v>43616</c:v>
                </c:pt>
                <c:pt idx="2530">
                  <c:v>43619</c:v>
                </c:pt>
                <c:pt idx="2531">
                  <c:v>43620</c:v>
                </c:pt>
                <c:pt idx="2532">
                  <c:v>43621</c:v>
                </c:pt>
                <c:pt idx="2533">
                  <c:v>43622</c:v>
                </c:pt>
                <c:pt idx="2534">
                  <c:v>43626</c:v>
                </c:pt>
                <c:pt idx="2535">
                  <c:v>43627</c:v>
                </c:pt>
                <c:pt idx="2536">
                  <c:v>43628</c:v>
                </c:pt>
                <c:pt idx="2537">
                  <c:v>43629</c:v>
                </c:pt>
                <c:pt idx="2538">
                  <c:v>43630</c:v>
                </c:pt>
                <c:pt idx="2539">
                  <c:v>43633</c:v>
                </c:pt>
                <c:pt idx="2540">
                  <c:v>43634</c:v>
                </c:pt>
                <c:pt idx="2541">
                  <c:v>43635</c:v>
                </c:pt>
                <c:pt idx="2542">
                  <c:v>43636</c:v>
                </c:pt>
                <c:pt idx="2543">
                  <c:v>43637</c:v>
                </c:pt>
                <c:pt idx="2544">
                  <c:v>43640</c:v>
                </c:pt>
                <c:pt idx="2545">
                  <c:v>43641</c:v>
                </c:pt>
                <c:pt idx="2546">
                  <c:v>43642</c:v>
                </c:pt>
                <c:pt idx="2547">
                  <c:v>43643</c:v>
                </c:pt>
                <c:pt idx="2548">
                  <c:v>43644</c:v>
                </c:pt>
                <c:pt idx="2549">
                  <c:v>43647</c:v>
                </c:pt>
                <c:pt idx="2550">
                  <c:v>43648</c:v>
                </c:pt>
                <c:pt idx="2551">
                  <c:v>43649</c:v>
                </c:pt>
                <c:pt idx="2552">
                  <c:v>43650</c:v>
                </c:pt>
                <c:pt idx="2553">
                  <c:v>43651</c:v>
                </c:pt>
                <c:pt idx="2554">
                  <c:v>43654</c:v>
                </c:pt>
                <c:pt idx="2555">
                  <c:v>43655</c:v>
                </c:pt>
                <c:pt idx="2556">
                  <c:v>43656</c:v>
                </c:pt>
                <c:pt idx="2557">
                  <c:v>43657</c:v>
                </c:pt>
                <c:pt idx="2558">
                  <c:v>43658</c:v>
                </c:pt>
                <c:pt idx="2559">
                  <c:v>43661</c:v>
                </c:pt>
                <c:pt idx="2560">
                  <c:v>43662</c:v>
                </c:pt>
                <c:pt idx="2561">
                  <c:v>43663</c:v>
                </c:pt>
                <c:pt idx="2562">
                  <c:v>43664</c:v>
                </c:pt>
                <c:pt idx="2563">
                  <c:v>43665</c:v>
                </c:pt>
                <c:pt idx="2564">
                  <c:v>43668</c:v>
                </c:pt>
                <c:pt idx="2565">
                  <c:v>43669</c:v>
                </c:pt>
                <c:pt idx="2566">
                  <c:v>43670</c:v>
                </c:pt>
                <c:pt idx="2567">
                  <c:v>43671</c:v>
                </c:pt>
                <c:pt idx="2568">
                  <c:v>43672</c:v>
                </c:pt>
                <c:pt idx="2569">
                  <c:v>43675</c:v>
                </c:pt>
                <c:pt idx="2570">
                  <c:v>43676</c:v>
                </c:pt>
                <c:pt idx="2571">
                  <c:v>43677</c:v>
                </c:pt>
                <c:pt idx="2572">
                  <c:v>43678</c:v>
                </c:pt>
                <c:pt idx="2573">
                  <c:v>43679</c:v>
                </c:pt>
                <c:pt idx="2574">
                  <c:v>43682</c:v>
                </c:pt>
                <c:pt idx="2575">
                  <c:v>43683</c:v>
                </c:pt>
                <c:pt idx="2576">
                  <c:v>43684</c:v>
                </c:pt>
                <c:pt idx="2577">
                  <c:v>43685</c:v>
                </c:pt>
                <c:pt idx="2578">
                  <c:v>43686</c:v>
                </c:pt>
                <c:pt idx="2579">
                  <c:v>43689</c:v>
                </c:pt>
                <c:pt idx="2580">
                  <c:v>43690</c:v>
                </c:pt>
                <c:pt idx="2581">
                  <c:v>43691</c:v>
                </c:pt>
                <c:pt idx="2582">
                  <c:v>43692</c:v>
                </c:pt>
                <c:pt idx="2583">
                  <c:v>43693</c:v>
                </c:pt>
                <c:pt idx="2584">
                  <c:v>43696</c:v>
                </c:pt>
                <c:pt idx="2585">
                  <c:v>43697</c:v>
                </c:pt>
                <c:pt idx="2586">
                  <c:v>43698</c:v>
                </c:pt>
                <c:pt idx="2587">
                  <c:v>43699</c:v>
                </c:pt>
                <c:pt idx="2588">
                  <c:v>43700</c:v>
                </c:pt>
                <c:pt idx="2589">
                  <c:v>43703</c:v>
                </c:pt>
                <c:pt idx="2590">
                  <c:v>43704</c:v>
                </c:pt>
                <c:pt idx="2591">
                  <c:v>43705</c:v>
                </c:pt>
                <c:pt idx="2592">
                  <c:v>43706</c:v>
                </c:pt>
                <c:pt idx="2593">
                  <c:v>43707</c:v>
                </c:pt>
                <c:pt idx="2594">
                  <c:v>43710</c:v>
                </c:pt>
                <c:pt idx="2595">
                  <c:v>43711</c:v>
                </c:pt>
                <c:pt idx="2596">
                  <c:v>43712</c:v>
                </c:pt>
                <c:pt idx="2597">
                  <c:v>43713</c:v>
                </c:pt>
                <c:pt idx="2598">
                  <c:v>43714</c:v>
                </c:pt>
                <c:pt idx="2599">
                  <c:v>43717</c:v>
                </c:pt>
                <c:pt idx="2600">
                  <c:v>43718</c:v>
                </c:pt>
                <c:pt idx="2601">
                  <c:v>43719</c:v>
                </c:pt>
                <c:pt idx="2602">
                  <c:v>43720</c:v>
                </c:pt>
                <c:pt idx="2603">
                  <c:v>43724</c:v>
                </c:pt>
                <c:pt idx="2604">
                  <c:v>43725</c:v>
                </c:pt>
                <c:pt idx="2605">
                  <c:v>43726</c:v>
                </c:pt>
                <c:pt idx="2606">
                  <c:v>43727</c:v>
                </c:pt>
                <c:pt idx="2607">
                  <c:v>43728</c:v>
                </c:pt>
                <c:pt idx="2608">
                  <c:v>43731</c:v>
                </c:pt>
                <c:pt idx="2609">
                  <c:v>43732</c:v>
                </c:pt>
                <c:pt idx="2610">
                  <c:v>43733</c:v>
                </c:pt>
                <c:pt idx="2611">
                  <c:v>43734</c:v>
                </c:pt>
                <c:pt idx="2612">
                  <c:v>43735</c:v>
                </c:pt>
                <c:pt idx="2613">
                  <c:v>43738</c:v>
                </c:pt>
                <c:pt idx="2614">
                  <c:v>43746</c:v>
                </c:pt>
                <c:pt idx="2615">
                  <c:v>43747</c:v>
                </c:pt>
                <c:pt idx="2616">
                  <c:v>43748</c:v>
                </c:pt>
                <c:pt idx="2617">
                  <c:v>43749</c:v>
                </c:pt>
                <c:pt idx="2618">
                  <c:v>43752</c:v>
                </c:pt>
                <c:pt idx="2619">
                  <c:v>43753</c:v>
                </c:pt>
                <c:pt idx="2620">
                  <c:v>43754</c:v>
                </c:pt>
                <c:pt idx="2621">
                  <c:v>43755</c:v>
                </c:pt>
                <c:pt idx="2622">
                  <c:v>43756</c:v>
                </c:pt>
                <c:pt idx="2623">
                  <c:v>43759</c:v>
                </c:pt>
                <c:pt idx="2624">
                  <c:v>43760</c:v>
                </c:pt>
                <c:pt idx="2625">
                  <c:v>43761</c:v>
                </c:pt>
                <c:pt idx="2626">
                  <c:v>43762</c:v>
                </c:pt>
                <c:pt idx="2627">
                  <c:v>43763</c:v>
                </c:pt>
                <c:pt idx="2628">
                  <c:v>43766</c:v>
                </c:pt>
                <c:pt idx="2629">
                  <c:v>43767</c:v>
                </c:pt>
                <c:pt idx="2630">
                  <c:v>43768</c:v>
                </c:pt>
                <c:pt idx="2631">
                  <c:v>43769</c:v>
                </c:pt>
                <c:pt idx="2632">
                  <c:v>43770</c:v>
                </c:pt>
                <c:pt idx="2633">
                  <c:v>43773</c:v>
                </c:pt>
                <c:pt idx="2634">
                  <c:v>43774</c:v>
                </c:pt>
                <c:pt idx="2635">
                  <c:v>43775</c:v>
                </c:pt>
                <c:pt idx="2636">
                  <c:v>43776</c:v>
                </c:pt>
                <c:pt idx="2637">
                  <c:v>43777</c:v>
                </c:pt>
                <c:pt idx="2638">
                  <c:v>43780</c:v>
                </c:pt>
                <c:pt idx="2639">
                  <c:v>43781</c:v>
                </c:pt>
                <c:pt idx="2640">
                  <c:v>43782</c:v>
                </c:pt>
                <c:pt idx="2641">
                  <c:v>43783</c:v>
                </c:pt>
                <c:pt idx="2642">
                  <c:v>43784</c:v>
                </c:pt>
                <c:pt idx="2643">
                  <c:v>43787</c:v>
                </c:pt>
                <c:pt idx="2644">
                  <c:v>43788</c:v>
                </c:pt>
                <c:pt idx="2645">
                  <c:v>43789</c:v>
                </c:pt>
                <c:pt idx="2646">
                  <c:v>43790</c:v>
                </c:pt>
                <c:pt idx="2647">
                  <c:v>43791</c:v>
                </c:pt>
                <c:pt idx="2648">
                  <c:v>43794</c:v>
                </c:pt>
                <c:pt idx="2649">
                  <c:v>43795</c:v>
                </c:pt>
                <c:pt idx="2650">
                  <c:v>43796</c:v>
                </c:pt>
                <c:pt idx="2651">
                  <c:v>43797</c:v>
                </c:pt>
                <c:pt idx="2652">
                  <c:v>43798</c:v>
                </c:pt>
                <c:pt idx="2653">
                  <c:v>43801</c:v>
                </c:pt>
                <c:pt idx="2654">
                  <c:v>43802</c:v>
                </c:pt>
                <c:pt idx="2655">
                  <c:v>43803</c:v>
                </c:pt>
                <c:pt idx="2656">
                  <c:v>43804</c:v>
                </c:pt>
                <c:pt idx="2657">
                  <c:v>43805</c:v>
                </c:pt>
                <c:pt idx="2658">
                  <c:v>43808</c:v>
                </c:pt>
                <c:pt idx="2659">
                  <c:v>43809</c:v>
                </c:pt>
                <c:pt idx="2660">
                  <c:v>43810</c:v>
                </c:pt>
                <c:pt idx="2661">
                  <c:v>43811</c:v>
                </c:pt>
                <c:pt idx="2662">
                  <c:v>43812</c:v>
                </c:pt>
                <c:pt idx="2663">
                  <c:v>43815</c:v>
                </c:pt>
                <c:pt idx="2664">
                  <c:v>43816</c:v>
                </c:pt>
                <c:pt idx="2665">
                  <c:v>43817</c:v>
                </c:pt>
                <c:pt idx="2666">
                  <c:v>43818</c:v>
                </c:pt>
                <c:pt idx="2667">
                  <c:v>43819</c:v>
                </c:pt>
                <c:pt idx="2668">
                  <c:v>43822</c:v>
                </c:pt>
                <c:pt idx="2669">
                  <c:v>43823</c:v>
                </c:pt>
                <c:pt idx="2670">
                  <c:v>43824</c:v>
                </c:pt>
                <c:pt idx="2671">
                  <c:v>43825</c:v>
                </c:pt>
                <c:pt idx="2672">
                  <c:v>43826</c:v>
                </c:pt>
                <c:pt idx="2673">
                  <c:v>43829</c:v>
                </c:pt>
                <c:pt idx="2674">
                  <c:v>43830</c:v>
                </c:pt>
                <c:pt idx="2675">
                  <c:v>43832</c:v>
                </c:pt>
                <c:pt idx="2676">
                  <c:v>43833</c:v>
                </c:pt>
                <c:pt idx="2677">
                  <c:v>43836</c:v>
                </c:pt>
                <c:pt idx="2678">
                  <c:v>43837</c:v>
                </c:pt>
                <c:pt idx="2679">
                  <c:v>43838</c:v>
                </c:pt>
                <c:pt idx="2680">
                  <c:v>43839</c:v>
                </c:pt>
                <c:pt idx="2681">
                  <c:v>43840</c:v>
                </c:pt>
                <c:pt idx="2682">
                  <c:v>43843</c:v>
                </c:pt>
                <c:pt idx="2683">
                  <c:v>43844</c:v>
                </c:pt>
                <c:pt idx="2684">
                  <c:v>43845</c:v>
                </c:pt>
                <c:pt idx="2685">
                  <c:v>43846</c:v>
                </c:pt>
                <c:pt idx="2686">
                  <c:v>43847</c:v>
                </c:pt>
                <c:pt idx="2687">
                  <c:v>43850</c:v>
                </c:pt>
                <c:pt idx="2688">
                  <c:v>43851</c:v>
                </c:pt>
                <c:pt idx="2689">
                  <c:v>43852</c:v>
                </c:pt>
                <c:pt idx="2690">
                  <c:v>43853</c:v>
                </c:pt>
                <c:pt idx="2691">
                  <c:v>43864</c:v>
                </c:pt>
                <c:pt idx="2692">
                  <c:v>43865</c:v>
                </c:pt>
                <c:pt idx="2693">
                  <c:v>43866</c:v>
                </c:pt>
                <c:pt idx="2694">
                  <c:v>43867</c:v>
                </c:pt>
                <c:pt idx="2695">
                  <c:v>43868</c:v>
                </c:pt>
                <c:pt idx="2696">
                  <c:v>43871</c:v>
                </c:pt>
                <c:pt idx="2697">
                  <c:v>43872</c:v>
                </c:pt>
                <c:pt idx="2698">
                  <c:v>43873</c:v>
                </c:pt>
                <c:pt idx="2699">
                  <c:v>43874</c:v>
                </c:pt>
                <c:pt idx="2700">
                  <c:v>43875</c:v>
                </c:pt>
                <c:pt idx="2701">
                  <c:v>43878</c:v>
                </c:pt>
                <c:pt idx="2702">
                  <c:v>43879</c:v>
                </c:pt>
                <c:pt idx="2703">
                  <c:v>43880</c:v>
                </c:pt>
                <c:pt idx="2704">
                  <c:v>43881</c:v>
                </c:pt>
                <c:pt idx="2705">
                  <c:v>43882</c:v>
                </c:pt>
                <c:pt idx="2706">
                  <c:v>43885</c:v>
                </c:pt>
                <c:pt idx="2707">
                  <c:v>43886</c:v>
                </c:pt>
                <c:pt idx="2708">
                  <c:v>43887</c:v>
                </c:pt>
                <c:pt idx="2709">
                  <c:v>43888</c:v>
                </c:pt>
                <c:pt idx="2710">
                  <c:v>43889</c:v>
                </c:pt>
                <c:pt idx="2711">
                  <c:v>43892</c:v>
                </c:pt>
                <c:pt idx="2712">
                  <c:v>43893</c:v>
                </c:pt>
                <c:pt idx="2713">
                  <c:v>43894</c:v>
                </c:pt>
                <c:pt idx="2714">
                  <c:v>43895</c:v>
                </c:pt>
                <c:pt idx="2715">
                  <c:v>43896</c:v>
                </c:pt>
                <c:pt idx="2716">
                  <c:v>43899</c:v>
                </c:pt>
                <c:pt idx="2717">
                  <c:v>43900</c:v>
                </c:pt>
                <c:pt idx="2718">
                  <c:v>43901</c:v>
                </c:pt>
                <c:pt idx="2719">
                  <c:v>43902</c:v>
                </c:pt>
                <c:pt idx="2720">
                  <c:v>43903</c:v>
                </c:pt>
                <c:pt idx="2721">
                  <c:v>43906</c:v>
                </c:pt>
                <c:pt idx="2722">
                  <c:v>43907</c:v>
                </c:pt>
                <c:pt idx="2723">
                  <c:v>43908</c:v>
                </c:pt>
                <c:pt idx="2724">
                  <c:v>43909</c:v>
                </c:pt>
                <c:pt idx="2725">
                  <c:v>43910</c:v>
                </c:pt>
                <c:pt idx="2726">
                  <c:v>43913</c:v>
                </c:pt>
                <c:pt idx="2727">
                  <c:v>43914</c:v>
                </c:pt>
                <c:pt idx="2728">
                  <c:v>43915</c:v>
                </c:pt>
                <c:pt idx="2729">
                  <c:v>43916</c:v>
                </c:pt>
                <c:pt idx="2730">
                  <c:v>43917</c:v>
                </c:pt>
                <c:pt idx="2731">
                  <c:v>43920</c:v>
                </c:pt>
                <c:pt idx="2732">
                  <c:v>43921</c:v>
                </c:pt>
                <c:pt idx="2733">
                  <c:v>43922</c:v>
                </c:pt>
                <c:pt idx="2734">
                  <c:v>43923</c:v>
                </c:pt>
                <c:pt idx="2735">
                  <c:v>43924</c:v>
                </c:pt>
                <c:pt idx="2736">
                  <c:v>43928</c:v>
                </c:pt>
                <c:pt idx="2737">
                  <c:v>43929</c:v>
                </c:pt>
                <c:pt idx="2738">
                  <c:v>43930</c:v>
                </c:pt>
                <c:pt idx="2739">
                  <c:v>43931</c:v>
                </c:pt>
                <c:pt idx="2740">
                  <c:v>43934</c:v>
                </c:pt>
                <c:pt idx="2741">
                  <c:v>43935</c:v>
                </c:pt>
                <c:pt idx="2742">
                  <c:v>43936</c:v>
                </c:pt>
                <c:pt idx="2743">
                  <c:v>43937</c:v>
                </c:pt>
                <c:pt idx="2744">
                  <c:v>43938</c:v>
                </c:pt>
                <c:pt idx="2745">
                  <c:v>43941</c:v>
                </c:pt>
                <c:pt idx="2746">
                  <c:v>43942</c:v>
                </c:pt>
                <c:pt idx="2747">
                  <c:v>43943</c:v>
                </c:pt>
                <c:pt idx="2748">
                  <c:v>43944</c:v>
                </c:pt>
                <c:pt idx="2749">
                  <c:v>43945</c:v>
                </c:pt>
                <c:pt idx="2750">
                  <c:v>43948</c:v>
                </c:pt>
                <c:pt idx="2751">
                  <c:v>43949</c:v>
                </c:pt>
                <c:pt idx="2752">
                  <c:v>43950</c:v>
                </c:pt>
                <c:pt idx="2753">
                  <c:v>43951</c:v>
                </c:pt>
                <c:pt idx="2754">
                  <c:v>43957</c:v>
                </c:pt>
                <c:pt idx="2755">
                  <c:v>43958</c:v>
                </c:pt>
                <c:pt idx="2756">
                  <c:v>43959</c:v>
                </c:pt>
                <c:pt idx="2757">
                  <c:v>43962</c:v>
                </c:pt>
                <c:pt idx="2758">
                  <c:v>43963</c:v>
                </c:pt>
                <c:pt idx="2759">
                  <c:v>43964</c:v>
                </c:pt>
                <c:pt idx="2760">
                  <c:v>43965</c:v>
                </c:pt>
                <c:pt idx="2761">
                  <c:v>43966</c:v>
                </c:pt>
                <c:pt idx="2762">
                  <c:v>43969</c:v>
                </c:pt>
                <c:pt idx="2763">
                  <c:v>43970</c:v>
                </c:pt>
                <c:pt idx="2764">
                  <c:v>43971</c:v>
                </c:pt>
                <c:pt idx="2765">
                  <c:v>43972</c:v>
                </c:pt>
                <c:pt idx="2766">
                  <c:v>43973</c:v>
                </c:pt>
                <c:pt idx="2767">
                  <c:v>43976</c:v>
                </c:pt>
                <c:pt idx="2768">
                  <c:v>43977</c:v>
                </c:pt>
                <c:pt idx="2769">
                  <c:v>43978</c:v>
                </c:pt>
                <c:pt idx="2770">
                  <c:v>43979</c:v>
                </c:pt>
                <c:pt idx="2771">
                  <c:v>43980</c:v>
                </c:pt>
                <c:pt idx="2772">
                  <c:v>43983</c:v>
                </c:pt>
                <c:pt idx="2773">
                  <c:v>43984</c:v>
                </c:pt>
                <c:pt idx="2774">
                  <c:v>43985</c:v>
                </c:pt>
                <c:pt idx="2775">
                  <c:v>43986</c:v>
                </c:pt>
                <c:pt idx="2776">
                  <c:v>43987</c:v>
                </c:pt>
                <c:pt idx="2777">
                  <c:v>43990</c:v>
                </c:pt>
                <c:pt idx="2778">
                  <c:v>43991</c:v>
                </c:pt>
                <c:pt idx="2779">
                  <c:v>43992</c:v>
                </c:pt>
                <c:pt idx="2780">
                  <c:v>43993</c:v>
                </c:pt>
                <c:pt idx="2781">
                  <c:v>43994</c:v>
                </c:pt>
                <c:pt idx="2782">
                  <c:v>43997</c:v>
                </c:pt>
                <c:pt idx="2783">
                  <c:v>43998</c:v>
                </c:pt>
                <c:pt idx="2784">
                  <c:v>43999</c:v>
                </c:pt>
                <c:pt idx="2785">
                  <c:v>44000</c:v>
                </c:pt>
                <c:pt idx="2786">
                  <c:v>44001</c:v>
                </c:pt>
                <c:pt idx="2787">
                  <c:v>44004</c:v>
                </c:pt>
                <c:pt idx="2788">
                  <c:v>44005</c:v>
                </c:pt>
                <c:pt idx="2789">
                  <c:v>44006</c:v>
                </c:pt>
                <c:pt idx="2790">
                  <c:v>44011</c:v>
                </c:pt>
                <c:pt idx="2791">
                  <c:v>44012</c:v>
                </c:pt>
                <c:pt idx="2792">
                  <c:v>44013</c:v>
                </c:pt>
                <c:pt idx="2793">
                  <c:v>44014</c:v>
                </c:pt>
                <c:pt idx="2794">
                  <c:v>44015</c:v>
                </c:pt>
                <c:pt idx="2795">
                  <c:v>44018</c:v>
                </c:pt>
                <c:pt idx="2796">
                  <c:v>44019</c:v>
                </c:pt>
                <c:pt idx="2797">
                  <c:v>44020</c:v>
                </c:pt>
                <c:pt idx="2798">
                  <c:v>44021</c:v>
                </c:pt>
                <c:pt idx="2799">
                  <c:v>44022</c:v>
                </c:pt>
                <c:pt idx="2800">
                  <c:v>44025</c:v>
                </c:pt>
                <c:pt idx="2801">
                  <c:v>44026</c:v>
                </c:pt>
                <c:pt idx="2802">
                  <c:v>44027</c:v>
                </c:pt>
                <c:pt idx="2803">
                  <c:v>44028</c:v>
                </c:pt>
                <c:pt idx="2804">
                  <c:v>44029</c:v>
                </c:pt>
                <c:pt idx="2805">
                  <c:v>44032</c:v>
                </c:pt>
                <c:pt idx="2806">
                  <c:v>44033</c:v>
                </c:pt>
                <c:pt idx="2807">
                  <c:v>44034</c:v>
                </c:pt>
                <c:pt idx="2808">
                  <c:v>44035</c:v>
                </c:pt>
                <c:pt idx="2809">
                  <c:v>44036</c:v>
                </c:pt>
                <c:pt idx="2810">
                  <c:v>44039</c:v>
                </c:pt>
                <c:pt idx="2811">
                  <c:v>44040</c:v>
                </c:pt>
                <c:pt idx="2812">
                  <c:v>44041</c:v>
                </c:pt>
                <c:pt idx="2813">
                  <c:v>44042</c:v>
                </c:pt>
                <c:pt idx="2814">
                  <c:v>44043</c:v>
                </c:pt>
                <c:pt idx="2815">
                  <c:v>44046</c:v>
                </c:pt>
                <c:pt idx="2816">
                  <c:v>44047</c:v>
                </c:pt>
                <c:pt idx="2817">
                  <c:v>44048</c:v>
                </c:pt>
                <c:pt idx="2818">
                  <c:v>44049</c:v>
                </c:pt>
                <c:pt idx="2819">
                  <c:v>44050</c:v>
                </c:pt>
                <c:pt idx="2820">
                  <c:v>44053</c:v>
                </c:pt>
                <c:pt idx="2821">
                  <c:v>44054</c:v>
                </c:pt>
                <c:pt idx="2822">
                  <c:v>44055</c:v>
                </c:pt>
                <c:pt idx="2823">
                  <c:v>44056</c:v>
                </c:pt>
                <c:pt idx="2824">
                  <c:v>44057</c:v>
                </c:pt>
                <c:pt idx="2825">
                  <c:v>44060</c:v>
                </c:pt>
                <c:pt idx="2826">
                  <c:v>44061</c:v>
                </c:pt>
                <c:pt idx="2827">
                  <c:v>44062</c:v>
                </c:pt>
                <c:pt idx="2828">
                  <c:v>44063</c:v>
                </c:pt>
                <c:pt idx="2829">
                  <c:v>44064</c:v>
                </c:pt>
                <c:pt idx="2830">
                  <c:v>44067</c:v>
                </c:pt>
                <c:pt idx="2831">
                  <c:v>44068</c:v>
                </c:pt>
                <c:pt idx="2832">
                  <c:v>44069</c:v>
                </c:pt>
                <c:pt idx="2833">
                  <c:v>44070</c:v>
                </c:pt>
                <c:pt idx="2834">
                  <c:v>44071</c:v>
                </c:pt>
                <c:pt idx="2835">
                  <c:v>44074</c:v>
                </c:pt>
                <c:pt idx="2836">
                  <c:v>44075</c:v>
                </c:pt>
                <c:pt idx="2837">
                  <c:v>44076</c:v>
                </c:pt>
                <c:pt idx="2838">
                  <c:v>44077</c:v>
                </c:pt>
                <c:pt idx="2839">
                  <c:v>44078</c:v>
                </c:pt>
                <c:pt idx="2840">
                  <c:v>44081</c:v>
                </c:pt>
                <c:pt idx="2841">
                  <c:v>44082</c:v>
                </c:pt>
                <c:pt idx="2842">
                  <c:v>44083</c:v>
                </c:pt>
                <c:pt idx="2843">
                  <c:v>44084</c:v>
                </c:pt>
                <c:pt idx="2844">
                  <c:v>44085</c:v>
                </c:pt>
                <c:pt idx="2845">
                  <c:v>44088</c:v>
                </c:pt>
                <c:pt idx="2846">
                  <c:v>44089</c:v>
                </c:pt>
                <c:pt idx="2847">
                  <c:v>44090</c:v>
                </c:pt>
                <c:pt idx="2848">
                  <c:v>44091</c:v>
                </c:pt>
                <c:pt idx="2849">
                  <c:v>44092</c:v>
                </c:pt>
                <c:pt idx="2850">
                  <c:v>44095</c:v>
                </c:pt>
                <c:pt idx="2851">
                  <c:v>44096</c:v>
                </c:pt>
                <c:pt idx="2852">
                  <c:v>44097</c:v>
                </c:pt>
                <c:pt idx="2853">
                  <c:v>44098</c:v>
                </c:pt>
                <c:pt idx="2854">
                  <c:v>44099</c:v>
                </c:pt>
                <c:pt idx="2855">
                  <c:v>44102</c:v>
                </c:pt>
                <c:pt idx="2856">
                  <c:v>44103</c:v>
                </c:pt>
                <c:pt idx="2857">
                  <c:v>44104</c:v>
                </c:pt>
                <c:pt idx="2858">
                  <c:v>44113</c:v>
                </c:pt>
                <c:pt idx="2859">
                  <c:v>44116</c:v>
                </c:pt>
                <c:pt idx="2860">
                  <c:v>44117</c:v>
                </c:pt>
                <c:pt idx="2861">
                  <c:v>44118</c:v>
                </c:pt>
                <c:pt idx="2862">
                  <c:v>44119</c:v>
                </c:pt>
                <c:pt idx="2863">
                  <c:v>44120</c:v>
                </c:pt>
                <c:pt idx="2864">
                  <c:v>44123</c:v>
                </c:pt>
                <c:pt idx="2865">
                  <c:v>44124</c:v>
                </c:pt>
                <c:pt idx="2866">
                  <c:v>44125</c:v>
                </c:pt>
                <c:pt idx="2867">
                  <c:v>44126</c:v>
                </c:pt>
                <c:pt idx="2868">
                  <c:v>44127</c:v>
                </c:pt>
                <c:pt idx="2869">
                  <c:v>44130</c:v>
                </c:pt>
                <c:pt idx="2870">
                  <c:v>44131</c:v>
                </c:pt>
                <c:pt idx="2871">
                  <c:v>44132</c:v>
                </c:pt>
                <c:pt idx="2872">
                  <c:v>44133</c:v>
                </c:pt>
                <c:pt idx="2873">
                  <c:v>44134</c:v>
                </c:pt>
                <c:pt idx="2874">
                  <c:v>44137</c:v>
                </c:pt>
                <c:pt idx="2875">
                  <c:v>44138</c:v>
                </c:pt>
                <c:pt idx="2876">
                  <c:v>44139</c:v>
                </c:pt>
                <c:pt idx="2877">
                  <c:v>44140</c:v>
                </c:pt>
                <c:pt idx="2878">
                  <c:v>44141</c:v>
                </c:pt>
                <c:pt idx="2879">
                  <c:v>44144</c:v>
                </c:pt>
                <c:pt idx="2880">
                  <c:v>44145</c:v>
                </c:pt>
                <c:pt idx="2881">
                  <c:v>44146</c:v>
                </c:pt>
                <c:pt idx="2882">
                  <c:v>44147</c:v>
                </c:pt>
                <c:pt idx="2883">
                  <c:v>44148</c:v>
                </c:pt>
                <c:pt idx="2884">
                  <c:v>44151</c:v>
                </c:pt>
                <c:pt idx="2885">
                  <c:v>44152</c:v>
                </c:pt>
                <c:pt idx="2886">
                  <c:v>44153</c:v>
                </c:pt>
                <c:pt idx="2887">
                  <c:v>44154</c:v>
                </c:pt>
                <c:pt idx="2888">
                  <c:v>44155</c:v>
                </c:pt>
                <c:pt idx="2889">
                  <c:v>44158</c:v>
                </c:pt>
                <c:pt idx="2890">
                  <c:v>44159</c:v>
                </c:pt>
                <c:pt idx="2891">
                  <c:v>44160</c:v>
                </c:pt>
                <c:pt idx="2892">
                  <c:v>44161</c:v>
                </c:pt>
                <c:pt idx="2893">
                  <c:v>44162</c:v>
                </c:pt>
                <c:pt idx="2894">
                  <c:v>44165</c:v>
                </c:pt>
                <c:pt idx="2895">
                  <c:v>44166</c:v>
                </c:pt>
                <c:pt idx="2896">
                  <c:v>44167</c:v>
                </c:pt>
                <c:pt idx="2897">
                  <c:v>44168</c:v>
                </c:pt>
                <c:pt idx="2898">
                  <c:v>44169</c:v>
                </c:pt>
                <c:pt idx="2899">
                  <c:v>44172</c:v>
                </c:pt>
                <c:pt idx="2900">
                  <c:v>44173</c:v>
                </c:pt>
                <c:pt idx="2901">
                  <c:v>44174</c:v>
                </c:pt>
                <c:pt idx="2902">
                  <c:v>44175</c:v>
                </c:pt>
                <c:pt idx="2903">
                  <c:v>44176</c:v>
                </c:pt>
                <c:pt idx="2904">
                  <c:v>44179</c:v>
                </c:pt>
                <c:pt idx="2905">
                  <c:v>44180</c:v>
                </c:pt>
                <c:pt idx="2906">
                  <c:v>44181</c:v>
                </c:pt>
                <c:pt idx="2907">
                  <c:v>44182</c:v>
                </c:pt>
                <c:pt idx="2908">
                  <c:v>44183</c:v>
                </c:pt>
                <c:pt idx="2909">
                  <c:v>44186</c:v>
                </c:pt>
                <c:pt idx="2910">
                  <c:v>44187</c:v>
                </c:pt>
                <c:pt idx="2911">
                  <c:v>44188</c:v>
                </c:pt>
                <c:pt idx="2912">
                  <c:v>44189</c:v>
                </c:pt>
                <c:pt idx="2913">
                  <c:v>44190</c:v>
                </c:pt>
                <c:pt idx="2914">
                  <c:v>44193</c:v>
                </c:pt>
                <c:pt idx="2915">
                  <c:v>44194</c:v>
                </c:pt>
                <c:pt idx="2916">
                  <c:v>44195</c:v>
                </c:pt>
                <c:pt idx="2917">
                  <c:v>44196</c:v>
                </c:pt>
                <c:pt idx="2918">
                  <c:v>44200</c:v>
                </c:pt>
                <c:pt idx="2919">
                  <c:v>44201</c:v>
                </c:pt>
                <c:pt idx="2920">
                  <c:v>44202</c:v>
                </c:pt>
                <c:pt idx="2921">
                  <c:v>44203</c:v>
                </c:pt>
                <c:pt idx="2922">
                  <c:v>44204</c:v>
                </c:pt>
                <c:pt idx="2923">
                  <c:v>44207</c:v>
                </c:pt>
                <c:pt idx="2924">
                  <c:v>44208</c:v>
                </c:pt>
                <c:pt idx="2925">
                  <c:v>44209</c:v>
                </c:pt>
                <c:pt idx="2926">
                  <c:v>44210</c:v>
                </c:pt>
                <c:pt idx="2927">
                  <c:v>44211</c:v>
                </c:pt>
                <c:pt idx="2928">
                  <c:v>44214</c:v>
                </c:pt>
                <c:pt idx="2929">
                  <c:v>44215</c:v>
                </c:pt>
                <c:pt idx="2930">
                  <c:v>44216</c:v>
                </c:pt>
                <c:pt idx="2931">
                  <c:v>44217</c:v>
                </c:pt>
                <c:pt idx="2932">
                  <c:v>44218</c:v>
                </c:pt>
                <c:pt idx="2933">
                  <c:v>44221</c:v>
                </c:pt>
                <c:pt idx="2934">
                  <c:v>44222</c:v>
                </c:pt>
                <c:pt idx="2935">
                  <c:v>44223</c:v>
                </c:pt>
                <c:pt idx="2936">
                  <c:v>44224</c:v>
                </c:pt>
                <c:pt idx="2937">
                  <c:v>44225</c:v>
                </c:pt>
                <c:pt idx="2938">
                  <c:v>44228</c:v>
                </c:pt>
                <c:pt idx="2939">
                  <c:v>44229</c:v>
                </c:pt>
                <c:pt idx="2940">
                  <c:v>44230</c:v>
                </c:pt>
                <c:pt idx="2941">
                  <c:v>44231</c:v>
                </c:pt>
                <c:pt idx="2942">
                  <c:v>44232</c:v>
                </c:pt>
                <c:pt idx="2943">
                  <c:v>44235</c:v>
                </c:pt>
                <c:pt idx="2944">
                  <c:v>44236</c:v>
                </c:pt>
                <c:pt idx="2945">
                  <c:v>44237</c:v>
                </c:pt>
                <c:pt idx="2946">
                  <c:v>44245</c:v>
                </c:pt>
                <c:pt idx="2947">
                  <c:v>44246</c:v>
                </c:pt>
                <c:pt idx="2948">
                  <c:v>44249</c:v>
                </c:pt>
                <c:pt idx="2949">
                  <c:v>44250</c:v>
                </c:pt>
                <c:pt idx="2950">
                  <c:v>44251</c:v>
                </c:pt>
                <c:pt idx="2951">
                  <c:v>44252</c:v>
                </c:pt>
                <c:pt idx="2952">
                  <c:v>44253</c:v>
                </c:pt>
                <c:pt idx="2953">
                  <c:v>44256</c:v>
                </c:pt>
                <c:pt idx="2954">
                  <c:v>44257</c:v>
                </c:pt>
                <c:pt idx="2955">
                  <c:v>44258</c:v>
                </c:pt>
                <c:pt idx="2956">
                  <c:v>44259</c:v>
                </c:pt>
                <c:pt idx="2957">
                  <c:v>44260</c:v>
                </c:pt>
                <c:pt idx="2958">
                  <c:v>44263</c:v>
                </c:pt>
                <c:pt idx="2959">
                  <c:v>44264</c:v>
                </c:pt>
                <c:pt idx="2960">
                  <c:v>44265</c:v>
                </c:pt>
                <c:pt idx="2961">
                  <c:v>44266</c:v>
                </c:pt>
                <c:pt idx="2962">
                  <c:v>44267</c:v>
                </c:pt>
                <c:pt idx="2963">
                  <c:v>44270</c:v>
                </c:pt>
                <c:pt idx="2964">
                  <c:v>44271</c:v>
                </c:pt>
                <c:pt idx="2965">
                  <c:v>44272</c:v>
                </c:pt>
                <c:pt idx="2966">
                  <c:v>44273</c:v>
                </c:pt>
                <c:pt idx="2967">
                  <c:v>44274</c:v>
                </c:pt>
                <c:pt idx="2968">
                  <c:v>44277</c:v>
                </c:pt>
                <c:pt idx="2969">
                  <c:v>44278</c:v>
                </c:pt>
                <c:pt idx="2970">
                  <c:v>44279</c:v>
                </c:pt>
                <c:pt idx="2971">
                  <c:v>44280</c:v>
                </c:pt>
                <c:pt idx="2972">
                  <c:v>44281</c:v>
                </c:pt>
                <c:pt idx="2973">
                  <c:v>44284</c:v>
                </c:pt>
                <c:pt idx="2974">
                  <c:v>44285</c:v>
                </c:pt>
                <c:pt idx="2975">
                  <c:v>44286</c:v>
                </c:pt>
                <c:pt idx="2976">
                  <c:v>44287</c:v>
                </c:pt>
                <c:pt idx="2977">
                  <c:v>44288</c:v>
                </c:pt>
                <c:pt idx="2978">
                  <c:v>44292</c:v>
                </c:pt>
                <c:pt idx="2979">
                  <c:v>44293</c:v>
                </c:pt>
                <c:pt idx="2980">
                  <c:v>44294</c:v>
                </c:pt>
                <c:pt idx="2981">
                  <c:v>44295</c:v>
                </c:pt>
                <c:pt idx="2982">
                  <c:v>44298</c:v>
                </c:pt>
                <c:pt idx="2983">
                  <c:v>44299</c:v>
                </c:pt>
                <c:pt idx="2984">
                  <c:v>44300</c:v>
                </c:pt>
                <c:pt idx="2985">
                  <c:v>44301</c:v>
                </c:pt>
                <c:pt idx="2986">
                  <c:v>44302</c:v>
                </c:pt>
                <c:pt idx="2987">
                  <c:v>44305</c:v>
                </c:pt>
                <c:pt idx="2988">
                  <c:v>44306</c:v>
                </c:pt>
                <c:pt idx="2989">
                  <c:v>44307</c:v>
                </c:pt>
                <c:pt idx="2990">
                  <c:v>44308</c:v>
                </c:pt>
                <c:pt idx="2991">
                  <c:v>44309</c:v>
                </c:pt>
                <c:pt idx="2992">
                  <c:v>44312</c:v>
                </c:pt>
                <c:pt idx="2993">
                  <c:v>44313</c:v>
                </c:pt>
                <c:pt idx="2994">
                  <c:v>44314</c:v>
                </c:pt>
                <c:pt idx="2995">
                  <c:v>44315</c:v>
                </c:pt>
                <c:pt idx="2996">
                  <c:v>44316</c:v>
                </c:pt>
                <c:pt idx="2997">
                  <c:v>44322</c:v>
                </c:pt>
                <c:pt idx="2998">
                  <c:v>44323</c:v>
                </c:pt>
                <c:pt idx="2999">
                  <c:v>44326</c:v>
                </c:pt>
                <c:pt idx="3000">
                  <c:v>44327</c:v>
                </c:pt>
                <c:pt idx="3001">
                  <c:v>44328</c:v>
                </c:pt>
                <c:pt idx="3002">
                  <c:v>44329</c:v>
                </c:pt>
                <c:pt idx="3003">
                  <c:v>44330</c:v>
                </c:pt>
                <c:pt idx="3004">
                  <c:v>44333</c:v>
                </c:pt>
                <c:pt idx="3005">
                  <c:v>44334</c:v>
                </c:pt>
                <c:pt idx="3006">
                  <c:v>44335</c:v>
                </c:pt>
                <c:pt idx="3007">
                  <c:v>44336</c:v>
                </c:pt>
                <c:pt idx="3008">
                  <c:v>44337</c:v>
                </c:pt>
                <c:pt idx="3009">
                  <c:v>44340</c:v>
                </c:pt>
                <c:pt idx="3010">
                  <c:v>44341</c:v>
                </c:pt>
                <c:pt idx="3011">
                  <c:v>44342</c:v>
                </c:pt>
                <c:pt idx="3012">
                  <c:v>44343</c:v>
                </c:pt>
                <c:pt idx="3013">
                  <c:v>44344</c:v>
                </c:pt>
                <c:pt idx="3014">
                  <c:v>44347</c:v>
                </c:pt>
                <c:pt idx="3015">
                  <c:v>44348</c:v>
                </c:pt>
                <c:pt idx="3016">
                  <c:v>44349</c:v>
                </c:pt>
                <c:pt idx="3017">
                  <c:v>44350</c:v>
                </c:pt>
                <c:pt idx="3018">
                  <c:v>44351</c:v>
                </c:pt>
                <c:pt idx="3019">
                  <c:v>44354</c:v>
                </c:pt>
                <c:pt idx="3020">
                  <c:v>44355</c:v>
                </c:pt>
                <c:pt idx="3021">
                  <c:v>44356</c:v>
                </c:pt>
                <c:pt idx="3022">
                  <c:v>44357</c:v>
                </c:pt>
                <c:pt idx="3023">
                  <c:v>44358</c:v>
                </c:pt>
                <c:pt idx="3024">
                  <c:v>44362</c:v>
                </c:pt>
                <c:pt idx="3025">
                  <c:v>44363</c:v>
                </c:pt>
                <c:pt idx="3026">
                  <c:v>44364</c:v>
                </c:pt>
                <c:pt idx="3027">
                  <c:v>44365</c:v>
                </c:pt>
                <c:pt idx="3028">
                  <c:v>44368</c:v>
                </c:pt>
                <c:pt idx="3029">
                  <c:v>44369</c:v>
                </c:pt>
                <c:pt idx="3030">
                  <c:v>44370</c:v>
                </c:pt>
                <c:pt idx="3031">
                  <c:v>44371</c:v>
                </c:pt>
                <c:pt idx="3032">
                  <c:v>44372</c:v>
                </c:pt>
                <c:pt idx="3033">
                  <c:v>44375</c:v>
                </c:pt>
                <c:pt idx="3034">
                  <c:v>44376</c:v>
                </c:pt>
                <c:pt idx="3035">
                  <c:v>44377</c:v>
                </c:pt>
                <c:pt idx="3036">
                  <c:v>44378</c:v>
                </c:pt>
                <c:pt idx="3037">
                  <c:v>44379</c:v>
                </c:pt>
                <c:pt idx="3038">
                  <c:v>44382</c:v>
                </c:pt>
                <c:pt idx="3039">
                  <c:v>44383</c:v>
                </c:pt>
                <c:pt idx="3040">
                  <c:v>44384</c:v>
                </c:pt>
                <c:pt idx="3041">
                  <c:v>44385</c:v>
                </c:pt>
                <c:pt idx="3042">
                  <c:v>44386</c:v>
                </c:pt>
                <c:pt idx="3043">
                  <c:v>44389</c:v>
                </c:pt>
                <c:pt idx="3044">
                  <c:v>44390</c:v>
                </c:pt>
                <c:pt idx="3045">
                  <c:v>44391</c:v>
                </c:pt>
                <c:pt idx="3046">
                  <c:v>44392</c:v>
                </c:pt>
                <c:pt idx="3047">
                  <c:v>44393</c:v>
                </c:pt>
                <c:pt idx="3048">
                  <c:v>44396</c:v>
                </c:pt>
                <c:pt idx="3049">
                  <c:v>44397</c:v>
                </c:pt>
                <c:pt idx="3050">
                  <c:v>44398</c:v>
                </c:pt>
                <c:pt idx="3051">
                  <c:v>44399</c:v>
                </c:pt>
                <c:pt idx="3052">
                  <c:v>44400</c:v>
                </c:pt>
                <c:pt idx="3053">
                  <c:v>44403</c:v>
                </c:pt>
                <c:pt idx="3054">
                  <c:v>44404</c:v>
                </c:pt>
                <c:pt idx="3055">
                  <c:v>44405</c:v>
                </c:pt>
                <c:pt idx="3056">
                  <c:v>44406</c:v>
                </c:pt>
                <c:pt idx="3057">
                  <c:v>44407</c:v>
                </c:pt>
                <c:pt idx="3058">
                  <c:v>44410</c:v>
                </c:pt>
                <c:pt idx="3059">
                  <c:v>44411</c:v>
                </c:pt>
                <c:pt idx="3060">
                  <c:v>44412</c:v>
                </c:pt>
                <c:pt idx="3061">
                  <c:v>44413</c:v>
                </c:pt>
                <c:pt idx="3062">
                  <c:v>44414</c:v>
                </c:pt>
                <c:pt idx="3063">
                  <c:v>44417</c:v>
                </c:pt>
                <c:pt idx="3064">
                  <c:v>44418</c:v>
                </c:pt>
                <c:pt idx="3065">
                  <c:v>44419</c:v>
                </c:pt>
                <c:pt idx="3066">
                  <c:v>44420</c:v>
                </c:pt>
                <c:pt idx="3067">
                  <c:v>44421</c:v>
                </c:pt>
                <c:pt idx="3068">
                  <c:v>44424</c:v>
                </c:pt>
                <c:pt idx="3069">
                  <c:v>44425</c:v>
                </c:pt>
                <c:pt idx="3070">
                  <c:v>44426</c:v>
                </c:pt>
                <c:pt idx="3071">
                  <c:v>44427</c:v>
                </c:pt>
                <c:pt idx="3072">
                  <c:v>44428</c:v>
                </c:pt>
                <c:pt idx="3073">
                  <c:v>44431</c:v>
                </c:pt>
                <c:pt idx="3074">
                  <c:v>44432</c:v>
                </c:pt>
                <c:pt idx="3075">
                  <c:v>44433</c:v>
                </c:pt>
                <c:pt idx="3076">
                  <c:v>44434</c:v>
                </c:pt>
                <c:pt idx="3077">
                  <c:v>44435</c:v>
                </c:pt>
                <c:pt idx="3078">
                  <c:v>44438</c:v>
                </c:pt>
                <c:pt idx="3079">
                  <c:v>44439</c:v>
                </c:pt>
                <c:pt idx="3080">
                  <c:v>44440</c:v>
                </c:pt>
                <c:pt idx="3081">
                  <c:v>44441</c:v>
                </c:pt>
                <c:pt idx="3082">
                  <c:v>44442</c:v>
                </c:pt>
                <c:pt idx="3083">
                  <c:v>44445</c:v>
                </c:pt>
                <c:pt idx="3084">
                  <c:v>44446</c:v>
                </c:pt>
                <c:pt idx="3085">
                  <c:v>44447</c:v>
                </c:pt>
                <c:pt idx="3086">
                  <c:v>44448</c:v>
                </c:pt>
                <c:pt idx="3087">
                  <c:v>44449</c:v>
                </c:pt>
                <c:pt idx="3088">
                  <c:v>44452</c:v>
                </c:pt>
                <c:pt idx="3089">
                  <c:v>44453</c:v>
                </c:pt>
                <c:pt idx="3090">
                  <c:v>44454</c:v>
                </c:pt>
                <c:pt idx="3091">
                  <c:v>44455</c:v>
                </c:pt>
                <c:pt idx="3092">
                  <c:v>44456</c:v>
                </c:pt>
                <c:pt idx="3093">
                  <c:v>44461</c:v>
                </c:pt>
                <c:pt idx="3094">
                  <c:v>44462</c:v>
                </c:pt>
                <c:pt idx="3095">
                  <c:v>44463</c:v>
                </c:pt>
                <c:pt idx="3096">
                  <c:v>44466</c:v>
                </c:pt>
                <c:pt idx="3097">
                  <c:v>44467</c:v>
                </c:pt>
                <c:pt idx="3098">
                  <c:v>44468</c:v>
                </c:pt>
                <c:pt idx="3099">
                  <c:v>44469</c:v>
                </c:pt>
                <c:pt idx="3100">
                  <c:v>44477</c:v>
                </c:pt>
                <c:pt idx="3101">
                  <c:v>44480</c:v>
                </c:pt>
                <c:pt idx="3102">
                  <c:v>44481</c:v>
                </c:pt>
                <c:pt idx="3103">
                  <c:v>44482</c:v>
                </c:pt>
                <c:pt idx="3104">
                  <c:v>44483</c:v>
                </c:pt>
                <c:pt idx="3105">
                  <c:v>44484</c:v>
                </c:pt>
                <c:pt idx="3106">
                  <c:v>44487</c:v>
                </c:pt>
                <c:pt idx="3107">
                  <c:v>44488</c:v>
                </c:pt>
                <c:pt idx="3108">
                  <c:v>44489</c:v>
                </c:pt>
                <c:pt idx="3109">
                  <c:v>44490</c:v>
                </c:pt>
                <c:pt idx="3110">
                  <c:v>44491</c:v>
                </c:pt>
                <c:pt idx="3111">
                  <c:v>44494</c:v>
                </c:pt>
                <c:pt idx="3112">
                  <c:v>44495</c:v>
                </c:pt>
                <c:pt idx="3113">
                  <c:v>44496</c:v>
                </c:pt>
                <c:pt idx="3114">
                  <c:v>44497</c:v>
                </c:pt>
                <c:pt idx="3115">
                  <c:v>44498</c:v>
                </c:pt>
                <c:pt idx="3116">
                  <c:v>44501</c:v>
                </c:pt>
                <c:pt idx="3117">
                  <c:v>44502</c:v>
                </c:pt>
                <c:pt idx="3118">
                  <c:v>44503</c:v>
                </c:pt>
                <c:pt idx="3119">
                  <c:v>44504</c:v>
                </c:pt>
                <c:pt idx="3120">
                  <c:v>44505</c:v>
                </c:pt>
                <c:pt idx="3121">
                  <c:v>44508</c:v>
                </c:pt>
                <c:pt idx="3122">
                  <c:v>44509</c:v>
                </c:pt>
                <c:pt idx="3123">
                  <c:v>44510</c:v>
                </c:pt>
                <c:pt idx="3124">
                  <c:v>44511</c:v>
                </c:pt>
                <c:pt idx="3125">
                  <c:v>44512</c:v>
                </c:pt>
                <c:pt idx="3126">
                  <c:v>44515</c:v>
                </c:pt>
                <c:pt idx="3127">
                  <c:v>44516</c:v>
                </c:pt>
                <c:pt idx="3128">
                  <c:v>44517</c:v>
                </c:pt>
                <c:pt idx="3129">
                  <c:v>44518</c:v>
                </c:pt>
                <c:pt idx="3130">
                  <c:v>44519</c:v>
                </c:pt>
                <c:pt idx="3131">
                  <c:v>44522</c:v>
                </c:pt>
                <c:pt idx="3132">
                  <c:v>44523</c:v>
                </c:pt>
                <c:pt idx="3133">
                  <c:v>44524</c:v>
                </c:pt>
                <c:pt idx="3134">
                  <c:v>44525</c:v>
                </c:pt>
                <c:pt idx="3135">
                  <c:v>44526</c:v>
                </c:pt>
                <c:pt idx="3136">
                  <c:v>44529</c:v>
                </c:pt>
                <c:pt idx="3137">
                  <c:v>44530</c:v>
                </c:pt>
                <c:pt idx="3138">
                  <c:v>44531</c:v>
                </c:pt>
                <c:pt idx="3139">
                  <c:v>44532</c:v>
                </c:pt>
                <c:pt idx="3140">
                  <c:v>44533</c:v>
                </c:pt>
                <c:pt idx="3141">
                  <c:v>44536</c:v>
                </c:pt>
                <c:pt idx="3142">
                  <c:v>44537</c:v>
                </c:pt>
                <c:pt idx="3143">
                  <c:v>44538</c:v>
                </c:pt>
                <c:pt idx="3144">
                  <c:v>44539</c:v>
                </c:pt>
                <c:pt idx="3145">
                  <c:v>44540</c:v>
                </c:pt>
                <c:pt idx="3146">
                  <c:v>44543</c:v>
                </c:pt>
                <c:pt idx="3147">
                  <c:v>44544</c:v>
                </c:pt>
                <c:pt idx="3148">
                  <c:v>44545</c:v>
                </c:pt>
                <c:pt idx="3149">
                  <c:v>44546</c:v>
                </c:pt>
                <c:pt idx="3150">
                  <c:v>44547</c:v>
                </c:pt>
                <c:pt idx="3151">
                  <c:v>44550</c:v>
                </c:pt>
                <c:pt idx="3152">
                  <c:v>44551</c:v>
                </c:pt>
                <c:pt idx="3153">
                  <c:v>44552</c:v>
                </c:pt>
                <c:pt idx="3154">
                  <c:v>44553</c:v>
                </c:pt>
                <c:pt idx="3155">
                  <c:v>44554</c:v>
                </c:pt>
                <c:pt idx="3156">
                  <c:v>44557</c:v>
                </c:pt>
                <c:pt idx="3157">
                  <c:v>44558</c:v>
                </c:pt>
                <c:pt idx="3158">
                  <c:v>44559</c:v>
                </c:pt>
                <c:pt idx="3159">
                  <c:v>44560</c:v>
                </c:pt>
                <c:pt idx="3160">
                  <c:v>44561</c:v>
                </c:pt>
                <c:pt idx="3161">
                  <c:v>44565</c:v>
                </c:pt>
                <c:pt idx="3162">
                  <c:v>44566</c:v>
                </c:pt>
                <c:pt idx="3163">
                  <c:v>44567</c:v>
                </c:pt>
                <c:pt idx="3164">
                  <c:v>44568</c:v>
                </c:pt>
                <c:pt idx="3165">
                  <c:v>44571</c:v>
                </c:pt>
                <c:pt idx="3166">
                  <c:v>44572</c:v>
                </c:pt>
                <c:pt idx="3167">
                  <c:v>44573</c:v>
                </c:pt>
                <c:pt idx="3168">
                  <c:v>44574</c:v>
                </c:pt>
                <c:pt idx="3169">
                  <c:v>44575</c:v>
                </c:pt>
                <c:pt idx="3170">
                  <c:v>44578</c:v>
                </c:pt>
                <c:pt idx="3171">
                  <c:v>44579</c:v>
                </c:pt>
                <c:pt idx="3172">
                  <c:v>44580</c:v>
                </c:pt>
                <c:pt idx="3173">
                  <c:v>44581</c:v>
                </c:pt>
                <c:pt idx="3174">
                  <c:v>44582</c:v>
                </c:pt>
                <c:pt idx="3175">
                  <c:v>44585</c:v>
                </c:pt>
                <c:pt idx="3176">
                  <c:v>44586</c:v>
                </c:pt>
                <c:pt idx="3177">
                  <c:v>44587</c:v>
                </c:pt>
                <c:pt idx="3178">
                  <c:v>44588</c:v>
                </c:pt>
                <c:pt idx="3179">
                  <c:v>44589</c:v>
                </c:pt>
                <c:pt idx="3180">
                  <c:v>44599</c:v>
                </c:pt>
                <c:pt idx="3181">
                  <c:v>44600</c:v>
                </c:pt>
                <c:pt idx="3182">
                  <c:v>44601</c:v>
                </c:pt>
                <c:pt idx="3183">
                  <c:v>44602</c:v>
                </c:pt>
                <c:pt idx="3184">
                  <c:v>44603</c:v>
                </c:pt>
                <c:pt idx="3185">
                  <c:v>44606</c:v>
                </c:pt>
                <c:pt idx="3186">
                  <c:v>44607</c:v>
                </c:pt>
                <c:pt idx="3187">
                  <c:v>44608</c:v>
                </c:pt>
                <c:pt idx="3188">
                  <c:v>44609</c:v>
                </c:pt>
                <c:pt idx="3189">
                  <c:v>44610</c:v>
                </c:pt>
                <c:pt idx="3190">
                  <c:v>44613</c:v>
                </c:pt>
                <c:pt idx="3191">
                  <c:v>44614</c:v>
                </c:pt>
                <c:pt idx="3192">
                  <c:v>44615</c:v>
                </c:pt>
                <c:pt idx="3193">
                  <c:v>44616</c:v>
                </c:pt>
                <c:pt idx="3194">
                  <c:v>44617</c:v>
                </c:pt>
                <c:pt idx="3195">
                  <c:v>44620</c:v>
                </c:pt>
                <c:pt idx="3196">
                  <c:v>44621</c:v>
                </c:pt>
                <c:pt idx="3197">
                  <c:v>44622</c:v>
                </c:pt>
                <c:pt idx="3198">
                  <c:v>44623</c:v>
                </c:pt>
                <c:pt idx="3199">
                  <c:v>44624</c:v>
                </c:pt>
                <c:pt idx="3200">
                  <c:v>44627</c:v>
                </c:pt>
                <c:pt idx="3201">
                  <c:v>44628</c:v>
                </c:pt>
                <c:pt idx="3202">
                  <c:v>44629</c:v>
                </c:pt>
                <c:pt idx="3203">
                  <c:v>44630</c:v>
                </c:pt>
                <c:pt idx="3204">
                  <c:v>44631</c:v>
                </c:pt>
                <c:pt idx="3205">
                  <c:v>44634</c:v>
                </c:pt>
                <c:pt idx="3206">
                  <c:v>44635</c:v>
                </c:pt>
                <c:pt idx="3207">
                  <c:v>44636</c:v>
                </c:pt>
                <c:pt idx="3208">
                  <c:v>44637</c:v>
                </c:pt>
                <c:pt idx="3209">
                  <c:v>44638</c:v>
                </c:pt>
                <c:pt idx="3210">
                  <c:v>44641</c:v>
                </c:pt>
                <c:pt idx="3211">
                  <c:v>44642</c:v>
                </c:pt>
                <c:pt idx="3212">
                  <c:v>44643</c:v>
                </c:pt>
                <c:pt idx="3213">
                  <c:v>44644</c:v>
                </c:pt>
                <c:pt idx="3214">
                  <c:v>44645</c:v>
                </c:pt>
                <c:pt idx="3215">
                  <c:v>44648</c:v>
                </c:pt>
                <c:pt idx="3216">
                  <c:v>44649</c:v>
                </c:pt>
                <c:pt idx="3217">
                  <c:v>44650</c:v>
                </c:pt>
                <c:pt idx="3218">
                  <c:v>44651</c:v>
                </c:pt>
                <c:pt idx="3219">
                  <c:v>44652</c:v>
                </c:pt>
                <c:pt idx="3220">
                  <c:v>44657</c:v>
                </c:pt>
                <c:pt idx="3221">
                  <c:v>44658</c:v>
                </c:pt>
                <c:pt idx="3222">
                  <c:v>44659</c:v>
                </c:pt>
              </c:numCache>
            </c:numRef>
          </c:cat>
          <c:val>
            <c:numRef>
              <c:f>indicators!$G$2:$G$3224</c:f>
              <c:numCache>
                <c:formatCode>General</c:formatCode>
                <c:ptCount val="3223"/>
                <c:pt idx="0">
                  <c:v>1882.96</c:v>
                </c:pt>
                <c:pt idx="1">
                  <c:v>1942.8</c:v>
                </c:pt>
                <c:pt idx="2">
                  <c:v>1931.18</c:v>
                </c:pt>
                <c:pt idx="3">
                  <c:v>1887.99</c:v>
                </c:pt>
                <c:pt idx="4">
                  <c:v>1918.37</c:v>
                </c:pt>
                <c:pt idx="5">
                  <c:v>1920.69</c:v>
                </c:pt>
                <c:pt idx="6">
                  <c:v>1876.19</c:v>
                </c:pt>
                <c:pt idx="7">
                  <c:v>1955.24</c:v>
                </c:pt>
                <c:pt idx="8">
                  <c:v>1954.87</c:v>
                </c:pt>
                <c:pt idx="9">
                  <c:v>1990.21</c:v>
                </c:pt>
                <c:pt idx="10">
                  <c:v>2012.47</c:v>
                </c:pt>
                <c:pt idx="11">
                  <c:v>2025.19</c:v>
                </c:pt>
                <c:pt idx="12">
                  <c:v>2021.71</c:v>
                </c:pt>
                <c:pt idx="13">
                  <c:v>2044.55</c:v>
                </c:pt>
                <c:pt idx="14">
                  <c:v>2032.68</c:v>
                </c:pt>
                <c:pt idx="15">
                  <c:v>2057.06</c:v>
                </c:pt>
                <c:pt idx="16">
                  <c:v>2108.91</c:v>
                </c:pt>
                <c:pt idx="17">
                  <c:v>2166.41</c:v>
                </c:pt>
                <c:pt idx="18">
                  <c:v>2150.9699999999998</c:v>
                </c:pt>
                <c:pt idx="19">
                  <c:v>2237.2800000000002</c:v>
                </c:pt>
                <c:pt idx="20">
                  <c:v>2296.67</c:v>
                </c:pt>
                <c:pt idx="21">
                  <c:v>2326.7600000000002</c:v>
                </c:pt>
                <c:pt idx="22">
                  <c:v>2331.14</c:v>
                </c:pt>
                <c:pt idx="23">
                  <c:v>2318.34</c:v>
                </c:pt>
                <c:pt idx="24">
                  <c:v>2399.0700000000002</c:v>
                </c:pt>
                <c:pt idx="25">
                  <c:v>2462.25</c:v>
                </c:pt>
                <c:pt idx="26">
                  <c:v>2385.29</c:v>
                </c:pt>
                <c:pt idx="27">
                  <c:v>2275.84</c:v>
                </c:pt>
                <c:pt idx="28">
                  <c:v>2298.41</c:v>
                </c:pt>
                <c:pt idx="29">
                  <c:v>2344.3200000000002</c:v>
                </c:pt>
                <c:pt idx="30">
                  <c:v>2410.48</c:v>
                </c:pt>
                <c:pt idx="31">
                  <c:v>2301.85</c:v>
                </c:pt>
                <c:pt idx="32">
                  <c:v>2304.25</c:v>
                </c:pt>
                <c:pt idx="33">
                  <c:v>2190.19</c:v>
                </c:pt>
                <c:pt idx="34">
                  <c:v>2140.4899999999998</c:v>
                </c:pt>
                <c:pt idx="35">
                  <c:v>2164.67</c:v>
                </c:pt>
                <c:pt idx="36">
                  <c:v>2142.15</c:v>
                </c:pt>
                <c:pt idx="37">
                  <c:v>2285.15</c:v>
                </c:pt>
                <c:pt idx="38">
                  <c:v>2304.92</c:v>
                </c:pt>
                <c:pt idx="39">
                  <c:v>2286.58</c:v>
                </c:pt>
                <c:pt idx="40">
                  <c:v>2202.5300000000002</c:v>
                </c:pt>
                <c:pt idx="41">
                  <c:v>2240.7800000000002</c:v>
                </c:pt>
                <c:pt idx="42">
                  <c:v>2220.38</c:v>
                </c:pt>
                <c:pt idx="43">
                  <c:v>2215.6999999999998</c:v>
                </c:pt>
                <c:pt idx="44">
                  <c:v>2205.42</c:v>
                </c:pt>
                <c:pt idx="45">
                  <c:v>2241.61</c:v>
                </c:pt>
                <c:pt idx="46">
                  <c:v>2322.4</c:v>
                </c:pt>
                <c:pt idx="47">
                  <c:v>2332.65</c:v>
                </c:pt>
                <c:pt idx="48">
                  <c:v>2382.56</c:v>
                </c:pt>
                <c:pt idx="49">
                  <c:v>2379.84</c:v>
                </c:pt>
                <c:pt idx="50">
                  <c:v>2439.4</c:v>
                </c:pt>
                <c:pt idx="51">
                  <c:v>2451.7800000000002</c:v>
                </c:pt>
                <c:pt idx="52">
                  <c:v>2401.33</c:v>
                </c:pt>
                <c:pt idx="53">
                  <c:v>2479.79</c:v>
                </c:pt>
                <c:pt idx="54">
                  <c:v>2498.9299999999998</c:v>
                </c:pt>
                <c:pt idx="55">
                  <c:v>2484.4899999999998</c:v>
                </c:pt>
                <c:pt idx="56">
                  <c:v>2507.79</c:v>
                </c:pt>
                <c:pt idx="57">
                  <c:v>2548.2199999999998</c:v>
                </c:pt>
                <c:pt idx="58">
                  <c:v>2576.4</c:v>
                </c:pt>
                <c:pt idx="59">
                  <c:v>2570.5</c:v>
                </c:pt>
                <c:pt idx="60">
                  <c:v>2576.9499999999998</c:v>
                </c:pt>
                <c:pt idx="61">
                  <c:v>2479.35</c:v>
                </c:pt>
                <c:pt idx="62">
                  <c:v>2517.67</c:v>
                </c:pt>
                <c:pt idx="63">
                  <c:v>2595.5300000000002</c:v>
                </c:pt>
                <c:pt idx="64">
                  <c:v>2656.52</c:v>
                </c:pt>
                <c:pt idx="65">
                  <c:v>2676.87</c:v>
                </c:pt>
                <c:pt idx="66">
                  <c:v>2686.99</c:v>
                </c:pt>
                <c:pt idx="67">
                  <c:v>2687.11</c:v>
                </c:pt>
                <c:pt idx="68">
                  <c:v>2650.69</c:v>
                </c:pt>
                <c:pt idx="69">
                  <c:v>2707.67</c:v>
                </c:pt>
                <c:pt idx="70">
                  <c:v>2675.44</c:v>
                </c:pt>
                <c:pt idx="71">
                  <c:v>2576.2800000000002</c:v>
                </c:pt>
                <c:pt idx="72">
                  <c:v>2593.56</c:v>
                </c:pt>
                <c:pt idx="73">
                  <c:v>2572.89</c:v>
                </c:pt>
                <c:pt idx="74">
                  <c:v>2513.29</c:v>
                </c:pt>
                <c:pt idx="75">
                  <c:v>2518.5300000000002</c:v>
                </c:pt>
                <c:pt idx="76">
                  <c:v>2605.37</c:v>
                </c:pt>
                <c:pt idx="77">
                  <c:v>2622.93</c:v>
                </c:pt>
                <c:pt idx="78">
                  <c:v>2714.3</c:v>
                </c:pt>
                <c:pt idx="79">
                  <c:v>2727.01</c:v>
                </c:pt>
                <c:pt idx="80">
                  <c:v>2764.98</c:v>
                </c:pt>
                <c:pt idx="81">
                  <c:v>2767.08</c:v>
                </c:pt>
                <c:pt idx="82">
                  <c:v>2789.22</c:v>
                </c:pt>
                <c:pt idx="83">
                  <c:v>2725.32</c:v>
                </c:pt>
                <c:pt idx="84">
                  <c:v>2788.56</c:v>
                </c:pt>
                <c:pt idx="85">
                  <c:v>2814.01</c:v>
                </c:pt>
                <c:pt idx="86">
                  <c:v>2792.6</c:v>
                </c:pt>
                <c:pt idx="87">
                  <c:v>2796.12</c:v>
                </c:pt>
                <c:pt idx="88">
                  <c:v>2810.57</c:v>
                </c:pt>
                <c:pt idx="89">
                  <c:v>2840.08</c:v>
                </c:pt>
                <c:pt idx="90">
                  <c:v>2812.87</c:v>
                </c:pt>
                <c:pt idx="91">
                  <c:v>2750.01</c:v>
                </c:pt>
                <c:pt idx="92">
                  <c:v>2740.68</c:v>
                </c:pt>
                <c:pt idx="93">
                  <c:v>2752.72</c:v>
                </c:pt>
                <c:pt idx="94">
                  <c:v>2719.76</c:v>
                </c:pt>
                <c:pt idx="95">
                  <c:v>2759.71</c:v>
                </c:pt>
                <c:pt idx="96">
                  <c:v>2858.34</c:v>
                </c:pt>
                <c:pt idx="97">
                  <c:v>2865.1</c:v>
                </c:pt>
                <c:pt idx="98">
                  <c:v>2939.39</c:v>
                </c:pt>
                <c:pt idx="99">
                  <c:v>2953.75</c:v>
                </c:pt>
                <c:pt idx="100">
                  <c:v>2939.31</c:v>
                </c:pt>
                <c:pt idx="101">
                  <c:v>2948.48</c:v>
                </c:pt>
                <c:pt idx="102">
                  <c:v>2960.56</c:v>
                </c:pt>
                <c:pt idx="103">
                  <c:v>2989.6</c:v>
                </c:pt>
                <c:pt idx="104">
                  <c:v>2961.63</c:v>
                </c:pt>
                <c:pt idx="105">
                  <c:v>2906.29</c:v>
                </c:pt>
                <c:pt idx="106">
                  <c:v>2966.19</c:v>
                </c:pt>
                <c:pt idx="107">
                  <c:v>2961.22</c:v>
                </c:pt>
                <c:pt idx="108">
                  <c:v>3010.59</c:v>
                </c:pt>
                <c:pt idx="109">
                  <c:v>3057.43</c:v>
                </c:pt>
                <c:pt idx="110">
                  <c:v>3080</c:v>
                </c:pt>
                <c:pt idx="111">
                  <c:v>3082.56</c:v>
                </c:pt>
                <c:pt idx="112">
                  <c:v>3083.9</c:v>
                </c:pt>
                <c:pt idx="113">
                  <c:v>3120.73</c:v>
                </c:pt>
                <c:pt idx="114">
                  <c:v>3117.92</c:v>
                </c:pt>
                <c:pt idx="115">
                  <c:v>3128.42</c:v>
                </c:pt>
                <c:pt idx="116">
                  <c:v>3179.97</c:v>
                </c:pt>
                <c:pt idx="117">
                  <c:v>3166.47</c:v>
                </c:pt>
                <c:pt idx="118">
                  <c:v>3237.9</c:v>
                </c:pt>
                <c:pt idx="119">
                  <c:v>3282.36</c:v>
                </c:pt>
                <c:pt idx="120">
                  <c:v>3327.14</c:v>
                </c:pt>
                <c:pt idx="121">
                  <c:v>3374.75</c:v>
                </c:pt>
                <c:pt idx="122">
                  <c:v>3340.49</c:v>
                </c:pt>
                <c:pt idx="123">
                  <c:v>3352.27</c:v>
                </c:pt>
                <c:pt idx="124">
                  <c:v>3396.3</c:v>
                </c:pt>
                <c:pt idx="125">
                  <c:v>3398.31</c:v>
                </c:pt>
                <c:pt idx="126">
                  <c:v>3361.01</c:v>
                </c:pt>
                <c:pt idx="127">
                  <c:v>3454.75</c:v>
                </c:pt>
                <c:pt idx="128">
                  <c:v>3493.31</c:v>
                </c:pt>
                <c:pt idx="129">
                  <c:v>3501.24</c:v>
                </c:pt>
                <c:pt idx="130">
                  <c:v>3519.81</c:v>
                </c:pt>
                <c:pt idx="131">
                  <c:v>3591.12</c:v>
                </c:pt>
                <c:pt idx="132">
                  <c:v>3539.83</c:v>
                </c:pt>
                <c:pt idx="133">
                  <c:v>3606.92</c:v>
                </c:pt>
                <c:pt idx="134">
                  <c:v>3651.97</c:v>
                </c:pt>
                <c:pt idx="135">
                  <c:v>3667.56</c:v>
                </c:pt>
                <c:pt idx="136">
                  <c:v>3743.63</c:v>
                </c:pt>
                <c:pt idx="137">
                  <c:v>3755.82</c:v>
                </c:pt>
                <c:pt idx="138">
                  <c:v>3558.51</c:v>
                </c:pt>
                <c:pt idx="139">
                  <c:v>3634.82</c:v>
                </c:pt>
                <c:pt idx="140">
                  <c:v>3734.62</c:v>
                </c:pt>
                <c:pt idx="141">
                  <c:v>3787.03</c:v>
                </c:pt>
                <c:pt idx="142">
                  <c:v>3786.62</c:v>
                </c:pt>
                <c:pt idx="143">
                  <c:v>3740.94</c:v>
                </c:pt>
                <c:pt idx="144">
                  <c:v>3663.12</c:v>
                </c:pt>
                <c:pt idx="145">
                  <c:v>3555.1</c:v>
                </c:pt>
                <c:pt idx="146">
                  <c:v>3544.54</c:v>
                </c:pt>
                <c:pt idx="147">
                  <c:v>3556.38</c:v>
                </c:pt>
                <c:pt idx="148">
                  <c:v>3397.4</c:v>
                </c:pt>
                <c:pt idx="149">
                  <c:v>3440.82</c:v>
                </c:pt>
                <c:pt idx="150">
                  <c:v>3344.46</c:v>
                </c:pt>
                <c:pt idx="151">
                  <c:v>3140.27</c:v>
                </c:pt>
                <c:pt idx="152">
                  <c:v>3171.99</c:v>
                </c:pt>
                <c:pt idx="153">
                  <c:v>3014.57</c:v>
                </c:pt>
                <c:pt idx="154">
                  <c:v>3144.39</c:v>
                </c:pt>
                <c:pt idx="155">
                  <c:v>3203.62</c:v>
                </c:pt>
                <c:pt idx="156">
                  <c:v>3229.6</c:v>
                </c:pt>
                <c:pt idx="157">
                  <c:v>3109.83</c:v>
                </c:pt>
                <c:pt idx="158">
                  <c:v>3172.39</c:v>
                </c:pt>
                <c:pt idx="159">
                  <c:v>3156.3</c:v>
                </c:pt>
                <c:pt idx="160">
                  <c:v>3046.78</c:v>
                </c:pt>
                <c:pt idx="161">
                  <c:v>2830.27</c:v>
                </c:pt>
                <c:pt idx="162">
                  <c:v>2843.7</c:v>
                </c:pt>
                <c:pt idx="163">
                  <c:v>2890.93</c:v>
                </c:pt>
                <c:pt idx="164">
                  <c:v>3051.96</c:v>
                </c:pt>
                <c:pt idx="165">
                  <c:v>3077.14</c:v>
                </c:pt>
                <c:pt idx="166">
                  <c:v>3104.21</c:v>
                </c:pt>
                <c:pt idx="167">
                  <c:v>3170.97</c:v>
                </c:pt>
                <c:pt idx="168">
                  <c:v>3194.91</c:v>
                </c:pt>
                <c:pt idx="169">
                  <c:v>3162.91</c:v>
                </c:pt>
                <c:pt idx="170">
                  <c:v>3238.13</c:v>
                </c:pt>
                <c:pt idx="171">
                  <c:v>3293.39</c:v>
                </c:pt>
                <c:pt idx="172">
                  <c:v>3302.64</c:v>
                </c:pt>
                <c:pt idx="173">
                  <c:v>3258.24</c:v>
                </c:pt>
                <c:pt idx="174">
                  <c:v>3320.1</c:v>
                </c:pt>
                <c:pt idx="175">
                  <c:v>3199.69</c:v>
                </c:pt>
                <c:pt idx="176">
                  <c:v>3208.6</c:v>
                </c:pt>
                <c:pt idx="177">
                  <c:v>3131.03</c:v>
                </c:pt>
                <c:pt idx="178">
                  <c:v>3060.07</c:v>
                </c:pt>
                <c:pt idx="179">
                  <c:v>3080.93</c:v>
                </c:pt>
                <c:pt idx="180">
                  <c:v>3058.53</c:v>
                </c:pt>
                <c:pt idx="181">
                  <c:v>2972.64</c:v>
                </c:pt>
                <c:pt idx="182">
                  <c:v>2972.29</c:v>
                </c:pt>
                <c:pt idx="183">
                  <c:v>3004.81</c:v>
                </c:pt>
                <c:pt idx="184">
                  <c:v>3163.71</c:v>
                </c:pt>
                <c:pt idx="185">
                  <c:v>3151.63</c:v>
                </c:pt>
                <c:pt idx="186">
                  <c:v>3198.52</c:v>
                </c:pt>
                <c:pt idx="187">
                  <c:v>3227.4</c:v>
                </c:pt>
                <c:pt idx="188">
                  <c:v>3239.64</c:v>
                </c:pt>
                <c:pt idx="189">
                  <c:v>3241.71</c:v>
                </c:pt>
                <c:pt idx="190">
                  <c:v>3329.16</c:v>
                </c:pt>
                <c:pt idx="191">
                  <c:v>3377.57</c:v>
                </c:pt>
                <c:pt idx="192">
                  <c:v>3369.29</c:v>
                </c:pt>
                <c:pt idx="193">
                  <c:v>3347.32</c:v>
                </c:pt>
                <c:pt idx="194">
                  <c:v>3413.25</c:v>
                </c:pt>
                <c:pt idx="195">
                  <c:v>3414.24</c:v>
                </c:pt>
                <c:pt idx="196">
                  <c:v>3314.72</c:v>
                </c:pt>
                <c:pt idx="197">
                  <c:v>3329.33</c:v>
                </c:pt>
                <c:pt idx="198">
                  <c:v>3247.05</c:v>
                </c:pt>
                <c:pt idx="199">
                  <c:v>3280.37</c:v>
                </c:pt>
                <c:pt idx="200">
                  <c:v>3392.8</c:v>
                </c:pt>
                <c:pt idx="201">
                  <c:v>3435.43</c:v>
                </c:pt>
                <c:pt idx="202">
                  <c:v>3453.89</c:v>
                </c:pt>
                <c:pt idx="203">
                  <c:v>3464.32</c:v>
                </c:pt>
                <c:pt idx="204">
                  <c:v>3483.02</c:v>
                </c:pt>
                <c:pt idx="205">
                  <c:v>3495.79</c:v>
                </c:pt>
                <c:pt idx="206">
                  <c:v>3503.78</c:v>
                </c:pt>
                <c:pt idx="207">
                  <c:v>3495.67</c:v>
                </c:pt>
                <c:pt idx="208">
                  <c:v>3499.99</c:v>
                </c:pt>
                <c:pt idx="209">
                  <c:v>3518.72</c:v>
                </c:pt>
                <c:pt idx="210">
                  <c:v>3625.8</c:v>
                </c:pt>
                <c:pt idx="211">
                  <c:v>3628.35</c:v>
                </c:pt>
                <c:pt idx="212">
                  <c:v>3630.23</c:v>
                </c:pt>
                <c:pt idx="213">
                  <c:v>3642.44</c:v>
                </c:pt>
                <c:pt idx="214">
                  <c:v>3631.01</c:v>
                </c:pt>
                <c:pt idx="215">
                  <c:v>3665.51</c:v>
                </c:pt>
                <c:pt idx="216">
                  <c:v>3548.08</c:v>
                </c:pt>
                <c:pt idx="217">
                  <c:v>3629.63</c:v>
                </c:pt>
                <c:pt idx="218">
                  <c:v>3485.77</c:v>
                </c:pt>
                <c:pt idx="219">
                  <c:v>3382.51</c:v>
                </c:pt>
                <c:pt idx="220">
                  <c:v>3511.67</c:v>
                </c:pt>
                <c:pt idx="221">
                  <c:v>3560.83</c:v>
                </c:pt>
                <c:pt idx="222">
                  <c:v>3597.33</c:v>
                </c:pt>
                <c:pt idx="223">
                  <c:v>3590.88</c:v>
                </c:pt>
                <c:pt idx="224">
                  <c:v>3643.49</c:v>
                </c:pt>
                <c:pt idx="225">
                  <c:v>3668.83</c:v>
                </c:pt>
                <c:pt idx="226">
                  <c:v>3624.02</c:v>
                </c:pt>
                <c:pt idx="227">
                  <c:v>3554.48</c:v>
                </c:pt>
                <c:pt idx="228">
                  <c:v>3577.24</c:v>
                </c:pt>
                <c:pt idx="229">
                  <c:v>3575.02</c:v>
                </c:pt>
                <c:pt idx="230">
                  <c:v>3612.75</c:v>
                </c:pt>
                <c:pt idx="231">
                  <c:v>3583.34</c:v>
                </c:pt>
                <c:pt idx="232">
                  <c:v>3560.72</c:v>
                </c:pt>
                <c:pt idx="233">
                  <c:v>3480.15</c:v>
                </c:pt>
                <c:pt idx="234">
                  <c:v>3391.74</c:v>
                </c:pt>
                <c:pt idx="235">
                  <c:v>3396.62</c:v>
                </c:pt>
                <c:pt idx="236">
                  <c:v>3305.54</c:v>
                </c:pt>
                <c:pt idx="237">
                  <c:v>3336.48</c:v>
                </c:pt>
                <c:pt idx="238">
                  <c:v>3438.82</c:v>
                </c:pt>
                <c:pt idx="239">
                  <c:v>3424.78</c:v>
                </c:pt>
                <c:pt idx="240">
                  <c:v>3478.43</c:v>
                </c:pt>
                <c:pt idx="241">
                  <c:v>3500.74</c:v>
                </c:pt>
                <c:pt idx="242">
                  <c:v>3558.86</c:v>
                </c:pt>
                <c:pt idx="243">
                  <c:v>3575.68</c:v>
                </c:pt>
                <c:pt idx="244">
                  <c:v>3535.23</c:v>
                </c:pt>
                <c:pt idx="245">
                  <c:v>3564.04</c:v>
                </c:pt>
                <c:pt idx="246">
                  <c:v>3541.73</c:v>
                </c:pt>
                <c:pt idx="247">
                  <c:v>3471.46</c:v>
                </c:pt>
                <c:pt idx="248">
                  <c:v>3480.13</c:v>
                </c:pt>
                <c:pt idx="249">
                  <c:v>3482.05</c:v>
                </c:pt>
                <c:pt idx="250">
                  <c:v>3534.92</c:v>
                </c:pt>
                <c:pt idx="251">
                  <c:v>3421.14</c:v>
                </c:pt>
                <c:pt idx="252">
                  <c:v>3469.05</c:v>
                </c:pt>
                <c:pt idx="253">
                  <c:v>3482.74</c:v>
                </c:pt>
                <c:pt idx="254">
                  <c:v>3500.68</c:v>
                </c:pt>
                <c:pt idx="255">
                  <c:v>3507.48</c:v>
                </c:pt>
                <c:pt idx="256">
                  <c:v>3394.43</c:v>
                </c:pt>
                <c:pt idx="257">
                  <c:v>3408.57</c:v>
                </c:pt>
                <c:pt idx="258">
                  <c:v>3366.2</c:v>
                </c:pt>
                <c:pt idx="259">
                  <c:v>3328.01</c:v>
                </c:pt>
                <c:pt idx="260">
                  <c:v>3242.8</c:v>
                </c:pt>
                <c:pt idx="261">
                  <c:v>3198.57</c:v>
                </c:pt>
                <c:pt idx="262">
                  <c:v>3206.57</c:v>
                </c:pt>
                <c:pt idx="263">
                  <c:v>3204.16</c:v>
                </c:pt>
                <c:pt idx="264">
                  <c:v>3152.71</c:v>
                </c:pt>
                <c:pt idx="265">
                  <c:v>3146.19</c:v>
                </c:pt>
                <c:pt idx="266">
                  <c:v>3230.72</c:v>
                </c:pt>
                <c:pt idx="267">
                  <c:v>3218.8</c:v>
                </c:pt>
                <c:pt idx="268">
                  <c:v>3153.09</c:v>
                </c:pt>
                <c:pt idx="269">
                  <c:v>3150.99</c:v>
                </c:pt>
                <c:pt idx="270">
                  <c:v>3169.19</c:v>
                </c:pt>
                <c:pt idx="271">
                  <c:v>3214.13</c:v>
                </c:pt>
                <c:pt idx="272">
                  <c:v>3220.4</c:v>
                </c:pt>
                <c:pt idx="273">
                  <c:v>3251.28</c:v>
                </c:pt>
                <c:pt idx="274">
                  <c:v>3233.35</c:v>
                </c:pt>
                <c:pt idx="275">
                  <c:v>3198.63</c:v>
                </c:pt>
                <c:pt idx="276">
                  <c:v>3244.48</c:v>
                </c:pt>
                <c:pt idx="277">
                  <c:v>3292.13</c:v>
                </c:pt>
                <c:pt idx="278">
                  <c:v>3281.67</c:v>
                </c:pt>
                <c:pt idx="279">
                  <c:v>3324.42</c:v>
                </c:pt>
                <c:pt idx="280">
                  <c:v>3311.24</c:v>
                </c:pt>
                <c:pt idx="281">
                  <c:v>3335.08</c:v>
                </c:pt>
                <c:pt idx="282">
                  <c:v>3250.57</c:v>
                </c:pt>
                <c:pt idx="283">
                  <c:v>3259.76</c:v>
                </c:pt>
                <c:pt idx="284">
                  <c:v>3286.18</c:v>
                </c:pt>
                <c:pt idx="285">
                  <c:v>3305.86</c:v>
                </c:pt>
                <c:pt idx="286">
                  <c:v>3279.69</c:v>
                </c:pt>
                <c:pt idx="287">
                  <c:v>3276.71</c:v>
                </c:pt>
                <c:pt idx="288">
                  <c:v>3233.13</c:v>
                </c:pt>
                <c:pt idx="289">
                  <c:v>3183.18</c:v>
                </c:pt>
                <c:pt idx="290">
                  <c:v>3203.97</c:v>
                </c:pt>
                <c:pt idx="291">
                  <c:v>3273.92</c:v>
                </c:pt>
                <c:pt idx="292">
                  <c:v>3267.56</c:v>
                </c:pt>
                <c:pt idx="293">
                  <c:v>3293.87</c:v>
                </c:pt>
                <c:pt idx="294">
                  <c:v>3302.63</c:v>
                </c:pt>
                <c:pt idx="295">
                  <c:v>3275.57</c:v>
                </c:pt>
                <c:pt idx="296">
                  <c:v>3276.67</c:v>
                </c:pt>
                <c:pt idx="297">
                  <c:v>3229.13</c:v>
                </c:pt>
                <c:pt idx="298">
                  <c:v>3275</c:v>
                </c:pt>
                <c:pt idx="299">
                  <c:v>3358.54</c:v>
                </c:pt>
                <c:pt idx="300">
                  <c:v>3366.71</c:v>
                </c:pt>
                <c:pt idx="301">
                  <c:v>3345.61</c:v>
                </c:pt>
                <c:pt idx="302">
                  <c:v>3391.94</c:v>
                </c:pt>
                <c:pt idx="303">
                  <c:v>3407.35</c:v>
                </c:pt>
                <c:pt idx="304">
                  <c:v>3405.15</c:v>
                </c:pt>
                <c:pt idx="305">
                  <c:v>3386.95</c:v>
                </c:pt>
                <c:pt idx="306">
                  <c:v>3346.74</c:v>
                </c:pt>
                <c:pt idx="307">
                  <c:v>3379.17</c:v>
                </c:pt>
                <c:pt idx="308">
                  <c:v>3351.48</c:v>
                </c:pt>
                <c:pt idx="309">
                  <c:v>3391.72</c:v>
                </c:pt>
                <c:pt idx="310">
                  <c:v>3403.71</c:v>
                </c:pt>
                <c:pt idx="311">
                  <c:v>3394.57</c:v>
                </c:pt>
                <c:pt idx="312">
                  <c:v>3356.33</c:v>
                </c:pt>
                <c:pt idx="313">
                  <c:v>3176.42</c:v>
                </c:pt>
                <c:pt idx="314">
                  <c:v>3173.37</c:v>
                </c:pt>
                <c:pt idx="315">
                  <c:v>3236.68</c:v>
                </c:pt>
                <c:pt idx="316">
                  <c:v>3201.54</c:v>
                </c:pt>
                <c:pt idx="317">
                  <c:v>3190</c:v>
                </c:pt>
                <c:pt idx="318">
                  <c:v>3172</c:v>
                </c:pt>
                <c:pt idx="319">
                  <c:v>3108.41</c:v>
                </c:pt>
                <c:pt idx="320">
                  <c:v>3097.35</c:v>
                </c:pt>
                <c:pt idx="321">
                  <c:v>3060.06</c:v>
                </c:pt>
                <c:pt idx="322">
                  <c:v>3067.37</c:v>
                </c:pt>
                <c:pt idx="323">
                  <c:v>3019.45</c:v>
                </c:pt>
                <c:pt idx="324">
                  <c:v>3036.39</c:v>
                </c:pt>
                <c:pt idx="325">
                  <c:v>2896.86</c:v>
                </c:pt>
                <c:pt idx="326">
                  <c:v>2836.79</c:v>
                </c:pt>
                <c:pt idx="327">
                  <c:v>2858.23</c:v>
                </c:pt>
                <c:pt idx="328">
                  <c:v>2800.82</c:v>
                </c:pt>
                <c:pt idx="329">
                  <c:v>2818.16</c:v>
                </c:pt>
                <c:pt idx="330">
                  <c:v>2886.91</c:v>
                </c:pt>
                <c:pt idx="331">
                  <c:v>2868.02</c:v>
                </c:pt>
                <c:pt idx="332">
                  <c:v>2714.72</c:v>
                </c:pt>
                <c:pt idx="333">
                  <c:v>2771.35</c:v>
                </c:pt>
                <c:pt idx="334">
                  <c:v>2762.17</c:v>
                </c:pt>
                <c:pt idx="335">
                  <c:v>2726.02</c:v>
                </c:pt>
                <c:pt idx="336">
                  <c:v>2768.79</c:v>
                </c:pt>
                <c:pt idx="337">
                  <c:v>2873.47</c:v>
                </c:pt>
                <c:pt idx="338">
                  <c:v>2813.94</c:v>
                </c:pt>
                <c:pt idx="339">
                  <c:v>2813.94</c:v>
                </c:pt>
                <c:pt idx="340">
                  <c:v>2859.98</c:v>
                </c:pt>
                <c:pt idx="341">
                  <c:v>2850.3</c:v>
                </c:pt>
                <c:pt idx="342">
                  <c:v>2773.26</c:v>
                </c:pt>
                <c:pt idx="343">
                  <c:v>2744.16</c:v>
                </c:pt>
                <c:pt idx="344">
                  <c:v>2757.53</c:v>
                </c:pt>
                <c:pt idx="345">
                  <c:v>2736.08</c:v>
                </c:pt>
                <c:pt idx="346">
                  <c:v>2744.39</c:v>
                </c:pt>
                <c:pt idx="347">
                  <c:v>2695.72</c:v>
                </c:pt>
                <c:pt idx="348">
                  <c:v>2699.34</c:v>
                </c:pt>
                <c:pt idx="349">
                  <c:v>2782.13</c:v>
                </c:pt>
                <c:pt idx="350">
                  <c:v>2750.02</c:v>
                </c:pt>
                <c:pt idx="351">
                  <c:v>2758.87</c:v>
                </c:pt>
                <c:pt idx="352">
                  <c:v>2742.73</c:v>
                </c:pt>
                <c:pt idx="353">
                  <c:v>2696.17</c:v>
                </c:pt>
                <c:pt idx="354">
                  <c:v>2780.66</c:v>
                </c:pt>
                <c:pt idx="355">
                  <c:v>2783.72</c:v>
                </c:pt>
                <c:pt idx="356">
                  <c:v>2758.5</c:v>
                </c:pt>
                <c:pt idx="357">
                  <c:v>2757.5</c:v>
                </c:pt>
                <c:pt idx="358">
                  <c:v>2736.29</c:v>
                </c:pt>
                <c:pt idx="359">
                  <c:v>2716.78</c:v>
                </c:pt>
                <c:pt idx="360">
                  <c:v>2592.02</c:v>
                </c:pt>
                <c:pt idx="361">
                  <c:v>2563.0700000000002</c:v>
                </c:pt>
                <c:pt idx="362">
                  <c:v>2526.0700000000002</c:v>
                </c:pt>
                <c:pt idx="363">
                  <c:v>2534.11</c:v>
                </c:pt>
                <c:pt idx="364">
                  <c:v>2512.65</c:v>
                </c:pt>
                <c:pt idx="365">
                  <c:v>2562.9</c:v>
                </c:pt>
                <c:pt idx="366">
                  <c:v>2580.48</c:v>
                </c:pt>
                <c:pt idx="367">
                  <c:v>2575.92</c:v>
                </c:pt>
                <c:pt idx="368">
                  <c:v>2647.1</c:v>
                </c:pt>
                <c:pt idx="369">
                  <c:v>2676.22</c:v>
                </c:pt>
                <c:pt idx="370">
                  <c:v>2634.59</c:v>
                </c:pt>
                <c:pt idx="371">
                  <c:v>2653.61</c:v>
                </c:pt>
                <c:pt idx="372">
                  <c:v>2608.52</c:v>
                </c:pt>
                <c:pt idx="373">
                  <c:v>2616.13</c:v>
                </c:pt>
                <c:pt idx="374">
                  <c:v>2682.47</c:v>
                </c:pt>
                <c:pt idx="375">
                  <c:v>2741.5</c:v>
                </c:pt>
                <c:pt idx="376">
                  <c:v>2747.34</c:v>
                </c:pt>
                <c:pt idx="377">
                  <c:v>2781.29</c:v>
                </c:pt>
                <c:pt idx="378">
                  <c:v>2793.08</c:v>
                </c:pt>
                <c:pt idx="379">
                  <c:v>2811.06</c:v>
                </c:pt>
                <c:pt idx="380">
                  <c:v>2795.72</c:v>
                </c:pt>
                <c:pt idx="381">
                  <c:v>2863.72</c:v>
                </c:pt>
                <c:pt idx="382">
                  <c:v>2877.98</c:v>
                </c:pt>
                <c:pt idx="383">
                  <c:v>2868.85</c:v>
                </c:pt>
                <c:pt idx="384">
                  <c:v>2917.28</c:v>
                </c:pt>
                <c:pt idx="385">
                  <c:v>2865.97</c:v>
                </c:pt>
                <c:pt idx="386">
                  <c:v>2876.43</c:v>
                </c:pt>
                <c:pt idx="387">
                  <c:v>2850.83</c:v>
                </c:pt>
                <c:pt idx="388">
                  <c:v>2897.66</c:v>
                </c:pt>
                <c:pt idx="389">
                  <c:v>2918.24</c:v>
                </c:pt>
                <c:pt idx="390">
                  <c:v>2832.64</c:v>
                </c:pt>
                <c:pt idx="391">
                  <c:v>2850.21</c:v>
                </c:pt>
                <c:pt idx="392">
                  <c:v>2816.39</c:v>
                </c:pt>
                <c:pt idx="393">
                  <c:v>2855.55</c:v>
                </c:pt>
                <c:pt idx="394">
                  <c:v>2922.08</c:v>
                </c:pt>
                <c:pt idx="395">
                  <c:v>2942.29</c:v>
                </c:pt>
                <c:pt idx="396">
                  <c:v>2937.36</c:v>
                </c:pt>
                <c:pt idx="397">
                  <c:v>2955.4</c:v>
                </c:pt>
                <c:pt idx="398">
                  <c:v>2898.33</c:v>
                </c:pt>
                <c:pt idx="399">
                  <c:v>2896.19</c:v>
                </c:pt>
                <c:pt idx="400">
                  <c:v>2911.83</c:v>
                </c:pt>
                <c:pt idx="401">
                  <c:v>2843.02</c:v>
                </c:pt>
                <c:pt idx="402">
                  <c:v>2850.09</c:v>
                </c:pt>
                <c:pt idx="403">
                  <c:v>2858.57</c:v>
                </c:pt>
                <c:pt idx="404">
                  <c:v>2915.01</c:v>
                </c:pt>
                <c:pt idx="405">
                  <c:v>2903.19</c:v>
                </c:pt>
                <c:pt idx="406">
                  <c:v>2884.04</c:v>
                </c:pt>
                <c:pt idx="407">
                  <c:v>2921.39</c:v>
                </c:pt>
                <c:pt idx="408">
                  <c:v>2920.21</c:v>
                </c:pt>
                <c:pt idx="409">
                  <c:v>2975.09</c:v>
                </c:pt>
                <c:pt idx="410">
                  <c:v>2983.11</c:v>
                </c:pt>
                <c:pt idx="411">
                  <c:v>2980.97</c:v>
                </c:pt>
                <c:pt idx="412">
                  <c:v>2926.46</c:v>
                </c:pt>
                <c:pt idx="413">
                  <c:v>2932.55</c:v>
                </c:pt>
                <c:pt idx="414">
                  <c:v>2962.32</c:v>
                </c:pt>
                <c:pt idx="415">
                  <c:v>2965.01</c:v>
                </c:pt>
                <c:pt idx="416">
                  <c:v>2913.19</c:v>
                </c:pt>
                <c:pt idx="417">
                  <c:v>2857.79</c:v>
                </c:pt>
                <c:pt idx="418">
                  <c:v>2861.37</c:v>
                </c:pt>
                <c:pt idx="419">
                  <c:v>2849.83</c:v>
                </c:pt>
                <c:pt idx="420">
                  <c:v>2857.48</c:v>
                </c:pt>
                <c:pt idx="421">
                  <c:v>2905.03</c:v>
                </c:pt>
                <c:pt idx="422">
                  <c:v>2880.91</c:v>
                </c:pt>
                <c:pt idx="423">
                  <c:v>2874.81</c:v>
                </c:pt>
                <c:pt idx="424">
                  <c:v>2935.57</c:v>
                </c:pt>
                <c:pt idx="425">
                  <c:v>3044.23</c:v>
                </c:pt>
                <c:pt idx="426">
                  <c:v>3132.9</c:v>
                </c:pt>
                <c:pt idx="427">
                  <c:v>3172.73</c:v>
                </c:pt>
                <c:pt idx="428">
                  <c:v>3217.58</c:v>
                </c:pt>
                <c:pt idx="429">
                  <c:v>3224.14</c:v>
                </c:pt>
                <c:pt idx="430">
                  <c:v>3327.68</c:v>
                </c:pt>
                <c:pt idx="431">
                  <c:v>3306.16</c:v>
                </c:pt>
                <c:pt idx="432">
                  <c:v>3375.67</c:v>
                </c:pt>
                <c:pt idx="433">
                  <c:v>3396.88</c:v>
                </c:pt>
                <c:pt idx="434">
                  <c:v>3374.69</c:v>
                </c:pt>
                <c:pt idx="435">
                  <c:v>3378.66</c:v>
                </c:pt>
                <c:pt idx="436">
                  <c:v>3481.08</c:v>
                </c:pt>
                <c:pt idx="437">
                  <c:v>3466.08</c:v>
                </c:pt>
                <c:pt idx="438">
                  <c:v>3403.87</c:v>
                </c:pt>
                <c:pt idx="439">
                  <c:v>3397.69</c:v>
                </c:pt>
                <c:pt idx="440">
                  <c:v>3379.98</c:v>
                </c:pt>
                <c:pt idx="441">
                  <c:v>3473</c:v>
                </c:pt>
                <c:pt idx="442">
                  <c:v>3463.13</c:v>
                </c:pt>
                <c:pt idx="443">
                  <c:v>3420.34</c:v>
                </c:pt>
                <c:pt idx="444">
                  <c:v>3480.51</c:v>
                </c:pt>
                <c:pt idx="445">
                  <c:v>3520.8</c:v>
                </c:pt>
                <c:pt idx="446">
                  <c:v>3548.57</c:v>
                </c:pt>
                <c:pt idx="447">
                  <c:v>3523.95</c:v>
                </c:pt>
                <c:pt idx="448">
                  <c:v>3499.11</c:v>
                </c:pt>
                <c:pt idx="449">
                  <c:v>3509.98</c:v>
                </c:pt>
                <c:pt idx="450">
                  <c:v>3291.83</c:v>
                </c:pt>
                <c:pt idx="451">
                  <c:v>3314.89</c:v>
                </c:pt>
                <c:pt idx="452">
                  <c:v>3169.54</c:v>
                </c:pt>
                <c:pt idx="453">
                  <c:v>3103.91</c:v>
                </c:pt>
                <c:pt idx="454">
                  <c:v>3147.96</c:v>
                </c:pt>
                <c:pt idx="455">
                  <c:v>3178.85</c:v>
                </c:pt>
                <c:pt idx="456">
                  <c:v>3171.94</c:v>
                </c:pt>
                <c:pt idx="457">
                  <c:v>3107.18</c:v>
                </c:pt>
                <c:pt idx="458">
                  <c:v>3177.04</c:v>
                </c:pt>
                <c:pt idx="459">
                  <c:v>3223.48</c:v>
                </c:pt>
                <c:pt idx="460">
                  <c:v>3194.85</c:v>
                </c:pt>
                <c:pt idx="461">
                  <c:v>3190.05</c:v>
                </c:pt>
                <c:pt idx="462">
                  <c:v>3136.99</c:v>
                </c:pt>
                <c:pt idx="463">
                  <c:v>3136.02</c:v>
                </c:pt>
                <c:pt idx="464">
                  <c:v>3155.06</c:v>
                </c:pt>
                <c:pt idx="465">
                  <c:v>3158.16</c:v>
                </c:pt>
                <c:pt idx="466">
                  <c:v>3165.57</c:v>
                </c:pt>
                <c:pt idx="467">
                  <c:v>3200.34</c:v>
                </c:pt>
                <c:pt idx="468">
                  <c:v>3171.88</c:v>
                </c:pt>
                <c:pt idx="469">
                  <c:v>3123.37</c:v>
                </c:pt>
                <c:pt idx="470">
                  <c:v>3161.98</c:v>
                </c:pt>
                <c:pt idx="471">
                  <c:v>3261.06</c:v>
                </c:pt>
                <c:pt idx="472">
                  <c:v>3269.47</c:v>
                </c:pt>
                <c:pt idx="473">
                  <c:v>3247.64</c:v>
                </c:pt>
                <c:pt idx="474">
                  <c:v>3230.67</c:v>
                </c:pt>
                <c:pt idx="475">
                  <c:v>3225.66</c:v>
                </c:pt>
                <c:pt idx="476">
                  <c:v>3178.66</c:v>
                </c:pt>
                <c:pt idx="477">
                  <c:v>3249.51</c:v>
                </c:pt>
                <c:pt idx="478">
                  <c:v>3215.45</c:v>
                </c:pt>
                <c:pt idx="479">
                  <c:v>3188.61</c:v>
                </c:pt>
                <c:pt idx="480">
                  <c:v>3162.96</c:v>
                </c:pt>
                <c:pt idx="481">
                  <c:v>3099.71</c:v>
                </c:pt>
                <c:pt idx="482">
                  <c:v>3044.93</c:v>
                </c:pt>
                <c:pt idx="483">
                  <c:v>3061.83</c:v>
                </c:pt>
                <c:pt idx="484">
                  <c:v>3064.1</c:v>
                </c:pt>
                <c:pt idx="485">
                  <c:v>3128.26</c:v>
                </c:pt>
                <c:pt idx="486">
                  <c:v>3189.68</c:v>
                </c:pt>
                <c:pt idx="487">
                  <c:v>3175.66</c:v>
                </c:pt>
                <c:pt idx="488">
                  <c:v>3159.64</c:v>
                </c:pt>
                <c:pt idx="489">
                  <c:v>3166.62</c:v>
                </c:pt>
                <c:pt idx="490">
                  <c:v>3108.19</c:v>
                </c:pt>
                <c:pt idx="491">
                  <c:v>3124.92</c:v>
                </c:pt>
                <c:pt idx="492">
                  <c:v>3142.34</c:v>
                </c:pt>
                <c:pt idx="493">
                  <c:v>3141.28</c:v>
                </c:pt>
                <c:pt idx="494">
                  <c:v>3091.86</c:v>
                </c:pt>
                <c:pt idx="495">
                  <c:v>2974.35</c:v>
                </c:pt>
                <c:pt idx="496">
                  <c:v>2977.65</c:v>
                </c:pt>
                <c:pt idx="497">
                  <c:v>3044.85</c:v>
                </c:pt>
                <c:pt idx="498">
                  <c:v>2944.71</c:v>
                </c:pt>
                <c:pt idx="499">
                  <c:v>2983.46</c:v>
                </c:pt>
                <c:pt idx="500">
                  <c:v>2954.23</c:v>
                </c:pt>
                <c:pt idx="501">
                  <c:v>2938.65</c:v>
                </c:pt>
                <c:pt idx="502">
                  <c:v>2978.43</c:v>
                </c:pt>
                <c:pt idx="503">
                  <c:v>3026.47</c:v>
                </c:pt>
                <c:pt idx="504">
                  <c:v>3036.74</c:v>
                </c:pt>
                <c:pt idx="505">
                  <c:v>3076.51</c:v>
                </c:pt>
                <c:pt idx="506">
                  <c:v>3077.28</c:v>
                </c:pt>
                <c:pt idx="507">
                  <c:v>3040.95</c:v>
                </c:pt>
                <c:pt idx="508">
                  <c:v>3104.16</c:v>
                </c:pt>
                <c:pt idx="509">
                  <c:v>3120.96</c:v>
                </c:pt>
                <c:pt idx="510">
                  <c:v>3219.14</c:v>
                </c:pt>
                <c:pt idx="511">
                  <c:v>3217.67</c:v>
                </c:pt>
                <c:pt idx="512">
                  <c:v>3248.53</c:v>
                </c:pt>
                <c:pt idx="513">
                  <c:v>3245.91</c:v>
                </c:pt>
                <c:pt idx="514">
                  <c:v>3211.88</c:v>
                </c:pt>
                <c:pt idx="515">
                  <c:v>3257.91</c:v>
                </c:pt>
                <c:pt idx="516">
                  <c:v>3163.58</c:v>
                </c:pt>
                <c:pt idx="517">
                  <c:v>3174.74</c:v>
                </c:pt>
                <c:pt idx="518">
                  <c:v>3190.94</c:v>
                </c:pt>
                <c:pt idx="519">
                  <c:v>3197.62</c:v>
                </c:pt>
                <c:pt idx="520">
                  <c:v>3239.56</c:v>
                </c:pt>
                <c:pt idx="521">
                  <c:v>3254.89</c:v>
                </c:pt>
                <c:pt idx="522">
                  <c:v>3243.3</c:v>
                </c:pt>
                <c:pt idx="523">
                  <c:v>3221.72</c:v>
                </c:pt>
                <c:pt idx="524">
                  <c:v>3270.67</c:v>
                </c:pt>
                <c:pt idx="525">
                  <c:v>3334.51</c:v>
                </c:pt>
                <c:pt idx="526">
                  <c:v>3337.46</c:v>
                </c:pt>
                <c:pt idx="527">
                  <c:v>3338.86</c:v>
                </c:pt>
                <c:pt idx="528">
                  <c:v>3280.26</c:v>
                </c:pt>
                <c:pt idx="529">
                  <c:v>3247.38</c:v>
                </c:pt>
                <c:pt idx="530">
                  <c:v>3262.92</c:v>
                </c:pt>
                <c:pt idx="531">
                  <c:v>3203.96</c:v>
                </c:pt>
                <c:pt idx="532">
                  <c:v>3248.2</c:v>
                </c:pt>
                <c:pt idx="533">
                  <c:v>3197.1</c:v>
                </c:pt>
                <c:pt idx="534">
                  <c:v>3215.69</c:v>
                </c:pt>
                <c:pt idx="535">
                  <c:v>3207.11</c:v>
                </c:pt>
                <c:pt idx="536">
                  <c:v>3222.96</c:v>
                </c:pt>
                <c:pt idx="537">
                  <c:v>3264.93</c:v>
                </c:pt>
                <c:pt idx="538">
                  <c:v>3251.36</c:v>
                </c:pt>
                <c:pt idx="539">
                  <c:v>3294.48</c:v>
                </c:pt>
                <c:pt idx="540">
                  <c:v>3290.57</c:v>
                </c:pt>
                <c:pt idx="541">
                  <c:v>3257.98</c:v>
                </c:pt>
                <c:pt idx="542">
                  <c:v>3256.08</c:v>
                </c:pt>
                <c:pt idx="543">
                  <c:v>3223.29</c:v>
                </c:pt>
                <c:pt idx="544">
                  <c:v>3272.73</c:v>
                </c:pt>
                <c:pt idx="545">
                  <c:v>3311.07</c:v>
                </c:pt>
                <c:pt idx="546">
                  <c:v>3324.42</c:v>
                </c:pt>
                <c:pt idx="547">
                  <c:v>3353.36</c:v>
                </c:pt>
                <c:pt idx="548">
                  <c:v>3333.43</c:v>
                </c:pt>
                <c:pt idx="549">
                  <c:v>3326.77</c:v>
                </c:pt>
                <c:pt idx="550">
                  <c:v>3372.03</c:v>
                </c:pt>
                <c:pt idx="551">
                  <c:v>3353.56</c:v>
                </c:pt>
                <c:pt idx="552">
                  <c:v>3358.94</c:v>
                </c:pt>
                <c:pt idx="553">
                  <c:v>3359.44</c:v>
                </c:pt>
                <c:pt idx="554">
                  <c:v>3295.81</c:v>
                </c:pt>
                <c:pt idx="555">
                  <c:v>3295.76</c:v>
                </c:pt>
                <c:pt idx="556">
                  <c:v>3317.37</c:v>
                </c:pt>
                <c:pt idx="557">
                  <c:v>3299.94</c:v>
                </c:pt>
                <c:pt idx="558">
                  <c:v>3249.57</c:v>
                </c:pt>
                <c:pt idx="559">
                  <c:v>3230.96</c:v>
                </c:pt>
                <c:pt idx="560">
                  <c:v>3209.5</c:v>
                </c:pt>
                <c:pt idx="561">
                  <c:v>3161.78</c:v>
                </c:pt>
                <c:pt idx="562">
                  <c:v>3192.72</c:v>
                </c:pt>
                <c:pt idx="563">
                  <c:v>3211.13</c:v>
                </c:pt>
                <c:pt idx="564">
                  <c:v>3129.03</c:v>
                </c:pt>
                <c:pt idx="565">
                  <c:v>3126.12</c:v>
                </c:pt>
                <c:pt idx="566">
                  <c:v>3121.4</c:v>
                </c:pt>
                <c:pt idx="567">
                  <c:v>3129.76</c:v>
                </c:pt>
                <c:pt idx="568">
                  <c:v>3153.22</c:v>
                </c:pt>
                <c:pt idx="569">
                  <c:v>3145.09</c:v>
                </c:pt>
                <c:pt idx="570">
                  <c:v>3101.6</c:v>
                </c:pt>
                <c:pt idx="571">
                  <c:v>3128.09</c:v>
                </c:pt>
                <c:pt idx="572">
                  <c:v>3100.46</c:v>
                </c:pt>
                <c:pt idx="573">
                  <c:v>3116.03</c:v>
                </c:pt>
                <c:pt idx="574">
                  <c:v>3139.38</c:v>
                </c:pt>
                <c:pt idx="575">
                  <c:v>3120.64</c:v>
                </c:pt>
                <c:pt idx="576">
                  <c:v>3121.6</c:v>
                </c:pt>
                <c:pt idx="577">
                  <c:v>3022.98</c:v>
                </c:pt>
                <c:pt idx="578">
                  <c:v>3026.22</c:v>
                </c:pt>
                <c:pt idx="579">
                  <c:v>2990.34</c:v>
                </c:pt>
                <c:pt idx="580">
                  <c:v>2978.38</c:v>
                </c:pt>
                <c:pt idx="581">
                  <c:v>2963.31</c:v>
                </c:pt>
                <c:pt idx="582">
                  <c:v>2954.51</c:v>
                </c:pt>
                <c:pt idx="583">
                  <c:v>3001.56</c:v>
                </c:pt>
                <c:pt idx="584">
                  <c:v>3004.17</c:v>
                </c:pt>
                <c:pt idx="585">
                  <c:v>2955.71</c:v>
                </c:pt>
                <c:pt idx="586">
                  <c:v>2986.35</c:v>
                </c:pt>
                <c:pt idx="587">
                  <c:v>3004.26</c:v>
                </c:pt>
                <c:pt idx="588">
                  <c:v>3008.65</c:v>
                </c:pt>
                <c:pt idx="589">
                  <c:v>2951.89</c:v>
                </c:pt>
                <c:pt idx="590">
                  <c:v>2961.93</c:v>
                </c:pt>
                <c:pt idx="591">
                  <c:v>2950.35</c:v>
                </c:pt>
                <c:pt idx="592">
                  <c:v>2993.56</c:v>
                </c:pt>
                <c:pt idx="593">
                  <c:v>2963.12</c:v>
                </c:pt>
                <c:pt idx="594">
                  <c:v>2917.58</c:v>
                </c:pt>
                <c:pt idx="595">
                  <c:v>2892.16</c:v>
                </c:pt>
                <c:pt idx="596">
                  <c:v>2874.9</c:v>
                </c:pt>
                <c:pt idx="597">
                  <c:v>2909.07</c:v>
                </c:pt>
                <c:pt idx="598">
                  <c:v>2908.58</c:v>
                </c:pt>
                <c:pt idx="599">
                  <c:v>2957.63</c:v>
                </c:pt>
                <c:pt idx="600">
                  <c:v>3027.47</c:v>
                </c:pt>
                <c:pt idx="601">
                  <c:v>3036.49</c:v>
                </c:pt>
                <c:pt idx="602">
                  <c:v>3041.73</c:v>
                </c:pt>
                <c:pt idx="603">
                  <c:v>3000.17</c:v>
                </c:pt>
                <c:pt idx="604">
                  <c:v>3044.09</c:v>
                </c:pt>
                <c:pt idx="605">
                  <c:v>3049.75</c:v>
                </c:pt>
                <c:pt idx="606">
                  <c:v>3121.98</c:v>
                </c:pt>
                <c:pt idx="607">
                  <c:v>3122.5</c:v>
                </c:pt>
                <c:pt idx="608">
                  <c:v>3113.71</c:v>
                </c:pt>
                <c:pt idx="609">
                  <c:v>3101.68</c:v>
                </c:pt>
                <c:pt idx="610">
                  <c:v>3109.18</c:v>
                </c:pt>
                <c:pt idx="611">
                  <c:v>3113.21</c:v>
                </c:pt>
                <c:pt idx="612">
                  <c:v>3056.91</c:v>
                </c:pt>
                <c:pt idx="613">
                  <c:v>3106.25</c:v>
                </c:pt>
                <c:pt idx="614">
                  <c:v>3115.75</c:v>
                </c:pt>
                <c:pt idx="615">
                  <c:v>3128.89</c:v>
                </c:pt>
                <c:pt idx="616">
                  <c:v>3122.6</c:v>
                </c:pt>
                <c:pt idx="617">
                  <c:v>3095.13</c:v>
                </c:pt>
                <c:pt idx="618">
                  <c:v>3091.57</c:v>
                </c:pt>
                <c:pt idx="619">
                  <c:v>3059.14</c:v>
                </c:pt>
                <c:pt idx="620">
                  <c:v>3067.99</c:v>
                </c:pt>
                <c:pt idx="621">
                  <c:v>2968.29</c:v>
                </c:pt>
                <c:pt idx="622">
                  <c:v>2977.77</c:v>
                </c:pt>
                <c:pt idx="623">
                  <c:v>3000.05</c:v>
                </c:pt>
                <c:pt idx="624">
                  <c:v>2981</c:v>
                </c:pt>
                <c:pt idx="625">
                  <c:v>2972.08</c:v>
                </c:pt>
                <c:pt idx="626">
                  <c:v>2977.72</c:v>
                </c:pt>
                <c:pt idx="627">
                  <c:v>2956.38</c:v>
                </c:pt>
                <c:pt idx="628">
                  <c:v>2954.87</c:v>
                </c:pt>
                <c:pt idx="629">
                  <c:v>2960.31</c:v>
                </c:pt>
                <c:pt idx="630">
                  <c:v>2897.42</c:v>
                </c:pt>
                <c:pt idx="631">
                  <c:v>2793.9</c:v>
                </c:pt>
                <c:pt idx="632">
                  <c:v>2798.19</c:v>
                </c:pt>
                <c:pt idx="633">
                  <c:v>2824.12</c:v>
                </c:pt>
                <c:pt idx="634">
                  <c:v>2866.92</c:v>
                </c:pt>
                <c:pt idx="635">
                  <c:v>2875.37</c:v>
                </c:pt>
                <c:pt idx="636">
                  <c:v>2917.88</c:v>
                </c:pt>
                <c:pt idx="637">
                  <c:v>2897.58</c:v>
                </c:pt>
                <c:pt idx="638">
                  <c:v>2886.01</c:v>
                </c:pt>
                <c:pt idx="639">
                  <c:v>2834.25</c:v>
                </c:pt>
                <c:pt idx="640">
                  <c:v>2807.66</c:v>
                </c:pt>
                <c:pt idx="641">
                  <c:v>2777.79</c:v>
                </c:pt>
                <c:pt idx="642">
                  <c:v>2821</c:v>
                </c:pt>
                <c:pt idx="643">
                  <c:v>2810.02</c:v>
                </c:pt>
                <c:pt idx="644">
                  <c:v>2903.84</c:v>
                </c:pt>
                <c:pt idx="645">
                  <c:v>2901.22</c:v>
                </c:pt>
                <c:pt idx="646">
                  <c:v>2852.81</c:v>
                </c:pt>
                <c:pt idx="647">
                  <c:v>2841.74</c:v>
                </c:pt>
                <c:pt idx="648">
                  <c:v>2846.78</c:v>
                </c:pt>
                <c:pt idx="649">
                  <c:v>2834.54</c:v>
                </c:pt>
                <c:pt idx="650">
                  <c:v>2803.85</c:v>
                </c:pt>
                <c:pt idx="651">
                  <c:v>2743.82</c:v>
                </c:pt>
                <c:pt idx="652">
                  <c:v>2723.3</c:v>
                </c:pt>
                <c:pt idx="653">
                  <c:v>2779.09</c:v>
                </c:pt>
                <c:pt idx="654">
                  <c:v>2756.11</c:v>
                </c:pt>
                <c:pt idx="655">
                  <c:v>2751.1</c:v>
                </c:pt>
                <c:pt idx="656">
                  <c:v>2720.28</c:v>
                </c:pt>
                <c:pt idx="657">
                  <c:v>2733.11</c:v>
                </c:pt>
                <c:pt idx="658">
                  <c:v>2729.05</c:v>
                </c:pt>
                <c:pt idx="659">
                  <c:v>2733.99</c:v>
                </c:pt>
                <c:pt idx="660">
                  <c:v>2679.27</c:v>
                </c:pt>
                <c:pt idx="661">
                  <c:v>2689.85</c:v>
                </c:pt>
                <c:pt idx="662">
                  <c:v>2771.01</c:v>
                </c:pt>
                <c:pt idx="663">
                  <c:v>2685.69</c:v>
                </c:pt>
                <c:pt idx="664">
                  <c:v>2669.48</c:v>
                </c:pt>
                <c:pt idx="665">
                  <c:v>2610.92</c:v>
                </c:pt>
                <c:pt idx="666">
                  <c:v>2637.88</c:v>
                </c:pt>
                <c:pt idx="667">
                  <c:v>2610.59</c:v>
                </c:pt>
                <c:pt idx="668">
                  <c:v>2588.19</c:v>
                </c:pt>
                <c:pt idx="669">
                  <c:v>2581.35</c:v>
                </c:pt>
                <c:pt idx="670">
                  <c:v>2557.08</c:v>
                </c:pt>
                <c:pt idx="671">
                  <c:v>2551.9899999999998</c:v>
                </c:pt>
                <c:pt idx="672">
                  <c:v>2644.76</c:v>
                </c:pt>
                <c:pt idx="673">
                  <c:v>2662.6</c:v>
                </c:pt>
                <c:pt idx="674">
                  <c:v>2653.78</c:v>
                </c:pt>
                <c:pt idx="675">
                  <c:v>2666.95</c:v>
                </c:pt>
                <c:pt idx="676">
                  <c:v>2592.21</c:v>
                </c:pt>
                <c:pt idx="677">
                  <c:v>2583.08</c:v>
                </c:pt>
                <c:pt idx="678">
                  <c:v>2520.5300000000002</c:v>
                </c:pt>
                <c:pt idx="679">
                  <c:v>2507.88</c:v>
                </c:pt>
                <c:pt idx="680">
                  <c:v>2576.67</c:v>
                </c:pt>
                <c:pt idx="681">
                  <c:v>2625.43</c:v>
                </c:pt>
                <c:pt idx="682">
                  <c:v>2651.65</c:v>
                </c:pt>
                <c:pt idx="683">
                  <c:v>2657.48</c:v>
                </c:pt>
                <c:pt idx="684">
                  <c:v>2709.02</c:v>
                </c:pt>
                <c:pt idx="685">
                  <c:v>2695.31</c:v>
                </c:pt>
                <c:pt idx="686">
                  <c:v>2697.53</c:v>
                </c:pt>
                <c:pt idx="687">
                  <c:v>2742.39</c:v>
                </c:pt>
                <c:pt idx="688">
                  <c:v>2744.3</c:v>
                </c:pt>
                <c:pt idx="689">
                  <c:v>2763.75</c:v>
                </c:pt>
                <c:pt idx="690">
                  <c:v>2736.25</c:v>
                </c:pt>
                <c:pt idx="691">
                  <c:v>2727.71</c:v>
                </c:pt>
                <c:pt idx="692">
                  <c:v>2751.65</c:v>
                </c:pt>
                <c:pt idx="693">
                  <c:v>2699.59</c:v>
                </c:pt>
                <c:pt idx="694">
                  <c:v>2695</c:v>
                </c:pt>
                <c:pt idx="695">
                  <c:v>2750.2</c:v>
                </c:pt>
                <c:pt idx="696">
                  <c:v>2744.68</c:v>
                </c:pt>
                <c:pt idx="697">
                  <c:v>2670.12</c:v>
                </c:pt>
                <c:pt idx="698">
                  <c:v>2662.02</c:v>
                </c:pt>
                <c:pt idx="699">
                  <c:v>2606.5</c:v>
                </c:pt>
                <c:pt idx="700">
                  <c:v>2609.69</c:v>
                </c:pt>
                <c:pt idx="701">
                  <c:v>2609.48</c:v>
                </c:pt>
                <c:pt idx="702">
                  <c:v>2584.0100000000002</c:v>
                </c:pt>
                <c:pt idx="703">
                  <c:v>2588.92</c:v>
                </c:pt>
                <c:pt idx="704">
                  <c:v>2569.9699999999998</c:v>
                </c:pt>
                <c:pt idx="705">
                  <c:v>2573.3200000000002</c:v>
                </c:pt>
                <c:pt idx="706">
                  <c:v>2608.5700000000002</c:v>
                </c:pt>
                <c:pt idx="707">
                  <c:v>2521.52</c:v>
                </c:pt>
                <c:pt idx="708">
                  <c:v>2583.61</c:v>
                </c:pt>
                <c:pt idx="709">
                  <c:v>2557.31</c:v>
                </c:pt>
                <c:pt idx="710">
                  <c:v>2521.39</c:v>
                </c:pt>
                <c:pt idx="711">
                  <c:v>2516.34</c:v>
                </c:pt>
                <c:pt idx="712">
                  <c:v>2528.23</c:v>
                </c:pt>
                <c:pt idx="713">
                  <c:v>2525</c:v>
                </c:pt>
                <c:pt idx="714">
                  <c:v>2503.46</c:v>
                </c:pt>
                <c:pt idx="715">
                  <c:v>2477.69</c:v>
                </c:pt>
                <c:pt idx="716">
                  <c:v>2421.9299999999998</c:v>
                </c:pt>
                <c:pt idx="717">
                  <c:v>2397.48</c:v>
                </c:pt>
                <c:pt idx="718">
                  <c:v>2340.79</c:v>
                </c:pt>
                <c:pt idx="719">
                  <c:v>2390.13</c:v>
                </c:pt>
                <c:pt idx="720">
                  <c:v>2384.41</c:v>
                </c:pt>
                <c:pt idx="721">
                  <c:v>2377.0700000000002</c:v>
                </c:pt>
                <c:pt idx="722">
                  <c:v>2339.11</c:v>
                </c:pt>
                <c:pt idx="723">
                  <c:v>2341.34</c:v>
                </c:pt>
                <c:pt idx="724">
                  <c:v>2359.16</c:v>
                </c:pt>
                <c:pt idx="725">
                  <c:v>2335.6999999999998</c:v>
                </c:pt>
                <c:pt idx="726">
                  <c:v>2305.04</c:v>
                </c:pt>
                <c:pt idx="727">
                  <c:v>2307.9299999999998</c:v>
                </c:pt>
                <c:pt idx="728">
                  <c:v>2311.36</c:v>
                </c:pt>
                <c:pt idx="729">
                  <c:v>2345.7399999999998</c:v>
                </c:pt>
                <c:pt idx="730">
                  <c:v>2298.75</c:v>
                </c:pt>
                <c:pt idx="731">
                  <c:v>2276.39</c:v>
                </c:pt>
                <c:pt idx="732">
                  <c:v>2290.6</c:v>
                </c:pt>
                <c:pt idx="733">
                  <c:v>2368.5700000000002</c:v>
                </c:pt>
                <c:pt idx="734">
                  <c:v>2447.35</c:v>
                </c:pt>
                <c:pt idx="735">
                  <c:v>2435.61</c:v>
                </c:pt>
                <c:pt idx="736">
                  <c:v>2435.2199999999998</c:v>
                </c:pt>
                <c:pt idx="737">
                  <c:v>2394.33</c:v>
                </c:pt>
                <c:pt idx="738">
                  <c:v>2345.65</c:v>
                </c:pt>
                <c:pt idx="739">
                  <c:v>2460.6</c:v>
                </c:pt>
                <c:pt idx="740">
                  <c:v>2422.19</c:v>
                </c:pt>
                <c:pt idx="741">
                  <c:v>2468.35</c:v>
                </c:pt>
                <c:pt idx="742">
                  <c:v>2504.09</c:v>
                </c:pt>
                <c:pt idx="743">
                  <c:v>2460.7199999999998</c:v>
                </c:pt>
                <c:pt idx="744">
                  <c:v>2464.2600000000002</c:v>
                </c:pt>
                <c:pt idx="745">
                  <c:v>2428.9899999999998</c:v>
                </c:pt>
                <c:pt idx="746">
                  <c:v>2486.2399999999998</c:v>
                </c:pt>
                <c:pt idx="747">
                  <c:v>2506.09</c:v>
                </c:pt>
                <c:pt idx="748">
                  <c:v>2504.3200000000002</c:v>
                </c:pt>
                <c:pt idx="749">
                  <c:v>2457.9499999999998</c:v>
                </c:pt>
                <c:pt idx="750">
                  <c:v>2528.2399999999998</c:v>
                </c:pt>
                <c:pt idx="751">
                  <c:v>2529.23</c:v>
                </c:pt>
                <c:pt idx="752">
                  <c:v>2533.62</c:v>
                </c:pt>
                <c:pt idx="753">
                  <c:v>2531.98</c:v>
                </c:pt>
                <c:pt idx="754">
                  <c:v>2522.11</c:v>
                </c:pt>
                <c:pt idx="755">
                  <c:v>2549.61</c:v>
                </c:pt>
                <c:pt idx="756">
                  <c:v>2536.0700000000002</c:v>
                </c:pt>
                <c:pt idx="757">
                  <c:v>2537.09</c:v>
                </c:pt>
                <c:pt idx="758">
                  <c:v>2540.71</c:v>
                </c:pt>
                <c:pt idx="759">
                  <c:v>2562.4499999999998</c:v>
                </c:pt>
                <c:pt idx="760">
                  <c:v>2597.48</c:v>
                </c:pt>
                <c:pt idx="761">
                  <c:v>2606.2600000000002</c:v>
                </c:pt>
                <c:pt idx="762">
                  <c:v>2648.02</c:v>
                </c:pt>
                <c:pt idx="763">
                  <c:v>2656.57</c:v>
                </c:pt>
                <c:pt idx="764">
                  <c:v>2662.46</c:v>
                </c:pt>
                <c:pt idx="765">
                  <c:v>2634.14</c:v>
                </c:pt>
                <c:pt idx="766">
                  <c:v>2633.35</c:v>
                </c:pt>
                <c:pt idx="767">
                  <c:v>2679.93</c:v>
                </c:pt>
                <c:pt idx="768">
                  <c:v>2662.7</c:v>
                </c:pt>
                <c:pt idx="769">
                  <c:v>2621.0500000000002</c:v>
                </c:pt>
                <c:pt idx="770">
                  <c:v>2603.0100000000002</c:v>
                </c:pt>
                <c:pt idx="771">
                  <c:v>2635.79</c:v>
                </c:pt>
                <c:pt idx="772">
                  <c:v>2664.3</c:v>
                </c:pt>
                <c:pt idx="773">
                  <c:v>2654.4</c:v>
                </c:pt>
                <c:pt idx="774">
                  <c:v>2681.07</c:v>
                </c:pt>
                <c:pt idx="775">
                  <c:v>2605.11</c:v>
                </c:pt>
                <c:pt idx="776">
                  <c:v>2585.5500000000002</c:v>
                </c:pt>
                <c:pt idx="777">
                  <c:v>2623.52</c:v>
                </c:pt>
                <c:pt idx="778">
                  <c:v>2630.01</c:v>
                </c:pt>
                <c:pt idx="779">
                  <c:v>2584.4499999999998</c:v>
                </c:pt>
                <c:pt idx="780">
                  <c:v>2587.79</c:v>
                </c:pt>
                <c:pt idx="781">
                  <c:v>2583.75</c:v>
                </c:pt>
                <c:pt idx="782">
                  <c:v>2552.94</c:v>
                </c:pt>
                <c:pt idx="783">
                  <c:v>2555.44</c:v>
                </c:pt>
                <c:pt idx="784">
                  <c:v>2547.14</c:v>
                </c:pt>
                <c:pt idx="785">
                  <c:v>2474.9</c:v>
                </c:pt>
                <c:pt idx="786">
                  <c:v>2443.12</c:v>
                </c:pt>
                <c:pt idx="787">
                  <c:v>2454.9</c:v>
                </c:pt>
                <c:pt idx="788">
                  <c:v>2512.83</c:v>
                </c:pt>
                <c:pt idx="789">
                  <c:v>2519.83</c:v>
                </c:pt>
                <c:pt idx="790">
                  <c:v>2495.15</c:v>
                </c:pt>
                <c:pt idx="791">
                  <c:v>2519.79</c:v>
                </c:pt>
                <c:pt idx="792">
                  <c:v>2520.04</c:v>
                </c:pt>
                <c:pt idx="793">
                  <c:v>2570.44</c:v>
                </c:pt>
                <c:pt idx="794">
                  <c:v>2580.4499999999998</c:v>
                </c:pt>
                <c:pt idx="795">
                  <c:v>2574.04</c:v>
                </c:pt>
                <c:pt idx="796">
                  <c:v>2541.88</c:v>
                </c:pt>
                <c:pt idx="797">
                  <c:v>2599.91</c:v>
                </c:pt>
                <c:pt idx="798">
                  <c:v>2596.06</c:v>
                </c:pt>
                <c:pt idx="799">
                  <c:v>2626.84</c:v>
                </c:pt>
                <c:pt idx="800">
                  <c:v>2606.04</c:v>
                </c:pt>
                <c:pt idx="801">
                  <c:v>2604.87</c:v>
                </c:pt>
                <c:pt idx="802">
                  <c:v>2625.99</c:v>
                </c:pt>
                <c:pt idx="803">
                  <c:v>2631.49</c:v>
                </c:pt>
                <c:pt idx="804">
                  <c:v>2626.16</c:v>
                </c:pt>
                <c:pt idx="805">
                  <c:v>2683.49</c:v>
                </c:pt>
                <c:pt idx="806">
                  <c:v>2691.52</c:v>
                </c:pt>
                <c:pt idx="807">
                  <c:v>2715.88</c:v>
                </c:pt>
                <c:pt idx="808">
                  <c:v>2717.78</c:v>
                </c:pt>
                <c:pt idx="809">
                  <c:v>2709.12</c:v>
                </c:pt>
                <c:pt idx="810">
                  <c:v>2657.51</c:v>
                </c:pt>
                <c:pt idx="811">
                  <c:v>2657.21</c:v>
                </c:pt>
                <c:pt idx="812">
                  <c:v>2636.92</c:v>
                </c:pt>
                <c:pt idx="813">
                  <c:v>2615.5300000000002</c:v>
                </c:pt>
                <c:pt idx="814">
                  <c:v>2617.37</c:v>
                </c:pt>
                <c:pt idx="815">
                  <c:v>2574.65</c:v>
                </c:pt>
                <c:pt idx="816">
                  <c:v>2613.94</c:v>
                </c:pt>
                <c:pt idx="817">
                  <c:v>2573.98</c:v>
                </c:pt>
                <c:pt idx="818">
                  <c:v>2587.23</c:v>
                </c:pt>
                <c:pt idx="819">
                  <c:v>2627.53</c:v>
                </c:pt>
                <c:pt idx="820">
                  <c:v>2616.87</c:v>
                </c:pt>
                <c:pt idx="821">
                  <c:v>2595.2600000000002</c:v>
                </c:pt>
                <c:pt idx="822">
                  <c:v>2573.1</c:v>
                </c:pt>
                <c:pt idx="823">
                  <c:v>2614.69</c:v>
                </c:pt>
                <c:pt idx="824">
                  <c:v>2650.85</c:v>
                </c:pt>
                <c:pt idx="825">
                  <c:v>2642.26</c:v>
                </c:pt>
                <c:pt idx="826">
                  <c:v>2632.04</c:v>
                </c:pt>
                <c:pt idx="827">
                  <c:v>2633</c:v>
                </c:pt>
                <c:pt idx="828">
                  <c:v>2559.0300000000002</c:v>
                </c:pt>
                <c:pt idx="829">
                  <c:v>2558.84</c:v>
                </c:pt>
                <c:pt idx="830">
                  <c:v>2557.4</c:v>
                </c:pt>
                <c:pt idx="831">
                  <c:v>2542.1799999999998</c:v>
                </c:pt>
                <c:pt idx="832">
                  <c:v>2524.33</c:v>
                </c:pt>
                <c:pt idx="833">
                  <c:v>2558.27</c:v>
                </c:pt>
                <c:pt idx="834">
                  <c:v>2540.1799999999998</c:v>
                </c:pt>
                <c:pt idx="835">
                  <c:v>2580.64</c:v>
                </c:pt>
                <c:pt idx="836">
                  <c:v>2560.42</c:v>
                </c:pt>
                <c:pt idx="837">
                  <c:v>2568.0500000000002</c:v>
                </c:pt>
                <c:pt idx="838">
                  <c:v>2581.21</c:v>
                </c:pt>
                <c:pt idx="839">
                  <c:v>2558.62</c:v>
                </c:pt>
                <c:pt idx="840">
                  <c:v>2552.61</c:v>
                </c:pt>
                <c:pt idx="841">
                  <c:v>2512.19</c:v>
                </c:pt>
                <c:pt idx="842">
                  <c:v>2456.52</c:v>
                </c:pt>
                <c:pt idx="843">
                  <c:v>2454.92</c:v>
                </c:pt>
                <c:pt idx="844">
                  <c:v>2447.1999999999998</c:v>
                </c:pt>
                <c:pt idx="845">
                  <c:v>2425.73</c:v>
                </c:pt>
                <c:pt idx="846">
                  <c:v>2461.61</c:v>
                </c:pt>
                <c:pt idx="847">
                  <c:v>2465.2399999999998</c:v>
                </c:pt>
                <c:pt idx="848">
                  <c:v>2468.7199999999998</c:v>
                </c:pt>
                <c:pt idx="849">
                  <c:v>2464.92</c:v>
                </c:pt>
                <c:pt idx="850">
                  <c:v>2430.37</c:v>
                </c:pt>
                <c:pt idx="851">
                  <c:v>2472.61</c:v>
                </c:pt>
                <c:pt idx="852">
                  <c:v>2416.04</c:v>
                </c:pt>
                <c:pt idx="853">
                  <c:v>2406.71</c:v>
                </c:pt>
                <c:pt idx="854">
                  <c:v>2425.5700000000002</c:v>
                </c:pt>
                <c:pt idx="855">
                  <c:v>2449.1799999999998</c:v>
                </c:pt>
                <c:pt idx="856">
                  <c:v>2450.63</c:v>
                </c:pt>
                <c:pt idx="857">
                  <c:v>2399.73</c:v>
                </c:pt>
                <c:pt idx="858">
                  <c:v>2414.1999999999998</c:v>
                </c:pt>
                <c:pt idx="859">
                  <c:v>2414.34</c:v>
                </c:pt>
                <c:pt idx="860">
                  <c:v>2424.3200000000002</c:v>
                </c:pt>
                <c:pt idx="861">
                  <c:v>2398.46</c:v>
                </c:pt>
                <c:pt idx="862">
                  <c:v>2365.4299999999998</c:v>
                </c:pt>
                <c:pt idx="863">
                  <c:v>2375.9899999999998</c:v>
                </c:pt>
                <c:pt idx="864">
                  <c:v>2360.08</c:v>
                </c:pt>
                <c:pt idx="865">
                  <c:v>2347.4899999999998</c:v>
                </c:pt>
                <c:pt idx="866">
                  <c:v>2349.11</c:v>
                </c:pt>
                <c:pt idx="867">
                  <c:v>2335.79</c:v>
                </c:pt>
                <c:pt idx="868">
                  <c:v>2332.92</c:v>
                </c:pt>
                <c:pt idx="869">
                  <c:v>2358.65</c:v>
                </c:pt>
                <c:pt idx="870">
                  <c:v>2334.88</c:v>
                </c:pt>
                <c:pt idx="871">
                  <c:v>2353.7399999999998</c:v>
                </c:pt>
                <c:pt idx="872">
                  <c:v>2385.61</c:v>
                </c:pt>
                <c:pt idx="873">
                  <c:v>2388.87</c:v>
                </c:pt>
                <c:pt idx="874">
                  <c:v>2389.8000000000002</c:v>
                </c:pt>
                <c:pt idx="875">
                  <c:v>2411.6999999999998</c:v>
                </c:pt>
                <c:pt idx="876">
                  <c:v>2399.75</c:v>
                </c:pt>
                <c:pt idx="877">
                  <c:v>2351.9299999999998</c:v>
                </c:pt>
                <c:pt idx="878">
                  <c:v>2357.02</c:v>
                </c:pt>
                <c:pt idx="879">
                  <c:v>2331.61</c:v>
                </c:pt>
                <c:pt idx="880">
                  <c:v>2319.67</c:v>
                </c:pt>
                <c:pt idx="881">
                  <c:v>2313.48</c:v>
                </c:pt>
                <c:pt idx="882">
                  <c:v>2301.79</c:v>
                </c:pt>
                <c:pt idx="883">
                  <c:v>2313.6999999999998</c:v>
                </c:pt>
                <c:pt idx="884">
                  <c:v>2295.59</c:v>
                </c:pt>
                <c:pt idx="885">
                  <c:v>2302.1999999999998</c:v>
                </c:pt>
                <c:pt idx="886">
                  <c:v>2275.6799999999998</c:v>
                </c:pt>
                <c:pt idx="887">
                  <c:v>2228.1999999999998</c:v>
                </c:pt>
                <c:pt idx="888">
                  <c:v>2238.41</c:v>
                </c:pt>
                <c:pt idx="889">
                  <c:v>2214.81</c:v>
                </c:pt>
                <c:pt idx="890">
                  <c:v>2211.37</c:v>
                </c:pt>
                <c:pt idx="891">
                  <c:v>2204.87</c:v>
                </c:pt>
                <c:pt idx="892">
                  <c:v>2228.37</c:v>
                </c:pt>
                <c:pt idx="893">
                  <c:v>2204.41</c:v>
                </c:pt>
                <c:pt idx="894">
                  <c:v>2199.88</c:v>
                </c:pt>
                <c:pt idx="895">
                  <c:v>2217.8200000000002</c:v>
                </c:pt>
                <c:pt idx="896">
                  <c:v>2317.1799999999998</c:v>
                </c:pt>
                <c:pt idx="897">
                  <c:v>2326.67</c:v>
                </c:pt>
                <c:pt idx="898">
                  <c:v>2311.89</c:v>
                </c:pt>
                <c:pt idx="899">
                  <c:v>2320.0700000000002</c:v>
                </c:pt>
                <c:pt idx="900">
                  <c:v>2298.46</c:v>
                </c:pt>
                <c:pt idx="901">
                  <c:v>2315.54</c:v>
                </c:pt>
                <c:pt idx="902">
                  <c:v>2258.71</c:v>
                </c:pt>
                <c:pt idx="903">
                  <c:v>2235.2399999999998</c:v>
                </c:pt>
                <c:pt idx="904">
                  <c:v>2246.2399999999998</c:v>
                </c:pt>
                <c:pt idx="905">
                  <c:v>2195.9499999999998</c:v>
                </c:pt>
                <c:pt idx="906">
                  <c:v>2199.06</c:v>
                </c:pt>
                <c:pt idx="907">
                  <c:v>2215.52</c:v>
                </c:pt>
                <c:pt idx="908">
                  <c:v>2210.15</c:v>
                </c:pt>
                <c:pt idx="909">
                  <c:v>2184.89</c:v>
                </c:pt>
                <c:pt idx="910">
                  <c:v>2251.7199999999998</c:v>
                </c:pt>
                <c:pt idx="911">
                  <c:v>2293.11</c:v>
                </c:pt>
                <c:pt idx="912">
                  <c:v>2270.0500000000002</c:v>
                </c:pt>
                <c:pt idx="913">
                  <c:v>2320.16</c:v>
                </c:pt>
                <c:pt idx="914">
                  <c:v>2324.12</c:v>
                </c:pt>
                <c:pt idx="915">
                  <c:v>2302.5300000000002</c:v>
                </c:pt>
                <c:pt idx="916">
                  <c:v>2304.5300000000002</c:v>
                </c:pt>
                <c:pt idx="917">
                  <c:v>2294.86</c:v>
                </c:pt>
                <c:pt idx="918">
                  <c:v>2298.16</c:v>
                </c:pt>
                <c:pt idx="919">
                  <c:v>2300.8000000000002</c:v>
                </c:pt>
                <c:pt idx="920">
                  <c:v>2336.08</c:v>
                </c:pt>
                <c:pt idx="921">
                  <c:v>2332.4699999999998</c:v>
                </c:pt>
                <c:pt idx="922">
                  <c:v>2341.59</c:v>
                </c:pt>
                <c:pt idx="923">
                  <c:v>2312.08</c:v>
                </c:pt>
                <c:pt idx="924">
                  <c:v>2307.7800000000002</c:v>
                </c:pt>
                <c:pt idx="925">
                  <c:v>2291.2399999999998</c:v>
                </c:pt>
                <c:pt idx="926">
                  <c:v>2247.91</c:v>
                </c:pt>
                <c:pt idx="927">
                  <c:v>2235.85</c:v>
                </c:pt>
                <c:pt idx="928">
                  <c:v>2239.88</c:v>
                </c:pt>
                <c:pt idx="929">
                  <c:v>2254.8200000000002</c:v>
                </c:pt>
                <c:pt idx="930">
                  <c:v>2297.88</c:v>
                </c:pt>
                <c:pt idx="931">
                  <c:v>2306.77</c:v>
                </c:pt>
                <c:pt idx="932">
                  <c:v>2301.88</c:v>
                </c:pt>
                <c:pt idx="933">
                  <c:v>2292.21</c:v>
                </c:pt>
                <c:pt idx="934">
                  <c:v>2287.5100000000002</c:v>
                </c:pt>
                <c:pt idx="935">
                  <c:v>2245.41</c:v>
                </c:pt>
                <c:pt idx="936">
                  <c:v>2240.92</c:v>
                </c:pt>
                <c:pt idx="937">
                  <c:v>2251.85</c:v>
                </c:pt>
                <c:pt idx="938">
                  <c:v>2212.44</c:v>
                </c:pt>
                <c:pt idx="939">
                  <c:v>2223.11</c:v>
                </c:pt>
                <c:pt idx="940">
                  <c:v>2193.62</c:v>
                </c:pt>
                <c:pt idx="941">
                  <c:v>2177.2399999999998</c:v>
                </c:pt>
                <c:pt idx="942">
                  <c:v>2174.9899999999998</c:v>
                </c:pt>
                <c:pt idx="943">
                  <c:v>2164.88</c:v>
                </c:pt>
                <c:pt idx="944">
                  <c:v>2194.9</c:v>
                </c:pt>
                <c:pt idx="945">
                  <c:v>2177.5500000000002</c:v>
                </c:pt>
                <c:pt idx="946">
                  <c:v>2192.6799999999998</c:v>
                </c:pt>
                <c:pt idx="947">
                  <c:v>2175.6</c:v>
                </c:pt>
                <c:pt idx="948">
                  <c:v>2150.64</c:v>
                </c:pt>
                <c:pt idx="949">
                  <c:v>2129.16</c:v>
                </c:pt>
                <c:pt idx="950">
                  <c:v>2115.6799999999998</c:v>
                </c:pt>
                <c:pt idx="951">
                  <c:v>2139.66</c:v>
                </c:pt>
                <c:pt idx="952">
                  <c:v>2108.85</c:v>
                </c:pt>
                <c:pt idx="953">
                  <c:v>2131.4699999999998</c:v>
                </c:pt>
                <c:pt idx="954">
                  <c:v>2207.88</c:v>
                </c:pt>
                <c:pt idx="955">
                  <c:v>2203.6</c:v>
                </c:pt>
                <c:pt idx="956">
                  <c:v>2246.7600000000002</c:v>
                </c:pt>
                <c:pt idx="957">
                  <c:v>2271.0500000000002</c:v>
                </c:pt>
                <c:pt idx="958">
                  <c:v>2258.5</c:v>
                </c:pt>
                <c:pt idx="959">
                  <c:v>2267.77</c:v>
                </c:pt>
                <c:pt idx="960">
                  <c:v>2242.64</c:v>
                </c:pt>
                <c:pt idx="961">
                  <c:v>2355.86</c:v>
                </c:pt>
                <c:pt idx="962">
                  <c:v>2366.6999999999998</c:v>
                </c:pt>
                <c:pt idx="963">
                  <c:v>2368.12</c:v>
                </c:pt>
                <c:pt idx="964">
                  <c:v>2371.11</c:v>
                </c:pt>
                <c:pt idx="965">
                  <c:v>2384.8200000000002</c:v>
                </c:pt>
                <c:pt idx="966">
                  <c:v>2372</c:v>
                </c:pt>
                <c:pt idx="967">
                  <c:v>2381.2199999999998</c:v>
                </c:pt>
                <c:pt idx="968">
                  <c:v>2448.4</c:v>
                </c:pt>
                <c:pt idx="969">
                  <c:v>2457.62</c:v>
                </c:pt>
                <c:pt idx="970">
                  <c:v>2444.59</c:v>
                </c:pt>
                <c:pt idx="971">
                  <c:v>2480.0500000000002</c:v>
                </c:pt>
                <c:pt idx="972">
                  <c:v>2522.9499999999998</c:v>
                </c:pt>
                <c:pt idx="973">
                  <c:v>2524.41</c:v>
                </c:pt>
                <c:pt idx="974">
                  <c:v>2535.9899999999998</c:v>
                </c:pt>
                <c:pt idx="975">
                  <c:v>2525.33</c:v>
                </c:pt>
                <c:pt idx="976">
                  <c:v>2526.13</c:v>
                </c:pt>
                <c:pt idx="977">
                  <c:v>2530.5700000000002</c:v>
                </c:pt>
                <c:pt idx="978">
                  <c:v>2483.23</c:v>
                </c:pt>
                <c:pt idx="979">
                  <c:v>2577.73</c:v>
                </c:pt>
                <c:pt idx="980">
                  <c:v>2595.86</c:v>
                </c:pt>
                <c:pt idx="981">
                  <c:v>2577.09</c:v>
                </c:pt>
                <c:pt idx="982">
                  <c:v>2552.7600000000002</c:v>
                </c:pt>
                <c:pt idx="983">
                  <c:v>2595.44</c:v>
                </c:pt>
                <c:pt idx="984">
                  <c:v>2610.9</c:v>
                </c:pt>
                <c:pt idx="985">
                  <c:v>2596.9</c:v>
                </c:pt>
                <c:pt idx="986">
                  <c:v>2607.46</c:v>
                </c:pt>
                <c:pt idx="987">
                  <c:v>2582.7600000000002</c:v>
                </c:pt>
                <c:pt idx="988">
                  <c:v>2571.67</c:v>
                </c:pt>
                <c:pt idx="989">
                  <c:v>2651.86</c:v>
                </c:pt>
                <c:pt idx="990">
                  <c:v>2675.87</c:v>
                </c:pt>
                <c:pt idx="991">
                  <c:v>2688.71</c:v>
                </c:pt>
                <c:pt idx="992">
                  <c:v>2686.88</c:v>
                </c:pt>
                <c:pt idx="993">
                  <c:v>2743.32</c:v>
                </c:pt>
                <c:pt idx="994">
                  <c:v>2748.03</c:v>
                </c:pt>
                <c:pt idx="995">
                  <c:v>2771.68</c:v>
                </c:pt>
                <c:pt idx="996">
                  <c:v>2775.84</c:v>
                </c:pt>
                <c:pt idx="997">
                  <c:v>2759.87</c:v>
                </c:pt>
                <c:pt idx="998">
                  <c:v>2771.73</c:v>
                </c:pt>
                <c:pt idx="999">
                  <c:v>2737.47</c:v>
                </c:pt>
                <c:pt idx="1000">
                  <c:v>2685.61</c:v>
                </c:pt>
                <c:pt idx="1001">
                  <c:v>2702.64</c:v>
                </c:pt>
                <c:pt idx="1002">
                  <c:v>2610.5500000000002</c:v>
                </c:pt>
                <c:pt idx="1003">
                  <c:v>2596.6</c:v>
                </c:pt>
                <c:pt idx="1004">
                  <c:v>2604.96</c:v>
                </c:pt>
                <c:pt idx="1005">
                  <c:v>2567.59</c:v>
                </c:pt>
                <c:pt idx="1006">
                  <c:v>2594.6799999999998</c:v>
                </c:pt>
                <c:pt idx="1007">
                  <c:v>2673.33</c:v>
                </c:pt>
                <c:pt idx="1008">
                  <c:v>2668.84</c:v>
                </c:pt>
                <c:pt idx="1009">
                  <c:v>2545.7199999999998</c:v>
                </c:pt>
                <c:pt idx="1010">
                  <c:v>2622.81</c:v>
                </c:pt>
                <c:pt idx="1011">
                  <c:v>2650.2</c:v>
                </c:pt>
                <c:pt idx="1012">
                  <c:v>2619.48</c:v>
                </c:pt>
                <c:pt idx="1013">
                  <c:v>2606.9299999999998</c:v>
                </c:pt>
                <c:pt idx="1014">
                  <c:v>2592.37</c:v>
                </c:pt>
                <c:pt idx="1015">
                  <c:v>2555.61</c:v>
                </c:pt>
                <c:pt idx="1016">
                  <c:v>2527.4899999999998</c:v>
                </c:pt>
                <c:pt idx="1017">
                  <c:v>2534.27</c:v>
                </c:pt>
                <c:pt idx="1018">
                  <c:v>2539.87</c:v>
                </c:pt>
                <c:pt idx="1019">
                  <c:v>2502.4899999999998</c:v>
                </c:pt>
                <c:pt idx="1020">
                  <c:v>2525.1</c:v>
                </c:pt>
                <c:pt idx="1021">
                  <c:v>2610.17</c:v>
                </c:pt>
                <c:pt idx="1022">
                  <c:v>2614.9899999999998</c:v>
                </c:pt>
                <c:pt idx="1023">
                  <c:v>2618.31</c:v>
                </c:pt>
                <c:pt idx="1024">
                  <c:v>2613.1</c:v>
                </c:pt>
                <c:pt idx="1025">
                  <c:v>2575.0500000000002</c:v>
                </c:pt>
                <c:pt idx="1026">
                  <c:v>2583.5300000000002</c:v>
                </c:pt>
                <c:pt idx="1027">
                  <c:v>2499.3000000000002</c:v>
                </c:pt>
                <c:pt idx="1028">
                  <c:v>2495.08</c:v>
                </c:pt>
                <c:pt idx="1029">
                  <c:v>2493.19</c:v>
                </c:pt>
                <c:pt idx="1030">
                  <c:v>2486.39</c:v>
                </c:pt>
                <c:pt idx="1031">
                  <c:v>2483.5500000000002</c:v>
                </c:pt>
                <c:pt idx="1032">
                  <c:v>2472.3000000000002</c:v>
                </c:pt>
                <c:pt idx="1033">
                  <c:v>2489.4299999999998</c:v>
                </c:pt>
                <c:pt idx="1034">
                  <c:v>2485.31</c:v>
                </c:pt>
                <c:pt idx="1035">
                  <c:v>2477.88</c:v>
                </c:pt>
                <c:pt idx="1036">
                  <c:v>2462.11</c:v>
                </c:pt>
                <c:pt idx="1037">
                  <c:v>2436.8200000000002</c:v>
                </c:pt>
                <c:pt idx="1038">
                  <c:v>2459.59</c:v>
                </c:pt>
                <c:pt idx="1039">
                  <c:v>2458.4699999999998</c:v>
                </c:pt>
                <c:pt idx="1040">
                  <c:v>2464.85</c:v>
                </c:pt>
                <c:pt idx="1041">
                  <c:v>2533.83</c:v>
                </c:pt>
                <c:pt idx="1042">
                  <c:v>2530.67</c:v>
                </c:pt>
                <c:pt idx="1043">
                  <c:v>2449.4699999999998</c:v>
                </c:pt>
                <c:pt idx="1044">
                  <c:v>2495.58</c:v>
                </c:pt>
                <c:pt idx="1045">
                  <c:v>2467.88</c:v>
                </c:pt>
                <c:pt idx="1046">
                  <c:v>2447.31</c:v>
                </c:pt>
                <c:pt idx="1047">
                  <c:v>2449.64</c:v>
                </c:pt>
                <c:pt idx="1048">
                  <c:v>2492.91</c:v>
                </c:pt>
                <c:pt idx="1049">
                  <c:v>2525.98</c:v>
                </c:pt>
                <c:pt idx="1050">
                  <c:v>2529.94</c:v>
                </c:pt>
                <c:pt idx="1051">
                  <c:v>2542.8000000000002</c:v>
                </c:pt>
                <c:pt idx="1052">
                  <c:v>2527.79</c:v>
                </c:pt>
                <c:pt idx="1053">
                  <c:v>2540.84</c:v>
                </c:pt>
                <c:pt idx="1054">
                  <c:v>2530.77</c:v>
                </c:pt>
                <c:pt idx="1055">
                  <c:v>2493.34</c:v>
                </c:pt>
                <c:pt idx="1056">
                  <c:v>2506.9299999999998</c:v>
                </c:pt>
                <c:pt idx="1057">
                  <c:v>2552.71</c:v>
                </c:pt>
                <c:pt idx="1058">
                  <c:v>2592.0500000000002</c:v>
                </c:pt>
                <c:pt idx="1059">
                  <c:v>2609.61</c:v>
                </c:pt>
                <c:pt idx="1060">
                  <c:v>2614.85</c:v>
                </c:pt>
                <c:pt idx="1061">
                  <c:v>2618.0300000000002</c:v>
                </c:pt>
                <c:pt idx="1062">
                  <c:v>2582.85</c:v>
                </c:pt>
                <c:pt idx="1063">
                  <c:v>2597.23</c:v>
                </c:pt>
                <c:pt idx="1064">
                  <c:v>2599.59</c:v>
                </c:pt>
                <c:pt idx="1065">
                  <c:v>2644.36</c:v>
                </c:pt>
                <c:pt idx="1066">
                  <c:v>2642.56</c:v>
                </c:pt>
                <c:pt idx="1067">
                  <c:v>2634.32</c:v>
                </c:pt>
                <c:pt idx="1068">
                  <c:v>2606.4299999999998</c:v>
                </c:pt>
                <c:pt idx="1069">
                  <c:v>2602.62</c:v>
                </c:pt>
                <c:pt idx="1070">
                  <c:v>2565.67</c:v>
                </c:pt>
                <c:pt idx="1071">
                  <c:v>2560.54</c:v>
                </c:pt>
                <c:pt idx="1072">
                  <c:v>2527.84</c:v>
                </c:pt>
                <c:pt idx="1073">
                  <c:v>2484.16</c:v>
                </c:pt>
                <c:pt idx="1074">
                  <c:v>2399.94</c:v>
                </c:pt>
                <c:pt idx="1075">
                  <c:v>2416.77</c:v>
                </c:pt>
                <c:pt idx="1076">
                  <c:v>2403.84</c:v>
                </c:pt>
                <c:pt idx="1077">
                  <c:v>2418.75</c:v>
                </c:pt>
                <c:pt idx="1078">
                  <c:v>2400.77</c:v>
                </c:pt>
                <c:pt idx="1079">
                  <c:v>2321.4699999999998</c:v>
                </c:pt>
                <c:pt idx="1080">
                  <c:v>2317.39</c:v>
                </c:pt>
                <c:pt idx="1081">
                  <c:v>2171.21</c:v>
                </c:pt>
                <c:pt idx="1082">
                  <c:v>2165.42</c:v>
                </c:pt>
                <c:pt idx="1083">
                  <c:v>2168.3000000000002</c:v>
                </c:pt>
                <c:pt idx="1084">
                  <c:v>2160.7399999999998</c:v>
                </c:pt>
                <c:pt idx="1085">
                  <c:v>2200.64</c:v>
                </c:pt>
                <c:pt idx="1086">
                  <c:v>2213.3200000000002</c:v>
                </c:pt>
                <c:pt idx="1087">
                  <c:v>2221.98</c:v>
                </c:pt>
                <c:pt idx="1088">
                  <c:v>2203.83</c:v>
                </c:pt>
                <c:pt idx="1089">
                  <c:v>2221.98</c:v>
                </c:pt>
                <c:pt idx="1090">
                  <c:v>2226.85</c:v>
                </c:pt>
                <c:pt idx="1091">
                  <c:v>2163.62</c:v>
                </c:pt>
                <c:pt idx="1092">
                  <c:v>2162.67</c:v>
                </c:pt>
                <c:pt idx="1093">
                  <c:v>2224.0700000000002</c:v>
                </c:pt>
                <c:pt idx="1094">
                  <c:v>2326.69</c:v>
                </c:pt>
                <c:pt idx="1095">
                  <c:v>2275.37</c:v>
                </c:pt>
                <c:pt idx="1096">
                  <c:v>2307.3000000000002</c:v>
                </c:pt>
                <c:pt idx="1097">
                  <c:v>2317.85</c:v>
                </c:pt>
                <c:pt idx="1098">
                  <c:v>2282.84</c:v>
                </c:pt>
                <c:pt idx="1099">
                  <c:v>2245.33</c:v>
                </c:pt>
                <c:pt idx="1100">
                  <c:v>2190.48</c:v>
                </c:pt>
                <c:pt idx="1101">
                  <c:v>2202.19</c:v>
                </c:pt>
                <c:pt idx="1102">
                  <c:v>2265.84</c:v>
                </c:pt>
                <c:pt idx="1103">
                  <c:v>2249.15</c:v>
                </c:pt>
                <c:pt idx="1104">
                  <c:v>2237.6799999999998</c:v>
                </c:pt>
                <c:pt idx="1105">
                  <c:v>2224.0100000000002</c:v>
                </c:pt>
                <c:pt idx="1106">
                  <c:v>2175.9699999999998</c:v>
                </c:pt>
                <c:pt idx="1107">
                  <c:v>2189.39</c:v>
                </c:pt>
                <c:pt idx="1108">
                  <c:v>2193.02</c:v>
                </c:pt>
                <c:pt idx="1109">
                  <c:v>2245.36</c:v>
                </c:pt>
                <c:pt idx="1110">
                  <c:v>2247.2600000000002</c:v>
                </c:pt>
                <c:pt idx="1111">
                  <c:v>2278.33</c:v>
                </c:pt>
                <c:pt idx="1112">
                  <c:v>2293.64</c:v>
                </c:pt>
                <c:pt idx="1113">
                  <c:v>2280.62</c:v>
                </c:pt>
                <c:pt idx="1114">
                  <c:v>2276.7800000000002</c:v>
                </c:pt>
                <c:pt idx="1115">
                  <c:v>2286.0100000000002</c:v>
                </c:pt>
                <c:pt idx="1116">
                  <c:v>2352.79</c:v>
                </c:pt>
                <c:pt idx="1117">
                  <c:v>2359.0700000000002</c:v>
                </c:pt>
                <c:pt idx="1118">
                  <c:v>2349.08</c:v>
                </c:pt>
                <c:pt idx="1119">
                  <c:v>2321.58</c:v>
                </c:pt>
                <c:pt idx="1120">
                  <c:v>2304.14</c:v>
                </c:pt>
                <c:pt idx="1121">
                  <c:v>2331.4299999999998</c:v>
                </c:pt>
                <c:pt idx="1122">
                  <c:v>2312.4699999999998</c:v>
                </c:pt>
                <c:pt idx="1123">
                  <c:v>2308.59</c:v>
                </c:pt>
                <c:pt idx="1124">
                  <c:v>2303.9299999999998</c:v>
                </c:pt>
                <c:pt idx="1125">
                  <c:v>2286.9299999999998</c:v>
                </c:pt>
                <c:pt idx="1126">
                  <c:v>2335.62</c:v>
                </c:pt>
                <c:pt idx="1127">
                  <c:v>2340.88</c:v>
                </c:pt>
                <c:pt idx="1128">
                  <c:v>2328.06</c:v>
                </c:pt>
                <c:pt idx="1129">
                  <c:v>2318.31</c:v>
                </c:pt>
                <c:pt idx="1130">
                  <c:v>2313.91</c:v>
                </c:pt>
                <c:pt idx="1131">
                  <c:v>2320.34</c:v>
                </c:pt>
                <c:pt idx="1132">
                  <c:v>2354.5</c:v>
                </c:pt>
                <c:pt idx="1133">
                  <c:v>2350.6999999999998</c:v>
                </c:pt>
                <c:pt idx="1134">
                  <c:v>2341.7399999999998</c:v>
                </c:pt>
                <c:pt idx="1135">
                  <c:v>2357.7800000000002</c:v>
                </c:pt>
                <c:pt idx="1136">
                  <c:v>2440.61</c:v>
                </c:pt>
                <c:pt idx="1137">
                  <c:v>2474.89</c:v>
                </c:pt>
                <c:pt idx="1138">
                  <c:v>2482.89</c:v>
                </c:pt>
                <c:pt idx="1139">
                  <c:v>2507.46</c:v>
                </c:pt>
                <c:pt idx="1140">
                  <c:v>2488.9</c:v>
                </c:pt>
                <c:pt idx="1141">
                  <c:v>2478.39</c:v>
                </c:pt>
                <c:pt idx="1142">
                  <c:v>2427.3200000000002</c:v>
                </c:pt>
                <c:pt idx="1143">
                  <c:v>2432.5100000000002</c:v>
                </c:pt>
                <c:pt idx="1144">
                  <c:v>2472.29</c:v>
                </c:pt>
                <c:pt idx="1145">
                  <c:v>2443.89</c:v>
                </c:pt>
                <c:pt idx="1146">
                  <c:v>2429.0300000000002</c:v>
                </c:pt>
                <c:pt idx="1147">
                  <c:v>2384.44</c:v>
                </c:pt>
                <c:pt idx="1148">
                  <c:v>2394.9699999999998</c:v>
                </c:pt>
                <c:pt idx="1149">
                  <c:v>2409.04</c:v>
                </c:pt>
                <c:pt idx="1150">
                  <c:v>2441.81</c:v>
                </c:pt>
                <c:pt idx="1151">
                  <c:v>2453.58</c:v>
                </c:pt>
                <c:pt idx="1152">
                  <c:v>2429.3200000000002</c:v>
                </c:pt>
                <c:pt idx="1153">
                  <c:v>2468.5100000000002</c:v>
                </c:pt>
                <c:pt idx="1154">
                  <c:v>2472.54</c:v>
                </c:pt>
                <c:pt idx="1155">
                  <c:v>2467.52</c:v>
                </c:pt>
                <c:pt idx="1156">
                  <c:v>2421.37</c:v>
                </c:pt>
                <c:pt idx="1157">
                  <c:v>2413.33</c:v>
                </c:pt>
                <c:pt idx="1158">
                  <c:v>2426.0500000000002</c:v>
                </c:pt>
                <c:pt idx="1159">
                  <c:v>2471.3200000000002</c:v>
                </c:pt>
                <c:pt idx="1160">
                  <c:v>2445.89</c:v>
                </c:pt>
                <c:pt idx="1161">
                  <c:v>2418.4899999999998</c:v>
                </c:pt>
                <c:pt idx="1162">
                  <c:v>2400.5100000000002</c:v>
                </c:pt>
                <c:pt idx="1163">
                  <c:v>2368.56</c:v>
                </c:pt>
                <c:pt idx="1164">
                  <c:v>2365.9499999999998</c:v>
                </c:pt>
                <c:pt idx="1165">
                  <c:v>2372.0500000000002</c:v>
                </c:pt>
                <c:pt idx="1166">
                  <c:v>2407.4699999999998</c:v>
                </c:pt>
                <c:pt idx="1167">
                  <c:v>2373.7199999999998</c:v>
                </c:pt>
                <c:pt idx="1168">
                  <c:v>2384.96</c:v>
                </c:pt>
                <c:pt idx="1169">
                  <c:v>2380.4499999999998</c:v>
                </c:pt>
                <c:pt idx="1170">
                  <c:v>2383.77</c:v>
                </c:pt>
                <c:pt idx="1171">
                  <c:v>2353.5700000000002</c:v>
                </c:pt>
                <c:pt idx="1172">
                  <c:v>2340.5500000000002</c:v>
                </c:pt>
                <c:pt idx="1173">
                  <c:v>2307.9499999999998</c:v>
                </c:pt>
                <c:pt idx="1174">
                  <c:v>2315.89</c:v>
                </c:pt>
                <c:pt idx="1175">
                  <c:v>2340</c:v>
                </c:pt>
                <c:pt idx="1176">
                  <c:v>2288.12</c:v>
                </c:pt>
                <c:pt idx="1177">
                  <c:v>2304.5</c:v>
                </c:pt>
                <c:pt idx="1178">
                  <c:v>2350.73</c:v>
                </c:pt>
                <c:pt idx="1179">
                  <c:v>2428.9</c:v>
                </c:pt>
                <c:pt idx="1180">
                  <c:v>2412.16</c:v>
                </c:pt>
                <c:pt idx="1181">
                  <c:v>2424.85</c:v>
                </c:pt>
                <c:pt idx="1182">
                  <c:v>2409.9899999999998</c:v>
                </c:pt>
                <c:pt idx="1183">
                  <c:v>2397.96</c:v>
                </c:pt>
                <c:pt idx="1184">
                  <c:v>2388.63</c:v>
                </c:pt>
                <c:pt idx="1185">
                  <c:v>2387.42</c:v>
                </c:pt>
                <c:pt idx="1186">
                  <c:v>2414.48</c:v>
                </c:pt>
                <c:pt idx="1187">
                  <c:v>2439.5300000000002</c:v>
                </c:pt>
                <c:pt idx="1188">
                  <c:v>2438.94</c:v>
                </c:pt>
                <c:pt idx="1189">
                  <c:v>2418.79</c:v>
                </c:pt>
                <c:pt idx="1190">
                  <c:v>2442.7800000000002</c:v>
                </c:pt>
                <c:pt idx="1191">
                  <c:v>2475.14</c:v>
                </c:pt>
                <c:pt idx="1192">
                  <c:v>2468.1999999999998</c:v>
                </c:pt>
                <c:pt idx="1193">
                  <c:v>2452.29</c:v>
                </c:pt>
                <c:pt idx="1194">
                  <c:v>2450.87</c:v>
                </c:pt>
                <c:pt idx="1195">
                  <c:v>2453.3200000000002</c:v>
                </c:pt>
                <c:pt idx="1196">
                  <c:v>2412.7600000000002</c:v>
                </c:pt>
                <c:pt idx="1197">
                  <c:v>2410.02</c:v>
                </c:pt>
                <c:pt idx="1198">
                  <c:v>2406.64</c:v>
                </c:pt>
                <c:pt idx="1199">
                  <c:v>2367.92</c:v>
                </c:pt>
                <c:pt idx="1200">
                  <c:v>2356.38</c:v>
                </c:pt>
                <c:pt idx="1201">
                  <c:v>2357.23</c:v>
                </c:pt>
                <c:pt idx="1202">
                  <c:v>2332.41</c:v>
                </c:pt>
                <c:pt idx="1203">
                  <c:v>2278.14</c:v>
                </c:pt>
                <c:pt idx="1204">
                  <c:v>2284.6</c:v>
                </c:pt>
                <c:pt idx="1205">
                  <c:v>2288.25</c:v>
                </c:pt>
                <c:pt idx="1206">
                  <c:v>2305.11</c:v>
                </c:pt>
                <c:pt idx="1207">
                  <c:v>2265.33</c:v>
                </c:pt>
                <c:pt idx="1208">
                  <c:v>2303.48</c:v>
                </c:pt>
                <c:pt idx="1209">
                  <c:v>2299.46</c:v>
                </c:pt>
                <c:pt idx="1210">
                  <c:v>2330.0300000000002</c:v>
                </c:pt>
                <c:pt idx="1211">
                  <c:v>2321.98</c:v>
                </c:pt>
                <c:pt idx="1212">
                  <c:v>2290.7800000000002</c:v>
                </c:pt>
                <c:pt idx="1213">
                  <c:v>2238.64</c:v>
                </c:pt>
                <c:pt idx="1214">
                  <c:v>2238</c:v>
                </c:pt>
                <c:pt idx="1215">
                  <c:v>2241.91</c:v>
                </c:pt>
                <c:pt idx="1216">
                  <c:v>2222.2199999999998</c:v>
                </c:pt>
                <c:pt idx="1217">
                  <c:v>2204.85</c:v>
                </c:pt>
                <c:pt idx="1218">
                  <c:v>2193.6799999999998</c:v>
                </c:pt>
                <c:pt idx="1219">
                  <c:v>2212.85</c:v>
                </c:pt>
                <c:pt idx="1220">
                  <c:v>2208.94</c:v>
                </c:pt>
                <c:pt idx="1221">
                  <c:v>2211.84</c:v>
                </c:pt>
                <c:pt idx="1222">
                  <c:v>2178.4899999999998</c:v>
                </c:pt>
                <c:pt idx="1223">
                  <c:v>2165.9899999999998</c:v>
                </c:pt>
                <c:pt idx="1224">
                  <c:v>2187.41</c:v>
                </c:pt>
                <c:pt idx="1225">
                  <c:v>2243.8000000000002</c:v>
                </c:pt>
                <c:pt idx="1226">
                  <c:v>2231.89</c:v>
                </c:pt>
                <c:pt idx="1227">
                  <c:v>2245.6799999999998</c:v>
                </c:pt>
                <c:pt idx="1228">
                  <c:v>2215.92</c:v>
                </c:pt>
                <c:pt idx="1229">
                  <c:v>2219.86</c:v>
                </c:pt>
                <c:pt idx="1230">
                  <c:v>2227.7800000000002</c:v>
                </c:pt>
                <c:pt idx="1231">
                  <c:v>2202.4499999999998</c:v>
                </c:pt>
                <c:pt idx="1232">
                  <c:v>2212.48</c:v>
                </c:pt>
                <c:pt idx="1233">
                  <c:v>2267.5300000000002</c:v>
                </c:pt>
                <c:pt idx="1234">
                  <c:v>2285.56</c:v>
                </c:pt>
                <c:pt idx="1235">
                  <c:v>2291.25</c:v>
                </c:pt>
                <c:pt idx="1236">
                  <c:v>2279.5500000000002</c:v>
                </c:pt>
                <c:pt idx="1237">
                  <c:v>2295.5700000000002</c:v>
                </c:pt>
                <c:pt idx="1238">
                  <c:v>2311.65</c:v>
                </c:pt>
                <c:pt idx="1239">
                  <c:v>2282.44</c:v>
                </c:pt>
                <c:pt idx="1240">
                  <c:v>2308.66</c:v>
                </c:pt>
                <c:pt idx="1241">
                  <c:v>2287.44</c:v>
                </c:pt>
                <c:pt idx="1242">
                  <c:v>2264.29</c:v>
                </c:pt>
                <c:pt idx="1243">
                  <c:v>2214.5100000000002</c:v>
                </c:pt>
                <c:pt idx="1244">
                  <c:v>2157.91</c:v>
                </c:pt>
                <c:pt idx="1245">
                  <c:v>2163.41</c:v>
                </c:pt>
                <c:pt idx="1246">
                  <c:v>2154.11</c:v>
                </c:pt>
                <c:pt idx="1247">
                  <c:v>2178.9699999999998</c:v>
                </c:pt>
                <c:pt idx="1248">
                  <c:v>2190.37</c:v>
                </c:pt>
                <c:pt idx="1249">
                  <c:v>2184.27</c:v>
                </c:pt>
                <c:pt idx="1250">
                  <c:v>2163.98</c:v>
                </c:pt>
                <c:pt idx="1251">
                  <c:v>2173.63</c:v>
                </c:pt>
                <c:pt idx="1252">
                  <c:v>2168.36</c:v>
                </c:pt>
                <c:pt idx="1253">
                  <c:v>2097.79</c:v>
                </c:pt>
                <c:pt idx="1254">
                  <c:v>2108.66</c:v>
                </c:pt>
                <c:pt idx="1255">
                  <c:v>2114.13</c:v>
                </c:pt>
                <c:pt idx="1256">
                  <c:v>2140.33</c:v>
                </c:pt>
                <c:pt idx="1257">
                  <c:v>2122.84</c:v>
                </c:pt>
                <c:pt idx="1258">
                  <c:v>2143.04</c:v>
                </c:pt>
                <c:pt idx="1259">
                  <c:v>2138.13</c:v>
                </c:pt>
                <c:pt idx="1260">
                  <c:v>2120.87</c:v>
                </c:pt>
                <c:pt idx="1261">
                  <c:v>2086.9699999999998</c:v>
                </c:pt>
                <c:pt idx="1262">
                  <c:v>2158.8000000000002</c:v>
                </c:pt>
                <c:pt idx="1263">
                  <c:v>2176.5500000000002</c:v>
                </c:pt>
                <c:pt idx="1264">
                  <c:v>2174.44</c:v>
                </c:pt>
                <c:pt idx="1265">
                  <c:v>2171.0500000000002</c:v>
                </c:pt>
                <c:pt idx="1266">
                  <c:v>2155.71</c:v>
                </c:pt>
                <c:pt idx="1267">
                  <c:v>2151.9699999999998</c:v>
                </c:pt>
                <c:pt idx="1268">
                  <c:v>2146.3000000000002</c:v>
                </c:pt>
                <c:pt idx="1269">
                  <c:v>2163.11</c:v>
                </c:pt>
                <c:pt idx="1270">
                  <c:v>2180.73</c:v>
                </c:pt>
                <c:pt idx="1271">
                  <c:v>2165.0100000000002</c:v>
                </c:pt>
                <c:pt idx="1272">
                  <c:v>2185.4699999999998</c:v>
                </c:pt>
                <c:pt idx="1273">
                  <c:v>2237.3200000000002</c:v>
                </c:pt>
                <c:pt idx="1274">
                  <c:v>2238.62</c:v>
                </c:pt>
                <c:pt idx="1275">
                  <c:v>2273.7600000000002</c:v>
                </c:pt>
                <c:pt idx="1276">
                  <c:v>2270.67</c:v>
                </c:pt>
                <c:pt idx="1277">
                  <c:v>2268.61</c:v>
                </c:pt>
                <c:pt idx="1278">
                  <c:v>2229.46</c:v>
                </c:pt>
                <c:pt idx="1279">
                  <c:v>2232.5300000000002</c:v>
                </c:pt>
                <c:pt idx="1280">
                  <c:v>2224.8000000000002</c:v>
                </c:pt>
                <c:pt idx="1281">
                  <c:v>2224.48</c:v>
                </c:pt>
                <c:pt idx="1282">
                  <c:v>2187.25</c:v>
                </c:pt>
                <c:pt idx="1283">
                  <c:v>2196.8000000000002</c:v>
                </c:pt>
                <c:pt idx="1284">
                  <c:v>2194.67</c:v>
                </c:pt>
                <c:pt idx="1285">
                  <c:v>2190.4699999999998</c:v>
                </c:pt>
                <c:pt idx="1286">
                  <c:v>2167.83</c:v>
                </c:pt>
                <c:pt idx="1287">
                  <c:v>2134.9699999999998</c:v>
                </c:pt>
                <c:pt idx="1288">
                  <c:v>2158.4699999999998</c:v>
                </c:pt>
                <c:pt idx="1289">
                  <c:v>2158.66</c:v>
                </c:pt>
                <c:pt idx="1290">
                  <c:v>2156.4699999999998</c:v>
                </c:pt>
                <c:pt idx="1291">
                  <c:v>2157.33</c:v>
                </c:pt>
                <c:pt idx="1292">
                  <c:v>2137.3200000000002</c:v>
                </c:pt>
                <c:pt idx="1293">
                  <c:v>2135.5</c:v>
                </c:pt>
                <c:pt idx="1294">
                  <c:v>2133.91</c:v>
                </c:pt>
                <c:pt idx="1295">
                  <c:v>2180.0500000000002</c:v>
                </c:pt>
                <c:pt idx="1296">
                  <c:v>2174.85</c:v>
                </c:pt>
                <c:pt idx="1297">
                  <c:v>2172.37</c:v>
                </c:pt>
                <c:pt idx="1298">
                  <c:v>2144.08</c:v>
                </c:pt>
                <c:pt idx="1299">
                  <c:v>2145.9499999999998</c:v>
                </c:pt>
                <c:pt idx="1300">
                  <c:v>2115.14</c:v>
                </c:pt>
                <c:pt idx="1301">
                  <c:v>2115.77</c:v>
                </c:pt>
                <c:pt idx="1302">
                  <c:v>2135.91</c:v>
                </c:pt>
                <c:pt idx="1303">
                  <c:v>2130.87</c:v>
                </c:pt>
                <c:pt idx="1304">
                  <c:v>2148.41</c:v>
                </c:pt>
                <c:pt idx="1305">
                  <c:v>2155.98</c:v>
                </c:pt>
                <c:pt idx="1306">
                  <c:v>2147.2800000000002</c:v>
                </c:pt>
                <c:pt idx="1307">
                  <c:v>2169.35</c:v>
                </c:pt>
                <c:pt idx="1308">
                  <c:v>2155.16</c:v>
                </c:pt>
                <c:pt idx="1309">
                  <c:v>2156.46</c:v>
                </c:pt>
                <c:pt idx="1310">
                  <c:v>2149.92</c:v>
                </c:pt>
                <c:pt idx="1311">
                  <c:v>2128.27</c:v>
                </c:pt>
                <c:pt idx="1312">
                  <c:v>2150.6</c:v>
                </c:pt>
                <c:pt idx="1313">
                  <c:v>2134.7199999999998</c:v>
                </c:pt>
                <c:pt idx="1314">
                  <c:v>2134.2800000000002</c:v>
                </c:pt>
                <c:pt idx="1315">
                  <c:v>2161.27</c:v>
                </c:pt>
                <c:pt idx="1316">
                  <c:v>2160.77</c:v>
                </c:pt>
                <c:pt idx="1317">
                  <c:v>2153.41</c:v>
                </c:pt>
                <c:pt idx="1318">
                  <c:v>2176.2399999999998</c:v>
                </c:pt>
                <c:pt idx="1319">
                  <c:v>2191.86</c:v>
                </c:pt>
                <c:pt idx="1320">
                  <c:v>2169.67</c:v>
                </c:pt>
                <c:pt idx="1321">
                  <c:v>2160.2399999999998</c:v>
                </c:pt>
                <c:pt idx="1322">
                  <c:v>2126.91</c:v>
                </c:pt>
                <c:pt idx="1323">
                  <c:v>2136.73</c:v>
                </c:pt>
                <c:pt idx="1324">
                  <c:v>2134.11</c:v>
                </c:pt>
                <c:pt idx="1325">
                  <c:v>2144.8200000000002</c:v>
                </c:pt>
                <c:pt idx="1326">
                  <c:v>2133.37</c:v>
                </c:pt>
                <c:pt idx="1327">
                  <c:v>2149.08</c:v>
                </c:pt>
                <c:pt idx="1328">
                  <c:v>2150.2600000000002</c:v>
                </c:pt>
                <c:pt idx="1329">
                  <c:v>2165.12</c:v>
                </c:pt>
                <c:pt idx="1330">
                  <c:v>2164.56</c:v>
                </c:pt>
                <c:pt idx="1331">
                  <c:v>2170.87</c:v>
                </c:pt>
                <c:pt idx="1332">
                  <c:v>2180.19</c:v>
                </c:pt>
                <c:pt idx="1333">
                  <c:v>2178.6999999999998</c:v>
                </c:pt>
                <c:pt idx="1334">
                  <c:v>2176.29</c:v>
                </c:pt>
                <c:pt idx="1335">
                  <c:v>2180.4699999999998</c:v>
                </c:pt>
                <c:pt idx="1336">
                  <c:v>2148.71</c:v>
                </c:pt>
                <c:pt idx="1337">
                  <c:v>2142.85</c:v>
                </c:pt>
                <c:pt idx="1338">
                  <c:v>2148.0100000000002</c:v>
                </c:pt>
                <c:pt idx="1339">
                  <c:v>2171.7600000000002</c:v>
                </c:pt>
                <c:pt idx="1340">
                  <c:v>2174.98</c:v>
                </c:pt>
                <c:pt idx="1341">
                  <c:v>2170.87</c:v>
                </c:pt>
                <c:pt idx="1342">
                  <c:v>2157.0700000000002</c:v>
                </c:pt>
                <c:pt idx="1343">
                  <c:v>2164.14</c:v>
                </c:pt>
                <c:pt idx="1344">
                  <c:v>2166.3000000000002</c:v>
                </c:pt>
                <c:pt idx="1345">
                  <c:v>2192.6999999999998</c:v>
                </c:pt>
                <c:pt idx="1346">
                  <c:v>2197.83</c:v>
                </c:pt>
                <c:pt idx="1347">
                  <c:v>2237.02</c:v>
                </c:pt>
                <c:pt idx="1348">
                  <c:v>2260.4499999999998</c:v>
                </c:pt>
                <c:pt idx="1349">
                  <c:v>2323.9</c:v>
                </c:pt>
                <c:pt idx="1350">
                  <c:v>2331.37</c:v>
                </c:pt>
                <c:pt idx="1351">
                  <c:v>2322.0100000000002</c:v>
                </c:pt>
                <c:pt idx="1352">
                  <c:v>2350.25</c:v>
                </c:pt>
                <c:pt idx="1353">
                  <c:v>2329.4</c:v>
                </c:pt>
                <c:pt idx="1354">
                  <c:v>2375.62</c:v>
                </c:pt>
                <c:pt idx="1355">
                  <c:v>2369.35</c:v>
                </c:pt>
                <c:pt idx="1356">
                  <c:v>2363.2199999999998</c:v>
                </c:pt>
                <c:pt idx="1357">
                  <c:v>2327.46</c:v>
                </c:pt>
                <c:pt idx="1358">
                  <c:v>2331.13</c:v>
                </c:pt>
                <c:pt idx="1359">
                  <c:v>2365.35</c:v>
                </c:pt>
                <c:pt idx="1360">
                  <c:v>2357.0500000000002</c:v>
                </c:pt>
                <c:pt idx="1361">
                  <c:v>2358.9</c:v>
                </c:pt>
                <c:pt idx="1362">
                  <c:v>2335.9499999999998</c:v>
                </c:pt>
                <c:pt idx="1363">
                  <c:v>2360.64</c:v>
                </c:pt>
                <c:pt idx="1364">
                  <c:v>2374.56</c:v>
                </c:pt>
                <c:pt idx="1365">
                  <c:v>2374.77</c:v>
                </c:pt>
                <c:pt idx="1366">
                  <c:v>2366.14</c:v>
                </c:pt>
                <c:pt idx="1367">
                  <c:v>2354.2399999999998</c:v>
                </c:pt>
                <c:pt idx="1368">
                  <c:v>2365.36</c:v>
                </c:pt>
                <c:pt idx="1369">
                  <c:v>2342.86</c:v>
                </c:pt>
                <c:pt idx="1370">
                  <c:v>2324.09</c:v>
                </c:pt>
                <c:pt idx="1371">
                  <c:v>2327.59</c:v>
                </c:pt>
                <c:pt idx="1372">
                  <c:v>2311.2800000000002</c:v>
                </c:pt>
                <c:pt idx="1373">
                  <c:v>2338.29</c:v>
                </c:pt>
                <c:pt idx="1374">
                  <c:v>2355.3200000000002</c:v>
                </c:pt>
                <c:pt idx="1375">
                  <c:v>2386.46</c:v>
                </c:pt>
                <c:pt idx="1376">
                  <c:v>2408.84</c:v>
                </c:pt>
                <c:pt idx="1377">
                  <c:v>2426.2199999999998</c:v>
                </c:pt>
                <c:pt idx="1378">
                  <c:v>2449.2600000000002</c:v>
                </c:pt>
                <c:pt idx="1379">
                  <c:v>2445.2199999999998</c:v>
                </c:pt>
                <c:pt idx="1380">
                  <c:v>2432.4299999999998</c:v>
                </c:pt>
                <c:pt idx="1381">
                  <c:v>2423.4499999999998</c:v>
                </c:pt>
                <c:pt idx="1382">
                  <c:v>2438.36</c:v>
                </c:pt>
                <c:pt idx="1383">
                  <c:v>2437.19</c:v>
                </c:pt>
                <c:pt idx="1384">
                  <c:v>2388.77</c:v>
                </c:pt>
                <c:pt idx="1385">
                  <c:v>2401.33</c:v>
                </c:pt>
                <c:pt idx="1386">
                  <c:v>2408.66</c:v>
                </c:pt>
                <c:pt idx="1387">
                  <c:v>2425.21</c:v>
                </c:pt>
                <c:pt idx="1388">
                  <c:v>2378.92</c:v>
                </c:pt>
                <c:pt idx="1389">
                  <c:v>2399.46</c:v>
                </c:pt>
                <c:pt idx="1390">
                  <c:v>2441.86</c:v>
                </c:pt>
                <c:pt idx="1391">
                  <c:v>2436.9699999999998</c:v>
                </c:pt>
                <c:pt idx="1392">
                  <c:v>2437.1999999999998</c:v>
                </c:pt>
                <c:pt idx="1393">
                  <c:v>2447.8000000000002</c:v>
                </c:pt>
                <c:pt idx="1394">
                  <c:v>2450.9899999999998</c:v>
                </c:pt>
                <c:pt idx="1395">
                  <c:v>2478.38</c:v>
                </c:pt>
                <c:pt idx="1396">
                  <c:v>2481.96</c:v>
                </c:pt>
                <c:pt idx="1397">
                  <c:v>2466.79</c:v>
                </c:pt>
                <c:pt idx="1398">
                  <c:v>2454.9499999999998</c:v>
                </c:pt>
                <c:pt idx="1399">
                  <c:v>2446.56</c:v>
                </c:pt>
                <c:pt idx="1400">
                  <c:v>2463.87</c:v>
                </c:pt>
                <c:pt idx="1401">
                  <c:v>2444.4</c:v>
                </c:pt>
                <c:pt idx="1402">
                  <c:v>2441.73</c:v>
                </c:pt>
                <c:pt idx="1403">
                  <c:v>2454.71</c:v>
                </c:pt>
                <c:pt idx="1404">
                  <c:v>2433.39</c:v>
                </c:pt>
                <c:pt idx="1405">
                  <c:v>2418.64</c:v>
                </c:pt>
                <c:pt idx="1406">
                  <c:v>2395.94</c:v>
                </c:pt>
                <c:pt idx="1407">
                  <c:v>2390.71</c:v>
                </c:pt>
                <c:pt idx="1408">
                  <c:v>2368.83</c:v>
                </c:pt>
                <c:pt idx="1409">
                  <c:v>2416.65</c:v>
                </c:pt>
                <c:pt idx="1410">
                  <c:v>2451.38</c:v>
                </c:pt>
                <c:pt idx="1411">
                  <c:v>2468.9299999999998</c:v>
                </c:pt>
                <c:pt idx="1412">
                  <c:v>2508.3200000000002</c:v>
                </c:pt>
                <c:pt idx="1413">
                  <c:v>2512.5500000000002</c:v>
                </c:pt>
                <c:pt idx="1414">
                  <c:v>2513.17</c:v>
                </c:pt>
                <c:pt idx="1415">
                  <c:v>2503.4499999999998</c:v>
                </c:pt>
                <c:pt idx="1416">
                  <c:v>2506.0700000000002</c:v>
                </c:pt>
                <c:pt idx="1417">
                  <c:v>2502.15</c:v>
                </c:pt>
                <c:pt idx="1418">
                  <c:v>2565.73</c:v>
                </c:pt>
                <c:pt idx="1419">
                  <c:v>2558.61</c:v>
                </c:pt>
                <c:pt idx="1420">
                  <c:v>2594.3200000000002</c:v>
                </c:pt>
                <c:pt idx="1421">
                  <c:v>2579.75</c:v>
                </c:pt>
                <c:pt idx="1422">
                  <c:v>2581.09</c:v>
                </c:pt>
                <c:pt idx="1423">
                  <c:v>2567.1</c:v>
                </c:pt>
                <c:pt idx="1424">
                  <c:v>2541.42</c:v>
                </c:pt>
                <c:pt idx="1425">
                  <c:v>2537.2199999999998</c:v>
                </c:pt>
                <c:pt idx="1426">
                  <c:v>2537.1</c:v>
                </c:pt>
                <c:pt idx="1427">
                  <c:v>2583.46</c:v>
                </c:pt>
                <c:pt idx="1428">
                  <c:v>2649.26</c:v>
                </c:pt>
                <c:pt idx="1429">
                  <c:v>2685.56</c:v>
                </c:pt>
                <c:pt idx="1430">
                  <c:v>2723.02</c:v>
                </c:pt>
                <c:pt idx="1431">
                  <c:v>2754.49</c:v>
                </c:pt>
                <c:pt idx="1432">
                  <c:v>2808.82</c:v>
                </c:pt>
                <c:pt idx="1433">
                  <c:v>2819.81</c:v>
                </c:pt>
                <c:pt idx="1434">
                  <c:v>2923.94</c:v>
                </c:pt>
                <c:pt idx="1435">
                  <c:v>2967.55</c:v>
                </c:pt>
                <c:pt idx="1436">
                  <c:v>3104.35</c:v>
                </c:pt>
                <c:pt idx="1437">
                  <c:v>3124.89</c:v>
                </c:pt>
                <c:pt idx="1438">
                  <c:v>3252.88</c:v>
                </c:pt>
                <c:pt idx="1439">
                  <c:v>3106.91</c:v>
                </c:pt>
                <c:pt idx="1440">
                  <c:v>3221.55</c:v>
                </c:pt>
                <c:pt idx="1441">
                  <c:v>3183.01</c:v>
                </c:pt>
                <c:pt idx="1442">
                  <c:v>3193.23</c:v>
                </c:pt>
                <c:pt idx="1443">
                  <c:v>3217.23</c:v>
                </c:pt>
                <c:pt idx="1444">
                  <c:v>3303.4</c:v>
                </c:pt>
                <c:pt idx="1445">
                  <c:v>3360.6</c:v>
                </c:pt>
                <c:pt idx="1446">
                  <c:v>3345.93</c:v>
                </c:pt>
                <c:pt idx="1447">
                  <c:v>3383.17</c:v>
                </c:pt>
                <c:pt idx="1448">
                  <c:v>3394.48</c:v>
                </c:pt>
                <c:pt idx="1449">
                  <c:v>3324.92</c:v>
                </c:pt>
                <c:pt idx="1450">
                  <c:v>3230.39</c:v>
                </c:pt>
                <c:pt idx="1451">
                  <c:v>3335.42</c:v>
                </c:pt>
                <c:pt idx="1452">
                  <c:v>3445.84</c:v>
                </c:pt>
                <c:pt idx="1453">
                  <c:v>3455.46</c:v>
                </c:pt>
                <c:pt idx="1454">
                  <c:v>3457.55</c:v>
                </c:pt>
                <c:pt idx="1455">
                  <c:v>3533.71</c:v>
                </c:pt>
                <c:pt idx="1456">
                  <c:v>3641.54</c:v>
                </c:pt>
                <c:pt idx="1457">
                  <c:v>3641.06</c:v>
                </c:pt>
                <c:pt idx="1458">
                  <c:v>3643.79</c:v>
                </c:pt>
                <c:pt idx="1459">
                  <c:v>3559.26</c:v>
                </c:pt>
                <c:pt idx="1460">
                  <c:v>3546.72</c:v>
                </c:pt>
                <c:pt idx="1461">
                  <c:v>3513.58</c:v>
                </c:pt>
                <c:pt idx="1462">
                  <c:v>3514.04</c:v>
                </c:pt>
                <c:pt idx="1463">
                  <c:v>3502.42</c:v>
                </c:pt>
                <c:pt idx="1464">
                  <c:v>3604.12</c:v>
                </c:pt>
                <c:pt idx="1465">
                  <c:v>3635.15</c:v>
                </c:pt>
                <c:pt idx="1466">
                  <c:v>3355.16</c:v>
                </c:pt>
                <c:pt idx="1467">
                  <c:v>3396.22</c:v>
                </c:pt>
                <c:pt idx="1468">
                  <c:v>3548.89</c:v>
                </c:pt>
                <c:pt idx="1469">
                  <c:v>3567.61</c:v>
                </c:pt>
                <c:pt idx="1470">
                  <c:v>3571.73</c:v>
                </c:pt>
                <c:pt idx="1471">
                  <c:v>3607.99</c:v>
                </c:pt>
                <c:pt idx="1472">
                  <c:v>3574.93</c:v>
                </c:pt>
                <c:pt idx="1473">
                  <c:v>3525.32</c:v>
                </c:pt>
                <c:pt idx="1474">
                  <c:v>3481.8</c:v>
                </c:pt>
                <c:pt idx="1475">
                  <c:v>3434.39</c:v>
                </c:pt>
                <c:pt idx="1476">
                  <c:v>3353.96</c:v>
                </c:pt>
                <c:pt idx="1477">
                  <c:v>3437.45</c:v>
                </c:pt>
                <c:pt idx="1478">
                  <c:v>3401.77</c:v>
                </c:pt>
                <c:pt idx="1479">
                  <c:v>3366.95</c:v>
                </c:pt>
                <c:pt idx="1480">
                  <c:v>3312.42</c:v>
                </c:pt>
                <c:pt idx="1481">
                  <c:v>3345.92</c:v>
                </c:pt>
                <c:pt idx="1482">
                  <c:v>3406.94</c:v>
                </c:pt>
                <c:pt idx="1483">
                  <c:v>3434.12</c:v>
                </c:pt>
                <c:pt idx="1484">
                  <c:v>3442.87</c:v>
                </c:pt>
                <c:pt idx="1485">
                  <c:v>3469.83</c:v>
                </c:pt>
                <c:pt idx="1486">
                  <c:v>3499.48</c:v>
                </c:pt>
                <c:pt idx="1487">
                  <c:v>3522.32</c:v>
                </c:pt>
                <c:pt idx="1488">
                  <c:v>3478.73</c:v>
                </c:pt>
                <c:pt idx="1489">
                  <c:v>3566.3</c:v>
                </c:pt>
                <c:pt idx="1490">
                  <c:v>3572.84</c:v>
                </c:pt>
                <c:pt idx="1491">
                  <c:v>3601.27</c:v>
                </c:pt>
                <c:pt idx="1492">
                  <c:v>3507.9</c:v>
                </c:pt>
                <c:pt idx="1493">
                  <c:v>3530.82</c:v>
                </c:pt>
                <c:pt idx="1494">
                  <c:v>3496.34</c:v>
                </c:pt>
                <c:pt idx="1495">
                  <c:v>3478.52</c:v>
                </c:pt>
                <c:pt idx="1496">
                  <c:v>3537.75</c:v>
                </c:pt>
                <c:pt idx="1497">
                  <c:v>3520.61</c:v>
                </c:pt>
                <c:pt idx="1498">
                  <c:v>3524.65</c:v>
                </c:pt>
                <c:pt idx="1499">
                  <c:v>3592.84</c:v>
                </c:pt>
                <c:pt idx="1500">
                  <c:v>3617.66</c:v>
                </c:pt>
                <c:pt idx="1501">
                  <c:v>3705.67</c:v>
                </c:pt>
                <c:pt idx="1502">
                  <c:v>3757.12</c:v>
                </c:pt>
                <c:pt idx="1503">
                  <c:v>3846.06</c:v>
                </c:pt>
                <c:pt idx="1504">
                  <c:v>3839.74</c:v>
                </c:pt>
                <c:pt idx="1505">
                  <c:v>3892.57</c:v>
                </c:pt>
                <c:pt idx="1506">
                  <c:v>3972.06</c:v>
                </c:pt>
                <c:pt idx="1507">
                  <c:v>3973.05</c:v>
                </c:pt>
                <c:pt idx="1508">
                  <c:v>3940.41</c:v>
                </c:pt>
                <c:pt idx="1509">
                  <c:v>3950</c:v>
                </c:pt>
                <c:pt idx="1510">
                  <c:v>3971.7</c:v>
                </c:pt>
                <c:pt idx="1511">
                  <c:v>4088.18</c:v>
                </c:pt>
                <c:pt idx="1512">
                  <c:v>4051.2</c:v>
                </c:pt>
                <c:pt idx="1513">
                  <c:v>4123.8999999999996</c:v>
                </c:pt>
                <c:pt idx="1514">
                  <c:v>4124.78</c:v>
                </c:pt>
                <c:pt idx="1515">
                  <c:v>4170.54</c:v>
                </c:pt>
                <c:pt idx="1516">
                  <c:v>4260.04</c:v>
                </c:pt>
                <c:pt idx="1517">
                  <c:v>4295.8</c:v>
                </c:pt>
                <c:pt idx="1518">
                  <c:v>4262.1400000000003</c:v>
                </c:pt>
                <c:pt idx="1519">
                  <c:v>4344.42</c:v>
                </c:pt>
                <c:pt idx="1520">
                  <c:v>4421.07</c:v>
                </c:pt>
                <c:pt idx="1521">
                  <c:v>4438.18</c:v>
                </c:pt>
                <c:pt idx="1522">
                  <c:v>4380.51</c:v>
                </c:pt>
                <c:pt idx="1523">
                  <c:v>4513.55</c:v>
                </c:pt>
                <c:pt idx="1524">
                  <c:v>4596.1400000000003</c:v>
                </c:pt>
                <c:pt idx="1525">
                  <c:v>4521.92</c:v>
                </c:pt>
                <c:pt idx="1526">
                  <c:v>4619.16</c:v>
                </c:pt>
                <c:pt idx="1527">
                  <c:v>4739.8100000000004</c:v>
                </c:pt>
                <c:pt idx="1528">
                  <c:v>4740.8900000000003</c:v>
                </c:pt>
                <c:pt idx="1529">
                  <c:v>4702.6400000000003</c:v>
                </c:pt>
                <c:pt idx="1530">
                  <c:v>4807.59</c:v>
                </c:pt>
                <c:pt idx="1531">
                  <c:v>4741.8599999999997</c:v>
                </c:pt>
                <c:pt idx="1532">
                  <c:v>4774.33</c:v>
                </c:pt>
                <c:pt idx="1533">
                  <c:v>4749.8900000000003</c:v>
                </c:pt>
                <c:pt idx="1534">
                  <c:v>4787.74</c:v>
                </c:pt>
                <c:pt idx="1535">
                  <c:v>4596.84</c:v>
                </c:pt>
                <c:pt idx="1536">
                  <c:v>4553.33</c:v>
                </c:pt>
                <c:pt idx="1537">
                  <c:v>4470.09</c:v>
                </c:pt>
                <c:pt idx="1538">
                  <c:v>4558.3999999999996</c:v>
                </c:pt>
                <c:pt idx="1539">
                  <c:v>4690.53</c:v>
                </c:pt>
                <c:pt idx="1540">
                  <c:v>4747.42</c:v>
                </c:pt>
                <c:pt idx="1541">
                  <c:v>4718.4399999999996</c:v>
                </c:pt>
                <c:pt idx="1542">
                  <c:v>4700.78</c:v>
                </c:pt>
                <c:pt idx="1543">
                  <c:v>4617.47</c:v>
                </c:pt>
                <c:pt idx="1544">
                  <c:v>4575.1400000000003</c:v>
                </c:pt>
                <c:pt idx="1545">
                  <c:v>4731.22</c:v>
                </c:pt>
                <c:pt idx="1546">
                  <c:v>4754.92</c:v>
                </c:pt>
                <c:pt idx="1547">
                  <c:v>4840.9799999999996</c:v>
                </c:pt>
                <c:pt idx="1548">
                  <c:v>4951.34</c:v>
                </c:pt>
                <c:pt idx="1549">
                  <c:v>5099.5</c:v>
                </c:pt>
                <c:pt idx="1550">
                  <c:v>5198.92</c:v>
                </c:pt>
                <c:pt idx="1551">
                  <c:v>5181.43</c:v>
                </c:pt>
                <c:pt idx="1552">
                  <c:v>4834.01</c:v>
                </c:pt>
                <c:pt idx="1553">
                  <c:v>4840.83</c:v>
                </c:pt>
                <c:pt idx="1554">
                  <c:v>5076.18</c:v>
                </c:pt>
                <c:pt idx="1555">
                  <c:v>5161.87</c:v>
                </c:pt>
                <c:pt idx="1556">
                  <c:v>5143.59</c:v>
                </c:pt>
                <c:pt idx="1557">
                  <c:v>5181.42</c:v>
                </c:pt>
                <c:pt idx="1558">
                  <c:v>5230.55</c:v>
                </c:pt>
                <c:pt idx="1559">
                  <c:v>5353.75</c:v>
                </c:pt>
                <c:pt idx="1560">
                  <c:v>5317.46</c:v>
                </c:pt>
                <c:pt idx="1561">
                  <c:v>5309.11</c:v>
                </c:pt>
                <c:pt idx="1562">
                  <c:v>5306.59</c:v>
                </c:pt>
                <c:pt idx="1563">
                  <c:v>5335.12</c:v>
                </c:pt>
                <c:pt idx="1564">
                  <c:v>5221.17</c:v>
                </c:pt>
                <c:pt idx="1565">
                  <c:v>5064.82</c:v>
                </c:pt>
                <c:pt idx="1566">
                  <c:v>5138.83</c:v>
                </c:pt>
                <c:pt idx="1567">
                  <c:v>4930.55</c:v>
                </c:pt>
                <c:pt idx="1568">
                  <c:v>4637.05</c:v>
                </c:pt>
                <c:pt idx="1569">
                  <c:v>4786.09</c:v>
                </c:pt>
                <c:pt idx="1570">
                  <c:v>4880.13</c:v>
                </c:pt>
                <c:pt idx="1571">
                  <c:v>4706.5200000000004</c:v>
                </c:pt>
                <c:pt idx="1572">
                  <c:v>4336.1899999999996</c:v>
                </c:pt>
                <c:pt idx="1573">
                  <c:v>4191.55</c:v>
                </c:pt>
                <c:pt idx="1574">
                  <c:v>4473</c:v>
                </c:pt>
                <c:pt idx="1575">
                  <c:v>4253.0200000000004</c:v>
                </c:pt>
                <c:pt idx="1576">
                  <c:v>4108</c:v>
                </c:pt>
                <c:pt idx="1577">
                  <c:v>3885.92</c:v>
                </c:pt>
                <c:pt idx="1578">
                  <c:v>3998.54</c:v>
                </c:pt>
                <c:pt idx="1579">
                  <c:v>3928</c:v>
                </c:pt>
                <c:pt idx="1580">
                  <c:v>3663.04</c:v>
                </c:pt>
                <c:pt idx="1581">
                  <c:v>3897.63</c:v>
                </c:pt>
                <c:pt idx="1582">
                  <c:v>4106.5600000000004</c:v>
                </c:pt>
                <c:pt idx="1583">
                  <c:v>4211.8100000000004</c:v>
                </c:pt>
                <c:pt idx="1584">
                  <c:v>4112.1499999999996</c:v>
                </c:pt>
                <c:pt idx="1585">
                  <c:v>3966.76</c:v>
                </c:pt>
                <c:pt idx="1586">
                  <c:v>3997.36</c:v>
                </c:pt>
                <c:pt idx="1587">
                  <c:v>4151.5</c:v>
                </c:pt>
                <c:pt idx="1588">
                  <c:v>4160.6099999999997</c:v>
                </c:pt>
                <c:pt idx="1589">
                  <c:v>4166.01</c:v>
                </c:pt>
                <c:pt idx="1590">
                  <c:v>4157.16</c:v>
                </c:pt>
                <c:pt idx="1591">
                  <c:v>4250.8100000000004</c:v>
                </c:pt>
                <c:pt idx="1592">
                  <c:v>4176.28</c:v>
                </c:pt>
                <c:pt idx="1593">
                  <c:v>3818.73</c:v>
                </c:pt>
                <c:pt idx="1594">
                  <c:v>3811.09</c:v>
                </c:pt>
                <c:pt idx="1595">
                  <c:v>3930.38</c:v>
                </c:pt>
                <c:pt idx="1596">
                  <c:v>3815.41</c:v>
                </c:pt>
                <c:pt idx="1597">
                  <c:v>3816.7</c:v>
                </c:pt>
                <c:pt idx="1598">
                  <c:v>3829.24</c:v>
                </c:pt>
                <c:pt idx="1599">
                  <c:v>3948.16</c:v>
                </c:pt>
                <c:pt idx="1600">
                  <c:v>3866.9</c:v>
                </c:pt>
                <c:pt idx="1601">
                  <c:v>3831.85</c:v>
                </c:pt>
                <c:pt idx="1602">
                  <c:v>3906.94</c:v>
                </c:pt>
                <c:pt idx="1603">
                  <c:v>4084.36</c:v>
                </c:pt>
                <c:pt idx="1604">
                  <c:v>4066.67</c:v>
                </c:pt>
                <c:pt idx="1605">
                  <c:v>4016.13</c:v>
                </c:pt>
                <c:pt idx="1606">
                  <c:v>4075.46</c:v>
                </c:pt>
                <c:pt idx="1607">
                  <c:v>4073.54</c:v>
                </c:pt>
                <c:pt idx="1608">
                  <c:v>4077.87</c:v>
                </c:pt>
                <c:pt idx="1609">
                  <c:v>3825.41</c:v>
                </c:pt>
                <c:pt idx="1610">
                  <c:v>3886.14</c:v>
                </c:pt>
                <c:pt idx="1611">
                  <c:v>3761.45</c:v>
                </c:pt>
                <c:pt idx="1612">
                  <c:v>3589.54</c:v>
                </c:pt>
                <c:pt idx="1613">
                  <c:v>3275.53</c:v>
                </c:pt>
                <c:pt idx="1614">
                  <c:v>3042.93</c:v>
                </c:pt>
                <c:pt idx="1615">
                  <c:v>3025.69</c:v>
                </c:pt>
                <c:pt idx="1616">
                  <c:v>3205.64</c:v>
                </c:pt>
                <c:pt idx="1617">
                  <c:v>3342.29</c:v>
                </c:pt>
                <c:pt idx="1618">
                  <c:v>3366.54</c:v>
                </c:pt>
                <c:pt idx="1619">
                  <c:v>3362.08</c:v>
                </c:pt>
                <c:pt idx="1620">
                  <c:v>3365.83</c:v>
                </c:pt>
                <c:pt idx="1621">
                  <c:v>3250.49</c:v>
                </c:pt>
                <c:pt idx="1622">
                  <c:v>3334.02</c:v>
                </c:pt>
                <c:pt idx="1623">
                  <c:v>3399.31</c:v>
                </c:pt>
                <c:pt idx="1624">
                  <c:v>3357.56</c:v>
                </c:pt>
                <c:pt idx="1625">
                  <c:v>3347.19</c:v>
                </c:pt>
                <c:pt idx="1626">
                  <c:v>3281.13</c:v>
                </c:pt>
                <c:pt idx="1627">
                  <c:v>3152.23</c:v>
                </c:pt>
                <c:pt idx="1628">
                  <c:v>3309.25</c:v>
                </c:pt>
                <c:pt idx="1629">
                  <c:v>3237</c:v>
                </c:pt>
                <c:pt idx="1630">
                  <c:v>3251.27</c:v>
                </c:pt>
                <c:pt idx="1631">
                  <c:v>3308.25</c:v>
                </c:pt>
                <c:pt idx="1632">
                  <c:v>3339.03</c:v>
                </c:pt>
                <c:pt idx="1633">
                  <c:v>3263.03</c:v>
                </c:pt>
                <c:pt idx="1634">
                  <c:v>3285</c:v>
                </c:pt>
                <c:pt idx="1635">
                  <c:v>3231.95</c:v>
                </c:pt>
                <c:pt idx="1636">
                  <c:v>3242.75</c:v>
                </c:pt>
                <c:pt idx="1637">
                  <c:v>3178.85</c:v>
                </c:pt>
                <c:pt idx="1638">
                  <c:v>3202.95</c:v>
                </c:pt>
                <c:pt idx="1639">
                  <c:v>3296.48</c:v>
                </c:pt>
                <c:pt idx="1640">
                  <c:v>3340.12</c:v>
                </c:pt>
                <c:pt idx="1641">
                  <c:v>3447.69</c:v>
                </c:pt>
                <c:pt idx="1642">
                  <c:v>3445.04</c:v>
                </c:pt>
                <c:pt idx="1643">
                  <c:v>3406.11</c:v>
                </c:pt>
                <c:pt idx="1644">
                  <c:v>3486.82</c:v>
                </c:pt>
                <c:pt idx="1645">
                  <c:v>3534.07</c:v>
                </c:pt>
                <c:pt idx="1646">
                  <c:v>3534.18</c:v>
                </c:pt>
                <c:pt idx="1647">
                  <c:v>3577.7</c:v>
                </c:pt>
                <c:pt idx="1648">
                  <c:v>3473.25</c:v>
                </c:pt>
                <c:pt idx="1649">
                  <c:v>3524.53</c:v>
                </c:pt>
                <c:pt idx="1650">
                  <c:v>3571.24</c:v>
                </c:pt>
                <c:pt idx="1651">
                  <c:v>3589.26</c:v>
                </c:pt>
                <c:pt idx="1652">
                  <c:v>3592.88</c:v>
                </c:pt>
                <c:pt idx="1653">
                  <c:v>3524.92</c:v>
                </c:pt>
                <c:pt idx="1654">
                  <c:v>3533.31</c:v>
                </c:pt>
                <c:pt idx="1655">
                  <c:v>3534.08</c:v>
                </c:pt>
                <c:pt idx="1656">
                  <c:v>3475.96</c:v>
                </c:pt>
                <c:pt idx="1657">
                  <c:v>3465.49</c:v>
                </c:pt>
                <c:pt idx="1658">
                  <c:v>3628.54</c:v>
                </c:pt>
                <c:pt idx="1659">
                  <c:v>3705.97</c:v>
                </c:pt>
                <c:pt idx="1660">
                  <c:v>3793.37</c:v>
                </c:pt>
                <c:pt idx="1661">
                  <c:v>3840.35</c:v>
                </c:pt>
                <c:pt idx="1662">
                  <c:v>3833.24</c:v>
                </c:pt>
                <c:pt idx="1663">
                  <c:v>3833.65</c:v>
                </c:pt>
                <c:pt idx="1664">
                  <c:v>3795.32</c:v>
                </c:pt>
                <c:pt idx="1665">
                  <c:v>3746.24</c:v>
                </c:pt>
                <c:pt idx="1666">
                  <c:v>3764.13</c:v>
                </c:pt>
                <c:pt idx="1667">
                  <c:v>3758.39</c:v>
                </c:pt>
                <c:pt idx="1668">
                  <c:v>3715.58</c:v>
                </c:pt>
                <c:pt idx="1669">
                  <c:v>3774.97</c:v>
                </c:pt>
                <c:pt idx="1670">
                  <c:v>3774.38</c:v>
                </c:pt>
                <c:pt idx="1671">
                  <c:v>3753.34</c:v>
                </c:pt>
                <c:pt idx="1672">
                  <c:v>3753.89</c:v>
                </c:pt>
                <c:pt idx="1673">
                  <c:v>3781.61</c:v>
                </c:pt>
                <c:pt idx="1674">
                  <c:v>3759.43</c:v>
                </c:pt>
                <c:pt idx="1675">
                  <c:v>3556.99</c:v>
                </c:pt>
                <c:pt idx="1676">
                  <c:v>3566.41</c:v>
                </c:pt>
                <c:pt idx="1677">
                  <c:v>3591.7</c:v>
                </c:pt>
                <c:pt idx="1678">
                  <c:v>3721.95</c:v>
                </c:pt>
                <c:pt idx="1679">
                  <c:v>3749.3</c:v>
                </c:pt>
                <c:pt idx="1680">
                  <c:v>3677.59</c:v>
                </c:pt>
                <c:pt idx="1681">
                  <c:v>3687.61</c:v>
                </c:pt>
                <c:pt idx="1682">
                  <c:v>3623.02</c:v>
                </c:pt>
                <c:pt idx="1683">
                  <c:v>3635.94</c:v>
                </c:pt>
                <c:pt idx="1684">
                  <c:v>3623.08</c:v>
                </c:pt>
                <c:pt idx="1685">
                  <c:v>3608.06</c:v>
                </c:pt>
                <c:pt idx="1686">
                  <c:v>3711.32</c:v>
                </c:pt>
                <c:pt idx="1687">
                  <c:v>3694.39</c:v>
                </c:pt>
                <c:pt idx="1688">
                  <c:v>3685.44</c:v>
                </c:pt>
                <c:pt idx="1689">
                  <c:v>3755.89</c:v>
                </c:pt>
                <c:pt idx="1690">
                  <c:v>3767.91</c:v>
                </c:pt>
                <c:pt idx="1691">
                  <c:v>3865.97</c:v>
                </c:pt>
                <c:pt idx="1692">
                  <c:v>3876.73</c:v>
                </c:pt>
                <c:pt idx="1693">
                  <c:v>3866.38</c:v>
                </c:pt>
                <c:pt idx="1694">
                  <c:v>3829.4</c:v>
                </c:pt>
                <c:pt idx="1695">
                  <c:v>3838.2</c:v>
                </c:pt>
                <c:pt idx="1696">
                  <c:v>3727.63</c:v>
                </c:pt>
                <c:pt idx="1697">
                  <c:v>3761.87</c:v>
                </c:pt>
                <c:pt idx="1698">
                  <c:v>3765.18</c:v>
                </c:pt>
                <c:pt idx="1699">
                  <c:v>3731</c:v>
                </c:pt>
                <c:pt idx="1700">
                  <c:v>3469.07</c:v>
                </c:pt>
                <c:pt idx="1701">
                  <c:v>3478.78</c:v>
                </c:pt>
                <c:pt idx="1702">
                  <c:v>3539.81</c:v>
                </c:pt>
                <c:pt idx="1703">
                  <c:v>3294.38</c:v>
                </c:pt>
                <c:pt idx="1704">
                  <c:v>3361.56</c:v>
                </c:pt>
                <c:pt idx="1705">
                  <c:v>3192.45</c:v>
                </c:pt>
                <c:pt idx="1706">
                  <c:v>3215.71</c:v>
                </c:pt>
                <c:pt idx="1707">
                  <c:v>3155.88</c:v>
                </c:pt>
                <c:pt idx="1708">
                  <c:v>3221.57</c:v>
                </c:pt>
                <c:pt idx="1709">
                  <c:v>3118.73</c:v>
                </c:pt>
                <c:pt idx="1710">
                  <c:v>3130.73</c:v>
                </c:pt>
                <c:pt idx="1711">
                  <c:v>3223.13</c:v>
                </c:pt>
                <c:pt idx="1712">
                  <c:v>3174.38</c:v>
                </c:pt>
                <c:pt idx="1713">
                  <c:v>3081.35</c:v>
                </c:pt>
                <c:pt idx="1714">
                  <c:v>3113.46</c:v>
                </c:pt>
                <c:pt idx="1715">
                  <c:v>3128.89</c:v>
                </c:pt>
                <c:pt idx="1716">
                  <c:v>2940.51</c:v>
                </c:pt>
                <c:pt idx="1717">
                  <c:v>2930.35</c:v>
                </c:pt>
                <c:pt idx="1718">
                  <c:v>2853.76</c:v>
                </c:pt>
                <c:pt idx="1719">
                  <c:v>2946.09</c:v>
                </c:pt>
                <c:pt idx="1720">
                  <c:v>2901.05</c:v>
                </c:pt>
                <c:pt idx="1721">
                  <c:v>2961.33</c:v>
                </c:pt>
                <c:pt idx="1722">
                  <c:v>2948.64</c:v>
                </c:pt>
                <c:pt idx="1723">
                  <c:v>2984.76</c:v>
                </c:pt>
                <c:pt idx="1724">
                  <c:v>2963.79</c:v>
                </c:pt>
                <c:pt idx="1725">
                  <c:v>2946.71</c:v>
                </c:pt>
                <c:pt idx="1726">
                  <c:v>3037.04</c:v>
                </c:pt>
                <c:pt idx="1727">
                  <c:v>3063.32</c:v>
                </c:pt>
                <c:pt idx="1728">
                  <c:v>3053.7</c:v>
                </c:pt>
                <c:pt idx="1729">
                  <c:v>3051.59</c:v>
                </c:pt>
                <c:pt idx="1730">
                  <c:v>3118.87</c:v>
                </c:pt>
                <c:pt idx="1731">
                  <c:v>3089.36</c:v>
                </c:pt>
                <c:pt idx="1732">
                  <c:v>3109.55</c:v>
                </c:pt>
                <c:pt idx="1733">
                  <c:v>2918.75</c:v>
                </c:pt>
                <c:pt idx="1734">
                  <c:v>2948.03</c:v>
                </c:pt>
                <c:pt idx="1735">
                  <c:v>2877.47</c:v>
                </c:pt>
                <c:pt idx="1736">
                  <c:v>2930.69</c:v>
                </c:pt>
                <c:pt idx="1737">
                  <c:v>3051.33</c:v>
                </c:pt>
                <c:pt idx="1738">
                  <c:v>3058.42</c:v>
                </c:pt>
                <c:pt idx="1739">
                  <c:v>3093.89</c:v>
                </c:pt>
                <c:pt idx="1740">
                  <c:v>3104.84</c:v>
                </c:pt>
                <c:pt idx="1741">
                  <c:v>3107.67</c:v>
                </c:pt>
                <c:pt idx="1742">
                  <c:v>3071.91</c:v>
                </c:pt>
                <c:pt idx="1743">
                  <c:v>3013.15</c:v>
                </c:pt>
                <c:pt idx="1744">
                  <c:v>3018.28</c:v>
                </c:pt>
                <c:pt idx="1745">
                  <c:v>3065.69</c:v>
                </c:pt>
                <c:pt idx="1746">
                  <c:v>3074.78</c:v>
                </c:pt>
                <c:pt idx="1747">
                  <c:v>3090.03</c:v>
                </c:pt>
                <c:pt idx="1748">
                  <c:v>3124.2</c:v>
                </c:pt>
                <c:pt idx="1749">
                  <c:v>3171.96</c:v>
                </c:pt>
                <c:pt idx="1750">
                  <c:v>3249.44</c:v>
                </c:pt>
                <c:pt idx="1751">
                  <c:v>3225.79</c:v>
                </c:pt>
                <c:pt idx="1752">
                  <c:v>3236.09</c:v>
                </c:pt>
                <c:pt idx="1753">
                  <c:v>3181.85</c:v>
                </c:pt>
                <c:pt idx="1754">
                  <c:v>3197.82</c:v>
                </c:pt>
                <c:pt idx="1755">
                  <c:v>3169.73</c:v>
                </c:pt>
                <c:pt idx="1756">
                  <c:v>3135.41</c:v>
                </c:pt>
                <c:pt idx="1757">
                  <c:v>3216.28</c:v>
                </c:pt>
                <c:pt idx="1758">
                  <c:v>3218.09</c:v>
                </c:pt>
                <c:pt idx="1759">
                  <c:v>3221.89</c:v>
                </c:pt>
                <c:pt idx="1760">
                  <c:v>3264.49</c:v>
                </c:pt>
                <c:pt idx="1761">
                  <c:v>3257.53</c:v>
                </c:pt>
                <c:pt idx="1762">
                  <c:v>3209.29</c:v>
                </c:pt>
                <c:pt idx="1763">
                  <c:v>3185.73</c:v>
                </c:pt>
                <c:pt idx="1764">
                  <c:v>3230.1</c:v>
                </c:pt>
                <c:pt idx="1765">
                  <c:v>3218.45</c:v>
                </c:pt>
                <c:pt idx="1766">
                  <c:v>3261.38</c:v>
                </c:pt>
                <c:pt idx="1767">
                  <c:v>3275.83</c:v>
                </c:pt>
                <c:pt idx="1768">
                  <c:v>3272.21</c:v>
                </c:pt>
                <c:pt idx="1769">
                  <c:v>3228.45</c:v>
                </c:pt>
                <c:pt idx="1770">
                  <c:v>3238.3</c:v>
                </c:pt>
                <c:pt idx="1771">
                  <c:v>3181.03</c:v>
                </c:pt>
                <c:pt idx="1772">
                  <c:v>3160.6</c:v>
                </c:pt>
                <c:pt idx="1773">
                  <c:v>3174.9</c:v>
                </c:pt>
                <c:pt idx="1774">
                  <c:v>3162.03</c:v>
                </c:pt>
                <c:pt idx="1775">
                  <c:v>3179.16</c:v>
                </c:pt>
                <c:pt idx="1776">
                  <c:v>3165.92</c:v>
                </c:pt>
                <c:pt idx="1777">
                  <c:v>3160.58</c:v>
                </c:pt>
                <c:pt idx="1778">
                  <c:v>3156.75</c:v>
                </c:pt>
                <c:pt idx="1779">
                  <c:v>3213.54</c:v>
                </c:pt>
                <c:pt idx="1780">
                  <c:v>3209.46</c:v>
                </c:pt>
                <c:pt idx="1781">
                  <c:v>3213.92</c:v>
                </c:pt>
                <c:pt idx="1782">
                  <c:v>3130.35</c:v>
                </c:pt>
                <c:pt idx="1783">
                  <c:v>3065.62</c:v>
                </c:pt>
                <c:pt idx="1784">
                  <c:v>3069.11</c:v>
                </c:pt>
                <c:pt idx="1785">
                  <c:v>3082.81</c:v>
                </c:pt>
                <c:pt idx="1786">
                  <c:v>3090.14</c:v>
                </c:pt>
                <c:pt idx="1787">
                  <c:v>3074.94</c:v>
                </c:pt>
                <c:pt idx="1788">
                  <c:v>3095.31</c:v>
                </c:pt>
                <c:pt idx="1789">
                  <c:v>3086.02</c:v>
                </c:pt>
                <c:pt idx="1790">
                  <c:v>3068.04</c:v>
                </c:pt>
                <c:pt idx="1791">
                  <c:v>3062.5</c:v>
                </c:pt>
                <c:pt idx="1792">
                  <c:v>3078.22</c:v>
                </c:pt>
                <c:pt idx="1793">
                  <c:v>3087.22</c:v>
                </c:pt>
                <c:pt idx="1794">
                  <c:v>3063.56</c:v>
                </c:pt>
                <c:pt idx="1795">
                  <c:v>3059.23</c:v>
                </c:pt>
                <c:pt idx="1796">
                  <c:v>3064.21</c:v>
                </c:pt>
                <c:pt idx="1797">
                  <c:v>3062.5</c:v>
                </c:pt>
                <c:pt idx="1798">
                  <c:v>3066.71</c:v>
                </c:pt>
                <c:pt idx="1799">
                  <c:v>3169.56</c:v>
                </c:pt>
                <c:pt idx="1800">
                  <c:v>3160.55</c:v>
                </c:pt>
                <c:pt idx="1801">
                  <c:v>3167.1</c:v>
                </c:pt>
                <c:pt idx="1802">
                  <c:v>3189.33</c:v>
                </c:pt>
                <c:pt idx="1803">
                  <c:v>3178.79</c:v>
                </c:pt>
                <c:pt idx="1804">
                  <c:v>3177.05</c:v>
                </c:pt>
                <c:pt idx="1805">
                  <c:v>3163.99</c:v>
                </c:pt>
                <c:pt idx="1806">
                  <c:v>3066.34</c:v>
                </c:pt>
                <c:pt idx="1807">
                  <c:v>3075.98</c:v>
                </c:pt>
                <c:pt idx="1808">
                  <c:v>3116.37</c:v>
                </c:pt>
                <c:pt idx="1809">
                  <c:v>3094.67</c:v>
                </c:pt>
                <c:pt idx="1810">
                  <c:v>3110.36</c:v>
                </c:pt>
                <c:pt idx="1811">
                  <c:v>3112.67</c:v>
                </c:pt>
                <c:pt idx="1812">
                  <c:v>3106.32</c:v>
                </c:pt>
                <c:pt idx="1813">
                  <c:v>3133.96</c:v>
                </c:pt>
                <c:pt idx="1814">
                  <c:v>3117.32</c:v>
                </c:pt>
                <c:pt idx="1815">
                  <c:v>3077.16</c:v>
                </c:pt>
                <c:pt idx="1816">
                  <c:v>3120.54</c:v>
                </c:pt>
                <c:pt idx="1817">
                  <c:v>3136.4</c:v>
                </c:pt>
                <c:pt idx="1818">
                  <c:v>3151.39</c:v>
                </c:pt>
                <c:pt idx="1819">
                  <c:v>3153.92</c:v>
                </c:pt>
                <c:pt idx="1820">
                  <c:v>3154.2</c:v>
                </c:pt>
                <c:pt idx="1821">
                  <c:v>3204.7</c:v>
                </c:pt>
                <c:pt idx="1822">
                  <c:v>3207.38</c:v>
                </c:pt>
                <c:pt idx="1823">
                  <c:v>3216.8</c:v>
                </c:pt>
                <c:pt idx="1824">
                  <c:v>3209.95</c:v>
                </c:pt>
                <c:pt idx="1825">
                  <c:v>3192.28</c:v>
                </c:pt>
                <c:pt idx="1826">
                  <c:v>3203.33</c:v>
                </c:pt>
                <c:pt idx="1827">
                  <c:v>3273.18</c:v>
                </c:pt>
                <c:pt idx="1828">
                  <c:v>3282.87</c:v>
                </c:pt>
                <c:pt idx="1829">
                  <c:v>3276.76</c:v>
                </c:pt>
                <c:pt idx="1830">
                  <c:v>3276.28</c:v>
                </c:pt>
                <c:pt idx="1831">
                  <c:v>3262.02</c:v>
                </c:pt>
                <c:pt idx="1832">
                  <c:v>3248.23</c:v>
                </c:pt>
                <c:pt idx="1833">
                  <c:v>3237.61</c:v>
                </c:pt>
                <c:pt idx="1834">
                  <c:v>3252.52</c:v>
                </c:pt>
                <c:pt idx="1835">
                  <c:v>3225.16</c:v>
                </c:pt>
                <c:pt idx="1836">
                  <c:v>3230.89</c:v>
                </c:pt>
                <c:pt idx="1837">
                  <c:v>3269.59</c:v>
                </c:pt>
                <c:pt idx="1838">
                  <c:v>3218.24</c:v>
                </c:pt>
                <c:pt idx="1839">
                  <c:v>3221.14</c:v>
                </c:pt>
                <c:pt idx="1840">
                  <c:v>3203.93</c:v>
                </c:pt>
                <c:pt idx="1841">
                  <c:v>3176.81</c:v>
                </c:pt>
                <c:pt idx="1842">
                  <c:v>3189.05</c:v>
                </c:pt>
                <c:pt idx="1843">
                  <c:v>3193.51</c:v>
                </c:pt>
                <c:pt idx="1844">
                  <c:v>3201.29</c:v>
                </c:pt>
                <c:pt idx="1845">
                  <c:v>3205.11</c:v>
                </c:pt>
                <c:pt idx="1846">
                  <c:v>3234.18</c:v>
                </c:pt>
                <c:pt idx="1847">
                  <c:v>3256.98</c:v>
                </c:pt>
                <c:pt idx="1848">
                  <c:v>3243.34</c:v>
                </c:pt>
                <c:pt idx="1849">
                  <c:v>3233.36</c:v>
                </c:pt>
                <c:pt idx="1850">
                  <c:v>3294.23</c:v>
                </c:pt>
                <c:pt idx="1851">
                  <c:v>3393.42</c:v>
                </c:pt>
                <c:pt idx="1852">
                  <c:v>3378.25</c:v>
                </c:pt>
                <c:pt idx="1853">
                  <c:v>3373.05</c:v>
                </c:pt>
                <c:pt idx="1854">
                  <c:v>3364.49</c:v>
                </c:pt>
                <c:pt idx="1855">
                  <c:v>3365.02</c:v>
                </c:pt>
                <c:pt idx="1856">
                  <c:v>3336.79</c:v>
                </c:pt>
                <c:pt idx="1857">
                  <c:v>3341.83</c:v>
                </c:pt>
                <c:pt idx="1858">
                  <c:v>3329.86</c:v>
                </c:pt>
                <c:pt idx="1859">
                  <c:v>3308.97</c:v>
                </c:pt>
                <c:pt idx="1860">
                  <c:v>3307.09</c:v>
                </c:pt>
                <c:pt idx="1861">
                  <c:v>3307.78</c:v>
                </c:pt>
                <c:pt idx="1862">
                  <c:v>3311.99</c:v>
                </c:pt>
                <c:pt idx="1863">
                  <c:v>3327.79</c:v>
                </c:pt>
                <c:pt idx="1864">
                  <c:v>3301.58</c:v>
                </c:pt>
                <c:pt idx="1865">
                  <c:v>3314.11</c:v>
                </c:pt>
                <c:pt idx="1866">
                  <c:v>3319.68</c:v>
                </c:pt>
                <c:pt idx="1867">
                  <c:v>3342.63</c:v>
                </c:pt>
                <c:pt idx="1868">
                  <c:v>3340.82</c:v>
                </c:pt>
                <c:pt idx="1869">
                  <c:v>3339.56</c:v>
                </c:pt>
                <c:pt idx="1870">
                  <c:v>3318.04</c:v>
                </c:pt>
                <c:pt idx="1871">
                  <c:v>3262.6</c:v>
                </c:pt>
                <c:pt idx="1872">
                  <c:v>3260.33</c:v>
                </c:pt>
                <c:pt idx="1873">
                  <c:v>3238.73</c:v>
                </c:pt>
                <c:pt idx="1874">
                  <c:v>3263.12</c:v>
                </c:pt>
                <c:pt idx="1875">
                  <c:v>3257.4</c:v>
                </c:pt>
                <c:pt idx="1876">
                  <c:v>3266.64</c:v>
                </c:pt>
                <c:pt idx="1877">
                  <c:v>3291.12</c:v>
                </c:pt>
                <c:pt idx="1878">
                  <c:v>3275.67</c:v>
                </c:pt>
                <c:pt idx="1879">
                  <c:v>3220.28</c:v>
                </c:pt>
                <c:pt idx="1880">
                  <c:v>3240.75</c:v>
                </c:pt>
                <c:pt idx="1881">
                  <c:v>3230.89</c:v>
                </c:pt>
                <c:pt idx="1882">
                  <c:v>3244.39</c:v>
                </c:pt>
                <c:pt idx="1883">
                  <c:v>3253.28</c:v>
                </c:pt>
                <c:pt idx="1884">
                  <c:v>3293.87</c:v>
                </c:pt>
                <c:pt idx="1885">
                  <c:v>3306.56</c:v>
                </c:pt>
                <c:pt idx="1886">
                  <c:v>3300.01</c:v>
                </c:pt>
                <c:pt idx="1887">
                  <c:v>3302.65</c:v>
                </c:pt>
                <c:pt idx="1888">
                  <c:v>3305.85</c:v>
                </c:pt>
                <c:pt idx="1889">
                  <c:v>3277.88</c:v>
                </c:pt>
                <c:pt idx="1890">
                  <c:v>3321.33</c:v>
                </c:pt>
                <c:pt idx="1891">
                  <c:v>3316.24</c:v>
                </c:pt>
                <c:pt idx="1892">
                  <c:v>3318.6</c:v>
                </c:pt>
                <c:pt idx="1893">
                  <c:v>3327.74</c:v>
                </c:pt>
                <c:pt idx="1894">
                  <c:v>3367.58</c:v>
                </c:pt>
                <c:pt idx="1895">
                  <c:v>3367.45</c:v>
                </c:pt>
                <c:pt idx="1896">
                  <c:v>3354.8</c:v>
                </c:pt>
                <c:pt idx="1897">
                  <c:v>3345.7</c:v>
                </c:pt>
                <c:pt idx="1898">
                  <c:v>3340.13</c:v>
                </c:pt>
                <c:pt idx="1899">
                  <c:v>3336.28</c:v>
                </c:pt>
                <c:pt idx="1900">
                  <c:v>3359.05</c:v>
                </c:pt>
                <c:pt idx="1901">
                  <c:v>3333.35</c:v>
                </c:pt>
                <c:pt idx="1902">
                  <c:v>3365.09</c:v>
                </c:pt>
                <c:pt idx="1903">
                  <c:v>3354.17</c:v>
                </c:pt>
                <c:pt idx="1904">
                  <c:v>3356.59</c:v>
                </c:pt>
                <c:pt idx="1905">
                  <c:v>3371.12</c:v>
                </c:pt>
                <c:pt idx="1906">
                  <c:v>3353.05</c:v>
                </c:pt>
                <c:pt idx="1907">
                  <c:v>3390.61</c:v>
                </c:pt>
                <c:pt idx="1908">
                  <c:v>3417.22</c:v>
                </c:pt>
                <c:pt idx="1909">
                  <c:v>3430.25</c:v>
                </c:pt>
                <c:pt idx="1910">
                  <c:v>3429.87</c:v>
                </c:pt>
                <c:pt idx="1911">
                  <c:v>3429.59</c:v>
                </c:pt>
                <c:pt idx="1912">
                  <c:v>3436.54</c:v>
                </c:pt>
                <c:pt idx="1913">
                  <c:v>3417.46</c:v>
                </c:pt>
                <c:pt idx="1914">
                  <c:v>3441.11</c:v>
                </c:pt>
                <c:pt idx="1915">
                  <c:v>3468.36</c:v>
                </c:pt>
                <c:pt idx="1916">
                  <c:v>3474.73</c:v>
                </c:pt>
                <c:pt idx="1917">
                  <c:v>3488.74</c:v>
                </c:pt>
                <c:pt idx="1918">
                  <c:v>3521.3</c:v>
                </c:pt>
                <c:pt idx="1919">
                  <c:v>3535.08</c:v>
                </c:pt>
                <c:pt idx="1920">
                  <c:v>3564.04</c:v>
                </c:pt>
                <c:pt idx="1921">
                  <c:v>3538</c:v>
                </c:pt>
                <c:pt idx="1922">
                  <c:v>3565.04</c:v>
                </c:pt>
                <c:pt idx="1923">
                  <c:v>3528.95</c:v>
                </c:pt>
                <c:pt idx="1924">
                  <c:v>3469.41</c:v>
                </c:pt>
                <c:pt idx="1925">
                  <c:v>3459.15</c:v>
                </c:pt>
                <c:pt idx="1926">
                  <c:v>3475.75</c:v>
                </c:pt>
                <c:pt idx="1927">
                  <c:v>3470.14</c:v>
                </c:pt>
                <c:pt idx="1928">
                  <c:v>3493.7</c:v>
                </c:pt>
                <c:pt idx="1929">
                  <c:v>3409.18</c:v>
                </c:pt>
                <c:pt idx="1930">
                  <c:v>3405.04</c:v>
                </c:pt>
                <c:pt idx="1931">
                  <c:v>3378.95</c:v>
                </c:pt>
                <c:pt idx="1932">
                  <c:v>3340.43</c:v>
                </c:pt>
                <c:pt idx="1933">
                  <c:v>3346.03</c:v>
                </c:pt>
                <c:pt idx="1934">
                  <c:v>3328.98</c:v>
                </c:pt>
                <c:pt idx="1935">
                  <c:v>3309.06</c:v>
                </c:pt>
                <c:pt idx="1936">
                  <c:v>3338.54</c:v>
                </c:pt>
                <c:pt idx="1937">
                  <c:v>3335.67</c:v>
                </c:pt>
                <c:pt idx="1938">
                  <c:v>3307.6</c:v>
                </c:pt>
                <c:pt idx="1939">
                  <c:v>3322.4</c:v>
                </c:pt>
                <c:pt idx="1940">
                  <c:v>3316.39</c:v>
                </c:pt>
                <c:pt idx="1941">
                  <c:v>3301.89</c:v>
                </c:pt>
                <c:pt idx="1942">
                  <c:v>3297.76</c:v>
                </c:pt>
                <c:pt idx="1943">
                  <c:v>3310.08</c:v>
                </c:pt>
                <c:pt idx="1944">
                  <c:v>3342.23</c:v>
                </c:pt>
                <c:pt idx="1945">
                  <c:v>3368.31</c:v>
                </c:pt>
                <c:pt idx="1946">
                  <c:v>3367.79</c:v>
                </c:pt>
                <c:pt idx="1947">
                  <c:v>3347.67</c:v>
                </c:pt>
                <c:pt idx="1948">
                  <c:v>3363.9</c:v>
                </c:pt>
                <c:pt idx="1949">
                  <c:v>3358.27</c:v>
                </c:pt>
                <c:pt idx="1950">
                  <c:v>3334.5</c:v>
                </c:pt>
                <c:pt idx="1951">
                  <c:v>3317.62</c:v>
                </c:pt>
                <c:pt idx="1952">
                  <c:v>3319.91</c:v>
                </c:pt>
                <c:pt idx="1953">
                  <c:v>3319.45</c:v>
                </c:pt>
                <c:pt idx="1954">
                  <c:v>3326.36</c:v>
                </c:pt>
                <c:pt idx="1955">
                  <c:v>3339.37</c:v>
                </c:pt>
                <c:pt idx="1956">
                  <c:v>3329.29</c:v>
                </c:pt>
                <c:pt idx="1957">
                  <c:v>3354.89</c:v>
                </c:pt>
                <c:pt idx="1958">
                  <c:v>3364.08</c:v>
                </c:pt>
                <c:pt idx="1959">
                  <c:v>3364.45</c:v>
                </c:pt>
                <c:pt idx="1960">
                  <c:v>3375.9</c:v>
                </c:pt>
                <c:pt idx="1961">
                  <c:v>3387.96</c:v>
                </c:pt>
                <c:pt idx="1962">
                  <c:v>3364.49</c:v>
                </c:pt>
                <c:pt idx="1963">
                  <c:v>3373.21</c:v>
                </c:pt>
                <c:pt idx="1964">
                  <c:v>3365.68</c:v>
                </c:pt>
                <c:pt idx="1965">
                  <c:v>3383.29</c:v>
                </c:pt>
                <c:pt idx="1966">
                  <c:v>3396.29</c:v>
                </c:pt>
                <c:pt idx="1967">
                  <c:v>3413.49</c:v>
                </c:pt>
                <c:pt idx="1968">
                  <c:v>3436.28</c:v>
                </c:pt>
                <c:pt idx="1969">
                  <c:v>3435.8</c:v>
                </c:pt>
                <c:pt idx="1970">
                  <c:v>3421.71</c:v>
                </c:pt>
                <c:pt idx="1971">
                  <c:v>3440.93</c:v>
                </c:pt>
                <c:pt idx="1972">
                  <c:v>3421.44</c:v>
                </c:pt>
                <c:pt idx="1973">
                  <c:v>3471.39</c:v>
                </c:pt>
                <c:pt idx="1974">
                  <c:v>3482.82</c:v>
                </c:pt>
                <c:pt idx="1975">
                  <c:v>3489.76</c:v>
                </c:pt>
                <c:pt idx="1976">
                  <c:v>3473.32</c:v>
                </c:pt>
                <c:pt idx="1977">
                  <c:v>3473.85</c:v>
                </c:pt>
                <c:pt idx="1978">
                  <c:v>3446.22</c:v>
                </c:pt>
                <c:pt idx="1979">
                  <c:v>3452.81</c:v>
                </c:pt>
                <c:pt idx="1980">
                  <c:v>3458.44</c:v>
                </c:pt>
                <c:pt idx="1981">
                  <c:v>3435.1</c:v>
                </c:pt>
                <c:pt idx="1982">
                  <c:v>3427.86</c:v>
                </c:pt>
                <c:pt idx="1983">
                  <c:v>3446.48</c:v>
                </c:pt>
                <c:pt idx="1984">
                  <c:v>3453.96</c:v>
                </c:pt>
                <c:pt idx="1985">
                  <c:v>3448.73</c:v>
                </c:pt>
                <c:pt idx="1986">
                  <c:v>3426.94</c:v>
                </c:pt>
                <c:pt idx="1987">
                  <c:v>3427.89</c:v>
                </c:pt>
                <c:pt idx="1988">
                  <c:v>3458.1</c:v>
                </c:pt>
                <c:pt idx="1989">
                  <c:v>3456.69</c:v>
                </c:pt>
                <c:pt idx="1990">
                  <c:v>3463.64</c:v>
                </c:pt>
                <c:pt idx="1991">
                  <c:v>3481.51</c:v>
                </c:pt>
                <c:pt idx="1992">
                  <c:v>3445.81</c:v>
                </c:pt>
                <c:pt idx="1993">
                  <c:v>3449.61</c:v>
                </c:pt>
                <c:pt idx="1994">
                  <c:v>3466.35</c:v>
                </c:pt>
                <c:pt idx="1995">
                  <c:v>3450.05</c:v>
                </c:pt>
                <c:pt idx="1996">
                  <c:v>3461.98</c:v>
                </c:pt>
                <c:pt idx="1997">
                  <c:v>3489.6</c:v>
                </c:pt>
                <c:pt idx="1998">
                  <c:v>3478.04</c:v>
                </c:pt>
                <c:pt idx="1999">
                  <c:v>3469.81</c:v>
                </c:pt>
                <c:pt idx="2000">
                  <c:v>3465.19</c:v>
                </c:pt>
                <c:pt idx="2001">
                  <c:v>3436.76</c:v>
                </c:pt>
                <c:pt idx="2002">
                  <c:v>3456.05</c:v>
                </c:pt>
                <c:pt idx="2003">
                  <c:v>3503.89</c:v>
                </c:pt>
                <c:pt idx="2004">
                  <c:v>3514.05</c:v>
                </c:pt>
                <c:pt idx="2005">
                  <c:v>3517.46</c:v>
                </c:pt>
                <c:pt idx="2006">
                  <c:v>3505.14</c:v>
                </c:pt>
                <c:pt idx="2007">
                  <c:v>3517.33</c:v>
                </c:pt>
                <c:pt idx="2008">
                  <c:v>3509.44</c:v>
                </c:pt>
                <c:pt idx="2009">
                  <c:v>3514.57</c:v>
                </c:pt>
                <c:pt idx="2010">
                  <c:v>3486.5</c:v>
                </c:pt>
                <c:pt idx="2011">
                  <c:v>3479.94</c:v>
                </c:pt>
                <c:pt idx="2012">
                  <c:v>3462.74</c:v>
                </c:pt>
                <c:pt idx="2013">
                  <c:v>3445.88</c:v>
                </c:pt>
                <c:pt idx="2014">
                  <c:v>3461.55</c:v>
                </c:pt>
                <c:pt idx="2015">
                  <c:v>3466.79</c:v>
                </c:pt>
                <c:pt idx="2016">
                  <c:v>3431.26</c:v>
                </c:pt>
                <c:pt idx="2017">
                  <c:v>3440.97</c:v>
                </c:pt>
                <c:pt idx="2018">
                  <c:v>3445.18</c:v>
                </c:pt>
                <c:pt idx="2019">
                  <c:v>3446.72</c:v>
                </c:pt>
                <c:pt idx="2020">
                  <c:v>3439.75</c:v>
                </c:pt>
                <c:pt idx="2021">
                  <c:v>3426.58</c:v>
                </c:pt>
                <c:pt idx="2022">
                  <c:v>3413.13</c:v>
                </c:pt>
                <c:pt idx="2023">
                  <c:v>3404.39</c:v>
                </c:pt>
                <c:pt idx="2024">
                  <c:v>3382.55</c:v>
                </c:pt>
                <c:pt idx="2025">
                  <c:v>3358.81</c:v>
                </c:pt>
                <c:pt idx="2026">
                  <c:v>3352.53</c:v>
                </c:pt>
                <c:pt idx="2027">
                  <c:v>3337.7</c:v>
                </c:pt>
                <c:pt idx="2028">
                  <c:v>3356.65</c:v>
                </c:pt>
                <c:pt idx="2029">
                  <c:v>3385.38</c:v>
                </c:pt>
                <c:pt idx="2030">
                  <c:v>3399.19</c:v>
                </c:pt>
                <c:pt idx="2031">
                  <c:v>3428.65</c:v>
                </c:pt>
                <c:pt idx="2032">
                  <c:v>3409.97</c:v>
                </c:pt>
                <c:pt idx="2033">
                  <c:v>3398.11</c:v>
                </c:pt>
                <c:pt idx="2034">
                  <c:v>3403.85</c:v>
                </c:pt>
                <c:pt idx="2035">
                  <c:v>3411.24</c:v>
                </c:pt>
                <c:pt idx="2036">
                  <c:v>3424.19</c:v>
                </c:pt>
                <c:pt idx="2037">
                  <c:v>3424.17</c:v>
                </c:pt>
                <c:pt idx="2038">
                  <c:v>3485.66</c:v>
                </c:pt>
                <c:pt idx="2039">
                  <c:v>3480.43</c:v>
                </c:pt>
                <c:pt idx="2040">
                  <c:v>3492.88</c:v>
                </c:pt>
                <c:pt idx="2041">
                  <c:v>3497.74</c:v>
                </c:pt>
                <c:pt idx="2042">
                  <c:v>3486.51</c:v>
                </c:pt>
                <c:pt idx="2043">
                  <c:v>3468.75</c:v>
                </c:pt>
                <c:pt idx="2044">
                  <c:v>3492.88</c:v>
                </c:pt>
                <c:pt idx="2045">
                  <c:v>3533.87</c:v>
                </c:pt>
                <c:pt idx="2046">
                  <c:v>3560.98</c:v>
                </c:pt>
                <c:pt idx="2047">
                  <c:v>3576.17</c:v>
                </c:pt>
                <c:pt idx="2048">
                  <c:v>3574.39</c:v>
                </c:pt>
                <c:pt idx="2049">
                  <c:v>3582.27</c:v>
                </c:pt>
                <c:pt idx="2050">
                  <c:v>3535.3</c:v>
                </c:pt>
                <c:pt idx="2051">
                  <c:v>3528.79</c:v>
                </c:pt>
                <c:pt idx="2052">
                  <c:v>3518.76</c:v>
                </c:pt>
                <c:pt idx="2053">
                  <c:v>3553.67</c:v>
                </c:pt>
                <c:pt idx="2054">
                  <c:v>3546.49</c:v>
                </c:pt>
                <c:pt idx="2055">
                  <c:v>3587.96</c:v>
                </c:pt>
                <c:pt idx="2056">
                  <c:v>3590.34</c:v>
                </c:pt>
                <c:pt idx="2057">
                  <c:v>3622.88</c:v>
                </c:pt>
                <c:pt idx="2058">
                  <c:v>3668.09</c:v>
                </c:pt>
                <c:pt idx="2059">
                  <c:v>3674.72</c:v>
                </c:pt>
                <c:pt idx="2060">
                  <c:v>3646.17</c:v>
                </c:pt>
                <c:pt idx="2061">
                  <c:v>3668.83</c:v>
                </c:pt>
                <c:pt idx="2062">
                  <c:v>3666.8</c:v>
                </c:pt>
                <c:pt idx="2063">
                  <c:v>3650.85</c:v>
                </c:pt>
                <c:pt idx="2064">
                  <c:v>3619.98</c:v>
                </c:pt>
                <c:pt idx="2065">
                  <c:v>3659.68</c:v>
                </c:pt>
                <c:pt idx="2066">
                  <c:v>3660.1</c:v>
                </c:pt>
                <c:pt idx="2067">
                  <c:v>3655.93</c:v>
                </c:pt>
                <c:pt idx="2068">
                  <c:v>3653.69</c:v>
                </c:pt>
                <c:pt idx="2069">
                  <c:v>3670.81</c:v>
                </c:pt>
                <c:pt idx="2070">
                  <c:v>3658.82</c:v>
                </c:pt>
                <c:pt idx="2071">
                  <c:v>3686.92</c:v>
                </c:pt>
                <c:pt idx="2072">
                  <c:v>3703.09</c:v>
                </c:pt>
                <c:pt idx="2073">
                  <c:v>3663.56</c:v>
                </c:pt>
                <c:pt idx="2074">
                  <c:v>3667.18</c:v>
                </c:pt>
                <c:pt idx="2075">
                  <c:v>3729.75</c:v>
                </c:pt>
                <c:pt idx="2076">
                  <c:v>3747.88</c:v>
                </c:pt>
                <c:pt idx="2077">
                  <c:v>3728.6</c:v>
                </c:pt>
                <c:pt idx="2078">
                  <c:v>3743.47</c:v>
                </c:pt>
                <c:pt idx="2079">
                  <c:v>3719.56</c:v>
                </c:pt>
                <c:pt idx="2080">
                  <c:v>3705.39</c:v>
                </c:pt>
                <c:pt idx="2081">
                  <c:v>3712.19</c:v>
                </c:pt>
                <c:pt idx="2082">
                  <c:v>3721.89</c:v>
                </c:pt>
                <c:pt idx="2083">
                  <c:v>3737.87</c:v>
                </c:pt>
                <c:pt idx="2084">
                  <c:v>3770.38</c:v>
                </c:pt>
                <c:pt idx="2085">
                  <c:v>3760.85</c:v>
                </c:pt>
                <c:pt idx="2086">
                  <c:v>3727.83</c:v>
                </c:pt>
                <c:pt idx="2087">
                  <c:v>3707.58</c:v>
                </c:pt>
                <c:pt idx="2088">
                  <c:v>3726.79</c:v>
                </c:pt>
                <c:pt idx="2089">
                  <c:v>3732.21</c:v>
                </c:pt>
                <c:pt idx="2090">
                  <c:v>3731.04</c:v>
                </c:pt>
                <c:pt idx="2091">
                  <c:v>3715.92</c:v>
                </c:pt>
                <c:pt idx="2092">
                  <c:v>3647.35</c:v>
                </c:pt>
                <c:pt idx="2093">
                  <c:v>3694.68</c:v>
                </c:pt>
                <c:pt idx="2094">
                  <c:v>3706.06</c:v>
                </c:pt>
                <c:pt idx="2095">
                  <c:v>3701.42</c:v>
                </c:pt>
                <c:pt idx="2096">
                  <c:v>3721.28</c:v>
                </c:pt>
                <c:pt idx="2097">
                  <c:v>3724.67</c:v>
                </c:pt>
                <c:pt idx="2098">
                  <c:v>3740.99</c:v>
                </c:pt>
                <c:pt idx="2099">
                  <c:v>3752.3</c:v>
                </c:pt>
                <c:pt idx="2100">
                  <c:v>3756.09</c:v>
                </c:pt>
                <c:pt idx="2101">
                  <c:v>3734.65</c:v>
                </c:pt>
                <c:pt idx="2102">
                  <c:v>3795.75</c:v>
                </c:pt>
                <c:pt idx="2103">
                  <c:v>3842.71</c:v>
                </c:pt>
                <c:pt idx="2104">
                  <c:v>3834.54</c:v>
                </c:pt>
                <c:pt idx="2105">
                  <c:v>3834.3</c:v>
                </c:pt>
                <c:pt idx="2106">
                  <c:v>3822.09</c:v>
                </c:pt>
                <c:pt idx="2107">
                  <c:v>3830.54</c:v>
                </c:pt>
                <c:pt idx="2108">
                  <c:v>3845.62</c:v>
                </c:pt>
                <c:pt idx="2109">
                  <c:v>3857.05</c:v>
                </c:pt>
                <c:pt idx="2110">
                  <c:v>3849.45</c:v>
                </c:pt>
                <c:pt idx="2111">
                  <c:v>3829.87</c:v>
                </c:pt>
                <c:pt idx="2112">
                  <c:v>3825.99</c:v>
                </c:pt>
                <c:pt idx="2113">
                  <c:v>3825.65</c:v>
                </c:pt>
                <c:pt idx="2114">
                  <c:v>3837.93</c:v>
                </c:pt>
                <c:pt idx="2115">
                  <c:v>3842.61</c:v>
                </c:pt>
                <c:pt idx="2116">
                  <c:v>3829.96</c:v>
                </c:pt>
                <c:pt idx="2117">
                  <c:v>3831.3</c:v>
                </c:pt>
                <c:pt idx="2118">
                  <c:v>3843.14</c:v>
                </c:pt>
                <c:pt idx="2119">
                  <c:v>3832.12</c:v>
                </c:pt>
                <c:pt idx="2120">
                  <c:v>3842.44</c:v>
                </c:pt>
                <c:pt idx="2121">
                  <c:v>3837.82</c:v>
                </c:pt>
                <c:pt idx="2122">
                  <c:v>3837.73</c:v>
                </c:pt>
                <c:pt idx="2123">
                  <c:v>3817.79</c:v>
                </c:pt>
                <c:pt idx="2124">
                  <c:v>3820.78</c:v>
                </c:pt>
                <c:pt idx="2125">
                  <c:v>3821.2</c:v>
                </c:pt>
                <c:pt idx="2126">
                  <c:v>3822.54</c:v>
                </c:pt>
                <c:pt idx="2127">
                  <c:v>3836.5</c:v>
                </c:pt>
                <c:pt idx="2128">
                  <c:v>3882.21</c:v>
                </c:pt>
                <c:pt idx="2129">
                  <c:v>3889.86</c:v>
                </c:pt>
                <c:pt idx="2130">
                  <c:v>3902.69</c:v>
                </c:pt>
                <c:pt idx="2131">
                  <c:v>3912.95</c:v>
                </c:pt>
                <c:pt idx="2132">
                  <c:v>3921</c:v>
                </c:pt>
                <c:pt idx="2133">
                  <c:v>3913.45</c:v>
                </c:pt>
                <c:pt idx="2134">
                  <c:v>3913.07</c:v>
                </c:pt>
                <c:pt idx="2135">
                  <c:v>3944.16</c:v>
                </c:pt>
                <c:pt idx="2136">
                  <c:v>3931.25</c:v>
                </c:pt>
                <c:pt idx="2137">
                  <c:v>3926.85</c:v>
                </c:pt>
                <c:pt idx="2138">
                  <c:v>3930.8</c:v>
                </c:pt>
                <c:pt idx="2139">
                  <c:v>3959.4</c:v>
                </c:pt>
                <c:pt idx="2140">
                  <c:v>3976.95</c:v>
                </c:pt>
                <c:pt idx="2141">
                  <c:v>3993.58</c:v>
                </c:pt>
                <c:pt idx="2142">
                  <c:v>4021.97</c:v>
                </c:pt>
                <c:pt idx="2143">
                  <c:v>4009.72</c:v>
                </c:pt>
                <c:pt idx="2144">
                  <c:v>4006.72</c:v>
                </c:pt>
                <c:pt idx="2145">
                  <c:v>3996.62</c:v>
                </c:pt>
                <c:pt idx="2146">
                  <c:v>3997.13</c:v>
                </c:pt>
                <c:pt idx="2147">
                  <c:v>3992.7</c:v>
                </c:pt>
                <c:pt idx="2148">
                  <c:v>4020.89</c:v>
                </c:pt>
                <c:pt idx="2149">
                  <c:v>4054.25</c:v>
                </c:pt>
                <c:pt idx="2150">
                  <c:v>4048.01</c:v>
                </c:pt>
                <c:pt idx="2151">
                  <c:v>4075.9</c:v>
                </c:pt>
                <c:pt idx="2152">
                  <c:v>4111.91</c:v>
                </c:pt>
                <c:pt idx="2153">
                  <c:v>4128.07</c:v>
                </c:pt>
                <c:pt idx="2154">
                  <c:v>4099.3500000000004</c:v>
                </c:pt>
                <c:pt idx="2155">
                  <c:v>4073.67</c:v>
                </c:pt>
                <c:pt idx="2156">
                  <c:v>4105.01</c:v>
                </c:pt>
                <c:pt idx="2157">
                  <c:v>4120.8500000000004</c:v>
                </c:pt>
                <c:pt idx="2158">
                  <c:v>4143.83</c:v>
                </c:pt>
                <c:pt idx="2159">
                  <c:v>4217.7</c:v>
                </c:pt>
                <c:pt idx="2160">
                  <c:v>4227.57</c:v>
                </c:pt>
                <c:pt idx="2161">
                  <c:v>4102.3999999999996</c:v>
                </c:pt>
                <c:pt idx="2162">
                  <c:v>4104.2</c:v>
                </c:pt>
                <c:pt idx="2163">
                  <c:v>4049.95</c:v>
                </c:pt>
                <c:pt idx="2164">
                  <c:v>4055.82</c:v>
                </c:pt>
                <c:pt idx="2165">
                  <c:v>4053.75</c:v>
                </c:pt>
                <c:pt idx="2166">
                  <c:v>4006.1</c:v>
                </c:pt>
                <c:pt idx="2167">
                  <c:v>3998.14</c:v>
                </c:pt>
                <c:pt idx="2168">
                  <c:v>4018.86</c:v>
                </c:pt>
                <c:pt idx="2169">
                  <c:v>4040.17</c:v>
                </c:pt>
                <c:pt idx="2170">
                  <c:v>4015.82</c:v>
                </c:pt>
                <c:pt idx="2171">
                  <c:v>3971.06</c:v>
                </c:pt>
                <c:pt idx="2172">
                  <c:v>4003.38</c:v>
                </c:pt>
                <c:pt idx="2173">
                  <c:v>4069.5</c:v>
                </c:pt>
                <c:pt idx="2174">
                  <c:v>4016.02</c:v>
                </c:pt>
                <c:pt idx="2175">
                  <c:v>4050.09</c:v>
                </c:pt>
                <c:pt idx="2176">
                  <c:v>4026.15</c:v>
                </c:pt>
                <c:pt idx="2177">
                  <c:v>3980.86</c:v>
                </c:pt>
                <c:pt idx="2178">
                  <c:v>3985.29</c:v>
                </c:pt>
                <c:pt idx="2179">
                  <c:v>4035.33</c:v>
                </c:pt>
                <c:pt idx="2180">
                  <c:v>4030.49</c:v>
                </c:pt>
                <c:pt idx="2181">
                  <c:v>4067.85</c:v>
                </c:pt>
                <c:pt idx="2182">
                  <c:v>4054.6</c:v>
                </c:pt>
                <c:pt idx="2183">
                  <c:v>4041.54</c:v>
                </c:pt>
                <c:pt idx="2184">
                  <c:v>4053.62</c:v>
                </c:pt>
                <c:pt idx="2185">
                  <c:v>3991.21</c:v>
                </c:pt>
                <c:pt idx="2186">
                  <c:v>4018.9</c:v>
                </c:pt>
                <c:pt idx="2187">
                  <c:v>4030.85</c:v>
                </c:pt>
                <c:pt idx="2188">
                  <c:v>4087.4</c:v>
                </c:pt>
                <c:pt idx="2189">
                  <c:v>4111.3900000000003</c:v>
                </c:pt>
                <c:pt idx="2190">
                  <c:v>4128.8100000000004</c:v>
                </c:pt>
                <c:pt idx="2191">
                  <c:v>4138.75</c:v>
                </c:pt>
                <c:pt idx="2192">
                  <c:v>4160.16</c:v>
                </c:pt>
                <c:pt idx="2193">
                  <c:v>4189.3</c:v>
                </c:pt>
                <c:pt idx="2194">
                  <c:v>4207.8100000000004</c:v>
                </c:pt>
                <c:pt idx="2195">
                  <c:v>4205.59</c:v>
                </c:pt>
                <c:pt idx="2196">
                  <c:v>4225</c:v>
                </c:pt>
                <c:pt idx="2197">
                  <c:v>4225.24</c:v>
                </c:pt>
                <c:pt idx="2198">
                  <c:v>4258.47</c:v>
                </c:pt>
                <c:pt idx="2199">
                  <c:v>4248.12</c:v>
                </c:pt>
                <c:pt idx="2200">
                  <c:v>4271.42</c:v>
                </c:pt>
                <c:pt idx="2201">
                  <c:v>4285.3999999999996</c:v>
                </c:pt>
                <c:pt idx="2202">
                  <c:v>4336.6000000000004</c:v>
                </c:pt>
                <c:pt idx="2203">
                  <c:v>4382.6099999999997</c:v>
                </c:pt>
                <c:pt idx="2204">
                  <c:v>4389.8900000000003</c:v>
                </c:pt>
                <c:pt idx="2205">
                  <c:v>4365.08</c:v>
                </c:pt>
                <c:pt idx="2206">
                  <c:v>4381.3</c:v>
                </c:pt>
                <c:pt idx="2207">
                  <c:v>4302.0200000000004</c:v>
                </c:pt>
                <c:pt idx="2208">
                  <c:v>4256.1000000000004</c:v>
                </c:pt>
                <c:pt idx="2209">
                  <c:v>4275.8999999999996</c:v>
                </c:pt>
                <c:pt idx="2210">
                  <c:v>4245.8999999999996</c:v>
                </c:pt>
                <c:pt idx="2211">
                  <c:v>4271.2299999999996</c:v>
                </c:pt>
                <c:pt idx="2212">
                  <c:v>4274.1499999999996</c:v>
                </c:pt>
                <c:pt idx="2213">
                  <c:v>4148.8900000000003</c:v>
                </c:pt>
                <c:pt idx="2214">
                  <c:v>4050.5</c:v>
                </c:pt>
                <c:pt idx="2215">
                  <c:v>4012.05</c:v>
                </c:pt>
                <c:pt idx="2216">
                  <c:v>3840.65</c:v>
                </c:pt>
                <c:pt idx="2217">
                  <c:v>3890.1</c:v>
                </c:pt>
                <c:pt idx="2218">
                  <c:v>3935.63</c:v>
                </c:pt>
                <c:pt idx="2219">
                  <c:v>3966.96</c:v>
                </c:pt>
                <c:pt idx="2220">
                  <c:v>4052.73</c:v>
                </c:pt>
                <c:pt idx="2221">
                  <c:v>4071.09</c:v>
                </c:pt>
                <c:pt idx="2222">
                  <c:v>4118.42</c:v>
                </c:pt>
                <c:pt idx="2223">
                  <c:v>4058.98</c:v>
                </c:pt>
                <c:pt idx="2224">
                  <c:v>4023.64</c:v>
                </c:pt>
                <c:pt idx="2225">
                  <c:v>4049.09</c:v>
                </c:pt>
                <c:pt idx="2226">
                  <c:v>4016.46</c:v>
                </c:pt>
                <c:pt idx="2227">
                  <c:v>4018.1</c:v>
                </c:pt>
                <c:pt idx="2228">
                  <c:v>4066.56</c:v>
                </c:pt>
                <c:pt idx="2229">
                  <c:v>4036.65</c:v>
                </c:pt>
                <c:pt idx="2230">
                  <c:v>4077.6</c:v>
                </c:pt>
                <c:pt idx="2231">
                  <c:v>4108.87</c:v>
                </c:pt>
                <c:pt idx="2232">
                  <c:v>4127.67</c:v>
                </c:pt>
                <c:pt idx="2233">
                  <c:v>4091.25</c:v>
                </c:pt>
                <c:pt idx="2234">
                  <c:v>4073.34</c:v>
                </c:pt>
                <c:pt idx="2235">
                  <c:v>4096.16</c:v>
                </c:pt>
                <c:pt idx="2236">
                  <c:v>4056.42</c:v>
                </c:pt>
                <c:pt idx="2237">
                  <c:v>4074.25</c:v>
                </c:pt>
                <c:pt idx="2238">
                  <c:v>4077.7</c:v>
                </c:pt>
                <c:pt idx="2239">
                  <c:v>4061.05</c:v>
                </c:pt>
                <c:pt idx="2240">
                  <c:v>4020.35</c:v>
                </c:pt>
                <c:pt idx="2241">
                  <c:v>3904.94</c:v>
                </c:pt>
                <c:pt idx="2242">
                  <c:v>3879.89</c:v>
                </c:pt>
                <c:pt idx="2243">
                  <c:v>3913.27</c:v>
                </c:pt>
                <c:pt idx="2244">
                  <c:v>3842.72</c:v>
                </c:pt>
                <c:pt idx="2245">
                  <c:v>3894.05</c:v>
                </c:pt>
                <c:pt idx="2246">
                  <c:v>3898.5</c:v>
                </c:pt>
                <c:pt idx="2247">
                  <c:v>3886.92</c:v>
                </c:pt>
                <c:pt idx="2248">
                  <c:v>3862.48</c:v>
                </c:pt>
                <c:pt idx="2249">
                  <c:v>3854.86</c:v>
                </c:pt>
                <c:pt idx="2250">
                  <c:v>3852.93</c:v>
                </c:pt>
                <c:pt idx="2251">
                  <c:v>3927.17</c:v>
                </c:pt>
                <c:pt idx="2252">
                  <c:v>3938.34</c:v>
                </c:pt>
                <c:pt idx="2253">
                  <c:v>3898.64</c:v>
                </c:pt>
                <c:pt idx="2254">
                  <c:v>3871.14</c:v>
                </c:pt>
                <c:pt idx="2255">
                  <c:v>3808.86</c:v>
                </c:pt>
                <c:pt idx="2256">
                  <c:v>3748.64</c:v>
                </c:pt>
                <c:pt idx="2257">
                  <c:v>3766.28</c:v>
                </c:pt>
                <c:pt idx="2258">
                  <c:v>3811.84</c:v>
                </c:pt>
                <c:pt idx="2259">
                  <c:v>3760.85</c:v>
                </c:pt>
                <c:pt idx="2260">
                  <c:v>3766.33</c:v>
                </c:pt>
                <c:pt idx="2261">
                  <c:v>3843.49</c:v>
                </c:pt>
                <c:pt idx="2262">
                  <c:v>3828.7</c:v>
                </c:pt>
                <c:pt idx="2263">
                  <c:v>3755.49</c:v>
                </c:pt>
                <c:pt idx="2264">
                  <c:v>3756.88</c:v>
                </c:pt>
                <c:pt idx="2265">
                  <c:v>3763.65</c:v>
                </c:pt>
                <c:pt idx="2266">
                  <c:v>3793</c:v>
                </c:pt>
                <c:pt idx="2267">
                  <c:v>3774.6</c:v>
                </c:pt>
                <c:pt idx="2268">
                  <c:v>3834.19</c:v>
                </c:pt>
                <c:pt idx="2269">
                  <c:v>3878.68</c:v>
                </c:pt>
                <c:pt idx="2270">
                  <c:v>3871.62</c:v>
                </c:pt>
                <c:pt idx="2271">
                  <c:v>3893.06</c:v>
                </c:pt>
                <c:pt idx="2272">
                  <c:v>3872.84</c:v>
                </c:pt>
                <c:pt idx="2273">
                  <c:v>3909.29</c:v>
                </c:pt>
                <c:pt idx="2274">
                  <c:v>3924.1</c:v>
                </c:pt>
                <c:pt idx="2275">
                  <c:v>3892.84</c:v>
                </c:pt>
                <c:pt idx="2276">
                  <c:v>3864.05</c:v>
                </c:pt>
                <c:pt idx="2277">
                  <c:v>3903.06</c:v>
                </c:pt>
                <c:pt idx="2278">
                  <c:v>3921.24</c:v>
                </c:pt>
                <c:pt idx="2279">
                  <c:v>3906.21</c:v>
                </c:pt>
                <c:pt idx="2280">
                  <c:v>3854.58</c:v>
                </c:pt>
                <c:pt idx="2281">
                  <c:v>3827.22</c:v>
                </c:pt>
                <c:pt idx="2282">
                  <c:v>3816.5</c:v>
                </c:pt>
                <c:pt idx="2283">
                  <c:v>3833.26</c:v>
                </c:pt>
                <c:pt idx="2284">
                  <c:v>3804.01</c:v>
                </c:pt>
                <c:pt idx="2285">
                  <c:v>3723.37</c:v>
                </c:pt>
                <c:pt idx="2286">
                  <c:v>3802.38</c:v>
                </c:pt>
                <c:pt idx="2287">
                  <c:v>3770.59</c:v>
                </c:pt>
                <c:pt idx="2288">
                  <c:v>3807.58</c:v>
                </c:pt>
                <c:pt idx="2289">
                  <c:v>3845.32</c:v>
                </c:pt>
                <c:pt idx="2290">
                  <c:v>3837.35</c:v>
                </c:pt>
                <c:pt idx="2291">
                  <c:v>3831.01</c:v>
                </c:pt>
                <c:pt idx="2292">
                  <c:v>3779.62</c:v>
                </c:pt>
                <c:pt idx="2293">
                  <c:v>3779.98</c:v>
                </c:pt>
                <c:pt idx="2294">
                  <c:v>3825.95</c:v>
                </c:pt>
                <c:pt idx="2295">
                  <c:v>3788.34</c:v>
                </c:pt>
                <c:pt idx="2296">
                  <c:v>3773.37</c:v>
                </c:pt>
                <c:pt idx="2297">
                  <c:v>3753.43</c:v>
                </c:pt>
                <c:pt idx="2298">
                  <c:v>3621.12</c:v>
                </c:pt>
                <c:pt idx="2299">
                  <c:v>3635.44</c:v>
                </c:pt>
                <c:pt idx="2300">
                  <c:v>3592.97</c:v>
                </c:pt>
                <c:pt idx="2301">
                  <c:v>3608.9</c:v>
                </c:pt>
                <c:pt idx="2302">
                  <c:v>3560.48</c:v>
                </c:pt>
                <c:pt idx="2303">
                  <c:v>3531.11</c:v>
                </c:pt>
                <c:pt idx="2304">
                  <c:v>3459.26</c:v>
                </c:pt>
                <c:pt idx="2305">
                  <c:v>3423.53</c:v>
                </c:pt>
                <c:pt idx="2306">
                  <c:v>3510.98</c:v>
                </c:pt>
                <c:pt idx="2307">
                  <c:v>3407.96</c:v>
                </c:pt>
                <c:pt idx="2308">
                  <c:v>3409.28</c:v>
                </c:pt>
                <c:pt idx="2309">
                  <c:v>3363.75</c:v>
                </c:pt>
                <c:pt idx="2310">
                  <c:v>3342.44</c:v>
                </c:pt>
                <c:pt idx="2311">
                  <c:v>3365.12</c:v>
                </c:pt>
                <c:pt idx="2312">
                  <c:v>3459.18</c:v>
                </c:pt>
                <c:pt idx="2313">
                  <c:v>3467.52</c:v>
                </c:pt>
                <c:pt idx="2314">
                  <c:v>3407.53</c:v>
                </c:pt>
                <c:pt idx="2315">
                  <c:v>3481.06</c:v>
                </c:pt>
                <c:pt idx="2316">
                  <c:v>3492.69</c:v>
                </c:pt>
                <c:pt idx="2317">
                  <c:v>3472.09</c:v>
                </c:pt>
                <c:pt idx="2318">
                  <c:v>3449.38</c:v>
                </c:pt>
                <c:pt idx="2319">
                  <c:v>3431.32</c:v>
                </c:pt>
                <c:pt idx="2320">
                  <c:v>3428.34</c:v>
                </c:pt>
                <c:pt idx="2321">
                  <c:v>3492.89</c:v>
                </c:pt>
                <c:pt idx="2322">
                  <c:v>3525.75</c:v>
                </c:pt>
                <c:pt idx="2323">
                  <c:v>3581.71</c:v>
                </c:pt>
                <c:pt idx="2324">
                  <c:v>3577.75</c:v>
                </c:pt>
                <c:pt idx="2325">
                  <c:v>3536.25</c:v>
                </c:pt>
                <c:pt idx="2326">
                  <c:v>3521.23</c:v>
                </c:pt>
                <c:pt idx="2327">
                  <c:v>3515.08</c:v>
                </c:pt>
                <c:pt idx="2328">
                  <c:v>3517.66</c:v>
                </c:pt>
                <c:pt idx="2329">
                  <c:v>3447.39</c:v>
                </c:pt>
                <c:pt idx="2330">
                  <c:v>3370.96</c:v>
                </c:pt>
                <c:pt idx="2331">
                  <c:v>3315.28</c:v>
                </c:pt>
                <c:pt idx="2332">
                  <c:v>3273.27</c:v>
                </c:pt>
                <c:pt idx="2333">
                  <c:v>3368.87</c:v>
                </c:pt>
                <c:pt idx="2334">
                  <c:v>3314.51</c:v>
                </c:pt>
                <c:pt idx="2335">
                  <c:v>3397.53</c:v>
                </c:pt>
                <c:pt idx="2336">
                  <c:v>3405.02</c:v>
                </c:pt>
                <c:pt idx="2337">
                  <c:v>3390.34</c:v>
                </c:pt>
                <c:pt idx="2338">
                  <c:v>3372.91</c:v>
                </c:pt>
                <c:pt idx="2339">
                  <c:v>3291.98</c:v>
                </c:pt>
                <c:pt idx="2340">
                  <c:v>3276.73</c:v>
                </c:pt>
                <c:pt idx="2341">
                  <c:v>3229.62</c:v>
                </c:pt>
                <c:pt idx="2342">
                  <c:v>3267.25</c:v>
                </c:pt>
                <c:pt idx="2343">
                  <c:v>3326.65</c:v>
                </c:pt>
                <c:pt idx="2344">
                  <c:v>3307.95</c:v>
                </c:pt>
                <c:pt idx="2345">
                  <c:v>3320.03</c:v>
                </c:pt>
                <c:pt idx="2346">
                  <c:v>3325.33</c:v>
                </c:pt>
                <c:pt idx="2347">
                  <c:v>3406.57</c:v>
                </c:pt>
                <c:pt idx="2348">
                  <c:v>3400.17</c:v>
                </c:pt>
                <c:pt idx="2349">
                  <c:v>3386.57</c:v>
                </c:pt>
                <c:pt idx="2350">
                  <c:v>3351.09</c:v>
                </c:pt>
                <c:pt idx="2351">
                  <c:v>3334.5</c:v>
                </c:pt>
                <c:pt idx="2352">
                  <c:v>3321.82</c:v>
                </c:pt>
                <c:pt idx="2353">
                  <c:v>3363.9</c:v>
                </c:pt>
                <c:pt idx="2354">
                  <c:v>3298.14</c:v>
                </c:pt>
                <c:pt idx="2355">
                  <c:v>3262.88</c:v>
                </c:pt>
                <c:pt idx="2356">
                  <c:v>3277.64</c:v>
                </c:pt>
                <c:pt idx="2357">
                  <c:v>3230.07</c:v>
                </c:pt>
                <c:pt idx="2358">
                  <c:v>3224.21</c:v>
                </c:pt>
                <c:pt idx="2359">
                  <c:v>3202.02</c:v>
                </c:pt>
                <c:pt idx="2360">
                  <c:v>3236.57</c:v>
                </c:pt>
                <c:pt idx="2361">
                  <c:v>3242.09</c:v>
                </c:pt>
                <c:pt idx="2362">
                  <c:v>3204.92</c:v>
                </c:pt>
                <c:pt idx="2363">
                  <c:v>3269.43</c:v>
                </c:pt>
                <c:pt idx="2364">
                  <c:v>3312.48</c:v>
                </c:pt>
                <c:pt idx="2365">
                  <c:v>3310.13</c:v>
                </c:pt>
                <c:pt idx="2366">
                  <c:v>3410.49</c:v>
                </c:pt>
                <c:pt idx="2367">
                  <c:v>3379.8</c:v>
                </c:pt>
                <c:pt idx="2368">
                  <c:v>3417.24</c:v>
                </c:pt>
                <c:pt idx="2369">
                  <c:v>3403.59</c:v>
                </c:pt>
                <c:pt idx="2370">
                  <c:v>3438.86</c:v>
                </c:pt>
                <c:pt idx="2371">
                  <c:v>3290.9</c:v>
                </c:pt>
                <c:pt idx="2372">
                  <c:v>3288.69</c:v>
                </c:pt>
                <c:pt idx="2373">
                  <c:v>3281.6</c:v>
                </c:pt>
                <c:pt idx="2374">
                  <c:v>3124.11</c:v>
                </c:pt>
                <c:pt idx="2375">
                  <c:v>3170.73</c:v>
                </c:pt>
                <c:pt idx="2376">
                  <c:v>3126.45</c:v>
                </c:pt>
                <c:pt idx="2377">
                  <c:v>3100.97</c:v>
                </c:pt>
                <c:pt idx="2378">
                  <c:v>3118.25</c:v>
                </c:pt>
                <c:pt idx="2379">
                  <c:v>3044.39</c:v>
                </c:pt>
                <c:pt idx="2380">
                  <c:v>3134.95</c:v>
                </c:pt>
                <c:pt idx="2381">
                  <c:v>3270.27</c:v>
                </c:pt>
                <c:pt idx="2382">
                  <c:v>3183.43</c:v>
                </c:pt>
                <c:pt idx="2383">
                  <c:v>3188.2</c:v>
                </c:pt>
                <c:pt idx="2384">
                  <c:v>3194.31</c:v>
                </c:pt>
                <c:pt idx="2385">
                  <c:v>3173.64</c:v>
                </c:pt>
                <c:pt idx="2386">
                  <c:v>3076.89</c:v>
                </c:pt>
                <c:pt idx="2387">
                  <c:v>3110.26</c:v>
                </c:pt>
                <c:pt idx="2388">
                  <c:v>3153.82</c:v>
                </c:pt>
                <c:pt idx="2389">
                  <c:v>3177.03</c:v>
                </c:pt>
                <c:pt idx="2390">
                  <c:v>3290.25</c:v>
                </c:pt>
                <c:pt idx="2391">
                  <c:v>3262.84</c:v>
                </c:pt>
                <c:pt idx="2392">
                  <c:v>3243.15</c:v>
                </c:pt>
                <c:pt idx="2393">
                  <c:v>3221.91</c:v>
                </c:pt>
                <c:pt idx="2394">
                  <c:v>3212.77</c:v>
                </c:pt>
                <c:pt idx="2395">
                  <c:v>3167.44</c:v>
                </c:pt>
                <c:pt idx="2396">
                  <c:v>3205.14</c:v>
                </c:pt>
                <c:pt idx="2397">
                  <c:v>3237.38</c:v>
                </c:pt>
                <c:pt idx="2398">
                  <c:v>3204.94</c:v>
                </c:pt>
                <c:pt idx="2399">
                  <c:v>3242.37</c:v>
                </c:pt>
                <c:pt idx="2400">
                  <c:v>3257.67</c:v>
                </c:pt>
                <c:pt idx="2401">
                  <c:v>3294.6</c:v>
                </c:pt>
                <c:pt idx="2402">
                  <c:v>3218.41</c:v>
                </c:pt>
                <c:pt idx="2403">
                  <c:v>3226.49</c:v>
                </c:pt>
                <c:pt idx="2404">
                  <c:v>3214.43</c:v>
                </c:pt>
                <c:pt idx="2405">
                  <c:v>3143.48</c:v>
                </c:pt>
                <c:pt idx="2406">
                  <c:v>3141.24</c:v>
                </c:pt>
                <c:pt idx="2407">
                  <c:v>3137.24</c:v>
                </c:pt>
                <c:pt idx="2408">
                  <c:v>3178.93</c:v>
                </c:pt>
                <c:pt idx="2409">
                  <c:v>3137.65</c:v>
                </c:pt>
                <c:pt idx="2410">
                  <c:v>3172.69</c:v>
                </c:pt>
                <c:pt idx="2411">
                  <c:v>3260.95</c:v>
                </c:pt>
                <c:pt idx="2412">
                  <c:v>3267.71</c:v>
                </c:pt>
                <c:pt idx="2413">
                  <c:v>3252</c:v>
                </c:pt>
                <c:pt idx="2414">
                  <c:v>3181.67</c:v>
                </c:pt>
                <c:pt idx="2415">
                  <c:v>3181.56</c:v>
                </c:pt>
                <c:pt idx="2416">
                  <c:v>3144.76</c:v>
                </c:pt>
                <c:pt idx="2417">
                  <c:v>3159.82</c:v>
                </c:pt>
                <c:pt idx="2418">
                  <c:v>3170.61</c:v>
                </c:pt>
                <c:pt idx="2419">
                  <c:v>3219.69</c:v>
                </c:pt>
                <c:pt idx="2420">
                  <c:v>3165.91</c:v>
                </c:pt>
                <c:pt idx="2421">
                  <c:v>3161.2</c:v>
                </c:pt>
                <c:pt idx="2422">
                  <c:v>3128.43</c:v>
                </c:pt>
                <c:pt idx="2423">
                  <c:v>3091.13</c:v>
                </c:pt>
                <c:pt idx="2424">
                  <c:v>3067.42</c:v>
                </c:pt>
                <c:pt idx="2425">
                  <c:v>3029.4</c:v>
                </c:pt>
                <c:pt idx="2426">
                  <c:v>3038.2</c:v>
                </c:pt>
                <c:pt idx="2427">
                  <c:v>3017.28</c:v>
                </c:pt>
                <c:pt idx="2428">
                  <c:v>3002.03</c:v>
                </c:pt>
                <c:pt idx="2429">
                  <c:v>2990.51</c:v>
                </c:pt>
                <c:pt idx="2430">
                  <c:v>3010.65</c:v>
                </c:pt>
                <c:pt idx="2431">
                  <c:v>2969.54</c:v>
                </c:pt>
                <c:pt idx="2432">
                  <c:v>2964.84</c:v>
                </c:pt>
                <c:pt idx="2433">
                  <c:v>3035.87</c:v>
                </c:pt>
                <c:pt idx="2434">
                  <c:v>3054.3</c:v>
                </c:pt>
                <c:pt idx="2435">
                  <c:v>3047.7</c:v>
                </c:pt>
                <c:pt idx="2436">
                  <c:v>3078.48</c:v>
                </c:pt>
                <c:pt idx="2437">
                  <c:v>3072.69</c:v>
                </c:pt>
                <c:pt idx="2438">
                  <c:v>3094.78</c:v>
                </c:pt>
                <c:pt idx="2439">
                  <c:v>3067.78</c:v>
                </c:pt>
                <c:pt idx="2440">
                  <c:v>3127.99</c:v>
                </c:pt>
                <c:pt idx="2441">
                  <c:v>3128.65</c:v>
                </c:pt>
                <c:pt idx="2442">
                  <c:v>3111.42</c:v>
                </c:pt>
                <c:pt idx="2443">
                  <c:v>3168.17</c:v>
                </c:pt>
                <c:pt idx="2444">
                  <c:v>3185.64</c:v>
                </c:pt>
                <c:pt idx="2445">
                  <c:v>3143.32</c:v>
                </c:pt>
                <c:pt idx="2446">
                  <c:v>3141.05</c:v>
                </c:pt>
                <c:pt idx="2447">
                  <c:v>3158.78</c:v>
                </c:pt>
                <c:pt idx="2448">
                  <c:v>3184.47</c:v>
                </c:pt>
                <c:pt idx="2449">
                  <c:v>3183.78</c:v>
                </c:pt>
                <c:pt idx="2450">
                  <c:v>3193.97</c:v>
                </c:pt>
                <c:pt idx="2451">
                  <c:v>3168.48</c:v>
                </c:pt>
                <c:pt idx="2452">
                  <c:v>3201.63</c:v>
                </c:pt>
                <c:pt idx="2453">
                  <c:v>3247.4</c:v>
                </c:pt>
                <c:pt idx="2454">
                  <c:v>3306.47</c:v>
                </c:pt>
                <c:pt idx="2455">
                  <c:v>3330.34</c:v>
                </c:pt>
                <c:pt idx="2456">
                  <c:v>3397.03</c:v>
                </c:pt>
                <c:pt idx="2457">
                  <c:v>3402.14</c:v>
                </c:pt>
                <c:pt idx="2458">
                  <c:v>3338.7</c:v>
                </c:pt>
                <c:pt idx="2459">
                  <c:v>3445.74</c:v>
                </c:pt>
                <c:pt idx="2460">
                  <c:v>3439.61</c:v>
                </c:pt>
                <c:pt idx="2461">
                  <c:v>3451.93</c:v>
                </c:pt>
                <c:pt idx="2462">
                  <c:v>3442.71</c:v>
                </c:pt>
                <c:pt idx="2463">
                  <c:v>3520.12</c:v>
                </c:pt>
                <c:pt idx="2464">
                  <c:v>3729.48</c:v>
                </c:pt>
                <c:pt idx="2465">
                  <c:v>3684.69</c:v>
                </c:pt>
                <c:pt idx="2466">
                  <c:v>3678.39</c:v>
                </c:pt>
                <c:pt idx="2467">
                  <c:v>3669.37</c:v>
                </c:pt>
                <c:pt idx="2468">
                  <c:v>3749.71</c:v>
                </c:pt>
                <c:pt idx="2469">
                  <c:v>3794.1</c:v>
                </c:pt>
                <c:pt idx="2470">
                  <c:v>3816.01</c:v>
                </c:pt>
                <c:pt idx="2471">
                  <c:v>3848.09</c:v>
                </c:pt>
                <c:pt idx="2472">
                  <c:v>3808.85</c:v>
                </c:pt>
                <c:pt idx="2473">
                  <c:v>3657.58</c:v>
                </c:pt>
                <c:pt idx="2474">
                  <c:v>3729.95</c:v>
                </c:pt>
                <c:pt idx="2475">
                  <c:v>3755.35</c:v>
                </c:pt>
                <c:pt idx="2476">
                  <c:v>3724.19</c:v>
                </c:pt>
                <c:pt idx="2477">
                  <c:v>3698.49</c:v>
                </c:pt>
                <c:pt idx="2478">
                  <c:v>3745.01</c:v>
                </c:pt>
                <c:pt idx="2479">
                  <c:v>3851.75</c:v>
                </c:pt>
                <c:pt idx="2480">
                  <c:v>3833.96</c:v>
                </c:pt>
                <c:pt idx="2481">
                  <c:v>3835.44</c:v>
                </c:pt>
                <c:pt idx="2482">
                  <c:v>3836.89</c:v>
                </c:pt>
                <c:pt idx="2483">
                  <c:v>3833.8</c:v>
                </c:pt>
                <c:pt idx="2484">
                  <c:v>3742.83</c:v>
                </c:pt>
                <c:pt idx="2485">
                  <c:v>3700.44</c:v>
                </c:pt>
                <c:pt idx="2486">
                  <c:v>3743.39</c:v>
                </c:pt>
                <c:pt idx="2487">
                  <c:v>3728.4</c:v>
                </c:pt>
                <c:pt idx="2488">
                  <c:v>3872.34</c:v>
                </c:pt>
                <c:pt idx="2489">
                  <c:v>3973.93</c:v>
                </c:pt>
                <c:pt idx="2490">
                  <c:v>3971.29</c:v>
                </c:pt>
                <c:pt idx="2491">
                  <c:v>4022.16</c:v>
                </c:pt>
                <c:pt idx="2492">
                  <c:v>4062.23</c:v>
                </c:pt>
                <c:pt idx="2493">
                  <c:v>4057.23</c:v>
                </c:pt>
                <c:pt idx="2494">
                  <c:v>4075.43</c:v>
                </c:pt>
                <c:pt idx="2495">
                  <c:v>4085.85</c:v>
                </c:pt>
                <c:pt idx="2496">
                  <c:v>3997.58</c:v>
                </c:pt>
                <c:pt idx="2497">
                  <c:v>3988.62</c:v>
                </c:pt>
                <c:pt idx="2498">
                  <c:v>3975.52</c:v>
                </c:pt>
                <c:pt idx="2499">
                  <c:v>4085.79</c:v>
                </c:pt>
                <c:pt idx="2500">
                  <c:v>4087.24</c:v>
                </c:pt>
                <c:pt idx="2501">
                  <c:v>4072.08</c:v>
                </c:pt>
                <c:pt idx="2502">
                  <c:v>4120.6099999999997</c:v>
                </c:pt>
                <c:pt idx="2503">
                  <c:v>4025.61</c:v>
                </c:pt>
                <c:pt idx="2504">
                  <c:v>4019.01</c:v>
                </c:pt>
                <c:pt idx="2505">
                  <c:v>4030.09</c:v>
                </c:pt>
                <c:pt idx="2506">
                  <c:v>3941.82</c:v>
                </c:pt>
                <c:pt idx="2507">
                  <c:v>3889.27</c:v>
                </c:pt>
                <c:pt idx="2508">
                  <c:v>3900.33</c:v>
                </c:pt>
                <c:pt idx="2509">
                  <c:v>3913.21</c:v>
                </c:pt>
                <c:pt idx="2510">
                  <c:v>3684.62</c:v>
                </c:pt>
                <c:pt idx="2511">
                  <c:v>3720.67</c:v>
                </c:pt>
                <c:pt idx="2512">
                  <c:v>3667.46</c:v>
                </c:pt>
                <c:pt idx="2513">
                  <c:v>3599.7</c:v>
                </c:pt>
                <c:pt idx="2514">
                  <c:v>3730.45</c:v>
                </c:pt>
                <c:pt idx="2515">
                  <c:v>3668.73</c:v>
                </c:pt>
                <c:pt idx="2516">
                  <c:v>3645.15</c:v>
                </c:pt>
                <c:pt idx="2517">
                  <c:v>3727.09</c:v>
                </c:pt>
                <c:pt idx="2518">
                  <c:v>3743.96</c:v>
                </c:pt>
                <c:pt idx="2519">
                  <c:v>3648.76</c:v>
                </c:pt>
                <c:pt idx="2520">
                  <c:v>3617.79</c:v>
                </c:pt>
                <c:pt idx="2521">
                  <c:v>3666.78</c:v>
                </c:pt>
                <c:pt idx="2522">
                  <c:v>3649.38</c:v>
                </c:pt>
                <c:pt idx="2523">
                  <c:v>3583.96</c:v>
                </c:pt>
                <c:pt idx="2524">
                  <c:v>3593.91</c:v>
                </c:pt>
                <c:pt idx="2525">
                  <c:v>3637.2</c:v>
                </c:pt>
                <c:pt idx="2526">
                  <c:v>3672.26</c:v>
                </c:pt>
                <c:pt idx="2527">
                  <c:v>3663.91</c:v>
                </c:pt>
                <c:pt idx="2528">
                  <c:v>3641.18</c:v>
                </c:pt>
                <c:pt idx="2529">
                  <c:v>3629.79</c:v>
                </c:pt>
                <c:pt idx="2530">
                  <c:v>3632.01</c:v>
                </c:pt>
                <c:pt idx="2531">
                  <c:v>3598.47</c:v>
                </c:pt>
                <c:pt idx="2532">
                  <c:v>3597.11</c:v>
                </c:pt>
                <c:pt idx="2533">
                  <c:v>3564.68</c:v>
                </c:pt>
                <c:pt idx="2534">
                  <c:v>3610.74</c:v>
                </c:pt>
                <c:pt idx="2535">
                  <c:v>3719.28</c:v>
                </c:pt>
                <c:pt idx="2536">
                  <c:v>3691.1</c:v>
                </c:pt>
                <c:pt idx="2537">
                  <c:v>3685.39</c:v>
                </c:pt>
                <c:pt idx="2538">
                  <c:v>3654.88</c:v>
                </c:pt>
                <c:pt idx="2539">
                  <c:v>3654.82</c:v>
                </c:pt>
                <c:pt idx="2540">
                  <c:v>3667.62</c:v>
                </c:pt>
                <c:pt idx="2541">
                  <c:v>3715.94</c:v>
                </c:pt>
                <c:pt idx="2542">
                  <c:v>3828.52</c:v>
                </c:pt>
                <c:pt idx="2543">
                  <c:v>3833.94</c:v>
                </c:pt>
                <c:pt idx="2544">
                  <c:v>3841.27</c:v>
                </c:pt>
                <c:pt idx="2545">
                  <c:v>3801.31</c:v>
                </c:pt>
                <c:pt idx="2546">
                  <c:v>3794.33</c:v>
                </c:pt>
                <c:pt idx="2547">
                  <c:v>3834.82</c:v>
                </c:pt>
                <c:pt idx="2548">
                  <c:v>3825.59</c:v>
                </c:pt>
                <c:pt idx="2549">
                  <c:v>3935.81</c:v>
                </c:pt>
                <c:pt idx="2550">
                  <c:v>3937.17</c:v>
                </c:pt>
                <c:pt idx="2551">
                  <c:v>3893.53</c:v>
                </c:pt>
                <c:pt idx="2552">
                  <c:v>3873.1</c:v>
                </c:pt>
                <c:pt idx="2553">
                  <c:v>3893.2</c:v>
                </c:pt>
                <c:pt idx="2554">
                  <c:v>3802.79</c:v>
                </c:pt>
                <c:pt idx="2555">
                  <c:v>3793.13</c:v>
                </c:pt>
                <c:pt idx="2556">
                  <c:v>3786.74</c:v>
                </c:pt>
                <c:pt idx="2557">
                  <c:v>3785.22</c:v>
                </c:pt>
                <c:pt idx="2558">
                  <c:v>3808.73</c:v>
                </c:pt>
                <c:pt idx="2559">
                  <c:v>3824.19</c:v>
                </c:pt>
                <c:pt idx="2560">
                  <c:v>3806.84</c:v>
                </c:pt>
                <c:pt idx="2561">
                  <c:v>3804.64</c:v>
                </c:pt>
                <c:pt idx="2562">
                  <c:v>3768.4</c:v>
                </c:pt>
                <c:pt idx="2563">
                  <c:v>3807.96</c:v>
                </c:pt>
                <c:pt idx="2564">
                  <c:v>3781.68</c:v>
                </c:pt>
                <c:pt idx="2565">
                  <c:v>3789.91</c:v>
                </c:pt>
                <c:pt idx="2566">
                  <c:v>3819.83</c:v>
                </c:pt>
                <c:pt idx="2567">
                  <c:v>3851.07</c:v>
                </c:pt>
                <c:pt idx="2568">
                  <c:v>3858.57</c:v>
                </c:pt>
                <c:pt idx="2569">
                  <c:v>3854.27</c:v>
                </c:pt>
                <c:pt idx="2570">
                  <c:v>3870.32</c:v>
                </c:pt>
                <c:pt idx="2571">
                  <c:v>3835.36</c:v>
                </c:pt>
                <c:pt idx="2572">
                  <c:v>3803.47</c:v>
                </c:pt>
                <c:pt idx="2573">
                  <c:v>3747.44</c:v>
                </c:pt>
                <c:pt idx="2574">
                  <c:v>3675.69</c:v>
                </c:pt>
                <c:pt idx="2575">
                  <c:v>3636.33</c:v>
                </c:pt>
                <c:pt idx="2576">
                  <c:v>3621.43</c:v>
                </c:pt>
                <c:pt idx="2577">
                  <c:v>3669.29</c:v>
                </c:pt>
                <c:pt idx="2578">
                  <c:v>3633.53</c:v>
                </c:pt>
                <c:pt idx="2579">
                  <c:v>3699.1</c:v>
                </c:pt>
                <c:pt idx="2580">
                  <c:v>3665.75</c:v>
                </c:pt>
                <c:pt idx="2581">
                  <c:v>3682.4</c:v>
                </c:pt>
                <c:pt idx="2582">
                  <c:v>3694</c:v>
                </c:pt>
                <c:pt idx="2583">
                  <c:v>3710.54</c:v>
                </c:pt>
                <c:pt idx="2584">
                  <c:v>3791.09</c:v>
                </c:pt>
                <c:pt idx="2585">
                  <c:v>3787.73</c:v>
                </c:pt>
                <c:pt idx="2586">
                  <c:v>3781.76</c:v>
                </c:pt>
                <c:pt idx="2587">
                  <c:v>3793.51</c:v>
                </c:pt>
                <c:pt idx="2588">
                  <c:v>3820.86</c:v>
                </c:pt>
                <c:pt idx="2589">
                  <c:v>3765.91</c:v>
                </c:pt>
                <c:pt idx="2590">
                  <c:v>3816.95</c:v>
                </c:pt>
                <c:pt idx="2591">
                  <c:v>3802.58</c:v>
                </c:pt>
                <c:pt idx="2592">
                  <c:v>3790.19</c:v>
                </c:pt>
                <c:pt idx="2593">
                  <c:v>3799.59</c:v>
                </c:pt>
                <c:pt idx="2594">
                  <c:v>3848.32</c:v>
                </c:pt>
                <c:pt idx="2595">
                  <c:v>3853.61</c:v>
                </c:pt>
                <c:pt idx="2596">
                  <c:v>3886</c:v>
                </c:pt>
                <c:pt idx="2597">
                  <c:v>3925.32</c:v>
                </c:pt>
                <c:pt idx="2598">
                  <c:v>3948.51</c:v>
                </c:pt>
                <c:pt idx="2599">
                  <c:v>3972.95</c:v>
                </c:pt>
                <c:pt idx="2600">
                  <c:v>3959.27</c:v>
                </c:pt>
                <c:pt idx="2601">
                  <c:v>3930.1</c:v>
                </c:pt>
                <c:pt idx="2602">
                  <c:v>3972.38</c:v>
                </c:pt>
                <c:pt idx="2603">
                  <c:v>3957.72</c:v>
                </c:pt>
                <c:pt idx="2604">
                  <c:v>3891.22</c:v>
                </c:pt>
                <c:pt idx="2605">
                  <c:v>3910.08</c:v>
                </c:pt>
                <c:pt idx="2606">
                  <c:v>3924.38</c:v>
                </c:pt>
                <c:pt idx="2607">
                  <c:v>3935.65</c:v>
                </c:pt>
                <c:pt idx="2608">
                  <c:v>3890.66</c:v>
                </c:pt>
                <c:pt idx="2609">
                  <c:v>3901.08</c:v>
                </c:pt>
                <c:pt idx="2610">
                  <c:v>3870.98</c:v>
                </c:pt>
                <c:pt idx="2611">
                  <c:v>3841.14</c:v>
                </c:pt>
                <c:pt idx="2612">
                  <c:v>3852.65</c:v>
                </c:pt>
                <c:pt idx="2613">
                  <c:v>3814.53</c:v>
                </c:pt>
                <c:pt idx="2614">
                  <c:v>3837.68</c:v>
                </c:pt>
                <c:pt idx="2615">
                  <c:v>3843.24</c:v>
                </c:pt>
                <c:pt idx="2616">
                  <c:v>3874.64</c:v>
                </c:pt>
                <c:pt idx="2617">
                  <c:v>3911.73</c:v>
                </c:pt>
                <c:pt idx="2618">
                  <c:v>3953.24</c:v>
                </c:pt>
                <c:pt idx="2619">
                  <c:v>3936.25</c:v>
                </c:pt>
                <c:pt idx="2620">
                  <c:v>3922.69</c:v>
                </c:pt>
                <c:pt idx="2621">
                  <c:v>3925.22</c:v>
                </c:pt>
                <c:pt idx="2622">
                  <c:v>3869.38</c:v>
                </c:pt>
                <c:pt idx="2623">
                  <c:v>3880.84</c:v>
                </c:pt>
                <c:pt idx="2624">
                  <c:v>3895.88</c:v>
                </c:pt>
                <c:pt idx="2625">
                  <c:v>3871.08</c:v>
                </c:pt>
                <c:pt idx="2626">
                  <c:v>3870.67</c:v>
                </c:pt>
                <c:pt idx="2627">
                  <c:v>3896.79</c:v>
                </c:pt>
                <c:pt idx="2628">
                  <c:v>3926.59</c:v>
                </c:pt>
                <c:pt idx="2629">
                  <c:v>3910.23</c:v>
                </c:pt>
                <c:pt idx="2630">
                  <c:v>3891.23</c:v>
                </c:pt>
                <c:pt idx="2631">
                  <c:v>3886.75</c:v>
                </c:pt>
                <c:pt idx="2632">
                  <c:v>3952.39</c:v>
                </c:pt>
                <c:pt idx="2633">
                  <c:v>3978.12</c:v>
                </c:pt>
                <c:pt idx="2634">
                  <c:v>4002.81</c:v>
                </c:pt>
                <c:pt idx="2635">
                  <c:v>3984.88</c:v>
                </c:pt>
                <c:pt idx="2636">
                  <c:v>3991.87</c:v>
                </c:pt>
                <c:pt idx="2637">
                  <c:v>3973.01</c:v>
                </c:pt>
                <c:pt idx="2638">
                  <c:v>3902.98</c:v>
                </c:pt>
                <c:pt idx="2639">
                  <c:v>3903.69</c:v>
                </c:pt>
                <c:pt idx="2640">
                  <c:v>3899.98</c:v>
                </c:pt>
                <c:pt idx="2641">
                  <c:v>3905.86</c:v>
                </c:pt>
                <c:pt idx="2642">
                  <c:v>3877.09</c:v>
                </c:pt>
                <c:pt idx="2643">
                  <c:v>3907.93</c:v>
                </c:pt>
                <c:pt idx="2644">
                  <c:v>3947.04</c:v>
                </c:pt>
                <c:pt idx="2645">
                  <c:v>3907.86</c:v>
                </c:pt>
                <c:pt idx="2646">
                  <c:v>3889.6</c:v>
                </c:pt>
                <c:pt idx="2647">
                  <c:v>3849.99</c:v>
                </c:pt>
                <c:pt idx="2648">
                  <c:v>3878.21</c:v>
                </c:pt>
                <c:pt idx="2649">
                  <c:v>3891.65</c:v>
                </c:pt>
                <c:pt idx="2650">
                  <c:v>3875.62</c:v>
                </c:pt>
                <c:pt idx="2651">
                  <c:v>3862.3</c:v>
                </c:pt>
                <c:pt idx="2652">
                  <c:v>3828.67</c:v>
                </c:pt>
                <c:pt idx="2653">
                  <c:v>3836.06</c:v>
                </c:pt>
                <c:pt idx="2654">
                  <c:v>3851.09</c:v>
                </c:pt>
                <c:pt idx="2655">
                  <c:v>3849.82</c:v>
                </c:pt>
                <c:pt idx="2656">
                  <c:v>3879.36</c:v>
                </c:pt>
                <c:pt idx="2657">
                  <c:v>3902.39</c:v>
                </c:pt>
                <c:pt idx="2658">
                  <c:v>3895.45</c:v>
                </c:pt>
                <c:pt idx="2659">
                  <c:v>3900.38</c:v>
                </c:pt>
                <c:pt idx="2660">
                  <c:v>3902.75</c:v>
                </c:pt>
                <c:pt idx="2661">
                  <c:v>3891.02</c:v>
                </c:pt>
                <c:pt idx="2662">
                  <c:v>3968.22</c:v>
                </c:pt>
                <c:pt idx="2663">
                  <c:v>3987.55</c:v>
                </c:pt>
                <c:pt idx="2664">
                  <c:v>4041.8</c:v>
                </c:pt>
                <c:pt idx="2665">
                  <c:v>4032.78</c:v>
                </c:pt>
                <c:pt idx="2666">
                  <c:v>4027.15</c:v>
                </c:pt>
                <c:pt idx="2667">
                  <c:v>4017.25</c:v>
                </c:pt>
                <c:pt idx="2668">
                  <c:v>3967.1</c:v>
                </c:pt>
                <c:pt idx="2669">
                  <c:v>3992.96</c:v>
                </c:pt>
                <c:pt idx="2670">
                  <c:v>3990.87</c:v>
                </c:pt>
                <c:pt idx="2671">
                  <c:v>4025.99</c:v>
                </c:pt>
                <c:pt idx="2672">
                  <c:v>4022.03</c:v>
                </c:pt>
                <c:pt idx="2673">
                  <c:v>4081.63</c:v>
                </c:pt>
                <c:pt idx="2674">
                  <c:v>4096.58</c:v>
                </c:pt>
                <c:pt idx="2675">
                  <c:v>4152.24</c:v>
                </c:pt>
                <c:pt idx="2676">
                  <c:v>4144.96</c:v>
                </c:pt>
                <c:pt idx="2677">
                  <c:v>4129.3</c:v>
                </c:pt>
                <c:pt idx="2678">
                  <c:v>4160.2299999999996</c:v>
                </c:pt>
                <c:pt idx="2679">
                  <c:v>4112.32</c:v>
                </c:pt>
                <c:pt idx="2680">
                  <c:v>4164.37</c:v>
                </c:pt>
                <c:pt idx="2681">
                  <c:v>4163.18</c:v>
                </c:pt>
                <c:pt idx="2682">
                  <c:v>4203.99</c:v>
                </c:pt>
                <c:pt idx="2683">
                  <c:v>4189.8900000000003</c:v>
                </c:pt>
                <c:pt idx="2684">
                  <c:v>4166.7299999999996</c:v>
                </c:pt>
                <c:pt idx="2685">
                  <c:v>4149.04</c:v>
                </c:pt>
                <c:pt idx="2686">
                  <c:v>4154.8500000000004</c:v>
                </c:pt>
                <c:pt idx="2687">
                  <c:v>4185.83</c:v>
                </c:pt>
                <c:pt idx="2688">
                  <c:v>4114.3100000000004</c:v>
                </c:pt>
                <c:pt idx="2689">
                  <c:v>4131.93</c:v>
                </c:pt>
                <c:pt idx="2690">
                  <c:v>4003.9</c:v>
                </c:pt>
                <c:pt idx="2691">
                  <c:v>3688.36</c:v>
                </c:pt>
                <c:pt idx="2692">
                  <c:v>3785.64</c:v>
                </c:pt>
                <c:pt idx="2693">
                  <c:v>3828.53</c:v>
                </c:pt>
                <c:pt idx="2694">
                  <c:v>3899.78</c:v>
                </c:pt>
                <c:pt idx="2695">
                  <c:v>3899.87</c:v>
                </c:pt>
                <c:pt idx="2696">
                  <c:v>3916.01</c:v>
                </c:pt>
                <c:pt idx="2697">
                  <c:v>3952.46</c:v>
                </c:pt>
                <c:pt idx="2698">
                  <c:v>3984.43</c:v>
                </c:pt>
                <c:pt idx="2699">
                  <c:v>3959.92</c:v>
                </c:pt>
                <c:pt idx="2700">
                  <c:v>3987.73</c:v>
                </c:pt>
                <c:pt idx="2701">
                  <c:v>4077.42</c:v>
                </c:pt>
                <c:pt idx="2702">
                  <c:v>4057.51</c:v>
                </c:pt>
                <c:pt idx="2703">
                  <c:v>4051.31</c:v>
                </c:pt>
                <c:pt idx="2704">
                  <c:v>4144.66</c:v>
                </c:pt>
                <c:pt idx="2705">
                  <c:v>4149.49</c:v>
                </c:pt>
                <c:pt idx="2706">
                  <c:v>4132.84</c:v>
                </c:pt>
                <c:pt idx="2707">
                  <c:v>4123.8500000000004</c:v>
                </c:pt>
                <c:pt idx="2708">
                  <c:v>4073.02</c:v>
                </c:pt>
                <c:pt idx="2709">
                  <c:v>4084.88</c:v>
                </c:pt>
                <c:pt idx="2710">
                  <c:v>3940.05</c:v>
                </c:pt>
                <c:pt idx="2711">
                  <c:v>4069.67</c:v>
                </c:pt>
                <c:pt idx="2712">
                  <c:v>4091.36</c:v>
                </c:pt>
                <c:pt idx="2713">
                  <c:v>4115.05</c:v>
                </c:pt>
                <c:pt idx="2714">
                  <c:v>4206.7299999999996</c:v>
                </c:pt>
                <c:pt idx="2715">
                  <c:v>4138.51</c:v>
                </c:pt>
                <c:pt idx="2716">
                  <c:v>3997.13</c:v>
                </c:pt>
                <c:pt idx="2717">
                  <c:v>4082.73</c:v>
                </c:pt>
                <c:pt idx="2718">
                  <c:v>4028.43</c:v>
                </c:pt>
                <c:pt idx="2719">
                  <c:v>3950.91</c:v>
                </c:pt>
                <c:pt idx="2720">
                  <c:v>3895.31</c:v>
                </c:pt>
                <c:pt idx="2721">
                  <c:v>3727.84</c:v>
                </c:pt>
                <c:pt idx="2722">
                  <c:v>3709.68</c:v>
                </c:pt>
                <c:pt idx="2723">
                  <c:v>3636.26</c:v>
                </c:pt>
                <c:pt idx="2724">
                  <c:v>3589.09</c:v>
                </c:pt>
                <c:pt idx="2725">
                  <c:v>3653.22</c:v>
                </c:pt>
                <c:pt idx="2726">
                  <c:v>3530.31</c:v>
                </c:pt>
                <c:pt idx="2727">
                  <c:v>3625.11</c:v>
                </c:pt>
                <c:pt idx="2728">
                  <c:v>3722.52</c:v>
                </c:pt>
                <c:pt idx="2729">
                  <c:v>3698.05</c:v>
                </c:pt>
                <c:pt idx="2730">
                  <c:v>3710.06</c:v>
                </c:pt>
                <c:pt idx="2731">
                  <c:v>3674.11</c:v>
                </c:pt>
                <c:pt idx="2732">
                  <c:v>3686.16</c:v>
                </c:pt>
                <c:pt idx="2733">
                  <c:v>3675.08</c:v>
                </c:pt>
                <c:pt idx="2734">
                  <c:v>3734.53</c:v>
                </c:pt>
                <c:pt idx="2735">
                  <c:v>3713.22</c:v>
                </c:pt>
                <c:pt idx="2736">
                  <c:v>3798.02</c:v>
                </c:pt>
                <c:pt idx="2737">
                  <c:v>3780.34</c:v>
                </c:pt>
                <c:pt idx="2738">
                  <c:v>3792.81</c:v>
                </c:pt>
                <c:pt idx="2739">
                  <c:v>3769.18</c:v>
                </c:pt>
                <c:pt idx="2740">
                  <c:v>3753.26</c:v>
                </c:pt>
                <c:pt idx="2741">
                  <c:v>3825.7</c:v>
                </c:pt>
                <c:pt idx="2742">
                  <c:v>3797.36</c:v>
                </c:pt>
                <c:pt idx="2743">
                  <c:v>3802.38</c:v>
                </c:pt>
                <c:pt idx="2744">
                  <c:v>3839.49</c:v>
                </c:pt>
                <c:pt idx="2745">
                  <c:v>3853.46</c:v>
                </c:pt>
                <c:pt idx="2746">
                  <c:v>3808.05</c:v>
                </c:pt>
                <c:pt idx="2747">
                  <c:v>3839.38</c:v>
                </c:pt>
                <c:pt idx="2748">
                  <c:v>3829.75</c:v>
                </c:pt>
                <c:pt idx="2749">
                  <c:v>3796.97</c:v>
                </c:pt>
                <c:pt idx="2750">
                  <c:v>3822.77</c:v>
                </c:pt>
                <c:pt idx="2751">
                  <c:v>3849.15</c:v>
                </c:pt>
                <c:pt idx="2752">
                  <c:v>3867.03</c:v>
                </c:pt>
                <c:pt idx="2753">
                  <c:v>3912.58</c:v>
                </c:pt>
                <c:pt idx="2754">
                  <c:v>3936.25</c:v>
                </c:pt>
                <c:pt idx="2755">
                  <c:v>3924.89</c:v>
                </c:pt>
                <c:pt idx="2756">
                  <c:v>3963.62</c:v>
                </c:pt>
                <c:pt idx="2757">
                  <c:v>3960.18</c:v>
                </c:pt>
                <c:pt idx="2758">
                  <c:v>3960.24</c:v>
                </c:pt>
                <c:pt idx="2759">
                  <c:v>3968.25</c:v>
                </c:pt>
                <c:pt idx="2760">
                  <c:v>3925.22</c:v>
                </c:pt>
                <c:pt idx="2761">
                  <c:v>3912.82</c:v>
                </c:pt>
                <c:pt idx="2762">
                  <c:v>3922.91</c:v>
                </c:pt>
                <c:pt idx="2763">
                  <c:v>3956.25</c:v>
                </c:pt>
                <c:pt idx="2764">
                  <c:v>3935.22</c:v>
                </c:pt>
                <c:pt idx="2765">
                  <c:v>3913.79</c:v>
                </c:pt>
                <c:pt idx="2766">
                  <c:v>3824.06</c:v>
                </c:pt>
                <c:pt idx="2767">
                  <c:v>3829.32</c:v>
                </c:pt>
                <c:pt idx="2768">
                  <c:v>3872.77</c:v>
                </c:pt>
                <c:pt idx="2769">
                  <c:v>3845.61</c:v>
                </c:pt>
                <c:pt idx="2770">
                  <c:v>3856.63</c:v>
                </c:pt>
                <c:pt idx="2771">
                  <c:v>3867.02</c:v>
                </c:pt>
                <c:pt idx="2772">
                  <c:v>3971.34</c:v>
                </c:pt>
                <c:pt idx="2773">
                  <c:v>3983.57</c:v>
                </c:pt>
                <c:pt idx="2774">
                  <c:v>3983.65</c:v>
                </c:pt>
                <c:pt idx="2775">
                  <c:v>3982.19</c:v>
                </c:pt>
                <c:pt idx="2776">
                  <c:v>4001.25</c:v>
                </c:pt>
                <c:pt idx="2777">
                  <c:v>4021.95</c:v>
                </c:pt>
                <c:pt idx="2778">
                  <c:v>4047.03</c:v>
                </c:pt>
                <c:pt idx="2779">
                  <c:v>4039.71</c:v>
                </c:pt>
                <c:pt idx="2780">
                  <c:v>3995.88</c:v>
                </c:pt>
                <c:pt idx="2781">
                  <c:v>4003.08</c:v>
                </c:pt>
                <c:pt idx="2782">
                  <c:v>3954.99</c:v>
                </c:pt>
                <c:pt idx="2783">
                  <c:v>4014.57</c:v>
                </c:pt>
                <c:pt idx="2784">
                  <c:v>4017.59</c:v>
                </c:pt>
                <c:pt idx="2785">
                  <c:v>4044.38</c:v>
                </c:pt>
                <c:pt idx="2786">
                  <c:v>4098.71</c:v>
                </c:pt>
                <c:pt idx="2787">
                  <c:v>4102.05</c:v>
                </c:pt>
                <c:pt idx="2788">
                  <c:v>4121.79</c:v>
                </c:pt>
                <c:pt idx="2789">
                  <c:v>4138.99</c:v>
                </c:pt>
                <c:pt idx="2790">
                  <c:v>4109.72</c:v>
                </c:pt>
                <c:pt idx="2791">
                  <c:v>4163.96</c:v>
                </c:pt>
                <c:pt idx="2792">
                  <c:v>4247.78</c:v>
                </c:pt>
                <c:pt idx="2793">
                  <c:v>4335.84</c:v>
                </c:pt>
                <c:pt idx="2794">
                  <c:v>4419.6000000000004</c:v>
                </c:pt>
                <c:pt idx="2795">
                  <c:v>4670.09</c:v>
                </c:pt>
                <c:pt idx="2796">
                  <c:v>4698.13</c:v>
                </c:pt>
                <c:pt idx="2797">
                  <c:v>4774</c:v>
                </c:pt>
                <c:pt idx="2798">
                  <c:v>4840.7700000000004</c:v>
                </c:pt>
                <c:pt idx="2799">
                  <c:v>4753.13</c:v>
                </c:pt>
                <c:pt idx="2800">
                  <c:v>4852.96</c:v>
                </c:pt>
                <c:pt idx="2801">
                  <c:v>4806.6899999999996</c:v>
                </c:pt>
                <c:pt idx="2802">
                  <c:v>4744.47</c:v>
                </c:pt>
                <c:pt idx="2803">
                  <c:v>4516.25</c:v>
                </c:pt>
                <c:pt idx="2804">
                  <c:v>4544.7</c:v>
                </c:pt>
                <c:pt idx="2805">
                  <c:v>4680.3</c:v>
                </c:pt>
                <c:pt idx="2806">
                  <c:v>4691.04</c:v>
                </c:pt>
                <c:pt idx="2807">
                  <c:v>4714.45</c:v>
                </c:pt>
                <c:pt idx="2808">
                  <c:v>4712.4399999999996</c:v>
                </c:pt>
                <c:pt idx="2809">
                  <c:v>4505.59</c:v>
                </c:pt>
                <c:pt idx="2810">
                  <c:v>4528.45</c:v>
                </c:pt>
                <c:pt idx="2811">
                  <c:v>4568.26</c:v>
                </c:pt>
                <c:pt idx="2812">
                  <c:v>4679.01</c:v>
                </c:pt>
                <c:pt idx="2813">
                  <c:v>4656.1499999999996</c:v>
                </c:pt>
                <c:pt idx="2814">
                  <c:v>4695.05</c:v>
                </c:pt>
                <c:pt idx="2815">
                  <c:v>4771.3100000000004</c:v>
                </c:pt>
                <c:pt idx="2816">
                  <c:v>4775.8</c:v>
                </c:pt>
                <c:pt idx="2817">
                  <c:v>4777.1099999999997</c:v>
                </c:pt>
                <c:pt idx="2818">
                  <c:v>4762.76</c:v>
                </c:pt>
                <c:pt idx="2819">
                  <c:v>4707.93</c:v>
                </c:pt>
                <c:pt idx="2820">
                  <c:v>4724.87</c:v>
                </c:pt>
                <c:pt idx="2821">
                  <c:v>4681.78</c:v>
                </c:pt>
                <c:pt idx="2822">
                  <c:v>4647.6400000000003</c:v>
                </c:pt>
                <c:pt idx="2823">
                  <c:v>4635.71</c:v>
                </c:pt>
                <c:pt idx="2824">
                  <c:v>4704.63</c:v>
                </c:pt>
                <c:pt idx="2825">
                  <c:v>4815.2299999999996</c:v>
                </c:pt>
                <c:pt idx="2826">
                  <c:v>4812.76</c:v>
                </c:pt>
                <c:pt idx="2827">
                  <c:v>4740.68</c:v>
                </c:pt>
                <c:pt idx="2828">
                  <c:v>4679.1499999999996</c:v>
                </c:pt>
                <c:pt idx="2829">
                  <c:v>4718.84</c:v>
                </c:pt>
                <c:pt idx="2830">
                  <c:v>4755.8500000000004</c:v>
                </c:pt>
                <c:pt idx="2831">
                  <c:v>4761.95</c:v>
                </c:pt>
                <c:pt idx="2832">
                  <c:v>4706.13</c:v>
                </c:pt>
                <c:pt idx="2833">
                  <c:v>4731.3500000000004</c:v>
                </c:pt>
                <c:pt idx="2834">
                  <c:v>4844.2700000000004</c:v>
                </c:pt>
                <c:pt idx="2835">
                  <c:v>4816.22</c:v>
                </c:pt>
                <c:pt idx="2836">
                  <c:v>4842.12</c:v>
                </c:pt>
                <c:pt idx="2837">
                  <c:v>4843.8900000000003</c:v>
                </c:pt>
                <c:pt idx="2838">
                  <c:v>4817.1000000000004</c:v>
                </c:pt>
                <c:pt idx="2839">
                  <c:v>4770.22</c:v>
                </c:pt>
                <c:pt idx="2840">
                  <c:v>4669.37</c:v>
                </c:pt>
                <c:pt idx="2841">
                  <c:v>4694.3900000000003</c:v>
                </c:pt>
                <c:pt idx="2842">
                  <c:v>4584.59</c:v>
                </c:pt>
                <c:pt idx="2843">
                  <c:v>4581.9799999999996</c:v>
                </c:pt>
                <c:pt idx="2844">
                  <c:v>4627.28</c:v>
                </c:pt>
                <c:pt idx="2845">
                  <c:v>4651.05</c:v>
                </c:pt>
                <c:pt idx="2846">
                  <c:v>4688.4799999999996</c:v>
                </c:pt>
                <c:pt idx="2847">
                  <c:v>4657.3599999999997</c:v>
                </c:pt>
                <c:pt idx="2848">
                  <c:v>4632.71</c:v>
                </c:pt>
                <c:pt idx="2849">
                  <c:v>4737.09</c:v>
                </c:pt>
                <c:pt idx="2850">
                  <c:v>4691.43</c:v>
                </c:pt>
                <c:pt idx="2851">
                  <c:v>4635.76</c:v>
                </c:pt>
                <c:pt idx="2852">
                  <c:v>4652.33</c:v>
                </c:pt>
                <c:pt idx="2853">
                  <c:v>4563.07</c:v>
                </c:pt>
                <c:pt idx="2854">
                  <c:v>4570.0200000000004</c:v>
                </c:pt>
                <c:pt idx="2855">
                  <c:v>4581.91</c:v>
                </c:pt>
                <c:pt idx="2856">
                  <c:v>4591.8</c:v>
                </c:pt>
                <c:pt idx="2857">
                  <c:v>4587.3999999999996</c:v>
                </c:pt>
                <c:pt idx="2858">
                  <c:v>4681.1400000000003</c:v>
                </c:pt>
                <c:pt idx="2859">
                  <c:v>4823.16</c:v>
                </c:pt>
                <c:pt idx="2860">
                  <c:v>4839.2</c:v>
                </c:pt>
                <c:pt idx="2861">
                  <c:v>4807.1000000000004</c:v>
                </c:pt>
                <c:pt idx="2862">
                  <c:v>4798.74</c:v>
                </c:pt>
                <c:pt idx="2863">
                  <c:v>4791.68</c:v>
                </c:pt>
                <c:pt idx="2864">
                  <c:v>4755.49</c:v>
                </c:pt>
                <c:pt idx="2865">
                  <c:v>4793.47</c:v>
                </c:pt>
                <c:pt idx="2866">
                  <c:v>4792.83</c:v>
                </c:pt>
                <c:pt idx="2867">
                  <c:v>4777.9799999999996</c:v>
                </c:pt>
                <c:pt idx="2868">
                  <c:v>4718.49</c:v>
                </c:pt>
                <c:pt idx="2869">
                  <c:v>4691.24</c:v>
                </c:pt>
                <c:pt idx="2870">
                  <c:v>4699.28</c:v>
                </c:pt>
                <c:pt idx="2871">
                  <c:v>4737.2700000000004</c:v>
                </c:pt>
                <c:pt idx="2872">
                  <c:v>4772.92</c:v>
                </c:pt>
                <c:pt idx="2873">
                  <c:v>4695.33</c:v>
                </c:pt>
                <c:pt idx="2874">
                  <c:v>4720.83</c:v>
                </c:pt>
                <c:pt idx="2875">
                  <c:v>4777.5600000000004</c:v>
                </c:pt>
                <c:pt idx="2876">
                  <c:v>4813.66</c:v>
                </c:pt>
                <c:pt idx="2877">
                  <c:v>4885.1099999999997</c:v>
                </c:pt>
                <c:pt idx="2878">
                  <c:v>4885.72</c:v>
                </c:pt>
                <c:pt idx="2879">
                  <c:v>4981.3500000000004</c:v>
                </c:pt>
                <c:pt idx="2880">
                  <c:v>4953.88</c:v>
                </c:pt>
                <c:pt idx="2881">
                  <c:v>4904.8999999999996</c:v>
                </c:pt>
                <c:pt idx="2882">
                  <c:v>4908.46</c:v>
                </c:pt>
                <c:pt idx="2883">
                  <c:v>4856.8500000000004</c:v>
                </c:pt>
                <c:pt idx="2884">
                  <c:v>4904.17</c:v>
                </c:pt>
                <c:pt idx="2885">
                  <c:v>4894.79</c:v>
                </c:pt>
                <c:pt idx="2886">
                  <c:v>4891.67</c:v>
                </c:pt>
                <c:pt idx="2887">
                  <c:v>4927.99</c:v>
                </c:pt>
                <c:pt idx="2888">
                  <c:v>4943.29</c:v>
                </c:pt>
                <c:pt idx="2889">
                  <c:v>5005.03</c:v>
                </c:pt>
                <c:pt idx="2890">
                  <c:v>4974.29</c:v>
                </c:pt>
                <c:pt idx="2891">
                  <c:v>4910.7</c:v>
                </c:pt>
                <c:pt idx="2892">
                  <c:v>4919.59</c:v>
                </c:pt>
                <c:pt idx="2893">
                  <c:v>4980.7700000000004</c:v>
                </c:pt>
                <c:pt idx="2894">
                  <c:v>4960.25</c:v>
                </c:pt>
                <c:pt idx="2895">
                  <c:v>5067.1000000000004</c:v>
                </c:pt>
                <c:pt idx="2896">
                  <c:v>5067.1400000000003</c:v>
                </c:pt>
                <c:pt idx="2897">
                  <c:v>5057.0600000000004</c:v>
                </c:pt>
                <c:pt idx="2898">
                  <c:v>5065.92</c:v>
                </c:pt>
                <c:pt idx="2899">
                  <c:v>5022.24</c:v>
                </c:pt>
                <c:pt idx="2900">
                  <c:v>5009.88</c:v>
                </c:pt>
                <c:pt idx="2901">
                  <c:v>4942.7</c:v>
                </c:pt>
                <c:pt idx="2902">
                  <c:v>4940.5200000000004</c:v>
                </c:pt>
                <c:pt idx="2903">
                  <c:v>4889.63</c:v>
                </c:pt>
                <c:pt idx="2904">
                  <c:v>4934.84</c:v>
                </c:pt>
                <c:pt idx="2905">
                  <c:v>4945.1000000000004</c:v>
                </c:pt>
                <c:pt idx="2906">
                  <c:v>4953.87</c:v>
                </c:pt>
                <c:pt idx="2907">
                  <c:v>5017.4799999999996</c:v>
                </c:pt>
                <c:pt idx="2908">
                  <c:v>4999.97</c:v>
                </c:pt>
                <c:pt idx="2909">
                  <c:v>5046.84</c:v>
                </c:pt>
                <c:pt idx="2910">
                  <c:v>4964.7700000000004</c:v>
                </c:pt>
                <c:pt idx="2911">
                  <c:v>5007.12</c:v>
                </c:pt>
                <c:pt idx="2912">
                  <c:v>5000.0200000000004</c:v>
                </c:pt>
                <c:pt idx="2913">
                  <c:v>5042.01</c:v>
                </c:pt>
                <c:pt idx="2914">
                  <c:v>5064.41</c:v>
                </c:pt>
                <c:pt idx="2915">
                  <c:v>5042.9399999999996</c:v>
                </c:pt>
                <c:pt idx="2916">
                  <c:v>5113.71</c:v>
                </c:pt>
                <c:pt idx="2917">
                  <c:v>5211.29</c:v>
                </c:pt>
                <c:pt idx="2918">
                  <c:v>5267.72</c:v>
                </c:pt>
                <c:pt idx="2919">
                  <c:v>5368.5</c:v>
                </c:pt>
                <c:pt idx="2920">
                  <c:v>5417.67</c:v>
                </c:pt>
                <c:pt idx="2921">
                  <c:v>5513.66</c:v>
                </c:pt>
                <c:pt idx="2922">
                  <c:v>5495.43</c:v>
                </c:pt>
                <c:pt idx="2923">
                  <c:v>5441.16</c:v>
                </c:pt>
                <c:pt idx="2924">
                  <c:v>5596.35</c:v>
                </c:pt>
                <c:pt idx="2925">
                  <c:v>5577.97</c:v>
                </c:pt>
                <c:pt idx="2926">
                  <c:v>5470.46</c:v>
                </c:pt>
                <c:pt idx="2927">
                  <c:v>5458.08</c:v>
                </c:pt>
                <c:pt idx="2928">
                  <c:v>5518.52</c:v>
                </c:pt>
                <c:pt idx="2929">
                  <c:v>5437.52</c:v>
                </c:pt>
                <c:pt idx="2930">
                  <c:v>5476.43</c:v>
                </c:pt>
                <c:pt idx="2931">
                  <c:v>5564.97</c:v>
                </c:pt>
                <c:pt idx="2932">
                  <c:v>5569.78</c:v>
                </c:pt>
                <c:pt idx="2933">
                  <c:v>5625.92</c:v>
                </c:pt>
                <c:pt idx="2934">
                  <c:v>5512.97</c:v>
                </c:pt>
                <c:pt idx="2935">
                  <c:v>5528</c:v>
                </c:pt>
                <c:pt idx="2936">
                  <c:v>5377.14</c:v>
                </c:pt>
                <c:pt idx="2937">
                  <c:v>5351.96</c:v>
                </c:pt>
                <c:pt idx="2938">
                  <c:v>5417.65</c:v>
                </c:pt>
                <c:pt idx="2939">
                  <c:v>5501.09</c:v>
                </c:pt>
                <c:pt idx="2940">
                  <c:v>5485.2</c:v>
                </c:pt>
                <c:pt idx="2941">
                  <c:v>5473.95</c:v>
                </c:pt>
                <c:pt idx="2942">
                  <c:v>5483.41</c:v>
                </c:pt>
                <c:pt idx="2943">
                  <c:v>5564.56</c:v>
                </c:pt>
                <c:pt idx="2944">
                  <c:v>5686.25</c:v>
                </c:pt>
                <c:pt idx="2945">
                  <c:v>5807.72</c:v>
                </c:pt>
                <c:pt idx="2946">
                  <c:v>5768.38</c:v>
                </c:pt>
                <c:pt idx="2947">
                  <c:v>5778.84</c:v>
                </c:pt>
                <c:pt idx="2948">
                  <c:v>5597.33</c:v>
                </c:pt>
                <c:pt idx="2949">
                  <c:v>5579.67</c:v>
                </c:pt>
                <c:pt idx="2950">
                  <c:v>5437.57</c:v>
                </c:pt>
                <c:pt idx="2951">
                  <c:v>5469.56</c:v>
                </c:pt>
                <c:pt idx="2952">
                  <c:v>5336.76</c:v>
                </c:pt>
                <c:pt idx="2953">
                  <c:v>5418.78</c:v>
                </c:pt>
                <c:pt idx="2954">
                  <c:v>5349.63</c:v>
                </c:pt>
                <c:pt idx="2955">
                  <c:v>5452.21</c:v>
                </c:pt>
                <c:pt idx="2956">
                  <c:v>5280.71</c:v>
                </c:pt>
                <c:pt idx="2957">
                  <c:v>5262.8</c:v>
                </c:pt>
                <c:pt idx="2958">
                  <c:v>5080.0200000000004</c:v>
                </c:pt>
                <c:pt idx="2959">
                  <c:v>4971</c:v>
                </c:pt>
                <c:pt idx="2960">
                  <c:v>5003.6099999999997</c:v>
                </c:pt>
                <c:pt idx="2961">
                  <c:v>5128.22</c:v>
                </c:pt>
                <c:pt idx="2962">
                  <c:v>5146.38</c:v>
                </c:pt>
                <c:pt idx="2963">
                  <c:v>5035.54</c:v>
                </c:pt>
                <c:pt idx="2964">
                  <c:v>5079.3599999999997</c:v>
                </c:pt>
                <c:pt idx="2965">
                  <c:v>5100.8599999999997</c:v>
                </c:pt>
                <c:pt idx="2966">
                  <c:v>5141.7700000000004</c:v>
                </c:pt>
                <c:pt idx="2967">
                  <c:v>5007.09</c:v>
                </c:pt>
                <c:pt idx="2968">
                  <c:v>5057.1499999999996</c:v>
                </c:pt>
                <c:pt idx="2969">
                  <c:v>5009.25</c:v>
                </c:pt>
                <c:pt idx="2970">
                  <c:v>4928.6899999999996</c:v>
                </c:pt>
                <c:pt idx="2971">
                  <c:v>4926.3500000000004</c:v>
                </c:pt>
                <c:pt idx="2972">
                  <c:v>5037.99</c:v>
                </c:pt>
                <c:pt idx="2973">
                  <c:v>5046.88</c:v>
                </c:pt>
                <c:pt idx="2974">
                  <c:v>5094.7299999999996</c:v>
                </c:pt>
                <c:pt idx="2975">
                  <c:v>5048.3599999999997</c:v>
                </c:pt>
                <c:pt idx="2976">
                  <c:v>5110.78</c:v>
                </c:pt>
                <c:pt idx="2977">
                  <c:v>5161.5600000000004</c:v>
                </c:pt>
                <c:pt idx="2978">
                  <c:v>5140.34</c:v>
                </c:pt>
                <c:pt idx="2979">
                  <c:v>5103.74</c:v>
                </c:pt>
                <c:pt idx="2980">
                  <c:v>5112.21</c:v>
                </c:pt>
                <c:pt idx="2981">
                  <c:v>5035.34</c:v>
                </c:pt>
                <c:pt idx="2982">
                  <c:v>4947.75</c:v>
                </c:pt>
                <c:pt idx="2983">
                  <c:v>4939.6400000000003</c:v>
                </c:pt>
                <c:pt idx="2984">
                  <c:v>4980.63</c:v>
                </c:pt>
                <c:pt idx="2985">
                  <c:v>4948.97</c:v>
                </c:pt>
                <c:pt idx="2986">
                  <c:v>4966.18</c:v>
                </c:pt>
                <c:pt idx="2987">
                  <c:v>5087.0200000000004</c:v>
                </c:pt>
                <c:pt idx="2988">
                  <c:v>5083.37</c:v>
                </c:pt>
                <c:pt idx="2989">
                  <c:v>5098.74</c:v>
                </c:pt>
                <c:pt idx="2990">
                  <c:v>5089.24</c:v>
                </c:pt>
                <c:pt idx="2991">
                  <c:v>5135.45</c:v>
                </c:pt>
                <c:pt idx="2992">
                  <c:v>5077.24</c:v>
                </c:pt>
                <c:pt idx="2993">
                  <c:v>5090.5200000000004</c:v>
                </c:pt>
                <c:pt idx="2994">
                  <c:v>5119.24</c:v>
                </c:pt>
                <c:pt idx="2995">
                  <c:v>5164.17</c:v>
                </c:pt>
                <c:pt idx="2996">
                  <c:v>5123.49</c:v>
                </c:pt>
                <c:pt idx="2997">
                  <c:v>5061.12</c:v>
                </c:pt>
                <c:pt idx="2998">
                  <c:v>4996.05</c:v>
                </c:pt>
                <c:pt idx="2999">
                  <c:v>4992.42</c:v>
                </c:pt>
                <c:pt idx="3000">
                  <c:v>5023.0600000000004</c:v>
                </c:pt>
                <c:pt idx="3001">
                  <c:v>5044.55</c:v>
                </c:pt>
                <c:pt idx="3002">
                  <c:v>4992.97</c:v>
                </c:pt>
                <c:pt idx="3003">
                  <c:v>5110.59</c:v>
                </c:pt>
                <c:pt idx="3004">
                  <c:v>5184.99</c:v>
                </c:pt>
                <c:pt idx="3005">
                  <c:v>5187.6000000000004</c:v>
                </c:pt>
                <c:pt idx="3006">
                  <c:v>5172.2700000000004</c:v>
                </c:pt>
                <c:pt idx="3007">
                  <c:v>5186.41</c:v>
                </c:pt>
                <c:pt idx="3008">
                  <c:v>5134.1499999999996</c:v>
                </c:pt>
                <c:pt idx="3009">
                  <c:v>5155.59</c:v>
                </c:pt>
                <c:pt idx="3010">
                  <c:v>5318.48</c:v>
                </c:pt>
                <c:pt idx="3011">
                  <c:v>5320.59</c:v>
                </c:pt>
                <c:pt idx="3012">
                  <c:v>5338.23</c:v>
                </c:pt>
                <c:pt idx="3013">
                  <c:v>5321.09</c:v>
                </c:pt>
                <c:pt idx="3014">
                  <c:v>5331.57</c:v>
                </c:pt>
                <c:pt idx="3015">
                  <c:v>5341.68</c:v>
                </c:pt>
                <c:pt idx="3016">
                  <c:v>5289.97</c:v>
                </c:pt>
                <c:pt idx="3017">
                  <c:v>5255.29</c:v>
                </c:pt>
                <c:pt idx="3018">
                  <c:v>5282.28</c:v>
                </c:pt>
                <c:pt idx="3019">
                  <c:v>5277.63</c:v>
                </c:pt>
                <c:pt idx="3020">
                  <c:v>5232.12</c:v>
                </c:pt>
                <c:pt idx="3021">
                  <c:v>5236.45</c:v>
                </c:pt>
                <c:pt idx="3022">
                  <c:v>5271.47</c:v>
                </c:pt>
                <c:pt idx="3023">
                  <c:v>5224.7</c:v>
                </c:pt>
                <c:pt idx="3024">
                  <c:v>5166.5600000000004</c:v>
                </c:pt>
                <c:pt idx="3025">
                  <c:v>5080.49</c:v>
                </c:pt>
                <c:pt idx="3026">
                  <c:v>5101.8900000000003</c:v>
                </c:pt>
                <c:pt idx="3027">
                  <c:v>5102.47</c:v>
                </c:pt>
                <c:pt idx="3028">
                  <c:v>5090.3900000000003</c:v>
                </c:pt>
                <c:pt idx="3029">
                  <c:v>5122.16</c:v>
                </c:pt>
                <c:pt idx="3030">
                  <c:v>5147.3900000000003</c:v>
                </c:pt>
                <c:pt idx="3031">
                  <c:v>5155.97</c:v>
                </c:pt>
                <c:pt idx="3032">
                  <c:v>5239.97</c:v>
                </c:pt>
                <c:pt idx="3033">
                  <c:v>5251.76</c:v>
                </c:pt>
                <c:pt idx="3034">
                  <c:v>5190.54</c:v>
                </c:pt>
                <c:pt idx="3035">
                  <c:v>5224.04</c:v>
                </c:pt>
                <c:pt idx="3036">
                  <c:v>5229.66</c:v>
                </c:pt>
                <c:pt idx="3037">
                  <c:v>5081.12</c:v>
                </c:pt>
                <c:pt idx="3038">
                  <c:v>5085.79</c:v>
                </c:pt>
                <c:pt idx="3039">
                  <c:v>5083.1000000000004</c:v>
                </c:pt>
                <c:pt idx="3040">
                  <c:v>5140.49</c:v>
                </c:pt>
                <c:pt idx="3041">
                  <c:v>5088.26</c:v>
                </c:pt>
                <c:pt idx="3042">
                  <c:v>5069.4399999999996</c:v>
                </c:pt>
                <c:pt idx="3043">
                  <c:v>5132.71</c:v>
                </c:pt>
                <c:pt idx="3044">
                  <c:v>5142.1000000000004</c:v>
                </c:pt>
                <c:pt idx="3045">
                  <c:v>5083.08</c:v>
                </c:pt>
                <c:pt idx="3046">
                  <c:v>5151.46</c:v>
                </c:pt>
                <c:pt idx="3047">
                  <c:v>5094.7700000000004</c:v>
                </c:pt>
                <c:pt idx="3048">
                  <c:v>5113.49</c:v>
                </c:pt>
                <c:pt idx="3049">
                  <c:v>5108.99</c:v>
                </c:pt>
                <c:pt idx="3050">
                  <c:v>5144.04</c:v>
                </c:pt>
                <c:pt idx="3051">
                  <c:v>5151.75</c:v>
                </c:pt>
                <c:pt idx="3052">
                  <c:v>5089.2299999999996</c:v>
                </c:pt>
                <c:pt idx="3053">
                  <c:v>4925.3</c:v>
                </c:pt>
                <c:pt idx="3054">
                  <c:v>4751.3100000000004</c:v>
                </c:pt>
                <c:pt idx="3055">
                  <c:v>4760.4799999999996</c:v>
                </c:pt>
                <c:pt idx="3056">
                  <c:v>4850.2700000000004</c:v>
                </c:pt>
                <c:pt idx="3057">
                  <c:v>4811.17</c:v>
                </c:pt>
                <c:pt idx="3058">
                  <c:v>4933.74</c:v>
                </c:pt>
                <c:pt idx="3059">
                  <c:v>4934.46</c:v>
                </c:pt>
                <c:pt idx="3060">
                  <c:v>4978.8500000000004</c:v>
                </c:pt>
                <c:pt idx="3061">
                  <c:v>4948.67</c:v>
                </c:pt>
                <c:pt idx="3062">
                  <c:v>4921.5600000000004</c:v>
                </c:pt>
                <c:pt idx="3063">
                  <c:v>4985.5600000000004</c:v>
                </c:pt>
                <c:pt idx="3064">
                  <c:v>5043.1499999999996</c:v>
                </c:pt>
                <c:pt idx="3065">
                  <c:v>5015.34</c:v>
                </c:pt>
                <c:pt idx="3066">
                  <c:v>4973.3500000000004</c:v>
                </c:pt>
                <c:pt idx="3067">
                  <c:v>4945.9799999999996</c:v>
                </c:pt>
                <c:pt idx="3068">
                  <c:v>4941.07</c:v>
                </c:pt>
                <c:pt idx="3069">
                  <c:v>4837.3999999999996</c:v>
                </c:pt>
                <c:pt idx="3070">
                  <c:v>4894.24</c:v>
                </c:pt>
                <c:pt idx="3071">
                  <c:v>4862.1400000000003</c:v>
                </c:pt>
                <c:pt idx="3072">
                  <c:v>4769.2700000000004</c:v>
                </c:pt>
                <c:pt idx="3073">
                  <c:v>4835.88</c:v>
                </c:pt>
                <c:pt idx="3074">
                  <c:v>4888.3900000000003</c:v>
                </c:pt>
                <c:pt idx="3075">
                  <c:v>4898.16</c:v>
                </c:pt>
                <c:pt idx="3076">
                  <c:v>4801.6099999999997</c:v>
                </c:pt>
                <c:pt idx="3077">
                  <c:v>4827.04</c:v>
                </c:pt>
                <c:pt idx="3078">
                  <c:v>4813.2700000000004</c:v>
                </c:pt>
                <c:pt idx="3079">
                  <c:v>4805.6099999999997</c:v>
                </c:pt>
                <c:pt idx="3080">
                  <c:v>4869.46</c:v>
                </c:pt>
                <c:pt idx="3081">
                  <c:v>4869.41</c:v>
                </c:pt>
                <c:pt idx="3082">
                  <c:v>4843.0600000000004</c:v>
                </c:pt>
                <c:pt idx="3083">
                  <c:v>4933.7299999999996</c:v>
                </c:pt>
                <c:pt idx="3084">
                  <c:v>4992.83</c:v>
                </c:pt>
                <c:pt idx="3085">
                  <c:v>4972.13</c:v>
                </c:pt>
                <c:pt idx="3086">
                  <c:v>4970.01</c:v>
                </c:pt>
                <c:pt idx="3087">
                  <c:v>5013.5200000000004</c:v>
                </c:pt>
                <c:pt idx="3088">
                  <c:v>4991.66</c:v>
                </c:pt>
                <c:pt idx="3089">
                  <c:v>4917.16</c:v>
                </c:pt>
                <c:pt idx="3090">
                  <c:v>4867.32</c:v>
                </c:pt>
                <c:pt idx="3091">
                  <c:v>4807.7</c:v>
                </c:pt>
                <c:pt idx="3092">
                  <c:v>4855.9399999999996</c:v>
                </c:pt>
                <c:pt idx="3093">
                  <c:v>4821.7700000000004</c:v>
                </c:pt>
                <c:pt idx="3094">
                  <c:v>4853.2</c:v>
                </c:pt>
                <c:pt idx="3095">
                  <c:v>4849.43</c:v>
                </c:pt>
                <c:pt idx="3096">
                  <c:v>4877.37</c:v>
                </c:pt>
                <c:pt idx="3097">
                  <c:v>4883.83</c:v>
                </c:pt>
                <c:pt idx="3098">
                  <c:v>4833.93</c:v>
                </c:pt>
                <c:pt idx="3099">
                  <c:v>4866.38</c:v>
                </c:pt>
                <c:pt idx="3100">
                  <c:v>4929.9399999999996</c:v>
                </c:pt>
                <c:pt idx="3101">
                  <c:v>4936.1899999999996</c:v>
                </c:pt>
                <c:pt idx="3102">
                  <c:v>4883.84</c:v>
                </c:pt>
                <c:pt idx="3103">
                  <c:v>4940.1099999999997</c:v>
                </c:pt>
                <c:pt idx="3104">
                  <c:v>4913.6099999999997</c:v>
                </c:pt>
                <c:pt idx="3105">
                  <c:v>4932.1099999999997</c:v>
                </c:pt>
                <c:pt idx="3106">
                  <c:v>4874.78</c:v>
                </c:pt>
                <c:pt idx="3107">
                  <c:v>4922.72</c:v>
                </c:pt>
                <c:pt idx="3108">
                  <c:v>4910.18</c:v>
                </c:pt>
                <c:pt idx="3109">
                  <c:v>4928.0200000000004</c:v>
                </c:pt>
                <c:pt idx="3110">
                  <c:v>4959.7299999999996</c:v>
                </c:pt>
                <c:pt idx="3111">
                  <c:v>4979.5200000000004</c:v>
                </c:pt>
                <c:pt idx="3112">
                  <c:v>4963.1000000000004</c:v>
                </c:pt>
                <c:pt idx="3113">
                  <c:v>4898.16</c:v>
                </c:pt>
                <c:pt idx="3114">
                  <c:v>4864.1400000000003</c:v>
                </c:pt>
                <c:pt idx="3115">
                  <c:v>4908.7700000000004</c:v>
                </c:pt>
                <c:pt idx="3116">
                  <c:v>4890.6899999999996</c:v>
                </c:pt>
                <c:pt idx="3117">
                  <c:v>4839.8500000000004</c:v>
                </c:pt>
                <c:pt idx="3118">
                  <c:v>4821.1099999999997</c:v>
                </c:pt>
                <c:pt idx="3119">
                  <c:v>4868.74</c:v>
                </c:pt>
                <c:pt idx="3120">
                  <c:v>4842.3500000000004</c:v>
                </c:pt>
                <c:pt idx="3121">
                  <c:v>4848.18</c:v>
                </c:pt>
                <c:pt idx="3122">
                  <c:v>4846.74</c:v>
                </c:pt>
                <c:pt idx="3123">
                  <c:v>4821.1899999999996</c:v>
                </c:pt>
                <c:pt idx="3124">
                  <c:v>4898.6499999999996</c:v>
                </c:pt>
                <c:pt idx="3125">
                  <c:v>4888.37</c:v>
                </c:pt>
                <c:pt idx="3126">
                  <c:v>4882.38</c:v>
                </c:pt>
                <c:pt idx="3127">
                  <c:v>4883.32</c:v>
                </c:pt>
                <c:pt idx="3128">
                  <c:v>4885.75</c:v>
                </c:pt>
                <c:pt idx="3129">
                  <c:v>4837.62</c:v>
                </c:pt>
                <c:pt idx="3130">
                  <c:v>4890.0600000000004</c:v>
                </c:pt>
                <c:pt idx="3131">
                  <c:v>4912.3999999999996</c:v>
                </c:pt>
                <c:pt idx="3132">
                  <c:v>4913.3500000000004</c:v>
                </c:pt>
                <c:pt idx="3133">
                  <c:v>4916.66</c:v>
                </c:pt>
                <c:pt idx="3134">
                  <c:v>4896.4399999999996</c:v>
                </c:pt>
                <c:pt idx="3135">
                  <c:v>4860.13</c:v>
                </c:pt>
                <c:pt idx="3136">
                  <c:v>4851.42</c:v>
                </c:pt>
                <c:pt idx="3137">
                  <c:v>4832.03</c:v>
                </c:pt>
                <c:pt idx="3138">
                  <c:v>4843.8500000000004</c:v>
                </c:pt>
                <c:pt idx="3139">
                  <c:v>4856.16</c:v>
                </c:pt>
                <c:pt idx="3140">
                  <c:v>4901.0200000000004</c:v>
                </c:pt>
                <c:pt idx="3141">
                  <c:v>4892.62</c:v>
                </c:pt>
                <c:pt idx="3142">
                  <c:v>4922.1000000000004</c:v>
                </c:pt>
                <c:pt idx="3143">
                  <c:v>4995.93</c:v>
                </c:pt>
                <c:pt idx="3144">
                  <c:v>5078.6899999999996</c:v>
                </c:pt>
                <c:pt idx="3145">
                  <c:v>5055.12</c:v>
                </c:pt>
                <c:pt idx="3146">
                  <c:v>5083.8</c:v>
                </c:pt>
                <c:pt idx="3147">
                  <c:v>5049.7</c:v>
                </c:pt>
                <c:pt idx="3148">
                  <c:v>5005.8999999999996</c:v>
                </c:pt>
                <c:pt idx="3149">
                  <c:v>5034.7299999999996</c:v>
                </c:pt>
                <c:pt idx="3150">
                  <c:v>4954.76</c:v>
                </c:pt>
                <c:pt idx="3151">
                  <c:v>4880.42</c:v>
                </c:pt>
                <c:pt idx="3152">
                  <c:v>4913.49</c:v>
                </c:pt>
                <c:pt idx="3153">
                  <c:v>4914.45</c:v>
                </c:pt>
                <c:pt idx="3154">
                  <c:v>4948.74</c:v>
                </c:pt>
                <c:pt idx="3155">
                  <c:v>4921.34</c:v>
                </c:pt>
                <c:pt idx="3156">
                  <c:v>4919.32</c:v>
                </c:pt>
                <c:pt idx="3157">
                  <c:v>4955.96</c:v>
                </c:pt>
                <c:pt idx="3158">
                  <c:v>4883.4799999999996</c:v>
                </c:pt>
                <c:pt idx="3159">
                  <c:v>4921.51</c:v>
                </c:pt>
                <c:pt idx="3160">
                  <c:v>4940.37</c:v>
                </c:pt>
                <c:pt idx="3161">
                  <c:v>4917.7700000000004</c:v>
                </c:pt>
                <c:pt idx="3162">
                  <c:v>4868.12</c:v>
                </c:pt>
                <c:pt idx="3163">
                  <c:v>4818.2299999999996</c:v>
                </c:pt>
                <c:pt idx="3164">
                  <c:v>4822.37</c:v>
                </c:pt>
                <c:pt idx="3165">
                  <c:v>4844.05</c:v>
                </c:pt>
                <c:pt idx="3166">
                  <c:v>4797.7700000000004</c:v>
                </c:pt>
                <c:pt idx="3167">
                  <c:v>4845.58</c:v>
                </c:pt>
                <c:pt idx="3168">
                  <c:v>4765.92</c:v>
                </c:pt>
                <c:pt idx="3169">
                  <c:v>4726.7299999999996</c:v>
                </c:pt>
                <c:pt idx="3170">
                  <c:v>4767.28</c:v>
                </c:pt>
                <c:pt idx="3171">
                  <c:v>4813.3500000000004</c:v>
                </c:pt>
                <c:pt idx="3172">
                  <c:v>4780.38</c:v>
                </c:pt>
                <c:pt idx="3173">
                  <c:v>4823.51</c:v>
                </c:pt>
                <c:pt idx="3174">
                  <c:v>4779.3100000000004</c:v>
                </c:pt>
                <c:pt idx="3175">
                  <c:v>4786.74</c:v>
                </c:pt>
                <c:pt idx="3176">
                  <c:v>4678.45</c:v>
                </c:pt>
                <c:pt idx="3177">
                  <c:v>4712.3100000000004</c:v>
                </c:pt>
                <c:pt idx="3178">
                  <c:v>4619.88</c:v>
                </c:pt>
                <c:pt idx="3179">
                  <c:v>4563.7700000000004</c:v>
                </c:pt>
                <c:pt idx="3180">
                  <c:v>4634.09</c:v>
                </c:pt>
                <c:pt idx="3181">
                  <c:v>4608.7700000000004</c:v>
                </c:pt>
                <c:pt idx="3182">
                  <c:v>4652.0600000000004</c:v>
                </c:pt>
                <c:pt idx="3183">
                  <c:v>4639.8599999999997</c:v>
                </c:pt>
                <c:pt idx="3184">
                  <c:v>4601.3999999999996</c:v>
                </c:pt>
                <c:pt idx="3185">
                  <c:v>4551.6899999999996</c:v>
                </c:pt>
                <c:pt idx="3186">
                  <c:v>4600.1000000000004</c:v>
                </c:pt>
                <c:pt idx="3187">
                  <c:v>4617.99</c:v>
                </c:pt>
                <c:pt idx="3188">
                  <c:v>4629.16</c:v>
                </c:pt>
                <c:pt idx="3189">
                  <c:v>4651.24</c:v>
                </c:pt>
                <c:pt idx="3190">
                  <c:v>4634.3100000000004</c:v>
                </c:pt>
                <c:pt idx="3191">
                  <c:v>4574.1499999999996</c:v>
                </c:pt>
                <c:pt idx="3192">
                  <c:v>4623.05</c:v>
                </c:pt>
                <c:pt idx="3193">
                  <c:v>4529.32</c:v>
                </c:pt>
                <c:pt idx="3194">
                  <c:v>4573.42</c:v>
                </c:pt>
                <c:pt idx="3195">
                  <c:v>4581.6499999999996</c:v>
                </c:pt>
                <c:pt idx="3196">
                  <c:v>4619.6899999999996</c:v>
                </c:pt>
                <c:pt idx="3197">
                  <c:v>4578.6000000000004</c:v>
                </c:pt>
                <c:pt idx="3198">
                  <c:v>4551.63</c:v>
                </c:pt>
                <c:pt idx="3199">
                  <c:v>4496.43</c:v>
                </c:pt>
                <c:pt idx="3200">
                  <c:v>4352.78</c:v>
                </c:pt>
                <c:pt idx="3201">
                  <c:v>4265.3900000000003</c:v>
                </c:pt>
                <c:pt idx="3202">
                  <c:v>4226.3500000000004</c:v>
                </c:pt>
                <c:pt idx="3203">
                  <c:v>4292.84</c:v>
                </c:pt>
                <c:pt idx="3204">
                  <c:v>4306.5200000000004</c:v>
                </c:pt>
                <c:pt idx="3205">
                  <c:v>4174.76</c:v>
                </c:pt>
                <c:pt idx="3206">
                  <c:v>3983.81</c:v>
                </c:pt>
                <c:pt idx="3207">
                  <c:v>4156.08</c:v>
                </c:pt>
                <c:pt idx="3208">
                  <c:v>4237.7</c:v>
                </c:pt>
                <c:pt idx="3209">
                  <c:v>4265.8999999999996</c:v>
                </c:pt>
                <c:pt idx="3210">
                  <c:v>4258.75</c:v>
                </c:pt>
                <c:pt idx="3211">
                  <c:v>4255.3</c:v>
                </c:pt>
                <c:pt idx="3212">
                  <c:v>4276.5200000000004</c:v>
                </c:pt>
                <c:pt idx="3213">
                  <c:v>4251.3100000000004</c:v>
                </c:pt>
                <c:pt idx="3214">
                  <c:v>4174.57</c:v>
                </c:pt>
                <c:pt idx="3215">
                  <c:v>4148.47</c:v>
                </c:pt>
                <c:pt idx="3216">
                  <c:v>4134.1400000000003</c:v>
                </c:pt>
                <c:pt idx="3217">
                  <c:v>4254.1000000000004</c:v>
                </c:pt>
                <c:pt idx="3218">
                  <c:v>4222.6000000000004</c:v>
                </c:pt>
                <c:pt idx="3219">
                  <c:v>4276.16</c:v>
                </c:pt>
                <c:pt idx="3220">
                  <c:v>4263.84</c:v>
                </c:pt>
                <c:pt idx="3221">
                  <c:v>4209.1000000000004</c:v>
                </c:pt>
                <c:pt idx="3222">
                  <c:v>4230.7700000000004</c:v>
                </c:pt>
              </c:numCache>
            </c:numRef>
          </c:val>
          <c:smooth val="0"/>
          <c:extLst>
            <c:ext xmlns:c16="http://schemas.microsoft.com/office/drawing/2014/chart" uri="{C3380CC4-5D6E-409C-BE32-E72D297353CC}">
              <c16:uniqueId val="{00000000-3295-4415-82C7-54BFDC83C208}"/>
            </c:ext>
          </c:extLst>
        </c:ser>
        <c:dLbls>
          <c:showLegendKey val="0"/>
          <c:showVal val="0"/>
          <c:showCatName val="0"/>
          <c:showSerName val="0"/>
          <c:showPercent val="0"/>
          <c:showBubbleSize val="0"/>
        </c:dLbls>
        <c:marker val="1"/>
        <c:smooth val="0"/>
        <c:axId val="557129592"/>
        <c:axId val="557132472"/>
      </c:lineChart>
      <c:lineChart>
        <c:grouping val="standard"/>
        <c:varyColors val="0"/>
        <c:ser>
          <c:idx val="1"/>
          <c:order val="1"/>
          <c:tx>
            <c:strRef>
              <c:f>indicators!$N$1</c:f>
              <c:strCache>
                <c:ptCount val="1"/>
                <c:pt idx="0">
                  <c:v>market state indicator</c:v>
                </c:pt>
              </c:strCache>
            </c:strRef>
          </c:tx>
          <c:spPr>
            <a:ln w="28575" cap="rnd">
              <a:solidFill>
                <a:schemeClr val="accent3"/>
              </a:solidFill>
              <a:round/>
            </a:ln>
            <a:effectLst/>
          </c:spPr>
          <c:marker>
            <c:symbol val="none"/>
          </c:marker>
          <c:cat>
            <c:numRef>
              <c:f>indicators!$A$2:$A$3224</c:f>
              <c:numCache>
                <c:formatCode>yyyy\-mm\-dd;@</c:formatCode>
                <c:ptCount val="3223"/>
                <c:pt idx="0">
                  <c:v>39818</c:v>
                </c:pt>
                <c:pt idx="1">
                  <c:v>39819</c:v>
                </c:pt>
                <c:pt idx="2">
                  <c:v>39820</c:v>
                </c:pt>
                <c:pt idx="3">
                  <c:v>39821</c:v>
                </c:pt>
                <c:pt idx="4">
                  <c:v>39822</c:v>
                </c:pt>
                <c:pt idx="5">
                  <c:v>39825</c:v>
                </c:pt>
                <c:pt idx="6">
                  <c:v>39826</c:v>
                </c:pt>
                <c:pt idx="7">
                  <c:v>39827</c:v>
                </c:pt>
                <c:pt idx="8">
                  <c:v>39828</c:v>
                </c:pt>
                <c:pt idx="9">
                  <c:v>39829</c:v>
                </c:pt>
                <c:pt idx="10">
                  <c:v>39832</c:v>
                </c:pt>
                <c:pt idx="11">
                  <c:v>39833</c:v>
                </c:pt>
                <c:pt idx="12">
                  <c:v>39834</c:v>
                </c:pt>
                <c:pt idx="13">
                  <c:v>39835</c:v>
                </c:pt>
                <c:pt idx="14">
                  <c:v>39836</c:v>
                </c:pt>
                <c:pt idx="15">
                  <c:v>39846</c:v>
                </c:pt>
                <c:pt idx="16">
                  <c:v>39847</c:v>
                </c:pt>
                <c:pt idx="17">
                  <c:v>39848</c:v>
                </c:pt>
                <c:pt idx="18">
                  <c:v>39849</c:v>
                </c:pt>
                <c:pt idx="19">
                  <c:v>39850</c:v>
                </c:pt>
                <c:pt idx="20">
                  <c:v>39853</c:v>
                </c:pt>
                <c:pt idx="21">
                  <c:v>39854</c:v>
                </c:pt>
                <c:pt idx="22">
                  <c:v>39855</c:v>
                </c:pt>
                <c:pt idx="23">
                  <c:v>39856</c:v>
                </c:pt>
                <c:pt idx="24">
                  <c:v>39857</c:v>
                </c:pt>
                <c:pt idx="25">
                  <c:v>39860</c:v>
                </c:pt>
                <c:pt idx="26">
                  <c:v>39861</c:v>
                </c:pt>
                <c:pt idx="27">
                  <c:v>39862</c:v>
                </c:pt>
                <c:pt idx="28">
                  <c:v>39863</c:v>
                </c:pt>
                <c:pt idx="29">
                  <c:v>39864</c:v>
                </c:pt>
                <c:pt idx="30">
                  <c:v>39867</c:v>
                </c:pt>
                <c:pt idx="31">
                  <c:v>39868</c:v>
                </c:pt>
                <c:pt idx="32">
                  <c:v>39869</c:v>
                </c:pt>
                <c:pt idx="33">
                  <c:v>39870</c:v>
                </c:pt>
                <c:pt idx="34">
                  <c:v>39871</c:v>
                </c:pt>
                <c:pt idx="35">
                  <c:v>39874</c:v>
                </c:pt>
                <c:pt idx="36">
                  <c:v>39875</c:v>
                </c:pt>
                <c:pt idx="37">
                  <c:v>39876</c:v>
                </c:pt>
                <c:pt idx="38">
                  <c:v>39877</c:v>
                </c:pt>
                <c:pt idx="39">
                  <c:v>39878</c:v>
                </c:pt>
                <c:pt idx="40">
                  <c:v>39881</c:v>
                </c:pt>
                <c:pt idx="41">
                  <c:v>39882</c:v>
                </c:pt>
                <c:pt idx="42">
                  <c:v>39883</c:v>
                </c:pt>
                <c:pt idx="43">
                  <c:v>39884</c:v>
                </c:pt>
                <c:pt idx="44">
                  <c:v>39885</c:v>
                </c:pt>
                <c:pt idx="45">
                  <c:v>39888</c:v>
                </c:pt>
                <c:pt idx="46">
                  <c:v>39889</c:v>
                </c:pt>
                <c:pt idx="47">
                  <c:v>39890</c:v>
                </c:pt>
                <c:pt idx="48">
                  <c:v>39891</c:v>
                </c:pt>
                <c:pt idx="49">
                  <c:v>39892</c:v>
                </c:pt>
                <c:pt idx="50">
                  <c:v>39895</c:v>
                </c:pt>
                <c:pt idx="51">
                  <c:v>39896</c:v>
                </c:pt>
                <c:pt idx="52">
                  <c:v>39897</c:v>
                </c:pt>
                <c:pt idx="53">
                  <c:v>39898</c:v>
                </c:pt>
                <c:pt idx="54">
                  <c:v>39899</c:v>
                </c:pt>
                <c:pt idx="55">
                  <c:v>39902</c:v>
                </c:pt>
                <c:pt idx="56">
                  <c:v>39903</c:v>
                </c:pt>
                <c:pt idx="57">
                  <c:v>39904</c:v>
                </c:pt>
                <c:pt idx="58">
                  <c:v>39905</c:v>
                </c:pt>
                <c:pt idx="59">
                  <c:v>39906</c:v>
                </c:pt>
                <c:pt idx="60">
                  <c:v>39910</c:v>
                </c:pt>
                <c:pt idx="61">
                  <c:v>39911</c:v>
                </c:pt>
                <c:pt idx="62">
                  <c:v>39912</c:v>
                </c:pt>
                <c:pt idx="63">
                  <c:v>39913</c:v>
                </c:pt>
                <c:pt idx="64">
                  <c:v>39916</c:v>
                </c:pt>
                <c:pt idx="65">
                  <c:v>39917</c:v>
                </c:pt>
                <c:pt idx="66">
                  <c:v>39918</c:v>
                </c:pt>
                <c:pt idx="67">
                  <c:v>39919</c:v>
                </c:pt>
                <c:pt idx="68">
                  <c:v>39920</c:v>
                </c:pt>
                <c:pt idx="69">
                  <c:v>39923</c:v>
                </c:pt>
                <c:pt idx="70">
                  <c:v>39924</c:v>
                </c:pt>
                <c:pt idx="71">
                  <c:v>39925</c:v>
                </c:pt>
                <c:pt idx="72">
                  <c:v>39926</c:v>
                </c:pt>
                <c:pt idx="73">
                  <c:v>39927</c:v>
                </c:pt>
                <c:pt idx="74">
                  <c:v>39930</c:v>
                </c:pt>
                <c:pt idx="75">
                  <c:v>39931</c:v>
                </c:pt>
                <c:pt idx="76">
                  <c:v>39932</c:v>
                </c:pt>
                <c:pt idx="77">
                  <c:v>39933</c:v>
                </c:pt>
                <c:pt idx="78">
                  <c:v>39937</c:v>
                </c:pt>
                <c:pt idx="79">
                  <c:v>39938</c:v>
                </c:pt>
                <c:pt idx="80">
                  <c:v>39939</c:v>
                </c:pt>
                <c:pt idx="81">
                  <c:v>39940</c:v>
                </c:pt>
                <c:pt idx="82">
                  <c:v>39941</c:v>
                </c:pt>
                <c:pt idx="83">
                  <c:v>39944</c:v>
                </c:pt>
                <c:pt idx="84">
                  <c:v>39945</c:v>
                </c:pt>
                <c:pt idx="85">
                  <c:v>39946</c:v>
                </c:pt>
                <c:pt idx="86">
                  <c:v>39947</c:v>
                </c:pt>
                <c:pt idx="87">
                  <c:v>39948</c:v>
                </c:pt>
                <c:pt idx="88">
                  <c:v>39951</c:v>
                </c:pt>
                <c:pt idx="89">
                  <c:v>39952</c:v>
                </c:pt>
                <c:pt idx="90">
                  <c:v>39953</c:v>
                </c:pt>
                <c:pt idx="91">
                  <c:v>39954</c:v>
                </c:pt>
                <c:pt idx="92">
                  <c:v>39955</c:v>
                </c:pt>
                <c:pt idx="93">
                  <c:v>39958</c:v>
                </c:pt>
                <c:pt idx="94">
                  <c:v>39959</c:v>
                </c:pt>
                <c:pt idx="95">
                  <c:v>39960</c:v>
                </c:pt>
                <c:pt idx="96">
                  <c:v>39965</c:v>
                </c:pt>
                <c:pt idx="97">
                  <c:v>39966</c:v>
                </c:pt>
                <c:pt idx="98">
                  <c:v>39967</c:v>
                </c:pt>
                <c:pt idx="99">
                  <c:v>39968</c:v>
                </c:pt>
                <c:pt idx="100">
                  <c:v>39969</c:v>
                </c:pt>
                <c:pt idx="101">
                  <c:v>39972</c:v>
                </c:pt>
                <c:pt idx="102">
                  <c:v>39973</c:v>
                </c:pt>
                <c:pt idx="103">
                  <c:v>39974</c:v>
                </c:pt>
                <c:pt idx="104">
                  <c:v>39975</c:v>
                </c:pt>
                <c:pt idx="105">
                  <c:v>39976</c:v>
                </c:pt>
                <c:pt idx="106">
                  <c:v>39979</c:v>
                </c:pt>
                <c:pt idx="107">
                  <c:v>39980</c:v>
                </c:pt>
                <c:pt idx="108">
                  <c:v>39981</c:v>
                </c:pt>
                <c:pt idx="109">
                  <c:v>39982</c:v>
                </c:pt>
                <c:pt idx="110">
                  <c:v>39983</c:v>
                </c:pt>
                <c:pt idx="111">
                  <c:v>39986</c:v>
                </c:pt>
                <c:pt idx="112">
                  <c:v>39987</c:v>
                </c:pt>
                <c:pt idx="113">
                  <c:v>39988</c:v>
                </c:pt>
                <c:pt idx="114">
                  <c:v>39989</c:v>
                </c:pt>
                <c:pt idx="115">
                  <c:v>39990</c:v>
                </c:pt>
                <c:pt idx="116">
                  <c:v>39993</c:v>
                </c:pt>
                <c:pt idx="117">
                  <c:v>39994</c:v>
                </c:pt>
                <c:pt idx="118">
                  <c:v>39995</c:v>
                </c:pt>
                <c:pt idx="119">
                  <c:v>39996</c:v>
                </c:pt>
                <c:pt idx="120">
                  <c:v>39997</c:v>
                </c:pt>
                <c:pt idx="121">
                  <c:v>40000</c:v>
                </c:pt>
                <c:pt idx="122">
                  <c:v>40001</c:v>
                </c:pt>
                <c:pt idx="123">
                  <c:v>40002</c:v>
                </c:pt>
                <c:pt idx="124">
                  <c:v>40003</c:v>
                </c:pt>
                <c:pt idx="125">
                  <c:v>40004</c:v>
                </c:pt>
                <c:pt idx="126">
                  <c:v>40007</c:v>
                </c:pt>
                <c:pt idx="127">
                  <c:v>40008</c:v>
                </c:pt>
                <c:pt idx="128">
                  <c:v>40009</c:v>
                </c:pt>
                <c:pt idx="129">
                  <c:v>40010</c:v>
                </c:pt>
                <c:pt idx="130">
                  <c:v>40011</c:v>
                </c:pt>
                <c:pt idx="131">
                  <c:v>40014</c:v>
                </c:pt>
                <c:pt idx="132">
                  <c:v>40015</c:v>
                </c:pt>
                <c:pt idx="133">
                  <c:v>40016</c:v>
                </c:pt>
                <c:pt idx="134">
                  <c:v>40017</c:v>
                </c:pt>
                <c:pt idx="135">
                  <c:v>40018</c:v>
                </c:pt>
                <c:pt idx="136">
                  <c:v>40021</c:v>
                </c:pt>
                <c:pt idx="137">
                  <c:v>40022</c:v>
                </c:pt>
                <c:pt idx="138">
                  <c:v>40023</c:v>
                </c:pt>
                <c:pt idx="139">
                  <c:v>40024</c:v>
                </c:pt>
                <c:pt idx="140">
                  <c:v>40025</c:v>
                </c:pt>
                <c:pt idx="141">
                  <c:v>40028</c:v>
                </c:pt>
                <c:pt idx="142">
                  <c:v>40029</c:v>
                </c:pt>
                <c:pt idx="143">
                  <c:v>40030</c:v>
                </c:pt>
                <c:pt idx="144">
                  <c:v>40031</c:v>
                </c:pt>
                <c:pt idx="145">
                  <c:v>40032</c:v>
                </c:pt>
                <c:pt idx="146">
                  <c:v>40035</c:v>
                </c:pt>
                <c:pt idx="147">
                  <c:v>40036</c:v>
                </c:pt>
                <c:pt idx="148">
                  <c:v>40037</c:v>
                </c:pt>
                <c:pt idx="149">
                  <c:v>40038</c:v>
                </c:pt>
                <c:pt idx="150">
                  <c:v>40039</c:v>
                </c:pt>
                <c:pt idx="151">
                  <c:v>40042</c:v>
                </c:pt>
                <c:pt idx="152">
                  <c:v>40043</c:v>
                </c:pt>
                <c:pt idx="153">
                  <c:v>40044</c:v>
                </c:pt>
                <c:pt idx="154">
                  <c:v>40045</c:v>
                </c:pt>
                <c:pt idx="155">
                  <c:v>40046</c:v>
                </c:pt>
                <c:pt idx="156">
                  <c:v>40049</c:v>
                </c:pt>
                <c:pt idx="157">
                  <c:v>40050</c:v>
                </c:pt>
                <c:pt idx="158">
                  <c:v>40051</c:v>
                </c:pt>
                <c:pt idx="159">
                  <c:v>40052</c:v>
                </c:pt>
                <c:pt idx="160">
                  <c:v>40053</c:v>
                </c:pt>
                <c:pt idx="161">
                  <c:v>40056</c:v>
                </c:pt>
                <c:pt idx="162">
                  <c:v>40057</c:v>
                </c:pt>
                <c:pt idx="163">
                  <c:v>40058</c:v>
                </c:pt>
                <c:pt idx="164">
                  <c:v>40059</c:v>
                </c:pt>
                <c:pt idx="165">
                  <c:v>40060</c:v>
                </c:pt>
                <c:pt idx="166">
                  <c:v>40063</c:v>
                </c:pt>
                <c:pt idx="167">
                  <c:v>40064</c:v>
                </c:pt>
                <c:pt idx="168">
                  <c:v>40065</c:v>
                </c:pt>
                <c:pt idx="169">
                  <c:v>40066</c:v>
                </c:pt>
                <c:pt idx="170">
                  <c:v>40067</c:v>
                </c:pt>
                <c:pt idx="171">
                  <c:v>40070</c:v>
                </c:pt>
                <c:pt idx="172">
                  <c:v>40071</c:v>
                </c:pt>
                <c:pt idx="173">
                  <c:v>40072</c:v>
                </c:pt>
                <c:pt idx="174">
                  <c:v>40073</c:v>
                </c:pt>
                <c:pt idx="175">
                  <c:v>40074</c:v>
                </c:pt>
                <c:pt idx="176">
                  <c:v>40077</c:v>
                </c:pt>
                <c:pt idx="177">
                  <c:v>40078</c:v>
                </c:pt>
                <c:pt idx="178">
                  <c:v>40079</c:v>
                </c:pt>
                <c:pt idx="179">
                  <c:v>40080</c:v>
                </c:pt>
                <c:pt idx="180">
                  <c:v>40081</c:v>
                </c:pt>
                <c:pt idx="181">
                  <c:v>40084</c:v>
                </c:pt>
                <c:pt idx="182">
                  <c:v>40085</c:v>
                </c:pt>
                <c:pt idx="183">
                  <c:v>40086</c:v>
                </c:pt>
                <c:pt idx="184">
                  <c:v>40095</c:v>
                </c:pt>
                <c:pt idx="185">
                  <c:v>40098</c:v>
                </c:pt>
                <c:pt idx="186">
                  <c:v>40099</c:v>
                </c:pt>
                <c:pt idx="187">
                  <c:v>40100</c:v>
                </c:pt>
                <c:pt idx="188">
                  <c:v>40101</c:v>
                </c:pt>
                <c:pt idx="189">
                  <c:v>40102</c:v>
                </c:pt>
                <c:pt idx="190">
                  <c:v>40105</c:v>
                </c:pt>
                <c:pt idx="191">
                  <c:v>40106</c:v>
                </c:pt>
                <c:pt idx="192">
                  <c:v>40107</c:v>
                </c:pt>
                <c:pt idx="193">
                  <c:v>40108</c:v>
                </c:pt>
                <c:pt idx="194">
                  <c:v>40109</c:v>
                </c:pt>
                <c:pt idx="195">
                  <c:v>40112</c:v>
                </c:pt>
                <c:pt idx="196">
                  <c:v>40113</c:v>
                </c:pt>
                <c:pt idx="197">
                  <c:v>40114</c:v>
                </c:pt>
                <c:pt idx="198">
                  <c:v>40115</c:v>
                </c:pt>
                <c:pt idx="199">
                  <c:v>40116</c:v>
                </c:pt>
                <c:pt idx="200">
                  <c:v>40119</c:v>
                </c:pt>
                <c:pt idx="201">
                  <c:v>40120</c:v>
                </c:pt>
                <c:pt idx="202">
                  <c:v>40121</c:v>
                </c:pt>
                <c:pt idx="203">
                  <c:v>40122</c:v>
                </c:pt>
                <c:pt idx="204">
                  <c:v>40123</c:v>
                </c:pt>
                <c:pt idx="205">
                  <c:v>40126</c:v>
                </c:pt>
                <c:pt idx="206">
                  <c:v>40127</c:v>
                </c:pt>
                <c:pt idx="207">
                  <c:v>40128</c:v>
                </c:pt>
                <c:pt idx="208">
                  <c:v>40129</c:v>
                </c:pt>
                <c:pt idx="209">
                  <c:v>40130</c:v>
                </c:pt>
                <c:pt idx="210">
                  <c:v>40133</c:v>
                </c:pt>
                <c:pt idx="211">
                  <c:v>40134</c:v>
                </c:pt>
                <c:pt idx="212">
                  <c:v>40135</c:v>
                </c:pt>
                <c:pt idx="213">
                  <c:v>40136</c:v>
                </c:pt>
                <c:pt idx="214">
                  <c:v>40137</c:v>
                </c:pt>
                <c:pt idx="215">
                  <c:v>40140</c:v>
                </c:pt>
                <c:pt idx="216">
                  <c:v>40141</c:v>
                </c:pt>
                <c:pt idx="217">
                  <c:v>40142</c:v>
                </c:pt>
                <c:pt idx="218">
                  <c:v>40143</c:v>
                </c:pt>
                <c:pt idx="219">
                  <c:v>40144</c:v>
                </c:pt>
                <c:pt idx="220">
                  <c:v>40147</c:v>
                </c:pt>
                <c:pt idx="221">
                  <c:v>40148</c:v>
                </c:pt>
                <c:pt idx="222">
                  <c:v>40149</c:v>
                </c:pt>
                <c:pt idx="223">
                  <c:v>40150</c:v>
                </c:pt>
                <c:pt idx="224">
                  <c:v>40151</c:v>
                </c:pt>
                <c:pt idx="225">
                  <c:v>40154</c:v>
                </c:pt>
                <c:pt idx="226">
                  <c:v>40155</c:v>
                </c:pt>
                <c:pt idx="227">
                  <c:v>40156</c:v>
                </c:pt>
                <c:pt idx="228">
                  <c:v>40157</c:v>
                </c:pt>
                <c:pt idx="229">
                  <c:v>40158</c:v>
                </c:pt>
                <c:pt idx="230">
                  <c:v>40161</c:v>
                </c:pt>
                <c:pt idx="231">
                  <c:v>40162</c:v>
                </c:pt>
                <c:pt idx="232">
                  <c:v>40163</c:v>
                </c:pt>
                <c:pt idx="233">
                  <c:v>40164</c:v>
                </c:pt>
                <c:pt idx="234">
                  <c:v>40165</c:v>
                </c:pt>
                <c:pt idx="235">
                  <c:v>40168</c:v>
                </c:pt>
                <c:pt idx="236">
                  <c:v>40169</c:v>
                </c:pt>
                <c:pt idx="237">
                  <c:v>40170</c:v>
                </c:pt>
                <c:pt idx="238">
                  <c:v>40171</c:v>
                </c:pt>
                <c:pt idx="239">
                  <c:v>40172</c:v>
                </c:pt>
                <c:pt idx="240">
                  <c:v>40175</c:v>
                </c:pt>
                <c:pt idx="241">
                  <c:v>40176</c:v>
                </c:pt>
                <c:pt idx="242">
                  <c:v>40177</c:v>
                </c:pt>
                <c:pt idx="243">
                  <c:v>40178</c:v>
                </c:pt>
                <c:pt idx="244">
                  <c:v>40182</c:v>
                </c:pt>
                <c:pt idx="245">
                  <c:v>40183</c:v>
                </c:pt>
                <c:pt idx="246">
                  <c:v>40184</c:v>
                </c:pt>
                <c:pt idx="247">
                  <c:v>40185</c:v>
                </c:pt>
                <c:pt idx="248">
                  <c:v>40186</c:v>
                </c:pt>
                <c:pt idx="249">
                  <c:v>40189</c:v>
                </c:pt>
                <c:pt idx="250">
                  <c:v>40190</c:v>
                </c:pt>
                <c:pt idx="251">
                  <c:v>40191</c:v>
                </c:pt>
                <c:pt idx="252">
                  <c:v>40192</c:v>
                </c:pt>
                <c:pt idx="253">
                  <c:v>40193</c:v>
                </c:pt>
                <c:pt idx="254">
                  <c:v>40196</c:v>
                </c:pt>
                <c:pt idx="255">
                  <c:v>40197</c:v>
                </c:pt>
                <c:pt idx="256">
                  <c:v>40198</c:v>
                </c:pt>
                <c:pt idx="257">
                  <c:v>40199</c:v>
                </c:pt>
                <c:pt idx="258">
                  <c:v>40200</c:v>
                </c:pt>
                <c:pt idx="259">
                  <c:v>40203</c:v>
                </c:pt>
                <c:pt idx="260">
                  <c:v>40204</c:v>
                </c:pt>
                <c:pt idx="261">
                  <c:v>40205</c:v>
                </c:pt>
                <c:pt idx="262">
                  <c:v>40206</c:v>
                </c:pt>
                <c:pt idx="263">
                  <c:v>40207</c:v>
                </c:pt>
                <c:pt idx="264">
                  <c:v>40210</c:v>
                </c:pt>
                <c:pt idx="265">
                  <c:v>40211</c:v>
                </c:pt>
                <c:pt idx="266">
                  <c:v>40212</c:v>
                </c:pt>
                <c:pt idx="267">
                  <c:v>40213</c:v>
                </c:pt>
                <c:pt idx="268">
                  <c:v>40214</c:v>
                </c:pt>
                <c:pt idx="269">
                  <c:v>40217</c:v>
                </c:pt>
                <c:pt idx="270">
                  <c:v>40218</c:v>
                </c:pt>
                <c:pt idx="271">
                  <c:v>40219</c:v>
                </c:pt>
                <c:pt idx="272">
                  <c:v>40220</c:v>
                </c:pt>
                <c:pt idx="273">
                  <c:v>40221</c:v>
                </c:pt>
                <c:pt idx="274">
                  <c:v>40231</c:v>
                </c:pt>
                <c:pt idx="275">
                  <c:v>40232</c:v>
                </c:pt>
                <c:pt idx="276">
                  <c:v>40233</c:v>
                </c:pt>
                <c:pt idx="277">
                  <c:v>40234</c:v>
                </c:pt>
                <c:pt idx="278">
                  <c:v>40235</c:v>
                </c:pt>
                <c:pt idx="279">
                  <c:v>40238</c:v>
                </c:pt>
                <c:pt idx="280">
                  <c:v>40239</c:v>
                </c:pt>
                <c:pt idx="281">
                  <c:v>40240</c:v>
                </c:pt>
                <c:pt idx="282">
                  <c:v>40241</c:v>
                </c:pt>
                <c:pt idx="283">
                  <c:v>40242</c:v>
                </c:pt>
                <c:pt idx="284">
                  <c:v>40245</c:v>
                </c:pt>
                <c:pt idx="285">
                  <c:v>40246</c:v>
                </c:pt>
                <c:pt idx="286">
                  <c:v>40247</c:v>
                </c:pt>
                <c:pt idx="287">
                  <c:v>40248</c:v>
                </c:pt>
                <c:pt idx="288">
                  <c:v>40249</c:v>
                </c:pt>
                <c:pt idx="289">
                  <c:v>40252</c:v>
                </c:pt>
                <c:pt idx="290">
                  <c:v>40253</c:v>
                </c:pt>
                <c:pt idx="291">
                  <c:v>40254</c:v>
                </c:pt>
                <c:pt idx="292">
                  <c:v>40255</c:v>
                </c:pt>
                <c:pt idx="293">
                  <c:v>40256</c:v>
                </c:pt>
                <c:pt idx="294">
                  <c:v>40259</c:v>
                </c:pt>
                <c:pt idx="295">
                  <c:v>40260</c:v>
                </c:pt>
                <c:pt idx="296">
                  <c:v>40261</c:v>
                </c:pt>
                <c:pt idx="297">
                  <c:v>40262</c:v>
                </c:pt>
                <c:pt idx="298">
                  <c:v>40263</c:v>
                </c:pt>
                <c:pt idx="299">
                  <c:v>40266</c:v>
                </c:pt>
                <c:pt idx="300">
                  <c:v>40267</c:v>
                </c:pt>
                <c:pt idx="301">
                  <c:v>40268</c:v>
                </c:pt>
                <c:pt idx="302">
                  <c:v>40269</c:v>
                </c:pt>
                <c:pt idx="303">
                  <c:v>40270</c:v>
                </c:pt>
                <c:pt idx="304">
                  <c:v>40274</c:v>
                </c:pt>
                <c:pt idx="305">
                  <c:v>40275</c:v>
                </c:pt>
                <c:pt idx="306">
                  <c:v>40276</c:v>
                </c:pt>
                <c:pt idx="307">
                  <c:v>40277</c:v>
                </c:pt>
                <c:pt idx="308">
                  <c:v>40280</c:v>
                </c:pt>
                <c:pt idx="309">
                  <c:v>40281</c:v>
                </c:pt>
                <c:pt idx="310">
                  <c:v>40282</c:v>
                </c:pt>
                <c:pt idx="311">
                  <c:v>40283</c:v>
                </c:pt>
                <c:pt idx="312">
                  <c:v>40284</c:v>
                </c:pt>
                <c:pt idx="313">
                  <c:v>40287</c:v>
                </c:pt>
                <c:pt idx="314">
                  <c:v>40288</c:v>
                </c:pt>
                <c:pt idx="315">
                  <c:v>40289</c:v>
                </c:pt>
                <c:pt idx="316">
                  <c:v>40290</c:v>
                </c:pt>
                <c:pt idx="317">
                  <c:v>40291</c:v>
                </c:pt>
                <c:pt idx="318">
                  <c:v>40294</c:v>
                </c:pt>
                <c:pt idx="319">
                  <c:v>40295</c:v>
                </c:pt>
                <c:pt idx="320">
                  <c:v>40296</c:v>
                </c:pt>
                <c:pt idx="321">
                  <c:v>40297</c:v>
                </c:pt>
                <c:pt idx="322">
                  <c:v>40298</c:v>
                </c:pt>
                <c:pt idx="323">
                  <c:v>40302</c:v>
                </c:pt>
                <c:pt idx="324">
                  <c:v>40303</c:v>
                </c:pt>
                <c:pt idx="325">
                  <c:v>40304</c:v>
                </c:pt>
                <c:pt idx="326">
                  <c:v>40305</c:v>
                </c:pt>
                <c:pt idx="327">
                  <c:v>40308</c:v>
                </c:pt>
                <c:pt idx="328">
                  <c:v>40309</c:v>
                </c:pt>
                <c:pt idx="329">
                  <c:v>40310</c:v>
                </c:pt>
                <c:pt idx="330">
                  <c:v>40311</c:v>
                </c:pt>
                <c:pt idx="331">
                  <c:v>40312</c:v>
                </c:pt>
                <c:pt idx="332">
                  <c:v>40315</c:v>
                </c:pt>
                <c:pt idx="333">
                  <c:v>40316</c:v>
                </c:pt>
                <c:pt idx="334">
                  <c:v>40317</c:v>
                </c:pt>
                <c:pt idx="335">
                  <c:v>40318</c:v>
                </c:pt>
                <c:pt idx="336">
                  <c:v>40319</c:v>
                </c:pt>
                <c:pt idx="337">
                  <c:v>40322</c:v>
                </c:pt>
                <c:pt idx="338">
                  <c:v>40323</c:v>
                </c:pt>
                <c:pt idx="339">
                  <c:v>40324</c:v>
                </c:pt>
                <c:pt idx="340">
                  <c:v>40325</c:v>
                </c:pt>
                <c:pt idx="341">
                  <c:v>40326</c:v>
                </c:pt>
                <c:pt idx="342">
                  <c:v>40329</c:v>
                </c:pt>
                <c:pt idx="343">
                  <c:v>40330</c:v>
                </c:pt>
                <c:pt idx="344">
                  <c:v>40331</c:v>
                </c:pt>
                <c:pt idx="345">
                  <c:v>40332</c:v>
                </c:pt>
                <c:pt idx="346">
                  <c:v>40333</c:v>
                </c:pt>
                <c:pt idx="347">
                  <c:v>40336</c:v>
                </c:pt>
                <c:pt idx="348">
                  <c:v>40337</c:v>
                </c:pt>
                <c:pt idx="349">
                  <c:v>40338</c:v>
                </c:pt>
                <c:pt idx="350">
                  <c:v>40339</c:v>
                </c:pt>
                <c:pt idx="351">
                  <c:v>40340</c:v>
                </c:pt>
                <c:pt idx="352">
                  <c:v>40346</c:v>
                </c:pt>
                <c:pt idx="353">
                  <c:v>40347</c:v>
                </c:pt>
                <c:pt idx="354">
                  <c:v>40350</c:v>
                </c:pt>
                <c:pt idx="355">
                  <c:v>40351</c:v>
                </c:pt>
                <c:pt idx="356">
                  <c:v>40352</c:v>
                </c:pt>
                <c:pt idx="357">
                  <c:v>40353</c:v>
                </c:pt>
                <c:pt idx="358">
                  <c:v>40354</c:v>
                </c:pt>
                <c:pt idx="359">
                  <c:v>40357</c:v>
                </c:pt>
                <c:pt idx="360">
                  <c:v>40358</c:v>
                </c:pt>
                <c:pt idx="361">
                  <c:v>40359</c:v>
                </c:pt>
                <c:pt idx="362">
                  <c:v>40360</c:v>
                </c:pt>
                <c:pt idx="363">
                  <c:v>40361</c:v>
                </c:pt>
                <c:pt idx="364">
                  <c:v>40364</c:v>
                </c:pt>
                <c:pt idx="365">
                  <c:v>40365</c:v>
                </c:pt>
                <c:pt idx="366">
                  <c:v>40366</c:v>
                </c:pt>
                <c:pt idx="367">
                  <c:v>40367</c:v>
                </c:pt>
                <c:pt idx="368">
                  <c:v>40368</c:v>
                </c:pt>
                <c:pt idx="369">
                  <c:v>40371</c:v>
                </c:pt>
                <c:pt idx="370">
                  <c:v>40372</c:v>
                </c:pt>
                <c:pt idx="371">
                  <c:v>40373</c:v>
                </c:pt>
                <c:pt idx="372">
                  <c:v>40374</c:v>
                </c:pt>
                <c:pt idx="373">
                  <c:v>40375</c:v>
                </c:pt>
                <c:pt idx="374">
                  <c:v>40378</c:v>
                </c:pt>
                <c:pt idx="375">
                  <c:v>40379</c:v>
                </c:pt>
                <c:pt idx="376">
                  <c:v>40380</c:v>
                </c:pt>
                <c:pt idx="377">
                  <c:v>40381</c:v>
                </c:pt>
                <c:pt idx="378">
                  <c:v>40382</c:v>
                </c:pt>
                <c:pt idx="379">
                  <c:v>40385</c:v>
                </c:pt>
                <c:pt idx="380">
                  <c:v>40386</c:v>
                </c:pt>
                <c:pt idx="381">
                  <c:v>40387</c:v>
                </c:pt>
                <c:pt idx="382">
                  <c:v>40388</c:v>
                </c:pt>
                <c:pt idx="383">
                  <c:v>40389</c:v>
                </c:pt>
                <c:pt idx="384">
                  <c:v>40392</c:v>
                </c:pt>
                <c:pt idx="385">
                  <c:v>40393</c:v>
                </c:pt>
                <c:pt idx="386">
                  <c:v>40394</c:v>
                </c:pt>
                <c:pt idx="387">
                  <c:v>40395</c:v>
                </c:pt>
                <c:pt idx="388">
                  <c:v>40396</c:v>
                </c:pt>
                <c:pt idx="389">
                  <c:v>40399</c:v>
                </c:pt>
                <c:pt idx="390">
                  <c:v>40400</c:v>
                </c:pt>
                <c:pt idx="391">
                  <c:v>40401</c:v>
                </c:pt>
                <c:pt idx="392">
                  <c:v>40402</c:v>
                </c:pt>
                <c:pt idx="393">
                  <c:v>40403</c:v>
                </c:pt>
                <c:pt idx="394">
                  <c:v>40406</c:v>
                </c:pt>
                <c:pt idx="395">
                  <c:v>40407</c:v>
                </c:pt>
                <c:pt idx="396">
                  <c:v>40408</c:v>
                </c:pt>
                <c:pt idx="397">
                  <c:v>40409</c:v>
                </c:pt>
                <c:pt idx="398">
                  <c:v>40410</c:v>
                </c:pt>
                <c:pt idx="399">
                  <c:v>40413</c:v>
                </c:pt>
                <c:pt idx="400">
                  <c:v>40414</c:v>
                </c:pt>
                <c:pt idx="401">
                  <c:v>40415</c:v>
                </c:pt>
                <c:pt idx="402">
                  <c:v>40416</c:v>
                </c:pt>
                <c:pt idx="403">
                  <c:v>40417</c:v>
                </c:pt>
                <c:pt idx="404">
                  <c:v>40420</c:v>
                </c:pt>
                <c:pt idx="405">
                  <c:v>40421</c:v>
                </c:pt>
                <c:pt idx="406">
                  <c:v>40422</c:v>
                </c:pt>
                <c:pt idx="407">
                  <c:v>40423</c:v>
                </c:pt>
                <c:pt idx="408">
                  <c:v>40424</c:v>
                </c:pt>
                <c:pt idx="409">
                  <c:v>40427</c:v>
                </c:pt>
                <c:pt idx="410">
                  <c:v>40428</c:v>
                </c:pt>
                <c:pt idx="411">
                  <c:v>40429</c:v>
                </c:pt>
                <c:pt idx="412">
                  <c:v>40430</c:v>
                </c:pt>
                <c:pt idx="413">
                  <c:v>40431</c:v>
                </c:pt>
                <c:pt idx="414">
                  <c:v>40434</c:v>
                </c:pt>
                <c:pt idx="415">
                  <c:v>40435</c:v>
                </c:pt>
                <c:pt idx="416">
                  <c:v>40436</c:v>
                </c:pt>
                <c:pt idx="417">
                  <c:v>40437</c:v>
                </c:pt>
                <c:pt idx="418">
                  <c:v>40438</c:v>
                </c:pt>
                <c:pt idx="419">
                  <c:v>40441</c:v>
                </c:pt>
                <c:pt idx="420">
                  <c:v>40442</c:v>
                </c:pt>
                <c:pt idx="421">
                  <c:v>40448</c:v>
                </c:pt>
                <c:pt idx="422">
                  <c:v>40449</c:v>
                </c:pt>
                <c:pt idx="423">
                  <c:v>40450</c:v>
                </c:pt>
                <c:pt idx="424">
                  <c:v>40451</c:v>
                </c:pt>
                <c:pt idx="425">
                  <c:v>40459</c:v>
                </c:pt>
                <c:pt idx="426">
                  <c:v>40462</c:v>
                </c:pt>
                <c:pt idx="427">
                  <c:v>40463</c:v>
                </c:pt>
                <c:pt idx="428">
                  <c:v>40464</c:v>
                </c:pt>
                <c:pt idx="429">
                  <c:v>40465</c:v>
                </c:pt>
                <c:pt idx="430">
                  <c:v>40466</c:v>
                </c:pt>
                <c:pt idx="431">
                  <c:v>40469</c:v>
                </c:pt>
                <c:pt idx="432">
                  <c:v>40470</c:v>
                </c:pt>
                <c:pt idx="433">
                  <c:v>40471</c:v>
                </c:pt>
                <c:pt idx="434">
                  <c:v>40472</c:v>
                </c:pt>
                <c:pt idx="435">
                  <c:v>40473</c:v>
                </c:pt>
                <c:pt idx="436">
                  <c:v>40476</c:v>
                </c:pt>
                <c:pt idx="437">
                  <c:v>40477</c:v>
                </c:pt>
                <c:pt idx="438">
                  <c:v>40478</c:v>
                </c:pt>
                <c:pt idx="439">
                  <c:v>40479</c:v>
                </c:pt>
                <c:pt idx="440">
                  <c:v>40480</c:v>
                </c:pt>
                <c:pt idx="441">
                  <c:v>40483</c:v>
                </c:pt>
                <c:pt idx="442">
                  <c:v>40484</c:v>
                </c:pt>
                <c:pt idx="443">
                  <c:v>40485</c:v>
                </c:pt>
                <c:pt idx="444">
                  <c:v>40486</c:v>
                </c:pt>
                <c:pt idx="445">
                  <c:v>40487</c:v>
                </c:pt>
                <c:pt idx="446">
                  <c:v>40490</c:v>
                </c:pt>
                <c:pt idx="447">
                  <c:v>40491</c:v>
                </c:pt>
                <c:pt idx="448">
                  <c:v>40492</c:v>
                </c:pt>
                <c:pt idx="449">
                  <c:v>40493</c:v>
                </c:pt>
                <c:pt idx="450">
                  <c:v>40494</c:v>
                </c:pt>
                <c:pt idx="451">
                  <c:v>40497</c:v>
                </c:pt>
                <c:pt idx="452">
                  <c:v>40498</c:v>
                </c:pt>
                <c:pt idx="453">
                  <c:v>40499</c:v>
                </c:pt>
                <c:pt idx="454">
                  <c:v>40500</c:v>
                </c:pt>
                <c:pt idx="455">
                  <c:v>40501</c:v>
                </c:pt>
                <c:pt idx="456">
                  <c:v>40504</c:v>
                </c:pt>
                <c:pt idx="457">
                  <c:v>40505</c:v>
                </c:pt>
                <c:pt idx="458">
                  <c:v>40506</c:v>
                </c:pt>
                <c:pt idx="459">
                  <c:v>40507</c:v>
                </c:pt>
                <c:pt idx="460">
                  <c:v>40508</c:v>
                </c:pt>
                <c:pt idx="461">
                  <c:v>40511</c:v>
                </c:pt>
                <c:pt idx="462">
                  <c:v>40512</c:v>
                </c:pt>
                <c:pt idx="463">
                  <c:v>40513</c:v>
                </c:pt>
                <c:pt idx="464">
                  <c:v>40514</c:v>
                </c:pt>
                <c:pt idx="465">
                  <c:v>40515</c:v>
                </c:pt>
                <c:pt idx="466">
                  <c:v>40518</c:v>
                </c:pt>
                <c:pt idx="467">
                  <c:v>40519</c:v>
                </c:pt>
                <c:pt idx="468">
                  <c:v>40520</c:v>
                </c:pt>
                <c:pt idx="469">
                  <c:v>40521</c:v>
                </c:pt>
                <c:pt idx="470">
                  <c:v>40522</c:v>
                </c:pt>
                <c:pt idx="471">
                  <c:v>40525</c:v>
                </c:pt>
                <c:pt idx="472">
                  <c:v>40526</c:v>
                </c:pt>
                <c:pt idx="473">
                  <c:v>40527</c:v>
                </c:pt>
                <c:pt idx="474">
                  <c:v>40528</c:v>
                </c:pt>
                <c:pt idx="475">
                  <c:v>40529</c:v>
                </c:pt>
                <c:pt idx="476">
                  <c:v>40532</c:v>
                </c:pt>
                <c:pt idx="477">
                  <c:v>40533</c:v>
                </c:pt>
                <c:pt idx="478">
                  <c:v>40534</c:v>
                </c:pt>
                <c:pt idx="479">
                  <c:v>40535</c:v>
                </c:pt>
                <c:pt idx="480">
                  <c:v>40536</c:v>
                </c:pt>
                <c:pt idx="481">
                  <c:v>40539</c:v>
                </c:pt>
                <c:pt idx="482">
                  <c:v>40540</c:v>
                </c:pt>
                <c:pt idx="483">
                  <c:v>40541</c:v>
                </c:pt>
                <c:pt idx="484">
                  <c:v>40542</c:v>
                </c:pt>
                <c:pt idx="485">
                  <c:v>40543</c:v>
                </c:pt>
                <c:pt idx="486">
                  <c:v>40547</c:v>
                </c:pt>
                <c:pt idx="487">
                  <c:v>40548</c:v>
                </c:pt>
                <c:pt idx="488">
                  <c:v>40549</c:v>
                </c:pt>
                <c:pt idx="489">
                  <c:v>40550</c:v>
                </c:pt>
                <c:pt idx="490">
                  <c:v>40553</c:v>
                </c:pt>
                <c:pt idx="491">
                  <c:v>40554</c:v>
                </c:pt>
                <c:pt idx="492">
                  <c:v>40555</c:v>
                </c:pt>
                <c:pt idx="493">
                  <c:v>40556</c:v>
                </c:pt>
                <c:pt idx="494">
                  <c:v>40557</c:v>
                </c:pt>
                <c:pt idx="495">
                  <c:v>40560</c:v>
                </c:pt>
                <c:pt idx="496">
                  <c:v>40561</c:v>
                </c:pt>
                <c:pt idx="497">
                  <c:v>40562</c:v>
                </c:pt>
                <c:pt idx="498">
                  <c:v>40563</c:v>
                </c:pt>
                <c:pt idx="499">
                  <c:v>40564</c:v>
                </c:pt>
                <c:pt idx="500">
                  <c:v>40567</c:v>
                </c:pt>
                <c:pt idx="501">
                  <c:v>40568</c:v>
                </c:pt>
                <c:pt idx="502">
                  <c:v>40569</c:v>
                </c:pt>
                <c:pt idx="503">
                  <c:v>40570</c:v>
                </c:pt>
                <c:pt idx="504">
                  <c:v>40571</c:v>
                </c:pt>
                <c:pt idx="505">
                  <c:v>40574</c:v>
                </c:pt>
                <c:pt idx="506">
                  <c:v>40575</c:v>
                </c:pt>
                <c:pt idx="507">
                  <c:v>40583</c:v>
                </c:pt>
                <c:pt idx="508">
                  <c:v>40584</c:v>
                </c:pt>
                <c:pt idx="509">
                  <c:v>40585</c:v>
                </c:pt>
                <c:pt idx="510">
                  <c:v>40588</c:v>
                </c:pt>
                <c:pt idx="511">
                  <c:v>40589</c:v>
                </c:pt>
                <c:pt idx="512">
                  <c:v>40590</c:v>
                </c:pt>
                <c:pt idx="513">
                  <c:v>40591</c:v>
                </c:pt>
                <c:pt idx="514">
                  <c:v>40592</c:v>
                </c:pt>
                <c:pt idx="515">
                  <c:v>40595</c:v>
                </c:pt>
                <c:pt idx="516">
                  <c:v>40596</c:v>
                </c:pt>
                <c:pt idx="517">
                  <c:v>40597</c:v>
                </c:pt>
                <c:pt idx="518">
                  <c:v>40598</c:v>
                </c:pt>
                <c:pt idx="519">
                  <c:v>40599</c:v>
                </c:pt>
                <c:pt idx="520">
                  <c:v>40602</c:v>
                </c:pt>
                <c:pt idx="521">
                  <c:v>40603</c:v>
                </c:pt>
                <c:pt idx="522">
                  <c:v>40604</c:v>
                </c:pt>
                <c:pt idx="523">
                  <c:v>40605</c:v>
                </c:pt>
                <c:pt idx="524">
                  <c:v>40606</c:v>
                </c:pt>
                <c:pt idx="525">
                  <c:v>40609</c:v>
                </c:pt>
                <c:pt idx="526">
                  <c:v>40610</c:v>
                </c:pt>
                <c:pt idx="527">
                  <c:v>40611</c:v>
                </c:pt>
                <c:pt idx="528">
                  <c:v>40612</c:v>
                </c:pt>
                <c:pt idx="529">
                  <c:v>40613</c:v>
                </c:pt>
                <c:pt idx="530">
                  <c:v>40616</c:v>
                </c:pt>
                <c:pt idx="531">
                  <c:v>40617</c:v>
                </c:pt>
                <c:pt idx="532">
                  <c:v>40618</c:v>
                </c:pt>
                <c:pt idx="533">
                  <c:v>40619</c:v>
                </c:pt>
                <c:pt idx="534">
                  <c:v>40620</c:v>
                </c:pt>
                <c:pt idx="535">
                  <c:v>40623</c:v>
                </c:pt>
                <c:pt idx="536">
                  <c:v>40624</c:v>
                </c:pt>
                <c:pt idx="537">
                  <c:v>40625</c:v>
                </c:pt>
                <c:pt idx="538">
                  <c:v>40626</c:v>
                </c:pt>
                <c:pt idx="539">
                  <c:v>40627</c:v>
                </c:pt>
                <c:pt idx="540">
                  <c:v>40630</c:v>
                </c:pt>
                <c:pt idx="541">
                  <c:v>40631</c:v>
                </c:pt>
                <c:pt idx="542">
                  <c:v>40632</c:v>
                </c:pt>
                <c:pt idx="543">
                  <c:v>40633</c:v>
                </c:pt>
                <c:pt idx="544">
                  <c:v>40634</c:v>
                </c:pt>
                <c:pt idx="545">
                  <c:v>40639</c:v>
                </c:pt>
                <c:pt idx="546">
                  <c:v>40640</c:v>
                </c:pt>
                <c:pt idx="547">
                  <c:v>40641</c:v>
                </c:pt>
                <c:pt idx="548">
                  <c:v>40644</c:v>
                </c:pt>
                <c:pt idx="549">
                  <c:v>40645</c:v>
                </c:pt>
                <c:pt idx="550">
                  <c:v>40646</c:v>
                </c:pt>
                <c:pt idx="551">
                  <c:v>40647</c:v>
                </c:pt>
                <c:pt idx="552">
                  <c:v>40648</c:v>
                </c:pt>
                <c:pt idx="553">
                  <c:v>40651</c:v>
                </c:pt>
                <c:pt idx="554">
                  <c:v>40652</c:v>
                </c:pt>
                <c:pt idx="555">
                  <c:v>40653</c:v>
                </c:pt>
                <c:pt idx="556">
                  <c:v>40654</c:v>
                </c:pt>
                <c:pt idx="557">
                  <c:v>40655</c:v>
                </c:pt>
                <c:pt idx="558">
                  <c:v>40658</c:v>
                </c:pt>
                <c:pt idx="559">
                  <c:v>40659</c:v>
                </c:pt>
                <c:pt idx="560">
                  <c:v>40660</c:v>
                </c:pt>
                <c:pt idx="561">
                  <c:v>40661</c:v>
                </c:pt>
                <c:pt idx="562">
                  <c:v>40662</c:v>
                </c:pt>
                <c:pt idx="563">
                  <c:v>40666</c:v>
                </c:pt>
                <c:pt idx="564">
                  <c:v>40667</c:v>
                </c:pt>
                <c:pt idx="565">
                  <c:v>40668</c:v>
                </c:pt>
                <c:pt idx="566">
                  <c:v>40669</c:v>
                </c:pt>
                <c:pt idx="567">
                  <c:v>40672</c:v>
                </c:pt>
                <c:pt idx="568">
                  <c:v>40673</c:v>
                </c:pt>
                <c:pt idx="569">
                  <c:v>40674</c:v>
                </c:pt>
                <c:pt idx="570">
                  <c:v>40675</c:v>
                </c:pt>
                <c:pt idx="571">
                  <c:v>40676</c:v>
                </c:pt>
                <c:pt idx="572">
                  <c:v>40679</c:v>
                </c:pt>
                <c:pt idx="573">
                  <c:v>40680</c:v>
                </c:pt>
                <c:pt idx="574">
                  <c:v>40681</c:v>
                </c:pt>
                <c:pt idx="575">
                  <c:v>40682</c:v>
                </c:pt>
                <c:pt idx="576">
                  <c:v>40683</c:v>
                </c:pt>
                <c:pt idx="577">
                  <c:v>40686</c:v>
                </c:pt>
                <c:pt idx="578">
                  <c:v>40687</c:v>
                </c:pt>
                <c:pt idx="579">
                  <c:v>40688</c:v>
                </c:pt>
                <c:pt idx="580">
                  <c:v>40689</c:v>
                </c:pt>
                <c:pt idx="581">
                  <c:v>40690</c:v>
                </c:pt>
                <c:pt idx="582">
                  <c:v>40693</c:v>
                </c:pt>
                <c:pt idx="583">
                  <c:v>40694</c:v>
                </c:pt>
                <c:pt idx="584">
                  <c:v>40695</c:v>
                </c:pt>
                <c:pt idx="585">
                  <c:v>40696</c:v>
                </c:pt>
                <c:pt idx="586">
                  <c:v>40697</c:v>
                </c:pt>
                <c:pt idx="587">
                  <c:v>40701</c:v>
                </c:pt>
                <c:pt idx="588">
                  <c:v>40702</c:v>
                </c:pt>
                <c:pt idx="589">
                  <c:v>40703</c:v>
                </c:pt>
                <c:pt idx="590">
                  <c:v>40704</c:v>
                </c:pt>
                <c:pt idx="591">
                  <c:v>40707</c:v>
                </c:pt>
                <c:pt idx="592">
                  <c:v>40708</c:v>
                </c:pt>
                <c:pt idx="593">
                  <c:v>40709</c:v>
                </c:pt>
                <c:pt idx="594">
                  <c:v>40710</c:v>
                </c:pt>
                <c:pt idx="595">
                  <c:v>40711</c:v>
                </c:pt>
                <c:pt idx="596">
                  <c:v>40714</c:v>
                </c:pt>
                <c:pt idx="597">
                  <c:v>40715</c:v>
                </c:pt>
                <c:pt idx="598">
                  <c:v>40716</c:v>
                </c:pt>
                <c:pt idx="599">
                  <c:v>40717</c:v>
                </c:pt>
                <c:pt idx="600">
                  <c:v>40718</c:v>
                </c:pt>
                <c:pt idx="601">
                  <c:v>40721</c:v>
                </c:pt>
                <c:pt idx="602">
                  <c:v>40722</c:v>
                </c:pt>
                <c:pt idx="603">
                  <c:v>40723</c:v>
                </c:pt>
                <c:pt idx="604">
                  <c:v>40724</c:v>
                </c:pt>
                <c:pt idx="605">
                  <c:v>40725</c:v>
                </c:pt>
                <c:pt idx="606">
                  <c:v>40728</c:v>
                </c:pt>
                <c:pt idx="607">
                  <c:v>40729</c:v>
                </c:pt>
                <c:pt idx="608">
                  <c:v>40730</c:v>
                </c:pt>
                <c:pt idx="609">
                  <c:v>40731</c:v>
                </c:pt>
                <c:pt idx="610">
                  <c:v>40732</c:v>
                </c:pt>
                <c:pt idx="611">
                  <c:v>40735</c:v>
                </c:pt>
                <c:pt idx="612">
                  <c:v>40736</c:v>
                </c:pt>
                <c:pt idx="613">
                  <c:v>40737</c:v>
                </c:pt>
                <c:pt idx="614">
                  <c:v>40738</c:v>
                </c:pt>
                <c:pt idx="615">
                  <c:v>40739</c:v>
                </c:pt>
                <c:pt idx="616">
                  <c:v>40742</c:v>
                </c:pt>
                <c:pt idx="617">
                  <c:v>40743</c:v>
                </c:pt>
                <c:pt idx="618">
                  <c:v>40744</c:v>
                </c:pt>
                <c:pt idx="619">
                  <c:v>40745</c:v>
                </c:pt>
                <c:pt idx="620">
                  <c:v>40746</c:v>
                </c:pt>
                <c:pt idx="621">
                  <c:v>40749</c:v>
                </c:pt>
                <c:pt idx="622">
                  <c:v>40750</c:v>
                </c:pt>
                <c:pt idx="623">
                  <c:v>40751</c:v>
                </c:pt>
                <c:pt idx="624">
                  <c:v>40752</c:v>
                </c:pt>
                <c:pt idx="625">
                  <c:v>40753</c:v>
                </c:pt>
                <c:pt idx="626">
                  <c:v>40756</c:v>
                </c:pt>
                <c:pt idx="627">
                  <c:v>40757</c:v>
                </c:pt>
                <c:pt idx="628">
                  <c:v>40758</c:v>
                </c:pt>
                <c:pt idx="629">
                  <c:v>40759</c:v>
                </c:pt>
                <c:pt idx="630">
                  <c:v>40760</c:v>
                </c:pt>
                <c:pt idx="631">
                  <c:v>40763</c:v>
                </c:pt>
                <c:pt idx="632">
                  <c:v>40764</c:v>
                </c:pt>
                <c:pt idx="633">
                  <c:v>40765</c:v>
                </c:pt>
                <c:pt idx="634">
                  <c:v>40766</c:v>
                </c:pt>
                <c:pt idx="635">
                  <c:v>40767</c:v>
                </c:pt>
                <c:pt idx="636">
                  <c:v>40770</c:v>
                </c:pt>
                <c:pt idx="637">
                  <c:v>40771</c:v>
                </c:pt>
                <c:pt idx="638">
                  <c:v>40772</c:v>
                </c:pt>
                <c:pt idx="639">
                  <c:v>40773</c:v>
                </c:pt>
                <c:pt idx="640">
                  <c:v>40774</c:v>
                </c:pt>
                <c:pt idx="641">
                  <c:v>40777</c:v>
                </c:pt>
                <c:pt idx="642">
                  <c:v>40778</c:v>
                </c:pt>
                <c:pt idx="643">
                  <c:v>40779</c:v>
                </c:pt>
                <c:pt idx="644">
                  <c:v>40780</c:v>
                </c:pt>
                <c:pt idx="645">
                  <c:v>40781</c:v>
                </c:pt>
                <c:pt idx="646">
                  <c:v>40784</c:v>
                </c:pt>
                <c:pt idx="647">
                  <c:v>40785</c:v>
                </c:pt>
                <c:pt idx="648">
                  <c:v>40786</c:v>
                </c:pt>
                <c:pt idx="649">
                  <c:v>40787</c:v>
                </c:pt>
                <c:pt idx="650">
                  <c:v>40788</c:v>
                </c:pt>
                <c:pt idx="651">
                  <c:v>40791</c:v>
                </c:pt>
                <c:pt idx="652">
                  <c:v>40792</c:v>
                </c:pt>
                <c:pt idx="653">
                  <c:v>40793</c:v>
                </c:pt>
                <c:pt idx="654">
                  <c:v>40794</c:v>
                </c:pt>
                <c:pt idx="655">
                  <c:v>40795</c:v>
                </c:pt>
                <c:pt idx="656">
                  <c:v>40799</c:v>
                </c:pt>
                <c:pt idx="657">
                  <c:v>40800</c:v>
                </c:pt>
                <c:pt idx="658">
                  <c:v>40801</c:v>
                </c:pt>
                <c:pt idx="659">
                  <c:v>40802</c:v>
                </c:pt>
                <c:pt idx="660">
                  <c:v>40805</c:v>
                </c:pt>
                <c:pt idx="661">
                  <c:v>40806</c:v>
                </c:pt>
                <c:pt idx="662">
                  <c:v>40807</c:v>
                </c:pt>
                <c:pt idx="663">
                  <c:v>40808</c:v>
                </c:pt>
                <c:pt idx="664">
                  <c:v>40809</c:v>
                </c:pt>
                <c:pt idx="665">
                  <c:v>40812</c:v>
                </c:pt>
                <c:pt idx="666">
                  <c:v>40813</c:v>
                </c:pt>
                <c:pt idx="667">
                  <c:v>40814</c:v>
                </c:pt>
                <c:pt idx="668">
                  <c:v>40815</c:v>
                </c:pt>
                <c:pt idx="669">
                  <c:v>40816</c:v>
                </c:pt>
                <c:pt idx="670">
                  <c:v>40826</c:v>
                </c:pt>
                <c:pt idx="671">
                  <c:v>40827</c:v>
                </c:pt>
                <c:pt idx="672">
                  <c:v>40828</c:v>
                </c:pt>
                <c:pt idx="673">
                  <c:v>40829</c:v>
                </c:pt>
                <c:pt idx="674">
                  <c:v>40830</c:v>
                </c:pt>
                <c:pt idx="675">
                  <c:v>40833</c:v>
                </c:pt>
                <c:pt idx="676">
                  <c:v>40834</c:v>
                </c:pt>
                <c:pt idx="677">
                  <c:v>40835</c:v>
                </c:pt>
                <c:pt idx="678">
                  <c:v>40836</c:v>
                </c:pt>
                <c:pt idx="679">
                  <c:v>40837</c:v>
                </c:pt>
                <c:pt idx="680">
                  <c:v>40840</c:v>
                </c:pt>
                <c:pt idx="681">
                  <c:v>40841</c:v>
                </c:pt>
                <c:pt idx="682">
                  <c:v>40842</c:v>
                </c:pt>
                <c:pt idx="683">
                  <c:v>40843</c:v>
                </c:pt>
                <c:pt idx="684">
                  <c:v>40844</c:v>
                </c:pt>
                <c:pt idx="685">
                  <c:v>40847</c:v>
                </c:pt>
                <c:pt idx="686">
                  <c:v>40848</c:v>
                </c:pt>
                <c:pt idx="687">
                  <c:v>40849</c:v>
                </c:pt>
                <c:pt idx="688">
                  <c:v>40850</c:v>
                </c:pt>
                <c:pt idx="689">
                  <c:v>40851</c:v>
                </c:pt>
                <c:pt idx="690">
                  <c:v>40854</c:v>
                </c:pt>
                <c:pt idx="691">
                  <c:v>40855</c:v>
                </c:pt>
                <c:pt idx="692">
                  <c:v>40856</c:v>
                </c:pt>
                <c:pt idx="693">
                  <c:v>40857</c:v>
                </c:pt>
                <c:pt idx="694">
                  <c:v>40858</c:v>
                </c:pt>
                <c:pt idx="695">
                  <c:v>40861</c:v>
                </c:pt>
                <c:pt idx="696">
                  <c:v>40862</c:v>
                </c:pt>
                <c:pt idx="697">
                  <c:v>40863</c:v>
                </c:pt>
                <c:pt idx="698">
                  <c:v>40864</c:v>
                </c:pt>
                <c:pt idx="699">
                  <c:v>40865</c:v>
                </c:pt>
                <c:pt idx="700">
                  <c:v>40868</c:v>
                </c:pt>
                <c:pt idx="701">
                  <c:v>40869</c:v>
                </c:pt>
                <c:pt idx="702">
                  <c:v>40870</c:v>
                </c:pt>
                <c:pt idx="703">
                  <c:v>40871</c:v>
                </c:pt>
                <c:pt idx="704">
                  <c:v>40872</c:v>
                </c:pt>
                <c:pt idx="705">
                  <c:v>40875</c:v>
                </c:pt>
                <c:pt idx="706">
                  <c:v>40876</c:v>
                </c:pt>
                <c:pt idx="707">
                  <c:v>40877</c:v>
                </c:pt>
                <c:pt idx="708">
                  <c:v>40878</c:v>
                </c:pt>
                <c:pt idx="709">
                  <c:v>40879</c:v>
                </c:pt>
                <c:pt idx="710">
                  <c:v>40882</c:v>
                </c:pt>
                <c:pt idx="711">
                  <c:v>40883</c:v>
                </c:pt>
                <c:pt idx="712">
                  <c:v>40884</c:v>
                </c:pt>
                <c:pt idx="713">
                  <c:v>40885</c:v>
                </c:pt>
                <c:pt idx="714">
                  <c:v>40886</c:v>
                </c:pt>
                <c:pt idx="715">
                  <c:v>40889</c:v>
                </c:pt>
                <c:pt idx="716">
                  <c:v>40890</c:v>
                </c:pt>
                <c:pt idx="717">
                  <c:v>40891</c:v>
                </c:pt>
                <c:pt idx="718">
                  <c:v>40892</c:v>
                </c:pt>
                <c:pt idx="719">
                  <c:v>40893</c:v>
                </c:pt>
                <c:pt idx="720">
                  <c:v>40896</c:v>
                </c:pt>
                <c:pt idx="721">
                  <c:v>40897</c:v>
                </c:pt>
                <c:pt idx="722">
                  <c:v>40898</c:v>
                </c:pt>
                <c:pt idx="723">
                  <c:v>40899</c:v>
                </c:pt>
                <c:pt idx="724">
                  <c:v>40900</c:v>
                </c:pt>
                <c:pt idx="725">
                  <c:v>40903</c:v>
                </c:pt>
                <c:pt idx="726">
                  <c:v>40904</c:v>
                </c:pt>
                <c:pt idx="727">
                  <c:v>40905</c:v>
                </c:pt>
                <c:pt idx="728">
                  <c:v>40906</c:v>
                </c:pt>
                <c:pt idx="729">
                  <c:v>40907</c:v>
                </c:pt>
                <c:pt idx="730">
                  <c:v>40912</c:v>
                </c:pt>
                <c:pt idx="731">
                  <c:v>40913</c:v>
                </c:pt>
                <c:pt idx="732">
                  <c:v>40914</c:v>
                </c:pt>
                <c:pt idx="733">
                  <c:v>40917</c:v>
                </c:pt>
                <c:pt idx="734">
                  <c:v>40918</c:v>
                </c:pt>
                <c:pt idx="735">
                  <c:v>40919</c:v>
                </c:pt>
                <c:pt idx="736">
                  <c:v>40920</c:v>
                </c:pt>
                <c:pt idx="737">
                  <c:v>40921</c:v>
                </c:pt>
                <c:pt idx="738">
                  <c:v>40924</c:v>
                </c:pt>
                <c:pt idx="739">
                  <c:v>40925</c:v>
                </c:pt>
                <c:pt idx="740">
                  <c:v>40926</c:v>
                </c:pt>
                <c:pt idx="741">
                  <c:v>40927</c:v>
                </c:pt>
                <c:pt idx="742">
                  <c:v>40928</c:v>
                </c:pt>
                <c:pt idx="743">
                  <c:v>40938</c:v>
                </c:pt>
                <c:pt idx="744">
                  <c:v>40939</c:v>
                </c:pt>
                <c:pt idx="745">
                  <c:v>40940</c:v>
                </c:pt>
                <c:pt idx="746">
                  <c:v>40941</c:v>
                </c:pt>
                <c:pt idx="747">
                  <c:v>40942</c:v>
                </c:pt>
                <c:pt idx="748">
                  <c:v>40945</c:v>
                </c:pt>
                <c:pt idx="749">
                  <c:v>40946</c:v>
                </c:pt>
                <c:pt idx="750">
                  <c:v>40947</c:v>
                </c:pt>
                <c:pt idx="751">
                  <c:v>40948</c:v>
                </c:pt>
                <c:pt idx="752">
                  <c:v>40949</c:v>
                </c:pt>
                <c:pt idx="753">
                  <c:v>40952</c:v>
                </c:pt>
                <c:pt idx="754">
                  <c:v>40953</c:v>
                </c:pt>
                <c:pt idx="755">
                  <c:v>40954</c:v>
                </c:pt>
                <c:pt idx="756">
                  <c:v>40955</c:v>
                </c:pt>
                <c:pt idx="757">
                  <c:v>40956</c:v>
                </c:pt>
                <c:pt idx="758">
                  <c:v>40959</c:v>
                </c:pt>
                <c:pt idx="759">
                  <c:v>40960</c:v>
                </c:pt>
                <c:pt idx="760">
                  <c:v>40961</c:v>
                </c:pt>
                <c:pt idx="761">
                  <c:v>40962</c:v>
                </c:pt>
                <c:pt idx="762">
                  <c:v>40963</c:v>
                </c:pt>
                <c:pt idx="763">
                  <c:v>40966</c:v>
                </c:pt>
                <c:pt idx="764">
                  <c:v>40967</c:v>
                </c:pt>
                <c:pt idx="765">
                  <c:v>40968</c:v>
                </c:pt>
                <c:pt idx="766">
                  <c:v>40969</c:v>
                </c:pt>
                <c:pt idx="767">
                  <c:v>40970</c:v>
                </c:pt>
                <c:pt idx="768">
                  <c:v>40973</c:v>
                </c:pt>
                <c:pt idx="769">
                  <c:v>40974</c:v>
                </c:pt>
                <c:pt idx="770">
                  <c:v>40975</c:v>
                </c:pt>
                <c:pt idx="771">
                  <c:v>40976</c:v>
                </c:pt>
                <c:pt idx="772">
                  <c:v>40977</c:v>
                </c:pt>
                <c:pt idx="773">
                  <c:v>40980</c:v>
                </c:pt>
                <c:pt idx="774">
                  <c:v>40981</c:v>
                </c:pt>
                <c:pt idx="775">
                  <c:v>40982</c:v>
                </c:pt>
                <c:pt idx="776">
                  <c:v>40983</c:v>
                </c:pt>
                <c:pt idx="777">
                  <c:v>40984</c:v>
                </c:pt>
                <c:pt idx="778">
                  <c:v>40987</c:v>
                </c:pt>
                <c:pt idx="779">
                  <c:v>40988</c:v>
                </c:pt>
                <c:pt idx="780">
                  <c:v>40989</c:v>
                </c:pt>
                <c:pt idx="781">
                  <c:v>40990</c:v>
                </c:pt>
                <c:pt idx="782">
                  <c:v>40991</c:v>
                </c:pt>
                <c:pt idx="783">
                  <c:v>40994</c:v>
                </c:pt>
                <c:pt idx="784">
                  <c:v>40995</c:v>
                </c:pt>
                <c:pt idx="785">
                  <c:v>40996</c:v>
                </c:pt>
                <c:pt idx="786">
                  <c:v>40997</c:v>
                </c:pt>
                <c:pt idx="787">
                  <c:v>40998</c:v>
                </c:pt>
                <c:pt idx="788">
                  <c:v>41004</c:v>
                </c:pt>
                <c:pt idx="789">
                  <c:v>41005</c:v>
                </c:pt>
                <c:pt idx="790">
                  <c:v>41008</c:v>
                </c:pt>
                <c:pt idx="791">
                  <c:v>41009</c:v>
                </c:pt>
                <c:pt idx="792">
                  <c:v>41010</c:v>
                </c:pt>
                <c:pt idx="793">
                  <c:v>41011</c:v>
                </c:pt>
                <c:pt idx="794">
                  <c:v>41012</c:v>
                </c:pt>
                <c:pt idx="795">
                  <c:v>41015</c:v>
                </c:pt>
                <c:pt idx="796">
                  <c:v>41016</c:v>
                </c:pt>
                <c:pt idx="797">
                  <c:v>41017</c:v>
                </c:pt>
                <c:pt idx="798">
                  <c:v>41018</c:v>
                </c:pt>
                <c:pt idx="799">
                  <c:v>41019</c:v>
                </c:pt>
                <c:pt idx="800">
                  <c:v>41022</c:v>
                </c:pt>
                <c:pt idx="801">
                  <c:v>41023</c:v>
                </c:pt>
                <c:pt idx="802">
                  <c:v>41024</c:v>
                </c:pt>
                <c:pt idx="803">
                  <c:v>41025</c:v>
                </c:pt>
                <c:pt idx="804">
                  <c:v>41026</c:v>
                </c:pt>
                <c:pt idx="805">
                  <c:v>41031</c:v>
                </c:pt>
                <c:pt idx="806">
                  <c:v>41032</c:v>
                </c:pt>
                <c:pt idx="807">
                  <c:v>41033</c:v>
                </c:pt>
                <c:pt idx="808">
                  <c:v>41036</c:v>
                </c:pt>
                <c:pt idx="809">
                  <c:v>41037</c:v>
                </c:pt>
                <c:pt idx="810">
                  <c:v>41038</c:v>
                </c:pt>
                <c:pt idx="811">
                  <c:v>41039</c:v>
                </c:pt>
                <c:pt idx="812">
                  <c:v>41040</c:v>
                </c:pt>
                <c:pt idx="813">
                  <c:v>41043</c:v>
                </c:pt>
                <c:pt idx="814">
                  <c:v>41044</c:v>
                </c:pt>
                <c:pt idx="815">
                  <c:v>41045</c:v>
                </c:pt>
                <c:pt idx="816">
                  <c:v>41046</c:v>
                </c:pt>
                <c:pt idx="817">
                  <c:v>41047</c:v>
                </c:pt>
                <c:pt idx="818">
                  <c:v>41050</c:v>
                </c:pt>
                <c:pt idx="819">
                  <c:v>41051</c:v>
                </c:pt>
                <c:pt idx="820">
                  <c:v>41052</c:v>
                </c:pt>
                <c:pt idx="821">
                  <c:v>41053</c:v>
                </c:pt>
                <c:pt idx="822">
                  <c:v>41054</c:v>
                </c:pt>
                <c:pt idx="823">
                  <c:v>41057</c:v>
                </c:pt>
                <c:pt idx="824">
                  <c:v>41058</c:v>
                </c:pt>
                <c:pt idx="825">
                  <c:v>41059</c:v>
                </c:pt>
                <c:pt idx="826">
                  <c:v>41060</c:v>
                </c:pt>
                <c:pt idx="827">
                  <c:v>41061</c:v>
                </c:pt>
                <c:pt idx="828">
                  <c:v>41064</c:v>
                </c:pt>
                <c:pt idx="829">
                  <c:v>41065</c:v>
                </c:pt>
                <c:pt idx="830">
                  <c:v>41066</c:v>
                </c:pt>
                <c:pt idx="831">
                  <c:v>41067</c:v>
                </c:pt>
                <c:pt idx="832">
                  <c:v>41068</c:v>
                </c:pt>
                <c:pt idx="833">
                  <c:v>41071</c:v>
                </c:pt>
                <c:pt idx="834">
                  <c:v>41072</c:v>
                </c:pt>
                <c:pt idx="835">
                  <c:v>41073</c:v>
                </c:pt>
                <c:pt idx="836">
                  <c:v>41074</c:v>
                </c:pt>
                <c:pt idx="837">
                  <c:v>41075</c:v>
                </c:pt>
                <c:pt idx="838">
                  <c:v>41078</c:v>
                </c:pt>
                <c:pt idx="839">
                  <c:v>41079</c:v>
                </c:pt>
                <c:pt idx="840">
                  <c:v>41080</c:v>
                </c:pt>
                <c:pt idx="841">
                  <c:v>41081</c:v>
                </c:pt>
                <c:pt idx="842">
                  <c:v>41085</c:v>
                </c:pt>
                <c:pt idx="843">
                  <c:v>41086</c:v>
                </c:pt>
                <c:pt idx="844">
                  <c:v>41087</c:v>
                </c:pt>
                <c:pt idx="845">
                  <c:v>41088</c:v>
                </c:pt>
                <c:pt idx="846">
                  <c:v>41089</c:v>
                </c:pt>
                <c:pt idx="847">
                  <c:v>41092</c:v>
                </c:pt>
                <c:pt idx="848">
                  <c:v>41093</c:v>
                </c:pt>
                <c:pt idx="849">
                  <c:v>41094</c:v>
                </c:pt>
                <c:pt idx="850">
                  <c:v>41095</c:v>
                </c:pt>
                <c:pt idx="851">
                  <c:v>41096</c:v>
                </c:pt>
                <c:pt idx="852">
                  <c:v>41099</c:v>
                </c:pt>
                <c:pt idx="853">
                  <c:v>41100</c:v>
                </c:pt>
                <c:pt idx="854">
                  <c:v>41101</c:v>
                </c:pt>
                <c:pt idx="855">
                  <c:v>41102</c:v>
                </c:pt>
                <c:pt idx="856">
                  <c:v>41103</c:v>
                </c:pt>
                <c:pt idx="857">
                  <c:v>41106</c:v>
                </c:pt>
                <c:pt idx="858">
                  <c:v>41107</c:v>
                </c:pt>
                <c:pt idx="859">
                  <c:v>41108</c:v>
                </c:pt>
                <c:pt idx="860">
                  <c:v>41109</c:v>
                </c:pt>
                <c:pt idx="861">
                  <c:v>41110</c:v>
                </c:pt>
                <c:pt idx="862">
                  <c:v>41113</c:v>
                </c:pt>
                <c:pt idx="863">
                  <c:v>41114</c:v>
                </c:pt>
                <c:pt idx="864">
                  <c:v>41115</c:v>
                </c:pt>
                <c:pt idx="865">
                  <c:v>41116</c:v>
                </c:pt>
                <c:pt idx="866">
                  <c:v>41117</c:v>
                </c:pt>
                <c:pt idx="867">
                  <c:v>41120</c:v>
                </c:pt>
                <c:pt idx="868">
                  <c:v>41121</c:v>
                </c:pt>
                <c:pt idx="869">
                  <c:v>41122</c:v>
                </c:pt>
                <c:pt idx="870">
                  <c:v>41123</c:v>
                </c:pt>
                <c:pt idx="871">
                  <c:v>41124</c:v>
                </c:pt>
                <c:pt idx="872">
                  <c:v>41127</c:v>
                </c:pt>
                <c:pt idx="873">
                  <c:v>41128</c:v>
                </c:pt>
                <c:pt idx="874">
                  <c:v>41129</c:v>
                </c:pt>
                <c:pt idx="875">
                  <c:v>41130</c:v>
                </c:pt>
                <c:pt idx="876">
                  <c:v>41131</c:v>
                </c:pt>
                <c:pt idx="877">
                  <c:v>41134</c:v>
                </c:pt>
                <c:pt idx="878">
                  <c:v>41135</c:v>
                </c:pt>
                <c:pt idx="879">
                  <c:v>41136</c:v>
                </c:pt>
                <c:pt idx="880">
                  <c:v>41137</c:v>
                </c:pt>
                <c:pt idx="881">
                  <c:v>41138</c:v>
                </c:pt>
                <c:pt idx="882">
                  <c:v>41141</c:v>
                </c:pt>
                <c:pt idx="883">
                  <c:v>41142</c:v>
                </c:pt>
                <c:pt idx="884">
                  <c:v>41143</c:v>
                </c:pt>
                <c:pt idx="885">
                  <c:v>41144</c:v>
                </c:pt>
                <c:pt idx="886">
                  <c:v>41145</c:v>
                </c:pt>
                <c:pt idx="887">
                  <c:v>41148</c:v>
                </c:pt>
                <c:pt idx="888">
                  <c:v>41149</c:v>
                </c:pt>
                <c:pt idx="889">
                  <c:v>41150</c:v>
                </c:pt>
                <c:pt idx="890">
                  <c:v>41151</c:v>
                </c:pt>
                <c:pt idx="891">
                  <c:v>41152</c:v>
                </c:pt>
                <c:pt idx="892">
                  <c:v>41155</c:v>
                </c:pt>
                <c:pt idx="893">
                  <c:v>41156</c:v>
                </c:pt>
                <c:pt idx="894">
                  <c:v>41157</c:v>
                </c:pt>
                <c:pt idx="895">
                  <c:v>41158</c:v>
                </c:pt>
                <c:pt idx="896">
                  <c:v>41159</c:v>
                </c:pt>
                <c:pt idx="897">
                  <c:v>41162</c:v>
                </c:pt>
                <c:pt idx="898">
                  <c:v>41163</c:v>
                </c:pt>
                <c:pt idx="899">
                  <c:v>41164</c:v>
                </c:pt>
                <c:pt idx="900">
                  <c:v>41165</c:v>
                </c:pt>
                <c:pt idx="901">
                  <c:v>41166</c:v>
                </c:pt>
                <c:pt idx="902">
                  <c:v>41169</c:v>
                </c:pt>
                <c:pt idx="903">
                  <c:v>41170</c:v>
                </c:pt>
                <c:pt idx="904">
                  <c:v>41171</c:v>
                </c:pt>
                <c:pt idx="905">
                  <c:v>41172</c:v>
                </c:pt>
                <c:pt idx="906">
                  <c:v>41173</c:v>
                </c:pt>
                <c:pt idx="907">
                  <c:v>41176</c:v>
                </c:pt>
                <c:pt idx="908">
                  <c:v>41177</c:v>
                </c:pt>
                <c:pt idx="909">
                  <c:v>41178</c:v>
                </c:pt>
                <c:pt idx="910">
                  <c:v>41179</c:v>
                </c:pt>
                <c:pt idx="911">
                  <c:v>41180</c:v>
                </c:pt>
                <c:pt idx="912">
                  <c:v>41190</c:v>
                </c:pt>
                <c:pt idx="913">
                  <c:v>41191</c:v>
                </c:pt>
                <c:pt idx="914">
                  <c:v>41192</c:v>
                </c:pt>
                <c:pt idx="915">
                  <c:v>41193</c:v>
                </c:pt>
                <c:pt idx="916">
                  <c:v>41194</c:v>
                </c:pt>
                <c:pt idx="917">
                  <c:v>41197</c:v>
                </c:pt>
                <c:pt idx="918">
                  <c:v>41198</c:v>
                </c:pt>
                <c:pt idx="919">
                  <c:v>41199</c:v>
                </c:pt>
                <c:pt idx="920">
                  <c:v>41200</c:v>
                </c:pt>
                <c:pt idx="921">
                  <c:v>41201</c:v>
                </c:pt>
                <c:pt idx="922">
                  <c:v>41204</c:v>
                </c:pt>
                <c:pt idx="923">
                  <c:v>41205</c:v>
                </c:pt>
                <c:pt idx="924">
                  <c:v>41206</c:v>
                </c:pt>
                <c:pt idx="925">
                  <c:v>41207</c:v>
                </c:pt>
                <c:pt idx="926">
                  <c:v>41208</c:v>
                </c:pt>
                <c:pt idx="927">
                  <c:v>41211</c:v>
                </c:pt>
                <c:pt idx="928">
                  <c:v>41212</c:v>
                </c:pt>
                <c:pt idx="929">
                  <c:v>41213</c:v>
                </c:pt>
                <c:pt idx="930">
                  <c:v>41214</c:v>
                </c:pt>
                <c:pt idx="931">
                  <c:v>41215</c:v>
                </c:pt>
                <c:pt idx="932">
                  <c:v>41218</c:v>
                </c:pt>
                <c:pt idx="933">
                  <c:v>41219</c:v>
                </c:pt>
                <c:pt idx="934">
                  <c:v>41220</c:v>
                </c:pt>
                <c:pt idx="935">
                  <c:v>41221</c:v>
                </c:pt>
                <c:pt idx="936">
                  <c:v>41222</c:v>
                </c:pt>
                <c:pt idx="937">
                  <c:v>41225</c:v>
                </c:pt>
                <c:pt idx="938">
                  <c:v>41226</c:v>
                </c:pt>
                <c:pt idx="939">
                  <c:v>41227</c:v>
                </c:pt>
                <c:pt idx="940">
                  <c:v>41228</c:v>
                </c:pt>
                <c:pt idx="941">
                  <c:v>41229</c:v>
                </c:pt>
                <c:pt idx="942">
                  <c:v>41232</c:v>
                </c:pt>
                <c:pt idx="943">
                  <c:v>41233</c:v>
                </c:pt>
                <c:pt idx="944">
                  <c:v>41234</c:v>
                </c:pt>
                <c:pt idx="945">
                  <c:v>41235</c:v>
                </c:pt>
                <c:pt idx="946">
                  <c:v>41236</c:v>
                </c:pt>
                <c:pt idx="947">
                  <c:v>41239</c:v>
                </c:pt>
                <c:pt idx="948">
                  <c:v>41240</c:v>
                </c:pt>
                <c:pt idx="949">
                  <c:v>41241</c:v>
                </c:pt>
                <c:pt idx="950">
                  <c:v>41242</c:v>
                </c:pt>
                <c:pt idx="951">
                  <c:v>41243</c:v>
                </c:pt>
                <c:pt idx="952">
                  <c:v>41246</c:v>
                </c:pt>
                <c:pt idx="953">
                  <c:v>41247</c:v>
                </c:pt>
                <c:pt idx="954">
                  <c:v>41248</c:v>
                </c:pt>
                <c:pt idx="955">
                  <c:v>41249</c:v>
                </c:pt>
                <c:pt idx="956">
                  <c:v>41250</c:v>
                </c:pt>
                <c:pt idx="957">
                  <c:v>41253</c:v>
                </c:pt>
                <c:pt idx="958">
                  <c:v>41254</c:v>
                </c:pt>
                <c:pt idx="959">
                  <c:v>41255</c:v>
                </c:pt>
                <c:pt idx="960">
                  <c:v>41256</c:v>
                </c:pt>
                <c:pt idx="961">
                  <c:v>41257</c:v>
                </c:pt>
                <c:pt idx="962">
                  <c:v>41260</c:v>
                </c:pt>
                <c:pt idx="963">
                  <c:v>41261</c:v>
                </c:pt>
                <c:pt idx="964">
                  <c:v>41262</c:v>
                </c:pt>
                <c:pt idx="965">
                  <c:v>41263</c:v>
                </c:pt>
                <c:pt idx="966">
                  <c:v>41264</c:v>
                </c:pt>
                <c:pt idx="967">
                  <c:v>41267</c:v>
                </c:pt>
                <c:pt idx="968">
                  <c:v>41268</c:v>
                </c:pt>
                <c:pt idx="969">
                  <c:v>41269</c:v>
                </c:pt>
                <c:pt idx="970">
                  <c:v>41270</c:v>
                </c:pt>
                <c:pt idx="971">
                  <c:v>41271</c:v>
                </c:pt>
                <c:pt idx="972">
                  <c:v>41274</c:v>
                </c:pt>
                <c:pt idx="973">
                  <c:v>41278</c:v>
                </c:pt>
                <c:pt idx="974">
                  <c:v>41281</c:v>
                </c:pt>
                <c:pt idx="975">
                  <c:v>41282</c:v>
                </c:pt>
                <c:pt idx="976">
                  <c:v>41283</c:v>
                </c:pt>
                <c:pt idx="977">
                  <c:v>41284</c:v>
                </c:pt>
                <c:pt idx="978">
                  <c:v>41285</c:v>
                </c:pt>
                <c:pt idx="979">
                  <c:v>41288</c:v>
                </c:pt>
                <c:pt idx="980">
                  <c:v>41289</c:v>
                </c:pt>
                <c:pt idx="981">
                  <c:v>41290</c:v>
                </c:pt>
                <c:pt idx="982">
                  <c:v>41291</c:v>
                </c:pt>
                <c:pt idx="983">
                  <c:v>41292</c:v>
                </c:pt>
                <c:pt idx="984">
                  <c:v>41295</c:v>
                </c:pt>
                <c:pt idx="985">
                  <c:v>41296</c:v>
                </c:pt>
                <c:pt idx="986">
                  <c:v>41297</c:v>
                </c:pt>
                <c:pt idx="987">
                  <c:v>41298</c:v>
                </c:pt>
                <c:pt idx="988">
                  <c:v>41299</c:v>
                </c:pt>
                <c:pt idx="989">
                  <c:v>41302</c:v>
                </c:pt>
                <c:pt idx="990">
                  <c:v>41303</c:v>
                </c:pt>
                <c:pt idx="991">
                  <c:v>41304</c:v>
                </c:pt>
                <c:pt idx="992">
                  <c:v>41305</c:v>
                </c:pt>
                <c:pt idx="993">
                  <c:v>41306</c:v>
                </c:pt>
                <c:pt idx="994">
                  <c:v>41309</c:v>
                </c:pt>
                <c:pt idx="995">
                  <c:v>41310</c:v>
                </c:pt>
                <c:pt idx="996">
                  <c:v>41311</c:v>
                </c:pt>
                <c:pt idx="997">
                  <c:v>41312</c:v>
                </c:pt>
                <c:pt idx="998">
                  <c:v>41313</c:v>
                </c:pt>
                <c:pt idx="999">
                  <c:v>41323</c:v>
                </c:pt>
                <c:pt idx="1000">
                  <c:v>41324</c:v>
                </c:pt>
                <c:pt idx="1001">
                  <c:v>41325</c:v>
                </c:pt>
                <c:pt idx="1002">
                  <c:v>41326</c:v>
                </c:pt>
                <c:pt idx="1003">
                  <c:v>41327</c:v>
                </c:pt>
                <c:pt idx="1004">
                  <c:v>41330</c:v>
                </c:pt>
                <c:pt idx="1005">
                  <c:v>41331</c:v>
                </c:pt>
                <c:pt idx="1006">
                  <c:v>41332</c:v>
                </c:pt>
                <c:pt idx="1007">
                  <c:v>41333</c:v>
                </c:pt>
                <c:pt idx="1008">
                  <c:v>41334</c:v>
                </c:pt>
                <c:pt idx="1009">
                  <c:v>41337</c:v>
                </c:pt>
                <c:pt idx="1010">
                  <c:v>41338</c:v>
                </c:pt>
                <c:pt idx="1011">
                  <c:v>41339</c:v>
                </c:pt>
                <c:pt idx="1012">
                  <c:v>41340</c:v>
                </c:pt>
                <c:pt idx="1013">
                  <c:v>41341</c:v>
                </c:pt>
                <c:pt idx="1014">
                  <c:v>41344</c:v>
                </c:pt>
                <c:pt idx="1015">
                  <c:v>41345</c:v>
                </c:pt>
                <c:pt idx="1016">
                  <c:v>41346</c:v>
                </c:pt>
                <c:pt idx="1017">
                  <c:v>41347</c:v>
                </c:pt>
                <c:pt idx="1018">
                  <c:v>41348</c:v>
                </c:pt>
                <c:pt idx="1019">
                  <c:v>41351</c:v>
                </c:pt>
                <c:pt idx="1020">
                  <c:v>41352</c:v>
                </c:pt>
                <c:pt idx="1021">
                  <c:v>41353</c:v>
                </c:pt>
                <c:pt idx="1022">
                  <c:v>41354</c:v>
                </c:pt>
                <c:pt idx="1023">
                  <c:v>41355</c:v>
                </c:pt>
                <c:pt idx="1024">
                  <c:v>41358</c:v>
                </c:pt>
                <c:pt idx="1025">
                  <c:v>41359</c:v>
                </c:pt>
                <c:pt idx="1026">
                  <c:v>41360</c:v>
                </c:pt>
                <c:pt idx="1027">
                  <c:v>41361</c:v>
                </c:pt>
                <c:pt idx="1028">
                  <c:v>41362</c:v>
                </c:pt>
                <c:pt idx="1029">
                  <c:v>41365</c:v>
                </c:pt>
                <c:pt idx="1030">
                  <c:v>41366</c:v>
                </c:pt>
                <c:pt idx="1031">
                  <c:v>41367</c:v>
                </c:pt>
                <c:pt idx="1032">
                  <c:v>41372</c:v>
                </c:pt>
                <c:pt idx="1033">
                  <c:v>41373</c:v>
                </c:pt>
                <c:pt idx="1034">
                  <c:v>41374</c:v>
                </c:pt>
                <c:pt idx="1035">
                  <c:v>41375</c:v>
                </c:pt>
                <c:pt idx="1036">
                  <c:v>41376</c:v>
                </c:pt>
                <c:pt idx="1037">
                  <c:v>41379</c:v>
                </c:pt>
                <c:pt idx="1038">
                  <c:v>41380</c:v>
                </c:pt>
                <c:pt idx="1039">
                  <c:v>41381</c:v>
                </c:pt>
                <c:pt idx="1040">
                  <c:v>41382</c:v>
                </c:pt>
                <c:pt idx="1041">
                  <c:v>41383</c:v>
                </c:pt>
                <c:pt idx="1042">
                  <c:v>41386</c:v>
                </c:pt>
                <c:pt idx="1043">
                  <c:v>41387</c:v>
                </c:pt>
                <c:pt idx="1044">
                  <c:v>41388</c:v>
                </c:pt>
                <c:pt idx="1045">
                  <c:v>41389</c:v>
                </c:pt>
                <c:pt idx="1046">
                  <c:v>41390</c:v>
                </c:pt>
                <c:pt idx="1047">
                  <c:v>41396</c:v>
                </c:pt>
                <c:pt idx="1048">
                  <c:v>41397</c:v>
                </c:pt>
                <c:pt idx="1049">
                  <c:v>41400</c:v>
                </c:pt>
                <c:pt idx="1050">
                  <c:v>41401</c:v>
                </c:pt>
                <c:pt idx="1051">
                  <c:v>41402</c:v>
                </c:pt>
                <c:pt idx="1052">
                  <c:v>41403</c:v>
                </c:pt>
                <c:pt idx="1053">
                  <c:v>41404</c:v>
                </c:pt>
                <c:pt idx="1054">
                  <c:v>41407</c:v>
                </c:pt>
                <c:pt idx="1055">
                  <c:v>41408</c:v>
                </c:pt>
                <c:pt idx="1056">
                  <c:v>41409</c:v>
                </c:pt>
                <c:pt idx="1057">
                  <c:v>41410</c:v>
                </c:pt>
                <c:pt idx="1058">
                  <c:v>41411</c:v>
                </c:pt>
                <c:pt idx="1059">
                  <c:v>41414</c:v>
                </c:pt>
                <c:pt idx="1060">
                  <c:v>41415</c:v>
                </c:pt>
                <c:pt idx="1061">
                  <c:v>41416</c:v>
                </c:pt>
                <c:pt idx="1062">
                  <c:v>41417</c:v>
                </c:pt>
                <c:pt idx="1063">
                  <c:v>41418</c:v>
                </c:pt>
                <c:pt idx="1064">
                  <c:v>41421</c:v>
                </c:pt>
                <c:pt idx="1065">
                  <c:v>41422</c:v>
                </c:pt>
                <c:pt idx="1066">
                  <c:v>41423</c:v>
                </c:pt>
                <c:pt idx="1067">
                  <c:v>41424</c:v>
                </c:pt>
                <c:pt idx="1068">
                  <c:v>41425</c:v>
                </c:pt>
                <c:pt idx="1069">
                  <c:v>41428</c:v>
                </c:pt>
                <c:pt idx="1070">
                  <c:v>41429</c:v>
                </c:pt>
                <c:pt idx="1071">
                  <c:v>41430</c:v>
                </c:pt>
                <c:pt idx="1072">
                  <c:v>41431</c:v>
                </c:pt>
                <c:pt idx="1073">
                  <c:v>41432</c:v>
                </c:pt>
                <c:pt idx="1074">
                  <c:v>41438</c:v>
                </c:pt>
                <c:pt idx="1075">
                  <c:v>41439</c:v>
                </c:pt>
                <c:pt idx="1076">
                  <c:v>41442</c:v>
                </c:pt>
                <c:pt idx="1077">
                  <c:v>41443</c:v>
                </c:pt>
                <c:pt idx="1078">
                  <c:v>41444</c:v>
                </c:pt>
                <c:pt idx="1079">
                  <c:v>41445</c:v>
                </c:pt>
                <c:pt idx="1080">
                  <c:v>41446</c:v>
                </c:pt>
                <c:pt idx="1081">
                  <c:v>41449</c:v>
                </c:pt>
                <c:pt idx="1082">
                  <c:v>41450</c:v>
                </c:pt>
                <c:pt idx="1083">
                  <c:v>41451</c:v>
                </c:pt>
                <c:pt idx="1084">
                  <c:v>41452</c:v>
                </c:pt>
                <c:pt idx="1085">
                  <c:v>41453</c:v>
                </c:pt>
                <c:pt idx="1086">
                  <c:v>41456</c:v>
                </c:pt>
                <c:pt idx="1087">
                  <c:v>41457</c:v>
                </c:pt>
                <c:pt idx="1088">
                  <c:v>41458</c:v>
                </c:pt>
                <c:pt idx="1089">
                  <c:v>41459</c:v>
                </c:pt>
                <c:pt idx="1090">
                  <c:v>41460</c:v>
                </c:pt>
                <c:pt idx="1091">
                  <c:v>41463</c:v>
                </c:pt>
                <c:pt idx="1092">
                  <c:v>41464</c:v>
                </c:pt>
                <c:pt idx="1093">
                  <c:v>41465</c:v>
                </c:pt>
                <c:pt idx="1094">
                  <c:v>41466</c:v>
                </c:pt>
                <c:pt idx="1095">
                  <c:v>41467</c:v>
                </c:pt>
                <c:pt idx="1096">
                  <c:v>41470</c:v>
                </c:pt>
                <c:pt idx="1097">
                  <c:v>41471</c:v>
                </c:pt>
                <c:pt idx="1098">
                  <c:v>41472</c:v>
                </c:pt>
                <c:pt idx="1099">
                  <c:v>41473</c:v>
                </c:pt>
                <c:pt idx="1100">
                  <c:v>41474</c:v>
                </c:pt>
                <c:pt idx="1101">
                  <c:v>41477</c:v>
                </c:pt>
                <c:pt idx="1102">
                  <c:v>41478</c:v>
                </c:pt>
                <c:pt idx="1103">
                  <c:v>41479</c:v>
                </c:pt>
                <c:pt idx="1104">
                  <c:v>41480</c:v>
                </c:pt>
                <c:pt idx="1105">
                  <c:v>41481</c:v>
                </c:pt>
                <c:pt idx="1106">
                  <c:v>41484</c:v>
                </c:pt>
                <c:pt idx="1107">
                  <c:v>41485</c:v>
                </c:pt>
                <c:pt idx="1108">
                  <c:v>41486</c:v>
                </c:pt>
                <c:pt idx="1109">
                  <c:v>41487</c:v>
                </c:pt>
                <c:pt idx="1110">
                  <c:v>41488</c:v>
                </c:pt>
                <c:pt idx="1111">
                  <c:v>41491</c:v>
                </c:pt>
                <c:pt idx="1112">
                  <c:v>41492</c:v>
                </c:pt>
                <c:pt idx="1113">
                  <c:v>41493</c:v>
                </c:pt>
                <c:pt idx="1114">
                  <c:v>41494</c:v>
                </c:pt>
                <c:pt idx="1115">
                  <c:v>41495</c:v>
                </c:pt>
                <c:pt idx="1116">
                  <c:v>41498</c:v>
                </c:pt>
                <c:pt idx="1117">
                  <c:v>41499</c:v>
                </c:pt>
                <c:pt idx="1118">
                  <c:v>41500</c:v>
                </c:pt>
                <c:pt idx="1119">
                  <c:v>41501</c:v>
                </c:pt>
                <c:pt idx="1120">
                  <c:v>41502</c:v>
                </c:pt>
                <c:pt idx="1121">
                  <c:v>41505</c:v>
                </c:pt>
                <c:pt idx="1122">
                  <c:v>41506</c:v>
                </c:pt>
                <c:pt idx="1123">
                  <c:v>41507</c:v>
                </c:pt>
                <c:pt idx="1124">
                  <c:v>41508</c:v>
                </c:pt>
                <c:pt idx="1125">
                  <c:v>41509</c:v>
                </c:pt>
                <c:pt idx="1126">
                  <c:v>41512</c:v>
                </c:pt>
                <c:pt idx="1127">
                  <c:v>41513</c:v>
                </c:pt>
                <c:pt idx="1128">
                  <c:v>41514</c:v>
                </c:pt>
                <c:pt idx="1129">
                  <c:v>41515</c:v>
                </c:pt>
                <c:pt idx="1130">
                  <c:v>41516</c:v>
                </c:pt>
                <c:pt idx="1131">
                  <c:v>41519</c:v>
                </c:pt>
                <c:pt idx="1132">
                  <c:v>41520</c:v>
                </c:pt>
                <c:pt idx="1133">
                  <c:v>41521</c:v>
                </c:pt>
                <c:pt idx="1134">
                  <c:v>41522</c:v>
                </c:pt>
                <c:pt idx="1135">
                  <c:v>41523</c:v>
                </c:pt>
                <c:pt idx="1136">
                  <c:v>41526</c:v>
                </c:pt>
                <c:pt idx="1137">
                  <c:v>41527</c:v>
                </c:pt>
                <c:pt idx="1138">
                  <c:v>41528</c:v>
                </c:pt>
                <c:pt idx="1139">
                  <c:v>41529</c:v>
                </c:pt>
                <c:pt idx="1140">
                  <c:v>41530</c:v>
                </c:pt>
                <c:pt idx="1141">
                  <c:v>41533</c:v>
                </c:pt>
                <c:pt idx="1142">
                  <c:v>41534</c:v>
                </c:pt>
                <c:pt idx="1143">
                  <c:v>41535</c:v>
                </c:pt>
                <c:pt idx="1144">
                  <c:v>41540</c:v>
                </c:pt>
                <c:pt idx="1145">
                  <c:v>41541</c:v>
                </c:pt>
                <c:pt idx="1146">
                  <c:v>41542</c:v>
                </c:pt>
                <c:pt idx="1147">
                  <c:v>41543</c:v>
                </c:pt>
                <c:pt idx="1148">
                  <c:v>41544</c:v>
                </c:pt>
                <c:pt idx="1149">
                  <c:v>41547</c:v>
                </c:pt>
                <c:pt idx="1150">
                  <c:v>41555</c:v>
                </c:pt>
                <c:pt idx="1151">
                  <c:v>41556</c:v>
                </c:pt>
                <c:pt idx="1152">
                  <c:v>41557</c:v>
                </c:pt>
                <c:pt idx="1153">
                  <c:v>41558</c:v>
                </c:pt>
                <c:pt idx="1154">
                  <c:v>41561</c:v>
                </c:pt>
                <c:pt idx="1155">
                  <c:v>41562</c:v>
                </c:pt>
                <c:pt idx="1156">
                  <c:v>41563</c:v>
                </c:pt>
                <c:pt idx="1157">
                  <c:v>41564</c:v>
                </c:pt>
                <c:pt idx="1158">
                  <c:v>41565</c:v>
                </c:pt>
                <c:pt idx="1159">
                  <c:v>41568</c:v>
                </c:pt>
                <c:pt idx="1160">
                  <c:v>41569</c:v>
                </c:pt>
                <c:pt idx="1161">
                  <c:v>41570</c:v>
                </c:pt>
                <c:pt idx="1162">
                  <c:v>41571</c:v>
                </c:pt>
                <c:pt idx="1163">
                  <c:v>41572</c:v>
                </c:pt>
                <c:pt idx="1164">
                  <c:v>41575</c:v>
                </c:pt>
                <c:pt idx="1165">
                  <c:v>41576</c:v>
                </c:pt>
                <c:pt idx="1166">
                  <c:v>41577</c:v>
                </c:pt>
                <c:pt idx="1167">
                  <c:v>41578</c:v>
                </c:pt>
                <c:pt idx="1168">
                  <c:v>41579</c:v>
                </c:pt>
                <c:pt idx="1169">
                  <c:v>41582</c:v>
                </c:pt>
                <c:pt idx="1170">
                  <c:v>41583</c:v>
                </c:pt>
                <c:pt idx="1171">
                  <c:v>41584</c:v>
                </c:pt>
                <c:pt idx="1172">
                  <c:v>41585</c:v>
                </c:pt>
                <c:pt idx="1173">
                  <c:v>41586</c:v>
                </c:pt>
                <c:pt idx="1174">
                  <c:v>41589</c:v>
                </c:pt>
                <c:pt idx="1175">
                  <c:v>41590</c:v>
                </c:pt>
                <c:pt idx="1176">
                  <c:v>41591</c:v>
                </c:pt>
                <c:pt idx="1177">
                  <c:v>41592</c:v>
                </c:pt>
                <c:pt idx="1178">
                  <c:v>41593</c:v>
                </c:pt>
                <c:pt idx="1179">
                  <c:v>41596</c:v>
                </c:pt>
                <c:pt idx="1180">
                  <c:v>41597</c:v>
                </c:pt>
                <c:pt idx="1181">
                  <c:v>41598</c:v>
                </c:pt>
                <c:pt idx="1182">
                  <c:v>41599</c:v>
                </c:pt>
                <c:pt idx="1183">
                  <c:v>41600</c:v>
                </c:pt>
                <c:pt idx="1184">
                  <c:v>41603</c:v>
                </c:pt>
                <c:pt idx="1185">
                  <c:v>41604</c:v>
                </c:pt>
                <c:pt idx="1186">
                  <c:v>41605</c:v>
                </c:pt>
                <c:pt idx="1187">
                  <c:v>41606</c:v>
                </c:pt>
                <c:pt idx="1188">
                  <c:v>41607</c:v>
                </c:pt>
                <c:pt idx="1189">
                  <c:v>41610</c:v>
                </c:pt>
                <c:pt idx="1190">
                  <c:v>41611</c:v>
                </c:pt>
                <c:pt idx="1191">
                  <c:v>41612</c:v>
                </c:pt>
                <c:pt idx="1192">
                  <c:v>41613</c:v>
                </c:pt>
                <c:pt idx="1193">
                  <c:v>41614</c:v>
                </c:pt>
                <c:pt idx="1194">
                  <c:v>41617</c:v>
                </c:pt>
                <c:pt idx="1195">
                  <c:v>41618</c:v>
                </c:pt>
                <c:pt idx="1196">
                  <c:v>41619</c:v>
                </c:pt>
                <c:pt idx="1197">
                  <c:v>41620</c:v>
                </c:pt>
                <c:pt idx="1198">
                  <c:v>41621</c:v>
                </c:pt>
                <c:pt idx="1199">
                  <c:v>41624</c:v>
                </c:pt>
                <c:pt idx="1200">
                  <c:v>41625</c:v>
                </c:pt>
                <c:pt idx="1201">
                  <c:v>41626</c:v>
                </c:pt>
                <c:pt idx="1202">
                  <c:v>41627</c:v>
                </c:pt>
                <c:pt idx="1203">
                  <c:v>41628</c:v>
                </c:pt>
                <c:pt idx="1204">
                  <c:v>41631</c:v>
                </c:pt>
                <c:pt idx="1205">
                  <c:v>41632</c:v>
                </c:pt>
                <c:pt idx="1206">
                  <c:v>41633</c:v>
                </c:pt>
                <c:pt idx="1207">
                  <c:v>41634</c:v>
                </c:pt>
                <c:pt idx="1208">
                  <c:v>41635</c:v>
                </c:pt>
                <c:pt idx="1209">
                  <c:v>41638</c:v>
                </c:pt>
                <c:pt idx="1210">
                  <c:v>41639</c:v>
                </c:pt>
                <c:pt idx="1211">
                  <c:v>41641</c:v>
                </c:pt>
                <c:pt idx="1212">
                  <c:v>41642</c:v>
                </c:pt>
                <c:pt idx="1213">
                  <c:v>41645</c:v>
                </c:pt>
                <c:pt idx="1214">
                  <c:v>41646</c:v>
                </c:pt>
                <c:pt idx="1215">
                  <c:v>41647</c:v>
                </c:pt>
                <c:pt idx="1216">
                  <c:v>41648</c:v>
                </c:pt>
                <c:pt idx="1217">
                  <c:v>41649</c:v>
                </c:pt>
                <c:pt idx="1218">
                  <c:v>41652</c:v>
                </c:pt>
                <c:pt idx="1219">
                  <c:v>41653</c:v>
                </c:pt>
                <c:pt idx="1220">
                  <c:v>41654</c:v>
                </c:pt>
                <c:pt idx="1221">
                  <c:v>41655</c:v>
                </c:pt>
                <c:pt idx="1222">
                  <c:v>41656</c:v>
                </c:pt>
                <c:pt idx="1223">
                  <c:v>41659</c:v>
                </c:pt>
                <c:pt idx="1224">
                  <c:v>41660</c:v>
                </c:pt>
                <c:pt idx="1225">
                  <c:v>41661</c:v>
                </c:pt>
                <c:pt idx="1226">
                  <c:v>41662</c:v>
                </c:pt>
                <c:pt idx="1227">
                  <c:v>41663</c:v>
                </c:pt>
                <c:pt idx="1228">
                  <c:v>41666</c:v>
                </c:pt>
                <c:pt idx="1229">
                  <c:v>41667</c:v>
                </c:pt>
                <c:pt idx="1230">
                  <c:v>41668</c:v>
                </c:pt>
                <c:pt idx="1231">
                  <c:v>41669</c:v>
                </c:pt>
                <c:pt idx="1232">
                  <c:v>41677</c:v>
                </c:pt>
                <c:pt idx="1233">
                  <c:v>41680</c:v>
                </c:pt>
                <c:pt idx="1234">
                  <c:v>41681</c:v>
                </c:pt>
                <c:pt idx="1235">
                  <c:v>41682</c:v>
                </c:pt>
                <c:pt idx="1236">
                  <c:v>41683</c:v>
                </c:pt>
                <c:pt idx="1237">
                  <c:v>41684</c:v>
                </c:pt>
                <c:pt idx="1238">
                  <c:v>41687</c:v>
                </c:pt>
                <c:pt idx="1239">
                  <c:v>41688</c:v>
                </c:pt>
                <c:pt idx="1240">
                  <c:v>41689</c:v>
                </c:pt>
                <c:pt idx="1241">
                  <c:v>41690</c:v>
                </c:pt>
                <c:pt idx="1242">
                  <c:v>41691</c:v>
                </c:pt>
                <c:pt idx="1243">
                  <c:v>41694</c:v>
                </c:pt>
                <c:pt idx="1244">
                  <c:v>41695</c:v>
                </c:pt>
                <c:pt idx="1245">
                  <c:v>41696</c:v>
                </c:pt>
                <c:pt idx="1246">
                  <c:v>41697</c:v>
                </c:pt>
                <c:pt idx="1247">
                  <c:v>41698</c:v>
                </c:pt>
                <c:pt idx="1248">
                  <c:v>41701</c:v>
                </c:pt>
                <c:pt idx="1249">
                  <c:v>41702</c:v>
                </c:pt>
                <c:pt idx="1250">
                  <c:v>41703</c:v>
                </c:pt>
                <c:pt idx="1251">
                  <c:v>41704</c:v>
                </c:pt>
                <c:pt idx="1252">
                  <c:v>41705</c:v>
                </c:pt>
                <c:pt idx="1253">
                  <c:v>41708</c:v>
                </c:pt>
                <c:pt idx="1254">
                  <c:v>41709</c:v>
                </c:pt>
                <c:pt idx="1255">
                  <c:v>41710</c:v>
                </c:pt>
                <c:pt idx="1256">
                  <c:v>41711</c:v>
                </c:pt>
                <c:pt idx="1257">
                  <c:v>41712</c:v>
                </c:pt>
                <c:pt idx="1258">
                  <c:v>41715</c:v>
                </c:pt>
                <c:pt idx="1259">
                  <c:v>41716</c:v>
                </c:pt>
                <c:pt idx="1260">
                  <c:v>41717</c:v>
                </c:pt>
                <c:pt idx="1261">
                  <c:v>41718</c:v>
                </c:pt>
                <c:pt idx="1262">
                  <c:v>41719</c:v>
                </c:pt>
                <c:pt idx="1263">
                  <c:v>41722</c:v>
                </c:pt>
                <c:pt idx="1264">
                  <c:v>41723</c:v>
                </c:pt>
                <c:pt idx="1265">
                  <c:v>41724</c:v>
                </c:pt>
                <c:pt idx="1266">
                  <c:v>41725</c:v>
                </c:pt>
                <c:pt idx="1267">
                  <c:v>41726</c:v>
                </c:pt>
                <c:pt idx="1268">
                  <c:v>41729</c:v>
                </c:pt>
                <c:pt idx="1269">
                  <c:v>41730</c:v>
                </c:pt>
                <c:pt idx="1270">
                  <c:v>41731</c:v>
                </c:pt>
                <c:pt idx="1271">
                  <c:v>41732</c:v>
                </c:pt>
                <c:pt idx="1272">
                  <c:v>41733</c:v>
                </c:pt>
                <c:pt idx="1273">
                  <c:v>41737</c:v>
                </c:pt>
                <c:pt idx="1274">
                  <c:v>41738</c:v>
                </c:pt>
                <c:pt idx="1275">
                  <c:v>41739</c:v>
                </c:pt>
                <c:pt idx="1276">
                  <c:v>41740</c:v>
                </c:pt>
                <c:pt idx="1277">
                  <c:v>41743</c:v>
                </c:pt>
                <c:pt idx="1278">
                  <c:v>41744</c:v>
                </c:pt>
                <c:pt idx="1279">
                  <c:v>41745</c:v>
                </c:pt>
                <c:pt idx="1280">
                  <c:v>41746</c:v>
                </c:pt>
                <c:pt idx="1281">
                  <c:v>41747</c:v>
                </c:pt>
                <c:pt idx="1282">
                  <c:v>41750</c:v>
                </c:pt>
                <c:pt idx="1283">
                  <c:v>41751</c:v>
                </c:pt>
                <c:pt idx="1284">
                  <c:v>41752</c:v>
                </c:pt>
                <c:pt idx="1285">
                  <c:v>41753</c:v>
                </c:pt>
                <c:pt idx="1286">
                  <c:v>41754</c:v>
                </c:pt>
                <c:pt idx="1287">
                  <c:v>41757</c:v>
                </c:pt>
                <c:pt idx="1288">
                  <c:v>41758</c:v>
                </c:pt>
                <c:pt idx="1289">
                  <c:v>41759</c:v>
                </c:pt>
                <c:pt idx="1290">
                  <c:v>41764</c:v>
                </c:pt>
                <c:pt idx="1291">
                  <c:v>41765</c:v>
                </c:pt>
                <c:pt idx="1292">
                  <c:v>41766</c:v>
                </c:pt>
                <c:pt idx="1293">
                  <c:v>41767</c:v>
                </c:pt>
                <c:pt idx="1294">
                  <c:v>41768</c:v>
                </c:pt>
                <c:pt idx="1295">
                  <c:v>41771</c:v>
                </c:pt>
                <c:pt idx="1296">
                  <c:v>41772</c:v>
                </c:pt>
                <c:pt idx="1297">
                  <c:v>41773</c:v>
                </c:pt>
                <c:pt idx="1298">
                  <c:v>41774</c:v>
                </c:pt>
                <c:pt idx="1299">
                  <c:v>41775</c:v>
                </c:pt>
                <c:pt idx="1300">
                  <c:v>41778</c:v>
                </c:pt>
                <c:pt idx="1301">
                  <c:v>41779</c:v>
                </c:pt>
                <c:pt idx="1302">
                  <c:v>41780</c:v>
                </c:pt>
                <c:pt idx="1303">
                  <c:v>41781</c:v>
                </c:pt>
                <c:pt idx="1304">
                  <c:v>41782</c:v>
                </c:pt>
                <c:pt idx="1305">
                  <c:v>41785</c:v>
                </c:pt>
                <c:pt idx="1306">
                  <c:v>41786</c:v>
                </c:pt>
                <c:pt idx="1307">
                  <c:v>41787</c:v>
                </c:pt>
                <c:pt idx="1308">
                  <c:v>41788</c:v>
                </c:pt>
                <c:pt idx="1309">
                  <c:v>41789</c:v>
                </c:pt>
                <c:pt idx="1310">
                  <c:v>41793</c:v>
                </c:pt>
                <c:pt idx="1311">
                  <c:v>41794</c:v>
                </c:pt>
                <c:pt idx="1312">
                  <c:v>41795</c:v>
                </c:pt>
                <c:pt idx="1313">
                  <c:v>41796</c:v>
                </c:pt>
                <c:pt idx="1314">
                  <c:v>41799</c:v>
                </c:pt>
                <c:pt idx="1315">
                  <c:v>41800</c:v>
                </c:pt>
                <c:pt idx="1316">
                  <c:v>41801</c:v>
                </c:pt>
                <c:pt idx="1317">
                  <c:v>41802</c:v>
                </c:pt>
                <c:pt idx="1318">
                  <c:v>41803</c:v>
                </c:pt>
                <c:pt idx="1319">
                  <c:v>41806</c:v>
                </c:pt>
                <c:pt idx="1320">
                  <c:v>41807</c:v>
                </c:pt>
                <c:pt idx="1321">
                  <c:v>41808</c:v>
                </c:pt>
                <c:pt idx="1322">
                  <c:v>41809</c:v>
                </c:pt>
                <c:pt idx="1323">
                  <c:v>41810</c:v>
                </c:pt>
                <c:pt idx="1324">
                  <c:v>41813</c:v>
                </c:pt>
                <c:pt idx="1325">
                  <c:v>41814</c:v>
                </c:pt>
                <c:pt idx="1326">
                  <c:v>41815</c:v>
                </c:pt>
                <c:pt idx="1327">
                  <c:v>41816</c:v>
                </c:pt>
                <c:pt idx="1328">
                  <c:v>41817</c:v>
                </c:pt>
                <c:pt idx="1329">
                  <c:v>41820</c:v>
                </c:pt>
                <c:pt idx="1330">
                  <c:v>41821</c:v>
                </c:pt>
                <c:pt idx="1331">
                  <c:v>41822</c:v>
                </c:pt>
                <c:pt idx="1332">
                  <c:v>41823</c:v>
                </c:pt>
                <c:pt idx="1333">
                  <c:v>41824</c:v>
                </c:pt>
                <c:pt idx="1334">
                  <c:v>41827</c:v>
                </c:pt>
                <c:pt idx="1335">
                  <c:v>41828</c:v>
                </c:pt>
                <c:pt idx="1336">
                  <c:v>41829</c:v>
                </c:pt>
                <c:pt idx="1337">
                  <c:v>41830</c:v>
                </c:pt>
                <c:pt idx="1338">
                  <c:v>41831</c:v>
                </c:pt>
                <c:pt idx="1339">
                  <c:v>41834</c:v>
                </c:pt>
                <c:pt idx="1340">
                  <c:v>41835</c:v>
                </c:pt>
                <c:pt idx="1341">
                  <c:v>41836</c:v>
                </c:pt>
                <c:pt idx="1342">
                  <c:v>41837</c:v>
                </c:pt>
                <c:pt idx="1343">
                  <c:v>41838</c:v>
                </c:pt>
                <c:pt idx="1344">
                  <c:v>41841</c:v>
                </c:pt>
                <c:pt idx="1345">
                  <c:v>41842</c:v>
                </c:pt>
                <c:pt idx="1346">
                  <c:v>41843</c:v>
                </c:pt>
                <c:pt idx="1347">
                  <c:v>41844</c:v>
                </c:pt>
                <c:pt idx="1348">
                  <c:v>41845</c:v>
                </c:pt>
                <c:pt idx="1349">
                  <c:v>41848</c:v>
                </c:pt>
                <c:pt idx="1350">
                  <c:v>41849</c:v>
                </c:pt>
                <c:pt idx="1351">
                  <c:v>41850</c:v>
                </c:pt>
                <c:pt idx="1352">
                  <c:v>41851</c:v>
                </c:pt>
                <c:pt idx="1353">
                  <c:v>41852</c:v>
                </c:pt>
                <c:pt idx="1354">
                  <c:v>41855</c:v>
                </c:pt>
                <c:pt idx="1355">
                  <c:v>41856</c:v>
                </c:pt>
                <c:pt idx="1356">
                  <c:v>41857</c:v>
                </c:pt>
                <c:pt idx="1357">
                  <c:v>41858</c:v>
                </c:pt>
                <c:pt idx="1358">
                  <c:v>41859</c:v>
                </c:pt>
                <c:pt idx="1359">
                  <c:v>41862</c:v>
                </c:pt>
                <c:pt idx="1360">
                  <c:v>41863</c:v>
                </c:pt>
                <c:pt idx="1361">
                  <c:v>41864</c:v>
                </c:pt>
                <c:pt idx="1362">
                  <c:v>41865</c:v>
                </c:pt>
                <c:pt idx="1363">
                  <c:v>41866</c:v>
                </c:pt>
                <c:pt idx="1364">
                  <c:v>41869</c:v>
                </c:pt>
                <c:pt idx="1365">
                  <c:v>41870</c:v>
                </c:pt>
                <c:pt idx="1366">
                  <c:v>41871</c:v>
                </c:pt>
                <c:pt idx="1367">
                  <c:v>41872</c:v>
                </c:pt>
                <c:pt idx="1368">
                  <c:v>41873</c:v>
                </c:pt>
                <c:pt idx="1369">
                  <c:v>41876</c:v>
                </c:pt>
                <c:pt idx="1370">
                  <c:v>41877</c:v>
                </c:pt>
                <c:pt idx="1371">
                  <c:v>41878</c:v>
                </c:pt>
                <c:pt idx="1372">
                  <c:v>41879</c:v>
                </c:pt>
                <c:pt idx="1373">
                  <c:v>41880</c:v>
                </c:pt>
                <c:pt idx="1374">
                  <c:v>41883</c:v>
                </c:pt>
                <c:pt idx="1375">
                  <c:v>41884</c:v>
                </c:pt>
                <c:pt idx="1376">
                  <c:v>41885</c:v>
                </c:pt>
                <c:pt idx="1377">
                  <c:v>41886</c:v>
                </c:pt>
                <c:pt idx="1378">
                  <c:v>41887</c:v>
                </c:pt>
                <c:pt idx="1379">
                  <c:v>41891</c:v>
                </c:pt>
                <c:pt idx="1380">
                  <c:v>41892</c:v>
                </c:pt>
                <c:pt idx="1381">
                  <c:v>41893</c:v>
                </c:pt>
                <c:pt idx="1382">
                  <c:v>41894</c:v>
                </c:pt>
                <c:pt idx="1383">
                  <c:v>41897</c:v>
                </c:pt>
                <c:pt idx="1384">
                  <c:v>41898</c:v>
                </c:pt>
                <c:pt idx="1385">
                  <c:v>41899</c:v>
                </c:pt>
                <c:pt idx="1386">
                  <c:v>41900</c:v>
                </c:pt>
                <c:pt idx="1387">
                  <c:v>41901</c:v>
                </c:pt>
                <c:pt idx="1388">
                  <c:v>41904</c:v>
                </c:pt>
                <c:pt idx="1389">
                  <c:v>41905</c:v>
                </c:pt>
                <c:pt idx="1390">
                  <c:v>41906</c:v>
                </c:pt>
                <c:pt idx="1391">
                  <c:v>41907</c:v>
                </c:pt>
                <c:pt idx="1392">
                  <c:v>41908</c:v>
                </c:pt>
                <c:pt idx="1393">
                  <c:v>41911</c:v>
                </c:pt>
                <c:pt idx="1394">
                  <c:v>41912</c:v>
                </c:pt>
                <c:pt idx="1395">
                  <c:v>41920</c:v>
                </c:pt>
                <c:pt idx="1396">
                  <c:v>41921</c:v>
                </c:pt>
                <c:pt idx="1397">
                  <c:v>41922</c:v>
                </c:pt>
                <c:pt idx="1398">
                  <c:v>41925</c:v>
                </c:pt>
                <c:pt idx="1399">
                  <c:v>41926</c:v>
                </c:pt>
                <c:pt idx="1400">
                  <c:v>41927</c:v>
                </c:pt>
                <c:pt idx="1401">
                  <c:v>41928</c:v>
                </c:pt>
                <c:pt idx="1402">
                  <c:v>41929</c:v>
                </c:pt>
                <c:pt idx="1403">
                  <c:v>41932</c:v>
                </c:pt>
                <c:pt idx="1404">
                  <c:v>41933</c:v>
                </c:pt>
                <c:pt idx="1405">
                  <c:v>41934</c:v>
                </c:pt>
                <c:pt idx="1406">
                  <c:v>41935</c:v>
                </c:pt>
                <c:pt idx="1407">
                  <c:v>41936</c:v>
                </c:pt>
                <c:pt idx="1408">
                  <c:v>41939</c:v>
                </c:pt>
                <c:pt idx="1409">
                  <c:v>41940</c:v>
                </c:pt>
                <c:pt idx="1410">
                  <c:v>41941</c:v>
                </c:pt>
                <c:pt idx="1411">
                  <c:v>41942</c:v>
                </c:pt>
                <c:pt idx="1412">
                  <c:v>41943</c:v>
                </c:pt>
                <c:pt idx="1413">
                  <c:v>41946</c:v>
                </c:pt>
                <c:pt idx="1414">
                  <c:v>41947</c:v>
                </c:pt>
                <c:pt idx="1415">
                  <c:v>41948</c:v>
                </c:pt>
                <c:pt idx="1416">
                  <c:v>41949</c:v>
                </c:pt>
                <c:pt idx="1417">
                  <c:v>41950</c:v>
                </c:pt>
                <c:pt idx="1418">
                  <c:v>41953</c:v>
                </c:pt>
                <c:pt idx="1419">
                  <c:v>41954</c:v>
                </c:pt>
                <c:pt idx="1420">
                  <c:v>41955</c:v>
                </c:pt>
                <c:pt idx="1421">
                  <c:v>41956</c:v>
                </c:pt>
                <c:pt idx="1422">
                  <c:v>41957</c:v>
                </c:pt>
                <c:pt idx="1423">
                  <c:v>41960</c:v>
                </c:pt>
                <c:pt idx="1424">
                  <c:v>41961</c:v>
                </c:pt>
                <c:pt idx="1425">
                  <c:v>41962</c:v>
                </c:pt>
                <c:pt idx="1426">
                  <c:v>41963</c:v>
                </c:pt>
                <c:pt idx="1427">
                  <c:v>41964</c:v>
                </c:pt>
                <c:pt idx="1428">
                  <c:v>41967</c:v>
                </c:pt>
                <c:pt idx="1429">
                  <c:v>41968</c:v>
                </c:pt>
                <c:pt idx="1430">
                  <c:v>41969</c:v>
                </c:pt>
                <c:pt idx="1431">
                  <c:v>41970</c:v>
                </c:pt>
                <c:pt idx="1432">
                  <c:v>41971</c:v>
                </c:pt>
                <c:pt idx="1433">
                  <c:v>41974</c:v>
                </c:pt>
                <c:pt idx="1434">
                  <c:v>41975</c:v>
                </c:pt>
                <c:pt idx="1435">
                  <c:v>41976</c:v>
                </c:pt>
                <c:pt idx="1436">
                  <c:v>41977</c:v>
                </c:pt>
                <c:pt idx="1437">
                  <c:v>41978</c:v>
                </c:pt>
                <c:pt idx="1438">
                  <c:v>41981</c:v>
                </c:pt>
                <c:pt idx="1439">
                  <c:v>41982</c:v>
                </c:pt>
                <c:pt idx="1440">
                  <c:v>41983</c:v>
                </c:pt>
                <c:pt idx="1441">
                  <c:v>41984</c:v>
                </c:pt>
                <c:pt idx="1442">
                  <c:v>41985</c:v>
                </c:pt>
                <c:pt idx="1443">
                  <c:v>41988</c:v>
                </c:pt>
                <c:pt idx="1444">
                  <c:v>41989</c:v>
                </c:pt>
                <c:pt idx="1445">
                  <c:v>41990</c:v>
                </c:pt>
                <c:pt idx="1446">
                  <c:v>41991</c:v>
                </c:pt>
                <c:pt idx="1447">
                  <c:v>41992</c:v>
                </c:pt>
                <c:pt idx="1448">
                  <c:v>41995</c:v>
                </c:pt>
                <c:pt idx="1449">
                  <c:v>41996</c:v>
                </c:pt>
                <c:pt idx="1450">
                  <c:v>41997</c:v>
                </c:pt>
                <c:pt idx="1451">
                  <c:v>41998</c:v>
                </c:pt>
                <c:pt idx="1452">
                  <c:v>41999</c:v>
                </c:pt>
                <c:pt idx="1453">
                  <c:v>42002</c:v>
                </c:pt>
                <c:pt idx="1454">
                  <c:v>42003</c:v>
                </c:pt>
                <c:pt idx="1455">
                  <c:v>42004</c:v>
                </c:pt>
                <c:pt idx="1456">
                  <c:v>42009</c:v>
                </c:pt>
                <c:pt idx="1457">
                  <c:v>42010</c:v>
                </c:pt>
                <c:pt idx="1458">
                  <c:v>42011</c:v>
                </c:pt>
                <c:pt idx="1459">
                  <c:v>42012</c:v>
                </c:pt>
                <c:pt idx="1460">
                  <c:v>42013</c:v>
                </c:pt>
                <c:pt idx="1461">
                  <c:v>42016</c:v>
                </c:pt>
                <c:pt idx="1462">
                  <c:v>42017</c:v>
                </c:pt>
                <c:pt idx="1463">
                  <c:v>42018</c:v>
                </c:pt>
                <c:pt idx="1464">
                  <c:v>42019</c:v>
                </c:pt>
                <c:pt idx="1465">
                  <c:v>42020</c:v>
                </c:pt>
                <c:pt idx="1466">
                  <c:v>42023</c:v>
                </c:pt>
                <c:pt idx="1467">
                  <c:v>42024</c:v>
                </c:pt>
                <c:pt idx="1468">
                  <c:v>42025</c:v>
                </c:pt>
                <c:pt idx="1469">
                  <c:v>42026</c:v>
                </c:pt>
                <c:pt idx="1470">
                  <c:v>42027</c:v>
                </c:pt>
                <c:pt idx="1471">
                  <c:v>42030</c:v>
                </c:pt>
                <c:pt idx="1472">
                  <c:v>42031</c:v>
                </c:pt>
                <c:pt idx="1473">
                  <c:v>42032</c:v>
                </c:pt>
                <c:pt idx="1474">
                  <c:v>42033</c:v>
                </c:pt>
                <c:pt idx="1475">
                  <c:v>42034</c:v>
                </c:pt>
                <c:pt idx="1476">
                  <c:v>42037</c:v>
                </c:pt>
                <c:pt idx="1477">
                  <c:v>42038</c:v>
                </c:pt>
                <c:pt idx="1478">
                  <c:v>42039</c:v>
                </c:pt>
                <c:pt idx="1479">
                  <c:v>42040</c:v>
                </c:pt>
                <c:pt idx="1480">
                  <c:v>42041</c:v>
                </c:pt>
                <c:pt idx="1481">
                  <c:v>42044</c:v>
                </c:pt>
                <c:pt idx="1482">
                  <c:v>42045</c:v>
                </c:pt>
                <c:pt idx="1483">
                  <c:v>42046</c:v>
                </c:pt>
                <c:pt idx="1484">
                  <c:v>42047</c:v>
                </c:pt>
                <c:pt idx="1485">
                  <c:v>42048</c:v>
                </c:pt>
                <c:pt idx="1486">
                  <c:v>42051</c:v>
                </c:pt>
                <c:pt idx="1487">
                  <c:v>42052</c:v>
                </c:pt>
                <c:pt idx="1488">
                  <c:v>42060</c:v>
                </c:pt>
                <c:pt idx="1489">
                  <c:v>42061</c:v>
                </c:pt>
                <c:pt idx="1490">
                  <c:v>42062</c:v>
                </c:pt>
                <c:pt idx="1491">
                  <c:v>42065</c:v>
                </c:pt>
                <c:pt idx="1492">
                  <c:v>42066</c:v>
                </c:pt>
                <c:pt idx="1493">
                  <c:v>42067</c:v>
                </c:pt>
                <c:pt idx="1494">
                  <c:v>42068</c:v>
                </c:pt>
                <c:pt idx="1495">
                  <c:v>42069</c:v>
                </c:pt>
                <c:pt idx="1496">
                  <c:v>42072</c:v>
                </c:pt>
                <c:pt idx="1497">
                  <c:v>42073</c:v>
                </c:pt>
                <c:pt idx="1498">
                  <c:v>42074</c:v>
                </c:pt>
                <c:pt idx="1499">
                  <c:v>42075</c:v>
                </c:pt>
                <c:pt idx="1500">
                  <c:v>42076</c:v>
                </c:pt>
                <c:pt idx="1501">
                  <c:v>42079</c:v>
                </c:pt>
                <c:pt idx="1502">
                  <c:v>42080</c:v>
                </c:pt>
                <c:pt idx="1503">
                  <c:v>42081</c:v>
                </c:pt>
                <c:pt idx="1504">
                  <c:v>42082</c:v>
                </c:pt>
                <c:pt idx="1505">
                  <c:v>42083</c:v>
                </c:pt>
                <c:pt idx="1506">
                  <c:v>42086</c:v>
                </c:pt>
                <c:pt idx="1507">
                  <c:v>42087</c:v>
                </c:pt>
                <c:pt idx="1508">
                  <c:v>42088</c:v>
                </c:pt>
                <c:pt idx="1509">
                  <c:v>42089</c:v>
                </c:pt>
                <c:pt idx="1510">
                  <c:v>42090</c:v>
                </c:pt>
                <c:pt idx="1511">
                  <c:v>42093</c:v>
                </c:pt>
                <c:pt idx="1512">
                  <c:v>42094</c:v>
                </c:pt>
                <c:pt idx="1513">
                  <c:v>42095</c:v>
                </c:pt>
                <c:pt idx="1514">
                  <c:v>42096</c:v>
                </c:pt>
                <c:pt idx="1515">
                  <c:v>42097</c:v>
                </c:pt>
                <c:pt idx="1516">
                  <c:v>42101</c:v>
                </c:pt>
                <c:pt idx="1517">
                  <c:v>42102</c:v>
                </c:pt>
                <c:pt idx="1518">
                  <c:v>42103</c:v>
                </c:pt>
                <c:pt idx="1519">
                  <c:v>42104</c:v>
                </c:pt>
                <c:pt idx="1520">
                  <c:v>42107</c:v>
                </c:pt>
                <c:pt idx="1521">
                  <c:v>42108</c:v>
                </c:pt>
                <c:pt idx="1522">
                  <c:v>42109</c:v>
                </c:pt>
                <c:pt idx="1523">
                  <c:v>42110</c:v>
                </c:pt>
                <c:pt idx="1524">
                  <c:v>42111</c:v>
                </c:pt>
                <c:pt idx="1525">
                  <c:v>42114</c:v>
                </c:pt>
                <c:pt idx="1526">
                  <c:v>42115</c:v>
                </c:pt>
                <c:pt idx="1527">
                  <c:v>42116</c:v>
                </c:pt>
                <c:pt idx="1528">
                  <c:v>42117</c:v>
                </c:pt>
                <c:pt idx="1529">
                  <c:v>42118</c:v>
                </c:pt>
                <c:pt idx="1530">
                  <c:v>42121</c:v>
                </c:pt>
                <c:pt idx="1531">
                  <c:v>42122</c:v>
                </c:pt>
                <c:pt idx="1532">
                  <c:v>42123</c:v>
                </c:pt>
                <c:pt idx="1533">
                  <c:v>42124</c:v>
                </c:pt>
                <c:pt idx="1534">
                  <c:v>42128</c:v>
                </c:pt>
                <c:pt idx="1535">
                  <c:v>42129</c:v>
                </c:pt>
                <c:pt idx="1536">
                  <c:v>42130</c:v>
                </c:pt>
                <c:pt idx="1537">
                  <c:v>42131</c:v>
                </c:pt>
                <c:pt idx="1538">
                  <c:v>42132</c:v>
                </c:pt>
                <c:pt idx="1539">
                  <c:v>42135</c:v>
                </c:pt>
                <c:pt idx="1540">
                  <c:v>42136</c:v>
                </c:pt>
                <c:pt idx="1541">
                  <c:v>42137</c:v>
                </c:pt>
                <c:pt idx="1542">
                  <c:v>42138</c:v>
                </c:pt>
                <c:pt idx="1543">
                  <c:v>42139</c:v>
                </c:pt>
                <c:pt idx="1544">
                  <c:v>42142</c:v>
                </c:pt>
                <c:pt idx="1545">
                  <c:v>42143</c:v>
                </c:pt>
                <c:pt idx="1546">
                  <c:v>42144</c:v>
                </c:pt>
                <c:pt idx="1547">
                  <c:v>42145</c:v>
                </c:pt>
                <c:pt idx="1548">
                  <c:v>42146</c:v>
                </c:pt>
                <c:pt idx="1549">
                  <c:v>42149</c:v>
                </c:pt>
                <c:pt idx="1550">
                  <c:v>42150</c:v>
                </c:pt>
                <c:pt idx="1551">
                  <c:v>42151</c:v>
                </c:pt>
                <c:pt idx="1552">
                  <c:v>42152</c:v>
                </c:pt>
                <c:pt idx="1553">
                  <c:v>42153</c:v>
                </c:pt>
                <c:pt idx="1554">
                  <c:v>42156</c:v>
                </c:pt>
                <c:pt idx="1555">
                  <c:v>42157</c:v>
                </c:pt>
                <c:pt idx="1556">
                  <c:v>42158</c:v>
                </c:pt>
                <c:pt idx="1557">
                  <c:v>42159</c:v>
                </c:pt>
                <c:pt idx="1558">
                  <c:v>42160</c:v>
                </c:pt>
                <c:pt idx="1559">
                  <c:v>42163</c:v>
                </c:pt>
                <c:pt idx="1560">
                  <c:v>42164</c:v>
                </c:pt>
                <c:pt idx="1561">
                  <c:v>42165</c:v>
                </c:pt>
                <c:pt idx="1562">
                  <c:v>42166</c:v>
                </c:pt>
                <c:pt idx="1563">
                  <c:v>42167</c:v>
                </c:pt>
                <c:pt idx="1564">
                  <c:v>42170</c:v>
                </c:pt>
                <c:pt idx="1565">
                  <c:v>42171</c:v>
                </c:pt>
                <c:pt idx="1566">
                  <c:v>42172</c:v>
                </c:pt>
                <c:pt idx="1567">
                  <c:v>42173</c:v>
                </c:pt>
                <c:pt idx="1568">
                  <c:v>42174</c:v>
                </c:pt>
                <c:pt idx="1569">
                  <c:v>42178</c:v>
                </c:pt>
                <c:pt idx="1570">
                  <c:v>42179</c:v>
                </c:pt>
                <c:pt idx="1571">
                  <c:v>42180</c:v>
                </c:pt>
                <c:pt idx="1572">
                  <c:v>42181</c:v>
                </c:pt>
                <c:pt idx="1573">
                  <c:v>42184</c:v>
                </c:pt>
                <c:pt idx="1574">
                  <c:v>42185</c:v>
                </c:pt>
                <c:pt idx="1575">
                  <c:v>42186</c:v>
                </c:pt>
                <c:pt idx="1576">
                  <c:v>42187</c:v>
                </c:pt>
                <c:pt idx="1577">
                  <c:v>42188</c:v>
                </c:pt>
                <c:pt idx="1578">
                  <c:v>42191</c:v>
                </c:pt>
                <c:pt idx="1579">
                  <c:v>42192</c:v>
                </c:pt>
                <c:pt idx="1580">
                  <c:v>42193</c:v>
                </c:pt>
                <c:pt idx="1581">
                  <c:v>42194</c:v>
                </c:pt>
                <c:pt idx="1582">
                  <c:v>42195</c:v>
                </c:pt>
                <c:pt idx="1583">
                  <c:v>42198</c:v>
                </c:pt>
                <c:pt idx="1584">
                  <c:v>42199</c:v>
                </c:pt>
                <c:pt idx="1585">
                  <c:v>42200</c:v>
                </c:pt>
                <c:pt idx="1586">
                  <c:v>42201</c:v>
                </c:pt>
                <c:pt idx="1587">
                  <c:v>42202</c:v>
                </c:pt>
                <c:pt idx="1588">
                  <c:v>42205</c:v>
                </c:pt>
                <c:pt idx="1589">
                  <c:v>42206</c:v>
                </c:pt>
                <c:pt idx="1590">
                  <c:v>42207</c:v>
                </c:pt>
                <c:pt idx="1591">
                  <c:v>42208</c:v>
                </c:pt>
                <c:pt idx="1592">
                  <c:v>42209</c:v>
                </c:pt>
                <c:pt idx="1593">
                  <c:v>42212</c:v>
                </c:pt>
                <c:pt idx="1594">
                  <c:v>42213</c:v>
                </c:pt>
                <c:pt idx="1595">
                  <c:v>42214</c:v>
                </c:pt>
                <c:pt idx="1596">
                  <c:v>42215</c:v>
                </c:pt>
                <c:pt idx="1597">
                  <c:v>42216</c:v>
                </c:pt>
                <c:pt idx="1598">
                  <c:v>42219</c:v>
                </c:pt>
                <c:pt idx="1599">
                  <c:v>42220</c:v>
                </c:pt>
                <c:pt idx="1600">
                  <c:v>42221</c:v>
                </c:pt>
                <c:pt idx="1601">
                  <c:v>42222</c:v>
                </c:pt>
                <c:pt idx="1602">
                  <c:v>42223</c:v>
                </c:pt>
                <c:pt idx="1603">
                  <c:v>42226</c:v>
                </c:pt>
                <c:pt idx="1604">
                  <c:v>42227</c:v>
                </c:pt>
                <c:pt idx="1605">
                  <c:v>42228</c:v>
                </c:pt>
                <c:pt idx="1606">
                  <c:v>42229</c:v>
                </c:pt>
                <c:pt idx="1607">
                  <c:v>42230</c:v>
                </c:pt>
                <c:pt idx="1608">
                  <c:v>42233</c:v>
                </c:pt>
                <c:pt idx="1609">
                  <c:v>42234</c:v>
                </c:pt>
                <c:pt idx="1610">
                  <c:v>42235</c:v>
                </c:pt>
                <c:pt idx="1611">
                  <c:v>42236</c:v>
                </c:pt>
                <c:pt idx="1612">
                  <c:v>42237</c:v>
                </c:pt>
                <c:pt idx="1613">
                  <c:v>42240</c:v>
                </c:pt>
                <c:pt idx="1614">
                  <c:v>42241</c:v>
                </c:pt>
                <c:pt idx="1615">
                  <c:v>42242</c:v>
                </c:pt>
                <c:pt idx="1616">
                  <c:v>42243</c:v>
                </c:pt>
                <c:pt idx="1617">
                  <c:v>42244</c:v>
                </c:pt>
                <c:pt idx="1618">
                  <c:v>42247</c:v>
                </c:pt>
                <c:pt idx="1619">
                  <c:v>42248</c:v>
                </c:pt>
                <c:pt idx="1620">
                  <c:v>42249</c:v>
                </c:pt>
                <c:pt idx="1621">
                  <c:v>42254</c:v>
                </c:pt>
                <c:pt idx="1622">
                  <c:v>42255</c:v>
                </c:pt>
                <c:pt idx="1623">
                  <c:v>42256</c:v>
                </c:pt>
                <c:pt idx="1624">
                  <c:v>42257</c:v>
                </c:pt>
                <c:pt idx="1625">
                  <c:v>42258</c:v>
                </c:pt>
                <c:pt idx="1626">
                  <c:v>42261</c:v>
                </c:pt>
                <c:pt idx="1627">
                  <c:v>42262</c:v>
                </c:pt>
                <c:pt idx="1628">
                  <c:v>42263</c:v>
                </c:pt>
                <c:pt idx="1629">
                  <c:v>42264</c:v>
                </c:pt>
                <c:pt idx="1630">
                  <c:v>42265</c:v>
                </c:pt>
                <c:pt idx="1631">
                  <c:v>42268</c:v>
                </c:pt>
                <c:pt idx="1632">
                  <c:v>42269</c:v>
                </c:pt>
                <c:pt idx="1633">
                  <c:v>42270</c:v>
                </c:pt>
                <c:pt idx="1634">
                  <c:v>42271</c:v>
                </c:pt>
                <c:pt idx="1635">
                  <c:v>42272</c:v>
                </c:pt>
                <c:pt idx="1636">
                  <c:v>42275</c:v>
                </c:pt>
                <c:pt idx="1637">
                  <c:v>42276</c:v>
                </c:pt>
                <c:pt idx="1638">
                  <c:v>42277</c:v>
                </c:pt>
                <c:pt idx="1639">
                  <c:v>42285</c:v>
                </c:pt>
                <c:pt idx="1640">
                  <c:v>42286</c:v>
                </c:pt>
                <c:pt idx="1641">
                  <c:v>42289</c:v>
                </c:pt>
                <c:pt idx="1642">
                  <c:v>42290</c:v>
                </c:pt>
                <c:pt idx="1643">
                  <c:v>42291</c:v>
                </c:pt>
                <c:pt idx="1644">
                  <c:v>42292</c:v>
                </c:pt>
                <c:pt idx="1645">
                  <c:v>42293</c:v>
                </c:pt>
                <c:pt idx="1646">
                  <c:v>42296</c:v>
                </c:pt>
                <c:pt idx="1647">
                  <c:v>42297</c:v>
                </c:pt>
                <c:pt idx="1648">
                  <c:v>42298</c:v>
                </c:pt>
                <c:pt idx="1649">
                  <c:v>42299</c:v>
                </c:pt>
                <c:pt idx="1650">
                  <c:v>42300</c:v>
                </c:pt>
                <c:pt idx="1651">
                  <c:v>42303</c:v>
                </c:pt>
                <c:pt idx="1652">
                  <c:v>42304</c:v>
                </c:pt>
                <c:pt idx="1653">
                  <c:v>42305</c:v>
                </c:pt>
                <c:pt idx="1654">
                  <c:v>42306</c:v>
                </c:pt>
                <c:pt idx="1655">
                  <c:v>42307</c:v>
                </c:pt>
                <c:pt idx="1656">
                  <c:v>42310</c:v>
                </c:pt>
                <c:pt idx="1657">
                  <c:v>42311</c:v>
                </c:pt>
                <c:pt idx="1658">
                  <c:v>42312</c:v>
                </c:pt>
                <c:pt idx="1659">
                  <c:v>42313</c:v>
                </c:pt>
                <c:pt idx="1660">
                  <c:v>42314</c:v>
                </c:pt>
                <c:pt idx="1661">
                  <c:v>42317</c:v>
                </c:pt>
                <c:pt idx="1662">
                  <c:v>42318</c:v>
                </c:pt>
                <c:pt idx="1663">
                  <c:v>42319</c:v>
                </c:pt>
                <c:pt idx="1664">
                  <c:v>42320</c:v>
                </c:pt>
                <c:pt idx="1665">
                  <c:v>42321</c:v>
                </c:pt>
                <c:pt idx="1666">
                  <c:v>42324</c:v>
                </c:pt>
                <c:pt idx="1667">
                  <c:v>42325</c:v>
                </c:pt>
                <c:pt idx="1668">
                  <c:v>42326</c:v>
                </c:pt>
                <c:pt idx="1669">
                  <c:v>42327</c:v>
                </c:pt>
                <c:pt idx="1670">
                  <c:v>42328</c:v>
                </c:pt>
                <c:pt idx="1671">
                  <c:v>42331</c:v>
                </c:pt>
                <c:pt idx="1672">
                  <c:v>42332</c:v>
                </c:pt>
                <c:pt idx="1673">
                  <c:v>42333</c:v>
                </c:pt>
                <c:pt idx="1674">
                  <c:v>42334</c:v>
                </c:pt>
                <c:pt idx="1675">
                  <c:v>42335</c:v>
                </c:pt>
                <c:pt idx="1676">
                  <c:v>42338</c:v>
                </c:pt>
                <c:pt idx="1677">
                  <c:v>42339</c:v>
                </c:pt>
                <c:pt idx="1678">
                  <c:v>42340</c:v>
                </c:pt>
                <c:pt idx="1679">
                  <c:v>42341</c:v>
                </c:pt>
                <c:pt idx="1680">
                  <c:v>42342</c:v>
                </c:pt>
                <c:pt idx="1681">
                  <c:v>42345</c:v>
                </c:pt>
                <c:pt idx="1682">
                  <c:v>42346</c:v>
                </c:pt>
                <c:pt idx="1683">
                  <c:v>42347</c:v>
                </c:pt>
                <c:pt idx="1684">
                  <c:v>42348</c:v>
                </c:pt>
                <c:pt idx="1685">
                  <c:v>42349</c:v>
                </c:pt>
                <c:pt idx="1686">
                  <c:v>42352</c:v>
                </c:pt>
                <c:pt idx="1687">
                  <c:v>42353</c:v>
                </c:pt>
                <c:pt idx="1688">
                  <c:v>42354</c:v>
                </c:pt>
                <c:pt idx="1689">
                  <c:v>42355</c:v>
                </c:pt>
                <c:pt idx="1690">
                  <c:v>42356</c:v>
                </c:pt>
                <c:pt idx="1691">
                  <c:v>42359</c:v>
                </c:pt>
                <c:pt idx="1692">
                  <c:v>42360</c:v>
                </c:pt>
                <c:pt idx="1693">
                  <c:v>42361</c:v>
                </c:pt>
                <c:pt idx="1694">
                  <c:v>42362</c:v>
                </c:pt>
                <c:pt idx="1695">
                  <c:v>42363</c:v>
                </c:pt>
                <c:pt idx="1696">
                  <c:v>42366</c:v>
                </c:pt>
                <c:pt idx="1697">
                  <c:v>42367</c:v>
                </c:pt>
                <c:pt idx="1698">
                  <c:v>42368</c:v>
                </c:pt>
                <c:pt idx="1699">
                  <c:v>42369</c:v>
                </c:pt>
                <c:pt idx="1700">
                  <c:v>42373</c:v>
                </c:pt>
                <c:pt idx="1701">
                  <c:v>42374</c:v>
                </c:pt>
                <c:pt idx="1702">
                  <c:v>42375</c:v>
                </c:pt>
                <c:pt idx="1703">
                  <c:v>42376</c:v>
                </c:pt>
                <c:pt idx="1704">
                  <c:v>42377</c:v>
                </c:pt>
                <c:pt idx="1705">
                  <c:v>42380</c:v>
                </c:pt>
                <c:pt idx="1706">
                  <c:v>42381</c:v>
                </c:pt>
                <c:pt idx="1707">
                  <c:v>42382</c:v>
                </c:pt>
                <c:pt idx="1708">
                  <c:v>42383</c:v>
                </c:pt>
                <c:pt idx="1709">
                  <c:v>42384</c:v>
                </c:pt>
                <c:pt idx="1710">
                  <c:v>42387</c:v>
                </c:pt>
                <c:pt idx="1711">
                  <c:v>42388</c:v>
                </c:pt>
                <c:pt idx="1712">
                  <c:v>42389</c:v>
                </c:pt>
                <c:pt idx="1713">
                  <c:v>42390</c:v>
                </c:pt>
                <c:pt idx="1714">
                  <c:v>42391</c:v>
                </c:pt>
                <c:pt idx="1715">
                  <c:v>42394</c:v>
                </c:pt>
                <c:pt idx="1716">
                  <c:v>42395</c:v>
                </c:pt>
                <c:pt idx="1717">
                  <c:v>42396</c:v>
                </c:pt>
                <c:pt idx="1718">
                  <c:v>42397</c:v>
                </c:pt>
                <c:pt idx="1719">
                  <c:v>42398</c:v>
                </c:pt>
                <c:pt idx="1720">
                  <c:v>42401</c:v>
                </c:pt>
                <c:pt idx="1721">
                  <c:v>42402</c:v>
                </c:pt>
                <c:pt idx="1722">
                  <c:v>42403</c:v>
                </c:pt>
                <c:pt idx="1723">
                  <c:v>42404</c:v>
                </c:pt>
                <c:pt idx="1724">
                  <c:v>42405</c:v>
                </c:pt>
                <c:pt idx="1725">
                  <c:v>42415</c:v>
                </c:pt>
                <c:pt idx="1726">
                  <c:v>42416</c:v>
                </c:pt>
                <c:pt idx="1727">
                  <c:v>42417</c:v>
                </c:pt>
                <c:pt idx="1728">
                  <c:v>42418</c:v>
                </c:pt>
                <c:pt idx="1729">
                  <c:v>42419</c:v>
                </c:pt>
                <c:pt idx="1730">
                  <c:v>42422</c:v>
                </c:pt>
                <c:pt idx="1731">
                  <c:v>42423</c:v>
                </c:pt>
                <c:pt idx="1732">
                  <c:v>42424</c:v>
                </c:pt>
                <c:pt idx="1733">
                  <c:v>42425</c:v>
                </c:pt>
                <c:pt idx="1734">
                  <c:v>42426</c:v>
                </c:pt>
                <c:pt idx="1735">
                  <c:v>42429</c:v>
                </c:pt>
                <c:pt idx="1736">
                  <c:v>42430</c:v>
                </c:pt>
                <c:pt idx="1737">
                  <c:v>42431</c:v>
                </c:pt>
                <c:pt idx="1738">
                  <c:v>42432</c:v>
                </c:pt>
                <c:pt idx="1739">
                  <c:v>42433</c:v>
                </c:pt>
                <c:pt idx="1740">
                  <c:v>42436</c:v>
                </c:pt>
                <c:pt idx="1741">
                  <c:v>42437</c:v>
                </c:pt>
                <c:pt idx="1742">
                  <c:v>42438</c:v>
                </c:pt>
                <c:pt idx="1743">
                  <c:v>42439</c:v>
                </c:pt>
                <c:pt idx="1744">
                  <c:v>42440</c:v>
                </c:pt>
                <c:pt idx="1745">
                  <c:v>42443</c:v>
                </c:pt>
                <c:pt idx="1746">
                  <c:v>42444</c:v>
                </c:pt>
                <c:pt idx="1747">
                  <c:v>42445</c:v>
                </c:pt>
                <c:pt idx="1748">
                  <c:v>42446</c:v>
                </c:pt>
                <c:pt idx="1749">
                  <c:v>42447</c:v>
                </c:pt>
                <c:pt idx="1750">
                  <c:v>42450</c:v>
                </c:pt>
                <c:pt idx="1751">
                  <c:v>42451</c:v>
                </c:pt>
                <c:pt idx="1752">
                  <c:v>42452</c:v>
                </c:pt>
                <c:pt idx="1753">
                  <c:v>42453</c:v>
                </c:pt>
                <c:pt idx="1754">
                  <c:v>42454</c:v>
                </c:pt>
                <c:pt idx="1755">
                  <c:v>42457</c:v>
                </c:pt>
                <c:pt idx="1756">
                  <c:v>42458</c:v>
                </c:pt>
                <c:pt idx="1757">
                  <c:v>42459</c:v>
                </c:pt>
                <c:pt idx="1758">
                  <c:v>42460</c:v>
                </c:pt>
                <c:pt idx="1759">
                  <c:v>42461</c:v>
                </c:pt>
                <c:pt idx="1760">
                  <c:v>42465</c:v>
                </c:pt>
                <c:pt idx="1761">
                  <c:v>42466</c:v>
                </c:pt>
                <c:pt idx="1762">
                  <c:v>42467</c:v>
                </c:pt>
                <c:pt idx="1763">
                  <c:v>42468</c:v>
                </c:pt>
                <c:pt idx="1764">
                  <c:v>42471</c:v>
                </c:pt>
                <c:pt idx="1765">
                  <c:v>42472</c:v>
                </c:pt>
                <c:pt idx="1766">
                  <c:v>42473</c:v>
                </c:pt>
                <c:pt idx="1767">
                  <c:v>42474</c:v>
                </c:pt>
                <c:pt idx="1768">
                  <c:v>42475</c:v>
                </c:pt>
                <c:pt idx="1769">
                  <c:v>42478</c:v>
                </c:pt>
                <c:pt idx="1770">
                  <c:v>42479</c:v>
                </c:pt>
                <c:pt idx="1771">
                  <c:v>42480</c:v>
                </c:pt>
                <c:pt idx="1772">
                  <c:v>42481</c:v>
                </c:pt>
                <c:pt idx="1773">
                  <c:v>42482</c:v>
                </c:pt>
                <c:pt idx="1774">
                  <c:v>42485</c:v>
                </c:pt>
                <c:pt idx="1775">
                  <c:v>42486</c:v>
                </c:pt>
                <c:pt idx="1776">
                  <c:v>42487</c:v>
                </c:pt>
                <c:pt idx="1777">
                  <c:v>42488</c:v>
                </c:pt>
                <c:pt idx="1778">
                  <c:v>42489</c:v>
                </c:pt>
                <c:pt idx="1779">
                  <c:v>42493</c:v>
                </c:pt>
                <c:pt idx="1780">
                  <c:v>42494</c:v>
                </c:pt>
                <c:pt idx="1781">
                  <c:v>42495</c:v>
                </c:pt>
                <c:pt idx="1782">
                  <c:v>42496</c:v>
                </c:pt>
                <c:pt idx="1783">
                  <c:v>42499</c:v>
                </c:pt>
                <c:pt idx="1784">
                  <c:v>42500</c:v>
                </c:pt>
                <c:pt idx="1785">
                  <c:v>42501</c:v>
                </c:pt>
                <c:pt idx="1786">
                  <c:v>42502</c:v>
                </c:pt>
                <c:pt idx="1787">
                  <c:v>42503</c:v>
                </c:pt>
                <c:pt idx="1788">
                  <c:v>42506</c:v>
                </c:pt>
                <c:pt idx="1789">
                  <c:v>42507</c:v>
                </c:pt>
                <c:pt idx="1790">
                  <c:v>42508</c:v>
                </c:pt>
                <c:pt idx="1791">
                  <c:v>42509</c:v>
                </c:pt>
                <c:pt idx="1792">
                  <c:v>42510</c:v>
                </c:pt>
                <c:pt idx="1793">
                  <c:v>42513</c:v>
                </c:pt>
                <c:pt idx="1794">
                  <c:v>42514</c:v>
                </c:pt>
                <c:pt idx="1795">
                  <c:v>42515</c:v>
                </c:pt>
                <c:pt idx="1796">
                  <c:v>42516</c:v>
                </c:pt>
                <c:pt idx="1797">
                  <c:v>42517</c:v>
                </c:pt>
                <c:pt idx="1798">
                  <c:v>42520</c:v>
                </c:pt>
                <c:pt idx="1799">
                  <c:v>42521</c:v>
                </c:pt>
                <c:pt idx="1800">
                  <c:v>42522</c:v>
                </c:pt>
                <c:pt idx="1801">
                  <c:v>42523</c:v>
                </c:pt>
                <c:pt idx="1802">
                  <c:v>42524</c:v>
                </c:pt>
                <c:pt idx="1803">
                  <c:v>42527</c:v>
                </c:pt>
                <c:pt idx="1804">
                  <c:v>42528</c:v>
                </c:pt>
                <c:pt idx="1805">
                  <c:v>42529</c:v>
                </c:pt>
                <c:pt idx="1806">
                  <c:v>42534</c:v>
                </c:pt>
                <c:pt idx="1807">
                  <c:v>42535</c:v>
                </c:pt>
                <c:pt idx="1808">
                  <c:v>42536</c:v>
                </c:pt>
                <c:pt idx="1809">
                  <c:v>42537</c:v>
                </c:pt>
                <c:pt idx="1810">
                  <c:v>42538</c:v>
                </c:pt>
                <c:pt idx="1811">
                  <c:v>42541</c:v>
                </c:pt>
                <c:pt idx="1812">
                  <c:v>42542</c:v>
                </c:pt>
                <c:pt idx="1813">
                  <c:v>42543</c:v>
                </c:pt>
                <c:pt idx="1814">
                  <c:v>42544</c:v>
                </c:pt>
                <c:pt idx="1815">
                  <c:v>42545</c:v>
                </c:pt>
                <c:pt idx="1816">
                  <c:v>42548</c:v>
                </c:pt>
                <c:pt idx="1817">
                  <c:v>42549</c:v>
                </c:pt>
                <c:pt idx="1818">
                  <c:v>42550</c:v>
                </c:pt>
                <c:pt idx="1819">
                  <c:v>42551</c:v>
                </c:pt>
                <c:pt idx="1820">
                  <c:v>42552</c:v>
                </c:pt>
                <c:pt idx="1821">
                  <c:v>42555</c:v>
                </c:pt>
                <c:pt idx="1822">
                  <c:v>42556</c:v>
                </c:pt>
                <c:pt idx="1823">
                  <c:v>42557</c:v>
                </c:pt>
                <c:pt idx="1824">
                  <c:v>42558</c:v>
                </c:pt>
                <c:pt idx="1825">
                  <c:v>42559</c:v>
                </c:pt>
                <c:pt idx="1826">
                  <c:v>42562</c:v>
                </c:pt>
                <c:pt idx="1827">
                  <c:v>42563</c:v>
                </c:pt>
                <c:pt idx="1828">
                  <c:v>42564</c:v>
                </c:pt>
                <c:pt idx="1829">
                  <c:v>42565</c:v>
                </c:pt>
                <c:pt idx="1830">
                  <c:v>42566</c:v>
                </c:pt>
                <c:pt idx="1831">
                  <c:v>42569</c:v>
                </c:pt>
                <c:pt idx="1832">
                  <c:v>42570</c:v>
                </c:pt>
                <c:pt idx="1833">
                  <c:v>42571</c:v>
                </c:pt>
                <c:pt idx="1834">
                  <c:v>42572</c:v>
                </c:pt>
                <c:pt idx="1835">
                  <c:v>42573</c:v>
                </c:pt>
                <c:pt idx="1836">
                  <c:v>42576</c:v>
                </c:pt>
                <c:pt idx="1837">
                  <c:v>42577</c:v>
                </c:pt>
                <c:pt idx="1838">
                  <c:v>42578</c:v>
                </c:pt>
                <c:pt idx="1839">
                  <c:v>42579</c:v>
                </c:pt>
                <c:pt idx="1840">
                  <c:v>42580</c:v>
                </c:pt>
                <c:pt idx="1841">
                  <c:v>42583</c:v>
                </c:pt>
                <c:pt idx="1842">
                  <c:v>42584</c:v>
                </c:pt>
                <c:pt idx="1843">
                  <c:v>42585</c:v>
                </c:pt>
                <c:pt idx="1844">
                  <c:v>42586</c:v>
                </c:pt>
                <c:pt idx="1845">
                  <c:v>42587</c:v>
                </c:pt>
                <c:pt idx="1846">
                  <c:v>42590</c:v>
                </c:pt>
                <c:pt idx="1847">
                  <c:v>42591</c:v>
                </c:pt>
                <c:pt idx="1848">
                  <c:v>42592</c:v>
                </c:pt>
                <c:pt idx="1849">
                  <c:v>42593</c:v>
                </c:pt>
                <c:pt idx="1850">
                  <c:v>42594</c:v>
                </c:pt>
                <c:pt idx="1851">
                  <c:v>42597</c:v>
                </c:pt>
                <c:pt idx="1852">
                  <c:v>42598</c:v>
                </c:pt>
                <c:pt idx="1853">
                  <c:v>42599</c:v>
                </c:pt>
                <c:pt idx="1854">
                  <c:v>42600</c:v>
                </c:pt>
                <c:pt idx="1855">
                  <c:v>42601</c:v>
                </c:pt>
                <c:pt idx="1856">
                  <c:v>42604</c:v>
                </c:pt>
                <c:pt idx="1857">
                  <c:v>42605</c:v>
                </c:pt>
                <c:pt idx="1858">
                  <c:v>42606</c:v>
                </c:pt>
                <c:pt idx="1859">
                  <c:v>42607</c:v>
                </c:pt>
                <c:pt idx="1860">
                  <c:v>42608</c:v>
                </c:pt>
                <c:pt idx="1861">
                  <c:v>42611</c:v>
                </c:pt>
                <c:pt idx="1862">
                  <c:v>42612</c:v>
                </c:pt>
                <c:pt idx="1863">
                  <c:v>42613</c:v>
                </c:pt>
                <c:pt idx="1864">
                  <c:v>42614</c:v>
                </c:pt>
                <c:pt idx="1865">
                  <c:v>42615</c:v>
                </c:pt>
                <c:pt idx="1866">
                  <c:v>42618</c:v>
                </c:pt>
                <c:pt idx="1867">
                  <c:v>42619</c:v>
                </c:pt>
                <c:pt idx="1868">
                  <c:v>42620</c:v>
                </c:pt>
                <c:pt idx="1869">
                  <c:v>42621</c:v>
                </c:pt>
                <c:pt idx="1870">
                  <c:v>42622</c:v>
                </c:pt>
                <c:pt idx="1871">
                  <c:v>42625</c:v>
                </c:pt>
                <c:pt idx="1872">
                  <c:v>42626</c:v>
                </c:pt>
                <c:pt idx="1873">
                  <c:v>42627</c:v>
                </c:pt>
                <c:pt idx="1874">
                  <c:v>42632</c:v>
                </c:pt>
                <c:pt idx="1875">
                  <c:v>42633</c:v>
                </c:pt>
                <c:pt idx="1876">
                  <c:v>42634</c:v>
                </c:pt>
                <c:pt idx="1877">
                  <c:v>42635</c:v>
                </c:pt>
                <c:pt idx="1878">
                  <c:v>42636</c:v>
                </c:pt>
                <c:pt idx="1879">
                  <c:v>42639</c:v>
                </c:pt>
                <c:pt idx="1880">
                  <c:v>42640</c:v>
                </c:pt>
                <c:pt idx="1881">
                  <c:v>42641</c:v>
                </c:pt>
                <c:pt idx="1882">
                  <c:v>42642</c:v>
                </c:pt>
                <c:pt idx="1883">
                  <c:v>42643</c:v>
                </c:pt>
                <c:pt idx="1884">
                  <c:v>42653</c:v>
                </c:pt>
                <c:pt idx="1885">
                  <c:v>42654</c:v>
                </c:pt>
                <c:pt idx="1886">
                  <c:v>42655</c:v>
                </c:pt>
                <c:pt idx="1887">
                  <c:v>42656</c:v>
                </c:pt>
                <c:pt idx="1888">
                  <c:v>42657</c:v>
                </c:pt>
                <c:pt idx="1889">
                  <c:v>42660</c:v>
                </c:pt>
                <c:pt idx="1890">
                  <c:v>42661</c:v>
                </c:pt>
                <c:pt idx="1891">
                  <c:v>42662</c:v>
                </c:pt>
                <c:pt idx="1892">
                  <c:v>42663</c:v>
                </c:pt>
                <c:pt idx="1893">
                  <c:v>42664</c:v>
                </c:pt>
                <c:pt idx="1894">
                  <c:v>42667</c:v>
                </c:pt>
                <c:pt idx="1895">
                  <c:v>42668</c:v>
                </c:pt>
                <c:pt idx="1896">
                  <c:v>42669</c:v>
                </c:pt>
                <c:pt idx="1897">
                  <c:v>42670</c:v>
                </c:pt>
                <c:pt idx="1898">
                  <c:v>42671</c:v>
                </c:pt>
                <c:pt idx="1899">
                  <c:v>42674</c:v>
                </c:pt>
                <c:pt idx="1900">
                  <c:v>42675</c:v>
                </c:pt>
                <c:pt idx="1901">
                  <c:v>42676</c:v>
                </c:pt>
                <c:pt idx="1902">
                  <c:v>42677</c:v>
                </c:pt>
                <c:pt idx="1903">
                  <c:v>42678</c:v>
                </c:pt>
                <c:pt idx="1904">
                  <c:v>42681</c:v>
                </c:pt>
                <c:pt idx="1905">
                  <c:v>42682</c:v>
                </c:pt>
                <c:pt idx="1906">
                  <c:v>42683</c:v>
                </c:pt>
                <c:pt idx="1907">
                  <c:v>42684</c:v>
                </c:pt>
                <c:pt idx="1908">
                  <c:v>42685</c:v>
                </c:pt>
                <c:pt idx="1909">
                  <c:v>42688</c:v>
                </c:pt>
                <c:pt idx="1910">
                  <c:v>42689</c:v>
                </c:pt>
                <c:pt idx="1911">
                  <c:v>42690</c:v>
                </c:pt>
                <c:pt idx="1912">
                  <c:v>42691</c:v>
                </c:pt>
                <c:pt idx="1913">
                  <c:v>42692</c:v>
                </c:pt>
                <c:pt idx="1914">
                  <c:v>42695</c:v>
                </c:pt>
                <c:pt idx="1915">
                  <c:v>42696</c:v>
                </c:pt>
                <c:pt idx="1916">
                  <c:v>42697</c:v>
                </c:pt>
                <c:pt idx="1917">
                  <c:v>42698</c:v>
                </c:pt>
                <c:pt idx="1918">
                  <c:v>42699</c:v>
                </c:pt>
                <c:pt idx="1919">
                  <c:v>42702</c:v>
                </c:pt>
                <c:pt idx="1920">
                  <c:v>42703</c:v>
                </c:pt>
                <c:pt idx="1921">
                  <c:v>42704</c:v>
                </c:pt>
                <c:pt idx="1922">
                  <c:v>42705</c:v>
                </c:pt>
                <c:pt idx="1923">
                  <c:v>42706</c:v>
                </c:pt>
                <c:pt idx="1924">
                  <c:v>42709</c:v>
                </c:pt>
                <c:pt idx="1925">
                  <c:v>42710</c:v>
                </c:pt>
                <c:pt idx="1926">
                  <c:v>42711</c:v>
                </c:pt>
                <c:pt idx="1927">
                  <c:v>42712</c:v>
                </c:pt>
                <c:pt idx="1928">
                  <c:v>42713</c:v>
                </c:pt>
                <c:pt idx="1929">
                  <c:v>42716</c:v>
                </c:pt>
                <c:pt idx="1930">
                  <c:v>42717</c:v>
                </c:pt>
                <c:pt idx="1931">
                  <c:v>42718</c:v>
                </c:pt>
                <c:pt idx="1932">
                  <c:v>42719</c:v>
                </c:pt>
                <c:pt idx="1933">
                  <c:v>42720</c:v>
                </c:pt>
                <c:pt idx="1934">
                  <c:v>42723</c:v>
                </c:pt>
                <c:pt idx="1935">
                  <c:v>42724</c:v>
                </c:pt>
                <c:pt idx="1936">
                  <c:v>42725</c:v>
                </c:pt>
                <c:pt idx="1937">
                  <c:v>42726</c:v>
                </c:pt>
                <c:pt idx="1938">
                  <c:v>42727</c:v>
                </c:pt>
                <c:pt idx="1939">
                  <c:v>42730</c:v>
                </c:pt>
                <c:pt idx="1940">
                  <c:v>42731</c:v>
                </c:pt>
                <c:pt idx="1941">
                  <c:v>42732</c:v>
                </c:pt>
                <c:pt idx="1942">
                  <c:v>42733</c:v>
                </c:pt>
                <c:pt idx="1943">
                  <c:v>42734</c:v>
                </c:pt>
                <c:pt idx="1944">
                  <c:v>42738</c:v>
                </c:pt>
                <c:pt idx="1945">
                  <c:v>42739</c:v>
                </c:pt>
                <c:pt idx="1946">
                  <c:v>42740</c:v>
                </c:pt>
                <c:pt idx="1947">
                  <c:v>42741</c:v>
                </c:pt>
                <c:pt idx="1948">
                  <c:v>42744</c:v>
                </c:pt>
                <c:pt idx="1949">
                  <c:v>42745</c:v>
                </c:pt>
                <c:pt idx="1950">
                  <c:v>42746</c:v>
                </c:pt>
                <c:pt idx="1951">
                  <c:v>42747</c:v>
                </c:pt>
                <c:pt idx="1952">
                  <c:v>42748</c:v>
                </c:pt>
                <c:pt idx="1953">
                  <c:v>42751</c:v>
                </c:pt>
                <c:pt idx="1954">
                  <c:v>42752</c:v>
                </c:pt>
                <c:pt idx="1955">
                  <c:v>42753</c:v>
                </c:pt>
                <c:pt idx="1956">
                  <c:v>42754</c:v>
                </c:pt>
                <c:pt idx="1957">
                  <c:v>42755</c:v>
                </c:pt>
                <c:pt idx="1958">
                  <c:v>42758</c:v>
                </c:pt>
                <c:pt idx="1959">
                  <c:v>42759</c:v>
                </c:pt>
                <c:pt idx="1960">
                  <c:v>42760</c:v>
                </c:pt>
                <c:pt idx="1961">
                  <c:v>42761</c:v>
                </c:pt>
                <c:pt idx="1962">
                  <c:v>42769</c:v>
                </c:pt>
                <c:pt idx="1963">
                  <c:v>42772</c:v>
                </c:pt>
                <c:pt idx="1964">
                  <c:v>42773</c:v>
                </c:pt>
                <c:pt idx="1965">
                  <c:v>42774</c:v>
                </c:pt>
                <c:pt idx="1966">
                  <c:v>42775</c:v>
                </c:pt>
                <c:pt idx="1967">
                  <c:v>42776</c:v>
                </c:pt>
                <c:pt idx="1968">
                  <c:v>42779</c:v>
                </c:pt>
                <c:pt idx="1969">
                  <c:v>42780</c:v>
                </c:pt>
                <c:pt idx="1970">
                  <c:v>42781</c:v>
                </c:pt>
                <c:pt idx="1971">
                  <c:v>42782</c:v>
                </c:pt>
                <c:pt idx="1972">
                  <c:v>42783</c:v>
                </c:pt>
                <c:pt idx="1973">
                  <c:v>42786</c:v>
                </c:pt>
                <c:pt idx="1974">
                  <c:v>42787</c:v>
                </c:pt>
                <c:pt idx="1975">
                  <c:v>42788</c:v>
                </c:pt>
                <c:pt idx="1976">
                  <c:v>42789</c:v>
                </c:pt>
                <c:pt idx="1977">
                  <c:v>42790</c:v>
                </c:pt>
                <c:pt idx="1978">
                  <c:v>42793</c:v>
                </c:pt>
                <c:pt idx="1979">
                  <c:v>42794</c:v>
                </c:pt>
                <c:pt idx="1980">
                  <c:v>42795</c:v>
                </c:pt>
                <c:pt idx="1981">
                  <c:v>42796</c:v>
                </c:pt>
                <c:pt idx="1982">
                  <c:v>42797</c:v>
                </c:pt>
                <c:pt idx="1983">
                  <c:v>42800</c:v>
                </c:pt>
                <c:pt idx="1984">
                  <c:v>42801</c:v>
                </c:pt>
                <c:pt idx="1985">
                  <c:v>42802</c:v>
                </c:pt>
                <c:pt idx="1986">
                  <c:v>42803</c:v>
                </c:pt>
                <c:pt idx="1987">
                  <c:v>42804</c:v>
                </c:pt>
                <c:pt idx="1988">
                  <c:v>42807</c:v>
                </c:pt>
                <c:pt idx="1989">
                  <c:v>42808</c:v>
                </c:pt>
                <c:pt idx="1990">
                  <c:v>42809</c:v>
                </c:pt>
                <c:pt idx="1991">
                  <c:v>42810</c:v>
                </c:pt>
                <c:pt idx="1992">
                  <c:v>42811</c:v>
                </c:pt>
                <c:pt idx="1993">
                  <c:v>42814</c:v>
                </c:pt>
                <c:pt idx="1994">
                  <c:v>42815</c:v>
                </c:pt>
                <c:pt idx="1995">
                  <c:v>42816</c:v>
                </c:pt>
                <c:pt idx="1996">
                  <c:v>42817</c:v>
                </c:pt>
                <c:pt idx="1997">
                  <c:v>42818</c:v>
                </c:pt>
                <c:pt idx="1998">
                  <c:v>42821</c:v>
                </c:pt>
                <c:pt idx="1999">
                  <c:v>42822</c:v>
                </c:pt>
                <c:pt idx="2000">
                  <c:v>42823</c:v>
                </c:pt>
                <c:pt idx="2001">
                  <c:v>42824</c:v>
                </c:pt>
                <c:pt idx="2002">
                  <c:v>42825</c:v>
                </c:pt>
                <c:pt idx="2003">
                  <c:v>42830</c:v>
                </c:pt>
                <c:pt idx="2004">
                  <c:v>42831</c:v>
                </c:pt>
                <c:pt idx="2005">
                  <c:v>42832</c:v>
                </c:pt>
                <c:pt idx="2006">
                  <c:v>42835</c:v>
                </c:pt>
                <c:pt idx="2007">
                  <c:v>42836</c:v>
                </c:pt>
                <c:pt idx="2008">
                  <c:v>42837</c:v>
                </c:pt>
                <c:pt idx="2009">
                  <c:v>42838</c:v>
                </c:pt>
                <c:pt idx="2010">
                  <c:v>42839</c:v>
                </c:pt>
                <c:pt idx="2011">
                  <c:v>42842</c:v>
                </c:pt>
                <c:pt idx="2012">
                  <c:v>42843</c:v>
                </c:pt>
                <c:pt idx="2013">
                  <c:v>42844</c:v>
                </c:pt>
                <c:pt idx="2014">
                  <c:v>42845</c:v>
                </c:pt>
                <c:pt idx="2015">
                  <c:v>42846</c:v>
                </c:pt>
                <c:pt idx="2016">
                  <c:v>42849</c:v>
                </c:pt>
                <c:pt idx="2017">
                  <c:v>42850</c:v>
                </c:pt>
                <c:pt idx="2018">
                  <c:v>42851</c:v>
                </c:pt>
                <c:pt idx="2019">
                  <c:v>42852</c:v>
                </c:pt>
                <c:pt idx="2020">
                  <c:v>42853</c:v>
                </c:pt>
                <c:pt idx="2021">
                  <c:v>42857</c:v>
                </c:pt>
                <c:pt idx="2022">
                  <c:v>42858</c:v>
                </c:pt>
                <c:pt idx="2023">
                  <c:v>42859</c:v>
                </c:pt>
                <c:pt idx="2024">
                  <c:v>42860</c:v>
                </c:pt>
                <c:pt idx="2025">
                  <c:v>42863</c:v>
                </c:pt>
                <c:pt idx="2026">
                  <c:v>42864</c:v>
                </c:pt>
                <c:pt idx="2027">
                  <c:v>42865</c:v>
                </c:pt>
                <c:pt idx="2028">
                  <c:v>42866</c:v>
                </c:pt>
                <c:pt idx="2029">
                  <c:v>42867</c:v>
                </c:pt>
                <c:pt idx="2030">
                  <c:v>42870</c:v>
                </c:pt>
                <c:pt idx="2031">
                  <c:v>42871</c:v>
                </c:pt>
                <c:pt idx="2032">
                  <c:v>42872</c:v>
                </c:pt>
                <c:pt idx="2033">
                  <c:v>42873</c:v>
                </c:pt>
                <c:pt idx="2034">
                  <c:v>42874</c:v>
                </c:pt>
                <c:pt idx="2035">
                  <c:v>42877</c:v>
                </c:pt>
                <c:pt idx="2036">
                  <c:v>42878</c:v>
                </c:pt>
                <c:pt idx="2037">
                  <c:v>42879</c:v>
                </c:pt>
                <c:pt idx="2038">
                  <c:v>42880</c:v>
                </c:pt>
                <c:pt idx="2039">
                  <c:v>42881</c:v>
                </c:pt>
                <c:pt idx="2040">
                  <c:v>42886</c:v>
                </c:pt>
                <c:pt idx="2041">
                  <c:v>42887</c:v>
                </c:pt>
                <c:pt idx="2042">
                  <c:v>42888</c:v>
                </c:pt>
                <c:pt idx="2043">
                  <c:v>42891</c:v>
                </c:pt>
                <c:pt idx="2044">
                  <c:v>42892</c:v>
                </c:pt>
                <c:pt idx="2045">
                  <c:v>42893</c:v>
                </c:pt>
                <c:pt idx="2046">
                  <c:v>42894</c:v>
                </c:pt>
                <c:pt idx="2047">
                  <c:v>42895</c:v>
                </c:pt>
                <c:pt idx="2048">
                  <c:v>42898</c:v>
                </c:pt>
                <c:pt idx="2049">
                  <c:v>42899</c:v>
                </c:pt>
                <c:pt idx="2050">
                  <c:v>42900</c:v>
                </c:pt>
                <c:pt idx="2051">
                  <c:v>42901</c:v>
                </c:pt>
                <c:pt idx="2052">
                  <c:v>42902</c:v>
                </c:pt>
                <c:pt idx="2053">
                  <c:v>42905</c:v>
                </c:pt>
                <c:pt idx="2054">
                  <c:v>42906</c:v>
                </c:pt>
                <c:pt idx="2055">
                  <c:v>42907</c:v>
                </c:pt>
                <c:pt idx="2056">
                  <c:v>42908</c:v>
                </c:pt>
                <c:pt idx="2057">
                  <c:v>42909</c:v>
                </c:pt>
                <c:pt idx="2058">
                  <c:v>42912</c:v>
                </c:pt>
                <c:pt idx="2059">
                  <c:v>42913</c:v>
                </c:pt>
                <c:pt idx="2060">
                  <c:v>42914</c:v>
                </c:pt>
                <c:pt idx="2061">
                  <c:v>42915</c:v>
                </c:pt>
                <c:pt idx="2062">
                  <c:v>42916</c:v>
                </c:pt>
                <c:pt idx="2063">
                  <c:v>42919</c:v>
                </c:pt>
                <c:pt idx="2064">
                  <c:v>42920</c:v>
                </c:pt>
                <c:pt idx="2065">
                  <c:v>42921</c:v>
                </c:pt>
                <c:pt idx="2066">
                  <c:v>42922</c:v>
                </c:pt>
                <c:pt idx="2067">
                  <c:v>42923</c:v>
                </c:pt>
                <c:pt idx="2068">
                  <c:v>42926</c:v>
                </c:pt>
                <c:pt idx="2069">
                  <c:v>42927</c:v>
                </c:pt>
                <c:pt idx="2070">
                  <c:v>42928</c:v>
                </c:pt>
                <c:pt idx="2071">
                  <c:v>42929</c:v>
                </c:pt>
                <c:pt idx="2072">
                  <c:v>42930</c:v>
                </c:pt>
                <c:pt idx="2073">
                  <c:v>42933</c:v>
                </c:pt>
                <c:pt idx="2074">
                  <c:v>42934</c:v>
                </c:pt>
                <c:pt idx="2075">
                  <c:v>42935</c:v>
                </c:pt>
                <c:pt idx="2076">
                  <c:v>42936</c:v>
                </c:pt>
                <c:pt idx="2077">
                  <c:v>42937</c:v>
                </c:pt>
                <c:pt idx="2078">
                  <c:v>42940</c:v>
                </c:pt>
                <c:pt idx="2079">
                  <c:v>42941</c:v>
                </c:pt>
                <c:pt idx="2080">
                  <c:v>42942</c:v>
                </c:pt>
                <c:pt idx="2081">
                  <c:v>42943</c:v>
                </c:pt>
                <c:pt idx="2082">
                  <c:v>42944</c:v>
                </c:pt>
                <c:pt idx="2083">
                  <c:v>42947</c:v>
                </c:pt>
                <c:pt idx="2084">
                  <c:v>42948</c:v>
                </c:pt>
                <c:pt idx="2085">
                  <c:v>42949</c:v>
                </c:pt>
                <c:pt idx="2086">
                  <c:v>42950</c:v>
                </c:pt>
                <c:pt idx="2087">
                  <c:v>42951</c:v>
                </c:pt>
                <c:pt idx="2088">
                  <c:v>42954</c:v>
                </c:pt>
                <c:pt idx="2089">
                  <c:v>42955</c:v>
                </c:pt>
                <c:pt idx="2090">
                  <c:v>42956</c:v>
                </c:pt>
                <c:pt idx="2091">
                  <c:v>42957</c:v>
                </c:pt>
                <c:pt idx="2092">
                  <c:v>42958</c:v>
                </c:pt>
                <c:pt idx="2093">
                  <c:v>42961</c:v>
                </c:pt>
                <c:pt idx="2094">
                  <c:v>42962</c:v>
                </c:pt>
                <c:pt idx="2095">
                  <c:v>42963</c:v>
                </c:pt>
                <c:pt idx="2096">
                  <c:v>42964</c:v>
                </c:pt>
                <c:pt idx="2097">
                  <c:v>42965</c:v>
                </c:pt>
                <c:pt idx="2098">
                  <c:v>42968</c:v>
                </c:pt>
                <c:pt idx="2099">
                  <c:v>42969</c:v>
                </c:pt>
                <c:pt idx="2100">
                  <c:v>42970</c:v>
                </c:pt>
                <c:pt idx="2101">
                  <c:v>42971</c:v>
                </c:pt>
                <c:pt idx="2102">
                  <c:v>42972</c:v>
                </c:pt>
                <c:pt idx="2103">
                  <c:v>42975</c:v>
                </c:pt>
                <c:pt idx="2104">
                  <c:v>42976</c:v>
                </c:pt>
                <c:pt idx="2105">
                  <c:v>42977</c:v>
                </c:pt>
                <c:pt idx="2106">
                  <c:v>42978</c:v>
                </c:pt>
                <c:pt idx="2107">
                  <c:v>42979</c:v>
                </c:pt>
                <c:pt idx="2108">
                  <c:v>42982</c:v>
                </c:pt>
                <c:pt idx="2109">
                  <c:v>42983</c:v>
                </c:pt>
                <c:pt idx="2110">
                  <c:v>42984</c:v>
                </c:pt>
                <c:pt idx="2111">
                  <c:v>42985</c:v>
                </c:pt>
                <c:pt idx="2112">
                  <c:v>42986</c:v>
                </c:pt>
                <c:pt idx="2113">
                  <c:v>42989</c:v>
                </c:pt>
                <c:pt idx="2114">
                  <c:v>42990</c:v>
                </c:pt>
                <c:pt idx="2115">
                  <c:v>42991</c:v>
                </c:pt>
                <c:pt idx="2116">
                  <c:v>42992</c:v>
                </c:pt>
                <c:pt idx="2117">
                  <c:v>42993</c:v>
                </c:pt>
                <c:pt idx="2118">
                  <c:v>42996</c:v>
                </c:pt>
                <c:pt idx="2119">
                  <c:v>42997</c:v>
                </c:pt>
                <c:pt idx="2120">
                  <c:v>42998</c:v>
                </c:pt>
                <c:pt idx="2121">
                  <c:v>42999</c:v>
                </c:pt>
                <c:pt idx="2122">
                  <c:v>43000</c:v>
                </c:pt>
                <c:pt idx="2123">
                  <c:v>43003</c:v>
                </c:pt>
                <c:pt idx="2124">
                  <c:v>43004</c:v>
                </c:pt>
                <c:pt idx="2125">
                  <c:v>43005</c:v>
                </c:pt>
                <c:pt idx="2126">
                  <c:v>43006</c:v>
                </c:pt>
                <c:pt idx="2127">
                  <c:v>43007</c:v>
                </c:pt>
                <c:pt idx="2128">
                  <c:v>43017</c:v>
                </c:pt>
                <c:pt idx="2129">
                  <c:v>43018</c:v>
                </c:pt>
                <c:pt idx="2130">
                  <c:v>43019</c:v>
                </c:pt>
                <c:pt idx="2131">
                  <c:v>43020</c:v>
                </c:pt>
                <c:pt idx="2132">
                  <c:v>43021</c:v>
                </c:pt>
                <c:pt idx="2133">
                  <c:v>43024</c:v>
                </c:pt>
                <c:pt idx="2134">
                  <c:v>43025</c:v>
                </c:pt>
                <c:pt idx="2135">
                  <c:v>43026</c:v>
                </c:pt>
                <c:pt idx="2136">
                  <c:v>43027</c:v>
                </c:pt>
                <c:pt idx="2137">
                  <c:v>43028</c:v>
                </c:pt>
                <c:pt idx="2138">
                  <c:v>43031</c:v>
                </c:pt>
                <c:pt idx="2139">
                  <c:v>43032</c:v>
                </c:pt>
                <c:pt idx="2140">
                  <c:v>43033</c:v>
                </c:pt>
                <c:pt idx="2141">
                  <c:v>43034</c:v>
                </c:pt>
                <c:pt idx="2142">
                  <c:v>43035</c:v>
                </c:pt>
                <c:pt idx="2143">
                  <c:v>43038</c:v>
                </c:pt>
                <c:pt idx="2144">
                  <c:v>43039</c:v>
                </c:pt>
                <c:pt idx="2145">
                  <c:v>43040</c:v>
                </c:pt>
                <c:pt idx="2146">
                  <c:v>43041</c:v>
                </c:pt>
                <c:pt idx="2147">
                  <c:v>43042</c:v>
                </c:pt>
                <c:pt idx="2148">
                  <c:v>43045</c:v>
                </c:pt>
                <c:pt idx="2149">
                  <c:v>43046</c:v>
                </c:pt>
                <c:pt idx="2150">
                  <c:v>43047</c:v>
                </c:pt>
                <c:pt idx="2151">
                  <c:v>43048</c:v>
                </c:pt>
                <c:pt idx="2152">
                  <c:v>43049</c:v>
                </c:pt>
                <c:pt idx="2153">
                  <c:v>43052</c:v>
                </c:pt>
                <c:pt idx="2154">
                  <c:v>43053</c:v>
                </c:pt>
                <c:pt idx="2155">
                  <c:v>43054</c:v>
                </c:pt>
                <c:pt idx="2156">
                  <c:v>43055</c:v>
                </c:pt>
                <c:pt idx="2157">
                  <c:v>43056</c:v>
                </c:pt>
                <c:pt idx="2158">
                  <c:v>43059</c:v>
                </c:pt>
                <c:pt idx="2159">
                  <c:v>43060</c:v>
                </c:pt>
                <c:pt idx="2160">
                  <c:v>43061</c:v>
                </c:pt>
                <c:pt idx="2161">
                  <c:v>43062</c:v>
                </c:pt>
                <c:pt idx="2162">
                  <c:v>43063</c:v>
                </c:pt>
                <c:pt idx="2163">
                  <c:v>43066</c:v>
                </c:pt>
                <c:pt idx="2164">
                  <c:v>43067</c:v>
                </c:pt>
                <c:pt idx="2165">
                  <c:v>43068</c:v>
                </c:pt>
                <c:pt idx="2166">
                  <c:v>43069</c:v>
                </c:pt>
                <c:pt idx="2167">
                  <c:v>43070</c:v>
                </c:pt>
                <c:pt idx="2168">
                  <c:v>43073</c:v>
                </c:pt>
                <c:pt idx="2169">
                  <c:v>43074</c:v>
                </c:pt>
                <c:pt idx="2170">
                  <c:v>43075</c:v>
                </c:pt>
                <c:pt idx="2171">
                  <c:v>43076</c:v>
                </c:pt>
                <c:pt idx="2172">
                  <c:v>43077</c:v>
                </c:pt>
                <c:pt idx="2173">
                  <c:v>43080</c:v>
                </c:pt>
                <c:pt idx="2174">
                  <c:v>43081</c:v>
                </c:pt>
                <c:pt idx="2175">
                  <c:v>43082</c:v>
                </c:pt>
                <c:pt idx="2176">
                  <c:v>43083</c:v>
                </c:pt>
                <c:pt idx="2177">
                  <c:v>43084</c:v>
                </c:pt>
                <c:pt idx="2178">
                  <c:v>43087</c:v>
                </c:pt>
                <c:pt idx="2179">
                  <c:v>43088</c:v>
                </c:pt>
                <c:pt idx="2180">
                  <c:v>43089</c:v>
                </c:pt>
                <c:pt idx="2181">
                  <c:v>43090</c:v>
                </c:pt>
                <c:pt idx="2182">
                  <c:v>43091</c:v>
                </c:pt>
                <c:pt idx="2183">
                  <c:v>43094</c:v>
                </c:pt>
                <c:pt idx="2184">
                  <c:v>43095</c:v>
                </c:pt>
                <c:pt idx="2185">
                  <c:v>43096</c:v>
                </c:pt>
                <c:pt idx="2186">
                  <c:v>43097</c:v>
                </c:pt>
                <c:pt idx="2187">
                  <c:v>43098</c:v>
                </c:pt>
                <c:pt idx="2188">
                  <c:v>43102</c:v>
                </c:pt>
                <c:pt idx="2189">
                  <c:v>43103</c:v>
                </c:pt>
                <c:pt idx="2190">
                  <c:v>43104</c:v>
                </c:pt>
                <c:pt idx="2191">
                  <c:v>43105</c:v>
                </c:pt>
                <c:pt idx="2192">
                  <c:v>43108</c:v>
                </c:pt>
                <c:pt idx="2193">
                  <c:v>43109</c:v>
                </c:pt>
                <c:pt idx="2194">
                  <c:v>43110</c:v>
                </c:pt>
                <c:pt idx="2195">
                  <c:v>43111</c:v>
                </c:pt>
                <c:pt idx="2196">
                  <c:v>43112</c:v>
                </c:pt>
                <c:pt idx="2197">
                  <c:v>43115</c:v>
                </c:pt>
                <c:pt idx="2198">
                  <c:v>43116</c:v>
                </c:pt>
                <c:pt idx="2199">
                  <c:v>43117</c:v>
                </c:pt>
                <c:pt idx="2200">
                  <c:v>43118</c:v>
                </c:pt>
                <c:pt idx="2201">
                  <c:v>43119</c:v>
                </c:pt>
                <c:pt idx="2202">
                  <c:v>43122</c:v>
                </c:pt>
                <c:pt idx="2203">
                  <c:v>43123</c:v>
                </c:pt>
                <c:pt idx="2204">
                  <c:v>43124</c:v>
                </c:pt>
                <c:pt idx="2205">
                  <c:v>43125</c:v>
                </c:pt>
                <c:pt idx="2206">
                  <c:v>43126</c:v>
                </c:pt>
                <c:pt idx="2207">
                  <c:v>43129</c:v>
                </c:pt>
                <c:pt idx="2208">
                  <c:v>43130</c:v>
                </c:pt>
                <c:pt idx="2209">
                  <c:v>43131</c:v>
                </c:pt>
                <c:pt idx="2210">
                  <c:v>43132</c:v>
                </c:pt>
                <c:pt idx="2211">
                  <c:v>43133</c:v>
                </c:pt>
                <c:pt idx="2212">
                  <c:v>43136</c:v>
                </c:pt>
                <c:pt idx="2213">
                  <c:v>43137</c:v>
                </c:pt>
                <c:pt idx="2214">
                  <c:v>43138</c:v>
                </c:pt>
                <c:pt idx="2215">
                  <c:v>43139</c:v>
                </c:pt>
                <c:pt idx="2216">
                  <c:v>43140</c:v>
                </c:pt>
                <c:pt idx="2217">
                  <c:v>43143</c:v>
                </c:pt>
                <c:pt idx="2218">
                  <c:v>43144</c:v>
                </c:pt>
                <c:pt idx="2219">
                  <c:v>43145</c:v>
                </c:pt>
                <c:pt idx="2220">
                  <c:v>43153</c:v>
                </c:pt>
                <c:pt idx="2221">
                  <c:v>43154</c:v>
                </c:pt>
                <c:pt idx="2222">
                  <c:v>43157</c:v>
                </c:pt>
                <c:pt idx="2223">
                  <c:v>43158</c:v>
                </c:pt>
                <c:pt idx="2224">
                  <c:v>43159</c:v>
                </c:pt>
                <c:pt idx="2225">
                  <c:v>43160</c:v>
                </c:pt>
                <c:pt idx="2226">
                  <c:v>43161</c:v>
                </c:pt>
                <c:pt idx="2227">
                  <c:v>43164</c:v>
                </c:pt>
                <c:pt idx="2228">
                  <c:v>43165</c:v>
                </c:pt>
                <c:pt idx="2229">
                  <c:v>43166</c:v>
                </c:pt>
                <c:pt idx="2230">
                  <c:v>43167</c:v>
                </c:pt>
                <c:pt idx="2231">
                  <c:v>43168</c:v>
                </c:pt>
                <c:pt idx="2232">
                  <c:v>43171</c:v>
                </c:pt>
                <c:pt idx="2233">
                  <c:v>43172</c:v>
                </c:pt>
                <c:pt idx="2234">
                  <c:v>43173</c:v>
                </c:pt>
                <c:pt idx="2235">
                  <c:v>43174</c:v>
                </c:pt>
                <c:pt idx="2236">
                  <c:v>43175</c:v>
                </c:pt>
                <c:pt idx="2237">
                  <c:v>43178</c:v>
                </c:pt>
                <c:pt idx="2238">
                  <c:v>43179</c:v>
                </c:pt>
                <c:pt idx="2239">
                  <c:v>43180</c:v>
                </c:pt>
                <c:pt idx="2240">
                  <c:v>43181</c:v>
                </c:pt>
                <c:pt idx="2241">
                  <c:v>43182</c:v>
                </c:pt>
                <c:pt idx="2242">
                  <c:v>43185</c:v>
                </c:pt>
                <c:pt idx="2243">
                  <c:v>43186</c:v>
                </c:pt>
                <c:pt idx="2244">
                  <c:v>43187</c:v>
                </c:pt>
                <c:pt idx="2245">
                  <c:v>43188</c:v>
                </c:pt>
                <c:pt idx="2246">
                  <c:v>43189</c:v>
                </c:pt>
                <c:pt idx="2247">
                  <c:v>43192</c:v>
                </c:pt>
                <c:pt idx="2248">
                  <c:v>43193</c:v>
                </c:pt>
                <c:pt idx="2249">
                  <c:v>43194</c:v>
                </c:pt>
                <c:pt idx="2250">
                  <c:v>43199</c:v>
                </c:pt>
                <c:pt idx="2251">
                  <c:v>43200</c:v>
                </c:pt>
                <c:pt idx="2252">
                  <c:v>43201</c:v>
                </c:pt>
                <c:pt idx="2253">
                  <c:v>43202</c:v>
                </c:pt>
                <c:pt idx="2254">
                  <c:v>43203</c:v>
                </c:pt>
                <c:pt idx="2255">
                  <c:v>43206</c:v>
                </c:pt>
                <c:pt idx="2256">
                  <c:v>43207</c:v>
                </c:pt>
                <c:pt idx="2257">
                  <c:v>43208</c:v>
                </c:pt>
                <c:pt idx="2258">
                  <c:v>43209</c:v>
                </c:pt>
                <c:pt idx="2259">
                  <c:v>43210</c:v>
                </c:pt>
                <c:pt idx="2260">
                  <c:v>43213</c:v>
                </c:pt>
                <c:pt idx="2261">
                  <c:v>43214</c:v>
                </c:pt>
                <c:pt idx="2262">
                  <c:v>43215</c:v>
                </c:pt>
                <c:pt idx="2263">
                  <c:v>43216</c:v>
                </c:pt>
                <c:pt idx="2264">
                  <c:v>43217</c:v>
                </c:pt>
                <c:pt idx="2265">
                  <c:v>43222</c:v>
                </c:pt>
                <c:pt idx="2266">
                  <c:v>43223</c:v>
                </c:pt>
                <c:pt idx="2267">
                  <c:v>43224</c:v>
                </c:pt>
                <c:pt idx="2268">
                  <c:v>43227</c:v>
                </c:pt>
                <c:pt idx="2269">
                  <c:v>43228</c:v>
                </c:pt>
                <c:pt idx="2270">
                  <c:v>43229</c:v>
                </c:pt>
                <c:pt idx="2271">
                  <c:v>43230</c:v>
                </c:pt>
                <c:pt idx="2272">
                  <c:v>43231</c:v>
                </c:pt>
                <c:pt idx="2273">
                  <c:v>43234</c:v>
                </c:pt>
                <c:pt idx="2274">
                  <c:v>43235</c:v>
                </c:pt>
                <c:pt idx="2275">
                  <c:v>43236</c:v>
                </c:pt>
                <c:pt idx="2276">
                  <c:v>43237</c:v>
                </c:pt>
                <c:pt idx="2277">
                  <c:v>43238</c:v>
                </c:pt>
                <c:pt idx="2278">
                  <c:v>43241</c:v>
                </c:pt>
                <c:pt idx="2279">
                  <c:v>43242</c:v>
                </c:pt>
                <c:pt idx="2280">
                  <c:v>43243</c:v>
                </c:pt>
                <c:pt idx="2281">
                  <c:v>43244</c:v>
                </c:pt>
                <c:pt idx="2282">
                  <c:v>43245</c:v>
                </c:pt>
                <c:pt idx="2283">
                  <c:v>43248</c:v>
                </c:pt>
                <c:pt idx="2284">
                  <c:v>43249</c:v>
                </c:pt>
                <c:pt idx="2285">
                  <c:v>43250</c:v>
                </c:pt>
                <c:pt idx="2286">
                  <c:v>43251</c:v>
                </c:pt>
                <c:pt idx="2287">
                  <c:v>43252</c:v>
                </c:pt>
                <c:pt idx="2288">
                  <c:v>43255</c:v>
                </c:pt>
                <c:pt idx="2289">
                  <c:v>43256</c:v>
                </c:pt>
                <c:pt idx="2290">
                  <c:v>43257</c:v>
                </c:pt>
                <c:pt idx="2291">
                  <c:v>43258</c:v>
                </c:pt>
                <c:pt idx="2292">
                  <c:v>43259</c:v>
                </c:pt>
                <c:pt idx="2293">
                  <c:v>43262</c:v>
                </c:pt>
                <c:pt idx="2294">
                  <c:v>43263</c:v>
                </c:pt>
                <c:pt idx="2295">
                  <c:v>43264</c:v>
                </c:pt>
                <c:pt idx="2296">
                  <c:v>43265</c:v>
                </c:pt>
                <c:pt idx="2297">
                  <c:v>43266</c:v>
                </c:pt>
                <c:pt idx="2298">
                  <c:v>43270</c:v>
                </c:pt>
                <c:pt idx="2299">
                  <c:v>43271</c:v>
                </c:pt>
                <c:pt idx="2300">
                  <c:v>43272</c:v>
                </c:pt>
                <c:pt idx="2301">
                  <c:v>43273</c:v>
                </c:pt>
                <c:pt idx="2302">
                  <c:v>43276</c:v>
                </c:pt>
                <c:pt idx="2303">
                  <c:v>43277</c:v>
                </c:pt>
                <c:pt idx="2304">
                  <c:v>43278</c:v>
                </c:pt>
                <c:pt idx="2305">
                  <c:v>43279</c:v>
                </c:pt>
                <c:pt idx="2306">
                  <c:v>43280</c:v>
                </c:pt>
                <c:pt idx="2307">
                  <c:v>43283</c:v>
                </c:pt>
                <c:pt idx="2308">
                  <c:v>43284</c:v>
                </c:pt>
                <c:pt idx="2309">
                  <c:v>43285</c:v>
                </c:pt>
                <c:pt idx="2310">
                  <c:v>43286</c:v>
                </c:pt>
                <c:pt idx="2311">
                  <c:v>43287</c:v>
                </c:pt>
                <c:pt idx="2312">
                  <c:v>43290</c:v>
                </c:pt>
                <c:pt idx="2313">
                  <c:v>43291</c:v>
                </c:pt>
                <c:pt idx="2314">
                  <c:v>43292</c:v>
                </c:pt>
                <c:pt idx="2315">
                  <c:v>43293</c:v>
                </c:pt>
                <c:pt idx="2316">
                  <c:v>43294</c:v>
                </c:pt>
                <c:pt idx="2317">
                  <c:v>43297</c:v>
                </c:pt>
                <c:pt idx="2318">
                  <c:v>43298</c:v>
                </c:pt>
                <c:pt idx="2319">
                  <c:v>43299</c:v>
                </c:pt>
                <c:pt idx="2320">
                  <c:v>43300</c:v>
                </c:pt>
                <c:pt idx="2321">
                  <c:v>43301</c:v>
                </c:pt>
                <c:pt idx="2322">
                  <c:v>43304</c:v>
                </c:pt>
                <c:pt idx="2323">
                  <c:v>43305</c:v>
                </c:pt>
                <c:pt idx="2324">
                  <c:v>43306</c:v>
                </c:pt>
                <c:pt idx="2325">
                  <c:v>43307</c:v>
                </c:pt>
                <c:pt idx="2326">
                  <c:v>43308</c:v>
                </c:pt>
                <c:pt idx="2327">
                  <c:v>43311</c:v>
                </c:pt>
                <c:pt idx="2328">
                  <c:v>43312</c:v>
                </c:pt>
                <c:pt idx="2329">
                  <c:v>43313</c:v>
                </c:pt>
                <c:pt idx="2330">
                  <c:v>43314</c:v>
                </c:pt>
                <c:pt idx="2331">
                  <c:v>43315</c:v>
                </c:pt>
                <c:pt idx="2332">
                  <c:v>43318</c:v>
                </c:pt>
                <c:pt idx="2333">
                  <c:v>43319</c:v>
                </c:pt>
                <c:pt idx="2334">
                  <c:v>43320</c:v>
                </c:pt>
                <c:pt idx="2335">
                  <c:v>43321</c:v>
                </c:pt>
                <c:pt idx="2336">
                  <c:v>43322</c:v>
                </c:pt>
                <c:pt idx="2337">
                  <c:v>43325</c:v>
                </c:pt>
                <c:pt idx="2338">
                  <c:v>43326</c:v>
                </c:pt>
                <c:pt idx="2339">
                  <c:v>43327</c:v>
                </c:pt>
                <c:pt idx="2340">
                  <c:v>43328</c:v>
                </c:pt>
                <c:pt idx="2341">
                  <c:v>43329</c:v>
                </c:pt>
                <c:pt idx="2342">
                  <c:v>43332</c:v>
                </c:pt>
                <c:pt idx="2343">
                  <c:v>43333</c:v>
                </c:pt>
                <c:pt idx="2344">
                  <c:v>43334</c:v>
                </c:pt>
                <c:pt idx="2345">
                  <c:v>43335</c:v>
                </c:pt>
                <c:pt idx="2346">
                  <c:v>43336</c:v>
                </c:pt>
                <c:pt idx="2347">
                  <c:v>43339</c:v>
                </c:pt>
                <c:pt idx="2348">
                  <c:v>43340</c:v>
                </c:pt>
                <c:pt idx="2349">
                  <c:v>43341</c:v>
                </c:pt>
                <c:pt idx="2350">
                  <c:v>43342</c:v>
                </c:pt>
                <c:pt idx="2351">
                  <c:v>43343</c:v>
                </c:pt>
                <c:pt idx="2352">
                  <c:v>43346</c:v>
                </c:pt>
                <c:pt idx="2353">
                  <c:v>43347</c:v>
                </c:pt>
                <c:pt idx="2354">
                  <c:v>43348</c:v>
                </c:pt>
                <c:pt idx="2355">
                  <c:v>43349</c:v>
                </c:pt>
                <c:pt idx="2356">
                  <c:v>43350</c:v>
                </c:pt>
                <c:pt idx="2357">
                  <c:v>43353</c:v>
                </c:pt>
                <c:pt idx="2358">
                  <c:v>43354</c:v>
                </c:pt>
                <c:pt idx="2359">
                  <c:v>43355</c:v>
                </c:pt>
                <c:pt idx="2360">
                  <c:v>43356</c:v>
                </c:pt>
                <c:pt idx="2361">
                  <c:v>43357</c:v>
                </c:pt>
                <c:pt idx="2362">
                  <c:v>43360</c:v>
                </c:pt>
                <c:pt idx="2363">
                  <c:v>43361</c:v>
                </c:pt>
                <c:pt idx="2364">
                  <c:v>43362</c:v>
                </c:pt>
                <c:pt idx="2365">
                  <c:v>43363</c:v>
                </c:pt>
                <c:pt idx="2366">
                  <c:v>43364</c:v>
                </c:pt>
                <c:pt idx="2367">
                  <c:v>43368</c:v>
                </c:pt>
                <c:pt idx="2368">
                  <c:v>43369</c:v>
                </c:pt>
                <c:pt idx="2369">
                  <c:v>43370</c:v>
                </c:pt>
                <c:pt idx="2370">
                  <c:v>43371</c:v>
                </c:pt>
                <c:pt idx="2371">
                  <c:v>43381</c:v>
                </c:pt>
                <c:pt idx="2372">
                  <c:v>43382</c:v>
                </c:pt>
                <c:pt idx="2373">
                  <c:v>43383</c:v>
                </c:pt>
                <c:pt idx="2374">
                  <c:v>43384</c:v>
                </c:pt>
                <c:pt idx="2375">
                  <c:v>43385</c:v>
                </c:pt>
                <c:pt idx="2376">
                  <c:v>43388</c:v>
                </c:pt>
                <c:pt idx="2377">
                  <c:v>43389</c:v>
                </c:pt>
                <c:pt idx="2378">
                  <c:v>43390</c:v>
                </c:pt>
                <c:pt idx="2379">
                  <c:v>43391</c:v>
                </c:pt>
                <c:pt idx="2380">
                  <c:v>43392</c:v>
                </c:pt>
                <c:pt idx="2381">
                  <c:v>43395</c:v>
                </c:pt>
                <c:pt idx="2382">
                  <c:v>43396</c:v>
                </c:pt>
                <c:pt idx="2383">
                  <c:v>43397</c:v>
                </c:pt>
                <c:pt idx="2384">
                  <c:v>43398</c:v>
                </c:pt>
                <c:pt idx="2385">
                  <c:v>43399</c:v>
                </c:pt>
                <c:pt idx="2386">
                  <c:v>43402</c:v>
                </c:pt>
                <c:pt idx="2387">
                  <c:v>43403</c:v>
                </c:pt>
                <c:pt idx="2388">
                  <c:v>43404</c:v>
                </c:pt>
                <c:pt idx="2389">
                  <c:v>43405</c:v>
                </c:pt>
                <c:pt idx="2390">
                  <c:v>43406</c:v>
                </c:pt>
                <c:pt idx="2391">
                  <c:v>43409</c:v>
                </c:pt>
                <c:pt idx="2392">
                  <c:v>43410</c:v>
                </c:pt>
                <c:pt idx="2393">
                  <c:v>43411</c:v>
                </c:pt>
                <c:pt idx="2394">
                  <c:v>43412</c:v>
                </c:pt>
                <c:pt idx="2395">
                  <c:v>43413</c:v>
                </c:pt>
                <c:pt idx="2396">
                  <c:v>43416</c:v>
                </c:pt>
                <c:pt idx="2397">
                  <c:v>43417</c:v>
                </c:pt>
                <c:pt idx="2398">
                  <c:v>43418</c:v>
                </c:pt>
                <c:pt idx="2399">
                  <c:v>43419</c:v>
                </c:pt>
                <c:pt idx="2400">
                  <c:v>43420</c:v>
                </c:pt>
                <c:pt idx="2401">
                  <c:v>43423</c:v>
                </c:pt>
                <c:pt idx="2402">
                  <c:v>43424</c:v>
                </c:pt>
                <c:pt idx="2403">
                  <c:v>43425</c:v>
                </c:pt>
                <c:pt idx="2404">
                  <c:v>43426</c:v>
                </c:pt>
                <c:pt idx="2405">
                  <c:v>43427</c:v>
                </c:pt>
                <c:pt idx="2406">
                  <c:v>43430</c:v>
                </c:pt>
                <c:pt idx="2407">
                  <c:v>43431</c:v>
                </c:pt>
                <c:pt idx="2408">
                  <c:v>43432</c:v>
                </c:pt>
                <c:pt idx="2409">
                  <c:v>43433</c:v>
                </c:pt>
                <c:pt idx="2410">
                  <c:v>43434</c:v>
                </c:pt>
                <c:pt idx="2411">
                  <c:v>43437</c:v>
                </c:pt>
                <c:pt idx="2412">
                  <c:v>43438</c:v>
                </c:pt>
                <c:pt idx="2413">
                  <c:v>43439</c:v>
                </c:pt>
                <c:pt idx="2414">
                  <c:v>43440</c:v>
                </c:pt>
                <c:pt idx="2415">
                  <c:v>43441</c:v>
                </c:pt>
                <c:pt idx="2416">
                  <c:v>43444</c:v>
                </c:pt>
                <c:pt idx="2417">
                  <c:v>43445</c:v>
                </c:pt>
                <c:pt idx="2418">
                  <c:v>43446</c:v>
                </c:pt>
                <c:pt idx="2419">
                  <c:v>43447</c:v>
                </c:pt>
                <c:pt idx="2420">
                  <c:v>43448</c:v>
                </c:pt>
                <c:pt idx="2421">
                  <c:v>43451</c:v>
                </c:pt>
                <c:pt idx="2422">
                  <c:v>43452</c:v>
                </c:pt>
                <c:pt idx="2423">
                  <c:v>43453</c:v>
                </c:pt>
                <c:pt idx="2424">
                  <c:v>43454</c:v>
                </c:pt>
                <c:pt idx="2425">
                  <c:v>43455</c:v>
                </c:pt>
                <c:pt idx="2426">
                  <c:v>43458</c:v>
                </c:pt>
                <c:pt idx="2427">
                  <c:v>43459</c:v>
                </c:pt>
                <c:pt idx="2428">
                  <c:v>43460</c:v>
                </c:pt>
                <c:pt idx="2429">
                  <c:v>43461</c:v>
                </c:pt>
                <c:pt idx="2430">
                  <c:v>43462</c:v>
                </c:pt>
                <c:pt idx="2431">
                  <c:v>43467</c:v>
                </c:pt>
                <c:pt idx="2432">
                  <c:v>43468</c:v>
                </c:pt>
                <c:pt idx="2433">
                  <c:v>43469</c:v>
                </c:pt>
                <c:pt idx="2434">
                  <c:v>43472</c:v>
                </c:pt>
                <c:pt idx="2435">
                  <c:v>43473</c:v>
                </c:pt>
                <c:pt idx="2436">
                  <c:v>43474</c:v>
                </c:pt>
                <c:pt idx="2437">
                  <c:v>43475</c:v>
                </c:pt>
                <c:pt idx="2438">
                  <c:v>43476</c:v>
                </c:pt>
                <c:pt idx="2439">
                  <c:v>43479</c:v>
                </c:pt>
                <c:pt idx="2440">
                  <c:v>43480</c:v>
                </c:pt>
                <c:pt idx="2441">
                  <c:v>43481</c:v>
                </c:pt>
                <c:pt idx="2442">
                  <c:v>43482</c:v>
                </c:pt>
                <c:pt idx="2443">
                  <c:v>43483</c:v>
                </c:pt>
                <c:pt idx="2444">
                  <c:v>43486</c:v>
                </c:pt>
                <c:pt idx="2445">
                  <c:v>43487</c:v>
                </c:pt>
                <c:pt idx="2446">
                  <c:v>43488</c:v>
                </c:pt>
                <c:pt idx="2447">
                  <c:v>43489</c:v>
                </c:pt>
                <c:pt idx="2448">
                  <c:v>43490</c:v>
                </c:pt>
                <c:pt idx="2449">
                  <c:v>43493</c:v>
                </c:pt>
                <c:pt idx="2450">
                  <c:v>43494</c:v>
                </c:pt>
                <c:pt idx="2451">
                  <c:v>43495</c:v>
                </c:pt>
                <c:pt idx="2452">
                  <c:v>43496</c:v>
                </c:pt>
                <c:pt idx="2453">
                  <c:v>43497</c:v>
                </c:pt>
                <c:pt idx="2454">
                  <c:v>43507</c:v>
                </c:pt>
                <c:pt idx="2455">
                  <c:v>43508</c:v>
                </c:pt>
                <c:pt idx="2456">
                  <c:v>43509</c:v>
                </c:pt>
                <c:pt idx="2457">
                  <c:v>43510</c:v>
                </c:pt>
                <c:pt idx="2458">
                  <c:v>43511</c:v>
                </c:pt>
                <c:pt idx="2459">
                  <c:v>43514</c:v>
                </c:pt>
                <c:pt idx="2460">
                  <c:v>43515</c:v>
                </c:pt>
                <c:pt idx="2461">
                  <c:v>43516</c:v>
                </c:pt>
                <c:pt idx="2462">
                  <c:v>43517</c:v>
                </c:pt>
                <c:pt idx="2463">
                  <c:v>43518</c:v>
                </c:pt>
                <c:pt idx="2464">
                  <c:v>43521</c:v>
                </c:pt>
                <c:pt idx="2465">
                  <c:v>43522</c:v>
                </c:pt>
                <c:pt idx="2466">
                  <c:v>43523</c:v>
                </c:pt>
                <c:pt idx="2467">
                  <c:v>43524</c:v>
                </c:pt>
                <c:pt idx="2468">
                  <c:v>43525</c:v>
                </c:pt>
                <c:pt idx="2469">
                  <c:v>43528</c:v>
                </c:pt>
                <c:pt idx="2470">
                  <c:v>43529</c:v>
                </c:pt>
                <c:pt idx="2471">
                  <c:v>43530</c:v>
                </c:pt>
                <c:pt idx="2472">
                  <c:v>43531</c:v>
                </c:pt>
                <c:pt idx="2473">
                  <c:v>43532</c:v>
                </c:pt>
                <c:pt idx="2474">
                  <c:v>43535</c:v>
                </c:pt>
                <c:pt idx="2475">
                  <c:v>43536</c:v>
                </c:pt>
                <c:pt idx="2476">
                  <c:v>43537</c:v>
                </c:pt>
                <c:pt idx="2477">
                  <c:v>43538</c:v>
                </c:pt>
                <c:pt idx="2478">
                  <c:v>43539</c:v>
                </c:pt>
                <c:pt idx="2479">
                  <c:v>43542</c:v>
                </c:pt>
                <c:pt idx="2480">
                  <c:v>43543</c:v>
                </c:pt>
                <c:pt idx="2481">
                  <c:v>43544</c:v>
                </c:pt>
                <c:pt idx="2482">
                  <c:v>43545</c:v>
                </c:pt>
                <c:pt idx="2483">
                  <c:v>43546</c:v>
                </c:pt>
                <c:pt idx="2484">
                  <c:v>43549</c:v>
                </c:pt>
                <c:pt idx="2485">
                  <c:v>43550</c:v>
                </c:pt>
                <c:pt idx="2486">
                  <c:v>43551</c:v>
                </c:pt>
                <c:pt idx="2487">
                  <c:v>43552</c:v>
                </c:pt>
                <c:pt idx="2488">
                  <c:v>43553</c:v>
                </c:pt>
                <c:pt idx="2489">
                  <c:v>43556</c:v>
                </c:pt>
                <c:pt idx="2490">
                  <c:v>43557</c:v>
                </c:pt>
                <c:pt idx="2491">
                  <c:v>43558</c:v>
                </c:pt>
                <c:pt idx="2492">
                  <c:v>43559</c:v>
                </c:pt>
                <c:pt idx="2493">
                  <c:v>43563</c:v>
                </c:pt>
                <c:pt idx="2494">
                  <c:v>43564</c:v>
                </c:pt>
                <c:pt idx="2495">
                  <c:v>43565</c:v>
                </c:pt>
                <c:pt idx="2496">
                  <c:v>43566</c:v>
                </c:pt>
                <c:pt idx="2497">
                  <c:v>43567</c:v>
                </c:pt>
                <c:pt idx="2498">
                  <c:v>43570</c:v>
                </c:pt>
                <c:pt idx="2499">
                  <c:v>43571</c:v>
                </c:pt>
                <c:pt idx="2500">
                  <c:v>43572</c:v>
                </c:pt>
                <c:pt idx="2501">
                  <c:v>43573</c:v>
                </c:pt>
                <c:pt idx="2502">
                  <c:v>43574</c:v>
                </c:pt>
                <c:pt idx="2503">
                  <c:v>43577</c:v>
                </c:pt>
                <c:pt idx="2504">
                  <c:v>43578</c:v>
                </c:pt>
                <c:pt idx="2505">
                  <c:v>43579</c:v>
                </c:pt>
                <c:pt idx="2506">
                  <c:v>43580</c:v>
                </c:pt>
                <c:pt idx="2507">
                  <c:v>43581</c:v>
                </c:pt>
                <c:pt idx="2508">
                  <c:v>43584</c:v>
                </c:pt>
                <c:pt idx="2509">
                  <c:v>43585</c:v>
                </c:pt>
                <c:pt idx="2510">
                  <c:v>43591</c:v>
                </c:pt>
                <c:pt idx="2511">
                  <c:v>43592</c:v>
                </c:pt>
                <c:pt idx="2512">
                  <c:v>43593</c:v>
                </c:pt>
                <c:pt idx="2513">
                  <c:v>43594</c:v>
                </c:pt>
                <c:pt idx="2514">
                  <c:v>43595</c:v>
                </c:pt>
                <c:pt idx="2515">
                  <c:v>43598</c:v>
                </c:pt>
                <c:pt idx="2516">
                  <c:v>43599</c:v>
                </c:pt>
                <c:pt idx="2517">
                  <c:v>43600</c:v>
                </c:pt>
                <c:pt idx="2518">
                  <c:v>43601</c:v>
                </c:pt>
                <c:pt idx="2519">
                  <c:v>43602</c:v>
                </c:pt>
                <c:pt idx="2520">
                  <c:v>43605</c:v>
                </c:pt>
                <c:pt idx="2521">
                  <c:v>43606</c:v>
                </c:pt>
                <c:pt idx="2522">
                  <c:v>43607</c:v>
                </c:pt>
                <c:pt idx="2523">
                  <c:v>43608</c:v>
                </c:pt>
                <c:pt idx="2524">
                  <c:v>43609</c:v>
                </c:pt>
                <c:pt idx="2525">
                  <c:v>43612</c:v>
                </c:pt>
                <c:pt idx="2526">
                  <c:v>43613</c:v>
                </c:pt>
                <c:pt idx="2527">
                  <c:v>43614</c:v>
                </c:pt>
                <c:pt idx="2528">
                  <c:v>43615</c:v>
                </c:pt>
                <c:pt idx="2529">
                  <c:v>43616</c:v>
                </c:pt>
                <c:pt idx="2530">
                  <c:v>43619</c:v>
                </c:pt>
                <c:pt idx="2531">
                  <c:v>43620</c:v>
                </c:pt>
                <c:pt idx="2532">
                  <c:v>43621</c:v>
                </c:pt>
                <c:pt idx="2533">
                  <c:v>43622</c:v>
                </c:pt>
                <c:pt idx="2534">
                  <c:v>43626</c:v>
                </c:pt>
                <c:pt idx="2535">
                  <c:v>43627</c:v>
                </c:pt>
                <c:pt idx="2536">
                  <c:v>43628</c:v>
                </c:pt>
                <c:pt idx="2537">
                  <c:v>43629</c:v>
                </c:pt>
                <c:pt idx="2538">
                  <c:v>43630</c:v>
                </c:pt>
                <c:pt idx="2539">
                  <c:v>43633</c:v>
                </c:pt>
                <c:pt idx="2540">
                  <c:v>43634</c:v>
                </c:pt>
                <c:pt idx="2541">
                  <c:v>43635</c:v>
                </c:pt>
                <c:pt idx="2542">
                  <c:v>43636</c:v>
                </c:pt>
                <c:pt idx="2543">
                  <c:v>43637</c:v>
                </c:pt>
                <c:pt idx="2544">
                  <c:v>43640</c:v>
                </c:pt>
                <c:pt idx="2545">
                  <c:v>43641</c:v>
                </c:pt>
                <c:pt idx="2546">
                  <c:v>43642</c:v>
                </c:pt>
                <c:pt idx="2547">
                  <c:v>43643</c:v>
                </c:pt>
                <c:pt idx="2548">
                  <c:v>43644</c:v>
                </c:pt>
                <c:pt idx="2549">
                  <c:v>43647</c:v>
                </c:pt>
                <c:pt idx="2550">
                  <c:v>43648</c:v>
                </c:pt>
                <c:pt idx="2551">
                  <c:v>43649</c:v>
                </c:pt>
                <c:pt idx="2552">
                  <c:v>43650</c:v>
                </c:pt>
                <c:pt idx="2553">
                  <c:v>43651</c:v>
                </c:pt>
                <c:pt idx="2554">
                  <c:v>43654</c:v>
                </c:pt>
                <c:pt idx="2555">
                  <c:v>43655</c:v>
                </c:pt>
                <c:pt idx="2556">
                  <c:v>43656</c:v>
                </c:pt>
                <c:pt idx="2557">
                  <c:v>43657</c:v>
                </c:pt>
                <c:pt idx="2558">
                  <c:v>43658</c:v>
                </c:pt>
                <c:pt idx="2559">
                  <c:v>43661</c:v>
                </c:pt>
                <c:pt idx="2560">
                  <c:v>43662</c:v>
                </c:pt>
                <c:pt idx="2561">
                  <c:v>43663</c:v>
                </c:pt>
                <c:pt idx="2562">
                  <c:v>43664</c:v>
                </c:pt>
                <c:pt idx="2563">
                  <c:v>43665</c:v>
                </c:pt>
                <c:pt idx="2564">
                  <c:v>43668</c:v>
                </c:pt>
                <c:pt idx="2565">
                  <c:v>43669</c:v>
                </c:pt>
                <c:pt idx="2566">
                  <c:v>43670</c:v>
                </c:pt>
                <c:pt idx="2567">
                  <c:v>43671</c:v>
                </c:pt>
                <c:pt idx="2568">
                  <c:v>43672</c:v>
                </c:pt>
                <c:pt idx="2569">
                  <c:v>43675</c:v>
                </c:pt>
                <c:pt idx="2570">
                  <c:v>43676</c:v>
                </c:pt>
                <c:pt idx="2571">
                  <c:v>43677</c:v>
                </c:pt>
                <c:pt idx="2572">
                  <c:v>43678</c:v>
                </c:pt>
                <c:pt idx="2573">
                  <c:v>43679</c:v>
                </c:pt>
                <c:pt idx="2574">
                  <c:v>43682</c:v>
                </c:pt>
                <c:pt idx="2575">
                  <c:v>43683</c:v>
                </c:pt>
                <c:pt idx="2576">
                  <c:v>43684</c:v>
                </c:pt>
                <c:pt idx="2577">
                  <c:v>43685</c:v>
                </c:pt>
                <c:pt idx="2578">
                  <c:v>43686</c:v>
                </c:pt>
                <c:pt idx="2579">
                  <c:v>43689</c:v>
                </c:pt>
                <c:pt idx="2580">
                  <c:v>43690</c:v>
                </c:pt>
                <c:pt idx="2581">
                  <c:v>43691</c:v>
                </c:pt>
                <c:pt idx="2582">
                  <c:v>43692</c:v>
                </c:pt>
                <c:pt idx="2583">
                  <c:v>43693</c:v>
                </c:pt>
                <c:pt idx="2584">
                  <c:v>43696</c:v>
                </c:pt>
                <c:pt idx="2585">
                  <c:v>43697</c:v>
                </c:pt>
                <c:pt idx="2586">
                  <c:v>43698</c:v>
                </c:pt>
                <c:pt idx="2587">
                  <c:v>43699</c:v>
                </c:pt>
                <c:pt idx="2588">
                  <c:v>43700</c:v>
                </c:pt>
                <c:pt idx="2589">
                  <c:v>43703</c:v>
                </c:pt>
                <c:pt idx="2590">
                  <c:v>43704</c:v>
                </c:pt>
                <c:pt idx="2591">
                  <c:v>43705</c:v>
                </c:pt>
                <c:pt idx="2592">
                  <c:v>43706</c:v>
                </c:pt>
                <c:pt idx="2593">
                  <c:v>43707</c:v>
                </c:pt>
                <c:pt idx="2594">
                  <c:v>43710</c:v>
                </c:pt>
                <c:pt idx="2595">
                  <c:v>43711</c:v>
                </c:pt>
                <c:pt idx="2596">
                  <c:v>43712</c:v>
                </c:pt>
                <c:pt idx="2597">
                  <c:v>43713</c:v>
                </c:pt>
                <c:pt idx="2598">
                  <c:v>43714</c:v>
                </c:pt>
                <c:pt idx="2599">
                  <c:v>43717</c:v>
                </c:pt>
                <c:pt idx="2600">
                  <c:v>43718</c:v>
                </c:pt>
                <c:pt idx="2601">
                  <c:v>43719</c:v>
                </c:pt>
                <c:pt idx="2602">
                  <c:v>43720</c:v>
                </c:pt>
                <c:pt idx="2603">
                  <c:v>43724</c:v>
                </c:pt>
                <c:pt idx="2604">
                  <c:v>43725</c:v>
                </c:pt>
                <c:pt idx="2605">
                  <c:v>43726</c:v>
                </c:pt>
                <c:pt idx="2606">
                  <c:v>43727</c:v>
                </c:pt>
                <c:pt idx="2607">
                  <c:v>43728</c:v>
                </c:pt>
                <c:pt idx="2608">
                  <c:v>43731</c:v>
                </c:pt>
                <c:pt idx="2609">
                  <c:v>43732</c:v>
                </c:pt>
                <c:pt idx="2610">
                  <c:v>43733</c:v>
                </c:pt>
                <c:pt idx="2611">
                  <c:v>43734</c:v>
                </c:pt>
                <c:pt idx="2612">
                  <c:v>43735</c:v>
                </c:pt>
                <c:pt idx="2613">
                  <c:v>43738</c:v>
                </c:pt>
                <c:pt idx="2614">
                  <c:v>43746</c:v>
                </c:pt>
                <c:pt idx="2615">
                  <c:v>43747</c:v>
                </c:pt>
                <c:pt idx="2616">
                  <c:v>43748</c:v>
                </c:pt>
                <c:pt idx="2617">
                  <c:v>43749</c:v>
                </c:pt>
                <c:pt idx="2618">
                  <c:v>43752</c:v>
                </c:pt>
                <c:pt idx="2619">
                  <c:v>43753</c:v>
                </c:pt>
                <c:pt idx="2620">
                  <c:v>43754</c:v>
                </c:pt>
                <c:pt idx="2621">
                  <c:v>43755</c:v>
                </c:pt>
                <c:pt idx="2622">
                  <c:v>43756</c:v>
                </c:pt>
                <c:pt idx="2623">
                  <c:v>43759</c:v>
                </c:pt>
                <c:pt idx="2624">
                  <c:v>43760</c:v>
                </c:pt>
                <c:pt idx="2625">
                  <c:v>43761</c:v>
                </c:pt>
                <c:pt idx="2626">
                  <c:v>43762</c:v>
                </c:pt>
                <c:pt idx="2627">
                  <c:v>43763</c:v>
                </c:pt>
                <c:pt idx="2628">
                  <c:v>43766</c:v>
                </c:pt>
                <c:pt idx="2629">
                  <c:v>43767</c:v>
                </c:pt>
                <c:pt idx="2630">
                  <c:v>43768</c:v>
                </c:pt>
                <c:pt idx="2631">
                  <c:v>43769</c:v>
                </c:pt>
                <c:pt idx="2632">
                  <c:v>43770</c:v>
                </c:pt>
                <c:pt idx="2633">
                  <c:v>43773</c:v>
                </c:pt>
                <c:pt idx="2634">
                  <c:v>43774</c:v>
                </c:pt>
                <c:pt idx="2635">
                  <c:v>43775</c:v>
                </c:pt>
                <c:pt idx="2636">
                  <c:v>43776</c:v>
                </c:pt>
                <c:pt idx="2637">
                  <c:v>43777</c:v>
                </c:pt>
                <c:pt idx="2638">
                  <c:v>43780</c:v>
                </c:pt>
                <c:pt idx="2639">
                  <c:v>43781</c:v>
                </c:pt>
                <c:pt idx="2640">
                  <c:v>43782</c:v>
                </c:pt>
                <c:pt idx="2641">
                  <c:v>43783</c:v>
                </c:pt>
                <c:pt idx="2642">
                  <c:v>43784</c:v>
                </c:pt>
                <c:pt idx="2643">
                  <c:v>43787</c:v>
                </c:pt>
                <c:pt idx="2644">
                  <c:v>43788</c:v>
                </c:pt>
                <c:pt idx="2645">
                  <c:v>43789</c:v>
                </c:pt>
                <c:pt idx="2646">
                  <c:v>43790</c:v>
                </c:pt>
                <c:pt idx="2647">
                  <c:v>43791</c:v>
                </c:pt>
                <c:pt idx="2648">
                  <c:v>43794</c:v>
                </c:pt>
                <c:pt idx="2649">
                  <c:v>43795</c:v>
                </c:pt>
                <c:pt idx="2650">
                  <c:v>43796</c:v>
                </c:pt>
                <c:pt idx="2651">
                  <c:v>43797</c:v>
                </c:pt>
                <c:pt idx="2652">
                  <c:v>43798</c:v>
                </c:pt>
                <c:pt idx="2653">
                  <c:v>43801</c:v>
                </c:pt>
                <c:pt idx="2654">
                  <c:v>43802</c:v>
                </c:pt>
                <c:pt idx="2655">
                  <c:v>43803</c:v>
                </c:pt>
                <c:pt idx="2656">
                  <c:v>43804</c:v>
                </c:pt>
                <c:pt idx="2657">
                  <c:v>43805</c:v>
                </c:pt>
                <c:pt idx="2658">
                  <c:v>43808</c:v>
                </c:pt>
                <c:pt idx="2659">
                  <c:v>43809</c:v>
                </c:pt>
                <c:pt idx="2660">
                  <c:v>43810</c:v>
                </c:pt>
                <c:pt idx="2661">
                  <c:v>43811</c:v>
                </c:pt>
                <c:pt idx="2662">
                  <c:v>43812</c:v>
                </c:pt>
                <c:pt idx="2663">
                  <c:v>43815</c:v>
                </c:pt>
                <c:pt idx="2664">
                  <c:v>43816</c:v>
                </c:pt>
                <c:pt idx="2665">
                  <c:v>43817</c:v>
                </c:pt>
                <c:pt idx="2666">
                  <c:v>43818</c:v>
                </c:pt>
                <c:pt idx="2667">
                  <c:v>43819</c:v>
                </c:pt>
                <c:pt idx="2668">
                  <c:v>43822</c:v>
                </c:pt>
                <c:pt idx="2669">
                  <c:v>43823</c:v>
                </c:pt>
                <c:pt idx="2670">
                  <c:v>43824</c:v>
                </c:pt>
                <c:pt idx="2671">
                  <c:v>43825</c:v>
                </c:pt>
                <c:pt idx="2672">
                  <c:v>43826</c:v>
                </c:pt>
                <c:pt idx="2673">
                  <c:v>43829</c:v>
                </c:pt>
                <c:pt idx="2674">
                  <c:v>43830</c:v>
                </c:pt>
                <c:pt idx="2675">
                  <c:v>43832</c:v>
                </c:pt>
                <c:pt idx="2676">
                  <c:v>43833</c:v>
                </c:pt>
                <c:pt idx="2677">
                  <c:v>43836</c:v>
                </c:pt>
                <c:pt idx="2678">
                  <c:v>43837</c:v>
                </c:pt>
                <c:pt idx="2679">
                  <c:v>43838</c:v>
                </c:pt>
                <c:pt idx="2680">
                  <c:v>43839</c:v>
                </c:pt>
                <c:pt idx="2681">
                  <c:v>43840</c:v>
                </c:pt>
                <c:pt idx="2682">
                  <c:v>43843</c:v>
                </c:pt>
                <c:pt idx="2683">
                  <c:v>43844</c:v>
                </c:pt>
                <c:pt idx="2684">
                  <c:v>43845</c:v>
                </c:pt>
                <c:pt idx="2685">
                  <c:v>43846</c:v>
                </c:pt>
                <c:pt idx="2686">
                  <c:v>43847</c:v>
                </c:pt>
                <c:pt idx="2687">
                  <c:v>43850</c:v>
                </c:pt>
                <c:pt idx="2688">
                  <c:v>43851</c:v>
                </c:pt>
                <c:pt idx="2689">
                  <c:v>43852</c:v>
                </c:pt>
                <c:pt idx="2690">
                  <c:v>43853</c:v>
                </c:pt>
                <c:pt idx="2691">
                  <c:v>43864</c:v>
                </c:pt>
                <c:pt idx="2692">
                  <c:v>43865</c:v>
                </c:pt>
                <c:pt idx="2693">
                  <c:v>43866</c:v>
                </c:pt>
                <c:pt idx="2694">
                  <c:v>43867</c:v>
                </c:pt>
                <c:pt idx="2695">
                  <c:v>43868</c:v>
                </c:pt>
                <c:pt idx="2696">
                  <c:v>43871</c:v>
                </c:pt>
                <c:pt idx="2697">
                  <c:v>43872</c:v>
                </c:pt>
                <c:pt idx="2698">
                  <c:v>43873</c:v>
                </c:pt>
                <c:pt idx="2699">
                  <c:v>43874</c:v>
                </c:pt>
                <c:pt idx="2700">
                  <c:v>43875</c:v>
                </c:pt>
                <c:pt idx="2701">
                  <c:v>43878</c:v>
                </c:pt>
                <c:pt idx="2702">
                  <c:v>43879</c:v>
                </c:pt>
                <c:pt idx="2703">
                  <c:v>43880</c:v>
                </c:pt>
                <c:pt idx="2704">
                  <c:v>43881</c:v>
                </c:pt>
                <c:pt idx="2705">
                  <c:v>43882</c:v>
                </c:pt>
                <c:pt idx="2706">
                  <c:v>43885</c:v>
                </c:pt>
                <c:pt idx="2707">
                  <c:v>43886</c:v>
                </c:pt>
                <c:pt idx="2708">
                  <c:v>43887</c:v>
                </c:pt>
                <c:pt idx="2709">
                  <c:v>43888</c:v>
                </c:pt>
                <c:pt idx="2710">
                  <c:v>43889</c:v>
                </c:pt>
                <c:pt idx="2711">
                  <c:v>43892</c:v>
                </c:pt>
                <c:pt idx="2712">
                  <c:v>43893</c:v>
                </c:pt>
                <c:pt idx="2713">
                  <c:v>43894</c:v>
                </c:pt>
                <c:pt idx="2714">
                  <c:v>43895</c:v>
                </c:pt>
                <c:pt idx="2715">
                  <c:v>43896</c:v>
                </c:pt>
                <c:pt idx="2716">
                  <c:v>43899</c:v>
                </c:pt>
                <c:pt idx="2717">
                  <c:v>43900</c:v>
                </c:pt>
                <c:pt idx="2718">
                  <c:v>43901</c:v>
                </c:pt>
                <c:pt idx="2719">
                  <c:v>43902</c:v>
                </c:pt>
                <c:pt idx="2720">
                  <c:v>43903</c:v>
                </c:pt>
                <c:pt idx="2721">
                  <c:v>43906</c:v>
                </c:pt>
                <c:pt idx="2722">
                  <c:v>43907</c:v>
                </c:pt>
                <c:pt idx="2723">
                  <c:v>43908</c:v>
                </c:pt>
                <c:pt idx="2724">
                  <c:v>43909</c:v>
                </c:pt>
                <c:pt idx="2725">
                  <c:v>43910</c:v>
                </c:pt>
                <c:pt idx="2726">
                  <c:v>43913</c:v>
                </c:pt>
                <c:pt idx="2727">
                  <c:v>43914</c:v>
                </c:pt>
                <c:pt idx="2728">
                  <c:v>43915</c:v>
                </c:pt>
                <c:pt idx="2729">
                  <c:v>43916</c:v>
                </c:pt>
                <c:pt idx="2730">
                  <c:v>43917</c:v>
                </c:pt>
                <c:pt idx="2731">
                  <c:v>43920</c:v>
                </c:pt>
                <c:pt idx="2732">
                  <c:v>43921</c:v>
                </c:pt>
                <c:pt idx="2733">
                  <c:v>43922</c:v>
                </c:pt>
                <c:pt idx="2734">
                  <c:v>43923</c:v>
                </c:pt>
                <c:pt idx="2735">
                  <c:v>43924</c:v>
                </c:pt>
                <c:pt idx="2736">
                  <c:v>43928</c:v>
                </c:pt>
                <c:pt idx="2737">
                  <c:v>43929</c:v>
                </c:pt>
                <c:pt idx="2738">
                  <c:v>43930</c:v>
                </c:pt>
                <c:pt idx="2739">
                  <c:v>43931</c:v>
                </c:pt>
                <c:pt idx="2740">
                  <c:v>43934</c:v>
                </c:pt>
                <c:pt idx="2741">
                  <c:v>43935</c:v>
                </c:pt>
                <c:pt idx="2742">
                  <c:v>43936</c:v>
                </c:pt>
                <c:pt idx="2743">
                  <c:v>43937</c:v>
                </c:pt>
                <c:pt idx="2744">
                  <c:v>43938</c:v>
                </c:pt>
                <c:pt idx="2745">
                  <c:v>43941</c:v>
                </c:pt>
                <c:pt idx="2746">
                  <c:v>43942</c:v>
                </c:pt>
                <c:pt idx="2747">
                  <c:v>43943</c:v>
                </c:pt>
                <c:pt idx="2748">
                  <c:v>43944</c:v>
                </c:pt>
                <c:pt idx="2749">
                  <c:v>43945</c:v>
                </c:pt>
                <c:pt idx="2750">
                  <c:v>43948</c:v>
                </c:pt>
                <c:pt idx="2751">
                  <c:v>43949</c:v>
                </c:pt>
                <c:pt idx="2752">
                  <c:v>43950</c:v>
                </c:pt>
                <c:pt idx="2753">
                  <c:v>43951</c:v>
                </c:pt>
                <c:pt idx="2754">
                  <c:v>43957</c:v>
                </c:pt>
                <c:pt idx="2755">
                  <c:v>43958</c:v>
                </c:pt>
                <c:pt idx="2756">
                  <c:v>43959</c:v>
                </c:pt>
                <c:pt idx="2757">
                  <c:v>43962</c:v>
                </c:pt>
                <c:pt idx="2758">
                  <c:v>43963</c:v>
                </c:pt>
                <c:pt idx="2759">
                  <c:v>43964</c:v>
                </c:pt>
                <c:pt idx="2760">
                  <c:v>43965</c:v>
                </c:pt>
                <c:pt idx="2761">
                  <c:v>43966</c:v>
                </c:pt>
                <c:pt idx="2762">
                  <c:v>43969</c:v>
                </c:pt>
                <c:pt idx="2763">
                  <c:v>43970</c:v>
                </c:pt>
                <c:pt idx="2764">
                  <c:v>43971</c:v>
                </c:pt>
                <c:pt idx="2765">
                  <c:v>43972</c:v>
                </c:pt>
                <c:pt idx="2766">
                  <c:v>43973</c:v>
                </c:pt>
                <c:pt idx="2767">
                  <c:v>43976</c:v>
                </c:pt>
                <c:pt idx="2768">
                  <c:v>43977</c:v>
                </c:pt>
                <c:pt idx="2769">
                  <c:v>43978</c:v>
                </c:pt>
                <c:pt idx="2770">
                  <c:v>43979</c:v>
                </c:pt>
                <c:pt idx="2771">
                  <c:v>43980</c:v>
                </c:pt>
                <c:pt idx="2772">
                  <c:v>43983</c:v>
                </c:pt>
                <c:pt idx="2773">
                  <c:v>43984</c:v>
                </c:pt>
                <c:pt idx="2774">
                  <c:v>43985</c:v>
                </c:pt>
                <c:pt idx="2775">
                  <c:v>43986</c:v>
                </c:pt>
                <c:pt idx="2776">
                  <c:v>43987</c:v>
                </c:pt>
                <c:pt idx="2777">
                  <c:v>43990</c:v>
                </c:pt>
                <c:pt idx="2778">
                  <c:v>43991</c:v>
                </c:pt>
                <c:pt idx="2779">
                  <c:v>43992</c:v>
                </c:pt>
                <c:pt idx="2780">
                  <c:v>43993</c:v>
                </c:pt>
                <c:pt idx="2781">
                  <c:v>43994</c:v>
                </c:pt>
                <c:pt idx="2782">
                  <c:v>43997</c:v>
                </c:pt>
                <c:pt idx="2783">
                  <c:v>43998</c:v>
                </c:pt>
                <c:pt idx="2784">
                  <c:v>43999</c:v>
                </c:pt>
                <c:pt idx="2785">
                  <c:v>44000</c:v>
                </c:pt>
                <c:pt idx="2786">
                  <c:v>44001</c:v>
                </c:pt>
                <c:pt idx="2787">
                  <c:v>44004</c:v>
                </c:pt>
                <c:pt idx="2788">
                  <c:v>44005</c:v>
                </c:pt>
                <c:pt idx="2789">
                  <c:v>44006</c:v>
                </c:pt>
                <c:pt idx="2790">
                  <c:v>44011</c:v>
                </c:pt>
                <c:pt idx="2791">
                  <c:v>44012</c:v>
                </c:pt>
                <c:pt idx="2792">
                  <c:v>44013</c:v>
                </c:pt>
                <c:pt idx="2793">
                  <c:v>44014</c:v>
                </c:pt>
                <c:pt idx="2794">
                  <c:v>44015</c:v>
                </c:pt>
                <c:pt idx="2795">
                  <c:v>44018</c:v>
                </c:pt>
                <c:pt idx="2796">
                  <c:v>44019</c:v>
                </c:pt>
                <c:pt idx="2797">
                  <c:v>44020</c:v>
                </c:pt>
                <c:pt idx="2798">
                  <c:v>44021</c:v>
                </c:pt>
                <c:pt idx="2799">
                  <c:v>44022</c:v>
                </c:pt>
                <c:pt idx="2800">
                  <c:v>44025</c:v>
                </c:pt>
                <c:pt idx="2801">
                  <c:v>44026</c:v>
                </c:pt>
                <c:pt idx="2802">
                  <c:v>44027</c:v>
                </c:pt>
                <c:pt idx="2803">
                  <c:v>44028</c:v>
                </c:pt>
                <c:pt idx="2804">
                  <c:v>44029</c:v>
                </c:pt>
                <c:pt idx="2805">
                  <c:v>44032</c:v>
                </c:pt>
                <c:pt idx="2806">
                  <c:v>44033</c:v>
                </c:pt>
                <c:pt idx="2807">
                  <c:v>44034</c:v>
                </c:pt>
                <c:pt idx="2808">
                  <c:v>44035</c:v>
                </c:pt>
                <c:pt idx="2809">
                  <c:v>44036</c:v>
                </c:pt>
                <c:pt idx="2810">
                  <c:v>44039</c:v>
                </c:pt>
                <c:pt idx="2811">
                  <c:v>44040</c:v>
                </c:pt>
                <c:pt idx="2812">
                  <c:v>44041</c:v>
                </c:pt>
                <c:pt idx="2813">
                  <c:v>44042</c:v>
                </c:pt>
                <c:pt idx="2814">
                  <c:v>44043</c:v>
                </c:pt>
                <c:pt idx="2815">
                  <c:v>44046</c:v>
                </c:pt>
                <c:pt idx="2816">
                  <c:v>44047</c:v>
                </c:pt>
                <c:pt idx="2817">
                  <c:v>44048</c:v>
                </c:pt>
                <c:pt idx="2818">
                  <c:v>44049</c:v>
                </c:pt>
                <c:pt idx="2819">
                  <c:v>44050</c:v>
                </c:pt>
                <c:pt idx="2820">
                  <c:v>44053</c:v>
                </c:pt>
                <c:pt idx="2821">
                  <c:v>44054</c:v>
                </c:pt>
                <c:pt idx="2822">
                  <c:v>44055</c:v>
                </c:pt>
                <c:pt idx="2823">
                  <c:v>44056</c:v>
                </c:pt>
                <c:pt idx="2824">
                  <c:v>44057</c:v>
                </c:pt>
                <c:pt idx="2825">
                  <c:v>44060</c:v>
                </c:pt>
                <c:pt idx="2826">
                  <c:v>44061</c:v>
                </c:pt>
                <c:pt idx="2827">
                  <c:v>44062</c:v>
                </c:pt>
                <c:pt idx="2828">
                  <c:v>44063</c:v>
                </c:pt>
                <c:pt idx="2829">
                  <c:v>44064</c:v>
                </c:pt>
                <c:pt idx="2830">
                  <c:v>44067</c:v>
                </c:pt>
                <c:pt idx="2831">
                  <c:v>44068</c:v>
                </c:pt>
                <c:pt idx="2832">
                  <c:v>44069</c:v>
                </c:pt>
                <c:pt idx="2833">
                  <c:v>44070</c:v>
                </c:pt>
                <c:pt idx="2834">
                  <c:v>44071</c:v>
                </c:pt>
                <c:pt idx="2835">
                  <c:v>44074</c:v>
                </c:pt>
                <c:pt idx="2836">
                  <c:v>44075</c:v>
                </c:pt>
                <c:pt idx="2837">
                  <c:v>44076</c:v>
                </c:pt>
                <c:pt idx="2838">
                  <c:v>44077</c:v>
                </c:pt>
                <c:pt idx="2839">
                  <c:v>44078</c:v>
                </c:pt>
                <c:pt idx="2840">
                  <c:v>44081</c:v>
                </c:pt>
                <c:pt idx="2841">
                  <c:v>44082</c:v>
                </c:pt>
                <c:pt idx="2842">
                  <c:v>44083</c:v>
                </c:pt>
                <c:pt idx="2843">
                  <c:v>44084</c:v>
                </c:pt>
                <c:pt idx="2844">
                  <c:v>44085</c:v>
                </c:pt>
                <c:pt idx="2845">
                  <c:v>44088</c:v>
                </c:pt>
                <c:pt idx="2846">
                  <c:v>44089</c:v>
                </c:pt>
                <c:pt idx="2847">
                  <c:v>44090</c:v>
                </c:pt>
                <c:pt idx="2848">
                  <c:v>44091</c:v>
                </c:pt>
                <c:pt idx="2849">
                  <c:v>44092</c:v>
                </c:pt>
                <c:pt idx="2850">
                  <c:v>44095</c:v>
                </c:pt>
                <c:pt idx="2851">
                  <c:v>44096</c:v>
                </c:pt>
                <c:pt idx="2852">
                  <c:v>44097</c:v>
                </c:pt>
                <c:pt idx="2853">
                  <c:v>44098</c:v>
                </c:pt>
                <c:pt idx="2854">
                  <c:v>44099</c:v>
                </c:pt>
                <c:pt idx="2855">
                  <c:v>44102</c:v>
                </c:pt>
                <c:pt idx="2856">
                  <c:v>44103</c:v>
                </c:pt>
                <c:pt idx="2857">
                  <c:v>44104</c:v>
                </c:pt>
                <c:pt idx="2858">
                  <c:v>44113</c:v>
                </c:pt>
                <c:pt idx="2859">
                  <c:v>44116</c:v>
                </c:pt>
                <c:pt idx="2860">
                  <c:v>44117</c:v>
                </c:pt>
                <c:pt idx="2861">
                  <c:v>44118</c:v>
                </c:pt>
                <c:pt idx="2862">
                  <c:v>44119</c:v>
                </c:pt>
                <c:pt idx="2863">
                  <c:v>44120</c:v>
                </c:pt>
                <c:pt idx="2864">
                  <c:v>44123</c:v>
                </c:pt>
                <c:pt idx="2865">
                  <c:v>44124</c:v>
                </c:pt>
                <c:pt idx="2866">
                  <c:v>44125</c:v>
                </c:pt>
                <c:pt idx="2867">
                  <c:v>44126</c:v>
                </c:pt>
                <c:pt idx="2868">
                  <c:v>44127</c:v>
                </c:pt>
                <c:pt idx="2869">
                  <c:v>44130</c:v>
                </c:pt>
                <c:pt idx="2870">
                  <c:v>44131</c:v>
                </c:pt>
                <c:pt idx="2871">
                  <c:v>44132</c:v>
                </c:pt>
                <c:pt idx="2872">
                  <c:v>44133</c:v>
                </c:pt>
                <c:pt idx="2873">
                  <c:v>44134</c:v>
                </c:pt>
                <c:pt idx="2874">
                  <c:v>44137</c:v>
                </c:pt>
                <c:pt idx="2875">
                  <c:v>44138</c:v>
                </c:pt>
                <c:pt idx="2876">
                  <c:v>44139</c:v>
                </c:pt>
                <c:pt idx="2877">
                  <c:v>44140</c:v>
                </c:pt>
                <c:pt idx="2878">
                  <c:v>44141</c:v>
                </c:pt>
                <c:pt idx="2879">
                  <c:v>44144</c:v>
                </c:pt>
                <c:pt idx="2880">
                  <c:v>44145</c:v>
                </c:pt>
                <c:pt idx="2881">
                  <c:v>44146</c:v>
                </c:pt>
                <c:pt idx="2882">
                  <c:v>44147</c:v>
                </c:pt>
                <c:pt idx="2883">
                  <c:v>44148</c:v>
                </c:pt>
                <c:pt idx="2884">
                  <c:v>44151</c:v>
                </c:pt>
                <c:pt idx="2885">
                  <c:v>44152</c:v>
                </c:pt>
                <c:pt idx="2886">
                  <c:v>44153</c:v>
                </c:pt>
                <c:pt idx="2887">
                  <c:v>44154</c:v>
                </c:pt>
                <c:pt idx="2888">
                  <c:v>44155</c:v>
                </c:pt>
                <c:pt idx="2889">
                  <c:v>44158</c:v>
                </c:pt>
                <c:pt idx="2890">
                  <c:v>44159</c:v>
                </c:pt>
                <c:pt idx="2891">
                  <c:v>44160</c:v>
                </c:pt>
                <c:pt idx="2892">
                  <c:v>44161</c:v>
                </c:pt>
                <c:pt idx="2893">
                  <c:v>44162</c:v>
                </c:pt>
                <c:pt idx="2894">
                  <c:v>44165</c:v>
                </c:pt>
                <c:pt idx="2895">
                  <c:v>44166</c:v>
                </c:pt>
                <c:pt idx="2896">
                  <c:v>44167</c:v>
                </c:pt>
                <c:pt idx="2897">
                  <c:v>44168</c:v>
                </c:pt>
                <c:pt idx="2898">
                  <c:v>44169</c:v>
                </c:pt>
                <c:pt idx="2899">
                  <c:v>44172</c:v>
                </c:pt>
                <c:pt idx="2900">
                  <c:v>44173</c:v>
                </c:pt>
                <c:pt idx="2901">
                  <c:v>44174</c:v>
                </c:pt>
                <c:pt idx="2902">
                  <c:v>44175</c:v>
                </c:pt>
                <c:pt idx="2903">
                  <c:v>44176</c:v>
                </c:pt>
                <c:pt idx="2904">
                  <c:v>44179</c:v>
                </c:pt>
                <c:pt idx="2905">
                  <c:v>44180</c:v>
                </c:pt>
                <c:pt idx="2906">
                  <c:v>44181</c:v>
                </c:pt>
                <c:pt idx="2907">
                  <c:v>44182</c:v>
                </c:pt>
                <c:pt idx="2908">
                  <c:v>44183</c:v>
                </c:pt>
                <c:pt idx="2909">
                  <c:v>44186</c:v>
                </c:pt>
                <c:pt idx="2910">
                  <c:v>44187</c:v>
                </c:pt>
                <c:pt idx="2911">
                  <c:v>44188</c:v>
                </c:pt>
                <c:pt idx="2912">
                  <c:v>44189</c:v>
                </c:pt>
                <c:pt idx="2913">
                  <c:v>44190</c:v>
                </c:pt>
                <c:pt idx="2914">
                  <c:v>44193</c:v>
                </c:pt>
                <c:pt idx="2915">
                  <c:v>44194</c:v>
                </c:pt>
                <c:pt idx="2916">
                  <c:v>44195</c:v>
                </c:pt>
                <c:pt idx="2917">
                  <c:v>44196</c:v>
                </c:pt>
                <c:pt idx="2918">
                  <c:v>44200</c:v>
                </c:pt>
                <c:pt idx="2919">
                  <c:v>44201</c:v>
                </c:pt>
                <c:pt idx="2920">
                  <c:v>44202</c:v>
                </c:pt>
                <c:pt idx="2921">
                  <c:v>44203</c:v>
                </c:pt>
                <c:pt idx="2922">
                  <c:v>44204</c:v>
                </c:pt>
                <c:pt idx="2923">
                  <c:v>44207</c:v>
                </c:pt>
                <c:pt idx="2924">
                  <c:v>44208</c:v>
                </c:pt>
                <c:pt idx="2925">
                  <c:v>44209</c:v>
                </c:pt>
                <c:pt idx="2926">
                  <c:v>44210</c:v>
                </c:pt>
                <c:pt idx="2927">
                  <c:v>44211</c:v>
                </c:pt>
                <c:pt idx="2928">
                  <c:v>44214</c:v>
                </c:pt>
                <c:pt idx="2929">
                  <c:v>44215</c:v>
                </c:pt>
                <c:pt idx="2930">
                  <c:v>44216</c:v>
                </c:pt>
                <c:pt idx="2931">
                  <c:v>44217</c:v>
                </c:pt>
                <c:pt idx="2932">
                  <c:v>44218</c:v>
                </c:pt>
                <c:pt idx="2933">
                  <c:v>44221</c:v>
                </c:pt>
                <c:pt idx="2934">
                  <c:v>44222</c:v>
                </c:pt>
                <c:pt idx="2935">
                  <c:v>44223</c:v>
                </c:pt>
                <c:pt idx="2936">
                  <c:v>44224</c:v>
                </c:pt>
                <c:pt idx="2937">
                  <c:v>44225</c:v>
                </c:pt>
                <c:pt idx="2938">
                  <c:v>44228</c:v>
                </c:pt>
                <c:pt idx="2939">
                  <c:v>44229</c:v>
                </c:pt>
                <c:pt idx="2940">
                  <c:v>44230</c:v>
                </c:pt>
                <c:pt idx="2941">
                  <c:v>44231</c:v>
                </c:pt>
                <c:pt idx="2942">
                  <c:v>44232</c:v>
                </c:pt>
                <c:pt idx="2943">
                  <c:v>44235</c:v>
                </c:pt>
                <c:pt idx="2944">
                  <c:v>44236</c:v>
                </c:pt>
                <c:pt idx="2945">
                  <c:v>44237</c:v>
                </c:pt>
                <c:pt idx="2946">
                  <c:v>44245</c:v>
                </c:pt>
                <c:pt idx="2947">
                  <c:v>44246</c:v>
                </c:pt>
                <c:pt idx="2948">
                  <c:v>44249</c:v>
                </c:pt>
                <c:pt idx="2949">
                  <c:v>44250</c:v>
                </c:pt>
                <c:pt idx="2950">
                  <c:v>44251</c:v>
                </c:pt>
                <c:pt idx="2951">
                  <c:v>44252</c:v>
                </c:pt>
                <c:pt idx="2952">
                  <c:v>44253</c:v>
                </c:pt>
                <c:pt idx="2953">
                  <c:v>44256</c:v>
                </c:pt>
                <c:pt idx="2954">
                  <c:v>44257</c:v>
                </c:pt>
                <c:pt idx="2955">
                  <c:v>44258</c:v>
                </c:pt>
                <c:pt idx="2956">
                  <c:v>44259</c:v>
                </c:pt>
                <c:pt idx="2957">
                  <c:v>44260</c:v>
                </c:pt>
                <c:pt idx="2958">
                  <c:v>44263</c:v>
                </c:pt>
                <c:pt idx="2959">
                  <c:v>44264</c:v>
                </c:pt>
                <c:pt idx="2960">
                  <c:v>44265</c:v>
                </c:pt>
                <c:pt idx="2961">
                  <c:v>44266</c:v>
                </c:pt>
                <c:pt idx="2962">
                  <c:v>44267</c:v>
                </c:pt>
                <c:pt idx="2963">
                  <c:v>44270</c:v>
                </c:pt>
                <c:pt idx="2964">
                  <c:v>44271</c:v>
                </c:pt>
                <c:pt idx="2965">
                  <c:v>44272</c:v>
                </c:pt>
                <c:pt idx="2966">
                  <c:v>44273</c:v>
                </c:pt>
                <c:pt idx="2967">
                  <c:v>44274</c:v>
                </c:pt>
                <c:pt idx="2968">
                  <c:v>44277</c:v>
                </c:pt>
                <c:pt idx="2969">
                  <c:v>44278</c:v>
                </c:pt>
                <c:pt idx="2970">
                  <c:v>44279</c:v>
                </c:pt>
                <c:pt idx="2971">
                  <c:v>44280</c:v>
                </c:pt>
                <c:pt idx="2972">
                  <c:v>44281</c:v>
                </c:pt>
                <c:pt idx="2973">
                  <c:v>44284</c:v>
                </c:pt>
                <c:pt idx="2974">
                  <c:v>44285</c:v>
                </c:pt>
                <c:pt idx="2975">
                  <c:v>44286</c:v>
                </c:pt>
                <c:pt idx="2976">
                  <c:v>44287</c:v>
                </c:pt>
                <c:pt idx="2977">
                  <c:v>44288</c:v>
                </c:pt>
                <c:pt idx="2978">
                  <c:v>44292</c:v>
                </c:pt>
                <c:pt idx="2979">
                  <c:v>44293</c:v>
                </c:pt>
                <c:pt idx="2980">
                  <c:v>44294</c:v>
                </c:pt>
                <c:pt idx="2981">
                  <c:v>44295</c:v>
                </c:pt>
                <c:pt idx="2982">
                  <c:v>44298</c:v>
                </c:pt>
                <c:pt idx="2983">
                  <c:v>44299</c:v>
                </c:pt>
                <c:pt idx="2984">
                  <c:v>44300</c:v>
                </c:pt>
                <c:pt idx="2985">
                  <c:v>44301</c:v>
                </c:pt>
                <c:pt idx="2986">
                  <c:v>44302</c:v>
                </c:pt>
                <c:pt idx="2987">
                  <c:v>44305</c:v>
                </c:pt>
                <c:pt idx="2988">
                  <c:v>44306</c:v>
                </c:pt>
                <c:pt idx="2989">
                  <c:v>44307</c:v>
                </c:pt>
                <c:pt idx="2990">
                  <c:v>44308</c:v>
                </c:pt>
                <c:pt idx="2991">
                  <c:v>44309</c:v>
                </c:pt>
                <c:pt idx="2992">
                  <c:v>44312</c:v>
                </c:pt>
                <c:pt idx="2993">
                  <c:v>44313</c:v>
                </c:pt>
                <c:pt idx="2994">
                  <c:v>44314</c:v>
                </c:pt>
                <c:pt idx="2995">
                  <c:v>44315</c:v>
                </c:pt>
                <c:pt idx="2996">
                  <c:v>44316</c:v>
                </c:pt>
                <c:pt idx="2997">
                  <c:v>44322</c:v>
                </c:pt>
                <c:pt idx="2998">
                  <c:v>44323</c:v>
                </c:pt>
                <c:pt idx="2999">
                  <c:v>44326</c:v>
                </c:pt>
                <c:pt idx="3000">
                  <c:v>44327</c:v>
                </c:pt>
                <c:pt idx="3001">
                  <c:v>44328</c:v>
                </c:pt>
                <c:pt idx="3002">
                  <c:v>44329</c:v>
                </c:pt>
                <c:pt idx="3003">
                  <c:v>44330</c:v>
                </c:pt>
                <c:pt idx="3004">
                  <c:v>44333</c:v>
                </c:pt>
                <c:pt idx="3005">
                  <c:v>44334</c:v>
                </c:pt>
                <c:pt idx="3006">
                  <c:v>44335</c:v>
                </c:pt>
                <c:pt idx="3007">
                  <c:v>44336</c:v>
                </c:pt>
                <c:pt idx="3008">
                  <c:v>44337</c:v>
                </c:pt>
                <c:pt idx="3009">
                  <c:v>44340</c:v>
                </c:pt>
                <c:pt idx="3010">
                  <c:v>44341</c:v>
                </c:pt>
                <c:pt idx="3011">
                  <c:v>44342</c:v>
                </c:pt>
                <c:pt idx="3012">
                  <c:v>44343</c:v>
                </c:pt>
                <c:pt idx="3013">
                  <c:v>44344</c:v>
                </c:pt>
                <c:pt idx="3014">
                  <c:v>44347</c:v>
                </c:pt>
                <c:pt idx="3015">
                  <c:v>44348</c:v>
                </c:pt>
                <c:pt idx="3016">
                  <c:v>44349</c:v>
                </c:pt>
                <c:pt idx="3017">
                  <c:v>44350</c:v>
                </c:pt>
                <c:pt idx="3018">
                  <c:v>44351</c:v>
                </c:pt>
                <c:pt idx="3019">
                  <c:v>44354</c:v>
                </c:pt>
                <c:pt idx="3020">
                  <c:v>44355</c:v>
                </c:pt>
                <c:pt idx="3021">
                  <c:v>44356</c:v>
                </c:pt>
                <c:pt idx="3022">
                  <c:v>44357</c:v>
                </c:pt>
                <c:pt idx="3023">
                  <c:v>44358</c:v>
                </c:pt>
                <c:pt idx="3024">
                  <c:v>44362</c:v>
                </c:pt>
                <c:pt idx="3025">
                  <c:v>44363</c:v>
                </c:pt>
                <c:pt idx="3026">
                  <c:v>44364</c:v>
                </c:pt>
                <c:pt idx="3027">
                  <c:v>44365</c:v>
                </c:pt>
                <c:pt idx="3028">
                  <c:v>44368</c:v>
                </c:pt>
                <c:pt idx="3029">
                  <c:v>44369</c:v>
                </c:pt>
                <c:pt idx="3030">
                  <c:v>44370</c:v>
                </c:pt>
                <c:pt idx="3031">
                  <c:v>44371</c:v>
                </c:pt>
                <c:pt idx="3032">
                  <c:v>44372</c:v>
                </c:pt>
                <c:pt idx="3033">
                  <c:v>44375</c:v>
                </c:pt>
                <c:pt idx="3034">
                  <c:v>44376</c:v>
                </c:pt>
                <c:pt idx="3035">
                  <c:v>44377</c:v>
                </c:pt>
                <c:pt idx="3036">
                  <c:v>44378</c:v>
                </c:pt>
                <c:pt idx="3037">
                  <c:v>44379</c:v>
                </c:pt>
                <c:pt idx="3038">
                  <c:v>44382</c:v>
                </c:pt>
                <c:pt idx="3039">
                  <c:v>44383</c:v>
                </c:pt>
                <c:pt idx="3040">
                  <c:v>44384</c:v>
                </c:pt>
                <c:pt idx="3041">
                  <c:v>44385</c:v>
                </c:pt>
                <c:pt idx="3042">
                  <c:v>44386</c:v>
                </c:pt>
                <c:pt idx="3043">
                  <c:v>44389</c:v>
                </c:pt>
                <c:pt idx="3044">
                  <c:v>44390</c:v>
                </c:pt>
                <c:pt idx="3045">
                  <c:v>44391</c:v>
                </c:pt>
                <c:pt idx="3046">
                  <c:v>44392</c:v>
                </c:pt>
                <c:pt idx="3047">
                  <c:v>44393</c:v>
                </c:pt>
                <c:pt idx="3048">
                  <c:v>44396</c:v>
                </c:pt>
                <c:pt idx="3049">
                  <c:v>44397</c:v>
                </c:pt>
                <c:pt idx="3050">
                  <c:v>44398</c:v>
                </c:pt>
                <c:pt idx="3051">
                  <c:v>44399</c:v>
                </c:pt>
                <c:pt idx="3052">
                  <c:v>44400</c:v>
                </c:pt>
                <c:pt idx="3053">
                  <c:v>44403</c:v>
                </c:pt>
                <c:pt idx="3054">
                  <c:v>44404</c:v>
                </c:pt>
                <c:pt idx="3055">
                  <c:v>44405</c:v>
                </c:pt>
                <c:pt idx="3056">
                  <c:v>44406</c:v>
                </c:pt>
                <c:pt idx="3057">
                  <c:v>44407</c:v>
                </c:pt>
                <c:pt idx="3058">
                  <c:v>44410</c:v>
                </c:pt>
                <c:pt idx="3059">
                  <c:v>44411</c:v>
                </c:pt>
                <c:pt idx="3060">
                  <c:v>44412</c:v>
                </c:pt>
                <c:pt idx="3061">
                  <c:v>44413</c:v>
                </c:pt>
                <c:pt idx="3062">
                  <c:v>44414</c:v>
                </c:pt>
                <c:pt idx="3063">
                  <c:v>44417</c:v>
                </c:pt>
                <c:pt idx="3064">
                  <c:v>44418</c:v>
                </c:pt>
                <c:pt idx="3065">
                  <c:v>44419</c:v>
                </c:pt>
                <c:pt idx="3066">
                  <c:v>44420</c:v>
                </c:pt>
                <c:pt idx="3067">
                  <c:v>44421</c:v>
                </c:pt>
                <c:pt idx="3068">
                  <c:v>44424</c:v>
                </c:pt>
                <c:pt idx="3069">
                  <c:v>44425</c:v>
                </c:pt>
                <c:pt idx="3070">
                  <c:v>44426</c:v>
                </c:pt>
                <c:pt idx="3071">
                  <c:v>44427</c:v>
                </c:pt>
                <c:pt idx="3072">
                  <c:v>44428</c:v>
                </c:pt>
                <c:pt idx="3073">
                  <c:v>44431</c:v>
                </c:pt>
                <c:pt idx="3074">
                  <c:v>44432</c:v>
                </c:pt>
                <c:pt idx="3075">
                  <c:v>44433</c:v>
                </c:pt>
                <c:pt idx="3076">
                  <c:v>44434</c:v>
                </c:pt>
                <c:pt idx="3077">
                  <c:v>44435</c:v>
                </c:pt>
                <c:pt idx="3078">
                  <c:v>44438</c:v>
                </c:pt>
                <c:pt idx="3079">
                  <c:v>44439</c:v>
                </c:pt>
                <c:pt idx="3080">
                  <c:v>44440</c:v>
                </c:pt>
                <c:pt idx="3081">
                  <c:v>44441</c:v>
                </c:pt>
                <c:pt idx="3082">
                  <c:v>44442</c:v>
                </c:pt>
                <c:pt idx="3083">
                  <c:v>44445</c:v>
                </c:pt>
                <c:pt idx="3084">
                  <c:v>44446</c:v>
                </c:pt>
                <c:pt idx="3085">
                  <c:v>44447</c:v>
                </c:pt>
                <c:pt idx="3086">
                  <c:v>44448</c:v>
                </c:pt>
                <c:pt idx="3087">
                  <c:v>44449</c:v>
                </c:pt>
                <c:pt idx="3088">
                  <c:v>44452</c:v>
                </c:pt>
                <c:pt idx="3089">
                  <c:v>44453</c:v>
                </c:pt>
                <c:pt idx="3090">
                  <c:v>44454</c:v>
                </c:pt>
                <c:pt idx="3091">
                  <c:v>44455</c:v>
                </c:pt>
                <c:pt idx="3092">
                  <c:v>44456</c:v>
                </c:pt>
                <c:pt idx="3093">
                  <c:v>44461</c:v>
                </c:pt>
                <c:pt idx="3094">
                  <c:v>44462</c:v>
                </c:pt>
                <c:pt idx="3095">
                  <c:v>44463</c:v>
                </c:pt>
                <c:pt idx="3096">
                  <c:v>44466</c:v>
                </c:pt>
                <c:pt idx="3097">
                  <c:v>44467</c:v>
                </c:pt>
                <c:pt idx="3098">
                  <c:v>44468</c:v>
                </c:pt>
                <c:pt idx="3099">
                  <c:v>44469</c:v>
                </c:pt>
                <c:pt idx="3100">
                  <c:v>44477</c:v>
                </c:pt>
                <c:pt idx="3101">
                  <c:v>44480</c:v>
                </c:pt>
                <c:pt idx="3102">
                  <c:v>44481</c:v>
                </c:pt>
                <c:pt idx="3103">
                  <c:v>44482</c:v>
                </c:pt>
                <c:pt idx="3104">
                  <c:v>44483</c:v>
                </c:pt>
                <c:pt idx="3105">
                  <c:v>44484</c:v>
                </c:pt>
                <c:pt idx="3106">
                  <c:v>44487</c:v>
                </c:pt>
                <c:pt idx="3107">
                  <c:v>44488</c:v>
                </c:pt>
                <c:pt idx="3108">
                  <c:v>44489</c:v>
                </c:pt>
                <c:pt idx="3109">
                  <c:v>44490</c:v>
                </c:pt>
                <c:pt idx="3110">
                  <c:v>44491</c:v>
                </c:pt>
                <c:pt idx="3111">
                  <c:v>44494</c:v>
                </c:pt>
                <c:pt idx="3112">
                  <c:v>44495</c:v>
                </c:pt>
                <c:pt idx="3113">
                  <c:v>44496</c:v>
                </c:pt>
                <c:pt idx="3114">
                  <c:v>44497</c:v>
                </c:pt>
                <c:pt idx="3115">
                  <c:v>44498</c:v>
                </c:pt>
                <c:pt idx="3116">
                  <c:v>44501</c:v>
                </c:pt>
                <c:pt idx="3117">
                  <c:v>44502</c:v>
                </c:pt>
                <c:pt idx="3118">
                  <c:v>44503</c:v>
                </c:pt>
                <c:pt idx="3119">
                  <c:v>44504</c:v>
                </c:pt>
                <c:pt idx="3120">
                  <c:v>44505</c:v>
                </c:pt>
                <c:pt idx="3121">
                  <c:v>44508</c:v>
                </c:pt>
                <c:pt idx="3122">
                  <c:v>44509</c:v>
                </c:pt>
                <c:pt idx="3123">
                  <c:v>44510</c:v>
                </c:pt>
                <c:pt idx="3124">
                  <c:v>44511</c:v>
                </c:pt>
                <c:pt idx="3125">
                  <c:v>44512</c:v>
                </c:pt>
                <c:pt idx="3126">
                  <c:v>44515</c:v>
                </c:pt>
                <c:pt idx="3127">
                  <c:v>44516</c:v>
                </c:pt>
                <c:pt idx="3128">
                  <c:v>44517</c:v>
                </c:pt>
                <c:pt idx="3129">
                  <c:v>44518</c:v>
                </c:pt>
                <c:pt idx="3130">
                  <c:v>44519</c:v>
                </c:pt>
                <c:pt idx="3131">
                  <c:v>44522</c:v>
                </c:pt>
                <c:pt idx="3132">
                  <c:v>44523</c:v>
                </c:pt>
                <c:pt idx="3133">
                  <c:v>44524</c:v>
                </c:pt>
                <c:pt idx="3134">
                  <c:v>44525</c:v>
                </c:pt>
                <c:pt idx="3135">
                  <c:v>44526</c:v>
                </c:pt>
                <c:pt idx="3136">
                  <c:v>44529</c:v>
                </c:pt>
                <c:pt idx="3137">
                  <c:v>44530</c:v>
                </c:pt>
                <c:pt idx="3138">
                  <c:v>44531</c:v>
                </c:pt>
                <c:pt idx="3139">
                  <c:v>44532</c:v>
                </c:pt>
                <c:pt idx="3140">
                  <c:v>44533</c:v>
                </c:pt>
                <c:pt idx="3141">
                  <c:v>44536</c:v>
                </c:pt>
                <c:pt idx="3142">
                  <c:v>44537</c:v>
                </c:pt>
                <c:pt idx="3143">
                  <c:v>44538</c:v>
                </c:pt>
                <c:pt idx="3144">
                  <c:v>44539</c:v>
                </c:pt>
                <c:pt idx="3145">
                  <c:v>44540</c:v>
                </c:pt>
                <c:pt idx="3146">
                  <c:v>44543</c:v>
                </c:pt>
                <c:pt idx="3147">
                  <c:v>44544</c:v>
                </c:pt>
                <c:pt idx="3148">
                  <c:v>44545</c:v>
                </c:pt>
                <c:pt idx="3149">
                  <c:v>44546</c:v>
                </c:pt>
                <c:pt idx="3150">
                  <c:v>44547</c:v>
                </c:pt>
                <c:pt idx="3151">
                  <c:v>44550</c:v>
                </c:pt>
                <c:pt idx="3152">
                  <c:v>44551</c:v>
                </c:pt>
                <c:pt idx="3153">
                  <c:v>44552</c:v>
                </c:pt>
                <c:pt idx="3154">
                  <c:v>44553</c:v>
                </c:pt>
                <c:pt idx="3155">
                  <c:v>44554</c:v>
                </c:pt>
                <c:pt idx="3156">
                  <c:v>44557</c:v>
                </c:pt>
                <c:pt idx="3157">
                  <c:v>44558</c:v>
                </c:pt>
                <c:pt idx="3158">
                  <c:v>44559</c:v>
                </c:pt>
                <c:pt idx="3159">
                  <c:v>44560</c:v>
                </c:pt>
                <c:pt idx="3160">
                  <c:v>44561</c:v>
                </c:pt>
                <c:pt idx="3161">
                  <c:v>44565</c:v>
                </c:pt>
                <c:pt idx="3162">
                  <c:v>44566</c:v>
                </c:pt>
                <c:pt idx="3163">
                  <c:v>44567</c:v>
                </c:pt>
                <c:pt idx="3164">
                  <c:v>44568</c:v>
                </c:pt>
                <c:pt idx="3165">
                  <c:v>44571</c:v>
                </c:pt>
                <c:pt idx="3166">
                  <c:v>44572</c:v>
                </c:pt>
                <c:pt idx="3167">
                  <c:v>44573</c:v>
                </c:pt>
                <c:pt idx="3168">
                  <c:v>44574</c:v>
                </c:pt>
                <c:pt idx="3169">
                  <c:v>44575</c:v>
                </c:pt>
                <c:pt idx="3170">
                  <c:v>44578</c:v>
                </c:pt>
                <c:pt idx="3171">
                  <c:v>44579</c:v>
                </c:pt>
                <c:pt idx="3172">
                  <c:v>44580</c:v>
                </c:pt>
                <c:pt idx="3173">
                  <c:v>44581</c:v>
                </c:pt>
                <c:pt idx="3174">
                  <c:v>44582</c:v>
                </c:pt>
                <c:pt idx="3175">
                  <c:v>44585</c:v>
                </c:pt>
                <c:pt idx="3176">
                  <c:v>44586</c:v>
                </c:pt>
                <c:pt idx="3177">
                  <c:v>44587</c:v>
                </c:pt>
                <c:pt idx="3178">
                  <c:v>44588</c:v>
                </c:pt>
                <c:pt idx="3179">
                  <c:v>44589</c:v>
                </c:pt>
                <c:pt idx="3180">
                  <c:v>44599</c:v>
                </c:pt>
                <c:pt idx="3181">
                  <c:v>44600</c:v>
                </c:pt>
                <c:pt idx="3182">
                  <c:v>44601</c:v>
                </c:pt>
                <c:pt idx="3183">
                  <c:v>44602</c:v>
                </c:pt>
                <c:pt idx="3184">
                  <c:v>44603</c:v>
                </c:pt>
                <c:pt idx="3185">
                  <c:v>44606</c:v>
                </c:pt>
                <c:pt idx="3186">
                  <c:v>44607</c:v>
                </c:pt>
                <c:pt idx="3187">
                  <c:v>44608</c:v>
                </c:pt>
                <c:pt idx="3188">
                  <c:v>44609</c:v>
                </c:pt>
                <c:pt idx="3189">
                  <c:v>44610</c:v>
                </c:pt>
                <c:pt idx="3190">
                  <c:v>44613</c:v>
                </c:pt>
                <c:pt idx="3191">
                  <c:v>44614</c:v>
                </c:pt>
                <c:pt idx="3192">
                  <c:v>44615</c:v>
                </c:pt>
                <c:pt idx="3193">
                  <c:v>44616</c:v>
                </c:pt>
                <c:pt idx="3194">
                  <c:v>44617</c:v>
                </c:pt>
                <c:pt idx="3195">
                  <c:v>44620</c:v>
                </c:pt>
                <c:pt idx="3196">
                  <c:v>44621</c:v>
                </c:pt>
                <c:pt idx="3197">
                  <c:v>44622</c:v>
                </c:pt>
                <c:pt idx="3198">
                  <c:v>44623</c:v>
                </c:pt>
                <c:pt idx="3199">
                  <c:v>44624</c:v>
                </c:pt>
                <c:pt idx="3200">
                  <c:v>44627</c:v>
                </c:pt>
                <c:pt idx="3201">
                  <c:v>44628</c:v>
                </c:pt>
                <c:pt idx="3202">
                  <c:v>44629</c:v>
                </c:pt>
                <c:pt idx="3203">
                  <c:v>44630</c:v>
                </c:pt>
                <c:pt idx="3204">
                  <c:v>44631</c:v>
                </c:pt>
                <c:pt idx="3205">
                  <c:v>44634</c:v>
                </c:pt>
                <c:pt idx="3206">
                  <c:v>44635</c:v>
                </c:pt>
                <c:pt idx="3207">
                  <c:v>44636</c:v>
                </c:pt>
                <c:pt idx="3208">
                  <c:v>44637</c:v>
                </c:pt>
                <c:pt idx="3209">
                  <c:v>44638</c:v>
                </c:pt>
                <c:pt idx="3210">
                  <c:v>44641</c:v>
                </c:pt>
                <c:pt idx="3211">
                  <c:v>44642</c:v>
                </c:pt>
                <c:pt idx="3212">
                  <c:v>44643</c:v>
                </c:pt>
                <c:pt idx="3213">
                  <c:v>44644</c:v>
                </c:pt>
                <c:pt idx="3214">
                  <c:v>44645</c:v>
                </c:pt>
                <c:pt idx="3215">
                  <c:v>44648</c:v>
                </c:pt>
                <c:pt idx="3216">
                  <c:v>44649</c:v>
                </c:pt>
                <c:pt idx="3217">
                  <c:v>44650</c:v>
                </c:pt>
                <c:pt idx="3218">
                  <c:v>44651</c:v>
                </c:pt>
                <c:pt idx="3219">
                  <c:v>44652</c:v>
                </c:pt>
                <c:pt idx="3220">
                  <c:v>44657</c:v>
                </c:pt>
                <c:pt idx="3221">
                  <c:v>44658</c:v>
                </c:pt>
                <c:pt idx="3222">
                  <c:v>44659</c:v>
                </c:pt>
              </c:numCache>
            </c:numRef>
          </c:cat>
          <c:val>
            <c:numRef>
              <c:f>indicators!$N$2:$N$3224</c:f>
              <c:numCache>
                <c:formatCode>General</c:formatCode>
                <c:ptCount val="3223"/>
                <c:pt idx="0">
                  <c:v>2.2727619020000001</c:v>
                </c:pt>
                <c:pt idx="1">
                  <c:v>2.2770492600000001</c:v>
                </c:pt>
                <c:pt idx="2">
                  <c:v>2.280133862</c:v>
                </c:pt>
                <c:pt idx="3">
                  <c:v>2.286296214</c:v>
                </c:pt>
                <c:pt idx="4">
                  <c:v>2.2919461210000001</c:v>
                </c:pt>
                <c:pt idx="5">
                  <c:v>2.2998351449999999</c:v>
                </c:pt>
                <c:pt idx="6">
                  <c:v>2.3057073680000002</c:v>
                </c:pt>
                <c:pt idx="7">
                  <c:v>2.320343512</c:v>
                </c:pt>
                <c:pt idx="8">
                  <c:v>2.3248361399999999</c:v>
                </c:pt>
                <c:pt idx="9">
                  <c:v>2.319189341</c:v>
                </c:pt>
                <c:pt idx="10">
                  <c:v>2.3197312069999998</c:v>
                </c:pt>
                <c:pt idx="11">
                  <c:v>2.327670489</c:v>
                </c:pt>
                <c:pt idx="12">
                  <c:v>2.3271299719999998</c:v>
                </c:pt>
                <c:pt idx="13">
                  <c:v>2.3322796609999998</c:v>
                </c:pt>
                <c:pt idx="14">
                  <c:v>2.332752208</c:v>
                </c:pt>
                <c:pt idx="15">
                  <c:v>2.3398698169999999</c:v>
                </c:pt>
                <c:pt idx="16">
                  <c:v>2.3379511430000002</c:v>
                </c:pt>
                <c:pt idx="17">
                  <c:v>2.3247211569999999</c:v>
                </c:pt>
                <c:pt idx="18">
                  <c:v>2.292179027</c:v>
                </c:pt>
                <c:pt idx="19">
                  <c:v>2.2854711440000002</c:v>
                </c:pt>
                <c:pt idx="20">
                  <c:v>2.2811523249999999</c:v>
                </c:pt>
                <c:pt idx="21">
                  <c:v>2.2737638750000002</c:v>
                </c:pt>
                <c:pt idx="22">
                  <c:v>2.2355648100000001</c:v>
                </c:pt>
                <c:pt idx="23">
                  <c:v>2.2231892929999999</c:v>
                </c:pt>
                <c:pt idx="24">
                  <c:v>2.2145095330000002</c:v>
                </c:pt>
                <c:pt idx="25">
                  <c:v>2.2005547640000001</c:v>
                </c:pt>
                <c:pt idx="26">
                  <c:v>2.1940990930000002</c:v>
                </c:pt>
                <c:pt idx="27">
                  <c:v>2.1647358780000001</c:v>
                </c:pt>
                <c:pt idx="28">
                  <c:v>2.1607397580000001</c:v>
                </c:pt>
                <c:pt idx="29">
                  <c:v>2.1541765060000002</c:v>
                </c:pt>
                <c:pt idx="30">
                  <c:v>2.1445950009999999</c:v>
                </c:pt>
                <c:pt idx="31">
                  <c:v>2.1393100220000001</c:v>
                </c:pt>
                <c:pt idx="32">
                  <c:v>2.1270390639999999</c:v>
                </c:pt>
                <c:pt idx="33">
                  <c:v>2.1264244830000001</c:v>
                </c:pt>
                <c:pt idx="34">
                  <c:v>2.1222737880000002</c:v>
                </c:pt>
                <c:pt idx="35">
                  <c:v>2.12146883</c:v>
                </c:pt>
                <c:pt idx="36">
                  <c:v>2.1164791350000001</c:v>
                </c:pt>
                <c:pt idx="37">
                  <c:v>2.12162089</c:v>
                </c:pt>
                <c:pt idx="38">
                  <c:v>2.108544975</c:v>
                </c:pt>
                <c:pt idx="39">
                  <c:v>2.098186133</c:v>
                </c:pt>
                <c:pt idx="40">
                  <c:v>2.0948595989999999</c:v>
                </c:pt>
                <c:pt idx="41">
                  <c:v>2.091848589</c:v>
                </c:pt>
                <c:pt idx="42">
                  <c:v>2.0870170250000002</c:v>
                </c:pt>
                <c:pt idx="43">
                  <c:v>2.0858893190000001</c:v>
                </c:pt>
                <c:pt idx="44">
                  <c:v>2.085161153</c:v>
                </c:pt>
                <c:pt idx="45">
                  <c:v>2.086526546</c:v>
                </c:pt>
                <c:pt idx="46">
                  <c:v>2.0848463769999999</c:v>
                </c:pt>
                <c:pt idx="47">
                  <c:v>2.0758548920000002</c:v>
                </c:pt>
                <c:pt idx="48">
                  <c:v>2.0728631339999999</c:v>
                </c:pt>
                <c:pt idx="49">
                  <c:v>2.0628770460000001</c:v>
                </c:pt>
                <c:pt idx="50">
                  <c:v>2.0581853209999998</c:v>
                </c:pt>
                <c:pt idx="51">
                  <c:v>2.049068976</c:v>
                </c:pt>
                <c:pt idx="52">
                  <c:v>2.0349643469999998</c:v>
                </c:pt>
                <c:pt idx="53">
                  <c:v>2.0210312400000001</c:v>
                </c:pt>
                <c:pt idx="54">
                  <c:v>2.006813615</c:v>
                </c:pt>
                <c:pt idx="55">
                  <c:v>2.0000486159999999</c:v>
                </c:pt>
                <c:pt idx="56">
                  <c:v>1.9958300739999999</c:v>
                </c:pt>
                <c:pt idx="57">
                  <c:v>1.979721533</c:v>
                </c:pt>
                <c:pt idx="58">
                  <c:v>1.968623652</c:v>
                </c:pt>
                <c:pt idx="59">
                  <c:v>1.9581367279999999</c:v>
                </c:pt>
                <c:pt idx="60">
                  <c:v>1.9469524840000001</c:v>
                </c:pt>
                <c:pt idx="61">
                  <c:v>1.940977357</c:v>
                </c:pt>
                <c:pt idx="62">
                  <c:v>1.93554217</c:v>
                </c:pt>
                <c:pt idx="63">
                  <c:v>1.922132081</c:v>
                </c:pt>
                <c:pt idx="64">
                  <c:v>1.9184825599999999</c:v>
                </c:pt>
                <c:pt idx="65">
                  <c:v>1.90853932</c:v>
                </c:pt>
                <c:pt idx="66">
                  <c:v>1.891622624</c:v>
                </c:pt>
                <c:pt idx="67">
                  <c:v>1.885668374</c:v>
                </c:pt>
                <c:pt idx="68">
                  <c:v>1.8699478</c:v>
                </c:pt>
                <c:pt idx="69">
                  <c:v>1.864332597</c:v>
                </c:pt>
                <c:pt idx="70">
                  <c:v>1.8566797340000001</c:v>
                </c:pt>
                <c:pt idx="71">
                  <c:v>1.834284993</c:v>
                </c:pt>
                <c:pt idx="72">
                  <c:v>1.8296843949999999</c:v>
                </c:pt>
                <c:pt idx="73">
                  <c:v>1.82317555</c:v>
                </c:pt>
                <c:pt idx="74">
                  <c:v>1.8174593859999999</c:v>
                </c:pt>
                <c:pt idx="75">
                  <c:v>1.810363521</c:v>
                </c:pt>
                <c:pt idx="76">
                  <c:v>1.81272802</c:v>
                </c:pt>
                <c:pt idx="77">
                  <c:v>1.808336239</c:v>
                </c:pt>
                <c:pt idx="78">
                  <c:v>1.800411357</c:v>
                </c:pt>
                <c:pt idx="79">
                  <c:v>1.7714983929999999</c:v>
                </c:pt>
                <c:pt idx="80">
                  <c:v>1.7775771140000001</c:v>
                </c:pt>
                <c:pt idx="81">
                  <c:v>1.770791397</c:v>
                </c:pt>
                <c:pt idx="82">
                  <c:v>1.765036292</c:v>
                </c:pt>
                <c:pt idx="83">
                  <c:v>1.755007856</c:v>
                </c:pt>
                <c:pt idx="84">
                  <c:v>1.7558156979999999</c:v>
                </c:pt>
                <c:pt idx="85">
                  <c:v>1.7544695690000001</c:v>
                </c:pt>
                <c:pt idx="86">
                  <c:v>1.7446630860000001</c:v>
                </c:pt>
                <c:pt idx="87">
                  <c:v>1.741587526</c:v>
                </c:pt>
                <c:pt idx="88">
                  <c:v>1.7414388700000001</c:v>
                </c:pt>
                <c:pt idx="89">
                  <c:v>1.7391634410000001</c:v>
                </c:pt>
                <c:pt idx="90">
                  <c:v>1.7372572340000001</c:v>
                </c:pt>
                <c:pt idx="91">
                  <c:v>1.732497001</c:v>
                </c:pt>
                <c:pt idx="92">
                  <c:v>1.733427018</c:v>
                </c:pt>
                <c:pt idx="93">
                  <c:v>1.7313535410000001</c:v>
                </c:pt>
                <c:pt idx="94">
                  <c:v>1.729254026</c:v>
                </c:pt>
                <c:pt idx="95">
                  <c:v>1.7160484920000001</c:v>
                </c:pt>
                <c:pt idx="96">
                  <c:v>1.714119454</c:v>
                </c:pt>
                <c:pt idx="97">
                  <c:v>1.707216286</c:v>
                </c:pt>
                <c:pt idx="98">
                  <c:v>1.7036310429999999</c:v>
                </c:pt>
                <c:pt idx="99">
                  <c:v>1.690668955</c:v>
                </c:pt>
                <c:pt idx="100">
                  <c:v>1.6839606739999999</c:v>
                </c:pt>
                <c:pt idx="101">
                  <c:v>1.6744896090000001</c:v>
                </c:pt>
                <c:pt idx="102">
                  <c:v>1.6663615540000001</c:v>
                </c:pt>
                <c:pt idx="103">
                  <c:v>1.660138841</c:v>
                </c:pt>
                <c:pt idx="104">
                  <c:v>1.6561021359999999</c:v>
                </c:pt>
                <c:pt idx="105">
                  <c:v>1.6553867250000001</c:v>
                </c:pt>
                <c:pt idx="106">
                  <c:v>1.652549096</c:v>
                </c:pt>
                <c:pt idx="107">
                  <c:v>1.648051017</c:v>
                </c:pt>
                <c:pt idx="108">
                  <c:v>1.6447084839999999</c:v>
                </c:pt>
                <c:pt idx="109">
                  <c:v>1.6099747600000001</c:v>
                </c:pt>
                <c:pt idx="110">
                  <c:v>1.6026016439999999</c:v>
                </c:pt>
                <c:pt idx="111">
                  <c:v>1.5955118150000001</c:v>
                </c:pt>
                <c:pt idx="112">
                  <c:v>1.5831052990000001</c:v>
                </c:pt>
                <c:pt idx="113">
                  <c:v>1.577461998</c:v>
                </c:pt>
                <c:pt idx="114">
                  <c:v>1.567151242</c:v>
                </c:pt>
                <c:pt idx="115">
                  <c:v>1.554908738</c:v>
                </c:pt>
                <c:pt idx="116">
                  <c:v>1.5274460219999999</c:v>
                </c:pt>
                <c:pt idx="117">
                  <c:v>1.5223396069999999</c:v>
                </c:pt>
                <c:pt idx="118">
                  <c:v>1.5172209379999999</c:v>
                </c:pt>
                <c:pt idx="119">
                  <c:v>1.5102061040000001</c:v>
                </c:pt>
                <c:pt idx="120">
                  <c:v>1.500241223</c:v>
                </c:pt>
                <c:pt idx="121">
                  <c:v>1.499116844</c:v>
                </c:pt>
                <c:pt idx="122">
                  <c:v>1.482882407</c:v>
                </c:pt>
                <c:pt idx="123">
                  <c:v>1.4796438750000001</c:v>
                </c:pt>
                <c:pt idx="124">
                  <c:v>1.4727075279999999</c:v>
                </c:pt>
                <c:pt idx="125">
                  <c:v>1.4708235160000001</c:v>
                </c:pt>
                <c:pt idx="126">
                  <c:v>1.469151895</c:v>
                </c:pt>
                <c:pt idx="127">
                  <c:v>1.4707494210000001</c:v>
                </c:pt>
                <c:pt idx="128">
                  <c:v>1.4596225730000001</c:v>
                </c:pt>
                <c:pt idx="129">
                  <c:v>1.4586180790000001</c:v>
                </c:pt>
                <c:pt idx="130">
                  <c:v>1.454290496</c:v>
                </c:pt>
                <c:pt idx="131">
                  <c:v>1.454605476</c:v>
                </c:pt>
                <c:pt idx="132">
                  <c:v>1.4534867739999999</c:v>
                </c:pt>
                <c:pt idx="133">
                  <c:v>1.452812744</c:v>
                </c:pt>
                <c:pt idx="134">
                  <c:v>1.4437390059999999</c:v>
                </c:pt>
                <c:pt idx="135">
                  <c:v>1.4344110269999999</c:v>
                </c:pt>
                <c:pt idx="136">
                  <c:v>1.432448578</c:v>
                </c:pt>
                <c:pt idx="137">
                  <c:v>1.425285269</c:v>
                </c:pt>
                <c:pt idx="138">
                  <c:v>1.4280437029999999</c:v>
                </c:pt>
                <c:pt idx="139">
                  <c:v>1.4254049980000001</c:v>
                </c:pt>
                <c:pt idx="140">
                  <c:v>1.425135187</c:v>
                </c:pt>
                <c:pt idx="141">
                  <c:v>1.420219557</c:v>
                </c:pt>
                <c:pt idx="142">
                  <c:v>1.4172559849999999</c:v>
                </c:pt>
                <c:pt idx="143">
                  <c:v>1.4158635740000001</c:v>
                </c:pt>
                <c:pt idx="144">
                  <c:v>1.4144053270000001</c:v>
                </c:pt>
                <c:pt idx="145">
                  <c:v>1.416799167</c:v>
                </c:pt>
                <c:pt idx="146">
                  <c:v>1.411829945</c:v>
                </c:pt>
                <c:pt idx="147">
                  <c:v>1.411235018</c:v>
                </c:pt>
                <c:pt idx="148">
                  <c:v>1.4161049809999999</c:v>
                </c:pt>
                <c:pt idx="149">
                  <c:v>1.412333694</c:v>
                </c:pt>
                <c:pt idx="150">
                  <c:v>1.4146400539999999</c:v>
                </c:pt>
                <c:pt idx="151">
                  <c:v>1.43073958</c:v>
                </c:pt>
                <c:pt idx="152">
                  <c:v>1.4196725059999999</c:v>
                </c:pt>
                <c:pt idx="153">
                  <c:v>1.417831641</c:v>
                </c:pt>
                <c:pt idx="154">
                  <c:v>1.423794072</c:v>
                </c:pt>
                <c:pt idx="155">
                  <c:v>1.423909608</c:v>
                </c:pt>
                <c:pt idx="156">
                  <c:v>1.422509477</c:v>
                </c:pt>
                <c:pt idx="157">
                  <c:v>1.426657391</c:v>
                </c:pt>
                <c:pt idx="158">
                  <c:v>1.4149703069999999</c:v>
                </c:pt>
                <c:pt idx="159">
                  <c:v>1.4134557699999999</c:v>
                </c:pt>
                <c:pt idx="160">
                  <c:v>1.395726011</c:v>
                </c:pt>
                <c:pt idx="161">
                  <c:v>1.414325815</c:v>
                </c:pt>
                <c:pt idx="162">
                  <c:v>1.412701344</c:v>
                </c:pt>
                <c:pt idx="163">
                  <c:v>1.4129412960000001</c:v>
                </c:pt>
                <c:pt idx="164">
                  <c:v>1.4194938930000001</c:v>
                </c:pt>
                <c:pt idx="165">
                  <c:v>1.418471783</c:v>
                </c:pt>
                <c:pt idx="166">
                  <c:v>1.4173681389999999</c:v>
                </c:pt>
                <c:pt idx="167">
                  <c:v>1.4162577940000001</c:v>
                </c:pt>
                <c:pt idx="168">
                  <c:v>1.409077339</c:v>
                </c:pt>
                <c:pt idx="169">
                  <c:v>1.408159605</c:v>
                </c:pt>
                <c:pt idx="170">
                  <c:v>1.407509232</c:v>
                </c:pt>
                <c:pt idx="171">
                  <c:v>1.406975901</c:v>
                </c:pt>
                <c:pt idx="172">
                  <c:v>1.401233457</c:v>
                </c:pt>
                <c:pt idx="173">
                  <c:v>1.397376924</c:v>
                </c:pt>
                <c:pt idx="174">
                  <c:v>1.3966198169999999</c:v>
                </c:pt>
                <c:pt idx="175">
                  <c:v>1.401137402</c:v>
                </c:pt>
                <c:pt idx="176">
                  <c:v>1.3939689980000001</c:v>
                </c:pt>
                <c:pt idx="177">
                  <c:v>1.3952910080000001</c:v>
                </c:pt>
                <c:pt idx="178">
                  <c:v>1.391407501</c:v>
                </c:pt>
                <c:pt idx="179">
                  <c:v>1.385341937</c:v>
                </c:pt>
                <c:pt idx="180">
                  <c:v>1.3864873470000001</c:v>
                </c:pt>
                <c:pt idx="181">
                  <c:v>1.357808656</c:v>
                </c:pt>
                <c:pt idx="182">
                  <c:v>1.347493144</c:v>
                </c:pt>
                <c:pt idx="183">
                  <c:v>1.344753831</c:v>
                </c:pt>
                <c:pt idx="184">
                  <c:v>1.3562703869999999</c:v>
                </c:pt>
                <c:pt idx="185">
                  <c:v>1.3522074749999999</c:v>
                </c:pt>
                <c:pt idx="186">
                  <c:v>1.3544676689999999</c:v>
                </c:pt>
                <c:pt idx="187">
                  <c:v>1.338841395</c:v>
                </c:pt>
                <c:pt idx="188">
                  <c:v>1.3373612969999999</c:v>
                </c:pt>
                <c:pt idx="189">
                  <c:v>1.3301166149999999</c:v>
                </c:pt>
                <c:pt idx="190">
                  <c:v>1.3308327600000001</c:v>
                </c:pt>
                <c:pt idx="191">
                  <c:v>1.3195798050000001</c:v>
                </c:pt>
                <c:pt idx="192">
                  <c:v>1.3124391929999999</c:v>
                </c:pt>
                <c:pt idx="193">
                  <c:v>1.310775982</c:v>
                </c:pt>
                <c:pt idx="194">
                  <c:v>1.309831269</c:v>
                </c:pt>
                <c:pt idx="195">
                  <c:v>1.296800851</c:v>
                </c:pt>
                <c:pt idx="196">
                  <c:v>1.3017036829999999</c:v>
                </c:pt>
                <c:pt idx="197">
                  <c:v>1.29779234</c:v>
                </c:pt>
                <c:pt idx="198">
                  <c:v>1.301363211</c:v>
                </c:pt>
                <c:pt idx="199">
                  <c:v>1.299006952</c:v>
                </c:pt>
                <c:pt idx="200">
                  <c:v>1.304261264</c:v>
                </c:pt>
                <c:pt idx="201">
                  <c:v>1.3003785480000001</c:v>
                </c:pt>
                <c:pt idx="202">
                  <c:v>1.2724650239999999</c:v>
                </c:pt>
                <c:pt idx="203">
                  <c:v>1.2703121500000001</c:v>
                </c:pt>
                <c:pt idx="204">
                  <c:v>1.266280211</c:v>
                </c:pt>
                <c:pt idx="205">
                  <c:v>1.2654944809999999</c:v>
                </c:pt>
                <c:pt idx="206">
                  <c:v>1.2627127149999999</c:v>
                </c:pt>
                <c:pt idx="207">
                  <c:v>1.2624569889999999</c:v>
                </c:pt>
                <c:pt idx="208">
                  <c:v>1.26066481</c:v>
                </c:pt>
                <c:pt idx="209">
                  <c:v>1.255513589</c:v>
                </c:pt>
                <c:pt idx="210">
                  <c:v>1.2541921920000001</c:v>
                </c:pt>
                <c:pt idx="211">
                  <c:v>1.25302008</c:v>
                </c:pt>
                <c:pt idx="212">
                  <c:v>1.2322383320000001</c:v>
                </c:pt>
                <c:pt idx="213">
                  <c:v>1.2329549870000001</c:v>
                </c:pt>
                <c:pt idx="214">
                  <c:v>1.233282752</c:v>
                </c:pt>
                <c:pt idx="215">
                  <c:v>1.230421856</c:v>
                </c:pt>
                <c:pt idx="216">
                  <c:v>1.232886243</c:v>
                </c:pt>
                <c:pt idx="217">
                  <c:v>1.236513441</c:v>
                </c:pt>
                <c:pt idx="218">
                  <c:v>1.2173333420000001</c:v>
                </c:pt>
                <c:pt idx="219">
                  <c:v>1.209173056</c:v>
                </c:pt>
                <c:pt idx="220">
                  <c:v>1.2187388939999999</c:v>
                </c:pt>
                <c:pt idx="221">
                  <c:v>1.2224581480000001</c:v>
                </c:pt>
                <c:pt idx="222">
                  <c:v>1.2121922060000001</c:v>
                </c:pt>
                <c:pt idx="223">
                  <c:v>1.2130266460000001</c:v>
                </c:pt>
                <c:pt idx="224">
                  <c:v>1.2127934950000001</c:v>
                </c:pt>
                <c:pt idx="225">
                  <c:v>1.2160310910000001</c:v>
                </c:pt>
                <c:pt idx="226">
                  <c:v>1.215229219</c:v>
                </c:pt>
                <c:pt idx="227">
                  <c:v>1.217767083</c:v>
                </c:pt>
                <c:pt idx="228">
                  <c:v>1.2203272190000001</c:v>
                </c:pt>
                <c:pt idx="229">
                  <c:v>1.2155155120000001</c:v>
                </c:pt>
                <c:pt idx="230">
                  <c:v>1.22081931</c:v>
                </c:pt>
                <c:pt idx="231">
                  <c:v>1.2233401880000001</c:v>
                </c:pt>
                <c:pt idx="232">
                  <c:v>1.2212582510000001</c:v>
                </c:pt>
                <c:pt idx="233">
                  <c:v>1.2241553110000001</c:v>
                </c:pt>
                <c:pt idx="234">
                  <c:v>1.2285932879999999</c:v>
                </c:pt>
                <c:pt idx="235">
                  <c:v>1.228210072</c:v>
                </c:pt>
                <c:pt idx="236">
                  <c:v>1.224664497</c:v>
                </c:pt>
                <c:pt idx="237">
                  <c:v>1.2266037299999999</c:v>
                </c:pt>
                <c:pt idx="238">
                  <c:v>1.232181368</c:v>
                </c:pt>
                <c:pt idx="239">
                  <c:v>1.234979069</c:v>
                </c:pt>
                <c:pt idx="240">
                  <c:v>1.2364191659999999</c:v>
                </c:pt>
                <c:pt idx="241">
                  <c:v>1.239226411</c:v>
                </c:pt>
                <c:pt idx="242">
                  <c:v>1.23897586</c:v>
                </c:pt>
                <c:pt idx="243">
                  <c:v>1.2219089970000001</c:v>
                </c:pt>
                <c:pt idx="244">
                  <c:v>1.2193034549999999</c:v>
                </c:pt>
                <c:pt idx="245">
                  <c:v>1.2156323410000001</c:v>
                </c:pt>
                <c:pt idx="246">
                  <c:v>1.213110111</c:v>
                </c:pt>
                <c:pt idx="247">
                  <c:v>1.2134191080000001</c:v>
                </c:pt>
                <c:pt idx="248">
                  <c:v>1.211103013</c:v>
                </c:pt>
                <c:pt idx="249">
                  <c:v>1.2066317740000001</c:v>
                </c:pt>
                <c:pt idx="250">
                  <c:v>1.1992881310000001</c:v>
                </c:pt>
                <c:pt idx="251">
                  <c:v>1.1997401459999999</c:v>
                </c:pt>
                <c:pt idx="252">
                  <c:v>1.199045634</c:v>
                </c:pt>
                <c:pt idx="253">
                  <c:v>1.1950142530000001</c:v>
                </c:pt>
                <c:pt idx="254">
                  <c:v>1.1923993079999999</c:v>
                </c:pt>
                <c:pt idx="255">
                  <c:v>1.1916520719999999</c:v>
                </c:pt>
                <c:pt idx="256">
                  <c:v>1.1929867620000001</c:v>
                </c:pt>
                <c:pt idx="257">
                  <c:v>1.1841414480000001</c:v>
                </c:pt>
                <c:pt idx="258">
                  <c:v>1.185203392</c:v>
                </c:pt>
                <c:pt idx="259">
                  <c:v>1.1890829599999999</c:v>
                </c:pt>
                <c:pt idx="260">
                  <c:v>1.195767333</c:v>
                </c:pt>
                <c:pt idx="261">
                  <c:v>1.197545512</c:v>
                </c:pt>
                <c:pt idx="262">
                  <c:v>1.199484161</c:v>
                </c:pt>
                <c:pt idx="263">
                  <c:v>1.2000829980000001</c:v>
                </c:pt>
                <c:pt idx="264">
                  <c:v>1.2022733569999999</c:v>
                </c:pt>
                <c:pt idx="265">
                  <c:v>1.202014157</c:v>
                </c:pt>
                <c:pt idx="266">
                  <c:v>1.2051298420000001</c:v>
                </c:pt>
                <c:pt idx="267">
                  <c:v>1.2062187689999999</c:v>
                </c:pt>
                <c:pt idx="268">
                  <c:v>1.21410632</c:v>
                </c:pt>
                <c:pt idx="269">
                  <c:v>1.2113395730000001</c:v>
                </c:pt>
                <c:pt idx="270">
                  <c:v>1.2151340900000001</c:v>
                </c:pt>
                <c:pt idx="271">
                  <c:v>1.22162419</c:v>
                </c:pt>
                <c:pt idx="272">
                  <c:v>1.2307777010000001</c:v>
                </c:pt>
                <c:pt idx="273">
                  <c:v>1.2373457480000001</c:v>
                </c:pt>
                <c:pt idx="274">
                  <c:v>1.2398250280000001</c:v>
                </c:pt>
                <c:pt idx="275">
                  <c:v>1.2460076090000001</c:v>
                </c:pt>
                <c:pt idx="276">
                  <c:v>1.2479652370000001</c:v>
                </c:pt>
                <c:pt idx="277">
                  <c:v>1.2390954999999999</c:v>
                </c:pt>
                <c:pt idx="278">
                  <c:v>1.2424545039999999</c:v>
                </c:pt>
                <c:pt idx="279">
                  <c:v>1.2442592889999999</c:v>
                </c:pt>
                <c:pt idx="280">
                  <c:v>1.245921719</c:v>
                </c:pt>
                <c:pt idx="281">
                  <c:v>1.238322608</c:v>
                </c:pt>
                <c:pt idx="282">
                  <c:v>1.2482638189999999</c:v>
                </c:pt>
                <c:pt idx="283">
                  <c:v>1.2358952670000001</c:v>
                </c:pt>
                <c:pt idx="284">
                  <c:v>1.2367319320000001</c:v>
                </c:pt>
                <c:pt idx="285">
                  <c:v>1.23785525</c:v>
                </c:pt>
                <c:pt idx="286">
                  <c:v>1.239559573</c:v>
                </c:pt>
                <c:pt idx="287">
                  <c:v>1.218835965</c:v>
                </c:pt>
                <c:pt idx="288">
                  <c:v>1.2292929889999999</c:v>
                </c:pt>
                <c:pt idx="289">
                  <c:v>1.235424436</c:v>
                </c:pt>
                <c:pt idx="290">
                  <c:v>1.2300477329999999</c:v>
                </c:pt>
                <c:pt idx="291">
                  <c:v>1.2326566640000001</c:v>
                </c:pt>
                <c:pt idx="292">
                  <c:v>1.2342951849999999</c:v>
                </c:pt>
                <c:pt idx="293">
                  <c:v>1.235892368</c:v>
                </c:pt>
                <c:pt idx="294">
                  <c:v>1.23639407</c:v>
                </c:pt>
                <c:pt idx="295">
                  <c:v>1.2366251109999999</c:v>
                </c:pt>
                <c:pt idx="296">
                  <c:v>1.2328434539999999</c:v>
                </c:pt>
                <c:pt idx="297">
                  <c:v>1.2392383309999999</c:v>
                </c:pt>
                <c:pt idx="298">
                  <c:v>1.2413608359999999</c:v>
                </c:pt>
                <c:pt idx="299">
                  <c:v>1.2467430049999999</c:v>
                </c:pt>
                <c:pt idx="300">
                  <c:v>1.247409346</c:v>
                </c:pt>
                <c:pt idx="301">
                  <c:v>1.2529654809999999</c:v>
                </c:pt>
                <c:pt idx="302">
                  <c:v>1.2533146509999999</c:v>
                </c:pt>
                <c:pt idx="303">
                  <c:v>1.2511938220000001</c:v>
                </c:pt>
                <c:pt idx="304">
                  <c:v>1.257483286</c:v>
                </c:pt>
                <c:pt idx="305">
                  <c:v>1.2614042009999999</c:v>
                </c:pt>
                <c:pt idx="306">
                  <c:v>1.2653708100000001</c:v>
                </c:pt>
                <c:pt idx="307">
                  <c:v>1.2707734390000001</c:v>
                </c:pt>
                <c:pt idx="308">
                  <c:v>1.276686582</c:v>
                </c:pt>
                <c:pt idx="309">
                  <c:v>1.2824835670000001</c:v>
                </c:pt>
                <c:pt idx="310">
                  <c:v>1.2855340230000001</c:v>
                </c:pt>
                <c:pt idx="311">
                  <c:v>1.277545513</c:v>
                </c:pt>
                <c:pt idx="312">
                  <c:v>1.280026734</c:v>
                </c:pt>
                <c:pt idx="313">
                  <c:v>1.2991437139999999</c:v>
                </c:pt>
                <c:pt idx="314">
                  <c:v>1.3020593069999999</c:v>
                </c:pt>
                <c:pt idx="315">
                  <c:v>1.3091041059999999</c:v>
                </c:pt>
                <c:pt idx="316">
                  <c:v>1.313577432</c:v>
                </c:pt>
                <c:pt idx="317">
                  <c:v>1.3186183300000001</c:v>
                </c:pt>
                <c:pt idx="318">
                  <c:v>1.3218257410000001</c:v>
                </c:pt>
                <c:pt idx="319">
                  <c:v>1.3249789359999999</c:v>
                </c:pt>
                <c:pt idx="320">
                  <c:v>1.3300251599999999</c:v>
                </c:pt>
                <c:pt idx="321">
                  <c:v>1.3278502400000001</c:v>
                </c:pt>
                <c:pt idx="322">
                  <c:v>1.3308282060000001</c:v>
                </c:pt>
                <c:pt idx="323">
                  <c:v>1.336258599</c:v>
                </c:pt>
                <c:pt idx="324">
                  <c:v>1.334039889</c:v>
                </c:pt>
                <c:pt idx="325">
                  <c:v>1.354068021</c:v>
                </c:pt>
                <c:pt idx="326">
                  <c:v>1.352944634</c:v>
                </c:pt>
                <c:pt idx="327">
                  <c:v>1.358000442</c:v>
                </c:pt>
                <c:pt idx="328">
                  <c:v>1.358013301</c:v>
                </c:pt>
                <c:pt idx="329">
                  <c:v>1.3637652389999999</c:v>
                </c:pt>
                <c:pt idx="330">
                  <c:v>1.372686818</c:v>
                </c:pt>
                <c:pt idx="331">
                  <c:v>1.381821559</c:v>
                </c:pt>
                <c:pt idx="332">
                  <c:v>1.413516226</c:v>
                </c:pt>
                <c:pt idx="333">
                  <c:v>1.422526808</c:v>
                </c:pt>
                <c:pt idx="334">
                  <c:v>1.4236020579999999</c:v>
                </c:pt>
                <c:pt idx="335">
                  <c:v>1.4321225200000001</c:v>
                </c:pt>
                <c:pt idx="336">
                  <c:v>1.437873666</c:v>
                </c:pt>
                <c:pt idx="337">
                  <c:v>1.4496974199999999</c:v>
                </c:pt>
                <c:pt idx="338">
                  <c:v>1.4568742130000001</c:v>
                </c:pt>
                <c:pt idx="339">
                  <c:v>1.461923404</c:v>
                </c:pt>
                <c:pt idx="340">
                  <c:v>1.467529927</c:v>
                </c:pt>
                <c:pt idx="341">
                  <c:v>1.467928779</c:v>
                </c:pt>
                <c:pt idx="342">
                  <c:v>1.4758518490000001</c:v>
                </c:pt>
                <c:pt idx="343">
                  <c:v>1.4798408919999999</c:v>
                </c:pt>
                <c:pt idx="344">
                  <c:v>1.481460778</c:v>
                </c:pt>
                <c:pt idx="345">
                  <c:v>1.484066927</c:v>
                </c:pt>
                <c:pt idx="346">
                  <c:v>1.4828926899999999</c:v>
                </c:pt>
                <c:pt idx="347">
                  <c:v>1.4934062269999999</c:v>
                </c:pt>
                <c:pt idx="348">
                  <c:v>1.496752809</c:v>
                </c:pt>
                <c:pt idx="349">
                  <c:v>1.51281343</c:v>
                </c:pt>
                <c:pt idx="350">
                  <c:v>1.519642946</c:v>
                </c:pt>
                <c:pt idx="351">
                  <c:v>1.5269085360000001</c:v>
                </c:pt>
                <c:pt idx="352">
                  <c:v>1.5345555689999999</c:v>
                </c:pt>
                <c:pt idx="353">
                  <c:v>1.5438971509999999</c:v>
                </c:pt>
                <c:pt idx="354">
                  <c:v>1.5556608999999999</c:v>
                </c:pt>
                <c:pt idx="355">
                  <c:v>1.557937444</c:v>
                </c:pt>
                <c:pt idx="356">
                  <c:v>1.5606716190000001</c:v>
                </c:pt>
                <c:pt idx="357">
                  <c:v>1.5665922080000001</c:v>
                </c:pt>
                <c:pt idx="358">
                  <c:v>1.570432512</c:v>
                </c:pt>
                <c:pt idx="359">
                  <c:v>1.577528319</c:v>
                </c:pt>
                <c:pt idx="360">
                  <c:v>1.6036117599999999</c:v>
                </c:pt>
                <c:pt idx="361">
                  <c:v>1.6132905289999999</c:v>
                </c:pt>
                <c:pt idx="362">
                  <c:v>1.6255570050000001</c:v>
                </c:pt>
                <c:pt idx="363">
                  <c:v>1.6322087890000001</c:v>
                </c:pt>
                <c:pt idx="364">
                  <c:v>1.6392756509999999</c:v>
                </c:pt>
                <c:pt idx="365">
                  <c:v>1.6468870390000001</c:v>
                </c:pt>
                <c:pt idx="366">
                  <c:v>1.650503262</c:v>
                </c:pt>
                <c:pt idx="367">
                  <c:v>1.658328641</c:v>
                </c:pt>
                <c:pt idx="368">
                  <c:v>1.666939269</c:v>
                </c:pt>
                <c:pt idx="369">
                  <c:v>1.674589112</c:v>
                </c:pt>
                <c:pt idx="370">
                  <c:v>1.682744899</c:v>
                </c:pt>
                <c:pt idx="371">
                  <c:v>1.6858578019999999</c:v>
                </c:pt>
                <c:pt idx="372">
                  <c:v>1.684578063</c:v>
                </c:pt>
                <c:pt idx="373">
                  <c:v>1.6868263109999999</c:v>
                </c:pt>
                <c:pt idx="374">
                  <c:v>1.6914089859999999</c:v>
                </c:pt>
                <c:pt idx="375">
                  <c:v>1.6937634509999999</c:v>
                </c:pt>
                <c:pt idx="376">
                  <c:v>1.6918303610000001</c:v>
                </c:pt>
                <c:pt idx="377">
                  <c:v>1.685217859</c:v>
                </c:pt>
                <c:pt idx="378">
                  <c:v>1.682732603</c:v>
                </c:pt>
                <c:pt idx="379">
                  <c:v>1.685965648</c:v>
                </c:pt>
                <c:pt idx="380">
                  <c:v>1.687890278</c:v>
                </c:pt>
                <c:pt idx="381">
                  <c:v>1.68917669</c:v>
                </c:pt>
                <c:pt idx="382">
                  <c:v>1.686556854</c:v>
                </c:pt>
                <c:pt idx="383">
                  <c:v>1.684753639</c:v>
                </c:pt>
                <c:pt idx="384">
                  <c:v>1.6873094609999999</c:v>
                </c:pt>
                <c:pt idx="385">
                  <c:v>1.6906947080000001</c:v>
                </c:pt>
                <c:pt idx="386">
                  <c:v>1.689211139</c:v>
                </c:pt>
                <c:pt idx="387">
                  <c:v>1.6925433700000001</c:v>
                </c:pt>
                <c:pt idx="388">
                  <c:v>1.679937273</c:v>
                </c:pt>
                <c:pt idx="389">
                  <c:v>1.681879766</c:v>
                </c:pt>
                <c:pt idx="390">
                  <c:v>1.685026677</c:v>
                </c:pt>
                <c:pt idx="391">
                  <c:v>1.6874328220000001</c:v>
                </c:pt>
                <c:pt idx="392">
                  <c:v>1.6927885600000001</c:v>
                </c:pt>
                <c:pt idx="393">
                  <c:v>1.6970376069999999</c:v>
                </c:pt>
                <c:pt idx="394">
                  <c:v>1.6988393420000001</c:v>
                </c:pt>
                <c:pt idx="395">
                  <c:v>1.690541018</c:v>
                </c:pt>
                <c:pt idx="396">
                  <c:v>1.6851588420000001</c:v>
                </c:pt>
                <c:pt idx="397">
                  <c:v>1.68067192</c:v>
                </c:pt>
                <c:pt idx="398">
                  <c:v>1.663279908</c:v>
                </c:pt>
                <c:pt idx="399">
                  <c:v>1.6623707679999999</c:v>
                </c:pt>
                <c:pt idx="400">
                  <c:v>1.6551537590000001</c:v>
                </c:pt>
                <c:pt idx="401">
                  <c:v>1.6217364649999999</c:v>
                </c:pt>
                <c:pt idx="402">
                  <c:v>1.6210495170000001</c:v>
                </c:pt>
                <c:pt idx="403">
                  <c:v>1.596650535</c:v>
                </c:pt>
                <c:pt idx="404">
                  <c:v>1.5803691369999999</c:v>
                </c:pt>
                <c:pt idx="405">
                  <c:v>1.5753110809999999</c:v>
                </c:pt>
                <c:pt idx="406">
                  <c:v>1.5716538419999999</c:v>
                </c:pt>
                <c:pt idx="407">
                  <c:v>1.5584106680000001</c:v>
                </c:pt>
                <c:pt idx="408">
                  <c:v>1.552128425</c:v>
                </c:pt>
                <c:pt idx="409">
                  <c:v>1.5520087899999999</c:v>
                </c:pt>
                <c:pt idx="410">
                  <c:v>1.5385281660000001</c:v>
                </c:pt>
                <c:pt idx="411">
                  <c:v>1.4789891589999999</c:v>
                </c:pt>
                <c:pt idx="412">
                  <c:v>1.479653474</c:v>
                </c:pt>
                <c:pt idx="413">
                  <c:v>1.4748829919999999</c:v>
                </c:pt>
                <c:pt idx="414">
                  <c:v>1.4435482740000001</c:v>
                </c:pt>
                <c:pt idx="415">
                  <c:v>1.441530336</c:v>
                </c:pt>
                <c:pt idx="416">
                  <c:v>1.4430405289999999</c:v>
                </c:pt>
                <c:pt idx="417">
                  <c:v>1.439975239</c:v>
                </c:pt>
                <c:pt idx="418">
                  <c:v>1.439650412</c:v>
                </c:pt>
                <c:pt idx="419">
                  <c:v>1.4376396419999999</c:v>
                </c:pt>
                <c:pt idx="420">
                  <c:v>1.433153941</c:v>
                </c:pt>
                <c:pt idx="421">
                  <c:v>1.433177299</c:v>
                </c:pt>
                <c:pt idx="422">
                  <c:v>1.4325220460000001</c:v>
                </c:pt>
                <c:pt idx="423">
                  <c:v>1.4303133720000001</c:v>
                </c:pt>
                <c:pt idx="424">
                  <c:v>1.4303686369999999</c:v>
                </c:pt>
                <c:pt idx="425">
                  <c:v>1.427381209</c:v>
                </c:pt>
                <c:pt idx="426">
                  <c:v>1.4270562760000001</c:v>
                </c:pt>
                <c:pt idx="427">
                  <c:v>1.41576065</c:v>
                </c:pt>
                <c:pt idx="428">
                  <c:v>1.4027056870000001</c:v>
                </c:pt>
                <c:pt idx="429">
                  <c:v>1.388147351</c:v>
                </c:pt>
                <c:pt idx="430">
                  <c:v>1.381965763</c:v>
                </c:pt>
                <c:pt idx="431">
                  <c:v>1.3565833519999999</c:v>
                </c:pt>
                <c:pt idx="432">
                  <c:v>1.3524414570000001</c:v>
                </c:pt>
                <c:pt idx="433">
                  <c:v>1.34193206</c:v>
                </c:pt>
                <c:pt idx="434">
                  <c:v>1.31042674</c:v>
                </c:pt>
                <c:pt idx="435">
                  <c:v>1.306870523</c:v>
                </c:pt>
                <c:pt idx="436">
                  <c:v>1.3065766480000001</c:v>
                </c:pt>
                <c:pt idx="437">
                  <c:v>1.3032513379999999</c:v>
                </c:pt>
                <c:pt idx="438">
                  <c:v>1.3029871829999999</c:v>
                </c:pt>
                <c:pt idx="439">
                  <c:v>1.2994649410000001</c:v>
                </c:pt>
                <c:pt idx="440">
                  <c:v>1.2904360290000001</c:v>
                </c:pt>
                <c:pt idx="441">
                  <c:v>1.2935771389999999</c:v>
                </c:pt>
                <c:pt idx="442">
                  <c:v>1.289159763</c:v>
                </c:pt>
                <c:pt idx="443">
                  <c:v>1.2846578129999999</c:v>
                </c:pt>
                <c:pt idx="444">
                  <c:v>1.2809286099999999</c:v>
                </c:pt>
                <c:pt idx="445">
                  <c:v>1.2765472229999999</c:v>
                </c:pt>
                <c:pt idx="446">
                  <c:v>1.2623092520000001</c:v>
                </c:pt>
                <c:pt idx="447">
                  <c:v>1.2563323179999999</c:v>
                </c:pt>
                <c:pt idx="448">
                  <c:v>1.2452348820000001</c:v>
                </c:pt>
                <c:pt idx="449">
                  <c:v>1.2372103459999999</c:v>
                </c:pt>
                <c:pt idx="450">
                  <c:v>1.2588992649999999</c:v>
                </c:pt>
                <c:pt idx="451">
                  <c:v>1.253361843</c:v>
                </c:pt>
                <c:pt idx="452">
                  <c:v>1.2680408519999999</c:v>
                </c:pt>
                <c:pt idx="453">
                  <c:v>1.2692196920000001</c:v>
                </c:pt>
                <c:pt idx="454">
                  <c:v>1.269062694</c:v>
                </c:pt>
                <c:pt idx="455">
                  <c:v>1.2665823270000001</c:v>
                </c:pt>
                <c:pt idx="456">
                  <c:v>1.263891404</c:v>
                </c:pt>
                <c:pt idx="457">
                  <c:v>1.26495968</c:v>
                </c:pt>
                <c:pt idx="458">
                  <c:v>1.26705775</c:v>
                </c:pt>
                <c:pt idx="459">
                  <c:v>1.2659806330000001</c:v>
                </c:pt>
                <c:pt idx="460">
                  <c:v>1.258175966</c:v>
                </c:pt>
                <c:pt idx="461">
                  <c:v>1.257692005</c:v>
                </c:pt>
                <c:pt idx="462">
                  <c:v>1.2574695360000001</c:v>
                </c:pt>
                <c:pt idx="463">
                  <c:v>1.2576766450000001</c:v>
                </c:pt>
                <c:pt idx="464">
                  <c:v>1.2571689130000001</c:v>
                </c:pt>
                <c:pt idx="465">
                  <c:v>1.2562026589999999</c:v>
                </c:pt>
                <c:pt idx="466">
                  <c:v>1.2478789450000001</c:v>
                </c:pt>
                <c:pt idx="467">
                  <c:v>1.24450416</c:v>
                </c:pt>
                <c:pt idx="468">
                  <c:v>1.2310309740000001</c:v>
                </c:pt>
                <c:pt idx="469">
                  <c:v>1.2253393589999999</c:v>
                </c:pt>
                <c:pt idx="470">
                  <c:v>1.213834079</c:v>
                </c:pt>
                <c:pt idx="471">
                  <c:v>1.2207946709999999</c:v>
                </c:pt>
                <c:pt idx="472">
                  <c:v>1.2198470880000001</c:v>
                </c:pt>
                <c:pt idx="473">
                  <c:v>1.2202825530000001</c:v>
                </c:pt>
                <c:pt idx="474">
                  <c:v>1.2215855440000001</c:v>
                </c:pt>
                <c:pt idx="475">
                  <c:v>1.2229096349999999</c:v>
                </c:pt>
                <c:pt idx="476">
                  <c:v>1.2237669120000001</c:v>
                </c:pt>
                <c:pt idx="477">
                  <c:v>1.2243862409999999</c:v>
                </c:pt>
                <c:pt idx="478">
                  <c:v>1.2242775850000001</c:v>
                </c:pt>
                <c:pt idx="479">
                  <c:v>1.2239568750000001</c:v>
                </c:pt>
                <c:pt idx="480">
                  <c:v>1.224178145</c:v>
                </c:pt>
                <c:pt idx="481">
                  <c:v>1.226781246</c:v>
                </c:pt>
                <c:pt idx="482">
                  <c:v>1.2295596010000001</c:v>
                </c:pt>
                <c:pt idx="483">
                  <c:v>1.2258436509999999</c:v>
                </c:pt>
                <c:pt idx="484">
                  <c:v>1.2201081039999999</c:v>
                </c:pt>
                <c:pt idx="485">
                  <c:v>1.2222913209999999</c:v>
                </c:pt>
                <c:pt idx="486">
                  <c:v>1.2159317970000001</c:v>
                </c:pt>
                <c:pt idx="487">
                  <c:v>1.2123576949999999</c:v>
                </c:pt>
                <c:pt idx="488">
                  <c:v>1.2025017710000001</c:v>
                </c:pt>
                <c:pt idx="489">
                  <c:v>1.1983260170000001</c:v>
                </c:pt>
                <c:pt idx="490">
                  <c:v>1.1968627039999999</c:v>
                </c:pt>
                <c:pt idx="491">
                  <c:v>1.195155543</c:v>
                </c:pt>
                <c:pt idx="492">
                  <c:v>1.1926857879999999</c:v>
                </c:pt>
                <c:pt idx="493">
                  <c:v>1.195744074</c:v>
                </c:pt>
                <c:pt idx="494">
                  <c:v>1.199116004</c:v>
                </c:pt>
                <c:pt idx="495">
                  <c:v>1.2152208</c:v>
                </c:pt>
                <c:pt idx="496">
                  <c:v>1.2186623080000001</c:v>
                </c:pt>
                <c:pt idx="497">
                  <c:v>1.223292104</c:v>
                </c:pt>
                <c:pt idx="498">
                  <c:v>1.2347021600000001</c:v>
                </c:pt>
                <c:pt idx="499">
                  <c:v>1.24020552</c:v>
                </c:pt>
                <c:pt idx="500">
                  <c:v>1.2420504800000001</c:v>
                </c:pt>
                <c:pt idx="501">
                  <c:v>1.2388972309999999</c:v>
                </c:pt>
                <c:pt idx="502">
                  <c:v>1.243451874</c:v>
                </c:pt>
                <c:pt idx="503">
                  <c:v>1.246688456</c:v>
                </c:pt>
                <c:pt idx="504">
                  <c:v>1.2489992670000001</c:v>
                </c:pt>
                <c:pt idx="505">
                  <c:v>1.252631026</c:v>
                </c:pt>
                <c:pt idx="506">
                  <c:v>1.246856926</c:v>
                </c:pt>
                <c:pt idx="507">
                  <c:v>1.250388856</c:v>
                </c:pt>
                <c:pt idx="508">
                  <c:v>1.2575100450000001</c:v>
                </c:pt>
                <c:pt idx="509">
                  <c:v>1.256165561</c:v>
                </c:pt>
                <c:pt idx="510">
                  <c:v>1.2563112009999999</c:v>
                </c:pt>
                <c:pt idx="511">
                  <c:v>1.2517967379999999</c:v>
                </c:pt>
                <c:pt idx="512">
                  <c:v>1.2506314839999999</c:v>
                </c:pt>
                <c:pt idx="513">
                  <c:v>1.2493010339999999</c:v>
                </c:pt>
                <c:pt idx="514">
                  <c:v>1.2479465999999999</c:v>
                </c:pt>
                <c:pt idx="515">
                  <c:v>1.249103147</c:v>
                </c:pt>
                <c:pt idx="516">
                  <c:v>1.249146047</c:v>
                </c:pt>
                <c:pt idx="517">
                  <c:v>1.2485775649999999</c:v>
                </c:pt>
                <c:pt idx="518">
                  <c:v>1.2445112760000001</c:v>
                </c:pt>
                <c:pt idx="519">
                  <c:v>1.2435116429999999</c:v>
                </c:pt>
                <c:pt idx="520">
                  <c:v>1.242533938</c:v>
                </c:pt>
                <c:pt idx="521">
                  <c:v>1.2375367420000001</c:v>
                </c:pt>
                <c:pt idx="522">
                  <c:v>1.2346927599999999</c:v>
                </c:pt>
                <c:pt idx="523">
                  <c:v>1.2293924409999999</c:v>
                </c:pt>
                <c:pt idx="524">
                  <c:v>1.2289487969999999</c:v>
                </c:pt>
                <c:pt idx="525">
                  <c:v>1.227097176</c:v>
                </c:pt>
                <c:pt idx="526">
                  <c:v>1.223538467</c:v>
                </c:pt>
                <c:pt idx="527">
                  <c:v>1.221754072</c:v>
                </c:pt>
                <c:pt idx="528">
                  <c:v>1.2236447989999999</c:v>
                </c:pt>
                <c:pt idx="529">
                  <c:v>1.223032895</c:v>
                </c:pt>
                <c:pt idx="530">
                  <c:v>1.2229076240000001</c:v>
                </c:pt>
                <c:pt idx="531">
                  <c:v>1.223330341</c:v>
                </c:pt>
                <c:pt idx="532">
                  <c:v>1.2186190640000001</c:v>
                </c:pt>
                <c:pt idx="533">
                  <c:v>1.219052993</c:v>
                </c:pt>
                <c:pt idx="534">
                  <c:v>1.2177106660000001</c:v>
                </c:pt>
                <c:pt idx="535">
                  <c:v>1.217925105</c:v>
                </c:pt>
                <c:pt idx="536">
                  <c:v>1.2174509570000001</c:v>
                </c:pt>
                <c:pt idx="537">
                  <c:v>1.218288936</c:v>
                </c:pt>
                <c:pt idx="538">
                  <c:v>1.2163131110000001</c:v>
                </c:pt>
                <c:pt idx="539">
                  <c:v>1.2130495379999999</c:v>
                </c:pt>
                <c:pt idx="540">
                  <c:v>1.209249306</c:v>
                </c:pt>
                <c:pt idx="541">
                  <c:v>1.2028701639999999</c:v>
                </c:pt>
                <c:pt idx="542">
                  <c:v>1.2017210620000001</c:v>
                </c:pt>
                <c:pt idx="543">
                  <c:v>1.201545305</c:v>
                </c:pt>
                <c:pt idx="544">
                  <c:v>1.203720066</c:v>
                </c:pt>
                <c:pt idx="545">
                  <c:v>1.200230651</c:v>
                </c:pt>
                <c:pt idx="546">
                  <c:v>1.1982890829999999</c:v>
                </c:pt>
                <c:pt idx="547">
                  <c:v>1.1957788359999999</c:v>
                </c:pt>
                <c:pt idx="548">
                  <c:v>1.1919178580000001</c:v>
                </c:pt>
                <c:pt idx="549">
                  <c:v>1.1872869130000001</c:v>
                </c:pt>
                <c:pt idx="550">
                  <c:v>1.1879647149999999</c:v>
                </c:pt>
                <c:pt idx="551">
                  <c:v>1.1863654349999999</c:v>
                </c:pt>
                <c:pt idx="552">
                  <c:v>1.1850305050000001</c:v>
                </c:pt>
                <c:pt idx="553">
                  <c:v>1.184515384</c:v>
                </c:pt>
                <c:pt idx="554">
                  <c:v>1.18748667</c:v>
                </c:pt>
                <c:pt idx="555">
                  <c:v>1.1868646890000001</c:v>
                </c:pt>
                <c:pt idx="556">
                  <c:v>1.1865543970000001</c:v>
                </c:pt>
                <c:pt idx="557">
                  <c:v>1.185784052</c:v>
                </c:pt>
                <c:pt idx="558">
                  <c:v>1.1884773479999999</c:v>
                </c:pt>
                <c:pt idx="559">
                  <c:v>1.1898386009999999</c:v>
                </c:pt>
                <c:pt idx="560">
                  <c:v>1.190380886</c:v>
                </c:pt>
                <c:pt idx="561">
                  <c:v>1.1924929550000001</c:v>
                </c:pt>
                <c:pt idx="562">
                  <c:v>1.192100701</c:v>
                </c:pt>
                <c:pt idx="563">
                  <c:v>1.166987553</c:v>
                </c:pt>
                <c:pt idx="564">
                  <c:v>1.1744464750000001</c:v>
                </c:pt>
                <c:pt idx="565">
                  <c:v>1.1725254949999999</c:v>
                </c:pt>
                <c:pt idx="566">
                  <c:v>1.1735325599999999</c:v>
                </c:pt>
                <c:pt idx="567">
                  <c:v>1.1754479739999999</c:v>
                </c:pt>
                <c:pt idx="568">
                  <c:v>1.1772385409999999</c:v>
                </c:pt>
                <c:pt idx="569">
                  <c:v>1.1756136129999999</c:v>
                </c:pt>
                <c:pt idx="570">
                  <c:v>1.177876801</c:v>
                </c:pt>
                <c:pt idx="571">
                  <c:v>1.177548171</c:v>
                </c:pt>
                <c:pt idx="572">
                  <c:v>1.1797355380000001</c:v>
                </c:pt>
                <c:pt idx="573">
                  <c:v>1.1776554290000001</c:v>
                </c:pt>
                <c:pt idx="574">
                  <c:v>1.1802005470000001</c:v>
                </c:pt>
                <c:pt idx="575">
                  <c:v>1.1596018320000001</c:v>
                </c:pt>
                <c:pt idx="576">
                  <c:v>1.1567703250000001</c:v>
                </c:pt>
                <c:pt idx="577">
                  <c:v>1.1667944459999999</c:v>
                </c:pt>
                <c:pt idx="578">
                  <c:v>1.1640093359999999</c:v>
                </c:pt>
                <c:pt idx="579">
                  <c:v>1.1665893919999999</c:v>
                </c:pt>
                <c:pt idx="580">
                  <c:v>1.162807057</c:v>
                </c:pt>
                <c:pt idx="581">
                  <c:v>1.162895064</c:v>
                </c:pt>
                <c:pt idx="582">
                  <c:v>1.1328516470000001</c:v>
                </c:pt>
                <c:pt idx="583">
                  <c:v>1.1322342700000001</c:v>
                </c:pt>
                <c:pt idx="584">
                  <c:v>1.1328735679999999</c:v>
                </c:pt>
                <c:pt idx="585">
                  <c:v>1.1331423309999999</c:v>
                </c:pt>
                <c:pt idx="586">
                  <c:v>1.1329561859999999</c:v>
                </c:pt>
                <c:pt idx="587">
                  <c:v>1.1215168760000001</c:v>
                </c:pt>
                <c:pt idx="588">
                  <c:v>1.1176909829999999</c:v>
                </c:pt>
                <c:pt idx="589">
                  <c:v>1.1212993339999999</c:v>
                </c:pt>
                <c:pt idx="590">
                  <c:v>1.1193170269999999</c:v>
                </c:pt>
                <c:pt idx="591">
                  <c:v>1.1202647020000001</c:v>
                </c:pt>
                <c:pt idx="592">
                  <c:v>1.1138683069999999</c:v>
                </c:pt>
                <c:pt idx="593">
                  <c:v>1.1141754619999999</c:v>
                </c:pt>
                <c:pt idx="594">
                  <c:v>1.1169650600000001</c:v>
                </c:pt>
                <c:pt idx="595">
                  <c:v>1.117214132</c:v>
                </c:pt>
                <c:pt idx="596">
                  <c:v>1.1175729299999999</c:v>
                </c:pt>
                <c:pt idx="597">
                  <c:v>1.115676229</c:v>
                </c:pt>
                <c:pt idx="598">
                  <c:v>1.1157206959999999</c:v>
                </c:pt>
                <c:pt idx="599">
                  <c:v>1.110463749</c:v>
                </c:pt>
                <c:pt idx="600">
                  <c:v>1.1132673639999999</c:v>
                </c:pt>
                <c:pt idx="601">
                  <c:v>1.112511075</c:v>
                </c:pt>
                <c:pt idx="602">
                  <c:v>1.1112616639999999</c:v>
                </c:pt>
                <c:pt idx="603">
                  <c:v>1.1097808929999999</c:v>
                </c:pt>
                <c:pt idx="604">
                  <c:v>1.102033888</c:v>
                </c:pt>
                <c:pt idx="605">
                  <c:v>1.1014068180000001</c:v>
                </c:pt>
                <c:pt idx="606">
                  <c:v>1.103934325</c:v>
                </c:pt>
                <c:pt idx="607">
                  <c:v>1.1019071540000001</c:v>
                </c:pt>
                <c:pt idx="608">
                  <c:v>1.099821537</c:v>
                </c:pt>
                <c:pt idx="609">
                  <c:v>1.09711442</c:v>
                </c:pt>
                <c:pt idx="610">
                  <c:v>1.072797961</c:v>
                </c:pt>
                <c:pt idx="611">
                  <c:v>1.0713950480000001</c:v>
                </c:pt>
                <c:pt idx="612">
                  <c:v>1.0719959999999999</c:v>
                </c:pt>
                <c:pt idx="613">
                  <c:v>1.074575769</c:v>
                </c:pt>
                <c:pt idx="614">
                  <c:v>1.0726445330000001</c:v>
                </c:pt>
                <c:pt idx="615">
                  <c:v>1.0681111329999999</c:v>
                </c:pt>
                <c:pt idx="616">
                  <c:v>1.0669230489999999</c:v>
                </c:pt>
                <c:pt idx="617">
                  <c:v>1.0671474620000001</c:v>
                </c:pt>
                <c:pt idx="618">
                  <c:v>1.060552027</c:v>
                </c:pt>
                <c:pt idx="619">
                  <c:v>1.0619601240000001</c:v>
                </c:pt>
                <c:pt idx="620">
                  <c:v>1.059707416</c:v>
                </c:pt>
                <c:pt idx="621">
                  <c:v>1.0710184810000001</c:v>
                </c:pt>
                <c:pt idx="622">
                  <c:v>1.072196583</c:v>
                </c:pt>
                <c:pt idx="623">
                  <c:v>1.0738903040000001</c:v>
                </c:pt>
                <c:pt idx="624">
                  <c:v>1.0696752979999999</c:v>
                </c:pt>
                <c:pt idx="625">
                  <c:v>1.0675379469999999</c:v>
                </c:pt>
                <c:pt idx="626">
                  <c:v>1.0703628940000001</c:v>
                </c:pt>
                <c:pt idx="627">
                  <c:v>1.0721816749999999</c:v>
                </c:pt>
                <c:pt idx="628">
                  <c:v>1.0759929260000001</c:v>
                </c:pt>
                <c:pt idx="629">
                  <c:v>1.0776814379999999</c:v>
                </c:pt>
                <c:pt idx="630">
                  <c:v>1.0830488229999999</c:v>
                </c:pt>
                <c:pt idx="631">
                  <c:v>1.0932856179999999</c:v>
                </c:pt>
                <c:pt idx="632">
                  <c:v>1.095066106</c:v>
                </c:pt>
                <c:pt idx="633">
                  <c:v>1.095720746</c:v>
                </c:pt>
                <c:pt idx="634">
                  <c:v>1.095587844</c:v>
                </c:pt>
                <c:pt idx="635">
                  <c:v>1.0934564200000001</c:v>
                </c:pt>
                <c:pt idx="636">
                  <c:v>1.0962362670000001</c:v>
                </c:pt>
                <c:pt idx="637">
                  <c:v>1.0970792620000001</c:v>
                </c:pt>
                <c:pt idx="638">
                  <c:v>1.096190816</c:v>
                </c:pt>
                <c:pt idx="639">
                  <c:v>1.1014773010000001</c:v>
                </c:pt>
                <c:pt idx="640">
                  <c:v>1.0948362469999999</c:v>
                </c:pt>
                <c:pt idx="641">
                  <c:v>1.0973589509999999</c:v>
                </c:pt>
                <c:pt idx="642">
                  <c:v>1.10030177</c:v>
                </c:pt>
                <c:pt idx="643">
                  <c:v>1.1002066779999999</c:v>
                </c:pt>
                <c:pt idx="644">
                  <c:v>1.106894931</c:v>
                </c:pt>
                <c:pt idx="645">
                  <c:v>1.108123193</c:v>
                </c:pt>
                <c:pt idx="646">
                  <c:v>1.1154242510000001</c:v>
                </c:pt>
                <c:pt idx="647">
                  <c:v>1.118218524</c:v>
                </c:pt>
                <c:pt idx="648">
                  <c:v>1.11689617</c:v>
                </c:pt>
                <c:pt idx="649">
                  <c:v>1.118731819</c:v>
                </c:pt>
                <c:pt idx="650">
                  <c:v>1.1219394229999999</c:v>
                </c:pt>
                <c:pt idx="651">
                  <c:v>1.12304216</c:v>
                </c:pt>
                <c:pt idx="652">
                  <c:v>1.125130215</c:v>
                </c:pt>
                <c:pt idx="653">
                  <c:v>1.1306050329999999</c:v>
                </c:pt>
                <c:pt idx="654">
                  <c:v>1.130019959</c:v>
                </c:pt>
                <c:pt idx="655">
                  <c:v>1.132783672</c:v>
                </c:pt>
                <c:pt idx="656">
                  <c:v>1.1376862320000001</c:v>
                </c:pt>
                <c:pt idx="657">
                  <c:v>1.1386745140000001</c:v>
                </c:pt>
                <c:pt idx="658">
                  <c:v>1.14165381</c:v>
                </c:pt>
                <c:pt idx="659">
                  <c:v>1.1417970529999999</c:v>
                </c:pt>
                <c:pt idx="660">
                  <c:v>1.1489746439999999</c:v>
                </c:pt>
                <c:pt idx="661">
                  <c:v>1.1524872159999999</c:v>
                </c:pt>
                <c:pt idx="662">
                  <c:v>1.1613768310000001</c:v>
                </c:pt>
                <c:pt idx="663">
                  <c:v>1.17423937</c:v>
                </c:pt>
                <c:pt idx="664">
                  <c:v>1.175372579</c:v>
                </c:pt>
                <c:pt idx="665">
                  <c:v>1.183331702</c:v>
                </c:pt>
                <c:pt idx="666">
                  <c:v>1.1835472279999999</c:v>
                </c:pt>
                <c:pt idx="667">
                  <c:v>1.183727594</c:v>
                </c:pt>
                <c:pt idx="668">
                  <c:v>1.1861115879999999</c:v>
                </c:pt>
                <c:pt idx="669">
                  <c:v>1.1880961459999999</c:v>
                </c:pt>
                <c:pt idx="670">
                  <c:v>1.18995841</c:v>
                </c:pt>
                <c:pt idx="671">
                  <c:v>1.187602029</c:v>
                </c:pt>
                <c:pt idx="672">
                  <c:v>1.203140533</c:v>
                </c:pt>
                <c:pt idx="673">
                  <c:v>1.2045478599999999</c:v>
                </c:pt>
                <c:pt idx="674">
                  <c:v>1.2020968700000001</c:v>
                </c:pt>
                <c:pt idx="675">
                  <c:v>1.1913849759999999</c:v>
                </c:pt>
                <c:pt idx="676">
                  <c:v>1.1991411729999999</c:v>
                </c:pt>
                <c:pt idx="677">
                  <c:v>1.204101799</c:v>
                </c:pt>
                <c:pt idx="678">
                  <c:v>1.2171834130000001</c:v>
                </c:pt>
                <c:pt idx="679">
                  <c:v>1.2316482289999999</c:v>
                </c:pt>
                <c:pt idx="680">
                  <c:v>1.242297794</c:v>
                </c:pt>
                <c:pt idx="681">
                  <c:v>1.2617537670000001</c:v>
                </c:pt>
                <c:pt idx="682">
                  <c:v>1.2635781049999999</c:v>
                </c:pt>
                <c:pt idx="683">
                  <c:v>1.274463334</c:v>
                </c:pt>
                <c:pt idx="684">
                  <c:v>1.285217483</c:v>
                </c:pt>
                <c:pt idx="685">
                  <c:v>1.291695128</c:v>
                </c:pt>
                <c:pt idx="686">
                  <c:v>1.2878123619999999</c:v>
                </c:pt>
                <c:pt idx="687">
                  <c:v>1.2998407080000001</c:v>
                </c:pt>
                <c:pt idx="688">
                  <c:v>1.300830924</c:v>
                </c:pt>
                <c:pt idx="689">
                  <c:v>1.3064630260000001</c:v>
                </c:pt>
                <c:pt idx="690">
                  <c:v>1.3131825589999999</c:v>
                </c:pt>
                <c:pt idx="691">
                  <c:v>1.3098843609999999</c:v>
                </c:pt>
                <c:pt idx="692">
                  <c:v>1.32038531</c:v>
                </c:pt>
                <c:pt idx="693">
                  <c:v>1.331065116</c:v>
                </c:pt>
                <c:pt idx="694">
                  <c:v>1.3346663400000001</c:v>
                </c:pt>
                <c:pt idx="695">
                  <c:v>1.348349537</c:v>
                </c:pt>
                <c:pt idx="696">
                  <c:v>1.3558796500000001</c:v>
                </c:pt>
                <c:pt idx="697">
                  <c:v>1.372813332</c:v>
                </c:pt>
                <c:pt idx="698">
                  <c:v>1.381434517</c:v>
                </c:pt>
                <c:pt idx="699">
                  <c:v>1.3973563689999999</c:v>
                </c:pt>
                <c:pt idx="700">
                  <c:v>1.3523500399999999</c:v>
                </c:pt>
                <c:pt idx="701">
                  <c:v>1.359766222</c:v>
                </c:pt>
                <c:pt idx="702">
                  <c:v>1.3389520150000001</c:v>
                </c:pt>
                <c:pt idx="703">
                  <c:v>1.338510834</c:v>
                </c:pt>
                <c:pt idx="704">
                  <c:v>1.3410359629999999</c:v>
                </c:pt>
                <c:pt idx="705">
                  <c:v>1.3459076839999999</c:v>
                </c:pt>
                <c:pt idx="706">
                  <c:v>1.3549701860000001</c:v>
                </c:pt>
                <c:pt idx="707">
                  <c:v>1.3705793070000001</c:v>
                </c:pt>
                <c:pt idx="708">
                  <c:v>1.374590153</c:v>
                </c:pt>
                <c:pt idx="709">
                  <c:v>1.378510006</c:v>
                </c:pt>
                <c:pt idx="710">
                  <c:v>1.383888327</c:v>
                </c:pt>
                <c:pt idx="711">
                  <c:v>1.387768728</c:v>
                </c:pt>
                <c:pt idx="712">
                  <c:v>1.3913231210000001</c:v>
                </c:pt>
                <c:pt idx="713">
                  <c:v>1.39410072</c:v>
                </c:pt>
                <c:pt idx="714">
                  <c:v>1.3989320519999999</c:v>
                </c:pt>
                <c:pt idx="715">
                  <c:v>1.4034480810000001</c:v>
                </c:pt>
                <c:pt idx="716">
                  <c:v>1.4145450799999999</c:v>
                </c:pt>
                <c:pt idx="717">
                  <c:v>1.4177638319999999</c:v>
                </c:pt>
                <c:pt idx="718">
                  <c:v>1.4285999709999999</c:v>
                </c:pt>
                <c:pt idx="719">
                  <c:v>1.434484095</c:v>
                </c:pt>
                <c:pt idx="720">
                  <c:v>1.4320928049999999</c:v>
                </c:pt>
                <c:pt idx="721">
                  <c:v>1.4191644080000001</c:v>
                </c:pt>
                <c:pt idx="722">
                  <c:v>1.4255603939999999</c:v>
                </c:pt>
                <c:pt idx="723">
                  <c:v>1.426799401</c:v>
                </c:pt>
                <c:pt idx="724">
                  <c:v>1.4288804930000001</c:v>
                </c:pt>
                <c:pt idx="725">
                  <c:v>1.4305643690000001</c:v>
                </c:pt>
                <c:pt idx="726">
                  <c:v>1.432332806</c:v>
                </c:pt>
                <c:pt idx="727">
                  <c:v>1.4257822659999999</c:v>
                </c:pt>
                <c:pt idx="728">
                  <c:v>1.426476858</c:v>
                </c:pt>
                <c:pt idx="729">
                  <c:v>1.4311747079999999</c:v>
                </c:pt>
                <c:pt idx="730">
                  <c:v>1.4375739089999999</c:v>
                </c:pt>
                <c:pt idx="731">
                  <c:v>1.4337330079999999</c:v>
                </c:pt>
                <c:pt idx="732">
                  <c:v>1.4307834049999999</c:v>
                </c:pt>
                <c:pt idx="733">
                  <c:v>1.447410649</c:v>
                </c:pt>
                <c:pt idx="734">
                  <c:v>1.4612339700000001</c:v>
                </c:pt>
                <c:pt idx="735">
                  <c:v>1.45459775</c:v>
                </c:pt>
                <c:pt idx="736">
                  <c:v>1.4517295450000001</c:v>
                </c:pt>
                <c:pt idx="737">
                  <c:v>1.4598713750000001</c:v>
                </c:pt>
                <c:pt idx="738">
                  <c:v>1.469253895</c:v>
                </c:pt>
                <c:pt idx="739">
                  <c:v>1.511942487</c:v>
                </c:pt>
                <c:pt idx="740">
                  <c:v>1.5117361819999999</c:v>
                </c:pt>
                <c:pt idx="741">
                  <c:v>1.5181836630000001</c:v>
                </c:pt>
                <c:pt idx="742">
                  <c:v>1.5219807320000001</c:v>
                </c:pt>
                <c:pt idx="743">
                  <c:v>1.5274465129999999</c:v>
                </c:pt>
                <c:pt idx="744">
                  <c:v>1.526497545</c:v>
                </c:pt>
                <c:pt idx="745">
                  <c:v>1.510218246</c:v>
                </c:pt>
                <c:pt idx="746">
                  <c:v>1.5197870099999999</c:v>
                </c:pt>
                <c:pt idx="747">
                  <c:v>1.512754953</c:v>
                </c:pt>
                <c:pt idx="748">
                  <c:v>1.4968215069999999</c:v>
                </c:pt>
                <c:pt idx="749">
                  <c:v>1.502923491</c:v>
                </c:pt>
                <c:pt idx="750">
                  <c:v>1.5169364729999999</c:v>
                </c:pt>
                <c:pt idx="751">
                  <c:v>1.5159501799999999</c:v>
                </c:pt>
                <c:pt idx="752">
                  <c:v>1.510216548</c:v>
                </c:pt>
                <c:pt idx="753">
                  <c:v>1.5089205160000001</c:v>
                </c:pt>
                <c:pt idx="754">
                  <c:v>1.511673627</c:v>
                </c:pt>
                <c:pt idx="755">
                  <c:v>1.5114580419999999</c:v>
                </c:pt>
                <c:pt idx="756">
                  <c:v>1.5112509199999999</c:v>
                </c:pt>
                <c:pt idx="757">
                  <c:v>1.5111121569999999</c:v>
                </c:pt>
                <c:pt idx="758">
                  <c:v>1.503898178</c:v>
                </c:pt>
                <c:pt idx="759">
                  <c:v>1.507709167</c:v>
                </c:pt>
                <c:pt idx="760">
                  <c:v>1.4995896019999999</c:v>
                </c:pt>
                <c:pt idx="761">
                  <c:v>1.504783151</c:v>
                </c:pt>
                <c:pt idx="762">
                  <c:v>1.508289888</c:v>
                </c:pt>
                <c:pt idx="763">
                  <c:v>1.5064591249999999</c:v>
                </c:pt>
                <c:pt idx="764">
                  <c:v>1.5043703079999999</c:v>
                </c:pt>
                <c:pt idx="765">
                  <c:v>1.5043139270000001</c:v>
                </c:pt>
                <c:pt idx="766">
                  <c:v>1.4973089289999999</c:v>
                </c:pt>
                <c:pt idx="767">
                  <c:v>1.5030275740000001</c:v>
                </c:pt>
                <c:pt idx="768">
                  <c:v>1.501665859</c:v>
                </c:pt>
                <c:pt idx="769">
                  <c:v>1.504486945</c:v>
                </c:pt>
                <c:pt idx="770">
                  <c:v>1.5034173040000001</c:v>
                </c:pt>
                <c:pt idx="771">
                  <c:v>1.5094359239999999</c:v>
                </c:pt>
                <c:pt idx="772">
                  <c:v>1.514217573</c:v>
                </c:pt>
                <c:pt idx="773">
                  <c:v>1.519928822</c:v>
                </c:pt>
                <c:pt idx="774">
                  <c:v>1.520699021</c:v>
                </c:pt>
                <c:pt idx="775">
                  <c:v>1.528247315</c:v>
                </c:pt>
                <c:pt idx="776">
                  <c:v>1.530124568</c:v>
                </c:pt>
                <c:pt idx="777">
                  <c:v>1.5362159179999999</c:v>
                </c:pt>
                <c:pt idx="778">
                  <c:v>1.5343102179999999</c:v>
                </c:pt>
                <c:pt idx="779">
                  <c:v>1.538679694</c:v>
                </c:pt>
                <c:pt idx="780">
                  <c:v>1.5391597340000001</c:v>
                </c:pt>
                <c:pt idx="781">
                  <c:v>1.539971666</c:v>
                </c:pt>
                <c:pt idx="782">
                  <c:v>1.542172782</c:v>
                </c:pt>
                <c:pt idx="783">
                  <c:v>1.5444167310000001</c:v>
                </c:pt>
                <c:pt idx="784">
                  <c:v>1.5471722299999999</c:v>
                </c:pt>
                <c:pt idx="785">
                  <c:v>1.5617873170000001</c:v>
                </c:pt>
                <c:pt idx="786">
                  <c:v>1.5645551600000001</c:v>
                </c:pt>
                <c:pt idx="787">
                  <c:v>1.565338774</c:v>
                </c:pt>
                <c:pt idx="788">
                  <c:v>1.5751315939999999</c:v>
                </c:pt>
                <c:pt idx="789">
                  <c:v>1.5772928310000001</c:v>
                </c:pt>
                <c:pt idx="790">
                  <c:v>1.5869586600000001</c:v>
                </c:pt>
                <c:pt idx="791">
                  <c:v>1.596016828</c:v>
                </c:pt>
                <c:pt idx="792">
                  <c:v>1.6004878650000001</c:v>
                </c:pt>
                <c:pt idx="793">
                  <c:v>1.607394108</c:v>
                </c:pt>
                <c:pt idx="794">
                  <c:v>1.6051696070000001</c:v>
                </c:pt>
                <c:pt idx="795">
                  <c:v>1.61312067</c:v>
                </c:pt>
                <c:pt idx="796">
                  <c:v>1.6217949899999999</c:v>
                </c:pt>
                <c:pt idx="797">
                  <c:v>1.6316441049999999</c:v>
                </c:pt>
                <c:pt idx="798">
                  <c:v>1.6379408660000001</c:v>
                </c:pt>
                <c:pt idx="799">
                  <c:v>1.644600182</c:v>
                </c:pt>
                <c:pt idx="800">
                  <c:v>1.644557504</c:v>
                </c:pt>
                <c:pt idx="801">
                  <c:v>1.646059894</c:v>
                </c:pt>
                <c:pt idx="802">
                  <c:v>1.6490968530000001</c:v>
                </c:pt>
                <c:pt idx="803">
                  <c:v>1.6539950640000001</c:v>
                </c:pt>
                <c:pt idx="804">
                  <c:v>1.652694616</c:v>
                </c:pt>
                <c:pt idx="805">
                  <c:v>1.6607466310000001</c:v>
                </c:pt>
                <c:pt idx="806">
                  <c:v>1.6614149709999999</c:v>
                </c:pt>
                <c:pt idx="807">
                  <c:v>1.663269084</c:v>
                </c:pt>
                <c:pt idx="808">
                  <c:v>1.660819644</c:v>
                </c:pt>
                <c:pt idx="809">
                  <c:v>1.6604074529999999</c:v>
                </c:pt>
                <c:pt idx="810">
                  <c:v>1.6676704840000001</c:v>
                </c:pt>
                <c:pt idx="811">
                  <c:v>1.6671424379999999</c:v>
                </c:pt>
                <c:pt idx="812">
                  <c:v>1.6688857180000001</c:v>
                </c:pt>
                <c:pt idx="813">
                  <c:v>1.6694829579999999</c:v>
                </c:pt>
                <c:pt idx="814">
                  <c:v>1.6607305210000001</c:v>
                </c:pt>
                <c:pt idx="815">
                  <c:v>1.6661291229999999</c:v>
                </c:pt>
                <c:pt idx="816">
                  <c:v>1.672109165</c:v>
                </c:pt>
                <c:pt idx="817">
                  <c:v>1.6763877890000001</c:v>
                </c:pt>
                <c:pt idx="818">
                  <c:v>1.675968723</c:v>
                </c:pt>
                <c:pt idx="819">
                  <c:v>1.6812844929999999</c:v>
                </c:pt>
                <c:pt idx="820">
                  <c:v>1.6780455379999999</c:v>
                </c:pt>
                <c:pt idx="821">
                  <c:v>1.6779056429999999</c:v>
                </c:pt>
                <c:pt idx="822">
                  <c:v>1.678136112</c:v>
                </c:pt>
                <c:pt idx="823">
                  <c:v>1.6814845810000001</c:v>
                </c:pt>
                <c:pt idx="824">
                  <c:v>1.679895428</c:v>
                </c:pt>
                <c:pt idx="825">
                  <c:v>1.679289888</c:v>
                </c:pt>
                <c:pt idx="826">
                  <c:v>1.679029173</c:v>
                </c:pt>
                <c:pt idx="827">
                  <c:v>1.6624776939999999</c:v>
                </c:pt>
                <c:pt idx="828">
                  <c:v>1.675020127</c:v>
                </c:pt>
                <c:pt idx="829">
                  <c:v>1.672765158</c:v>
                </c:pt>
                <c:pt idx="830">
                  <c:v>1.672673758</c:v>
                </c:pt>
                <c:pt idx="831">
                  <c:v>1.6738343579999999</c:v>
                </c:pt>
                <c:pt idx="832">
                  <c:v>1.6722812229999999</c:v>
                </c:pt>
                <c:pt idx="833">
                  <c:v>1.6702559610000001</c:v>
                </c:pt>
                <c:pt idx="834">
                  <c:v>1.670454259</c:v>
                </c:pt>
                <c:pt idx="835">
                  <c:v>1.672238595</c:v>
                </c:pt>
                <c:pt idx="836">
                  <c:v>1.6706942440000001</c:v>
                </c:pt>
                <c:pt idx="837">
                  <c:v>1.6689003630000001</c:v>
                </c:pt>
                <c:pt idx="838">
                  <c:v>1.67016897</c:v>
                </c:pt>
                <c:pt idx="839">
                  <c:v>1.6673498689999999</c:v>
                </c:pt>
                <c:pt idx="840">
                  <c:v>1.669120301</c:v>
                </c:pt>
                <c:pt idx="841">
                  <c:v>1.673814221</c:v>
                </c:pt>
                <c:pt idx="842">
                  <c:v>1.6807671470000001</c:v>
                </c:pt>
                <c:pt idx="843">
                  <c:v>1.6810645150000001</c:v>
                </c:pt>
                <c:pt idx="844">
                  <c:v>1.678692726</c:v>
                </c:pt>
                <c:pt idx="845">
                  <c:v>1.6807905729999999</c:v>
                </c:pt>
                <c:pt idx="846">
                  <c:v>1.684421776</c:v>
                </c:pt>
                <c:pt idx="847">
                  <c:v>1.6821630780000001</c:v>
                </c:pt>
                <c:pt idx="848">
                  <c:v>1.6823093419999999</c:v>
                </c:pt>
                <c:pt idx="849">
                  <c:v>1.678660601</c:v>
                </c:pt>
                <c:pt idx="850">
                  <c:v>1.678940095</c:v>
                </c:pt>
                <c:pt idx="851">
                  <c:v>1.6866053409999999</c:v>
                </c:pt>
                <c:pt idx="852">
                  <c:v>1.696068055</c:v>
                </c:pt>
                <c:pt idx="853">
                  <c:v>1.6958819650000001</c:v>
                </c:pt>
                <c:pt idx="854">
                  <c:v>1.6968921290000001</c:v>
                </c:pt>
                <c:pt idx="855">
                  <c:v>1.6988049380000001</c:v>
                </c:pt>
                <c:pt idx="856">
                  <c:v>1.6940224450000001</c:v>
                </c:pt>
                <c:pt idx="857">
                  <c:v>1.705416058</c:v>
                </c:pt>
                <c:pt idx="858">
                  <c:v>1.7108148089999999</c:v>
                </c:pt>
                <c:pt idx="859">
                  <c:v>1.715512623</c:v>
                </c:pt>
                <c:pt idx="860">
                  <c:v>1.717011574</c:v>
                </c:pt>
                <c:pt idx="861">
                  <c:v>1.7199167230000001</c:v>
                </c:pt>
                <c:pt idx="862">
                  <c:v>1.720956097</c:v>
                </c:pt>
                <c:pt idx="863">
                  <c:v>1.719566334</c:v>
                </c:pt>
                <c:pt idx="864">
                  <c:v>1.724814144</c:v>
                </c:pt>
                <c:pt idx="865">
                  <c:v>1.7289026649999999</c:v>
                </c:pt>
                <c:pt idx="866">
                  <c:v>1.7327378280000001</c:v>
                </c:pt>
                <c:pt idx="867">
                  <c:v>1.735119664</c:v>
                </c:pt>
                <c:pt idx="868">
                  <c:v>1.736754395</c:v>
                </c:pt>
                <c:pt idx="869">
                  <c:v>1.739587494</c:v>
                </c:pt>
                <c:pt idx="870">
                  <c:v>1.7415486609999999</c:v>
                </c:pt>
                <c:pt idx="871">
                  <c:v>1.7287857879999999</c:v>
                </c:pt>
                <c:pt idx="872">
                  <c:v>1.7331752090000001</c:v>
                </c:pt>
                <c:pt idx="873">
                  <c:v>1.733594512</c:v>
                </c:pt>
                <c:pt idx="874">
                  <c:v>1.734782606</c:v>
                </c:pt>
                <c:pt idx="875">
                  <c:v>1.739238895</c:v>
                </c:pt>
                <c:pt idx="876">
                  <c:v>1.739385567</c:v>
                </c:pt>
                <c:pt idx="877">
                  <c:v>1.744690098</c:v>
                </c:pt>
                <c:pt idx="878">
                  <c:v>1.744547818</c:v>
                </c:pt>
                <c:pt idx="879">
                  <c:v>1.746508138</c:v>
                </c:pt>
                <c:pt idx="880">
                  <c:v>1.7425950020000001</c:v>
                </c:pt>
                <c:pt idx="881">
                  <c:v>1.7252176420000001</c:v>
                </c:pt>
                <c:pt idx="882">
                  <c:v>1.732865058</c:v>
                </c:pt>
                <c:pt idx="883">
                  <c:v>1.7374896150000001</c:v>
                </c:pt>
                <c:pt idx="884">
                  <c:v>1.7395883489999999</c:v>
                </c:pt>
                <c:pt idx="885">
                  <c:v>1.7448145429999999</c:v>
                </c:pt>
                <c:pt idx="886">
                  <c:v>1.748338594</c:v>
                </c:pt>
                <c:pt idx="887">
                  <c:v>1.758901939</c:v>
                </c:pt>
                <c:pt idx="888">
                  <c:v>1.7607915430000001</c:v>
                </c:pt>
                <c:pt idx="889">
                  <c:v>1.7584619829999999</c:v>
                </c:pt>
                <c:pt idx="890">
                  <c:v>1.758166482</c:v>
                </c:pt>
                <c:pt idx="891">
                  <c:v>1.7578153400000001</c:v>
                </c:pt>
                <c:pt idx="892">
                  <c:v>1.754389234</c:v>
                </c:pt>
                <c:pt idx="893">
                  <c:v>1.756279822</c:v>
                </c:pt>
                <c:pt idx="894">
                  <c:v>1.7397017130000001</c:v>
                </c:pt>
                <c:pt idx="895">
                  <c:v>1.744303089</c:v>
                </c:pt>
                <c:pt idx="896">
                  <c:v>1.773618812</c:v>
                </c:pt>
                <c:pt idx="897">
                  <c:v>1.772073786</c:v>
                </c:pt>
                <c:pt idx="898">
                  <c:v>1.7713458989999999</c:v>
                </c:pt>
                <c:pt idx="899">
                  <c:v>1.769942455</c:v>
                </c:pt>
                <c:pt idx="900">
                  <c:v>1.768349092</c:v>
                </c:pt>
                <c:pt idx="901">
                  <c:v>1.7566591499999999</c:v>
                </c:pt>
                <c:pt idx="902">
                  <c:v>1.7650335049999999</c:v>
                </c:pt>
                <c:pt idx="903">
                  <c:v>1.758623107</c:v>
                </c:pt>
                <c:pt idx="904">
                  <c:v>1.7569423230000001</c:v>
                </c:pt>
                <c:pt idx="905">
                  <c:v>1.7647947509999999</c:v>
                </c:pt>
                <c:pt idx="906">
                  <c:v>1.7612658590000001</c:v>
                </c:pt>
                <c:pt idx="907">
                  <c:v>1.762150748</c:v>
                </c:pt>
                <c:pt idx="908">
                  <c:v>1.7639178419999999</c:v>
                </c:pt>
                <c:pt idx="909">
                  <c:v>1.766975754</c:v>
                </c:pt>
                <c:pt idx="910">
                  <c:v>1.7756615490000001</c:v>
                </c:pt>
                <c:pt idx="911">
                  <c:v>1.7780642659999999</c:v>
                </c:pt>
                <c:pt idx="912">
                  <c:v>1.7671729199999999</c:v>
                </c:pt>
                <c:pt idx="913">
                  <c:v>1.760983382</c:v>
                </c:pt>
                <c:pt idx="914">
                  <c:v>1.760848363</c:v>
                </c:pt>
                <c:pt idx="915">
                  <c:v>1.753386372</c:v>
                </c:pt>
                <c:pt idx="916">
                  <c:v>1.7510366939999999</c:v>
                </c:pt>
                <c:pt idx="917">
                  <c:v>1.750091361</c:v>
                </c:pt>
                <c:pt idx="918">
                  <c:v>1.749549335</c:v>
                </c:pt>
                <c:pt idx="919">
                  <c:v>1.7487019909999999</c:v>
                </c:pt>
                <c:pt idx="920">
                  <c:v>1.748199112</c:v>
                </c:pt>
                <c:pt idx="921">
                  <c:v>1.749232546</c:v>
                </c:pt>
                <c:pt idx="922">
                  <c:v>1.7269978880000001</c:v>
                </c:pt>
                <c:pt idx="923">
                  <c:v>1.7317625409999999</c:v>
                </c:pt>
                <c:pt idx="924">
                  <c:v>1.731251696</c:v>
                </c:pt>
                <c:pt idx="925">
                  <c:v>1.730102121</c:v>
                </c:pt>
                <c:pt idx="926">
                  <c:v>1.723454399</c:v>
                </c:pt>
                <c:pt idx="927">
                  <c:v>1.72528082</c:v>
                </c:pt>
                <c:pt idx="928">
                  <c:v>1.7141611830000001</c:v>
                </c:pt>
                <c:pt idx="929">
                  <c:v>1.7134375470000001</c:v>
                </c:pt>
                <c:pt idx="930">
                  <c:v>1.704563126</c:v>
                </c:pt>
                <c:pt idx="931">
                  <c:v>1.6993291260000001</c:v>
                </c:pt>
                <c:pt idx="932">
                  <c:v>1.7007026489999999</c:v>
                </c:pt>
                <c:pt idx="933">
                  <c:v>1.7013307529999999</c:v>
                </c:pt>
                <c:pt idx="934">
                  <c:v>1.6977359009999999</c:v>
                </c:pt>
                <c:pt idx="935">
                  <c:v>1.7061123709999999</c:v>
                </c:pt>
                <c:pt idx="936">
                  <c:v>1.709355006</c:v>
                </c:pt>
                <c:pt idx="937">
                  <c:v>1.7069756140000001</c:v>
                </c:pt>
                <c:pt idx="938">
                  <c:v>1.719251801</c:v>
                </c:pt>
                <c:pt idx="939">
                  <c:v>1.7222184439999999</c:v>
                </c:pt>
                <c:pt idx="940">
                  <c:v>1.7252071920000001</c:v>
                </c:pt>
                <c:pt idx="941">
                  <c:v>1.727563916</c:v>
                </c:pt>
                <c:pt idx="942">
                  <c:v>1.7273775090000001</c:v>
                </c:pt>
                <c:pt idx="943">
                  <c:v>1.7243776639999999</c:v>
                </c:pt>
                <c:pt idx="944">
                  <c:v>1.7292900369999999</c:v>
                </c:pt>
                <c:pt idx="945">
                  <c:v>1.723489085</c:v>
                </c:pt>
                <c:pt idx="946">
                  <c:v>1.7256205529999999</c:v>
                </c:pt>
                <c:pt idx="947">
                  <c:v>1.714790662</c:v>
                </c:pt>
                <c:pt idx="948">
                  <c:v>1.717174644</c:v>
                </c:pt>
                <c:pt idx="949">
                  <c:v>1.710909899</c:v>
                </c:pt>
                <c:pt idx="950">
                  <c:v>1.710784469</c:v>
                </c:pt>
                <c:pt idx="951">
                  <c:v>1.7124413249999999</c:v>
                </c:pt>
                <c:pt idx="952">
                  <c:v>1.7121790059999999</c:v>
                </c:pt>
                <c:pt idx="953">
                  <c:v>1.7131520060000001</c:v>
                </c:pt>
                <c:pt idx="954">
                  <c:v>1.72967644</c:v>
                </c:pt>
                <c:pt idx="955">
                  <c:v>1.7252991980000001</c:v>
                </c:pt>
                <c:pt idx="956">
                  <c:v>1.721565453</c:v>
                </c:pt>
                <c:pt idx="957">
                  <c:v>1.694709625</c:v>
                </c:pt>
                <c:pt idx="958">
                  <c:v>1.6835902190000001</c:v>
                </c:pt>
                <c:pt idx="959">
                  <c:v>1.67948382</c:v>
                </c:pt>
                <c:pt idx="960">
                  <c:v>1.6760627480000001</c:v>
                </c:pt>
                <c:pt idx="961">
                  <c:v>1.7149946780000001</c:v>
                </c:pt>
                <c:pt idx="962">
                  <c:v>1.7038149220000001</c:v>
                </c:pt>
                <c:pt idx="963">
                  <c:v>1.6949105040000001</c:v>
                </c:pt>
                <c:pt idx="964">
                  <c:v>1.6871148739999999</c:v>
                </c:pt>
                <c:pt idx="965">
                  <c:v>1.679285253</c:v>
                </c:pt>
                <c:pt idx="966">
                  <c:v>1.664728913</c:v>
                </c:pt>
                <c:pt idx="967">
                  <c:v>1.6585563759999999</c:v>
                </c:pt>
                <c:pt idx="968">
                  <c:v>1.653757433</c:v>
                </c:pt>
                <c:pt idx="969">
                  <c:v>1.64052219</c:v>
                </c:pt>
                <c:pt idx="970">
                  <c:v>1.6366150900000001</c:v>
                </c:pt>
                <c:pt idx="971">
                  <c:v>1.635780062</c:v>
                </c:pt>
                <c:pt idx="972">
                  <c:v>1.628837409</c:v>
                </c:pt>
                <c:pt idx="973">
                  <c:v>1.620097149</c:v>
                </c:pt>
                <c:pt idx="974">
                  <c:v>1.6129652510000001</c:v>
                </c:pt>
                <c:pt idx="975">
                  <c:v>1.6050944579999999</c:v>
                </c:pt>
                <c:pt idx="976">
                  <c:v>1.59595317</c:v>
                </c:pt>
                <c:pt idx="977">
                  <c:v>1.5911468849999999</c:v>
                </c:pt>
                <c:pt idx="978">
                  <c:v>1.592323089</c:v>
                </c:pt>
                <c:pt idx="979">
                  <c:v>1.6067333100000001</c:v>
                </c:pt>
                <c:pt idx="980">
                  <c:v>1.591314254</c:v>
                </c:pt>
                <c:pt idx="981">
                  <c:v>1.5845338819999999</c:v>
                </c:pt>
                <c:pt idx="982">
                  <c:v>1.581401075</c:v>
                </c:pt>
                <c:pt idx="983">
                  <c:v>1.563141774</c:v>
                </c:pt>
                <c:pt idx="984">
                  <c:v>1.5435135040000001</c:v>
                </c:pt>
                <c:pt idx="985">
                  <c:v>1.537026765</c:v>
                </c:pt>
                <c:pt idx="986">
                  <c:v>1.5338714870000001</c:v>
                </c:pt>
                <c:pt idx="987">
                  <c:v>1.5213962270000001</c:v>
                </c:pt>
                <c:pt idx="988">
                  <c:v>1.5099595809999999</c:v>
                </c:pt>
                <c:pt idx="989">
                  <c:v>1.4796382939999999</c:v>
                </c:pt>
                <c:pt idx="990">
                  <c:v>1.4708027829999999</c:v>
                </c:pt>
                <c:pt idx="991">
                  <c:v>1.4590828600000001</c:v>
                </c:pt>
                <c:pt idx="992">
                  <c:v>1.4509675559999999</c:v>
                </c:pt>
                <c:pt idx="993">
                  <c:v>1.446302333</c:v>
                </c:pt>
                <c:pt idx="994">
                  <c:v>1.4353943790000001</c:v>
                </c:pt>
                <c:pt idx="995">
                  <c:v>1.423317232</c:v>
                </c:pt>
                <c:pt idx="996">
                  <c:v>1.408891653</c:v>
                </c:pt>
                <c:pt idx="997">
                  <c:v>1.403589983</c:v>
                </c:pt>
                <c:pt idx="998">
                  <c:v>1.3999950720000001</c:v>
                </c:pt>
                <c:pt idx="999">
                  <c:v>1.3921493949999999</c:v>
                </c:pt>
                <c:pt idx="1000">
                  <c:v>1.381861993</c:v>
                </c:pt>
                <c:pt idx="1001">
                  <c:v>1.380718423</c:v>
                </c:pt>
                <c:pt idx="1002">
                  <c:v>1.399648094</c:v>
                </c:pt>
                <c:pt idx="1003">
                  <c:v>1.3991603889999999</c:v>
                </c:pt>
                <c:pt idx="1004">
                  <c:v>1.3972819160000001</c:v>
                </c:pt>
                <c:pt idx="1005">
                  <c:v>1.3959669219999999</c:v>
                </c:pt>
                <c:pt idx="1006">
                  <c:v>1.3955262180000001</c:v>
                </c:pt>
                <c:pt idx="1007">
                  <c:v>1.405853748</c:v>
                </c:pt>
                <c:pt idx="1008">
                  <c:v>1.403701189</c:v>
                </c:pt>
                <c:pt idx="1009">
                  <c:v>1.435692239</c:v>
                </c:pt>
                <c:pt idx="1010">
                  <c:v>1.4464882999999999</c:v>
                </c:pt>
                <c:pt idx="1011">
                  <c:v>1.44460185</c:v>
                </c:pt>
                <c:pt idx="1012">
                  <c:v>1.4416595409999999</c:v>
                </c:pt>
                <c:pt idx="1013">
                  <c:v>1.446592289</c:v>
                </c:pt>
                <c:pt idx="1014">
                  <c:v>1.4498606080000001</c:v>
                </c:pt>
                <c:pt idx="1015">
                  <c:v>1.449831348</c:v>
                </c:pt>
                <c:pt idx="1016">
                  <c:v>1.4505541630000001</c:v>
                </c:pt>
                <c:pt idx="1017">
                  <c:v>1.4473041980000001</c:v>
                </c:pt>
                <c:pt idx="1018">
                  <c:v>1.445357673</c:v>
                </c:pt>
                <c:pt idx="1019">
                  <c:v>1.445253364</c:v>
                </c:pt>
                <c:pt idx="1020">
                  <c:v>1.4463180760000001</c:v>
                </c:pt>
                <c:pt idx="1021">
                  <c:v>1.4587906820000001</c:v>
                </c:pt>
                <c:pt idx="1022">
                  <c:v>1.45612948</c:v>
                </c:pt>
                <c:pt idx="1023">
                  <c:v>1.45699179</c:v>
                </c:pt>
                <c:pt idx="1024">
                  <c:v>1.454929645</c:v>
                </c:pt>
                <c:pt idx="1025">
                  <c:v>1.448686446</c:v>
                </c:pt>
                <c:pt idx="1026">
                  <c:v>1.449346351</c:v>
                </c:pt>
                <c:pt idx="1027">
                  <c:v>1.4608266590000001</c:v>
                </c:pt>
                <c:pt idx="1028">
                  <c:v>1.4606364620000001</c:v>
                </c:pt>
                <c:pt idx="1029">
                  <c:v>1.4563454570000001</c:v>
                </c:pt>
                <c:pt idx="1030">
                  <c:v>1.4560287279999999</c:v>
                </c:pt>
                <c:pt idx="1031">
                  <c:v>1.4557449680000001</c:v>
                </c:pt>
                <c:pt idx="1032">
                  <c:v>1.45265859</c:v>
                </c:pt>
                <c:pt idx="1033">
                  <c:v>1.451407197</c:v>
                </c:pt>
                <c:pt idx="1034">
                  <c:v>1.4500471669999999</c:v>
                </c:pt>
                <c:pt idx="1035">
                  <c:v>1.4366654480000001</c:v>
                </c:pt>
                <c:pt idx="1036">
                  <c:v>1.435687589</c:v>
                </c:pt>
                <c:pt idx="1037">
                  <c:v>1.4366846209999999</c:v>
                </c:pt>
                <c:pt idx="1038">
                  <c:v>1.428833273</c:v>
                </c:pt>
                <c:pt idx="1039">
                  <c:v>1.4285259340000001</c:v>
                </c:pt>
                <c:pt idx="1040">
                  <c:v>1.4256148500000001</c:v>
                </c:pt>
                <c:pt idx="1041">
                  <c:v>1.4332723730000001</c:v>
                </c:pt>
                <c:pt idx="1042">
                  <c:v>1.4316155880000001</c:v>
                </c:pt>
                <c:pt idx="1043">
                  <c:v>1.4431126599999999</c:v>
                </c:pt>
                <c:pt idx="1044">
                  <c:v>1.4477726550000001</c:v>
                </c:pt>
                <c:pt idx="1045">
                  <c:v>1.4478941460000001</c:v>
                </c:pt>
                <c:pt idx="1046">
                  <c:v>1.4455918750000001</c:v>
                </c:pt>
                <c:pt idx="1047">
                  <c:v>1.438163474</c:v>
                </c:pt>
                <c:pt idx="1048">
                  <c:v>1.4424042029999999</c:v>
                </c:pt>
                <c:pt idx="1049">
                  <c:v>1.444171753</c:v>
                </c:pt>
                <c:pt idx="1050">
                  <c:v>1.4445621399999999</c:v>
                </c:pt>
                <c:pt idx="1051">
                  <c:v>1.4474098520000001</c:v>
                </c:pt>
                <c:pt idx="1052">
                  <c:v>1.447787972</c:v>
                </c:pt>
                <c:pt idx="1053">
                  <c:v>1.4487098190000001</c:v>
                </c:pt>
                <c:pt idx="1054">
                  <c:v>1.448500017</c:v>
                </c:pt>
                <c:pt idx="1055">
                  <c:v>1.446893939</c:v>
                </c:pt>
                <c:pt idx="1056">
                  <c:v>1.449175265</c:v>
                </c:pt>
                <c:pt idx="1057">
                  <c:v>1.4530372709999999</c:v>
                </c:pt>
                <c:pt idx="1058">
                  <c:v>1.4562232429999999</c:v>
                </c:pt>
                <c:pt idx="1059">
                  <c:v>1.4545820119999999</c:v>
                </c:pt>
                <c:pt idx="1060">
                  <c:v>1.4469412210000001</c:v>
                </c:pt>
                <c:pt idx="1061">
                  <c:v>1.444911673</c:v>
                </c:pt>
                <c:pt idx="1062">
                  <c:v>1.4426449100000001</c:v>
                </c:pt>
                <c:pt idx="1063">
                  <c:v>1.44175385</c:v>
                </c:pt>
                <c:pt idx="1064">
                  <c:v>1.4403388130000001</c:v>
                </c:pt>
                <c:pt idx="1065">
                  <c:v>1.4369740010000001</c:v>
                </c:pt>
                <c:pt idx="1066">
                  <c:v>1.430312016</c:v>
                </c:pt>
                <c:pt idx="1067">
                  <c:v>1.423895307</c:v>
                </c:pt>
                <c:pt idx="1068">
                  <c:v>1.4236257960000001</c:v>
                </c:pt>
                <c:pt idx="1069">
                  <c:v>1.418518159</c:v>
                </c:pt>
                <c:pt idx="1070">
                  <c:v>1.4200737109999999</c:v>
                </c:pt>
                <c:pt idx="1071">
                  <c:v>1.4193342760000001</c:v>
                </c:pt>
                <c:pt idx="1072">
                  <c:v>1.4202976570000001</c:v>
                </c:pt>
                <c:pt idx="1073">
                  <c:v>1.420828534</c:v>
                </c:pt>
                <c:pt idx="1074">
                  <c:v>1.4376503570000001</c:v>
                </c:pt>
                <c:pt idx="1075">
                  <c:v>1.43780884</c:v>
                </c:pt>
                <c:pt idx="1076">
                  <c:v>1.4378204130000001</c:v>
                </c:pt>
                <c:pt idx="1077">
                  <c:v>1.4386996409999999</c:v>
                </c:pt>
                <c:pt idx="1078">
                  <c:v>1.4268125089999999</c:v>
                </c:pt>
                <c:pt idx="1079">
                  <c:v>1.444380768</c:v>
                </c:pt>
                <c:pt idx="1080">
                  <c:v>1.4420666090000001</c:v>
                </c:pt>
                <c:pt idx="1081">
                  <c:v>1.5052183370000001</c:v>
                </c:pt>
                <c:pt idx="1082">
                  <c:v>1.498376946</c:v>
                </c:pt>
                <c:pt idx="1083">
                  <c:v>1.4915448060000001</c:v>
                </c:pt>
                <c:pt idx="1084">
                  <c:v>1.487756281</c:v>
                </c:pt>
                <c:pt idx="1085">
                  <c:v>1.4863658470000001</c:v>
                </c:pt>
                <c:pt idx="1086">
                  <c:v>1.484637915</c:v>
                </c:pt>
                <c:pt idx="1087">
                  <c:v>1.483249383</c:v>
                </c:pt>
                <c:pt idx="1088">
                  <c:v>1.4808355639999999</c:v>
                </c:pt>
                <c:pt idx="1089">
                  <c:v>1.4779061010000001</c:v>
                </c:pt>
                <c:pt idx="1090">
                  <c:v>1.475466538</c:v>
                </c:pt>
                <c:pt idx="1091">
                  <c:v>1.482715816</c:v>
                </c:pt>
                <c:pt idx="1092">
                  <c:v>1.4751783110000001</c:v>
                </c:pt>
                <c:pt idx="1093">
                  <c:v>1.4850828979999999</c:v>
                </c:pt>
                <c:pt idx="1094">
                  <c:v>1.5067096179999999</c:v>
                </c:pt>
                <c:pt idx="1095">
                  <c:v>1.5069244530000001</c:v>
                </c:pt>
                <c:pt idx="1096">
                  <c:v>1.5033450960000001</c:v>
                </c:pt>
                <c:pt idx="1097">
                  <c:v>1.501239387</c:v>
                </c:pt>
                <c:pt idx="1098">
                  <c:v>1.502026036</c:v>
                </c:pt>
                <c:pt idx="1099">
                  <c:v>1.5036914180000001</c:v>
                </c:pt>
                <c:pt idx="1100">
                  <c:v>1.506272646</c:v>
                </c:pt>
                <c:pt idx="1101">
                  <c:v>1.50212886</c:v>
                </c:pt>
                <c:pt idx="1102">
                  <c:v>1.5047971739999999</c:v>
                </c:pt>
                <c:pt idx="1103">
                  <c:v>1.5023017970000001</c:v>
                </c:pt>
                <c:pt idx="1104">
                  <c:v>1.4990963589999999</c:v>
                </c:pt>
                <c:pt idx="1105">
                  <c:v>1.4991296569999999</c:v>
                </c:pt>
                <c:pt idx="1106">
                  <c:v>1.5042417690000001</c:v>
                </c:pt>
                <c:pt idx="1107">
                  <c:v>1.4975670480000001</c:v>
                </c:pt>
                <c:pt idx="1108">
                  <c:v>1.4956514759999999</c:v>
                </c:pt>
                <c:pt idx="1109">
                  <c:v>1.5025801000000001</c:v>
                </c:pt>
                <c:pt idx="1110">
                  <c:v>1.5013459849999999</c:v>
                </c:pt>
                <c:pt idx="1111">
                  <c:v>1.501567393</c:v>
                </c:pt>
                <c:pt idx="1112">
                  <c:v>1.495871564</c:v>
                </c:pt>
                <c:pt idx="1113">
                  <c:v>1.49242013</c:v>
                </c:pt>
                <c:pt idx="1114">
                  <c:v>1.4895014660000001</c:v>
                </c:pt>
                <c:pt idx="1115">
                  <c:v>1.486720008</c:v>
                </c:pt>
                <c:pt idx="1116">
                  <c:v>1.4928417679999999</c:v>
                </c:pt>
                <c:pt idx="1117">
                  <c:v>1.4885777849999999</c:v>
                </c:pt>
                <c:pt idx="1118">
                  <c:v>1.4852671070000001</c:v>
                </c:pt>
                <c:pt idx="1119">
                  <c:v>1.4833463600000001</c:v>
                </c:pt>
                <c:pt idx="1120">
                  <c:v>1.4736776890000001</c:v>
                </c:pt>
                <c:pt idx="1121">
                  <c:v>1.4707637389999999</c:v>
                </c:pt>
                <c:pt idx="1122">
                  <c:v>1.465904992</c:v>
                </c:pt>
                <c:pt idx="1123">
                  <c:v>1.4642037569999999</c:v>
                </c:pt>
                <c:pt idx="1124">
                  <c:v>1.462607467</c:v>
                </c:pt>
                <c:pt idx="1125">
                  <c:v>1.4589765750000001</c:v>
                </c:pt>
                <c:pt idx="1126">
                  <c:v>1.4617022049999999</c:v>
                </c:pt>
                <c:pt idx="1127">
                  <c:v>1.454412136</c:v>
                </c:pt>
                <c:pt idx="1128">
                  <c:v>1.450909987</c:v>
                </c:pt>
                <c:pt idx="1129">
                  <c:v>1.447008139</c:v>
                </c:pt>
                <c:pt idx="1130">
                  <c:v>1.4422250940000001</c:v>
                </c:pt>
                <c:pt idx="1131">
                  <c:v>1.437373657</c:v>
                </c:pt>
                <c:pt idx="1132">
                  <c:v>1.4354445280000001</c:v>
                </c:pt>
                <c:pt idx="1133">
                  <c:v>1.431746822</c:v>
                </c:pt>
                <c:pt idx="1134">
                  <c:v>1.428669459</c:v>
                </c:pt>
                <c:pt idx="1135">
                  <c:v>1.425844949</c:v>
                </c:pt>
                <c:pt idx="1136">
                  <c:v>1.4279980050000001</c:v>
                </c:pt>
                <c:pt idx="1137">
                  <c:v>1.4136663920000001</c:v>
                </c:pt>
                <c:pt idx="1138">
                  <c:v>1.4027259910000001</c:v>
                </c:pt>
                <c:pt idx="1139">
                  <c:v>1.3921506749999999</c:v>
                </c:pt>
                <c:pt idx="1140">
                  <c:v>1.3873912660000001</c:v>
                </c:pt>
                <c:pt idx="1141">
                  <c:v>1.380648571</c:v>
                </c:pt>
                <c:pt idx="1142">
                  <c:v>1.380127149</c:v>
                </c:pt>
                <c:pt idx="1143">
                  <c:v>1.3753723369999999</c:v>
                </c:pt>
                <c:pt idx="1144">
                  <c:v>1.3750229679999999</c:v>
                </c:pt>
                <c:pt idx="1145">
                  <c:v>1.370596631</c:v>
                </c:pt>
                <c:pt idx="1146">
                  <c:v>1.347039855</c:v>
                </c:pt>
                <c:pt idx="1147">
                  <c:v>1.3495340680000001</c:v>
                </c:pt>
                <c:pt idx="1148">
                  <c:v>1.3475315349999999</c:v>
                </c:pt>
                <c:pt idx="1149">
                  <c:v>1.3470578980000001</c:v>
                </c:pt>
                <c:pt idx="1150">
                  <c:v>1.3448023229999999</c:v>
                </c:pt>
                <c:pt idx="1151">
                  <c:v>1.343687013</c:v>
                </c:pt>
                <c:pt idx="1152">
                  <c:v>1.334193183</c:v>
                </c:pt>
                <c:pt idx="1153">
                  <c:v>1.3314238279999999</c:v>
                </c:pt>
                <c:pt idx="1154">
                  <c:v>1.3268860689999999</c:v>
                </c:pt>
                <c:pt idx="1155">
                  <c:v>1.3176727690000001</c:v>
                </c:pt>
                <c:pt idx="1156">
                  <c:v>1.319515693</c:v>
                </c:pt>
                <c:pt idx="1157">
                  <c:v>1.3172071940000001</c:v>
                </c:pt>
                <c:pt idx="1158">
                  <c:v>1.31526459</c:v>
                </c:pt>
                <c:pt idx="1159">
                  <c:v>1.313808369</c:v>
                </c:pt>
                <c:pt idx="1160">
                  <c:v>1.3021425129999999</c:v>
                </c:pt>
                <c:pt idx="1161">
                  <c:v>1.2979624059999999</c:v>
                </c:pt>
                <c:pt idx="1162">
                  <c:v>1.2943000840000001</c:v>
                </c:pt>
                <c:pt idx="1163">
                  <c:v>1.2875331940000001</c:v>
                </c:pt>
                <c:pt idx="1164">
                  <c:v>1.2865216880000001</c:v>
                </c:pt>
                <c:pt idx="1165">
                  <c:v>1.2803000250000001</c:v>
                </c:pt>
                <c:pt idx="1166">
                  <c:v>1.2790327450000001</c:v>
                </c:pt>
                <c:pt idx="1167">
                  <c:v>1.2775712299999999</c:v>
                </c:pt>
                <c:pt idx="1168">
                  <c:v>1.275507993</c:v>
                </c:pt>
                <c:pt idx="1169">
                  <c:v>1.274452712</c:v>
                </c:pt>
                <c:pt idx="1170">
                  <c:v>1.2711207870000001</c:v>
                </c:pt>
                <c:pt idx="1171">
                  <c:v>1.2715857719999999</c:v>
                </c:pt>
                <c:pt idx="1172">
                  <c:v>1.2707997369999999</c:v>
                </c:pt>
                <c:pt idx="1173">
                  <c:v>1.2703144829999999</c:v>
                </c:pt>
                <c:pt idx="1174">
                  <c:v>1.2700470070000001</c:v>
                </c:pt>
                <c:pt idx="1175">
                  <c:v>1.270400698</c:v>
                </c:pt>
                <c:pt idx="1176">
                  <c:v>1.2710748860000001</c:v>
                </c:pt>
                <c:pt idx="1177">
                  <c:v>1.269658409</c:v>
                </c:pt>
                <c:pt idx="1178">
                  <c:v>1.2712483210000001</c:v>
                </c:pt>
                <c:pt idx="1179">
                  <c:v>1.2787777220000001</c:v>
                </c:pt>
                <c:pt idx="1180">
                  <c:v>1.2736383170000001</c:v>
                </c:pt>
                <c:pt idx="1181">
                  <c:v>1.2722278279999999</c:v>
                </c:pt>
                <c:pt idx="1182">
                  <c:v>1.270091225</c:v>
                </c:pt>
                <c:pt idx="1183">
                  <c:v>1.268162445</c:v>
                </c:pt>
                <c:pt idx="1184">
                  <c:v>1.2664836020000001</c:v>
                </c:pt>
                <c:pt idx="1185">
                  <c:v>1.261140455</c:v>
                </c:pt>
                <c:pt idx="1186">
                  <c:v>1.260046182</c:v>
                </c:pt>
                <c:pt idx="1187">
                  <c:v>1.2581142409999999</c:v>
                </c:pt>
                <c:pt idx="1188">
                  <c:v>1.2526821050000001</c:v>
                </c:pt>
                <c:pt idx="1189">
                  <c:v>1.2469282260000001</c:v>
                </c:pt>
                <c:pt idx="1190">
                  <c:v>1.2428742660000001</c:v>
                </c:pt>
                <c:pt idx="1191">
                  <c:v>1.2394708029999999</c:v>
                </c:pt>
                <c:pt idx="1192">
                  <c:v>1.2364196940000001</c:v>
                </c:pt>
                <c:pt idx="1193">
                  <c:v>1.2341272539999999</c:v>
                </c:pt>
                <c:pt idx="1194">
                  <c:v>1.230562427</c:v>
                </c:pt>
                <c:pt idx="1195">
                  <c:v>1.2271184100000001</c:v>
                </c:pt>
                <c:pt idx="1196">
                  <c:v>1.2277970389999999</c:v>
                </c:pt>
                <c:pt idx="1197">
                  <c:v>1.225593334</c:v>
                </c:pt>
                <c:pt idx="1198">
                  <c:v>1.2228750880000001</c:v>
                </c:pt>
                <c:pt idx="1199">
                  <c:v>1.2231132689999999</c:v>
                </c:pt>
                <c:pt idx="1200">
                  <c:v>1.222111521</c:v>
                </c:pt>
                <c:pt idx="1201">
                  <c:v>1.220814023</c:v>
                </c:pt>
                <c:pt idx="1202">
                  <c:v>1.2195449060000001</c:v>
                </c:pt>
                <c:pt idx="1203">
                  <c:v>1.2232032049999999</c:v>
                </c:pt>
                <c:pt idx="1204">
                  <c:v>1.2118569859999999</c:v>
                </c:pt>
                <c:pt idx="1205">
                  <c:v>1.2124446550000001</c:v>
                </c:pt>
                <c:pt idx="1206">
                  <c:v>1.2110455259999999</c:v>
                </c:pt>
                <c:pt idx="1207">
                  <c:v>1.215232944</c:v>
                </c:pt>
                <c:pt idx="1208">
                  <c:v>1.2181206899999999</c:v>
                </c:pt>
                <c:pt idx="1209">
                  <c:v>1.217830921</c:v>
                </c:pt>
                <c:pt idx="1210">
                  <c:v>1.2175104809999999</c:v>
                </c:pt>
                <c:pt idx="1211">
                  <c:v>1.192973839</c:v>
                </c:pt>
                <c:pt idx="1212">
                  <c:v>1.197645802</c:v>
                </c:pt>
                <c:pt idx="1213">
                  <c:v>1.205602879</c:v>
                </c:pt>
                <c:pt idx="1214">
                  <c:v>1.20719329</c:v>
                </c:pt>
                <c:pt idx="1215">
                  <c:v>1.2078611290000001</c:v>
                </c:pt>
                <c:pt idx="1216">
                  <c:v>1.209492198</c:v>
                </c:pt>
                <c:pt idx="1217">
                  <c:v>1.2104754289999999</c:v>
                </c:pt>
                <c:pt idx="1218">
                  <c:v>1.2041363949999999</c:v>
                </c:pt>
                <c:pt idx="1219">
                  <c:v>1.206342172</c:v>
                </c:pt>
                <c:pt idx="1220">
                  <c:v>1.2076316680000001</c:v>
                </c:pt>
                <c:pt idx="1221">
                  <c:v>1.2061169920000001</c:v>
                </c:pt>
                <c:pt idx="1222">
                  <c:v>1.2073634689999999</c:v>
                </c:pt>
                <c:pt idx="1223">
                  <c:v>1.2119807330000001</c:v>
                </c:pt>
                <c:pt idx="1224">
                  <c:v>1.2158809290000001</c:v>
                </c:pt>
                <c:pt idx="1225">
                  <c:v>1.2247534200000001</c:v>
                </c:pt>
                <c:pt idx="1226">
                  <c:v>1.2262900619999999</c:v>
                </c:pt>
                <c:pt idx="1227">
                  <c:v>1.2277496269999999</c:v>
                </c:pt>
                <c:pt idx="1228">
                  <c:v>1.2258404549999999</c:v>
                </c:pt>
                <c:pt idx="1229">
                  <c:v>1.2106026080000001</c:v>
                </c:pt>
                <c:pt idx="1230">
                  <c:v>1.2130525139999999</c:v>
                </c:pt>
                <c:pt idx="1231">
                  <c:v>1.2173829890000001</c:v>
                </c:pt>
                <c:pt idx="1232">
                  <c:v>1.2182486880000001</c:v>
                </c:pt>
                <c:pt idx="1233">
                  <c:v>1.222789806</c:v>
                </c:pt>
                <c:pt idx="1234">
                  <c:v>1.222549559</c:v>
                </c:pt>
                <c:pt idx="1235">
                  <c:v>1.2254502970000001</c:v>
                </c:pt>
                <c:pt idx="1236">
                  <c:v>1.224371358</c:v>
                </c:pt>
                <c:pt idx="1237">
                  <c:v>1.228164775</c:v>
                </c:pt>
                <c:pt idx="1238">
                  <c:v>1.227262125</c:v>
                </c:pt>
                <c:pt idx="1239">
                  <c:v>1.2182187229999999</c:v>
                </c:pt>
                <c:pt idx="1240">
                  <c:v>1.2198012119999999</c:v>
                </c:pt>
                <c:pt idx="1241">
                  <c:v>1.220712756</c:v>
                </c:pt>
                <c:pt idx="1242">
                  <c:v>1.223954786</c:v>
                </c:pt>
                <c:pt idx="1243">
                  <c:v>1.225498655</c:v>
                </c:pt>
                <c:pt idx="1244">
                  <c:v>1.236676879</c:v>
                </c:pt>
                <c:pt idx="1245">
                  <c:v>1.238753097</c:v>
                </c:pt>
                <c:pt idx="1246">
                  <c:v>1.2388201539999999</c:v>
                </c:pt>
                <c:pt idx="1247">
                  <c:v>1.2427074819999999</c:v>
                </c:pt>
                <c:pt idx="1248">
                  <c:v>1.243271692</c:v>
                </c:pt>
                <c:pt idx="1249">
                  <c:v>1.242264518</c:v>
                </c:pt>
                <c:pt idx="1250">
                  <c:v>1.2406000880000001</c:v>
                </c:pt>
                <c:pt idx="1251">
                  <c:v>1.2409024129999999</c:v>
                </c:pt>
                <c:pt idx="1252">
                  <c:v>1.229097337</c:v>
                </c:pt>
                <c:pt idx="1253">
                  <c:v>1.242297261</c:v>
                </c:pt>
                <c:pt idx="1254">
                  <c:v>1.242565361</c:v>
                </c:pt>
                <c:pt idx="1255">
                  <c:v>1.241806905</c:v>
                </c:pt>
                <c:pt idx="1256">
                  <c:v>1.242482525</c:v>
                </c:pt>
                <c:pt idx="1257">
                  <c:v>1.2336339670000001</c:v>
                </c:pt>
                <c:pt idx="1258">
                  <c:v>1.23742712</c:v>
                </c:pt>
                <c:pt idx="1259">
                  <c:v>1.213066223</c:v>
                </c:pt>
                <c:pt idx="1260">
                  <c:v>1.2040645649999999</c:v>
                </c:pt>
                <c:pt idx="1261">
                  <c:v>1.208976386</c:v>
                </c:pt>
                <c:pt idx="1262">
                  <c:v>1.224061222</c:v>
                </c:pt>
                <c:pt idx="1263">
                  <c:v>1.2225384530000001</c:v>
                </c:pt>
                <c:pt idx="1264">
                  <c:v>1.2208238570000001</c:v>
                </c:pt>
                <c:pt idx="1265">
                  <c:v>1.220120742</c:v>
                </c:pt>
                <c:pt idx="1266">
                  <c:v>1.218516065</c:v>
                </c:pt>
                <c:pt idx="1267">
                  <c:v>1.217116683</c:v>
                </c:pt>
                <c:pt idx="1268">
                  <c:v>1.2197981630000001</c:v>
                </c:pt>
                <c:pt idx="1269">
                  <c:v>1.2193482899999999</c:v>
                </c:pt>
                <c:pt idx="1270">
                  <c:v>1.2190606530000001</c:v>
                </c:pt>
                <c:pt idx="1271">
                  <c:v>1.2061520699999999</c:v>
                </c:pt>
                <c:pt idx="1272">
                  <c:v>1.2095649289999999</c:v>
                </c:pt>
                <c:pt idx="1273">
                  <c:v>1.2146873949999999</c:v>
                </c:pt>
                <c:pt idx="1274">
                  <c:v>1.214573463</c:v>
                </c:pt>
                <c:pt idx="1275">
                  <c:v>1.211910083</c:v>
                </c:pt>
                <c:pt idx="1276">
                  <c:v>1.2094961950000001</c:v>
                </c:pt>
                <c:pt idx="1277">
                  <c:v>1.197691031</c:v>
                </c:pt>
                <c:pt idx="1278">
                  <c:v>1.201338137</c:v>
                </c:pt>
                <c:pt idx="1279">
                  <c:v>1.201573438</c:v>
                </c:pt>
                <c:pt idx="1280">
                  <c:v>1.2028009770000001</c:v>
                </c:pt>
                <c:pt idx="1281">
                  <c:v>1.203103322</c:v>
                </c:pt>
                <c:pt idx="1282">
                  <c:v>1.206908181</c:v>
                </c:pt>
                <c:pt idx="1283">
                  <c:v>1.2063555130000001</c:v>
                </c:pt>
                <c:pt idx="1284">
                  <c:v>1.2063962800000001</c:v>
                </c:pt>
                <c:pt idx="1285">
                  <c:v>1.206276007</c:v>
                </c:pt>
                <c:pt idx="1286">
                  <c:v>1.2060903679999999</c:v>
                </c:pt>
                <c:pt idx="1287">
                  <c:v>1.2073281490000001</c:v>
                </c:pt>
                <c:pt idx="1288">
                  <c:v>1.2087087830000001</c:v>
                </c:pt>
                <c:pt idx="1289">
                  <c:v>1.2089057969999999</c:v>
                </c:pt>
                <c:pt idx="1290">
                  <c:v>1.2086391489999999</c:v>
                </c:pt>
                <c:pt idx="1291">
                  <c:v>1.2002184920000001</c:v>
                </c:pt>
                <c:pt idx="1292">
                  <c:v>1.2028951999999999</c:v>
                </c:pt>
                <c:pt idx="1293">
                  <c:v>1.1896208589999999</c:v>
                </c:pt>
                <c:pt idx="1294">
                  <c:v>1.1859576519999999</c:v>
                </c:pt>
                <c:pt idx="1295">
                  <c:v>1.1905007839999999</c:v>
                </c:pt>
                <c:pt idx="1296">
                  <c:v>1.1892200129999999</c:v>
                </c:pt>
                <c:pt idx="1297">
                  <c:v>1.189779363</c:v>
                </c:pt>
                <c:pt idx="1298">
                  <c:v>1.189044897</c:v>
                </c:pt>
                <c:pt idx="1299">
                  <c:v>1.187896689</c:v>
                </c:pt>
                <c:pt idx="1300">
                  <c:v>1.1916841359999999</c:v>
                </c:pt>
                <c:pt idx="1301">
                  <c:v>1.1931366839999999</c:v>
                </c:pt>
                <c:pt idx="1302">
                  <c:v>1.1958745070000001</c:v>
                </c:pt>
                <c:pt idx="1303">
                  <c:v>1.195844272</c:v>
                </c:pt>
                <c:pt idx="1304">
                  <c:v>1.1983138310000001</c:v>
                </c:pt>
                <c:pt idx="1305">
                  <c:v>1.1969398360000001</c:v>
                </c:pt>
                <c:pt idx="1306">
                  <c:v>1.1971956130000001</c:v>
                </c:pt>
                <c:pt idx="1307">
                  <c:v>1.1953050860000001</c:v>
                </c:pt>
                <c:pt idx="1308">
                  <c:v>1.194597949</c:v>
                </c:pt>
                <c:pt idx="1309">
                  <c:v>1.1971202030000001</c:v>
                </c:pt>
                <c:pt idx="1310">
                  <c:v>1.199335177</c:v>
                </c:pt>
                <c:pt idx="1311">
                  <c:v>1.202831132</c:v>
                </c:pt>
                <c:pt idx="1312">
                  <c:v>1.2058780090000001</c:v>
                </c:pt>
                <c:pt idx="1313">
                  <c:v>1.2075278599999999</c:v>
                </c:pt>
                <c:pt idx="1314">
                  <c:v>1.2091058779999999</c:v>
                </c:pt>
                <c:pt idx="1315">
                  <c:v>1.209432938</c:v>
                </c:pt>
                <c:pt idx="1316">
                  <c:v>1.212129459</c:v>
                </c:pt>
                <c:pt idx="1317">
                  <c:v>1.2141842249999999</c:v>
                </c:pt>
                <c:pt idx="1318">
                  <c:v>1.214379927</c:v>
                </c:pt>
                <c:pt idx="1319">
                  <c:v>1.2145130909999999</c:v>
                </c:pt>
                <c:pt idx="1320">
                  <c:v>1.2144386739999999</c:v>
                </c:pt>
                <c:pt idx="1321">
                  <c:v>1.214462409</c:v>
                </c:pt>
                <c:pt idx="1322">
                  <c:v>1.2155319469999999</c:v>
                </c:pt>
                <c:pt idx="1323">
                  <c:v>1.212993797</c:v>
                </c:pt>
                <c:pt idx="1324">
                  <c:v>1.1979451679999999</c:v>
                </c:pt>
                <c:pt idx="1325">
                  <c:v>1.1989963079999999</c:v>
                </c:pt>
                <c:pt idx="1326">
                  <c:v>1.2000493860000001</c:v>
                </c:pt>
                <c:pt idx="1327">
                  <c:v>1.2008557200000001</c:v>
                </c:pt>
                <c:pt idx="1328">
                  <c:v>1.200328938</c:v>
                </c:pt>
                <c:pt idx="1329">
                  <c:v>1.1845010680000001</c:v>
                </c:pt>
                <c:pt idx="1330">
                  <c:v>1.1856662419999999</c:v>
                </c:pt>
                <c:pt idx="1331">
                  <c:v>1.1205163899999999</c:v>
                </c:pt>
                <c:pt idx="1332">
                  <c:v>1.124785943</c:v>
                </c:pt>
                <c:pt idx="1333">
                  <c:v>1.127420946</c:v>
                </c:pt>
                <c:pt idx="1334">
                  <c:v>1.1295208750000001</c:v>
                </c:pt>
                <c:pt idx="1335">
                  <c:v>1.1263581970000001</c:v>
                </c:pt>
                <c:pt idx="1336">
                  <c:v>1.129693117</c:v>
                </c:pt>
                <c:pt idx="1337">
                  <c:v>1.1304046240000001</c:v>
                </c:pt>
                <c:pt idx="1338">
                  <c:v>1.130355443</c:v>
                </c:pt>
                <c:pt idx="1339">
                  <c:v>1.132006243</c:v>
                </c:pt>
                <c:pt idx="1340">
                  <c:v>1.1315423410000001</c:v>
                </c:pt>
                <c:pt idx="1341">
                  <c:v>1.116391626</c:v>
                </c:pt>
                <c:pt idx="1342">
                  <c:v>1.1167449949999999</c:v>
                </c:pt>
                <c:pt idx="1343">
                  <c:v>1.1037872099999999</c:v>
                </c:pt>
                <c:pt idx="1344">
                  <c:v>1.073399236</c:v>
                </c:pt>
                <c:pt idx="1345">
                  <c:v>1.069050048</c:v>
                </c:pt>
                <c:pt idx="1346">
                  <c:v>1.065806724</c:v>
                </c:pt>
                <c:pt idx="1347">
                  <c:v>1.068255062</c:v>
                </c:pt>
                <c:pt idx="1348">
                  <c:v>1.0649593470000001</c:v>
                </c:pt>
                <c:pt idx="1349">
                  <c:v>1.0667324119999999</c:v>
                </c:pt>
                <c:pt idx="1350">
                  <c:v>1.052528141</c:v>
                </c:pt>
                <c:pt idx="1351">
                  <c:v>1.048790753</c:v>
                </c:pt>
                <c:pt idx="1352">
                  <c:v>1.0357256029999999</c:v>
                </c:pt>
                <c:pt idx="1353">
                  <c:v>1.0333738960000001</c:v>
                </c:pt>
                <c:pt idx="1354">
                  <c:v>1.036980649</c:v>
                </c:pt>
                <c:pt idx="1355">
                  <c:v>1.0338333260000001</c:v>
                </c:pt>
                <c:pt idx="1356">
                  <c:v>1.0226723419999999</c:v>
                </c:pt>
                <c:pt idx="1357">
                  <c:v>1.0238275080000001</c:v>
                </c:pt>
                <c:pt idx="1358">
                  <c:v>1.022021203</c:v>
                </c:pt>
                <c:pt idx="1359">
                  <c:v>1.0148665610000001</c:v>
                </c:pt>
                <c:pt idx="1360">
                  <c:v>1.0141685620000001</c:v>
                </c:pt>
                <c:pt idx="1361">
                  <c:v>1.009010194</c:v>
                </c:pt>
                <c:pt idx="1362">
                  <c:v>1.009519362</c:v>
                </c:pt>
                <c:pt idx="1363">
                  <c:v>1.0102299180000001</c:v>
                </c:pt>
                <c:pt idx="1364">
                  <c:v>1.0085625110000001</c:v>
                </c:pt>
                <c:pt idx="1365">
                  <c:v>1.007050132</c:v>
                </c:pt>
                <c:pt idx="1366">
                  <c:v>0.99392469500000002</c:v>
                </c:pt>
                <c:pt idx="1367">
                  <c:v>0.99399063899999995</c:v>
                </c:pt>
                <c:pt idx="1368">
                  <c:v>0.99433565099999999</c:v>
                </c:pt>
                <c:pt idx="1369">
                  <c:v>0.99219768100000005</c:v>
                </c:pt>
                <c:pt idx="1370">
                  <c:v>0.99566875399999999</c:v>
                </c:pt>
                <c:pt idx="1371">
                  <c:v>0.99454415600000001</c:v>
                </c:pt>
                <c:pt idx="1372">
                  <c:v>0.99533657600000003</c:v>
                </c:pt>
                <c:pt idx="1373">
                  <c:v>0.99807785400000004</c:v>
                </c:pt>
                <c:pt idx="1374">
                  <c:v>0.99834644100000003</c:v>
                </c:pt>
                <c:pt idx="1375">
                  <c:v>0.99881560300000005</c:v>
                </c:pt>
                <c:pt idx="1376">
                  <c:v>0.99054636799999995</c:v>
                </c:pt>
                <c:pt idx="1377">
                  <c:v>0.98979552000000004</c:v>
                </c:pt>
                <c:pt idx="1378">
                  <c:v>0.98901857199999998</c:v>
                </c:pt>
                <c:pt idx="1379">
                  <c:v>0.98698850000000005</c:v>
                </c:pt>
                <c:pt idx="1380">
                  <c:v>0.98705188600000004</c:v>
                </c:pt>
                <c:pt idx="1381">
                  <c:v>0.98592360400000001</c:v>
                </c:pt>
                <c:pt idx="1382">
                  <c:v>0.98207866200000005</c:v>
                </c:pt>
                <c:pt idx="1383">
                  <c:v>0.98040084299999997</c:v>
                </c:pt>
                <c:pt idx="1384">
                  <c:v>0.98134236799999996</c:v>
                </c:pt>
                <c:pt idx="1385">
                  <c:v>0.97871562300000003</c:v>
                </c:pt>
                <c:pt idx="1386">
                  <c:v>0.96123192899999998</c:v>
                </c:pt>
                <c:pt idx="1387">
                  <c:v>0.96243488499999996</c:v>
                </c:pt>
                <c:pt idx="1388">
                  <c:v>0.97301660199999995</c:v>
                </c:pt>
                <c:pt idx="1389">
                  <c:v>0.977157363</c:v>
                </c:pt>
                <c:pt idx="1390">
                  <c:v>0.98065026799999999</c:v>
                </c:pt>
                <c:pt idx="1391">
                  <c:v>0.97986513799999997</c:v>
                </c:pt>
                <c:pt idx="1392">
                  <c:v>0.97340663100000002</c:v>
                </c:pt>
                <c:pt idx="1393">
                  <c:v>0.97190593700000005</c:v>
                </c:pt>
                <c:pt idx="1394">
                  <c:v>0.96651386100000003</c:v>
                </c:pt>
                <c:pt idx="1395">
                  <c:v>0.96614815600000004</c:v>
                </c:pt>
                <c:pt idx="1396">
                  <c:v>0.96383027300000002</c:v>
                </c:pt>
                <c:pt idx="1397">
                  <c:v>0.95555145699999999</c:v>
                </c:pt>
                <c:pt idx="1398">
                  <c:v>0.95265431099999998</c:v>
                </c:pt>
                <c:pt idx="1399">
                  <c:v>0.94927504500000004</c:v>
                </c:pt>
                <c:pt idx="1400">
                  <c:v>0.94485886799999996</c:v>
                </c:pt>
                <c:pt idx="1401">
                  <c:v>0.94113529200000001</c:v>
                </c:pt>
                <c:pt idx="1402">
                  <c:v>0.93733579099999997</c:v>
                </c:pt>
                <c:pt idx="1403">
                  <c:v>0.93344260400000001</c:v>
                </c:pt>
                <c:pt idx="1404">
                  <c:v>0.93508962100000004</c:v>
                </c:pt>
                <c:pt idx="1405">
                  <c:v>0.93551883700000005</c:v>
                </c:pt>
                <c:pt idx="1406">
                  <c:v>0.93004066900000004</c:v>
                </c:pt>
                <c:pt idx="1407">
                  <c:v>0.92967012999999998</c:v>
                </c:pt>
                <c:pt idx="1408">
                  <c:v>0.92977940199999998</c:v>
                </c:pt>
                <c:pt idx="1409">
                  <c:v>0.92987259700000002</c:v>
                </c:pt>
                <c:pt idx="1410">
                  <c:v>0.928058567</c:v>
                </c:pt>
                <c:pt idx="1411">
                  <c:v>0.921701086</c:v>
                </c:pt>
                <c:pt idx="1412">
                  <c:v>0.91590175500000004</c:v>
                </c:pt>
                <c:pt idx="1413">
                  <c:v>0.90651962600000002</c:v>
                </c:pt>
                <c:pt idx="1414">
                  <c:v>0.89948473699999998</c:v>
                </c:pt>
                <c:pt idx="1415">
                  <c:v>0.89708141100000005</c:v>
                </c:pt>
                <c:pt idx="1416">
                  <c:v>0.89152338399999997</c:v>
                </c:pt>
                <c:pt idx="1417">
                  <c:v>0.88237022399999998</c:v>
                </c:pt>
                <c:pt idx="1418">
                  <c:v>0.88475106299999995</c:v>
                </c:pt>
                <c:pt idx="1419">
                  <c:v>0.87158279100000002</c:v>
                </c:pt>
                <c:pt idx="1420">
                  <c:v>0.869170463</c:v>
                </c:pt>
                <c:pt idx="1421">
                  <c:v>0.86020410899999999</c:v>
                </c:pt>
                <c:pt idx="1422">
                  <c:v>0.85472873699999996</c:v>
                </c:pt>
                <c:pt idx="1423">
                  <c:v>0.84741061500000003</c:v>
                </c:pt>
                <c:pt idx="1424">
                  <c:v>0.84489562399999996</c:v>
                </c:pt>
                <c:pt idx="1425">
                  <c:v>0.840679603</c:v>
                </c:pt>
                <c:pt idx="1426">
                  <c:v>0.83045818699999996</c:v>
                </c:pt>
                <c:pt idx="1427">
                  <c:v>0.83114585900000004</c:v>
                </c:pt>
                <c:pt idx="1428">
                  <c:v>0.82697753299999999</c:v>
                </c:pt>
                <c:pt idx="1429">
                  <c:v>0.80889695100000003</c:v>
                </c:pt>
                <c:pt idx="1430">
                  <c:v>0.80454218700000002</c:v>
                </c:pt>
                <c:pt idx="1431">
                  <c:v>0.79842740800000001</c:v>
                </c:pt>
                <c:pt idx="1432">
                  <c:v>0.79581257400000005</c:v>
                </c:pt>
                <c:pt idx="1433">
                  <c:v>0.78802099000000003</c:v>
                </c:pt>
                <c:pt idx="1434">
                  <c:v>0.79935678700000001</c:v>
                </c:pt>
                <c:pt idx="1435">
                  <c:v>0.79148949499999999</c:v>
                </c:pt>
                <c:pt idx="1436">
                  <c:v>0.809543173</c:v>
                </c:pt>
                <c:pt idx="1437">
                  <c:v>0.797127747</c:v>
                </c:pt>
                <c:pt idx="1438">
                  <c:v>0.80684320499999995</c:v>
                </c:pt>
                <c:pt idx="1439">
                  <c:v>0.82214780499999995</c:v>
                </c:pt>
                <c:pt idx="1440">
                  <c:v>0.82775931700000005</c:v>
                </c:pt>
                <c:pt idx="1441">
                  <c:v>0.82243152600000002</c:v>
                </c:pt>
                <c:pt idx="1442">
                  <c:v>0.81769695899999995</c:v>
                </c:pt>
                <c:pt idx="1443">
                  <c:v>0.812682923</c:v>
                </c:pt>
                <c:pt idx="1444">
                  <c:v>0.81309065800000002</c:v>
                </c:pt>
                <c:pt idx="1445">
                  <c:v>0.80628540299999996</c:v>
                </c:pt>
                <c:pt idx="1446">
                  <c:v>0.79587922300000002</c:v>
                </c:pt>
                <c:pt idx="1447">
                  <c:v>0.78858084900000003</c:v>
                </c:pt>
                <c:pt idx="1448">
                  <c:v>0.77662549199999997</c:v>
                </c:pt>
                <c:pt idx="1449">
                  <c:v>0.77133974599999999</c:v>
                </c:pt>
                <c:pt idx="1450">
                  <c:v>0.77485654699999995</c:v>
                </c:pt>
                <c:pt idx="1451">
                  <c:v>0.77889218500000001</c:v>
                </c:pt>
                <c:pt idx="1452">
                  <c:v>0.77993080000000004</c:v>
                </c:pt>
                <c:pt idx="1453">
                  <c:v>0.76517313300000001</c:v>
                </c:pt>
                <c:pt idx="1454">
                  <c:v>0.75890924900000001</c:v>
                </c:pt>
                <c:pt idx="1455">
                  <c:v>0.755099466</c:v>
                </c:pt>
                <c:pt idx="1456">
                  <c:v>0.75281413100000005</c:v>
                </c:pt>
                <c:pt idx="1457">
                  <c:v>0.74019263199999996</c:v>
                </c:pt>
                <c:pt idx="1458">
                  <c:v>0.73187713099999996</c:v>
                </c:pt>
                <c:pt idx="1459">
                  <c:v>0.732583765</c:v>
                </c:pt>
                <c:pt idx="1460">
                  <c:v>0.72471132999999999</c:v>
                </c:pt>
                <c:pt idx="1461">
                  <c:v>0.72075923500000005</c:v>
                </c:pt>
                <c:pt idx="1462">
                  <c:v>0.71597083699999997</c:v>
                </c:pt>
                <c:pt idx="1463">
                  <c:v>0.70740532</c:v>
                </c:pt>
                <c:pt idx="1464">
                  <c:v>0.70968757599999999</c:v>
                </c:pt>
                <c:pt idx="1465">
                  <c:v>0.70495993999999995</c:v>
                </c:pt>
                <c:pt idx="1466">
                  <c:v>0.75867952500000002</c:v>
                </c:pt>
                <c:pt idx="1467">
                  <c:v>0.75308878300000004</c:v>
                </c:pt>
                <c:pt idx="1468">
                  <c:v>0.76118481400000004</c:v>
                </c:pt>
                <c:pt idx="1469">
                  <c:v>0.75619105499999995</c:v>
                </c:pt>
                <c:pt idx="1470">
                  <c:v>0.75103605600000001</c:v>
                </c:pt>
                <c:pt idx="1471">
                  <c:v>0.74762631800000001</c:v>
                </c:pt>
                <c:pt idx="1472">
                  <c:v>0.74120157600000003</c:v>
                </c:pt>
                <c:pt idx="1473">
                  <c:v>0.73928126900000002</c:v>
                </c:pt>
                <c:pt idx="1474">
                  <c:v>0.73713123599999997</c:v>
                </c:pt>
                <c:pt idx="1475">
                  <c:v>0.73235306700000002</c:v>
                </c:pt>
                <c:pt idx="1476">
                  <c:v>0.73376423499999999</c:v>
                </c:pt>
                <c:pt idx="1477">
                  <c:v>0.73445791999999999</c:v>
                </c:pt>
                <c:pt idx="1478">
                  <c:v>0.73108549599999995</c:v>
                </c:pt>
                <c:pt idx="1479">
                  <c:v>0.72749640900000001</c:v>
                </c:pt>
                <c:pt idx="1480">
                  <c:v>0.72671358500000005</c:v>
                </c:pt>
                <c:pt idx="1481">
                  <c:v>0.72281157399999996</c:v>
                </c:pt>
                <c:pt idx="1482">
                  <c:v>0.72219689200000003</c:v>
                </c:pt>
                <c:pt idx="1483">
                  <c:v>0.71710253499999999</c:v>
                </c:pt>
                <c:pt idx="1484">
                  <c:v>0.71561981100000005</c:v>
                </c:pt>
                <c:pt idx="1485">
                  <c:v>0.71316442599999996</c:v>
                </c:pt>
                <c:pt idx="1486">
                  <c:v>0.71199539700000003</c:v>
                </c:pt>
                <c:pt idx="1487">
                  <c:v>0.71003503000000001</c:v>
                </c:pt>
                <c:pt idx="1488">
                  <c:v>0.70972102500000001</c:v>
                </c:pt>
                <c:pt idx="1489">
                  <c:v>0.708936346</c:v>
                </c:pt>
                <c:pt idx="1490">
                  <c:v>0.70567514200000003</c:v>
                </c:pt>
                <c:pt idx="1491">
                  <c:v>0.70239162799999999</c:v>
                </c:pt>
                <c:pt idx="1492">
                  <c:v>0.70360719400000005</c:v>
                </c:pt>
                <c:pt idx="1493">
                  <c:v>0.69765863299999997</c:v>
                </c:pt>
                <c:pt idx="1494">
                  <c:v>0.69064109900000004</c:v>
                </c:pt>
                <c:pt idx="1495">
                  <c:v>0.68937701200000001</c:v>
                </c:pt>
                <c:pt idx="1496">
                  <c:v>0.68761041700000003</c:v>
                </c:pt>
                <c:pt idx="1497">
                  <c:v>0.68504816700000004</c:v>
                </c:pt>
                <c:pt idx="1498">
                  <c:v>0.68297670799999999</c:v>
                </c:pt>
                <c:pt idx="1499">
                  <c:v>0.68088695399999999</c:v>
                </c:pt>
                <c:pt idx="1500">
                  <c:v>0.67635234700000002</c:v>
                </c:pt>
                <c:pt idx="1501">
                  <c:v>0.67600831800000005</c:v>
                </c:pt>
                <c:pt idx="1502">
                  <c:v>0.67098855899999998</c:v>
                </c:pt>
                <c:pt idx="1503">
                  <c:v>0.65895181199999997</c:v>
                </c:pt>
                <c:pt idx="1504">
                  <c:v>0.65325731600000003</c:v>
                </c:pt>
                <c:pt idx="1505">
                  <c:v>0.64811939399999996</c:v>
                </c:pt>
                <c:pt idx="1506">
                  <c:v>0.64424107600000002</c:v>
                </c:pt>
                <c:pt idx="1507">
                  <c:v>0.63675744099999998</c:v>
                </c:pt>
                <c:pt idx="1508">
                  <c:v>0.63177729100000002</c:v>
                </c:pt>
                <c:pt idx="1509">
                  <c:v>0.62687165199999995</c:v>
                </c:pt>
                <c:pt idx="1510">
                  <c:v>0.62216632000000005</c:v>
                </c:pt>
                <c:pt idx="1511">
                  <c:v>0.61800888899999995</c:v>
                </c:pt>
                <c:pt idx="1512">
                  <c:v>0.60699796399999995</c:v>
                </c:pt>
                <c:pt idx="1513">
                  <c:v>0.60474366599999996</c:v>
                </c:pt>
                <c:pt idx="1514">
                  <c:v>0.60084359099999995</c:v>
                </c:pt>
                <c:pt idx="1515">
                  <c:v>0.59734187900000002</c:v>
                </c:pt>
                <c:pt idx="1516">
                  <c:v>0.59371439599999998</c:v>
                </c:pt>
                <c:pt idx="1517">
                  <c:v>0.58782137599999995</c:v>
                </c:pt>
                <c:pt idx="1518">
                  <c:v>0.58258786100000004</c:v>
                </c:pt>
                <c:pt idx="1519">
                  <c:v>0.57975109800000002</c:v>
                </c:pt>
                <c:pt idx="1520">
                  <c:v>0.57542359700000001</c:v>
                </c:pt>
                <c:pt idx="1521">
                  <c:v>0.56971377099999998</c:v>
                </c:pt>
                <c:pt idx="1522">
                  <c:v>0.56506768100000004</c:v>
                </c:pt>
                <c:pt idx="1523">
                  <c:v>0.56284215000000004</c:v>
                </c:pt>
                <c:pt idx="1524">
                  <c:v>0.55793172300000005</c:v>
                </c:pt>
                <c:pt idx="1525">
                  <c:v>0.55222390200000004</c:v>
                </c:pt>
                <c:pt idx="1526">
                  <c:v>0.54928793499999995</c:v>
                </c:pt>
                <c:pt idx="1527">
                  <c:v>0.54672537499999996</c:v>
                </c:pt>
                <c:pt idx="1528">
                  <c:v>0.53966035899999998</c:v>
                </c:pt>
                <c:pt idx="1529">
                  <c:v>0.53552820099999998</c:v>
                </c:pt>
                <c:pt idx="1530">
                  <c:v>0.53199442299999999</c:v>
                </c:pt>
                <c:pt idx="1531">
                  <c:v>0.52682863499999999</c:v>
                </c:pt>
                <c:pt idx="1532">
                  <c:v>0.520924147</c:v>
                </c:pt>
                <c:pt idx="1533">
                  <c:v>0.51757633999999997</c:v>
                </c:pt>
                <c:pt idx="1534">
                  <c:v>0.51413071499999996</c:v>
                </c:pt>
                <c:pt idx="1535">
                  <c:v>0.519524298</c:v>
                </c:pt>
                <c:pt idx="1536">
                  <c:v>0.51604154899999999</c:v>
                </c:pt>
                <c:pt idx="1537">
                  <c:v>0.51419687000000003</c:v>
                </c:pt>
                <c:pt idx="1538">
                  <c:v>0.51264312899999998</c:v>
                </c:pt>
                <c:pt idx="1539">
                  <c:v>0.51253130800000002</c:v>
                </c:pt>
                <c:pt idx="1540">
                  <c:v>0.50960562700000001</c:v>
                </c:pt>
                <c:pt idx="1541">
                  <c:v>0.50694355899999999</c:v>
                </c:pt>
                <c:pt idx="1542">
                  <c:v>0.50361605899999995</c:v>
                </c:pt>
                <c:pt idx="1543">
                  <c:v>0.50301596599999998</c:v>
                </c:pt>
                <c:pt idx="1544">
                  <c:v>0.50166365099999999</c:v>
                </c:pt>
                <c:pt idx="1545">
                  <c:v>0.50232805599999997</c:v>
                </c:pt>
                <c:pt idx="1546">
                  <c:v>0.49947676200000002</c:v>
                </c:pt>
                <c:pt idx="1547">
                  <c:v>0.49822411999999999</c:v>
                </c:pt>
                <c:pt idx="1548">
                  <c:v>0.49504628099999998</c:v>
                </c:pt>
                <c:pt idx="1549">
                  <c:v>0.49439083900000003</c:v>
                </c:pt>
                <c:pt idx="1550">
                  <c:v>0.49014577199999998</c:v>
                </c:pt>
                <c:pt idx="1551">
                  <c:v>0.48667056400000003</c:v>
                </c:pt>
                <c:pt idx="1552">
                  <c:v>0.50513763199999995</c:v>
                </c:pt>
                <c:pt idx="1553">
                  <c:v>0.50158874799999997</c:v>
                </c:pt>
                <c:pt idx="1554">
                  <c:v>0.50619619299999996</c:v>
                </c:pt>
                <c:pt idx="1555">
                  <c:v>0.50372779300000003</c:v>
                </c:pt>
                <c:pt idx="1556">
                  <c:v>0.50055556000000001</c:v>
                </c:pt>
                <c:pt idx="1557">
                  <c:v>0.49675203099999998</c:v>
                </c:pt>
                <c:pt idx="1558">
                  <c:v>0.49251803500000002</c:v>
                </c:pt>
                <c:pt idx="1559">
                  <c:v>0.48899094199999998</c:v>
                </c:pt>
                <c:pt idx="1560">
                  <c:v>0.48485784300000001</c:v>
                </c:pt>
                <c:pt idx="1561">
                  <c:v>0.48124820299999999</c:v>
                </c:pt>
                <c:pt idx="1562">
                  <c:v>0.47856472100000003</c:v>
                </c:pt>
                <c:pt idx="1563">
                  <c:v>0.475292194</c:v>
                </c:pt>
                <c:pt idx="1564">
                  <c:v>0.47474925200000001</c:v>
                </c:pt>
                <c:pt idx="1565">
                  <c:v>0.476419969</c:v>
                </c:pt>
                <c:pt idx="1566">
                  <c:v>0.47436353599999997</c:v>
                </c:pt>
                <c:pt idx="1567">
                  <c:v>0.47958275700000003</c:v>
                </c:pt>
                <c:pt idx="1568">
                  <c:v>0.49245889100000001</c:v>
                </c:pt>
                <c:pt idx="1569">
                  <c:v>0.493273619</c:v>
                </c:pt>
                <c:pt idx="1570">
                  <c:v>0.49100833399999999</c:v>
                </c:pt>
                <c:pt idx="1571">
                  <c:v>0.49354226099999998</c:v>
                </c:pt>
                <c:pt idx="1572">
                  <c:v>0.51369602299999995</c:v>
                </c:pt>
                <c:pt idx="1573">
                  <c:v>0.514373839</c:v>
                </c:pt>
                <c:pt idx="1574">
                  <c:v>0.52279326299999995</c:v>
                </c:pt>
                <c:pt idx="1575">
                  <c:v>0.52862737100000001</c:v>
                </c:pt>
                <c:pt idx="1576">
                  <c:v>0.52938133099999996</c:v>
                </c:pt>
                <c:pt idx="1577">
                  <c:v>0.53649369800000002</c:v>
                </c:pt>
                <c:pt idx="1578">
                  <c:v>0.53366982299999999</c:v>
                </c:pt>
                <c:pt idx="1579">
                  <c:v>0.529955128</c:v>
                </c:pt>
                <c:pt idx="1580">
                  <c:v>0.54004070900000001</c:v>
                </c:pt>
                <c:pt idx="1581">
                  <c:v>0.54617110499999999</c:v>
                </c:pt>
                <c:pt idx="1582">
                  <c:v>0.54901787499999999</c:v>
                </c:pt>
                <c:pt idx="1583">
                  <c:v>0.546807249</c:v>
                </c:pt>
                <c:pt idx="1584">
                  <c:v>0.54562190300000002</c:v>
                </c:pt>
                <c:pt idx="1585">
                  <c:v>0.54682957499999996</c:v>
                </c:pt>
                <c:pt idx="1586">
                  <c:v>0.54429421</c:v>
                </c:pt>
                <c:pt idx="1587">
                  <c:v>0.54555376700000002</c:v>
                </c:pt>
                <c:pt idx="1588">
                  <c:v>0.54363021099999997</c:v>
                </c:pt>
                <c:pt idx="1589">
                  <c:v>0.54177916500000001</c:v>
                </c:pt>
                <c:pt idx="1590">
                  <c:v>0.54032206199999999</c:v>
                </c:pt>
                <c:pt idx="1591">
                  <c:v>0.53963719799999998</c:v>
                </c:pt>
                <c:pt idx="1592">
                  <c:v>0.53842466</c:v>
                </c:pt>
                <c:pt idx="1593">
                  <c:v>0.55723599999999995</c:v>
                </c:pt>
                <c:pt idx="1594">
                  <c:v>0.55509783400000001</c:v>
                </c:pt>
                <c:pt idx="1595">
                  <c:v>0.55561198999999994</c:v>
                </c:pt>
                <c:pt idx="1596">
                  <c:v>0.55697438300000002</c:v>
                </c:pt>
                <c:pt idx="1597">
                  <c:v>0.55598402300000005</c:v>
                </c:pt>
                <c:pt idx="1598">
                  <c:v>0.55498215900000003</c:v>
                </c:pt>
                <c:pt idx="1599">
                  <c:v>0.555450098</c:v>
                </c:pt>
                <c:pt idx="1600">
                  <c:v>0.55649191600000003</c:v>
                </c:pt>
                <c:pt idx="1601">
                  <c:v>0.55674467699999997</c:v>
                </c:pt>
                <c:pt idx="1602">
                  <c:v>0.55686939199999996</c:v>
                </c:pt>
                <c:pt idx="1603">
                  <c:v>0.55974527500000004</c:v>
                </c:pt>
                <c:pt idx="1604">
                  <c:v>0.55795335199999996</c:v>
                </c:pt>
                <c:pt idx="1605">
                  <c:v>0.55752710400000005</c:v>
                </c:pt>
                <c:pt idx="1606">
                  <c:v>0.55711332700000005</c:v>
                </c:pt>
                <c:pt idx="1607">
                  <c:v>0.55570661799999999</c:v>
                </c:pt>
                <c:pt idx="1608">
                  <c:v>0.55478737099999997</c:v>
                </c:pt>
                <c:pt idx="1609">
                  <c:v>0.56300343500000005</c:v>
                </c:pt>
                <c:pt idx="1610">
                  <c:v>0.56226425499999999</c:v>
                </c:pt>
                <c:pt idx="1611">
                  <c:v>0.56436939100000005</c:v>
                </c:pt>
                <c:pt idx="1612">
                  <c:v>0.56862910200000005</c:v>
                </c:pt>
                <c:pt idx="1613">
                  <c:v>0.58620749299999997</c:v>
                </c:pt>
                <c:pt idx="1614">
                  <c:v>0.59682888300000003</c:v>
                </c:pt>
                <c:pt idx="1615">
                  <c:v>0.59546289200000002</c:v>
                </c:pt>
                <c:pt idx="1616">
                  <c:v>0.60081525599999996</c:v>
                </c:pt>
                <c:pt idx="1617">
                  <c:v>0.60274142799999997</c:v>
                </c:pt>
                <c:pt idx="1618">
                  <c:v>0.601448121</c:v>
                </c:pt>
                <c:pt idx="1619">
                  <c:v>0.59939819699999997</c:v>
                </c:pt>
                <c:pt idx="1620">
                  <c:v>0.59730228500000004</c:v>
                </c:pt>
                <c:pt idx="1621">
                  <c:v>0.59896874200000005</c:v>
                </c:pt>
                <c:pt idx="1622">
                  <c:v>0.59941293699999998</c:v>
                </c:pt>
                <c:pt idx="1623">
                  <c:v>0.59879344700000003</c:v>
                </c:pt>
                <c:pt idx="1624">
                  <c:v>0.59870690400000004</c:v>
                </c:pt>
                <c:pt idx="1625">
                  <c:v>0.59860854799999996</c:v>
                </c:pt>
                <c:pt idx="1626">
                  <c:v>0.59887665800000001</c:v>
                </c:pt>
                <c:pt idx="1627">
                  <c:v>0.60203938199999996</c:v>
                </c:pt>
                <c:pt idx="1628">
                  <c:v>0.60631879700000002</c:v>
                </c:pt>
                <c:pt idx="1629">
                  <c:v>0.60704288100000003</c:v>
                </c:pt>
                <c:pt idx="1630">
                  <c:v>0.60699855000000003</c:v>
                </c:pt>
                <c:pt idx="1631">
                  <c:v>0.60761390400000004</c:v>
                </c:pt>
                <c:pt idx="1632">
                  <c:v>0.60757419099999999</c:v>
                </c:pt>
                <c:pt idx="1633">
                  <c:v>0.60884876300000002</c:v>
                </c:pt>
                <c:pt idx="1634">
                  <c:v>0.60886337700000004</c:v>
                </c:pt>
                <c:pt idx="1635">
                  <c:v>0.60966790699999995</c:v>
                </c:pt>
                <c:pt idx="1636">
                  <c:v>0.6101472</c:v>
                </c:pt>
                <c:pt idx="1637">
                  <c:v>0.61123972100000001</c:v>
                </c:pt>
                <c:pt idx="1638">
                  <c:v>0.61078388100000003</c:v>
                </c:pt>
                <c:pt idx="1639">
                  <c:v>0.61192607700000001</c:v>
                </c:pt>
                <c:pt idx="1640">
                  <c:v>0.61203491600000004</c:v>
                </c:pt>
                <c:pt idx="1641">
                  <c:v>0.61340758399999995</c:v>
                </c:pt>
                <c:pt idx="1642">
                  <c:v>0.61316170999999997</c:v>
                </c:pt>
                <c:pt idx="1643">
                  <c:v>0.61342487199999995</c:v>
                </c:pt>
                <c:pt idx="1644">
                  <c:v>0.61409170300000004</c:v>
                </c:pt>
                <c:pt idx="1645">
                  <c:v>0.61376958400000003</c:v>
                </c:pt>
                <c:pt idx="1646">
                  <c:v>0.61355191200000003</c:v>
                </c:pt>
                <c:pt idx="1647">
                  <c:v>0.61370688699999998</c:v>
                </c:pt>
                <c:pt idx="1648">
                  <c:v>0.61459275899999999</c:v>
                </c:pt>
                <c:pt idx="1649">
                  <c:v>0.61459936100000001</c:v>
                </c:pt>
                <c:pt idx="1650">
                  <c:v>0.61462821099999998</c:v>
                </c:pt>
                <c:pt idx="1651">
                  <c:v>0.61455741100000005</c:v>
                </c:pt>
                <c:pt idx="1652">
                  <c:v>0.61455650500000003</c:v>
                </c:pt>
                <c:pt idx="1653">
                  <c:v>0.61512806399999997</c:v>
                </c:pt>
                <c:pt idx="1654">
                  <c:v>0.61496057900000001</c:v>
                </c:pt>
                <c:pt idx="1655">
                  <c:v>0.61471216200000001</c:v>
                </c:pt>
                <c:pt idx="1656">
                  <c:v>0.61511982200000004</c:v>
                </c:pt>
                <c:pt idx="1657">
                  <c:v>0.615083559</c:v>
                </c:pt>
                <c:pt idx="1658">
                  <c:v>0.61792712699999996</c:v>
                </c:pt>
                <c:pt idx="1659">
                  <c:v>0.61597601499999999</c:v>
                </c:pt>
                <c:pt idx="1660">
                  <c:v>0.61580374000000004</c:v>
                </c:pt>
                <c:pt idx="1661">
                  <c:v>0.61501533900000005</c:v>
                </c:pt>
                <c:pt idx="1662">
                  <c:v>0.61495861600000001</c:v>
                </c:pt>
                <c:pt idx="1663">
                  <c:v>0.61523657899999995</c:v>
                </c:pt>
                <c:pt idx="1664">
                  <c:v>0.61590420099999998</c:v>
                </c:pt>
                <c:pt idx="1665">
                  <c:v>0.61646199400000001</c:v>
                </c:pt>
                <c:pt idx="1666">
                  <c:v>0.61660591300000001</c:v>
                </c:pt>
                <c:pt idx="1667">
                  <c:v>0.61682249099999997</c:v>
                </c:pt>
                <c:pt idx="1668">
                  <c:v>0.61692483300000001</c:v>
                </c:pt>
                <c:pt idx="1669">
                  <c:v>0.61930394499999997</c:v>
                </c:pt>
                <c:pt idx="1670">
                  <c:v>0.61944971100000001</c:v>
                </c:pt>
                <c:pt idx="1671">
                  <c:v>0.62020521299999998</c:v>
                </c:pt>
                <c:pt idx="1672">
                  <c:v>0.62070749800000002</c:v>
                </c:pt>
                <c:pt idx="1673">
                  <c:v>0.62105186899999998</c:v>
                </c:pt>
                <c:pt idx="1674">
                  <c:v>0.62107677800000005</c:v>
                </c:pt>
                <c:pt idx="1675">
                  <c:v>0.62733718000000005</c:v>
                </c:pt>
                <c:pt idx="1676">
                  <c:v>0.627375986</c:v>
                </c:pt>
                <c:pt idx="1677">
                  <c:v>0.62756446799999999</c:v>
                </c:pt>
                <c:pt idx="1678">
                  <c:v>0.63015185100000004</c:v>
                </c:pt>
                <c:pt idx="1679">
                  <c:v>0.63080010399999997</c:v>
                </c:pt>
                <c:pt idx="1680">
                  <c:v>0.63281770800000003</c:v>
                </c:pt>
                <c:pt idx="1681">
                  <c:v>0.63458108499999999</c:v>
                </c:pt>
                <c:pt idx="1682">
                  <c:v>0.63666878100000002</c:v>
                </c:pt>
                <c:pt idx="1683">
                  <c:v>0.63868407100000002</c:v>
                </c:pt>
                <c:pt idx="1684">
                  <c:v>0.63828999600000003</c:v>
                </c:pt>
                <c:pt idx="1685">
                  <c:v>0.64072308099999997</c:v>
                </c:pt>
                <c:pt idx="1686">
                  <c:v>0.64055771800000005</c:v>
                </c:pt>
                <c:pt idx="1687">
                  <c:v>0.64385657200000002</c:v>
                </c:pt>
                <c:pt idx="1688">
                  <c:v>0.64389168399999996</c:v>
                </c:pt>
                <c:pt idx="1689">
                  <c:v>0.64406561900000003</c:v>
                </c:pt>
                <c:pt idx="1690">
                  <c:v>0.64384428599999999</c:v>
                </c:pt>
                <c:pt idx="1691">
                  <c:v>0.64625200199999999</c:v>
                </c:pt>
                <c:pt idx="1692">
                  <c:v>0.64746334299999997</c:v>
                </c:pt>
                <c:pt idx="1693">
                  <c:v>0.64837371700000002</c:v>
                </c:pt>
                <c:pt idx="1694">
                  <c:v>0.64915193900000001</c:v>
                </c:pt>
                <c:pt idx="1695">
                  <c:v>0.651628345</c:v>
                </c:pt>
                <c:pt idx="1696">
                  <c:v>0.65546277399999997</c:v>
                </c:pt>
                <c:pt idx="1697">
                  <c:v>0.65780401099999997</c:v>
                </c:pt>
                <c:pt idx="1698">
                  <c:v>0.66140991500000001</c:v>
                </c:pt>
                <c:pt idx="1699">
                  <c:v>0.66298016199999998</c:v>
                </c:pt>
                <c:pt idx="1700">
                  <c:v>0.67422850899999998</c:v>
                </c:pt>
                <c:pt idx="1701">
                  <c:v>0.67346677600000004</c:v>
                </c:pt>
                <c:pt idx="1702">
                  <c:v>0.67408466700000003</c:v>
                </c:pt>
                <c:pt idx="1703">
                  <c:v>0.688353985</c:v>
                </c:pt>
                <c:pt idx="1704">
                  <c:v>0.690666789</c:v>
                </c:pt>
                <c:pt idx="1705">
                  <c:v>0.69746062900000005</c:v>
                </c:pt>
                <c:pt idx="1706">
                  <c:v>0.69921832799999994</c:v>
                </c:pt>
                <c:pt idx="1707">
                  <c:v>0.70328083299999999</c:v>
                </c:pt>
                <c:pt idx="1708">
                  <c:v>0.70641949699999995</c:v>
                </c:pt>
                <c:pt idx="1709">
                  <c:v>0.70947345699999997</c:v>
                </c:pt>
                <c:pt idx="1710">
                  <c:v>0.71244257300000002</c:v>
                </c:pt>
                <c:pt idx="1711">
                  <c:v>0.715823129</c:v>
                </c:pt>
                <c:pt idx="1712">
                  <c:v>0.71708300400000002</c:v>
                </c:pt>
                <c:pt idx="1713">
                  <c:v>0.72008701200000003</c:v>
                </c:pt>
                <c:pt idx="1714">
                  <c:v>0.72048861099999995</c:v>
                </c:pt>
                <c:pt idx="1715">
                  <c:v>0.72285475700000001</c:v>
                </c:pt>
                <c:pt idx="1716">
                  <c:v>0.71982429299999995</c:v>
                </c:pt>
                <c:pt idx="1717">
                  <c:v>0.72164409100000004</c:v>
                </c:pt>
                <c:pt idx="1718">
                  <c:v>0.72157055699999995</c:v>
                </c:pt>
                <c:pt idx="1719">
                  <c:v>0.72568061299999997</c:v>
                </c:pt>
                <c:pt idx="1720">
                  <c:v>0.72841522400000003</c:v>
                </c:pt>
                <c:pt idx="1721">
                  <c:v>0.73096344300000005</c:v>
                </c:pt>
                <c:pt idx="1722">
                  <c:v>0.73330451399999996</c:v>
                </c:pt>
                <c:pt idx="1723">
                  <c:v>0.73476438799999999</c:v>
                </c:pt>
                <c:pt idx="1724">
                  <c:v>0.73609822800000002</c:v>
                </c:pt>
                <c:pt idx="1725">
                  <c:v>0.73715185299999997</c:v>
                </c:pt>
                <c:pt idx="1726">
                  <c:v>0.73951011600000005</c:v>
                </c:pt>
                <c:pt idx="1727">
                  <c:v>0.73963636200000005</c:v>
                </c:pt>
                <c:pt idx="1728">
                  <c:v>0.74075570700000004</c:v>
                </c:pt>
                <c:pt idx="1729">
                  <c:v>0.74307310500000001</c:v>
                </c:pt>
                <c:pt idx="1730">
                  <c:v>0.74488898199999998</c:v>
                </c:pt>
                <c:pt idx="1731">
                  <c:v>0.74622261999999995</c:v>
                </c:pt>
                <c:pt idx="1732">
                  <c:v>0.74672387799999995</c:v>
                </c:pt>
                <c:pt idx="1733">
                  <c:v>0.75588919099999996</c:v>
                </c:pt>
                <c:pt idx="1734">
                  <c:v>0.75722891199999998</c:v>
                </c:pt>
                <c:pt idx="1735">
                  <c:v>0.75974095200000002</c:v>
                </c:pt>
                <c:pt idx="1736">
                  <c:v>0.76135538000000003</c:v>
                </c:pt>
                <c:pt idx="1737">
                  <c:v>0.76540455699999999</c:v>
                </c:pt>
                <c:pt idx="1738">
                  <c:v>0.76569848399999996</c:v>
                </c:pt>
                <c:pt idx="1739">
                  <c:v>0.76539371199999995</c:v>
                </c:pt>
                <c:pt idx="1740">
                  <c:v>0.767116774</c:v>
                </c:pt>
                <c:pt idx="1741">
                  <c:v>0.76884242000000003</c:v>
                </c:pt>
                <c:pt idx="1742">
                  <c:v>0.76983620699999999</c:v>
                </c:pt>
                <c:pt idx="1743">
                  <c:v>0.77223137799999997</c:v>
                </c:pt>
                <c:pt idx="1744">
                  <c:v>0.77410347800000001</c:v>
                </c:pt>
                <c:pt idx="1745">
                  <c:v>0.775717239</c:v>
                </c:pt>
                <c:pt idx="1746">
                  <c:v>0.77741183400000002</c:v>
                </c:pt>
                <c:pt idx="1747">
                  <c:v>0.77858694299999998</c:v>
                </c:pt>
                <c:pt idx="1748">
                  <c:v>0.78019012600000004</c:v>
                </c:pt>
                <c:pt idx="1749">
                  <c:v>0.78179388299999997</c:v>
                </c:pt>
                <c:pt idx="1750">
                  <c:v>0.78416201900000004</c:v>
                </c:pt>
                <c:pt idx="1751">
                  <c:v>0.78496508799999998</c:v>
                </c:pt>
                <c:pt idx="1752">
                  <c:v>0.78840626599999997</c:v>
                </c:pt>
                <c:pt idx="1753">
                  <c:v>0.79216862700000001</c:v>
                </c:pt>
                <c:pt idx="1754">
                  <c:v>0.79662693799999995</c:v>
                </c:pt>
                <c:pt idx="1755">
                  <c:v>0.80108391899999998</c:v>
                </c:pt>
                <c:pt idx="1756">
                  <c:v>0.80481232000000003</c:v>
                </c:pt>
                <c:pt idx="1757">
                  <c:v>0.81177458999999996</c:v>
                </c:pt>
                <c:pt idx="1758">
                  <c:v>0.81591079300000002</c:v>
                </c:pt>
                <c:pt idx="1759">
                  <c:v>0.81975330000000002</c:v>
                </c:pt>
                <c:pt idx="1760">
                  <c:v>0.82313444499999999</c:v>
                </c:pt>
                <c:pt idx="1761">
                  <c:v>0.82679042800000002</c:v>
                </c:pt>
                <c:pt idx="1762">
                  <c:v>0.83299084599999995</c:v>
                </c:pt>
                <c:pt idx="1763">
                  <c:v>0.83635395300000004</c:v>
                </c:pt>
                <c:pt idx="1764">
                  <c:v>0.84069049100000004</c:v>
                </c:pt>
                <c:pt idx="1765">
                  <c:v>0.84427308999999995</c:v>
                </c:pt>
                <c:pt idx="1766">
                  <c:v>0.84816837199999995</c:v>
                </c:pt>
                <c:pt idx="1767">
                  <c:v>0.85456889599999997</c:v>
                </c:pt>
                <c:pt idx="1768">
                  <c:v>0.86080857799999999</c:v>
                </c:pt>
                <c:pt idx="1769">
                  <c:v>0.86490833</c:v>
                </c:pt>
                <c:pt idx="1770">
                  <c:v>0.87079874499999999</c:v>
                </c:pt>
                <c:pt idx="1771">
                  <c:v>0.87696011399999996</c:v>
                </c:pt>
                <c:pt idx="1772">
                  <c:v>0.883785445</c:v>
                </c:pt>
                <c:pt idx="1773">
                  <c:v>0.88757691699999997</c:v>
                </c:pt>
                <c:pt idx="1774">
                  <c:v>0.89538824699999997</c:v>
                </c:pt>
                <c:pt idx="1775">
                  <c:v>0.90627753</c:v>
                </c:pt>
                <c:pt idx="1776">
                  <c:v>0.91305886300000005</c:v>
                </c:pt>
                <c:pt idx="1777">
                  <c:v>0.91943003499999998</c:v>
                </c:pt>
                <c:pt idx="1778">
                  <c:v>0.92742891599999999</c:v>
                </c:pt>
                <c:pt idx="1779">
                  <c:v>0.93575180700000005</c:v>
                </c:pt>
                <c:pt idx="1780">
                  <c:v>0.94275255999999996</c:v>
                </c:pt>
                <c:pt idx="1781">
                  <c:v>0.953903469</c:v>
                </c:pt>
                <c:pt idx="1782">
                  <c:v>0.96202379599999999</c:v>
                </c:pt>
                <c:pt idx="1783">
                  <c:v>0.969804522</c:v>
                </c:pt>
                <c:pt idx="1784">
                  <c:v>0.97632512000000005</c:v>
                </c:pt>
                <c:pt idx="1785">
                  <c:v>0.98040392799999998</c:v>
                </c:pt>
                <c:pt idx="1786">
                  <c:v>0.98716160600000002</c:v>
                </c:pt>
                <c:pt idx="1787">
                  <c:v>0.99171350700000005</c:v>
                </c:pt>
                <c:pt idx="1788">
                  <c:v>0.99620124700000001</c:v>
                </c:pt>
                <c:pt idx="1789">
                  <c:v>1.000526652</c:v>
                </c:pt>
                <c:pt idx="1790">
                  <c:v>1.006853362</c:v>
                </c:pt>
                <c:pt idx="1791">
                  <c:v>1.0137188079999999</c:v>
                </c:pt>
                <c:pt idx="1792">
                  <c:v>1.0203656670000001</c:v>
                </c:pt>
                <c:pt idx="1793">
                  <c:v>1.025965378</c:v>
                </c:pt>
                <c:pt idx="1794">
                  <c:v>1.030868943</c:v>
                </c:pt>
                <c:pt idx="1795">
                  <c:v>1.0331725549999999</c:v>
                </c:pt>
                <c:pt idx="1796">
                  <c:v>1.0401847609999999</c:v>
                </c:pt>
                <c:pt idx="1797">
                  <c:v>1.0444191279999999</c:v>
                </c:pt>
                <c:pt idx="1798">
                  <c:v>1.051866543</c:v>
                </c:pt>
                <c:pt idx="1799">
                  <c:v>1.061052009</c:v>
                </c:pt>
                <c:pt idx="1800">
                  <c:v>1.069234185</c:v>
                </c:pt>
                <c:pt idx="1801">
                  <c:v>1.0789238219999999</c:v>
                </c:pt>
                <c:pt idx="1802">
                  <c:v>1.075962246</c:v>
                </c:pt>
                <c:pt idx="1803">
                  <c:v>1.085415714</c:v>
                </c:pt>
                <c:pt idx="1804">
                  <c:v>1.08661501</c:v>
                </c:pt>
                <c:pt idx="1805">
                  <c:v>1.0944535289999999</c:v>
                </c:pt>
                <c:pt idx="1806">
                  <c:v>1.1062701429999999</c:v>
                </c:pt>
                <c:pt idx="1807">
                  <c:v>1.11775801</c:v>
                </c:pt>
                <c:pt idx="1808">
                  <c:v>1.1305587699999999</c:v>
                </c:pt>
                <c:pt idx="1809">
                  <c:v>1.14482208</c:v>
                </c:pt>
                <c:pt idx="1810">
                  <c:v>1.15993276</c:v>
                </c:pt>
                <c:pt idx="1811">
                  <c:v>1.1708032340000001</c:v>
                </c:pt>
                <c:pt idx="1812">
                  <c:v>1.1797294149999999</c:v>
                </c:pt>
                <c:pt idx="1813">
                  <c:v>1.1906720930000001</c:v>
                </c:pt>
                <c:pt idx="1814">
                  <c:v>1.200894167</c:v>
                </c:pt>
                <c:pt idx="1815">
                  <c:v>1.2073745709999999</c:v>
                </c:pt>
                <c:pt idx="1816">
                  <c:v>1.2171518139999999</c:v>
                </c:pt>
                <c:pt idx="1817">
                  <c:v>1.2193218509999999</c:v>
                </c:pt>
                <c:pt idx="1818">
                  <c:v>1.2132793900000001</c:v>
                </c:pt>
                <c:pt idx="1819">
                  <c:v>1.2176767390000001</c:v>
                </c:pt>
                <c:pt idx="1820">
                  <c:v>1.2267186750000001</c:v>
                </c:pt>
                <c:pt idx="1821">
                  <c:v>1.2329509789999999</c:v>
                </c:pt>
                <c:pt idx="1822">
                  <c:v>1.216359271</c:v>
                </c:pt>
                <c:pt idx="1823">
                  <c:v>1.225623017</c:v>
                </c:pt>
                <c:pt idx="1824">
                  <c:v>1.220502996</c:v>
                </c:pt>
                <c:pt idx="1825">
                  <c:v>1.2210992329999999</c:v>
                </c:pt>
                <c:pt idx="1826">
                  <c:v>1.227684988</c:v>
                </c:pt>
                <c:pt idx="1827">
                  <c:v>1.2254439559999999</c:v>
                </c:pt>
                <c:pt idx="1828">
                  <c:v>1.2404285580000001</c:v>
                </c:pt>
                <c:pt idx="1829">
                  <c:v>1.26117832</c:v>
                </c:pt>
                <c:pt idx="1830">
                  <c:v>1.2580649669999999</c:v>
                </c:pt>
                <c:pt idx="1831">
                  <c:v>1.254505158</c:v>
                </c:pt>
                <c:pt idx="1832">
                  <c:v>1.2577518050000001</c:v>
                </c:pt>
                <c:pt idx="1833">
                  <c:v>1.271848359</c:v>
                </c:pt>
                <c:pt idx="1834">
                  <c:v>1.2841645820000001</c:v>
                </c:pt>
                <c:pt idx="1835">
                  <c:v>1.291118218</c:v>
                </c:pt>
                <c:pt idx="1836">
                  <c:v>1.301290031</c:v>
                </c:pt>
                <c:pt idx="1837">
                  <c:v>1.3038001299999999</c:v>
                </c:pt>
                <c:pt idx="1838">
                  <c:v>1.31356889</c:v>
                </c:pt>
                <c:pt idx="1839">
                  <c:v>1.322452151</c:v>
                </c:pt>
                <c:pt idx="1840">
                  <c:v>1.3318512280000001</c:v>
                </c:pt>
                <c:pt idx="1841">
                  <c:v>1.3393911000000001</c:v>
                </c:pt>
                <c:pt idx="1842">
                  <c:v>1.35104395</c:v>
                </c:pt>
                <c:pt idx="1843">
                  <c:v>1.3139961360000001</c:v>
                </c:pt>
                <c:pt idx="1844">
                  <c:v>1.327245368</c:v>
                </c:pt>
                <c:pt idx="1845">
                  <c:v>1.3287556629999999</c:v>
                </c:pt>
                <c:pt idx="1846">
                  <c:v>1.3311406240000001</c:v>
                </c:pt>
                <c:pt idx="1847">
                  <c:v>1.337029754</c:v>
                </c:pt>
                <c:pt idx="1848">
                  <c:v>1.3439170460000001</c:v>
                </c:pt>
                <c:pt idx="1849">
                  <c:v>1.342326605</c:v>
                </c:pt>
                <c:pt idx="1850">
                  <c:v>1.3456517180000001</c:v>
                </c:pt>
                <c:pt idx="1851">
                  <c:v>1.349228047</c:v>
                </c:pt>
                <c:pt idx="1852">
                  <c:v>1.3466499729999999</c:v>
                </c:pt>
                <c:pt idx="1853">
                  <c:v>1.341002526</c:v>
                </c:pt>
                <c:pt idx="1854">
                  <c:v>1.349788137</c:v>
                </c:pt>
                <c:pt idx="1855">
                  <c:v>1.3557466010000001</c:v>
                </c:pt>
                <c:pt idx="1856">
                  <c:v>1.3611611850000001</c:v>
                </c:pt>
                <c:pt idx="1857">
                  <c:v>1.368233045</c:v>
                </c:pt>
                <c:pt idx="1858">
                  <c:v>1.3760469239999999</c:v>
                </c:pt>
                <c:pt idx="1859">
                  <c:v>1.358134497</c:v>
                </c:pt>
                <c:pt idx="1860">
                  <c:v>1.3649724889999999</c:v>
                </c:pt>
                <c:pt idx="1861">
                  <c:v>1.3634332149999999</c:v>
                </c:pt>
                <c:pt idx="1862">
                  <c:v>1.3541309610000001</c:v>
                </c:pt>
                <c:pt idx="1863">
                  <c:v>1.299261666</c:v>
                </c:pt>
                <c:pt idx="1864">
                  <c:v>1.2652173280000001</c:v>
                </c:pt>
                <c:pt idx="1865">
                  <c:v>1.27585148</c:v>
                </c:pt>
                <c:pt idx="1866">
                  <c:v>1.257309912</c:v>
                </c:pt>
                <c:pt idx="1867">
                  <c:v>1.252035301</c:v>
                </c:pt>
                <c:pt idx="1868">
                  <c:v>1.260254322</c:v>
                </c:pt>
                <c:pt idx="1869">
                  <c:v>1.273986182</c:v>
                </c:pt>
                <c:pt idx="1870">
                  <c:v>1.288206161</c:v>
                </c:pt>
                <c:pt idx="1871">
                  <c:v>1.284576435</c:v>
                </c:pt>
                <c:pt idx="1872">
                  <c:v>1.283502242</c:v>
                </c:pt>
                <c:pt idx="1873">
                  <c:v>1.287790169</c:v>
                </c:pt>
                <c:pt idx="1874">
                  <c:v>1.2913135250000001</c:v>
                </c:pt>
                <c:pt idx="1875">
                  <c:v>1.2941565799999999</c:v>
                </c:pt>
                <c:pt idx="1876">
                  <c:v>1.2982517760000001</c:v>
                </c:pt>
                <c:pt idx="1877">
                  <c:v>1.2872067570000001</c:v>
                </c:pt>
                <c:pt idx="1878">
                  <c:v>1.2698883240000001</c:v>
                </c:pt>
                <c:pt idx="1879">
                  <c:v>1.273000989</c:v>
                </c:pt>
                <c:pt idx="1880">
                  <c:v>1.275927246</c:v>
                </c:pt>
                <c:pt idx="1881">
                  <c:v>1.2767649169999999</c:v>
                </c:pt>
                <c:pt idx="1882">
                  <c:v>1.2805346209999999</c:v>
                </c:pt>
                <c:pt idx="1883">
                  <c:v>1.27922066</c:v>
                </c:pt>
                <c:pt idx="1884">
                  <c:v>1.281522345</c:v>
                </c:pt>
                <c:pt idx="1885">
                  <c:v>1.280887205</c:v>
                </c:pt>
                <c:pt idx="1886">
                  <c:v>1.281444129</c:v>
                </c:pt>
                <c:pt idx="1887">
                  <c:v>1.2781110849999999</c:v>
                </c:pt>
                <c:pt idx="1888">
                  <c:v>1.2781738119999999</c:v>
                </c:pt>
                <c:pt idx="1889">
                  <c:v>1.2734542129999999</c:v>
                </c:pt>
                <c:pt idx="1890">
                  <c:v>1.274968793</c:v>
                </c:pt>
                <c:pt idx="1891">
                  <c:v>1.2712044849999999</c:v>
                </c:pt>
                <c:pt idx="1892">
                  <c:v>1.2749554890000001</c:v>
                </c:pt>
                <c:pt idx="1893">
                  <c:v>1.2763203190000001</c:v>
                </c:pt>
                <c:pt idx="1894">
                  <c:v>1.2736114949999999</c:v>
                </c:pt>
                <c:pt idx="1895">
                  <c:v>1.2767048750000001</c:v>
                </c:pt>
                <c:pt idx="1896">
                  <c:v>1.2821021589999999</c:v>
                </c:pt>
                <c:pt idx="1897">
                  <c:v>1.285669306</c:v>
                </c:pt>
                <c:pt idx="1898">
                  <c:v>1.2868934649999999</c:v>
                </c:pt>
                <c:pt idx="1899">
                  <c:v>1.290710963</c:v>
                </c:pt>
                <c:pt idx="1900">
                  <c:v>1.29513126</c:v>
                </c:pt>
                <c:pt idx="1901">
                  <c:v>1.3011230970000001</c:v>
                </c:pt>
                <c:pt idx="1902">
                  <c:v>1.3047427300000001</c:v>
                </c:pt>
                <c:pt idx="1903">
                  <c:v>1.3036218129999999</c:v>
                </c:pt>
                <c:pt idx="1904">
                  <c:v>1.3046172</c:v>
                </c:pt>
                <c:pt idx="1905">
                  <c:v>1.3065465549999999</c:v>
                </c:pt>
                <c:pt idx="1906">
                  <c:v>1.303333614</c:v>
                </c:pt>
                <c:pt idx="1907">
                  <c:v>1.3034600139999999</c:v>
                </c:pt>
                <c:pt idx="1908">
                  <c:v>1.282110834</c:v>
                </c:pt>
                <c:pt idx="1909">
                  <c:v>1.2888958180000001</c:v>
                </c:pt>
                <c:pt idx="1910">
                  <c:v>1.2925077</c:v>
                </c:pt>
                <c:pt idx="1911">
                  <c:v>1.304739444</c:v>
                </c:pt>
                <c:pt idx="1912">
                  <c:v>1.314221503</c:v>
                </c:pt>
                <c:pt idx="1913">
                  <c:v>1.32090869</c:v>
                </c:pt>
                <c:pt idx="1914">
                  <c:v>1.3241499919999999</c:v>
                </c:pt>
                <c:pt idx="1915">
                  <c:v>1.3249020309999999</c:v>
                </c:pt>
                <c:pt idx="1916">
                  <c:v>1.3248979320000001</c:v>
                </c:pt>
                <c:pt idx="1917">
                  <c:v>1.3309444479999999</c:v>
                </c:pt>
                <c:pt idx="1918">
                  <c:v>1.333530463</c:v>
                </c:pt>
                <c:pt idx="1919">
                  <c:v>1.3281572619999999</c:v>
                </c:pt>
                <c:pt idx="1920">
                  <c:v>1.3265755130000001</c:v>
                </c:pt>
                <c:pt idx="1921">
                  <c:v>1.3271424679999999</c:v>
                </c:pt>
                <c:pt idx="1922">
                  <c:v>1.326201722</c:v>
                </c:pt>
                <c:pt idx="1923">
                  <c:v>1.324773524</c:v>
                </c:pt>
                <c:pt idx="1924">
                  <c:v>1.326938545</c:v>
                </c:pt>
                <c:pt idx="1925">
                  <c:v>1.2921603639999999</c:v>
                </c:pt>
                <c:pt idx="1926">
                  <c:v>1.293507838</c:v>
                </c:pt>
                <c:pt idx="1927">
                  <c:v>1.2922057790000001</c:v>
                </c:pt>
                <c:pt idx="1928">
                  <c:v>1.277823532</c:v>
                </c:pt>
                <c:pt idx="1929">
                  <c:v>1.28318522</c:v>
                </c:pt>
                <c:pt idx="1930">
                  <c:v>1.2784572649999999</c:v>
                </c:pt>
                <c:pt idx="1931">
                  <c:v>1.2768852289999999</c:v>
                </c:pt>
                <c:pt idx="1932">
                  <c:v>1.2732489579999999</c:v>
                </c:pt>
                <c:pt idx="1933">
                  <c:v>1.2728049720000001</c:v>
                </c:pt>
                <c:pt idx="1934">
                  <c:v>1.273489957</c:v>
                </c:pt>
                <c:pt idx="1935">
                  <c:v>1.2731996160000001</c:v>
                </c:pt>
                <c:pt idx="1936">
                  <c:v>1.264217022</c:v>
                </c:pt>
                <c:pt idx="1937">
                  <c:v>1.264036071</c:v>
                </c:pt>
                <c:pt idx="1938">
                  <c:v>1.2639992870000001</c:v>
                </c:pt>
                <c:pt idx="1939">
                  <c:v>1.2612752060000001</c:v>
                </c:pt>
                <c:pt idx="1940">
                  <c:v>1.2637122220000001</c:v>
                </c:pt>
                <c:pt idx="1941">
                  <c:v>1.259926492</c:v>
                </c:pt>
                <c:pt idx="1942">
                  <c:v>1.262644377</c:v>
                </c:pt>
                <c:pt idx="1943">
                  <c:v>1.2666530469999999</c:v>
                </c:pt>
                <c:pt idx="1944">
                  <c:v>1.2677354059999999</c:v>
                </c:pt>
                <c:pt idx="1945">
                  <c:v>1.2680029669999999</c:v>
                </c:pt>
                <c:pt idx="1946">
                  <c:v>1.2586428460000001</c:v>
                </c:pt>
                <c:pt idx="1947">
                  <c:v>1.258635325</c:v>
                </c:pt>
                <c:pt idx="1948">
                  <c:v>1.2601598979999999</c:v>
                </c:pt>
                <c:pt idx="1949">
                  <c:v>1.260392202</c:v>
                </c:pt>
                <c:pt idx="1950">
                  <c:v>1.1927417140000001</c:v>
                </c:pt>
                <c:pt idx="1951">
                  <c:v>1.1967303499999999</c:v>
                </c:pt>
                <c:pt idx="1952">
                  <c:v>1.1948414409999999</c:v>
                </c:pt>
                <c:pt idx="1953">
                  <c:v>1.116416163</c:v>
                </c:pt>
                <c:pt idx="1954">
                  <c:v>1.1154651680000001</c:v>
                </c:pt>
                <c:pt idx="1955">
                  <c:v>1.0798620800000001</c:v>
                </c:pt>
                <c:pt idx="1956">
                  <c:v>1.0816043479999999</c:v>
                </c:pt>
                <c:pt idx="1957">
                  <c:v>1.0789930780000001</c:v>
                </c:pt>
                <c:pt idx="1958">
                  <c:v>1.0749852900000001</c:v>
                </c:pt>
                <c:pt idx="1959">
                  <c:v>1.060518155</c:v>
                </c:pt>
                <c:pt idx="1960">
                  <c:v>1.0621244270000001</c:v>
                </c:pt>
                <c:pt idx="1961">
                  <c:v>1.0514749569999999</c:v>
                </c:pt>
                <c:pt idx="1962">
                  <c:v>1.051438868</c:v>
                </c:pt>
                <c:pt idx="1963">
                  <c:v>1.038554183</c:v>
                </c:pt>
                <c:pt idx="1964">
                  <c:v>1.0379639940000001</c:v>
                </c:pt>
                <c:pt idx="1965">
                  <c:v>1.0377835099999999</c:v>
                </c:pt>
                <c:pt idx="1966">
                  <c:v>0.97234596399999995</c:v>
                </c:pt>
                <c:pt idx="1967">
                  <c:v>0.97245303299999997</c:v>
                </c:pt>
                <c:pt idx="1968">
                  <c:v>0.95882135999999996</c:v>
                </c:pt>
                <c:pt idx="1969">
                  <c:v>0.94213674599999997</c:v>
                </c:pt>
                <c:pt idx="1970">
                  <c:v>0.93618576600000003</c:v>
                </c:pt>
                <c:pt idx="1971">
                  <c:v>0.928310784</c:v>
                </c:pt>
                <c:pt idx="1972">
                  <c:v>0.92733509599999997</c:v>
                </c:pt>
                <c:pt idx="1973">
                  <c:v>0.92643350400000002</c:v>
                </c:pt>
                <c:pt idx="1974">
                  <c:v>0.92377884099999996</c:v>
                </c:pt>
                <c:pt idx="1975">
                  <c:v>0.92188249</c:v>
                </c:pt>
                <c:pt idx="1976">
                  <c:v>0.90672949899999999</c:v>
                </c:pt>
                <c:pt idx="1977">
                  <c:v>0.90660588600000003</c:v>
                </c:pt>
                <c:pt idx="1978">
                  <c:v>0.908327208</c:v>
                </c:pt>
                <c:pt idx="1979">
                  <c:v>0.90855126500000005</c:v>
                </c:pt>
                <c:pt idx="1980">
                  <c:v>0.90086543600000002</c:v>
                </c:pt>
                <c:pt idx="1981">
                  <c:v>0.90019915100000003</c:v>
                </c:pt>
                <c:pt idx="1982">
                  <c:v>0.90029296800000003</c:v>
                </c:pt>
                <c:pt idx="1983">
                  <c:v>0.822411436</c:v>
                </c:pt>
                <c:pt idx="1984">
                  <c:v>0.82111286000000006</c:v>
                </c:pt>
                <c:pt idx="1985">
                  <c:v>0.809573243</c:v>
                </c:pt>
                <c:pt idx="1986">
                  <c:v>0.804625865</c:v>
                </c:pt>
                <c:pt idx="1987">
                  <c:v>0.77318402600000002</c:v>
                </c:pt>
                <c:pt idx="1988">
                  <c:v>0.77653374600000002</c:v>
                </c:pt>
                <c:pt idx="1989">
                  <c:v>0.77878226399999995</c:v>
                </c:pt>
                <c:pt idx="1990">
                  <c:v>0.780221202</c:v>
                </c:pt>
                <c:pt idx="1991">
                  <c:v>0.78140785899999998</c:v>
                </c:pt>
                <c:pt idx="1992">
                  <c:v>0.78072161299999998</c:v>
                </c:pt>
                <c:pt idx="1993">
                  <c:v>0.77123319300000004</c:v>
                </c:pt>
                <c:pt idx="1994">
                  <c:v>0.77108264900000001</c:v>
                </c:pt>
                <c:pt idx="1995">
                  <c:v>0.76664757800000005</c:v>
                </c:pt>
                <c:pt idx="1996">
                  <c:v>0.76678511900000001</c:v>
                </c:pt>
                <c:pt idx="1997">
                  <c:v>0.76776393200000004</c:v>
                </c:pt>
                <c:pt idx="1998">
                  <c:v>0.76559300799999996</c:v>
                </c:pt>
                <c:pt idx="1999">
                  <c:v>0.76400906000000002</c:v>
                </c:pt>
                <c:pt idx="2000">
                  <c:v>0.75486237599999995</c:v>
                </c:pt>
                <c:pt idx="2001">
                  <c:v>0.75647731600000001</c:v>
                </c:pt>
                <c:pt idx="2002">
                  <c:v>0.75760841899999998</c:v>
                </c:pt>
                <c:pt idx="2003">
                  <c:v>0.75363897599999996</c:v>
                </c:pt>
                <c:pt idx="2004">
                  <c:v>0.75188642699999997</c:v>
                </c:pt>
                <c:pt idx="2005">
                  <c:v>0.748867791</c:v>
                </c:pt>
                <c:pt idx="2006">
                  <c:v>0.745056685</c:v>
                </c:pt>
                <c:pt idx="2007">
                  <c:v>0.72891566100000005</c:v>
                </c:pt>
                <c:pt idx="2008">
                  <c:v>0.72852546299999998</c:v>
                </c:pt>
                <c:pt idx="2009">
                  <c:v>0.729061442</c:v>
                </c:pt>
                <c:pt idx="2010">
                  <c:v>0.72765503799999998</c:v>
                </c:pt>
                <c:pt idx="2011">
                  <c:v>0.72774158200000005</c:v>
                </c:pt>
                <c:pt idx="2012">
                  <c:v>0.72289074900000005</c:v>
                </c:pt>
                <c:pt idx="2013">
                  <c:v>0.72165690000000005</c:v>
                </c:pt>
                <c:pt idx="2014">
                  <c:v>0.718209926</c:v>
                </c:pt>
                <c:pt idx="2015">
                  <c:v>0.71749940300000004</c:v>
                </c:pt>
                <c:pt idx="2016">
                  <c:v>0.71810096800000001</c:v>
                </c:pt>
                <c:pt idx="2017">
                  <c:v>0.71837995300000002</c:v>
                </c:pt>
                <c:pt idx="2018">
                  <c:v>0.718176437</c:v>
                </c:pt>
                <c:pt idx="2019">
                  <c:v>0.71307156299999996</c:v>
                </c:pt>
                <c:pt idx="2020">
                  <c:v>0.71276121699999995</c:v>
                </c:pt>
                <c:pt idx="2021">
                  <c:v>0.70743699800000004</c:v>
                </c:pt>
                <c:pt idx="2022">
                  <c:v>0.707305395</c:v>
                </c:pt>
                <c:pt idx="2023">
                  <c:v>0.70684066999999995</c:v>
                </c:pt>
                <c:pt idx="2024">
                  <c:v>0.70653969699999997</c:v>
                </c:pt>
                <c:pt idx="2025">
                  <c:v>0.705400582</c:v>
                </c:pt>
                <c:pt idx="2026">
                  <c:v>0.704571057</c:v>
                </c:pt>
                <c:pt idx="2027">
                  <c:v>0.70454472000000001</c:v>
                </c:pt>
                <c:pt idx="2028">
                  <c:v>0.70408921499999999</c:v>
                </c:pt>
                <c:pt idx="2029">
                  <c:v>0.698304386</c:v>
                </c:pt>
                <c:pt idx="2030">
                  <c:v>0.69881987599999995</c:v>
                </c:pt>
                <c:pt idx="2031">
                  <c:v>0.69985568600000003</c:v>
                </c:pt>
                <c:pt idx="2032">
                  <c:v>0.68290177100000005</c:v>
                </c:pt>
                <c:pt idx="2033">
                  <c:v>0.67198625199999995</c:v>
                </c:pt>
                <c:pt idx="2034">
                  <c:v>0.67217787500000004</c:v>
                </c:pt>
                <c:pt idx="2035">
                  <c:v>0.67162418499999998</c:v>
                </c:pt>
                <c:pt idx="2036">
                  <c:v>0.67075819599999997</c:v>
                </c:pt>
                <c:pt idx="2037">
                  <c:v>0.66960893099999996</c:v>
                </c:pt>
                <c:pt idx="2038">
                  <c:v>0.67449468400000001</c:v>
                </c:pt>
                <c:pt idx="2039">
                  <c:v>0.67337471500000001</c:v>
                </c:pt>
                <c:pt idx="2040">
                  <c:v>0.67185388599999996</c:v>
                </c:pt>
                <c:pt idx="2041">
                  <c:v>0.67049921499999998</c:v>
                </c:pt>
                <c:pt idx="2042">
                  <c:v>0.66951631499999997</c:v>
                </c:pt>
                <c:pt idx="2043">
                  <c:v>0.66949790799999997</c:v>
                </c:pt>
                <c:pt idx="2044">
                  <c:v>0.66849763399999995</c:v>
                </c:pt>
                <c:pt idx="2045">
                  <c:v>0.67034733999999996</c:v>
                </c:pt>
                <c:pt idx="2046">
                  <c:v>0.67075142399999998</c:v>
                </c:pt>
                <c:pt idx="2047">
                  <c:v>0.66990698599999998</c:v>
                </c:pt>
                <c:pt idx="2048">
                  <c:v>0.66913436999999998</c:v>
                </c:pt>
                <c:pt idx="2049">
                  <c:v>0.64315327</c:v>
                </c:pt>
                <c:pt idx="2050">
                  <c:v>0.64839512899999996</c:v>
                </c:pt>
                <c:pt idx="2051">
                  <c:v>0.64859821600000001</c:v>
                </c:pt>
                <c:pt idx="2052">
                  <c:v>0.64839729400000001</c:v>
                </c:pt>
                <c:pt idx="2053">
                  <c:v>0.65034334299999996</c:v>
                </c:pt>
                <c:pt idx="2054">
                  <c:v>0.65023912100000003</c:v>
                </c:pt>
                <c:pt idx="2055">
                  <c:v>0.65280077000000003</c:v>
                </c:pt>
                <c:pt idx="2056">
                  <c:v>0.62393803599999997</c:v>
                </c:pt>
                <c:pt idx="2057">
                  <c:v>0.62482922799999996</c:v>
                </c:pt>
                <c:pt idx="2058">
                  <c:v>0.62302280700000001</c:v>
                </c:pt>
                <c:pt idx="2059">
                  <c:v>0.62113188600000002</c:v>
                </c:pt>
                <c:pt idx="2060">
                  <c:v>0.622219772</c:v>
                </c:pt>
                <c:pt idx="2061">
                  <c:v>0.62248864800000003</c:v>
                </c:pt>
                <c:pt idx="2062">
                  <c:v>0.62243944900000003</c:v>
                </c:pt>
                <c:pt idx="2063">
                  <c:v>0.62069221399999996</c:v>
                </c:pt>
                <c:pt idx="2064">
                  <c:v>0.62124084700000004</c:v>
                </c:pt>
                <c:pt idx="2065">
                  <c:v>0.61943148000000003</c:v>
                </c:pt>
                <c:pt idx="2066">
                  <c:v>0.61397048300000001</c:v>
                </c:pt>
                <c:pt idx="2067">
                  <c:v>0.61313346599999996</c:v>
                </c:pt>
                <c:pt idx="2068">
                  <c:v>0.61239781699999996</c:v>
                </c:pt>
                <c:pt idx="2069">
                  <c:v>0.61179539999999999</c:v>
                </c:pt>
                <c:pt idx="2070">
                  <c:v>0.61080385299999995</c:v>
                </c:pt>
                <c:pt idx="2071">
                  <c:v>0.60559211300000004</c:v>
                </c:pt>
                <c:pt idx="2072">
                  <c:v>0.60625140700000002</c:v>
                </c:pt>
                <c:pt idx="2073">
                  <c:v>0.60822561200000003</c:v>
                </c:pt>
                <c:pt idx="2074">
                  <c:v>0.60774807600000003</c:v>
                </c:pt>
                <c:pt idx="2075">
                  <c:v>0.61178931400000003</c:v>
                </c:pt>
                <c:pt idx="2076">
                  <c:v>0.61206873900000003</c:v>
                </c:pt>
                <c:pt idx="2077">
                  <c:v>0.60204608199999998</c:v>
                </c:pt>
                <c:pt idx="2078">
                  <c:v>0.60285168</c:v>
                </c:pt>
                <c:pt idx="2079">
                  <c:v>0.60352487600000004</c:v>
                </c:pt>
                <c:pt idx="2080">
                  <c:v>0.60310929800000002</c:v>
                </c:pt>
                <c:pt idx="2081">
                  <c:v>0.60195342600000001</c:v>
                </c:pt>
                <c:pt idx="2082">
                  <c:v>0.60119955199999997</c:v>
                </c:pt>
                <c:pt idx="2083">
                  <c:v>0.59952356200000001</c:v>
                </c:pt>
                <c:pt idx="2084">
                  <c:v>0.599478697</c:v>
                </c:pt>
                <c:pt idx="2085">
                  <c:v>0.59579800199999999</c:v>
                </c:pt>
                <c:pt idx="2086">
                  <c:v>0.59672524299999996</c:v>
                </c:pt>
                <c:pt idx="2087">
                  <c:v>0.59272493299999995</c:v>
                </c:pt>
                <c:pt idx="2088">
                  <c:v>0.58662353899999997</c:v>
                </c:pt>
                <c:pt idx="2089">
                  <c:v>0.58619654700000001</c:v>
                </c:pt>
                <c:pt idx="2090">
                  <c:v>0.58441190499999995</c:v>
                </c:pt>
                <c:pt idx="2091">
                  <c:v>0.58175411600000004</c:v>
                </c:pt>
                <c:pt idx="2092">
                  <c:v>0.58948687600000005</c:v>
                </c:pt>
                <c:pt idx="2093">
                  <c:v>0.59235144200000001</c:v>
                </c:pt>
                <c:pt idx="2094">
                  <c:v>0.59149763099999997</c:v>
                </c:pt>
                <c:pt idx="2095">
                  <c:v>0.59106676300000005</c:v>
                </c:pt>
                <c:pt idx="2096">
                  <c:v>0.58931726100000004</c:v>
                </c:pt>
                <c:pt idx="2097">
                  <c:v>0.58815744999999997</c:v>
                </c:pt>
                <c:pt idx="2098">
                  <c:v>0.587636257</c:v>
                </c:pt>
                <c:pt idx="2099">
                  <c:v>0.58723669999999994</c:v>
                </c:pt>
                <c:pt idx="2100">
                  <c:v>0.57853228700000003</c:v>
                </c:pt>
                <c:pt idx="2101">
                  <c:v>0.55824759599999996</c:v>
                </c:pt>
                <c:pt idx="2102">
                  <c:v>0.56584692700000006</c:v>
                </c:pt>
                <c:pt idx="2103">
                  <c:v>0.56833466399999999</c:v>
                </c:pt>
                <c:pt idx="2104">
                  <c:v>0.56824054000000002</c:v>
                </c:pt>
                <c:pt idx="2105">
                  <c:v>0.56730487699999999</c:v>
                </c:pt>
                <c:pt idx="2106">
                  <c:v>0.56453542400000001</c:v>
                </c:pt>
                <c:pt idx="2107">
                  <c:v>0.56297499799999995</c:v>
                </c:pt>
                <c:pt idx="2108">
                  <c:v>0.56115822800000004</c:v>
                </c:pt>
                <c:pt idx="2109">
                  <c:v>0.55910449699999998</c:v>
                </c:pt>
                <c:pt idx="2110">
                  <c:v>0.55802461299999995</c:v>
                </c:pt>
                <c:pt idx="2111">
                  <c:v>0.55790826199999999</c:v>
                </c:pt>
                <c:pt idx="2112">
                  <c:v>0.55720186500000002</c:v>
                </c:pt>
                <c:pt idx="2113">
                  <c:v>0.55556557600000001</c:v>
                </c:pt>
                <c:pt idx="2114">
                  <c:v>0.552393158</c:v>
                </c:pt>
                <c:pt idx="2115">
                  <c:v>0.55173520300000001</c:v>
                </c:pt>
                <c:pt idx="2116">
                  <c:v>0.551317057</c:v>
                </c:pt>
                <c:pt idx="2117">
                  <c:v>0.54974547100000004</c:v>
                </c:pt>
                <c:pt idx="2118">
                  <c:v>0.54940009300000003</c:v>
                </c:pt>
                <c:pt idx="2119">
                  <c:v>0.54879467199999998</c:v>
                </c:pt>
                <c:pt idx="2120">
                  <c:v>0.54708578500000005</c:v>
                </c:pt>
                <c:pt idx="2121">
                  <c:v>0.538931206</c:v>
                </c:pt>
                <c:pt idx="2122">
                  <c:v>0.53820130700000002</c:v>
                </c:pt>
                <c:pt idx="2123">
                  <c:v>0.53699444699999999</c:v>
                </c:pt>
                <c:pt idx="2124">
                  <c:v>0.53513632700000002</c:v>
                </c:pt>
                <c:pt idx="2125">
                  <c:v>0.53420916200000002</c:v>
                </c:pt>
                <c:pt idx="2126">
                  <c:v>0.53322677100000004</c:v>
                </c:pt>
                <c:pt idx="2127">
                  <c:v>0.53166409999999997</c:v>
                </c:pt>
                <c:pt idx="2128">
                  <c:v>0.53258263100000003</c:v>
                </c:pt>
                <c:pt idx="2129">
                  <c:v>0.52286905400000006</c:v>
                </c:pt>
                <c:pt idx="2130">
                  <c:v>0.52122973699999997</c:v>
                </c:pt>
                <c:pt idx="2131">
                  <c:v>0.51982350200000005</c:v>
                </c:pt>
                <c:pt idx="2132">
                  <c:v>0.51866890099999996</c:v>
                </c:pt>
                <c:pt idx="2133">
                  <c:v>0.51721281500000005</c:v>
                </c:pt>
                <c:pt idx="2134">
                  <c:v>0.51330178599999998</c:v>
                </c:pt>
                <c:pt idx="2135">
                  <c:v>0.51400885500000004</c:v>
                </c:pt>
                <c:pt idx="2136">
                  <c:v>0.51336498900000005</c:v>
                </c:pt>
                <c:pt idx="2137">
                  <c:v>0.51342292300000003</c:v>
                </c:pt>
                <c:pt idx="2138">
                  <c:v>0.51323889700000003</c:v>
                </c:pt>
                <c:pt idx="2139">
                  <c:v>0.51178890600000004</c:v>
                </c:pt>
                <c:pt idx="2140">
                  <c:v>0.50785150400000001</c:v>
                </c:pt>
                <c:pt idx="2141">
                  <c:v>0.50716420600000001</c:v>
                </c:pt>
                <c:pt idx="2142">
                  <c:v>0.507066299</c:v>
                </c:pt>
                <c:pt idx="2143">
                  <c:v>0.50616385900000005</c:v>
                </c:pt>
                <c:pt idx="2144">
                  <c:v>0.50311992800000005</c:v>
                </c:pt>
                <c:pt idx="2145">
                  <c:v>0.50271626300000005</c:v>
                </c:pt>
                <c:pt idx="2146">
                  <c:v>0.50137223900000005</c:v>
                </c:pt>
                <c:pt idx="2147">
                  <c:v>0.50000248800000002</c:v>
                </c:pt>
                <c:pt idx="2148">
                  <c:v>0.50006671599999997</c:v>
                </c:pt>
                <c:pt idx="2149">
                  <c:v>0.49978018499999999</c:v>
                </c:pt>
                <c:pt idx="2150">
                  <c:v>0.497365214</c:v>
                </c:pt>
                <c:pt idx="2151">
                  <c:v>0.49566585099999999</c:v>
                </c:pt>
                <c:pt idx="2152">
                  <c:v>0.494731001</c:v>
                </c:pt>
                <c:pt idx="2153">
                  <c:v>0.493387831</c:v>
                </c:pt>
                <c:pt idx="2154">
                  <c:v>0.49407154199999997</c:v>
                </c:pt>
                <c:pt idx="2155">
                  <c:v>0.49460738900000001</c:v>
                </c:pt>
                <c:pt idx="2156">
                  <c:v>0.49500388099999998</c:v>
                </c:pt>
                <c:pt idx="2157">
                  <c:v>0.49094379799999999</c:v>
                </c:pt>
                <c:pt idx="2158">
                  <c:v>0.49077477600000002</c:v>
                </c:pt>
                <c:pt idx="2159">
                  <c:v>0.498305004</c:v>
                </c:pt>
                <c:pt idx="2160">
                  <c:v>0.49667622</c:v>
                </c:pt>
                <c:pt idx="2161">
                  <c:v>0.52018445199999996</c:v>
                </c:pt>
                <c:pt idx="2162">
                  <c:v>0.51939487900000003</c:v>
                </c:pt>
                <c:pt idx="2163">
                  <c:v>0.52244963799999999</c:v>
                </c:pt>
                <c:pt idx="2164">
                  <c:v>0.52208942199999997</c:v>
                </c:pt>
                <c:pt idx="2165">
                  <c:v>0.52141107499999995</c:v>
                </c:pt>
                <c:pt idx="2166">
                  <c:v>0.52616410000000002</c:v>
                </c:pt>
                <c:pt idx="2167">
                  <c:v>0.52652513000000001</c:v>
                </c:pt>
                <c:pt idx="2168">
                  <c:v>0.52569043500000001</c:v>
                </c:pt>
                <c:pt idx="2169">
                  <c:v>0.52681619499999999</c:v>
                </c:pt>
                <c:pt idx="2170">
                  <c:v>0.52863071800000005</c:v>
                </c:pt>
                <c:pt idx="2171">
                  <c:v>0.53206803800000002</c:v>
                </c:pt>
                <c:pt idx="2172">
                  <c:v>0.53386584999999998</c:v>
                </c:pt>
                <c:pt idx="2173">
                  <c:v>0.53907733999999996</c:v>
                </c:pt>
                <c:pt idx="2174">
                  <c:v>0.53776442400000002</c:v>
                </c:pt>
                <c:pt idx="2175">
                  <c:v>0.53958061400000001</c:v>
                </c:pt>
                <c:pt idx="2176">
                  <c:v>0.54051484299999997</c:v>
                </c:pt>
                <c:pt idx="2177">
                  <c:v>0.54429551899999995</c:v>
                </c:pt>
                <c:pt idx="2178">
                  <c:v>0.54475147700000004</c:v>
                </c:pt>
                <c:pt idx="2179">
                  <c:v>0.53389774499999998</c:v>
                </c:pt>
                <c:pt idx="2180">
                  <c:v>0.53427918900000004</c:v>
                </c:pt>
                <c:pt idx="2181">
                  <c:v>0.534479284</c:v>
                </c:pt>
                <c:pt idx="2182">
                  <c:v>0.53154037099999996</c:v>
                </c:pt>
                <c:pt idx="2183">
                  <c:v>0.53152003999999997</c:v>
                </c:pt>
                <c:pt idx="2184">
                  <c:v>0.53013579700000002</c:v>
                </c:pt>
                <c:pt idx="2185">
                  <c:v>0.53534227999999995</c:v>
                </c:pt>
                <c:pt idx="2186">
                  <c:v>0.53420559199999995</c:v>
                </c:pt>
                <c:pt idx="2187">
                  <c:v>0.53396893400000001</c:v>
                </c:pt>
                <c:pt idx="2188">
                  <c:v>0.53484582400000003</c:v>
                </c:pt>
                <c:pt idx="2189">
                  <c:v>0.53369806099999995</c:v>
                </c:pt>
                <c:pt idx="2190">
                  <c:v>0.53249871400000004</c:v>
                </c:pt>
                <c:pt idx="2191">
                  <c:v>0.53012364300000003</c:v>
                </c:pt>
                <c:pt idx="2192">
                  <c:v>0.528282221</c:v>
                </c:pt>
                <c:pt idx="2193">
                  <c:v>0.52753977799999996</c:v>
                </c:pt>
                <c:pt idx="2194">
                  <c:v>0.52444533800000004</c:v>
                </c:pt>
                <c:pt idx="2195">
                  <c:v>0.52249316099999998</c:v>
                </c:pt>
                <c:pt idx="2196">
                  <c:v>0.52220449599999996</c:v>
                </c:pt>
                <c:pt idx="2197">
                  <c:v>0.51904242899999997</c:v>
                </c:pt>
                <c:pt idx="2198">
                  <c:v>0.51809968500000003</c:v>
                </c:pt>
                <c:pt idx="2199">
                  <c:v>0.51533357099999999</c:v>
                </c:pt>
                <c:pt idx="2200">
                  <c:v>0.51235550100000005</c:v>
                </c:pt>
                <c:pt idx="2201">
                  <c:v>0.50905279299999995</c:v>
                </c:pt>
                <c:pt idx="2202">
                  <c:v>0.51028380900000003</c:v>
                </c:pt>
                <c:pt idx="2203">
                  <c:v>0.51151805500000003</c:v>
                </c:pt>
                <c:pt idx="2204">
                  <c:v>0.50859805800000002</c:v>
                </c:pt>
                <c:pt idx="2205">
                  <c:v>0.507251059</c:v>
                </c:pt>
                <c:pt idx="2206">
                  <c:v>0.50493679300000005</c:v>
                </c:pt>
                <c:pt idx="2207">
                  <c:v>0.51061013799999999</c:v>
                </c:pt>
                <c:pt idx="2208">
                  <c:v>0.51267195700000001</c:v>
                </c:pt>
                <c:pt idx="2209">
                  <c:v>0.51157362399999995</c:v>
                </c:pt>
                <c:pt idx="2210">
                  <c:v>0.51056381699999998</c:v>
                </c:pt>
                <c:pt idx="2211">
                  <c:v>0.50969121699999997</c:v>
                </c:pt>
                <c:pt idx="2212">
                  <c:v>0.50632138500000001</c:v>
                </c:pt>
                <c:pt idx="2213">
                  <c:v>0.52513224000000003</c:v>
                </c:pt>
                <c:pt idx="2214">
                  <c:v>0.53585440699999998</c:v>
                </c:pt>
                <c:pt idx="2215">
                  <c:v>0.53609781300000003</c:v>
                </c:pt>
                <c:pt idx="2216">
                  <c:v>0.57450930899999997</c:v>
                </c:pt>
                <c:pt idx="2217">
                  <c:v>0.577187915</c:v>
                </c:pt>
                <c:pt idx="2218">
                  <c:v>0.57898283500000003</c:v>
                </c:pt>
                <c:pt idx="2219">
                  <c:v>0.58046321999999995</c:v>
                </c:pt>
                <c:pt idx="2220">
                  <c:v>0.58898654399999995</c:v>
                </c:pt>
                <c:pt idx="2221">
                  <c:v>0.58909935700000005</c:v>
                </c:pt>
                <c:pt idx="2222">
                  <c:v>0.58992290000000003</c:v>
                </c:pt>
                <c:pt idx="2223">
                  <c:v>0.59089321100000003</c:v>
                </c:pt>
                <c:pt idx="2224">
                  <c:v>0.59255108700000003</c:v>
                </c:pt>
                <c:pt idx="2225">
                  <c:v>0.59288532599999999</c:v>
                </c:pt>
                <c:pt idx="2226">
                  <c:v>0.59376194800000004</c:v>
                </c:pt>
                <c:pt idx="2227">
                  <c:v>0.593802045</c:v>
                </c:pt>
                <c:pt idx="2228">
                  <c:v>0.59394570999999996</c:v>
                </c:pt>
                <c:pt idx="2229">
                  <c:v>0.594444168</c:v>
                </c:pt>
                <c:pt idx="2230">
                  <c:v>0.59637889799999999</c:v>
                </c:pt>
                <c:pt idx="2231">
                  <c:v>0.59583413500000004</c:v>
                </c:pt>
                <c:pt idx="2232">
                  <c:v>0.59472394900000003</c:v>
                </c:pt>
                <c:pt idx="2233">
                  <c:v>0.59551625399999997</c:v>
                </c:pt>
                <c:pt idx="2234">
                  <c:v>0.59556838499999998</c:v>
                </c:pt>
                <c:pt idx="2235">
                  <c:v>0.59576193600000005</c:v>
                </c:pt>
                <c:pt idx="2236">
                  <c:v>0.59689748799999998</c:v>
                </c:pt>
                <c:pt idx="2237">
                  <c:v>0.59683487499999999</c:v>
                </c:pt>
                <c:pt idx="2238">
                  <c:v>0.59581527300000003</c:v>
                </c:pt>
                <c:pt idx="2239">
                  <c:v>0.59574829500000004</c:v>
                </c:pt>
                <c:pt idx="2240">
                  <c:v>0.59761391900000005</c:v>
                </c:pt>
                <c:pt idx="2241">
                  <c:v>0.61209644900000004</c:v>
                </c:pt>
                <c:pt idx="2242">
                  <c:v>0.61049622000000003</c:v>
                </c:pt>
                <c:pt idx="2243">
                  <c:v>0.61098823400000002</c:v>
                </c:pt>
                <c:pt idx="2244">
                  <c:v>0.61666956500000003</c:v>
                </c:pt>
                <c:pt idx="2245">
                  <c:v>0.61888730199999997</c:v>
                </c:pt>
                <c:pt idx="2246">
                  <c:v>0.61862742100000001</c:v>
                </c:pt>
                <c:pt idx="2247">
                  <c:v>0.61816297799999997</c:v>
                </c:pt>
                <c:pt idx="2248">
                  <c:v>0.61904199199999999</c:v>
                </c:pt>
                <c:pt idx="2249">
                  <c:v>0.61882703500000003</c:v>
                </c:pt>
                <c:pt idx="2250">
                  <c:v>0.61899287199999997</c:v>
                </c:pt>
                <c:pt idx="2251">
                  <c:v>0.62392824899999999</c:v>
                </c:pt>
                <c:pt idx="2252">
                  <c:v>0.62319773700000003</c:v>
                </c:pt>
                <c:pt idx="2253">
                  <c:v>0.62353129299999999</c:v>
                </c:pt>
                <c:pt idx="2254">
                  <c:v>0.62560496899999996</c:v>
                </c:pt>
                <c:pt idx="2255">
                  <c:v>0.63097391400000002</c:v>
                </c:pt>
                <c:pt idx="2256">
                  <c:v>0.63602994800000001</c:v>
                </c:pt>
                <c:pt idx="2257">
                  <c:v>0.63689294399999996</c:v>
                </c:pt>
                <c:pt idx="2258">
                  <c:v>0.63968232199999997</c:v>
                </c:pt>
                <c:pt idx="2259">
                  <c:v>0.64274925000000005</c:v>
                </c:pt>
                <c:pt idx="2260">
                  <c:v>0.64167432499999999</c:v>
                </c:pt>
                <c:pt idx="2261">
                  <c:v>0.64799767500000005</c:v>
                </c:pt>
                <c:pt idx="2262">
                  <c:v>0.64799774099999996</c:v>
                </c:pt>
                <c:pt idx="2263">
                  <c:v>0.65460909599999995</c:v>
                </c:pt>
                <c:pt idx="2264">
                  <c:v>0.65431271000000002</c:v>
                </c:pt>
                <c:pt idx="2265">
                  <c:v>0.654433512</c:v>
                </c:pt>
                <c:pt idx="2266">
                  <c:v>0.65357441100000002</c:v>
                </c:pt>
                <c:pt idx="2267">
                  <c:v>0.65403802200000005</c:v>
                </c:pt>
                <c:pt idx="2268">
                  <c:v>0.65819719099999996</c:v>
                </c:pt>
                <c:pt idx="2269">
                  <c:v>0.66031850700000005</c:v>
                </c:pt>
                <c:pt idx="2270">
                  <c:v>0.66051357899999996</c:v>
                </c:pt>
                <c:pt idx="2271">
                  <c:v>0.66057291900000004</c:v>
                </c:pt>
                <c:pt idx="2272">
                  <c:v>0.66077620800000003</c:v>
                </c:pt>
                <c:pt idx="2273">
                  <c:v>0.66177371500000004</c:v>
                </c:pt>
                <c:pt idx="2274">
                  <c:v>0.66142398199999997</c:v>
                </c:pt>
                <c:pt idx="2275">
                  <c:v>0.66259231500000004</c:v>
                </c:pt>
                <c:pt idx="2276">
                  <c:v>0.66384570099999995</c:v>
                </c:pt>
                <c:pt idx="2277">
                  <c:v>0.66515177199999997</c:v>
                </c:pt>
                <c:pt idx="2278">
                  <c:v>0.66514672699999999</c:v>
                </c:pt>
                <c:pt idx="2279">
                  <c:v>0.66459788099999995</c:v>
                </c:pt>
                <c:pt idx="2280">
                  <c:v>0.66745207900000003</c:v>
                </c:pt>
                <c:pt idx="2281">
                  <c:v>0.66782754600000005</c:v>
                </c:pt>
                <c:pt idx="2282">
                  <c:v>0.66761028899999997</c:v>
                </c:pt>
                <c:pt idx="2283">
                  <c:v>0.66749879999999995</c:v>
                </c:pt>
                <c:pt idx="2284">
                  <c:v>0.66806271100000003</c:v>
                </c:pt>
                <c:pt idx="2285">
                  <c:v>0.67600165300000004</c:v>
                </c:pt>
                <c:pt idx="2286">
                  <c:v>0.68327406800000001</c:v>
                </c:pt>
                <c:pt idx="2287">
                  <c:v>0.68454623199999998</c:v>
                </c:pt>
                <c:pt idx="2288">
                  <c:v>0.68208473700000005</c:v>
                </c:pt>
                <c:pt idx="2289">
                  <c:v>0.683805039</c:v>
                </c:pt>
                <c:pt idx="2290">
                  <c:v>0.68425797399999999</c:v>
                </c:pt>
                <c:pt idx="2291">
                  <c:v>0.68471374600000001</c:v>
                </c:pt>
                <c:pt idx="2292">
                  <c:v>0.68767283999999995</c:v>
                </c:pt>
                <c:pt idx="2293">
                  <c:v>0.68743147900000001</c:v>
                </c:pt>
                <c:pt idx="2294">
                  <c:v>0.68866250500000004</c:v>
                </c:pt>
                <c:pt idx="2295">
                  <c:v>0.68868025200000005</c:v>
                </c:pt>
                <c:pt idx="2296">
                  <c:v>0.68839322400000003</c:v>
                </c:pt>
                <c:pt idx="2297">
                  <c:v>0.68897302000000005</c:v>
                </c:pt>
                <c:pt idx="2298">
                  <c:v>0.70868264599999997</c:v>
                </c:pt>
                <c:pt idx="2299">
                  <c:v>0.70847450599999995</c:v>
                </c:pt>
                <c:pt idx="2300">
                  <c:v>0.70758881699999998</c:v>
                </c:pt>
                <c:pt idx="2301">
                  <c:v>0.70774842400000004</c:v>
                </c:pt>
                <c:pt idx="2302">
                  <c:v>0.71023073000000003</c:v>
                </c:pt>
                <c:pt idx="2303">
                  <c:v>0.70939882300000001</c:v>
                </c:pt>
                <c:pt idx="2304">
                  <c:v>0.71567259000000005</c:v>
                </c:pt>
                <c:pt idx="2305">
                  <c:v>0.714985337</c:v>
                </c:pt>
                <c:pt idx="2306">
                  <c:v>0.72637379800000001</c:v>
                </c:pt>
                <c:pt idx="2307">
                  <c:v>0.738956053</c:v>
                </c:pt>
                <c:pt idx="2308">
                  <c:v>0.73733623999999998</c:v>
                </c:pt>
                <c:pt idx="2309">
                  <c:v>0.74036049100000001</c:v>
                </c:pt>
                <c:pt idx="2310">
                  <c:v>0.740268115</c:v>
                </c:pt>
                <c:pt idx="2311">
                  <c:v>0.740185066</c:v>
                </c:pt>
                <c:pt idx="2312">
                  <c:v>0.75212301199999998</c:v>
                </c:pt>
                <c:pt idx="2313">
                  <c:v>0.75223888900000002</c:v>
                </c:pt>
                <c:pt idx="2314">
                  <c:v>0.75615645399999998</c:v>
                </c:pt>
                <c:pt idx="2315">
                  <c:v>0.76088976399999997</c:v>
                </c:pt>
                <c:pt idx="2316">
                  <c:v>0.76155535100000005</c:v>
                </c:pt>
                <c:pt idx="2317">
                  <c:v>0.76265335199999995</c:v>
                </c:pt>
                <c:pt idx="2318">
                  <c:v>0.76443076399999998</c:v>
                </c:pt>
                <c:pt idx="2319">
                  <c:v>0.76569629699999997</c:v>
                </c:pt>
                <c:pt idx="2320">
                  <c:v>0.767022498</c:v>
                </c:pt>
                <c:pt idx="2321">
                  <c:v>0.77209857299999995</c:v>
                </c:pt>
                <c:pt idx="2322">
                  <c:v>0.77282713599999997</c:v>
                </c:pt>
                <c:pt idx="2323">
                  <c:v>0.77560645399999995</c:v>
                </c:pt>
                <c:pt idx="2324">
                  <c:v>0.77641975500000004</c:v>
                </c:pt>
                <c:pt idx="2325">
                  <c:v>0.776356724</c:v>
                </c:pt>
                <c:pt idx="2326">
                  <c:v>0.77806015299999998</c:v>
                </c:pt>
                <c:pt idx="2327">
                  <c:v>0.77855627299999997</c:v>
                </c:pt>
                <c:pt idx="2328">
                  <c:v>0.779918161</c:v>
                </c:pt>
                <c:pt idx="2329">
                  <c:v>0.78612383699999999</c:v>
                </c:pt>
                <c:pt idx="2330">
                  <c:v>0.79419320999999998</c:v>
                </c:pt>
                <c:pt idx="2331">
                  <c:v>0.79955001400000003</c:v>
                </c:pt>
                <c:pt idx="2332">
                  <c:v>0.80210735300000002</c:v>
                </c:pt>
                <c:pt idx="2333">
                  <c:v>0.81576711599999996</c:v>
                </c:pt>
                <c:pt idx="2334">
                  <c:v>0.81995034099999997</c:v>
                </c:pt>
                <c:pt idx="2335">
                  <c:v>0.83086387500000003</c:v>
                </c:pt>
                <c:pt idx="2336">
                  <c:v>0.83166749799999995</c:v>
                </c:pt>
                <c:pt idx="2337">
                  <c:v>0.83320544100000005</c:v>
                </c:pt>
                <c:pt idx="2338">
                  <c:v>0.83468181299999999</c:v>
                </c:pt>
                <c:pt idx="2339">
                  <c:v>0.84463589100000003</c:v>
                </c:pt>
                <c:pt idx="2340">
                  <c:v>0.846114162</c:v>
                </c:pt>
                <c:pt idx="2341">
                  <c:v>0.850414263</c:v>
                </c:pt>
                <c:pt idx="2342">
                  <c:v>0.84987201300000004</c:v>
                </c:pt>
                <c:pt idx="2343">
                  <c:v>0.85343813400000001</c:v>
                </c:pt>
                <c:pt idx="2344">
                  <c:v>0.85523629000000001</c:v>
                </c:pt>
                <c:pt idx="2345">
                  <c:v>0.85655121400000001</c:v>
                </c:pt>
                <c:pt idx="2346">
                  <c:v>0.85725311299999996</c:v>
                </c:pt>
                <c:pt idx="2347">
                  <c:v>0.86584308099999996</c:v>
                </c:pt>
                <c:pt idx="2348">
                  <c:v>0.86609520699999998</c:v>
                </c:pt>
                <c:pt idx="2349">
                  <c:v>0.86717260799999996</c:v>
                </c:pt>
                <c:pt idx="2350">
                  <c:v>0.86985126000000002</c:v>
                </c:pt>
                <c:pt idx="2351">
                  <c:v>0.870219411</c:v>
                </c:pt>
                <c:pt idx="2352">
                  <c:v>0.86847717099999999</c:v>
                </c:pt>
                <c:pt idx="2353">
                  <c:v>0.87208325099999995</c:v>
                </c:pt>
                <c:pt idx="2354">
                  <c:v>0.87938489600000003</c:v>
                </c:pt>
                <c:pt idx="2355">
                  <c:v>0.88329055700000003</c:v>
                </c:pt>
                <c:pt idx="2356">
                  <c:v>0.88565208200000001</c:v>
                </c:pt>
                <c:pt idx="2357">
                  <c:v>0.89138786800000003</c:v>
                </c:pt>
                <c:pt idx="2358">
                  <c:v>0.89407388799999998</c:v>
                </c:pt>
                <c:pt idx="2359">
                  <c:v>0.89678884400000003</c:v>
                </c:pt>
                <c:pt idx="2360">
                  <c:v>0.90067247399999995</c:v>
                </c:pt>
                <c:pt idx="2361">
                  <c:v>0.90230466200000004</c:v>
                </c:pt>
                <c:pt idx="2362">
                  <c:v>0.905787114</c:v>
                </c:pt>
                <c:pt idx="2363">
                  <c:v>0.91395088300000005</c:v>
                </c:pt>
                <c:pt idx="2364">
                  <c:v>0.91817836200000003</c:v>
                </c:pt>
                <c:pt idx="2365">
                  <c:v>0.91901087800000003</c:v>
                </c:pt>
                <c:pt idx="2366">
                  <c:v>0.932370323</c:v>
                </c:pt>
                <c:pt idx="2367">
                  <c:v>0.93477807599999996</c:v>
                </c:pt>
                <c:pt idx="2368">
                  <c:v>0.93715960300000001</c:v>
                </c:pt>
                <c:pt idx="2369">
                  <c:v>0.93848859799999995</c:v>
                </c:pt>
                <c:pt idx="2370">
                  <c:v>0.94040214799999999</c:v>
                </c:pt>
                <c:pt idx="2371">
                  <c:v>0.96783836300000003</c:v>
                </c:pt>
                <c:pt idx="2372">
                  <c:v>0.96875268400000003</c:v>
                </c:pt>
                <c:pt idx="2373">
                  <c:v>0.96969910800000003</c:v>
                </c:pt>
                <c:pt idx="2374">
                  <c:v>1.0013701589999999</c:v>
                </c:pt>
                <c:pt idx="2375">
                  <c:v>1.004385171</c:v>
                </c:pt>
                <c:pt idx="2376">
                  <c:v>1.0077195839999999</c:v>
                </c:pt>
                <c:pt idx="2377">
                  <c:v>1.009314754</c:v>
                </c:pt>
                <c:pt idx="2378">
                  <c:v>1.0100825470000001</c:v>
                </c:pt>
                <c:pt idx="2379">
                  <c:v>1.0187374520000001</c:v>
                </c:pt>
                <c:pt idx="2380">
                  <c:v>1.0310140489999999</c:v>
                </c:pt>
                <c:pt idx="2381">
                  <c:v>1.054046244</c:v>
                </c:pt>
                <c:pt idx="2382">
                  <c:v>1.0621233809999999</c:v>
                </c:pt>
                <c:pt idx="2383">
                  <c:v>1.0627216100000001</c:v>
                </c:pt>
                <c:pt idx="2384">
                  <c:v>1.0622043370000001</c:v>
                </c:pt>
                <c:pt idx="2385">
                  <c:v>1.062287462</c:v>
                </c:pt>
                <c:pt idx="2386">
                  <c:v>1.074827789</c:v>
                </c:pt>
                <c:pt idx="2387">
                  <c:v>1.075369171</c:v>
                </c:pt>
                <c:pt idx="2388">
                  <c:v>1.0773603679999999</c:v>
                </c:pt>
                <c:pt idx="2389">
                  <c:v>1.076141475</c:v>
                </c:pt>
                <c:pt idx="2390">
                  <c:v>1.0900426249999999</c:v>
                </c:pt>
                <c:pt idx="2391">
                  <c:v>1.09197433</c:v>
                </c:pt>
                <c:pt idx="2392">
                  <c:v>1.0935941360000001</c:v>
                </c:pt>
                <c:pt idx="2393">
                  <c:v>1.097010671</c:v>
                </c:pt>
                <c:pt idx="2394">
                  <c:v>1.0988455370000001</c:v>
                </c:pt>
                <c:pt idx="2395">
                  <c:v>1.1034795209999999</c:v>
                </c:pt>
                <c:pt idx="2396">
                  <c:v>1.1075932429999999</c:v>
                </c:pt>
                <c:pt idx="2397">
                  <c:v>1.1100281059999999</c:v>
                </c:pt>
                <c:pt idx="2398">
                  <c:v>1.1118745160000001</c:v>
                </c:pt>
                <c:pt idx="2399">
                  <c:v>1.1159365779999999</c:v>
                </c:pt>
                <c:pt idx="2400">
                  <c:v>1.1184037979999999</c:v>
                </c:pt>
                <c:pt idx="2401">
                  <c:v>1.1207708590000001</c:v>
                </c:pt>
                <c:pt idx="2402">
                  <c:v>1.128400705</c:v>
                </c:pt>
                <c:pt idx="2403">
                  <c:v>1.1319273839999999</c:v>
                </c:pt>
                <c:pt idx="2404">
                  <c:v>1.1355028279999999</c:v>
                </c:pt>
                <c:pt idx="2405">
                  <c:v>1.1428735299999999</c:v>
                </c:pt>
                <c:pt idx="2406">
                  <c:v>1.145127727</c:v>
                </c:pt>
                <c:pt idx="2407">
                  <c:v>1.151262612</c:v>
                </c:pt>
                <c:pt idx="2408">
                  <c:v>1.1569055290000001</c:v>
                </c:pt>
                <c:pt idx="2409">
                  <c:v>1.1597704209999999</c:v>
                </c:pt>
                <c:pt idx="2410">
                  <c:v>1.1679505050000001</c:v>
                </c:pt>
                <c:pt idx="2411">
                  <c:v>1.1711398749999999</c:v>
                </c:pt>
                <c:pt idx="2412">
                  <c:v>1.1744350180000001</c:v>
                </c:pt>
                <c:pt idx="2413">
                  <c:v>1.176714947</c:v>
                </c:pt>
                <c:pt idx="2414">
                  <c:v>1.184207204</c:v>
                </c:pt>
                <c:pt idx="2415">
                  <c:v>1.1880402910000001</c:v>
                </c:pt>
                <c:pt idx="2416">
                  <c:v>1.190679947</c:v>
                </c:pt>
                <c:pt idx="2417">
                  <c:v>1.1940935939999999</c:v>
                </c:pt>
                <c:pt idx="2418">
                  <c:v>1.19687718</c:v>
                </c:pt>
                <c:pt idx="2419">
                  <c:v>1.203937035</c:v>
                </c:pt>
                <c:pt idx="2420">
                  <c:v>1.2090065379999999</c:v>
                </c:pt>
                <c:pt idx="2421">
                  <c:v>1.209147706</c:v>
                </c:pt>
                <c:pt idx="2422">
                  <c:v>1.2111370969999999</c:v>
                </c:pt>
                <c:pt idx="2423">
                  <c:v>1.2113448929999999</c:v>
                </c:pt>
                <c:pt idx="2424">
                  <c:v>1.211205844</c:v>
                </c:pt>
                <c:pt idx="2425">
                  <c:v>1.2121771589999999</c:v>
                </c:pt>
                <c:pt idx="2426">
                  <c:v>1.2137338019999999</c:v>
                </c:pt>
                <c:pt idx="2427">
                  <c:v>1.214032491</c:v>
                </c:pt>
                <c:pt idx="2428">
                  <c:v>1.2157944380000001</c:v>
                </c:pt>
                <c:pt idx="2429">
                  <c:v>1.2139869249999999</c:v>
                </c:pt>
                <c:pt idx="2430">
                  <c:v>1.2163543080000001</c:v>
                </c:pt>
                <c:pt idx="2431">
                  <c:v>1.219528962</c:v>
                </c:pt>
                <c:pt idx="2432">
                  <c:v>1.2205375039999999</c:v>
                </c:pt>
                <c:pt idx="2433">
                  <c:v>1.2298197449999999</c:v>
                </c:pt>
                <c:pt idx="2434">
                  <c:v>1.231198239</c:v>
                </c:pt>
                <c:pt idx="2435">
                  <c:v>1.2306621579999999</c:v>
                </c:pt>
                <c:pt idx="2436">
                  <c:v>1.2328458069999999</c:v>
                </c:pt>
                <c:pt idx="2437">
                  <c:v>1.2340071909999999</c:v>
                </c:pt>
                <c:pt idx="2438">
                  <c:v>1.2368359419999999</c:v>
                </c:pt>
                <c:pt idx="2439">
                  <c:v>1.241953549</c:v>
                </c:pt>
                <c:pt idx="2440">
                  <c:v>1.250507888</c:v>
                </c:pt>
                <c:pt idx="2441">
                  <c:v>1.254796821</c:v>
                </c:pt>
                <c:pt idx="2442">
                  <c:v>1.2603222839999999</c:v>
                </c:pt>
                <c:pt idx="2443">
                  <c:v>1.2678784139999999</c:v>
                </c:pt>
                <c:pt idx="2444">
                  <c:v>1.272566334</c:v>
                </c:pt>
                <c:pt idx="2445">
                  <c:v>1.278280439</c:v>
                </c:pt>
                <c:pt idx="2446">
                  <c:v>1.281493577</c:v>
                </c:pt>
                <c:pt idx="2447">
                  <c:v>1.28854183</c:v>
                </c:pt>
                <c:pt idx="2448">
                  <c:v>1.2941024860000001</c:v>
                </c:pt>
                <c:pt idx="2449">
                  <c:v>1.302970645</c:v>
                </c:pt>
                <c:pt idx="2450">
                  <c:v>1.3092056219999999</c:v>
                </c:pt>
                <c:pt idx="2451">
                  <c:v>1.3186940620000001</c:v>
                </c:pt>
                <c:pt idx="2452">
                  <c:v>1.324050153</c:v>
                </c:pt>
                <c:pt idx="2453">
                  <c:v>1.3338157319999999</c:v>
                </c:pt>
                <c:pt idx="2454">
                  <c:v>1.347124008</c:v>
                </c:pt>
                <c:pt idx="2455">
                  <c:v>1.352899101</c:v>
                </c:pt>
                <c:pt idx="2456">
                  <c:v>1.3611056690000001</c:v>
                </c:pt>
                <c:pt idx="2457">
                  <c:v>1.3599547620000001</c:v>
                </c:pt>
                <c:pt idx="2458">
                  <c:v>1.363614812</c:v>
                </c:pt>
                <c:pt idx="2459">
                  <c:v>1.376925475</c:v>
                </c:pt>
                <c:pt idx="2460">
                  <c:v>1.3780091750000001</c:v>
                </c:pt>
                <c:pt idx="2461">
                  <c:v>1.378127989</c:v>
                </c:pt>
                <c:pt idx="2462">
                  <c:v>1.37867166</c:v>
                </c:pt>
                <c:pt idx="2463">
                  <c:v>1.3776870059999999</c:v>
                </c:pt>
                <c:pt idx="2464">
                  <c:v>1.4123305690000001</c:v>
                </c:pt>
                <c:pt idx="2465">
                  <c:v>1.403308751</c:v>
                </c:pt>
                <c:pt idx="2466">
                  <c:v>1.3738958779999999</c:v>
                </c:pt>
                <c:pt idx="2467">
                  <c:v>1.3687037449999999</c:v>
                </c:pt>
                <c:pt idx="2468">
                  <c:v>1.369461882</c:v>
                </c:pt>
                <c:pt idx="2469">
                  <c:v>1.3574889779999999</c:v>
                </c:pt>
                <c:pt idx="2470">
                  <c:v>1.3454606950000001</c:v>
                </c:pt>
                <c:pt idx="2471">
                  <c:v>1.3359409229999999</c:v>
                </c:pt>
                <c:pt idx="2472">
                  <c:v>1.3281169390000001</c:v>
                </c:pt>
                <c:pt idx="2473">
                  <c:v>1.3393457470000001</c:v>
                </c:pt>
                <c:pt idx="2474">
                  <c:v>1.3383949770000001</c:v>
                </c:pt>
                <c:pt idx="2475">
                  <c:v>1.331910919</c:v>
                </c:pt>
                <c:pt idx="2476">
                  <c:v>1.3263139129999999</c:v>
                </c:pt>
                <c:pt idx="2477">
                  <c:v>1.322771752</c:v>
                </c:pt>
                <c:pt idx="2478">
                  <c:v>1.322470942</c:v>
                </c:pt>
                <c:pt idx="2479">
                  <c:v>1.3276969869999999</c:v>
                </c:pt>
                <c:pt idx="2480">
                  <c:v>1.3231142469999999</c:v>
                </c:pt>
                <c:pt idx="2481">
                  <c:v>1.3200210139999999</c:v>
                </c:pt>
                <c:pt idx="2482">
                  <c:v>1.3185264940000001</c:v>
                </c:pt>
                <c:pt idx="2483">
                  <c:v>1.3156995629999999</c:v>
                </c:pt>
                <c:pt idx="2484">
                  <c:v>1.318614999</c:v>
                </c:pt>
                <c:pt idx="2485">
                  <c:v>1.3162483979999999</c:v>
                </c:pt>
                <c:pt idx="2486">
                  <c:v>1.314908551</c:v>
                </c:pt>
                <c:pt idx="2487">
                  <c:v>1.3130584839999999</c:v>
                </c:pt>
                <c:pt idx="2488">
                  <c:v>1.3253277320000001</c:v>
                </c:pt>
                <c:pt idx="2489">
                  <c:v>1.325902761</c:v>
                </c:pt>
                <c:pt idx="2490">
                  <c:v>1.3190599620000001</c:v>
                </c:pt>
                <c:pt idx="2491">
                  <c:v>1.309724648</c:v>
                </c:pt>
                <c:pt idx="2492">
                  <c:v>1.30513602</c:v>
                </c:pt>
                <c:pt idx="2493">
                  <c:v>1.298553187</c:v>
                </c:pt>
                <c:pt idx="2494">
                  <c:v>1.292059364</c:v>
                </c:pt>
                <c:pt idx="2495">
                  <c:v>1.2877533699999999</c:v>
                </c:pt>
                <c:pt idx="2496">
                  <c:v>1.291178162</c:v>
                </c:pt>
                <c:pt idx="2497">
                  <c:v>1.2911336980000001</c:v>
                </c:pt>
                <c:pt idx="2498">
                  <c:v>1.287686286</c:v>
                </c:pt>
                <c:pt idx="2499">
                  <c:v>1.292243308</c:v>
                </c:pt>
                <c:pt idx="2500">
                  <c:v>1.2886449090000001</c:v>
                </c:pt>
                <c:pt idx="2501">
                  <c:v>1.2838784089999999</c:v>
                </c:pt>
                <c:pt idx="2502">
                  <c:v>1.285122893</c:v>
                </c:pt>
                <c:pt idx="2503">
                  <c:v>1.286663187</c:v>
                </c:pt>
                <c:pt idx="2504">
                  <c:v>1.2830589349999999</c:v>
                </c:pt>
                <c:pt idx="2505">
                  <c:v>1.2786487609999999</c:v>
                </c:pt>
                <c:pt idx="2506">
                  <c:v>1.2791379679999999</c:v>
                </c:pt>
                <c:pt idx="2507">
                  <c:v>1.280538712</c:v>
                </c:pt>
                <c:pt idx="2508">
                  <c:v>1.277336888</c:v>
                </c:pt>
                <c:pt idx="2509">
                  <c:v>1.2750609180000001</c:v>
                </c:pt>
                <c:pt idx="2510">
                  <c:v>1.3133812119999999</c:v>
                </c:pt>
                <c:pt idx="2511">
                  <c:v>1.309668989</c:v>
                </c:pt>
                <c:pt idx="2512">
                  <c:v>1.3105857889999999</c:v>
                </c:pt>
                <c:pt idx="2513">
                  <c:v>1.309900023</c:v>
                </c:pt>
                <c:pt idx="2514">
                  <c:v>1.322510396</c:v>
                </c:pt>
                <c:pt idx="2515">
                  <c:v>1.3253716099999999</c:v>
                </c:pt>
                <c:pt idx="2516">
                  <c:v>1.3254559889999999</c:v>
                </c:pt>
                <c:pt idx="2517">
                  <c:v>1.329570726</c:v>
                </c:pt>
                <c:pt idx="2518">
                  <c:v>1.3264106870000001</c:v>
                </c:pt>
                <c:pt idx="2519">
                  <c:v>1.3316256150000001</c:v>
                </c:pt>
                <c:pt idx="2520">
                  <c:v>1.3306021530000001</c:v>
                </c:pt>
                <c:pt idx="2521">
                  <c:v>1.330522105</c:v>
                </c:pt>
                <c:pt idx="2522">
                  <c:v>1.329565546</c:v>
                </c:pt>
                <c:pt idx="2523">
                  <c:v>1.331662092</c:v>
                </c:pt>
                <c:pt idx="2524">
                  <c:v>1.3316320450000001</c:v>
                </c:pt>
                <c:pt idx="2525">
                  <c:v>1.3310658980000001</c:v>
                </c:pt>
                <c:pt idx="2526">
                  <c:v>1.3287773570000001</c:v>
                </c:pt>
                <c:pt idx="2527">
                  <c:v>1.3267588669999999</c:v>
                </c:pt>
                <c:pt idx="2528">
                  <c:v>1.32694186</c:v>
                </c:pt>
                <c:pt idx="2529">
                  <c:v>1.326310544</c:v>
                </c:pt>
                <c:pt idx="2530">
                  <c:v>1.3238642270000001</c:v>
                </c:pt>
                <c:pt idx="2531">
                  <c:v>1.3236274779999999</c:v>
                </c:pt>
                <c:pt idx="2532">
                  <c:v>1.32312659</c:v>
                </c:pt>
                <c:pt idx="2533">
                  <c:v>1.3235121430000001</c:v>
                </c:pt>
                <c:pt idx="2534">
                  <c:v>1.3246779390000001</c:v>
                </c:pt>
                <c:pt idx="2535">
                  <c:v>1.327048582</c:v>
                </c:pt>
                <c:pt idx="2536">
                  <c:v>1.3221191670000001</c:v>
                </c:pt>
                <c:pt idx="2537">
                  <c:v>1.320835564</c:v>
                </c:pt>
                <c:pt idx="2538">
                  <c:v>1.3198281650000001</c:v>
                </c:pt>
                <c:pt idx="2539">
                  <c:v>1.319456033</c:v>
                </c:pt>
                <c:pt idx="2540">
                  <c:v>1.320325296</c:v>
                </c:pt>
                <c:pt idx="2541">
                  <c:v>1.3204134460000001</c:v>
                </c:pt>
                <c:pt idx="2542">
                  <c:v>1.3245873990000001</c:v>
                </c:pt>
                <c:pt idx="2543">
                  <c:v>1.32087307</c:v>
                </c:pt>
                <c:pt idx="2544">
                  <c:v>1.3184973799999999</c:v>
                </c:pt>
                <c:pt idx="2545">
                  <c:v>1.3166197070000001</c:v>
                </c:pt>
                <c:pt idx="2546">
                  <c:v>1.316181703</c:v>
                </c:pt>
                <c:pt idx="2547">
                  <c:v>1.316393336</c:v>
                </c:pt>
                <c:pt idx="2548">
                  <c:v>1.306326146</c:v>
                </c:pt>
                <c:pt idx="2549">
                  <c:v>1.3118376519999999</c:v>
                </c:pt>
                <c:pt idx="2550">
                  <c:v>1.308719722</c:v>
                </c:pt>
                <c:pt idx="2551">
                  <c:v>1.3085482820000001</c:v>
                </c:pt>
                <c:pt idx="2552">
                  <c:v>1.3064147070000001</c:v>
                </c:pt>
                <c:pt idx="2553">
                  <c:v>1.3067918359999999</c:v>
                </c:pt>
                <c:pt idx="2554">
                  <c:v>1.307783184</c:v>
                </c:pt>
                <c:pt idx="2555">
                  <c:v>1.307219224</c:v>
                </c:pt>
                <c:pt idx="2556">
                  <c:v>1.301257366</c:v>
                </c:pt>
                <c:pt idx="2557">
                  <c:v>1.2921610080000001</c:v>
                </c:pt>
                <c:pt idx="2558">
                  <c:v>1.2938662940000001</c:v>
                </c:pt>
                <c:pt idx="2559">
                  <c:v>1.2910261359999999</c:v>
                </c:pt>
                <c:pt idx="2560">
                  <c:v>1.291146916</c:v>
                </c:pt>
                <c:pt idx="2561">
                  <c:v>1.2904925190000001</c:v>
                </c:pt>
                <c:pt idx="2562">
                  <c:v>1.2830507499999999</c:v>
                </c:pt>
                <c:pt idx="2563">
                  <c:v>1.283581015</c:v>
                </c:pt>
                <c:pt idx="2564">
                  <c:v>1.279399709</c:v>
                </c:pt>
                <c:pt idx="2565">
                  <c:v>1.2757670189999999</c:v>
                </c:pt>
                <c:pt idx="2566">
                  <c:v>1.2756900339999999</c:v>
                </c:pt>
                <c:pt idx="2567">
                  <c:v>1.2746077709999999</c:v>
                </c:pt>
                <c:pt idx="2568">
                  <c:v>1.273018787</c:v>
                </c:pt>
                <c:pt idx="2569">
                  <c:v>1.2719757970000001</c:v>
                </c:pt>
                <c:pt idx="2570">
                  <c:v>1.27093674</c:v>
                </c:pt>
                <c:pt idx="2571">
                  <c:v>1.2693265520000001</c:v>
                </c:pt>
                <c:pt idx="2572">
                  <c:v>1.27093754</c:v>
                </c:pt>
                <c:pt idx="2573">
                  <c:v>1.272844651</c:v>
                </c:pt>
                <c:pt idx="2574">
                  <c:v>1.2766392740000001</c:v>
                </c:pt>
                <c:pt idx="2575">
                  <c:v>1.2742709510000001</c:v>
                </c:pt>
                <c:pt idx="2576">
                  <c:v>1.273144099</c:v>
                </c:pt>
                <c:pt idx="2577">
                  <c:v>1.274342562</c:v>
                </c:pt>
                <c:pt idx="2578">
                  <c:v>1.274400124</c:v>
                </c:pt>
                <c:pt idx="2579">
                  <c:v>1.273338987</c:v>
                </c:pt>
                <c:pt idx="2580">
                  <c:v>1.2695568479999999</c:v>
                </c:pt>
                <c:pt idx="2581">
                  <c:v>1.2654730329999999</c:v>
                </c:pt>
                <c:pt idx="2582">
                  <c:v>1.263002253</c:v>
                </c:pt>
                <c:pt idx="2583">
                  <c:v>1.2540388849999999</c:v>
                </c:pt>
                <c:pt idx="2584">
                  <c:v>1.2527822959999999</c:v>
                </c:pt>
                <c:pt idx="2585">
                  <c:v>1.2454658059999999</c:v>
                </c:pt>
                <c:pt idx="2586">
                  <c:v>1.2446915949999999</c:v>
                </c:pt>
                <c:pt idx="2587">
                  <c:v>1.243946029</c:v>
                </c:pt>
                <c:pt idx="2588">
                  <c:v>1.2426747330000001</c:v>
                </c:pt>
                <c:pt idx="2589">
                  <c:v>1.236853953</c:v>
                </c:pt>
                <c:pt idx="2590">
                  <c:v>1.2360706109999999</c:v>
                </c:pt>
                <c:pt idx="2591">
                  <c:v>1.2325483260000001</c:v>
                </c:pt>
                <c:pt idx="2592">
                  <c:v>1.2304593340000001</c:v>
                </c:pt>
                <c:pt idx="2593">
                  <c:v>1.2252553180000001</c:v>
                </c:pt>
                <c:pt idx="2594">
                  <c:v>1.223491873</c:v>
                </c:pt>
                <c:pt idx="2595">
                  <c:v>1.221319482</c:v>
                </c:pt>
                <c:pt idx="2596">
                  <c:v>1.219051586</c:v>
                </c:pt>
                <c:pt idx="2597">
                  <c:v>1.2100347490000001</c:v>
                </c:pt>
                <c:pt idx="2598">
                  <c:v>1.2080785439999999</c:v>
                </c:pt>
                <c:pt idx="2599">
                  <c:v>1.204708903</c:v>
                </c:pt>
                <c:pt idx="2600">
                  <c:v>1.2008219120000001</c:v>
                </c:pt>
                <c:pt idx="2601">
                  <c:v>1.1986333119999999</c:v>
                </c:pt>
                <c:pt idx="2602">
                  <c:v>1.1976248620000001</c:v>
                </c:pt>
                <c:pt idx="2603">
                  <c:v>1.194430763</c:v>
                </c:pt>
                <c:pt idx="2604">
                  <c:v>1.1911513090000001</c:v>
                </c:pt>
                <c:pt idx="2605">
                  <c:v>1.1889972069999999</c:v>
                </c:pt>
                <c:pt idx="2606">
                  <c:v>1.188184924</c:v>
                </c:pt>
                <c:pt idx="2607">
                  <c:v>1.183981806</c:v>
                </c:pt>
                <c:pt idx="2608">
                  <c:v>1.184055225</c:v>
                </c:pt>
                <c:pt idx="2609">
                  <c:v>1.1818105809999999</c:v>
                </c:pt>
                <c:pt idx="2610">
                  <c:v>1.180522788</c:v>
                </c:pt>
                <c:pt idx="2611">
                  <c:v>1.1793812770000001</c:v>
                </c:pt>
                <c:pt idx="2612">
                  <c:v>1.1767569410000001</c:v>
                </c:pt>
                <c:pt idx="2613">
                  <c:v>1.174154371</c:v>
                </c:pt>
                <c:pt idx="2614">
                  <c:v>1.1733720670000001</c:v>
                </c:pt>
                <c:pt idx="2615">
                  <c:v>1.172977996</c:v>
                </c:pt>
                <c:pt idx="2616">
                  <c:v>1.165427287</c:v>
                </c:pt>
                <c:pt idx="2617">
                  <c:v>1.1644217290000001</c:v>
                </c:pt>
                <c:pt idx="2618">
                  <c:v>1.163355779</c:v>
                </c:pt>
                <c:pt idx="2619">
                  <c:v>1.1628843259999999</c:v>
                </c:pt>
                <c:pt idx="2620">
                  <c:v>1.162238109</c:v>
                </c:pt>
                <c:pt idx="2621">
                  <c:v>1.141164737</c:v>
                </c:pt>
                <c:pt idx="2622">
                  <c:v>1.1433328709999999</c:v>
                </c:pt>
                <c:pt idx="2623">
                  <c:v>1.143073888</c:v>
                </c:pt>
                <c:pt idx="2624">
                  <c:v>1.1163307</c:v>
                </c:pt>
                <c:pt idx="2625">
                  <c:v>1.1156267440000001</c:v>
                </c:pt>
                <c:pt idx="2626">
                  <c:v>1.112983788</c:v>
                </c:pt>
                <c:pt idx="2627">
                  <c:v>1.1120381859999999</c:v>
                </c:pt>
                <c:pt idx="2628">
                  <c:v>1.1116114669999999</c:v>
                </c:pt>
                <c:pt idx="2629">
                  <c:v>1.104152671</c:v>
                </c:pt>
                <c:pt idx="2630">
                  <c:v>1.095783975</c:v>
                </c:pt>
                <c:pt idx="2631">
                  <c:v>1.077000486</c:v>
                </c:pt>
                <c:pt idx="2632">
                  <c:v>1.0715826049999999</c:v>
                </c:pt>
                <c:pt idx="2633">
                  <c:v>1.0723471760000001</c:v>
                </c:pt>
                <c:pt idx="2634">
                  <c:v>1.0723544679999999</c:v>
                </c:pt>
                <c:pt idx="2635">
                  <c:v>1.071919619</c:v>
                </c:pt>
                <c:pt idx="2636">
                  <c:v>1.059460214</c:v>
                </c:pt>
                <c:pt idx="2637">
                  <c:v>1.0592304539999999</c:v>
                </c:pt>
                <c:pt idx="2638">
                  <c:v>1.062061253</c:v>
                </c:pt>
                <c:pt idx="2639">
                  <c:v>1.063464763</c:v>
                </c:pt>
                <c:pt idx="2640">
                  <c:v>1.051631553</c:v>
                </c:pt>
                <c:pt idx="2641">
                  <c:v>1.0513609500000001</c:v>
                </c:pt>
                <c:pt idx="2642">
                  <c:v>1.0517365830000001</c:v>
                </c:pt>
                <c:pt idx="2643">
                  <c:v>1.0523696360000001</c:v>
                </c:pt>
                <c:pt idx="2644">
                  <c:v>1.0531514420000001</c:v>
                </c:pt>
                <c:pt idx="2645">
                  <c:v>1.0520281629999999</c:v>
                </c:pt>
                <c:pt idx="2646">
                  <c:v>1.0515077580000001</c:v>
                </c:pt>
                <c:pt idx="2647">
                  <c:v>1.0527121989999999</c:v>
                </c:pt>
                <c:pt idx="2648">
                  <c:v>1.0517090630000001</c:v>
                </c:pt>
                <c:pt idx="2649">
                  <c:v>1.049215542</c:v>
                </c:pt>
                <c:pt idx="2650">
                  <c:v>1.0504806390000001</c:v>
                </c:pt>
                <c:pt idx="2651">
                  <c:v>1.0505774269999999</c:v>
                </c:pt>
                <c:pt idx="2652">
                  <c:v>1.045154226</c:v>
                </c:pt>
                <c:pt idx="2653">
                  <c:v>1.045259489</c:v>
                </c:pt>
                <c:pt idx="2654">
                  <c:v>1.044743303</c:v>
                </c:pt>
                <c:pt idx="2655">
                  <c:v>1.037993148</c:v>
                </c:pt>
                <c:pt idx="2656">
                  <c:v>1.0375411219999999</c:v>
                </c:pt>
                <c:pt idx="2657">
                  <c:v>1.037005492</c:v>
                </c:pt>
                <c:pt idx="2658">
                  <c:v>1.034218842</c:v>
                </c:pt>
                <c:pt idx="2659">
                  <c:v>1.030767064</c:v>
                </c:pt>
                <c:pt idx="2660">
                  <c:v>1.028239374</c:v>
                </c:pt>
                <c:pt idx="2661">
                  <c:v>1.020551585</c:v>
                </c:pt>
                <c:pt idx="2662">
                  <c:v>1.0230251370000001</c:v>
                </c:pt>
                <c:pt idx="2663">
                  <c:v>1.020317798</c:v>
                </c:pt>
                <c:pt idx="2664">
                  <c:v>1.011407634</c:v>
                </c:pt>
                <c:pt idx="2665">
                  <c:v>1.008288691</c:v>
                </c:pt>
                <c:pt idx="2666">
                  <c:v>1.004367314</c:v>
                </c:pt>
                <c:pt idx="2667">
                  <c:v>1.001899294</c:v>
                </c:pt>
                <c:pt idx="2668">
                  <c:v>1.0016928919999999</c:v>
                </c:pt>
                <c:pt idx="2669">
                  <c:v>0.99917160599999999</c:v>
                </c:pt>
                <c:pt idx="2670">
                  <c:v>0.99448327299999995</c:v>
                </c:pt>
                <c:pt idx="2671">
                  <c:v>0.99380181000000001</c:v>
                </c:pt>
                <c:pt idx="2672">
                  <c:v>0.98940770099999997</c:v>
                </c:pt>
                <c:pt idx="2673">
                  <c:v>0.98641745700000005</c:v>
                </c:pt>
                <c:pt idx="2674">
                  <c:v>0.98405734499999997</c:v>
                </c:pt>
                <c:pt idx="2675">
                  <c:v>0.98060230299999995</c:v>
                </c:pt>
                <c:pt idx="2676">
                  <c:v>0.97822450500000002</c:v>
                </c:pt>
                <c:pt idx="2677">
                  <c:v>0.97492276200000005</c:v>
                </c:pt>
                <c:pt idx="2678">
                  <c:v>0.97263054999999998</c:v>
                </c:pt>
                <c:pt idx="2679">
                  <c:v>0.97190612200000004</c:v>
                </c:pt>
                <c:pt idx="2680">
                  <c:v>0.97135823300000002</c:v>
                </c:pt>
                <c:pt idx="2681">
                  <c:v>0.96731436900000001</c:v>
                </c:pt>
                <c:pt idx="2682">
                  <c:v>0.96672749400000002</c:v>
                </c:pt>
                <c:pt idx="2683">
                  <c:v>0.96005057900000002</c:v>
                </c:pt>
                <c:pt idx="2684">
                  <c:v>0.96029243099999995</c:v>
                </c:pt>
                <c:pt idx="2685">
                  <c:v>0.95953543600000002</c:v>
                </c:pt>
                <c:pt idx="2686">
                  <c:v>0.95869819599999995</c:v>
                </c:pt>
                <c:pt idx="2687">
                  <c:v>0.95772660899999995</c:v>
                </c:pt>
                <c:pt idx="2688">
                  <c:v>0.95951753299999998</c:v>
                </c:pt>
                <c:pt idx="2689">
                  <c:v>0.95638123600000002</c:v>
                </c:pt>
                <c:pt idx="2690">
                  <c:v>0.96306169200000002</c:v>
                </c:pt>
                <c:pt idx="2691">
                  <c:v>1.0421344829999999</c:v>
                </c:pt>
                <c:pt idx="2692">
                  <c:v>1.044377154</c:v>
                </c:pt>
                <c:pt idx="2693">
                  <c:v>1.039422861</c:v>
                </c:pt>
                <c:pt idx="2694">
                  <c:v>1.039703416</c:v>
                </c:pt>
                <c:pt idx="2695">
                  <c:v>1.0344634159999999</c:v>
                </c:pt>
                <c:pt idx="2696">
                  <c:v>1.0313755870000001</c:v>
                </c:pt>
                <c:pt idx="2697">
                  <c:v>1.0296314609999999</c:v>
                </c:pt>
                <c:pt idx="2698">
                  <c:v>1.028172163</c:v>
                </c:pt>
                <c:pt idx="2699">
                  <c:v>1.026651577</c:v>
                </c:pt>
                <c:pt idx="2700">
                  <c:v>1.0249872019999999</c:v>
                </c:pt>
                <c:pt idx="2701">
                  <c:v>1.0255411830000001</c:v>
                </c:pt>
                <c:pt idx="2702">
                  <c:v>1.022568186</c:v>
                </c:pt>
                <c:pt idx="2703">
                  <c:v>1.0180978389999999</c:v>
                </c:pt>
                <c:pt idx="2704">
                  <c:v>1.016823789</c:v>
                </c:pt>
                <c:pt idx="2705">
                  <c:v>1.0137953500000001</c:v>
                </c:pt>
                <c:pt idx="2706">
                  <c:v>1.008833962</c:v>
                </c:pt>
                <c:pt idx="2707">
                  <c:v>1.0067413080000001</c:v>
                </c:pt>
                <c:pt idx="2708">
                  <c:v>1.0014753709999999</c:v>
                </c:pt>
                <c:pt idx="2709">
                  <c:v>0.99142937799999997</c:v>
                </c:pt>
                <c:pt idx="2710">
                  <c:v>1.0048059119999999</c:v>
                </c:pt>
                <c:pt idx="2711">
                  <c:v>1.013672855</c:v>
                </c:pt>
                <c:pt idx="2712">
                  <c:v>1.01277792</c:v>
                </c:pt>
                <c:pt idx="2713">
                  <c:v>1.0083402699999999</c:v>
                </c:pt>
                <c:pt idx="2714">
                  <c:v>0.98114118699999997</c:v>
                </c:pt>
                <c:pt idx="2715">
                  <c:v>0.98810995800000001</c:v>
                </c:pt>
                <c:pt idx="2716">
                  <c:v>1.004387989</c:v>
                </c:pt>
                <c:pt idx="2717">
                  <c:v>1.0089654130000001</c:v>
                </c:pt>
                <c:pt idx="2718">
                  <c:v>1.0078883190000001</c:v>
                </c:pt>
                <c:pt idx="2719">
                  <c:v>1.016033813</c:v>
                </c:pt>
                <c:pt idx="2720">
                  <c:v>1.019527348</c:v>
                </c:pt>
                <c:pt idx="2721">
                  <c:v>1.0438264209999999</c:v>
                </c:pt>
                <c:pt idx="2722">
                  <c:v>1.0473417519999999</c:v>
                </c:pt>
                <c:pt idx="2723">
                  <c:v>1.0384012140000001</c:v>
                </c:pt>
                <c:pt idx="2724">
                  <c:v>1.037503777</c:v>
                </c:pt>
                <c:pt idx="2725">
                  <c:v>1.044397153</c:v>
                </c:pt>
                <c:pt idx="2726">
                  <c:v>1.059439926</c:v>
                </c:pt>
                <c:pt idx="2727">
                  <c:v>1.0682792670000001</c:v>
                </c:pt>
                <c:pt idx="2728">
                  <c:v>1.0749957349999999</c:v>
                </c:pt>
                <c:pt idx="2729">
                  <c:v>1.0702973950000001</c:v>
                </c:pt>
                <c:pt idx="2730">
                  <c:v>1.0720202240000001</c:v>
                </c:pt>
                <c:pt idx="2731">
                  <c:v>1.0746696490000001</c:v>
                </c:pt>
                <c:pt idx="2732">
                  <c:v>1.0774033409999999</c:v>
                </c:pt>
                <c:pt idx="2733">
                  <c:v>1.0790930830000001</c:v>
                </c:pt>
                <c:pt idx="2734">
                  <c:v>1.0783977069999999</c:v>
                </c:pt>
                <c:pt idx="2735">
                  <c:v>1.0797792390000001</c:v>
                </c:pt>
                <c:pt idx="2736">
                  <c:v>1.0839162250000001</c:v>
                </c:pt>
                <c:pt idx="2737">
                  <c:v>1.0847334200000001</c:v>
                </c:pt>
                <c:pt idx="2738">
                  <c:v>1.0727696499999999</c:v>
                </c:pt>
                <c:pt idx="2739">
                  <c:v>1.0710543239999999</c:v>
                </c:pt>
                <c:pt idx="2740">
                  <c:v>1.075894895</c:v>
                </c:pt>
                <c:pt idx="2741">
                  <c:v>1.0819804150000001</c:v>
                </c:pt>
                <c:pt idx="2742">
                  <c:v>1.086236309</c:v>
                </c:pt>
                <c:pt idx="2743">
                  <c:v>1.092064739</c:v>
                </c:pt>
                <c:pt idx="2744">
                  <c:v>1.0944284310000001</c:v>
                </c:pt>
                <c:pt idx="2745">
                  <c:v>1.0974376800000001</c:v>
                </c:pt>
                <c:pt idx="2746">
                  <c:v>1.0958345060000001</c:v>
                </c:pt>
                <c:pt idx="2747">
                  <c:v>1.0981938469999999</c:v>
                </c:pt>
                <c:pt idx="2748">
                  <c:v>1.101225575</c:v>
                </c:pt>
                <c:pt idx="2749">
                  <c:v>1.0969185400000001</c:v>
                </c:pt>
                <c:pt idx="2750">
                  <c:v>1.1005917789999999</c:v>
                </c:pt>
                <c:pt idx="2751">
                  <c:v>1.1016967419999999</c:v>
                </c:pt>
                <c:pt idx="2752">
                  <c:v>1.1015055199999999</c:v>
                </c:pt>
                <c:pt idx="2753">
                  <c:v>1.09815196</c:v>
                </c:pt>
                <c:pt idx="2754">
                  <c:v>1.0987480949999999</c:v>
                </c:pt>
                <c:pt idx="2755">
                  <c:v>1.1000682159999999</c:v>
                </c:pt>
                <c:pt idx="2756">
                  <c:v>1.0967008540000001</c:v>
                </c:pt>
                <c:pt idx="2757">
                  <c:v>1.0952691489999999</c:v>
                </c:pt>
                <c:pt idx="2758">
                  <c:v>1.097197542</c:v>
                </c:pt>
                <c:pt idx="2759">
                  <c:v>1.0981550739999999</c:v>
                </c:pt>
                <c:pt idx="2760">
                  <c:v>1.057710232</c:v>
                </c:pt>
                <c:pt idx="2761">
                  <c:v>1.0581394340000001</c:v>
                </c:pt>
                <c:pt idx="2762">
                  <c:v>1.0555190969999999</c:v>
                </c:pt>
                <c:pt idx="2763">
                  <c:v>1.0520638040000001</c:v>
                </c:pt>
                <c:pt idx="2764">
                  <c:v>1.0376238330000001</c:v>
                </c:pt>
                <c:pt idx="2765">
                  <c:v>1.034524443</c:v>
                </c:pt>
                <c:pt idx="2766">
                  <c:v>1.041126357</c:v>
                </c:pt>
                <c:pt idx="2767">
                  <c:v>1.0357614319999999</c:v>
                </c:pt>
                <c:pt idx="2768">
                  <c:v>1.038212109</c:v>
                </c:pt>
                <c:pt idx="2769">
                  <c:v>1.0313568900000001</c:v>
                </c:pt>
                <c:pt idx="2770">
                  <c:v>1.0311199719999999</c:v>
                </c:pt>
                <c:pt idx="2771">
                  <c:v>1.0297965570000001</c:v>
                </c:pt>
                <c:pt idx="2772">
                  <c:v>1.0378164889999999</c:v>
                </c:pt>
                <c:pt idx="2773">
                  <c:v>1.0321326340000001</c:v>
                </c:pt>
                <c:pt idx="2774">
                  <c:v>1.0304208850000001</c:v>
                </c:pt>
                <c:pt idx="2775">
                  <c:v>1.0290508739999999</c:v>
                </c:pt>
                <c:pt idx="2776">
                  <c:v>1.029082482</c:v>
                </c:pt>
                <c:pt idx="2777">
                  <c:v>1.0280557100000001</c:v>
                </c:pt>
                <c:pt idx="2778">
                  <c:v>1.02749402</c:v>
                </c:pt>
                <c:pt idx="2779">
                  <c:v>1.026704488</c:v>
                </c:pt>
                <c:pt idx="2780">
                  <c:v>1.0277066960000001</c:v>
                </c:pt>
                <c:pt idx="2781">
                  <c:v>1.025055496</c:v>
                </c:pt>
                <c:pt idx="2782">
                  <c:v>1.025839062</c:v>
                </c:pt>
                <c:pt idx="2783">
                  <c:v>1.02653423</c:v>
                </c:pt>
                <c:pt idx="2784">
                  <c:v>1.0240938230000001</c:v>
                </c:pt>
                <c:pt idx="2785">
                  <c:v>1.0136266359999999</c:v>
                </c:pt>
                <c:pt idx="2786">
                  <c:v>1.0140169139999999</c:v>
                </c:pt>
                <c:pt idx="2787">
                  <c:v>1.0118887640000001</c:v>
                </c:pt>
                <c:pt idx="2788">
                  <c:v>1.0102089430000001</c:v>
                </c:pt>
                <c:pt idx="2789">
                  <c:v>1.0087691919999999</c:v>
                </c:pt>
                <c:pt idx="2790">
                  <c:v>1.007444995</c:v>
                </c:pt>
                <c:pt idx="2791">
                  <c:v>1.007648412</c:v>
                </c:pt>
                <c:pt idx="2792">
                  <c:v>1.0014138349999999</c:v>
                </c:pt>
                <c:pt idx="2793">
                  <c:v>1.003992373</c:v>
                </c:pt>
                <c:pt idx="2794">
                  <c:v>1.002953287</c:v>
                </c:pt>
                <c:pt idx="2795">
                  <c:v>1.031337964</c:v>
                </c:pt>
                <c:pt idx="2796">
                  <c:v>1.0216647160000001</c:v>
                </c:pt>
                <c:pt idx="2797">
                  <c:v>1.0163163049999999</c:v>
                </c:pt>
                <c:pt idx="2798">
                  <c:v>1.0106015310000001</c:v>
                </c:pt>
                <c:pt idx="2799">
                  <c:v>1.0016755340000001</c:v>
                </c:pt>
                <c:pt idx="2800">
                  <c:v>1.001402712</c:v>
                </c:pt>
                <c:pt idx="2801">
                  <c:v>0.995852921</c:v>
                </c:pt>
                <c:pt idx="2802">
                  <c:v>0.99285341900000001</c:v>
                </c:pt>
                <c:pt idx="2803">
                  <c:v>1.0161436960000001</c:v>
                </c:pt>
                <c:pt idx="2804">
                  <c:v>1.0070284</c:v>
                </c:pt>
                <c:pt idx="2805">
                  <c:v>1.0116293139999999</c:v>
                </c:pt>
                <c:pt idx="2806">
                  <c:v>1.0081847989999999</c:v>
                </c:pt>
                <c:pt idx="2807">
                  <c:v>1.0044799740000001</c:v>
                </c:pt>
                <c:pt idx="2808">
                  <c:v>0.99994541299999995</c:v>
                </c:pt>
                <c:pt idx="2809">
                  <c:v>1.019303901</c:v>
                </c:pt>
                <c:pt idx="2810">
                  <c:v>1.016885037</c:v>
                </c:pt>
                <c:pt idx="2811">
                  <c:v>1.016153326</c:v>
                </c:pt>
                <c:pt idx="2812">
                  <c:v>1.0183877100000001</c:v>
                </c:pt>
                <c:pt idx="2813">
                  <c:v>1.0158497040000001</c:v>
                </c:pt>
                <c:pt idx="2814">
                  <c:v>1.0138894220000001</c:v>
                </c:pt>
                <c:pt idx="2815">
                  <c:v>1.012826851</c:v>
                </c:pt>
                <c:pt idx="2816">
                  <c:v>1.008630044</c:v>
                </c:pt>
                <c:pt idx="2817">
                  <c:v>1.00584088</c:v>
                </c:pt>
                <c:pt idx="2818">
                  <c:v>1.002486158</c:v>
                </c:pt>
                <c:pt idx="2819">
                  <c:v>1.000939354</c:v>
                </c:pt>
                <c:pt idx="2820">
                  <c:v>0.99826078799999995</c:v>
                </c:pt>
                <c:pt idx="2821">
                  <c:v>0.99531430099999996</c:v>
                </c:pt>
                <c:pt idx="2822">
                  <c:v>0.99226422700000005</c:v>
                </c:pt>
                <c:pt idx="2823">
                  <c:v>0.98925684800000002</c:v>
                </c:pt>
                <c:pt idx="2824">
                  <c:v>0.986318578</c:v>
                </c:pt>
                <c:pt idx="2825">
                  <c:v>0.98708611199999996</c:v>
                </c:pt>
                <c:pt idx="2826">
                  <c:v>0.98470587399999998</c:v>
                </c:pt>
                <c:pt idx="2827">
                  <c:v>0.98377975699999998</c:v>
                </c:pt>
                <c:pt idx="2828">
                  <c:v>0.98331831199999997</c:v>
                </c:pt>
                <c:pt idx="2829">
                  <c:v>0.97984300499999999</c:v>
                </c:pt>
                <c:pt idx="2830">
                  <c:v>0.97754885199999997</c:v>
                </c:pt>
                <c:pt idx="2831">
                  <c:v>0.97654184300000002</c:v>
                </c:pt>
                <c:pt idx="2832">
                  <c:v>0.97702232</c:v>
                </c:pt>
                <c:pt idx="2833">
                  <c:v>0.976808334</c:v>
                </c:pt>
                <c:pt idx="2834">
                  <c:v>0.97792995199999999</c:v>
                </c:pt>
                <c:pt idx="2835">
                  <c:v>0.97636799399999996</c:v>
                </c:pt>
                <c:pt idx="2836">
                  <c:v>0.97558826399999998</c:v>
                </c:pt>
                <c:pt idx="2837">
                  <c:v>0.97418506900000001</c:v>
                </c:pt>
                <c:pt idx="2838">
                  <c:v>0.97317650499999997</c:v>
                </c:pt>
                <c:pt idx="2839">
                  <c:v>0.97173916000000005</c:v>
                </c:pt>
                <c:pt idx="2840">
                  <c:v>0.97517053499999995</c:v>
                </c:pt>
                <c:pt idx="2841">
                  <c:v>0.97437249000000004</c:v>
                </c:pt>
                <c:pt idx="2842">
                  <c:v>0.97916532899999997</c:v>
                </c:pt>
                <c:pt idx="2843">
                  <c:v>0.97897879399999999</c:v>
                </c:pt>
                <c:pt idx="2844">
                  <c:v>0.97912271799999995</c:v>
                </c:pt>
                <c:pt idx="2845">
                  <c:v>0.97986780399999995</c:v>
                </c:pt>
                <c:pt idx="2846">
                  <c:v>0.98116361100000005</c:v>
                </c:pt>
                <c:pt idx="2847">
                  <c:v>0.98366159399999997</c:v>
                </c:pt>
                <c:pt idx="2848">
                  <c:v>0.98477176899999996</c:v>
                </c:pt>
                <c:pt idx="2849">
                  <c:v>0.989602906</c:v>
                </c:pt>
                <c:pt idx="2850">
                  <c:v>0.99130469899999996</c:v>
                </c:pt>
                <c:pt idx="2851">
                  <c:v>0.99339687399999999</c:v>
                </c:pt>
                <c:pt idx="2852">
                  <c:v>0.99326536099999996</c:v>
                </c:pt>
                <c:pt idx="2853">
                  <c:v>0.99759960299999995</c:v>
                </c:pt>
                <c:pt idx="2854">
                  <c:v>0.99549953300000005</c:v>
                </c:pt>
                <c:pt idx="2855">
                  <c:v>0.99569344500000001</c:v>
                </c:pt>
                <c:pt idx="2856">
                  <c:v>0.99590322499999995</c:v>
                </c:pt>
                <c:pt idx="2857">
                  <c:v>0.99666861799999995</c:v>
                </c:pt>
                <c:pt idx="2858">
                  <c:v>0.99895168899999998</c:v>
                </c:pt>
                <c:pt idx="2859">
                  <c:v>1.006239466</c:v>
                </c:pt>
                <c:pt idx="2860">
                  <c:v>1.005201239</c:v>
                </c:pt>
                <c:pt idx="2861">
                  <c:v>1.005194291</c:v>
                </c:pt>
                <c:pt idx="2862">
                  <c:v>1.004438975</c:v>
                </c:pt>
                <c:pt idx="2863">
                  <c:v>1.002024963</c:v>
                </c:pt>
                <c:pt idx="2864">
                  <c:v>1.0012057080000001</c:v>
                </c:pt>
                <c:pt idx="2865">
                  <c:v>1.0012580230000001</c:v>
                </c:pt>
                <c:pt idx="2866">
                  <c:v>1.0002993010000001</c:v>
                </c:pt>
                <c:pt idx="2867">
                  <c:v>0.99976750800000003</c:v>
                </c:pt>
                <c:pt idx="2868">
                  <c:v>1.001291207</c:v>
                </c:pt>
                <c:pt idx="2869">
                  <c:v>1.0010118299999999</c:v>
                </c:pt>
                <c:pt idx="2870">
                  <c:v>1.000758096</c:v>
                </c:pt>
                <c:pt idx="2871">
                  <c:v>1.000259928</c:v>
                </c:pt>
                <c:pt idx="2872">
                  <c:v>0.99754111199999995</c:v>
                </c:pt>
                <c:pt idx="2873">
                  <c:v>0.99900181499999996</c:v>
                </c:pt>
                <c:pt idx="2874">
                  <c:v>0.99716201800000004</c:v>
                </c:pt>
                <c:pt idx="2875">
                  <c:v>0.99629732299999996</c:v>
                </c:pt>
                <c:pt idx="2876">
                  <c:v>0.99571191599999997</c:v>
                </c:pt>
                <c:pt idx="2877">
                  <c:v>0.99584982600000005</c:v>
                </c:pt>
                <c:pt idx="2878">
                  <c:v>0.99404026300000004</c:v>
                </c:pt>
                <c:pt idx="2879">
                  <c:v>0.99442390199999997</c:v>
                </c:pt>
                <c:pt idx="2880">
                  <c:v>0.992066648</c:v>
                </c:pt>
                <c:pt idx="2881">
                  <c:v>0.99139054800000004</c:v>
                </c:pt>
                <c:pt idx="2882">
                  <c:v>0.98843308299999999</c:v>
                </c:pt>
                <c:pt idx="2883">
                  <c:v>0.98876074899999999</c:v>
                </c:pt>
                <c:pt idx="2884">
                  <c:v>0.98865735300000002</c:v>
                </c:pt>
                <c:pt idx="2885">
                  <c:v>0.98733580700000001</c:v>
                </c:pt>
                <c:pt idx="2886">
                  <c:v>0.985516846</c:v>
                </c:pt>
                <c:pt idx="2887">
                  <c:v>0.98492984100000003</c:v>
                </c:pt>
                <c:pt idx="2888">
                  <c:v>0.98091563500000001</c:v>
                </c:pt>
                <c:pt idx="2889">
                  <c:v>0.97922443699999995</c:v>
                </c:pt>
                <c:pt idx="2890">
                  <c:v>0.97784307999999998</c:v>
                </c:pt>
                <c:pt idx="2891">
                  <c:v>0.97783701000000001</c:v>
                </c:pt>
                <c:pt idx="2892">
                  <c:v>0.97606127200000004</c:v>
                </c:pt>
                <c:pt idx="2893">
                  <c:v>0.97487681299999995</c:v>
                </c:pt>
                <c:pt idx="2894">
                  <c:v>0.96987452799999996</c:v>
                </c:pt>
                <c:pt idx="2895">
                  <c:v>0.96980154100000004</c:v>
                </c:pt>
                <c:pt idx="2896">
                  <c:v>0.96658486300000002</c:v>
                </c:pt>
                <c:pt idx="2897">
                  <c:v>0.96375766200000001</c:v>
                </c:pt>
                <c:pt idx="2898">
                  <c:v>0.96271321300000001</c:v>
                </c:pt>
                <c:pt idx="2899">
                  <c:v>0.96344706400000002</c:v>
                </c:pt>
                <c:pt idx="2900">
                  <c:v>0.96252215799999996</c:v>
                </c:pt>
                <c:pt idx="2901">
                  <c:v>0.96286771100000001</c:v>
                </c:pt>
                <c:pt idx="2902">
                  <c:v>0.96106035300000003</c:v>
                </c:pt>
                <c:pt idx="2903">
                  <c:v>0.96064798399999995</c:v>
                </c:pt>
                <c:pt idx="2904">
                  <c:v>0.96015825899999996</c:v>
                </c:pt>
                <c:pt idx="2905">
                  <c:v>0.95937713599999996</c:v>
                </c:pt>
                <c:pt idx="2906">
                  <c:v>0.95867113599999998</c:v>
                </c:pt>
                <c:pt idx="2907">
                  <c:v>0.95857451100000002</c:v>
                </c:pt>
                <c:pt idx="2908">
                  <c:v>0.95809609699999998</c:v>
                </c:pt>
                <c:pt idx="2909">
                  <c:v>0.95799888</c:v>
                </c:pt>
                <c:pt idx="2910">
                  <c:v>0.95960300899999995</c:v>
                </c:pt>
                <c:pt idx="2911">
                  <c:v>0.958692553</c:v>
                </c:pt>
                <c:pt idx="2912">
                  <c:v>0.95644888500000003</c:v>
                </c:pt>
                <c:pt idx="2913">
                  <c:v>0.95780151300000005</c:v>
                </c:pt>
                <c:pt idx="2914">
                  <c:v>0.95843208700000004</c:v>
                </c:pt>
                <c:pt idx="2915">
                  <c:v>0.95903521800000002</c:v>
                </c:pt>
                <c:pt idx="2916">
                  <c:v>0.96007015699999998</c:v>
                </c:pt>
                <c:pt idx="2917">
                  <c:v>0.96200890299999997</c:v>
                </c:pt>
                <c:pt idx="2918">
                  <c:v>0.95925844000000005</c:v>
                </c:pt>
                <c:pt idx="2919">
                  <c:v>0.95896072899999996</c:v>
                </c:pt>
                <c:pt idx="2920">
                  <c:v>0.95738535599999997</c:v>
                </c:pt>
                <c:pt idx="2921">
                  <c:v>0.95678291299999996</c:v>
                </c:pt>
                <c:pt idx="2922">
                  <c:v>0.95579847699999998</c:v>
                </c:pt>
                <c:pt idx="2923">
                  <c:v>0.95364120200000002</c:v>
                </c:pt>
                <c:pt idx="2924">
                  <c:v>0.95787230899999998</c:v>
                </c:pt>
                <c:pt idx="2925">
                  <c:v>0.95485890200000001</c:v>
                </c:pt>
                <c:pt idx="2926">
                  <c:v>0.956316948</c:v>
                </c:pt>
                <c:pt idx="2927">
                  <c:v>0.95463854599999998</c:v>
                </c:pt>
                <c:pt idx="2928">
                  <c:v>0.95337367100000003</c:v>
                </c:pt>
                <c:pt idx="2929">
                  <c:v>0.95320773599999997</c:v>
                </c:pt>
                <c:pt idx="2930">
                  <c:v>0.95149035599999998</c:v>
                </c:pt>
                <c:pt idx="2931">
                  <c:v>0.95134856099999998</c:v>
                </c:pt>
                <c:pt idx="2932">
                  <c:v>0.94897161600000002</c:v>
                </c:pt>
                <c:pt idx="2933">
                  <c:v>0.94793079000000002</c:v>
                </c:pt>
                <c:pt idx="2934">
                  <c:v>0.95015969300000003</c:v>
                </c:pt>
                <c:pt idx="2935">
                  <c:v>0.94907661600000004</c:v>
                </c:pt>
                <c:pt idx="2936">
                  <c:v>0.95510362100000001</c:v>
                </c:pt>
                <c:pt idx="2937">
                  <c:v>0.95394173999999998</c:v>
                </c:pt>
                <c:pt idx="2938">
                  <c:v>0.95166326300000004</c:v>
                </c:pt>
                <c:pt idx="2939">
                  <c:v>0.95287523699999999</c:v>
                </c:pt>
                <c:pt idx="2940">
                  <c:v>0.94325125200000004</c:v>
                </c:pt>
                <c:pt idx="2941">
                  <c:v>0.87865879300000005</c:v>
                </c:pt>
                <c:pt idx="2942">
                  <c:v>0.87376752599999996</c:v>
                </c:pt>
                <c:pt idx="2943">
                  <c:v>0.87515014700000004</c:v>
                </c:pt>
                <c:pt idx="2944">
                  <c:v>0.87697862299999996</c:v>
                </c:pt>
                <c:pt idx="2945">
                  <c:v>0.88073476399999995</c:v>
                </c:pt>
                <c:pt idx="2946">
                  <c:v>0.88028656999999999</c:v>
                </c:pt>
                <c:pt idx="2947">
                  <c:v>0.87854579300000002</c:v>
                </c:pt>
                <c:pt idx="2948">
                  <c:v>0.88581487000000003</c:v>
                </c:pt>
                <c:pt idx="2949">
                  <c:v>0.88390747000000003</c:v>
                </c:pt>
                <c:pt idx="2950">
                  <c:v>0.88904284499999997</c:v>
                </c:pt>
                <c:pt idx="2951">
                  <c:v>0.88438064699999996</c:v>
                </c:pt>
                <c:pt idx="2952">
                  <c:v>0.88959508300000001</c:v>
                </c:pt>
                <c:pt idx="2953">
                  <c:v>0.89144654999999995</c:v>
                </c:pt>
                <c:pt idx="2954">
                  <c:v>0.88941358999999998</c:v>
                </c:pt>
                <c:pt idx="2955">
                  <c:v>0.89310594499999996</c:v>
                </c:pt>
                <c:pt idx="2956">
                  <c:v>0.90314734699999999</c:v>
                </c:pt>
                <c:pt idx="2957">
                  <c:v>0.90424169499999996</c:v>
                </c:pt>
                <c:pt idx="2958">
                  <c:v>0.91543663399999997</c:v>
                </c:pt>
                <c:pt idx="2959">
                  <c:v>0.919149722</c:v>
                </c:pt>
                <c:pt idx="2960">
                  <c:v>0.90856076399999997</c:v>
                </c:pt>
                <c:pt idx="2961">
                  <c:v>0.905413311</c:v>
                </c:pt>
                <c:pt idx="2962">
                  <c:v>0.90584415399999996</c:v>
                </c:pt>
                <c:pt idx="2963">
                  <c:v>0.91006446500000004</c:v>
                </c:pt>
                <c:pt idx="2964">
                  <c:v>0.908269416</c:v>
                </c:pt>
                <c:pt idx="2965">
                  <c:v>0.90646096300000001</c:v>
                </c:pt>
                <c:pt idx="2966">
                  <c:v>0.89673692900000002</c:v>
                </c:pt>
                <c:pt idx="2967">
                  <c:v>0.900935492</c:v>
                </c:pt>
                <c:pt idx="2968">
                  <c:v>0.89968631200000004</c:v>
                </c:pt>
                <c:pt idx="2969">
                  <c:v>0.89688454100000004</c:v>
                </c:pt>
                <c:pt idx="2970">
                  <c:v>0.89833520499999997</c:v>
                </c:pt>
                <c:pt idx="2971">
                  <c:v>0.880317197</c:v>
                </c:pt>
                <c:pt idx="2972">
                  <c:v>0.88496356399999998</c:v>
                </c:pt>
                <c:pt idx="2973">
                  <c:v>0.88101711400000005</c:v>
                </c:pt>
                <c:pt idx="2974">
                  <c:v>0.88080682700000001</c:v>
                </c:pt>
                <c:pt idx="2975">
                  <c:v>0.87946635100000004</c:v>
                </c:pt>
                <c:pt idx="2976">
                  <c:v>0.86877025100000005</c:v>
                </c:pt>
                <c:pt idx="2977">
                  <c:v>0.86383720600000002</c:v>
                </c:pt>
                <c:pt idx="2978">
                  <c:v>0.85902058100000001</c:v>
                </c:pt>
                <c:pt idx="2979">
                  <c:v>0.85871460300000002</c:v>
                </c:pt>
                <c:pt idx="2980">
                  <c:v>0.85857741399999998</c:v>
                </c:pt>
                <c:pt idx="2981">
                  <c:v>0.86025384999999999</c:v>
                </c:pt>
                <c:pt idx="2982">
                  <c:v>0.86306423899999996</c:v>
                </c:pt>
                <c:pt idx="2983">
                  <c:v>0.86293153300000003</c:v>
                </c:pt>
                <c:pt idx="2984">
                  <c:v>0.861279503</c:v>
                </c:pt>
                <c:pt idx="2985">
                  <c:v>0.86135144200000002</c:v>
                </c:pt>
                <c:pt idx="2986">
                  <c:v>0.85772333099999998</c:v>
                </c:pt>
                <c:pt idx="2987">
                  <c:v>0.86198667799999995</c:v>
                </c:pt>
                <c:pt idx="2988">
                  <c:v>0.86138915400000005</c:v>
                </c:pt>
                <c:pt idx="2989">
                  <c:v>0.860593583</c:v>
                </c:pt>
                <c:pt idx="2990">
                  <c:v>0.85973090500000005</c:v>
                </c:pt>
                <c:pt idx="2991">
                  <c:v>0.85712077799999997</c:v>
                </c:pt>
                <c:pt idx="2992">
                  <c:v>0.85721180900000005</c:v>
                </c:pt>
                <c:pt idx="2993">
                  <c:v>0.85677714999999999</c:v>
                </c:pt>
                <c:pt idx="2994">
                  <c:v>0.85674149200000005</c:v>
                </c:pt>
                <c:pt idx="2995">
                  <c:v>0.85663456699999996</c:v>
                </c:pt>
                <c:pt idx="2996">
                  <c:v>0.85471642800000003</c:v>
                </c:pt>
                <c:pt idx="2997">
                  <c:v>0.85458542400000004</c:v>
                </c:pt>
                <c:pt idx="2998">
                  <c:v>0.85490548899999996</c:v>
                </c:pt>
                <c:pt idx="2999">
                  <c:v>0.85246628700000004</c:v>
                </c:pt>
                <c:pt idx="3000">
                  <c:v>0.85129180599999998</c:v>
                </c:pt>
                <c:pt idx="3001">
                  <c:v>0.85110942999999994</c:v>
                </c:pt>
                <c:pt idx="3002">
                  <c:v>0.85166284699999995</c:v>
                </c:pt>
                <c:pt idx="3003">
                  <c:v>0.85518338800000004</c:v>
                </c:pt>
                <c:pt idx="3004">
                  <c:v>0.85670475599999996</c:v>
                </c:pt>
                <c:pt idx="3005">
                  <c:v>0.85653906499999999</c:v>
                </c:pt>
                <c:pt idx="3006">
                  <c:v>0.85613371299999996</c:v>
                </c:pt>
                <c:pt idx="3007">
                  <c:v>0.85594376800000005</c:v>
                </c:pt>
                <c:pt idx="3008">
                  <c:v>0.85674938300000003</c:v>
                </c:pt>
                <c:pt idx="3009">
                  <c:v>0.85615939399999996</c:v>
                </c:pt>
                <c:pt idx="3010">
                  <c:v>0.86180376199999997</c:v>
                </c:pt>
                <c:pt idx="3011">
                  <c:v>0.86029821200000001</c:v>
                </c:pt>
                <c:pt idx="3012">
                  <c:v>0.85987179599999997</c:v>
                </c:pt>
                <c:pt idx="3013">
                  <c:v>0.85838262200000004</c:v>
                </c:pt>
                <c:pt idx="3014">
                  <c:v>0.85734545600000001</c:v>
                </c:pt>
                <c:pt idx="3015">
                  <c:v>0.856134061</c:v>
                </c:pt>
                <c:pt idx="3016">
                  <c:v>0.851035333</c:v>
                </c:pt>
                <c:pt idx="3017">
                  <c:v>0.85052277399999998</c:v>
                </c:pt>
                <c:pt idx="3018">
                  <c:v>0.848668019</c:v>
                </c:pt>
                <c:pt idx="3019">
                  <c:v>0.84743996799999999</c:v>
                </c:pt>
                <c:pt idx="3020">
                  <c:v>0.84789566199999999</c:v>
                </c:pt>
                <c:pt idx="3021">
                  <c:v>0.84752766899999998</c:v>
                </c:pt>
                <c:pt idx="3022">
                  <c:v>0.84167697699999999</c:v>
                </c:pt>
                <c:pt idx="3023">
                  <c:v>0.84225070499999999</c:v>
                </c:pt>
                <c:pt idx="3024">
                  <c:v>0.84303922899999995</c:v>
                </c:pt>
                <c:pt idx="3025">
                  <c:v>0.845205443</c:v>
                </c:pt>
                <c:pt idx="3026">
                  <c:v>0.84471214800000005</c:v>
                </c:pt>
                <c:pt idx="3027">
                  <c:v>0.84447086299999996</c:v>
                </c:pt>
                <c:pt idx="3028">
                  <c:v>0.84408988500000004</c:v>
                </c:pt>
                <c:pt idx="3029">
                  <c:v>0.84419734099999999</c:v>
                </c:pt>
                <c:pt idx="3030">
                  <c:v>0.84306038500000002</c:v>
                </c:pt>
                <c:pt idx="3031">
                  <c:v>0.84272450700000001</c:v>
                </c:pt>
                <c:pt idx="3032">
                  <c:v>0.84255719500000004</c:v>
                </c:pt>
                <c:pt idx="3033">
                  <c:v>0.84013482100000003</c:v>
                </c:pt>
                <c:pt idx="3034">
                  <c:v>0.84112688099999999</c:v>
                </c:pt>
                <c:pt idx="3035">
                  <c:v>0.84169530599999998</c:v>
                </c:pt>
                <c:pt idx="3036">
                  <c:v>0.84071550299999998</c:v>
                </c:pt>
                <c:pt idx="3037">
                  <c:v>0.849764407</c:v>
                </c:pt>
                <c:pt idx="3038">
                  <c:v>0.84952378100000003</c:v>
                </c:pt>
                <c:pt idx="3039">
                  <c:v>0.84888624300000004</c:v>
                </c:pt>
                <c:pt idx="3040">
                  <c:v>0.84879485099999996</c:v>
                </c:pt>
                <c:pt idx="3041">
                  <c:v>0.84735786400000002</c:v>
                </c:pt>
                <c:pt idx="3042">
                  <c:v>0.84400993599999996</c:v>
                </c:pt>
                <c:pt idx="3043">
                  <c:v>0.84233732500000003</c:v>
                </c:pt>
                <c:pt idx="3044">
                  <c:v>0.84129841100000002</c:v>
                </c:pt>
                <c:pt idx="3045">
                  <c:v>0.81716814900000001</c:v>
                </c:pt>
                <c:pt idx="3046">
                  <c:v>0.82286655799999997</c:v>
                </c:pt>
                <c:pt idx="3047">
                  <c:v>0.82499777600000002</c:v>
                </c:pt>
                <c:pt idx="3048">
                  <c:v>0.82694942900000001</c:v>
                </c:pt>
                <c:pt idx="3049">
                  <c:v>0.82711716000000002</c:v>
                </c:pt>
                <c:pt idx="3050">
                  <c:v>0.82622054599999994</c:v>
                </c:pt>
                <c:pt idx="3051">
                  <c:v>0.82743212700000002</c:v>
                </c:pt>
                <c:pt idx="3052">
                  <c:v>0.82833442800000001</c:v>
                </c:pt>
                <c:pt idx="3053">
                  <c:v>0.8150792</c:v>
                </c:pt>
                <c:pt idx="3054">
                  <c:v>0.82786025600000002</c:v>
                </c:pt>
                <c:pt idx="3055">
                  <c:v>0.81983489799999998</c:v>
                </c:pt>
                <c:pt idx="3056">
                  <c:v>0.82385073499999995</c:v>
                </c:pt>
                <c:pt idx="3057">
                  <c:v>0.82494037899999995</c:v>
                </c:pt>
                <c:pt idx="3058">
                  <c:v>0.83159942799999997</c:v>
                </c:pt>
                <c:pt idx="3059">
                  <c:v>0.81070409300000001</c:v>
                </c:pt>
                <c:pt idx="3060">
                  <c:v>0.81109832000000004</c:v>
                </c:pt>
                <c:pt idx="3061">
                  <c:v>0.81060757500000002</c:v>
                </c:pt>
                <c:pt idx="3062">
                  <c:v>0.80553698500000004</c:v>
                </c:pt>
                <c:pt idx="3063">
                  <c:v>0.80662479499999995</c:v>
                </c:pt>
                <c:pt idx="3064">
                  <c:v>0.80768601500000003</c:v>
                </c:pt>
                <c:pt idx="3065">
                  <c:v>0.80596925200000002</c:v>
                </c:pt>
                <c:pt idx="3066">
                  <c:v>0.80823028100000005</c:v>
                </c:pt>
                <c:pt idx="3067">
                  <c:v>0.80940766099999994</c:v>
                </c:pt>
                <c:pt idx="3068">
                  <c:v>0.81054458299999999</c:v>
                </c:pt>
                <c:pt idx="3069">
                  <c:v>0.81460821699999997</c:v>
                </c:pt>
                <c:pt idx="3070">
                  <c:v>0.816259128</c:v>
                </c:pt>
                <c:pt idx="3071">
                  <c:v>0.81601870899999995</c:v>
                </c:pt>
                <c:pt idx="3072">
                  <c:v>0.81935223499999998</c:v>
                </c:pt>
                <c:pt idx="3073">
                  <c:v>0.82102874699999995</c:v>
                </c:pt>
                <c:pt idx="3074">
                  <c:v>0.81887277700000005</c:v>
                </c:pt>
                <c:pt idx="3075">
                  <c:v>0.81423496100000003</c:v>
                </c:pt>
                <c:pt idx="3076">
                  <c:v>0.81799092799999995</c:v>
                </c:pt>
                <c:pt idx="3077">
                  <c:v>0.81577691200000002</c:v>
                </c:pt>
                <c:pt idx="3078">
                  <c:v>0.81245204299999996</c:v>
                </c:pt>
                <c:pt idx="3079">
                  <c:v>0.80967292199999996</c:v>
                </c:pt>
                <c:pt idx="3080">
                  <c:v>0.80736953700000003</c:v>
                </c:pt>
                <c:pt idx="3081">
                  <c:v>0.80462199999999995</c:v>
                </c:pt>
                <c:pt idx="3082">
                  <c:v>0.80082166600000004</c:v>
                </c:pt>
                <c:pt idx="3083">
                  <c:v>0.80152730000000005</c:v>
                </c:pt>
                <c:pt idx="3084">
                  <c:v>0.79533804799999996</c:v>
                </c:pt>
                <c:pt idx="3085">
                  <c:v>0.79376598799999998</c:v>
                </c:pt>
                <c:pt idx="3086">
                  <c:v>0.79097440500000005</c:v>
                </c:pt>
                <c:pt idx="3087">
                  <c:v>0.78918460599999996</c:v>
                </c:pt>
                <c:pt idx="3088">
                  <c:v>0.78698902500000001</c:v>
                </c:pt>
                <c:pt idx="3089">
                  <c:v>0.78595437599999995</c:v>
                </c:pt>
                <c:pt idx="3090">
                  <c:v>0.78147239300000004</c:v>
                </c:pt>
                <c:pt idx="3091">
                  <c:v>0.78127363000000005</c:v>
                </c:pt>
                <c:pt idx="3092">
                  <c:v>0.77505519300000003</c:v>
                </c:pt>
                <c:pt idx="3093">
                  <c:v>0.77438659399999998</c:v>
                </c:pt>
                <c:pt idx="3094">
                  <c:v>0.77142569999999999</c:v>
                </c:pt>
                <c:pt idx="3095">
                  <c:v>0.76913979300000002</c:v>
                </c:pt>
                <c:pt idx="3096">
                  <c:v>0.76658869100000004</c:v>
                </c:pt>
                <c:pt idx="3097">
                  <c:v>0.76427712400000003</c:v>
                </c:pt>
                <c:pt idx="3098">
                  <c:v>0.76338045700000001</c:v>
                </c:pt>
                <c:pt idx="3099">
                  <c:v>0.75822131199999998</c:v>
                </c:pt>
                <c:pt idx="3100">
                  <c:v>0.75769529899999999</c:v>
                </c:pt>
                <c:pt idx="3101">
                  <c:v>0.75498178100000002</c:v>
                </c:pt>
                <c:pt idx="3102">
                  <c:v>0.75446866499999998</c:v>
                </c:pt>
                <c:pt idx="3103">
                  <c:v>0.75118276900000003</c:v>
                </c:pt>
                <c:pt idx="3104">
                  <c:v>0.75081822200000004</c:v>
                </c:pt>
                <c:pt idx="3105">
                  <c:v>0.74976366299999997</c:v>
                </c:pt>
                <c:pt idx="3106">
                  <c:v>0.75006861199999997</c:v>
                </c:pt>
                <c:pt idx="3107">
                  <c:v>0.75004305599999999</c:v>
                </c:pt>
                <c:pt idx="3108">
                  <c:v>0.74526765800000006</c:v>
                </c:pt>
                <c:pt idx="3109">
                  <c:v>0.73615932799999995</c:v>
                </c:pt>
                <c:pt idx="3110">
                  <c:v>0.73590736700000003</c:v>
                </c:pt>
                <c:pt idx="3111">
                  <c:v>0.73500992499999995</c:v>
                </c:pt>
                <c:pt idx="3112">
                  <c:v>0.73448848499999997</c:v>
                </c:pt>
                <c:pt idx="3113">
                  <c:v>0.73564781099999998</c:v>
                </c:pt>
                <c:pt idx="3114">
                  <c:v>0.73486903000000003</c:v>
                </c:pt>
                <c:pt idx="3115">
                  <c:v>0.73391458700000001</c:v>
                </c:pt>
                <c:pt idx="3116">
                  <c:v>0.73269027600000003</c:v>
                </c:pt>
                <c:pt idx="3117">
                  <c:v>0.73214150300000003</c:v>
                </c:pt>
                <c:pt idx="3118">
                  <c:v>0.73009762600000006</c:v>
                </c:pt>
                <c:pt idx="3119">
                  <c:v>0.73027745200000005</c:v>
                </c:pt>
                <c:pt idx="3120">
                  <c:v>0.72959471200000003</c:v>
                </c:pt>
                <c:pt idx="3121">
                  <c:v>0.72849009200000003</c:v>
                </c:pt>
                <c:pt idx="3122">
                  <c:v>0.72789725199999999</c:v>
                </c:pt>
                <c:pt idx="3123">
                  <c:v>0.72542687299999997</c:v>
                </c:pt>
                <c:pt idx="3124">
                  <c:v>0.72757559000000005</c:v>
                </c:pt>
                <c:pt idx="3125">
                  <c:v>0.72635889200000003</c:v>
                </c:pt>
                <c:pt idx="3126">
                  <c:v>0.72574137999999999</c:v>
                </c:pt>
                <c:pt idx="3127">
                  <c:v>0.72380663599999995</c:v>
                </c:pt>
                <c:pt idx="3128">
                  <c:v>0.72469246899999995</c:v>
                </c:pt>
                <c:pt idx="3129">
                  <c:v>0.72319968499999998</c:v>
                </c:pt>
                <c:pt idx="3130">
                  <c:v>0.72513473799999995</c:v>
                </c:pt>
                <c:pt idx="3131">
                  <c:v>0.72490302399999995</c:v>
                </c:pt>
                <c:pt idx="3132">
                  <c:v>0.72446765300000004</c:v>
                </c:pt>
                <c:pt idx="3133">
                  <c:v>0.72332494000000003</c:v>
                </c:pt>
                <c:pt idx="3134">
                  <c:v>0.72305566499999996</c:v>
                </c:pt>
                <c:pt idx="3135">
                  <c:v>0.72415259399999998</c:v>
                </c:pt>
                <c:pt idx="3136">
                  <c:v>0.72468219</c:v>
                </c:pt>
                <c:pt idx="3137">
                  <c:v>0.72410201100000005</c:v>
                </c:pt>
                <c:pt idx="3138">
                  <c:v>0.72404090399999999</c:v>
                </c:pt>
                <c:pt idx="3139">
                  <c:v>0.72326320099999997</c:v>
                </c:pt>
                <c:pt idx="3140">
                  <c:v>0.72372641900000001</c:v>
                </c:pt>
                <c:pt idx="3141">
                  <c:v>0.72168112600000001</c:v>
                </c:pt>
                <c:pt idx="3142">
                  <c:v>0.72124800600000005</c:v>
                </c:pt>
                <c:pt idx="3143">
                  <c:v>0.72204783800000005</c:v>
                </c:pt>
                <c:pt idx="3144">
                  <c:v>0.72550228100000003</c:v>
                </c:pt>
                <c:pt idx="3145">
                  <c:v>0.72106323699999997</c:v>
                </c:pt>
                <c:pt idx="3146">
                  <c:v>0.72122925000000004</c:v>
                </c:pt>
                <c:pt idx="3147">
                  <c:v>0.72199678899999997</c:v>
                </c:pt>
                <c:pt idx="3148">
                  <c:v>0.72272831400000004</c:v>
                </c:pt>
                <c:pt idx="3149">
                  <c:v>0.72229953499999999</c:v>
                </c:pt>
                <c:pt idx="3150">
                  <c:v>0.72458862300000004</c:v>
                </c:pt>
                <c:pt idx="3151">
                  <c:v>0.72457734799999995</c:v>
                </c:pt>
                <c:pt idx="3152">
                  <c:v>0.72478631199999999</c:v>
                </c:pt>
                <c:pt idx="3153">
                  <c:v>0.72407946400000001</c:v>
                </c:pt>
                <c:pt idx="3154">
                  <c:v>0.72352846999999998</c:v>
                </c:pt>
                <c:pt idx="3155">
                  <c:v>0.72358302600000002</c:v>
                </c:pt>
                <c:pt idx="3156">
                  <c:v>0.72341678399999998</c:v>
                </c:pt>
                <c:pt idx="3157">
                  <c:v>0.72245896099999996</c:v>
                </c:pt>
                <c:pt idx="3158">
                  <c:v>0.72499944999999999</c:v>
                </c:pt>
                <c:pt idx="3159">
                  <c:v>0.72520280500000001</c:v>
                </c:pt>
                <c:pt idx="3160">
                  <c:v>0.72333252299999995</c:v>
                </c:pt>
                <c:pt idx="3161">
                  <c:v>0.72268952099999995</c:v>
                </c:pt>
                <c:pt idx="3162">
                  <c:v>0.72270727899999998</c:v>
                </c:pt>
                <c:pt idx="3163">
                  <c:v>0.72245699299999999</c:v>
                </c:pt>
                <c:pt idx="3164">
                  <c:v>0.72146111400000001</c:v>
                </c:pt>
                <c:pt idx="3165">
                  <c:v>0.72134606000000001</c:v>
                </c:pt>
                <c:pt idx="3166">
                  <c:v>0.72028916499999995</c:v>
                </c:pt>
                <c:pt idx="3167">
                  <c:v>0.718018979</c:v>
                </c:pt>
                <c:pt idx="3168">
                  <c:v>0.72072375799999999</c:v>
                </c:pt>
                <c:pt idx="3169">
                  <c:v>0.71874225700000005</c:v>
                </c:pt>
                <c:pt idx="3170">
                  <c:v>0.72003951300000002</c:v>
                </c:pt>
                <c:pt idx="3171">
                  <c:v>0.71888886600000002</c:v>
                </c:pt>
                <c:pt idx="3172">
                  <c:v>0.72051666400000003</c:v>
                </c:pt>
                <c:pt idx="3173">
                  <c:v>0.721775257</c:v>
                </c:pt>
                <c:pt idx="3174">
                  <c:v>0.71519778499999997</c:v>
                </c:pt>
                <c:pt idx="3175">
                  <c:v>0.71776981100000004</c:v>
                </c:pt>
                <c:pt idx="3176">
                  <c:v>0.721305953</c:v>
                </c:pt>
                <c:pt idx="3177">
                  <c:v>0.72440421600000005</c:v>
                </c:pt>
                <c:pt idx="3178">
                  <c:v>0.72861294200000004</c:v>
                </c:pt>
                <c:pt idx="3179">
                  <c:v>0.72949206300000002</c:v>
                </c:pt>
                <c:pt idx="3180">
                  <c:v>0.73223899000000003</c:v>
                </c:pt>
                <c:pt idx="3181">
                  <c:v>0.73034908300000001</c:v>
                </c:pt>
                <c:pt idx="3182">
                  <c:v>0.73234867800000003</c:v>
                </c:pt>
                <c:pt idx="3183">
                  <c:v>0.73195306900000001</c:v>
                </c:pt>
                <c:pt idx="3184">
                  <c:v>0.72864891399999998</c:v>
                </c:pt>
                <c:pt idx="3185">
                  <c:v>0.72998103000000003</c:v>
                </c:pt>
                <c:pt idx="3186">
                  <c:v>0.72422822899999995</c:v>
                </c:pt>
                <c:pt idx="3187">
                  <c:v>0.72559591099999998</c:v>
                </c:pt>
                <c:pt idx="3188">
                  <c:v>0.72482015</c:v>
                </c:pt>
                <c:pt idx="3189">
                  <c:v>0.72330795800000003</c:v>
                </c:pt>
                <c:pt idx="3190">
                  <c:v>0.72470805900000002</c:v>
                </c:pt>
                <c:pt idx="3191">
                  <c:v>0.72743155999999998</c:v>
                </c:pt>
                <c:pt idx="3192">
                  <c:v>0.73002052699999997</c:v>
                </c:pt>
                <c:pt idx="3193">
                  <c:v>0.73140464100000002</c:v>
                </c:pt>
                <c:pt idx="3194">
                  <c:v>0.72715725099999995</c:v>
                </c:pt>
                <c:pt idx="3195">
                  <c:v>0.72226166999999997</c:v>
                </c:pt>
                <c:pt idx="3196">
                  <c:v>0.72449113600000004</c:v>
                </c:pt>
                <c:pt idx="3197">
                  <c:v>0.72691090800000002</c:v>
                </c:pt>
                <c:pt idx="3198">
                  <c:v>0.71844084600000002</c:v>
                </c:pt>
                <c:pt idx="3199">
                  <c:v>0.72176354799999998</c:v>
                </c:pt>
                <c:pt idx="3200">
                  <c:v>0.72733092799999999</c:v>
                </c:pt>
                <c:pt idx="3201">
                  <c:v>0.73224709200000004</c:v>
                </c:pt>
                <c:pt idx="3202">
                  <c:v>0.72677041200000003</c:v>
                </c:pt>
                <c:pt idx="3203">
                  <c:v>0.72747335899999999</c:v>
                </c:pt>
                <c:pt idx="3204">
                  <c:v>0.72682103300000001</c:v>
                </c:pt>
                <c:pt idx="3205">
                  <c:v>0.73399198499999996</c:v>
                </c:pt>
                <c:pt idx="3206">
                  <c:v>0.74750463199999995</c:v>
                </c:pt>
                <c:pt idx="3207">
                  <c:v>0.76904187899999998</c:v>
                </c:pt>
                <c:pt idx="3208">
                  <c:v>0.76119724200000005</c:v>
                </c:pt>
                <c:pt idx="3209">
                  <c:v>0.75828614000000005</c:v>
                </c:pt>
                <c:pt idx="3210">
                  <c:v>0.75852962700000004</c:v>
                </c:pt>
                <c:pt idx="3211">
                  <c:v>0.75234984800000004</c:v>
                </c:pt>
                <c:pt idx="3212">
                  <c:v>0.75410908600000004</c:v>
                </c:pt>
                <c:pt idx="3213">
                  <c:v>0.75104218199999995</c:v>
                </c:pt>
                <c:pt idx="3214">
                  <c:v>0.75453701299999998</c:v>
                </c:pt>
                <c:pt idx="3215">
                  <c:v>0.755129626</c:v>
                </c:pt>
                <c:pt idx="3216">
                  <c:v>0.75507682099999995</c:v>
                </c:pt>
                <c:pt idx="3217">
                  <c:v>0.75789063999999995</c:v>
                </c:pt>
                <c:pt idx="3218">
                  <c:v>0.75768186299999996</c:v>
                </c:pt>
                <c:pt idx="3219">
                  <c:v>0.75928224099999997</c:v>
                </c:pt>
                <c:pt idx="3220">
                  <c:v>0.75646084199999997</c:v>
                </c:pt>
                <c:pt idx="3221">
                  <c:v>0.75822979599999996</c:v>
                </c:pt>
                <c:pt idx="3222">
                  <c:v>0.75241080299999996</c:v>
                </c:pt>
              </c:numCache>
            </c:numRef>
          </c:val>
          <c:smooth val="0"/>
          <c:extLst>
            <c:ext xmlns:c16="http://schemas.microsoft.com/office/drawing/2014/chart" uri="{C3380CC4-5D6E-409C-BE32-E72D297353CC}">
              <c16:uniqueId val="{00000001-3295-4415-82C7-54BFDC83C208}"/>
            </c:ext>
          </c:extLst>
        </c:ser>
        <c:dLbls>
          <c:showLegendKey val="0"/>
          <c:showVal val="0"/>
          <c:showCatName val="0"/>
          <c:showSerName val="0"/>
          <c:showPercent val="0"/>
          <c:showBubbleSize val="0"/>
        </c:dLbls>
        <c:marker val="1"/>
        <c:smooth val="0"/>
        <c:axId val="646469456"/>
        <c:axId val="646462096"/>
      </c:lineChart>
      <c:dateAx>
        <c:axId val="557129592"/>
        <c:scaling>
          <c:orientation val="minMax"/>
        </c:scaling>
        <c:delete val="0"/>
        <c:axPos val="b"/>
        <c:numFmt formatCode="yyyy\-mm\-dd;@"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zh-CN"/>
          </a:p>
        </c:txPr>
        <c:crossAx val="557132472"/>
        <c:crosses val="autoZero"/>
        <c:auto val="1"/>
        <c:lblOffset val="100"/>
        <c:baseTimeUnit val="days"/>
      </c:dateAx>
      <c:valAx>
        <c:axId val="557132472"/>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zh-CN"/>
          </a:p>
        </c:txPr>
        <c:crossAx val="557129592"/>
        <c:crosses val="autoZero"/>
        <c:crossBetween val="between"/>
      </c:valAx>
      <c:valAx>
        <c:axId val="646462096"/>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zh-CN"/>
          </a:p>
        </c:txPr>
        <c:crossAx val="646469456"/>
        <c:crosses val="max"/>
        <c:crossBetween val="between"/>
      </c:valAx>
      <c:dateAx>
        <c:axId val="646469456"/>
        <c:scaling>
          <c:orientation val="minMax"/>
        </c:scaling>
        <c:delete val="1"/>
        <c:axPos val="b"/>
        <c:numFmt formatCode="yyyy\-mm\-dd;@" sourceLinked="1"/>
        <c:majorTickMark val="out"/>
        <c:minorTickMark val="none"/>
        <c:tickLblPos val="nextTo"/>
        <c:crossAx val="646462096"/>
        <c:crosses val="autoZero"/>
        <c:auto val="1"/>
        <c:lblOffset val="100"/>
        <c:baseTimeUnit val="days"/>
      </c:date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latin typeface="Times New Roman" panose="02020603050405020304" pitchFamily="18" charset="0"/>
          <a:cs typeface="Times New Roman" panose="02020603050405020304" pitchFamily="18" charset="0"/>
        </a:defRPr>
      </a:pPr>
      <a:endParaRPr lang="zh-CN"/>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indicators!$G$1</c:f>
              <c:strCache>
                <c:ptCount val="1"/>
                <c:pt idx="0">
                  <c:v>close price</c:v>
                </c:pt>
              </c:strCache>
            </c:strRef>
          </c:tx>
          <c:spPr>
            <a:ln w="28575" cap="rnd">
              <a:solidFill>
                <a:schemeClr val="accent1"/>
              </a:solidFill>
              <a:round/>
            </a:ln>
            <a:effectLst/>
          </c:spPr>
          <c:marker>
            <c:symbol val="none"/>
          </c:marker>
          <c:cat>
            <c:numRef>
              <c:f>indicators!$A$2:$A$3224</c:f>
              <c:numCache>
                <c:formatCode>yyyy\-mm\-dd;@</c:formatCode>
                <c:ptCount val="3223"/>
                <c:pt idx="0">
                  <c:v>39818</c:v>
                </c:pt>
                <c:pt idx="1">
                  <c:v>39819</c:v>
                </c:pt>
                <c:pt idx="2">
                  <c:v>39820</c:v>
                </c:pt>
                <c:pt idx="3">
                  <c:v>39821</c:v>
                </c:pt>
                <c:pt idx="4">
                  <c:v>39822</c:v>
                </c:pt>
                <c:pt idx="5">
                  <c:v>39825</c:v>
                </c:pt>
                <c:pt idx="6">
                  <c:v>39826</c:v>
                </c:pt>
                <c:pt idx="7">
                  <c:v>39827</c:v>
                </c:pt>
                <c:pt idx="8">
                  <c:v>39828</c:v>
                </c:pt>
                <c:pt idx="9">
                  <c:v>39829</c:v>
                </c:pt>
                <c:pt idx="10">
                  <c:v>39832</c:v>
                </c:pt>
                <c:pt idx="11">
                  <c:v>39833</c:v>
                </c:pt>
                <c:pt idx="12">
                  <c:v>39834</c:v>
                </c:pt>
                <c:pt idx="13">
                  <c:v>39835</c:v>
                </c:pt>
                <c:pt idx="14">
                  <c:v>39836</c:v>
                </c:pt>
                <c:pt idx="15">
                  <c:v>39846</c:v>
                </c:pt>
                <c:pt idx="16">
                  <c:v>39847</c:v>
                </c:pt>
                <c:pt idx="17">
                  <c:v>39848</c:v>
                </c:pt>
                <c:pt idx="18">
                  <c:v>39849</c:v>
                </c:pt>
                <c:pt idx="19">
                  <c:v>39850</c:v>
                </c:pt>
                <c:pt idx="20">
                  <c:v>39853</c:v>
                </c:pt>
                <c:pt idx="21">
                  <c:v>39854</c:v>
                </c:pt>
                <c:pt idx="22">
                  <c:v>39855</c:v>
                </c:pt>
                <c:pt idx="23">
                  <c:v>39856</c:v>
                </c:pt>
                <c:pt idx="24">
                  <c:v>39857</c:v>
                </c:pt>
                <c:pt idx="25">
                  <c:v>39860</c:v>
                </c:pt>
                <c:pt idx="26">
                  <c:v>39861</c:v>
                </c:pt>
                <c:pt idx="27">
                  <c:v>39862</c:v>
                </c:pt>
                <c:pt idx="28">
                  <c:v>39863</c:v>
                </c:pt>
                <c:pt idx="29">
                  <c:v>39864</c:v>
                </c:pt>
                <c:pt idx="30">
                  <c:v>39867</c:v>
                </c:pt>
                <c:pt idx="31">
                  <c:v>39868</c:v>
                </c:pt>
                <c:pt idx="32">
                  <c:v>39869</c:v>
                </c:pt>
                <c:pt idx="33">
                  <c:v>39870</c:v>
                </c:pt>
                <c:pt idx="34">
                  <c:v>39871</c:v>
                </c:pt>
                <c:pt idx="35">
                  <c:v>39874</c:v>
                </c:pt>
                <c:pt idx="36">
                  <c:v>39875</c:v>
                </c:pt>
                <c:pt idx="37">
                  <c:v>39876</c:v>
                </c:pt>
                <c:pt idx="38">
                  <c:v>39877</c:v>
                </c:pt>
                <c:pt idx="39">
                  <c:v>39878</c:v>
                </c:pt>
                <c:pt idx="40">
                  <c:v>39881</c:v>
                </c:pt>
                <c:pt idx="41">
                  <c:v>39882</c:v>
                </c:pt>
                <c:pt idx="42">
                  <c:v>39883</c:v>
                </c:pt>
                <c:pt idx="43">
                  <c:v>39884</c:v>
                </c:pt>
                <c:pt idx="44">
                  <c:v>39885</c:v>
                </c:pt>
                <c:pt idx="45">
                  <c:v>39888</c:v>
                </c:pt>
                <c:pt idx="46">
                  <c:v>39889</c:v>
                </c:pt>
                <c:pt idx="47">
                  <c:v>39890</c:v>
                </c:pt>
                <c:pt idx="48">
                  <c:v>39891</c:v>
                </c:pt>
                <c:pt idx="49">
                  <c:v>39892</c:v>
                </c:pt>
                <c:pt idx="50">
                  <c:v>39895</c:v>
                </c:pt>
                <c:pt idx="51">
                  <c:v>39896</c:v>
                </c:pt>
                <c:pt idx="52">
                  <c:v>39897</c:v>
                </c:pt>
                <c:pt idx="53">
                  <c:v>39898</c:v>
                </c:pt>
                <c:pt idx="54">
                  <c:v>39899</c:v>
                </c:pt>
                <c:pt idx="55">
                  <c:v>39902</c:v>
                </c:pt>
                <c:pt idx="56">
                  <c:v>39903</c:v>
                </c:pt>
                <c:pt idx="57">
                  <c:v>39904</c:v>
                </c:pt>
                <c:pt idx="58">
                  <c:v>39905</c:v>
                </c:pt>
                <c:pt idx="59">
                  <c:v>39906</c:v>
                </c:pt>
                <c:pt idx="60">
                  <c:v>39910</c:v>
                </c:pt>
                <c:pt idx="61">
                  <c:v>39911</c:v>
                </c:pt>
                <c:pt idx="62">
                  <c:v>39912</c:v>
                </c:pt>
                <c:pt idx="63">
                  <c:v>39913</c:v>
                </c:pt>
                <c:pt idx="64">
                  <c:v>39916</c:v>
                </c:pt>
                <c:pt idx="65">
                  <c:v>39917</c:v>
                </c:pt>
                <c:pt idx="66">
                  <c:v>39918</c:v>
                </c:pt>
                <c:pt idx="67">
                  <c:v>39919</c:v>
                </c:pt>
                <c:pt idx="68">
                  <c:v>39920</c:v>
                </c:pt>
                <c:pt idx="69">
                  <c:v>39923</c:v>
                </c:pt>
                <c:pt idx="70">
                  <c:v>39924</c:v>
                </c:pt>
                <c:pt idx="71">
                  <c:v>39925</c:v>
                </c:pt>
                <c:pt idx="72">
                  <c:v>39926</c:v>
                </c:pt>
                <c:pt idx="73">
                  <c:v>39927</c:v>
                </c:pt>
                <c:pt idx="74">
                  <c:v>39930</c:v>
                </c:pt>
                <c:pt idx="75">
                  <c:v>39931</c:v>
                </c:pt>
                <c:pt idx="76">
                  <c:v>39932</c:v>
                </c:pt>
                <c:pt idx="77">
                  <c:v>39933</c:v>
                </c:pt>
                <c:pt idx="78">
                  <c:v>39937</c:v>
                </c:pt>
                <c:pt idx="79">
                  <c:v>39938</c:v>
                </c:pt>
                <c:pt idx="80">
                  <c:v>39939</c:v>
                </c:pt>
                <c:pt idx="81">
                  <c:v>39940</c:v>
                </c:pt>
                <c:pt idx="82">
                  <c:v>39941</c:v>
                </c:pt>
                <c:pt idx="83">
                  <c:v>39944</c:v>
                </c:pt>
                <c:pt idx="84">
                  <c:v>39945</c:v>
                </c:pt>
                <c:pt idx="85">
                  <c:v>39946</c:v>
                </c:pt>
                <c:pt idx="86">
                  <c:v>39947</c:v>
                </c:pt>
                <c:pt idx="87">
                  <c:v>39948</c:v>
                </c:pt>
                <c:pt idx="88">
                  <c:v>39951</c:v>
                </c:pt>
                <c:pt idx="89">
                  <c:v>39952</c:v>
                </c:pt>
                <c:pt idx="90">
                  <c:v>39953</c:v>
                </c:pt>
                <c:pt idx="91">
                  <c:v>39954</c:v>
                </c:pt>
                <c:pt idx="92">
                  <c:v>39955</c:v>
                </c:pt>
                <c:pt idx="93">
                  <c:v>39958</c:v>
                </c:pt>
                <c:pt idx="94">
                  <c:v>39959</c:v>
                </c:pt>
                <c:pt idx="95">
                  <c:v>39960</c:v>
                </c:pt>
                <c:pt idx="96">
                  <c:v>39965</c:v>
                </c:pt>
                <c:pt idx="97">
                  <c:v>39966</c:v>
                </c:pt>
                <c:pt idx="98">
                  <c:v>39967</c:v>
                </c:pt>
                <c:pt idx="99">
                  <c:v>39968</c:v>
                </c:pt>
                <c:pt idx="100">
                  <c:v>39969</c:v>
                </c:pt>
                <c:pt idx="101">
                  <c:v>39972</c:v>
                </c:pt>
                <c:pt idx="102">
                  <c:v>39973</c:v>
                </c:pt>
                <c:pt idx="103">
                  <c:v>39974</c:v>
                </c:pt>
                <c:pt idx="104">
                  <c:v>39975</c:v>
                </c:pt>
                <c:pt idx="105">
                  <c:v>39976</c:v>
                </c:pt>
                <c:pt idx="106">
                  <c:v>39979</c:v>
                </c:pt>
                <c:pt idx="107">
                  <c:v>39980</c:v>
                </c:pt>
                <c:pt idx="108">
                  <c:v>39981</c:v>
                </c:pt>
                <c:pt idx="109">
                  <c:v>39982</c:v>
                </c:pt>
                <c:pt idx="110">
                  <c:v>39983</c:v>
                </c:pt>
                <c:pt idx="111">
                  <c:v>39986</c:v>
                </c:pt>
                <c:pt idx="112">
                  <c:v>39987</c:v>
                </c:pt>
                <c:pt idx="113">
                  <c:v>39988</c:v>
                </c:pt>
                <c:pt idx="114">
                  <c:v>39989</c:v>
                </c:pt>
                <c:pt idx="115">
                  <c:v>39990</c:v>
                </c:pt>
                <c:pt idx="116">
                  <c:v>39993</c:v>
                </c:pt>
                <c:pt idx="117">
                  <c:v>39994</c:v>
                </c:pt>
                <c:pt idx="118">
                  <c:v>39995</c:v>
                </c:pt>
                <c:pt idx="119">
                  <c:v>39996</c:v>
                </c:pt>
                <c:pt idx="120">
                  <c:v>39997</c:v>
                </c:pt>
                <c:pt idx="121">
                  <c:v>40000</c:v>
                </c:pt>
                <c:pt idx="122">
                  <c:v>40001</c:v>
                </c:pt>
                <c:pt idx="123">
                  <c:v>40002</c:v>
                </c:pt>
                <c:pt idx="124">
                  <c:v>40003</c:v>
                </c:pt>
                <c:pt idx="125">
                  <c:v>40004</c:v>
                </c:pt>
                <c:pt idx="126">
                  <c:v>40007</c:v>
                </c:pt>
                <c:pt idx="127">
                  <c:v>40008</c:v>
                </c:pt>
                <c:pt idx="128">
                  <c:v>40009</c:v>
                </c:pt>
                <c:pt idx="129">
                  <c:v>40010</c:v>
                </c:pt>
                <c:pt idx="130">
                  <c:v>40011</c:v>
                </c:pt>
                <c:pt idx="131">
                  <c:v>40014</c:v>
                </c:pt>
                <c:pt idx="132">
                  <c:v>40015</c:v>
                </c:pt>
                <c:pt idx="133">
                  <c:v>40016</c:v>
                </c:pt>
                <c:pt idx="134">
                  <c:v>40017</c:v>
                </c:pt>
                <c:pt idx="135">
                  <c:v>40018</c:v>
                </c:pt>
                <c:pt idx="136">
                  <c:v>40021</c:v>
                </c:pt>
                <c:pt idx="137">
                  <c:v>40022</c:v>
                </c:pt>
                <c:pt idx="138">
                  <c:v>40023</c:v>
                </c:pt>
                <c:pt idx="139">
                  <c:v>40024</c:v>
                </c:pt>
                <c:pt idx="140">
                  <c:v>40025</c:v>
                </c:pt>
                <c:pt idx="141">
                  <c:v>40028</c:v>
                </c:pt>
                <c:pt idx="142">
                  <c:v>40029</c:v>
                </c:pt>
                <c:pt idx="143">
                  <c:v>40030</c:v>
                </c:pt>
                <c:pt idx="144">
                  <c:v>40031</c:v>
                </c:pt>
                <c:pt idx="145">
                  <c:v>40032</c:v>
                </c:pt>
                <c:pt idx="146">
                  <c:v>40035</c:v>
                </c:pt>
                <c:pt idx="147">
                  <c:v>40036</c:v>
                </c:pt>
                <c:pt idx="148">
                  <c:v>40037</c:v>
                </c:pt>
                <c:pt idx="149">
                  <c:v>40038</c:v>
                </c:pt>
                <c:pt idx="150">
                  <c:v>40039</c:v>
                </c:pt>
                <c:pt idx="151">
                  <c:v>40042</c:v>
                </c:pt>
                <c:pt idx="152">
                  <c:v>40043</c:v>
                </c:pt>
                <c:pt idx="153">
                  <c:v>40044</c:v>
                </c:pt>
                <c:pt idx="154">
                  <c:v>40045</c:v>
                </c:pt>
                <c:pt idx="155">
                  <c:v>40046</c:v>
                </c:pt>
                <c:pt idx="156">
                  <c:v>40049</c:v>
                </c:pt>
                <c:pt idx="157">
                  <c:v>40050</c:v>
                </c:pt>
                <c:pt idx="158">
                  <c:v>40051</c:v>
                </c:pt>
                <c:pt idx="159">
                  <c:v>40052</c:v>
                </c:pt>
                <c:pt idx="160">
                  <c:v>40053</c:v>
                </c:pt>
                <c:pt idx="161">
                  <c:v>40056</c:v>
                </c:pt>
                <c:pt idx="162">
                  <c:v>40057</c:v>
                </c:pt>
                <c:pt idx="163">
                  <c:v>40058</c:v>
                </c:pt>
                <c:pt idx="164">
                  <c:v>40059</c:v>
                </c:pt>
                <c:pt idx="165">
                  <c:v>40060</c:v>
                </c:pt>
                <c:pt idx="166">
                  <c:v>40063</c:v>
                </c:pt>
                <c:pt idx="167">
                  <c:v>40064</c:v>
                </c:pt>
                <c:pt idx="168">
                  <c:v>40065</c:v>
                </c:pt>
                <c:pt idx="169">
                  <c:v>40066</c:v>
                </c:pt>
                <c:pt idx="170">
                  <c:v>40067</c:v>
                </c:pt>
                <c:pt idx="171">
                  <c:v>40070</c:v>
                </c:pt>
                <c:pt idx="172">
                  <c:v>40071</c:v>
                </c:pt>
                <c:pt idx="173">
                  <c:v>40072</c:v>
                </c:pt>
                <c:pt idx="174">
                  <c:v>40073</c:v>
                </c:pt>
                <c:pt idx="175">
                  <c:v>40074</c:v>
                </c:pt>
                <c:pt idx="176">
                  <c:v>40077</c:v>
                </c:pt>
                <c:pt idx="177">
                  <c:v>40078</c:v>
                </c:pt>
                <c:pt idx="178">
                  <c:v>40079</c:v>
                </c:pt>
                <c:pt idx="179">
                  <c:v>40080</c:v>
                </c:pt>
                <c:pt idx="180">
                  <c:v>40081</c:v>
                </c:pt>
                <c:pt idx="181">
                  <c:v>40084</c:v>
                </c:pt>
                <c:pt idx="182">
                  <c:v>40085</c:v>
                </c:pt>
                <c:pt idx="183">
                  <c:v>40086</c:v>
                </c:pt>
                <c:pt idx="184">
                  <c:v>40095</c:v>
                </c:pt>
                <c:pt idx="185">
                  <c:v>40098</c:v>
                </c:pt>
                <c:pt idx="186">
                  <c:v>40099</c:v>
                </c:pt>
                <c:pt idx="187">
                  <c:v>40100</c:v>
                </c:pt>
                <c:pt idx="188">
                  <c:v>40101</c:v>
                </c:pt>
                <c:pt idx="189">
                  <c:v>40102</c:v>
                </c:pt>
                <c:pt idx="190">
                  <c:v>40105</c:v>
                </c:pt>
                <c:pt idx="191">
                  <c:v>40106</c:v>
                </c:pt>
                <c:pt idx="192">
                  <c:v>40107</c:v>
                </c:pt>
                <c:pt idx="193">
                  <c:v>40108</c:v>
                </c:pt>
                <c:pt idx="194">
                  <c:v>40109</c:v>
                </c:pt>
                <c:pt idx="195">
                  <c:v>40112</c:v>
                </c:pt>
                <c:pt idx="196">
                  <c:v>40113</c:v>
                </c:pt>
                <c:pt idx="197">
                  <c:v>40114</c:v>
                </c:pt>
                <c:pt idx="198">
                  <c:v>40115</c:v>
                </c:pt>
                <c:pt idx="199">
                  <c:v>40116</c:v>
                </c:pt>
                <c:pt idx="200">
                  <c:v>40119</c:v>
                </c:pt>
                <c:pt idx="201">
                  <c:v>40120</c:v>
                </c:pt>
                <c:pt idx="202">
                  <c:v>40121</c:v>
                </c:pt>
                <c:pt idx="203">
                  <c:v>40122</c:v>
                </c:pt>
                <c:pt idx="204">
                  <c:v>40123</c:v>
                </c:pt>
                <c:pt idx="205">
                  <c:v>40126</c:v>
                </c:pt>
                <c:pt idx="206">
                  <c:v>40127</c:v>
                </c:pt>
                <c:pt idx="207">
                  <c:v>40128</c:v>
                </c:pt>
                <c:pt idx="208">
                  <c:v>40129</c:v>
                </c:pt>
                <c:pt idx="209">
                  <c:v>40130</c:v>
                </c:pt>
                <c:pt idx="210">
                  <c:v>40133</c:v>
                </c:pt>
                <c:pt idx="211">
                  <c:v>40134</c:v>
                </c:pt>
                <c:pt idx="212">
                  <c:v>40135</c:v>
                </c:pt>
                <c:pt idx="213">
                  <c:v>40136</c:v>
                </c:pt>
                <c:pt idx="214">
                  <c:v>40137</c:v>
                </c:pt>
                <c:pt idx="215">
                  <c:v>40140</c:v>
                </c:pt>
                <c:pt idx="216">
                  <c:v>40141</c:v>
                </c:pt>
                <c:pt idx="217">
                  <c:v>40142</c:v>
                </c:pt>
                <c:pt idx="218">
                  <c:v>40143</c:v>
                </c:pt>
                <c:pt idx="219">
                  <c:v>40144</c:v>
                </c:pt>
                <c:pt idx="220">
                  <c:v>40147</c:v>
                </c:pt>
                <c:pt idx="221">
                  <c:v>40148</c:v>
                </c:pt>
                <c:pt idx="222">
                  <c:v>40149</c:v>
                </c:pt>
                <c:pt idx="223">
                  <c:v>40150</c:v>
                </c:pt>
                <c:pt idx="224">
                  <c:v>40151</c:v>
                </c:pt>
                <c:pt idx="225">
                  <c:v>40154</c:v>
                </c:pt>
                <c:pt idx="226">
                  <c:v>40155</c:v>
                </c:pt>
                <c:pt idx="227">
                  <c:v>40156</c:v>
                </c:pt>
                <c:pt idx="228">
                  <c:v>40157</c:v>
                </c:pt>
                <c:pt idx="229">
                  <c:v>40158</c:v>
                </c:pt>
                <c:pt idx="230">
                  <c:v>40161</c:v>
                </c:pt>
                <c:pt idx="231">
                  <c:v>40162</c:v>
                </c:pt>
                <c:pt idx="232">
                  <c:v>40163</c:v>
                </c:pt>
                <c:pt idx="233">
                  <c:v>40164</c:v>
                </c:pt>
                <c:pt idx="234">
                  <c:v>40165</c:v>
                </c:pt>
                <c:pt idx="235">
                  <c:v>40168</c:v>
                </c:pt>
                <c:pt idx="236">
                  <c:v>40169</c:v>
                </c:pt>
                <c:pt idx="237">
                  <c:v>40170</c:v>
                </c:pt>
                <c:pt idx="238">
                  <c:v>40171</c:v>
                </c:pt>
                <c:pt idx="239">
                  <c:v>40172</c:v>
                </c:pt>
                <c:pt idx="240">
                  <c:v>40175</c:v>
                </c:pt>
                <c:pt idx="241">
                  <c:v>40176</c:v>
                </c:pt>
                <c:pt idx="242">
                  <c:v>40177</c:v>
                </c:pt>
                <c:pt idx="243">
                  <c:v>40178</c:v>
                </c:pt>
                <c:pt idx="244">
                  <c:v>40182</c:v>
                </c:pt>
                <c:pt idx="245">
                  <c:v>40183</c:v>
                </c:pt>
                <c:pt idx="246">
                  <c:v>40184</c:v>
                </c:pt>
                <c:pt idx="247">
                  <c:v>40185</c:v>
                </c:pt>
                <c:pt idx="248">
                  <c:v>40186</c:v>
                </c:pt>
                <c:pt idx="249">
                  <c:v>40189</c:v>
                </c:pt>
                <c:pt idx="250">
                  <c:v>40190</c:v>
                </c:pt>
                <c:pt idx="251">
                  <c:v>40191</c:v>
                </c:pt>
                <c:pt idx="252">
                  <c:v>40192</c:v>
                </c:pt>
                <c:pt idx="253">
                  <c:v>40193</c:v>
                </c:pt>
                <c:pt idx="254">
                  <c:v>40196</c:v>
                </c:pt>
                <c:pt idx="255">
                  <c:v>40197</c:v>
                </c:pt>
                <c:pt idx="256">
                  <c:v>40198</c:v>
                </c:pt>
                <c:pt idx="257">
                  <c:v>40199</c:v>
                </c:pt>
                <c:pt idx="258">
                  <c:v>40200</c:v>
                </c:pt>
                <c:pt idx="259">
                  <c:v>40203</c:v>
                </c:pt>
                <c:pt idx="260">
                  <c:v>40204</c:v>
                </c:pt>
                <c:pt idx="261">
                  <c:v>40205</c:v>
                </c:pt>
                <c:pt idx="262">
                  <c:v>40206</c:v>
                </c:pt>
                <c:pt idx="263">
                  <c:v>40207</c:v>
                </c:pt>
                <c:pt idx="264">
                  <c:v>40210</c:v>
                </c:pt>
                <c:pt idx="265">
                  <c:v>40211</c:v>
                </c:pt>
                <c:pt idx="266">
                  <c:v>40212</c:v>
                </c:pt>
                <c:pt idx="267">
                  <c:v>40213</c:v>
                </c:pt>
                <c:pt idx="268">
                  <c:v>40214</c:v>
                </c:pt>
                <c:pt idx="269">
                  <c:v>40217</c:v>
                </c:pt>
                <c:pt idx="270">
                  <c:v>40218</c:v>
                </c:pt>
                <c:pt idx="271">
                  <c:v>40219</c:v>
                </c:pt>
                <c:pt idx="272">
                  <c:v>40220</c:v>
                </c:pt>
                <c:pt idx="273">
                  <c:v>40221</c:v>
                </c:pt>
                <c:pt idx="274">
                  <c:v>40231</c:v>
                </c:pt>
                <c:pt idx="275">
                  <c:v>40232</c:v>
                </c:pt>
                <c:pt idx="276">
                  <c:v>40233</c:v>
                </c:pt>
                <c:pt idx="277">
                  <c:v>40234</c:v>
                </c:pt>
                <c:pt idx="278">
                  <c:v>40235</c:v>
                </c:pt>
                <c:pt idx="279">
                  <c:v>40238</c:v>
                </c:pt>
                <c:pt idx="280">
                  <c:v>40239</c:v>
                </c:pt>
                <c:pt idx="281">
                  <c:v>40240</c:v>
                </c:pt>
                <c:pt idx="282">
                  <c:v>40241</c:v>
                </c:pt>
                <c:pt idx="283">
                  <c:v>40242</c:v>
                </c:pt>
                <c:pt idx="284">
                  <c:v>40245</c:v>
                </c:pt>
                <c:pt idx="285">
                  <c:v>40246</c:v>
                </c:pt>
                <c:pt idx="286">
                  <c:v>40247</c:v>
                </c:pt>
                <c:pt idx="287">
                  <c:v>40248</c:v>
                </c:pt>
                <c:pt idx="288">
                  <c:v>40249</c:v>
                </c:pt>
                <c:pt idx="289">
                  <c:v>40252</c:v>
                </c:pt>
                <c:pt idx="290">
                  <c:v>40253</c:v>
                </c:pt>
                <c:pt idx="291">
                  <c:v>40254</c:v>
                </c:pt>
                <c:pt idx="292">
                  <c:v>40255</c:v>
                </c:pt>
                <c:pt idx="293">
                  <c:v>40256</c:v>
                </c:pt>
                <c:pt idx="294">
                  <c:v>40259</c:v>
                </c:pt>
                <c:pt idx="295">
                  <c:v>40260</c:v>
                </c:pt>
                <c:pt idx="296">
                  <c:v>40261</c:v>
                </c:pt>
                <c:pt idx="297">
                  <c:v>40262</c:v>
                </c:pt>
                <c:pt idx="298">
                  <c:v>40263</c:v>
                </c:pt>
                <c:pt idx="299">
                  <c:v>40266</c:v>
                </c:pt>
                <c:pt idx="300">
                  <c:v>40267</c:v>
                </c:pt>
                <c:pt idx="301">
                  <c:v>40268</c:v>
                </c:pt>
                <c:pt idx="302">
                  <c:v>40269</c:v>
                </c:pt>
                <c:pt idx="303">
                  <c:v>40270</c:v>
                </c:pt>
                <c:pt idx="304">
                  <c:v>40274</c:v>
                </c:pt>
                <c:pt idx="305">
                  <c:v>40275</c:v>
                </c:pt>
                <c:pt idx="306">
                  <c:v>40276</c:v>
                </c:pt>
                <c:pt idx="307">
                  <c:v>40277</c:v>
                </c:pt>
                <c:pt idx="308">
                  <c:v>40280</c:v>
                </c:pt>
                <c:pt idx="309">
                  <c:v>40281</c:v>
                </c:pt>
                <c:pt idx="310">
                  <c:v>40282</c:v>
                </c:pt>
                <c:pt idx="311">
                  <c:v>40283</c:v>
                </c:pt>
                <c:pt idx="312">
                  <c:v>40284</c:v>
                </c:pt>
                <c:pt idx="313">
                  <c:v>40287</c:v>
                </c:pt>
                <c:pt idx="314">
                  <c:v>40288</c:v>
                </c:pt>
                <c:pt idx="315">
                  <c:v>40289</c:v>
                </c:pt>
                <c:pt idx="316">
                  <c:v>40290</c:v>
                </c:pt>
                <c:pt idx="317">
                  <c:v>40291</c:v>
                </c:pt>
                <c:pt idx="318">
                  <c:v>40294</c:v>
                </c:pt>
                <c:pt idx="319">
                  <c:v>40295</c:v>
                </c:pt>
                <c:pt idx="320">
                  <c:v>40296</c:v>
                </c:pt>
                <c:pt idx="321">
                  <c:v>40297</c:v>
                </c:pt>
                <c:pt idx="322">
                  <c:v>40298</c:v>
                </c:pt>
                <c:pt idx="323">
                  <c:v>40302</c:v>
                </c:pt>
                <c:pt idx="324">
                  <c:v>40303</c:v>
                </c:pt>
                <c:pt idx="325">
                  <c:v>40304</c:v>
                </c:pt>
                <c:pt idx="326">
                  <c:v>40305</c:v>
                </c:pt>
                <c:pt idx="327">
                  <c:v>40308</c:v>
                </c:pt>
                <c:pt idx="328">
                  <c:v>40309</c:v>
                </c:pt>
                <c:pt idx="329">
                  <c:v>40310</c:v>
                </c:pt>
                <c:pt idx="330">
                  <c:v>40311</c:v>
                </c:pt>
                <c:pt idx="331">
                  <c:v>40312</c:v>
                </c:pt>
                <c:pt idx="332">
                  <c:v>40315</c:v>
                </c:pt>
                <c:pt idx="333">
                  <c:v>40316</c:v>
                </c:pt>
                <c:pt idx="334">
                  <c:v>40317</c:v>
                </c:pt>
                <c:pt idx="335">
                  <c:v>40318</c:v>
                </c:pt>
                <c:pt idx="336">
                  <c:v>40319</c:v>
                </c:pt>
                <c:pt idx="337">
                  <c:v>40322</c:v>
                </c:pt>
                <c:pt idx="338">
                  <c:v>40323</c:v>
                </c:pt>
                <c:pt idx="339">
                  <c:v>40324</c:v>
                </c:pt>
                <c:pt idx="340">
                  <c:v>40325</c:v>
                </c:pt>
                <c:pt idx="341">
                  <c:v>40326</c:v>
                </c:pt>
                <c:pt idx="342">
                  <c:v>40329</c:v>
                </c:pt>
                <c:pt idx="343">
                  <c:v>40330</c:v>
                </c:pt>
                <c:pt idx="344">
                  <c:v>40331</c:v>
                </c:pt>
                <c:pt idx="345">
                  <c:v>40332</c:v>
                </c:pt>
                <c:pt idx="346">
                  <c:v>40333</c:v>
                </c:pt>
                <c:pt idx="347">
                  <c:v>40336</c:v>
                </c:pt>
                <c:pt idx="348">
                  <c:v>40337</c:v>
                </c:pt>
                <c:pt idx="349">
                  <c:v>40338</c:v>
                </c:pt>
                <c:pt idx="350">
                  <c:v>40339</c:v>
                </c:pt>
                <c:pt idx="351">
                  <c:v>40340</c:v>
                </c:pt>
                <c:pt idx="352">
                  <c:v>40346</c:v>
                </c:pt>
                <c:pt idx="353">
                  <c:v>40347</c:v>
                </c:pt>
                <c:pt idx="354">
                  <c:v>40350</c:v>
                </c:pt>
                <c:pt idx="355">
                  <c:v>40351</c:v>
                </c:pt>
                <c:pt idx="356">
                  <c:v>40352</c:v>
                </c:pt>
                <c:pt idx="357">
                  <c:v>40353</c:v>
                </c:pt>
                <c:pt idx="358">
                  <c:v>40354</c:v>
                </c:pt>
                <c:pt idx="359">
                  <c:v>40357</c:v>
                </c:pt>
                <c:pt idx="360">
                  <c:v>40358</c:v>
                </c:pt>
                <c:pt idx="361">
                  <c:v>40359</c:v>
                </c:pt>
                <c:pt idx="362">
                  <c:v>40360</c:v>
                </c:pt>
                <c:pt idx="363">
                  <c:v>40361</c:v>
                </c:pt>
                <c:pt idx="364">
                  <c:v>40364</c:v>
                </c:pt>
                <c:pt idx="365">
                  <c:v>40365</c:v>
                </c:pt>
                <c:pt idx="366">
                  <c:v>40366</c:v>
                </c:pt>
                <c:pt idx="367">
                  <c:v>40367</c:v>
                </c:pt>
                <c:pt idx="368">
                  <c:v>40368</c:v>
                </c:pt>
                <c:pt idx="369">
                  <c:v>40371</c:v>
                </c:pt>
                <c:pt idx="370">
                  <c:v>40372</c:v>
                </c:pt>
                <c:pt idx="371">
                  <c:v>40373</c:v>
                </c:pt>
                <c:pt idx="372">
                  <c:v>40374</c:v>
                </c:pt>
                <c:pt idx="373">
                  <c:v>40375</c:v>
                </c:pt>
                <c:pt idx="374">
                  <c:v>40378</c:v>
                </c:pt>
                <c:pt idx="375">
                  <c:v>40379</c:v>
                </c:pt>
                <c:pt idx="376">
                  <c:v>40380</c:v>
                </c:pt>
                <c:pt idx="377">
                  <c:v>40381</c:v>
                </c:pt>
                <c:pt idx="378">
                  <c:v>40382</c:v>
                </c:pt>
                <c:pt idx="379">
                  <c:v>40385</c:v>
                </c:pt>
                <c:pt idx="380">
                  <c:v>40386</c:v>
                </c:pt>
                <c:pt idx="381">
                  <c:v>40387</c:v>
                </c:pt>
                <c:pt idx="382">
                  <c:v>40388</c:v>
                </c:pt>
                <c:pt idx="383">
                  <c:v>40389</c:v>
                </c:pt>
                <c:pt idx="384">
                  <c:v>40392</c:v>
                </c:pt>
                <c:pt idx="385">
                  <c:v>40393</c:v>
                </c:pt>
                <c:pt idx="386">
                  <c:v>40394</c:v>
                </c:pt>
                <c:pt idx="387">
                  <c:v>40395</c:v>
                </c:pt>
                <c:pt idx="388">
                  <c:v>40396</c:v>
                </c:pt>
                <c:pt idx="389">
                  <c:v>40399</c:v>
                </c:pt>
                <c:pt idx="390">
                  <c:v>40400</c:v>
                </c:pt>
                <c:pt idx="391">
                  <c:v>40401</c:v>
                </c:pt>
                <c:pt idx="392">
                  <c:v>40402</c:v>
                </c:pt>
                <c:pt idx="393">
                  <c:v>40403</c:v>
                </c:pt>
                <c:pt idx="394">
                  <c:v>40406</c:v>
                </c:pt>
                <c:pt idx="395">
                  <c:v>40407</c:v>
                </c:pt>
                <c:pt idx="396">
                  <c:v>40408</c:v>
                </c:pt>
                <c:pt idx="397">
                  <c:v>40409</c:v>
                </c:pt>
                <c:pt idx="398">
                  <c:v>40410</c:v>
                </c:pt>
                <c:pt idx="399">
                  <c:v>40413</c:v>
                </c:pt>
                <c:pt idx="400">
                  <c:v>40414</c:v>
                </c:pt>
                <c:pt idx="401">
                  <c:v>40415</c:v>
                </c:pt>
                <c:pt idx="402">
                  <c:v>40416</c:v>
                </c:pt>
                <c:pt idx="403">
                  <c:v>40417</c:v>
                </c:pt>
                <c:pt idx="404">
                  <c:v>40420</c:v>
                </c:pt>
                <c:pt idx="405">
                  <c:v>40421</c:v>
                </c:pt>
                <c:pt idx="406">
                  <c:v>40422</c:v>
                </c:pt>
                <c:pt idx="407">
                  <c:v>40423</c:v>
                </c:pt>
                <c:pt idx="408">
                  <c:v>40424</c:v>
                </c:pt>
                <c:pt idx="409">
                  <c:v>40427</c:v>
                </c:pt>
                <c:pt idx="410">
                  <c:v>40428</c:v>
                </c:pt>
                <c:pt idx="411">
                  <c:v>40429</c:v>
                </c:pt>
                <c:pt idx="412">
                  <c:v>40430</c:v>
                </c:pt>
                <c:pt idx="413">
                  <c:v>40431</c:v>
                </c:pt>
                <c:pt idx="414">
                  <c:v>40434</c:v>
                </c:pt>
                <c:pt idx="415">
                  <c:v>40435</c:v>
                </c:pt>
                <c:pt idx="416">
                  <c:v>40436</c:v>
                </c:pt>
                <c:pt idx="417">
                  <c:v>40437</c:v>
                </c:pt>
                <c:pt idx="418">
                  <c:v>40438</c:v>
                </c:pt>
                <c:pt idx="419">
                  <c:v>40441</c:v>
                </c:pt>
                <c:pt idx="420">
                  <c:v>40442</c:v>
                </c:pt>
                <c:pt idx="421">
                  <c:v>40448</c:v>
                </c:pt>
                <c:pt idx="422">
                  <c:v>40449</c:v>
                </c:pt>
                <c:pt idx="423">
                  <c:v>40450</c:v>
                </c:pt>
                <c:pt idx="424">
                  <c:v>40451</c:v>
                </c:pt>
                <c:pt idx="425">
                  <c:v>40459</c:v>
                </c:pt>
                <c:pt idx="426">
                  <c:v>40462</c:v>
                </c:pt>
                <c:pt idx="427">
                  <c:v>40463</c:v>
                </c:pt>
                <c:pt idx="428">
                  <c:v>40464</c:v>
                </c:pt>
                <c:pt idx="429">
                  <c:v>40465</c:v>
                </c:pt>
                <c:pt idx="430">
                  <c:v>40466</c:v>
                </c:pt>
                <c:pt idx="431">
                  <c:v>40469</c:v>
                </c:pt>
                <c:pt idx="432">
                  <c:v>40470</c:v>
                </c:pt>
                <c:pt idx="433">
                  <c:v>40471</c:v>
                </c:pt>
                <c:pt idx="434">
                  <c:v>40472</c:v>
                </c:pt>
                <c:pt idx="435">
                  <c:v>40473</c:v>
                </c:pt>
                <c:pt idx="436">
                  <c:v>40476</c:v>
                </c:pt>
                <c:pt idx="437">
                  <c:v>40477</c:v>
                </c:pt>
                <c:pt idx="438">
                  <c:v>40478</c:v>
                </c:pt>
                <c:pt idx="439">
                  <c:v>40479</c:v>
                </c:pt>
                <c:pt idx="440">
                  <c:v>40480</c:v>
                </c:pt>
                <c:pt idx="441">
                  <c:v>40483</c:v>
                </c:pt>
                <c:pt idx="442">
                  <c:v>40484</c:v>
                </c:pt>
                <c:pt idx="443">
                  <c:v>40485</c:v>
                </c:pt>
                <c:pt idx="444">
                  <c:v>40486</c:v>
                </c:pt>
                <c:pt idx="445">
                  <c:v>40487</c:v>
                </c:pt>
                <c:pt idx="446">
                  <c:v>40490</c:v>
                </c:pt>
                <c:pt idx="447">
                  <c:v>40491</c:v>
                </c:pt>
                <c:pt idx="448">
                  <c:v>40492</c:v>
                </c:pt>
                <c:pt idx="449">
                  <c:v>40493</c:v>
                </c:pt>
                <c:pt idx="450">
                  <c:v>40494</c:v>
                </c:pt>
                <c:pt idx="451">
                  <c:v>40497</c:v>
                </c:pt>
                <c:pt idx="452">
                  <c:v>40498</c:v>
                </c:pt>
                <c:pt idx="453">
                  <c:v>40499</c:v>
                </c:pt>
                <c:pt idx="454">
                  <c:v>40500</c:v>
                </c:pt>
                <c:pt idx="455">
                  <c:v>40501</c:v>
                </c:pt>
                <c:pt idx="456">
                  <c:v>40504</c:v>
                </c:pt>
                <c:pt idx="457">
                  <c:v>40505</c:v>
                </c:pt>
                <c:pt idx="458">
                  <c:v>40506</c:v>
                </c:pt>
                <c:pt idx="459">
                  <c:v>40507</c:v>
                </c:pt>
                <c:pt idx="460">
                  <c:v>40508</c:v>
                </c:pt>
                <c:pt idx="461">
                  <c:v>40511</c:v>
                </c:pt>
                <c:pt idx="462">
                  <c:v>40512</c:v>
                </c:pt>
                <c:pt idx="463">
                  <c:v>40513</c:v>
                </c:pt>
                <c:pt idx="464">
                  <c:v>40514</c:v>
                </c:pt>
                <c:pt idx="465">
                  <c:v>40515</c:v>
                </c:pt>
                <c:pt idx="466">
                  <c:v>40518</c:v>
                </c:pt>
                <c:pt idx="467">
                  <c:v>40519</c:v>
                </c:pt>
                <c:pt idx="468">
                  <c:v>40520</c:v>
                </c:pt>
                <c:pt idx="469">
                  <c:v>40521</c:v>
                </c:pt>
                <c:pt idx="470">
                  <c:v>40522</c:v>
                </c:pt>
                <c:pt idx="471">
                  <c:v>40525</c:v>
                </c:pt>
                <c:pt idx="472">
                  <c:v>40526</c:v>
                </c:pt>
                <c:pt idx="473">
                  <c:v>40527</c:v>
                </c:pt>
                <c:pt idx="474">
                  <c:v>40528</c:v>
                </c:pt>
                <c:pt idx="475">
                  <c:v>40529</c:v>
                </c:pt>
                <c:pt idx="476">
                  <c:v>40532</c:v>
                </c:pt>
                <c:pt idx="477">
                  <c:v>40533</c:v>
                </c:pt>
                <c:pt idx="478">
                  <c:v>40534</c:v>
                </c:pt>
                <c:pt idx="479">
                  <c:v>40535</c:v>
                </c:pt>
                <c:pt idx="480">
                  <c:v>40536</c:v>
                </c:pt>
                <c:pt idx="481">
                  <c:v>40539</c:v>
                </c:pt>
                <c:pt idx="482">
                  <c:v>40540</c:v>
                </c:pt>
                <c:pt idx="483">
                  <c:v>40541</c:v>
                </c:pt>
                <c:pt idx="484">
                  <c:v>40542</c:v>
                </c:pt>
                <c:pt idx="485">
                  <c:v>40543</c:v>
                </c:pt>
                <c:pt idx="486">
                  <c:v>40547</c:v>
                </c:pt>
                <c:pt idx="487">
                  <c:v>40548</c:v>
                </c:pt>
                <c:pt idx="488">
                  <c:v>40549</c:v>
                </c:pt>
                <c:pt idx="489">
                  <c:v>40550</c:v>
                </c:pt>
                <c:pt idx="490">
                  <c:v>40553</c:v>
                </c:pt>
                <c:pt idx="491">
                  <c:v>40554</c:v>
                </c:pt>
                <c:pt idx="492">
                  <c:v>40555</c:v>
                </c:pt>
                <c:pt idx="493">
                  <c:v>40556</c:v>
                </c:pt>
                <c:pt idx="494">
                  <c:v>40557</c:v>
                </c:pt>
                <c:pt idx="495">
                  <c:v>40560</c:v>
                </c:pt>
                <c:pt idx="496">
                  <c:v>40561</c:v>
                </c:pt>
                <c:pt idx="497">
                  <c:v>40562</c:v>
                </c:pt>
                <c:pt idx="498">
                  <c:v>40563</c:v>
                </c:pt>
                <c:pt idx="499">
                  <c:v>40564</c:v>
                </c:pt>
                <c:pt idx="500">
                  <c:v>40567</c:v>
                </c:pt>
                <c:pt idx="501">
                  <c:v>40568</c:v>
                </c:pt>
                <c:pt idx="502">
                  <c:v>40569</c:v>
                </c:pt>
                <c:pt idx="503">
                  <c:v>40570</c:v>
                </c:pt>
                <c:pt idx="504">
                  <c:v>40571</c:v>
                </c:pt>
                <c:pt idx="505">
                  <c:v>40574</c:v>
                </c:pt>
                <c:pt idx="506">
                  <c:v>40575</c:v>
                </c:pt>
                <c:pt idx="507">
                  <c:v>40583</c:v>
                </c:pt>
                <c:pt idx="508">
                  <c:v>40584</c:v>
                </c:pt>
                <c:pt idx="509">
                  <c:v>40585</c:v>
                </c:pt>
                <c:pt idx="510">
                  <c:v>40588</c:v>
                </c:pt>
                <c:pt idx="511">
                  <c:v>40589</c:v>
                </c:pt>
                <c:pt idx="512">
                  <c:v>40590</c:v>
                </c:pt>
                <c:pt idx="513">
                  <c:v>40591</c:v>
                </c:pt>
                <c:pt idx="514">
                  <c:v>40592</c:v>
                </c:pt>
                <c:pt idx="515">
                  <c:v>40595</c:v>
                </c:pt>
                <c:pt idx="516">
                  <c:v>40596</c:v>
                </c:pt>
                <c:pt idx="517">
                  <c:v>40597</c:v>
                </c:pt>
                <c:pt idx="518">
                  <c:v>40598</c:v>
                </c:pt>
                <c:pt idx="519">
                  <c:v>40599</c:v>
                </c:pt>
                <c:pt idx="520">
                  <c:v>40602</c:v>
                </c:pt>
                <c:pt idx="521">
                  <c:v>40603</c:v>
                </c:pt>
                <c:pt idx="522">
                  <c:v>40604</c:v>
                </c:pt>
                <c:pt idx="523">
                  <c:v>40605</c:v>
                </c:pt>
                <c:pt idx="524">
                  <c:v>40606</c:v>
                </c:pt>
                <c:pt idx="525">
                  <c:v>40609</c:v>
                </c:pt>
                <c:pt idx="526">
                  <c:v>40610</c:v>
                </c:pt>
                <c:pt idx="527">
                  <c:v>40611</c:v>
                </c:pt>
                <c:pt idx="528">
                  <c:v>40612</c:v>
                </c:pt>
                <c:pt idx="529">
                  <c:v>40613</c:v>
                </c:pt>
                <c:pt idx="530">
                  <c:v>40616</c:v>
                </c:pt>
                <c:pt idx="531">
                  <c:v>40617</c:v>
                </c:pt>
                <c:pt idx="532">
                  <c:v>40618</c:v>
                </c:pt>
                <c:pt idx="533">
                  <c:v>40619</c:v>
                </c:pt>
                <c:pt idx="534">
                  <c:v>40620</c:v>
                </c:pt>
                <c:pt idx="535">
                  <c:v>40623</c:v>
                </c:pt>
                <c:pt idx="536">
                  <c:v>40624</c:v>
                </c:pt>
                <c:pt idx="537">
                  <c:v>40625</c:v>
                </c:pt>
                <c:pt idx="538">
                  <c:v>40626</c:v>
                </c:pt>
                <c:pt idx="539">
                  <c:v>40627</c:v>
                </c:pt>
                <c:pt idx="540">
                  <c:v>40630</c:v>
                </c:pt>
                <c:pt idx="541">
                  <c:v>40631</c:v>
                </c:pt>
                <c:pt idx="542">
                  <c:v>40632</c:v>
                </c:pt>
                <c:pt idx="543">
                  <c:v>40633</c:v>
                </c:pt>
                <c:pt idx="544">
                  <c:v>40634</c:v>
                </c:pt>
                <c:pt idx="545">
                  <c:v>40639</c:v>
                </c:pt>
                <c:pt idx="546">
                  <c:v>40640</c:v>
                </c:pt>
                <c:pt idx="547">
                  <c:v>40641</c:v>
                </c:pt>
                <c:pt idx="548">
                  <c:v>40644</c:v>
                </c:pt>
                <c:pt idx="549">
                  <c:v>40645</c:v>
                </c:pt>
                <c:pt idx="550">
                  <c:v>40646</c:v>
                </c:pt>
                <c:pt idx="551">
                  <c:v>40647</c:v>
                </c:pt>
                <c:pt idx="552">
                  <c:v>40648</c:v>
                </c:pt>
                <c:pt idx="553">
                  <c:v>40651</c:v>
                </c:pt>
                <c:pt idx="554">
                  <c:v>40652</c:v>
                </c:pt>
                <c:pt idx="555">
                  <c:v>40653</c:v>
                </c:pt>
                <c:pt idx="556">
                  <c:v>40654</c:v>
                </c:pt>
                <c:pt idx="557">
                  <c:v>40655</c:v>
                </c:pt>
                <c:pt idx="558">
                  <c:v>40658</c:v>
                </c:pt>
                <c:pt idx="559">
                  <c:v>40659</c:v>
                </c:pt>
                <c:pt idx="560">
                  <c:v>40660</c:v>
                </c:pt>
                <c:pt idx="561">
                  <c:v>40661</c:v>
                </c:pt>
                <c:pt idx="562">
                  <c:v>40662</c:v>
                </c:pt>
                <c:pt idx="563">
                  <c:v>40666</c:v>
                </c:pt>
                <c:pt idx="564">
                  <c:v>40667</c:v>
                </c:pt>
                <c:pt idx="565">
                  <c:v>40668</c:v>
                </c:pt>
                <c:pt idx="566">
                  <c:v>40669</c:v>
                </c:pt>
                <c:pt idx="567">
                  <c:v>40672</c:v>
                </c:pt>
                <c:pt idx="568">
                  <c:v>40673</c:v>
                </c:pt>
                <c:pt idx="569">
                  <c:v>40674</c:v>
                </c:pt>
                <c:pt idx="570">
                  <c:v>40675</c:v>
                </c:pt>
                <c:pt idx="571">
                  <c:v>40676</c:v>
                </c:pt>
                <c:pt idx="572">
                  <c:v>40679</c:v>
                </c:pt>
                <c:pt idx="573">
                  <c:v>40680</c:v>
                </c:pt>
                <c:pt idx="574">
                  <c:v>40681</c:v>
                </c:pt>
                <c:pt idx="575">
                  <c:v>40682</c:v>
                </c:pt>
                <c:pt idx="576">
                  <c:v>40683</c:v>
                </c:pt>
                <c:pt idx="577">
                  <c:v>40686</c:v>
                </c:pt>
                <c:pt idx="578">
                  <c:v>40687</c:v>
                </c:pt>
                <c:pt idx="579">
                  <c:v>40688</c:v>
                </c:pt>
                <c:pt idx="580">
                  <c:v>40689</c:v>
                </c:pt>
                <c:pt idx="581">
                  <c:v>40690</c:v>
                </c:pt>
                <c:pt idx="582">
                  <c:v>40693</c:v>
                </c:pt>
                <c:pt idx="583">
                  <c:v>40694</c:v>
                </c:pt>
                <c:pt idx="584">
                  <c:v>40695</c:v>
                </c:pt>
                <c:pt idx="585">
                  <c:v>40696</c:v>
                </c:pt>
                <c:pt idx="586">
                  <c:v>40697</c:v>
                </c:pt>
                <c:pt idx="587">
                  <c:v>40701</c:v>
                </c:pt>
                <c:pt idx="588">
                  <c:v>40702</c:v>
                </c:pt>
                <c:pt idx="589">
                  <c:v>40703</c:v>
                </c:pt>
                <c:pt idx="590">
                  <c:v>40704</c:v>
                </c:pt>
                <c:pt idx="591">
                  <c:v>40707</c:v>
                </c:pt>
                <c:pt idx="592">
                  <c:v>40708</c:v>
                </c:pt>
                <c:pt idx="593">
                  <c:v>40709</c:v>
                </c:pt>
                <c:pt idx="594">
                  <c:v>40710</c:v>
                </c:pt>
                <c:pt idx="595">
                  <c:v>40711</c:v>
                </c:pt>
                <c:pt idx="596">
                  <c:v>40714</c:v>
                </c:pt>
                <c:pt idx="597">
                  <c:v>40715</c:v>
                </c:pt>
                <c:pt idx="598">
                  <c:v>40716</c:v>
                </c:pt>
                <c:pt idx="599">
                  <c:v>40717</c:v>
                </c:pt>
                <c:pt idx="600">
                  <c:v>40718</c:v>
                </c:pt>
                <c:pt idx="601">
                  <c:v>40721</c:v>
                </c:pt>
                <c:pt idx="602">
                  <c:v>40722</c:v>
                </c:pt>
                <c:pt idx="603">
                  <c:v>40723</c:v>
                </c:pt>
                <c:pt idx="604">
                  <c:v>40724</c:v>
                </c:pt>
                <c:pt idx="605">
                  <c:v>40725</c:v>
                </c:pt>
                <c:pt idx="606">
                  <c:v>40728</c:v>
                </c:pt>
                <c:pt idx="607">
                  <c:v>40729</c:v>
                </c:pt>
                <c:pt idx="608">
                  <c:v>40730</c:v>
                </c:pt>
                <c:pt idx="609">
                  <c:v>40731</c:v>
                </c:pt>
                <c:pt idx="610">
                  <c:v>40732</c:v>
                </c:pt>
                <c:pt idx="611">
                  <c:v>40735</c:v>
                </c:pt>
                <c:pt idx="612">
                  <c:v>40736</c:v>
                </c:pt>
                <c:pt idx="613">
                  <c:v>40737</c:v>
                </c:pt>
                <c:pt idx="614">
                  <c:v>40738</c:v>
                </c:pt>
                <c:pt idx="615">
                  <c:v>40739</c:v>
                </c:pt>
                <c:pt idx="616">
                  <c:v>40742</c:v>
                </c:pt>
                <c:pt idx="617">
                  <c:v>40743</c:v>
                </c:pt>
                <c:pt idx="618">
                  <c:v>40744</c:v>
                </c:pt>
                <c:pt idx="619">
                  <c:v>40745</c:v>
                </c:pt>
                <c:pt idx="620">
                  <c:v>40746</c:v>
                </c:pt>
                <c:pt idx="621">
                  <c:v>40749</c:v>
                </c:pt>
                <c:pt idx="622">
                  <c:v>40750</c:v>
                </c:pt>
                <c:pt idx="623">
                  <c:v>40751</c:v>
                </c:pt>
                <c:pt idx="624">
                  <c:v>40752</c:v>
                </c:pt>
                <c:pt idx="625">
                  <c:v>40753</c:v>
                </c:pt>
                <c:pt idx="626">
                  <c:v>40756</c:v>
                </c:pt>
                <c:pt idx="627">
                  <c:v>40757</c:v>
                </c:pt>
                <c:pt idx="628">
                  <c:v>40758</c:v>
                </c:pt>
                <c:pt idx="629">
                  <c:v>40759</c:v>
                </c:pt>
                <c:pt idx="630">
                  <c:v>40760</c:v>
                </c:pt>
                <c:pt idx="631">
                  <c:v>40763</c:v>
                </c:pt>
                <c:pt idx="632">
                  <c:v>40764</c:v>
                </c:pt>
                <c:pt idx="633">
                  <c:v>40765</c:v>
                </c:pt>
                <c:pt idx="634">
                  <c:v>40766</c:v>
                </c:pt>
                <c:pt idx="635">
                  <c:v>40767</c:v>
                </c:pt>
                <c:pt idx="636">
                  <c:v>40770</c:v>
                </c:pt>
                <c:pt idx="637">
                  <c:v>40771</c:v>
                </c:pt>
                <c:pt idx="638">
                  <c:v>40772</c:v>
                </c:pt>
                <c:pt idx="639">
                  <c:v>40773</c:v>
                </c:pt>
                <c:pt idx="640">
                  <c:v>40774</c:v>
                </c:pt>
                <c:pt idx="641">
                  <c:v>40777</c:v>
                </c:pt>
                <c:pt idx="642">
                  <c:v>40778</c:v>
                </c:pt>
                <c:pt idx="643">
                  <c:v>40779</c:v>
                </c:pt>
                <c:pt idx="644">
                  <c:v>40780</c:v>
                </c:pt>
                <c:pt idx="645">
                  <c:v>40781</c:v>
                </c:pt>
                <c:pt idx="646">
                  <c:v>40784</c:v>
                </c:pt>
                <c:pt idx="647">
                  <c:v>40785</c:v>
                </c:pt>
                <c:pt idx="648">
                  <c:v>40786</c:v>
                </c:pt>
                <c:pt idx="649">
                  <c:v>40787</c:v>
                </c:pt>
                <c:pt idx="650">
                  <c:v>40788</c:v>
                </c:pt>
                <c:pt idx="651">
                  <c:v>40791</c:v>
                </c:pt>
                <c:pt idx="652">
                  <c:v>40792</c:v>
                </c:pt>
                <c:pt idx="653">
                  <c:v>40793</c:v>
                </c:pt>
                <c:pt idx="654">
                  <c:v>40794</c:v>
                </c:pt>
                <c:pt idx="655">
                  <c:v>40795</c:v>
                </c:pt>
                <c:pt idx="656">
                  <c:v>40799</c:v>
                </c:pt>
                <c:pt idx="657">
                  <c:v>40800</c:v>
                </c:pt>
                <c:pt idx="658">
                  <c:v>40801</c:v>
                </c:pt>
                <c:pt idx="659">
                  <c:v>40802</c:v>
                </c:pt>
                <c:pt idx="660">
                  <c:v>40805</c:v>
                </c:pt>
                <c:pt idx="661">
                  <c:v>40806</c:v>
                </c:pt>
                <c:pt idx="662">
                  <c:v>40807</c:v>
                </c:pt>
                <c:pt idx="663">
                  <c:v>40808</c:v>
                </c:pt>
                <c:pt idx="664">
                  <c:v>40809</c:v>
                </c:pt>
                <c:pt idx="665">
                  <c:v>40812</c:v>
                </c:pt>
                <c:pt idx="666">
                  <c:v>40813</c:v>
                </c:pt>
                <c:pt idx="667">
                  <c:v>40814</c:v>
                </c:pt>
                <c:pt idx="668">
                  <c:v>40815</c:v>
                </c:pt>
                <c:pt idx="669">
                  <c:v>40816</c:v>
                </c:pt>
                <c:pt idx="670">
                  <c:v>40826</c:v>
                </c:pt>
                <c:pt idx="671">
                  <c:v>40827</c:v>
                </c:pt>
                <c:pt idx="672">
                  <c:v>40828</c:v>
                </c:pt>
                <c:pt idx="673">
                  <c:v>40829</c:v>
                </c:pt>
                <c:pt idx="674">
                  <c:v>40830</c:v>
                </c:pt>
                <c:pt idx="675">
                  <c:v>40833</c:v>
                </c:pt>
                <c:pt idx="676">
                  <c:v>40834</c:v>
                </c:pt>
                <c:pt idx="677">
                  <c:v>40835</c:v>
                </c:pt>
                <c:pt idx="678">
                  <c:v>40836</c:v>
                </c:pt>
                <c:pt idx="679">
                  <c:v>40837</c:v>
                </c:pt>
                <c:pt idx="680">
                  <c:v>40840</c:v>
                </c:pt>
                <c:pt idx="681">
                  <c:v>40841</c:v>
                </c:pt>
                <c:pt idx="682">
                  <c:v>40842</c:v>
                </c:pt>
                <c:pt idx="683">
                  <c:v>40843</c:v>
                </c:pt>
                <c:pt idx="684">
                  <c:v>40844</c:v>
                </c:pt>
                <c:pt idx="685">
                  <c:v>40847</c:v>
                </c:pt>
                <c:pt idx="686">
                  <c:v>40848</c:v>
                </c:pt>
                <c:pt idx="687">
                  <c:v>40849</c:v>
                </c:pt>
                <c:pt idx="688">
                  <c:v>40850</c:v>
                </c:pt>
                <c:pt idx="689">
                  <c:v>40851</c:v>
                </c:pt>
                <c:pt idx="690">
                  <c:v>40854</c:v>
                </c:pt>
                <c:pt idx="691">
                  <c:v>40855</c:v>
                </c:pt>
                <c:pt idx="692">
                  <c:v>40856</c:v>
                </c:pt>
                <c:pt idx="693">
                  <c:v>40857</c:v>
                </c:pt>
                <c:pt idx="694">
                  <c:v>40858</c:v>
                </c:pt>
                <c:pt idx="695">
                  <c:v>40861</c:v>
                </c:pt>
                <c:pt idx="696">
                  <c:v>40862</c:v>
                </c:pt>
                <c:pt idx="697">
                  <c:v>40863</c:v>
                </c:pt>
                <c:pt idx="698">
                  <c:v>40864</c:v>
                </c:pt>
                <c:pt idx="699">
                  <c:v>40865</c:v>
                </c:pt>
                <c:pt idx="700">
                  <c:v>40868</c:v>
                </c:pt>
                <c:pt idx="701">
                  <c:v>40869</c:v>
                </c:pt>
                <c:pt idx="702">
                  <c:v>40870</c:v>
                </c:pt>
                <c:pt idx="703">
                  <c:v>40871</c:v>
                </c:pt>
                <c:pt idx="704">
                  <c:v>40872</c:v>
                </c:pt>
                <c:pt idx="705">
                  <c:v>40875</c:v>
                </c:pt>
                <c:pt idx="706">
                  <c:v>40876</c:v>
                </c:pt>
                <c:pt idx="707">
                  <c:v>40877</c:v>
                </c:pt>
                <c:pt idx="708">
                  <c:v>40878</c:v>
                </c:pt>
                <c:pt idx="709">
                  <c:v>40879</c:v>
                </c:pt>
                <c:pt idx="710">
                  <c:v>40882</c:v>
                </c:pt>
                <c:pt idx="711">
                  <c:v>40883</c:v>
                </c:pt>
                <c:pt idx="712">
                  <c:v>40884</c:v>
                </c:pt>
                <c:pt idx="713">
                  <c:v>40885</c:v>
                </c:pt>
                <c:pt idx="714">
                  <c:v>40886</c:v>
                </c:pt>
                <c:pt idx="715">
                  <c:v>40889</c:v>
                </c:pt>
                <c:pt idx="716">
                  <c:v>40890</c:v>
                </c:pt>
                <c:pt idx="717">
                  <c:v>40891</c:v>
                </c:pt>
                <c:pt idx="718">
                  <c:v>40892</c:v>
                </c:pt>
                <c:pt idx="719">
                  <c:v>40893</c:v>
                </c:pt>
                <c:pt idx="720">
                  <c:v>40896</c:v>
                </c:pt>
                <c:pt idx="721">
                  <c:v>40897</c:v>
                </c:pt>
                <c:pt idx="722">
                  <c:v>40898</c:v>
                </c:pt>
                <c:pt idx="723">
                  <c:v>40899</c:v>
                </c:pt>
                <c:pt idx="724">
                  <c:v>40900</c:v>
                </c:pt>
                <c:pt idx="725">
                  <c:v>40903</c:v>
                </c:pt>
                <c:pt idx="726">
                  <c:v>40904</c:v>
                </c:pt>
                <c:pt idx="727">
                  <c:v>40905</c:v>
                </c:pt>
                <c:pt idx="728">
                  <c:v>40906</c:v>
                </c:pt>
                <c:pt idx="729">
                  <c:v>40907</c:v>
                </c:pt>
                <c:pt idx="730">
                  <c:v>40912</c:v>
                </c:pt>
                <c:pt idx="731">
                  <c:v>40913</c:v>
                </c:pt>
                <c:pt idx="732">
                  <c:v>40914</c:v>
                </c:pt>
                <c:pt idx="733">
                  <c:v>40917</c:v>
                </c:pt>
                <c:pt idx="734">
                  <c:v>40918</c:v>
                </c:pt>
                <c:pt idx="735">
                  <c:v>40919</c:v>
                </c:pt>
                <c:pt idx="736">
                  <c:v>40920</c:v>
                </c:pt>
                <c:pt idx="737">
                  <c:v>40921</c:v>
                </c:pt>
                <c:pt idx="738">
                  <c:v>40924</c:v>
                </c:pt>
                <c:pt idx="739">
                  <c:v>40925</c:v>
                </c:pt>
                <c:pt idx="740">
                  <c:v>40926</c:v>
                </c:pt>
                <c:pt idx="741">
                  <c:v>40927</c:v>
                </c:pt>
                <c:pt idx="742">
                  <c:v>40928</c:v>
                </c:pt>
                <c:pt idx="743">
                  <c:v>40938</c:v>
                </c:pt>
                <c:pt idx="744">
                  <c:v>40939</c:v>
                </c:pt>
                <c:pt idx="745">
                  <c:v>40940</c:v>
                </c:pt>
                <c:pt idx="746">
                  <c:v>40941</c:v>
                </c:pt>
                <c:pt idx="747">
                  <c:v>40942</c:v>
                </c:pt>
                <c:pt idx="748">
                  <c:v>40945</c:v>
                </c:pt>
                <c:pt idx="749">
                  <c:v>40946</c:v>
                </c:pt>
                <c:pt idx="750">
                  <c:v>40947</c:v>
                </c:pt>
                <c:pt idx="751">
                  <c:v>40948</c:v>
                </c:pt>
                <c:pt idx="752">
                  <c:v>40949</c:v>
                </c:pt>
                <c:pt idx="753">
                  <c:v>40952</c:v>
                </c:pt>
                <c:pt idx="754">
                  <c:v>40953</c:v>
                </c:pt>
                <c:pt idx="755">
                  <c:v>40954</c:v>
                </c:pt>
                <c:pt idx="756">
                  <c:v>40955</c:v>
                </c:pt>
                <c:pt idx="757">
                  <c:v>40956</c:v>
                </c:pt>
                <c:pt idx="758">
                  <c:v>40959</c:v>
                </c:pt>
                <c:pt idx="759">
                  <c:v>40960</c:v>
                </c:pt>
                <c:pt idx="760">
                  <c:v>40961</c:v>
                </c:pt>
                <c:pt idx="761">
                  <c:v>40962</c:v>
                </c:pt>
                <c:pt idx="762">
                  <c:v>40963</c:v>
                </c:pt>
                <c:pt idx="763">
                  <c:v>40966</c:v>
                </c:pt>
                <c:pt idx="764">
                  <c:v>40967</c:v>
                </c:pt>
                <c:pt idx="765">
                  <c:v>40968</c:v>
                </c:pt>
                <c:pt idx="766">
                  <c:v>40969</c:v>
                </c:pt>
                <c:pt idx="767">
                  <c:v>40970</c:v>
                </c:pt>
                <c:pt idx="768">
                  <c:v>40973</c:v>
                </c:pt>
                <c:pt idx="769">
                  <c:v>40974</c:v>
                </c:pt>
                <c:pt idx="770">
                  <c:v>40975</c:v>
                </c:pt>
                <c:pt idx="771">
                  <c:v>40976</c:v>
                </c:pt>
                <c:pt idx="772">
                  <c:v>40977</c:v>
                </c:pt>
                <c:pt idx="773">
                  <c:v>40980</c:v>
                </c:pt>
                <c:pt idx="774">
                  <c:v>40981</c:v>
                </c:pt>
                <c:pt idx="775">
                  <c:v>40982</c:v>
                </c:pt>
                <c:pt idx="776">
                  <c:v>40983</c:v>
                </c:pt>
                <c:pt idx="777">
                  <c:v>40984</c:v>
                </c:pt>
                <c:pt idx="778">
                  <c:v>40987</c:v>
                </c:pt>
                <c:pt idx="779">
                  <c:v>40988</c:v>
                </c:pt>
                <c:pt idx="780">
                  <c:v>40989</c:v>
                </c:pt>
                <c:pt idx="781">
                  <c:v>40990</c:v>
                </c:pt>
                <c:pt idx="782">
                  <c:v>40991</c:v>
                </c:pt>
                <c:pt idx="783">
                  <c:v>40994</c:v>
                </c:pt>
                <c:pt idx="784">
                  <c:v>40995</c:v>
                </c:pt>
                <c:pt idx="785">
                  <c:v>40996</c:v>
                </c:pt>
                <c:pt idx="786">
                  <c:v>40997</c:v>
                </c:pt>
                <c:pt idx="787">
                  <c:v>40998</c:v>
                </c:pt>
                <c:pt idx="788">
                  <c:v>41004</c:v>
                </c:pt>
                <c:pt idx="789">
                  <c:v>41005</c:v>
                </c:pt>
                <c:pt idx="790">
                  <c:v>41008</c:v>
                </c:pt>
                <c:pt idx="791">
                  <c:v>41009</c:v>
                </c:pt>
                <c:pt idx="792">
                  <c:v>41010</c:v>
                </c:pt>
                <c:pt idx="793">
                  <c:v>41011</c:v>
                </c:pt>
                <c:pt idx="794">
                  <c:v>41012</c:v>
                </c:pt>
                <c:pt idx="795">
                  <c:v>41015</c:v>
                </c:pt>
                <c:pt idx="796">
                  <c:v>41016</c:v>
                </c:pt>
                <c:pt idx="797">
                  <c:v>41017</c:v>
                </c:pt>
                <c:pt idx="798">
                  <c:v>41018</c:v>
                </c:pt>
                <c:pt idx="799">
                  <c:v>41019</c:v>
                </c:pt>
                <c:pt idx="800">
                  <c:v>41022</c:v>
                </c:pt>
                <c:pt idx="801">
                  <c:v>41023</c:v>
                </c:pt>
                <c:pt idx="802">
                  <c:v>41024</c:v>
                </c:pt>
                <c:pt idx="803">
                  <c:v>41025</c:v>
                </c:pt>
                <c:pt idx="804">
                  <c:v>41026</c:v>
                </c:pt>
                <c:pt idx="805">
                  <c:v>41031</c:v>
                </c:pt>
                <c:pt idx="806">
                  <c:v>41032</c:v>
                </c:pt>
                <c:pt idx="807">
                  <c:v>41033</c:v>
                </c:pt>
                <c:pt idx="808">
                  <c:v>41036</c:v>
                </c:pt>
                <c:pt idx="809">
                  <c:v>41037</c:v>
                </c:pt>
                <c:pt idx="810">
                  <c:v>41038</c:v>
                </c:pt>
                <c:pt idx="811">
                  <c:v>41039</c:v>
                </c:pt>
                <c:pt idx="812">
                  <c:v>41040</c:v>
                </c:pt>
                <c:pt idx="813">
                  <c:v>41043</c:v>
                </c:pt>
                <c:pt idx="814">
                  <c:v>41044</c:v>
                </c:pt>
                <c:pt idx="815">
                  <c:v>41045</c:v>
                </c:pt>
                <c:pt idx="816">
                  <c:v>41046</c:v>
                </c:pt>
                <c:pt idx="817">
                  <c:v>41047</c:v>
                </c:pt>
                <c:pt idx="818">
                  <c:v>41050</c:v>
                </c:pt>
                <c:pt idx="819">
                  <c:v>41051</c:v>
                </c:pt>
                <c:pt idx="820">
                  <c:v>41052</c:v>
                </c:pt>
                <c:pt idx="821">
                  <c:v>41053</c:v>
                </c:pt>
                <c:pt idx="822">
                  <c:v>41054</c:v>
                </c:pt>
                <c:pt idx="823">
                  <c:v>41057</c:v>
                </c:pt>
                <c:pt idx="824">
                  <c:v>41058</c:v>
                </c:pt>
                <c:pt idx="825">
                  <c:v>41059</c:v>
                </c:pt>
                <c:pt idx="826">
                  <c:v>41060</c:v>
                </c:pt>
                <c:pt idx="827">
                  <c:v>41061</c:v>
                </c:pt>
                <c:pt idx="828">
                  <c:v>41064</c:v>
                </c:pt>
                <c:pt idx="829">
                  <c:v>41065</c:v>
                </c:pt>
                <c:pt idx="830">
                  <c:v>41066</c:v>
                </c:pt>
                <c:pt idx="831">
                  <c:v>41067</c:v>
                </c:pt>
                <c:pt idx="832">
                  <c:v>41068</c:v>
                </c:pt>
                <c:pt idx="833">
                  <c:v>41071</c:v>
                </c:pt>
                <c:pt idx="834">
                  <c:v>41072</c:v>
                </c:pt>
                <c:pt idx="835">
                  <c:v>41073</c:v>
                </c:pt>
                <c:pt idx="836">
                  <c:v>41074</c:v>
                </c:pt>
                <c:pt idx="837">
                  <c:v>41075</c:v>
                </c:pt>
                <c:pt idx="838">
                  <c:v>41078</c:v>
                </c:pt>
                <c:pt idx="839">
                  <c:v>41079</c:v>
                </c:pt>
                <c:pt idx="840">
                  <c:v>41080</c:v>
                </c:pt>
                <c:pt idx="841">
                  <c:v>41081</c:v>
                </c:pt>
                <c:pt idx="842">
                  <c:v>41085</c:v>
                </c:pt>
                <c:pt idx="843">
                  <c:v>41086</c:v>
                </c:pt>
                <c:pt idx="844">
                  <c:v>41087</c:v>
                </c:pt>
                <c:pt idx="845">
                  <c:v>41088</c:v>
                </c:pt>
                <c:pt idx="846">
                  <c:v>41089</c:v>
                </c:pt>
                <c:pt idx="847">
                  <c:v>41092</c:v>
                </c:pt>
                <c:pt idx="848">
                  <c:v>41093</c:v>
                </c:pt>
                <c:pt idx="849">
                  <c:v>41094</c:v>
                </c:pt>
                <c:pt idx="850">
                  <c:v>41095</c:v>
                </c:pt>
                <c:pt idx="851">
                  <c:v>41096</c:v>
                </c:pt>
                <c:pt idx="852">
                  <c:v>41099</c:v>
                </c:pt>
                <c:pt idx="853">
                  <c:v>41100</c:v>
                </c:pt>
                <c:pt idx="854">
                  <c:v>41101</c:v>
                </c:pt>
                <c:pt idx="855">
                  <c:v>41102</c:v>
                </c:pt>
                <c:pt idx="856">
                  <c:v>41103</c:v>
                </c:pt>
                <c:pt idx="857">
                  <c:v>41106</c:v>
                </c:pt>
                <c:pt idx="858">
                  <c:v>41107</c:v>
                </c:pt>
                <c:pt idx="859">
                  <c:v>41108</c:v>
                </c:pt>
                <c:pt idx="860">
                  <c:v>41109</c:v>
                </c:pt>
                <c:pt idx="861">
                  <c:v>41110</c:v>
                </c:pt>
                <c:pt idx="862">
                  <c:v>41113</c:v>
                </c:pt>
                <c:pt idx="863">
                  <c:v>41114</c:v>
                </c:pt>
                <c:pt idx="864">
                  <c:v>41115</c:v>
                </c:pt>
                <c:pt idx="865">
                  <c:v>41116</c:v>
                </c:pt>
                <c:pt idx="866">
                  <c:v>41117</c:v>
                </c:pt>
                <c:pt idx="867">
                  <c:v>41120</c:v>
                </c:pt>
                <c:pt idx="868">
                  <c:v>41121</c:v>
                </c:pt>
                <c:pt idx="869">
                  <c:v>41122</c:v>
                </c:pt>
                <c:pt idx="870">
                  <c:v>41123</c:v>
                </c:pt>
                <c:pt idx="871">
                  <c:v>41124</c:v>
                </c:pt>
                <c:pt idx="872">
                  <c:v>41127</c:v>
                </c:pt>
                <c:pt idx="873">
                  <c:v>41128</c:v>
                </c:pt>
                <c:pt idx="874">
                  <c:v>41129</c:v>
                </c:pt>
                <c:pt idx="875">
                  <c:v>41130</c:v>
                </c:pt>
                <c:pt idx="876">
                  <c:v>41131</c:v>
                </c:pt>
                <c:pt idx="877">
                  <c:v>41134</c:v>
                </c:pt>
                <c:pt idx="878">
                  <c:v>41135</c:v>
                </c:pt>
                <c:pt idx="879">
                  <c:v>41136</c:v>
                </c:pt>
                <c:pt idx="880">
                  <c:v>41137</c:v>
                </c:pt>
                <c:pt idx="881">
                  <c:v>41138</c:v>
                </c:pt>
                <c:pt idx="882">
                  <c:v>41141</c:v>
                </c:pt>
                <c:pt idx="883">
                  <c:v>41142</c:v>
                </c:pt>
                <c:pt idx="884">
                  <c:v>41143</c:v>
                </c:pt>
                <c:pt idx="885">
                  <c:v>41144</c:v>
                </c:pt>
                <c:pt idx="886">
                  <c:v>41145</c:v>
                </c:pt>
                <c:pt idx="887">
                  <c:v>41148</c:v>
                </c:pt>
                <c:pt idx="888">
                  <c:v>41149</c:v>
                </c:pt>
                <c:pt idx="889">
                  <c:v>41150</c:v>
                </c:pt>
                <c:pt idx="890">
                  <c:v>41151</c:v>
                </c:pt>
                <c:pt idx="891">
                  <c:v>41152</c:v>
                </c:pt>
                <c:pt idx="892">
                  <c:v>41155</c:v>
                </c:pt>
                <c:pt idx="893">
                  <c:v>41156</c:v>
                </c:pt>
                <c:pt idx="894">
                  <c:v>41157</c:v>
                </c:pt>
                <c:pt idx="895">
                  <c:v>41158</c:v>
                </c:pt>
                <c:pt idx="896">
                  <c:v>41159</c:v>
                </c:pt>
                <c:pt idx="897">
                  <c:v>41162</c:v>
                </c:pt>
                <c:pt idx="898">
                  <c:v>41163</c:v>
                </c:pt>
                <c:pt idx="899">
                  <c:v>41164</c:v>
                </c:pt>
                <c:pt idx="900">
                  <c:v>41165</c:v>
                </c:pt>
                <c:pt idx="901">
                  <c:v>41166</c:v>
                </c:pt>
                <c:pt idx="902">
                  <c:v>41169</c:v>
                </c:pt>
                <c:pt idx="903">
                  <c:v>41170</c:v>
                </c:pt>
                <c:pt idx="904">
                  <c:v>41171</c:v>
                </c:pt>
                <c:pt idx="905">
                  <c:v>41172</c:v>
                </c:pt>
                <c:pt idx="906">
                  <c:v>41173</c:v>
                </c:pt>
                <c:pt idx="907">
                  <c:v>41176</c:v>
                </c:pt>
                <c:pt idx="908">
                  <c:v>41177</c:v>
                </c:pt>
                <c:pt idx="909">
                  <c:v>41178</c:v>
                </c:pt>
                <c:pt idx="910">
                  <c:v>41179</c:v>
                </c:pt>
                <c:pt idx="911">
                  <c:v>41180</c:v>
                </c:pt>
                <c:pt idx="912">
                  <c:v>41190</c:v>
                </c:pt>
                <c:pt idx="913">
                  <c:v>41191</c:v>
                </c:pt>
                <c:pt idx="914">
                  <c:v>41192</c:v>
                </c:pt>
                <c:pt idx="915">
                  <c:v>41193</c:v>
                </c:pt>
                <c:pt idx="916">
                  <c:v>41194</c:v>
                </c:pt>
                <c:pt idx="917">
                  <c:v>41197</c:v>
                </c:pt>
                <c:pt idx="918">
                  <c:v>41198</c:v>
                </c:pt>
                <c:pt idx="919">
                  <c:v>41199</c:v>
                </c:pt>
                <c:pt idx="920">
                  <c:v>41200</c:v>
                </c:pt>
                <c:pt idx="921">
                  <c:v>41201</c:v>
                </c:pt>
                <c:pt idx="922">
                  <c:v>41204</c:v>
                </c:pt>
                <c:pt idx="923">
                  <c:v>41205</c:v>
                </c:pt>
                <c:pt idx="924">
                  <c:v>41206</c:v>
                </c:pt>
                <c:pt idx="925">
                  <c:v>41207</c:v>
                </c:pt>
                <c:pt idx="926">
                  <c:v>41208</c:v>
                </c:pt>
                <c:pt idx="927">
                  <c:v>41211</c:v>
                </c:pt>
                <c:pt idx="928">
                  <c:v>41212</c:v>
                </c:pt>
                <c:pt idx="929">
                  <c:v>41213</c:v>
                </c:pt>
                <c:pt idx="930">
                  <c:v>41214</c:v>
                </c:pt>
                <c:pt idx="931">
                  <c:v>41215</c:v>
                </c:pt>
                <c:pt idx="932">
                  <c:v>41218</c:v>
                </c:pt>
                <c:pt idx="933">
                  <c:v>41219</c:v>
                </c:pt>
                <c:pt idx="934">
                  <c:v>41220</c:v>
                </c:pt>
                <c:pt idx="935">
                  <c:v>41221</c:v>
                </c:pt>
                <c:pt idx="936">
                  <c:v>41222</c:v>
                </c:pt>
                <c:pt idx="937">
                  <c:v>41225</c:v>
                </c:pt>
                <c:pt idx="938">
                  <c:v>41226</c:v>
                </c:pt>
                <c:pt idx="939">
                  <c:v>41227</c:v>
                </c:pt>
                <c:pt idx="940">
                  <c:v>41228</c:v>
                </c:pt>
                <c:pt idx="941">
                  <c:v>41229</c:v>
                </c:pt>
                <c:pt idx="942">
                  <c:v>41232</c:v>
                </c:pt>
                <c:pt idx="943">
                  <c:v>41233</c:v>
                </c:pt>
                <c:pt idx="944">
                  <c:v>41234</c:v>
                </c:pt>
                <c:pt idx="945">
                  <c:v>41235</c:v>
                </c:pt>
                <c:pt idx="946">
                  <c:v>41236</c:v>
                </c:pt>
                <c:pt idx="947">
                  <c:v>41239</c:v>
                </c:pt>
                <c:pt idx="948">
                  <c:v>41240</c:v>
                </c:pt>
                <c:pt idx="949">
                  <c:v>41241</c:v>
                </c:pt>
                <c:pt idx="950">
                  <c:v>41242</c:v>
                </c:pt>
                <c:pt idx="951">
                  <c:v>41243</c:v>
                </c:pt>
                <c:pt idx="952">
                  <c:v>41246</c:v>
                </c:pt>
                <c:pt idx="953">
                  <c:v>41247</c:v>
                </c:pt>
                <c:pt idx="954">
                  <c:v>41248</c:v>
                </c:pt>
                <c:pt idx="955">
                  <c:v>41249</c:v>
                </c:pt>
                <c:pt idx="956">
                  <c:v>41250</c:v>
                </c:pt>
                <c:pt idx="957">
                  <c:v>41253</c:v>
                </c:pt>
                <c:pt idx="958">
                  <c:v>41254</c:v>
                </c:pt>
                <c:pt idx="959">
                  <c:v>41255</c:v>
                </c:pt>
                <c:pt idx="960">
                  <c:v>41256</c:v>
                </c:pt>
                <c:pt idx="961">
                  <c:v>41257</c:v>
                </c:pt>
                <c:pt idx="962">
                  <c:v>41260</c:v>
                </c:pt>
                <c:pt idx="963">
                  <c:v>41261</c:v>
                </c:pt>
                <c:pt idx="964">
                  <c:v>41262</c:v>
                </c:pt>
                <c:pt idx="965">
                  <c:v>41263</c:v>
                </c:pt>
                <c:pt idx="966">
                  <c:v>41264</c:v>
                </c:pt>
                <c:pt idx="967">
                  <c:v>41267</c:v>
                </c:pt>
                <c:pt idx="968">
                  <c:v>41268</c:v>
                </c:pt>
                <c:pt idx="969">
                  <c:v>41269</c:v>
                </c:pt>
                <c:pt idx="970">
                  <c:v>41270</c:v>
                </c:pt>
                <c:pt idx="971">
                  <c:v>41271</c:v>
                </c:pt>
                <c:pt idx="972">
                  <c:v>41274</c:v>
                </c:pt>
                <c:pt idx="973">
                  <c:v>41278</c:v>
                </c:pt>
                <c:pt idx="974">
                  <c:v>41281</c:v>
                </c:pt>
                <c:pt idx="975">
                  <c:v>41282</c:v>
                </c:pt>
                <c:pt idx="976">
                  <c:v>41283</c:v>
                </c:pt>
                <c:pt idx="977">
                  <c:v>41284</c:v>
                </c:pt>
                <c:pt idx="978">
                  <c:v>41285</c:v>
                </c:pt>
                <c:pt idx="979">
                  <c:v>41288</c:v>
                </c:pt>
                <c:pt idx="980">
                  <c:v>41289</c:v>
                </c:pt>
                <c:pt idx="981">
                  <c:v>41290</c:v>
                </c:pt>
                <c:pt idx="982">
                  <c:v>41291</c:v>
                </c:pt>
                <c:pt idx="983">
                  <c:v>41292</c:v>
                </c:pt>
                <c:pt idx="984">
                  <c:v>41295</c:v>
                </c:pt>
                <c:pt idx="985">
                  <c:v>41296</c:v>
                </c:pt>
                <c:pt idx="986">
                  <c:v>41297</c:v>
                </c:pt>
                <c:pt idx="987">
                  <c:v>41298</c:v>
                </c:pt>
                <c:pt idx="988">
                  <c:v>41299</c:v>
                </c:pt>
                <c:pt idx="989">
                  <c:v>41302</c:v>
                </c:pt>
                <c:pt idx="990">
                  <c:v>41303</c:v>
                </c:pt>
                <c:pt idx="991">
                  <c:v>41304</c:v>
                </c:pt>
                <c:pt idx="992">
                  <c:v>41305</c:v>
                </c:pt>
                <c:pt idx="993">
                  <c:v>41306</c:v>
                </c:pt>
                <c:pt idx="994">
                  <c:v>41309</c:v>
                </c:pt>
                <c:pt idx="995">
                  <c:v>41310</c:v>
                </c:pt>
                <c:pt idx="996">
                  <c:v>41311</c:v>
                </c:pt>
                <c:pt idx="997">
                  <c:v>41312</c:v>
                </c:pt>
                <c:pt idx="998">
                  <c:v>41313</c:v>
                </c:pt>
                <c:pt idx="999">
                  <c:v>41323</c:v>
                </c:pt>
                <c:pt idx="1000">
                  <c:v>41324</c:v>
                </c:pt>
                <c:pt idx="1001">
                  <c:v>41325</c:v>
                </c:pt>
                <c:pt idx="1002">
                  <c:v>41326</c:v>
                </c:pt>
                <c:pt idx="1003">
                  <c:v>41327</c:v>
                </c:pt>
                <c:pt idx="1004">
                  <c:v>41330</c:v>
                </c:pt>
                <c:pt idx="1005">
                  <c:v>41331</c:v>
                </c:pt>
                <c:pt idx="1006">
                  <c:v>41332</c:v>
                </c:pt>
                <c:pt idx="1007">
                  <c:v>41333</c:v>
                </c:pt>
                <c:pt idx="1008">
                  <c:v>41334</c:v>
                </c:pt>
                <c:pt idx="1009">
                  <c:v>41337</c:v>
                </c:pt>
                <c:pt idx="1010">
                  <c:v>41338</c:v>
                </c:pt>
                <c:pt idx="1011">
                  <c:v>41339</c:v>
                </c:pt>
                <c:pt idx="1012">
                  <c:v>41340</c:v>
                </c:pt>
                <c:pt idx="1013">
                  <c:v>41341</c:v>
                </c:pt>
                <c:pt idx="1014">
                  <c:v>41344</c:v>
                </c:pt>
                <c:pt idx="1015">
                  <c:v>41345</c:v>
                </c:pt>
                <c:pt idx="1016">
                  <c:v>41346</c:v>
                </c:pt>
                <c:pt idx="1017">
                  <c:v>41347</c:v>
                </c:pt>
                <c:pt idx="1018">
                  <c:v>41348</c:v>
                </c:pt>
                <c:pt idx="1019">
                  <c:v>41351</c:v>
                </c:pt>
                <c:pt idx="1020">
                  <c:v>41352</c:v>
                </c:pt>
                <c:pt idx="1021">
                  <c:v>41353</c:v>
                </c:pt>
                <c:pt idx="1022">
                  <c:v>41354</c:v>
                </c:pt>
                <c:pt idx="1023">
                  <c:v>41355</c:v>
                </c:pt>
                <c:pt idx="1024">
                  <c:v>41358</c:v>
                </c:pt>
                <c:pt idx="1025">
                  <c:v>41359</c:v>
                </c:pt>
                <c:pt idx="1026">
                  <c:v>41360</c:v>
                </c:pt>
                <c:pt idx="1027">
                  <c:v>41361</c:v>
                </c:pt>
                <c:pt idx="1028">
                  <c:v>41362</c:v>
                </c:pt>
                <c:pt idx="1029">
                  <c:v>41365</c:v>
                </c:pt>
                <c:pt idx="1030">
                  <c:v>41366</c:v>
                </c:pt>
                <c:pt idx="1031">
                  <c:v>41367</c:v>
                </c:pt>
                <c:pt idx="1032">
                  <c:v>41372</c:v>
                </c:pt>
                <c:pt idx="1033">
                  <c:v>41373</c:v>
                </c:pt>
                <c:pt idx="1034">
                  <c:v>41374</c:v>
                </c:pt>
                <c:pt idx="1035">
                  <c:v>41375</c:v>
                </c:pt>
                <c:pt idx="1036">
                  <c:v>41376</c:v>
                </c:pt>
                <c:pt idx="1037">
                  <c:v>41379</c:v>
                </c:pt>
                <c:pt idx="1038">
                  <c:v>41380</c:v>
                </c:pt>
                <c:pt idx="1039">
                  <c:v>41381</c:v>
                </c:pt>
                <c:pt idx="1040">
                  <c:v>41382</c:v>
                </c:pt>
                <c:pt idx="1041">
                  <c:v>41383</c:v>
                </c:pt>
                <c:pt idx="1042">
                  <c:v>41386</c:v>
                </c:pt>
                <c:pt idx="1043">
                  <c:v>41387</c:v>
                </c:pt>
                <c:pt idx="1044">
                  <c:v>41388</c:v>
                </c:pt>
                <c:pt idx="1045">
                  <c:v>41389</c:v>
                </c:pt>
                <c:pt idx="1046">
                  <c:v>41390</c:v>
                </c:pt>
                <c:pt idx="1047">
                  <c:v>41396</c:v>
                </c:pt>
                <c:pt idx="1048">
                  <c:v>41397</c:v>
                </c:pt>
                <c:pt idx="1049">
                  <c:v>41400</c:v>
                </c:pt>
                <c:pt idx="1050">
                  <c:v>41401</c:v>
                </c:pt>
                <c:pt idx="1051">
                  <c:v>41402</c:v>
                </c:pt>
                <c:pt idx="1052">
                  <c:v>41403</c:v>
                </c:pt>
                <c:pt idx="1053">
                  <c:v>41404</c:v>
                </c:pt>
                <c:pt idx="1054">
                  <c:v>41407</c:v>
                </c:pt>
                <c:pt idx="1055">
                  <c:v>41408</c:v>
                </c:pt>
                <c:pt idx="1056">
                  <c:v>41409</c:v>
                </c:pt>
                <c:pt idx="1057">
                  <c:v>41410</c:v>
                </c:pt>
                <c:pt idx="1058">
                  <c:v>41411</c:v>
                </c:pt>
                <c:pt idx="1059">
                  <c:v>41414</c:v>
                </c:pt>
                <c:pt idx="1060">
                  <c:v>41415</c:v>
                </c:pt>
                <c:pt idx="1061">
                  <c:v>41416</c:v>
                </c:pt>
                <c:pt idx="1062">
                  <c:v>41417</c:v>
                </c:pt>
                <c:pt idx="1063">
                  <c:v>41418</c:v>
                </c:pt>
                <c:pt idx="1064">
                  <c:v>41421</c:v>
                </c:pt>
                <c:pt idx="1065">
                  <c:v>41422</c:v>
                </c:pt>
                <c:pt idx="1066">
                  <c:v>41423</c:v>
                </c:pt>
                <c:pt idx="1067">
                  <c:v>41424</c:v>
                </c:pt>
                <c:pt idx="1068">
                  <c:v>41425</c:v>
                </c:pt>
                <c:pt idx="1069">
                  <c:v>41428</c:v>
                </c:pt>
                <c:pt idx="1070">
                  <c:v>41429</c:v>
                </c:pt>
                <c:pt idx="1071">
                  <c:v>41430</c:v>
                </c:pt>
                <c:pt idx="1072">
                  <c:v>41431</c:v>
                </c:pt>
                <c:pt idx="1073">
                  <c:v>41432</c:v>
                </c:pt>
                <c:pt idx="1074">
                  <c:v>41438</c:v>
                </c:pt>
                <c:pt idx="1075">
                  <c:v>41439</c:v>
                </c:pt>
                <c:pt idx="1076">
                  <c:v>41442</c:v>
                </c:pt>
                <c:pt idx="1077">
                  <c:v>41443</c:v>
                </c:pt>
                <c:pt idx="1078">
                  <c:v>41444</c:v>
                </c:pt>
                <c:pt idx="1079">
                  <c:v>41445</c:v>
                </c:pt>
                <c:pt idx="1080">
                  <c:v>41446</c:v>
                </c:pt>
                <c:pt idx="1081">
                  <c:v>41449</c:v>
                </c:pt>
                <c:pt idx="1082">
                  <c:v>41450</c:v>
                </c:pt>
                <c:pt idx="1083">
                  <c:v>41451</c:v>
                </c:pt>
                <c:pt idx="1084">
                  <c:v>41452</c:v>
                </c:pt>
                <c:pt idx="1085">
                  <c:v>41453</c:v>
                </c:pt>
                <c:pt idx="1086">
                  <c:v>41456</c:v>
                </c:pt>
                <c:pt idx="1087">
                  <c:v>41457</c:v>
                </c:pt>
                <c:pt idx="1088">
                  <c:v>41458</c:v>
                </c:pt>
                <c:pt idx="1089">
                  <c:v>41459</c:v>
                </c:pt>
                <c:pt idx="1090">
                  <c:v>41460</c:v>
                </c:pt>
                <c:pt idx="1091">
                  <c:v>41463</c:v>
                </c:pt>
                <c:pt idx="1092">
                  <c:v>41464</c:v>
                </c:pt>
                <c:pt idx="1093">
                  <c:v>41465</c:v>
                </c:pt>
                <c:pt idx="1094">
                  <c:v>41466</c:v>
                </c:pt>
                <c:pt idx="1095">
                  <c:v>41467</c:v>
                </c:pt>
                <c:pt idx="1096">
                  <c:v>41470</c:v>
                </c:pt>
                <c:pt idx="1097">
                  <c:v>41471</c:v>
                </c:pt>
                <c:pt idx="1098">
                  <c:v>41472</c:v>
                </c:pt>
                <c:pt idx="1099">
                  <c:v>41473</c:v>
                </c:pt>
                <c:pt idx="1100">
                  <c:v>41474</c:v>
                </c:pt>
                <c:pt idx="1101">
                  <c:v>41477</c:v>
                </c:pt>
                <c:pt idx="1102">
                  <c:v>41478</c:v>
                </c:pt>
                <c:pt idx="1103">
                  <c:v>41479</c:v>
                </c:pt>
                <c:pt idx="1104">
                  <c:v>41480</c:v>
                </c:pt>
                <c:pt idx="1105">
                  <c:v>41481</c:v>
                </c:pt>
                <c:pt idx="1106">
                  <c:v>41484</c:v>
                </c:pt>
                <c:pt idx="1107">
                  <c:v>41485</c:v>
                </c:pt>
                <c:pt idx="1108">
                  <c:v>41486</c:v>
                </c:pt>
                <c:pt idx="1109">
                  <c:v>41487</c:v>
                </c:pt>
                <c:pt idx="1110">
                  <c:v>41488</c:v>
                </c:pt>
                <c:pt idx="1111">
                  <c:v>41491</c:v>
                </c:pt>
                <c:pt idx="1112">
                  <c:v>41492</c:v>
                </c:pt>
                <c:pt idx="1113">
                  <c:v>41493</c:v>
                </c:pt>
                <c:pt idx="1114">
                  <c:v>41494</c:v>
                </c:pt>
                <c:pt idx="1115">
                  <c:v>41495</c:v>
                </c:pt>
                <c:pt idx="1116">
                  <c:v>41498</c:v>
                </c:pt>
                <c:pt idx="1117">
                  <c:v>41499</c:v>
                </c:pt>
                <c:pt idx="1118">
                  <c:v>41500</c:v>
                </c:pt>
                <c:pt idx="1119">
                  <c:v>41501</c:v>
                </c:pt>
                <c:pt idx="1120">
                  <c:v>41502</c:v>
                </c:pt>
                <c:pt idx="1121">
                  <c:v>41505</c:v>
                </c:pt>
                <c:pt idx="1122">
                  <c:v>41506</c:v>
                </c:pt>
                <c:pt idx="1123">
                  <c:v>41507</c:v>
                </c:pt>
                <c:pt idx="1124">
                  <c:v>41508</c:v>
                </c:pt>
                <c:pt idx="1125">
                  <c:v>41509</c:v>
                </c:pt>
                <c:pt idx="1126">
                  <c:v>41512</c:v>
                </c:pt>
                <c:pt idx="1127">
                  <c:v>41513</c:v>
                </c:pt>
                <c:pt idx="1128">
                  <c:v>41514</c:v>
                </c:pt>
                <c:pt idx="1129">
                  <c:v>41515</c:v>
                </c:pt>
                <c:pt idx="1130">
                  <c:v>41516</c:v>
                </c:pt>
                <c:pt idx="1131">
                  <c:v>41519</c:v>
                </c:pt>
                <c:pt idx="1132">
                  <c:v>41520</c:v>
                </c:pt>
                <c:pt idx="1133">
                  <c:v>41521</c:v>
                </c:pt>
                <c:pt idx="1134">
                  <c:v>41522</c:v>
                </c:pt>
                <c:pt idx="1135">
                  <c:v>41523</c:v>
                </c:pt>
                <c:pt idx="1136">
                  <c:v>41526</c:v>
                </c:pt>
                <c:pt idx="1137">
                  <c:v>41527</c:v>
                </c:pt>
                <c:pt idx="1138">
                  <c:v>41528</c:v>
                </c:pt>
                <c:pt idx="1139">
                  <c:v>41529</c:v>
                </c:pt>
                <c:pt idx="1140">
                  <c:v>41530</c:v>
                </c:pt>
                <c:pt idx="1141">
                  <c:v>41533</c:v>
                </c:pt>
                <c:pt idx="1142">
                  <c:v>41534</c:v>
                </c:pt>
                <c:pt idx="1143">
                  <c:v>41535</c:v>
                </c:pt>
                <c:pt idx="1144">
                  <c:v>41540</c:v>
                </c:pt>
                <c:pt idx="1145">
                  <c:v>41541</c:v>
                </c:pt>
                <c:pt idx="1146">
                  <c:v>41542</c:v>
                </c:pt>
                <c:pt idx="1147">
                  <c:v>41543</c:v>
                </c:pt>
                <c:pt idx="1148">
                  <c:v>41544</c:v>
                </c:pt>
                <c:pt idx="1149">
                  <c:v>41547</c:v>
                </c:pt>
                <c:pt idx="1150">
                  <c:v>41555</c:v>
                </c:pt>
                <c:pt idx="1151">
                  <c:v>41556</c:v>
                </c:pt>
                <c:pt idx="1152">
                  <c:v>41557</c:v>
                </c:pt>
                <c:pt idx="1153">
                  <c:v>41558</c:v>
                </c:pt>
                <c:pt idx="1154">
                  <c:v>41561</c:v>
                </c:pt>
                <c:pt idx="1155">
                  <c:v>41562</c:v>
                </c:pt>
                <c:pt idx="1156">
                  <c:v>41563</c:v>
                </c:pt>
                <c:pt idx="1157">
                  <c:v>41564</c:v>
                </c:pt>
                <c:pt idx="1158">
                  <c:v>41565</c:v>
                </c:pt>
                <c:pt idx="1159">
                  <c:v>41568</c:v>
                </c:pt>
                <c:pt idx="1160">
                  <c:v>41569</c:v>
                </c:pt>
                <c:pt idx="1161">
                  <c:v>41570</c:v>
                </c:pt>
                <c:pt idx="1162">
                  <c:v>41571</c:v>
                </c:pt>
                <c:pt idx="1163">
                  <c:v>41572</c:v>
                </c:pt>
                <c:pt idx="1164">
                  <c:v>41575</c:v>
                </c:pt>
                <c:pt idx="1165">
                  <c:v>41576</c:v>
                </c:pt>
                <c:pt idx="1166">
                  <c:v>41577</c:v>
                </c:pt>
                <c:pt idx="1167">
                  <c:v>41578</c:v>
                </c:pt>
                <c:pt idx="1168">
                  <c:v>41579</c:v>
                </c:pt>
                <c:pt idx="1169">
                  <c:v>41582</c:v>
                </c:pt>
                <c:pt idx="1170">
                  <c:v>41583</c:v>
                </c:pt>
                <c:pt idx="1171">
                  <c:v>41584</c:v>
                </c:pt>
                <c:pt idx="1172">
                  <c:v>41585</c:v>
                </c:pt>
                <c:pt idx="1173">
                  <c:v>41586</c:v>
                </c:pt>
                <c:pt idx="1174">
                  <c:v>41589</c:v>
                </c:pt>
                <c:pt idx="1175">
                  <c:v>41590</c:v>
                </c:pt>
                <c:pt idx="1176">
                  <c:v>41591</c:v>
                </c:pt>
                <c:pt idx="1177">
                  <c:v>41592</c:v>
                </c:pt>
                <c:pt idx="1178">
                  <c:v>41593</c:v>
                </c:pt>
                <c:pt idx="1179">
                  <c:v>41596</c:v>
                </c:pt>
                <c:pt idx="1180">
                  <c:v>41597</c:v>
                </c:pt>
                <c:pt idx="1181">
                  <c:v>41598</c:v>
                </c:pt>
                <c:pt idx="1182">
                  <c:v>41599</c:v>
                </c:pt>
                <c:pt idx="1183">
                  <c:v>41600</c:v>
                </c:pt>
                <c:pt idx="1184">
                  <c:v>41603</c:v>
                </c:pt>
                <c:pt idx="1185">
                  <c:v>41604</c:v>
                </c:pt>
                <c:pt idx="1186">
                  <c:v>41605</c:v>
                </c:pt>
                <c:pt idx="1187">
                  <c:v>41606</c:v>
                </c:pt>
                <c:pt idx="1188">
                  <c:v>41607</c:v>
                </c:pt>
                <c:pt idx="1189">
                  <c:v>41610</c:v>
                </c:pt>
                <c:pt idx="1190">
                  <c:v>41611</c:v>
                </c:pt>
                <c:pt idx="1191">
                  <c:v>41612</c:v>
                </c:pt>
                <c:pt idx="1192">
                  <c:v>41613</c:v>
                </c:pt>
                <c:pt idx="1193">
                  <c:v>41614</c:v>
                </c:pt>
                <c:pt idx="1194">
                  <c:v>41617</c:v>
                </c:pt>
                <c:pt idx="1195">
                  <c:v>41618</c:v>
                </c:pt>
                <c:pt idx="1196">
                  <c:v>41619</c:v>
                </c:pt>
                <c:pt idx="1197">
                  <c:v>41620</c:v>
                </c:pt>
                <c:pt idx="1198">
                  <c:v>41621</c:v>
                </c:pt>
                <c:pt idx="1199">
                  <c:v>41624</c:v>
                </c:pt>
                <c:pt idx="1200">
                  <c:v>41625</c:v>
                </c:pt>
                <c:pt idx="1201">
                  <c:v>41626</c:v>
                </c:pt>
                <c:pt idx="1202">
                  <c:v>41627</c:v>
                </c:pt>
                <c:pt idx="1203">
                  <c:v>41628</c:v>
                </c:pt>
                <c:pt idx="1204">
                  <c:v>41631</c:v>
                </c:pt>
                <c:pt idx="1205">
                  <c:v>41632</c:v>
                </c:pt>
                <c:pt idx="1206">
                  <c:v>41633</c:v>
                </c:pt>
                <c:pt idx="1207">
                  <c:v>41634</c:v>
                </c:pt>
                <c:pt idx="1208">
                  <c:v>41635</c:v>
                </c:pt>
                <c:pt idx="1209">
                  <c:v>41638</c:v>
                </c:pt>
                <c:pt idx="1210">
                  <c:v>41639</c:v>
                </c:pt>
                <c:pt idx="1211">
                  <c:v>41641</c:v>
                </c:pt>
                <c:pt idx="1212">
                  <c:v>41642</c:v>
                </c:pt>
                <c:pt idx="1213">
                  <c:v>41645</c:v>
                </c:pt>
                <c:pt idx="1214">
                  <c:v>41646</c:v>
                </c:pt>
                <c:pt idx="1215">
                  <c:v>41647</c:v>
                </c:pt>
                <c:pt idx="1216">
                  <c:v>41648</c:v>
                </c:pt>
                <c:pt idx="1217">
                  <c:v>41649</c:v>
                </c:pt>
                <c:pt idx="1218">
                  <c:v>41652</c:v>
                </c:pt>
                <c:pt idx="1219">
                  <c:v>41653</c:v>
                </c:pt>
                <c:pt idx="1220">
                  <c:v>41654</c:v>
                </c:pt>
                <c:pt idx="1221">
                  <c:v>41655</c:v>
                </c:pt>
                <c:pt idx="1222">
                  <c:v>41656</c:v>
                </c:pt>
                <c:pt idx="1223">
                  <c:v>41659</c:v>
                </c:pt>
                <c:pt idx="1224">
                  <c:v>41660</c:v>
                </c:pt>
                <c:pt idx="1225">
                  <c:v>41661</c:v>
                </c:pt>
                <c:pt idx="1226">
                  <c:v>41662</c:v>
                </c:pt>
                <c:pt idx="1227">
                  <c:v>41663</c:v>
                </c:pt>
                <c:pt idx="1228">
                  <c:v>41666</c:v>
                </c:pt>
                <c:pt idx="1229">
                  <c:v>41667</c:v>
                </c:pt>
                <c:pt idx="1230">
                  <c:v>41668</c:v>
                </c:pt>
                <c:pt idx="1231">
                  <c:v>41669</c:v>
                </c:pt>
                <c:pt idx="1232">
                  <c:v>41677</c:v>
                </c:pt>
                <c:pt idx="1233">
                  <c:v>41680</c:v>
                </c:pt>
                <c:pt idx="1234">
                  <c:v>41681</c:v>
                </c:pt>
                <c:pt idx="1235">
                  <c:v>41682</c:v>
                </c:pt>
                <c:pt idx="1236">
                  <c:v>41683</c:v>
                </c:pt>
                <c:pt idx="1237">
                  <c:v>41684</c:v>
                </c:pt>
                <c:pt idx="1238">
                  <c:v>41687</c:v>
                </c:pt>
                <c:pt idx="1239">
                  <c:v>41688</c:v>
                </c:pt>
                <c:pt idx="1240">
                  <c:v>41689</c:v>
                </c:pt>
                <c:pt idx="1241">
                  <c:v>41690</c:v>
                </c:pt>
                <c:pt idx="1242">
                  <c:v>41691</c:v>
                </c:pt>
                <c:pt idx="1243">
                  <c:v>41694</c:v>
                </c:pt>
                <c:pt idx="1244">
                  <c:v>41695</c:v>
                </c:pt>
                <c:pt idx="1245">
                  <c:v>41696</c:v>
                </c:pt>
                <c:pt idx="1246">
                  <c:v>41697</c:v>
                </c:pt>
                <c:pt idx="1247">
                  <c:v>41698</c:v>
                </c:pt>
                <c:pt idx="1248">
                  <c:v>41701</c:v>
                </c:pt>
                <c:pt idx="1249">
                  <c:v>41702</c:v>
                </c:pt>
                <c:pt idx="1250">
                  <c:v>41703</c:v>
                </c:pt>
                <c:pt idx="1251">
                  <c:v>41704</c:v>
                </c:pt>
                <c:pt idx="1252">
                  <c:v>41705</c:v>
                </c:pt>
                <c:pt idx="1253">
                  <c:v>41708</c:v>
                </c:pt>
                <c:pt idx="1254">
                  <c:v>41709</c:v>
                </c:pt>
                <c:pt idx="1255">
                  <c:v>41710</c:v>
                </c:pt>
                <c:pt idx="1256">
                  <c:v>41711</c:v>
                </c:pt>
                <c:pt idx="1257">
                  <c:v>41712</c:v>
                </c:pt>
                <c:pt idx="1258">
                  <c:v>41715</c:v>
                </c:pt>
                <c:pt idx="1259">
                  <c:v>41716</c:v>
                </c:pt>
                <c:pt idx="1260">
                  <c:v>41717</c:v>
                </c:pt>
                <c:pt idx="1261">
                  <c:v>41718</c:v>
                </c:pt>
                <c:pt idx="1262">
                  <c:v>41719</c:v>
                </c:pt>
                <c:pt idx="1263">
                  <c:v>41722</c:v>
                </c:pt>
                <c:pt idx="1264">
                  <c:v>41723</c:v>
                </c:pt>
                <c:pt idx="1265">
                  <c:v>41724</c:v>
                </c:pt>
                <c:pt idx="1266">
                  <c:v>41725</c:v>
                </c:pt>
                <c:pt idx="1267">
                  <c:v>41726</c:v>
                </c:pt>
                <c:pt idx="1268">
                  <c:v>41729</c:v>
                </c:pt>
                <c:pt idx="1269">
                  <c:v>41730</c:v>
                </c:pt>
                <c:pt idx="1270">
                  <c:v>41731</c:v>
                </c:pt>
                <c:pt idx="1271">
                  <c:v>41732</c:v>
                </c:pt>
                <c:pt idx="1272">
                  <c:v>41733</c:v>
                </c:pt>
                <c:pt idx="1273">
                  <c:v>41737</c:v>
                </c:pt>
                <c:pt idx="1274">
                  <c:v>41738</c:v>
                </c:pt>
                <c:pt idx="1275">
                  <c:v>41739</c:v>
                </c:pt>
                <c:pt idx="1276">
                  <c:v>41740</c:v>
                </c:pt>
                <c:pt idx="1277">
                  <c:v>41743</c:v>
                </c:pt>
                <c:pt idx="1278">
                  <c:v>41744</c:v>
                </c:pt>
                <c:pt idx="1279">
                  <c:v>41745</c:v>
                </c:pt>
                <c:pt idx="1280">
                  <c:v>41746</c:v>
                </c:pt>
                <c:pt idx="1281">
                  <c:v>41747</c:v>
                </c:pt>
                <c:pt idx="1282">
                  <c:v>41750</c:v>
                </c:pt>
                <c:pt idx="1283">
                  <c:v>41751</c:v>
                </c:pt>
                <c:pt idx="1284">
                  <c:v>41752</c:v>
                </c:pt>
                <c:pt idx="1285">
                  <c:v>41753</c:v>
                </c:pt>
                <c:pt idx="1286">
                  <c:v>41754</c:v>
                </c:pt>
                <c:pt idx="1287">
                  <c:v>41757</c:v>
                </c:pt>
                <c:pt idx="1288">
                  <c:v>41758</c:v>
                </c:pt>
                <c:pt idx="1289">
                  <c:v>41759</c:v>
                </c:pt>
                <c:pt idx="1290">
                  <c:v>41764</c:v>
                </c:pt>
                <c:pt idx="1291">
                  <c:v>41765</c:v>
                </c:pt>
                <c:pt idx="1292">
                  <c:v>41766</c:v>
                </c:pt>
                <c:pt idx="1293">
                  <c:v>41767</c:v>
                </c:pt>
                <c:pt idx="1294">
                  <c:v>41768</c:v>
                </c:pt>
                <c:pt idx="1295">
                  <c:v>41771</c:v>
                </c:pt>
                <c:pt idx="1296">
                  <c:v>41772</c:v>
                </c:pt>
                <c:pt idx="1297">
                  <c:v>41773</c:v>
                </c:pt>
                <c:pt idx="1298">
                  <c:v>41774</c:v>
                </c:pt>
                <c:pt idx="1299">
                  <c:v>41775</c:v>
                </c:pt>
                <c:pt idx="1300">
                  <c:v>41778</c:v>
                </c:pt>
                <c:pt idx="1301">
                  <c:v>41779</c:v>
                </c:pt>
                <c:pt idx="1302">
                  <c:v>41780</c:v>
                </c:pt>
                <c:pt idx="1303">
                  <c:v>41781</c:v>
                </c:pt>
                <c:pt idx="1304">
                  <c:v>41782</c:v>
                </c:pt>
                <c:pt idx="1305">
                  <c:v>41785</c:v>
                </c:pt>
                <c:pt idx="1306">
                  <c:v>41786</c:v>
                </c:pt>
                <c:pt idx="1307">
                  <c:v>41787</c:v>
                </c:pt>
                <c:pt idx="1308">
                  <c:v>41788</c:v>
                </c:pt>
                <c:pt idx="1309">
                  <c:v>41789</c:v>
                </c:pt>
                <c:pt idx="1310">
                  <c:v>41793</c:v>
                </c:pt>
                <c:pt idx="1311">
                  <c:v>41794</c:v>
                </c:pt>
                <c:pt idx="1312">
                  <c:v>41795</c:v>
                </c:pt>
                <c:pt idx="1313">
                  <c:v>41796</c:v>
                </c:pt>
                <c:pt idx="1314">
                  <c:v>41799</c:v>
                </c:pt>
                <c:pt idx="1315">
                  <c:v>41800</c:v>
                </c:pt>
                <c:pt idx="1316">
                  <c:v>41801</c:v>
                </c:pt>
                <c:pt idx="1317">
                  <c:v>41802</c:v>
                </c:pt>
                <c:pt idx="1318">
                  <c:v>41803</c:v>
                </c:pt>
                <c:pt idx="1319">
                  <c:v>41806</c:v>
                </c:pt>
                <c:pt idx="1320">
                  <c:v>41807</c:v>
                </c:pt>
                <c:pt idx="1321">
                  <c:v>41808</c:v>
                </c:pt>
                <c:pt idx="1322">
                  <c:v>41809</c:v>
                </c:pt>
                <c:pt idx="1323">
                  <c:v>41810</c:v>
                </c:pt>
                <c:pt idx="1324">
                  <c:v>41813</c:v>
                </c:pt>
                <c:pt idx="1325">
                  <c:v>41814</c:v>
                </c:pt>
                <c:pt idx="1326">
                  <c:v>41815</c:v>
                </c:pt>
                <c:pt idx="1327">
                  <c:v>41816</c:v>
                </c:pt>
                <c:pt idx="1328">
                  <c:v>41817</c:v>
                </c:pt>
                <c:pt idx="1329">
                  <c:v>41820</c:v>
                </c:pt>
                <c:pt idx="1330">
                  <c:v>41821</c:v>
                </c:pt>
                <c:pt idx="1331">
                  <c:v>41822</c:v>
                </c:pt>
                <c:pt idx="1332">
                  <c:v>41823</c:v>
                </c:pt>
                <c:pt idx="1333">
                  <c:v>41824</c:v>
                </c:pt>
                <c:pt idx="1334">
                  <c:v>41827</c:v>
                </c:pt>
                <c:pt idx="1335">
                  <c:v>41828</c:v>
                </c:pt>
                <c:pt idx="1336">
                  <c:v>41829</c:v>
                </c:pt>
                <c:pt idx="1337">
                  <c:v>41830</c:v>
                </c:pt>
                <c:pt idx="1338">
                  <c:v>41831</c:v>
                </c:pt>
                <c:pt idx="1339">
                  <c:v>41834</c:v>
                </c:pt>
                <c:pt idx="1340">
                  <c:v>41835</c:v>
                </c:pt>
                <c:pt idx="1341">
                  <c:v>41836</c:v>
                </c:pt>
                <c:pt idx="1342">
                  <c:v>41837</c:v>
                </c:pt>
                <c:pt idx="1343">
                  <c:v>41838</c:v>
                </c:pt>
                <c:pt idx="1344">
                  <c:v>41841</c:v>
                </c:pt>
                <c:pt idx="1345">
                  <c:v>41842</c:v>
                </c:pt>
                <c:pt idx="1346">
                  <c:v>41843</c:v>
                </c:pt>
                <c:pt idx="1347">
                  <c:v>41844</c:v>
                </c:pt>
                <c:pt idx="1348">
                  <c:v>41845</c:v>
                </c:pt>
                <c:pt idx="1349">
                  <c:v>41848</c:v>
                </c:pt>
                <c:pt idx="1350">
                  <c:v>41849</c:v>
                </c:pt>
                <c:pt idx="1351">
                  <c:v>41850</c:v>
                </c:pt>
                <c:pt idx="1352">
                  <c:v>41851</c:v>
                </c:pt>
                <c:pt idx="1353">
                  <c:v>41852</c:v>
                </c:pt>
                <c:pt idx="1354">
                  <c:v>41855</c:v>
                </c:pt>
                <c:pt idx="1355">
                  <c:v>41856</c:v>
                </c:pt>
                <c:pt idx="1356">
                  <c:v>41857</c:v>
                </c:pt>
                <c:pt idx="1357">
                  <c:v>41858</c:v>
                </c:pt>
                <c:pt idx="1358">
                  <c:v>41859</c:v>
                </c:pt>
                <c:pt idx="1359">
                  <c:v>41862</c:v>
                </c:pt>
                <c:pt idx="1360">
                  <c:v>41863</c:v>
                </c:pt>
                <c:pt idx="1361">
                  <c:v>41864</c:v>
                </c:pt>
                <c:pt idx="1362">
                  <c:v>41865</c:v>
                </c:pt>
                <c:pt idx="1363">
                  <c:v>41866</c:v>
                </c:pt>
                <c:pt idx="1364">
                  <c:v>41869</c:v>
                </c:pt>
                <c:pt idx="1365">
                  <c:v>41870</c:v>
                </c:pt>
                <c:pt idx="1366">
                  <c:v>41871</c:v>
                </c:pt>
                <c:pt idx="1367">
                  <c:v>41872</c:v>
                </c:pt>
                <c:pt idx="1368">
                  <c:v>41873</c:v>
                </c:pt>
                <c:pt idx="1369">
                  <c:v>41876</c:v>
                </c:pt>
                <c:pt idx="1370">
                  <c:v>41877</c:v>
                </c:pt>
                <c:pt idx="1371">
                  <c:v>41878</c:v>
                </c:pt>
                <c:pt idx="1372">
                  <c:v>41879</c:v>
                </c:pt>
                <c:pt idx="1373">
                  <c:v>41880</c:v>
                </c:pt>
                <c:pt idx="1374">
                  <c:v>41883</c:v>
                </c:pt>
                <c:pt idx="1375">
                  <c:v>41884</c:v>
                </c:pt>
                <c:pt idx="1376">
                  <c:v>41885</c:v>
                </c:pt>
                <c:pt idx="1377">
                  <c:v>41886</c:v>
                </c:pt>
                <c:pt idx="1378">
                  <c:v>41887</c:v>
                </c:pt>
                <c:pt idx="1379">
                  <c:v>41891</c:v>
                </c:pt>
                <c:pt idx="1380">
                  <c:v>41892</c:v>
                </c:pt>
                <c:pt idx="1381">
                  <c:v>41893</c:v>
                </c:pt>
                <c:pt idx="1382">
                  <c:v>41894</c:v>
                </c:pt>
                <c:pt idx="1383">
                  <c:v>41897</c:v>
                </c:pt>
                <c:pt idx="1384">
                  <c:v>41898</c:v>
                </c:pt>
                <c:pt idx="1385">
                  <c:v>41899</c:v>
                </c:pt>
                <c:pt idx="1386">
                  <c:v>41900</c:v>
                </c:pt>
                <c:pt idx="1387">
                  <c:v>41901</c:v>
                </c:pt>
                <c:pt idx="1388">
                  <c:v>41904</c:v>
                </c:pt>
                <c:pt idx="1389">
                  <c:v>41905</c:v>
                </c:pt>
                <c:pt idx="1390">
                  <c:v>41906</c:v>
                </c:pt>
                <c:pt idx="1391">
                  <c:v>41907</c:v>
                </c:pt>
                <c:pt idx="1392">
                  <c:v>41908</c:v>
                </c:pt>
                <c:pt idx="1393">
                  <c:v>41911</c:v>
                </c:pt>
                <c:pt idx="1394">
                  <c:v>41912</c:v>
                </c:pt>
                <c:pt idx="1395">
                  <c:v>41920</c:v>
                </c:pt>
                <c:pt idx="1396">
                  <c:v>41921</c:v>
                </c:pt>
                <c:pt idx="1397">
                  <c:v>41922</c:v>
                </c:pt>
                <c:pt idx="1398">
                  <c:v>41925</c:v>
                </c:pt>
                <c:pt idx="1399">
                  <c:v>41926</c:v>
                </c:pt>
                <c:pt idx="1400">
                  <c:v>41927</c:v>
                </c:pt>
                <c:pt idx="1401">
                  <c:v>41928</c:v>
                </c:pt>
                <c:pt idx="1402">
                  <c:v>41929</c:v>
                </c:pt>
                <c:pt idx="1403">
                  <c:v>41932</c:v>
                </c:pt>
                <c:pt idx="1404">
                  <c:v>41933</c:v>
                </c:pt>
                <c:pt idx="1405">
                  <c:v>41934</c:v>
                </c:pt>
                <c:pt idx="1406">
                  <c:v>41935</c:v>
                </c:pt>
                <c:pt idx="1407">
                  <c:v>41936</c:v>
                </c:pt>
                <c:pt idx="1408">
                  <c:v>41939</c:v>
                </c:pt>
                <c:pt idx="1409">
                  <c:v>41940</c:v>
                </c:pt>
                <c:pt idx="1410">
                  <c:v>41941</c:v>
                </c:pt>
                <c:pt idx="1411">
                  <c:v>41942</c:v>
                </c:pt>
                <c:pt idx="1412">
                  <c:v>41943</c:v>
                </c:pt>
                <c:pt idx="1413">
                  <c:v>41946</c:v>
                </c:pt>
                <c:pt idx="1414">
                  <c:v>41947</c:v>
                </c:pt>
                <c:pt idx="1415">
                  <c:v>41948</c:v>
                </c:pt>
                <c:pt idx="1416">
                  <c:v>41949</c:v>
                </c:pt>
                <c:pt idx="1417">
                  <c:v>41950</c:v>
                </c:pt>
                <c:pt idx="1418">
                  <c:v>41953</c:v>
                </c:pt>
                <c:pt idx="1419">
                  <c:v>41954</c:v>
                </c:pt>
                <c:pt idx="1420">
                  <c:v>41955</c:v>
                </c:pt>
                <c:pt idx="1421">
                  <c:v>41956</c:v>
                </c:pt>
                <c:pt idx="1422">
                  <c:v>41957</c:v>
                </c:pt>
                <c:pt idx="1423">
                  <c:v>41960</c:v>
                </c:pt>
                <c:pt idx="1424">
                  <c:v>41961</c:v>
                </c:pt>
                <c:pt idx="1425">
                  <c:v>41962</c:v>
                </c:pt>
                <c:pt idx="1426">
                  <c:v>41963</c:v>
                </c:pt>
                <c:pt idx="1427">
                  <c:v>41964</c:v>
                </c:pt>
                <c:pt idx="1428">
                  <c:v>41967</c:v>
                </c:pt>
                <c:pt idx="1429">
                  <c:v>41968</c:v>
                </c:pt>
                <c:pt idx="1430">
                  <c:v>41969</c:v>
                </c:pt>
                <c:pt idx="1431">
                  <c:v>41970</c:v>
                </c:pt>
                <c:pt idx="1432">
                  <c:v>41971</c:v>
                </c:pt>
                <c:pt idx="1433">
                  <c:v>41974</c:v>
                </c:pt>
                <c:pt idx="1434">
                  <c:v>41975</c:v>
                </c:pt>
                <c:pt idx="1435">
                  <c:v>41976</c:v>
                </c:pt>
                <c:pt idx="1436">
                  <c:v>41977</c:v>
                </c:pt>
                <c:pt idx="1437">
                  <c:v>41978</c:v>
                </c:pt>
                <c:pt idx="1438">
                  <c:v>41981</c:v>
                </c:pt>
                <c:pt idx="1439">
                  <c:v>41982</c:v>
                </c:pt>
                <c:pt idx="1440">
                  <c:v>41983</c:v>
                </c:pt>
                <c:pt idx="1441">
                  <c:v>41984</c:v>
                </c:pt>
                <c:pt idx="1442">
                  <c:v>41985</c:v>
                </c:pt>
                <c:pt idx="1443">
                  <c:v>41988</c:v>
                </c:pt>
                <c:pt idx="1444">
                  <c:v>41989</c:v>
                </c:pt>
                <c:pt idx="1445">
                  <c:v>41990</c:v>
                </c:pt>
                <c:pt idx="1446">
                  <c:v>41991</c:v>
                </c:pt>
                <c:pt idx="1447">
                  <c:v>41992</c:v>
                </c:pt>
                <c:pt idx="1448">
                  <c:v>41995</c:v>
                </c:pt>
                <c:pt idx="1449">
                  <c:v>41996</c:v>
                </c:pt>
                <c:pt idx="1450">
                  <c:v>41997</c:v>
                </c:pt>
                <c:pt idx="1451">
                  <c:v>41998</c:v>
                </c:pt>
                <c:pt idx="1452">
                  <c:v>41999</c:v>
                </c:pt>
                <c:pt idx="1453">
                  <c:v>42002</c:v>
                </c:pt>
                <c:pt idx="1454">
                  <c:v>42003</c:v>
                </c:pt>
                <c:pt idx="1455">
                  <c:v>42004</c:v>
                </c:pt>
                <c:pt idx="1456">
                  <c:v>42009</c:v>
                </c:pt>
                <c:pt idx="1457">
                  <c:v>42010</c:v>
                </c:pt>
                <c:pt idx="1458">
                  <c:v>42011</c:v>
                </c:pt>
                <c:pt idx="1459">
                  <c:v>42012</c:v>
                </c:pt>
                <c:pt idx="1460">
                  <c:v>42013</c:v>
                </c:pt>
                <c:pt idx="1461">
                  <c:v>42016</c:v>
                </c:pt>
                <c:pt idx="1462">
                  <c:v>42017</c:v>
                </c:pt>
                <c:pt idx="1463">
                  <c:v>42018</c:v>
                </c:pt>
                <c:pt idx="1464">
                  <c:v>42019</c:v>
                </c:pt>
                <c:pt idx="1465">
                  <c:v>42020</c:v>
                </c:pt>
                <c:pt idx="1466">
                  <c:v>42023</c:v>
                </c:pt>
                <c:pt idx="1467">
                  <c:v>42024</c:v>
                </c:pt>
                <c:pt idx="1468">
                  <c:v>42025</c:v>
                </c:pt>
                <c:pt idx="1469">
                  <c:v>42026</c:v>
                </c:pt>
                <c:pt idx="1470">
                  <c:v>42027</c:v>
                </c:pt>
                <c:pt idx="1471">
                  <c:v>42030</c:v>
                </c:pt>
                <c:pt idx="1472">
                  <c:v>42031</c:v>
                </c:pt>
                <c:pt idx="1473">
                  <c:v>42032</c:v>
                </c:pt>
                <c:pt idx="1474">
                  <c:v>42033</c:v>
                </c:pt>
                <c:pt idx="1475">
                  <c:v>42034</c:v>
                </c:pt>
                <c:pt idx="1476">
                  <c:v>42037</c:v>
                </c:pt>
                <c:pt idx="1477">
                  <c:v>42038</c:v>
                </c:pt>
                <c:pt idx="1478">
                  <c:v>42039</c:v>
                </c:pt>
                <c:pt idx="1479">
                  <c:v>42040</c:v>
                </c:pt>
                <c:pt idx="1480">
                  <c:v>42041</c:v>
                </c:pt>
                <c:pt idx="1481">
                  <c:v>42044</c:v>
                </c:pt>
                <c:pt idx="1482">
                  <c:v>42045</c:v>
                </c:pt>
                <c:pt idx="1483">
                  <c:v>42046</c:v>
                </c:pt>
                <c:pt idx="1484">
                  <c:v>42047</c:v>
                </c:pt>
                <c:pt idx="1485">
                  <c:v>42048</c:v>
                </c:pt>
                <c:pt idx="1486">
                  <c:v>42051</c:v>
                </c:pt>
                <c:pt idx="1487">
                  <c:v>42052</c:v>
                </c:pt>
                <c:pt idx="1488">
                  <c:v>42060</c:v>
                </c:pt>
                <c:pt idx="1489">
                  <c:v>42061</c:v>
                </c:pt>
                <c:pt idx="1490">
                  <c:v>42062</c:v>
                </c:pt>
                <c:pt idx="1491">
                  <c:v>42065</c:v>
                </c:pt>
                <c:pt idx="1492">
                  <c:v>42066</c:v>
                </c:pt>
                <c:pt idx="1493">
                  <c:v>42067</c:v>
                </c:pt>
                <c:pt idx="1494">
                  <c:v>42068</c:v>
                </c:pt>
                <c:pt idx="1495">
                  <c:v>42069</c:v>
                </c:pt>
                <c:pt idx="1496">
                  <c:v>42072</c:v>
                </c:pt>
                <c:pt idx="1497">
                  <c:v>42073</c:v>
                </c:pt>
                <c:pt idx="1498">
                  <c:v>42074</c:v>
                </c:pt>
                <c:pt idx="1499">
                  <c:v>42075</c:v>
                </c:pt>
                <c:pt idx="1500">
                  <c:v>42076</c:v>
                </c:pt>
                <c:pt idx="1501">
                  <c:v>42079</c:v>
                </c:pt>
                <c:pt idx="1502">
                  <c:v>42080</c:v>
                </c:pt>
                <c:pt idx="1503">
                  <c:v>42081</c:v>
                </c:pt>
                <c:pt idx="1504">
                  <c:v>42082</c:v>
                </c:pt>
                <c:pt idx="1505">
                  <c:v>42083</c:v>
                </c:pt>
                <c:pt idx="1506">
                  <c:v>42086</c:v>
                </c:pt>
                <c:pt idx="1507">
                  <c:v>42087</c:v>
                </c:pt>
                <c:pt idx="1508">
                  <c:v>42088</c:v>
                </c:pt>
                <c:pt idx="1509">
                  <c:v>42089</c:v>
                </c:pt>
                <c:pt idx="1510">
                  <c:v>42090</c:v>
                </c:pt>
                <c:pt idx="1511">
                  <c:v>42093</c:v>
                </c:pt>
                <c:pt idx="1512">
                  <c:v>42094</c:v>
                </c:pt>
                <c:pt idx="1513">
                  <c:v>42095</c:v>
                </c:pt>
                <c:pt idx="1514">
                  <c:v>42096</c:v>
                </c:pt>
                <c:pt idx="1515">
                  <c:v>42097</c:v>
                </c:pt>
                <c:pt idx="1516">
                  <c:v>42101</c:v>
                </c:pt>
                <c:pt idx="1517">
                  <c:v>42102</c:v>
                </c:pt>
                <c:pt idx="1518">
                  <c:v>42103</c:v>
                </c:pt>
                <c:pt idx="1519">
                  <c:v>42104</c:v>
                </c:pt>
                <c:pt idx="1520">
                  <c:v>42107</c:v>
                </c:pt>
                <c:pt idx="1521">
                  <c:v>42108</c:v>
                </c:pt>
                <c:pt idx="1522">
                  <c:v>42109</c:v>
                </c:pt>
                <c:pt idx="1523">
                  <c:v>42110</c:v>
                </c:pt>
                <c:pt idx="1524">
                  <c:v>42111</c:v>
                </c:pt>
                <c:pt idx="1525">
                  <c:v>42114</c:v>
                </c:pt>
                <c:pt idx="1526">
                  <c:v>42115</c:v>
                </c:pt>
                <c:pt idx="1527">
                  <c:v>42116</c:v>
                </c:pt>
                <c:pt idx="1528">
                  <c:v>42117</c:v>
                </c:pt>
                <c:pt idx="1529">
                  <c:v>42118</c:v>
                </c:pt>
                <c:pt idx="1530">
                  <c:v>42121</c:v>
                </c:pt>
                <c:pt idx="1531">
                  <c:v>42122</c:v>
                </c:pt>
                <c:pt idx="1532">
                  <c:v>42123</c:v>
                </c:pt>
                <c:pt idx="1533">
                  <c:v>42124</c:v>
                </c:pt>
                <c:pt idx="1534">
                  <c:v>42128</c:v>
                </c:pt>
                <c:pt idx="1535">
                  <c:v>42129</c:v>
                </c:pt>
                <c:pt idx="1536">
                  <c:v>42130</c:v>
                </c:pt>
                <c:pt idx="1537">
                  <c:v>42131</c:v>
                </c:pt>
                <c:pt idx="1538">
                  <c:v>42132</c:v>
                </c:pt>
                <c:pt idx="1539">
                  <c:v>42135</c:v>
                </c:pt>
                <c:pt idx="1540">
                  <c:v>42136</c:v>
                </c:pt>
                <c:pt idx="1541">
                  <c:v>42137</c:v>
                </c:pt>
                <c:pt idx="1542">
                  <c:v>42138</c:v>
                </c:pt>
                <c:pt idx="1543">
                  <c:v>42139</c:v>
                </c:pt>
                <c:pt idx="1544">
                  <c:v>42142</c:v>
                </c:pt>
                <c:pt idx="1545">
                  <c:v>42143</c:v>
                </c:pt>
                <c:pt idx="1546">
                  <c:v>42144</c:v>
                </c:pt>
                <c:pt idx="1547">
                  <c:v>42145</c:v>
                </c:pt>
                <c:pt idx="1548">
                  <c:v>42146</c:v>
                </c:pt>
                <c:pt idx="1549">
                  <c:v>42149</c:v>
                </c:pt>
                <c:pt idx="1550">
                  <c:v>42150</c:v>
                </c:pt>
                <c:pt idx="1551">
                  <c:v>42151</c:v>
                </c:pt>
                <c:pt idx="1552">
                  <c:v>42152</c:v>
                </c:pt>
                <c:pt idx="1553">
                  <c:v>42153</c:v>
                </c:pt>
                <c:pt idx="1554">
                  <c:v>42156</c:v>
                </c:pt>
                <c:pt idx="1555">
                  <c:v>42157</c:v>
                </c:pt>
                <c:pt idx="1556">
                  <c:v>42158</c:v>
                </c:pt>
                <c:pt idx="1557">
                  <c:v>42159</c:v>
                </c:pt>
                <c:pt idx="1558">
                  <c:v>42160</c:v>
                </c:pt>
                <c:pt idx="1559">
                  <c:v>42163</c:v>
                </c:pt>
                <c:pt idx="1560">
                  <c:v>42164</c:v>
                </c:pt>
                <c:pt idx="1561">
                  <c:v>42165</c:v>
                </c:pt>
                <c:pt idx="1562">
                  <c:v>42166</c:v>
                </c:pt>
                <c:pt idx="1563">
                  <c:v>42167</c:v>
                </c:pt>
                <c:pt idx="1564">
                  <c:v>42170</c:v>
                </c:pt>
                <c:pt idx="1565">
                  <c:v>42171</c:v>
                </c:pt>
                <c:pt idx="1566">
                  <c:v>42172</c:v>
                </c:pt>
                <c:pt idx="1567">
                  <c:v>42173</c:v>
                </c:pt>
                <c:pt idx="1568">
                  <c:v>42174</c:v>
                </c:pt>
                <c:pt idx="1569">
                  <c:v>42178</c:v>
                </c:pt>
                <c:pt idx="1570">
                  <c:v>42179</c:v>
                </c:pt>
                <c:pt idx="1571">
                  <c:v>42180</c:v>
                </c:pt>
                <c:pt idx="1572">
                  <c:v>42181</c:v>
                </c:pt>
                <c:pt idx="1573">
                  <c:v>42184</c:v>
                </c:pt>
                <c:pt idx="1574">
                  <c:v>42185</c:v>
                </c:pt>
                <c:pt idx="1575">
                  <c:v>42186</c:v>
                </c:pt>
                <c:pt idx="1576">
                  <c:v>42187</c:v>
                </c:pt>
                <c:pt idx="1577">
                  <c:v>42188</c:v>
                </c:pt>
                <c:pt idx="1578">
                  <c:v>42191</c:v>
                </c:pt>
                <c:pt idx="1579">
                  <c:v>42192</c:v>
                </c:pt>
                <c:pt idx="1580">
                  <c:v>42193</c:v>
                </c:pt>
                <c:pt idx="1581">
                  <c:v>42194</c:v>
                </c:pt>
                <c:pt idx="1582">
                  <c:v>42195</c:v>
                </c:pt>
                <c:pt idx="1583">
                  <c:v>42198</c:v>
                </c:pt>
                <c:pt idx="1584">
                  <c:v>42199</c:v>
                </c:pt>
                <c:pt idx="1585">
                  <c:v>42200</c:v>
                </c:pt>
                <c:pt idx="1586">
                  <c:v>42201</c:v>
                </c:pt>
                <c:pt idx="1587">
                  <c:v>42202</c:v>
                </c:pt>
                <c:pt idx="1588">
                  <c:v>42205</c:v>
                </c:pt>
                <c:pt idx="1589">
                  <c:v>42206</c:v>
                </c:pt>
                <c:pt idx="1590">
                  <c:v>42207</c:v>
                </c:pt>
                <c:pt idx="1591">
                  <c:v>42208</c:v>
                </c:pt>
                <c:pt idx="1592">
                  <c:v>42209</c:v>
                </c:pt>
                <c:pt idx="1593">
                  <c:v>42212</c:v>
                </c:pt>
                <c:pt idx="1594">
                  <c:v>42213</c:v>
                </c:pt>
                <c:pt idx="1595">
                  <c:v>42214</c:v>
                </c:pt>
                <c:pt idx="1596">
                  <c:v>42215</c:v>
                </c:pt>
                <c:pt idx="1597">
                  <c:v>42216</c:v>
                </c:pt>
                <c:pt idx="1598">
                  <c:v>42219</c:v>
                </c:pt>
                <c:pt idx="1599">
                  <c:v>42220</c:v>
                </c:pt>
                <c:pt idx="1600">
                  <c:v>42221</c:v>
                </c:pt>
                <c:pt idx="1601">
                  <c:v>42222</c:v>
                </c:pt>
                <c:pt idx="1602">
                  <c:v>42223</c:v>
                </c:pt>
                <c:pt idx="1603">
                  <c:v>42226</c:v>
                </c:pt>
                <c:pt idx="1604">
                  <c:v>42227</c:v>
                </c:pt>
                <c:pt idx="1605">
                  <c:v>42228</c:v>
                </c:pt>
                <c:pt idx="1606">
                  <c:v>42229</c:v>
                </c:pt>
                <c:pt idx="1607">
                  <c:v>42230</c:v>
                </c:pt>
                <c:pt idx="1608">
                  <c:v>42233</c:v>
                </c:pt>
                <c:pt idx="1609">
                  <c:v>42234</c:v>
                </c:pt>
                <c:pt idx="1610">
                  <c:v>42235</c:v>
                </c:pt>
                <c:pt idx="1611">
                  <c:v>42236</c:v>
                </c:pt>
                <c:pt idx="1612">
                  <c:v>42237</c:v>
                </c:pt>
                <c:pt idx="1613">
                  <c:v>42240</c:v>
                </c:pt>
                <c:pt idx="1614">
                  <c:v>42241</c:v>
                </c:pt>
                <c:pt idx="1615">
                  <c:v>42242</c:v>
                </c:pt>
                <c:pt idx="1616">
                  <c:v>42243</c:v>
                </c:pt>
                <c:pt idx="1617">
                  <c:v>42244</c:v>
                </c:pt>
                <c:pt idx="1618">
                  <c:v>42247</c:v>
                </c:pt>
                <c:pt idx="1619">
                  <c:v>42248</c:v>
                </c:pt>
                <c:pt idx="1620">
                  <c:v>42249</c:v>
                </c:pt>
                <c:pt idx="1621">
                  <c:v>42254</c:v>
                </c:pt>
                <c:pt idx="1622">
                  <c:v>42255</c:v>
                </c:pt>
                <c:pt idx="1623">
                  <c:v>42256</c:v>
                </c:pt>
                <c:pt idx="1624">
                  <c:v>42257</c:v>
                </c:pt>
                <c:pt idx="1625">
                  <c:v>42258</c:v>
                </c:pt>
                <c:pt idx="1626">
                  <c:v>42261</c:v>
                </c:pt>
                <c:pt idx="1627">
                  <c:v>42262</c:v>
                </c:pt>
                <c:pt idx="1628">
                  <c:v>42263</c:v>
                </c:pt>
                <c:pt idx="1629">
                  <c:v>42264</c:v>
                </c:pt>
                <c:pt idx="1630">
                  <c:v>42265</c:v>
                </c:pt>
                <c:pt idx="1631">
                  <c:v>42268</c:v>
                </c:pt>
                <c:pt idx="1632">
                  <c:v>42269</c:v>
                </c:pt>
                <c:pt idx="1633">
                  <c:v>42270</c:v>
                </c:pt>
                <c:pt idx="1634">
                  <c:v>42271</c:v>
                </c:pt>
                <c:pt idx="1635">
                  <c:v>42272</c:v>
                </c:pt>
                <c:pt idx="1636">
                  <c:v>42275</c:v>
                </c:pt>
                <c:pt idx="1637">
                  <c:v>42276</c:v>
                </c:pt>
                <c:pt idx="1638">
                  <c:v>42277</c:v>
                </c:pt>
                <c:pt idx="1639">
                  <c:v>42285</c:v>
                </c:pt>
                <c:pt idx="1640">
                  <c:v>42286</c:v>
                </c:pt>
                <c:pt idx="1641">
                  <c:v>42289</c:v>
                </c:pt>
                <c:pt idx="1642">
                  <c:v>42290</c:v>
                </c:pt>
                <c:pt idx="1643">
                  <c:v>42291</c:v>
                </c:pt>
                <c:pt idx="1644">
                  <c:v>42292</c:v>
                </c:pt>
                <c:pt idx="1645">
                  <c:v>42293</c:v>
                </c:pt>
                <c:pt idx="1646">
                  <c:v>42296</c:v>
                </c:pt>
                <c:pt idx="1647">
                  <c:v>42297</c:v>
                </c:pt>
                <c:pt idx="1648">
                  <c:v>42298</c:v>
                </c:pt>
                <c:pt idx="1649">
                  <c:v>42299</c:v>
                </c:pt>
                <c:pt idx="1650">
                  <c:v>42300</c:v>
                </c:pt>
                <c:pt idx="1651">
                  <c:v>42303</c:v>
                </c:pt>
                <c:pt idx="1652">
                  <c:v>42304</c:v>
                </c:pt>
                <c:pt idx="1653">
                  <c:v>42305</c:v>
                </c:pt>
                <c:pt idx="1654">
                  <c:v>42306</c:v>
                </c:pt>
                <c:pt idx="1655">
                  <c:v>42307</c:v>
                </c:pt>
                <c:pt idx="1656">
                  <c:v>42310</c:v>
                </c:pt>
                <c:pt idx="1657">
                  <c:v>42311</c:v>
                </c:pt>
                <c:pt idx="1658">
                  <c:v>42312</c:v>
                </c:pt>
                <c:pt idx="1659">
                  <c:v>42313</c:v>
                </c:pt>
                <c:pt idx="1660">
                  <c:v>42314</c:v>
                </c:pt>
                <c:pt idx="1661">
                  <c:v>42317</c:v>
                </c:pt>
                <c:pt idx="1662">
                  <c:v>42318</c:v>
                </c:pt>
                <c:pt idx="1663">
                  <c:v>42319</c:v>
                </c:pt>
                <c:pt idx="1664">
                  <c:v>42320</c:v>
                </c:pt>
                <c:pt idx="1665">
                  <c:v>42321</c:v>
                </c:pt>
                <c:pt idx="1666">
                  <c:v>42324</c:v>
                </c:pt>
                <c:pt idx="1667">
                  <c:v>42325</c:v>
                </c:pt>
                <c:pt idx="1668">
                  <c:v>42326</c:v>
                </c:pt>
                <c:pt idx="1669">
                  <c:v>42327</c:v>
                </c:pt>
                <c:pt idx="1670">
                  <c:v>42328</c:v>
                </c:pt>
                <c:pt idx="1671">
                  <c:v>42331</c:v>
                </c:pt>
                <c:pt idx="1672">
                  <c:v>42332</c:v>
                </c:pt>
                <c:pt idx="1673">
                  <c:v>42333</c:v>
                </c:pt>
                <c:pt idx="1674">
                  <c:v>42334</c:v>
                </c:pt>
                <c:pt idx="1675">
                  <c:v>42335</c:v>
                </c:pt>
                <c:pt idx="1676">
                  <c:v>42338</c:v>
                </c:pt>
                <c:pt idx="1677">
                  <c:v>42339</c:v>
                </c:pt>
                <c:pt idx="1678">
                  <c:v>42340</c:v>
                </c:pt>
                <c:pt idx="1679">
                  <c:v>42341</c:v>
                </c:pt>
                <c:pt idx="1680">
                  <c:v>42342</c:v>
                </c:pt>
                <c:pt idx="1681">
                  <c:v>42345</c:v>
                </c:pt>
                <c:pt idx="1682">
                  <c:v>42346</c:v>
                </c:pt>
                <c:pt idx="1683">
                  <c:v>42347</c:v>
                </c:pt>
                <c:pt idx="1684">
                  <c:v>42348</c:v>
                </c:pt>
                <c:pt idx="1685">
                  <c:v>42349</c:v>
                </c:pt>
                <c:pt idx="1686">
                  <c:v>42352</c:v>
                </c:pt>
                <c:pt idx="1687">
                  <c:v>42353</c:v>
                </c:pt>
                <c:pt idx="1688">
                  <c:v>42354</c:v>
                </c:pt>
                <c:pt idx="1689">
                  <c:v>42355</c:v>
                </c:pt>
                <c:pt idx="1690">
                  <c:v>42356</c:v>
                </c:pt>
                <c:pt idx="1691">
                  <c:v>42359</c:v>
                </c:pt>
                <c:pt idx="1692">
                  <c:v>42360</c:v>
                </c:pt>
                <c:pt idx="1693">
                  <c:v>42361</c:v>
                </c:pt>
                <c:pt idx="1694">
                  <c:v>42362</c:v>
                </c:pt>
                <c:pt idx="1695">
                  <c:v>42363</c:v>
                </c:pt>
                <c:pt idx="1696">
                  <c:v>42366</c:v>
                </c:pt>
                <c:pt idx="1697">
                  <c:v>42367</c:v>
                </c:pt>
                <c:pt idx="1698">
                  <c:v>42368</c:v>
                </c:pt>
                <c:pt idx="1699">
                  <c:v>42369</c:v>
                </c:pt>
                <c:pt idx="1700">
                  <c:v>42373</c:v>
                </c:pt>
                <c:pt idx="1701">
                  <c:v>42374</c:v>
                </c:pt>
                <c:pt idx="1702">
                  <c:v>42375</c:v>
                </c:pt>
                <c:pt idx="1703">
                  <c:v>42376</c:v>
                </c:pt>
                <c:pt idx="1704">
                  <c:v>42377</c:v>
                </c:pt>
                <c:pt idx="1705">
                  <c:v>42380</c:v>
                </c:pt>
                <c:pt idx="1706">
                  <c:v>42381</c:v>
                </c:pt>
                <c:pt idx="1707">
                  <c:v>42382</c:v>
                </c:pt>
                <c:pt idx="1708">
                  <c:v>42383</c:v>
                </c:pt>
                <c:pt idx="1709">
                  <c:v>42384</c:v>
                </c:pt>
                <c:pt idx="1710">
                  <c:v>42387</c:v>
                </c:pt>
                <c:pt idx="1711">
                  <c:v>42388</c:v>
                </c:pt>
                <c:pt idx="1712">
                  <c:v>42389</c:v>
                </c:pt>
                <c:pt idx="1713">
                  <c:v>42390</c:v>
                </c:pt>
                <c:pt idx="1714">
                  <c:v>42391</c:v>
                </c:pt>
                <c:pt idx="1715">
                  <c:v>42394</c:v>
                </c:pt>
                <c:pt idx="1716">
                  <c:v>42395</c:v>
                </c:pt>
                <c:pt idx="1717">
                  <c:v>42396</c:v>
                </c:pt>
                <c:pt idx="1718">
                  <c:v>42397</c:v>
                </c:pt>
                <c:pt idx="1719">
                  <c:v>42398</c:v>
                </c:pt>
                <c:pt idx="1720">
                  <c:v>42401</c:v>
                </c:pt>
                <c:pt idx="1721">
                  <c:v>42402</c:v>
                </c:pt>
                <c:pt idx="1722">
                  <c:v>42403</c:v>
                </c:pt>
                <c:pt idx="1723">
                  <c:v>42404</c:v>
                </c:pt>
                <c:pt idx="1724">
                  <c:v>42405</c:v>
                </c:pt>
                <c:pt idx="1725">
                  <c:v>42415</c:v>
                </c:pt>
                <c:pt idx="1726">
                  <c:v>42416</c:v>
                </c:pt>
                <c:pt idx="1727">
                  <c:v>42417</c:v>
                </c:pt>
                <c:pt idx="1728">
                  <c:v>42418</c:v>
                </c:pt>
                <c:pt idx="1729">
                  <c:v>42419</c:v>
                </c:pt>
                <c:pt idx="1730">
                  <c:v>42422</c:v>
                </c:pt>
                <c:pt idx="1731">
                  <c:v>42423</c:v>
                </c:pt>
                <c:pt idx="1732">
                  <c:v>42424</c:v>
                </c:pt>
                <c:pt idx="1733">
                  <c:v>42425</c:v>
                </c:pt>
                <c:pt idx="1734">
                  <c:v>42426</c:v>
                </c:pt>
                <c:pt idx="1735">
                  <c:v>42429</c:v>
                </c:pt>
                <c:pt idx="1736">
                  <c:v>42430</c:v>
                </c:pt>
                <c:pt idx="1737">
                  <c:v>42431</c:v>
                </c:pt>
                <c:pt idx="1738">
                  <c:v>42432</c:v>
                </c:pt>
                <c:pt idx="1739">
                  <c:v>42433</c:v>
                </c:pt>
                <c:pt idx="1740">
                  <c:v>42436</c:v>
                </c:pt>
                <c:pt idx="1741">
                  <c:v>42437</c:v>
                </c:pt>
                <c:pt idx="1742">
                  <c:v>42438</c:v>
                </c:pt>
                <c:pt idx="1743">
                  <c:v>42439</c:v>
                </c:pt>
                <c:pt idx="1744">
                  <c:v>42440</c:v>
                </c:pt>
                <c:pt idx="1745">
                  <c:v>42443</c:v>
                </c:pt>
                <c:pt idx="1746">
                  <c:v>42444</c:v>
                </c:pt>
                <c:pt idx="1747">
                  <c:v>42445</c:v>
                </c:pt>
                <c:pt idx="1748">
                  <c:v>42446</c:v>
                </c:pt>
                <c:pt idx="1749">
                  <c:v>42447</c:v>
                </c:pt>
                <c:pt idx="1750">
                  <c:v>42450</c:v>
                </c:pt>
                <c:pt idx="1751">
                  <c:v>42451</c:v>
                </c:pt>
                <c:pt idx="1752">
                  <c:v>42452</c:v>
                </c:pt>
                <c:pt idx="1753">
                  <c:v>42453</c:v>
                </c:pt>
                <c:pt idx="1754">
                  <c:v>42454</c:v>
                </c:pt>
                <c:pt idx="1755">
                  <c:v>42457</c:v>
                </c:pt>
                <c:pt idx="1756">
                  <c:v>42458</c:v>
                </c:pt>
                <c:pt idx="1757">
                  <c:v>42459</c:v>
                </c:pt>
                <c:pt idx="1758">
                  <c:v>42460</c:v>
                </c:pt>
                <c:pt idx="1759">
                  <c:v>42461</c:v>
                </c:pt>
                <c:pt idx="1760">
                  <c:v>42465</c:v>
                </c:pt>
                <c:pt idx="1761">
                  <c:v>42466</c:v>
                </c:pt>
                <c:pt idx="1762">
                  <c:v>42467</c:v>
                </c:pt>
                <c:pt idx="1763">
                  <c:v>42468</c:v>
                </c:pt>
                <c:pt idx="1764">
                  <c:v>42471</c:v>
                </c:pt>
                <c:pt idx="1765">
                  <c:v>42472</c:v>
                </c:pt>
                <c:pt idx="1766">
                  <c:v>42473</c:v>
                </c:pt>
                <c:pt idx="1767">
                  <c:v>42474</c:v>
                </c:pt>
                <c:pt idx="1768">
                  <c:v>42475</c:v>
                </c:pt>
                <c:pt idx="1769">
                  <c:v>42478</c:v>
                </c:pt>
                <c:pt idx="1770">
                  <c:v>42479</c:v>
                </c:pt>
                <c:pt idx="1771">
                  <c:v>42480</c:v>
                </c:pt>
                <c:pt idx="1772">
                  <c:v>42481</c:v>
                </c:pt>
                <c:pt idx="1773">
                  <c:v>42482</c:v>
                </c:pt>
                <c:pt idx="1774">
                  <c:v>42485</c:v>
                </c:pt>
                <c:pt idx="1775">
                  <c:v>42486</c:v>
                </c:pt>
                <c:pt idx="1776">
                  <c:v>42487</c:v>
                </c:pt>
                <c:pt idx="1777">
                  <c:v>42488</c:v>
                </c:pt>
                <c:pt idx="1778">
                  <c:v>42489</c:v>
                </c:pt>
                <c:pt idx="1779">
                  <c:v>42493</c:v>
                </c:pt>
                <c:pt idx="1780">
                  <c:v>42494</c:v>
                </c:pt>
                <c:pt idx="1781">
                  <c:v>42495</c:v>
                </c:pt>
                <c:pt idx="1782">
                  <c:v>42496</c:v>
                </c:pt>
                <c:pt idx="1783">
                  <c:v>42499</c:v>
                </c:pt>
                <c:pt idx="1784">
                  <c:v>42500</c:v>
                </c:pt>
                <c:pt idx="1785">
                  <c:v>42501</c:v>
                </c:pt>
                <c:pt idx="1786">
                  <c:v>42502</c:v>
                </c:pt>
                <c:pt idx="1787">
                  <c:v>42503</c:v>
                </c:pt>
                <c:pt idx="1788">
                  <c:v>42506</c:v>
                </c:pt>
                <c:pt idx="1789">
                  <c:v>42507</c:v>
                </c:pt>
                <c:pt idx="1790">
                  <c:v>42508</c:v>
                </c:pt>
                <c:pt idx="1791">
                  <c:v>42509</c:v>
                </c:pt>
                <c:pt idx="1792">
                  <c:v>42510</c:v>
                </c:pt>
                <c:pt idx="1793">
                  <c:v>42513</c:v>
                </c:pt>
                <c:pt idx="1794">
                  <c:v>42514</c:v>
                </c:pt>
                <c:pt idx="1795">
                  <c:v>42515</c:v>
                </c:pt>
                <c:pt idx="1796">
                  <c:v>42516</c:v>
                </c:pt>
                <c:pt idx="1797">
                  <c:v>42517</c:v>
                </c:pt>
                <c:pt idx="1798">
                  <c:v>42520</c:v>
                </c:pt>
                <c:pt idx="1799">
                  <c:v>42521</c:v>
                </c:pt>
                <c:pt idx="1800">
                  <c:v>42522</c:v>
                </c:pt>
                <c:pt idx="1801">
                  <c:v>42523</c:v>
                </c:pt>
                <c:pt idx="1802">
                  <c:v>42524</c:v>
                </c:pt>
                <c:pt idx="1803">
                  <c:v>42527</c:v>
                </c:pt>
                <c:pt idx="1804">
                  <c:v>42528</c:v>
                </c:pt>
                <c:pt idx="1805">
                  <c:v>42529</c:v>
                </c:pt>
                <c:pt idx="1806">
                  <c:v>42534</c:v>
                </c:pt>
                <c:pt idx="1807">
                  <c:v>42535</c:v>
                </c:pt>
                <c:pt idx="1808">
                  <c:v>42536</c:v>
                </c:pt>
                <c:pt idx="1809">
                  <c:v>42537</c:v>
                </c:pt>
                <c:pt idx="1810">
                  <c:v>42538</c:v>
                </c:pt>
                <c:pt idx="1811">
                  <c:v>42541</c:v>
                </c:pt>
                <c:pt idx="1812">
                  <c:v>42542</c:v>
                </c:pt>
                <c:pt idx="1813">
                  <c:v>42543</c:v>
                </c:pt>
                <c:pt idx="1814">
                  <c:v>42544</c:v>
                </c:pt>
                <c:pt idx="1815">
                  <c:v>42545</c:v>
                </c:pt>
                <c:pt idx="1816">
                  <c:v>42548</c:v>
                </c:pt>
                <c:pt idx="1817">
                  <c:v>42549</c:v>
                </c:pt>
                <c:pt idx="1818">
                  <c:v>42550</c:v>
                </c:pt>
                <c:pt idx="1819">
                  <c:v>42551</c:v>
                </c:pt>
                <c:pt idx="1820">
                  <c:v>42552</c:v>
                </c:pt>
                <c:pt idx="1821">
                  <c:v>42555</c:v>
                </c:pt>
                <c:pt idx="1822">
                  <c:v>42556</c:v>
                </c:pt>
                <c:pt idx="1823">
                  <c:v>42557</c:v>
                </c:pt>
                <c:pt idx="1824">
                  <c:v>42558</c:v>
                </c:pt>
                <c:pt idx="1825">
                  <c:v>42559</c:v>
                </c:pt>
                <c:pt idx="1826">
                  <c:v>42562</c:v>
                </c:pt>
                <c:pt idx="1827">
                  <c:v>42563</c:v>
                </c:pt>
                <c:pt idx="1828">
                  <c:v>42564</c:v>
                </c:pt>
                <c:pt idx="1829">
                  <c:v>42565</c:v>
                </c:pt>
                <c:pt idx="1830">
                  <c:v>42566</c:v>
                </c:pt>
                <c:pt idx="1831">
                  <c:v>42569</c:v>
                </c:pt>
                <c:pt idx="1832">
                  <c:v>42570</c:v>
                </c:pt>
                <c:pt idx="1833">
                  <c:v>42571</c:v>
                </c:pt>
                <c:pt idx="1834">
                  <c:v>42572</c:v>
                </c:pt>
                <c:pt idx="1835">
                  <c:v>42573</c:v>
                </c:pt>
                <c:pt idx="1836">
                  <c:v>42576</c:v>
                </c:pt>
                <c:pt idx="1837">
                  <c:v>42577</c:v>
                </c:pt>
                <c:pt idx="1838">
                  <c:v>42578</c:v>
                </c:pt>
                <c:pt idx="1839">
                  <c:v>42579</c:v>
                </c:pt>
                <c:pt idx="1840">
                  <c:v>42580</c:v>
                </c:pt>
                <c:pt idx="1841">
                  <c:v>42583</c:v>
                </c:pt>
                <c:pt idx="1842">
                  <c:v>42584</c:v>
                </c:pt>
                <c:pt idx="1843">
                  <c:v>42585</c:v>
                </c:pt>
                <c:pt idx="1844">
                  <c:v>42586</c:v>
                </c:pt>
                <c:pt idx="1845">
                  <c:v>42587</c:v>
                </c:pt>
                <c:pt idx="1846">
                  <c:v>42590</c:v>
                </c:pt>
                <c:pt idx="1847">
                  <c:v>42591</c:v>
                </c:pt>
                <c:pt idx="1848">
                  <c:v>42592</c:v>
                </c:pt>
                <c:pt idx="1849">
                  <c:v>42593</c:v>
                </c:pt>
                <c:pt idx="1850">
                  <c:v>42594</c:v>
                </c:pt>
                <c:pt idx="1851">
                  <c:v>42597</c:v>
                </c:pt>
                <c:pt idx="1852">
                  <c:v>42598</c:v>
                </c:pt>
                <c:pt idx="1853">
                  <c:v>42599</c:v>
                </c:pt>
                <c:pt idx="1854">
                  <c:v>42600</c:v>
                </c:pt>
                <c:pt idx="1855">
                  <c:v>42601</c:v>
                </c:pt>
                <c:pt idx="1856">
                  <c:v>42604</c:v>
                </c:pt>
                <c:pt idx="1857">
                  <c:v>42605</c:v>
                </c:pt>
                <c:pt idx="1858">
                  <c:v>42606</c:v>
                </c:pt>
                <c:pt idx="1859">
                  <c:v>42607</c:v>
                </c:pt>
                <c:pt idx="1860">
                  <c:v>42608</c:v>
                </c:pt>
                <c:pt idx="1861">
                  <c:v>42611</c:v>
                </c:pt>
                <c:pt idx="1862">
                  <c:v>42612</c:v>
                </c:pt>
                <c:pt idx="1863">
                  <c:v>42613</c:v>
                </c:pt>
                <c:pt idx="1864">
                  <c:v>42614</c:v>
                </c:pt>
                <c:pt idx="1865">
                  <c:v>42615</c:v>
                </c:pt>
                <c:pt idx="1866">
                  <c:v>42618</c:v>
                </c:pt>
                <c:pt idx="1867">
                  <c:v>42619</c:v>
                </c:pt>
                <c:pt idx="1868">
                  <c:v>42620</c:v>
                </c:pt>
                <c:pt idx="1869">
                  <c:v>42621</c:v>
                </c:pt>
                <c:pt idx="1870">
                  <c:v>42622</c:v>
                </c:pt>
                <c:pt idx="1871">
                  <c:v>42625</c:v>
                </c:pt>
                <c:pt idx="1872">
                  <c:v>42626</c:v>
                </c:pt>
                <c:pt idx="1873">
                  <c:v>42627</c:v>
                </c:pt>
                <c:pt idx="1874">
                  <c:v>42632</c:v>
                </c:pt>
                <c:pt idx="1875">
                  <c:v>42633</c:v>
                </c:pt>
                <c:pt idx="1876">
                  <c:v>42634</c:v>
                </c:pt>
                <c:pt idx="1877">
                  <c:v>42635</c:v>
                </c:pt>
                <c:pt idx="1878">
                  <c:v>42636</c:v>
                </c:pt>
                <c:pt idx="1879">
                  <c:v>42639</c:v>
                </c:pt>
                <c:pt idx="1880">
                  <c:v>42640</c:v>
                </c:pt>
                <c:pt idx="1881">
                  <c:v>42641</c:v>
                </c:pt>
                <c:pt idx="1882">
                  <c:v>42642</c:v>
                </c:pt>
                <c:pt idx="1883">
                  <c:v>42643</c:v>
                </c:pt>
                <c:pt idx="1884">
                  <c:v>42653</c:v>
                </c:pt>
                <c:pt idx="1885">
                  <c:v>42654</c:v>
                </c:pt>
                <c:pt idx="1886">
                  <c:v>42655</c:v>
                </c:pt>
                <c:pt idx="1887">
                  <c:v>42656</c:v>
                </c:pt>
                <c:pt idx="1888">
                  <c:v>42657</c:v>
                </c:pt>
                <c:pt idx="1889">
                  <c:v>42660</c:v>
                </c:pt>
                <c:pt idx="1890">
                  <c:v>42661</c:v>
                </c:pt>
                <c:pt idx="1891">
                  <c:v>42662</c:v>
                </c:pt>
                <c:pt idx="1892">
                  <c:v>42663</c:v>
                </c:pt>
                <c:pt idx="1893">
                  <c:v>42664</c:v>
                </c:pt>
                <c:pt idx="1894">
                  <c:v>42667</c:v>
                </c:pt>
                <c:pt idx="1895">
                  <c:v>42668</c:v>
                </c:pt>
                <c:pt idx="1896">
                  <c:v>42669</c:v>
                </c:pt>
                <c:pt idx="1897">
                  <c:v>42670</c:v>
                </c:pt>
                <c:pt idx="1898">
                  <c:v>42671</c:v>
                </c:pt>
                <c:pt idx="1899">
                  <c:v>42674</c:v>
                </c:pt>
                <c:pt idx="1900">
                  <c:v>42675</c:v>
                </c:pt>
                <c:pt idx="1901">
                  <c:v>42676</c:v>
                </c:pt>
                <c:pt idx="1902">
                  <c:v>42677</c:v>
                </c:pt>
                <c:pt idx="1903">
                  <c:v>42678</c:v>
                </c:pt>
                <c:pt idx="1904">
                  <c:v>42681</c:v>
                </c:pt>
                <c:pt idx="1905">
                  <c:v>42682</c:v>
                </c:pt>
                <c:pt idx="1906">
                  <c:v>42683</c:v>
                </c:pt>
                <c:pt idx="1907">
                  <c:v>42684</c:v>
                </c:pt>
                <c:pt idx="1908">
                  <c:v>42685</c:v>
                </c:pt>
                <c:pt idx="1909">
                  <c:v>42688</c:v>
                </c:pt>
                <c:pt idx="1910">
                  <c:v>42689</c:v>
                </c:pt>
                <c:pt idx="1911">
                  <c:v>42690</c:v>
                </c:pt>
                <c:pt idx="1912">
                  <c:v>42691</c:v>
                </c:pt>
                <c:pt idx="1913">
                  <c:v>42692</c:v>
                </c:pt>
                <c:pt idx="1914">
                  <c:v>42695</c:v>
                </c:pt>
                <c:pt idx="1915">
                  <c:v>42696</c:v>
                </c:pt>
                <c:pt idx="1916">
                  <c:v>42697</c:v>
                </c:pt>
                <c:pt idx="1917">
                  <c:v>42698</c:v>
                </c:pt>
                <c:pt idx="1918">
                  <c:v>42699</c:v>
                </c:pt>
                <c:pt idx="1919">
                  <c:v>42702</c:v>
                </c:pt>
                <c:pt idx="1920">
                  <c:v>42703</c:v>
                </c:pt>
                <c:pt idx="1921">
                  <c:v>42704</c:v>
                </c:pt>
                <c:pt idx="1922">
                  <c:v>42705</c:v>
                </c:pt>
                <c:pt idx="1923">
                  <c:v>42706</c:v>
                </c:pt>
                <c:pt idx="1924">
                  <c:v>42709</c:v>
                </c:pt>
                <c:pt idx="1925">
                  <c:v>42710</c:v>
                </c:pt>
                <c:pt idx="1926">
                  <c:v>42711</c:v>
                </c:pt>
                <c:pt idx="1927">
                  <c:v>42712</c:v>
                </c:pt>
                <c:pt idx="1928">
                  <c:v>42713</c:v>
                </c:pt>
                <c:pt idx="1929">
                  <c:v>42716</c:v>
                </c:pt>
                <c:pt idx="1930">
                  <c:v>42717</c:v>
                </c:pt>
                <c:pt idx="1931">
                  <c:v>42718</c:v>
                </c:pt>
                <c:pt idx="1932">
                  <c:v>42719</c:v>
                </c:pt>
                <c:pt idx="1933">
                  <c:v>42720</c:v>
                </c:pt>
                <c:pt idx="1934">
                  <c:v>42723</c:v>
                </c:pt>
                <c:pt idx="1935">
                  <c:v>42724</c:v>
                </c:pt>
                <c:pt idx="1936">
                  <c:v>42725</c:v>
                </c:pt>
                <c:pt idx="1937">
                  <c:v>42726</c:v>
                </c:pt>
                <c:pt idx="1938">
                  <c:v>42727</c:v>
                </c:pt>
                <c:pt idx="1939">
                  <c:v>42730</c:v>
                </c:pt>
                <c:pt idx="1940">
                  <c:v>42731</c:v>
                </c:pt>
                <c:pt idx="1941">
                  <c:v>42732</c:v>
                </c:pt>
                <c:pt idx="1942">
                  <c:v>42733</c:v>
                </c:pt>
                <c:pt idx="1943">
                  <c:v>42734</c:v>
                </c:pt>
                <c:pt idx="1944">
                  <c:v>42738</c:v>
                </c:pt>
                <c:pt idx="1945">
                  <c:v>42739</c:v>
                </c:pt>
                <c:pt idx="1946">
                  <c:v>42740</c:v>
                </c:pt>
                <c:pt idx="1947">
                  <c:v>42741</c:v>
                </c:pt>
                <c:pt idx="1948">
                  <c:v>42744</c:v>
                </c:pt>
                <c:pt idx="1949">
                  <c:v>42745</c:v>
                </c:pt>
                <c:pt idx="1950">
                  <c:v>42746</c:v>
                </c:pt>
                <c:pt idx="1951">
                  <c:v>42747</c:v>
                </c:pt>
                <c:pt idx="1952">
                  <c:v>42748</c:v>
                </c:pt>
                <c:pt idx="1953">
                  <c:v>42751</c:v>
                </c:pt>
                <c:pt idx="1954">
                  <c:v>42752</c:v>
                </c:pt>
                <c:pt idx="1955">
                  <c:v>42753</c:v>
                </c:pt>
                <c:pt idx="1956">
                  <c:v>42754</c:v>
                </c:pt>
                <c:pt idx="1957">
                  <c:v>42755</c:v>
                </c:pt>
                <c:pt idx="1958">
                  <c:v>42758</c:v>
                </c:pt>
                <c:pt idx="1959">
                  <c:v>42759</c:v>
                </c:pt>
                <c:pt idx="1960">
                  <c:v>42760</c:v>
                </c:pt>
                <c:pt idx="1961">
                  <c:v>42761</c:v>
                </c:pt>
                <c:pt idx="1962">
                  <c:v>42769</c:v>
                </c:pt>
                <c:pt idx="1963">
                  <c:v>42772</c:v>
                </c:pt>
                <c:pt idx="1964">
                  <c:v>42773</c:v>
                </c:pt>
                <c:pt idx="1965">
                  <c:v>42774</c:v>
                </c:pt>
                <c:pt idx="1966">
                  <c:v>42775</c:v>
                </c:pt>
                <c:pt idx="1967">
                  <c:v>42776</c:v>
                </c:pt>
                <c:pt idx="1968">
                  <c:v>42779</c:v>
                </c:pt>
                <c:pt idx="1969">
                  <c:v>42780</c:v>
                </c:pt>
                <c:pt idx="1970">
                  <c:v>42781</c:v>
                </c:pt>
                <c:pt idx="1971">
                  <c:v>42782</c:v>
                </c:pt>
                <c:pt idx="1972">
                  <c:v>42783</c:v>
                </c:pt>
                <c:pt idx="1973">
                  <c:v>42786</c:v>
                </c:pt>
                <c:pt idx="1974">
                  <c:v>42787</c:v>
                </c:pt>
                <c:pt idx="1975">
                  <c:v>42788</c:v>
                </c:pt>
                <c:pt idx="1976">
                  <c:v>42789</c:v>
                </c:pt>
                <c:pt idx="1977">
                  <c:v>42790</c:v>
                </c:pt>
                <c:pt idx="1978">
                  <c:v>42793</c:v>
                </c:pt>
                <c:pt idx="1979">
                  <c:v>42794</c:v>
                </c:pt>
                <c:pt idx="1980">
                  <c:v>42795</c:v>
                </c:pt>
                <c:pt idx="1981">
                  <c:v>42796</c:v>
                </c:pt>
                <c:pt idx="1982">
                  <c:v>42797</c:v>
                </c:pt>
                <c:pt idx="1983">
                  <c:v>42800</c:v>
                </c:pt>
                <c:pt idx="1984">
                  <c:v>42801</c:v>
                </c:pt>
                <c:pt idx="1985">
                  <c:v>42802</c:v>
                </c:pt>
                <c:pt idx="1986">
                  <c:v>42803</c:v>
                </c:pt>
                <c:pt idx="1987">
                  <c:v>42804</c:v>
                </c:pt>
                <c:pt idx="1988">
                  <c:v>42807</c:v>
                </c:pt>
                <c:pt idx="1989">
                  <c:v>42808</c:v>
                </c:pt>
                <c:pt idx="1990">
                  <c:v>42809</c:v>
                </c:pt>
                <c:pt idx="1991">
                  <c:v>42810</c:v>
                </c:pt>
                <c:pt idx="1992">
                  <c:v>42811</c:v>
                </c:pt>
                <c:pt idx="1993">
                  <c:v>42814</c:v>
                </c:pt>
                <c:pt idx="1994">
                  <c:v>42815</c:v>
                </c:pt>
                <c:pt idx="1995">
                  <c:v>42816</c:v>
                </c:pt>
                <c:pt idx="1996">
                  <c:v>42817</c:v>
                </c:pt>
                <c:pt idx="1997">
                  <c:v>42818</c:v>
                </c:pt>
                <c:pt idx="1998">
                  <c:v>42821</c:v>
                </c:pt>
                <c:pt idx="1999">
                  <c:v>42822</c:v>
                </c:pt>
                <c:pt idx="2000">
                  <c:v>42823</c:v>
                </c:pt>
                <c:pt idx="2001">
                  <c:v>42824</c:v>
                </c:pt>
                <c:pt idx="2002">
                  <c:v>42825</c:v>
                </c:pt>
                <c:pt idx="2003">
                  <c:v>42830</c:v>
                </c:pt>
                <c:pt idx="2004">
                  <c:v>42831</c:v>
                </c:pt>
                <c:pt idx="2005">
                  <c:v>42832</c:v>
                </c:pt>
                <c:pt idx="2006">
                  <c:v>42835</c:v>
                </c:pt>
                <c:pt idx="2007">
                  <c:v>42836</c:v>
                </c:pt>
                <c:pt idx="2008">
                  <c:v>42837</c:v>
                </c:pt>
                <c:pt idx="2009">
                  <c:v>42838</c:v>
                </c:pt>
                <c:pt idx="2010">
                  <c:v>42839</c:v>
                </c:pt>
                <c:pt idx="2011">
                  <c:v>42842</c:v>
                </c:pt>
                <c:pt idx="2012">
                  <c:v>42843</c:v>
                </c:pt>
                <c:pt idx="2013">
                  <c:v>42844</c:v>
                </c:pt>
                <c:pt idx="2014">
                  <c:v>42845</c:v>
                </c:pt>
                <c:pt idx="2015">
                  <c:v>42846</c:v>
                </c:pt>
                <c:pt idx="2016">
                  <c:v>42849</c:v>
                </c:pt>
                <c:pt idx="2017">
                  <c:v>42850</c:v>
                </c:pt>
                <c:pt idx="2018">
                  <c:v>42851</c:v>
                </c:pt>
                <c:pt idx="2019">
                  <c:v>42852</c:v>
                </c:pt>
                <c:pt idx="2020">
                  <c:v>42853</c:v>
                </c:pt>
                <c:pt idx="2021">
                  <c:v>42857</c:v>
                </c:pt>
                <c:pt idx="2022">
                  <c:v>42858</c:v>
                </c:pt>
                <c:pt idx="2023">
                  <c:v>42859</c:v>
                </c:pt>
                <c:pt idx="2024">
                  <c:v>42860</c:v>
                </c:pt>
                <c:pt idx="2025">
                  <c:v>42863</c:v>
                </c:pt>
                <c:pt idx="2026">
                  <c:v>42864</c:v>
                </c:pt>
                <c:pt idx="2027">
                  <c:v>42865</c:v>
                </c:pt>
                <c:pt idx="2028">
                  <c:v>42866</c:v>
                </c:pt>
                <c:pt idx="2029">
                  <c:v>42867</c:v>
                </c:pt>
                <c:pt idx="2030">
                  <c:v>42870</c:v>
                </c:pt>
                <c:pt idx="2031">
                  <c:v>42871</c:v>
                </c:pt>
                <c:pt idx="2032">
                  <c:v>42872</c:v>
                </c:pt>
                <c:pt idx="2033">
                  <c:v>42873</c:v>
                </c:pt>
                <c:pt idx="2034">
                  <c:v>42874</c:v>
                </c:pt>
                <c:pt idx="2035">
                  <c:v>42877</c:v>
                </c:pt>
                <c:pt idx="2036">
                  <c:v>42878</c:v>
                </c:pt>
                <c:pt idx="2037">
                  <c:v>42879</c:v>
                </c:pt>
                <c:pt idx="2038">
                  <c:v>42880</c:v>
                </c:pt>
                <c:pt idx="2039">
                  <c:v>42881</c:v>
                </c:pt>
                <c:pt idx="2040">
                  <c:v>42886</c:v>
                </c:pt>
                <c:pt idx="2041">
                  <c:v>42887</c:v>
                </c:pt>
                <c:pt idx="2042">
                  <c:v>42888</c:v>
                </c:pt>
                <c:pt idx="2043">
                  <c:v>42891</c:v>
                </c:pt>
                <c:pt idx="2044">
                  <c:v>42892</c:v>
                </c:pt>
                <c:pt idx="2045">
                  <c:v>42893</c:v>
                </c:pt>
                <c:pt idx="2046">
                  <c:v>42894</c:v>
                </c:pt>
                <c:pt idx="2047">
                  <c:v>42895</c:v>
                </c:pt>
                <c:pt idx="2048">
                  <c:v>42898</c:v>
                </c:pt>
                <c:pt idx="2049">
                  <c:v>42899</c:v>
                </c:pt>
                <c:pt idx="2050">
                  <c:v>42900</c:v>
                </c:pt>
                <c:pt idx="2051">
                  <c:v>42901</c:v>
                </c:pt>
                <c:pt idx="2052">
                  <c:v>42902</c:v>
                </c:pt>
                <c:pt idx="2053">
                  <c:v>42905</c:v>
                </c:pt>
                <c:pt idx="2054">
                  <c:v>42906</c:v>
                </c:pt>
                <c:pt idx="2055">
                  <c:v>42907</c:v>
                </c:pt>
                <c:pt idx="2056">
                  <c:v>42908</c:v>
                </c:pt>
                <c:pt idx="2057">
                  <c:v>42909</c:v>
                </c:pt>
                <c:pt idx="2058">
                  <c:v>42912</c:v>
                </c:pt>
                <c:pt idx="2059">
                  <c:v>42913</c:v>
                </c:pt>
                <c:pt idx="2060">
                  <c:v>42914</c:v>
                </c:pt>
                <c:pt idx="2061">
                  <c:v>42915</c:v>
                </c:pt>
                <c:pt idx="2062">
                  <c:v>42916</c:v>
                </c:pt>
                <c:pt idx="2063">
                  <c:v>42919</c:v>
                </c:pt>
                <c:pt idx="2064">
                  <c:v>42920</c:v>
                </c:pt>
                <c:pt idx="2065">
                  <c:v>42921</c:v>
                </c:pt>
                <c:pt idx="2066">
                  <c:v>42922</c:v>
                </c:pt>
                <c:pt idx="2067">
                  <c:v>42923</c:v>
                </c:pt>
                <c:pt idx="2068">
                  <c:v>42926</c:v>
                </c:pt>
                <c:pt idx="2069">
                  <c:v>42927</c:v>
                </c:pt>
                <c:pt idx="2070">
                  <c:v>42928</c:v>
                </c:pt>
                <c:pt idx="2071">
                  <c:v>42929</c:v>
                </c:pt>
                <c:pt idx="2072">
                  <c:v>42930</c:v>
                </c:pt>
                <c:pt idx="2073">
                  <c:v>42933</c:v>
                </c:pt>
                <c:pt idx="2074">
                  <c:v>42934</c:v>
                </c:pt>
                <c:pt idx="2075">
                  <c:v>42935</c:v>
                </c:pt>
                <c:pt idx="2076">
                  <c:v>42936</c:v>
                </c:pt>
                <c:pt idx="2077">
                  <c:v>42937</c:v>
                </c:pt>
                <c:pt idx="2078">
                  <c:v>42940</c:v>
                </c:pt>
                <c:pt idx="2079">
                  <c:v>42941</c:v>
                </c:pt>
                <c:pt idx="2080">
                  <c:v>42942</c:v>
                </c:pt>
                <c:pt idx="2081">
                  <c:v>42943</c:v>
                </c:pt>
                <c:pt idx="2082">
                  <c:v>42944</c:v>
                </c:pt>
                <c:pt idx="2083">
                  <c:v>42947</c:v>
                </c:pt>
                <c:pt idx="2084">
                  <c:v>42948</c:v>
                </c:pt>
                <c:pt idx="2085">
                  <c:v>42949</c:v>
                </c:pt>
                <c:pt idx="2086">
                  <c:v>42950</c:v>
                </c:pt>
                <c:pt idx="2087">
                  <c:v>42951</c:v>
                </c:pt>
                <c:pt idx="2088">
                  <c:v>42954</c:v>
                </c:pt>
                <c:pt idx="2089">
                  <c:v>42955</c:v>
                </c:pt>
                <c:pt idx="2090">
                  <c:v>42956</c:v>
                </c:pt>
                <c:pt idx="2091">
                  <c:v>42957</c:v>
                </c:pt>
                <c:pt idx="2092">
                  <c:v>42958</c:v>
                </c:pt>
                <c:pt idx="2093">
                  <c:v>42961</c:v>
                </c:pt>
                <c:pt idx="2094">
                  <c:v>42962</c:v>
                </c:pt>
                <c:pt idx="2095">
                  <c:v>42963</c:v>
                </c:pt>
                <c:pt idx="2096">
                  <c:v>42964</c:v>
                </c:pt>
                <c:pt idx="2097">
                  <c:v>42965</c:v>
                </c:pt>
                <c:pt idx="2098">
                  <c:v>42968</c:v>
                </c:pt>
                <c:pt idx="2099">
                  <c:v>42969</c:v>
                </c:pt>
                <c:pt idx="2100">
                  <c:v>42970</c:v>
                </c:pt>
                <c:pt idx="2101">
                  <c:v>42971</c:v>
                </c:pt>
                <c:pt idx="2102">
                  <c:v>42972</c:v>
                </c:pt>
                <c:pt idx="2103">
                  <c:v>42975</c:v>
                </c:pt>
                <c:pt idx="2104">
                  <c:v>42976</c:v>
                </c:pt>
                <c:pt idx="2105">
                  <c:v>42977</c:v>
                </c:pt>
                <c:pt idx="2106">
                  <c:v>42978</c:v>
                </c:pt>
                <c:pt idx="2107">
                  <c:v>42979</c:v>
                </c:pt>
                <c:pt idx="2108">
                  <c:v>42982</c:v>
                </c:pt>
                <c:pt idx="2109">
                  <c:v>42983</c:v>
                </c:pt>
                <c:pt idx="2110">
                  <c:v>42984</c:v>
                </c:pt>
                <c:pt idx="2111">
                  <c:v>42985</c:v>
                </c:pt>
                <c:pt idx="2112">
                  <c:v>42986</c:v>
                </c:pt>
                <c:pt idx="2113">
                  <c:v>42989</c:v>
                </c:pt>
                <c:pt idx="2114">
                  <c:v>42990</c:v>
                </c:pt>
                <c:pt idx="2115">
                  <c:v>42991</c:v>
                </c:pt>
                <c:pt idx="2116">
                  <c:v>42992</c:v>
                </c:pt>
                <c:pt idx="2117">
                  <c:v>42993</c:v>
                </c:pt>
                <c:pt idx="2118">
                  <c:v>42996</c:v>
                </c:pt>
                <c:pt idx="2119">
                  <c:v>42997</c:v>
                </c:pt>
                <c:pt idx="2120">
                  <c:v>42998</c:v>
                </c:pt>
                <c:pt idx="2121">
                  <c:v>42999</c:v>
                </c:pt>
                <c:pt idx="2122">
                  <c:v>43000</c:v>
                </c:pt>
                <c:pt idx="2123">
                  <c:v>43003</c:v>
                </c:pt>
                <c:pt idx="2124">
                  <c:v>43004</c:v>
                </c:pt>
                <c:pt idx="2125">
                  <c:v>43005</c:v>
                </c:pt>
                <c:pt idx="2126">
                  <c:v>43006</c:v>
                </c:pt>
                <c:pt idx="2127">
                  <c:v>43007</c:v>
                </c:pt>
                <c:pt idx="2128">
                  <c:v>43017</c:v>
                </c:pt>
                <c:pt idx="2129">
                  <c:v>43018</c:v>
                </c:pt>
                <c:pt idx="2130">
                  <c:v>43019</c:v>
                </c:pt>
                <c:pt idx="2131">
                  <c:v>43020</c:v>
                </c:pt>
                <c:pt idx="2132">
                  <c:v>43021</c:v>
                </c:pt>
                <c:pt idx="2133">
                  <c:v>43024</c:v>
                </c:pt>
                <c:pt idx="2134">
                  <c:v>43025</c:v>
                </c:pt>
                <c:pt idx="2135">
                  <c:v>43026</c:v>
                </c:pt>
                <c:pt idx="2136">
                  <c:v>43027</c:v>
                </c:pt>
                <c:pt idx="2137">
                  <c:v>43028</c:v>
                </c:pt>
                <c:pt idx="2138">
                  <c:v>43031</c:v>
                </c:pt>
                <c:pt idx="2139">
                  <c:v>43032</c:v>
                </c:pt>
                <c:pt idx="2140">
                  <c:v>43033</c:v>
                </c:pt>
                <c:pt idx="2141">
                  <c:v>43034</c:v>
                </c:pt>
                <c:pt idx="2142">
                  <c:v>43035</c:v>
                </c:pt>
                <c:pt idx="2143">
                  <c:v>43038</c:v>
                </c:pt>
                <c:pt idx="2144">
                  <c:v>43039</c:v>
                </c:pt>
                <c:pt idx="2145">
                  <c:v>43040</c:v>
                </c:pt>
                <c:pt idx="2146">
                  <c:v>43041</c:v>
                </c:pt>
                <c:pt idx="2147">
                  <c:v>43042</c:v>
                </c:pt>
                <c:pt idx="2148">
                  <c:v>43045</c:v>
                </c:pt>
                <c:pt idx="2149">
                  <c:v>43046</c:v>
                </c:pt>
                <c:pt idx="2150">
                  <c:v>43047</c:v>
                </c:pt>
                <c:pt idx="2151">
                  <c:v>43048</c:v>
                </c:pt>
                <c:pt idx="2152">
                  <c:v>43049</c:v>
                </c:pt>
                <c:pt idx="2153">
                  <c:v>43052</c:v>
                </c:pt>
                <c:pt idx="2154">
                  <c:v>43053</c:v>
                </c:pt>
                <c:pt idx="2155">
                  <c:v>43054</c:v>
                </c:pt>
                <c:pt idx="2156">
                  <c:v>43055</c:v>
                </c:pt>
                <c:pt idx="2157">
                  <c:v>43056</c:v>
                </c:pt>
                <c:pt idx="2158">
                  <c:v>43059</c:v>
                </c:pt>
                <c:pt idx="2159">
                  <c:v>43060</c:v>
                </c:pt>
                <c:pt idx="2160">
                  <c:v>43061</c:v>
                </c:pt>
                <c:pt idx="2161">
                  <c:v>43062</c:v>
                </c:pt>
                <c:pt idx="2162">
                  <c:v>43063</c:v>
                </c:pt>
                <c:pt idx="2163">
                  <c:v>43066</c:v>
                </c:pt>
                <c:pt idx="2164">
                  <c:v>43067</c:v>
                </c:pt>
                <c:pt idx="2165">
                  <c:v>43068</c:v>
                </c:pt>
                <c:pt idx="2166">
                  <c:v>43069</c:v>
                </c:pt>
                <c:pt idx="2167">
                  <c:v>43070</c:v>
                </c:pt>
                <c:pt idx="2168">
                  <c:v>43073</c:v>
                </c:pt>
                <c:pt idx="2169">
                  <c:v>43074</c:v>
                </c:pt>
                <c:pt idx="2170">
                  <c:v>43075</c:v>
                </c:pt>
                <c:pt idx="2171">
                  <c:v>43076</c:v>
                </c:pt>
                <c:pt idx="2172">
                  <c:v>43077</c:v>
                </c:pt>
                <c:pt idx="2173">
                  <c:v>43080</c:v>
                </c:pt>
                <c:pt idx="2174">
                  <c:v>43081</c:v>
                </c:pt>
                <c:pt idx="2175">
                  <c:v>43082</c:v>
                </c:pt>
                <c:pt idx="2176">
                  <c:v>43083</c:v>
                </c:pt>
                <c:pt idx="2177">
                  <c:v>43084</c:v>
                </c:pt>
                <c:pt idx="2178">
                  <c:v>43087</c:v>
                </c:pt>
                <c:pt idx="2179">
                  <c:v>43088</c:v>
                </c:pt>
                <c:pt idx="2180">
                  <c:v>43089</c:v>
                </c:pt>
                <c:pt idx="2181">
                  <c:v>43090</c:v>
                </c:pt>
                <c:pt idx="2182">
                  <c:v>43091</c:v>
                </c:pt>
                <c:pt idx="2183">
                  <c:v>43094</c:v>
                </c:pt>
                <c:pt idx="2184">
                  <c:v>43095</c:v>
                </c:pt>
                <c:pt idx="2185">
                  <c:v>43096</c:v>
                </c:pt>
                <c:pt idx="2186">
                  <c:v>43097</c:v>
                </c:pt>
                <c:pt idx="2187">
                  <c:v>43098</c:v>
                </c:pt>
                <c:pt idx="2188">
                  <c:v>43102</c:v>
                </c:pt>
                <c:pt idx="2189">
                  <c:v>43103</c:v>
                </c:pt>
                <c:pt idx="2190">
                  <c:v>43104</c:v>
                </c:pt>
                <c:pt idx="2191">
                  <c:v>43105</c:v>
                </c:pt>
                <c:pt idx="2192">
                  <c:v>43108</c:v>
                </c:pt>
                <c:pt idx="2193">
                  <c:v>43109</c:v>
                </c:pt>
                <c:pt idx="2194">
                  <c:v>43110</c:v>
                </c:pt>
                <c:pt idx="2195">
                  <c:v>43111</c:v>
                </c:pt>
                <c:pt idx="2196">
                  <c:v>43112</c:v>
                </c:pt>
                <c:pt idx="2197">
                  <c:v>43115</c:v>
                </c:pt>
                <c:pt idx="2198">
                  <c:v>43116</c:v>
                </c:pt>
                <c:pt idx="2199">
                  <c:v>43117</c:v>
                </c:pt>
                <c:pt idx="2200">
                  <c:v>43118</c:v>
                </c:pt>
                <c:pt idx="2201">
                  <c:v>43119</c:v>
                </c:pt>
                <c:pt idx="2202">
                  <c:v>43122</c:v>
                </c:pt>
                <c:pt idx="2203">
                  <c:v>43123</c:v>
                </c:pt>
                <c:pt idx="2204">
                  <c:v>43124</c:v>
                </c:pt>
                <c:pt idx="2205">
                  <c:v>43125</c:v>
                </c:pt>
                <c:pt idx="2206">
                  <c:v>43126</c:v>
                </c:pt>
                <c:pt idx="2207">
                  <c:v>43129</c:v>
                </c:pt>
                <c:pt idx="2208">
                  <c:v>43130</c:v>
                </c:pt>
                <c:pt idx="2209">
                  <c:v>43131</c:v>
                </c:pt>
                <c:pt idx="2210">
                  <c:v>43132</c:v>
                </c:pt>
                <c:pt idx="2211">
                  <c:v>43133</c:v>
                </c:pt>
                <c:pt idx="2212">
                  <c:v>43136</c:v>
                </c:pt>
                <c:pt idx="2213">
                  <c:v>43137</c:v>
                </c:pt>
                <c:pt idx="2214">
                  <c:v>43138</c:v>
                </c:pt>
                <c:pt idx="2215">
                  <c:v>43139</c:v>
                </c:pt>
                <c:pt idx="2216">
                  <c:v>43140</c:v>
                </c:pt>
                <c:pt idx="2217">
                  <c:v>43143</c:v>
                </c:pt>
                <c:pt idx="2218">
                  <c:v>43144</c:v>
                </c:pt>
                <c:pt idx="2219">
                  <c:v>43145</c:v>
                </c:pt>
                <c:pt idx="2220">
                  <c:v>43153</c:v>
                </c:pt>
                <c:pt idx="2221">
                  <c:v>43154</c:v>
                </c:pt>
                <c:pt idx="2222">
                  <c:v>43157</c:v>
                </c:pt>
                <c:pt idx="2223">
                  <c:v>43158</c:v>
                </c:pt>
                <c:pt idx="2224">
                  <c:v>43159</c:v>
                </c:pt>
                <c:pt idx="2225">
                  <c:v>43160</c:v>
                </c:pt>
                <c:pt idx="2226">
                  <c:v>43161</c:v>
                </c:pt>
                <c:pt idx="2227">
                  <c:v>43164</c:v>
                </c:pt>
                <c:pt idx="2228">
                  <c:v>43165</c:v>
                </c:pt>
                <c:pt idx="2229">
                  <c:v>43166</c:v>
                </c:pt>
                <c:pt idx="2230">
                  <c:v>43167</c:v>
                </c:pt>
                <c:pt idx="2231">
                  <c:v>43168</c:v>
                </c:pt>
                <c:pt idx="2232">
                  <c:v>43171</c:v>
                </c:pt>
                <c:pt idx="2233">
                  <c:v>43172</c:v>
                </c:pt>
                <c:pt idx="2234">
                  <c:v>43173</c:v>
                </c:pt>
                <c:pt idx="2235">
                  <c:v>43174</c:v>
                </c:pt>
                <c:pt idx="2236">
                  <c:v>43175</c:v>
                </c:pt>
                <c:pt idx="2237">
                  <c:v>43178</c:v>
                </c:pt>
                <c:pt idx="2238">
                  <c:v>43179</c:v>
                </c:pt>
                <c:pt idx="2239">
                  <c:v>43180</c:v>
                </c:pt>
                <c:pt idx="2240">
                  <c:v>43181</c:v>
                </c:pt>
                <c:pt idx="2241">
                  <c:v>43182</c:v>
                </c:pt>
                <c:pt idx="2242">
                  <c:v>43185</c:v>
                </c:pt>
                <c:pt idx="2243">
                  <c:v>43186</c:v>
                </c:pt>
                <c:pt idx="2244">
                  <c:v>43187</c:v>
                </c:pt>
                <c:pt idx="2245">
                  <c:v>43188</c:v>
                </c:pt>
                <c:pt idx="2246">
                  <c:v>43189</c:v>
                </c:pt>
                <c:pt idx="2247">
                  <c:v>43192</c:v>
                </c:pt>
                <c:pt idx="2248">
                  <c:v>43193</c:v>
                </c:pt>
                <c:pt idx="2249">
                  <c:v>43194</c:v>
                </c:pt>
                <c:pt idx="2250">
                  <c:v>43199</c:v>
                </c:pt>
                <c:pt idx="2251">
                  <c:v>43200</c:v>
                </c:pt>
                <c:pt idx="2252">
                  <c:v>43201</c:v>
                </c:pt>
                <c:pt idx="2253">
                  <c:v>43202</c:v>
                </c:pt>
                <c:pt idx="2254">
                  <c:v>43203</c:v>
                </c:pt>
                <c:pt idx="2255">
                  <c:v>43206</c:v>
                </c:pt>
                <c:pt idx="2256">
                  <c:v>43207</c:v>
                </c:pt>
                <c:pt idx="2257">
                  <c:v>43208</c:v>
                </c:pt>
                <c:pt idx="2258">
                  <c:v>43209</c:v>
                </c:pt>
                <c:pt idx="2259">
                  <c:v>43210</c:v>
                </c:pt>
                <c:pt idx="2260">
                  <c:v>43213</c:v>
                </c:pt>
                <c:pt idx="2261">
                  <c:v>43214</c:v>
                </c:pt>
                <c:pt idx="2262">
                  <c:v>43215</c:v>
                </c:pt>
                <c:pt idx="2263">
                  <c:v>43216</c:v>
                </c:pt>
                <c:pt idx="2264">
                  <c:v>43217</c:v>
                </c:pt>
                <c:pt idx="2265">
                  <c:v>43222</c:v>
                </c:pt>
                <c:pt idx="2266">
                  <c:v>43223</c:v>
                </c:pt>
                <c:pt idx="2267">
                  <c:v>43224</c:v>
                </c:pt>
                <c:pt idx="2268">
                  <c:v>43227</c:v>
                </c:pt>
                <c:pt idx="2269">
                  <c:v>43228</c:v>
                </c:pt>
                <c:pt idx="2270">
                  <c:v>43229</c:v>
                </c:pt>
                <c:pt idx="2271">
                  <c:v>43230</c:v>
                </c:pt>
                <c:pt idx="2272">
                  <c:v>43231</c:v>
                </c:pt>
                <c:pt idx="2273">
                  <c:v>43234</c:v>
                </c:pt>
                <c:pt idx="2274">
                  <c:v>43235</c:v>
                </c:pt>
                <c:pt idx="2275">
                  <c:v>43236</c:v>
                </c:pt>
                <c:pt idx="2276">
                  <c:v>43237</c:v>
                </c:pt>
                <c:pt idx="2277">
                  <c:v>43238</c:v>
                </c:pt>
                <c:pt idx="2278">
                  <c:v>43241</c:v>
                </c:pt>
                <c:pt idx="2279">
                  <c:v>43242</c:v>
                </c:pt>
                <c:pt idx="2280">
                  <c:v>43243</c:v>
                </c:pt>
                <c:pt idx="2281">
                  <c:v>43244</c:v>
                </c:pt>
                <c:pt idx="2282">
                  <c:v>43245</c:v>
                </c:pt>
                <c:pt idx="2283">
                  <c:v>43248</c:v>
                </c:pt>
                <c:pt idx="2284">
                  <c:v>43249</c:v>
                </c:pt>
                <c:pt idx="2285">
                  <c:v>43250</c:v>
                </c:pt>
                <c:pt idx="2286">
                  <c:v>43251</c:v>
                </c:pt>
                <c:pt idx="2287">
                  <c:v>43252</c:v>
                </c:pt>
                <c:pt idx="2288">
                  <c:v>43255</c:v>
                </c:pt>
                <c:pt idx="2289">
                  <c:v>43256</c:v>
                </c:pt>
                <c:pt idx="2290">
                  <c:v>43257</c:v>
                </c:pt>
                <c:pt idx="2291">
                  <c:v>43258</c:v>
                </c:pt>
                <c:pt idx="2292">
                  <c:v>43259</c:v>
                </c:pt>
                <c:pt idx="2293">
                  <c:v>43262</c:v>
                </c:pt>
                <c:pt idx="2294">
                  <c:v>43263</c:v>
                </c:pt>
                <c:pt idx="2295">
                  <c:v>43264</c:v>
                </c:pt>
                <c:pt idx="2296">
                  <c:v>43265</c:v>
                </c:pt>
                <c:pt idx="2297">
                  <c:v>43266</c:v>
                </c:pt>
                <c:pt idx="2298">
                  <c:v>43270</c:v>
                </c:pt>
                <c:pt idx="2299">
                  <c:v>43271</c:v>
                </c:pt>
                <c:pt idx="2300">
                  <c:v>43272</c:v>
                </c:pt>
                <c:pt idx="2301">
                  <c:v>43273</c:v>
                </c:pt>
                <c:pt idx="2302">
                  <c:v>43276</c:v>
                </c:pt>
                <c:pt idx="2303">
                  <c:v>43277</c:v>
                </c:pt>
                <c:pt idx="2304">
                  <c:v>43278</c:v>
                </c:pt>
                <c:pt idx="2305">
                  <c:v>43279</c:v>
                </c:pt>
                <c:pt idx="2306">
                  <c:v>43280</c:v>
                </c:pt>
                <c:pt idx="2307">
                  <c:v>43283</c:v>
                </c:pt>
                <c:pt idx="2308">
                  <c:v>43284</c:v>
                </c:pt>
                <c:pt idx="2309">
                  <c:v>43285</c:v>
                </c:pt>
                <c:pt idx="2310">
                  <c:v>43286</c:v>
                </c:pt>
                <c:pt idx="2311">
                  <c:v>43287</c:v>
                </c:pt>
                <c:pt idx="2312">
                  <c:v>43290</c:v>
                </c:pt>
                <c:pt idx="2313">
                  <c:v>43291</c:v>
                </c:pt>
                <c:pt idx="2314">
                  <c:v>43292</c:v>
                </c:pt>
                <c:pt idx="2315">
                  <c:v>43293</c:v>
                </c:pt>
                <c:pt idx="2316">
                  <c:v>43294</c:v>
                </c:pt>
                <c:pt idx="2317">
                  <c:v>43297</c:v>
                </c:pt>
                <c:pt idx="2318">
                  <c:v>43298</c:v>
                </c:pt>
                <c:pt idx="2319">
                  <c:v>43299</c:v>
                </c:pt>
                <c:pt idx="2320">
                  <c:v>43300</c:v>
                </c:pt>
                <c:pt idx="2321">
                  <c:v>43301</c:v>
                </c:pt>
                <c:pt idx="2322">
                  <c:v>43304</c:v>
                </c:pt>
                <c:pt idx="2323">
                  <c:v>43305</c:v>
                </c:pt>
                <c:pt idx="2324">
                  <c:v>43306</c:v>
                </c:pt>
                <c:pt idx="2325">
                  <c:v>43307</c:v>
                </c:pt>
                <c:pt idx="2326">
                  <c:v>43308</c:v>
                </c:pt>
                <c:pt idx="2327">
                  <c:v>43311</c:v>
                </c:pt>
                <c:pt idx="2328">
                  <c:v>43312</c:v>
                </c:pt>
                <c:pt idx="2329">
                  <c:v>43313</c:v>
                </c:pt>
                <c:pt idx="2330">
                  <c:v>43314</c:v>
                </c:pt>
                <c:pt idx="2331">
                  <c:v>43315</c:v>
                </c:pt>
                <c:pt idx="2332">
                  <c:v>43318</c:v>
                </c:pt>
                <c:pt idx="2333">
                  <c:v>43319</c:v>
                </c:pt>
                <c:pt idx="2334">
                  <c:v>43320</c:v>
                </c:pt>
                <c:pt idx="2335">
                  <c:v>43321</c:v>
                </c:pt>
                <c:pt idx="2336">
                  <c:v>43322</c:v>
                </c:pt>
                <c:pt idx="2337">
                  <c:v>43325</c:v>
                </c:pt>
                <c:pt idx="2338">
                  <c:v>43326</c:v>
                </c:pt>
                <c:pt idx="2339">
                  <c:v>43327</c:v>
                </c:pt>
                <c:pt idx="2340">
                  <c:v>43328</c:v>
                </c:pt>
                <c:pt idx="2341">
                  <c:v>43329</c:v>
                </c:pt>
                <c:pt idx="2342">
                  <c:v>43332</c:v>
                </c:pt>
                <c:pt idx="2343">
                  <c:v>43333</c:v>
                </c:pt>
                <c:pt idx="2344">
                  <c:v>43334</c:v>
                </c:pt>
                <c:pt idx="2345">
                  <c:v>43335</c:v>
                </c:pt>
                <c:pt idx="2346">
                  <c:v>43336</c:v>
                </c:pt>
                <c:pt idx="2347">
                  <c:v>43339</c:v>
                </c:pt>
                <c:pt idx="2348">
                  <c:v>43340</c:v>
                </c:pt>
                <c:pt idx="2349">
                  <c:v>43341</c:v>
                </c:pt>
                <c:pt idx="2350">
                  <c:v>43342</c:v>
                </c:pt>
                <c:pt idx="2351">
                  <c:v>43343</c:v>
                </c:pt>
                <c:pt idx="2352">
                  <c:v>43346</c:v>
                </c:pt>
                <c:pt idx="2353">
                  <c:v>43347</c:v>
                </c:pt>
                <c:pt idx="2354">
                  <c:v>43348</c:v>
                </c:pt>
                <c:pt idx="2355">
                  <c:v>43349</c:v>
                </c:pt>
                <c:pt idx="2356">
                  <c:v>43350</c:v>
                </c:pt>
                <c:pt idx="2357">
                  <c:v>43353</c:v>
                </c:pt>
                <c:pt idx="2358">
                  <c:v>43354</c:v>
                </c:pt>
                <c:pt idx="2359">
                  <c:v>43355</c:v>
                </c:pt>
                <c:pt idx="2360">
                  <c:v>43356</c:v>
                </c:pt>
                <c:pt idx="2361">
                  <c:v>43357</c:v>
                </c:pt>
                <c:pt idx="2362">
                  <c:v>43360</c:v>
                </c:pt>
                <c:pt idx="2363">
                  <c:v>43361</c:v>
                </c:pt>
                <c:pt idx="2364">
                  <c:v>43362</c:v>
                </c:pt>
                <c:pt idx="2365">
                  <c:v>43363</c:v>
                </c:pt>
                <c:pt idx="2366">
                  <c:v>43364</c:v>
                </c:pt>
                <c:pt idx="2367">
                  <c:v>43368</c:v>
                </c:pt>
                <c:pt idx="2368">
                  <c:v>43369</c:v>
                </c:pt>
                <c:pt idx="2369">
                  <c:v>43370</c:v>
                </c:pt>
                <c:pt idx="2370">
                  <c:v>43371</c:v>
                </c:pt>
                <c:pt idx="2371">
                  <c:v>43381</c:v>
                </c:pt>
                <c:pt idx="2372">
                  <c:v>43382</c:v>
                </c:pt>
                <c:pt idx="2373">
                  <c:v>43383</c:v>
                </c:pt>
                <c:pt idx="2374">
                  <c:v>43384</c:v>
                </c:pt>
                <c:pt idx="2375">
                  <c:v>43385</c:v>
                </c:pt>
                <c:pt idx="2376">
                  <c:v>43388</c:v>
                </c:pt>
                <c:pt idx="2377">
                  <c:v>43389</c:v>
                </c:pt>
                <c:pt idx="2378">
                  <c:v>43390</c:v>
                </c:pt>
                <c:pt idx="2379">
                  <c:v>43391</c:v>
                </c:pt>
                <c:pt idx="2380">
                  <c:v>43392</c:v>
                </c:pt>
                <c:pt idx="2381">
                  <c:v>43395</c:v>
                </c:pt>
                <c:pt idx="2382">
                  <c:v>43396</c:v>
                </c:pt>
                <c:pt idx="2383">
                  <c:v>43397</c:v>
                </c:pt>
                <c:pt idx="2384">
                  <c:v>43398</c:v>
                </c:pt>
                <c:pt idx="2385">
                  <c:v>43399</c:v>
                </c:pt>
                <c:pt idx="2386">
                  <c:v>43402</c:v>
                </c:pt>
                <c:pt idx="2387">
                  <c:v>43403</c:v>
                </c:pt>
                <c:pt idx="2388">
                  <c:v>43404</c:v>
                </c:pt>
                <c:pt idx="2389">
                  <c:v>43405</c:v>
                </c:pt>
                <c:pt idx="2390">
                  <c:v>43406</c:v>
                </c:pt>
                <c:pt idx="2391">
                  <c:v>43409</c:v>
                </c:pt>
                <c:pt idx="2392">
                  <c:v>43410</c:v>
                </c:pt>
                <c:pt idx="2393">
                  <c:v>43411</c:v>
                </c:pt>
                <c:pt idx="2394">
                  <c:v>43412</c:v>
                </c:pt>
                <c:pt idx="2395">
                  <c:v>43413</c:v>
                </c:pt>
                <c:pt idx="2396">
                  <c:v>43416</c:v>
                </c:pt>
                <c:pt idx="2397">
                  <c:v>43417</c:v>
                </c:pt>
                <c:pt idx="2398">
                  <c:v>43418</c:v>
                </c:pt>
                <c:pt idx="2399">
                  <c:v>43419</c:v>
                </c:pt>
                <c:pt idx="2400">
                  <c:v>43420</c:v>
                </c:pt>
                <c:pt idx="2401">
                  <c:v>43423</c:v>
                </c:pt>
                <c:pt idx="2402">
                  <c:v>43424</c:v>
                </c:pt>
                <c:pt idx="2403">
                  <c:v>43425</c:v>
                </c:pt>
                <c:pt idx="2404">
                  <c:v>43426</c:v>
                </c:pt>
                <c:pt idx="2405">
                  <c:v>43427</c:v>
                </c:pt>
                <c:pt idx="2406">
                  <c:v>43430</c:v>
                </c:pt>
                <c:pt idx="2407">
                  <c:v>43431</c:v>
                </c:pt>
                <c:pt idx="2408">
                  <c:v>43432</c:v>
                </c:pt>
                <c:pt idx="2409">
                  <c:v>43433</c:v>
                </c:pt>
                <c:pt idx="2410">
                  <c:v>43434</c:v>
                </c:pt>
                <c:pt idx="2411">
                  <c:v>43437</c:v>
                </c:pt>
                <c:pt idx="2412">
                  <c:v>43438</c:v>
                </c:pt>
                <c:pt idx="2413">
                  <c:v>43439</c:v>
                </c:pt>
                <c:pt idx="2414">
                  <c:v>43440</c:v>
                </c:pt>
                <c:pt idx="2415">
                  <c:v>43441</c:v>
                </c:pt>
                <c:pt idx="2416">
                  <c:v>43444</c:v>
                </c:pt>
                <c:pt idx="2417">
                  <c:v>43445</c:v>
                </c:pt>
                <c:pt idx="2418">
                  <c:v>43446</c:v>
                </c:pt>
                <c:pt idx="2419">
                  <c:v>43447</c:v>
                </c:pt>
                <c:pt idx="2420">
                  <c:v>43448</c:v>
                </c:pt>
                <c:pt idx="2421">
                  <c:v>43451</c:v>
                </c:pt>
                <c:pt idx="2422">
                  <c:v>43452</c:v>
                </c:pt>
                <c:pt idx="2423">
                  <c:v>43453</c:v>
                </c:pt>
                <c:pt idx="2424">
                  <c:v>43454</c:v>
                </c:pt>
                <c:pt idx="2425">
                  <c:v>43455</c:v>
                </c:pt>
                <c:pt idx="2426">
                  <c:v>43458</c:v>
                </c:pt>
                <c:pt idx="2427">
                  <c:v>43459</c:v>
                </c:pt>
                <c:pt idx="2428">
                  <c:v>43460</c:v>
                </c:pt>
                <c:pt idx="2429">
                  <c:v>43461</c:v>
                </c:pt>
                <c:pt idx="2430">
                  <c:v>43462</c:v>
                </c:pt>
                <c:pt idx="2431">
                  <c:v>43467</c:v>
                </c:pt>
                <c:pt idx="2432">
                  <c:v>43468</c:v>
                </c:pt>
                <c:pt idx="2433">
                  <c:v>43469</c:v>
                </c:pt>
                <c:pt idx="2434">
                  <c:v>43472</c:v>
                </c:pt>
                <c:pt idx="2435">
                  <c:v>43473</c:v>
                </c:pt>
                <c:pt idx="2436">
                  <c:v>43474</c:v>
                </c:pt>
                <c:pt idx="2437">
                  <c:v>43475</c:v>
                </c:pt>
                <c:pt idx="2438">
                  <c:v>43476</c:v>
                </c:pt>
                <c:pt idx="2439">
                  <c:v>43479</c:v>
                </c:pt>
                <c:pt idx="2440">
                  <c:v>43480</c:v>
                </c:pt>
                <c:pt idx="2441">
                  <c:v>43481</c:v>
                </c:pt>
                <c:pt idx="2442">
                  <c:v>43482</c:v>
                </c:pt>
                <c:pt idx="2443">
                  <c:v>43483</c:v>
                </c:pt>
                <c:pt idx="2444">
                  <c:v>43486</c:v>
                </c:pt>
                <c:pt idx="2445">
                  <c:v>43487</c:v>
                </c:pt>
                <c:pt idx="2446">
                  <c:v>43488</c:v>
                </c:pt>
                <c:pt idx="2447">
                  <c:v>43489</c:v>
                </c:pt>
                <c:pt idx="2448">
                  <c:v>43490</c:v>
                </c:pt>
                <c:pt idx="2449">
                  <c:v>43493</c:v>
                </c:pt>
                <c:pt idx="2450">
                  <c:v>43494</c:v>
                </c:pt>
                <c:pt idx="2451">
                  <c:v>43495</c:v>
                </c:pt>
                <c:pt idx="2452">
                  <c:v>43496</c:v>
                </c:pt>
                <c:pt idx="2453">
                  <c:v>43497</c:v>
                </c:pt>
                <c:pt idx="2454">
                  <c:v>43507</c:v>
                </c:pt>
                <c:pt idx="2455">
                  <c:v>43508</c:v>
                </c:pt>
                <c:pt idx="2456">
                  <c:v>43509</c:v>
                </c:pt>
                <c:pt idx="2457">
                  <c:v>43510</c:v>
                </c:pt>
                <c:pt idx="2458">
                  <c:v>43511</c:v>
                </c:pt>
                <c:pt idx="2459">
                  <c:v>43514</c:v>
                </c:pt>
                <c:pt idx="2460">
                  <c:v>43515</c:v>
                </c:pt>
                <c:pt idx="2461">
                  <c:v>43516</c:v>
                </c:pt>
                <c:pt idx="2462">
                  <c:v>43517</c:v>
                </c:pt>
                <c:pt idx="2463">
                  <c:v>43518</c:v>
                </c:pt>
                <c:pt idx="2464">
                  <c:v>43521</c:v>
                </c:pt>
                <c:pt idx="2465">
                  <c:v>43522</c:v>
                </c:pt>
                <c:pt idx="2466">
                  <c:v>43523</c:v>
                </c:pt>
                <c:pt idx="2467">
                  <c:v>43524</c:v>
                </c:pt>
                <c:pt idx="2468">
                  <c:v>43525</c:v>
                </c:pt>
                <c:pt idx="2469">
                  <c:v>43528</c:v>
                </c:pt>
                <c:pt idx="2470">
                  <c:v>43529</c:v>
                </c:pt>
                <c:pt idx="2471">
                  <c:v>43530</c:v>
                </c:pt>
                <c:pt idx="2472">
                  <c:v>43531</c:v>
                </c:pt>
                <c:pt idx="2473">
                  <c:v>43532</c:v>
                </c:pt>
                <c:pt idx="2474">
                  <c:v>43535</c:v>
                </c:pt>
                <c:pt idx="2475">
                  <c:v>43536</c:v>
                </c:pt>
                <c:pt idx="2476">
                  <c:v>43537</c:v>
                </c:pt>
                <c:pt idx="2477">
                  <c:v>43538</c:v>
                </c:pt>
                <c:pt idx="2478">
                  <c:v>43539</c:v>
                </c:pt>
                <c:pt idx="2479">
                  <c:v>43542</c:v>
                </c:pt>
                <c:pt idx="2480">
                  <c:v>43543</c:v>
                </c:pt>
                <c:pt idx="2481">
                  <c:v>43544</c:v>
                </c:pt>
                <c:pt idx="2482">
                  <c:v>43545</c:v>
                </c:pt>
                <c:pt idx="2483">
                  <c:v>43546</c:v>
                </c:pt>
                <c:pt idx="2484">
                  <c:v>43549</c:v>
                </c:pt>
                <c:pt idx="2485">
                  <c:v>43550</c:v>
                </c:pt>
                <c:pt idx="2486">
                  <c:v>43551</c:v>
                </c:pt>
                <c:pt idx="2487">
                  <c:v>43552</c:v>
                </c:pt>
                <c:pt idx="2488">
                  <c:v>43553</c:v>
                </c:pt>
                <c:pt idx="2489">
                  <c:v>43556</c:v>
                </c:pt>
                <c:pt idx="2490">
                  <c:v>43557</c:v>
                </c:pt>
                <c:pt idx="2491">
                  <c:v>43558</c:v>
                </c:pt>
                <c:pt idx="2492">
                  <c:v>43559</c:v>
                </c:pt>
                <c:pt idx="2493">
                  <c:v>43563</c:v>
                </c:pt>
                <c:pt idx="2494">
                  <c:v>43564</c:v>
                </c:pt>
                <c:pt idx="2495">
                  <c:v>43565</c:v>
                </c:pt>
                <c:pt idx="2496">
                  <c:v>43566</c:v>
                </c:pt>
                <c:pt idx="2497">
                  <c:v>43567</c:v>
                </c:pt>
                <c:pt idx="2498">
                  <c:v>43570</c:v>
                </c:pt>
                <c:pt idx="2499">
                  <c:v>43571</c:v>
                </c:pt>
                <c:pt idx="2500">
                  <c:v>43572</c:v>
                </c:pt>
                <c:pt idx="2501">
                  <c:v>43573</c:v>
                </c:pt>
                <c:pt idx="2502">
                  <c:v>43574</c:v>
                </c:pt>
                <c:pt idx="2503">
                  <c:v>43577</c:v>
                </c:pt>
                <c:pt idx="2504">
                  <c:v>43578</c:v>
                </c:pt>
                <c:pt idx="2505">
                  <c:v>43579</c:v>
                </c:pt>
                <c:pt idx="2506">
                  <c:v>43580</c:v>
                </c:pt>
                <c:pt idx="2507">
                  <c:v>43581</c:v>
                </c:pt>
                <c:pt idx="2508">
                  <c:v>43584</c:v>
                </c:pt>
                <c:pt idx="2509">
                  <c:v>43585</c:v>
                </c:pt>
                <c:pt idx="2510">
                  <c:v>43591</c:v>
                </c:pt>
                <c:pt idx="2511">
                  <c:v>43592</c:v>
                </c:pt>
                <c:pt idx="2512">
                  <c:v>43593</c:v>
                </c:pt>
                <c:pt idx="2513">
                  <c:v>43594</c:v>
                </c:pt>
                <c:pt idx="2514">
                  <c:v>43595</c:v>
                </c:pt>
                <c:pt idx="2515">
                  <c:v>43598</c:v>
                </c:pt>
                <c:pt idx="2516">
                  <c:v>43599</c:v>
                </c:pt>
                <c:pt idx="2517">
                  <c:v>43600</c:v>
                </c:pt>
                <c:pt idx="2518">
                  <c:v>43601</c:v>
                </c:pt>
                <c:pt idx="2519">
                  <c:v>43602</c:v>
                </c:pt>
                <c:pt idx="2520">
                  <c:v>43605</c:v>
                </c:pt>
                <c:pt idx="2521">
                  <c:v>43606</c:v>
                </c:pt>
                <c:pt idx="2522">
                  <c:v>43607</c:v>
                </c:pt>
                <c:pt idx="2523">
                  <c:v>43608</c:v>
                </c:pt>
                <c:pt idx="2524">
                  <c:v>43609</c:v>
                </c:pt>
                <c:pt idx="2525">
                  <c:v>43612</c:v>
                </c:pt>
                <c:pt idx="2526">
                  <c:v>43613</c:v>
                </c:pt>
                <c:pt idx="2527">
                  <c:v>43614</c:v>
                </c:pt>
                <c:pt idx="2528">
                  <c:v>43615</c:v>
                </c:pt>
                <c:pt idx="2529">
                  <c:v>43616</c:v>
                </c:pt>
                <c:pt idx="2530">
                  <c:v>43619</c:v>
                </c:pt>
                <c:pt idx="2531">
                  <c:v>43620</c:v>
                </c:pt>
                <c:pt idx="2532">
                  <c:v>43621</c:v>
                </c:pt>
                <c:pt idx="2533">
                  <c:v>43622</c:v>
                </c:pt>
                <c:pt idx="2534">
                  <c:v>43626</c:v>
                </c:pt>
                <c:pt idx="2535">
                  <c:v>43627</c:v>
                </c:pt>
                <c:pt idx="2536">
                  <c:v>43628</c:v>
                </c:pt>
                <c:pt idx="2537">
                  <c:v>43629</c:v>
                </c:pt>
                <c:pt idx="2538">
                  <c:v>43630</c:v>
                </c:pt>
                <c:pt idx="2539">
                  <c:v>43633</c:v>
                </c:pt>
                <c:pt idx="2540">
                  <c:v>43634</c:v>
                </c:pt>
                <c:pt idx="2541">
                  <c:v>43635</c:v>
                </c:pt>
                <c:pt idx="2542">
                  <c:v>43636</c:v>
                </c:pt>
                <c:pt idx="2543">
                  <c:v>43637</c:v>
                </c:pt>
                <c:pt idx="2544">
                  <c:v>43640</c:v>
                </c:pt>
                <c:pt idx="2545">
                  <c:v>43641</c:v>
                </c:pt>
                <c:pt idx="2546">
                  <c:v>43642</c:v>
                </c:pt>
                <c:pt idx="2547">
                  <c:v>43643</c:v>
                </c:pt>
                <c:pt idx="2548">
                  <c:v>43644</c:v>
                </c:pt>
                <c:pt idx="2549">
                  <c:v>43647</c:v>
                </c:pt>
                <c:pt idx="2550">
                  <c:v>43648</c:v>
                </c:pt>
                <c:pt idx="2551">
                  <c:v>43649</c:v>
                </c:pt>
                <c:pt idx="2552">
                  <c:v>43650</c:v>
                </c:pt>
                <c:pt idx="2553">
                  <c:v>43651</c:v>
                </c:pt>
                <c:pt idx="2554">
                  <c:v>43654</c:v>
                </c:pt>
                <c:pt idx="2555">
                  <c:v>43655</c:v>
                </c:pt>
                <c:pt idx="2556">
                  <c:v>43656</c:v>
                </c:pt>
                <c:pt idx="2557">
                  <c:v>43657</c:v>
                </c:pt>
                <c:pt idx="2558">
                  <c:v>43658</c:v>
                </c:pt>
                <c:pt idx="2559">
                  <c:v>43661</c:v>
                </c:pt>
                <c:pt idx="2560">
                  <c:v>43662</c:v>
                </c:pt>
                <c:pt idx="2561">
                  <c:v>43663</c:v>
                </c:pt>
                <c:pt idx="2562">
                  <c:v>43664</c:v>
                </c:pt>
                <c:pt idx="2563">
                  <c:v>43665</c:v>
                </c:pt>
                <c:pt idx="2564">
                  <c:v>43668</c:v>
                </c:pt>
                <c:pt idx="2565">
                  <c:v>43669</c:v>
                </c:pt>
                <c:pt idx="2566">
                  <c:v>43670</c:v>
                </c:pt>
                <c:pt idx="2567">
                  <c:v>43671</c:v>
                </c:pt>
                <c:pt idx="2568">
                  <c:v>43672</c:v>
                </c:pt>
                <c:pt idx="2569">
                  <c:v>43675</c:v>
                </c:pt>
                <c:pt idx="2570">
                  <c:v>43676</c:v>
                </c:pt>
                <c:pt idx="2571">
                  <c:v>43677</c:v>
                </c:pt>
                <c:pt idx="2572">
                  <c:v>43678</c:v>
                </c:pt>
                <c:pt idx="2573">
                  <c:v>43679</c:v>
                </c:pt>
                <c:pt idx="2574">
                  <c:v>43682</c:v>
                </c:pt>
                <c:pt idx="2575">
                  <c:v>43683</c:v>
                </c:pt>
                <c:pt idx="2576">
                  <c:v>43684</c:v>
                </c:pt>
                <c:pt idx="2577">
                  <c:v>43685</c:v>
                </c:pt>
                <c:pt idx="2578">
                  <c:v>43686</c:v>
                </c:pt>
                <c:pt idx="2579">
                  <c:v>43689</c:v>
                </c:pt>
                <c:pt idx="2580">
                  <c:v>43690</c:v>
                </c:pt>
                <c:pt idx="2581">
                  <c:v>43691</c:v>
                </c:pt>
                <c:pt idx="2582">
                  <c:v>43692</c:v>
                </c:pt>
                <c:pt idx="2583">
                  <c:v>43693</c:v>
                </c:pt>
                <c:pt idx="2584">
                  <c:v>43696</c:v>
                </c:pt>
                <c:pt idx="2585">
                  <c:v>43697</c:v>
                </c:pt>
                <c:pt idx="2586">
                  <c:v>43698</c:v>
                </c:pt>
                <c:pt idx="2587">
                  <c:v>43699</c:v>
                </c:pt>
                <c:pt idx="2588">
                  <c:v>43700</c:v>
                </c:pt>
                <c:pt idx="2589">
                  <c:v>43703</c:v>
                </c:pt>
                <c:pt idx="2590">
                  <c:v>43704</c:v>
                </c:pt>
                <c:pt idx="2591">
                  <c:v>43705</c:v>
                </c:pt>
                <c:pt idx="2592">
                  <c:v>43706</c:v>
                </c:pt>
                <c:pt idx="2593">
                  <c:v>43707</c:v>
                </c:pt>
                <c:pt idx="2594">
                  <c:v>43710</c:v>
                </c:pt>
                <c:pt idx="2595">
                  <c:v>43711</c:v>
                </c:pt>
                <c:pt idx="2596">
                  <c:v>43712</c:v>
                </c:pt>
                <c:pt idx="2597">
                  <c:v>43713</c:v>
                </c:pt>
                <c:pt idx="2598">
                  <c:v>43714</c:v>
                </c:pt>
                <c:pt idx="2599">
                  <c:v>43717</c:v>
                </c:pt>
                <c:pt idx="2600">
                  <c:v>43718</c:v>
                </c:pt>
                <c:pt idx="2601">
                  <c:v>43719</c:v>
                </c:pt>
                <c:pt idx="2602">
                  <c:v>43720</c:v>
                </c:pt>
                <c:pt idx="2603">
                  <c:v>43724</c:v>
                </c:pt>
                <c:pt idx="2604">
                  <c:v>43725</c:v>
                </c:pt>
                <c:pt idx="2605">
                  <c:v>43726</c:v>
                </c:pt>
                <c:pt idx="2606">
                  <c:v>43727</c:v>
                </c:pt>
                <c:pt idx="2607">
                  <c:v>43728</c:v>
                </c:pt>
                <c:pt idx="2608">
                  <c:v>43731</c:v>
                </c:pt>
                <c:pt idx="2609">
                  <c:v>43732</c:v>
                </c:pt>
                <c:pt idx="2610">
                  <c:v>43733</c:v>
                </c:pt>
                <c:pt idx="2611">
                  <c:v>43734</c:v>
                </c:pt>
                <c:pt idx="2612">
                  <c:v>43735</c:v>
                </c:pt>
                <c:pt idx="2613">
                  <c:v>43738</c:v>
                </c:pt>
                <c:pt idx="2614">
                  <c:v>43746</c:v>
                </c:pt>
                <c:pt idx="2615">
                  <c:v>43747</c:v>
                </c:pt>
                <c:pt idx="2616">
                  <c:v>43748</c:v>
                </c:pt>
                <c:pt idx="2617">
                  <c:v>43749</c:v>
                </c:pt>
                <c:pt idx="2618">
                  <c:v>43752</c:v>
                </c:pt>
                <c:pt idx="2619">
                  <c:v>43753</c:v>
                </c:pt>
                <c:pt idx="2620">
                  <c:v>43754</c:v>
                </c:pt>
                <c:pt idx="2621">
                  <c:v>43755</c:v>
                </c:pt>
                <c:pt idx="2622">
                  <c:v>43756</c:v>
                </c:pt>
                <c:pt idx="2623">
                  <c:v>43759</c:v>
                </c:pt>
                <c:pt idx="2624">
                  <c:v>43760</c:v>
                </c:pt>
                <c:pt idx="2625">
                  <c:v>43761</c:v>
                </c:pt>
                <c:pt idx="2626">
                  <c:v>43762</c:v>
                </c:pt>
                <c:pt idx="2627">
                  <c:v>43763</c:v>
                </c:pt>
                <c:pt idx="2628">
                  <c:v>43766</c:v>
                </c:pt>
                <c:pt idx="2629">
                  <c:v>43767</c:v>
                </c:pt>
                <c:pt idx="2630">
                  <c:v>43768</c:v>
                </c:pt>
                <c:pt idx="2631">
                  <c:v>43769</c:v>
                </c:pt>
                <c:pt idx="2632">
                  <c:v>43770</c:v>
                </c:pt>
                <c:pt idx="2633">
                  <c:v>43773</c:v>
                </c:pt>
                <c:pt idx="2634">
                  <c:v>43774</c:v>
                </c:pt>
                <c:pt idx="2635">
                  <c:v>43775</c:v>
                </c:pt>
                <c:pt idx="2636">
                  <c:v>43776</c:v>
                </c:pt>
                <c:pt idx="2637">
                  <c:v>43777</c:v>
                </c:pt>
                <c:pt idx="2638">
                  <c:v>43780</c:v>
                </c:pt>
                <c:pt idx="2639">
                  <c:v>43781</c:v>
                </c:pt>
                <c:pt idx="2640">
                  <c:v>43782</c:v>
                </c:pt>
                <c:pt idx="2641">
                  <c:v>43783</c:v>
                </c:pt>
                <c:pt idx="2642">
                  <c:v>43784</c:v>
                </c:pt>
                <c:pt idx="2643">
                  <c:v>43787</c:v>
                </c:pt>
                <c:pt idx="2644">
                  <c:v>43788</c:v>
                </c:pt>
                <c:pt idx="2645">
                  <c:v>43789</c:v>
                </c:pt>
                <c:pt idx="2646">
                  <c:v>43790</c:v>
                </c:pt>
                <c:pt idx="2647">
                  <c:v>43791</c:v>
                </c:pt>
                <c:pt idx="2648">
                  <c:v>43794</c:v>
                </c:pt>
                <c:pt idx="2649">
                  <c:v>43795</c:v>
                </c:pt>
                <c:pt idx="2650">
                  <c:v>43796</c:v>
                </c:pt>
                <c:pt idx="2651">
                  <c:v>43797</c:v>
                </c:pt>
                <c:pt idx="2652">
                  <c:v>43798</c:v>
                </c:pt>
                <c:pt idx="2653">
                  <c:v>43801</c:v>
                </c:pt>
                <c:pt idx="2654">
                  <c:v>43802</c:v>
                </c:pt>
                <c:pt idx="2655">
                  <c:v>43803</c:v>
                </c:pt>
                <c:pt idx="2656">
                  <c:v>43804</c:v>
                </c:pt>
                <c:pt idx="2657">
                  <c:v>43805</c:v>
                </c:pt>
                <c:pt idx="2658">
                  <c:v>43808</c:v>
                </c:pt>
                <c:pt idx="2659">
                  <c:v>43809</c:v>
                </c:pt>
                <c:pt idx="2660">
                  <c:v>43810</c:v>
                </c:pt>
                <c:pt idx="2661">
                  <c:v>43811</c:v>
                </c:pt>
                <c:pt idx="2662">
                  <c:v>43812</c:v>
                </c:pt>
                <c:pt idx="2663">
                  <c:v>43815</c:v>
                </c:pt>
                <c:pt idx="2664">
                  <c:v>43816</c:v>
                </c:pt>
                <c:pt idx="2665">
                  <c:v>43817</c:v>
                </c:pt>
                <c:pt idx="2666">
                  <c:v>43818</c:v>
                </c:pt>
                <c:pt idx="2667">
                  <c:v>43819</c:v>
                </c:pt>
                <c:pt idx="2668">
                  <c:v>43822</c:v>
                </c:pt>
                <c:pt idx="2669">
                  <c:v>43823</c:v>
                </c:pt>
                <c:pt idx="2670">
                  <c:v>43824</c:v>
                </c:pt>
                <c:pt idx="2671">
                  <c:v>43825</c:v>
                </c:pt>
                <c:pt idx="2672">
                  <c:v>43826</c:v>
                </c:pt>
                <c:pt idx="2673">
                  <c:v>43829</c:v>
                </c:pt>
                <c:pt idx="2674">
                  <c:v>43830</c:v>
                </c:pt>
                <c:pt idx="2675">
                  <c:v>43832</c:v>
                </c:pt>
                <c:pt idx="2676">
                  <c:v>43833</c:v>
                </c:pt>
                <c:pt idx="2677">
                  <c:v>43836</c:v>
                </c:pt>
                <c:pt idx="2678">
                  <c:v>43837</c:v>
                </c:pt>
                <c:pt idx="2679">
                  <c:v>43838</c:v>
                </c:pt>
                <c:pt idx="2680">
                  <c:v>43839</c:v>
                </c:pt>
                <c:pt idx="2681">
                  <c:v>43840</c:v>
                </c:pt>
                <c:pt idx="2682">
                  <c:v>43843</c:v>
                </c:pt>
                <c:pt idx="2683">
                  <c:v>43844</c:v>
                </c:pt>
                <c:pt idx="2684">
                  <c:v>43845</c:v>
                </c:pt>
                <c:pt idx="2685">
                  <c:v>43846</c:v>
                </c:pt>
                <c:pt idx="2686">
                  <c:v>43847</c:v>
                </c:pt>
                <c:pt idx="2687">
                  <c:v>43850</c:v>
                </c:pt>
                <c:pt idx="2688">
                  <c:v>43851</c:v>
                </c:pt>
                <c:pt idx="2689">
                  <c:v>43852</c:v>
                </c:pt>
                <c:pt idx="2690">
                  <c:v>43853</c:v>
                </c:pt>
                <c:pt idx="2691">
                  <c:v>43864</c:v>
                </c:pt>
                <c:pt idx="2692">
                  <c:v>43865</c:v>
                </c:pt>
                <c:pt idx="2693">
                  <c:v>43866</c:v>
                </c:pt>
                <c:pt idx="2694">
                  <c:v>43867</c:v>
                </c:pt>
                <c:pt idx="2695">
                  <c:v>43868</c:v>
                </c:pt>
                <c:pt idx="2696">
                  <c:v>43871</c:v>
                </c:pt>
                <c:pt idx="2697">
                  <c:v>43872</c:v>
                </c:pt>
                <c:pt idx="2698">
                  <c:v>43873</c:v>
                </c:pt>
                <c:pt idx="2699">
                  <c:v>43874</c:v>
                </c:pt>
                <c:pt idx="2700">
                  <c:v>43875</c:v>
                </c:pt>
                <c:pt idx="2701">
                  <c:v>43878</c:v>
                </c:pt>
                <c:pt idx="2702">
                  <c:v>43879</c:v>
                </c:pt>
                <c:pt idx="2703">
                  <c:v>43880</c:v>
                </c:pt>
                <c:pt idx="2704">
                  <c:v>43881</c:v>
                </c:pt>
                <c:pt idx="2705">
                  <c:v>43882</c:v>
                </c:pt>
                <c:pt idx="2706">
                  <c:v>43885</c:v>
                </c:pt>
                <c:pt idx="2707">
                  <c:v>43886</c:v>
                </c:pt>
                <c:pt idx="2708">
                  <c:v>43887</c:v>
                </c:pt>
                <c:pt idx="2709">
                  <c:v>43888</c:v>
                </c:pt>
                <c:pt idx="2710">
                  <c:v>43889</c:v>
                </c:pt>
                <c:pt idx="2711">
                  <c:v>43892</c:v>
                </c:pt>
                <c:pt idx="2712">
                  <c:v>43893</c:v>
                </c:pt>
                <c:pt idx="2713">
                  <c:v>43894</c:v>
                </c:pt>
                <c:pt idx="2714">
                  <c:v>43895</c:v>
                </c:pt>
                <c:pt idx="2715">
                  <c:v>43896</c:v>
                </c:pt>
                <c:pt idx="2716">
                  <c:v>43899</c:v>
                </c:pt>
                <c:pt idx="2717">
                  <c:v>43900</c:v>
                </c:pt>
                <c:pt idx="2718">
                  <c:v>43901</c:v>
                </c:pt>
                <c:pt idx="2719">
                  <c:v>43902</c:v>
                </c:pt>
                <c:pt idx="2720">
                  <c:v>43903</c:v>
                </c:pt>
                <c:pt idx="2721">
                  <c:v>43906</c:v>
                </c:pt>
                <c:pt idx="2722">
                  <c:v>43907</c:v>
                </c:pt>
                <c:pt idx="2723">
                  <c:v>43908</c:v>
                </c:pt>
                <c:pt idx="2724">
                  <c:v>43909</c:v>
                </c:pt>
                <c:pt idx="2725">
                  <c:v>43910</c:v>
                </c:pt>
                <c:pt idx="2726">
                  <c:v>43913</c:v>
                </c:pt>
                <c:pt idx="2727">
                  <c:v>43914</c:v>
                </c:pt>
                <c:pt idx="2728">
                  <c:v>43915</c:v>
                </c:pt>
                <c:pt idx="2729">
                  <c:v>43916</c:v>
                </c:pt>
                <c:pt idx="2730">
                  <c:v>43917</c:v>
                </c:pt>
                <c:pt idx="2731">
                  <c:v>43920</c:v>
                </c:pt>
                <c:pt idx="2732">
                  <c:v>43921</c:v>
                </c:pt>
                <c:pt idx="2733">
                  <c:v>43922</c:v>
                </c:pt>
                <c:pt idx="2734">
                  <c:v>43923</c:v>
                </c:pt>
                <c:pt idx="2735">
                  <c:v>43924</c:v>
                </c:pt>
                <c:pt idx="2736">
                  <c:v>43928</c:v>
                </c:pt>
                <c:pt idx="2737">
                  <c:v>43929</c:v>
                </c:pt>
                <c:pt idx="2738">
                  <c:v>43930</c:v>
                </c:pt>
                <c:pt idx="2739">
                  <c:v>43931</c:v>
                </c:pt>
                <c:pt idx="2740">
                  <c:v>43934</c:v>
                </c:pt>
                <c:pt idx="2741">
                  <c:v>43935</c:v>
                </c:pt>
                <c:pt idx="2742">
                  <c:v>43936</c:v>
                </c:pt>
                <c:pt idx="2743">
                  <c:v>43937</c:v>
                </c:pt>
                <c:pt idx="2744">
                  <c:v>43938</c:v>
                </c:pt>
                <c:pt idx="2745">
                  <c:v>43941</c:v>
                </c:pt>
                <c:pt idx="2746">
                  <c:v>43942</c:v>
                </c:pt>
                <c:pt idx="2747">
                  <c:v>43943</c:v>
                </c:pt>
                <c:pt idx="2748">
                  <c:v>43944</c:v>
                </c:pt>
                <c:pt idx="2749">
                  <c:v>43945</c:v>
                </c:pt>
                <c:pt idx="2750">
                  <c:v>43948</c:v>
                </c:pt>
                <c:pt idx="2751">
                  <c:v>43949</c:v>
                </c:pt>
                <c:pt idx="2752">
                  <c:v>43950</c:v>
                </c:pt>
                <c:pt idx="2753">
                  <c:v>43951</c:v>
                </c:pt>
                <c:pt idx="2754">
                  <c:v>43957</c:v>
                </c:pt>
                <c:pt idx="2755">
                  <c:v>43958</c:v>
                </c:pt>
                <c:pt idx="2756">
                  <c:v>43959</c:v>
                </c:pt>
                <c:pt idx="2757">
                  <c:v>43962</c:v>
                </c:pt>
                <c:pt idx="2758">
                  <c:v>43963</c:v>
                </c:pt>
                <c:pt idx="2759">
                  <c:v>43964</c:v>
                </c:pt>
                <c:pt idx="2760">
                  <c:v>43965</c:v>
                </c:pt>
                <c:pt idx="2761">
                  <c:v>43966</c:v>
                </c:pt>
                <c:pt idx="2762">
                  <c:v>43969</c:v>
                </c:pt>
                <c:pt idx="2763">
                  <c:v>43970</c:v>
                </c:pt>
                <c:pt idx="2764">
                  <c:v>43971</c:v>
                </c:pt>
                <c:pt idx="2765">
                  <c:v>43972</c:v>
                </c:pt>
                <c:pt idx="2766">
                  <c:v>43973</c:v>
                </c:pt>
                <c:pt idx="2767">
                  <c:v>43976</c:v>
                </c:pt>
                <c:pt idx="2768">
                  <c:v>43977</c:v>
                </c:pt>
                <c:pt idx="2769">
                  <c:v>43978</c:v>
                </c:pt>
                <c:pt idx="2770">
                  <c:v>43979</c:v>
                </c:pt>
                <c:pt idx="2771">
                  <c:v>43980</c:v>
                </c:pt>
                <c:pt idx="2772">
                  <c:v>43983</c:v>
                </c:pt>
                <c:pt idx="2773">
                  <c:v>43984</c:v>
                </c:pt>
                <c:pt idx="2774">
                  <c:v>43985</c:v>
                </c:pt>
                <c:pt idx="2775">
                  <c:v>43986</c:v>
                </c:pt>
                <c:pt idx="2776">
                  <c:v>43987</c:v>
                </c:pt>
                <c:pt idx="2777">
                  <c:v>43990</c:v>
                </c:pt>
                <c:pt idx="2778">
                  <c:v>43991</c:v>
                </c:pt>
                <c:pt idx="2779">
                  <c:v>43992</c:v>
                </c:pt>
                <c:pt idx="2780">
                  <c:v>43993</c:v>
                </c:pt>
                <c:pt idx="2781">
                  <c:v>43994</c:v>
                </c:pt>
                <c:pt idx="2782">
                  <c:v>43997</c:v>
                </c:pt>
                <c:pt idx="2783">
                  <c:v>43998</c:v>
                </c:pt>
                <c:pt idx="2784">
                  <c:v>43999</c:v>
                </c:pt>
                <c:pt idx="2785">
                  <c:v>44000</c:v>
                </c:pt>
                <c:pt idx="2786">
                  <c:v>44001</c:v>
                </c:pt>
                <c:pt idx="2787">
                  <c:v>44004</c:v>
                </c:pt>
                <c:pt idx="2788">
                  <c:v>44005</c:v>
                </c:pt>
                <c:pt idx="2789">
                  <c:v>44006</c:v>
                </c:pt>
                <c:pt idx="2790">
                  <c:v>44011</c:v>
                </c:pt>
                <c:pt idx="2791">
                  <c:v>44012</c:v>
                </c:pt>
                <c:pt idx="2792">
                  <c:v>44013</c:v>
                </c:pt>
                <c:pt idx="2793">
                  <c:v>44014</c:v>
                </c:pt>
                <c:pt idx="2794">
                  <c:v>44015</c:v>
                </c:pt>
                <c:pt idx="2795">
                  <c:v>44018</c:v>
                </c:pt>
                <c:pt idx="2796">
                  <c:v>44019</c:v>
                </c:pt>
                <c:pt idx="2797">
                  <c:v>44020</c:v>
                </c:pt>
                <c:pt idx="2798">
                  <c:v>44021</c:v>
                </c:pt>
                <c:pt idx="2799">
                  <c:v>44022</c:v>
                </c:pt>
                <c:pt idx="2800">
                  <c:v>44025</c:v>
                </c:pt>
                <c:pt idx="2801">
                  <c:v>44026</c:v>
                </c:pt>
                <c:pt idx="2802">
                  <c:v>44027</c:v>
                </c:pt>
                <c:pt idx="2803">
                  <c:v>44028</c:v>
                </c:pt>
                <c:pt idx="2804">
                  <c:v>44029</c:v>
                </c:pt>
                <c:pt idx="2805">
                  <c:v>44032</c:v>
                </c:pt>
                <c:pt idx="2806">
                  <c:v>44033</c:v>
                </c:pt>
                <c:pt idx="2807">
                  <c:v>44034</c:v>
                </c:pt>
                <c:pt idx="2808">
                  <c:v>44035</c:v>
                </c:pt>
                <c:pt idx="2809">
                  <c:v>44036</c:v>
                </c:pt>
                <c:pt idx="2810">
                  <c:v>44039</c:v>
                </c:pt>
                <c:pt idx="2811">
                  <c:v>44040</c:v>
                </c:pt>
                <c:pt idx="2812">
                  <c:v>44041</c:v>
                </c:pt>
                <c:pt idx="2813">
                  <c:v>44042</c:v>
                </c:pt>
                <c:pt idx="2814">
                  <c:v>44043</c:v>
                </c:pt>
                <c:pt idx="2815">
                  <c:v>44046</c:v>
                </c:pt>
                <c:pt idx="2816">
                  <c:v>44047</c:v>
                </c:pt>
                <c:pt idx="2817">
                  <c:v>44048</c:v>
                </c:pt>
                <c:pt idx="2818">
                  <c:v>44049</c:v>
                </c:pt>
                <c:pt idx="2819">
                  <c:v>44050</c:v>
                </c:pt>
                <c:pt idx="2820">
                  <c:v>44053</c:v>
                </c:pt>
                <c:pt idx="2821">
                  <c:v>44054</c:v>
                </c:pt>
                <c:pt idx="2822">
                  <c:v>44055</c:v>
                </c:pt>
                <c:pt idx="2823">
                  <c:v>44056</c:v>
                </c:pt>
                <c:pt idx="2824">
                  <c:v>44057</c:v>
                </c:pt>
                <c:pt idx="2825">
                  <c:v>44060</c:v>
                </c:pt>
                <c:pt idx="2826">
                  <c:v>44061</c:v>
                </c:pt>
                <c:pt idx="2827">
                  <c:v>44062</c:v>
                </c:pt>
                <c:pt idx="2828">
                  <c:v>44063</c:v>
                </c:pt>
                <c:pt idx="2829">
                  <c:v>44064</c:v>
                </c:pt>
                <c:pt idx="2830">
                  <c:v>44067</c:v>
                </c:pt>
                <c:pt idx="2831">
                  <c:v>44068</c:v>
                </c:pt>
                <c:pt idx="2832">
                  <c:v>44069</c:v>
                </c:pt>
                <c:pt idx="2833">
                  <c:v>44070</c:v>
                </c:pt>
                <c:pt idx="2834">
                  <c:v>44071</c:v>
                </c:pt>
                <c:pt idx="2835">
                  <c:v>44074</c:v>
                </c:pt>
                <c:pt idx="2836">
                  <c:v>44075</c:v>
                </c:pt>
                <c:pt idx="2837">
                  <c:v>44076</c:v>
                </c:pt>
                <c:pt idx="2838">
                  <c:v>44077</c:v>
                </c:pt>
                <c:pt idx="2839">
                  <c:v>44078</c:v>
                </c:pt>
                <c:pt idx="2840">
                  <c:v>44081</c:v>
                </c:pt>
                <c:pt idx="2841">
                  <c:v>44082</c:v>
                </c:pt>
                <c:pt idx="2842">
                  <c:v>44083</c:v>
                </c:pt>
                <c:pt idx="2843">
                  <c:v>44084</c:v>
                </c:pt>
                <c:pt idx="2844">
                  <c:v>44085</c:v>
                </c:pt>
                <c:pt idx="2845">
                  <c:v>44088</c:v>
                </c:pt>
                <c:pt idx="2846">
                  <c:v>44089</c:v>
                </c:pt>
                <c:pt idx="2847">
                  <c:v>44090</c:v>
                </c:pt>
                <c:pt idx="2848">
                  <c:v>44091</c:v>
                </c:pt>
                <c:pt idx="2849">
                  <c:v>44092</c:v>
                </c:pt>
                <c:pt idx="2850">
                  <c:v>44095</c:v>
                </c:pt>
                <c:pt idx="2851">
                  <c:v>44096</c:v>
                </c:pt>
                <c:pt idx="2852">
                  <c:v>44097</c:v>
                </c:pt>
                <c:pt idx="2853">
                  <c:v>44098</c:v>
                </c:pt>
                <c:pt idx="2854">
                  <c:v>44099</c:v>
                </c:pt>
                <c:pt idx="2855">
                  <c:v>44102</c:v>
                </c:pt>
                <c:pt idx="2856">
                  <c:v>44103</c:v>
                </c:pt>
                <c:pt idx="2857">
                  <c:v>44104</c:v>
                </c:pt>
                <c:pt idx="2858">
                  <c:v>44113</c:v>
                </c:pt>
                <c:pt idx="2859">
                  <c:v>44116</c:v>
                </c:pt>
                <c:pt idx="2860">
                  <c:v>44117</c:v>
                </c:pt>
                <c:pt idx="2861">
                  <c:v>44118</c:v>
                </c:pt>
                <c:pt idx="2862">
                  <c:v>44119</c:v>
                </c:pt>
                <c:pt idx="2863">
                  <c:v>44120</c:v>
                </c:pt>
                <c:pt idx="2864">
                  <c:v>44123</c:v>
                </c:pt>
                <c:pt idx="2865">
                  <c:v>44124</c:v>
                </c:pt>
                <c:pt idx="2866">
                  <c:v>44125</c:v>
                </c:pt>
                <c:pt idx="2867">
                  <c:v>44126</c:v>
                </c:pt>
                <c:pt idx="2868">
                  <c:v>44127</c:v>
                </c:pt>
                <c:pt idx="2869">
                  <c:v>44130</c:v>
                </c:pt>
                <c:pt idx="2870">
                  <c:v>44131</c:v>
                </c:pt>
                <c:pt idx="2871">
                  <c:v>44132</c:v>
                </c:pt>
                <c:pt idx="2872">
                  <c:v>44133</c:v>
                </c:pt>
                <c:pt idx="2873">
                  <c:v>44134</c:v>
                </c:pt>
                <c:pt idx="2874">
                  <c:v>44137</c:v>
                </c:pt>
                <c:pt idx="2875">
                  <c:v>44138</c:v>
                </c:pt>
                <c:pt idx="2876">
                  <c:v>44139</c:v>
                </c:pt>
                <c:pt idx="2877">
                  <c:v>44140</c:v>
                </c:pt>
                <c:pt idx="2878">
                  <c:v>44141</c:v>
                </c:pt>
                <c:pt idx="2879">
                  <c:v>44144</c:v>
                </c:pt>
                <c:pt idx="2880">
                  <c:v>44145</c:v>
                </c:pt>
                <c:pt idx="2881">
                  <c:v>44146</c:v>
                </c:pt>
                <c:pt idx="2882">
                  <c:v>44147</c:v>
                </c:pt>
                <c:pt idx="2883">
                  <c:v>44148</c:v>
                </c:pt>
                <c:pt idx="2884">
                  <c:v>44151</c:v>
                </c:pt>
                <c:pt idx="2885">
                  <c:v>44152</c:v>
                </c:pt>
                <c:pt idx="2886">
                  <c:v>44153</c:v>
                </c:pt>
                <c:pt idx="2887">
                  <c:v>44154</c:v>
                </c:pt>
                <c:pt idx="2888">
                  <c:v>44155</c:v>
                </c:pt>
                <c:pt idx="2889">
                  <c:v>44158</c:v>
                </c:pt>
                <c:pt idx="2890">
                  <c:v>44159</c:v>
                </c:pt>
                <c:pt idx="2891">
                  <c:v>44160</c:v>
                </c:pt>
                <c:pt idx="2892">
                  <c:v>44161</c:v>
                </c:pt>
                <c:pt idx="2893">
                  <c:v>44162</c:v>
                </c:pt>
                <c:pt idx="2894">
                  <c:v>44165</c:v>
                </c:pt>
                <c:pt idx="2895">
                  <c:v>44166</c:v>
                </c:pt>
                <c:pt idx="2896">
                  <c:v>44167</c:v>
                </c:pt>
                <c:pt idx="2897">
                  <c:v>44168</c:v>
                </c:pt>
                <c:pt idx="2898">
                  <c:v>44169</c:v>
                </c:pt>
                <c:pt idx="2899">
                  <c:v>44172</c:v>
                </c:pt>
                <c:pt idx="2900">
                  <c:v>44173</c:v>
                </c:pt>
                <c:pt idx="2901">
                  <c:v>44174</c:v>
                </c:pt>
                <c:pt idx="2902">
                  <c:v>44175</c:v>
                </c:pt>
                <c:pt idx="2903">
                  <c:v>44176</c:v>
                </c:pt>
                <c:pt idx="2904">
                  <c:v>44179</c:v>
                </c:pt>
                <c:pt idx="2905">
                  <c:v>44180</c:v>
                </c:pt>
                <c:pt idx="2906">
                  <c:v>44181</c:v>
                </c:pt>
                <c:pt idx="2907">
                  <c:v>44182</c:v>
                </c:pt>
                <c:pt idx="2908">
                  <c:v>44183</c:v>
                </c:pt>
                <c:pt idx="2909">
                  <c:v>44186</c:v>
                </c:pt>
                <c:pt idx="2910">
                  <c:v>44187</c:v>
                </c:pt>
                <c:pt idx="2911">
                  <c:v>44188</c:v>
                </c:pt>
                <c:pt idx="2912">
                  <c:v>44189</c:v>
                </c:pt>
                <c:pt idx="2913">
                  <c:v>44190</c:v>
                </c:pt>
                <c:pt idx="2914">
                  <c:v>44193</c:v>
                </c:pt>
                <c:pt idx="2915">
                  <c:v>44194</c:v>
                </c:pt>
                <c:pt idx="2916">
                  <c:v>44195</c:v>
                </c:pt>
                <c:pt idx="2917">
                  <c:v>44196</c:v>
                </c:pt>
                <c:pt idx="2918">
                  <c:v>44200</c:v>
                </c:pt>
                <c:pt idx="2919">
                  <c:v>44201</c:v>
                </c:pt>
                <c:pt idx="2920">
                  <c:v>44202</c:v>
                </c:pt>
                <c:pt idx="2921">
                  <c:v>44203</c:v>
                </c:pt>
                <c:pt idx="2922">
                  <c:v>44204</c:v>
                </c:pt>
                <c:pt idx="2923">
                  <c:v>44207</c:v>
                </c:pt>
                <c:pt idx="2924">
                  <c:v>44208</c:v>
                </c:pt>
                <c:pt idx="2925">
                  <c:v>44209</c:v>
                </c:pt>
                <c:pt idx="2926">
                  <c:v>44210</c:v>
                </c:pt>
                <c:pt idx="2927">
                  <c:v>44211</c:v>
                </c:pt>
                <c:pt idx="2928">
                  <c:v>44214</c:v>
                </c:pt>
                <c:pt idx="2929">
                  <c:v>44215</c:v>
                </c:pt>
                <c:pt idx="2930">
                  <c:v>44216</c:v>
                </c:pt>
                <c:pt idx="2931">
                  <c:v>44217</c:v>
                </c:pt>
                <c:pt idx="2932">
                  <c:v>44218</c:v>
                </c:pt>
                <c:pt idx="2933">
                  <c:v>44221</c:v>
                </c:pt>
                <c:pt idx="2934">
                  <c:v>44222</c:v>
                </c:pt>
                <c:pt idx="2935">
                  <c:v>44223</c:v>
                </c:pt>
                <c:pt idx="2936">
                  <c:v>44224</c:v>
                </c:pt>
                <c:pt idx="2937">
                  <c:v>44225</c:v>
                </c:pt>
                <c:pt idx="2938">
                  <c:v>44228</c:v>
                </c:pt>
                <c:pt idx="2939">
                  <c:v>44229</c:v>
                </c:pt>
                <c:pt idx="2940">
                  <c:v>44230</c:v>
                </c:pt>
                <c:pt idx="2941">
                  <c:v>44231</c:v>
                </c:pt>
                <c:pt idx="2942">
                  <c:v>44232</c:v>
                </c:pt>
                <c:pt idx="2943">
                  <c:v>44235</c:v>
                </c:pt>
                <c:pt idx="2944">
                  <c:v>44236</c:v>
                </c:pt>
                <c:pt idx="2945">
                  <c:v>44237</c:v>
                </c:pt>
                <c:pt idx="2946">
                  <c:v>44245</c:v>
                </c:pt>
                <c:pt idx="2947">
                  <c:v>44246</c:v>
                </c:pt>
                <c:pt idx="2948">
                  <c:v>44249</c:v>
                </c:pt>
                <c:pt idx="2949">
                  <c:v>44250</c:v>
                </c:pt>
                <c:pt idx="2950">
                  <c:v>44251</c:v>
                </c:pt>
                <c:pt idx="2951">
                  <c:v>44252</c:v>
                </c:pt>
                <c:pt idx="2952">
                  <c:v>44253</c:v>
                </c:pt>
                <c:pt idx="2953">
                  <c:v>44256</c:v>
                </c:pt>
                <c:pt idx="2954">
                  <c:v>44257</c:v>
                </c:pt>
                <c:pt idx="2955">
                  <c:v>44258</c:v>
                </c:pt>
                <c:pt idx="2956">
                  <c:v>44259</c:v>
                </c:pt>
                <c:pt idx="2957">
                  <c:v>44260</c:v>
                </c:pt>
                <c:pt idx="2958">
                  <c:v>44263</c:v>
                </c:pt>
                <c:pt idx="2959">
                  <c:v>44264</c:v>
                </c:pt>
                <c:pt idx="2960">
                  <c:v>44265</c:v>
                </c:pt>
                <c:pt idx="2961">
                  <c:v>44266</c:v>
                </c:pt>
                <c:pt idx="2962">
                  <c:v>44267</c:v>
                </c:pt>
                <c:pt idx="2963">
                  <c:v>44270</c:v>
                </c:pt>
                <c:pt idx="2964">
                  <c:v>44271</c:v>
                </c:pt>
                <c:pt idx="2965">
                  <c:v>44272</c:v>
                </c:pt>
                <c:pt idx="2966">
                  <c:v>44273</c:v>
                </c:pt>
                <c:pt idx="2967">
                  <c:v>44274</c:v>
                </c:pt>
                <c:pt idx="2968">
                  <c:v>44277</c:v>
                </c:pt>
                <c:pt idx="2969">
                  <c:v>44278</c:v>
                </c:pt>
                <c:pt idx="2970">
                  <c:v>44279</c:v>
                </c:pt>
                <c:pt idx="2971">
                  <c:v>44280</c:v>
                </c:pt>
                <c:pt idx="2972">
                  <c:v>44281</c:v>
                </c:pt>
                <c:pt idx="2973">
                  <c:v>44284</c:v>
                </c:pt>
                <c:pt idx="2974">
                  <c:v>44285</c:v>
                </c:pt>
                <c:pt idx="2975">
                  <c:v>44286</c:v>
                </c:pt>
                <c:pt idx="2976">
                  <c:v>44287</c:v>
                </c:pt>
                <c:pt idx="2977">
                  <c:v>44288</c:v>
                </c:pt>
                <c:pt idx="2978">
                  <c:v>44292</c:v>
                </c:pt>
                <c:pt idx="2979">
                  <c:v>44293</c:v>
                </c:pt>
                <c:pt idx="2980">
                  <c:v>44294</c:v>
                </c:pt>
                <c:pt idx="2981">
                  <c:v>44295</c:v>
                </c:pt>
                <c:pt idx="2982">
                  <c:v>44298</c:v>
                </c:pt>
                <c:pt idx="2983">
                  <c:v>44299</c:v>
                </c:pt>
                <c:pt idx="2984">
                  <c:v>44300</c:v>
                </c:pt>
                <c:pt idx="2985">
                  <c:v>44301</c:v>
                </c:pt>
                <c:pt idx="2986">
                  <c:v>44302</c:v>
                </c:pt>
                <c:pt idx="2987">
                  <c:v>44305</c:v>
                </c:pt>
                <c:pt idx="2988">
                  <c:v>44306</c:v>
                </c:pt>
                <c:pt idx="2989">
                  <c:v>44307</c:v>
                </c:pt>
                <c:pt idx="2990">
                  <c:v>44308</c:v>
                </c:pt>
                <c:pt idx="2991">
                  <c:v>44309</c:v>
                </c:pt>
                <c:pt idx="2992">
                  <c:v>44312</c:v>
                </c:pt>
                <c:pt idx="2993">
                  <c:v>44313</c:v>
                </c:pt>
                <c:pt idx="2994">
                  <c:v>44314</c:v>
                </c:pt>
                <c:pt idx="2995">
                  <c:v>44315</c:v>
                </c:pt>
                <c:pt idx="2996">
                  <c:v>44316</c:v>
                </c:pt>
                <c:pt idx="2997">
                  <c:v>44322</c:v>
                </c:pt>
                <c:pt idx="2998">
                  <c:v>44323</c:v>
                </c:pt>
                <c:pt idx="2999">
                  <c:v>44326</c:v>
                </c:pt>
                <c:pt idx="3000">
                  <c:v>44327</c:v>
                </c:pt>
                <c:pt idx="3001">
                  <c:v>44328</c:v>
                </c:pt>
                <c:pt idx="3002">
                  <c:v>44329</c:v>
                </c:pt>
                <c:pt idx="3003">
                  <c:v>44330</c:v>
                </c:pt>
                <c:pt idx="3004">
                  <c:v>44333</c:v>
                </c:pt>
                <c:pt idx="3005">
                  <c:v>44334</c:v>
                </c:pt>
                <c:pt idx="3006">
                  <c:v>44335</c:v>
                </c:pt>
                <c:pt idx="3007">
                  <c:v>44336</c:v>
                </c:pt>
                <c:pt idx="3008">
                  <c:v>44337</c:v>
                </c:pt>
                <c:pt idx="3009">
                  <c:v>44340</c:v>
                </c:pt>
                <c:pt idx="3010">
                  <c:v>44341</c:v>
                </c:pt>
                <c:pt idx="3011">
                  <c:v>44342</c:v>
                </c:pt>
                <c:pt idx="3012">
                  <c:v>44343</c:v>
                </c:pt>
                <c:pt idx="3013">
                  <c:v>44344</c:v>
                </c:pt>
                <c:pt idx="3014">
                  <c:v>44347</c:v>
                </c:pt>
                <c:pt idx="3015">
                  <c:v>44348</c:v>
                </c:pt>
                <c:pt idx="3016">
                  <c:v>44349</c:v>
                </c:pt>
                <c:pt idx="3017">
                  <c:v>44350</c:v>
                </c:pt>
                <c:pt idx="3018">
                  <c:v>44351</c:v>
                </c:pt>
                <c:pt idx="3019">
                  <c:v>44354</c:v>
                </c:pt>
                <c:pt idx="3020">
                  <c:v>44355</c:v>
                </c:pt>
                <c:pt idx="3021">
                  <c:v>44356</c:v>
                </c:pt>
                <c:pt idx="3022">
                  <c:v>44357</c:v>
                </c:pt>
                <c:pt idx="3023">
                  <c:v>44358</c:v>
                </c:pt>
                <c:pt idx="3024">
                  <c:v>44362</c:v>
                </c:pt>
                <c:pt idx="3025">
                  <c:v>44363</c:v>
                </c:pt>
                <c:pt idx="3026">
                  <c:v>44364</c:v>
                </c:pt>
                <c:pt idx="3027">
                  <c:v>44365</c:v>
                </c:pt>
                <c:pt idx="3028">
                  <c:v>44368</c:v>
                </c:pt>
                <c:pt idx="3029">
                  <c:v>44369</c:v>
                </c:pt>
                <c:pt idx="3030">
                  <c:v>44370</c:v>
                </c:pt>
                <c:pt idx="3031">
                  <c:v>44371</c:v>
                </c:pt>
                <c:pt idx="3032">
                  <c:v>44372</c:v>
                </c:pt>
                <c:pt idx="3033">
                  <c:v>44375</c:v>
                </c:pt>
                <c:pt idx="3034">
                  <c:v>44376</c:v>
                </c:pt>
                <c:pt idx="3035">
                  <c:v>44377</c:v>
                </c:pt>
                <c:pt idx="3036">
                  <c:v>44378</c:v>
                </c:pt>
                <c:pt idx="3037">
                  <c:v>44379</c:v>
                </c:pt>
                <c:pt idx="3038">
                  <c:v>44382</c:v>
                </c:pt>
                <c:pt idx="3039">
                  <c:v>44383</c:v>
                </c:pt>
                <c:pt idx="3040">
                  <c:v>44384</c:v>
                </c:pt>
                <c:pt idx="3041">
                  <c:v>44385</c:v>
                </c:pt>
                <c:pt idx="3042">
                  <c:v>44386</c:v>
                </c:pt>
                <c:pt idx="3043">
                  <c:v>44389</c:v>
                </c:pt>
                <c:pt idx="3044">
                  <c:v>44390</c:v>
                </c:pt>
                <c:pt idx="3045">
                  <c:v>44391</c:v>
                </c:pt>
                <c:pt idx="3046">
                  <c:v>44392</c:v>
                </c:pt>
                <c:pt idx="3047">
                  <c:v>44393</c:v>
                </c:pt>
                <c:pt idx="3048">
                  <c:v>44396</c:v>
                </c:pt>
                <c:pt idx="3049">
                  <c:v>44397</c:v>
                </c:pt>
                <c:pt idx="3050">
                  <c:v>44398</c:v>
                </c:pt>
                <c:pt idx="3051">
                  <c:v>44399</c:v>
                </c:pt>
                <c:pt idx="3052">
                  <c:v>44400</c:v>
                </c:pt>
                <c:pt idx="3053">
                  <c:v>44403</c:v>
                </c:pt>
                <c:pt idx="3054">
                  <c:v>44404</c:v>
                </c:pt>
                <c:pt idx="3055">
                  <c:v>44405</c:v>
                </c:pt>
                <c:pt idx="3056">
                  <c:v>44406</c:v>
                </c:pt>
                <c:pt idx="3057">
                  <c:v>44407</c:v>
                </c:pt>
                <c:pt idx="3058">
                  <c:v>44410</c:v>
                </c:pt>
                <c:pt idx="3059">
                  <c:v>44411</c:v>
                </c:pt>
                <c:pt idx="3060">
                  <c:v>44412</c:v>
                </c:pt>
                <c:pt idx="3061">
                  <c:v>44413</c:v>
                </c:pt>
                <c:pt idx="3062">
                  <c:v>44414</c:v>
                </c:pt>
                <c:pt idx="3063">
                  <c:v>44417</c:v>
                </c:pt>
                <c:pt idx="3064">
                  <c:v>44418</c:v>
                </c:pt>
                <c:pt idx="3065">
                  <c:v>44419</c:v>
                </c:pt>
                <c:pt idx="3066">
                  <c:v>44420</c:v>
                </c:pt>
                <c:pt idx="3067">
                  <c:v>44421</c:v>
                </c:pt>
                <c:pt idx="3068">
                  <c:v>44424</c:v>
                </c:pt>
                <c:pt idx="3069">
                  <c:v>44425</c:v>
                </c:pt>
                <c:pt idx="3070">
                  <c:v>44426</c:v>
                </c:pt>
                <c:pt idx="3071">
                  <c:v>44427</c:v>
                </c:pt>
                <c:pt idx="3072">
                  <c:v>44428</c:v>
                </c:pt>
                <c:pt idx="3073">
                  <c:v>44431</c:v>
                </c:pt>
                <c:pt idx="3074">
                  <c:v>44432</c:v>
                </c:pt>
                <c:pt idx="3075">
                  <c:v>44433</c:v>
                </c:pt>
                <c:pt idx="3076">
                  <c:v>44434</c:v>
                </c:pt>
                <c:pt idx="3077">
                  <c:v>44435</c:v>
                </c:pt>
                <c:pt idx="3078">
                  <c:v>44438</c:v>
                </c:pt>
                <c:pt idx="3079">
                  <c:v>44439</c:v>
                </c:pt>
                <c:pt idx="3080">
                  <c:v>44440</c:v>
                </c:pt>
                <c:pt idx="3081">
                  <c:v>44441</c:v>
                </c:pt>
                <c:pt idx="3082">
                  <c:v>44442</c:v>
                </c:pt>
                <c:pt idx="3083">
                  <c:v>44445</c:v>
                </c:pt>
                <c:pt idx="3084">
                  <c:v>44446</c:v>
                </c:pt>
                <c:pt idx="3085">
                  <c:v>44447</c:v>
                </c:pt>
                <c:pt idx="3086">
                  <c:v>44448</c:v>
                </c:pt>
                <c:pt idx="3087">
                  <c:v>44449</c:v>
                </c:pt>
                <c:pt idx="3088">
                  <c:v>44452</c:v>
                </c:pt>
                <c:pt idx="3089">
                  <c:v>44453</c:v>
                </c:pt>
                <c:pt idx="3090">
                  <c:v>44454</c:v>
                </c:pt>
                <c:pt idx="3091">
                  <c:v>44455</c:v>
                </c:pt>
                <c:pt idx="3092">
                  <c:v>44456</c:v>
                </c:pt>
                <c:pt idx="3093">
                  <c:v>44461</c:v>
                </c:pt>
                <c:pt idx="3094">
                  <c:v>44462</c:v>
                </c:pt>
                <c:pt idx="3095">
                  <c:v>44463</c:v>
                </c:pt>
                <c:pt idx="3096">
                  <c:v>44466</c:v>
                </c:pt>
                <c:pt idx="3097">
                  <c:v>44467</c:v>
                </c:pt>
                <c:pt idx="3098">
                  <c:v>44468</c:v>
                </c:pt>
                <c:pt idx="3099">
                  <c:v>44469</c:v>
                </c:pt>
                <c:pt idx="3100">
                  <c:v>44477</c:v>
                </c:pt>
                <c:pt idx="3101">
                  <c:v>44480</c:v>
                </c:pt>
                <c:pt idx="3102">
                  <c:v>44481</c:v>
                </c:pt>
                <c:pt idx="3103">
                  <c:v>44482</c:v>
                </c:pt>
                <c:pt idx="3104">
                  <c:v>44483</c:v>
                </c:pt>
                <c:pt idx="3105">
                  <c:v>44484</c:v>
                </c:pt>
                <c:pt idx="3106">
                  <c:v>44487</c:v>
                </c:pt>
                <c:pt idx="3107">
                  <c:v>44488</c:v>
                </c:pt>
                <c:pt idx="3108">
                  <c:v>44489</c:v>
                </c:pt>
                <c:pt idx="3109">
                  <c:v>44490</c:v>
                </c:pt>
                <c:pt idx="3110">
                  <c:v>44491</c:v>
                </c:pt>
                <c:pt idx="3111">
                  <c:v>44494</c:v>
                </c:pt>
                <c:pt idx="3112">
                  <c:v>44495</c:v>
                </c:pt>
                <c:pt idx="3113">
                  <c:v>44496</c:v>
                </c:pt>
                <c:pt idx="3114">
                  <c:v>44497</c:v>
                </c:pt>
                <c:pt idx="3115">
                  <c:v>44498</c:v>
                </c:pt>
                <c:pt idx="3116">
                  <c:v>44501</c:v>
                </c:pt>
                <c:pt idx="3117">
                  <c:v>44502</c:v>
                </c:pt>
                <c:pt idx="3118">
                  <c:v>44503</c:v>
                </c:pt>
                <c:pt idx="3119">
                  <c:v>44504</c:v>
                </c:pt>
                <c:pt idx="3120">
                  <c:v>44505</c:v>
                </c:pt>
                <c:pt idx="3121">
                  <c:v>44508</c:v>
                </c:pt>
                <c:pt idx="3122">
                  <c:v>44509</c:v>
                </c:pt>
                <c:pt idx="3123">
                  <c:v>44510</c:v>
                </c:pt>
                <c:pt idx="3124">
                  <c:v>44511</c:v>
                </c:pt>
                <c:pt idx="3125">
                  <c:v>44512</c:v>
                </c:pt>
                <c:pt idx="3126">
                  <c:v>44515</c:v>
                </c:pt>
                <c:pt idx="3127">
                  <c:v>44516</c:v>
                </c:pt>
                <c:pt idx="3128">
                  <c:v>44517</c:v>
                </c:pt>
                <c:pt idx="3129">
                  <c:v>44518</c:v>
                </c:pt>
                <c:pt idx="3130">
                  <c:v>44519</c:v>
                </c:pt>
                <c:pt idx="3131">
                  <c:v>44522</c:v>
                </c:pt>
                <c:pt idx="3132">
                  <c:v>44523</c:v>
                </c:pt>
                <c:pt idx="3133">
                  <c:v>44524</c:v>
                </c:pt>
                <c:pt idx="3134">
                  <c:v>44525</c:v>
                </c:pt>
                <c:pt idx="3135">
                  <c:v>44526</c:v>
                </c:pt>
                <c:pt idx="3136">
                  <c:v>44529</c:v>
                </c:pt>
                <c:pt idx="3137">
                  <c:v>44530</c:v>
                </c:pt>
                <c:pt idx="3138">
                  <c:v>44531</c:v>
                </c:pt>
                <c:pt idx="3139">
                  <c:v>44532</c:v>
                </c:pt>
                <c:pt idx="3140">
                  <c:v>44533</c:v>
                </c:pt>
                <c:pt idx="3141">
                  <c:v>44536</c:v>
                </c:pt>
                <c:pt idx="3142">
                  <c:v>44537</c:v>
                </c:pt>
                <c:pt idx="3143">
                  <c:v>44538</c:v>
                </c:pt>
                <c:pt idx="3144">
                  <c:v>44539</c:v>
                </c:pt>
                <c:pt idx="3145">
                  <c:v>44540</c:v>
                </c:pt>
                <c:pt idx="3146">
                  <c:v>44543</c:v>
                </c:pt>
                <c:pt idx="3147">
                  <c:v>44544</c:v>
                </c:pt>
                <c:pt idx="3148">
                  <c:v>44545</c:v>
                </c:pt>
                <c:pt idx="3149">
                  <c:v>44546</c:v>
                </c:pt>
                <c:pt idx="3150">
                  <c:v>44547</c:v>
                </c:pt>
                <c:pt idx="3151">
                  <c:v>44550</c:v>
                </c:pt>
                <c:pt idx="3152">
                  <c:v>44551</c:v>
                </c:pt>
                <c:pt idx="3153">
                  <c:v>44552</c:v>
                </c:pt>
                <c:pt idx="3154">
                  <c:v>44553</c:v>
                </c:pt>
                <c:pt idx="3155">
                  <c:v>44554</c:v>
                </c:pt>
                <c:pt idx="3156">
                  <c:v>44557</c:v>
                </c:pt>
                <c:pt idx="3157">
                  <c:v>44558</c:v>
                </c:pt>
                <c:pt idx="3158">
                  <c:v>44559</c:v>
                </c:pt>
                <c:pt idx="3159">
                  <c:v>44560</c:v>
                </c:pt>
                <c:pt idx="3160">
                  <c:v>44561</c:v>
                </c:pt>
                <c:pt idx="3161">
                  <c:v>44565</c:v>
                </c:pt>
                <c:pt idx="3162">
                  <c:v>44566</c:v>
                </c:pt>
                <c:pt idx="3163">
                  <c:v>44567</c:v>
                </c:pt>
                <c:pt idx="3164">
                  <c:v>44568</c:v>
                </c:pt>
                <c:pt idx="3165">
                  <c:v>44571</c:v>
                </c:pt>
                <c:pt idx="3166">
                  <c:v>44572</c:v>
                </c:pt>
                <c:pt idx="3167">
                  <c:v>44573</c:v>
                </c:pt>
                <c:pt idx="3168">
                  <c:v>44574</c:v>
                </c:pt>
                <c:pt idx="3169">
                  <c:v>44575</c:v>
                </c:pt>
                <c:pt idx="3170">
                  <c:v>44578</c:v>
                </c:pt>
                <c:pt idx="3171">
                  <c:v>44579</c:v>
                </c:pt>
                <c:pt idx="3172">
                  <c:v>44580</c:v>
                </c:pt>
                <c:pt idx="3173">
                  <c:v>44581</c:v>
                </c:pt>
                <c:pt idx="3174">
                  <c:v>44582</c:v>
                </c:pt>
                <c:pt idx="3175">
                  <c:v>44585</c:v>
                </c:pt>
                <c:pt idx="3176">
                  <c:v>44586</c:v>
                </c:pt>
                <c:pt idx="3177">
                  <c:v>44587</c:v>
                </c:pt>
                <c:pt idx="3178">
                  <c:v>44588</c:v>
                </c:pt>
                <c:pt idx="3179">
                  <c:v>44589</c:v>
                </c:pt>
                <c:pt idx="3180">
                  <c:v>44599</c:v>
                </c:pt>
                <c:pt idx="3181">
                  <c:v>44600</c:v>
                </c:pt>
                <c:pt idx="3182">
                  <c:v>44601</c:v>
                </c:pt>
                <c:pt idx="3183">
                  <c:v>44602</c:v>
                </c:pt>
                <c:pt idx="3184">
                  <c:v>44603</c:v>
                </c:pt>
                <c:pt idx="3185">
                  <c:v>44606</c:v>
                </c:pt>
                <c:pt idx="3186">
                  <c:v>44607</c:v>
                </c:pt>
                <c:pt idx="3187">
                  <c:v>44608</c:v>
                </c:pt>
                <c:pt idx="3188">
                  <c:v>44609</c:v>
                </c:pt>
                <c:pt idx="3189">
                  <c:v>44610</c:v>
                </c:pt>
                <c:pt idx="3190">
                  <c:v>44613</c:v>
                </c:pt>
                <c:pt idx="3191">
                  <c:v>44614</c:v>
                </c:pt>
                <c:pt idx="3192">
                  <c:v>44615</c:v>
                </c:pt>
                <c:pt idx="3193">
                  <c:v>44616</c:v>
                </c:pt>
                <c:pt idx="3194">
                  <c:v>44617</c:v>
                </c:pt>
                <c:pt idx="3195">
                  <c:v>44620</c:v>
                </c:pt>
                <c:pt idx="3196">
                  <c:v>44621</c:v>
                </c:pt>
                <c:pt idx="3197">
                  <c:v>44622</c:v>
                </c:pt>
                <c:pt idx="3198">
                  <c:v>44623</c:v>
                </c:pt>
                <c:pt idx="3199">
                  <c:v>44624</c:v>
                </c:pt>
                <c:pt idx="3200">
                  <c:v>44627</c:v>
                </c:pt>
                <c:pt idx="3201">
                  <c:v>44628</c:v>
                </c:pt>
                <c:pt idx="3202">
                  <c:v>44629</c:v>
                </c:pt>
                <c:pt idx="3203">
                  <c:v>44630</c:v>
                </c:pt>
                <c:pt idx="3204">
                  <c:v>44631</c:v>
                </c:pt>
                <c:pt idx="3205">
                  <c:v>44634</c:v>
                </c:pt>
                <c:pt idx="3206">
                  <c:v>44635</c:v>
                </c:pt>
                <c:pt idx="3207">
                  <c:v>44636</c:v>
                </c:pt>
                <c:pt idx="3208">
                  <c:v>44637</c:v>
                </c:pt>
                <c:pt idx="3209">
                  <c:v>44638</c:v>
                </c:pt>
                <c:pt idx="3210">
                  <c:v>44641</c:v>
                </c:pt>
                <c:pt idx="3211">
                  <c:v>44642</c:v>
                </c:pt>
                <c:pt idx="3212">
                  <c:v>44643</c:v>
                </c:pt>
                <c:pt idx="3213">
                  <c:v>44644</c:v>
                </c:pt>
                <c:pt idx="3214">
                  <c:v>44645</c:v>
                </c:pt>
                <c:pt idx="3215">
                  <c:v>44648</c:v>
                </c:pt>
                <c:pt idx="3216">
                  <c:v>44649</c:v>
                </c:pt>
                <c:pt idx="3217">
                  <c:v>44650</c:v>
                </c:pt>
                <c:pt idx="3218">
                  <c:v>44651</c:v>
                </c:pt>
                <c:pt idx="3219">
                  <c:v>44652</c:v>
                </c:pt>
                <c:pt idx="3220">
                  <c:v>44657</c:v>
                </c:pt>
                <c:pt idx="3221">
                  <c:v>44658</c:v>
                </c:pt>
                <c:pt idx="3222">
                  <c:v>44659</c:v>
                </c:pt>
              </c:numCache>
            </c:numRef>
          </c:cat>
          <c:val>
            <c:numRef>
              <c:f>indicators!$G$2:$G$3224</c:f>
              <c:numCache>
                <c:formatCode>General</c:formatCode>
                <c:ptCount val="3223"/>
                <c:pt idx="0">
                  <c:v>1882.96</c:v>
                </c:pt>
                <c:pt idx="1">
                  <c:v>1942.8</c:v>
                </c:pt>
                <c:pt idx="2">
                  <c:v>1931.18</c:v>
                </c:pt>
                <c:pt idx="3">
                  <c:v>1887.99</c:v>
                </c:pt>
                <c:pt idx="4">
                  <c:v>1918.37</c:v>
                </c:pt>
                <c:pt idx="5">
                  <c:v>1920.69</c:v>
                </c:pt>
                <c:pt idx="6">
                  <c:v>1876.19</c:v>
                </c:pt>
                <c:pt idx="7">
                  <c:v>1955.24</c:v>
                </c:pt>
                <c:pt idx="8">
                  <c:v>1954.87</c:v>
                </c:pt>
                <c:pt idx="9">
                  <c:v>1990.21</c:v>
                </c:pt>
                <c:pt idx="10">
                  <c:v>2012.47</c:v>
                </c:pt>
                <c:pt idx="11">
                  <c:v>2025.19</c:v>
                </c:pt>
                <c:pt idx="12">
                  <c:v>2021.71</c:v>
                </c:pt>
                <c:pt idx="13">
                  <c:v>2044.55</c:v>
                </c:pt>
                <c:pt idx="14">
                  <c:v>2032.68</c:v>
                </c:pt>
                <c:pt idx="15">
                  <c:v>2057.06</c:v>
                </c:pt>
                <c:pt idx="16">
                  <c:v>2108.91</c:v>
                </c:pt>
                <c:pt idx="17">
                  <c:v>2166.41</c:v>
                </c:pt>
                <c:pt idx="18">
                  <c:v>2150.9699999999998</c:v>
                </c:pt>
                <c:pt idx="19">
                  <c:v>2237.2800000000002</c:v>
                </c:pt>
                <c:pt idx="20">
                  <c:v>2296.67</c:v>
                </c:pt>
                <c:pt idx="21">
                  <c:v>2326.7600000000002</c:v>
                </c:pt>
                <c:pt idx="22">
                  <c:v>2331.14</c:v>
                </c:pt>
                <c:pt idx="23">
                  <c:v>2318.34</c:v>
                </c:pt>
                <c:pt idx="24">
                  <c:v>2399.0700000000002</c:v>
                </c:pt>
                <c:pt idx="25">
                  <c:v>2462.25</c:v>
                </c:pt>
                <c:pt idx="26">
                  <c:v>2385.29</c:v>
                </c:pt>
                <c:pt idx="27">
                  <c:v>2275.84</c:v>
                </c:pt>
                <c:pt idx="28">
                  <c:v>2298.41</c:v>
                </c:pt>
                <c:pt idx="29">
                  <c:v>2344.3200000000002</c:v>
                </c:pt>
                <c:pt idx="30">
                  <c:v>2410.48</c:v>
                </c:pt>
                <c:pt idx="31">
                  <c:v>2301.85</c:v>
                </c:pt>
                <c:pt idx="32">
                  <c:v>2304.25</c:v>
                </c:pt>
                <c:pt idx="33">
                  <c:v>2190.19</c:v>
                </c:pt>
                <c:pt idx="34">
                  <c:v>2140.4899999999998</c:v>
                </c:pt>
                <c:pt idx="35">
                  <c:v>2164.67</c:v>
                </c:pt>
                <c:pt idx="36">
                  <c:v>2142.15</c:v>
                </c:pt>
                <c:pt idx="37">
                  <c:v>2285.15</c:v>
                </c:pt>
                <c:pt idx="38">
                  <c:v>2304.92</c:v>
                </c:pt>
                <c:pt idx="39">
                  <c:v>2286.58</c:v>
                </c:pt>
                <c:pt idx="40">
                  <c:v>2202.5300000000002</c:v>
                </c:pt>
                <c:pt idx="41">
                  <c:v>2240.7800000000002</c:v>
                </c:pt>
                <c:pt idx="42">
                  <c:v>2220.38</c:v>
                </c:pt>
                <c:pt idx="43">
                  <c:v>2215.6999999999998</c:v>
                </c:pt>
                <c:pt idx="44">
                  <c:v>2205.42</c:v>
                </c:pt>
                <c:pt idx="45">
                  <c:v>2241.61</c:v>
                </c:pt>
                <c:pt idx="46">
                  <c:v>2322.4</c:v>
                </c:pt>
                <c:pt idx="47">
                  <c:v>2332.65</c:v>
                </c:pt>
                <c:pt idx="48">
                  <c:v>2382.56</c:v>
                </c:pt>
                <c:pt idx="49">
                  <c:v>2379.84</c:v>
                </c:pt>
                <c:pt idx="50">
                  <c:v>2439.4</c:v>
                </c:pt>
                <c:pt idx="51">
                  <c:v>2451.7800000000002</c:v>
                </c:pt>
                <c:pt idx="52">
                  <c:v>2401.33</c:v>
                </c:pt>
                <c:pt idx="53">
                  <c:v>2479.79</c:v>
                </c:pt>
                <c:pt idx="54">
                  <c:v>2498.9299999999998</c:v>
                </c:pt>
                <c:pt idx="55">
                  <c:v>2484.4899999999998</c:v>
                </c:pt>
                <c:pt idx="56">
                  <c:v>2507.79</c:v>
                </c:pt>
                <c:pt idx="57">
                  <c:v>2548.2199999999998</c:v>
                </c:pt>
                <c:pt idx="58">
                  <c:v>2576.4</c:v>
                </c:pt>
                <c:pt idx="59">
                  <c:v>2570.5</c:v>
                </c:pt>
                <c:pt idx="60">
                  <c:v>2576.9499999999998</c:v>
                </c:pt>
                <c:pt idx="61">
                  <c:v>2479.35</c:v>
                </c:pt>
                <c:pt idx="62">
                  <c:v>2517.67</c:v>
                </c:pt>
                <c:pt idx="63">
                  <c:v>2595.5300000000002</c:v>
                </c:pt>
                <c:pt idx="64">
                  <c:v>2656.52</c:v>
                </c:pt>
                <c:pt idx="65">
                  <c:v>2676.87</c:v>
                </c:pt>
                <c:pt idx="66">
                  <c:v>2686.99</c:v>
                </c:pt>
                <c:pt idx="67">
                  <c:v>2687.11</c:v>
                </c:pt>
                <c:pt idx="68">
                  <c:v>2650.69</c:v>
                </c:pt>
                <c:pt idx="69">
                  <c:v>2707.67</c:v>
                </c:pt>
                <c:pt idx="70">
                  <c:v>2675.44</c:v>
                </c:pt>
                <c:pt idx="71">
                  <c:v>2576.2800000000002</c:v>
                </c:pt>
                <c:pt idx="72">
                  <c:v>2593.56</c:v>
                </c:pt>
                <c:pt idx="73">
                  <c:v>2572.89</c:v>
                </c:pt>
                <c:pt idx="74">
                  <c:v>2513.29</c:v>
                </c:pt>
                <c:pt idx="75">
                  <c:v>2518.5300000000002</c:v>
                </c:pt>
                <c:pt idx="76">
                  <c:v>2605.37</c:v>
                </c:pt>
                <c:pt idx="77">
                  <c:v>2622.93</c:v>
                </c:pt>
                <c:pt idx="78">
                  <c:v>2714.3</c:v>
                </c:pt>
                <c:pt idx="79">
                  <c:v>2727.01</c:v>
                </c:pt>
                <c:pt idx="80">
                  <c:v>2764.98</c:v>
                </c:pt>
                <c:pt idx="81">
                  <c:v>2767.08</c:v>
                </c:pt>
                <c:pt idx="82">
                  <c:v>2789.22</c:v>
                </c:pt>
                <c:pt idx="83">
                  <c:v>2725.32</c:v>
                </c:pt>
                <c:pt idx="84">
                  <c:v>2788.56</c:v>
                </c:pt>
                <c:pt idx="85">
                  <c:v>2814.01</c:v>
                </c:pt>
                <c:pt idx="86">
                  <c:v>2792.6</c:v>
                </c:pt>
                <c:pt idx="87">
                  <c:v>2796.12</c:v>
                </c:pt>
                <c:pt idx="88">
                  <c:v>2810.57</c:v>
                </c:pt>
                <c:pt idx="89">
                  <c:v>2840.08</c:v>
                </c:pt>
                <c:pt idx="90">
                  <c:v>2812.87</c:v>
                </c:pt>
                <c:pt idx="91">
                  <c:v>2750.01</c:v>
                </c:pt>
                <c:pt idx="92">
                  <c:v>2740.68</c:v>
                </c:pt>
                <c:pt idx="93">
                  <c:v>2752.72</c:v>
                </c:pt>
                <c:pt idx="94">
                  <c:v>2719.76</c:v>
                </c:pt>
                <c:pt idx="95">
                  <c:v>2759.71</c:v>
                </c:pt>
                <c:pt idx="96">
                  <c:v>2858.34</c:v>
                </c:pt>
                <c:pt idx="97">
                  <c:v>2865.1</c:v>
                </c:pt>
                <c:pt idx="98">
                  <c:v>2939.39</c:v>
                </c:pt>
                <c:pt idx="99">
                  <c:v>2953.75</c:v>
                </c:pt>
                <c:pt idx="100">
                  <c:v>2939.31</c:v>
                </c:pt>
                <c:pt idx="101">
                  <c:v>2948.48</c:v>
                </c:pt>
                <c:pt idx="102">
                  <c:v>2960.56</c:v>
                </c:pt>
                <c:pt idx="103">
                  <c:v>2989.6</c:v>
                </c:pt>
                <c:pt idx="104">
                  <c:v>2961.63</c:v>
                </c:pt>
                <c:pt idx="105">
                  <c:v>2906.29</c:v>
                </c:pt>
                <c:pt idx="106">
                  <c:v>2966.19</c:v>
                </c:pt>
                <c:pt idx="107">
                  <c:v>2961.22</c:v>
                </c:pt>
                <c:pt idx="108">
                  <c:v>3010.59</c:v>
                </c:pt>
                <c:pt idx="109">
                  <c:v>3057.43</c:v>
                </c:pt>
                <c:pt idx="110">
                  <c:v>3080</c:v>
                </c:pt>
                <c:pt idx="111">
                  <c:v>3082.56</c:v>
                </c:pt>
                <c:pt idx="112">
                  <c:v>3083.9</c:v>
                </c:pt>
                <c:pt idx="113">
                  <c:v>3120.73</c:v>
                </c:pt>
                <c:pt idx="114">
                  <c:v>3117.92</c:v>
                </c:pt>
                <c:pt idx="115">
                  <c:v>3128.42</c:v>
                </c:pt>
                <c:pt idx="116">
                  <c:v>3179.97</c:v>
                </c:pt>
                <c:pt idx="117">
                  <c:v>3166.47</c:v>
                </c:pt>
                <c:pt idx="118">
                  <c:v>3237.9</c:v>
                </c:pt>
                <c:pt idx="119">
                  <c:v>3282.36</c:v>
                </c:pt>
                <c:pt idx="120">
                  <c:v>3327.14</c:v>
                </c:pt>
                <c:pt idx="121">
                  <c:v>3374.75</c:v>
                </c:pt>
                <c:pt idx="122">
                  <c:v>3340.49</c:v>
                </c:pt>
                <c:pt idx="123">
                  <c:v>3352.27</c:v>
                </c:pt>
                <c:pt idx="124">
                  <c:v>3396.3</c:v>
                </c:pt>
                <c:pt idx="125">
                  <c:v>3398.31</c:v>
                </c:pt>
                <c:pt idx="126">
                  <c:v>3361.01</c:v>
                </c:pt>
                <c:pt idx="127">
                  <c:v>3454.75</c:v>
                </c:pt>
                <c:pt idx="128">
                  <c:v>3493.31</c:v>
                </c:pt>
                <c:pt idx="129">
                  <c:v>3501.24</c:v>
                </c:pt>
                <c:pt idx="130">
                  <c:v>3519.81</c:v>
                </c:pt>
                <c:pt idx="131">
                  <c:v>3591.12</c:v>
                </c:pt>
                <c:pt idx="132">
                  <c:v>3539.83</c:v>
                </c:pt>
                <c:pt idx="133">
                  <c:v>3606.92</c:v>
                </c:pt>
                <c:pt idx="134">
                  <c:v>3651.97</c:v>
                </c:pt>
                <c:pt idx="135">
                  <c:v>3667.56</c:v>
                </c:pt>
                <c:pt idx="136">
                  <c:v>3743.63</c:v>
                </c:pt>
                <c:pt idx="137">
                  <c:v>3755.82</c:v>
                </c:pt>
                <c:pt idx="138">
                  <c:v>3558.51</c:v>
                </c:pt>
                <c:pt idx="139">
                  <c:v>3634.82</c:v>
                </c:pt>
                <c:pt idx="140">
                  <c:v>3734.62</c:v>
                </c:pt>
                <c:pt idx="141">
                  <c:v>3787.03</c:v>
                </c:pt>
                <c:pt idx="142">
                  <c:v>3786.62</c:v>
                </c:pt>
                <c:pt idx="143">
                  <c:v>3740.94</c:v>
                </c:pt>
                <c:pt idx="144">
                  <c:v>3663.12</c:v>
                </c:pt>
                <c:pt idx="145">
                  <c:v>3555.1</c:v>
                </c:pt>
                <c:pt idx="146">
                  <c:v>3544.54</c:v>
                </c:pt>
                <c:pt idx="147">
                  <c:v>3556.38</c:v>
                </c:pt>
                <c:pt idx="148">
                  <c:v>3397.4</c:v>
                </c:pt>
                <c:pt idx="149">
                  <c:v>3440.82</c:v>
                </c:pt>
                <c:pt idx="150">
                  <c:v>3344.46</c:v>
                </c:pt>
                <c:pt idx="151">
                  <c:v>3140.27</c:v>
                </c:pt>
                <c:pt idx="152">
                  <c:v>3171.99</c:v>
                </c:pt>
                <c:pt idx="153">
                  <c:v>3014.57</c:v>
                </c:pt>
                <c:pt idx="154">
                  <c:v>3144.39</c:v>
                </c:pt>
                <c:pt idx="155">
                  <c:v>3203.62</c:v>
                </c:pt>
                <c:pt idx="156">
                  <c:v>3229.6</c:v>
                </c:pt>
                <c:pt idx="157">
                  <c:v>3109.83</c:v>
                </c:pt>
                <c:pt idx="158">
                  <c:v>3172.39</c:v>
                </c:pt>
                <c:pt idx="159">
                  <c:v>3156.3</c:v>
                </c:pt>
                <c:pt idx="160">
                  <c:v>3046.78</c:v>
                </c:pt>
                <c:pt idx="161">
                  <c:v>2830.27</c:v>
                </c:pt>
                <c:pt idx="162">
                  <c:v>2843.7</c:v>
                </c:pt>
                <c:pt idx="163">
                  <c:v>2890.93</c:v>
                </c:pt>
                <c:pt idx="164">
                  <c:v>3051.96</c:v>
                </c:pt>
                <c:pt idx="165">
                  <c:v>3077.14</c:v>
                </c:pt>
                <c:pt idx="166">
                  <c:v>3104.21</c:v>
                </c:pt>
                <c:pt idx="167">
                  <c:v>3170.97</c:v>
                </c:pt>
                <c:pt idx="168">
                  <c:v>3194.91</c:v>
                </c:pt>
                <c:pt idx="169">
                  <c:v>3162.91</c:v>
                </c:pt>
                <c:pt idx="170">
                  <c:v>3238.13</c:v>
                </c:pt>
                <c:pt idx="171">
                  <c:v>3293.39</c:v>
                </c:pt>
                <c:pt idx="172">
                  <c:v>3302.64</c:v>
                </c:pt>
                <c:pt idx="173">
                  <c:v>3258.24</c:v>
                </c:pt>
                <c:pt idx="174">
                  <c:v>3320.1</c:v>
                </c:pt>
                <c:pt idx="175">
                  <c:v>3199.69</c:v>
                </c:pt>
                <c:pt idx="176">
                  <c:v>3208.6</c:v>
                </c:pt>
                <c:pt idx="177">
                  <c:v>3131.03</c:v>
                </c:pt>
                <c:pt idx="178">
                  <c:v>3060.07</c:v>
                </c:pt>
                <c:pt idx="179">
                  <c:v>3080.93</c:v>
                </c:pt>
                <c:pt idx="180">
                  <c:v>3058.53</c:v>
                </c:pt>
                <c:pt idx="181">
                  <c:v>2972.64</c:v>
                </c:pt>
                <c:pt idx="182">
                  <c:v>2972.29</c:v>
                </c:pt>
                <c:pt idx="183">
                  <c:v>3004.81</c:v>
                </c:pt>
                <c:pt idx="184">
                  <c:v>3163.71</c:v>
                </c:pt>
                <c:pt idx="185">
                  <c:v>3151.63</c:v>
                </c:pt>
                <c:pt idx="186">
                  <c:v>3198.52</c:v>
                </c:pt>
                <c:pt idx="187">
                  <c:v>3227.4</c:v>
                </c:pt>
                <c:pt idx="188">
                  <c:v>3239.64</c:v>
                </c:pt>
                <c:pt idx="189">
                  <c:v>3241.71</c:v>
                </c:pt>
                <c:pt idx="190">
                  <c:v>3329.16</c:v>
                </c:pt>
                <c:pt idx="191">
                  <c:v>3377.57</c:v>
                </c:pt>
                <c:pt idx="192">
                  <c:v>3369.29</c:v>
                </c:pt>
                <c:pt idx="193">
                  <c:v>3347.32</c:v>
                </c:pt>
                <c:pt idx="194">
                  <c:v>3413.25</c:v>
                </c:pt>
                <c:pt idx="195">
                  <c:v>3414.24</c:v>
                </c:pt>
                <c:pt idx="196">
                  <c:v>3314.72</c:v>
                </c:pt>
                <c:pt idx="197">
                  <c:v>3329.33</c:v>
                </c:pt>
                <c:pt idx="198">
                  <c:v>3247.05</c:v>
                </c:pt>
                <c:pt idx="199">
                  <c:v>3280.37</c:v>
                </c:pt>
                <c:pt idx="200">
                  <c:v>3392.8</c:v>
                </c:pt>
                <c:pt idx="201">
                  <c:v>3435.43</c:v>
                </c:pt>
                <c:pt idx="202">
                  <c:v>3453.89</c:v>
                </c:pt>
                <c:pt idx="203">
                  <c:v>3464.32</c:v>
                </c:pt>
                <c:pt idx="204">
                  <c:v>3483.02</c:v>
                </c:pt>
                <c:pt idx="205">
                  <c:v>3495.79</c:v>
                </c:pt>
                <c:pt idx="206">
                  <c:v>3503.78</c:v>
                </c:pt>
                <c:pt idx="207">
                  <c:v>3495.67</c:v>
                </c:pt>
                <c:pt idx="208">
                  <c:v>3499.99</c:v>
                </c:pt>
                <c:pt idx="209">
                  <c:v>3518.72</c:v>
                </c:pt>
                <c:pt idx="210">
                  <c:v>3625.8</c:v>
                </c:pt>
                <c:pt idx="211">
                  <c:v>3628.35</c:v>
                </c:pt>
                <c:pt idx="212">
                  <c:v>3630.23</c:v>
                </c:pt>
                <c:pt idx="213">
                  <c:v>3642.44</c:v>
                </c:pt>
                <c:pt idx="214">
                  <c:v>3631.01</c:v>
                </c:pt>
                <c:pt idx="215">
                  <c:v>3665.51</c:v>
                </c:pt>
                <c:pt idx="216">
                  <c:v>3548.08</c:v>
                </c:pt>
                <c:pt idx="217">
                  <c:v>3629.63</c:v>
                </c:pt>
                <c:pt idx="218">
                  <c:v>3485.77</c:v>
                </c:pt>
                <c:pt idx="219">
                  <c:v>3382.51</c:v>
                </c:pt>
                <c:pt idx="220">
                  <c:v>3511.67</c:v>
                </c:pt>
                <c:pt idx="221">
                  <c:v>3560.83</c:v>
                </c:pt>
                <c:pt idx="222">
                  <c:v>3597.33</c:v>
                </c:pt>
                <c:pt idx="223">
                  <c:v>3590.88</c:v>
                </c:pt>
                <c:pt idx="224">
                  <c:v>3643.49</c:v>
                </c:pt>
                <c:pt idx="225">
                  <c:v>3668.83</c:v>
                </c:pt>
                <c:pt idx="226">
                  <c:v>3624.02</c:v>
                </c:pt>
                <c:pt idx="227">
                  <c:v>3554.48</c:v>
                </c:pt>
                <c:pt idx="228">
                  <c:v>3577.24</c:v>
                </c:pt>
                <c:pt idx="229">
                  <c:v>3575.02</c:v>
                </c:pt>
                <c:pt idx="230">
                  <c:v>3612.75</c:v>
                </c:pt>
                <c:pt idx="231">
                  <c:v>3583.34</c:v>
                </c:pt>
                <c:pt idx="232">
                  <c:v>3560.72</c:v>
                </c:pt>
                <c:pt idx="233">
                  <c:v>3480.15</c:v>
                </c:pt>
                <c:pt idx="234">
                  <c:v>3391.74</c:v>
                </c:pt>
                <c:pt idx="235">
                  <c:v>3396.62</c:v>
                </c:pt>
                <c:pt idx="236">
                  <c:v>3305.54</c:v>
                </c:pt>
                <c:pt idx="237">
                  <c:v>3336.48</c:v>
                </c:pt>
                <c:pt idx="238">
                  <c:v>3438.82</c:v>
                </c:pt>
                <c:pt idx="239">
                  <c:v>3424.78</c:v>
                </c:pt>
                <c:pt idx="240">
                  <c:v>3478.43</c:v>
                </c:pt>
                <c:pt idx="241">
                  <c:v>3500.74</c:v>
                </c:pt>
                <c:pt idx="242">
                  <c:v>3558.86</c:v>
                </c:pt>
                <c:pt idx="243">
                  <c:v>3575.68</c:v>
                </c:pt>
                <c:pt idx="244">
                  <c:v>3535.23</c:v>
                </c:pt>
                <c:pt idx="245">
                  <c:v>3564.04</c:v>
                </c:pt>
                <c:pt idx="246">
                  <c:v>3541.73</c:v>
                </c:pt>
                <c:pt idx="247">
                  <c:v>3471.46</c:v>
                </c:pt>
                <c:pt idx="248">
                  <c:v>3480.13</c:v>
                </c:pt>
                <c:pt idx="249">
                  <c:v>3482.05</c:v>
                </c:pt>
                <c:pt idx="250">
                  <c:v>3534.92</c:v>
                </c:pt>
                <c:pt idx="251">
                  <c:v>3421.14</c:v>
                </c:pt>
                <c:pt idx="252">
                  <c:v>3469.05</c:v>
                </c:pt>
                <c:pt idx="253">
                  <c:v>3482.74</c:v>
                </c:pt>
                <c:pt idx="254">
                  <c:v>3500.68</c:v>
                </c:pt>
                <c:pt idx="255">
                  <c:v>3507.48</c:v>
                </c:pt>
                <c:pt idx="256">
                  <c:v>3394.43</c:v>
                </c:pt>
                <c:pt idx="257">
                  <c:v>3408.57</c:v>
                </c:pt>
                <c:pt idx="258">
                  <c:v>3366.2</c:v>
                </c:pt>
                <c:pt idx="259">
                  <c:v>3328.01</c:v>
                </c:pt>
                <c:pt idx="260">
                  <c:v>3242.8</c:v>
                </c:pt>
                <c:pt idx="261">
                  <c:v>3198.57</c:v>
                </c:pt>
                <c:pt idx="262">
                  <c:v>3206.57</c:v>
                </c:pt>
                <c:pt idx="263">
                  <c:v>3204.16</c:v>
                </c:pt>
                <c:pt idx="264">
                  <c:v>3152.71</c:v>
                </c:pt>
                <c:pt idx="265">
                  <c:v>3146.19</c:v>
                </c:pt>
                <c:pt idx="266">
                  <c:v>3230.72</c:v>
                </c:pt>
                <c:pt idx="267">
                  <c:v>3218.8</c:v>
                </c:pt>
                <c:pt idx="268">
                  <c:v>3153.09</c:v>
                </c:pt>
                <c:pt idx="269">
                  <c:v>3150.99</c:v>
                </c:pt>
                <c:pt idx="270">
                  <c:v>3169.19</c:v>
                </c:pt>
                <c:pt idx="271">
                  <c:v>3214.13</c:v>
                </c:pt>
                <c:pt idx="272">
                  <c:v>3220.4</c:v>
                </c:pt>
                <c:pt idx="273">
                  <c:v>3251.28</c:v>
                </c:pt>
                <c:pt idx="274">
                  <c:v>3233.35</c:v>
                </c:pt>
                <c:pt idx="275">
                  <c:v>3198.63</c:v>
                </c:pt>
                <c:pt idx="276">
                  <c:v>3244.48</c:v>
                </c:pt>
                <c:pt idx="277">
                  <c:v>3292.13</c:v>
                </c:pt>
                <c:pt idx="278">
                  <c:v>3281.67</c:v>
                </c:pt>
                <c:pt idx="279">
                  <c:v>3324.42</c:v>
                </c:pt>
                <c:pt idx="280">
                  <c:v>3311.24</c:v>
                </c:pt>
                <c:pt idx="281">
                  <c:v>3335.08</c:v>
                </c:pt>
                <c:pt idx="282">
                  <c:v>3250.57</c:v>
                </c:pt>
                <c:pt idx="283">
                  <c:v>3259.76</c:v>
                </c:pt>
                <c:pt idx="284">
                  <c:v>3286.18</c:v>
                </c:pt>
                <c:pt idx="285">
                  <c:v>3305.86</c:v>
                </c:pt>
                <c:pt idx="286">
                  <c:v>3279.69</c:v>
                </c:pt>
                <c:pt idx="287">
                  <c:v>3276.71</c:v>
                </c:pt>
                <c:pt idx="288">
                  <c:v>3233.13</c:v>
                </c:pt>
                <c:pt idx="289">
                  <c:v>3183.18</c:v>
                </c:pt>
                <c:pt idx="290">
                  <c:v>3203.97</c:v>
                </c:pt>
                <c:pt idx="291">
                  <c:v>3273.92</c:v>
                </c:pt>
                <c:pt idx="292">
                  <c:v>3267.56</c:v>
                </c:pt>
                <c:pt idx="293">
                  <c:v>3293.87</c:v>
                </c:pt>
                <c:pt idx="294">
                  <c:v>3302.63</c:v>
                </c:pt>
                <c:pt idx="295">
                  <c:v>3275.57</c:v>
                </c:pt>
                <c:pt idx="296">
                  <c:v>3276.67</c:v>
                </c:pt>
                <c:pt idx="297">
                  <c:v>3229.13</c:v>
                </c:pt>
                <c:pt idx="298">
                  <c:v>3275</c:v>
                </c:pt>
                <c:pt idx="299">
                  <c:v>3358.54</c:v>
                </c:pt>
                <c:pt idx="300">
                  <c:v>3366.71</c:v>
                </c:pt>
                <c:pt idx="301">
                  <c:v>3345.61</c:v>
                </c:pt>
                <c:pt idx="302">
                  <c:v>3391.94</c:v>
                </c:pt>
                <c:pt idx="303">
                  <c:v>3407.35</c:v>
                </c:pt>
                <c:pt idx="304">
                  <c:v>3405.15</c:v>
                </c:pt>
                <c:pt idx="305">
                  <c:v>3386.95</c:v>
                </c:pt>
                <c:pt idx="306">
                  <c:v>3346.74</c:v>
                </c:pt>
                <c:pt idx="307">
                  <c:v>3379.17</c:v>
                </c:pt>
                <c:pt idx="308">
                  <c:v>3351.48</c:v>
                </c:pt>
                <c:pt idx="309">
                  <c:v>3391.72</c:v>
                </c:pt>
                <c:pt idx="310">
                  <c:v>3403.71</c:v>
                </c:pt>
                <c:pt idx="311">
                  <c:v>3394.57</c:v>
                </c:pt>
                <c:pt idx="312">
                  <c:v>3356.33</c:v>
                </c:pt>
                <c:pt idx="313">
                  <c:v>3176.42</c:v>
                </c:pt>
                <c:pt idx="314">
                  <c:v>3173.37</c:v>
                </c:pt>
                <c:pt idx="315">
                  <c:v>3236.68</c:v>
                </c:pt>
                <c:pt idx="316">
                  <c:v>3201.54</c:v>
                </c:pt>
                <c:pt idx="317">
                  <c:v>3190</c:v>
                </c:pt>
                <c:pt idx="318">
                  <c:v>3172</c:v>
                </c:pt>
                <c:pt idx="319">
                  <c:v>3108.41</c:v>
                </c:pt>
                <c:pt idx="320">
                  <c:v>3097.35</c:v>
                </c:pt>
                <c:pt idx="321">
                  <c:v>3060.06</c:v>
                </c:pt>
                <c:pt idx="322">
                  <c:v>3067.37</c:v>
                </c:pt>
                <c:pt idx="323">
                  <c:v>3019.45</c:v>
                </c:pt>
                <c:pt idx="324">
                  <c:v>3036.39</c:v>
                </c:pt>
                <c:pt idx="325">
                  <c:v>2896.86</c:v>
                </c:pt>
                <c:pt idx="326">
                  <c:v>2836.79</c:v>
                </c:pt>
                <c:pt idx="327">
                  <c:v>2858.23</c:v>
                </c:pt>
                <c:pt idx="328">
                  <c:v>2800.82</c:v>
                </c:pt>
                <c:pt idx="329">
                  <c:v>2818.16</c:v>
                </c:pt>
                <c:pt idx="330">
                  <c:v>2886.91</c:v>
                </c:pt>
                <c:pt idx="331">
                  <c:v>2868.02</c:v>
                </c:pt>
                <c:pt idx="332">
                  <c:v>2714.72</c:v>
                </c:pt>
                <c:pt idx="333">
                  <c:v>2771.35</c:v>
                </c:pt>
                <c:pt idx="334">
                  <c:v>2762.17</c:v>
                </c:pt>
                <c:pt idx="335">
                  <c:v>2726.02</c:v>
                </c:pt>
                <c:pt idx="336">
                  <c:v>2768.79</c:v>
                </c:pt>
                <c:pt idx="337">
                  <c:v>2873.47</c:v>
                </c:pt>
                <c:pt idx="338">
                  <c:v>2813.94</c:v>
                </c:pt>
                <c:pt idx="339">
                  <c:v>2813.94</c:v>
                </c:pt>
                <c:pt idx="340">
                  <c:v>2859.98</c:v>
                </c:pt>
                <c:pt idx="341">
                  <c:v>2850.3</c:v>
                </c:pt>
                <c:pt idx="342">
                  <c:v>2773.26</c:v>
                </c:pt>
                <c:pt idx="343">
                  <c:v>2744.16</c:v>
                </c:pt>
                <c:pt idx="344">
                  <c:v>2757.53</c:v>
                </c:pt>
                <c:pt idx="345">
                  <c:v>2736.08</c:v>
                </c:pt>
                <c:pt idx="346">
                  <c:v>2744.39</c:v>
                </c:pt>
                <c:pt idx="347">
                  <c:v>2695.72</c:v>
                </c:pt>
                <c:pt idx="348">
                  <c:v>2699.34</c:v>
                </c:pt>
                <c:pt idx="349">
                  <c:v>2782.13</c:v>
                </c:pt>
                <c:pt idx="350">
                  <c:v>2750.02</c:v>
                </c:pt>
                <c:pt idx="351">
                  <c:v>2758.87</c:v>
                </c:pt>
                <c:pt idx="352">
                  <c:v>2742.73</c:v>
                </c:pt>
                <c:pt idx="353">
                  <c:v>2696.17</c:v>
                </c:pt>
                <c:pt idx="354">
                  <c:v>2780.66</c:v>
                </c:pt>
                <c:pt idx="355">
                  <c:v>2783.72</c:v>
                </c:pt>
                <c:pt idx="356">
                  <c:v>2758.5</c:v>
                </c:pt>
                <c:pt idx="357">
                  <c:v>2757.5</c:v>
                </c:pt>
                <c:pt idx="358">
                  <c:v>2736.29</c:v>
                </c:pt>
                <c:pt idx="359">
                  <c:v>2716.78</c:v>
                </c:pt>
                <c:pt idx="360">
                  <c:v>2592.02</c:v>
                </c:pt>
                <c:pt idx="361">
                  <c:v>2563.0700000000002</c:v>
                </c:pt>
                <c:pt idx="362">
                  <c:v>2526.0700000000002</c:v>
                </c:pt>
                <c:pt idx="363">
                  <c:v>2534.11</c:v>
                </c:pt>
                <c:pt idx="364">
                  <c:v>2512.65</c:v>
                </c:pt>
                <c:pt idx="365">
                  <c:v>2562.9</c:v>
                </c:pt>
                <c:pt idx="366">
                  <c:v>2580.48</c:v>
                </c:pt>
                <c:pt idx="367">
                  <c:v>2575.92</c:v>
                </c:pt>
                <c:pt idx="368">
                  <c:v>2647.1</c:v>
                </c:pt>
                <c:pt idx="369">
                  <c:v>2676.22</c:v>
                </c:pt>
                <c:pt idx="370">
                  <c:v>2634.59</c:v>
                </c:pt>
                <c:pt idx="371">
                  <c:v>2653.61</c:v>
                </c:pt>
                <c:pt idx="372">
                  <c:v>2608.52</c:v>
                </c:pt>
                <c:pt idx="373">
                  <c:v>2616.13</c:v>
                </c:pt>
                <c:pt idx="374">
                  <c:v>2682.47</c:v>
                </c:pt>
                <c:pt idx="375">
                  <c:v>2741.5</c:v>
                </c:pt>
                <c:pt idx="376">
                  <c:v>2747.34</c:v>
                </c:pt>
                <c:pt idx="377">
                  <c:v>2781.29</c:v>
                </c:pt>
                <c:pt idx="378">
                  <c:v>2793.08</c:v>
                </c:pt>
                <c:pt idx="379">
                  <c:v>2811.06</c:v>
                </c:pt>
                <c:pt idx="380">
                  <c:v>2795.72</c:v>
                </c:pt>
                <c:pt idx="381">
                  <c:v>2863.72</c:v>
                </c:pt>
                <c:pt idx="382">
                  <c:v>2877.98</c:v>
                </c:pt>
                <c:pt idx="383">
                  <c:v>2868.85</c:v>
                </c:pt>
                <c:pt idx="384">
                  <c:v>2917.28</c:v>
                </c:pt>
                <c:pt idx="385">
                  <c:v>2865.97</c:v>
                </c:pt>
                <c:pt idx="386">
                  <c:v>2876.43</c:v>
                </c:pt>
                <c:pt idx="387">
                  <c:v>2850.83</c:v>
                </c:pt>
                <c:pt idx="388">
                  <c:v>2897.66</c:v>
                </c:pt>
                <c:pt idx="389">
                  <c:v>2918.24</c:v>
                </c:pt>
                <c:pt idx="390">
                  <c:v>2832.64</c:v>
                </c:pt>
                <c:pt idx="391">
                  <c:v>2850.21</c:v>
                </c:pt>
                <c:pt idx="392">
                  <c:v>2816.39</c:v>
                </c:pt>
                <c:pt idx="393">
                  <c:v>2855.55</c:v>
                </c:pt>
                <c:pt idx="394">
                  <c:v>2922.08</c:v>
                </c:pt>
                <c:pt idx="395">
                  <c:v>2942.29</c:v>
                </c:pt>
                <c:pt idx="396">
                  <c:v>2937.36</c:v>
                </c:pt>
                <c:pt idx="397">
                  <c:v>2955.4</c:v>
                </c:pt>
                <c:pt idx="398">
                  <c:v>2898.33</c:v>
                </c:pt>
                <c:pt idx="399">
                  <c:v>2896.19</c:v>
                </c:pt>
                <c:pt idx="400">
                  <c:v>2911.83</c:v>
                </c:pt>
                <c:pt idx="401">
                  <c:v>2843.02</c:v>
                </c:pt>
                <c:pt idx="402">
                  <c:v>2850.09</c:v>
                </c:pt>
                <c:pt idx="403">
                  <c:v>2858.57</c:v>
                </c:pt>
                <c:pt idx="404">
                  <c:v>2915.01</c:v>
                </c:pt>
                <c:pt idx="405">
                  <c:v>2903.19</c:v>
                </c:pt>
                <c:pt idx="406">
                  <c:v>2884.04</c:v>
                </c:pt>
                <c:pt idx="407">
                  <c:v>2921.39</c:v>
                </c:pt>
                <c:pt idx="408">
                  <c:v>2920.21</c:v>
                </c:pt>
                <c:pt idx="409">
                  <c:v>2975.09</c:v>
                </c:pt>
                <c:pt idx="410">
                  <c:v>2983.11</c:v>
                </c:pt>
                <c:pt idx="411">
                  <c:v>2980.97</c:v>
                </c:pt>
                <c:pt idx="412">
                  <c:v>2926.46</c:v>
                </c:pt>
                <c:pt idx="413">
                  <c:v>2932.55</c:v>
                </c:pt>
                <c:pt idx="414">
                  <c:v>2962.32</c:v>
                </c:pt>
                <c:pt idx="415">
                  <c:v>2965.01</c:v>
                </c:pt>
                <c:pt idx="416">
                  <c:v>2913.19</c:v>
                </c:pt>
                <c:pt idx="417">
                  <c:v>2857.79</c:v>
                </c:pt>
                <c:pt idx="418">
                  <c:v>2861.37</c:v>
                </c:pt>
                <c:pt idx="419">
                  <c:v>2849.83</c:v>
                </c:pt>
                <c:pt idx="420">
                  <c:v>2857.48</c:v>
                </c:pt>
                <c:pt idx="421">
                  <c:v>2905.03</c:v>
                </c:pt>
                <c:pt idx="422">
                  <c:v>2880.91</c:v>
                </c:pt>
                <c:pt idx="423">
                  <c:v>2874.81</c:v>
                </c:pt>
                <c:pt idx="424">
                  <c:v>2935.57</c:v>
                </c:pt>
                <c:pt idx="425">
                  <c:v>3044.23</c:v>
                </c:pt>
                <c:pt idx="426">
                  <c:v>3132.9</c:v>
                </c:pt>
                <c:pt idx="427">
                  <c:v>3172.73</c:v>
                </c:pt>
                <c:pt idx="428">
                  <c:v>3217.58</c:v>
                </c:pt>
                <c:pt idx="429">
                  <c:v>3224.14</c:v>
                </c:pt>
                <c:pt idx="430">
                  <c:v>3327.68</c:v>
                </c:pt>
                <c:pt idx="431">
                  <c:v>3306.16</c:v>
                </c:pt>
                <c:pt idx="432">
                  <c:v>3375.67</c:v>
                </c:pt>
                <c:pt idx="433">
                  <c:v>3396.88</c:v>
                </c:pt>
                <c:pt idx="434">
                  <c:v>3374.69</c:v>
                </c:pt>
                <c:pt idx="435">
                  <c:v>3378.66</c:v>
                </c:pt>
                <c:pt idx="436">
                  <c:v>3481.08</c:v>
                </c:pt>
                <c:pt idx="437">
                  <c:v>3466.08</c:v>
                </c:pt>
                <c:pt idx="438">
                  <c:v>3403.87</c:v>
                </c:pt>
                <c:pt idx="439">
                  <c:v>3397.69</c:v>
                </c:pt>
                <c:pt idx="440">
                  <c:v>3379.98</c:v>
                </c:pt>
                <c:pt idx="441">
                  <c:v>3473</c:v>
                </c:pt>
                <c:pt idx="442">
                  <c:v>3463.13</c:v>
                </c:pt>
                <c:pt idx="443">
                  <c:v>3420.34</c:v>
                </c:pt>
                <c:pt idx="444">
                  <c:v>3480.51</c:v>
                </c:pt>
                <c:pt idx="445">
                  <c:v>3520.8</c:v>
                </c:pt>
                <c:pt idx="446">
                  <c:v>3548.57</c:v>
                </c:pt>
                <c:pt idx="447">
                  <c:v>3523.95</c:v>
                </c:pt>
                <c:pt idx="448">
                  <c:v>3499.11</c:v>
                </c:pt>
                <c:pt idx="449">
                  <c:v>3509.98</c:v>
                </c:pt>
                <c:pt idx="450">
                  <c:v>3291.83</c:v>
                </c:pt>
                <c:pt idx="451">
                  <c:v>3314.89</c:v>
                </c:pt>
                <c:pt idx="452">
                  <c:v>3169.54</c:v>
                </c:pt>
                <c:pt idx="453">
                  <c:v>3103.91</c:v>
                </c:pt>
                <c:pt idx="454">
                  <c:v>3147.96</c:v>
                </c:pt>
                <c:pt idx="455">
                  <c:v>3178.85</c:v>
                </c:pt>
                <c:pt idx="456">
                  <c:v>3171.94</c:v>
                </c:pt>
                <c:pt idx="457">
                  <c:v>3107.18</c:v>
                </c:pt>
                <c:pt idx="458">
                  <c:v>3177.04</c:v>
                </c:pt>
                <c:pt idx="459">
                  <c:v>3223.48</c:v>
                </c:pt>
                <c:pt idx="460">
                  <c:v>3194.85</c:v>
                </c:pt>
                <c:pt idx="461">
                  <c:v>3190.05</c:v>
                </c:pt>
                <c:pt idx="462">
                  <c:v>3136.99</c:v>
                </c:pt>
                <c:pt idx="463">
                  <c:v>3136.02</c:v>
                </c:pt>
                <c:pt idx="464">
                  <c:v>3155.06</c:v>
                </c:pt>
                <c:pt idx="465">
                  <c:v>3158.16</c:v>
                </c:pt>
                <c:pt idx="466">
                  <c:v>3165.57</c:v>
                </c:pt>
                <c:pt idx="467">
                  <c:v>3200.34</c:v>
                </c:pt>
                <c:pt idx="468">
                  <c:v>3171.88</c:v>
                </c:pt>
                <c:pt idx="469">
                  <c:v>3123.37</c:v>
                </c:pt>
                <c:pt idx="470">
                  <c:v>3161.98</c:v>
                </c:pt>
                <c:pt idx="471">
                  <c:v>3261.06</c:v>
                </c:pt>
                <c:pt idx="472">
                  <c:v>3269.47</c:v>
                </c:pt>
                <c:pt idx="473">
                  <c:v>3247.64</c:v>
                </c:pt>
                <c:pt idx="474">
                  <c:v>3230.67</c:v>
                </c:pt>
                <c:pt idx="475">
                  <c:v>3225.66</c:v>
                </c:pt>
                <c:pt idx="476">
                  <c:v>3178.66</c:v>
                </c:pt>
                <c:pt idx="477">
                  <c:v>3249.51</c:v>
                </c:pt>
                <c:pt idx="478">
                  <c:v>3215.45</c:v>
                </c:pt>
                <c:pt idx="479">
                  <c:v>3188.61</c:v>
                </c:pt>
                <c:pt idx="480">
                  <c:v>3162.96</c:v>
                </c:pt>
                <c:pt idx="481">
                  <c:v>3099.71</c:v>
                </c:pt>
                <c:pt idx="482">
                  <c:v>3044.93</c:v>
                </c:pt>
                <c:pt idx="483">
                  <c:v>3061.83</c:v>
                </c:pt>
                <c:pt idx="484">
                  <c:v>3064.1</c:v>
                </c:pt>
                <c:pt idx="485">
                  <c:v>3128.26</c:v>
                </c:pt>
                <c:pt idx="486">
                  <c:v>3189.68</c:v>
                </c:pt>
                <c:pt idx="487">
                  <c:v>3175.66</c:v>
                </c:pt>
                <c:pt idx="488">
                  <c:v>3159.64</c:v>
                </c:pt>
                <c:pt idx="489">
                  <c:v>3166.62</c:v>
                </c:pt>
                <c:pt idx="490">
                  <c:v>3108.19</c:v>
                </c:pt>
                <c:pt idx="491">
                  <c:v>3124.92</c:v>
                </c:pt>
                <c:pt idx="492">
                  <c:v>3142.34</c:v>
                </c:pt>
                <c:pt idx="493">
                  <c:v>3141.28</c:v>
                </c:pt>
                <c:pt idx="494">
                  <c:v>3091.86</c:v>
                </c:pt>
                <c:pt idx="495">
                  <c:v>2974.35</c:v>
                </c:pt>
                <c:pt idx="496">
                  <c:v>2977.65</c:v>
                </c:pt>
                <c:pt idx="497">
                  <c:v>3044.85</c:v>
                </c:pt>
                <c:pt idx="498">
                  <c:v>2944.71</c:v>
                </c:pt>
                <c:pt idx="499">
                  <c:v>2983.46</c:v>
                </c:pt>
                <c:pt idx="500">
                  <c:v>2954.23</c:v>
                </c:pt>
                <c:pt idx="501">
                  <c:v>2938.65</c:v>
                </c:pt>
                <c:pt idx="502">
                  <c:v>2978.43</c:v>
                </c:pt>
                <c:pt idx="503">
                  <c:v>3026.47</c:v>
                </c:pt>
                <c:pt idx="504">
                  <c:v>3036.74</c:v>
                </c:pt>
                <c:pt idx="505">
                  <c:v>3076.51</c:v>
                </c:pt>
                <c:pt idx="506">
                  <c:v>3077.28</c:v>
                </c:pt>
                <c:pt idx="507">
                  <c:v>3040.95</c:v>
                </c:pt>
                <c:pt idx="508">
                  <c:v>3104.16</c:v>
                </c:pt>
                <c:pt idx="509">
                  <c:v>3120.96</c:v>
                </c:pt>
                <c:pt idx="510">
                  <c:v>3219.14</c:v>
                </c:pt>
                <c:pt idx="511">
                  <c:v>3217.67</c:v>
                </c:pt>
                <c:pt idx="512">
                  <c:v>3248.53</c:v>
                </c:pt>
                <c:pt idx="513">
                  <c:v>3245.91</c:v>
                </c:pt>
                <c:pt idx="514">
                  <c:v>3211.88</c:v>
                </c:pt>
                <c:pt idx="515">
                  <c:v>3257.91</c:v>
                </c:pt>
                <c:pt idx="516">
                  <c:v>3163.58</c:v>
                </c:pt>
                <c:pt idx="517">
                  <c:v>3174.74</c:v>
                </c:pt>
                <c:pt idx="518">
                  <c:v>3190.94</c:v>
                </c:pt>
                <c:pt idx="519">
                  <c:v>3197.62</c:v>
                </c:pt>
                <c:pt idx="520">
                  <c:v>3239.56</c:v>
                </c:pt>
                <c:pt idx="521">
                  <c:v>3254.89</c:v>
                </c:pt>
                <c:pt idx="522">
                  <c:v>3243.3</c:v>
                </c:pt>
                <c:pt idx="523">
                  <c:v>3221.72</c:v>
                </c:pt>
                <c:pt idx="524">
                  <c:v>3270.67</c:v>
                </c:pt>
                <c:pt idx="525">
                  <c:v>3334.51</c:v>
                </c:pt>
                <c:pt idx="526">
                  <c:v>3337.46</c:v>
                </c:pt>
                <c:pt idx="527">
                  <c:v>3338.86</c:v>
                </c:pt>
                <c:pt idx="528">
                  <c:v>3280.26</c:v>
                </c:pt>
                <c:pt idx="529">
                  <c:v>3247.38</c:v>
                </c:pt>
                <c:pt idx="530">
                  <c:v>3262.92</c:v>
                </c:pt>
                <c:pt idx="531">
                  <c:v>3203.96</c:v>
                </c:pt>
                <c:pt idx="532">
                  <c:v>3248.2</c:v>
                </c:pt>
                <c:pt idx="533">
                  <c:v>3197.1</c:v>
                </c:pt>
                <c:pt idx="534">
                  <c:v>3215.69</c:v>
                </c:pt>
                <c:pt idx="535">
                  <c:v>3207.11</c:v>
                </c:pt>
                <c:pt idx="536">
                  <c:v>3222.96</c:v>
                </c:pt>
                <c:pt idx="537">
                  <c:v>3264.93</c:v>
                </c:pt>
                <c:pt idx="538">
                  <c:v>3251.36</c:v>
                </c:pt>
                <c:pt idx="539">
                  <c:v>3294.48</c:v>
                </c:pt>
                <c:pt idx="540">
                  <c:v>3290.57</c:v>
                </c:pt>
                <c:pt idx="541">
                  <c:v>3257.98</c:v>
                </c:pt>
                <c:pt idx="542">
                  <c:v>3256.08</c:v>
                </c:pt>
                <c:pt idx="543">
                  <c:v>3223.29</c:v>
                </c:pt>
                <c:pt idx="544">
                  <c:v>3272.73</c:v>
                </c:pt>
                <c:pt idx="545">
                  <c:v>3311.07</c:v>
                </c:pt>
                <c:pt idx="546">
                  <c:v>3324.42</c:v>
                </c:pt>
                <c:pt idx="547">
                  <c:v>3353.36</c:v>
                </c:pt>
                <c:pt idx="548">
                  <c:v>3333.43</c:v>
                </c:pt>
                <c:pt idx="549">
                  <c:v>3326.77</c:v>
                </c:pt>
                <c:pt idx="550">
                  <c:v>3372.03</c:v>
                </c:pt>
                <c:pt idx="551">
                  <c:v>3353.56</c:v>
                </c:pt>
                <c:pt idx="552">
                  <c:v>3358.94</c:v>
                </c:pt>
                <c:pt idx="553">
                  <c:v>3359.44</c:v>
                </c:pt>
                <c:pt idx="554">
                  <c:v>3295.81</c:v>
                </c:pt>
                <c:pt idx="555">
                  <c:v>3295.76</c:v>
                </c:pt>
                <c:pt idx="556">
                  <c:v>3317.37</c:v>
                </c:pt>
                <c:pt idx="557">
                  <c:v>3299.94</c:v>
                </c:pt>
                <c:pt idx="558">
                  <c:v>3249.57</c:v>
                </c:pt>
                <c:pt idx="559">
                  <c:v>3230.96</c:v>
                </c:pt>
                <c:pt idx="560">
                  <c:v>3209.5</c:v>
                </c:pt>
                <c:pt idx="561">
                  <c:v>3161.78</c:v>
                </c:pt>
                <c:pt idx="562">
                  <c:v>3192.72</c:v>
                </c:pt>
                <c:pt idx="563">
                  <c:v>3211.13</c:v>
                </c:pt>
                <c:pt idx="564">
                  <c:v>3129.03</c:v>
                </c:pt>
                <c:pt idx="565">
                  <c:v>3126.12</c:v>
                </c:pt>
                <c:pt idx="566">
                  <c:v>3121.4</c:v>
                </c:pt>
                <c:pt idx="567">
                  <c:v>3129.76</c:v>
                </c:pt>
                <c:pt idx="568">
                  <c:v>3153.22</c:v>
                </c:pt>
                <c:pt idx="569">
                  <c:v>3145.09</c:v>
                </c:pt>
                <c:pt idx="570">
                  <c:v>3101.6</c:v>
                </c:pt>
                <c:pt idx="571">
                  <c:v>3128.09</c:v>
                </c:pt>
                <c:pt idx="572">
                  <c:v>3100.46</c:v>
                </c:pt>
                <c:pt idx="573">
                  <c:v>3116.03</c:v>
                </c:pt>
                <c:pt idx="574">
                  <c:v>3139.38</c:v>
                </c:pt>
                <c:pt idx="575">
                  <c:v>3120.64</c:v>
                </c:pt>
                <c:pt idx="576">
                  <c:v>3121.6</c:v>
                </c:pt>
                <c:pt idx="577">
                  <c:v>3022.98</c:v>
                </c:pt>
                <c:pt idx="578">
                  <c:v>3026.22</c:v>
                </c:pt>
                <c:pt idx="579">
                  <c:v>2990.34</c:v>
                </c:pt>
                <c:pt idx="580">
                  <c:v>2978.38</c:v>
                </c:pt>
                <c:pt idx="581">
                  <c:v>2963.31</c:v>
                </c:pt>
                <c:pt idx="582">
                  <c:v>2954.51</c:v>
                </c:pt>
                <c:pt idx="583">
                  <c:v>3001.56</c:v>
                </c:pt>
                <c:pt idx="584">
                  <c:v>3004.17</c:v>
                </c:pt>
                <c:pt idx="585">
                  <c:v>2955.71</c:v>
                </c:pt>
                <c:pt idx="586">
                  <c:v>2986.35</c:v>
                </c:pt>
                <c:pt idx="587">
                  <c:v>3004.26</c:v>
                </c:pt>
                <c:pt idx="588">
                  <c:v>3008.65</c:v>
                </c:pt>
                <c:pt idx="589">
                  <c:v>2951.89</c:v>
                </c:pt>
                <c:pt idx="590">
                  <c:v>2961.93</c:v>
                </c:pt>
                <c:pt idx="591">
                  <c:v>2950.35</c:v>
                </c:pt>
                <c:pt idx="592">
                  <c:v>2993.56</c:v>
                </c:pt>
                <c:pt idx="593">
                  <c:v>2963.12</c:v>
                </c:pt>
                <c:pt idx="594">
                  <c:v>2917.58</c:v>
                </c:pt>
                <c:pt idx="595">
                  <c:v>2892.16</c:v>
                </c:pt>
                <c:pt idx="596">
                  <c:v>2874.9</c:v>
                </c:pt>
                <c:pt idx="597">
                  <c:v>2909.07</c:v>
                </c:pt>
                <c:pt idx="598">
                  <c:v>2908.58</c:v>
                </c:pt>
                <c:pt idx="599">
                  <c:v>2957.63</c:v>
                </c:pt>
                <c:pt idx="600">
                  <c:v>3027.47</c:v>
                </c:pt>
                <c:pt idx="601">
                  <c:v>3036.49</c:v>
                </c:pt>
                <c:pt idx="602">
                  <c:v>3041.73</c:v>
                </c:pt>
                <c:pt idx="603">
                  <c:v>3000.17</c:v>
                </c:pt>
                <c:pt idx="604">
                  <c:v>3044.09</c:v>
                </c:pt>
                <c:pt idx="605">
                  <c:v>3049.75</c:v>
                </c:pt>
                <c:pt idx="606">
                  <c:v>3121.98</c:v>
                </c:pt>
                <c:pt idx="607">
                  <c:v>3122.5</c:v>
                </c:pt>
                <c:pt idx="608">
                  <c:v>3113.71</c:v>
                </c:pt>
                <c:pt idx="609">
                  <c:v>3101.68</c:v>
                </c:pt>
                <c:pt idx="610">
                  <c:v>3109.18</c:v>
                </c:pt>
                <c:pt idx="611">
                  <c:v>3113.21</c:v>
                </c:pt>
                <c:pt idx="612">
                  <c:v>3056.91</c:v>
                </c:pt>
                <c:pt idx="613">
                  <c:v>3106.25</c:v>
                </c:pt>
                <c:pt idx="614">
                  <c:v>3115.75</c:v>
                </c:pt>
                <c:pt idx="615">
                  <c:v>3128.89</c:v>
                </c:pt>
                <c:pt idx="616">
                  <c:v>3122.6</c:v>
                </c:pt>
                <c:pt idx="617">
                  <c:v>3095.13</c:v>
                </c:pt>
                <c:pt idx="618">
                  <c:v>3091.57</c:v>
                </c:pt>
                <c:pt idx="619">
                  <c:v>3059.14</c:v>
                </c:pt>
                <c:pt idx="620">
                  <c:v>3067.99</c:v>
                </c:pt>
                <c:pt idx="621">
                  <c:v>2968.29</c:v>
                </c:pt>
                <c:pt idx="622">
                  <c:v>2977.77</c:v>
                </c:pt>
                <c:pt idx="623">
                  <c:v>3000.05</c:v>
                </c:pt>
                <c:pt idx="624">
                  <c:v>2981</c:v>
                </c:pt>
                <c:pt idx="625">
                  <c:v>2972.08</c:v>
                </c:pt>
                <c:pt idx="626">
                  <c:v>2977.72</c:v>
                </c:pt>
                <c:pt idx="627">
                  <c:v>2956.38</c:v>
                </c:pt>
                <c:pt idx="628">
                  <c:v>2954.87</c:v>
                </c:pt>
                <c:pt idx="629">
                  <c:v>2960.31</c:v>
                </c:pt>
                <c:pt idx="630">
                  <c:v>2897.42</c:v>
                </c:pt>
                <c:pt idx="631">
                  <c:v>2793.9</c:v>
                </c:pt>
                <c:pt idx="632">
                  <c:v>2798.19</c:v>
                </c:pt>
                <c:pt idx="633">
                  <c:v>2824.12</c:v>
                </c:pt>
                <c:pt idx="634">
                  <c:v>2866.92</c:v>
                </c:pt>
                <c:pt idx="635">
                  <c:v>2875.37</c:v>
                </c:pt>
                <c:pt idx="636">
                  <c:v>2917.88</c:v>
                </c:pt>
                <c:pt idx="637">
                  <c:v>2897.58</c:v>
                </c:pt>
                <c:pt idx="638">
                  <c:v>2886.01</c:v>
                </c:pt>
                <c:pt idx="639">
                  <c:v>2834.25</c:v>
                </c:pt>
                <c:pt idx="640">
                  <c:v>2807.66</c:v>
                </c:pt>
                <c:pt idx="641">
                  <c:v>2777.79</c:v>
                </c:pt>
                <c:pt idx="642">
                  <c:v>2821</c:v>
                </c:pt>
                <c:pt idx="643">
                  <c:v>2810.02</c:v>
                </c:pt>
                <c:pt idx="644">
                  <c:v>2903.84</c:v>
                </c:pt>
                <c:pt idx="645">
                  <c:v>2901.22</c:v>
                </c:pt>
                <c:pt idx="646">
                  <c:v>2852.81</c:v>
                </c:pt>
                <c:pt idx="647">
                  <c:v>2841.74</c:v>
                </c:pt>
                <c:pt idx="648">
                  <c:v>2846.78</c:v>
                </c:pt>
                <c:pt idx="649">
                  <c:v>2834.54</c:v>
                </c:pt>
                <c:pt idx="650">
                  <c:v>2803.85</c:v>
                </c:pt>
                <c:pt idx="651">
                  <c:v>2743.82</c:v>
                </c:pt>
                <c:pt idx="652">
                  <c:v>2723.3</c:v>
                </c:pt>
                <c:pt idx="653">
                  <c:v>2779.09</c:v>
                </c:pt>
                <c:pt idx="654">
                  <c:v>2756.11</c:v>
                </c:pt>
                <c:pt idx="655">
                  <c:v>2751.1</c:v>
                </c:pt>
                <c:pt idx="656">
                  <c:v>2720.28</c:v>
                </c:pt>
                <c:pt idx="657">
                  <c:v>2733.11</c:v>
                </c:pt>
                <c:pt idx="658">
                  <c:v>2729.05</c:v>
                </c:pt>
                <c:pt idx="659">
                  <c:v>2733.99</c:v>
                </c:pt>
                <c:pt idx="660">
                  <c:v>2679.27</c:v>
                </c:pt>
                <c:pt idx="661">
                  <c:v>2689.85</c:v>
                </c:pt>
                <c:pt idx="662">
                  <c:v>2771.01</c:v>
                </c:pt>
                <c:pt idx="663">
                  <c:v>2685.69</c:v>
                </c:pt>
                <c:pt idx="664">
                  <c:v>2669.48</c:v>
                </c:pt>
                <c:pt idx="665">
                  <c:v>2610.92</c:v>
                </c:pt>
                <c:pt idx="666">
                  <c:v>2637.88</c:v>
                </c:pt>
                <c:pt idx="667">
                  <c:v>2610.59</c:v>
                </c:pt>
                <c:pt idx="668">
                  <c:v>2588.19</c:v>
                </c:pt>
                <c:pt idx="669">
                  <c:v>2581.35</c:v>
                </c:pt>
                <c:pt idx="670">
                  <c:v>2557.08</c:v>
                </c:pt>
                <c:pt idx="671">
                  <c:v>2551.9899999999998</c:v>
                </c:pt>
                <c:pt idx="672">
                  <c:v>2644.76</c:v>
                </c:pt>
                <c:pt idx="673">
                  <c:v>2662.6</c:v>
                </c:pt>
                <c:pt idx="674">
                  <c:v>2653.78</c:v>
                </c:pt>
                <c:pt idx="675">
                  <c:v>2666.95</c:v>
                </c:pt>
                <c:pt idx="676">
                  <c:v>2592.21</c:v>
                </c:pt>
                <c:pt idx="677">
                  <c:v>2583.08</c:v>
                </c:pt>
                <c:pt idx="678">
                  <c:v>2520.5300000000002</c:v>
                </c:pt>
                <c:pt idx="679">
                  <c:v>2507.88</c:v>
                </c:pt>
                <c:pt idx="680">
                  <c:v>2576.67</c:v>
                </c:pt>
                <c:pt idx="681">
                  <c:v>2625.43</c:v>
                </c:pt>
                <c:pt idx="682">
                  <c:v>2651.65</c:v>
                </c:pt>
                <c:pt idx="683">
                  <c:v>2657.48</c:v>
                </c:pt>
                <c:pt idx="684">
                  <c:v>2709.02</c:v>
                </c:pt>
                <c:pt idx="685">
                  <c:v>2695.31</c:v>
                </c:pt>
                <c:pt idx="686">
                  <c:v>2697.53</c:v>
                </c:pt>
                <c:pt idx="687">
                  <c:v>2742.39</c:v>
                </c:pt>
                <c:pt idx="688">
                  <c:v>2744.3</c:v>
                </c:pt>
                <c:pt idx="689">
                  <c:v>2763.75</c:v>
                </c:pt>
                <c:pt idx="690">
                  <c:v>2736.25</c:v>
                </c:pt>
                <c:pt idx="691">
                  <c:v>2727.71</c:v>
                </c:pt>
                <c:pt idx="692">
                  <c:v>2751.65</c:v>
                </c:pt>
                <c:pt idx="693">
                  <c:v>2699.59</c:v>
                </c:pt>
                <c:pt idx="694">
                  <c:v>2695</c:v>
                </c:pt>
                <c:pt idx="695">
                  <c:v>2750.2</c:v>
                </c:pt>
                <c:pt idx="696">
                  <c:v>2744.68</c:v>
                </c:pt>
                <c:pt idx="697">
                  <c:v>2670.12</c:v>
                </c:pt>
                <c:pt idx="698">
                  <c:v>2662.02</c:v>
                </c:pt>
                <c:pt idx="699">
                  <c:v>2606.5</c:v>
                </c:pt>
                <c:pt idx="700">
                  <c:v>2609.69</c:v>
                </c:pt>
                <c:pt idx="701">
                  <c:v>2609.48</c:v>
                </c:pt>
                <c:pt idx="702">
                  <c:v>2584.0100000000002</c:v>
                </c:pt>
                <c:pt idx="703">
                  <c:v>2588.92</c:v>
                </c:pt>
                <c:pt idx="704">
                  <c:v>2569.9699999999998</c:v>
                </c:pt>
                <c:pt idx="705">
                  <c:v>2573.3200000000002</c:v>
                </c:pt>
                <c:pt idx="706">
                  <c:v>2608.5700000000002</c:v>
                </c:pt>
                <c:pt idx="707">
                  <c:v>2521.52</c:v>
                </c:pt>
                <c:pt idx="708">
                  <c:v>2583.61</c:v>
                </c:pt>
                <c:pt idx="709">
                  <c:v>2557.31</c:v>
                </c:pt>
                <c:pt idx="710">
                  <c:v>2521.39</c:v>
                </c:pt>
                <c:pt idx="711">
                  <c:v>2516.34</c:v>
                </c:pt>
                <c:pt idx="712">
                  <c:v>2528.23</c:v>
                </c:pt>
                <c:pt idx="713">
                  <c:v>2525</c:v>
                </c:pt>
                <c:pt idx="714">
                  <c:v>2503.46</c:v>
                </c:pt>
                <c:pt idx="715">
                  <c:v>2477.69</c:v>
                </c:pt>
                <c:pt idx="716">
                  <c:v>2421.9299999999998</c:v>
                </c:pt>
                <c:pt idx="717">
                  <c:v>2397.48</c:v>
                </c:pt>
                <c:pt idx="718">
                  <c:v>2340.79</c:v>
                </c:pt>
                <c:pt idx="719">
                  <c:v>2390.13</c:v>
                </c:pt>
                <c:pt idx="720">
                  <c:v>2384.41</c:v>
                </c:pt>
                <c:pt idx="721">
                  <c:v>2377.0700000000002</c:v>
                </c:pt>
                <c:pt idx="722">
                  <c:v>2339.11</c:v>
                </c:pt>
                <c:pt idx="723">
                  <c:v>2341.34</c:v>
                </c:pt>
                <c:pt idx="724">
                  <c:v>2359.16</c:v>
                </c:pt>
                <c:pt idx="725">
                  <c:v>2335.6999999999998</c:v>
                </c:pt>
                <c:pt idx="726">
                  <c:v>2305.04</c:v>
                </c:pt>
                <c:pt idx="727">
                  <c:v>2307.9299999999998</c:v>
                </c:pt>
                <c:pt idx="728">
                  <c:v>2311.36</c:v>
                </c:pt>
                <c:pt idx="729">
                  <c:v>2345.7399999999998</c:v>
                </c:pt>
                <c:pt idx="730">
                  <c:v>2298.75</c:v>
                </c:pt>
                <c:pt idx="731">
                  <c:v>2276.39</c:v>
                </c:pt>
                <c:pt idx="732">
                  <c:v>2290.6</c:v>
                </c:pt>
                <c:pt idx="733">
                  <c:v>2368.5700000000002</c:v>
                </c:pt>
                <c:pt idx="734">
                  <c:v>2447.35</c:v>
                </c:pt>
                <c:pt idx="735">
                  <c:v>2435.61</c:v>
                </c:pt>
                <c:pt idx="736">
                  <c:v>2435.2199999999998</c:v>
                </c:pt>
                <c:pt idx="737">
                  <c:v>2394.33</c:v>
                </c:pt>
                <c:pt idx="738">
                  <c:v>2345.65</c:v>
                </c:pt>
                <c:pt idx="739">
                  <c:v>2460.6</c:v>
                </c:pt>
                <c:pt idx="740">
                  <c:v>2422.19</c:v>
                </c:pt>
                <c:pt idx="741">
                  <c:v>2468.35</c:v>
                </c:pt>
                <c:pt idx="742">
                  <c:v>2504.09</c:v>
                </c:pt>
                <c:pt idx="743">
                  <c:v>2460.7199999999998</c:v>
                </c:pt>
                <c:pt idx="744">
                  <c:v>2464.2600000000002</c:v>
                </c:pt>
                <c:pt idx="745">
                  <c:v>2428.9899999999998</c:v>
                </c:pt>
                <c:pt idx="746">
                  <c:v>2486.2399999999998</c:v>
                </c:pt>
                <c:pt idx="747">
                  <c:v>2506.09</c:v>
                </c:pt>
                <c:pt idx="748">
                  <c:v>2504.3200000000002</c:v>
                </c:pt>
                <c:pt idx="749">
                  <c:v>2457.9499999999998</c:v>
                </c:pt>
                <c:pt idx="750">
                  <c:v>2528.2399999999998</c:v>
                </c:pt>
                <c:pt idx="751">
                  <c:v>2529.23</c:v>
                </c:pt>
                <c:pt idx="752">
                  <c:v>2533.62</c:v>
                </c:pt>
                <c:pt idx="753">
                  <c:v>2531.98</c:v>
                </c:pt>
                <c:pt idx="754">
                  <c:v>2522.11</c:v>
                </c:pt>
                <c:pt idx="755">
                  <c:v>2549.61</c:v>
                </c:pt>
                <c:pt idx="756">
                  <c:v>2536.0700000000002</c:v>
                </c:pt>
                <c:pt idx="757">
                  <c:v>2537.09</c:v>
                </c:pt>
                <c:pt idx="758">
                  <c:v>2540.71</c:v>
                </c:pt>
                <c:pt idx="759">
                  <c:v>2562.4499999999998</c:v>
                </c:pt>
                <c:pt idx="760">
                  <c:v>2597.48</c:v>
                </c:pt>
                <c:pt idx="761">
                  <c:v>2606.2600000000002</c:v>
                </c:pt>
                <c:pt idx="762">
                  <c:v>2648.02</c:v>
                </c:pt>
                <c:pt idx="763">
                  <c:v>2656.57</c:v>
                </c:pt>
                <c:pt idx="764">
                  <c:v>2662.46</c:v>
                </c:pt>
                <c:pt idx="765">
                  <c:v>2634.14</c:v>
                </c:pt>
                <c:pt idx="766">
                  <c:v>2633.35</c:v>
                </c:pt>
                <c:pt idx="767">
                  <c:v>2679.93</c:v>
                </c:pt>
                <c:pt idx="768">
                  <c:v>2662.7</c:v>
                </c:pt>
                <c:pt idx="769">
                  <c:v>2621.0500000000002</c:v>
                </c:pt>
                <c:pt idx="770">
                  <c:v>2603.0100000000002</c:v>
                </c:pt>
                <c:pt idx="771">
                  <c:v>2635.79</c:v>
                </c:pt>
                <c:pt idx="772">
                  <c:v>2664.3</c:v>
                </c:pt>
                <c:pt idx="773">
                  <c:v>2654.4</c:v>
                </c:pt>
                <c:pt idx="774">
                  <c:v>2681.07</c:v>
                </c:pt>
                <c:pt idx="775">
                  <c:v>2605.11</c:v>
                </c:pt>
                <c:pt idx="776">
                  <c:v>2585.5500000000002</c:v>
                </c:pt>
                <c:pt idx="777">
                  <c:v>2623.52</c:v>
                </c:pt>
                <c:pt idx="778">
                  <c:v>2630.01</c:v>
                </c:pt>
                <c:pt idx="779">
                  <c:v>2584.4499999999998</c:v>
                </c:pt>
                <c:pt idx="780">
                  <c:v>2587.79</c:v>
                </c:pt>
                <c:pt idx="781">
                  <c:v>2583.75</c:v>
                </c:pt>
                <c:pt idx="782">
                  <c:v>2552.94</c:v>
                </c:pt>
                <c:pt idx="783">
                  <c:v>2555.44</c:v>
                </c:pt>
                <c:pt idx="784">
                  <c:v>2547.14</c:v>
                </c:pt>
                <c:pt idx="785">
                  <c:v>2474.9</c:v>
                </c:pt>
                <c:pt idx="786">
                  <c:v>2443.12</c:v>
                </c:pt>
                <c:pt idx="787">
                  <c:v>2454.9</c:v>
                </c:pt>
                <c:pt idx="788">
                  <c:v>2512.83</c:v>
                </c:pt>
                <c:pt idx="789">
                  <c:v>2519.83</c:v>
                </c:pt>
                <c:pt idx="790">
                  <c:v>2495.15</c:v>
                </c:pt>
                <c:pt idx="791">
                  <c:v>2519.79</c:v>
                </c:pt>
                <c:pt idx="792">
                  <c:v>2520.04</c:v>
                </c:pt>
                <c:pt idx="793">
                  <c:v>2570.44</c:v>
                </c:pt>
                <c:pt idx="794">
                  <c:v>2580.4499999999998</c:v>
                </c:pt>
                <c:pt idx="795">
                  <c:v>2574.04</c:v>
                </c:pt>
                <c:pt idx="796">
                  <c:v>2541.88</c:v>
                </c:pt>
                <c:pt idx="797">
                  <c:v>2599.91</c:v>
                </c:pt>
                <c:pt idx="798">
                  <c:v>2596.06</c:v>
                </c:pt>
                <c:pt idx="799">
                  <c:v>2626.84</c:v>
                </c:pt>
                <c:pt idx="800">
                  <c:v>2606.04</c:v>
                </c:pt>
                <c:pt idx="801">
                  <c:v>2604.87</c:v>
                </c:pt>
                <c:pt idx="802">
                  <c:v>2625.99</c:v>
                </c:pt>
                <c:pt idx="803">
                  <c:v>2631.49</c:v>
                </c:pt>
                <c:pt idx="804">
                  <c:v>2626.16</c:v>
                </c:pt>
                <c:pt idx="805">
                  <c:v>2683.49</c:v>
                </c:pt>
                <c:pt idx="806">
                  <c:v>2691.52</c:v>
                </c:pt>
                <c:pt idx="807">
                  <c:v>2715.88</c:v>
                </c:pt>
                <c:pt idx="808">
                  <c:v>2717.78</c:v>
                </c:pt>
                <c:pt idx="809">
                  <c:v>2709.12</c:v>
                </c:pt>
                <c:pt idx="810">
                  <c:v>2657.51</c:v>
                </c:pt>
                <c:pt idx="811">
                  <c:v>2657.21</c:v>
                </c:pt>
                <c:pt idx="812">
                  <c:v>2636.92</c:v>
                </c:pt>
                <c:pt idx="813">
                  <c:v>2615.5300000000002</c:v>
                </c:pt>
                <c:pt idx="814">
                  <c:v>2617.37</c:v>
                </c:pt>
                <c:pt idx="815">
                  <c:v>2574.65</c:v>
                </c:pt>
                <c:pt idx="816">
                  <c:v>2613.94</c:v>
                </c:pt>
                <c:pt idx="817">
                  <c:v>2573.98</c:v>
                </c:pt>
                <c:pt idx="818">
                  <c:v>2587.23</c:v>
                </c:pt>
                <c:pt idx="819">
                  <c:v>2627.53</c:v>
                </c:pt>
                <c:pt idx="820">
                  <c:v>2616.87</c:v>
                </c:pt>
                <c:pt idx="821">
                  <c:v>2595.2600000000002</c:v>
                </c:pt>
                <c:pt idx="822">
                  <c:v>2573.1</c:v>
                </c:pt>
                <c:pt idx="823">
                  <c:v>2614.69</c:v>
                </c:pt>
                <c:pt idx="824">
                  <c:v>2650.85</c:v>
                </c:pt>
                <c:pt idx="825">
                  <c:v>2642.26</c:v>
                </c:pt>
                <c:pt idx="826">
                  <c:v>2632.04</c:v>
                </c:pt>
                <c:pt idx="827">
                  <c:v>2633</c:v>
                </c:pt>
                <c:pt idx="828">
                  <c:v>2559.0300000000002</c:v>
                </c:pt>
                <c:pt idx="829">
                  <c:v>2558.84</c:v>
                </c:pt>
                <c:pt idx="830">
                  <c:v>2557.4</c:v>
                </c:pt>
                <c:pt idx="831">
                  <c:v>2542.1799999999998</c:v>
                </c:pt>
                <c:pt idx="832">
                  <c:v>2524.33</c:v>
                </c:pt>
                <c:pt idx="833">
                  <c:v>2558.27</c:v>
                </c:pt>
                <c:pt idx="834">
                  <c:v>2540.1799999999998</c:v>
                </c:pt>
                <c:pt idx="835">
                  <c:v>2580.64</c:v>
                </c:pt>
                <c:pt idx="836">
                  <c:v>2560.42</c:v>
                </c:pt>
                <c:pt idx="837">
                  <c:v>2568.0500000000002</c:v>
                </c:pt>
                <c:pt idx="838">
                  <c:v>2581.21</c:v>
                </c:pt>
                <c:pt idx="839">
                  <c:v>2558.62</c:v>
                </c:pt>
                <c:pt idx="840">
                  <c:v>2552.61</c:v>
                </c:pt>
                <c:pt idx="841">
                  <c:v>2512.19</c:v>
                </c:pt>
                <c:pt idx="842">
                  <c:v>2456.52</c:v>
                </c:pt>
                <c:pt idx="843">
                  <c:v>2454.92</c:v>
                </c:pt>
                <c:pt idx="844">
                  <c:v>2447.1999999999998</c:v>
                </c:pt>
                <c:pt idx="845">
                  <c:v>2425.73</c:v>
                </c:pt>
                <c:pt idx="846">
                  <c:v>2461.61</c:v>
                </c:pt>
                <c:pt idx="847">
                  <c:v>2465.2399999999998</c:v>
                </c:pt>
                <c:pt idx="848">
                  <c:v>2468.7199999999998</c:v>
                </c:pt>
                <c:pt idx="849">
                  <c:v>2464.92</c:v>
                </c:pt>
                <c:pt idx="850">
                  <c:v>2430.37</c:v>
                </c:pt>
                <c:pt idx="851">
                  <c:v>2472.61</c:v>
                </c:pt>
                <c:pt idx="852">
                  <c:v>2416.04</c:v>
                </c:pt>
                <c:pt idx="853">
                  <c:v>2406.71</c:v>
                </c:pt>
                <c:pt idx="854">
                  <c:v>2425.5700000000002</c:v>
                </c:pt>
                <c:pt idx="855">
                  <c:v>2449.1799999999998</c:v>
                </c:pt>
                <c:pt idx="856">
                  <c:v>2450.63</c:v>
                </c:pt>
                <c:pt idx="857">
                  <c:v>2399.73</c:v>
                </c:pt>
                <c:pt idx="858">
                  <c:v>2414.1999999999998</c:v>
                </c:pt>
                <c:pt idx="859">
                  <c:v>2414.34</c:v>
                </c:pt>
                <c:pt idx="860">
                  <c:v>2424.3200000000002</c:v>
                </c:pt>
                <c:pt idx="861">
                  <c:v>2398.46</c:v>
                </c:pt>
                <c:pt idx="862">
                  <c:v>2365.4299999999998</c:v>
                </c:pt>
                <c:pt idx="863">
                  <c:v>2375.9899999999998</c:v>
                </c:pt>
                <c:pt idx="864">
                  <c:v>2360.08</c:v>
                </c:pt>
                <c:pt idx="865">
                  <c:v>2347.4899999999998</c:v>
                </c:pt>
                <c:pt idx="866">
                  <c:v>2349.11</c:v>
                </c:pt>
                <c:pt idx="867">
                  <c:v>2335.79</c:v>
                </c:pt>
                <c:pt idx="868">
                  <c:v>2332.92</c:v>
                </c:pt>
                <c:pt idx="869">
                  <c:v>2358.65</c:v>
                </c:pt>
                <c:pt idx="870">
                  <c:v>2334.88</c:v>
                </c:pt>
                <c:pt idx="871">
                  <c:v>2353.7399999999998</c:v>
                </c:pt>
                <c:pt idx="872">
                  <c:v>2385.61</c:v>
                </c:pt>
                <c:pt idx="873">
                  <c:v>2388.87</c:v>
                </c:pt>
                <c:pt idx="874">
                  <c:v>2389.8000000000002</c:v>
                </c:pt>
                <c:pt idx="875">
                  <c:v>2411.6999999999998</c:v>
                </c:pt>
                <c:pt idx="876">
                  <c:v>2399.75</c:v>
                </c:pt>
                <c:pt idx="877">
                  <c:v>2351.9299999999998</c:v>
                </c:pt>
                <c:pt idx="878">
                  <c:v>2357.02</c:v>
                </c:pt>
                <c:pt idx="879">
                  <c:v>2331.61</c:v>
                </c:pt>
                <c:pt idx="880">
                  <c:v>2319.67</c:v>
                </c:pt>
                <c:pt idx="881">
                  <c:v>2313.48</c:v>
                </c:pt>
                <c:pt idx="882">
                  <c:v>2301.79</c:v>
                </c:pt>
                <c:pt idx="883">
                  <c:v>2313.6999999999998</c:v>
                </c:pt>
                <c:pt idx="884">
                  <c:v>2295.59</c:v>
                </c:pt>
                <c:pt idx="885">
                  <c:v>2302.1999999999998</c:v>
                </c:pt>
                <c:pt idx="886">
                  <c:v>2275.6799999999998</c:v>
                </c:pt>
                <c:pt idx="887">
                  <c:v>2228.1999999999998</c:v>
                </c:pt>
                <c:pt idx="888">
                  <c:v>2238.41</c:v>
                </c:pt>
                <c:pt idx="889">
                  <c:v>2214.81</c:v>
                </c:pt>
                <c:pt idx="890">
                  <c:v>2211.37</c:v>
                </c:pt>
                <c:pt idx="891">
                  <c:v>2204.87</c:v>
                </c:pt>
                <c:pt idx="892">
                  <c:v>2228.37</c:v>
                </c:pt>
                <c:pt idx="893">
                  <c:v>2204.41</c:v>
                </c:pt>
                <c:pt idx="894">
                  <c:v>2199.88</c:v>
                </c:pt>
                <c:pt idx="895">
                  <c:v>2217.8200000000002</c:v>
                </c:pt>
                <c:pt idx="896">
                  <c:v>2317.1799999999998</c:v>
                </c:pt>
                <c:pt idx="897">
                  <c:v>2326.67</c:v>
                </c:pt>
                <c:pt idx="898">
                  <c:v>2311.89</c:v>
                </c:pt>
                <c:pt idx="899">
                  <c:v>2320.0700000000002</c:v>
                </c:pt>
                <c:pt idx="900">
                  <c:v>2298.46</c:v>
                </c:pt>
                <c:pt idx="901">
                  <c:v>2315.54</c:v>
                </c:pt>
                <c:pt idx="902">
                  <c:v>2258.71</c:v>
                </c:pt>
                <c:pt idx="903">
                  <c:v>2235.2399999999998</c:v>
                </c:pt>
                <c:pt idx="904">
                  <c:v>2246.2399999999998</c:v>
                </c:pt>
                <c:pt idx="905">
                  <c:v>2195.9499999999998</c:v>
                </c:pt>
                <c:pt idx="906">
                  <c:v>2199.06</c:v>
                </c:pt>
                <c:pt idx="907">
                  <c:v>2215.52</c:v>
                </c:pt>
                <c:pt idx="908">
                  <c:v>2210.15</c:v>
                </c:pt>
                <c:pt idx="909">
                  <c:v>2184.89</c:v>
                </c:pt>
                <c:pt idx="910">
                  <c:v>2251.7199999999998</c:v>
                </c:pt>
                <c:pt idx="911">
                  <c:v>2293.11</c:v>
                </c:pt>
                <c:pt idx="912">
                  <c:v>2270.0500000000002</c:v>
                </c:pt>
                <c:pt idx="913">
                  <c:v>2320.16</c:v>
                </c:pt>
                <c:pt idx="914">
                  <c:v>2324.12</c:v>
                </c:pt>
                <c:pt idx="915">
                  <c:v>2302.5300000000002</c:v>
                </c:pt>
                <c:pt idx="916">
                  <c:v>2304.5300000000002</c:v>
                </c:pt>
                <c:pt idx="917">
                  <c:v>2294.86</c:v>
                </c:pt>
                <c:pt idx="918">
                  <c:v>2298.16</c:v>
                </c:pt>
                <c:pt idx="919">
                  <c:v>2300.8000000000002</c:v>
                </c:pt>
                <c:pt idx="920">
                  <c:v>2336.08</c:v>
                </c:pt>
                <c:pt idx="921">
                  <c:v>2332.4699999999998</c:v>
                </c:pt>
                <c:pt idx="922">
                  <c:v>2341.59</c:v>
                </c:pt>
                <c:pt idx="923">
                  <c:v>2312.08</c:v>
                </c:pt>
                <c:pt idx="924">
                  <c:v>2307.7800000000002</c:v>
                </c:pt>
                <c:pt idx="925">
                  <c:v>2291.2399999999998</c:v>
                </c:pt>
                <c:pt idx="926">
                  <c:v>2247.91</c:v>
                </c:pt>
                <c:pt idx="927">
                  <c:v>2235.85</c:v>
                </c:pt>
                <c:pt idx="928">
                  <c:v>2239.88</c:v>
                </c:pt>
                <c:pt idx="929">
                  <c:v>2254.8200000000002</c:v>
                </c:pt>
                <c:pt idx="930">
                  <c:v>2297.88</c:v>
                </c:pt>
                <c:pt idx="931">
                  <c:v>2306.77</c:v>
                </c:pt>
                <c:pt idx="932">
                  <c:v>2301.88</c:v>
                </c:pt>
                <c:pt idx="933">
                  <c:v>2292.21</c:v>
                </c:pt>
                <c:pt idx="934">
                  <c:v>2287.5100000000002</c:v>
                </c:pt>
                <c:pt idx="935">
                  <c:v>2245.41</c:v>
                </c:pt>
                <c:pt idx="936">
                  <c:v>2240.92</c:v>
                </c:pt>
                <c:pt idx="937">
                  <c:v>2251.85</c:v>
                </c:pt>
                <c:pt idx="938">
                  <c:v>2212.44</c:v>
                </c:pt>
                <c:pt idx="939">
                  <c:v>2223.11</c:v>
                </c:pt>
                <c:pt idx="940">
                  <c:v>2193.62</c:v>
                </c:pt>
                <c:pt idx="941">
                  <c:v>2177.2399999999998</c:v>
                </c:pt>
                <c:pt idx="942">
                  <c:v>2174.9899999999998</c:v>
                </c:pt>
                <c:pt idx="943">
                  <c:v>2164.88</c:v>
                </c:pt>
                <c:pt idx="944">
                  <c:v>2194.9</c:v>
                </c:pt>
                <c:pt idx="945">
                  <c:v>2177.5500000000002</c:v>
                </c:pt>
                <c:pt idx="946">
                  <c:v>2192.6799999999998</c:v>
                </c:pt>
                <c:pt idx="947">
                  <c:v>2175.6</c:v>
                </c:pt>
                <c:pt idx="948">
                  <c:v>2150.64</c:v>
                </c:pt>
                <c:pt idx="949">
                  <c:v>2129.16</c:v>
                </c:pt>
                <c:pt idx="950">
                  <c:v>2115.6799999999998</c:v>
                </c:pt>
                <c:pt idx="951">
                  <c:v>2139.66</c:v>
                </c:pt>
                <c:pt idx="952">
                  <c:v>2108.85</c:v>
                </c:pt>
                <c:pt idx="953">
                  <c:v>2131.4699999999998</c:v>
                </c:pt>
                <c:pt idx="954">
                  <c:v>2207.88</c:v>
                </c:pt>
                <c:pt idx="955">
                  <c:v>2203.6</c:v>
                </c:pt>
                <c:pt idx="956">
                  <c:v>2246.7600000000002</c:v>
                </c:pt>
                <c:pt idx="957">
                  <c:v>2271.0500000000002</c:v>
                </c:pt>
                <c:pt idx="958">
                  <c:v>2258.5</c:v>
                </c:pt>
                <c:pt idx="959">
                  <c:v>2267.77</c:v>
                </c:pt>
                <c:pt idx="960">
                  <c:v>2242.64</c:v>
                </c:pt>
                <c:pt idx="961">
                  <c:v>2355.86</c:v>
                </c:pt>
                <c:pt idx="962">
                  <c:v>2366.6999999999998</c:v>
                </c:pt>
                <c:pt idx="963">
                  <c:v>2368.12</c:v>
                </c:pt>
                <c:pt idx="964">
                  <c:v>2371.11</c:v>
                </c:pt>
                <c:pt idx="965">
                  <c:v>2384.8200000000002</c:v>
                </c:pt>
                <c:pt idx="966">
                  <c:v>2372</c:v>
                </c:pt>
                <c:pt idx="967">
                  <c:v>2381.2199999999998</c:v>
                </c:pt>
                <c:pt idx="968">
                  <c:v>2448.4</c:v>
                </c:pt>
                <c:pt idx="969">
                  <c:v>2457.62</c:v>
                </c:pt>
                <c:pt idx="970">
                  <c:v>2444.59</c:v>
                </c:pt>
                <c:pt idx="971">
                  <c:v>2480.0500000000002</c:v>
                </c:pt>
                <c:pt idx="972">
                  <c:v>2522.9499999999998</c:v>
                </c:pt>
                <c:pt idx="973">
                  <c:v>2524.41</c:v>
                </c:pt>
                <c:pt idx="974">
                  <c:v>2535.9899999999998</c:v>
                </c:pt>
                <c:pt idx="975">
                  <c:v>2525.33</c:v>
                </c:pt>
                <c:pt idx="976">
                  <c:v>2526.13</c:v>
                </c:pt>
                <c:pt idx="977">
                  <c:v>2530.5700000000002</c:v>
                </c:pt>
                <c:pt idx="978">
                  <c:v>2483.23</c:v>
                </c:pt>
                <c:pt idx="979">
                  <c:v>2577.73</c:v>
                </c:pt>
                <c:pt idx="980">
                  <c:v>2595.86</c:v>
                </c:pt>
                <c:pt idx="981">
                  <c:v>2577.09</c:v>
                </c:pt>
                <c:pt idx="982">
                  <c:v>2552.7600000000002</c:v>
                </c:pt>
                <c:pt idx="983">
                  <c:v>2595.44</c:v>
                </c:pt>
                <c:pt idx="984">
                  <c:v>2610.9</c:v>
                </c:pt>
                <c:pt idx="985">
                  <c:v>2596.9</c:v>
                </c:pt>
                <c:pt idx="986">
                  <c:v>2607.46</c:v>
                </c:pt>
                <c:pt idx="987">
                  <c:v>2582.7600000000002</c:v>
                </c:pt>
                <c:pt idx="988">
                  <c:v>2571.67</c:v>
                </c:pt>
                <c:pt idx="989">
                  <c:v>2651.86</c:v>
                </c:pt>
                <c:pt idx="990">
                  <c:v>2675.87</c:v>
                </c:pt>
                <c:pt idx="991">
                  <c:v>2688.71</c:v>
                </c:pt>
                <c:pt idx="992">
                  <c:v>2686.88</c:v>
                </c:pt>
                <c:pt idx="993">
                  <c:v>2743.32</c:v>
                </c:pt>
                <c:pt idx="994">
                  <c:v>2748.03</c:v>
                </c:pt>
                <c:pt idx="995">
                  <c:v>2771.68</c:v>
                </c:pt>
                <c:pt idx="996">
                  <c:v>2775.84</c:v>
                </c:pt>
                <c:pt idx="997">
                  <c:v>2759.87</c:v>
                </c:pt>
                <c:pt idx="998">
                  <c:v>2771.73</c:v>
                </c:pt>
                <c:pt idx="999">
                  <c:v>2737.47</c:v>
                </c:pt>
                <c:pt idx="1000">
                  <c:v>2685.61</c:v>
                </c:pt>
                <c:pt idx="1001">
                  <c:v>2702.64</c:v>
                </c:pt>
                <c:pt idx="1002">
                  <c:v>2610.5500000000002</c:v>
                </c:pt>
                <c:pt idx="1003">
                  <c:v>2596.6</c:v>
                </c:pt>
                <c:pt idx="1004">
                  <c:v>2604.96</c:v>
                </c:pt>
                <c:pt idx="1005">
                  <c:v>2567.59</c:v>
                </c:pt>
                <c:pt idx="1006">
                  <c:v>2594.6799999999998</c:v>
                </c:pt>
                <c:pt idx="1007">
                  <c:v>2673.33</c:v>
                </c:pt>
                <c:pt idx="1008">
                  <c:v>2668.84</c:v>
                </c:pt>
                <c:pt idx="1009">
                  <c:v>2545.7199999999998</c:v>
                </c:pt>
                <c:pt idx="1010">
                  <c:v>2622.81</c:v>
                </c:pt>
                <c:pt idx="1011">
                  <c:v>2650.2</c:v>
                </c:pt>
                <c:pt idx="1012">
                  <c:v>2619.48</c:v>
                </c:pt>
                <c:pt idx="1013">
                  <c:v>2606.9299999999998</c:v>
                </c:pt>
                <c:pt idx="1014">
                  <c:v>2592.37</c:v>
                </c:pt>
                <c:pt idx="1015">
                  <c:v>2555.61</c:v>
                </c:pt>
                <c:pt idx="1016">
                  <c:v>2527.4899999999998</c:v>
                </c:pt>
                <c:pt idx="1017">
                  <c:v>2534.27</c:v>
                </c:pt>
                <c:pt idx="1018">
                  <c:v>2539.87</c:v>
                </c:pt>
                <c:pt idx="1019">
                  <c:v>2502.4899999999998</c:v>
                </c:pt>
                <c:pt idx="1020">
                  <c:v>2525.1</c:v>
                </c:pt>
                <c:pt idx="1021">
                  <c:v>2610.17</c:v>
                </c:pt>
                <c:pt idx="1022">
                  <c:v>2614.9899999999998</c:v>
                </c:pt>
                <c:pt idx="1023">
                  <c:v>2618.31</c:v>
                </c:pt>
                <c:pt idx="1024">
                  <c:v>2613.1</c:v>
                </c:pt>
                <c:pt idx="1025">
                  <c:v>2575.0500000000002</c:v>
                </c:pt>
                <c:pt idx="1026">
                  <c:v>2583.5300000000002</c:v>
                </c:pt>
                <c:pt idx="1027">
                  <c:v>2499.3000000000002</c:v>
                </c:pt>
                <c:pt idx="1028">
                  <c:v>2495.08</c:v>
                </c:pt>
                <c:pt idx="1029">
                  <c:v>2493.19</c:v>
                </c:pt>
                <c:pt idx="1030">
                  <c:v>2486.39</c:v>
                </c:pt>
                <c:pt idx="1031">
                  <c:v>2483.5500000000002</c:v>
                </c:pt>
                <c:pt idx="1032">
                  <c:v>2472.3000000000002</c:v>
                </c:pt>
                <c:pt idx="1033">
                  <c:v>2489.4299999999998</c:v>
                </c:pt>
                <c:pt idx="1034">
                  <c:v>2485.31</c:v>
                </c:pt>
                <c:pt idx="1035">
                  <c:v>2477.88</c:v>
                </c:pt>
                <c:pt idx="1036">
                  <c:v>2462.11</c:v>
                </c:pt>
                <c:pt idx="1037">
                  <c:v>2436.8200000000002</c:v>
                </c:pt>
                <c:pt idx="1038">
                  <c:v>2459.59</c:v>
                </c:pt>
                <c:pt idx="1039">
                  <c:v>2458.4699999999998</c:v>
                </c:pt>
                <c:pt idx="1040">
                  <c:v>2464.85</c:v>
                </c:pt>
                <c:pt idx="1041">
                  <c:v>2533.83</c:v>
                </c:pt>
                <c:pt idx="1042">
                  <c:v>2530.67</c:v>
                </c:pt>
                <c:pt idx="1043">
                  <c:v>2449.4699999999998</c:v>
                </c:pt>
                <c:pt idx="1044">
                  <c:v>2495.58</c:v>
                </c:pt>
                <c:pt idx="1045">
                  <c:v>2467.88</c:v>
                </c:pt>
                <c:pt idx="1046">
                  <c:v>2447.31</c:v>
                </c:pt>
                <c:pt idx="1047">
                  <c:v>2449.64</c:v>
                </c:pt>
                <c:pt idx="1048">
                  <c:v>2492.91</c:v>
                </c:pt>
                <c:pt idx="1049">
                  <c:v>2525.98</c:v>
                </c:pt>
                <c:pt idx="1050">
                  <c:v>2529.94</c:v>
                </c:pt>
                <c:pt idx="1051">
                  <c:v>2542.8000000000002</c:v>
                </c:pt>
                <c:pt idx="1052">
                  <c:v>2527.79</c:v>
                </c:pt>
                <c:pt idx="1053">
                  <c:v>2540.84</c:v>
                </c:pt>
                <c:pt idx="1054">
                  <c:v>2530.77</c:v>
                </c:pt>
                <c:pt idx="1055">
                  <c:v>2493.34</c:v>
                </c:pt>
                <c:pt idx="1056">
                  <c:v>2506.9299999999998</c:v>
                </c:pt>
                <c:pt idx="1057">
                  <c:v>2552.71</c:v>
                </c:pt>
                <c:pt idx="1058">
                  <c:v>2592.0500000000002</c:v>
                </c:pt>
                <c:pt idx="1059">
                  <c:v>2609.61</c:v>
                </c:pt>
                <c:pt idx="1060">
                  <c:v>2614.85</c:v>
                </c:pt>
                <c:pt idx="1061">
                  <c:v>2618.0300000000002</c:v>
                </c:pt>
                <c:pt idx="1062">
                  <c:v>2582.85</c:v>
                </c:pt>
                <c:pt idx="1063">
                  <c:v>2597.23</c:v>
                </c:pt>
                <c:pt idx="1064">
                  <c:v>2599.59</c:v>
                </c:pt>
                <c:pt idx="1065">
                  <c:v>2644.36</c:v>
                </c:pt>
                <c:pt idx="1066">
                  <c:v>2642.56</c:v>
                </c:pt>
                <c:pt idx="1067">
                  <c:v>2634.32</c:v>
                </c:pt>
                <c:pt idx="1068">
                  <c:v>2606.4299999999998</c:v>
                </c:pt>
                <c:pt idx="1069">
                  <c:v>2602.62</c:v>
                </c:pt>
                <c:pt idx="1070">
                  <c:v>2565.67</c:v>
                </c:pt>
                <c:pt idx="1071">
                  <c:v>2560.54</c:v>
                </c:pt>
                <c:pt idx="1072">
                  <c:v>2527.84</c:v>
                </c:pt>
                <c:pt idx="1073">
                  <c:v>2484.16</c:v>
                </c:pt>
                <c:pt idx="1074">
                  <c:v>2399.94</c:v>
                </c:pt>
                <c:pt idx="1075">
                  <c:v>2416.77</c:v>
                </c:pt>
                <c:pt idx="1076">
                  <c:v>2403.84</c:v>
                </c:pt>
                <c:pt idx="1077">
                  <c:v>2418.75</c:v>
                </c:pt>
                <c:pt idx="1078">
                  <c:v>2400.77</c:v>
                </c:pt>
                <c:pt idx="1079">
                  <c:v>2321.4699999999998</c:v>
                </c:pt>
                <c:pt idx="1080">
                  <c:v>2317.39</c:v>
                </c:pt>
                <c:pt idx="1081">
                  <c:v>2171.21</c:v>
                </c:pt>
                <c:pt idx="1082">
                  <c:v>2165.42</c:v>
                </c:pt>
                <c:pt idx="1083">
                  <c:v>2168.3000000000002</c:v>
                </c:pt>
                <c:pt idx="1084">
                  <c:v>2160.7399999999998</c:v>
                </c:pt>
                <c:pt idx="1085">
                  <c:v>2200.64</c:v>
                </c:pt>
                <c:pt idx="1086">
                  <c:v>2213.3200000000002</c:v>
                </c:pt>
                <c:pt idx="1087">
                  <c:v>2221.98</c:v>
                </c:pt>
                <c:pt idx="1088">
                  <c:v>2203.83</c:v>
                </c:pt>
                <c:pt idx="1089">
                  <c:v>2221.98</c:v>
                </c:pt>
                <c:pt idx="1090">
                  <c:v>2226.85</c:v>
                </c:pt>
                <c:pt idx="1091">
                  <c:v>2163.62</c:v>
                </c:pt>
                <c:pt idx="1092">
                  <c:v>2162.67</c:v>
                </c:pt>
                <c:pt idx="1093">
                  <c:v>2224.0700000000002</c:v>
                </c:pt>
                <c:pt idx="1094">
                  <c:v>2326.69</c:v>
                </c:pt>
                <c:pt idx="1095">
                  <c:v>2275.37</c:v>
                </c:pt>
                <c:pt idx="1096">
                  <c:v>2307.3000000000002</c:v>
                </c:pt>
                <c:pt idx="1097">
                  <c:v>2317.85</c:v>
                </c:pt>
                <c:pt idx="1098">
                  <c:v>2282.84</c:v>
                </c:pt>
                <c:pt idx="1099">
                  <c:v>2245.33</c:v>
                </c:pt>
                <c:pt idx="1100">
                  <c:v>2190.48</c:v>
                </c:pt>
                <c:pt idx="1101">
                  <c:v>2202.19</c:v>
                </c:pt>
                <c:pt idx="1102">
                  <c:v>2265.84</c:v>
                </c:pt>
                <c:pt idx="1103">
                  <c:v>2249.15</c:v>
                </c:pt>
                <c:pt idx="1104">
                  <c:v>2237.6799999999998</c:v>
                </c:pt>
                <c:pt idx="1105">
                  <c:v>2224.0100000000002</c:v>
                </c:pt>
                <c:pt idx="1106">
                  <c:v>2175.9699999999998</c:v>
                </c:pt>
                <c:pt idx="1107">
                  <c:v>2189.39</c:v>
                </c:pt>
                <c:pt idx="1108">
                  <c:v>2193.02</c:v>
                </c:pt>
                <c:pt idx="1109">
                  <c:v>2245.36</c:v>
                </c:pt>
                <c:pt idx="1110">
                  <c:v>2247.2600000000002</c:v>
                </c:pt>
                <c:pt idx="1111">
                  <c:v>2278.33</c:v>
                </c:pt>
                <c:pt idx="1112">
                  <c:v>2293.64</c:v>
                </c:pt>
                <c:pt idx="1113">
                  <c:v>2280.62</c:v>
                </c:pt>
                <c:pt idx="1114">
                  <c:v>2276.7800000000002</c:v>
                </c:pt>
                <c:pt idx="1115">
                  <c:v>2286.0100000000002</c:v>
                </c:pt>
                <c:pt idx="1116">
                  <c:v>2352.79</c:v>
                </c:pt>
                <c:pt idx="1117">
                  <c:v>2359.0700000000002</c:v>
                </c:pt>
                <c:pt idx="1118">
                  <c:v>2349.08</c:v>
                </c:pt>
                <c:pt idx="1119">
                  <c:v>2321.58</c:v>
                </c:pt>
                <c:pt idx="1120">
                  <c:v>2304.14</c:v>
                </c:pt>
                <c:pt idx="1121">
                  <c:v>2331.4299999999998</c:v>
                </c:pt>
                <c:pt idx="1122">
                  <c:v>2312.4699999999998</c:v>
                </c:pt>
                <c:pt idx="1123">
                  <c:v>2308.59</c:v>
                </c:pt>
                <c:pt idx="1124">
                  <c:v>2303.9299999999998</c:v>
                </c:pt>
                <c:pt idx="1125">
                  <c:v>2286.9299999999998</c:v>
                </c:pt>
                <c:pt idx="1126">
                  <c:v>2335.62</c:v>
                </c:pt>
                <c:pt idx="1127">
                  <c:v>2340.88</c:v>
                </c:pt>
                <c:pt idx="1128">
                  <c:v>2328.06</c:v>
                </c:pt>
                <c:pt idx="1129">
                  <c:v>2318.31</c:v>
                </c:pt>
                <c:pt idx="1130">
                  <c:v>2313.91</c:v>
                </c:pt>
                <c:pt idx="1131">
                  <c:v>2320.34</c:v>
                </c:pt>
                <c:pt idx="1132">
                  <c:v>2354.5</c:v>
                </c:pt>
                <c:pt idx="1133">
                  <c:v>2350.6999999999998</c:v>
                </c:pt>
                <c:pt idx="1134">
                  <c:v>2341.7399999999998</c:v>
                </c:pt>
                <c:pt idx="1135">
                  <c:v>2357.7800000000002</c:v>
                </c:pt>
                <c:pt idx="1136">
                  <c:v>2440.61</c:v>
                </c:pt>
                <c:pt idx="1137">
                  <c:v>2474.89</c:v>
                </c:pt>
                <c:pt idx="1138">
                  <c:v>2482.89</c:v>
                </c:pt>
                <c:pt idx="1139">
                  <c:v>2507.46</c:v>
                </c:pt>
                <c:pt idx="1140">
                  <c:v>2488.9</c:v>
                </c:pt>
                <c:pt idx="1141">
                  <c:v>2478.39</c:v>
                </c:pt>
                <c:pt idx="1142">
                  <c:v>2427.3200000000002</c:v>
                </c:pt>
                <c:pt idx="1143">
                  <c:v>2432.5100000000002</c:v>
                </c:pt>
                <c:pt idx="1144">
                  <c:v>2472.29</c:v>
                </c:pt>
                <c:pt idx="1145">
                  <c:v>2443.89</c:v>
                </c:pt>
                <c:pt idx="1146">
                  <c:v>2429.0300000000002</c:v>
                </c:pt>
                <c:pt idx="1147">
                  <c:v>2384.44</c:v>
                </c:pt>
                <c:pt idx="1148">
                  <c:v>2394.9699999999998</c:v>
                </c:pt>
                <c:pt idx="1149">
                  <c:v>2409.04</c:v>
                </c:pt>
                <c:pt idx="1150">
                  <c:v>2441.81</c:v>
                </c:pt>
                <c:pt idx="1151">
                  <c:v>2453.58</c:v>
                </c:pt>
                <c:pt idx="1152">
                  <c:v>2429.3200000000002</c:v>
                </c:pt>
                <c:pt idx="1153">
                  <c:v>2468.5100000000002</c:v>
                </c:pt>
                <c:pt idx="1154">
                  <c:v>2472.54</c:v>
                </c:pt>
                <c:pt idx="1155">
                  <c:v>2467.52</c:v>
                </c:pt>
                <c:pt idx="1156">
                  <c:v>2421.37</c:v>
                </c:pt>
                <c:pt idx="1157">
                  <c:v>2413.33</c:v>
                </c:pt>
                <c:pt idx="1158">
                  <c:v>2426.0500000000002</c:v>
                </c:pt>
                <c:pt idx="1159">
                  <c:v>2471.3200000000002</c:v>
                </c:pt>
                <c:pt idx="1160">
                  <c:v>2445.89</c:v>
                </c:pt>
                <c:pt idx="1161">
                  <c:v>2418.4899999999998</c:v>
                </c:pt>
                <c:pt idx="1162">
                  <c:v>2400.5100000000002</c:v>
                </c:pt>
                <c:pt idx="1163">
                  <c:v>2368.56</c:v>
                </c:pt>
                <c:pt idx="1164">
                  <c:v>2365.9499999999998</c:v>
                </c:pt>
                <c:pt idx="1165">
                  <c:v>2372.0500000000002</c:v>
                </c:pt>
                <c:pt idx="1166">
                  <c:v>2407.4699999999998</c:v>
                </c:pt>
                <c:pt idx="1167">
                  <c:v>2373.7199999999998</c:v>
                </c:pt>
                <c:pt idx="1168">
                  <c:v>2384.96</c:v>
                </c:pt>
                <c:pt idx="1169">
                  <c:v>2380.4499999999998</c:v>
                </c:pt>
                <c:pt idx="1170">
                  <c:v>2383.77</c:v>
                </c:pt>
                <c:pt idx="1171">
                  <c:v>2353.5700000000002</c:v>
                </c:pt>
                <c:pt idx="1172">
                  <c:v>2340.5500000000002</c:v>
                </c:pt>
                <c:pt idx="1173">
                  <c:v>2307.9499999999998</c:v>
                </c:pt>
                <c:pt idx="1174">
                  <c:v>2315.89</c:v>
                </c:pt>
                <c:pt idx="1175">
                  <c:v>2340</c:v>
                </c:pt>
                <c:pt idx="1176">
                  <c:v>2288.12</c:v>
                </c:pt>
                <c:pt idx="1177">
                  <c:v>2304.5</c:v>
                </c:pt>
                <c:pt idx="1178">
                  <c:v>2350.73</c:v>
                </c:pt>
                <c:pt idx="1179">
                  <c:v>2428.9</c:v>
                </c:pt>
                <c:pt idx="1180">
                  <c:v>2412.16</c:v>
                </c:pt>
                <c:pt idx="1181">
                  <c:v>2424.85</c:v>
                </c:pt>
                <c:pt idx="1182">
                  <c:v>2409.9899999999998</c:v>
                </c:pt>
                <c:pt idx="1183">
                  <c:v>2397.96</c:v>
                </c:pt>
                <c:pt idx="1184">
                  <c:v>2388.63</c:v>
                </c:pt>
                <c:pt idx="1185">
                  <c:v>2387.42</c:v>
                </c:pt>
                <c:pt idx="1186">
                  <c:v>2414.48</c:v>
                </c:pt>
                <c:pt idx="1187">
                  <c:v>2439.5300000000002</c:v>
                </c:pt>
                <c:pt idx="1188">
                  <c:v>2438.94</c:v>
                </c:pt>
                <c:pt idx="1189">
                  <c:v>2418.79</c:v>
                </c:pt>
                <c:pt idx="1190">
                  <c:v>2442.7800000000002</c:v>
                </c:pt>
                <c:pt idx="1191">
                  <c:v>2475.14</c:v>
                </c:pt>
                <c:pt idx="1192">
                  <c:v>2468.1999999999998</c:v>
                </c:pt>
                <c:pt idx="1193">
                  <c:v>2452.29</c:v>
                </c:pt>
                <c:pt idx="1194">
                  <c:v>2450.87</c:v>
                </c:pt>
                <c:pt idx="1195">
                  <c:v>2453.3200000000002</c:v>
                </c:pt>
                <c:pt idx="1196">
                  <c:v>2412.7600000000002</c:v>
                </c:pt>
                <c:pt idx="1197">
                  <c:v>2410.02</c:v>
                </c:pt>
                <c:pt idx="1198">
                  <c:v>2406.64</c:v>
                </c:pt>
                <c:pt idx="1199">
                  <c:v>2367.92</c:v>
                </c:pt>
                <c:pt idx="1200">
                  <c:v>2356.38</c:v>
                </c:pt>
                <c:pt idx="1201">
                  <c:v>2357.23</c:v>
                </c:pt>
                <c:pt idx="1202">
                  <c:v>2332.41</c:v>
                </c:pt>
                <c:pt idx="1203">
                  <c:v>2278.14</c:v>
                </c:pt>
                <c:pt idx="1204">
                  <c:v>2284.6</c:v>
                </c:pt>
                <c:pt idx="1205">
                  <c:v>2288.25</c:v>
                </c:pt>
                <c:pt idx="1206">
                  <c:v>2305.11</c:v>
                </c:pt>
                <c:pt idx="1207">
                  <c:v>2265.33</c:v>
                </c:pt>
                <c:pt idx="1208">
                  <c:v>2303.48</c:v>
                </c:pt>
                <c:pt idx="1209">
                  <c:v>2299.46</c:v>
                </c:pt>
                <c:pt idx="1210">
                  <c:v>2330.0300000000002</c:v>
                </c:pt>
                <c:pt idx="1211">
                  <c:v>2321.98</c:v>
                </c:pt>
                <c:pt idx="1212">
                  <c:v>2290.7800000000002</c:v>
                </c:pt>
                <c:pt idx="1213">
                  <c:v>2238.64</c:v>
                </c:pt>
                <c:pt idx="1214">
                  <c:v>2238</c:v>
                </c:pt>
                <c:pt idx="1215">
                  <c:v>2241.91</c:v>
                </c:pt>
                <c:pt idx="1216">
                  <c:v>2222.2199999999998</c:v>
                </c:pt>
                <c:pt idx="1217">
                  <c:v>2204.85</c:v>
                </c:pt>
                <c:pt idx="1218">
                  <c:v>2193.6799999999998</c:v>
                </c:pt>
                <c:pt idx="1219">
                  <c:v>2212.85</c:v>
                </c:pt>
                <c:pt idx="1220">
                  <c:v>2208.94</c:v>
                </c:pt>
                <c:pt idx="1221">
                  <c:v>2211.84</c:v>
                </c:pt>
                <c:pt idx="1222">
                  <c:v>2178.4899999999998</c:v>
                </c:pt>
                <c:pt idx="1223">
                  <c:v>2165.9899999999998</c:v>
                </c:pt>
                <c:pt idx="1224">
                  <c:v>2187.41</c:v>
                </c:pt>
                <c:pt idx="1225">
                  <c:v>2243.8000000000002</c:v>
                </c:pt>
                <c:pt idx="1226">
                  <c:v>2231.89</c:v>
                </c:pt>
                <c:pt idx="1227">
                  <c:v>2245.6799999999998</c:v>
                </c:pt>
                <c:pt idx="1228">
                  <c:v>2215.92</c:v>
                </c:pt>
                <c:pt idx="1229">
                  <c:v>2219.86</c:v>
                </c:pt>
                <c:pt idx="1230">
                  <c:v>2227.7800000000002</c:v>
                </c:pt>
                <c:pt idx="1231">
                  <c:v>2202.4499999999998</c:v>
                </c:pt>
                <c:pt idx="1232">
                  <c:v>2212.48</c:v>
                </c:pt>
                <c:pt idx="1233">
                  <c:v>2267.5300000000002</c:v>
                </c:pt>
                <c:pt idx="1234">
                  <c:v>2285.56</c:v>
                </c:pt>
                <c:pt idx="1235">
                  <c:v>2291.25</c:v>
                </c:pt>
                <c:pt idx="1236">
                  <c:v>2279.5500000000002</c:v>
                </c:pt>
                <c:pt idx="1237">
                  <c:v>2295.5700000000002</c:v>
                </c:pt>
                <c:pt idx="1238">
                  <c:v>2311.65</c:v>
                </c:pt>
                <c:pt idx="1239">
                  <c:v>2282.44</c:v>
                </c:pt>
                <c:pt idx="1240">
                  <c:v>2308.66</c:v>
                </c:pt>
                <c:pt idx="1241">
                  <c:v>2287.44</c:v>
                </c:pt>
                <c:pt idx="1242">
                  <c:v>2264.29</c:v>
                </c:pt>
                <c:pt idx="1243">
                  <c:v>2214.5100000000002</c:v>
                </c:pt>
                <c:pt idx="1244">
                  <c:v>2157.91</c:v>
                </c:pt>
                <c:pt idx="1245">
                  <c:v>2163.41</c:v>
                </c:pt>
                <c:pt idx="1246">
                  <c:v>2154.11</c:v>
                </c:pt>
                <c:pt idx="1247">
                  <c:v>2178.9699999999998</c:v>
                </c:pt>
                <c:pt idx="1248">
                  <c:v>2190.37</c:v>
                </c:pt>
                <c:pt idx="1249">
                  <c:v>2184.27</c:v>
                </c:pt>
                <c:pt idx="1250">
                  <c:v>2163.98</c:v>
                </c:pt>
                <c:pt idx="1251">
                  <c:v>2173.63</c:v>
                </c:pt>
                <c:pt idx="1252">
                  <c:v>2168.36</c:v>
                </c:pt>
                <c:pt idx="1253">
                  <c:v>2097.79</c:v>
                </c:pt>
                <c:pt idx="1254">
                  <c:v>2108.66</c:v>
                </c:pt>
                <c:pt idx="1255">
                  <c:v>2114.13</c:v>
                </c:pt>
                <c:pt idx="1256">
                  <c:v>2140.33</c:v>
                </c:pt>
                <c:pt idx="1257">
                  <c:v>2122.84</c:v>
                </c:pt>
                <c:pt idx="1258">
                  <c:v>2143.04</c:v>
                </c:pt>
                <c:pt idx="1259">
                  <c:v>2138.13</c:v>
                </c:pt>
                <c:pt idx="1260">
                  <c:v>2120.87</c:v>
                </c:pt>
                <c:pt idx="1261">
                  <c:v>2086.9699999999998</c:v>
                </c:pt>
                <c:pt idx="1262">
                  <c:v>2158.8000000000002</c:v>
                </c:pt>
                <c:pt idx="1263">
                  <c:v>2176.5500000000002</c:v>
                </c:pt>
                <c:pt idx="1264">
                  <c:v>2174.44</c:v>
                </c:pt>
                <c:pt idx="1265">
                  <c:v>2171.0500000000002</c:v>
                </c:pt>
                <c:pt idx="1266">
                  <c:v>2155.71</c:v>
                </c:pt>
                <c:pt idx="1267">
                  <c:v>2151.9699999999998</c:v>
                </c:pt>
                <c:pt idx="1268">
                  <c:v>2146.3000000000002</c:v>
                </c:pt>
                <c:pt idx="1269">
                  <c:v>2163.11</c:v>
                </c:pt>
                <c:pt idx="1270">
                  <c:v>2180.73</c:v>
                </c:pt>
                <c:pt idx="1271">
                  <c:v>2165.0100000000002</c:v>
                </c:pt>
                <c:pt idx="1272">
                  <c:v>2185.4699999999998</c:v>
                </c:pt>
                <c:pt idx="1273">
                  <c:v>2237.3200000000002</c:v>
                </c:pt>
                <c:pt idx="1274">
                  <c:v>2238.62</c:v>
                </c:pt>
                <c:pt idx="1275">
                  <c:v>2273.7600000000002</c:v>
                </c:pt>
                <c:pt idx="1276">
                  <c:v>2270.67</c:v>
                </c:pt>
                <c:pt idx="1277">
                  <c:v>2268.61</c:v>
                </c:pt>
                <c:pt idx="1278">
                  <c:v>2229.46</c:v>
                </c:pt>
                <c:pt idx="1279">
                  <c:v>2232.5300000000002</c:v>
                </c:pt>
                <c:pt idx="1280">
                  <c:v>2224.8000000000002</c:v>
                </c:pt>
                <c:pt idx="1281">
                  <c:v>2224.48</c:v>
                </c:pt>
                <c:pt idx="1282">
                  <c:v>2187.25</c:v>
                </c:pt>
                <c:pt idx="1283">
                  <c:v>2196.8000000000002</c:v>
                </c:pt>
                <c:pt idx="1284">
                  <c:v>2194.67</c:v>
                </c:pt>
                <c:pt idx="1285">
                  <c:v>2190.4699999999998</c:v>
                </c:pt>
                <c:pt idx="1286">
                  <c:v>2167.83</c:v>
                </c:pt>
                <c:pt idx="1287">
                  <c:v>2134.9699999999998</c:v>
                </c:pt>
                <c:pt idx="1288">
                  <c:v>2158.4699999999998</c:v>
                </c:pt>
                <c:pt idx="1289">
                  <c:v>2158.66</c:v>
                </c:pt>
                <c:pt idx="1290">
                  <c:v>2156.4699999999998</c:v>
                </c:pt>
                <c:pt idx="1291">
                  <c:v>2157.33</c:v>
                </c:pt>
                <c:pt idx="1292">
                  <c:v>2137.3200000000002</c:v>
                </c:pt>
                <c:pt idx="1293">
                  <c:v>2135.5</c:v>
                </c:pt>
                <c:pt idx="1294">
                  <c:v>2133.91</c:v>
                </c:pt>
                <c:pt idx="1295">
                  <c:v>2180.0500000000002</c:v>
                </c:pt>
                <c:pt idx="1296">
                  <c:v>2174.85</c:v>
                </c:pt>
                <c:pt idx="1297">
                  <c:v>2172.37</c:v>
                </c:pt>
                <c:pt idx="1298">
                  <c:v>2144.08</c:v>
                </c:pt>
                <c:pt idx="1299">
                  <c:v>2145.9499999999998</c:v>
                </c:pt>
                <c:pt idx="1300">
                  <c:v>2115.14</c:v>
                </c:pt>
                <c:pt idx="1301">
                  <c:v>2115.77</c:v>
                </c:pt>
                <c:pt idx="1302">
                  <c:v>2135.91</c:v>
                </c:pt>
                <c:pt idx="1303">
                  <c:v>2130.87</c:v>
                </c:pt>
                <c:pt idx="1304">
                  <c:v>2148.41</c:v>
                </c:pt>
                <c:pt idx="1305">
                  <c:v>2155.98</c:v>
                </c:pt>
                <c:pt idx="1306">
                  <c:v>2147.2800000000002</c:v>
                </c:pt>
                <c:pt idx="1307">
                  <c:v>2169.35</c:v>
                </c:pt>
                <c:pt idx="1308">
                  <c:v>2155.16</c:v>
                </c:pt>
                <c:pt idx="1309">
                  <c:v>2156.46</c:v>
                </c:pt>
                <c:pt idx="1310">
                  <c:v>2149.92</c:v>
                </c:pt>
                <c:pt idx="1311">
                  <c:v>2128.27</c:v>
                </c:pt>
                <c:pt idx="1312">
                  <c:v>2150.6</c:v>
                </c:pt>
                <c:pt idx="1313">
                  <c:v>2134.7199999999998</c:v>
                </c:pt>
                <c:pt idx="1314">
                  <c:v>2134.2800000000002</c:v>
                </c:pt>
                <c:pt idx="1315">
                  <c:v>2161.27</c:v>
                </c:pt>
                <c:pt idx="1316">
                  <c:v>2160.77</c:v>
                </c:pt>
                <c:pt idx="1317">
                  <c:v>2153.41</c:v>
                </c:pt>
                <c:pt idx="1318">
                  <c:v>2176.2399999999998</c:v>
                </c:pt>
                <c:pt idx="1319">
                  <c:v>2191.86</c:v>
                </c:pt>
                <c:pt idx="1320">
                  <c:v>2169.67</c:v>
                </c:pt>
                <c:pt idx="1321">
                  <c:v>2160.2399999999998</c:v>
                </c:pt>
                <c:pt idx="1322">
                  <c:v>2126.91</c:v>
                </c:pt>
                <c:pt idx="1323">
                  <c:v>2136.73</c:v>
                </c:pt>
                <c:pt idx="1324">
                  <c:v>2134.11</c:v>
                </c:pt>
                <c:pt idx="1325">
                  <c:v>2144.8200000000002</c:v>
                </c:pt>
                <c:pt idx="1326">
                  <c:v>2133.37</c:v>
                </c:pt>
                <c:pt idx="1327">
                  <c:v>2149.08</c:v>
                </c:pt>
                <c:pt idx="1328">
                  <c:v>2150.2600000000002</c:v>
                </c:pt>
                <c:pt idx="1329">
                  <c:v>2165.12</c:v>
                </c:pt>
                <c:pt idx="1330">
                  <c:v>2164.56</c:v>
                </c:pt>
                <c:pt idx="1331">
                  <c:v>2170.87</c:v>
                </c:pt>
                <c:pt idx="1332">
                  <c:v>2180.19</c:v>
                </c:pt>
                <c:pt idx="1333">
                  <c:v>2178.6999999999998</c:v>
                </c:pt>
                <c:pt idx="1334">
                  <c:v>2176.29</c:v>
                </c:pt>
                <c:pt idx="1335">
                  <c:v>2180.4699999999998</c:v>
                </c:pt>
                <c:pt idx="1336">
                  <c:v>2148.71</c:v>
                </c:pt>
                <c:pt idx="1337">
                  <c:v>2142.85</c:v>
                </c:pt>
                <c:pt idx="1338">
                  <c:v>2148.0100000000002</c:v>
                </c:pt>
                <c:pt idx="1339">
                  <c:v>2171.7600000000002</c:v>
                </c:pt>
                <c:pt idx="1340">
                  <c:v>2174.98</c:v>
                </c:pt>
                <c:pt idx="1341">
                  <c:v>2170.87</c:v>
                </c:pt>
                <c:pt idx="1342">
                  <c:v>2157.0700000000002</c:v>
                </c:pt>
                <c:pt idx="1343">
                  <c:v>2164.14</c:v>
                </c:pt>
                <c:pt idx="1344">
                  <c:v>2166.3000000000002</c:v>
                </c:pt>
                <c:pt idx="1345">
                  <c:v>2192.6999999999998</c:v>
                </c:pt>
                <c:pt idx="1346">
                  <c:v>2197.83</c:v>
                </c:pt>
                <c:pt idx="1347">
                  <c:v>2237.02</c:v>
                </c:pt>
                <c:pt idx="1348">
                  <c:v>2260.4499999999998</c:v>
                </c:pt>
                <c:pt idx="1349">
                  <c:v>2323.9</c:v>
                </c:pt>
                <c:pt idx="1350">
                  <c:v>2331.37</c:v>
                </c:pt>
                <c:pt idx="1351">
                  <c:v>2322.0100000000002</c:v>
                </c:pt>
                <c:pt idx="1352">
                  <c:v>2350.25</c:v>
                </c:pt>
                <c:pt idx="1353">
                  <c:v>2329.4</c:v>
                </c:pt>
                <c:pt idx="1354">
                  <c:v>2375.62</c:v>
                </c:pt>
                <c:pt idx="1355">
                  <c:v>2369.35</c:v>
                </c:pt>
                <c:pt idx="1356">
                  <c:v>2363.2199999999998</c:v>
                </c:pt>
                <c:pt idx="1357">
                  <c:v>2327.46</c:v>
                </c:pt>
                <c:pt idx="1358">
                  <c:v>2331.13</c:v>
                </c:pt>
                <c:pt idx="1359">
                  <c:v>2365.35</c:v>
                </c:pt>
                <c:pt idx="1360">
                  <c:v>2357.0500000000002</c:v>
                </c:pt>
                <c:pt idx="1361">
                  <c:v>2358.9</c:v>
                </c:pt>
                <c:pt idx="1362">
                  <c:v>2335.9499999999998</c:v>
                </c:pt>
                <c:pt idx="1363">
                  <c:v>2360.64</c:v>
                </c:pt>
                <c:pt idx="1364">
                  <c:v>2374.56</c:v>
                </c:pt>
                <c:pt idx="1365">
                  <c:v>2374.77</c:v>
                </c:pt>
                <c:pt idx="1366">
                  <c:v>2366.14</c:v>
                </c:pt>
                <c:pt idx="1367">
                  <c:v>2354.2399999999998</c:v>
                </c:pt>
                <c:pt idx="1368">
                  <c:v>2365.36</c:v>
                </c:pt>
                <c:pt idx="1369">
                  <c:v>2342.86</c:v>
                </c:pt>
                <c:pt idx="1370">
                  <c:v>2324.09</c:v>
                </c:pt>
                <c:pt idx="1371">
                  <c:v>2327.59</c:v>
                </c:pt>
                <c:pt idx="1372">
                  <c:v>2311.2800000000002</c:v>
                </c:pt>
                <c:pt idx="1373">
                  <c:v>2338.29</c:v>
                </c:pt>
                <c:pt idx="1374">
                  <c:v>2355.3200000000002</c:v>
                </c:pt>
                <c:pt idx="1375">
                  <c:v>2386.46</c:v>
                </c:pt>
                <c:pt idx="1376">
                  <c:v>2408.84</c:v>
                </c:pt>
                <c:pt idx="1377">
                  <c:v>2426.2199999999998</c:v>
                </c:pt>
                <c:pt idx="1378">
                  <c:v>2449.2600000000002</c:v>
                </c:pt>
                <c:pt idx="1379">
                  <c:v>2445.2199999999998</c:v>
                </c:pt>
                <c:pt idx="1380">
                  <c:v>2432.4299999999998</c:v>
                </c:pt>
                <c:pt idx="1381">
                  <c:v>2423.4499999999998</c:v>
                </c:pt>
                <c:pt idx="1382">
                  <c:v>2438.36</c:v>
                </c:pt>
                <c:pt idx="1383">
                  <c:v>2437.19</c:v>
                </c:pt>
                <c:pt idx="1384">
                  <c:v>2388.77</c:v>
                </c:pt>
                <c:pt idx="1385">
                  <c:v>2401.33</c:v>
                </c:pt>
                <c:pt idx="1386">
                  <c:v>2408.66</c:v>
                </c:pt>
                <c:pt idx="1387">
                  <c:v>2425.21</c:v>
                </c:pt>
                <c:pt idx="1388">
                  <c:v>2378.92</c:v>
                </c:pt>
                <c:pt idx="1389">
                  <c:v>2399.46</c:v>
                </c:pt>
                <c:pt idx="1390">
                  <c:v>2441.86</c:v>
                </c:pt>
                <c:pt idx="1391">
                  <c:v>2436.9699999999998</c:v>
                </c:pt>
                <c:pt idx="1392">
                  <c:v>2437.1999999999998</c:v>
                </c:pt>
                <c:pt idx="1393">
                  <c:v>2447.8000000000002</c:v>
                </c:pt>
                <c:pt idx="1394">
                  <c:v>2450.9899999999998</c:v>
                </c:pt>
                <c:pt idx="1395">
                  <c:v>2478.38</c:v>
                </c:pt>
                <c:pt idx="1396">
                  <c:v>2481.96</c:v>
                </c:pt>
                <c:pt idx="1397">
                  <c:v>2466.79</c:v>
                </c:pt>
                <c:pt idx="1398">
                  <c:v>2454.9499999999998</c:v>
                </c:pt>
                <c:pt idx="1399">
                  <c:v>2446.56</c:v>
                </c:pt>
                <c:pt idx="1400">
                  <c:v>2463.87</c:v>
                </c:pt>
                <c:pt idx="1401">
                  <c:v>2444.4</c:v>
                </c:pt>
                <c:pt idx="1402">
                  <c:v>2441.73</c:v>
                </c:pt>
                <c:pt idx="1403">
                  <c:v>2454.71</c:v>
                </c:pt>
                <c:pt idx="1404">
                  <c:v>2433.39</c:v>
                </c:pt>
                <c:pt idx="1405">
                  <c:v>2418.64</c:v>
                </c:pt>
                <c:pt idx="1406">
                  <c:v>2395.94</c:v>
                </c:pt>
                <c:pt idx="1407">
                  <c:v>2390.71</c:v>
                </c:pt>
                <c:pt idx="1408">
                  <c:v>2368.83</c:v>
                </c:pt>
                <c:pt idx="1409">
                  <c:v>2416.65</c:v>
                </c:pt>
                <c:pt idx="1410">
                  <c:v>2451.38</c:v>
                </c:pt>
                <c:pt idx="1411">
                  <c:v>2468.9299999999998</c:v>
                </c:pt>
                <c:pt idx="1412">
                  <c:v>2508.3200000000002</c:v>
                </c:pt>
                <c:pt idx="1413">
                  <c:v>2512.5500000000002</c:v>
                </c:pt>
                <c:pt idx="1414">
                  <c:v>2513.17</c:v>
                </c:pt>
                <c:pt idx="1415">
                  <c:v>2503.4499999999998</c:v>
                </c:pt>
                <c:pt idx="1416">
                  <c:v>2506.0700000000002</c:v>
                </c:pt>
                <c:pt idx="1417">
                  <c:v>2502.15</c:v>
                </c:pt>
                <c:pt idx="1418">
                  <c:v>2565.73</c:v>
                </c:pt>
                <c:pt idx="1419">
                  <c:v>2558.61</c:v>
                </c:pt>
                <c:pt idx="1420">
                  <c:v>2594.3200000000002</c:v>
                </c:pt>
                <c:pt idx="1421">
                  <c:v>2579.75</c:v>
                </c:pt>
                <c:pt idx="1422">
                  <c:v>2581.09</c:v>
                </c:pt>
                <c:pt idx="1423">
                  <c:v>2567.1</c:v>
                </c:pt>
                <c:pt idx="1424">
                  <c:v>2541.42</c:v>
                </c:pt>
                <c:pt idx="1425">
                  <c:v>2537.2199999999998</c:v>
                </c:pt>
                <c:pt idx="1426">
                  <c:v>2537.1</c:v>
                </c:pt>
                <c:pt idx="1427">
                  <c:v>2583.46</c:v>
                </c:pt>
                <c:pt idx="1428">
                  <c:v>2649.26</c:v>
                </c:pt>
                <c:pt idx="1429">
                  <c:v>2685.56</c:v>
                </c:pt>
                <c:pt idx="1430">
                  <c:v>2723.02</c:v>
                </c:pt>
                <c:pt idx="1431">
                  <c:v>2754.49</c:v>
                </c:pt>
                <c:pt idx="1432">
                  <c:v>2808.82</c:v>
                </c:pt>
                <c:pt idx="1433">
                  <c:v>2819.81</c:v>
                </c:pt>
                <c:pt idx="1434">
                  <c:v>2923.94</c:v>
                </c:pt>
                <c:pt idx="1435">
                  <c:v>2967.55</c:v>
                </c:pt>
                <c:pt idx="1436">
                  <c:v>3104.35</c:v>
                </c:pt>
                <c:pt idx="1437">
                  <c:v>3124.89</c:v>
                </c:pt>
                <c:pt idx="1438">
                  <c:v>3252.88</c:v>
                </c:pt>
                <c:pt idx="1439">
                  <c:v>3106.91</c:v>
                </c:pt>
                <c:pt idx="1440">
                  <c:v>3221.55</c:v>
                </c:pt>
                <c:pt idx="1441">
                  <c:v>3183.01</c:v>
                </c:pt>
                <c:pt idx="1442">
                  <c:v>3193.23</c:v>
                </c:pt>
                <c:pt idx="1443">
                  <c:v>3217.23</c:v>
                </c:pt>
                <c:pt idx="1444">
                  <c:v>3303.4</c:v>
                </c:pt>
                <c:pt idx="1445">
                  <c:v>3360.6</c:v>
                </c:pt>
                <c:pt idx="1446">
                  <c:v>3345.93</c:v>
                </c:pt>
                <c:pt idx="1447">
                  <c:v>3383.17</c:v>
                </c:pt>
                <c:pt idx="1448">
                  <c:v>3394.48</c:v>
                </c:pt>
                <c:pt idx="1449">
                  <c:v>3324.92</c:v>
                </c:pt>
                <c:pt idx="1450">
                  <c:v>3230.39</c:v>
                </c:pt>
                <c:pt idx="1451">
                  <c:v>3335.42</c:v>
                </c:pt>
                <c:pt idx="1452">
                  <c:v>3445.84</c:v>
                </c:pt>
                <c:pt idx="1453">
                  <c:v>3455.46</c:v>
                </c:pt>
                <c:pt idx="1454">
                  <c:v>3457.55</c:v>
                </c:pt>
                <c:pt idx="1455">
                  <c:v>3533.71</c:v>
                </c:pt>
                <c:pt idx="1456">
                  <c:v>3641.54</c:v>
                </c:pt>
                <c:pt idx="1457">
                  <c:v>3641.06</c:v>
                </c:pt>
                <c:pt idx="1458">
                  <c:v>3643.79</c:v>
                </c:pt>
                <c:pt idx="1459">
                  <c:v>3559.26</c:v>
                </c:pt>
                <c:pt idx="1460">
                  <c:v>3546.72</c:v>
                </c:pt>
                <c:pt idx="1461">
                  <c:v>3513.58</c:v>
                </c:pt>
                <c:pt idx="1462">
                  <c:v>3514.04</c:v>
                </c:pt>
                <c:pt idx="1463">
                  <c:v>3502.42</c:v>
                </c:pt>
                <c:pt idx="1464">
                  <c:v>3604.12</c:v>
                </c:pt>
                <c:pt idx="1465">
                  <c:v>3635.15</c:v>
                </c:pt>
                <c:pt idx="1466">
                  <c:v>3355.16</c:v>
                </c:pt>
                <c:pt idx="1467">
                  <c:v>3396.22</c:v>
                </c:pt>
                <c:pt idx="1468">
                  <c:v>3548.89</c:v>
                </c:pt>
                <c:pt idx="1469">
                  <c:v>3567.61</c:v>
                </c:pt>
                <c:pt idx="1470">
                  <c:v>3571.73</c:v>
                </c:pt>
                <c:pt idx="1471">
                  <c:v>3607.99</c:v>
                </c:pt>
                <c:pt idx="1472">
                  <c:v>3574.93</c:v>
                </c:pt>
                <c:pt idx="1473">
                  <c:v>3525.32</c:v>
                </c:pt>
                <c:pt idx="1474">
                  <c:v>3481.8</c:v>
                </c:pt>
                <c:pt idx="1475">
                  <c:v>3434.39</c:v>
                </c:pt>
                <c:pt idx="1476">
                  <c:v>3353.96</c:v>
                </c:pt>
                <c:pt idx="1477">
                  <c:v>3437.45</c:v>
                </c:pt>
                <c:pt idx="1478">
                  <c:v>3401.77</c:v>
                </c:pt>
                <c:pt idx="1479">
                  <c:v>3366.95</c:v>
                </c:pt>
                <c:pt idx="1480">
                  <c:v>3312.42</c:v>
                </c:pt>
                <c:pt idx="1481">
                  <c:v>3345.92</c:v>
                </c:pt>
                <c:pt idx="1482">
                  <c:v>3406.94</c:v>
                </c:pt>
                <c:pt idx="1483">
                  <c:v>3434.12</c:v>
                </c:pt>
                <c:pt idx="1484">
                  <c:v>3442.87</c:v>
                </c:pt>
                <c:pt idx="1485">
                  <c:v>3469.83</c:v>
                </c:pt>
                <c:pt idx="1486">
                  <c:v>3499.48</c:v>
                </c:pt>
                <c:pt idx="1487">
                  <c:v>3522.32</c:v>
                </c:pt>
                <c:pt idx="1488">
                  <c:v>3478.73</c:v>
                </c:pt>
                <c:pt idx="1489">
                  <c:v>3566.3</c:v>
                </c:pt>
                <c:pt idx="1490">
                  <c:v>3572.84</c:v>
                </c:pt>
                <c:pt idx="1491">
                  <c:v>3601.27</c:v>
                </c:pt>
                <c:pt idx="1492">
                  <c:v>3507.9</c:v>
                </c:pt>
                <c:pt idx="1493">
                  <c:v>3530.82</c:v>
                </c:pt>
                <c:pt idx="1494">
                  <c:v>3496.34</c:v>
                </c:pt>
                <c:pt idx="1495">
                  <c:v>3478.52</c:v>
                </c:pt>
                <c:pt idx="1496">
                  <c:v>3537.75</c:v>
                </c:pt>
                <c:pt idx="1497">
                  <c:v>3520.61</c:v>
                </c:pt>
                <c:pt idx="1498">
                  <c:v>3524.65</c:v>
                </c:pt>
                <c:pt idx="1499">
                  <c:v>3592.84</c:v>
                </c:pt>
                <c:pt idx="1500">
                  <c:v>3617.66</c:v>
                </c:pt>
                <c:pt idx="1501">
                  <c:v>3705.67</c:v>
                </c:pt>
                <c:pt idx="1502">
                  <c:v>3757.12</c:v>
                </c:pt>
                <c:pt idx="1503">
                  <c:v>3846.06</c:v>
                </c:pt>
                <c:pt idx="1504">
                  <c:v>3839.74</c:v>
                </c:pt>
                <c:pt idx="1505">
                  <c:v>3892.57</c:v>
                </c:pt>
                <c:pt idx="1506">
                  <c:v>3972.06</c:v>
                </c:pt>
                <c:pt idx="1507">
                  <c:v>3973.05</c:v>
                </c:pt>
                <c:pt idx="1508">
                  <c:v>3940.41</c:v>
                </c:pt>
                <c:pt idx="1509">
                  <c:v>3950</c:v>
                </c:pt>
                <c:pt idx="1510">
                  <c:v>3971.7</c:v>
                </c:pt>
                <c:pt idx="1511">
                  <c:v>4088.18</c:v>
                </c:pt>
                <c:pt idx="1512">
                  <c:v>4051.2</c:v>
                </c:pt>
                <c:pt idx="1513">
                  <c:v>4123.8999999999996</c:v>
                </c:pt>
                <c:pt idx="1514">
                  <c:v>4124.78</c:v>
                </c:pt>
                <c:pt idx="1515">
                  <c:v>4170.54</c:v>
                </c:pt>
                <c:pt idx="1516">
                  <c:v>4260.04</c:v>
                </c:pt>
                <c:pt idx="1517">
                  <c:v>4295.8</c:v>
                </c:pt>
                <c:pt idx="1518">
                  <c:v>4262.1400000000003</c:v>
                </c:pt>
                <c:pt idx="1519">
                  <c:v>4344.42</c:v>
                </c:pt>
                <c:pt idx="1520">
                  <c:v>4421.07</c:v>
                </c:pt>
                <c:pt idx="1521">
                  <c:v>4438.18</c:v>
                </c:pt>
                <c:pt idx="1522">
                  <c:v>4380.51</c:v>
                </c:pt>
                <c:pt idx="1523">
                  <c:v>4513.55</c:v>
                </c:pt>
                <c:pt idx="1524">
                  <c:v>4596.1400000000003</c:v>
                </c:pt>
                <c:pt idx="1525">
                  <c:v>4521.92</c:v>
                </c:pt>
                <c:pt idx="1526">
                  <c:v>4619.16</c:v>
                </c:pt>
                <c:pt idx="1527">
                  <c:v>4739.8100000000004</c:v>
                </c:pt>
                <c:pt idx="1528">
                  <c:v>4740.8900000000003</c:v>
                </c:pt>
                <c:pt idx="1529">
                  <c:v>4702.6400000000003</c:v>
                </c:pt>
                <c:pt idx="1530">
                  <c:v>4807.59</c:v>
                </c:pt>
                <c:pt idx="1531">
                  <c:v>4741.8599999999997</c:v>
                </c:pt>
                <c:pt idx="1532">
                  <c:v>4774.33</c:v>
                </c:pt>
                <c:pt idx="1533">
                  <c:v>4749.8900000000003</c:v>
                </c:pt>
                <c:pt idx="1534">
                  <c:v>4787.74</c:v>
                </c:pt>
                <c:pt idx="1535">
                  <c:v>4596.84</c:v>
                </c:pt>
                <c:pt idx="1536">
                  <c:v>4553.33</c:v>
                </c:pt>
                <c:pt idx="1537">
                  <c:v>4470.09</c:v>
                </c:pt>
                <c:pt idx="1538">
                  <c:v>4558.3999999999996</c:v>
                </c:pt>
                <c:pt idx="1539">
                  <c:v>4690.53</c:v>
                </c:pt>
                <c:pt idx="1540">
                  <c:v>4747.42</c:v>
                </c:pt>
                <c:pt idx="1541">
                  <c:v>4718.4399999999996</c:v>
                </c:pt>
                <c:pt idx="1542">
                  <c:v>4700.78</c:v>
                </c:pt>
                <c:pt idx="1543">
                  <c:v>4617.47</c:v>
                </c:pt>
                <c:pt idx="1544">
                  <c:v>4575.1400000000003</c:v>
                </c:pt>
                <c:pt idx="1545">
                  <c:v>4731.22</c:v>
                </c:pt>
                <c:pt idx="1546">
                  <c:v>4754.92</c:v>
                </c:pt>
                <c:pt idx="1547">
                  <c:v>4840.9799999999996</c:v>
                </c:pt>
                <c:pt idx="1548">
                  <c:v>4951.34</c:v>
                </c:pt>
                <c:pt idx="1549">
                  <c:v>5099.5</c:v>
                </c:pt>
                <c:pt idx="1550">
                  <c:v>5198.92</c:v>
                </c:pt>
                <c:pt idx="1551">
                  <c:v>5181.43</c:v>
                </c:pt>
                <c:pt idx="1552">
                  <c:v>4834.01</c:v>
                </c:pt>
                <c:pt idx="1553">
                  <c:v>4840.83</c:v>
                </c:pt>
                <c:pt idx="1554">
                  <c:v>5076.18</c:v>
                </c:pt>
                <c:pt idx="1555">
                  <c:v>5161.87</c:v>
                </c:pt>
                <c:pt idx="1556">
                  <c:v>5143.59</c:v>
                </c:pt>
                <c:pt idx="1557">
                  <c:v>5181.42</c:v>
                </c:pt>
                <c:pt idx="1558">
                  <c:v>5230.55</c:v>
                </c:pt>
                <c:pt idx="1559">
                  <c:v>5353.75</c:v>
                </c:pt>
                <c:pt idx="1560">
                  <c:v>5317.46</c:v>
                </c:pt>
                <c:pt idx="1561">
                  <c:v>5309.11</c:v>
                </c:pt>
                <c:pt idx="1562">
                  <c:v>5306.59</c:v>
                </c:pt>
                <c:pt idx="1563">
                  <c:v>5335.12</c:v>
                </c:pt>
                <c:pt idx="1564">
                  <c:v>5221.17</c:v>
                </c:pt>
                <c:pt idx="1565">
                  <c:v>5064.82</c:v>
                </c:pt>
                <c:pt idx="1566">
                  <c:v>5138.83</c:v>
                </c:pt>
                <c:pt idx="1567">
                  <c:v>4930.55</c:v>
                </c:pt>
                <c:pt idx="1568">
                  <c:v>4637.05</c:v>
                </c:pt>
                <c:pt idx="1569">
                  <c:v>4786.09</c:v>
                </c:pt>
                <c:pt idx="1570">
                  <c:v>4880.13</c:v>
                </c:pt>
                <c:pt idx="1571">
                  <c:v>4706.5200000000004</c:v>
                </c:pt>
                <c:pt idx="1572">
                  <c:v>4336.1899999999996</c:v>
                </c:pt>
                <c:pt idx="1573">
                  <c:v>4191.55</c:v>
                </c:pt>
                <c:pt idx="1574">
                  <c:v>4473</c:v>
                </c:pt>
                <c:pt idx="1575">
                  <c:v>4253.0200000000004</c:v>
                </c:pt>
                <c:pt idx="1576">
                  <c:v>4108</c:v>
                </c:pt>
                <c:pt idx="1577">
                  <c:v>3885.92</c:v>
                </c:pt>
                <c:pt idx="1578">
                  <c:v>3998.54</c:v>
                </c:pt>
                <c:pt idx="1579">
                  <c:v>3928</c:v>
                </c:pt>
                <c:pt idx="1580">
                  <c:v>3663.04</c:v>
                </c:pt>
                <c:pt idx="1581">
                  <c:v>3897.63</c:v>
                </c:pt>
                <c:pt idx="1582">
                  <c:v>4106.5600000000004</c:v>
                </c:pt>
                <c:pt idx="1583">
                  <c:v>4211.8100000000004</c:v>
                </c:pt>
                <c:pt idx="1584">
                  <c:v>4112.1499999999996</c:v>
                </c:pt>
                <c:pt idx="1585">
                  <c:v>3966.76</c:v>
                </c:pt>
                <c:pt idx="1586">
                  <c:v>3997.36</c:v>
                </c:pt>
                <c:pt idx="1587">
                  <c:v>4151.5</c:v>
                </c:pt>
                <c:pt idx="1588">
                  <c:v>4160.6099999999997</c:v>
                </c:pt>
                <c:pt idx="1589">
                  <c:v>4166.01</c:v>
                </c:pt>
                <c:pt idx="1590">
                  <c:v>4157.16</c:v>
                </c:pt>
                <c:pt idx="1591">
                  <c:v>4250.8100000000004</c:v>
                </c:pt>
                <c:pt idx="1592">
                  <c:v>4176.28</c:v>
                </c:pt>
                <c:pt idx="1593">
                  <c:v>3818.73</c:v>
                </c:pt>
                <c:pt idx="1594">
                  <c:v>3811.09</c:v>
                </c:pt>
                <c:pt idx="1595">
                  <c:v>3930.38</c:v>
                </c:pt>
                <c:pt idx="1596">
                  <c:v>3815.41</c:v>
                </c:pt>
                <c:pt idx="1597">
                  <c:v>3816.7</c:v>
                </c:pt>
                <c:pt idx="1598">
                  <c:v>3829.24</c:v>
                </c:pt>
                <c:pt idx="1599">
                  <c:v>3948.16</c:v>
                </c:pt>
                <c:pt idx="1600">
                  <c:v>3866.9</c:v>
                </c:pt>
                <c:pt idx="1601">
                  <c:v>3831.85</c:v>
                </c:pt>
                <c:pt idx="1602">
                  <c:v>3906.94</c:v>
                </c:pt>
                <c:pt idx="1603">
                  <c:v>4084.36</c:v>
                </c:pt>
                <c:pt idx="1604">
                  <c:v>4066.67</c:v>
                </c:pt>
                <c:pt idx="1605">
                  <c:v>4016.13</c:v>
                </c:pt>
                <c:pt idx="1606">
                  <c:v>4075.46</c:v>
                </c:pt>
                <c:pt idx="1607">
                  <c:v>4073.54</c:v>
                </c:pt>
                <c:pt idx="1608">
                  <c:v>4077.87</c:v>
                </c:pt>
                <c:pt idx="1609">
                  <c:v>3825.41</c:v>
                </c:pt>
                <c:pt idx="1610">
                  <c:v>3886.14</c:v>
                </c:pt>
                <c:pt idx="1611">
                  <c:v>3761.45</c:v>
                </c:pt>
                <c:pt idx="1612">
                  <c:v>3589.54</c:v>
                </c:pt>
                <c:pt idx="1613">
                  <c:v>3275.53</c:v>
                </c:pt>
                <c:pt idx="1614">
                  <c:v>3042.93</c:v>
                </c:pt>
                <c:pt idx="1615">
                  <c:v>3025.69</c:v>
                </c:pt>
                <c:pt idx="1616">
                  <c:v>3205.64</c:v>
                </c:pt>
                <c:pt idx="1617">
                  <c:v>3342.29</c:v>
                </c:pt>
                <c:pt idx="1618">
                  <c:v>3366.54</c:v>
                </c:pt>
                <c:pt idx="1619">
                  <c:v>3362.08</c:v>
                </c:pt>
                <c:pt idx="1620">
                  <c:v>3365.83</c:v>
                </c:pt>
                <c:pt idx="1621">
                  <c:v>3250.49</c:v>
                </c:pt>
                <c:pt idx="1622">
                  <c:v>3334.02</c:v>
                </c:pt>
                <c:pt idx="1623">
                  <c:v>3399.31</c:v>
                </c:pt>
                <c:pt idx="1624">
                  <c:v>3357.56</c:v>
                </c:pt>
                <c:pt idx="1625">
                  <c:v>3347.19</c:v>
                </c:pt>
                <c:pt idx="1626">
                  <c:v>3281.13</c:v>
                </c:pt>
                <c:pt idx="1627">
                  <c:v>3152.23</c:v>
                </c:pt>
                <c:pt idx="1628">
                  <c:v>3309.25</c:v>
                </c:pt>
                <c:pt idx="1629">
                  <c:v>3237</c:v>
                </c:pt>
                <c:pt idx="1630">
                  <c:v>3251.27</c:v>
                </c:pt>
                <c:pt idx="1631">
                  <c:v>3308.25</c:v>
                </c:pt>
                <c:pt idx="1632">
                  <c:v>3339.03</c:v>
                </c:pt>
                <c:pt idx="1633">
                  <c:v>3263.03</c:v>
                </c:pt>
                <c:pt idx="1634">
                  <c:v>3285</c:v>
                </c:pt>
                <c:pt idx="1635">
                  <c:v>3231.95</c:v>
                </c:pt>
                <c:pt idx="1636">
                  <c:v>3242.75</c:v>
                </c:pt>
                <c:pt idx="1637">
                  <c:v>3178.85</c:v>
                </c:pt>
                <c:pt idx="1638">
                  <c:v>3202.95</c:v>
                </c:pt>
                <c:pt idx="1639">
                  <c:v>3296.48</c:v>
                </c:pt>
                <c:pt idx="1640">
                  <c:v>3340.12</c:v>
                </c:pt>
                <c:pt idx="1641">
                  <c:v>3447.69</c:v>
                </c:pt>
                <c:pt idx="1642">
                  <c:v>3445.04</c:v>
                </c:pt>
                <c:pt idx="1643">
                  <c:v>3406.11</c:v>
                </c:pt>
                <c:pt idx="1644">
                  <c:v>3486.82</c:v>
                </c:pt>
                <c:pt idx="1645">
                  <c:v>3534.07</c:v>
                </c:pt>
                <c:pt idx="1646">
                  <c:v>3534.18</c:v>
                </c:pt>
                <c:pt idx="1647">
                  <c:v>3577.7</c:v>
                </c:pt>
                <c:pt idx="1648">
                  <c:v>3473.25</c:v>
                </c:pt>
                <c:pt idx="1649">
                  <c:v>3524.53</c:v>
                </c:pt>
                <c:pt idx="1650">
                  <c:v>3571.24</c:v>
                </c:pt>
                <c:pt idx="1651">
                  <c:v>3589.26</c:v>
                </c:pt>
                <c:pt idx="1652">
                  <c:v>3592.88</c:v>
                </c:pt>
                <c:pt idx="1653">
                  <c:v>3524.92</c:v>
                </c:pt>
                <c:pt idx="1654">
                  <c:v>3533.31</c:v>
                </c:pt>
                <c:pt idx="1655">
                  <c:v>3534.08</c:v>
                </c:pt>
                <c:pt idx="1656">
                  <c:v>3475.96</c:v>
                </c:pt>
                <c:pt idx="1657">
                  <c:v>3465.49</c:v>
                </c:pt>
                <c:pt idx="1658">
                  <c:v>3628.54</c:v>
                </c:pt>
                <c:pt idx="1659">
                  <c:v>3705.97</c:v>
                </c:pt>
                <c:pt idx="1660">
                  <c:v>3793.37</c:v>
                </c:pt>
                <c:pt idx="1661">
                  <c:v>3840.35</c:v>
                </c:pt>
                <c:pt idx="1662">
                  <c:v>3833.24</c:v>
                </c:pt>
                <c:pt idx="1663">
                  <c:v>3833.65</c:v>
                </c:pt>
                <c:pt idx="1664">
                  <c:v>3795.32</c:v>
                </c:pt>
                <c:pt idx="1665">
                  <c:v>3746.24</c:v>
                </c:pt>
                <c:pt idx="1666">
                  <c:v>3764.13</c:v>
                </c:pt>
                <c:pt idx="1667">
                  <c:v>3758.39</c:v>
                </c:pt>
                <c:pt idx="1668">
                  <c:v>3715.58</c:v>
                </c:pt>
                <c:pt idx="1669">
                  <c:v>3774.97</c:v>
                </c:pt>
                <c:pt idx="1670">
                  <c:v>3774.38</c:v>
                </c:pt>
                <c:pt idx="1671">
                  <c:v>3753.34</c:v>
                </c:pt>
                <c:pt idx="1672">
                  <c:v>3753.89</c:v>
                </c:pt>
                <c:pt idx="1673">
                  <c:v>3781.61</c:v>
                </c:pt>
                <c:pt idx="1674">
                  <c:v>3759.43</c:v>
                </c:pt>
                <c:pt idx="1675">
                  <c:v>3556.99</c:v>
                </c:pt>
                <c:pt idx="1676">
                  <c:v>3566.41</c:v>
                </c:pt>
                <c:pt idx="1677">
                  <c:v>3591.7</c:v>
                </c:pt>
                <c:pt idx="1678">
                  <c:v>3721.95</c:v>
                </c:pt>
                <c:pt idx="1679">
                  <c:v>3749.3</c:v>
                </c:pt>
                <c:pt idx="1680">
                  <c:v>3677.59</c:v>
                </c:pt>
                <c:pt idx="1681">
                  <c:v>3687.61</c:v>
                </c:pt>
                <c:pt idx="1682">
                  <c:v>3623.02</c:v>
                </c:pt>
                <c:pt idx="1683">
                  <c:v>3635.94</c:v>
                </c:pt>
                <c:pt idx="1684">
                  <c:v>3623.08</c:v>
                </c:pt>
                <c:pt idx="1685">
                  <c:v>3608.06</c:v>
                </c:pt>
                <c:pt idx="1686">
                  <c:v>3711.32</c:v>
                </c:pt>
                <c:pt idx="1687">
                  <c:v>3694.39</c:v>
                </c:pt>
                <c:pt idx="1688">
                  <c:v>3685.44</c:v>
                </c:pt>
                <c:pt idx="1689">
                  <c:v>3755.89</c:v>
                </c:pt>
                <c:pt idx="1690">
                  <c:v>3767.91</c:v>
                </c:pt>
                <c:pt idx="1691">
                  <c:v>3865.97</c:v>
                </c:pt>
                <c:pt idx="1692">
                  <c:v>3876.73</c:v>
                </c:pt>
                <c:pt idx="1693">
                  <c:v>3866.38</c:v>
                </c:pt>
                <c:pt idx="1694">
                  <c:v>3829.4</c:v>
                </c:pt>
                <c:pt idx="1695">
                  <c:v>3838.2</c:v>
                </c:pt>
                <c:pt idx="1696">
                  <c:v>3727.63</c:v>
                </c:pt>
                <c:pt idx="1697">
                  <c:v>3761.87</c:v>
                </c:pt>
                <c:pt idx="1698">
                  <c:v>3765.18</c:v>
                </c:pt>
                <c:pt idx="1699">
                  <c:v>3731</c:v>
                </c:pt>
                <c:pt idx="1700">
                  <c:v>3469.07</c:v>
                </c:pt>
                <c:pt idx="1701">
                  <c:v>3478.78</c:v>
                </c:pt>
                <c:pt idx="1702">
                  <c:v>3539.81</c:v>
                </c:pt>
                <c:pt idx="1703">
                  <c:v>3294.38</c:v>
                </c:pt>
                <c:pt idx="1704">
                  <c:v>3361.56</c:v>
                </c:pt>
                <c:pt idx="1705">
                  <c:v>3192.45</c:v>
                </c:pt>
                <c:pt idx="1706">
                  <c:v>3215.71</c:v>
                </c:pt>
                <c:pt idx="1707">
                  <c:v>3155.88</c:v>
                </c:pt>
                <c:pt idx="1708">
                  <c:v>3221.57</c:v>
                </c:pt>
                <c:pt idx="1709">
                  <c:v>3118.73</c:v>
                </c:pt>
                <c:pt idx="1710">
                  <c:v>3130.73</c:v>
                </c:pt>
                <c:pt idx="1711">
                  <c:v>3223.13</c:v>
                </c:pt>
                <c:pt idx="1712">
                  <c:v>3174.38</c:v>
                </c:pt>
                <c:pt idx="1713">
                  <c:v>3081.35</c:v>
                </c:pt>
                <c:pt idx="1714">
                  <c:v>3113.46</c:v>
                </c:pt>
                <c:pt idx="1715">
                  <c:v>3128.89</c:v>
                </c:pt>
                <c:pt idx="1716">
                  <c:v>2940.51</c:v>
                </c:pt>
                <c:pt idx="1717">
                  <c:v>2930.35</c:v>
                </c:pt>
                <c:pt idx="1718">
                  <c:v>2853.76</c:v>
                </c:pt>
                <c:pt idx="1719">
                  <c:v>2946.09</c:v>
                </c:pt>
                <c:pt idx="1720">
                  <c:v>2901.05</c:v>
                </c:pt>
                <c:pt idx="1721">
                  <c:v>2961.33</c:v>
                </c:pt>
                <c:pt idx="1722">
                  <c:v>2948.64</c:v>
                </c:pt>
                <c:pt idx="1723">
                  <c:v>2984.76</c:v>
                </c:pt>
                <c:pt idx="1724">
                  <c:v>2963.79</c:v>
                </c:pt>
                <c:pt idx="1725">
                  <c:v>2946.71</c:v>
                </c:pt>
                <c:pt idx="1726">
                  <c:v>3037.04</c:v>
                </c:pt>
                <c:pt idx="1727">
                  <c:v>3063.32</c:v>
                </c:pt>
                <c:pt idx="1728">
                  <c:v>3053.7</c:v>
                </c:pt>
                <c:pt idx="1729">
                  <c:v>3051.59</c:v>
                </c:pt>
                <c:pt idx="1730">
                  <c:v>3118.87</c:v>
                </c:pt>
                <c:pt idx="1731">
                  <c:v>3089.36</c:v>
                </c:pt>
                <c:pt idx="1732">
                  <c:v>3109.55</c:v>
                </c:pt>
                <c:pt idx="1733">
                  <c:v>2918.75</c:v>
                </c:pt>
                <c:pt idx="1734">
                  <c:v>2948.03</c:v>
                </c:pt>
                <c:pt idx="1735">
                  <c:v>2877.47</c:v>
                </c:pt>
                <c:pt idx="1736">
                  <c:v>2930.69</c:v>
                </c:pt>
                <c:pt idx="1737">
                  <c:v>3051.33</c:v>
                </c:pt>
                <c:pt idx="1738">
                  <c:v>3058.42</c:v>
                </c:pt>
                <c:pt idx="1739">
                  <c:v>3093.89</c:v>
                </c:pt>
                <c:pt idx="1740">
                  <c:v>3104.84</c:v>
                </c:pt>
                <c:pt idx="1741">
                  <c:v>3107.67</c:v>
                </c:pt>
                <c:pt idx="1742">
                  <c:v>3071.91</c:v>
                </c:pt>
                <c:pt idx="1743">
                  <c:v>3013.15</c:v>
                </c:pt>
                <c:pt idx="1744">
                  <c:v>3018.28</c:v>
                </c:pt>
                <c:pt idx="1745">
                  <c:v>3065.69</c:v>
                </c:pt>
                <c:pt idx="1746">
                  <c:v>3074.78</c:v>
                </c:pt>
                <c:pt idx="1747">
                  <c:v>3090.03</c:v>
                </c:pt>
                <c:pt idx="1748">
                  <c:v>3124.2</c:v>
                </c:pt>
                <c:pt idx="1749">
                  <c:v>3171.96</c:v>
                </c:pt>
                <c:pt idx="1750">
                  <c:v>3249.44</c:v>
                </c:pt>
                <c:pt idx="1751">
                  <c:v>3225.79</c:v>
                </c:pt>
                <c:pt idx="1752">
                  <c:v>3236.09</c:v>
                </c:pt>
                <c:pt idx="1753">
                  <c:v>3181.85</c:v>
                </c:pt>
                <c:pt idx="1754">
                  <c:v>3197.82</c:v>
                </c:pt>
                <c:pt idx="1755">
                  <c:v>3169.73</c:v>
                </c:pt>
                <c:pt idx="1756">
                  <c:v>3135.41</c:v>
                </c:pt>
                <c:pt idx="1757">
                  <c:v>3216.28</c:v>
                </c:pt>
                <c:pt idx="1758">
                  <c:v>3218.09</c:v>
                </c:pt>
                <c:pt idx="1759">
                  <c:v>3221.89</c:v>
                </c:pt>
                <c:pt idx="1760">
                  <c:v>3264.49</c:v>
                </c:pt>
                <c:pt idx="1761">
                  <c:v>3257.53</c:v>
                </c:pt>
                <c:pt idx="1762">
                  <c:v>3209.29</c:v>
                </c:pt>
                <c:pt idx="1763">
                  <c:v>3185.73</c:v>
                </c:pt>
                <c:pt idx="1764">
                  <c:v>3230.1</c:v>
                </c:pt>
                <c:pt idx="1765">
                  <c:v>3218.45</c:v>
                </c:pt>
                <c:pt idx="1766">
                  <c:v>3261.38</c:v>
                </c:pt>
                <c:pt idx="1767">
                  <c:v>3275.83</c:v>
                </c:pt>
                <c:pt idx="1768">
                  <c:v>3272.21</c:v>
                </c:pt>
                <c:pt idx="1769">
                  <c:v>3228.45</c:v>
                </c:pt>
                <c:pt idx="1770">
                  <c:v>3238.3</c:v>
                </c:pt>
                <c:pt idx="1771">
                  <c:v>3181.03</c:v>
                </c:pt>
                <c:pt idx="1772">
                  <c:v>3160.6</c:v>
                </c:pt>
                <c:pt idx="1773">
                  <c:v>3174.9</c:v>
                </c:pt>
                <c:pt idx="1774">
                  <c:v>3162.03</c:v>
                </c:pt>
                <c:pt idx="1775">
                  <c:v>3179.16</c:v>
                </c:pt>
                <c:pt idx="1776">
                  <c:v>3165.92</c:v>
                </c:pt>
                <c:pt idx="1777">
                  <c:v>3160.58</c:v>
                </c:pt>
                <c:pt idx="1778">
                  <c:v>3156.75</c:v>
                </c:pt>
                <c:pt idx="1779">
                  <c:v>3213.54</c:v>
                </c:pt>
                <c:pt idx="1780">
                  <c:v>3209.46</c:v>
                </c:pt>
                <c:pt idx="1781">
                  <c:v>3213.92</c:v>
                </c:pt>
                <c:pt idx="1782">
                  <c:v>3130.35</c:v>
                </c:pt>
                <c:pt idx="1783">
                  <c:v>3065.62</c:v>
                </c:pt>
                <c:pt idx="1784">
                  <c:v>3069.11</c:v>
                </c:pt>
                <c:pt idx="1785">
                  <c:v>3082.81</c:v>
                </c:pt>
                <c:pt idx="1786">
                  <c:v>3090.14</c:v>
                </c:pt>
                <c:pt idx="1787">
                  <c:v>3074.94</c:v>
                </c:pt>
                <c:pt idx="1788">
                  <c:v>3095.31</c:v>
                </c:pt>
                <c:pt idx="1789">
                  <c:v>3086.02</c:v>
                </c:pt>
                <c:pt idx="1790">
                  <c:v>3068.04</c:v>
                </c:pt>
                <c:pt idx="1791">
                  <c:v>3062.5</c:v>
                </c:pt>
                <c:pt idx="1792">
                  <c:v>3078.22</c:v>
                </c:pt>
                <c:pt idx="1793">
                  <c:v>3087.22</c:v>
                </c:pt>
                <c:pt idx="1794">
                  <c:v>3063.56</c:v>
                </c:pt>
                <c:pt idx="1795">
                  <c:v>3059.23</c:v>
                </c:pt>
                <c:pt idx="1796">
                  <c:v>3064.21</c:v>
                </c:pt>
                <c:pt idx="1797">
                  <c:v>3062.5</c:v>
                </c:pt>
                <c:pt idx="1798">
                  <c:v>3066.71</c:v>
                </c:pt>
                <c:pt idx="1799">
                  <c:v>3169.56</c:v>
                </c:pt>
                <c:pt idx="1800">
                  <c:v>3160.55</c:v>
                </c:pt>
                <c:pt idx="1801">
                  <c:v>3167.1</c:v>
                </c:pt>
                <c:pt idx="1802">
                  <c:v>3189.33</c:v>
                </c:pt>
                <c:pt idx="1803">
                  <c:v>3178.79</c:v>
                </c:pt>
                <c:pt idx="1804">
                  <c:v>3177.05</c:v>
                </c:pt>
                <c:pt idx="1805">
                  <c:v>3163.99</c:v>
                </c:pt>
                <c:pt idx="1806">
                  <c:v>3066.34</c:v>
                </c:pt>
                <c:pt idx="1807">
                  <c:v>3075.98</c:v>
                </c:pt>
                <c:pt idx="1808">
                  <c:v>3116.37</c:v>
                </c:pt>
                <c:pt idx="1809">
                  <c:v>3094.67</c:v>
                </c:pt>
                <c:pt idx="1810">
                  <c:v>3110.36</c:v>
                </c:pt>
                <c:pt idx="1811">
                  <c:v>3112.67</c:v>
                </c:pt>
                <c:pt idx="1812">
                  <c:v>3106.32</c:v>
                </c:pt>
                <c:pt idx="1813">
                  <c:v>3133.96</c:v>
                </c:pt>
                <c:pt idx="1814">
                  <c:v>3117.32</c:v>
                </c:pt>
                <c:pt idx="1815">
                  <c:v>3077.16</c:v>
                </c:pt>
                <c:pt idx="1816">
                  <c:v>3120.54</c:v>
                </c:pt>
                <c:pt idx="1817">
                  <c:v>3136.4</c:v>
                </c:pt>
                <c:pt idx="1818">
                  <c:v>3151.39</c:v>
                </c:pt>
                <c:pt idx="1819">
                  <c:v>3153.92</c:v>
                </c:pt>
                <c:pt idx="1820">
                  <c:v>3154.2</c:v>
                </c:pt>
                <c:pt idx="1821">
                  <c:v>3204.7</c:v>
                </c:pt>
                <c:pt idx="1822">
                  <c:v>3207.38</c:v>
                </c:pt>
                <c:pt idx="1823">
                  <c:v>3216.8</c:v>
                </c:pt>
                <c:pt idx="1824">
                  <c:v>3209.95</c:v>
                </c:pt>
                <c:pt idx="1825">
                  <c:v>3192.28</c:v>
                </c:pt>
                <c:pt idx="1826">
                  <c:v>3203.33</c:v>
                </c:pt>
                <c:pt idx="1827">
                  <c:v>3273.18</c:v>
                </c:pt>
                <c:pt idx="1828">
                  <c:v>3282.87</c:v>
                </c:pt>
                <c:pt idx="1829">
                  <c:v>3276.76</c:v>
                </c:pt>
                <c:pt idx="1830">
                  <c:v>3276.28</c:v>
                </c:pt>
                <c:pt idx="1831">
                  <c:v>3262.02</c:v>
                </c:pt>
                <c:pt idx="1832">
                  <c:v>3248.23</c:v>
                </c:pt>
                <c:pt idx="1833">
                  <c:v>3237.61</c:v>
                </c:pt>
                <c:pt idx="1834">
                  <c:v>3252.52</c:v>
                </c:pt>
                <c:pt idx="1835">
                  <c:v>3225.16</c:v>
                </c:pt>
                <c:pt idx="1836">
                  <c:v>3230.89</c:v>
                </c:pt>
                <c:pt idx="1837">
                  <c:v>3269.59</c:v>
                </c:pt>
                <c:pt idx="1838">
                  <c:v>3218.24</c:v>
                </c:pt>
                <c:pt idx="1839">
                  <c:v>3221.14</c:v>
                </c:pt>
                <c:pt idx="1840">
                  <c:v>3203.93</c:v>
                </c:pt>
                <c:pt idx="1841">
                  <c:v>3176.81</c:v>
                </c:pt>
                <c:pt idx="1842">
                  <c:v>3189.05</c:v>
                </c:pt>
                <c:pt idx="1843">
                  <c:v>3193.51</c:v>
                </c:pt>
                <c:pt idx="1844">
                  <c:v>3201.29</c:v>
                </c:pt>
                <c:pt idx="1845">
                  <c:v>3205.11</c:v>
                </c:pt>
                <c:pt idx="1846">
                  <c:v>3234.18</c:v>
                </c:pt>
                <c:pt idx="1847">
                  <c:v>3256.98</c:v>
                </c:pt>
                <c:pt idx="1848">
                  <c:v>3243.34</c:v>
                </c:pt>
                <c:pt idx="1849">
                  <c:v>3233.36</c:v>
                </c:pt>
                <c:pt idx="1850">
                  <c:v>3294.23</c:v>
                </c:pt>
                <c:pt idx="1851">
                  <c:v>3393.42</c:v>
                </c:pt>
                <c:pt idx="1852">
                  <c:v>3378.25</c:v>
                </c:pt>
                <c:pt idx="1853">
                  <c:v>3373.05</c:v>
                </c:pt>
                <c:pt idx="1854">
                  <c:v>3364.49</c:v>
                </c:pt>
                <c:pt idx="1855">
                  <c:v>3365.02</c:v>
                </c:pt>
                <c:pt idx="1856">
                  <c:v>3336.79</c:v>
                </c:pt>
                <c:pt idx="1857">
                  <c:v>3341.83</c:v>
                </c:pt>
                <c:pt idx="1858">
                  <c:v>3329.86</c:v>
                </c:pt>
                <c:pt idx="1859">
                  <c:v>3308.97</c:v>
                </c:pt>
                <c:pt idx="1860">
                  <c:v>3307.09</c:v>
                </c:pt>
                <c:pt idx="1861">
                  <c:v>3307.78</c:v>
                </c:pt>
                <c:pt idx="1862">
                  <c:v>3311.99</c:v>
                </c:pt>
                <c:pt idx="1863">
                  <c:v>3327.79</c:v>
                </c:pt>
                <c:pt idx="1864">
                  <c:v>3301.58</c:v>
                </c:pt>
                <c:pt idx="1865">
                  <c:v>3314.11</c:v>
                </c:pt>
                <c:pt idx="1866">
                  <c:v>3319.68</c:v>
                </c:pt>
                <c:pt idx="1867">
                  <c:v>3342.63</c:v>
                </c:pt>
                <c:pt idx="1868">
                  <c:v>3340.82</c:v>
                </c:pt>
                <c:pt idx="1869">
                  <c:v>3339.56</c:v>
                </c:pt>
                <c:pt idx="1870">
                  <c:v>3318.04</c:v>
                </c:pt>
                <c:pt idx="1871">
                  <c:v>3262.6</c:v>
                </c:pt>
                <c:pt idx="1872">
                  <c:v>3260.33</c:v>
                </c:pt>
                <c:pt idx="1873">
                  <c:v>3238.73</c:v>
                </c:pt>
                <c:pt idx="1874">
                  <c:v>3263.12</c:v>
                </c:pt>
                <c:pt idx="1875">
                  <c:v>3257.4</c:v>
                </c:pt>
                <c:pt idx="1876">
                  <c:v>3266.64</c:v>
                </c:pt>
                <c:pt idx="1877">
                  <c:v>3291.12</c:v>
                </c:pt>
                <c:pt idx="1878">
                  <c:v>3275.67</c:v>
                </c:pt>
                <c:pt idx="1879">
                  <c:v>3220.28</c:v>
                </c:pt>
                <c:pt idx="1880">
                  <c:v>3240.75</c:v>
                </c:pt>
                <c:pt idx="1881">
                  <c:v>3230.89</c:v>
                </c:pt>
                <c:pt idx="1882">
                  <c:v>3244.39</c:v>
                </c:pt>
                <c:pt idx="1883">
                  <c:v>3253.28</c:v>
                </c:pt>
                <c:pt idx="1884">
                  <c:v>3293.87</c:v>
                </c:pt>
                <c:pt idx="1885">
                  <c:v>3306.56</c:v>
                </c:pt>
                <c:pt idx="1886">
                  <c:v>3300.01</c:v>
                </c:pt>
                <c:pt idx="1887">
                  <c:v>3302.65</c:v>
                </c:pt>
                <c:pt idx="1888">
                  <c:v>3305.85</c:v>
                </c:pt>
                <c:pt idx="1889">
                  <c:v>3277.88</c:v>
                </c:pt>
                <c:pt idx="1890">
                  <c:v>3321.33</c:v>
                </c:pt>
                <c:pt idx="1891">
                  <c:v>3316.24</c:v>
                </c:pt>
                <c:pt idx="1892">
                  <c:v>3318.6</c:v>
                </c:pt>
                <c:pt idx="1893">
                  <c:v>3327.74</c:v>
                </c:pt>
                <c:pt idx="1894">
                  <c:v>3367.58</c:v>
                </c:pt>
                <c:pt idx="1895">
                  <c:v>3367.45</c:v>
                </c:pt>
                <c:pt idx="1896">
                  <c:v>3354.8</c:v>
                </c:pt>
                <c:pt idx="1897">
                  <c:v>3345.7</c:v>
                </c:pt>
                <c:pt idx="1898">
                  <c:v>3340.13</c:v>
                </c:pt>
                <c:pt idx="1899">
                  <c:v>3336.28</c:v>
                </c:pt>
                <c:pt idx="1900">
                  <c:v>3359.05</c:v>
                </c:pt>
                <c:pt idx="1901">
                  <c:v>3333.35</c:v>
                </c:pt>
                <c:pt idx="1902">
                  <c:v>3365.09</c:v>
                </c:pt>
                <c:pt idx="1903">
                  <c:v>3354.17</c:v>
                </c:pt>
                <c:pt idx="1904">
                  <c:v>3356.59</c:v>
                </c:pt>
                <c:pt idx="1905">
                  <c:v>3371.12</c:v>
                </c:pt>
                <c:pt idx="1906">
                  <c:v>3353.05</c:v>
                </c:pt>
                <c:pt idx="1907">
                  <c:v>3390.61</c:v>
                </c:pt>
                <c:pt idx="1908">
                  <c:v>3417.22</c:v>
                </c:pt>
                <c:pt idx="1909">
                  <c:v>3430.25</c:v>
                </c:pt>
                <c:pt idx="1910">
                  <c:v>3429.87</c:v>
                </c:pt>
                <c:pt idx="1911">
                  <c:v>3429.59</c:v>
                </c:pt>
                <c:pt idx="1912">
                  <c:v>3436.54</c:v>
                </c:pt>
                <c:pt idx="1913">
                  <c:v>3417.46</c:v>
                </c:pt>
                <c:pt idx="1914">
                  <c:v>3441.11</c:v>
                </c:pt>
                <c:pt idx="1915">
                  <c:v>3468.36</c:v>
                </c:pt>
                <c:pt idx="1916">
                  <c:v>3474.73</c:v>
                </c:pt>
                <c:pt idx="1917">
                  <c:v>3488.74</c:v>
                </c:pt>
                <c:pt idx="1918">
                  <c:v>3521.3</c:v>
                </c:pt>
                <c:pt idx="1919">
                  <c:v>3535.08</c:v>
                </c:pt>
                <c:pt idx="1920">
                  <c:v>3564.04</c:v>
                </c:pt>
                <c:pt idx="1921">
                  <c:v>3538</c:v>
                </c:pt>
                <c:pt idx="1922">
                  <c:v>3565.04</c:v>
                </c:pt>
                <c:pt idx="1923">
                  <c:v>3528.95</c:v>
                </c:pt>
                <c:pt idx="1924">
                  <c:v>3469.41</c:v>
                </c:pt>
                <c:pt idx="1925">
                  <c:v>3459.15</c:v>
                </c:pt>
                <c:pt idx="1926">
                  <c:v>3475.75</c:v>
                </c:pt>
                <c:pt idx="1927">
                  <c:v>3470.14</c:v>
                </c:pt>
                <c:pt idx="1928">
                  <c:v>3493.7</c:v>
                </c:pt>
                <c:pt idx="1929">
                  <c:v>3409.18</c:v>
                </c:pt>
                <c:pt idx="1930">
                  <c:v>3405.04</c:v>
                </c:pt>
                <c:pt idx="1931">
                  <c:v>3378.95</c:v>
                </c:pt>
                <c:pt idx="1932">
                  <c:v>3340.43</c:v>
                </c:pt>
                <c:pt idx="1933">
                  <c:v>3346.03</c:v>
                </c:pt>
                <c:pt idx="1934">
                  <c:v>3328.98</c:v>
                </c:pt>
                <c:pt idx="1935">
                  <c:v>3309.06</c:v>
                </c:pt>
                <c:pt idx="1936">
                  <c:v>3338.54</c:v>
                </c:pt>
                <c:pt idx="1937">
                  <c:v>3335.67</c:v>
                </c:pt>
                <c:pt idx="1938">
                  <c:v>3307.6</c:v>
                </c:pt>
                <c:pt idx="1939">
                  <c:v>3322.4</c:v>
                </c:pt>
                <c:pt idx="1940">
                  <c:v>3316.39</c:v>
                </c:pt>
                <c:pt idx="1941">
                  <c:v>3301.89</c:v>
                </c:pt>
                <c:pt idx="1942">
                  <c:v>3297.76</c:v>
                </c:pt>
                <c:pt idx="1943">
                  <c:v>3310.08</c:v>
                </c:pt>
                <c:pt idx="1944">
                  <c:v>3342.23</c:v>
                </c:pt>
                <c:pt idx="1945">
                  <c:v>3368.31</c:v>
                </c:pt>
                <c:pt idx="1946">
                  <c:v>3367.79</c:v>
                </c:pt>
                <c:pt idx="1947">
                  <c:v>3347.67</c:v>
                </c:pt>
                <c:pt idx="1948">
                  <c:v>3363.9</c:v>
                </c:pt>
                <c:pt idx="1949">
                  <c:v>3358.27</c:v>
                </c:pt>
                <c:pt idx="1950">
                  <c:v>3334.5</c:v>
                </c:pt>
                <c:pt idx="1951">
                  <c:v>3317.62</c:v>
                </c:pt>
                <c:pt idx="1952">
                  <c:v>3319.91</c:v>
                </c:pt>
                <c:pt idx="1953">
                  <c:v>3319.45</c:v>
                </c:pt>
                <c:pt idx="1954">
                  <c:v>3326.36</c:v>
                </c:pt>
                <c:pt idx="1955">
                  <c:v>3339.37</c:v>
                </c:pt>
                <c:pt idx="1956">
                  <c:v>3329.29</c:v>
                </c:pt>
                <c:pt idx="1957">
                  <c:v>3354.89</c:v>
                </c:pt>
                <c:pt idx="1958">
                  <c:v>3364.08</c:v>
                </c:pt>
                <c:pt idx="1959">
                  <c:v>3364.45</c:v>
                </c:pt>
                <c:pt idx="1960">
                  <c:v>3375.9</c:v>
                </c:pt>
                <c:pt idx="1961">
                  <c:v>3387.96</c:v>
                </c:pt>
                <c:pt idx="1962">
                  <c:v>3364.49</c:v>
                </c:pt>
                <c:pt idx="1963">
                  <c:v>3373.21</c:v>
                </c:pt>
                <c:pt idx="1964">
                  <c:v>3365.68</c:v>
                </c:pt>
                <c:pt idx="1965">
                  <c:v>3383.29</c:v>
                </c:pt>
                <c:pt idx="1966">
                  <c:v>3396.29</c:v>
                </c:pt>
                <c:pt idx="1967">
                  <c:v>3413.49</c:v>
                </c:pt>
                <c:pt idx="1968">
                  <c:v>3436.28</c:v>
                </c:pt>
                <c:pt idx="1969">
                  <c:v>3435.8</c:v>
                </c:pt>
                <c:pt idx="1970">
                  <c:v>3421.71</c:v>
                </c:pt>
                <c:pt idx="1971">
                  <c:v>3440.93</c:v>
                </c:pt>
                <c:pt idx="1972">
                  <c:v>3421.44</c:v>
                </c:pt>
                <c:pt idx="1973">
                  <c:v>3471.39</c:v>
                </c:pt>
                <c:pt idx="1974">
                  <c:v>3482.82</c:v>
                </c:pt>
                <c:pt idx="1975">
                  <c:v>3489.76</c:v>
                </c:pt>
                <c:pt idx="1976">
                  <c:v>3473.32</c:v>
                </c:pt>
                <c:pt idx="1977">
                  <c:v>3473.85</c:v>
                </c:pt>
                <c:pt idx="1978">
                  <c:v>3446.22</c:v>
                </c:pt>
                <c:pt idx="1979">
                  <c:v>3452.81</c:v>
                </c:pt>
                <c:pt idx="1980">
                  <c:v>3458.44</c:v>
                </c:pt>
                <c:pt idx="1981">
                  <c:v>3435.1</c:v>
                </c:pt>
                <c:pt idx="1982">
                  <c:v>3427.86</c:v>
                </c:pt>
                <c:pt idx="1983">
                  <c:v>3446.48</c:v>
                </c:pt>
                <c:pt idx="1984">
                  <c:v>3453.96</c:v>
                </c:pt>
                <c:pt idx="1985">
                  <c:v>3448.73</c:v>
                </c:pt>
                <c:pt idx="1986">
                  <c:v>3426.94</c:v>
                </c:pt>
                <c:pt idx="1987">
                  <c:v>3427.89</c:v>
                </c:pt>
                <c:pt idx="1988">
                  <c:v>3458.1</c:v>
                </c:pt>
                <c:pt idx="1989">
                  <c:v>3456.69</c:v>
                </c:pt>
                <c:pt idx="1990">
                  <c:v>3463.64</c:v>
                </c:pt>
                <c:pt idx="1991">
                  <c:v>3481.51</c:v>
                </c:pt>
                <c:pt idx="1992">
                  <c:v>3445.81</c:v>
                </c:pt>
                <c:pt idx="1993">
                  <c:v>3449.61</c:v>
                </c:pt>
                <c:pt idx="1994">
                  <c:v>3466.35</c:v>
                </c:pt>
                <c:pt idx="1995">
                  <c:v>3450.05</c:v>
                </c:pt>
                <c:pt idx="1996">
                  <c:v>3461.98</c:v>
                </c:pt>
                <c:pt idx="1997">
                  <c:v>3489.6</c:v>
                </c:pt>
                <c:pt idx="1998">
                  <c:v>3478.04</c:v>
                </c:pt>
                <c:pt idx="1999">
                  <c:v>3469.81</c:v>
                </c:pt>
                <c:pt idx="2000">
                  <c:v>3465.19</c:v>
                </c:pt>
                <c:pt idx="2001">
                  <c:v>3436.76</c:v>
                </c:pt>
                <c:pt idx="2002">
                  <c:v>3456.05</c:v>
                </c:pt>
                <c:pt idx="2003">
                  <c:v>3503.89</c:v>
                </c:pt>
                <c:pt idx="2004">
                  <c:v>3514.05</c:v>
                </c:pt>
                <c:pt idx="2005">
                  <c:v>3517.46</c:v>
                </c:pt>
                <c:pt idx="2006">
                  <c:v>3505.14</c:v>
                </c:pt>
                <c:pt idx="2007">
                  <c:v>3517.33</c:v>
                </c:pt>
                <c:pt idx="2008">
                  <c:v>3509.44</c:v>
                </c:pt>
                <c:pt idx="2009">
                  <c:v>3514.57</c:v>
                </c:pt>
                <c:pt idx="2010">
                  <c:v>3486.5</c:v>
                </c:pt>
                <c:pt idx="2011">
                  <c:v>3479.94</c:v>
                </c:pt>
                <c:pt idx="2012">
                  <c:v>3462.74</c:v>
                </c:pt>
                <c:pt idx="2013">
                  <c:v>3445.88</c:v>
                </c:pt>
                <c:pt idx="2014">
                  <c:v>3461.55</c:v>
                </c:pt>
                <c:pt idx="2015">
                  <c:v>3466.79</c:v>
                </c:pt>
                <c:pt idx="2016">
                  <c:v>3431.26</c:v>
                </c:pt>
                <c:pt idx="2017">
                  <c:v>3440.97</c:v>
                </c:pt>
                <c:pt idx="2018">
                  <c:v>3445.18</c:v>
                </c:pt>
                <c:pt idx="2019">
                  <c:v>3446.72</c:v>
                </c:pt>
                <c:pt idx="2020">
                  <c:v>3439.75</c:v>
                </c:pt>
                <c:pt idx="2021">
                  <c:v>3426.58</c:v>
                </c:pt>
                <c:pt idx="2022">
                  <c:v>3413.13</c:v>
                </c:pt>
                <c:pt idx="2023">
                  <c:v>3404.39</c:v>
                </c:pt>
                <c:pt idx="2024">
                  <c:v>3382.55</c:v>
                </c:pt>
                <c:pt idx="2025">
                  <c:v>3358.81</c:v>
                </c:pt>
                <c:pt idx="2026">
                  <c:v>3352.53</c:v>
                </c:pt>
                <c:pt idx="2027">
                  <c:v>3337.7</c:v>
                </c:pt>
                <c:pt idx="2028">
                  <c:v>3356.65</c:v>
                </c:pt>
                <c:pt idx="2029">
                  <c:v>3385.38</c:v>
                </c:pt>
                <c:pt idx="2030">
                  <c:v>3399.19</c:v>
                </c:pt>
                <c:pt idx="2031">
                  <c:v>3428.65</c:v>
                </c:pt>
                <c:pt idx="2032">
                  <c:v>3409.97</c:v>
                </c:pt>
                <c:pt idx="2033">
                  <c:v>3398.11</c:v>
                </c:pt>
                <c:pt idx="2034">
                  <c:v>3403.85</c:v>
                </c:pt>
                <c:pt idx="2035">
                  <c:v>3411.24</c:v>
                </c:pt>
                <c:pt idx="2036">
                  <c:v>3424.19</c:v>
                </c:pt>
                <c:pt idx="2037">
                  <c:v>3424.17</c:v>
                </c:pt>
                <c:pt idx="2038">
                  <c:v>3485.66</c:v>
                </c:pt>
                <c:pt idx="2039">
                  <c:v>3480.43</c:v>
                </c:pt>
                <c:pt idx="2040">
                  <c:v>3492.88</c:v>
                </c:pt>
                <c:pt idx="2041">
                  <c:v>3497.74</c:v>
                </c:pt>
                <c:pt idx="2042">
                  <c:v>3486.51</c:v>
                </c:pt>
                <c:pt idx="2043">
                  <c:v>3468.75</c:v>
                </c:pt>
                <c:pt idx="2044">
                  <c:v>3492.88</c:v>
                </c:pt>
                <c:pt idx="2045">
                  <c:v>3533.87</c:v>
                </c:pt>
                <c:pt idx="2046">
                  <c:v>3560.98</c:v>
                </c:pt>
                <c:pt idx="2047">
                  <c:v>3576.17</c:v>
                </c:pt>
                <c:pt idx="2048">
                  <c:v>3574.39</c:v>
                </c:pt>
                <c:pt idx="2049">
                  <c:v>3582.27</c:v>
                </c:pt>
                <c:pt idx="2050">
                  <c:v>3535.3</c:v>
                </c:pt>
                <c:pt idx="2051">
                  <c:v>3528.79</c:v>
                </c:pt>
                <c:pt idx="2052">
                  <c:v>3518.76</c:v>
                </c:pt>
                <c:pt idx="2053">
                  <c:v>3553.67</c:v>
                </c:pt>
                <c:pt idx="2054">
                  <c:v>3546.49</c:v>
                </c:pt>
                <c:pt idx="2055">
                  <c:v>3587.96</c:v>
                </c:pt>
                <c:pt idx="2056">
                  <c:v>3590.34</c:v>
                </c:pt>
                <c:pt idx="2057">
                  <c:v>3622.88</c:v>
                </c:pt>
                <c:pt idx="2058">
                  <c:v>3668.09</c:v>
                </c:pt>
                <c:pt idx="2059">
                  <c:v>3674.72</c:v>
                </c:pt>
                <c:pt idx="2060">
                  <c:v>3646.17</c:v>
                </c:pt>
                <c:pt idx="2061">
                  <c:v>3668.83</c:v>
                </c:pt>
                <c:pt idx="2062">
                  <c:v>3666.8</c:v>
                </c:pt>
                <c:pt idx="2063">
                  <c:v>3650.85</c:v>
                </c:pt>
                <c:pt idx="2064">
                  <c:v>3619.98</c:v>
                </c:pt>
                <c:pt idx="2065">
                  <c:v>3659.68</c:v>
                </c:pt>
                <c:pt idx="2066">
                  <c:v>3660.1</c:v>
                </c:pt>
                <c:pt idx="2067">
                  <c:v>3655.93</c:v>
                </c:pt>
                <c:pt idx="2068">
                  <c:v>3653.69</c:v>
                </c:pt>
                <c:pt idx="2069">
                  <c:v>3670.81</c:v>
                </c:pt>
                <c:pt idx="2070">
                  <c:v>3658.82</c:v>
                </c:pt>
                <c:pt idx="2071">
                  <c:v>3686.92</c:v>
                </c:pt>
                <c:pt idx="2072">
                  <c:v>3703.09</c:v>
                </c:pt>
                <c:pt idx="2073">
                  <c:v>3663.56</c:v>
                </c:pt>
                <c:pt idx="2074">
                  <c:v>3667.18</c:v>
                </c:pt>
                <c:pt idx="2075">
                  <c:v>3729.75</c:v>
                </c:pt>
                <c:pt idx="2076">
                  <c:v>3747.88</c:v>
                </c:pt>
                <c:pt idx="2077">
                  <c:v>3728.6</c:v>
                </c:pt>
                <c:pt idx="2078">
                  <c:v>3743.47</c:v>
                </c:pt>
                <c:pt idx="2079">
                  <c:v>3719.56</c:v>
                </c:pt>
                <c:pt idx="2080">
                  <c:v>3705.39</c:v>
                </c:pt>
                <c:pt idx="2081">
                  <c:v>3712.19</c:v>
                </c:pt>
                <c:pt idx="2082">
                  <c:v>3721.89</c:v>
                </c:pt>
                <c:pt idx="2083">
                  <c:v>3737.87</c:v>
                </c:pt>
                <c:pt idx="2084">
                  <c:v>3770.38</c:v>
                </c:pt>
                <c:pt idx="2085">
                  <c:v>3760.85</c:v>
                </c:pt>
                <c:pt idx="2086">
                  <c:v>3727.83</c:v>
                </c:pt>
                <c:pt idx="2087">
                  <c:v>3707.58</c:v>
                </c:pt>
                <c:pt idx="2088">
                  <c:v>3726.79</c:v>
                </c:pt>
                <c:pt idx="2089">
                  <c:v>3732.21</c:v>
                </c:pt>
                <c:pt idx="2090">
                  <c:v>3731.04</c:v>
                </c:pt>
                <c:pt idx="2091">
                  <c:v>3715.92</c:v>
                </c:pt>
                <c:pt idx="2092">
                  <c:v>3647.35</c:v>
                </c:pt>
                <c:pt idx="2093">
                  <c:v>3694.68</c:v>
                </c:pt>
                <c:pt idx="2094">
                  <c:v>3706.06</c:v>
                </c:pt>
                <c:pt idx="2095">
                  <c:v>3701.42</c:v>
                </c:pt>
                <c:pt idx="2096">
                  <c:v>3721.28</c:v>
                </c:pt>
                <c:pt idx="2097">
                  <c:v>3724.67</c:v>
                </c:pt>
                <c:pt idx="2098">
                  <c:v>3740.99</c:v>
                </c:pt>
                <c:pt idx="2099">
                  <c:v>3752.3</c:v>
                </c:pt>
                <c:pt idx="2100">
                  <c:v>3756.09</c:v>
                </c:pt>
                <c:pt idx="2101">
                  <c:v>3734.65</c:v>
                </c:pt>
                <c:pt idx="2102">
                  <c:v>3795.75</c:v>
                </c:pt>
                <c:pt idx="2103">
                  <c:v>3842.71</c:v>
                </c:pt>
                <c:pt idx="2104">
                  <c:v>3834.54</c:v>
                </c:pt>
                <c:pt idx="2105">
                  <c:v>3834.3</c:v>
                </c:pt>
                <c:pt idx="2106">
                  <c:v>3822.09</c:v>
                </c:pt>
                <c:pt idx="2107">
                  <c:v>3830.54</c:v>
                </c:pt>
                <c:pt idx="2108">
                  <c:v>3845.62</c:v>
                </c:pt>
                <c:pt idx="2109">
                  <c:v>3857.05</c:v>
                </c:pt>
                <c:pt idx="2110">
                  <c:v>3849.45</c:v>
                </c:pt>
                <c:pt idx="2111">
                  <c:v>3829.87</c:v>
                </c:pt>
                <c:pt idx="2112">
                  <c:v>3825.99</c:v>
                </c:pt>
                <c:pt idx="2113">
                  <c:v>3825.65</c:v>
                </c:pt>
                <c:pt idx="2114">
                  <c:v>3837.93</c:v>
                </c:pt>
                <c:pt idx="2115">
                  <c:v>3842.61</c:v>
                </c:pt>
                <c:pt idx="2116">
                  <c:v>3829.96</c:v>
                </c:pt>
                <c:pt idx="2117">
                  <c:v>3831.3</c:v>
                </c:pt>
                <c:pt idx="2118">
                  <c:v>3843.14</c:v>
                </c:pt>
                <c:pt idx="2119">
                  <c:v>3832.12</c:v>
                </c:pt>
                <c:pt idx="2120">
                  <c:v>3842.44</c:v>
                </c:pt>
                <c:pt idx="2121">
                  <c:v>3837.82</c:v>
                </c:pt>
                <c:pt idx="2122">
                  <c:v>3837.73</c:v>
                </c:pt>
                <c:pt idx="2123">
                  <c:v>3817.79</c:v>
                </c:pt>
                <c:pt idx="2124">
                  <c:v>3820.78</c:v>
                </c:pt>
                <c:pt idx="2125">
                  <c:v>3821.2</c:v>
                </c:pt>
                <c:pt idx="2126">
                  <c:v>3822.54</c:v>
                </c:pt>
                <c:pt idx="2127">
                  <c:v>3836.5</c:v>
                </c:pt>
                <c:pt idx="2128">
                  <c:v>3882.21</c:v>
                </c:pt>
                <c:pt idx="2129">
                  <c:v>3889.86</c:v>
                </c:pt>
                <c:pt idx="2130">
                  <c:v>3902.69</c:v>
                </c:pt>
                <c:pt idx="2131">
                  <c:v>3912.95</c:v>
                </c:pt>
                <c:pt idx="2132">
                  <c:v>3921</c:v>
                </c:pt>
                <c:pt idx="2133">
                  <c:v>3913.45</c:v>
                </c:pt>
                <c:pt idx="2134">
                  <c:v>3913.07</c:v>
                </c:pt>
                <c:pt idx="2135">
                  <c:v>3944.16</c:v>
                </c:pt>
                <c:pt idx="2136">
                  <c:v>3931.25</c:v>
                </c:pt>
                <c:pt idx="2137">
                  <c:v>3926.85</c:v>
                </c:pt>
                <c:pt idx="2138">
                  <c:v>3930.8</c:v>
                </c:pt>
                <c:pt idx="2139">
                  <c:v>3959.4</c:v>
                </c:pt>
                <c:pt idx="2140">
                  <c:v>3976.95</c:v>
                </c:pt>
                <c:pt idx="2141">
                  <c:v>3993.58</c:v>
                </c:pt>
                <c:pt idx="2142">
                  <c:v>4021.97</c:v>
                </c:pt>
                <c:pt idx="2143">
                  <c:v>4009.72</c:v>
                </c:pt>
                <c:pt idx="2144">
                  <c:v>4006.72</c:v>
                </c:pt>
                <c:pt idx="2145">
                  <c:v>3996.62</c:v>
                </c:pt>
                <c:pt idx="2146">
                  <c:v>3997.13</c:v>
                </c:pt>
                <c:pt idx="2147">
                  <c:v>3992.7</c:v>
                </c:pt>
                <c:pt idx="2148">
                  <c:v>4020.89</c:v>
                </c:pt>
                <c:pt idx="2149">
                  <c:v>4054.25</c:v>
                </c:pt>
                <c:pt idx="2150">
                  <c:v>4048.01</c:v>
                </c:pt>
                <c:pt idx="2151">
                  <c:v>4075.9</c:v>
                </c:pt>
                <c:pt idx="2152">
                  <c:v>4111.91</c:v>
                </c:pt>
                <c:pt idx="2153">
                  <c:v>4128.07</c:v>
                </c:pt>
                <c:pt idx="2154">
                  <c:v>4099.3500000000004</c:v>
                </c:pt>
                <c:pt idx="2155">
                  <c:v>4073.67</c:v>
                </c:pt>
                <c:pt idx="2156">
                  <c:v>4105.01</c:v>
                </c:pt>
                <c:pt idx="2157">
                  <c:v>4120.8500000000004</c:v>
                </c:pt>
                <c:pt idx="2158">
                  <c:v>4143.83</c:v>
                </c:pt>
                <c:pt idx="2159">
                  <c:v>4217.7</c:v>
                </c:pt>
                <c:pt idx="2160">
                  <c:v>4227.57</c:v>
                </c:pt>
                <c:pt idx="2161">
                  <c:v>4102.3999999999996</c:v>
                </c:pt>
                <c:pt idx="2162">
                  <c:v>4104.2</c:v>
                </c:pt>
                <c:pt idx="2163">
                  <c:v>4049.95</c:v>
                </c:pt>
                <c:pt idx="2164">
                  <c:v>4055.82</c:v>
                </c:pt>
                <c:pt idx="2165">
                  <c:v>4053.75</c:v>
                </c:pt>
                <c:pt idx="2166">
                  <c:v>4006.1</c:v>
                </c:pt>
                <c:pt idx="2167">
                  <c:v>3998.14</c:v>
                </c:pt>
                <c:pt idx="2168">
                  <c:v>4018.86</c:v>
                </c:pt>
                <c:pt idx="2169">
                  <c:v>4040.17</c:v>
                </c:pt>
                <c:pt idx="2170">
                  <c:v>4015.82</c:v>
                </c:pt>
                <c:pt idx="2171">
                  <c:v>3971.06</c:v>
                </c:pt>
                <c:pt idx="2172">
                  <c:v>4003.38</c:v>
                </c:pt>
                <c:pt idx="2173">
                  <c:v>4069.5</c:v>
                </c:pt>
                <c:pt idx="2174">
                  <c:v>4016.02</c:v>
                </c:pt>
                <c:pt idx="2175">
                  <c:v>4050.09</c:v>
                </c:pt>
                <c:pt idx="2176">
                  <c:v>4026.15</c:v>
                </c:pt>
                <c:pt idx="2177">
                  <c:v>3980.86</c:v>
                </c:pt>
                <c:pt idx="2178">
                  <c:v>3985.29</c:v>
                </c:pt>
                <c:pt idx="2179">
                  <c:v>4035.33</c:v>
                </c:pt>
                <c:pt idx="2180">
                  <c:v>4030.49</c:v>
                </c:pt>
                <c:pt idx="2181">
                  <c:v>4067.85</c:v>
                </c:pt>
                <c:pt idx="2182">
                  <c:v>4054.6</c:v>
                </c:pt>
                <c:pt idx="2183">
                  <c:v>4041.54</c:v>
                </c:pt>
                <c:pt idx="2184">
                  <c:v>4053.62</c:v>
                </c:pt>
                <c:pt idx="2185">
                  <c:v>3991.21</c:v>
                </c:pt>
                <c:pt idx="2186">
                  <c:v>4018.9</c:v>
                </c:pt>
                <c:pt idx="2187">
                  <c:v>4030.85</c:v>
                </c:pt>
                <c:pt idx="2188">
                  <c:v>4087.4</c:v>
                </c:pt>
                <c:pt idx="2189">
                  <c:v>4111.3900000000003</c:v>
                </c:pt>
                <c:pt idx="2190">
                  <c:v>4128.8100000000004</c:v>
                </c:pt>
                <c:pt idx="2191">
                  <c:v>4138.75</c:v>
                </c:pt>
                <c:pt idx="2192">
                  <c:v>4160.16</c:v>
                </c:pt>
                <c:pt idx="2193">
                  <c:v>4189.3</c:v>
                </c:pt>
                <c:pt idx="2194">
                  <c:v>4207.8100000000004</c:v>
                </c:pt>
                <c:pt idx="2195">
                  <c:v>4205.59</c:v>
                </c:pt>
                <c:pt idx="2196">
                  <c:v>4225</c:v>
                </c:pt>
                <c:pt idx="2197">
                  <c:v>4225.24</c:v>
                </c:pt>
                <c:pt idx="2198">
                  <c:v>4258.47</c:v>
                </c:pt>
                <c:pt idx="2199">
                  <c:v>4248.12</c:v>
                </c:pt>
                <c:pt idx="2200">
                  <c:v>4271.42</c:v>
                </c:pt>
                <c:pt idx="2201">
                  <c:v>4285.3999999999996</c:v>
                </c:pt>
                <c:pt idx="2202">
                  <c:v>4336.6000000000004</c:v>
                </c:pt>
                <c:pt idx="2203">
                  <c:v>4382.6099999999997</c:v>
                </c:pt>
                <c:pt idx="2204">
                  <c:v>4389.8900000000003</c:v>
                </c:pt>
                <c:pt idx="2205">
                  <c:v>4365.08</c:v>
                </c:pt>
                <c:pt idx="2206">
                  <c:v>4381.3</c:v>
                </c:pt>
                <c:pt idx="2207">
                  <c:v>4302.0200000000004</c:v>
                </c:pt>
                <c:pt idx="2208">
                  <c:v>4256.1000000000004</c:v>
                </c:pt>
                <c:pt idx="2209">
                  <c:v>4275.8999999999996</c:v>
                </c:pt>
                <c:pt idx="2210">
                  <c:v>4245.8999999999996</c:v>
                </c:pt>
                <c:pt idx="2211">
                  <c:v>4271.2299999999996</c:v>
                </c:pt>
                <c:pt idx="2212">
                  <c:v>4274.1499999999996</c:v>
                </c:pt>
                <c:pt idx="2213">
                  <c:v>4148.8900000000003</c:v>
                </c:pt>
                <c:pt idx="2214">
                  <c:v>4050.5</c:v>
                </c:pt>
                <c:pt idx="2215">
                  <c:v>4012.05</c:v>
                </c:pt>
                <c:pt idx="2216">
                  <c:v>3840.65</c:v>
                </c:pt>
                <c:pt idx="2217">
                  <c:v>3890.1</c:v>
                </c:pt>
                <c:pt idx="2218">
                  <c:v>3935.63</c:v>
                </c:pt>
                <c:pt idx="2219">
                  <c:v>3966.96</c:v>
                </c:pt>
                <c:pt idx="2220">
                  <c:v>4052.73</c:v>
                </c:pt>
                <c:pt idx="2221">
                  <c:v>4071.09</c:v>
                </c:pt>
                <c:pt idx="2222">
                  <c:v>4118.42</c:v>
                </c:pt>
                <c:pt idx="2223">
                  <c:v>4058.98</c:v>
                </c:pt>
                <c:pt idx="2224">
                  <c:v>4023.64</c:v>
                </c:pt>
                <c:pt idx="2225">
                  <c:v>4049.09</c:v>
                </c:pt>
                <c:pt idx="2226">
                  <c:v>4016.46</c:v>
                </c:pt>
                <c:pt idx="2227">
                  <c:v>4018.1</c:v>
                </c:pt>
                <c:pt idx="2228">
                  <c:v>4066.56</c:v>
                </c:pt>
                <c:pt idx="2229">
                  <c:v>4036.65</c:v>
                </c:pt>
                <c:pt idx="2230">
                  <c:v>4077.6</c:v>
                </c:pt>
                <c:pt idx="2231">
                  <c:v>4108.87</c:v>
                </c:pt>
                <c:pt idx="2232">
                  <c:v>4127.67</c:v>
                </c:pt>
                <c:pt idx="2233">
                  <c:v>4091.25</c:v>
                </c:pt>
                <c:pt idx="2234">
                  <c:v>4073.34</c:v>
                </c:pt>
                <c:pt idx="2235">
                  <c:v>4096.16</c:v>
                </c:pt>
                <c:pt idx="2236">
                  <c:v>4056.42</c:v>
                </c:pt>
                <c:pt idx="2237">
                  <c:v>4074.25</c:v>
                </c:pt>
                <c:pt idx="2238">
                  <c:v>4077.7</c:v>
                </c:pt>
                <c:pt idx="2239">
                  <c:v>4061.05</c:v>
                </c:pt>
                <c:pt idx="2240">
                  <c:v>4020.35</c:v>
                </c:pt>
                <c:pt idx="2241">
                  <c:v>3904.94</c:v>
                </c:pt>
                <c:pt idx="2242">
                  <c:v>3879.89</c:v>
                </c:pt>
                <c:pt idx="2243">
                  <c:v>3913.27</c:v>
                </c:pt>
                <c:pt idx="2244">
                  <c:v>3842.72</c:v>
                </c:pt>
                <c:pt idx="2245">
                  <c:v>3894.05</c:v>
                </c:pt>
                <c:pt idx="2246">
                  <c:v>3898.5</c:v>
                </c:pt>
                <c:pt idx="2247">
                  <c:v>3886.92</c:v>
                </c:pt>
                <c:pt idx="2248">
                  <c:v>3862.48</c:v>
                </c:pt>
                <c:pt idx="2249">
                  <c:v>3854.86</c:v>
                </c:pt>
                <c:pt idx="2250">
                  <c:v>3852.93</c:v>
                </c:pt>
                <c:pt idx="2251">
                  <c:v>3927.17</c:v>
                </c:pt>
                <c:pt idx="2252">
                  <c:v>3938.34</c:v>
                </c:pt>
                <c:pt idx="2253">
                  <c:v>3898.64</c:v>
                </c:pt>
                <c:pt idx="2254">
                  <c:v>3871.14</c:v>
                </c:pt>
                <c:pt idx="2255">
                  <c:v>3808.86</c:v>
                </c:pt>
                <c:pt idx="2256">
                  <c:v>3748.64</c:v>
                </c:pt>
                <c:pt idx="2257">
                  <c:v>3766.28</c:v>
                </c:pt>
                <c:pt idx="2258">
                  <c:v>3811.84</c:v>
                </c:pt>
                <c:pt idx="2259">
                  <c:v>3760.85</c:v>
                </c:pt>
                <c:pt idx="2260">
                  <c:v>3766.33</c:v>
                </c:pt>
                <c:pt idx="2261">
                  <c:v>3843.49</c:v>
                </c:pt>
                <c:pt idx="2262">
                  <c:v>3828.7</c:v>
                </c:pt>
                <c:pt idx="2263">
                  <c:v>3755.49</c:v>
                </c:pt>
                <c:pt idx="2264">
                  <c:v>3756.88</c:v>
                </c:pt>
                <c:pt idx="2265">
                  <c:v>3763.65</c:v>
                </c:pt>
                <c:pt idx="2266">
                  <c:v>3793</c:v>
                </c:pt>
                <c:pt idx="2267">
                  <c:v>3774.6</c:v>
                </c:pt>
                <c:pt idx="2268">
                  <c:v>3834.19</c:v>
                </c:pt>
                <c:pt idx="2269">
                  <c:v>3878.68</c:v>
                </c:pt>
                <c:pt idx="2270">
                  <c:v>3871.62</c:v>
                </c:pt>
                <c:pt idx="2271">
                  <c:v>3893.06</c:v>
                </c:pt>
                <c:pt idx="2272">
                  <c:v>3872.84</c:v>
                </c:pt>
                <c:pt idx="2273">
                  <c:v>3909.29</c:v>
                </c:pt>
                <c:pt idx="2274">
                  <c:v>3924.1</c:v>
                </c:pt>
                <c:pt idx="2275">
                  <c:v>3892.84</c:v>
                </c:pt>
                <c:pt idx="2276">
                  <c:v>3864.05</c:v>
                </c:pt>
                <c:pt idx="2277">
                  <c:v>3903.06</c:v>
                </c:pt>
                <c:pt idx="2278">
                  <c:v>3921.24</c:v>
                </c:pt>
                <c:pt idx="2279">
                  <c:v>3906.21</c:v>
                </c:pt>
                <c:pt idx="2280">
                  <c:v>3854.58</c:v>
                </c:pt>
                <c:pt idx="2281">
                  <c:v>3827.22</c:v>
                </c:pt>
                <c:pt idx="2282">
                  <c:v>3816.5</c:v>
                </c:pt>
                <c:pt idx="2283">
                  <c:v>3833.26</c:v>
                </c:pt>
                <c:pt idx="2284">
                  <c:v>3804.01</c:v>
                </c:pt>
                <c:pt idx="2285">
                  <c:v>3723.37</c:v>
                </c:pt>
                <c:pt idx="2286">
                  <c:v>3802.38</c:v>
                </c:pt>
                <c:pt idx="2287">
                  <c:v>3770.59</c:v>
                </c:pt>
                <c:pt idx="2288">
                  <c:v>3807.58</c:v>
                </c:pt>
                <c:pt idx="2289">
                  <c:v>3845.32</c:v>
                </c:pt>
                <c:pt idx="2290">
                  <c:v>3837.35</c:v>
                </c:pt>
                <c:pt idx="2291">
                  <c:v>3831.01</c:v>
                </c:pt>
                <c:pt idx="2292">
                  <c:v>3779.62</c:v>
                </c:pt>
                <c:pt idx="2293">
                  <c:v>3779.98</c:v>
                </c:pt>
                <c:pt idx="2294">
                  <c:v>3825.95</c:v>
                </c:pt>
                <c:pt idx="2295">
                  <c:v>3788.34</c:v>
                </c:pt>
                <c:pt idx="2296">
                  <c:v>3773.37</c:v>
                </c:pt>
                <c:pt idx="2297">
                  <c:v>3753.43</c:v>
                </c:pt>
                <c:pt idx="2298">
                  <c:v>3621.12</c:v>
                </c:pt>
                <c:pt idx="2299">
                  <c:v>3635.44</c:v>
                </c:pt>
                <c:pt idx="2300">
                  <c:v>3592.97</c:v>
                </c:pt>
                <c:pt idx="2301">
                  <c:v>3608.9</c:v>
                </c:pt>
                <c:pt idx="2302">
                  <c:v>3560.48</c:v>
                </c:pt>
                <c:pt idx="2303">
                  <c:v>3531.11</c:v>
                </c:pt>
                <c:pt idx="2304">
                  <c:v>3459.26</c:v>
                </c:pt>
                <c:pt idx="2305">
                  <c:v>3423.53</c:v>
                </c:pt>
                <c:pt idx="2306">
                  <c:v>3510.98</c:v>
                </c:pt>
                <c:pt idx="2307">
                  <c:v>3407.96</c:v>
                </c:pt>
                <c:pt idx="2308">
                  <c:v>3409.28</c:v>
                </c:pt>
                <c:pt idx="2309">
                  <c:v>3363.75</c:v>
                </c:pt>
                <c:pt idx="2310">
                  <c:v>3342.44</c:v>
                </c:pt>
                <c:pt idx="2311">
                  <c:v>3365.12</c:v>
                </c:pt>
                <c:pt idx="2312">
                  <c:v>3459.18</c:v>
                </c:pt>
                <c:pt idx="2313">
                  <c:v>3467.52</c:v>
                </c:pt>
                <c:pt idx="2314">
                  <c:v>3407.53</c:v>
                </c:pt>
                <c:pt idx="2315">
                  <c:v>3481.06</c:v>
                </c:pt>
                <c:pt idx="2316">
                  <c:v>3492.69</c:v>
                </c:pt>
                <c:pt idx="2317">
                  <c:v>3472.09</c:v>
                </c:pt>
                <c:pt idx="2318">
                  <c:v>3449.38</c:v>
                </c:pt>
                <c:pt idx="2319">
                  <c:v>3431.32</c:v>
                </c:pt>
                <c:pt idx="2320">
                  <c:v>3428.34</c:v>
                </c:pt>
                <c:pt idx="2321">
                  <c:v>3492.89</c:v>
                </c:pt>
                <c:pt idx="2322">
                  <c:v>3525.75</c:v>
                </c:pt>
                <c:pt idx="2323">
                  <c:v>3581.71</c:v>
                </c:pt>
                <c:pt idx="2324">
                  <c:v>3577.75</c:v>
                </c:pt>
                <c:pt idx="2325">
                  <c:v>3536.25</c:v>
                </c:pt>
                <c:pt idx="2326">
                  <c:v>3521.23</c:v>
                </c:pt>
                <c:pt idx="2327">
                  <c:v>3515.08</c:v>
                </c:pt>
                <c:pt idx="2328">
                  <c:v>3517.66</c:v>
                </c:pt>
                <c:pt idx="2329">
                  <c:v>3447.39</c:v>
                </c:pt>
                <c:pt idx="2330">
                  <c:v>3370.96</c:v>
                </c:pt>
                <c:pt idx="2331">
                  <c:v>3315.28</c:v>
                </c:pt>
                <c:pt idx="2332">
                  <c:v>3273.27</c:v>
                </c:pt>
                <c:pt idx="2333">
                  <c:v>3368.87</c:v>
                </c:pt>
                <c:pt idx="2334">
                  <c:v>3314.51</c:v>
                </c:pt>
                <c:pt idx="2335">
                  <c:v>3397.53</c:v>
                </c:pt>
                <c:pt idx="2336">
                  <c:v>3405.02</c:v>
                </c:pt>
                <c:pt idx="2337">
                  <c:v>3390.34</c:v>
                </c:pt>
                <c:pt idx="2338">
                  <c:v>3372.91</c:v>
                </c:pt>
                <c:pt idx="2339">
                  <c:v>3291.98</c:v>
                </c:pt>
                <c:pt idx="2340">
                  <c:v>3276.73</c:v>
                </c:pt>
                <c:pt idx="2341">
                  <c:v>3229.62</c:v>
                </c:pt>
                <c:pt idx="2342">
                  <c:v>3267.25</c:v>
                </c:pt>
                <c:pt idx="2343">
                  <c:v>3326.65</c:v>
                </c:pt>
                <c:pt idx="2344">
                  <c:v>3307.95</c:v>
                </c:pt>
                <c:pt idx="2345">
                  <c:v>3320.03</c:v>
                </c:pt>
                <c:pt idx="2346">
                  <c:v>3325.33</c:v>
                </c:pt>
                <c:pt idx="2347">
                  <c:v>3406.57</c:v>
                </c:pt>
                <c:pt idx="2348">
                  <c:v>3400.17</c:v>
                </c:pt>
                <c:pt idx="2349">
                  <c:v>3386.57</c:v>
                </c:pt>
                <c:pt idx="2350">
                  <c:v>3351.09</c:v>
                </c:pt>
                <c:pt idx="2351">
                  <c:v>3334.5</c:v>
                </c:pt>
                <c:pt idx="2352">
                  <c:v>3321.82</c:v>
                </c:pt>
                <c:pt idx="2353">
                  <c:v>3363.9</c:v>
                </c:pt>
                <c:pt idx="2354">
                  <c:v>3298.14</c:v>
                </c:pt>
                <c:pt idx="2355">
                  <c:v>3262.88</c:v>
                </c:pt>
                <c:pt idx="2356">
                  <c:v>3277.64</c:v>
                </c:pt>
                <c:pt idx="2357">
                  <c:v>3230.07</c:v>
                </c:pt>
                <c:pt idx="2358">
                  <c:v>3224.21</c:v>
                </c:pt>
                <c:pt idx="2359">
                  <c:v>3202.02</c:v>
                </c:pt>
                <c:pt idx="2360">
                  <c:v>3236.57</c:v>
                </c:pt>
                <c:pt idx="2361">
                  <c:v>3242.09</c:v>
                </c:pt>
                <c:pt idx="2362">
                  <c:v>3204.92</c:v>
                </c:pt>
                <c:pt idx="2363">
                  <c:v>3269.43</c:v>
                </c:pt>
                <c:pt idx="2364">
                  <c:v>3312.48</c:v>
                </c:pt>
                <c:pt idx="2365">
                  <c:v>3310.13</c:v>
                </c:pt>
                <c:pt idx="2366">
                  <c:v>3410.49</c:v>
                </c:pt>
                <c:pt idx="2367">
                  <c:v>3379.8</c:v>
                </c:pt>
                <c:pt idx="2368">
                  <c:v>3417.24</c:v>
                </c:pt>
                <c:pt idx="2369">
                  <c:v>3403.59</c:v>
                </c:pt>
                <c:pt idx="2370">
                  <c:v>3438.86</c:v>
                </c:pt>
                <c:pt idx="2371">
                  <c:v>3290.9</c:v>
                </c:pt>
                <c:pt idx="2372">
                  <c:v>3288.69</c:v>
                </c:pt>
                <c:pt idx="2373">
                  <c:v>3281.6</c:v>
                </c:pt>
                <c:pt idx="2374">
                  <c:v>3124.11</c:v>
                </c:pt>
                <c:pt idx="2375">
                  <c:v>3170.73</c:v>
                </c:pt>
                <c:pt idx="2376">
                  <c:v>3126.45</c:v>
                </c:pt>
                <c:pt idx="2377">
                  <c:v>3100.97</c:v>
                </c:pt>
                <c:pt idx="2378">
                  <c:v>3118.25</c:v>
                </c:pt>
                <c:pt idx="2379">
                  <c:v>3044.39</c:v>
                </c:pt>
                <c:pt idx="2380">
                  <c:v>3134.95</c:v>
                </c:pt>
                <c:pt idx="2381">
                  <c:v>3270.27</c:v>
                </c:pt>
                <c:pt idx="2382">
                  <c:v>3183.43</c:v>
                </c:pt>
                <c:pt idx="2383">
                  <c:v>3188.2</c:v>
                </c:pt>
                <c:pt idx="2384">
                  <c:v>3194.31</c:v>
                </c:pt>
                <c:pt idx="2385">
                  <c:v>3173.64</c:v>
                </c:pt>
                <c:pt idx="2386">
                  <c:v>3076.89</c:v>
                </c:pt>
                <c:pt idx="2387">
                  <c:v>3110.26</c:v>
                </c:pt>
                <c:pt idx="2388">
                  <c:v>3153.82</c:v>
                </c:pt>
                <c:pt idx="2389">
                  <c:v>3177.03</c:v>
                </c:pt>
                <c:pt idx="2390">
                  <c:v>3290.25</c:v>
                </c:pt>
                <c:pt idx="2391">
                  <c:v>3262.84</c:v>
                </c:pt>
                <c:pt idx="2392">
                  <c:v>3243.15</c:v>
                </c:pt>
                <c:pt idx="2393">
                  <c:v>3221.91</c:v>
                </c:pt>
                <c:pt idx="2394">
                  <c:v>3212.77</c:v>
                </c:pt>
                <c:pt idx="2395">
                  <c:v>3167.44</c:v>
                </c:pt>
                <c:pt idx="2396">
                  <c:v>3205.14</c:v>
                </c:pt>
                <c:pt idx="2397">
                  <c:v>3237.38</c:v>
                </c:pt>
                <c:pt idx="2398">
                  <c:v>3204.94</c:v>
                </c:pt>
                <c:pt idx="2399">
                  <c:v>3242.37</c:v>
                </c:pt>
                <c:pt idx="2400">
                  <c:v>3257.67</c:v>
                </c:pt>
                <c:pt idx="2401">
                  <c:v>3294.6</c:v>
                </c:pt>
                <c:pt idx="2402">
                  <c:v>3218.41</c:v>
                </c:pt>
                <c:pt idx="2403">
                  <c:v>3226.49</c:v>
                </c:pt>
                <c:pt idx="2404">
                  <c:v>3214.43</c:v>
                </c:pt>
                <c:pt idx="2405">
                  <c:v>3143.48</c:v>
                </c:pt>
                <c:pt idx="2406">
                  <c:v>3141.24</c:v>
                </c:pt>
                <c:pt idx="2407">
                  <c:v>3137.24</c:v>
                </c:pt>
                <c:pt idx="2408">
                  <c:v>3178.93</c:v>
                </c:pt>
                <c:pt idx="2409">
                  <c:v>3137.65</c:v>
                </c:pt>
                <c:pt idx="2410">
                  <c:v>3172.69</c:v>
                </c:pt>
                <c:pt idx="2411">
                  <c:v>3260.95</c:v>
                </c:pt>
                <c:pt idx="2412">
                  <c:v>3267.71</c:v>
                </c:pt>
                <c:pt idx="2413">
                  <c:v>3252</c:v>
                </c:pt>
                <c:pt idx="2414">
                  <c:v>3181.67</c:v>
                </c:pt>
                <c:pt idx="2415">
                  <c:v>3181.56</c:v>
                </c:pt>
                <c:pt idx="2416">
                  <c:v>3144.76</c:v>
                </c:pt>
                <c:pt idx="2417">
                  <c:v>3159.82</c:v>
                </c:pt>
                <c:pt idx="2418">
                  <c:v>3170.61</c:v>
                </c:pt>
                <c:pt idx="2419">
                  <c:v>3219.69</c:v>
                </c:pt>
                <c:pt idx="2420">
                  <c:v>3165.91</c:v>
                </c:pt>
                <c:pt idx="2421">
                  <c:v>3161.2</c:v>
                </c:pt>
                <c:pt idx="2422">
                  <c:v>3128.43</c:v>
                </c:pt>
                <c:pt idx="2423">
                  <c:v>3091.13</c:v>
                </c:pt>
                <c:pt idx="2424">
                  <c:v>3067.42</c:v>
                </c:pt>
                <c:pt idx="2425">
                  <c:v>3029.4</c:v>
                </c:pt>
                <c:pt idx="2426">
                  <c:v>3038.2</c:v>
                </c:pt>
                <c:pt idx="2427">
                  <c:v>3017.28</c:v>
                </c:pt>
                <c:pt idx="2428">
                  <c:v>3002.03</c:v>
                </c:pt>
                <c:pt idx="2429">
                  <c:v>2990.51</c:v>
                </c:pt>
                <c:pt idx="2430">
                  <c:v>3010.65</c:v>
                </c:pt>
                <c:pt idx="2431">
                  <c:v>2969.54</c:v>
                </c:pt>
                <c:pt idx="2432">
                  <c:v>2964.84</c:v>
                </c:pt>
                <c:pt idx="2433">
                  <c:v>3035.87</c:v>
                </c:pt>
                <c:pt idx="2434">
                  <c:v>3054.3</c:v>
                </c:pt>
                <c:pt idx="2435">
                  <c:v>3047.7</c:v>
                </c:pt>
                <c:pt idx="2436">
                  <c:v>3078.48</c:v>
                </c:pt>
                <c:pt idx="2437">
                  <c:v>3072.69</c:v>
                </c:pt>
                <c:pt idx="2438">
                  <c:v>3094.78</c:v>
                </c:pt>
                <c:pt idx="2439">
                  <c:v>3067.78</c:v>
                </c:pt>
                <c:pt idx="2440">
                  <c:v>3127.99</c:v>
                </c:pt>
                <c:pt idx="2441">
                  <c:v>3128.65</c:v>
                </c:pt>
                <c:pt idx="2442">
                  <c:v>3111.42</c:v>
                </c:pt>
                <c:pt idx="2443">
                  <c:v>3168.17</c:v>
                </c:pt>
                <c:pt idx="2444">
                  <c:v>3185.64</c:v>
                </c:pt>
                <c:pt idx="2445">
                  <c:v>3143.32</c:v>
                </c:pt>
                <c:pt idx="2446">
                  <c:v>3141.05</c:v>
                </c:pt>
                <c:pt idx="2447">
                  <c:v>3158.78</c:v>
                </c:pt>
                <c:pt idx="2448">
                  <c:v>3184.47</c:v>
                </c:pt>
                <c:pt idx="2449">
                  <c:v>3183.78</c:v>
                </c:pt>
                <c:pt idx="2450">
                  <c:v>3193.97</c:v>
                </c:pt>
                <c:pt idx="2451">
                  <c:v>3168.48</c:v>
                </c:pt>
                <c:pt idx="2452">
                  <c:v>3201.63</c:v>
                </c:pt>
                <c:pt idx="2453">
                  <c:v>3247.4</c:v>
                </c:pt>
                <c:pt idx="2454">
                  <c:v>3306.47</c:v>
                </c:pt>
                <c:pt idx="2455">
                  <c:v>3330.34</c:v>
                </c:pt>
                <c:pt idx="2456">
                  <c:v>3397.03</c:v>
                </c:pt>
                <c:pt idx="2457">
                  <c:v>3402.14</c:v>
                </c:pt>
                <c:pt idx="2458">
                  <c:v>3338.7</c:v>
                </c:pt>
                <c:pt idx="2459">
                  <c:v>3445.74</c:v>
                </c:pt>
                <c:pt idx="2460">
                  <c:v>3439.61</c:v>
                </c:pt>
                <c:pt idx="2461">
                  <c:v>3451.93</c:v>
                </c:pt>
                <c:pt idx="2462">
                  <c:v>3442.71</c:v>
                </c:pt>
                <c:pt idx="2463">
                  <c:v>3520.12</c:v>
                </c:pt>
                <c:pt idx="2464">
                  <c:v>3729.48</c:v>
                </c:pt>
                <c:pt idx="2465">
                  <c:v>3684.69</c:v>
                </c:pt>
                <c:pt idx="2466">
                  <c:v>3678.39</c:v>
                </c:pt>
                <c:pt idx="2467">
                  <c:v>3669.37</c:v>
                </c:pt>
                <c:pt idx="2468">
                  <c:v>3749.71</c:v>
                </c:pt>
                <c:pt idx="2469">
                  <c:v>3794.1</c:v>
                </c:pt>
                <c:pt idx="2470">
                  <c:v>3816.01</c:v>
                </c:pt>
                <c:pt idx="2471">
                  <c:v>3848.09</c:v>
                </c:pt>
                <c:pt idx="2472">
                  <c:v>3808.85</c:v>
                </c:pt>
                <c:pt idx="2473">
                  <c:v>3657.58</c:v>
                </c:pt>
                <c:pt idx="2474">
                  <c:v>3729.95</c:v>
                </c:pt>
                <c:pt idx="2475">
                  <c:v>3755.35</c:v>
                </c:pt>
                <c:pt idx="2476">
                  <c:v>3724.19</c:v>
                </c:pt>
                <c:pt idx="2477">
                  <c:v>3698.49</c:v>
                </c:pt>
                <c:pt idx="2478">
                  <c:v>3745.01</c:v>
                </c:pt>
                <c:pt idx="2479">
                  <c:v>3851.75</c:v>
                </c:pt>
                <c:pt idx="2480">
                  <c:v>3833.96</c:v>
                </c:pt>
                <c:pt idx="2481">
                  <c:v>3835.44</c:v>
                </c:pt>
                <c:pt idx="2482">
                  <c:v>3836.89</c:v>
                </c:pt>
                <c:pt idx="2483">
                  <c:v>3833.8</c:v>
                </c:pt>
                <c:pt idx="2484">
                  <c:v>3742.83</c:v>
                </c:pt>
                <c:pt idx="2485">
                  <c:v>3700.44</c:v>
                </c:pt>
                <c:pt idx="2486">
                  <c:v>3743.39</c:v>
                </c:pt>
                <c:pt idx="2487">
                  <c:v>3728.4</c:v>
                </c:pt>
                <c:pt idx="2488">
                  <c:v>3872.34</c:v>
                </c:pt>
                <c:pt idx="2489">
                  <c:v>3973.93</c:v>
                </c:pt>
                <c:pt idx="2490">
                  <c:v>3971.29</c:v>
                </c:pt>
                <c:pt idx="2491">
                  <c:v>4022.16</c:v>
                </c:pt>
                <c:pt idx="2492">
                  <c:v>4062.23</c:v>
                </c:pt>
                <c:pt idx="2493">
                  <c:v>4057.23</c:v>
                </c:pt>
                <c:pt idx="2494">
                  <c:v>4075.43</c:v>
                </c:pt>
                <c:pt idx="2495">
                  <c:v>4085.85</c:v>
                </c:pt>
                <c:pt idx="2496">
                  <c:v>3997.58</c:v>
                </c:pt>
                <c:pt idx="2497">
                  <c:v>3988.62</c:v>
                </c:pt>
                <c:pt idx="2498">
                  <c:v>3975.52</c:v>
                </c:pt>
                <c:pt idx="2499">
                  <c:v>4085.79</c:v>
                </c:pt>
                <c:pt idx="2500">
                  <c:v>4087.24</c:v>
                </c:pt>
                <c:pt idx="2501">
                  <c:v>4072.08</c:v>
                </c:pt>
                <c:pt idx="2502">
                  <c:v>4120.6099999999997</c:v>
                </c:pt>
                <c:pt idx="2503">
                  <c:v>4025.61</c:v>
                </c:pt>
                <c:pt idx="2504">
                  <c:v>4019.01</c:v>
                </c:pt>
                <c:pt idx="2505">
                  <c:v>4030.09</c:v>
                </c:pt>
                <c:pt idx="2506">
                  <c:v>3941.82</c:v>
                </c:pt>
                <c:pt idx="2507">
                  <c:v>3889.27</c:v>
                </c:pt>
                <c:pt idx="2508">
                  <c:v>3900.33</c:v>
                </c:pt>
                <c:pt idx="2509">
                  <c:v>3913.21</c:v>
                </c:pt>
                <c:pt idx="2510">
                  <c:v>3684.62</c:v>
                </c:pt>
                <c:pt idx="2511">
                  <c:v>3720.67</c:v>
                </c:pt>
                <c:pt idx="2512">
                  <c:v>3667.46</c:v>
                </c:pt>
                <c:pt idx="2513">
                  <c:v>3599.7</c:v>
                </c:pt>
                <c:pt idx="2514">
                  <c:v>3730.45</c:v>
                </c:pt>
                <c:pt idx="2515">
                  <c:v>3668.73</c:v>
                </c:pt>
                <c:pt idx="2516">
                  <c:v>3645.15</c:v>
                </c:pt>
                <c:pt idx="2517">
                  <c:v>3727.09</c:v>
                </c:pt>
                <c:pt idx="2518">
                  <c:v>3743.96</c:v>
                </c:pt>
                <c:pt idx="2519">
                  <c:v>3648.76</c:v>
                </c:pt>
                <c:pt idx="2520">
                  <c:v>3617.79</c:v>
                </c:pt>
                <c:pt idx="2521">
                  <c:v>3666.78</c:v>
                </c:pt>
                <c:pt idx="2522">
                  <c:v>3649.38</c:v>
                </c:pt>
                <c:pt idx="2523">
                  <c:v>3583.96</c:v>
                </c:pt>
                <c:pt idx="2524">
                  <c:v>3593.91</c:v>
                </c:pt>
                <c:pt idx="2525">
                  <c:v>3637.2</c:v>
                </c:pt>
                <c:pt idx="2526">
                  <c:v>3672.26</c:v>
                </c:pt>
                <c:pt idx="2527">
                  <c:v>3663.91</c:v>
                </c:pt>
                <c:pt idx="2528">
                  <c:v>3641.18</c:v>
                </c:pt>
                <c:pt idx="2529">
                  <c:v>3629.79</c:v>
                </c:pt>
                <c:pt idx="2530">
                  <c:v>3632.01</c:v>
                </c:pt>
                <c:pt idx="2531">
                  <c:v>3598.47</c:v>
                </c:pt>
                <c:pt idx="2532">
                  <c:v>3597.11</c:v>
                </c:pt>
                <c:pt idx="2533">
                  <c:v>3564.68</c:v>
                </c:pt>
                <c:pt idx="2534">
                  <c:v>3610.74</c:v>
                </c:pt>
                <c:pt idx="2535">
                  <c:v>3719.28</c:v>
                </c:pt>
                <c:pt idx="2536">
                  <c:v>3691.1</c:v>
                </c:pt>
                <c:pt idx="2537">
                  <c:v>3685.39</c:v>
                </c:pt>
                <c:pt idx="2538">
                  <c:v>3654.88</c:v>
                </c:pt>
                <c:pt idx="2539">
                  <c:v>3654.82</c:v>
                </c:pt>
                <c:pt idx="2540">
                  <c:v>3667.62</c:v>
                </c:pt>
                <c:pt idx="2541">
                  <c:v>3715.94</c:v>
                </c:pt>
                <c:pt idx="2542">
                  <c:v>3828.52</c:v>
                </c:pt>
                <c:pt idx="2543">
                  <c:v>3833.94</c:v>
                </c:pt>
                <c:pt idx="2544">
                  <c:v>3841.27</c:v>
                </c:pt>
                <c:pt idx="2545">
                  <c:v>3801.31</c:v>
                </c:pt>
                <c:pt idx="2546">
                  <c:v>3794.33</c:v>
                </c:pt>
                <c:pt idx="2547">
                  <c:v>3834.82</c:v>
                </c:pt>
                <c:pt idx="2548">
                  <c:v>3825.59</c:v>
                </c:pt>
                <c:pt idx="2549">
                  <c:v>3935.81</c:v>
                </c:pt>
                <c:pt idx="2550">
                  <c:v>3937.17</c:v>
                </c:pt>
                <c:pt idx="2551">
                  <c:v>3893.53</c:v>
                </c:pt>
                <c:pt idx="2552">
                  <c:v>3873.1</c:v>
                </c:pt>
                <c:pt idx="2553">
                  <c:v>3893.2</c:v>
                </c:pt>
                <c:pt idx="2554">
                  <c:v>3802.79</c:v>
                </c:pt>
                <c:pt idx="2555">
                  <c:v>3793.13</c:v>
                </c:pt>
                <c:pt idx="2556">
                  <c:v>3786.74</c:v>
                </c:pt>
                <c:pt idx="2557">
                  <c:v>3785.22</c:v>
                </c:pt>
                <c:pt idx="2558">
                  <c:v>3808.73</c:v>
                </c:pt>
                <c:pt idx="2559">
                  <c:v>3824.19</c:v>
                </c:pt>
                <c:pt idx="2560">
                  <c:v>3806.84</c:v>
                </c:pt>
                <c:pt idx="2561">
                  <c:v>3804.64</c:v>
                </c:pt>
                <c:pt idx="2562">
                  <c:v>3768.4</c:v>
                </c:pt>
                <c:pt idx="2563">
                  <c:v>3807.96</c:v>
                </c:pt>
                <c:pt idx="2564">
                  <c:v>3781.68</c:v>
                </c:pt>
                <c:pt idx="2565">
                  <c:v>3789.91</c:v>
                </c:pt>
                <c:pt idx="2566">
                  <c:v>3819.83</c:v>
                </c:pt>
                <c:pt idx="2567">
                  <c:v>3851.07</c:v>
                </c:pt>
                <c:pt idx="2568">
                  <c:v>3858.57</c:v>
                </c:pt>
                <c:pt idx="2569">
                  <c:v>3854.27</c:v>
                </c:pt>
                <c:pt idx="2570">
                  <c:v>3870.32</c:v>
                </c:pt>
                <c:pt idx="2571">
                  <c:v>3835.36</c:v>
                </c:pt>
                <c:pt idx="2572">
                  <c:v>3803.47</c:v>
                </c:pt>
                <c:pt idx="2573">
                  <c:v>3747.44</c:v>
                </c:pt>
                <c:pt idx="2574">
                  <c:v>3675.69</c:v>
                </c:pt>
                <c:pt idx="2575">
                  <c:v>3636.33</c:v>
                </c:pt>
                <c:pt idx="2576">
                  <c:v>3621.43</c:v>
                </c:pt>
                <c:pt idx="2577">
                  <c:v>3669.29</c:v>
                </c:pt>
                <c:pt idx="2578">
                  <c:v>3633.53</c:v>
                </c:pt>
                <c:pt idx="2579">
                  <c:v>3699.1</c:v>
                </c:pt>
                <c:pt idx="2580">
                  <c:v>3665.75</c:v>
                </c:pt>
                <c:pt idx="2581">
                  <c:v>3682.4</c:v>
                </c:pt>
                <c:pt idx="2582">
                  <c:v>3694</c:v>
                </c:pt>
                <c:pt idx="2583">
                  <c:v>3710.54</c:v>
                </c:pt>
                <c:pt idx="2584">
                  <c:v>3791.09</c:v>
                </c:pt>
                <c:pt idx="2585">
                  <c:v>3787.73</c:v>
                </c:pt>
                <c:pt idx="2586">
                  <c:v>3781.76</c:v>
                </c:pt>
                <c:pt idx="2587">
                  <c:v>3793.51</c:v>
                </c:pt>
                <c:pt idx="2588">
                  <c:v>3820.86</c:v>
                </c:pt>
                <c:pt idx="2589">
                  <c:v>3765.91</c:v>
                </c:pt>
                <c:pt idx="2590">
                  <c:v>3816.95</c:v>
                </c:pt>
                <c:pt idx="2591">
                  <c:v>3802.58</c:v>
                </c:pt>
                <c:pt idx="2592">
                  <c:v>3790.19</c:v>
                </c:pt>
                <c:pt idx="2593">
                  <c:v>3799.59</c:v>
                </c:pt>
                <c:pt idx="2594">
                  <c:v>3848.32</c:v>
                </c:pt>
                <c:pt idx="2595">
                  <c:v>3853.61</c:v>
                </c:pt>
                <c:pt idx="2596">
                  <c:v>3886</c:v>
                </c:pt>
                <c:pt idx="2597">
                  <c:v>3925.32</c:v>
                </c:pt>
                <c:pt idx="2598">
                  <c:v>3948.51</c:v>
                </c:pt>
                <c:pt idx="2599">
                  <c:v>3972.95</c:v>
                </c:pt>
                <c:pt idx="2600">
                  <c:v>3959.27</c:v>
                </c:pt>
                <c:pt idx="2601">
                  <c:v>3930.1</c:v>
                </c:pt>
                <c:pt idx="2602">
                  <c:v>3972.38</c:v>
                </c:pt>
                <c:pt idx="2603">
                  <c:v>3957.72</c:v>
                </c:pt>
                <c:pt idx="2604">
                  <c:v>3891.22</c:v>
                </c:pt>
                <c:pt idx="2605">
                  <c:v>3910.08</c:v>
                </c:pt>
                <c:pt idx="2606">
                  <c:v>3924.38</c:v>
                </c:pt>
                <c:pt idx="2607">
                  <c:v>3935.65</c:v>
                </c:pt>
                <c:pt idx="2608">
                  <c:v>3890.66</c:v>
                </c:pt>
                <c:pt idx="2609">
                  <c:v>3901.08</c:v>
                </c:pt>
                <c:pt idx="2610">
                  <c:v>3870.98</c:v>
                </c:pt>
                <c:pt idx="2611">
                  <c:v>3841.14</c:v>
                </c:pt>
                <c:pt idx="2612">
                  <c:v>3852.65</c:v>
                </c:pt>
                <c:pt idx="2613">
                  <c:v>3814.53</c:v>
                </c:pt>
                <c:pt idx="2614">
                  <c:v>3837.68</c:v>
                </c:pt>
                <c:pt idx="2615">
                  <c:v>3843.24</c:v>
                </c:pt>
                <c:pt idx="2616">
                  <c:v>3874.64</c:v>
                </c:pt>
                <c:pt idx="2617">
                  <c:v>3911.73</c:v>
                </c:pt>
                <c:pt idx="2618">
                  <c:v>3953.24</c:v>
                </c:pt>
                <c:pt idx="2619">
                  <c:v>3936.25</c:v>
                </c:pt>
                <c:pt idx="2620">
                  <c:v>3922.69</c:v>
                </c:pt>
                <c:pt idx="2621">
                  <c:v>3925.22</c:v>
                </c:pt>
                <c:pt idx="2622">
                  <c:v>3869.38</c:v>
                </c:pt>
                <c:pt idx="2623">
                  <c:v>3880.84</c:v>
                </c:pt>
                <c:pt idx="2624">
                  <c:v>3895.88</c:v>
                </c:pt>
                <c:pt idx="2625">
                  <c:v>3871.08</c:v>
                </c:pt>
                <c:pt idx="2626">
                  <c:v>3870.67</c:v>
                </c:pt>
                <c:pt idx="2627">
                  <c:v>3896.79</c:v>
                </c:pt>
                <c:pt idx="2628">
                  <c:v>3926.59</c:v>
                </c:pt>
                <c:pt idx="2629">
                  <c:v>3910.23</c:v>
                </c:pt>
                <c:pt idx="2630">
                  <c:v>3891.23</c:v>
                </c:pt>
                <c:pt idx="2631">
                  <c:v>3886.75</c:v>
                </c:pt>
                <c:pt idx="2632">
                  <c:v>3952.39</c:v>
                </c:pt>
                <c:pt idx="2633">
                  <c:v>3978.12</c:v>
                </c:pt>
                <c:pt idx="2634">
                  <c:v>4002.81</c:v>
                </c:pt>
                <c:pt idx="2635">
                  <c:v>3984.88</c:v>
                </c:pt>
                <c:pt idx="2636">
                  <c:v>3991.87</c:v>
                </c:pt>
                <c:pt idx="2637">
                  <c:v>3973.01</c:v>
                </c:pt>
                <c:pt idx="2638">
                  <c:v>3902.98</c:v>
                </c:pt>
                <c:pt idx="2639">
                  <c:v>3903.69</c:v>
                </c:pt>
                <c:pt idx="2640">
                  <c:v>3899.98</c:v>
                </c:pt>
                <c:pt idx="2641">
                  <c:v>3905.86</c:v>
                </c:pt>
                <c:pt idx="2642">
                  <c:v>3877.09</c:v>
                </c:pt>
                <c:pt idx="2643">
                  <c:v>3907.93</c:v>
                </c:pt>
                <c:pt idx="2644">
                  <c:v>3947.04</c:v>
                </c:pt>
                <c:pt idx="2645">
                  <c:v>3907.86</c:v>
                </c:pt>
                <c:pt idx="2646">
                  <c:v>3889.6</c:v>
                </c:pt>
                <c:pt idx="2647">
                  <c:v>3849.99</c:v>
                </c:pt>
                <c:pt idx="2648">
                  <c:v>3878.21</c:v>
                </c:pt>
                <c:pt idx="2649">
                  <c:v>3891.65</c:v>
                </c:pt>
                <c:pt idx="2650">
                  <c:v>3875.62</c:v>
                </c:pt>
                <c:pt idx="2651">
                  <c:v>3862.3</c:v>
                </c:pt>
                <c:pt idx="2652">
                  <c:v>3828.67</c:v>
                </c:pt>
                <c:pt idx="2653">
                  <c:v>3836.06</c:v>
                </c:pt>
                <c:pt idx="2654">
                  <c:v>3851.09</c:v>
                </c:pt>
                <c:pt idx="2655">
                  <c:v>3849.82</c:v>
                </c:pt>
                <c:pt idx="2656">
                  <c:v>3879.36</c:v>
                </c:pt>
                <c:pt idx="2657">
                  <c:v>3902.39</c:v>
                </c:pt>
                <c:pt idx="2658">
                  <c:v>3895.45</c:v>
                </c:pt>
                <c:pt idx="2659">
                  <c:v>3900.38</c:v>
                </c:pt>
                <c:pt idx="2660">
                  <c:v>3902.75</c:v>
                </c:pt>
                <c:pt idx="2661">
                  <c:v>3891.02</c:v>
                </c:pt>
                <c:pt idx="2662">
                  <c:v>3968.22</c:v>
                </c:pt>
                <c:pt idx="2663">
                  <c:v>3987.55</c:v>
                </c:pt>
                <c:pt idx="2664">
                  <c:v>4041.8</c:v>
                </c:pt>
                <c:pt idx="2665">
                  <c:v>4032.78</c:v>
                </c:pt>
                <c:pt idx="2666">
                  <c:v>4027.15</c:v>
                </c:pt>
                <c:pt idx="2667">
                  <c:v>4017.25</c:v>
                </c:pt>
                <c:pt idx="2668">
                  <c:v>3967.1</c:v>
                </c:pt>
                <c:pt idx="2669">
                  <c:v>3992.96</c:v>
                </c:pt>
                <c:pt idx="2670">
                  <c:v>3990.87</c:v>
                </c:pt>
                <c:pt idx="2671">
                  <c:v>4025.99</c:v>
                </c:pt>
                <c:pt idx="2672">
                  <c:v>4022.03</c:v>
                </c:pt>
                <c:pt idx="2673">
                  <c:v>4081.63</c:v>
                </c:pt>
                <c:pt idx="2674">
                  <c:v>4096.58</c:v>
                </c:pt>
                <c:pt idx="2675">
                  <c:v>4152.24</c:v>
                </c:pt>
                <c:pt idx="2676">
                  <c:v>4144.96</c:v>
                </c:pt>
                <c:pt idx="2677">
                  <c:v>4129.3</c:v>
                </c:pt>
                <c:pt idx="2678">
                  <c:v>4160.2299999999996</c:v>
                </c:pt>
                <c:pt idx="2679">
                  <c:v>4112.32</c:v>
                </c:pt>
                <c:pt idx="2680">
                  <c:v>4164.37</c:v>
                </c:pt>
                <c:pt idx="2681">
                  <c:v>4163.18</c:v>
                </c:pt>
                <c:pt idx="2682">
                  <c:v>4203.99</c:v>
                </c:pt>
                <c:pt idx="2683">
                  <c:v>4189.8900000000003</c:v>
                </c:pt>
                <c:pt idx="2684">
                  <c:v>4166.7299999999996</c:v>
                </c:pt>
                <c:pt idx="2685">
                  <c:v>4149.04</c:v>
                </c:pt>
                <c:pt idx="2686">
                  <c:v>4154.8500000000004</c:v>
                </c:pt>
                <c:pt idx="2687">
                  <c:v>4185.83</c:v>
                </c:pt>
                <c:pt idx="2688">
                  <c:v>4114.3100000000004</c:v>
                </c:pt>
                <c:pt idx="2689">
                  <c:v>4131.93</c:v>
                </c:pt>
                <c:pt idx="2690">
                  <c:v>4003.9</c:v>
                </c:pt>
                <c:pt idx="2691">
                  <c:v>3688.36</c:v>
                </c:pt>
                <c:pt idx="2692">
                  <c:v>3785.64</c:v>
                </c:pt>
                <c:pt idx="2693">
                  <c:v>3828.53</c:v>
                </c:pt>
                <c:pt idx="2694">
                  <c:v>3899.78</c:v>
                </c:pt>
                <c:pt idx="2695">
                  <c:v>3899.87</c:v>
                </c:pt>
                <c:pt idx="2696">
                  <c:v>3916.01</c:v>
                </c:pt>
                <c:pt idx="2697">
                  <c:v>3952.46</c:v>
                </c:pt>
                <c:pt idx="2698">
                  <c:v>3984.43</c:v>
                </c:pt>
                <c:pt idx="2699">
                  <c:v>3959.92</c:v>
                </c:pt>
                <c:pt idx="2700">
                  <c:v>3987.73</c:v>
                </c:pt>
                <c:pt idx="2701">
                  <c:v>4077.42</c:v>
                </c:pt>
                <c:pt idx="2702">
                  <c:v>4057.51</c:v>
                </c:pt>
                <c:pt idx="2703">
                  <c:v>4051.31</c:v>
                </c:pt>
                <c:pt idx="2704">
                  <c:v>4144.66</c:v>
                </c:pt>
                <c:pt idx="2705">
                  <c:v>4149.49</c:v>
                </c:pt>
                <c:pt idx="2706">
                  <c:v>4132.84</c:v>
                </c:pt>
                <c:pt idx="2707">
                  <c:v>4123.8500000000004</c:v>
                </c:pt>
                <c:pt idx="2708">
                  <c:v>4073.02</c:v>
                </c:pt>
                <c:pt idx="2709">
                  <c:v>4084.88</c:v>
                </c:pt>
                <c:pt idx="2710">
                  <c:v>3940.05</c:v>
                </c:pt>
                <c:pt idx="2711">
                  <c:v>4069.67</c:v>
                </c:pt>
                <c:pt idx="2712">
                  <c:v>4091.36</c:v>
                </c:pt>
                <c:pt idx="2713">
                  <c:v>4115.05</c:v>
                </c:pt>
                <c:pt idx="2714">
                  <c:v>4206.7299999999996</c:v>
                </c:pt>
                <c:pt idx="2715">
                  <c:v>4138.51</c:v>
                </c:pt>
                <c:pt idx="2716">
                  <c:v>3997.13</c:v>
                </c:pt>
                <c:pt idx="2717">
                  <c:v>4082.73</c:v>
                </c:pt>
                <c:pt idx="2718">
                  <c:v>4028.43</c:v>
                </c:pt>
                <c:pt idx="2719">
                  <c:v>3950.91</c:v>
                </c:pt>
                <c:pt idx="2720">
                  <c:v>3895.31</c:v>
                </c:pt>
                <c:pt idx="2721">
                  <c:v>3727.84</c:v>
                </c:pt>
                <c:pt idx="2722">
                  <c:v>3709.68</c:v>
                </c:pt>
                <c:pt idx="2723">
                  <c:v>3636.26</c:v>
                </c:pt>
                <c:pt idx="2724">
                  <c:v>3589.09</c:v>
                </c:pt>
                <c:pt idx="2725">
                  <c:v>3653.22</c:v>
                </c:pt>
                <c:pt idx="2726">
                  <c:v>3530.31</c:v>
                </c:pt>
                <c:pt idx="2727">
                  <c:v>3625.11</c:v>
                </c:pt>
                <c:pt idx="2728">
                  <c:v>3722.52</c:v>
                </c:pt>
                <c:pt idx="2729">
                  <c:v>3698.05</c:v>
                </c:pt>
                <c:pt idx="2730">
                  <c:v>3710.06</c:v>
                </c:pt>
                <c:pt idx="2731">
                  <c:v>3674.11</c:v>
                </c:pt>
                <c:pt idx="2732">
                  <c:v>3686.16</c:v>
                </c:pt>
                <c:pt idx="2733">
                  <c:v>3675.08</c:v>
                </c:pt>
                <c:pt idx="2734">
                  <c:v>3734.53</c:v>
                </c:pt>
                <c:pt idx="2735">
                  <c:v>3713.22</c:v>
                </c:pt>
                <c:pt idx="2736">
                  <c:v>3798.02</c:v>
                </c:pt>
                <c:pt idx="2737">
                  <c:v>3780.34</c:v>
                </c:pt>
                <c:pt idx="2738">
                  <c:v>3792.81</c:v>
                </c:pt>
                <c:pt idx="2739">
                  <c:v>3769.18</c:v>
                </c:pt>
                <c:pt idx="2740">
                  <c:v>3753.26</c:v>
                </c:pt>
                <c:pt idx="2741">
                  <c:v>3825.7</c:v>
                </c:pt>
                <c:pt idx="2742">
                  <c:v>3797.36</c:v>
                </c:pt>
                <c:pt idx="2743">
                  <c:v>3802.38</c:v>
                </c:pt>
                <c:pt idx="2744">
                  <c:v>3839.49</c:v>
                </c:pt>
                <c:pt idx="2745">
                  <c:v>3853.46</c:v>
                </c:pt>
                <c:pt idx="2746">
                  <c:v>3808.05</c:v>
                </c:pt>
                <c:pt idx="2747">
                  <c:v>3839.38</c:v>
                </c:pt>
                <c:pt idx="2748">
                  <c:v>3829.75</c:v>
                </c:pt>
                <c:pt idx="2749">
                  <c:v>3796.97</c:v>
                </c:pt>
                <c:pt idx="2750">
                  <c:v>3822.77</c:v>
                </c:pt>
                <c:pt idx="2751">
                  <c:v>3849.15</c:v>
                </c:pt>
                <c:pt idx="2752">
                  <c:v>3867.03</c:v>
                </c:pt>
                <c:pt idx="2753">
                  <c:v>3912.58</c:v>
                </c:pt>
                <c:pt idx="2754">
                  <c:v>3936.25</c:v>
                </c:pt>
                <c:pt idx="2755">
                  <c:v>3924.89</c:v>
                </c:pt>
                <c:pt idx="2756">
                  <c:v>3963.62</c:v>
                </c:pt>
                <c:pt idx="2757">
                  <c:v>3960.18</c:v>
                </c:pt>
                <c:pt idx="2758">
                  <c:v>3960.24</c:v>
                </c:pt>
                <c:pt idx="2759">
                  <c:v>3968.25</c:v>
                </c:pt>
                <c:pt idx="2760">
                  <c:v>3925.22</c:v>
                </c:pt>
                <c:pt idx="2761">
                  <c:v>3912.82</c:v>
                </c:pt>
                <c:pt idx="2762">
                  <c:v>3922.91</c:v>
                </c:pt>
                <c:pt idx="2763">
                  <c:v>3956.25</c:v>
                </c:pt>
                <c:pt idx="2764">
                  <c:v>3935.22</c:v>
                </c:pt>
                <c:pt idx="2765">
                  <c:v>3913.79</c:v>
                </c:pt>
                <c:pt idx="2766">
                  <c:v>3824.06</c:v>
                </c:pt>
                <c:pt idx="2767">
                  <c:v>3829.32</c:v>
                </c:pt>
                <c:pt idx="2768">
                  <c:v>3872.77</c:v>
                </c:pt>
                <c:pt idx="2769">
                  <c:v>3845.61</c:v>
                </c:pt>
                <c:pt idx="2770">
                  <c:v>3856.63</c:v>
                </c:pt>
                <c:pt idx="2771">
                  <c:v>3867.02</c:v>
                </c:pt>
                <c:pt idx="2772">
                  <c:v>3971.34</c:v>
                </c:pt>
                <c:pt idx="2773">
                  <c:v>3983.57</c:v>
                </c:pt>
                <c:pt idx="2774">
                  <c:v>3983.65</c:v>
                </c:pt>
                <c:pt idx="2775">
                  <c:v>3982.19</c:v>
                </c:pt>
                <c:pt idx="2776">
                  <c:v>4001.25</c:v>
                </c:pt>
                <c:pt idx="2777">
                  <c:v>4021.95</c:v>
                </c:pt>
                <c:pt idx="2778">
                  <c:v>4047.03</c:v>
                </c:pt>
                <c:pt idx="2779">
                  <c:v>4039.71</c:v>
                </c:pt>
                <c:pt idx="2780">
                  <c:v>3995.88</c:v>
                </c:pt>
                <c:pt idx="2781">
                  <c:v>4003.08</c:v>
                </c:pt>
                <c:pt idx="2782">
                  <c:v>3954.99</c:v>
                </c:pt>
                <c:pt idx="2783">
                  <c:v>4014.57</c:v>
                </c:pt>
                <c:pt idx="2784">
                  <c:v>4017.59</c:v>
                </c:pt>
                <c:pt idx="2785">
                  <c:v>4044.38</c:v>
                </c:pt>
                <c:pt idx="2786">
                  <c:v>4098.71</c:v>
                </c:pt>
                <c:pt idx="2787">
                  <c:v>4102.05</c:v>
                </c:pt>
                <c:pt idx="2788">
                  <c:v>4121.79</c:v>
                </c:pt>
                <c:pt idx="2789">
                  <c:v>4138.99</c:v>
                </c:pt>
                <c:pt idx="2790">
                  <c:v>4109.72</c:v>
                </c:pt>
                <c:pt idx="2791">
                  <c:v>4163.96</c:v>
                </c:pt>
                <c:pt idx="2792">
                  <c:v>4247.78</c:v>
                </c:pt>
                <c:pt idx="2793">
                  <c:v>4335.84</c:v>
                </c:pt>
                <c:pt idx="2794">
                  <c:v>4419.6000000000004</c:v>
                </c:pt>
                <c:pt idx="2795">
                  <c:v>4670.09</c:v>
                </c:pt>
                <c:pt idx="2796">
                  <c:v>4698.13</c:v>
                </c:pt>
                <c:pt idx="2797">
                  <c:v>4774</c:v>
                </c:pt>
                <c:pt idx="2798">
                  <c:v>4840.7700000000004</c:v>
                </c:pt>
                <c:pt idx="2799">
                  <c:v>4753.13</c:v>
                </c:pt>
                <c:pt idx="2800">
                  <c:v>4852.96</c:v>
                </c:pt>
                <c:pt idx="2801">
                  <c:v>4806.6899999999996</c:v>
                </c:pt>
                <c:pt idx="2802">
                  <c:v>4744.47</c:v>
                </c:pt>
                <c:pt idx="2803">
                  <c:v>4516.25</c:v>
                </c:pt>
                <c:pt idx="2804">
                  <c:v>4544.7</c:v>
                </c:pt>
                <c:pt idx="2805">
                  <c:v>4680.3</c:v>
                </c:pt>
                <c:pt idx="2806">
                  <c:v>4691.04</c:v>
                </c:pt>
                <c:pt idx="2807">
                  <c:v>4714.45</c:v>
                </c:pt>
                <c:pt idx="2808">
                  <c:v>4712.4399999999996</c:v>
                </c:pt>
                <c:pt idx="2809">
                  <c:v>4505.59</c:v>
                </c:pt>
                <c:pt idx="2810">
                  <c:v>4528.45</c:v>
                </c:pt>
                <c:pt idx="2811">
                  <c:v>4568.26</c:v>
                </c:pt>
                <c:pt idx="2812">
                  <c:v>4679.01</c:v>
                </c:pt>
                <c:pt idx="2813">
                  <c:v>4656.1499999999996</c:v>
                </c:pt>
                <c:pt idx="2814">
                  <c:v>4695.05</c:v>
                </c:pt>
                <c:pt idx="2815">
                  <c:v>4771.3100000000004</c:v>
                </c:pt>
                <c:pt idx="2816">
                  <c:v>4775.8</c:v>
                </c:pt>
                <c:pt idx="2817">
                  <c:v>4777.1099999999997</c:v>
                </c:pt>
                <c:pt idx="2818">
                  <c:v>4762.76</c:v>
                </c:pt>
                <c:pt idx="2819">
                  <c:v>4707.93</c:v>
                </c:pt>
                <c:pt idx="2820">
                  <c:v>4724.87</c:v>
                </c:pt>
                <c:pt idx="2821">
                  <c:v>4681.78</c:v>
                </c:pt>
                <c:pt idx="2822">
                  <c:v>4647.6400000000003</c:v>
                </c:pt>
                <c:pt idx="2823">
                  <c:v>4635.71</c:v>
                </c:pt>
                <c:pt idx="2824">
                  <c:v>4704.63</c:v>
                </c:pt>
                <c:pt idx="2825">
                  <c:v>4815.2299999999996</c:v>
                </c:pt>
                <c:pt idx="2826">
                  <c:v>4812.76</c:v>
                </c:pt>
                <c:pt idx="2827">
                  <c:v>4740.68</c:v>
                </c:pt>
                <c:pt idx="2828">
                  <c:v>4679.1499999999996</c:v>
                </c:pt>
                <c:pt idx="2829">
                  <c:v>4718.84</c:v>
                </c:pt>
                <c:pt idx="2830">
                  <c:v>4755.8500000000004</c:v>
                </c:pt>
                <c:pt idx="2831">
                  <c:v>4761.95</c:v>
                </c:pt>
                <c:pt idx="2832">
                  <c:v>4706.13</c:v>
                </c:pt>
                <c:pt idx="2833">
                  <c:v>4731.3500000000004</c:v>
                </c:pt>
                <c:pt idx="2834">
                  <c:v>4844.2700000000004</c:v>
                </c:pt>
                <c:pt idx="2835">
                  <c:v>4816.22</c:v>
                </c:pt>
                <c:pt idx="2836">
                  <c:v>4842.12</c:v>
                </c:pt>
                <c:pt idx="2837">
                  <c:v>4843.8900000000003</c:v>
                </c:pt>
                <c:pt idx="2838">
                  <c:v>4817.1000000000004</c:v>
                </c:pt>
                <c:pt idx="2839">
                  <c:v>4770.22</c:v>
                </c:pt>
                <c:pt idx="2840">
                  <c:v>4669.37</c:v>
                </c:pt>
                <c:pt idx="2841">
                  <c:v>4694.3900000000003</c:v>
                </c:pt>
                <c:pt idx="2842">
                  <c:v>4584.59</c:v>
                </c:pt>
                <c:pt idx="2843">
                  <c:v>4581.9799999999996</c:v>
                </c:pt>
                <c:pt idx="2844">
                  <c:v>4627.28</c:v>
                </c:pt>
                <c:pt idx="2845">
                  <c:v>4651.05</c:v>
                </c:pt>
                <c:pt idx="2846">
                  <c:v>4688.4799999999996</c:v>
                </c:pt>
                <c:pt idx="2847">
                  <c:v>4657.3599999999997</c:v>
                </c:pt>
                <c:pt idx="2848">
                  <c:v>4632.71</c:v>
                </c:pt>
                <c:pt idx="2849">
                  <c:v>4737.09</c:v>
                </c:pt>
                <c:pt idx="2850">
                  <c:v>4691.43</c:v>
                </c:pt>
                <c:pt idx="2851">
                  <c:v>4635.76</c:v>
                </c:pt>
                <c:pt idx="2852">
                  <c:v>4652.33</c:v>
                </c:pt>
                <c:pt idx="2853">
                  <c:v>4563.07</c:v>
                </c:pt>
                <c:pt idx="2854">
                  <c:v>4570.0200000000004</c:v>
                </c:pt>
                <c:pt idx="2855">
                  <c:v>4581.91</c:v>
                </c:pt>
                <c:pt idx="2856">
                  <c:v>4591.8</c:v>
                </c:pt>
                <c:pt idx="2857">
                  <c:v>4587.3999999999996</c:v>
                </c:pt>
                <c:pt idx="2858">
                  <c:v>4681.1400000000003</c:v>
                </c:pt>
                <c:pt idx="2859">
                  <c:v>4823.16</c:v>
                </c:pt>
                <c:pt idx="2860">
                  <c:v>4839.2</c:v>
                </c:pt>
                <c:pt idx="2861">
                  <c:v>4807.1000000000004</c:v>
                </c:pt>
                <c:pt idx="2862">
                  <c:v>4798.74</c:v>
                </c:pt>
                <c:pt idx="2863">
                  <c:v>4791.68</c:v>
                </c:pt>
                <c:pt idx="2864">
                  <c:v>4755.49</c:v>
                </c:pt>
                <c:pt idx="2865">
                  <c:v>4793.47</c:v>
                </c:pt>
                <c:pt idx="2866">
                  <c:v>4792.83</c:v>
                </c:pt>
                <c:pt idx="2867">
                  <c:v>4777.9799999999996</c:v>
                </c:pt>
                <c:pt idx="2868">
                  <c:v>4718.49</c:v>
                </c:pt>
                <c:pt idx="2869">
                  <c:v>4691.24</c:v>
                </c:pt>
                <c:pt idx="2870">
                  <c:v>4699.28</c:v>
                </c:pt>
                <c:pt idx="2871">
                  <c:v>4737.2700000000004</c:v>
                </c:pt>
                <c:pt idx="2872">
                  <c:v>4772.92</c:v>
                </c:pt>
                <c:pt idx="2873">
                  <c:v>4695.33</c:v>
                </c:pt>
                <c:pt idx="2874">
                  <c:v>4720.83</c:v>
                </c:pt>
                <c:pt idx="2875">
                  <c:v>4777.5600000000004</c:v>
                </c:pt>
                <c:pt idx="2876">
                  <c:v>4813.66</c:v>
                </c:pt>
                <c:pt idx="2877">
                  <c:v>4885.1099999999997</c:v>
                </c:pt>
                <c:pt idx="2878">
                  <c:v>4885.72</c:v>
                </c:pt>
                <c:pt idx="2879">
                  <c:v>4981.3500000000004</c:v>
                </c:pt>
                <c:pt idx="2880">
                  <c:v>4953.88</c:v>
                </c:pt>
                <c:pt idx="2881">
                  <c:v>4904.8999999999996</c:v>
                </c:pt>
                <c:pt idx="2882">
                  <c:v>4908.46</c:v>
                </c:pt>
                <c:pt idx="2883">
                  <c:v>4856.8500000000004</c:v>
                </c:pt>
                <c:pt idx="2884">
                  <c:v>4904.17</c:v>
                </c:pt>
                <c:pt idx="2885">
                  <c:v>4894.79</c:v>
                </c:pt>
                <c:pt idx="2886">
                  <c:v>4891.67</c:v>
                </c:pt>
                <c:pt idx="2887">
                  <c:v>4927.99</c:v>
                </c:pt>
                <c:pt idx="2888">
                  <c:v>4943.29</c:v>
                </c:pt>
                <c:pt idx="2889">
                  <c:v>5005.03</c:v>
                </c:pt>
                <c:pt idx="2890">
                  <c:v>4974.29</c:v>
                </c:pt>
                <c:pt idx="2891">
                  <c:v>4910.7</c:v>
                </c:pt>
                <c:pt idx="2892">
                  <c:v>4919.59</c:v>
                </c:pt>
                <c:pt idx="2893">
                  <c:v>4980.7700000000004</c:v>
                </c:pt>
                <c:pt idx="2894">
                  <c:v>4960.25</c:v>
                </c:pt>
                <c:pt idx="2895">
                  <c:v>5067.1000000000004</c:v>
                </c:pt>
                <c:pt idx="2896">
                  <c:v>5067.1400000000003</c:v>
                </c:pt>
                <c:pt idx="2897">
                  <c:v>5057.0600000000004</c:v>
                </c:pt>
                <c:pt idx="2898">
                  <c:v>5065.92</c:v>
                </c:pt>
                <c:pt idx="2899">
                  <c:v>5022.24</c:v>
                </c:pt>
                <c:pt idx="2900">
                  <c:v>5009.88</c:v>
                </c:pt>
                <c:pt idx="2901">
                  <c:v>4942.7</c:v>
                </c:pt>
                <c:pt idx="2902">
                  <c:v>4940.5200000000004</c:v>
                </c:pt>
                <c:pt idx="2903">
                  <c:v>4889.63</c:v>
                </c:pt>
                <c:pt idx="2904">
                  <c:v>4934.84</c:v>
                </c:pt>
                <c:pt idx="2905">
                  <c:v>4945.1000000000004</c:v>
                </c:pt>
                <c:pt idx="2906">
                  <c:v>4953.87</c:v>
                </c:pt>
                <c:pt idx="2907">
                  <c:v>5017.4799999999996</c:v>
                </c:pt>
                <c:pt idx="2908">
                  <c:v>4999.97</c:v>
                </c:pt>
                <c:pt idx="2909">
                  <c:v>5046.84</c:v>
                </c:pt>
                <c:pt idx="2910">
                  <c:v>4964.7700000000004</c:v>
                </c:pt>
                <c:pt idx="2911">
                  <c:v>5007.12</c:v>
                </c:pt>
                <c:pt idx="2912">
                  <c:v>5000.0200000000004</c:v>
                </c:pt>
                <c:pt idx="2913">
                  <c:v>5042.01</c:v>
                </c:pt>
                <c:pt idx="2914">
                  <c:v>5064.41</c:v>
                </c:pt>
                <c:pt idx="2915">
                  <c:v>5042.9399999999996</c:v>
                </c:pt>
                <c:pt idx="2916">
                  <c:v>5113.71</c:v>
                </c:pt>
                <c:pt idx="2917">
                  <c:v>5211.29</c:v>
                </c:pt>
                <c:pt idx="2918">
                  <c:v>5267.72</c:v>
                </c:pt>
                <c:pt idx="2919">
                  <c:v>5368.5</c:v>
                </c:pt>
                <c:pt idx="2920">
                  <c:v>5417.67</c:v>
                </c:pt>
                <c:pt idx="2921">
                  <c:v>5513.66</c:v>
                </c:pt>
                <c:pt idx="2922">
                  <c:v>5495.43</c:v>
                </c:pt>
                <c:pt idx="2923">
                  <c:v>5441.16</c:v>
                </c:pt>
                <c:pt idx="2924">
                  <c:v>5596.35</c:v>
                </c:pt>
                <c:pt idx="2925">
                  <c:v>5577.97</c:v>
                </c:pt>
                <c:pt idx="2926">
                  <c:v>5470.46</c:v>
                </c:pt>
                <c:pt idx="2927">
                  <c:v>5458.08</c:v>
                </c:pt>
                <c:pt idx="2928">
                  <c:v>5518.52</c:v>
                </c:pt>
                <c:pt idx="2929">
                  <c:v>5437.52</c:v>
                </c:pt>
                <c:pt idx="2930">
                  <c:v>5476.43</c:v>
                </c:pt>
                <c:pt idx="2931">
                  <c:v>5564.97</c:v>
                </c:pt>
                <c:pt idx="2932">
                  <c:v>5569.78</c:v>
                </c:pt>
                <c:pt idx="2933">
                  <c:v>5625.92</c:v>
                </c:pt>
                <c:pt idx="2934">
                  <c:v>5512.97</c:v>
                </c:pt>
                <c:pt idx="2935">
                  <c:v>5528</c:v>
                </c:pt>
                <c:pt idx="2936">
                  <c:v>5377.14</c:v>
                </c:pt>
                <c:pt idx="2937">
                  <c:v>5351.96</c:v>
                </c:pt>
                <c:pt idx="2938">
                  <c:v>5417.65</c:v>
                </c:pt>
                <c:pt idx="2939">
                  <c:v>5501.09</c:v>
                </c:pt>
                <c:pt idx="2940">
                  <c:v>5485.2</c:v>
                </c:pt>
                <c:pt idx="2941">
                  <c:v>5473.95</c:v>
                </c:pt>
                <c:pt idx="2942">
                  <c:v>5483.41</c:v>
                </c:pt>
                <c:pt idx="2943">
                  <c:v>5564.56</c:v>
                </c:pt>
                <c:pt idx="2944">
                  <c:v>5686.25</c:v>
                </c:pt>
                <c:pt idx="2945">
                  <c:v>5807.72</c:v>
                </c:pt>
                <c:pt idx="2946">
                  <c:v>5768.38</c:v>
                </c:pt>
                <c:pt idx="2947">
                  <c:v>5778.84</c:v>
                </c:pt>
                <c:pt idx="2948">
                  <c:v>5597.33</c:v>
                </c:pt>
                <c:pt idx="2949">
                  <c:v>5579.67</c:v>
                </c:pt>
                <c:pt idx="2950">
                  <c:v>5437.57</c:v>
                </c:pt>
                <c:pt idx="2951">
                  <c:v>5469.56</c:v>
                </c:pt>
                <c:pt idx="2952">
                  <c:v>5336.76</c:v>
                </c:pt>
                <c:pt idx="2953">
                  <c:v>5418.78</c:v>
                </c:pt>
                <c:pt idx="2954">
                  <c:v>5349.63</c:v>
                </c:pt>
                <c:pt idx="2955">
                  <c:v>5452.21</c:v>
                </c:pt>
                <c:pt idx="2956">
                  <c:v>5280.71</c:v>
                </c:pt>
                <c:pt idx="2957">
                  <c:v>5262.8</c:v>
                </c:pt>
                <c:pt idx="2958">
                  <c:v>5080.0200000000004</c:v>
                </c:pt>
                <c:pt idx="2959">
                  <c:v>4971</c:v>
                </c:pt>
                <c:pt idx="2960">
                  <c:v>5003.6099999999997</c:v>
                </c:pt>
                <c:pt idx="2961">
                  <c:v>5128.22</c:v>
                </c:pt>
                <c:pt idx="2962">
                  <c:v>5146.38</c:v>
                </c:pt>
                <c:pt idx="2963">
                  <c:v>5035.54</c:v>
                </c:pt>
                <c:pt idx="2964">
                  <c:v>5079.3599999999997</c:v>
                </c:pt>
                <c:pt idx="2965">
                  <c:v>5100.8599999999997</c:v>
                </c:pt>
                <c:pt idx="2966">
                  <c:v>5141.7700000000004</c:v>
                </c:pt>
                <c:pt idx="2967">
                  <c:v>5007.09</c:v>
                </c:pt>
                <c:pt idx="2968">
                  <c:v>5057.1499999999996</c:v>
                </c:pt>
                <c:pt idx="2969">
                  <c:v>5009.25</c:v>
                </c:pt>
                <c:pt idx="2970">
                  <c:v>4928.6899999999996</c:v>
                </c:pt>
                <c:pt idx="2971">
                  <c:v>4926.3500000000004</c:v>
                </c:pt>
                <c:pt idx="2972">
                  <c:v>5037.99</c:v>
                </c:pt>
                <c:pt idx="2973">
                  <c:v>5046.88</c:v>
                </c:pt>
                <c:pt idx="2974">
                  <c:v>5094.7299999999996</c:v>
                </c:pt>
                <c:pt idx="2975">
                  <c:v>5048.3599999999997</c:v>
                </c:pt>
                <c:pt idx="2976">
                  <c:v>5110.78</c:v>
                </c:pt>
                <c:pt idx="2977">
                  <c:v>5161.5600000000004</c:v>
                </c:pt>
                <c:pt idx="2978">
                  <c:v>5140.34</c:v>
                </c:pt>
                <c:pt idx="2979">
                  <c:v>5103.74</c:v>
                </c:pt>
                <c:pt idx="2980">
                  <c:v>5112.21</c:v>
                </c:pt>
                <c:pt idx="2981">
                  <c:v>5035.34</c:v>
                </c:pt>
                <c:pt idx="2982">
                  <c:v>4947.75</c:v>
                </c:pt>
                <c:pt idx="2983">
                  <c:v>4939.6400000000003</c:v>
                </c:pt>
                <c:pt idx="2984">
                  <c:v>4980.63</c:v>
                </c:pt>
                <c:pt idx="2985">
                  <c:v>4948.97</c:v>
                </c:pt>
                <c:pt idx="2986">
                  <c:v>4966.18</c:v>
                </c:pt>
                <c:pt idx="2987">
                  <c:v>5087.0200000000004</c:v>
                </c:pt>
                <c:pt idx="2988">
                  <c:v>5083.37</c:v>
                </c:pt>
                <c:pt idx="2989">
                  <c:v>5098.74</c:v>
                </c:pt>
                <c:pt idx="2990">
                  <c:v>5089.24</c:v>
                </c:pt>
                <c:pt idx="2991">
                  <c:v>5135.45</c:v>
                </c:pt>
                <c:pt idx="2992">
                  <c:v>5077.24</c:v>
                </c:pt>
                <c:pt idx="2993">
                  <c:v>5090.5200000000004</c:v>
                </c:pt>
                <c:pt idx="2994">
                  <c:v>5119.24</c:v>
                </c:pt>
                <c:pt idx="2995">
                  <c:v>5164.17</c:v>
                </c:pt>
                <c:pt idx="2996">
                  <c:v>5123.49</c:v>
                </c:pt>
                <c:pt idx="2997">
                  <c:v>5061.12</c:v>
                </c:pt>
                <c:pt idx="2998">
                  <c:v>4996.05</c:v>
                </c:pt>
                <c:pt idx="2999">
                  <c:v>4992.42</c:v>
                </c:pt>
                <c:pt idx="3000">
                  <c:v>5023.0600000000004</c:v>
                </c:pt>
                <c:pt idx="3001">
                  <c:v>5044.55</c:v>
                </c:pt>
                <c:pt idx="3002">
                  <c:v>4992.97</c:v>
                </c:pt>
                <c:pt idx="3003">
                  <c:v>5110.59</c:v>
                </c:pt>
                <c:pt idx="3004">
                  <c:v>5184.99</c:v>
                </c:pt>
                <c:pt idx="3005">
                  <c:v>5187.6000000000004</c:v>
                </c:pt>
                <c:pt idx="3006">
                  <c:v>5172.2700000000004</c:v>
                </c:pt>
                <c:pt idx="3007">
                  <c:v>5186.41</c:v>
                </c:pt>
                <c:pt idx="3008">
                  <c:v>5134.1499999999996</c:v>
                </c:pt>
                <c:pt idx="3009">
                  <c:v>5155.59</c:v>
                </c:pt>
                <c:pt idx="3010">
                  <c:v>5318.48</c:v>
                </c:pt>
                <c:pt idx="3011">
                  <c:v>5320.59</c:v>
                </c:pt>
                <c:pt idx="3012">
                  <c:v>5338.23</c:v>
                </c:pt>
                <c:pt idx="3013">
                  <c:v>5321.09</c:v>
                </c:pt>
                <c:pt idx="3014">
                  <c:v>5331.57</c:v>
                </c:pt>
                <c:pt idx="3015">
                  <c:v>5341.68</c:v>
                </c:pt>
                <c:pt idx="3016">
                  <c:v>5289.97</c:v>
                </c:pt>
                <c:pt idx="3017">
                  <c:v>5255.29</c:v>
                </c:pt>
                <c:pt idx="3018">
                  <c:v>5282.28</c:v>
                </c:pt>
                <c:pt idx="3019">
                  <c:v>5277.63</c:v>
                </c:pt>
                <c:pt idx="3020">
                  <c:v>5232.12</c:v>
                </c:pt>
                <c:pt idx="3021">
                  <c:v>5236.45</c:v>
                </c:pt>
                <c:pt idx="3022">
                  <c:v>5271.47</c:v>
                </c:pt>
                <c:pt idx="3023">
                  <c:v>5224.7</c:v>
                </c:pt>
                <c:pt idx="3024">
                  <c:v>5166.5600000000004</c:v>
                </c:pt>
                <c:pt idx="3025">
                  <c:v>5080.49</c:v>
                </c:pt>
                <c:pt idx="3026">
                  <c:v>5101.8900000000003</c:v>
                </c:pt>
                <c:pt idx="3027">
                  <c:v>5102.47</c:v>
                </c:pt>
                <c:pt idx="3028">
                  <c:v>5090.3900000000003</c:v>
                </c:pt>
                <c:pt idx="3029">
                  <c:v>5122.16</c:v>
                </c:pt>
                <c:pt idx="3030">
                  <c:v>5147.3900000000003</c:v>
                </c:pt>
                <c:pt idx="3031">
                  <c:v>5155.97</c:v>
                </c:pt>
                <c:pt idx="3032">
                  <c:v>5239.97</c:v>
                </c:pt>
                <c:pt idx="3033">
                  <c:v>5251.76</c:v>
                </c:pt>
                <c:pt idx="3034">
                  <c:v>5190.54</c:v>
                </c:pt>
                <c:pt idx="3035">
                  <c:v>5224.04</c:v>
                </c:pt>
                <c:pt idx="3036">
                  <c:v>5229.66</c:v>
                </c:pt>
                <c:pt idx="3037">
                  <c:v>5081.12</c:v>
                </c:pt>
                <c:pt idx="3038">
                  <c:v>5085.79</c:v>
                </c:pt>
                <c:pt idx="3039">
                  <c:v>5083.1000000000004</c:v>
                </c:pt>
                <c:pt idx="3040">
                  <c:v>5140.49</c:v>
                </c:pt>
                <c:pt idx="3041">
                  <c:v>5088.26</c:v>
                </c:pt>
                <c:pt idx="3042">
                  <c:v>5069.4399999999996</c:v>
                </c:pt>
                <c:pt idx="3043">
                  <c:v>5132.71</c:v>
                </c:pt>
                <c:pt idx="3044">
                  <c:v>5142.1000000000004</c:v>
                </c:pt>
                <c:pt idx="3045">
                  <c:v>5083.08</c:v>
                </c:pt>
                <c:pt idx="3046">
                  <c:v>5151.46</c:v>
                </c:pt>
                <c:pt idx="3047">
                  <c:v>5094.7700000000004</c:v>
                </c:pt>
                <c:pt idx="3048">
                  <c:v>5113.49</c:v>
                </c:pt>
                <c:pt idx="3049">
                  <c:v>5108.99</c:v>
                </c:pt>
                <c:pt idx="3050">
                  <c:v>5144.04</c:v>
                </c:pt>
                <c:pt idx="3051">
                  <c:v>5151.75</c:v>
                </c:pt>
                <c:pt idx="3052">
                  <c:v>5089.2299999999996</c:v>
                </c:pt>
                <c:pt idx="3053">
                  <c:v>4925.3</c:v>
                </c:pt>
                <c:pt idx="3054">
                  <c:v>4751.3100000000004</c:v>
                </c:pt>
                <c:pt idx="3055">
                  <c:v>4760.4799999999996</c:v>
                </c:pt>
                <c:pt idx="3056">
                  <c:v>4850.2700000000004</c:v>
                </c:pt>
                <c:pt idx="3057">
                  <c:v>4811.17</c:v>
                </c:pt>
                <c:pt idx="3058">
                  <c:v>4933.74</c:v>
                </c:pt>
                <c:pt idx="3059">
                  <c:v>4934.46</c:v>
                </c:pt>
                <c:pt idx="3060">
                  <c:v>4978.8500000000004</c:v>
                </c:pt>
                <c:pt idx="3061">
                  <c:v>4948.67</c:v>
                </c:pt>
                <c:pt idx="3062">
                  <c:v>4921.5600000000004</c:v>
                </c:pt>
                <c:pt idx="3063">
                  <c:v>4985.5600000000004</c:v>
                </c:pt>
                <c:pt idx="3064">
                  <c:v>5043.1499999999996</c:v>
                </c:pt>
                <c:pt idx="3065">
                  <c:v>5015.34</c:v>
                </c:pt>
                <c:pt idx="3066">
                  <c:v>4973.3500000000004</c:v>
                </c:pt>
                <c:pt idx="3067">
                  <c:v>4945.9799999999996</c:v>
                </c:pt>
                <c:pt idx="3068">
                  <c:v>4941.07</c:v>
                </c:pt>
                <c:pt idx="3069">
                  <c:v>4837.3999999999996</c:v>
                </c:pt>
                <c:pt idx="3070">
                  <c:v>4894.24</c:v>
                </c:pt>
                <c:pt idx="3071">
                  <c:v>4862.1400000000003</c:v>
                </c:pt>
                <c:pt idx="3072">
                  <c:v>4769.2700000000004</c:v>
                </c:pt>
                <c:pt idx="3073">
                  <c:v>4835.88</c:v>
                </c:pt>
                <c:pt idx="3074">
                  <c:v>4888.3900000000003</c:v>
                </c:pt>
                <c:pt idx="3075">
                  <c:v>4898.16</c:v>
                </c:pt>
                <c:pt idx="3076">
                  <c:v>4801.6099999999997</c:v>
                </c:pt>
                <c:pt idx="3077">
                  <c:v>4827.04</c:v>
                </c:pt>
                <c:pt idx="3078">
                  <c:v>4813.2700000000004</c:v>
                </c:pt>
                <c:pt idx="3079">
                  <c:v>4805.6099999999997</c:v>
                </c:pt>
                <c:pt idx="3080">
                  <c:v>4869.46</c:v>
                </c:pt>
                <c:pt idx="3081">
                  <c:v>4869.41</c:v>
                </c:pt>
                <c:pt idx="3082">
                  <c:v>4843.0600000000004</c:v>
                </c:pt>
                <c:pt idx="3083">
                  <c:v>4933.7299999999996</c:v>
                </c:pt>
                <c:pt idx="3084">
                  <c:v>4992.83</c:v>
                </c:pt>
                <c:pt idx="3085">
                  <c:v>4972.13</c:v>
                </c:pt>
                <c:pt idx="3086">
                  <c:v>4970.01</c:v>
                </c:pt>
                <c:pt idx="3087">
                  <c:v>5013.5200000000004</c:v>
                </c:pt>
                <c:pt idx="3088">
                  <c:v>4991.66</c:v>
                </c:pt>
                <c:pt idx="3089">
                  <c:v>4917.16</c:v>
                </c:pt>
                <c:pt idx="3090">
                  <c:v>4867.32</c:v>
                </c:pt>
                <c:pt idx="3091">
                  <c:v>4807.7</c:v>
                </c:pt>
                <c:pt idx="3092">
                  <c:v>4855.9399999999996</c:v>
                </c:pt>
                <c:pt idx="3093">
                  <c:v>4821.7700000000004</c:v>
                </c:pt>
                <c:pt idx="3094">
                  <c:v>4853.2</c:v>
                </c:pt>
                <c:pt idx="3095">
                  <c:v>4849.43</c:v>
                </c:pt>
                <c:pt idx="3096">
                  <c:v>4877.37</c:v>
                </c:pt>
                <c:pt idx="3097">
                  <c:v>4883.83</c:v>
                </c:pt>
                <c:pt idx="3098">
                  <c:v>4833.93</c:v>
                </c:pt>
                <c:pt idx="3099">
                  <c:v>4866.38</c:v>
                </c:pt>
                <c:pt idx="3100">
                  <c:v>4929.9399999999996</c:v>
                </c:pt>
                <c:pt idx="3101">
                  <c:v>4936.1899999999996</c:v>
                </c:pt>
                <c:pt idx="3102">
                  <c:v>4883.84</c:v>
                </c:pt>
                <c:pt idx="3103">
                  <c:v>4940.1099999999997</c:v>
                </c:pt>
                <c:pt idx="3104">
                  <c:v>4913.6099999999997</c:v>
                </c:pt>
                <c:pt idx="3105">
                  <c:v>4932.1099999999997</c:v>
                </c:pt>
                <c:pt idx="3106">
                  <c:v>4874.78</c:v>
                </c:pt>
                <c:pt idx="3107">
                  <c:v>4922.72</c:v>
                </c:pt>
                <c:pt idx="3108">
                  <c:v>4910.18</c:v>
                </c:pt>
                <c:pt idx="3109">
                  <c:v>4928.0200000000004</c:v>
                </c:pt>
                <c:pt idx="3110">
                  <c:v>4959.7299999999996</c:v>
                </c:pt>
                <c:pt idx="3111">
                  <c:v>4979.5200000000004</c:v>
                </c:pt>
                <c:pt idx="3112">
                  <c:v>4963.1000000000004</c:v>
                </c:pt>
                <c:pt idx="3113">
                  <c:v>4898.16</c:v>
                </c:pt>
                <c:pt idx="3114">
                  <c:v>4864.1400000000003</c:v>
                </c:pt>
                <c:pt idx="3115">
                  <c:v>4908.7700000000004</c:v>
                </c:pt>
                <c:pt idx="3116">
                  <c:v>4890.6899999999996</c:v>
                </c:pt>
                <c:pt idx="3117">
                  <c:v>4839.8500000000004</c:v>
                </c:pt>
                <c:pt idx="3118">
                  <c:v>4821.1099999999997</c:v>
                </c:pt>
                <c:pt idx="3119">
                  <c:v>4868.74</c:v>
                </c:pt>
                <c:pt idx="3120">
                  <c:v>4842.3500000000004</c:v>
                </c:pt>
                <c:pt idx="3121">
                  <c:v>4848.18</c:v>
                </c:pt>
                <c:pt idx="3122">
                  <c:v>4846.74</c:v>
                </c:pt>
                <c:pt idx="3123">
                  <c:v>4821.1899999999996</c:v>
                </c:pt>
                <c:pt idx="3124">
                  <c:v>4898.6499999999996</c:v>
                </c:pt>
                <c:pt idx="3125">
                  <c:v>4888.37</c:v>
                </c:pt>
                <c:pt idx="3126">
                  <c:v>4882.38</c:v>
                </c:pt>
                <c:pt idx="3127">
                  <c:v>4883.32</c:v>
                </c:pt>
                <c:pt idx="3128">
                  <c:v>4885.75</c:v>
                </c:pt>
                <c:pt idx="3129">
                  <c:v>4837.62</c:v>
                </c:pt>
                <c:pt idx="3130">
                  <c:v>4890.0600000000004</c:v>
                </c:pt>
                <c:pt idx="3131">
                  <c:v>4912.3999999999996</c:v>
                </c:pt>
                <c:pt idx="3132">
                  <c:v>4913.3500000000004</c:v>
                </c:pt>
                <c:pt idx="3133">
                  <c:v>4916.66</c:v>
                </c:pt>
                <c:pt idx="3134">
                  <c:v>4896.4399999999996</c:v>
                </c:pt>
                <c:pt idx="3135">
                  <c:v>4860.13</c:v>
                </c:pt>
                <c:pt idx="3136">
                  <c:v>4851.42</c:v>
                </c:pt>
                <c:pt idx="3137">
                  <c:v>4832.03</c:v>
                </c:pt>
                <c:pt idx="3138">
                  <c:v>4843.8500000000004</c:v>
                </c:pt>
                <c:pt idx="3139">
                  <c:v>4856.16</c:v>
                </c:pt>
                <c:pt idx="3140">
                  <c:v>4901.0200000000004</c:v>
                </c:pt>
                <c:pt idx="3141">
                  <c:v>4892.62</c:v>
                </c:pt>
                <c:pt idx="3142">
                  <c:v>4922.1000000000004</c:v>
                </c:pt>
                <c:pt idx="3143">
                  <c:v>4995.93</c:v>
                </c:pt>
                <c:pt idx="3144">
                  <c:v>5078.6899999999996</c:v>
                </c:pt>
                <c:pt idx="3145">
                  <c:v>5055.12</c:v>
                </c:pt>
                <c:pt idx="3146">
                  <c:v>5083.8</c:v>
                </c:pt>
                <c:pt idx="3147">
                  <c:v>5049.7</c:v>
                </c:pt>
                <c:pt idx="3148">
                  <c:v>5005.8999999999996</c:v>
                </c:pt>
                <c:pt idx="3149">
                  <c:v>5034.7299999999996</c:v>
                </c:pt>
                <c:pt idx="3150">
                  <c:v>4954.76</c:v>
                </c:pt>
                <c:pt idx="3151">
                  <c:v>4880.42</c:v>
                </c:pt>
                <c:pt idx="3152">
                  <c:v>4913.49</c:v>
                </c:pt>
                <c:pt idx="3153">
                  <c:v>4914.45</c:v>
                </c:pt>
                <c:pt idx="3154">
                  <c:v>4948.74</c:v>
                </c:pt>
                <c:pt idx="3155">
                  <c:v>4921.34</c:v>
                </c:pt>
                <c:pt idx="3156">
                  <c:v>4919.32</c:v>
                </c:pt>
                <c:pt idx="3157">
                  <c:v>4955.96</c:v>
                </c:pt>
                <c:pt idx="3158">
                  <c:v>4883.4799999999996</c:v>
                </c:pt>
                <c:pt idx="3159">
                  <c:v>4921.51</c:v>
                </c:pt>
                <c:pt idx="3160">
                  <c:v>4940.37</c:v>
                </c:pt>
                <c:pt idx="3161">
                  <c:v>4917.7700000000004</c:v>
                </c:pt>
                <c:pt idx="3162">
                  <c:v>4868.12</c:v>
                </c:pt>
                <c:pt idx="3163">
                  <c:v>4818.2299999999996</c:v>
                </c:pt>
                <c:pt idx="3164">
                  <c:v>4822.37</c:v>
                </c:pt>
                <c:pt idx="3165">
                  <c:v>4844.05</c:v>
                </c:pt>
                <c:pt idx="3166">
                  <c:v>4797.7700000000004</c:v>
                </c:pt>
                <c:pt idx="3167">
                  <c:v>4845.58</c:v>
                </c:pt>
                <c:pt idx="3168">
                  <c:v>4765.92</c:v>
                </c:pt>
                <c:pt idx="3169">
                  <c:v>4726.7299999999996</c:v>
                </c:pt>
                <c:pt idx="3170">
                  <c:v>4767.28</c:v>
                </c:pt>
                <c:pt idx="3171">
                  <c:v>4813.3500000000004</c:v>
                </c:pt>
                <c:pt idx="3172">
                  <c:v>4780.38</c:v>
                </c:pt>
                <c:pt idx="3173">
                  <c:v>4823.51</c:v>
                </c:pt>
                <c:pt idx="3174">
                  <c:v>4779.3100000000004</c:v>
                </c:pt>
                <c:pt idx="3175">
                  <c:v>4786.74</c:v>
                </c:pt>
                <c:pt idx="3176">
                  <c:v>4678.45</c:v>
                </c:pt>
                <c:pt idx="3177">
                  <c:v>4712.3100000000004</c:v>
                </c:pt>
                <c:pt idx="3178">
                  <c:v>4619.88</c:v>
                </c:pt>
                <c:pt idx="3179">
                  <c:v>4563.7700000000004</c:v>
                </c:pt>
                <c:pt idx="3180">
                  <c:v>4634.09</c:v>
                </c:pt>
                <c:pt idx="3181">
                  <c:v>4608.7700000000004</c:v>
                </c:pt>
                <c:pt idx="3182">
                  <c:v>4652.0600000000004</c:v>
                </c:pt>
                <c:pt idx="3183">
                  <c:v>4639.8599999999997</c:v>
                </c:pt>
                <c:pt idx="3184">
                  <c:v>4601.3999999999996</c:v>
                </c:pt>
                <c:pt idx="3185">
                  <c:v>4551.6899999999996</c:v>
                </c:pt>
                <c:pt idx="3186">
                  <c:v>4600.1000000000004</c:v>
                </c:pt>
                <c:pt idx="3187">
                  <c:v>4617.99</c:v>
                </c:pt>
                <c:pt idx="3188">
                  <c:v>4629.16</c:v>
                </c:pt>
                <c:pt idx="3189">
                  <c:v>4651.24</c:v>
                </c:pt>
                <c:pt idx="3190">
                  <c:v>4634.3100000000004</c:v>
                </c:pt>
                <c:pt idx="3191">
                  <c:v>4574.1499999999996</c:v>
                </c:pt>
                <c:pt idx="3192">
                  <c:v>4623.05</c:v>
                </c:pt>
                <c:pt idx="3193">
                  <c:v>4529.32</c:v>
                </c:pt>
                <c:pt idx="3194">
                  <c:v>4573.42</c:v>
                </c:pt>
                <c:pt idx="3195">
                  <c:v>4581.6499999999996</c:v>
                </c:pt>
                <c:pt idx="3196">
                  <c:v>4619.6899999999996</c:v>
                </c:pt>
                <c:pt idx="3197">
                  <c:v>4578.6000000000004</c:v>
                </c:pt>
                <c:pt idx="3198">
                  <c:v>4551.63</c:v>
                </c:pt>
                <c:pt idx="3199">
                  <c:v>4496.43</c:v>
                </c:pt>
                <c:pt idx="3200">
                  <c:v>4352.78</c:v>
                </c:pt>
                <c:pt idx="3201">
                  <c:v>4265.3900000000003</c:v>
                </c:pt>
                <c:pt idx="3202">
                  <c:v>4226.3500000000004</c:v>
                </c:pt>
                <c:pt idx="3203">
                  <c:v>4292.84</c:v>
                </c:pt>
                <c:pt idx="3204">
                  <c:v>4306.5200000000004</c:v>
                </c:pt>
                <c:pt idx="3205">
                  <c:v>4174.76</c:v>
                </c:pt>
                <c:pt idx="3206">
                  <c:v>3983.81</c:v>
                </c:pt>
                <c:pt idx="3207">
                  <c:v>4156.08</c:v>
                </c:pt>
                <c:pt idx="3208">
                  <c:v>4237.7</c:v>
                </c:pt>
                <c:pt idx="3209">
                  <c:v>4265.8999999999996</c:v>
                </c:pt>
                <c:pt idx="3210">
                  <c:v>4258.75</c:v>
                </c:pt>
                <c:pt idx="3211">
                  <c:v>4255.3</c:v>
                </c:pt>
                <c:pt idx="3212">
                  <c:v>4276.5200000000004</c:v>
                </c:pt>
                <c:pt idx="3213">
                  <c:v>4251.3100000000004</c:v>
                </c:pt>
                <c:pt idx="3214">
                  <c:v>4174.57</c:v>
                </c:pt>
                <c:pt idx="3215">
                  <c:v>4148.47</c:v>
                </c:pt>
                <c:pt idx="3216">
                  <c:v>4134.1400000000003</c:v>
                </c:pt>
                <c:pt idx="3217">
                  <c:v>4254.1000000000004</c:v>
                </c:pt>
                <c:pt idx="3218">
                  <c:v>4222.6000000000004</c:v>
                </c:pt>
                <c:pt idx="3219">
                  <c:v>4276.16</c:v>
                </c:pt>
                <c:pt idx="3220">
                  <c:v>4263.84</c:v>
                </c:pt>
                <c:pt idx="3221">
                  <c:v>4209.1000000000004</c:v>
                </c:pt>
                <c:pt idx="3222">
                  <c:v>4230.7700000000004</c:v>
                </c:pt>
              </c:numCache>
            </c:numRef>
          </c:val>
          <c:smooth val="0"/>
          <c:extLst>
            <c:ext xmlns:c16="http://schemas.microsoft.com/office/drawing/2014/chart" uri="{C3380CC4-5D6E-409C-BE32-E72D297353CC}">
              <c16:uniqueId val="{00000000-3295-4415-82C7-54BFDC83C208}"/>
            </c:ext>
          </c:extLst>
        </c:ser>
        <c:dLbls>
          <c:showLegendKey val="0"/>
          <c:showVal val="0"/>
          <c:showCatName val="0"/>
          <c:showSerName val="0"/>
          <c:showPercent val="0"/>
          <c:showBubbleSize val="0"/>
        </c:dLbls>
        <c:marker val="1"/>
        <c:smooth val="0"/>
        <c:axId val="557129592"/>
        <c:axId val="557132472"/>
      </c:lineChart>
      <c:lineChart>
        <c:grouping val="standard"/>
        <c:varyColors val="0"/>
        <c:ser>
          <c:idx val="1"/>
          <c:order val="1"/>
          <c:tx>
            <c:strRef>
              <c:f>indicators!$N$1</c:f>
              <c:strCache>
                <c:ptCount val="1"/>
                <c:pt idx="0">
                  <c:v>market state indicator</c:v>
                </c:pt>
              </c:strCache>
            </c:strRef>
          </c:tx>
          <c:spPr>
            <a:ln w="28575" cap="rnd">
              <a:solidFill>
                <a:schemeClr val="accent3"/>
              </a:solidFill>
              <a:round/>
            </a:ln>
            <a:effectLst/>
          </c:spPr>
          <c:marker>
            <c:symbol val="none"/>
          </c:marker>
          <c:cat>
            <c:numRef>
              <c:f>indicators!$A$2:$A$3224</c:f>
              <c:numCache>
                <c:formatCode>yyyy\-mm\-dd;@</c:formatCode>
                <c:ptCount val="3223"/>
                <c:pt idx="0">
                  <c:v>39818</c:v>
                </c:pt>
                <c:pt idx="1">
                  <c:v>39819</c:v>
                </c:pt>
                <c:pt idx="2">
                  <c:v>39820</c:v>
                </c:pt>
                <c:pt idx="3">
                  <c:v>39821</c:v>
                </c:pt>
                <c:pt idx="4">
                  <c:v>39822</c:v>
                </c:pt>
                <c:pt idx="5">
                  <c:v>39825</c:v>
                </c:pt>
                <c:pt idx="6">
                  <c:v>39826</c:v>
                </c:pt>
                <c:pt idx="7">
                  <c:v>39827</c:v>
                </c:pt>
                <c:pt idx="8">
                  <c:v>39828</c:v>
                </c:pt>
                <c:pt idx="9">
                  <c:v>39829</c:v>
                </c:pt>
                <c:pt idx="10">
                  <c:v>39832</c:v>
                </c:pt>
                <c:pt idx="11">
                  <c:v>39833</c:v>
                </c:pt>
                <c:pt idx="12">
                  <c:v>39834</c:v>
                </c:pt>
                <c:pt idx="13">
                  <c:v>39835</c:v>
                </c:pt>
                <c:pt idx="14">
                  <c:v>39836</c:v>
                </c:pt>
                <c:pt idx="15">
                  <c:v>39846</c:v>
                </c:pt>
                <c:pt idx="16">
                  <c:v>39847</c:v>
                </c:pt>
                <c:pt idx="17">
                  <c:v>39848</c:v>
                </c:pt>
                <c:pt idx="18">
                  <c:v>39849</c:v>
                </c:pt>
                <c:pt idx="19">
                  <c:v>39850</c:v>
                </c:pt>
                <c:pt idx="20">
                  <c:v>39853</c:v>
                </c:pt>
                <c:pt idx="21">
                  <c:v>39854</c:v>
                </c:pt>
                <c:pt idx="22">
                  <c:v>39855</c:v>
                </c:pt>
                <c:pt idx="23">
                  <c:v>39856</c:v>
                </c:pt>
                <c:pt idx="24">
                  <c:v>39857</c:v>
                </c:pt>
                <c:pt idx="25">
                  <c:v>39860</c:v>
                </c:pt>
                <c:pt idx="26">
                  <c:v>39861</c:v>
                </c:pt>
                <c:pt idx="27">
                  <c:v>39862</c:v>
                </c:pt>
                <c:pt idx="28">
                  <c:v>39863</c:v>
                </c:pt>
                <c:pt idx="29">
                  <c:v>39864</c:v>
                </c:pt>
                <c:pt idx="30">
                  <c:v>39867</c:v>
                </c:pt>
                <c:pt idx="31">
                  <c:v>39868</c:v>
                </c:pt>
                <c:pt idx="32">
                  <c:v>39869</c:v>
                </c:pt>
                <c:pt idx="33">
                  <c:v>39870</c:v>
                </c:pt>
                <c:pt idx="34">
                  <c:v>39871</c:v>
                </c:pt>
                <c:pt idx="35">
                  <c:v>39874</c:v>
                </c:pt>
                <c:pt idx="36">
                  <c:v>39875</c:v>
                </c:pt>
                <c:pt idx="37">
                  <c:v>39876</c:v>
                </c:pt>
                <c:pt idx="38">
                  <c:v>39877</c:v>
                </c:pt>
                <c:pt idx="39">
                  <c:v>39878</c:v>
                </c:pt>
                <c:pt idx="40">
                  <c:v>39881</c:v>
                </c:pt>
                <c:pt idx="41">
                  <c:v>39882</c:v>
                </c:pt>
                <c:pt idx="42">
                  <c:v>39883</c:v>
                </c:pt>
                <c:pt idx="43">
                  <c:v>39884</c:v>
                </c:pt>
                <c:pt idx="44">
                  <c:v>39885</c:v>
                </c:pt>
                <c:pt idx="45">
                  <c:v>39888</c:v>
                </c:pt>
                <c:pt idx="46">
                  <c:v>39889</c:v>
                </c:pt>
                <c:pt idx="47">
                  <c:v>39890</c:v>
                </c:pt>
                <c:pt idx="48">
                  <c:v>39891</c:v>
                </c:pt>
                <c:pt idx="49">
                  <c:v>39892</c:v>
                </c:pt>
                <c:pt idx="50">
                  <c:v>39895</c:v>
                </c:pt>
                <c:pt idx="51">
                  <c:v>39896</c:v>
                </c:pt>
                <c:pt idx="52">
                  <c:v>39897</c:v>
                </c:pt>
                <c:pt idx="53">
                  <c:v>39898</c:v>
                </c:pt>
                <c:pt idx="54">
                  <c:v>39899</c:v>
                </c:pt>
                <c:pt idx="55">
                  <c:v>39902</c:v>
                </c:pt>
                <c:pt idx="56">
                  <c:v>39903</c:v>
                </c:pt>
                <c:pt idx="57">
                  <c:v>39904</c:v>
                </c:pt>
                <c:pt idx="58">
                  <c:v>39905</c:v>
                </c:pt>
                <c:pt idx="59">
                  <c:v>39906</c:v>
                </c:pt>
                <c:pt idx="60">
                  <c:v>39910</c:v>
                </c:pt>
                <c:pt idx="61">
                  <c:v>39911</c:v>
                </c:pt>
                <c:pt idx="62">
                  <c:v>39912</c:v>
                </c:pt>
                <c:pt idx="63">
                  <c:v>39913</c:v>
                </c:pt>
                <c:pt idx="64">
                  <c:v>39916</c:v>
                </c:pt>
                <c:pt idx="65">
                  <c:v>39917</c:v>
                </c:pt>
                <c:pt idx="66">
                  <c:v>39918</c:v>
                </c:pt>
                <c:pt idx="67">
                  <c:v>39919</c:v>
                </c:pt>
                <c:pt idx="68">
                  <c:v>39920</c:v>
                </c:pt>
                <c:pt idx="69">
                  <c:v>39923</c:v>
                </c:pt>
                <c:pt idx="70">
                  <c:v>39924</c:v>
                </c:pt>
                <c:pt idx="71">
                  <c:v>39925</c:v>
                </c:pt>
                <c:pt idx="72">
                  <c:v>39926</c:v>
                </c:pt>
                <c:pt idx="73">
                  <c:v>39927</c:v>
                </c:pt>
                <c:pt idx="74">
                  <c:v>39930</c:v>
                </c:pt>
                <c:pt idx="75">
                  <c:v>39931</c:v>
                </c:pt>
                <c:pt idx="76">
                  <c:v>39932</c:v>
                </c:pt>
                <c:pt idx="77">
                  <c:v>39933</c:v>
                </c:pt>
                <c:pt idx="78">
                  <c:v>39937</c:v>
                </c:pt>
                <c:pt idx="79">
                  <c:v>39938</c:v>
                </c:pt>
                <c:pt idx="80">
                  <c:v>39939</c:v>
                </c:pt>
                <c:pt idx="81">
                  <c:v>39940</c:v>
                </c:pt>
                <c:pt idx="82">
                  <c:v>39941</c:v>
                </c:pt>
                <c:pt idx="83">
                  <c:v>39944</c:v>
                </c:pt>
                <c:pt idx="84">
                  <c:v>39945</c:v>
                </c:pt>
                <c:pt idx="85">
                  <c:v>39946</c:v>
                </c:pt>
                <c:pt idx="86">
                  <c:v>39947</c:v>
                </c:pt>
                <c:pt idx="87">
                  <c:v>39948</c:v>
                </c:pt>
                <c:pt idx="88">
                  <c:v>39951</c:v>
                </c:pt>
                <c:pt idx="89">
                  <c:v>39952</c:v>
                </c:pt>
                <c:pt idx="90">
                  <c:v>39953</c:v>
                </c:pt>
                <c:pt idx="91">
                  <c:v>39954</c:v>
                </c:pt>
                <c:pt idx="92">
                  <c:v>39955</c:v>
                </c:pt>
                <c:pt idx="93">
                  <c:v>39958</c:v>
                </c:pt>
                <c:pt idx="94">
                  <c:v>39959</c:v>
                </c:pt>
                <c:pt idx="95">
                  <c:v>39960</c:v>
                </c:pt>
                <c:pt idx="96">
                  <c:v>39965</c:v>
                </c:pt>
                <c:pt idx="97">
                  <c:v>39966</c:v>
                </c:pt>
                <c:pt idx="98">
                  <c:v>39967</c:v>
                </c:pt>
                <c:pt idx="99">
                  <c:v>39968</c:v>
                </c:pt>
                <c:pt idx="100">
                  <c:v>39969</c:v>
                </c:pt>
                <c:pt idx="101">
                  <c:v>39972</c:v>
                </c:pt>
                <c:pt idx="102">
                  <c:v>39973</c:v>
                </c:pt>
                <c:pt idx="103">
                  <c:v>39974</c:v>
                </c:pt>
                <c:pt idx="104">
                  <c:v>39975</c:v>
                </c:pt>
                <c:pt idx="105">
                  <c:v>39976</c:v>
                </c:pt>
                <c:pt idx="106">
                  <c:v>39979</c:v>
                </c:pt>
                <c:pt idx="107">
                  <c:v>39980</c:v>
                </c:pt>
                <c:pt idx="108">
                  <c:v>39981</c:v>
                </c:pt>
                <c:pt idx="109">
                  <c:v>39982</c:v>
                </c:pt>
                <c:pt idx="110">
                  <c:v>39983</c:v>
                </c:pt>
                <c:pt idx="111">
                  <c:v>39986</c:v>
                </c:pt>
                <c:pt idx="112">
                  <c:v>39987</c:v>
                </c:pt>
                <c:pt idx="113">
                  <c:v>39988</c:v>
                </c:pt>
                <c:pt idx="114">
                  <c:v>39989</c:v>
                </c:pt>
                <c:pt idx="115">
                  <c:v>39990</c:v>
                </c:pt>
                <c:pt idx="116">
                  <c:v>39993</c:v>
                </c:pt>
                <c:pt idx="117">
                  <c:v>39994</c:v>
                </c:pt>
                <c:pt idx="118">
                  <c:v>39995</c:v>
                </c:pt>
                <c:pt idx="119">
                  <c:v>39996</c:v>
                </c:pt>
                <c:pt idx="120">
                  <c:v>39997</c:v>
                </c:pt>
                <c:pt idx="121">
                  <c:v>40000</c:v>
                </c:pt>
                <c:pt idx="122">
                  <c:v>40001</c:v>
                </c:pt>
                <c:pt idx="123">
                  <c:v>40002</c:v>
                </c:pt>
                <c:pt idx="124">
                  <c:v>40003</c:v>
                </c:pt>
                <c:pt idx="125">
                  <c:v>40004</c:v>
                </c:pt>
                <c:pt idx="126">
                  <c:v>40007</c:v>
                </c:pt>
                <c:pt idx="127">
                  <c:v>40008</c:v>
                </c:pt>
                <c:pt idx="128">
                  <c:v>40009</c:v>
                </c:pt>
                <c:pt idx="129">
                  <c:v>40010</c:v>
                </c:pt>
                <c:pt idx="130">
                  <c:v>40011</c:v>
                </c:pt>
                <c:pt idx="131">
                  <c:v>40014</c:v>
                </c:pt>
                <c:pt idx="132">
                  <c:v>40015</c:v>
                </c:pt>
                <c:pt idx="133">
                  <c:v>40016</c:v>
                </c:pt>
                <c:pt idx="134">
                  <c:v>40017</c:v>
                </c:pt>
                <c:pt idx="135">
                  <c:v>40018</c:v>
                </c:pt>
                <c:pt idx="136">
                  <c:v>40021</c:v>
                </c:pt>
                <c:pt idx="137">
                  <c:v>40022</c:v>
                </c:pt>
                <c:pt idx="138">
                  <c:v>40023</c:v>
                </c:pt>
                <c:pt idx="139">
                  <c:v>40024</c:v>
                </c:pt>
                <c:pt idx="140">
                  <c:v>40025</c:v>
                </c:pt>
                <c:pt idx="141">
                  <c:v>40028</c:v>
                </c:pt>
                <c:pt idx="142">
                  <c:v>40029</c:v>
                </c:pt>
                <c:pt idx="143">
                  <c:v>40030</c:v>
                </c:pt>
                <c:pt idx="144">
                  <c:v>40031</c:v>
                </c:pt>
                <c:pt idx="145">
                  <c:v>40032</c:v>
                </c:pt>
                <c:pt idx="146">
                  <c:v>40035</c:v>
                </c:pt>
                <c:pt idx="147">
                  <c:v>40036</c:v>
                </c:pt>
                <c:pt idx="148">
                  <c:v>40037</c:v>
                </c:pt>
                <c:pt idx="149">
                  <c:v>40038</c:v>
                </c:pt>
                <c:pt idx="150">
                  <c:v>40039</c:v>
                </c:pt>
                <c:pt idx="151">
                  <c:v>40042</c:v>
                </c:pt>
                <c:pt idx="152">
                  <c:v>40043</c:v>
                </c:pt>
                <c:pt idx="153">
                  <c:v>40044</c:v>
                </c:pt>
                <c:pt idx="154">
                  <c:v>40045</c:v>
                </c:pt>
                <c:pt idx="155">
                  <c:v>40046</c:v>
                </c:pt>
                <c:pt idx="156">
                  <c:v>40049</c:v>
                </c:pt>
                <c:pt idx="157">
                  <c:v>40050</c:v>
                </c:pt>
                <c:pt idx="158">
                  <c:v>40051</c:v>
                </c:pt>
                <c:pt idx="159">
                  <c:v>40052</c:v>
                </c:pt>
                <c:pt idx="160">
                  <c:v>40053</c:v>
                </c:pt>
                <c:pt idx="161">
                  <c:v>40056</c:v>
                </c:pt>
                <c:pt idx="162">
                  <c:v>40057</c:v>
                </c:pt>
                <c:pt idx="163">
                  <c:v>40058</c:v>
                </c:pt>
                <c:pt idx="164">
                  <c:v>40059</c:v>
                </c:pt>
                <c:pt idx="165">
                  <c:v>40060</c:v>
                </c:pt>
                <c:pt idx="166">
                  <c:v>40063</c:v>
                </c:pt>
                <c:pt idx="167">
                  <c:v>40064</c:v>
                </c:pt>
                <c:pt idx="168">
                  <c:v>40065</c:v>
                </c:pt>
                <c:pt idx="169">
                  <c:v>40066</c:v>
                </c:pt>
                <c:pt idx="170">
                  <c:v>40067</c:v>
                </c:pt>
                <c:pt idx="171">
                  <c:v>40070</c:v>
                </c:pt>
                <c:pt idx="172">
                  <c:v>40071</c:v>
                </c:pt>
                <c:pt idx="173">
                  <c:v>40072</c:v>
                </c:pt>
                <c:pt idx="174">
                  <c:v>40073</c:v>
                </c:pt>
                <c:pt idx="175">
                  <c:v>40074</c:v>
                </c:pt>
                <c:pt idx="176">
                  <c:v>40077</c:v>
                </c:pt>
                <c:pt idx="177">
                  <c:v>40078</c:v>
                </c:pt>
                <c:pt idx="178">
                  <c:v>40079</c:v>
                </c:pt>
                <c:pt idx="179">
                  <c:v>40080</c:v>
                </c:pt>
                <c:pt idx="180">
                  <c:v>40081</c:v>
                </c:pt>
                <c:pt idx="181">
                  <c:v>40084</c:v>
                </c:pt>
                <c:pt idx="182">
                  <c:v>40085</c:v>
                </c:pt>
                <c:pt idx="183">
                  <c:v>40086</c:v>
                </c:pt>
                <c:pt idx="184">
                  <c:v>40095</c:v>
                </c:pt>
                <c:pt idx="185">
                  <c:v>40098</c:v>
                </c:pt>
                <c:pt idx="186">
                  <c:v>40099</c:v>
                </c:pt>
                <c:pt idx="187">
                  <c:v>40100</c:v>
                </c:pt>
                <c:pt idx="188">
                  <c:v>40101</c:v>
                </c:pt>
                <c:pt idx="189">
                  <c:v>40102</c:v>
                </c:pt>
                <c:pt idx="190">
                  <c:v>40105</c:v>
                </c:pt>
                <c:pt idx="191">
                  <c:v>40106</c:v>
                </c:pt>
                <c:pt idx="192">
                  <c:v>40107</c:v>
                </c:pt>
                <c:pt idx="193">
                  <c:v>40108</c:v>
                </c:pt>
                <c:pt idx="194">
                  <c:v>40109</c:v>
                </c:pt>
                <c:pt idx="195">
                  <c:v>40112</c:v>
                </c:pt>
                <c:pt idx="196">
                  <c:v>40113</c:v>
                </c:pt>
                <c:pt idx="197">
                  <c:v>40114</c:v>
                </c:pt>
                <c:pt idx="198">
                  <c:v>40115</c:v>
                </c:pt>
                <c:pt idx="199">
                  <c:v>40116</c:v>
                </c:pt>
                <c:pt idx="200">
                  <c:v>40119</c:v>
                </c:pt>
                <c:pt idx="201">
                  <c:v>40120</c:v>
                </c:pt>
                <c:pt idx="202">
                  <c:v>40121</c:v>
                </c:pt>
                <c:pt idx="203">
                  <c:v>40122</c:v>
                </c:pt>
                <c:pt idx="204">
                  <c:v>40123</c:v>
                </c:pt>
                <c:pt idx="205">
                  <c:v>40126</c:v>
                </c:pt>
                <c:pt idx="206">
                  <c:v>40127</c:v>
                </c:pt>
                <c:pt idx="207">
                  <c:v>40128</c:v>
                </c:pt>
                <c:pt idx="208">
                  <c:v>40129</c:v>
                </c:pt>
                <c:pt idx="209">
                  <c:v>40130</c:v>
                </c:pt>
                <c:pt idx="210">
                  <c:v>40133</c:v>
                </c:pt>
                <c:pt idx="211">
                  <c:v>40134</c:v>
                </c:pt>
                <c:pt idx="212">
                  <c:v>40135</c:v>
                </c:pt>
                <c:pt idx="213">
                  <c:v>40136</c:v>
                </c:pt>
                <c:pt idx="214">
                  <c:v>40137</c:v>
                </c:pt>
                <c:pt idx="215">
                  <c:v>40140</c:v>
                </c:pt>
                <c:pt idx="216">
                  <c:v>40141</c:v>
                </c:pt>
                <c:pt idx="217">
                  <c:v>40142</c:v>
                </c:pt>
                <c:pt idx="218">
                  <c:v>40143</c:v>
                </c:pt>
                <c:pt idx="219">
                  <c:v>40144</c:v>
                </c:pt>
                <c:pt idx="220">
                  <c:v>40147</c:v>
                </c:pt>
                <c:pt idx="221">
                  <c:v>40148</c:v>
                </c:pt>
                <c:pt idx="222">
                  <c:v>40149</c:v>
                </c:pt>
                <c:pt idx="223">
                  <c:v>40150</c:v>
                </c:pt>
                <c:pt idx="224">
                  <c:v>40151</c:v>
                </c:pt>
                <c:pt idx="225">
                  <c:v>40154</c:v>
                </c:pt>
                <c:pt idx="226">
                  <c:v>40155</c:v>
                </c:pt>
                <c:pt idx="227">
                  <c:v>40156</c:v>
                </c:pt>
                <c:pt idx="228">
                  <c:v>40157</c:v>
                </c:pt>
                <c:pt idx="229">
                  <c:v>40158</c:v>
                </c:pt>
                <c:pt idx="230">
                  <c:v>40161</c:v>
                </c:pt>
                <c:pt idx="231">
                  <c:v>40162</c:v>
                </c:pt>
                <c:pt idx="232">
                  <c:v>40163</c:v>
                </c:pt>
                <c:pt idx="233">
                  <c:v>40164</c:v>
                </c:pt>
                <c:pt idx="234">
                  <c:v>40165</c:v>
                </c:pt>
                <c:pt idx="235">
                  <c:v>40168</c:v>
                </c:pt>
                <c:pt idx="236">
                  <c:v>40169</c:v>
                </c:pt>
                <c:pt idx="237">
                  <c:v>40170</c:v>
                </c:pt>
                <c:pt idx="238">
                  <c:v>40171</c:v>
                </c:pt>
                <c:pt idx="239">
                  <c:v>40172</c:v>
                </c:pt>
                <c:pt idx="240">
                  <c:v>40175</c:v>
                </c:pt>
                <c:pt idx="241">
                  <c:v>40176</c:v>
                </c:pt>
                <c:pt idx="242">
                  <c:v>40177</c:v>
                </c:pt>
                <c:pt idx="243">
                  <c:v>40178</c:v>
                </c:pt>
                <c:pt idx="244">
                  <c:v>40182</c:v>
                </c:pt>
                <c:pt idx="245">
                  <c:v>40183</c:v>
                </c:pt>
                <c:pt idx="246">
                  <c:v>40184</c:v>
                </c:pt>
                <c:pt idx="247">
                  <c:v>40185</c:v>
                </c:pt>
                <c:pt idx="248">
                  <c:v>40186</c:v>
                </c:pt>
                <c:pt idx="249">
                  <c:v>40189</c:v>
                </c:pt>
                <c:pt idx="250">
                  <c:v>40190</c:v>
                </c:pt>
                <c:pt idx="251">
                  <c:v>40191</c:v>
                </c:pt>
                <c:pt idx="252">
                  <c:v>40192</c:v>
                </c:pt>
                <c:pt idx="253">
                  <c:v>40193</c:v>
                </c:pt>
                <c:pt idx="254">
                  <c:v>40196</c:v>
                </c:pt>
                <c:pt idx="255">
                  <c:v>40197</c:v>
                </c:pt>
                <c:pt idx="256">
                  <c:v>40198</c:v>
                </c:pt>
                <c:pt idx="257">
                  <c:v>40199</c:v>
                </c:pt>
                <c:pt idx="258">
                  <c:v>40200</c:v>
                </c:pt>
                <c:pt idx="259">
                  <c:v>40203</c:v>
                </c:pt>
                <c:pt idx="260">
                  <c:v>40204</c:v>
                </c:pt>
                <c:pt idx="261">
                  <c:v>40205</c:v>
                </c:pt>
                <c:pt idx="262">
                  <c:v>40206</c:v>
                </c:pt>
                <c:pt idx="263">
                  <c:v>40207</c:v>
                </c:pt>
                <c:pt idx="264">
                  <c:v>40210</c:v>
                </c:pt>
                <c:pt idx="265">
                  <c:v>40211</c:v>
                </c:pt>
                <c:pt idx="266">
                  <c:v>40212</c:v>
                </c:pt>
                <c:pt idx="267">
                  <c:v>40213</c:v>
                </c:pt>
                <c:pt idx="268">
                  <c:v>40214</c:v>
                </c:pt>
                <c:pt idx="269">
                  <c:v>40217</c:v>
                </c:pt>
                <c:pt idx="270">
                  <c:v>40218</c:v>
                </c:pt>
                <c:pt idx="271">
                  <c:v>40219</c:v>
                </c:pt>
                <c:pt idx="272">
                  <c:v>40220</c:v>
                </c:pt>
                <c:pt idx="273">
                  <c:v>40221</c:v>
                </c:pt>
                <c:pt idx="274">
                  <c:v>40231</c:v>
                </c:pt>
                <c:pt idx="275">
                  <c:v>40232</c:v>
                </c:pt>
                <c:pt idx="276">
                  <c:v>40233</c:v>
                </c:pt>
                <c:pt idx="277">
                  <c:v>40234</c:v>
                </c:pt>
                <c:pt idx="278">
                  <c:v>40235</c:v>
                </c:pt>
                <c:pt idx="279">
                  <c:v>40238</c:v>
                </c:pt>
                <c:pt idx="280">
                  <c:v>40239</c:v>
                </c:pt>
                <c:pt idx="281">
                  <c:v>40240</c:v>
                </c:pt>
                <c:pt idx="282">
                  <c:v>40241</c:v>
                </c:pt>
                <c:pt idx="283">
                  <c:v>40242</c:v>
                </c:pt>
                <c:pt idx="284">
                  <c:v>40245</c:v>
                </c:pt>
                <c:pt idx="285">
                  <c:v>40246</c:v>
                </c:pt>
                <c:pt idx="286">
                  <c:v>40247</c:v>
                </c:pt>
                <c:pt idx="287">
                  <c:v>40248</c:v>
                </c:pt>
                <c:pt idx="288">
                  <c:v>40249</c:v>
                </c:pt>
                <c:pt idx="289">
                  <c:v>40252</c:v>
                </c:pt>
                <c:pt idx="290">
                  <c:v>40253</c:v>
                </c:pt>
                <c:pt idx="291">
                  <c:v>40254</c:v>
                </c:pt>
                <c:pt idx="292">
                  <c:v>40255</c:v>
                </c:pt>
                <c:pt idx="293">
                  <c:v>40256</c:v>
                </c:pt>
                <c:pt idx="294">
                  <c:v>40259</c:v>
                </c:pt>
                <c:pt idx="295">
                  <c:v>40260</c:v>
                </c:pt>
                <c:pt idx="296">
                  <c:v>40261</c:v>
                </c:pt>
                <c:pt idx="297">
                  <c:v>40262</c:v>
                </c:pt>
                <c:pt idx="298">
                  <c:v>40263</c:v>
                </c:pt>
                <c:pt idx="299">
                  <c:v>40266</c:v>
                </c:pt>
                <c:pt idx="300">
                  <c:v>40267</c:v>
                </c:pt>
                <c:pt idx="301">
                  <c:v>40268</c:v>
                </c:pt>
                <c:pt idx="302">
                  <c:v>40269</c:v>
                </c:pt>
                <c:pt idx="303">
                  <c:v>40270</c:v>
                </c:pt>
                <c:pt idx="304">
                  <c:v>40274</c:v>
                </c:pt>
                <c:pt idx="305">
                  <c:v>40275</c:v>
                </c:pt>
                <c:pt idx="306">
                  <c:v>40276</c:v>
                </c:pt>
                <c:pt idx="307">
                  <c:v>40277</c:v>
                </c:pt>
                <c:pt idx="308">
                  <c:v>40280</c:v>
                </c:pt>
                <c:pt idx="309">
                  <c:v>40281</c:v>
                </c:pt>
                <c:pt idx="310">
                  <c:v>40282</c:v>
                </c:pt>
                <c:pt idx="311">
                  <c:v>40283</c:v>
                </c:pt>
                <c:pt idx="312">
                  <c:v>40284</c:v>
                </c:pt>
                <c:pt idx="313">
                  <c:v>40287</c:v>
                </c:pt>
                <c:pt idx="314">
                  <c:v>40288</c:v>
                </c:pt>
                <c:pt idx="315">
                  <c:v>40289</c:v>
                </c:pt>
                <c:pt idx="316">
                  <c:v>40290</c:v>
                </c:pt>
                <c:pt idx="317">
                  <c:v>40291</c:v>
                </c:pt>
                <c:pt idx="318">
                  <c:v>40294</c:v>
                </c:pt>
                <c:pt idx="319">
                  <c:v>40295</c:v>
                </c:pt>
                <c:pt idx="320">
                  <c:v>40296</c:v>
                </c:pt>
                <c:pt idx="321">
                  <c:v>40297</c:v>
                </c:pt>
                <c:pt idx="322">
                  <c:v>40298</c:v>
                </c:pt>
                <c:pt idx="323">
                  <c:v>40302</c:v>
                </c:pt>
                <c:pt idx="324">
                  <c:v>40303</c:v>
                </c:pt>
                <c:pt idx="325">
                  <c:v>40304</c:v>
                </c:pt>
                <c:pt idx="326">
                  <c:v>40305</c:v>
                </c:pt>
                <c:pt idx="327">
                  <c:v>40308</c:v>
                </c:pt>
                <c:pt idx="328">
                  <c:v>40309</c:v>
                </c:pt>
                <c:pt idx="329">
                  <c:v>40310</c:v>
                </c:pt>
                <c:pt idx="330">
                  <c:v>40311</c:v>
                </c:pt>
                <c:pt idx="331">
                  <c:v>40312</c:v>
                </c:pt>
                <c:pt idx="332">
                  <c:v>40315</c:v>
                </c:pt>
                <c:pt idx="333">
                  <c:v>40316</c:v>
                </c:pt>
                <c:pt idx="334">
                  <c:v>40317</c:v>
                </c:pt>
                <c:pt idx="335">
                  <c:v>40318</c:v>
                </c:pt>
                <c:pt idx="336">
                  <c:v>40319</c:v>
                </c:pt>
                <c:pt idx="337">
                  <c:v>40322</c:v>
                </c:pt>
                <c:pt idx="338">
                  <c:v>40323</c:v>
                </c:pt>
                <c:pt idx="339">
                  <c:v>40324</c:v>
                </c:pt>
                <c:pt idx="340">
                  <c:v>40325</c:v>
                </c:pt>
                <c:pt idx="341">
                  <c:v>40326</c:v>
                </c:pt>
                <c:pt idx="342">
                  <c:v>40329</c:v>
                </c:pt>
                <c:pt idx="343">
                  <c:v>40330</c:v>
                </c:pt>
                <c:pt idx="344">
                  <c:v>40331</c:v>
                </c:pt>
                <c:pt idx="345">
                  <c:v>40332</c:v>
                </c:pt>
                <c:pt idx="346">
                  <c:v>40333</c:v>
                </c:pt>
                <c:pt idx="347">
                  <c:v>40336</c:v>
                </c:pt>
                <c:pt idx="348">
                  <c:v>40337</c:v>
                </c:pt>
                <c:pt idx="349">
                  <c:v>40338</c:v>
                </c:pt>
                <c:pt idx="350">
                  <c:v>40339</c:v>
                </c:pt>
                <c:pt idx="351">
                  <c:v>40340</c:v>
                </c:pt>
                <c:pt idx="352">
                  <c:v>40346</c:v>
                </c:pt>
                <c:pt idx="353">
                  <c:v>40347</c:v>
                </c:pt>
                <c:pt idx="354">
                  <c:v>40350</c:v>
                </c:pt>
                <c:pt idx="355">
                  <c:v>40351</c:v>
                </c:pt>
                <c:pt idx="356">
                  <c:v>40352</c:v>
                </c:pt>
                <c:pt idx="357">
                  <c:v>40353</c:v>
                </c:pt>
                <c:pt idx="358">
                  <c:v>40354</c:v>
                </c:pt>
                <c:pt idx="359">
                  <c:v>40357</c:v>
                </c:pt>
                <c:pt idx="360">
                  <c:v>40358</c:v>
                </c:pt>
                <c:pt idx="361">
                  <c:v>40359</c:v>
                </c:pt>
                <c:pt idx="362">
                  <c:v>40360</c:v>
                </c:pt>
                <c:pt idx="363">
                  <c:v>40361</c:v>
                </c:pt>
                <c:pt idx="364">
                  <c:v>40364</c:v>
                </c:pt>
                <c:pt idx="365">
                  <c:v>40365</c:v>
                </c:pt>
                <c:pt idx="366">
                  <c:v>40366</c:v>
                </c:pt>
                <c:pt idx="367">
                  <c:v>40367</c:v>
                </c:pt>
                <c:pt idx="368">
                  <c:v>40368</c:v>
                </c:pt>
                <c:pt idx="369">
                  <c:v>40371</c:v>
                </c:pt>
                <c:pt idx="370">
                  <c:v>40372</c:v>
                </c:pt>
                <c:pt idx="371">
                  <c:v>40373</c:v>
                </c:pt>
                <c:pt idx="372">
                  <c:v>40374</c:v>
                </c:pt>
                <c:pt idx="373">
                  <c:v>40375</c:v>
                </c:pt>
                <c:pt idx="374">
                  <c:v>40378</c:v>
                </c:pt>
                <c:pt idx="375">
                  <c:v>40379</c:v>
                </c:pt>
                <c:pt idx="376">
                  <c:v>40380</c:v>
                </c:pt>
                <c:pt idx="377">
                  <c:v>40381</c:v>
                </c:pt>
                <c:pt idx="378">
                  <c:v>40382</c:v>
                </c:pt>
                <c:pt idx="379">
                  <c:v>40385</c:v>
                </c:pt>
                <c:pt idx="380">
                  <c:v>40386</c:v>
                </c:pt>
                <c:pt idx="381">
                  <c:v>40387</c:v>
                </c:pt>
                <c:pt idx="382">
                  <c:v>40388</c:v>
                </c:pt>
                <c:pt idx="383">
                  <c:v>40389</c:v>
                </c:pt>
                <c:pt idx="384">
                  <c:v>40392</c:v>
                </c:pt>
                <c:pt idx="385">
                  <c:v>40393</c:v>
                </c:pt>
                <c:pt idx="386">
                  <c:v>40394</c:v>
                </c:pt>
                <c:pt idx="387">
                  <c:v>40395</c:v>
                </c:pt>
                <c:pt idx="388">
                  <c:v>40396</c:v>
                </c:pt>
                <c:pt idx="389">
                  <c:v>40399</c:v>
                </c:pt>
                <c:pt idx="390">
                  <c:v>40400</c:v>
                </c:pt>
                <c:pt idx="391">
                  <c:v>40401</c:v>
                </c:pt>
                <c:pt idx="392">
                  <c:v>40402</c:v>
                </c:pt>
                <c:pt idx="393">
                  <c:v>40403</c:v>
                </c:pt>
                <c:pt idx="394">
                  <c:v>40406</c:v>
                </c:pt>
                <c:pt idx="395">
                  <c:v>40407</c:v>
                </c:pt>
                <c:pt idx="396">
                  <c:v>40408</c:v>
                </c:pt>
                <c:pt idx="397">
                  <c:v>40409</c:v>
                </c:pt>
                <c:pt idx="398">
                  <c:v>40410</c:v>
                </c:pt>
                <c:pt idx="399">
                  <c:v>40413</c:v>
                </c:pt>
                <c:pt idx="400">
                  <c:v>40414</c:v>
                </c:pt>
                <c:pt idx="401">
                  <c:v>40415</c:v>
                </c:pt>
                <c:pt idx="402">
                  <c:v>40416</c:v>
                </c:pt>
                <c:pt idx="403">
                  <c:v>40417</c:v>
                </c:pt>
                <c:pt idx="404">
                  <c:v>40420</c:v>
                </c:pt>
                <c:pt idx="405">
                  <c:v>40421</c:v>
                </c:pt>
                <c:pt idx="406">
                  <c:v>40422</c:v>
                </c:pt>
                <c:pt idx="407">
                  <c:v>40423</c:v>
                </c:pt>
                <c:pt idx="408">
                  <c:v>40424</c:v>
                </c:pt>
                <c:pt idx="409">
                  <c:v>40427</c:v>
                </c:pt>
                <c:pt idx="410">
                  <c:v>40428</c:v>
                </c:pt>
                <c:pt idx="411">
                  <c:v>40429</c:v>
                </c:pt>
                <c:pt idx="412">
                  <c:v>40430</c:v>
                </c:pt>
                <c:pt idx="413">
                  <c:v>40431</c:v>
                </c:pt>
                <c:pt idx="414">
                  <c:v>40434</c:v>
                </c:pt>
                <c:pt idx="415">
                  <c:v>40435</c:v>
                </c:pt>
                <c:pt idx="416">
                  <c:v>40436</c:v>
                </c:pt>
                <c:pt idx="417">
                  <c:v>40437</c:v>
                </c:pt>
                <c:pt idx="418">
                  <c:v>40438</c:v>
                </c:pt>
                <c:pt idx="419">
                  <c:v>40441</c:v>
                </c:pt>
                <c:pt idx="420">
                  <c:v>40442</c:v>
                </c:pt>
                <c:pt idx="421">
                  <c:v>40448</c:v>
                </c:pt>
                <c:pt idx="422">
                  <c:v>40449</c:v>
                </c:pt>
                <c:pt idx="423">
                  <c:v>40450</c:v>
                </c:pt>
                <c:pt idx="424">
                  <c:v>40451</c:v>
                </c:pt>
                <c:pt idx="425">
                  <c:v>40459</c:v>
                </c:pt>
                <c:pt idx="426">
                  <c:v>40462</c:v>
                </c:pt>
                <c:pt idx="427">
                  <c:v>40463</c:v>
                </c:pt>
                <c:pt idx="428">
                  <c:v>40464</c:v>
                </c:pt>
                <c:pt idx="429">
                  <c:v>40465</c:v>
                </c:pt>
                <c:pt idx="430">
                  <c:v>40466</c:v>
                </c:pt>
                <c:pt idx="431">
                  <c:v>40469</c:v>
                </c:pt>
                <c:pt idx="432">
                  <c:v>40470</c:v>
                </c:pt>
                <c:pt idx="433">
                  <c:v>40471</c:v>
                </c:pt>
                <c:pt idx="434">
                  <c:v>40472</c:v>
                </c:pt>
                <c:pt idx="435">
                  <c:v>40473</c:v>
                </c:pt>
                <c:pt idx="436">
                  <c:v>40476</c:v>
                </c:pt>
                <c:pt idx="437">
                  <c:v>40477</c:v>
                </c:pt>
                <c:pt idx="438">
                  <c:v>40478</c:v>
                </c:pt>
                <c:pt idx="439">
                  <c:v>40479</c:v>
                </c:pt>
                <c:pt idx="440">
                  <c:v>40480</c:v>
                </c:pt>
                <c:pt idx="441">
                  <c:v>40483</c:v>
                </c:pt>
                <c:pt idx="442">
                  <c:v>40484</c:v>
                </c:pt>
                <c:pt idx="443">
                  <c:v>40485</c:v>
                </c:pt>
                <c:pt idx="444">
                  <c:v>40486</c:v>
                </c:pt>
                <c:pt idx="445">
                  <c:v>40487</c:v>
                </c:pt>
                <c:pt idx="446">
                  <c:v>40490</c:v>
                </c:pt>
                <c:pt idx="447">
                  <c:v>40491</c:v>
                </c:pt>
                <c:pt idx="448">
                  <c:v>40492</c:v>
                </c:pt>
                <c:pt idx="449">
                  <c:v>40493</c:v>
                </c:pt>
                <c:pt idx="450">
                  <c:v>40494</c:v>
                </c:pt>
                <c:pt idx="451">
                  <c:v>40497</c:v>
                </c:pt>
                <c:pt idx="452">
                  <c:v>40498</c:v>
                </c:pt>
                <c:pt idx="453">
                  <c:v>40499</c:v>
                </c:pt>
                <c:pt idx="454">
                  <c:v>40500</c:v>
                </c:pt>
                <c:pt idx="455">
                  <c:v>40501</c:v>
                </c:pt>
                <c:pt idx="456">
                  <c:v>40504</c:v>
                </c:pt>
                <c:pt idx="457">
                  <c:v>40505</c:v>
                </c:pt>
                <c:pt idx="458">
                  <c:v>40506</c:v>
                </c:pt>
                <c:pt idx="459">
                  <c:v>40507</c:v>
                </c:pt>
                <c:pt idx="460">
                  <c:v>40508</c:v>
                </c:pt>
                <c:pt idx="461">
                  <c:v>40511</c:v>
                </c:pt>
                <c:pt idx="462">
                  <c:v>40512</c:v>
                </c:pt>
                <c:pt idx="463">
                  <c:v>40513</c:v>
                </c:pt>
                <c:pt idx="464">
                  <c:v>40514</c:v>
                </c:pt>
                <c:pt idx="465">
                  <c:v>40515</c:v>
                </c:pt>
                <c:pt idx="466">
                  <c:v>40518</c:v>
                </c:pt>
                <c:pt idx="467">
                  <c:v>40519</c:v>
                </c:pt>
                <c:pt idx="468">
                  <c:v>40520</c:v>
                </c:pt>
                <c:pt idx="469">
                  <c:v>40521</c:v>
                </c:pt>
                <c:pt idx="470">
                  <c:v>40522</c:v>
                </c:pt>
                <c:pt idx="471">
                  <c:v>40525</c:v>
                </c:pt>
                <c:pt idx="472">
                  <c:v>40526</c:v>
                </c:pt>
                <c:pt idx="473">
                  <c:v>40527</c:v>
                </c:pt>
                <c:pt idx="474">
                  <c:v>40528</c:v>
                </c:pt>
                <c:pt idx="475">
                  <c:v>40529</c:v>
                </c:pt>
                <c:pt idx="476">
                  <c:v>40532</c:v>
                </c:pt>
                <c:pt idx="477">
                  <c:v>40533</c:v>
                </c:pt>
                <c:pt idx="478">
                  <c:v>40534</c:v>
                </c:pt>
                <c:pt idx="479">
                  <c:v>40535</c:v>
                </c:pt>
                <c:pt idx="480">
                  <c:v>40536</c:v>
                </c:pt>
                <c:pt idx="481">
                  <c:v>40539</c:v>
                </c:pt>
                <c:pt idx="482">
                  <c:v>40540</c:v>
                </c:pt>
                <c:pt idx="483">
                  <c:v>40541</c:v>
                </c:pt>
                <c:pt idx="484">
                  <c:v>40542</c:v>
                </c:pt>
                <c:pt idx="485">
                  <c:v>40543</c:v>
                </c:pt>
                <c:pt idx="486">
                  <c:v>40547</c:v>
                </c:pt>
                <c:pt idx="487">
                  <c:v>40548</c:v>
                </c:pt>
                <c:pt idx="488">
                  <c:v>40549</c:v>
                </c:pt>
                <c:pt idx="489">
                  <c:v>40550</c:v>
                </c:pt>
                <c:pt idx="490">
                  <c:v>40553</c:v>
                </c:pt>
                <c:pt idx="491">
                  <c:v>40554</c:v>
                </c:pt>
                <c:pt idx="492">
                  <c:v>40555</c:v>
                </c:pt>
                <c:pt idx="493">
                  <c:v>40556</c:v>
                </c:pt>
                <c:pt idx="494">
                  <c:v>40557</c:v>
                </c:pt>
                <c:pt idx="495">
                  <c:v>40560</c:v>
                </c:pt>
                <c:pt idx="496">
                  <c:v>40561</c:v>
                </c:pt>
                <c:pt idx="497">
                  <c:v>40562</c:v>
                </c:pt>
                <c:pt idx="498">
                  <c:v>40563</c:v>
                </c:pt>
                <c:pt idx="499">
                  <c:v>40564</c:v>
                </c:pt>
                <c:pt idx="500">
                  <c:v>40567</c:v>
                </c:pt>
                <c:pt idx="501">
                  <c:v>40568</c:v>
                </c:pt>
                <c:pt idx="502">
                  <c:v>40569</c:v>
                </c:pt>
                <c:pt idx="503">
                  <c:v>40570</c:v>
                </c:pt>
                <c:pt idx="504">
                  <c:v>40571</c:v>
                </c:pt>
                <c:pt idx="505">
                  <c:v>40574</c:v>
                </c:pt>
                <c:pt idx="506">
                  <c:v>40575</c:v>
                </c:pt>
                <c:pt idx="507">
                  <c:v>40583</c:v>
                </c:pt>
                <c:pt idx="508">
                  <c:v>40584</c:v>
                </c:pt>
                <c:pt idx="509">
                  <c:v>40585</c:v>
                </c:pt>
                <c:pt idx="510">
                  <c:v>40588</c:v>
                </c:pt>
                <c:pt idx="511">
                  <c:v>40589</c:v>
                </c:pt>
                <c:pt idx="512">
                  <c:v>40590</c:v>
                </c:pt>
                <c:pt idx="513">
                  <c:v>40591</c:v>
                </c:pt>
                <c:pt idx="514">
                  <c:v>40592</c:v>
                </c:pt>
                <c:pt idx="515">
                  <c:v>40595</c:v>
                </c:pt>
                <c:pt idx="516">
                  <c:v>40596</c:v>
                </c:pt>
                <c:pt idx="517">
                  <c:v>40597</c:v>
                </c:pt>
                <c:pt idx="518">
                  <c:v>40598</c:v>
                </c:pt>
                <c:pt idx="519">
                  <c:v>40599</c:v>
                </c:pt>
                <c:pt idx="520">
                  <c:v>40602</c:v>
                </c:pt>
                <c:pt idx="521">
                  <c:v>40603</c:v>
                </c:pt>
                <c:pt idx="522">
                  <c:v>40604</c:v>
                </c:pt>
                <c:pt idx="523">
                  <c:v>40605</c:v>
                </c:pt>
                <c:pt idx="524">
                  <c:v>40606</c:v>
                </c:pt>
                <c:pt idx="525">
                  <c:v>40609</c:v>
                </c:pt>
                <c:pt idx="526">
                  <c:v>40610</c:v>
                </c:pt>
                <c:pt idx="527">
                  <c:v>40611</c:v>
                </c:pt>
                <c:pt idx="528">
                  <c:v>40612</c:v>
                </c:pt>
                <c:pt idx="529">
                  <c:v>40613</c:v>
                </c:pt>
                <c:pt idx="530">
                  <c:v>40616</c:v>
                </c:pt>
                <c:pt idx="531">
                  <c:v>40617</c:v>
                </c:pt>
                <c:pt idx="532">
                  <c:v>40618</c:v>
                </c:pt>
                <c:pt idx="533">
                  <c:v>40619</c:v>
                </c:pt>
                <c:pt idx="534">
                  <c:v>40620</c:v>
                </c:pt>
                <c:pt idx="535">
                  <c:v>40623</c:v>
                </c:pt>
                <c:pt idx="536">
                  <c:v>40624</c:v>
                </c:pt>
                <c:pt idx="537">
                  <c:v>40625</c:v>
                </c:pt>
                <c:pt idx="538">
                  <c:v>40626</c:v>
                </c:pt>
                <c:pt idx="539">
                  <c:v>40627</c:v>
                </c:pt>
                <c:pt idx="540">
                  <c:v>40630</c:v>
                </c:pt>
                <c:pt idx="541">
                  <c:v>40631</c:v>
                </c:pt>
                <c:pt idx="542">
                  <c:v>40632</c:v>
                </c:pt>
                <c:pt idx="543">
                  <c:v>40633</c:v>
                </c:pt>
                <c:pt idx="544">
                  <c:v>40634</c:v>
                </c:pt>
                <c:pt idx="545">
                  <c:v>40639</c:v>
                </c:pt>
                <c:pt idx="546">
                  <c:v>40640</c:v>
                </c:pt>
                <c:pt idx="547">
                  <c:v>40641</c:v>
                </c:pt>
                <c:pt idx="548">
                  <c:v>40644</c:v>
                </c:pt>
                <c:pt idx="549">
                  <c:v>40645</c:v>
                </c:pt>
                <c:pt idx="550">
                  <c:v>40646</c:v>
                </c:pt>
                <c:pt idx="551">
                  <c:v>40647</c:v>
                </c:pt>
                <c:pt idx="552">
                  <c:v>40648</c:v>
                </c:pt>
                <c:pt idx="553">
                  <c:v>40651</c:v>
                </c:pt>
                <c:pt idx="554">
                  <c:v>40652</c:v>
                </c:pt>
                <c:pt idx="555">
                  <c:v>40653</c:v>
                </c:pt>
                <c:pt idx="556">
                  <c:v>40654</c:v>
                </c:pt>
                <c:pt idx="557">
                  <c:v>40655</c:v>
                </c:pt>
                <c:pt idx="558">
                  <c:v>40658</c:v>
                </c:pt>
                <c:pt idx="559">
                  <c:v>40659</c:v>
                </c:pt>
                <c:pt idx="560">
                  <c:v>40660</c:v>
                </c:pt>
                <c:pt idx="561">
                  <c:v>40661</c:v>
                </c:pt>
                <c:pt idx="562">
                  <c:v>40662</c:v>
                </c:pt>
                <c:pt idx="563">
                  <c:v>40666</c:v>
                </c:pt>
                <c:pt idx="564">
                  <c:v>40667</c:v>
                </c:pt>
                <c:pt idx="565">
                  <c:v>40668</c:v>
                </c:pt>
                <c:pt idx="566">
                  <c:v>40669</c:v>
                </c:pt>
                <c:pt idx="567">
                  <c:v>40672</c:v>
                </c:pt>
                <c:pt idx="568">
                  <c:v>40673</c:v>
                </c:pt>
                <c:pt idx="569">
                  <c:v>40674</c:v>
                </c:pt>
                <c:pt idx="570">
                  <c:v>40675</c:v>
                </c:pt>
                <c:pt idx="571">
                  <c:v>40676</c:v>
                </c:pt>
                <c:pt idx="572">
                  <c:v>40679</c:v>
                </c:pt>
                <c:pt idx="573">
                  <c:v>40680</c:v>
                </c:pt>
                <c:pt idx="574">
                  <c:v>40681</c:v>
                </c:pt>
                <c:pt idx="575">
                  <c:v>40682</c:v>
                </c:pt>
                <c:pt idx="576">
                  <c:v>40683</c:v>
                </c:pt>
                <c:pt idx="577">
                  <c:v>40686</c:v>
                </c:pt>
                <c:pt idx="578">
                  <c:v>40687</c:v>
                </c:pt>
                <c:pt idx="579">
                  <c:v>40688</c:v>
                </c:pt>
                <c:pt idx="580">
                  <c:v>40689</c:v>
                </c:pt>
                <c:pt idx="581">
                  <c:v>40690</c:v>
                </c:pt>
                <c:pt idx="582">
                  <c:v>40693</c:v>
                </c:pt>
                <c:pt idx="583">
                  <c:v>40694</c:v>
                </c:pt>
                <c:pt idx="584">
                  <c:v>40695</c:v>
                </c:pt>
                <c:pt idx="585">
                  <c:v>40696</c:v>
                </c:pt>
                <c:pt idx="586">
                  <c:v>40697</c:v>
                </c:pt>
                <c:pt idx="587">
                  <c:v>40701</c:v>
                </c:pt>
                <c:pt idx="588">
                  <c:v>40702</c:v>
                </c:pt>
                <c:pt idx="589">
                  <c:v>40703</c:v>
                </c:pt>
                <c:pt idx="590">
                  <c:v>40704</c:v>
                </c:pt>
                <c:pt idx="591">
                  <c:v>40707</c:v>
                </c:pt>
                <c:pt idx="592">
                  <c:v>40708</c:v>
                </c:pt>
                <c:pt idx="593">
                  <c:v>40709</c:v>
                </c:pt>
                <c:pt idx="594">
                  <c:v>40710</c:v>
                </c:pt>
                <c:pt idx="595">
                  <c:v>40711</c:v>
                </c:pt>
                <c:pt idx="596">
                  <c:v>40714</c:v>
                </c:pt>
                <c:pt idx="597">
                  <c:v>40715</c:v>
                </c:pt>
                <c:pt idx="598">
                  <c:v>40716</c:v>
                </c:pt>
                <c:pt idx="599">
                  <c:v>40717</c:v>
                </c:pt>
                <c:pt idx="600">
                  <c:v>40718</c:v>
                </c:pt>
                <c:pt idx="601">
                  <c:v>40721</c:v>
                </c:pt>
                <c:pt idx="602">
                  <c:v>40722</c:v>
                </c:pt>
                <c:pt idx="603">
                  <c:v>40723</c:v>
                </c:pt>
                <c:pt idx="604">
                  <c:v>40724</c:v>
                </c:pt>
                <c:pt idx="605">
                  <c:v>40725</c:v>
                </c:pt>
                <c:pt idx="606">
                  <c:v>40728</c:v>
                </c:pt>
                <c:pt idx="607">
                  <c:v>40729</c:v>
                </c:pt>
                <c:pt idx="608">
                  <c:v>40730</c:v>
                </c:pt>
                <c:pt idx="609">
                  <c:v>40731</c:v>
                </c:pt>
                <c:pt idx="610">
                  <c:v>40732</c:v>
                </c:pt>
                <c:pt idx="611">
                  <c:v>40735</c:v>
                </c:pt>
                <c:pt idx="612">
                  <c:v>40736</c:v>
                </c:pt>
                <c:pt idx="613">
                  <c:v>40737</c:v>
                </c:pt>
                <c:pt idx="614">
                  <c:v>40738</c:v>
                </c:pt>
                <c:pt idx="615">
                  <c:v>40739</c:v>
                </c:pt>
                <c:pt idx="616">
                  <c:v>40742</c:v>
                </c:pt>
                <c:pt idx="617">
                  <c:v>40743</c:v>
                </c:pt>
                <c:pt idx="618">
                  <c:v>40744</c:v>
                </c:pt>
                <c:pt idx="619">
                  <c:v>40745</c:v>
                </c:pt>
                <c:pt idx="620">
                  <c:v>40746</c:v>
                </c:pt>
                <c:pt idx="621">
                  <c:v>40749</c:v>
                </c:pt>
                <c:pt idx="622">
                  <c:v>40750</c:v>
                </c:pt>
                <c:pt idx="623">
                  <c:v>40751</c:v>
                </c:pt>
                <c:pt idx="624">
                  <c:v>40752</c:v>
                </c:pt>
                <c:pt idx="625">
                  <c:v>40753</c:v>
                </c:pt>
                <c:pt idx="626">
                  <c:v>40756</c:v>
                </c:pt>
                <c:pt idx="627">
                  <c:v>40757</c:v>
                </c:pt>
                <c:pt idx="628">
                  <c:v>40758</c:v>
                </c:pt>
                <c:pt idx="629">
                  <c:v>40759</c:v>
                </c:pt>
                <c:pt idx="630">
                  <c:v>40760</c:v>
                </c:pt>
                <c:pt idx="631">
                  <c:v>40763</c:v>
                </c:pt>
                <c:pt idx="632">
                  <c:v>40764</c:v>
                </c:pt>
                <c:pt idx="633">
                  <c:v>40765</c:v>
                </c:pt>
                <c:pt idx="634">
                  <c:v>40766</c:v>
                </c:pt>
                <c:pt idx="635">
                  <c:v>40767</c:v>
                </c:pt>
                <c:pt idx="636">
                  <c:v>40770</c:v>
                </c:pt>
                <c:pt idx="637">
                  <c:v>40771</c:v>
                </c:pt>
                <c:pt idx="638">
                  <c:v>40772</c:v>
                </c:pt>
                <c:pt idx="639">
                  <c:v>40773</c:v>
                </c:pt>
                <c:pt idx="640">
                  <c:v>40774</c:v>
                </c:pt>
                <c:pt idx="641">
                  <c:v>40777</c:v>
                </c:pt>
                <c:pt idx="642">
                  <c:v>40778</c:v>
                </c:pt>
                <c:pt idx="643">
                  <c:v>40779</c:v>
                </c:pt>
                <c:pt idx="644">
                  <c:v>40780</c:v>
                </c:pt>
                <c:pt idx="645">
                  <c:v>40781</c:v>
                </c:pt>
                <c:pt idx="646">
                  <c:v>40784</c:v>
                </c:pt>
                <c:pt idx="647">
                  <c:v>40785</c:v>
                </c:pt>
                <c:pt idx="648">
                  <c:v>40786</c:v>
                </c:pt>
                <c:pt idx="649">
                  <c:v>40787</c:v>
                </c:pt>
                <c:pt idx="650">
                  <c:v>40788</c:v>
                </c:pt>
                <c:pt idx="651">
                  <c:v>40791</c:v>
                </c:pt>
                <c:pt idx="652">
                  <c:v>40792</c:v>
                </c:pt>
                <c:pt idx="653">
                  <c:v>40793</c:v>
                </c:pt>
                <c:pt idx="654">
                  <c:v>40794</c:v>
                </c:pt>
                <c:pt idx="655">
                  <c:v>40795</c:v>
                </c:pt>
                <c:pt idx="656">
                  <c:v>40799</c:v>
                </c:pt>
                <c:pt idx="657">
                  <c:v>40800</c:v>
                </c:pt>
                <c:pt idx="658">
                  <c:v>40801</c:v>
                </c:pt>
                <c:pt idx="659">
                  <c:v>40802</c:v>
                </c:pt>
                <c:pt idx="660">
                  <c:v>40805</c:v>
                </c:pt>
                <c:pt idx="661">
                  <c:v>40806</c:v>
                </c:pt>
                <c:pt idx="662">
                  <c:v>40807</c:v>
                </c:pt>
                <c:pt idx="663">
                  <c:v>40808</c:v>
                </c:pt>
                <c:pt idx="664">
                  <c:v>40809</c:v>
                </c:pt>
                <c:pt idx="665">
                  <c:v>40812</c:v>
                </c:pt>
                <c:pt idx="666">
                  <c:v>40813</c:v>
                </c:pt>
                <c:pt idx="667">
                  <c:v>40814</c:v>
                </c:pt>
                <c:pt idx="668">
                  <c:v>40815</c:v>
                </c:pt>
                <c:pt idx="669">
                  <c:v>40816</c:v>
                </c:pt>
                <c:pt idx="670">
                  <c:v>40826</c:v>
                </c:pt>
                <c:pt idx="671">
                  <c:v>40827</c:v>
                </c:pt>
                <c:pt idx="672">
                  <c:v>40828</c:v>
                </c:pt>
                <c:pt idx="673">
                  <c:v>40829</c:v>
                </c:pt>
                <c:pt idx="674">
                  <c:v>40830</c:v>
                </c:pt>
                <c:pt idx="675">
                  <c:v>40833</c:v>
                </c:pt>
                <c:pt idx="676">
                  <c:v>40834</c:v>
                </c:pt>
                <c:pt idx="677">
                  <c:v>40835</c:v>
                </c:pt>
                <c:pt idx="678">
                  <c:v>40836</c:v>
                </c:pt>
                <c:pt idx="679">
                  <c:v>40837</c:v>
                </c:pt>
                <c:pt idx="680">
                  <c:v>40840</c:v>
                </c:pt>
                <c:pt idx="681">
                  <c:v>40841</c:v>
                </c:pt>
                <c:pt idx="682">
                  <c:v>40842</c:v>
                </c:pt>
                <c:pt idx="683">
                  <c:v>40843</c:v>
                </c:pt>
                <c:pt idx="684">
                  <c:v>40844</c:v>
                </c:pt>
                <c:pt idx="685">
                  <c:v>40847</c:v>
                </c:pt>
                <c:pt idx="686">
                  <c:v>40848</c:v>
                </c:pt>
                <c:pt idx="687">
                  <c:v>40849</c:v>
                </c:pt>
                <c:pt idx="688">
                  <c:v>40850</c:v>
                </c:pt>
                <c:pt idx="689">
                  <c:v>40851</c:v>
                </c:pt>
                <c:pt idx="690">
                  <c:v>40854</c:v>
                </c:pt>
                <c:pt idx="691">
                  <c:v>40855</c:v>
                </c:pt>
                <c:pt idx="692">
                  <c:v>40856</c:v>
                </c:pt>
                <c:pt idx="693">
                  <c:v>40857</c:v>
                </c:pt>
                <c:pt idx="694">
                  <c:v>40858</c:v>
                </c:pt>
                <c:pt idx="695">
                  <c:v>40861</c:v>
                </c:pt>
                <c:pt idx="696">
                  <c:v>40862</c:v>
                </c:pt>
                <c:pt idx="697">
                  <c:v>40863</c:v>
                </c:pt>
                <c:pt idx="698">
                  <c:v>40864</c:v>
                </c:pt>
                <c:pt idx="699">
                  <c:v>40865</c:v>
                </c:pt>
                <c:pt idx="700">
                  <c:v>40868</c:v>
                </c:pt>
                <c:pt idx="701">
                  <c:v>40869</c:v>
                </c:pt>
                <c:pt idx="702">
                  <c:v>40870</c:v>
                </c:pt>
                <c:pt idx="703">
                  <c:v>40871</c:v>
                </c:pt>
                <c:pt idx="704">
                  <c:v>40872</c:v>
                </c:pt>
                <c:pt idx="705">
                  <c:v>40875</c:v>
                </c:pt>
                <c:pt idx="706">
                  <c:v>40876</c:v>
                </c:pt>
                <c:pt idx="707">
                  <c:v>40877</c:v>
                </c:pt>
                <c:pt idx="708">
                  <c:v>40878</c:v>
                </c:pt>
                <c:pt idx="709">
                  <c:v>40879</c:v>
                </c:pt>
                <c:pt idx="710">
                  <c:v>40882</c:v>
                </c:pt>
                <c:pt idx="711">
                  <c:v>40883</c:v>
                </c:pt>
                <c:pt idx="712">
                  <c:v>40884</c:v>
                </c:pt>
                <c:pt idx="713">
                  <c:v>40885</c:v>
                </c:pt>
                <c:pt idx="714">
                  <c:v>40886</c:v>
                </c:pt>
                <c:pt idx="715">
                  <c:v>40889</c:v>
                </c:pt>
                <c:pt idx="716">
                  <c:v>40890</c:v>
                </c:pt>
                <c:pt idx="717">
                  <c:v>40891</c:v>
                </c:pt>
                <c:pt idx="718">
                  <c:v>40892</c:v>
                </c:pt>
                <c:pt idx="719">
                  <c:v>40893</c:v>
                </c:pt>
                <c:pt idx="720">
                  <c:v>40896</c:v>
                </c:pt>
                <c:pt idx="721">
                  <c:v>40897</c:v>
                </c:pt>
                <c:pt idx="722">
                  <c:v>40898</c:v>
                </c:pt>
                <c:pt idx="723">
                  <c:v>40899</c:v>
                </c:pt>
                <c:pt idx="724">
                  <c:v>40900</c:v>
                </c:pt>
                <c:pt idx="725">
                  <c:v>40903</c:v>
                </c:pt>
                <c:pt idx="726">
                  <c:v>40904</c:v>
                </c:pt>
                <c:pt idx="727">
                  <c:v>40905</c:v>
                </c:pt>
                <c:pt idx="728">
                  <c:v>40906</c:v>
                </c:pt>
                <c:pt idx="729">
                  <c:v>40907</c:v>
                </c:pt>
                <c:pt idx="730">
                  <c:v>40912</c:v>
                </c:pt>
                <c:pt idx="731">
                  <c:v>40913</c:v>
                </c:pt>
                <c:pt idx="732">
                  <c:v>40914</c:v>
                </c:pt>
                <c:pt idx="733">
                  <c:v>40917</c:v>
                </c:pt>
                <c:pt idx="734">
                  <c:v>40918</c:v>
                </c:pt>
                <c:pt idx="735">
                  <c:v>40919</c:v>
                </c:pt>
                <c:pt idx="736">
                  <c:v>40920</c:v>
                </c:pt>
                <c:pt idx="737">
                  <c:v>40921</c:v>
                </c:pt>
                <c:pt idx="738">
                  <c:v>40924</c:v>
                </c:pt>
                <c:pt idx="739">
                  <c:v>40925</c:v>
                </c:pt>
                <c:pt idx="740">
                  <c:v>40926</c:v>
                </c:pt>
                <c:pt idx="741">
                  <c:v>40927</c:v>
                </c:pt>
                <c:pt idx="742">
                  <c:v>40928</c:v>
                </c:pt>
                <c:pt idx="743">
                  <c:v>40938</c:v>
                </c:pt>
                <c:pt idx="744">
                  <c:v>40939</c:v>
                </c:pt>
                <c:pt idx="745">
                  <c:v>40940</c:v>
                </c:pt>
                <c:pt idx="746">
                  <c:v>40941</c:v>
                </c:pt>
                <c:pt idx="747">
                  <c:v>40942</c:v>
                </c:pt>
                <c:pt idx="748">
                  <c:v>40945</c:v>
                </c:pt>
                <c:pt idx="749">
                  <c:v>40946</c:v>
                </c:pt>
                <c:pt idx="750">
                  <c:v>40947</c:v>
                </c:pt>
                <c:pt idx="751">
                  <c:v>40948</c:v>
                </c:pt>
                <c:pt idx="752">
                  <c:v>40949</c:v>
                </c:pt>
                <c:pt idx="753">
                  <c:v>40952</c:v>
                </c:pt>
                <c:pt idx="754">
                  <c:v>40953</c:v>
                </c:pt>
                <c:pt idx="755">
                  <c:v>40954</c:v>
                </c:pt>
                <c:pt idx="756">
                  <c:v>40955</c:v>
                </c:pt>
                <c:pt idx="757">
                  <c:v>40956</c:v>
                </c:pt>
                <c:pt idx="758">
                  <c:v>40959</c:v>
                </c:pt>
                <c:pt idx="759">
                  <c:v>40960</c:v>
                </c:pt>
                <c:pt idx="760">
                  <c:v>40961</c:v>
                </c:pt>
                <c:pt idx="761">
                  <c:v>40962</c:v>
                </c:pt>
                <c:pt idx="762">
                  <c:v>40963</c:v>
                </c:pt>
                <c:pt idx="763">
                  <c:v>40966</c:v>
                </c:pt>
                <c:pt idx="764">
                  <c:v>40967</c:v>
                </c:pt>
                <c:pt idx="765">
                  <c:v>40968</c:v>
                </c:pt>
                <c:pt idx="766">
                  <c:v>40969</c:v>
                </c:pt>
                <c:pt idx="767">
                  <c:v>40970</c:v>
                </c:pt>
                <c:pt idx="768">
                  <c:v>40973</c:v>
                </c:pt>
                <c:pt idx="769">
                  <c:v>40974</c:v>
                </c:pt>
                <c:pt idx="770">
                  <c:v>40975</c:v>
                </c:pt>
                <c:pt idx="771">
                  <c:v>40976</c:v>
                </c:pt>
                <c:pt idx="772">
                  <c:v>40977</c:v>
                </c:pt>
                <c:pt idx="773">
                  <c:v>40980</c:v>
                </c:pt>
                <c:pt idx="774">
                  <c:v>40981</c:v>
                </c:pt>
                <c:pt idx="775">
                  <c:v>40982</c:v>
                </c:pt>
                <c:pt idx="776">
                  <c:v>40983</c:v>
                </c:pt>
                <c:pt idx="777">
                  <c:v>40984</c:v>
                </c:pt>
                <c:pt idx="778">
                  <c:v>40987</c:v>
                </c:pt>
                <c:pt idx="779">
                  <c:v>40988</c:v>
                </c:pt>
                <c:pt idx="780">
                  <c:v>40989</c:v>
                </c:pt>
                <c:pt idx="781">
                  <c:v>40990</c:v>
                </c:pt>
                <c:pt idx="782">
                  <c:v>40991</c:v>
                </c:pt>
                <c:pt idx="783">
                  <c:v>40994</c:v>
                </c:pt>
                <c:pt idx="784">
                  <c:v>40995</c:v>
                </c:pt>
                <c:pt idx="785">
                  <c:v>40996</c:v>
                </c:pt>
                <c:pt idx="786">
                  <c:v>40997</c:v>
                </c:pt>
                <c:pt idx="787">
                  <c:v>40998</c:v>
                </c:pt>
                <c:pt idx="788">
                  <c:v>41004</c:v>
                </c:pt>
                <c:pt idx="789">
                  <c:v>41005</c:v>
                </c:pt>
                <c:pt idx="790">
                  <c:v>41008</c:v>
                </c:pt>
                <c:pt idx="791">
                  <c:v>41009</c:v>
                </c:pt>
                <c:pt idx="792">
                  <c:v>41010</c:v>
                </c:pt>
                <c:pt idx="793">
                  <c:v>41011</c:v>
                </c:pt>
                <c:pt idx="794">
                  <c:v>41012</c:v>
                </c:pt>
                <c:pt idx="795">
                  <c:v>41015</c:v>
                </c:pt>
                <c:pt idx="796">
                  <c:v>41016</c:v>
                </c:pt>
                <c:pt idx="797">
                  <c:v>41017</c:v>
                </c:pt>
                <c:pt idx="798">
                  <c:v>41018</c:v>
                </c:pt>
                <c:pt idx="799">
                  <c:v>41019</c:v>
                </c:pt>
                <c:pt idx="800">
                  <c:v>41022</c:v>
                </c:pt>
                <c:pt idx="801">
                  <c:v>41023</c:v>
                </c:pt>
                <c:pt idx="802">
                  <c:v>41024</c:v>
                </c:pt>
                <c:pt idx="803">
                  <c:v>41025</c:v>
                </c:pt>
                <c:pt idx="804">
                  <c:v>41026</c:v>
                </c:pt>
                <c:pt idx="805">
                  <c:v>41031</c:v>
                </c:pt>
                <c:pt idx="806">
                  <c:v>41032</c:v>
                </c:pt>
                <c:pt idx="807">
                  <c:v>41033</c:v>
                </c:pt>
                <c:pt idx="808">
                  <c:v>41036</c:v>
                </c:pt>
                <c:pt idx="809">
                  <c:v>41037</c:v>
                </c:pt>
                <c:pt idx="810">
                  <c:v>41038</c:v>
                </c:pt>
                <c:pt idx="811">
                  <c:v>41039</c:v>
                </c:pt>
                <c:pt idx="812">
                  <c:v>41040</c:v>
                </c:pt>
                <c:pt idx="813">
                  <c:v>41043</c:v>
                </c:pt>
                <c:pt idx="814">
                  <c:v>41044</c:v>
                </c:pt>
                <c:pt idx="815">
                  <c:v>41045</c:v>
                </c:pt>
                <c:pt idx="816">
                  <c:v>41046</c:v>
                </c:pt>
                <c:pt idx="817">
                  <c:v>41047</c:v>
                </c:pt>
                <c:pt idx="818">
                  <c:v>41050</c:v>
                </c:pt>
                <c:pt idx="819">
                  <c:v>41051</c:v>
                </c:pt>
                <c:pt idx="820">
                  <c:v>41052</c:v>
                </c:pt>
                <c:pt idx="821">
                  <c:v>41053</c:v>
                </c:pt>
                <c:pt idx="822">
                  <c:v>41054</c:v>
                </c:pt>
                <c:pt idx="823">
                  <c:v>41057</c:v>
                </c:pt>
                <c:pt idx="824">
                  <c:v>41058</c:v>
                </c:pt>
                <c:pt idx="825">
                  <c:v>41059</c:v>
                </c:pt>
                <c:pt idx="826">
                  <c:v>41060</c:v>
                </c:pt>
                <c:pt idx="827">
                  <c:v>41061</c:v>
                </c:pt>
                <c:pt idx="828">
                  <c:v>41064</c:v>
                </c:pt>
                <c:pt idx="829">
                  <c:v>41065</c:v>
                </c:pt>
                <c:pt idx="830">
                  <c:v>41066</c:v>
                </c:pt>
                <c:pt idx="831">
                  <c:v>41067</c:v>
                </c:pt>
                <c:pt idx="832">
                  <c:v>41068</c:v>
                </c:pt>
                <c:pt idx="833">
                  <c:v>41071</c:v>
                </c:pt>
                <c:pt idx="834">
                  <c:v>41072</c:v>
                </c:pt>
                <c:pt idx="835">
                  <c:v>41073</c:v>
                </c:pt>
                <c:pt idx="836">
                  <c:v>41074</c:v>
                </c:pt>
                <c:pt idx="837">
                  <c:v>41075</c:v>
                </c:pt>
                <c:pt idx="838">
                  <c:v>41078</c:v>
                </c:pt>
                <c:pt idx="839">
                  <c:v>41079</c:v>
                </c:pt>
                <c:pt idx="840">
                  <c:v>41080</c:v>
                </c:pt>
                <c:pt idx="841">
                  <c:v>41081</c:v>
                </c:pt>
                <c:pt idx="842">
                  <c:v>41085</c:v>
                </c:pt>
                <c:pt idx="843">
                  <c:v>41086</c:v>
                </c:pt>
                <c:pt idx="844">
                  <c:v>41087</c:v>
                </c:pt>
                <c:pt idx="845">
                  <c:v>41088</c:v>
                </c:pt>
                <c:pt idx="846">
                  <c:v>41089</c:v>
                </c:pt>
                <c:pt idx="847">
                  <c:v>41092</c:v>
                </c:pt>
                <c:pt idx="848">
                  <c:v>41093</c:v>
                </c:pt>
                <c:pt idx="849">
                  <c:v>41094</c:v>
                </c:pt>
                <c:pt idx="850">
                  <c:v>41095</c:v>
                </c:pt>
                <c:pt idx="851">
                  <c:v>41096</c:v>
                </c:pt>
                <c:pt idx="852">
                  <c:v>41099</c:v>
                </c:pt>
                <c:pt idx="853">
                  <c:v>41100</c:v>
                </c:pt>
                <c:pt idx="854">
                  <c:v>41101</c:v>
                </c:pt>
                <c:pt idx="855">
                  <c:v>41102</c:v>
                </c:pt>
                <c:pt idx="856">
                  <c:v>41103</c:v>
                </c:pt>
                <c:pt idx="857">
                  <c:v>41106</c:v>
                </c:pt>
                <c:pt idx="858">
                  <c:v>41107</c:v>
                </c:pt>
                <c:pt idx="859">
                  <c:v>41108</c:v>
                </c:pt>
                <c:pt idx="860">
                  <c:v>41109</c:v>
                </c:pt>
                <c:pt idx="861">
                  <c:v>41110</c:v>
                </c:pt>
                <c:pt idx="862">
                  <c:v>41113</c:v>
                </c:pt>
                <c:pt idx="863">
                  <c:v>41114</c:v>
                </c:pt>
                <c:pt idx="864">
                  <c:v>41115</c:v>
                </c:pt>
                <c:pt idx="865">
                  <c:v>41116</c:v>
                </c:pt>
                <c:pt idx="866">
                  <c:v>41117</c:v>
                </c:pt>
                <c:pt idx="867">
                  <c:v>41120</c:v>
                </c:pt>
                <c:pt idx="868">
                  <c:v>41121</c:v>
                </c:pt>
                <c:pt idx="869">
                  <c:v>41122</c:v>
                </c:pt>
                <c:pt idx="870">
                  <c:v>41123</c:v>
                </c:pt>
                <c:pt idx="871">
                  <c:v>41124</c:v>
                </c:pt>
                <c:pt idx="872">
                  <c:v>41127</c:v>
                </c:pt>
                <c:pt idx="873">
                  <c:v>41128</c:v>
                </c:pt>
                <c:pt idx="874">
                  <c:v>41129</c:v>
                </c:pt>
                <c:pt idx="875">
                  <c:v>41130</c:v>
                </c:pt>
                <c:pt idx="876">
                  <c:v>41131</c:v>
                </c:pt>
                <c:pt idx="877">
                  <c:v>41134</c:v>
                </c:pt>
                <c:pt idx="878">
                  <c:v>41135</c:v>
                </c:pt>
                <c:pt idx="879">
                  <c:v>41136</c:v>
                </c:pt>
                <c:pt idx="880">
                  <c:v>41137</c:v>
                </c:pt>
                <c:pt idx="881">
                  <c:v>41138</c:v>
                </c:pt>
                <c:pt idx="882">
                  <c:v>41141</c:v>
                </c:pt>
                <c:pt idx="883">
                  <c:v>41142</c:v>
                </c:pt>
                <c:pt idx="884">
                  <c:v>41143</c:v>
                </c:pt>
                <c:pt idx="885">
                  <c:v>41144</c:v>
                </c:pt>
                <c:pt idx="886">
                  <c:v>41145</c:v>
                </c:pt>
                <c:pt idx="887">
                  <c:v>41148</c:v>
                </c:pt>
                <c:pt idx="888">
                  <c:v>41149</c:v>
                </c:pt>
                <c:pt idx="889">
                  <c:v>41150</c:v>
                </c:pt>
                <c:pt idx="890">
                  <c:v>41151</c:v>
                </c:pt>
                <c:pt idx="891">
                  <c:v>41152</c:v>
                </c:pt>
                <c:pt idx="892">
                  <c:v>41155</c:v>
                </c:pt>
                <c:pt idx="893">
                  <c:v>41156</c:v>
                </c:pt>
                <c:pt idx="894">
                  <c:v>41157</c:v>
                </c:pt>
                <c:pt idx="895">
                  <c:v>41158</c:v>
                </c:pt>
                <c:pt idx="896">
                  <c:v>41159</c:v>
                </c:pt>
                <c:pt idx="897">
                  <c:v>41162</c:v>
                </c:pt>
                <c:pt idx="898">
                  <c:v>41163</c:v>
                </c:pt>
                <c:pt idx="899">
                  <c:v>41164</c:v>
                </c:pt>
                <c:pt idx="900">
                  <c:v>41165</c:v>
                </c:pt>
                <c:pt idx="901">
                  <c:v>41166</c:v>
                </c:pt>
                <c:pt idx="902">
                  <c:v>41169</c:v>
                </c:pt>
                <c:pt idx="903">
                  <c:v>41170</c:v>
                </c:pt>
                <c:pt idx="904">
                  <c:v>41171</c:v>
                </c:pt>
                <c:pt idx="905">
                  <c:v>41172</c:v>
                </c:pt>
                <c:pt idx="906">
                  <c:v>41173</c:v>
                </c:pt>
                <c:pt idx="907">
                  <c:v>41176</c:v>
                </c:pt>
                <c:pt idx="908">
                  <c:v>41177</c:v>
                </c:pt>
                <c:pt idx="909">
                  <c:v>41178</c:v>
                </c:pt>
                <c:pt idx="910">
                  <c:v>41179</c:v>
                </c:pt>
                <c:pt idx="911">
                  <c:v>41180</c:v>
                </c:pt>
                <c:pt idx="912">
                  <c:v>41190</c:v>
                </c:pt>
                <c:pt idx="913">
                  <c:v>41191</c:v>
                </c:pt>
                <c:pt idx="914">
                  <c:v>41192</c:v>
                </c:pt>
                <c:pt idx="915">
                  <c:v>41193</c:v>
                </c:pt>
                <c:pt idx="916">
                  <c:v>41194</c:v>
                </c:pt>
                <c:pt idx="917">
                  <c:v>41197</c:v>
                </c:pt>
                <c:pt idx="918">
                  <c:v>41198</c:v>
                </c:pt>
                <c:pt idx="919">
                  <c:v>41199</c:v>
                </c:pt>
                <c:pt idx="920">
                  <c:v>41200</c:v>
                </c:pt>
                <c:pt idx="921">
                  <c:v>41201</c:v>
                </c:pt>
                <c:pt idx="922">
                  <c:v>41204</c:v>
                </c:pt>
                <c:pt idx="923">
                  <c:v>41205</c:v>
                </c:pt>
                <c:pt idx="924">
                  <c:v>41206</c:v>
                </c:pt>
                <c:pt idx="925">
                  <c:v>41207</c:v>
                </c:pt>
                <c:pt idx="926">
                  <c:v>41208</c:v>
                </c:pt>
                <c:pt idx="927">
                  <c:v>41211</c:v>
                </c:pt>
                <c:pt idx="928">
                  <c:v>41212</c:v>
                </c:pt>
                <c:pt idx="929">
                  <c:v>41213</c:v>
                </c:pt>
                <c:pt idx="930">
                  <c:v>41214</c:v>
                </c:pt>
                <c:pt idx="931">
                  <c:v>41215</c:v>
                </c:pt>
                <c:pt idx="932">
                  <c:v>41218</c:v>
                </c:pt>
                <c:pt idx="933">
                  <c:v>41219</c:v>
                </c:pt>
                <c:pt idx="934">
                  <c:v>41220</c:v>
                </c:pt>
                <c:pt idx="935">
                  <c:v>41221</c:v>
                </c:pt>
                <c:pt idx="936">
                  <c:v>41222</c:v>
                </c:pt>
                <c:pt idx="937">
                  <c:v>41225</c:v>
                </c:pt>
                <c:pt idx="938">
                  <c:v>41226</c:v>
                </c:pt>
                <c:pt idx="939">
                  <c:v>41227</c:v>
                </c:pt>
                <c:pt idx="940">
                  <c:v>41228</c:v>
                </c:pt>
                <c:pt idx="941">
                  <c:v>41229</c:v>
                </c:pt>
                <c:pt idx="942">
                  <c:v>41232</c:v>
                </c:pt>
                <c:pt idx="943">
                  <c:v>41233</c:v>
                </c:pt>
                <c:pt idx="944">
                  <c:v>41234</c:v>
                </c:pt>
                <c:pt idx="945">
                  <c:v>41235</c:v>
                </c:pt>
                <c:pt idx="946">
                  <c:v>41236</c:v>
                </c:pt>
                <c:pt idx="947">
                  <c:v>41239</c:v>
                </c:pt>
                <c:pt idx="948">
                  <c:v>41240</c:v>
                </c:pt>
                <c:pt idx="949">
                  <c:v>41241</c:v>
                </c:pt>
                <c:pt idx="950">
                  <c:v>41242</c:v>
                </c:pt>
                <c:pt idx="951">
                  <c:v>41243</c:v>
                </c:pt>
                <c:pt idx="952">
                  <c:v>41246</c:v>
                </c:pt>
                <c:pt idx="953">
                  <c:v>41247</c:v>
                </c:pt>
                <c:pt idx="954">
                  <c:v>41248</c:v>
                </c:pt>
                <c:pt idx="955">
                  <c:v>41249</c:v>
                </c:pt>
                <c:pt idx="956">
                  <c:v>41250</c:v>
                </c:pt>
                <c:pt idx="957">
                  <c:v>41253</c:v>
                </c:pt>
                <c:pt idx="958">
                  <c:v>41254</c:v>
                </c:pt>
                <c:pt idx="959">
                  <c:v>41255</c:v>
                </c:pt>
                <c:pt idx="960">
                  <c:v>41256</c:v>
                </c:pt>
                <c:pt idx="961">
                  <c:v>41257</c:v>
                </c:pt>
                <c:pt idx="962">
                  <c:v>41260</c:v>
                </c:pt>
                <c:pt idx="963">
                  <c:v>41261</c:v>
                </c:pt>
                <c:pt idx="964">
                  <c:v>41262</c:v>
                </c:pt>
                <c:pt idx="965">
                  <c:v>41263</c:v>
                </c:pt>
                <c:pt idx="966">
                  <c:v>41264</c:v>
                </c:pt>
                <c:pt idx="967">
                  <c:v>41267</c:v>
                </c:pt>
                <c:pt idx="968">
                  <c:v>41268</c:v>
                </c:pt>
                <c:pt idx="969">
                  <c:v>41269</c:v>
                </c:pt>
                <c:pt idx="970">
                  <c:v>41270</c:v>
                </c:pt>
                <c:pt idx="971">
                  <c:v>41271</c:v>
                </c:pt>
                <c:pt idx="972">
                  <c:v>41274</c:v>
                </c:pt>
                <c:pt idx="973">
                  <c:v>41278</c:v>
                </c:pt>
                <c:pt idx="974">
                  <c:v>41281</c:v>
                </c:pt>
                <c:pt idx="975">
                  <c:v>41282</c:v>
                </c:pt>
                <c:pt idx="976">
                  <c:v>41283</c:v>
                </c:pt>
                <c:pt idx="977">
                  <c:v>41284</c:v>
                </c:pt>
                <c:pt idx="978">
                  <c:v>41285</c:v>
                </c:pt>
                <c:pt idx="979">
                  <c:v>41288</c:v>
                </c:pt>
                <c:pt idx="980">
                  <c:v>41289</c:v>
                </c:pt>
                <c:pt idx="981">
                  <c:v>41290</c:v>
                </c:pt>
                <c:pt idx="982">
                  <c:v>41291</c:v>
                </c:pt>
                <c:pt idx="983">
                  <c:v>41292</c:v>
                </c:pt>
                <c:pt idx="984">
                  <c:v>41295</c:v>
                </c:pt>
                <c:pt idx="985">
                  <c:v>41296</c:v>
                </c:pt>
                <c:pt idx="986">
                  <c:v>41297</c:v>
                </c:pt>
                <c:pt idx="987">
                  <c:v>41298</c:v>
                </c:pt>
                <c:pt idx="988">
                  <c:v>41299</c:v>
                </c:pt>
                <c:pt idx="989">
                  <c:v>41302</c:v>
                </c:pt>
                <c:pt idx="990">
                  <c:v>41303</c:v>
                </c:pt>
                <c:pt idx="991">
                  <c:v>41304</c:v>
                </c:pt>
                <c:pt idx="992">
                  <c:v>41305</c:v>
                </c:pt>
                <c:pt idx="993">
                  <c:v>41306</c:v>
                </c:pt>
                <c:pt idx="994">
                  <c:v>41309</c:v>
                </c:pt>
                <c:pt idx="995">
                  <c:v>41310</c:v>
                </c:pt>
                <c:pt idx="996">
                  <c:v>41311</c:v>
                </c:pt>
                <c:pt idx="997">
                  <c:v>41312</c:v>
                </c:pt>
                <c:pt idx="998">
                  <c:v>41313</c:v>
                </c:pt>
                <c:pt idx="999">
                  <c:v>41323</c:v>
                </c:pt>
                <c:pt idx="1000">
                  <c:v>41324</c:v>
                </c:pt>
                <c:pt idx="1001">
                  <c:v>41325</c:v>
                </c:pt>
                <c:pt idx="1002">
                  <c:v>41326</c:v>
                </c:pt>
                <c:pt idx="1003">
                  <c:v>41327</c:v>
                </c:pt>
                <c:pt idx="1004">
                  <c:v>41330</c:v>
                </c:pt>
                <c:pt idx="1005">
                  <c:v>41331</c:v>
                </c:pt>
                <c:pt idx="1006">
                  <c:v>41332</c:v>
                </c:pt>
                <c:pt idx="1007">
                  <c:v>41333</c:v>
                </c:pt>
                <c:pt idx="1008">
                  <c:v>41334</c:v>
                </c:pt>
                <c:pt idx="1009">
                  <c:v>41337</c:v>
                </c:pt>
                <c:pt idx="1010">
                  <c:v>41338</c:v>
                </c:pt>
                <c:pt idx="1011">
                  <c:v>41339</c:v>
                </c:pt>
                <c:pt idx="1012">
                  <c:v>41340</c:v>
                </c:pt>
                <c:pt idx="1013">
                  <c:v>41341</c:v>
                </c:pt>
                <c:pt idx="1014">
                  <c:v>41344</c:v>
                </c:pt>
                <c:pt idx="1015">
                  <c:v>41345</c:v>
                </c:pt>
                <c:pt idx="1016">
                  <c:v>41346</c:v>
                </c:pt>
                <c:pt idx="1017">
                  <c:v>41347</c:v>
                </c:pt>
                <c:pt idx="1018">
                  <c:v>41348</c:v>
                </c:pt>
                <c:pt idx="1019">
                  <c:v>41351</c:v>
                </c:pt>
                <c:pt idx="1020">
                  <c:v>41352</c:v>
                </c:pt>
                <c:pt idx="1021">
                  <c:v>41353</c:v>
                </c:pt>
                <c:pt idx="1022">
                  <c:v>41354</c:v>
                </c:pt>
                <c:pt idx="1023">
                  <c:v>41355</c:v>
                </c:pt>
                <c:pt idx="1024">
                  <c:v>41358</c:v>
                </c:pt>
                <c:pt idx="1025">
                  <c:v>41359</c:v>
                </c:pt>
                <c:pt idx="1026">
                  <c:v>41360</c:v>
                </c:pt>
                <c:pt idx="1027">
                  <c:v>41361</c:v>
                </c:pt>
                <c:pt idx="1028">
                  <c:v>41362</c:v>
                </c:pt>
                <c:pt idx="1029">
                  <c:v>41365</c:v>
                </c:pt>
                <c:pt idx="1030">
                  <c:v>41366</c:v>
                </c:pt>
                <c:pt idx="1031">
                  <c:v>41367</c:v>
                </c:pt>
                <c:pt idx="1032">
                  <c:v>41372</c:v>
                </c:pt>
                <c:pt idx="1033">
                  <c:v>41373</c:v>
                </c:pt>
                <c:pt idx="1034">
                  <c:v>41374</c:v>
                </c:pt>
                <c:pt idx="1035">
                  <c:v>41375</c:v>
                </c:pt>
                <c:pt idx="1036">
                  <c:v>41376</c:v>
                </c:pt>
                <c:pt idx="1037">
                  <c:v>41379</c:v>
                </c:pt>
                <c:pt idx="1038">
                  <c:v>41380</c:v>
                </c:pt>
                <c:pt idx="1039">
                  <c:v>41381</c:v>
                </c:pt>
                <c:pt idx="1040">
                  <c:v>41382</c:v>
                </c:pt>
                <c:pt idx="1041">
                  <c:v>41383</c:v>
                </c:pt>
                <c:pt idx="1042">
                  <c:v>41386</c:v>
                </c:pt>
                <c:pt idx="1043">
                  <c:v>41387</c:v>
                </c:pt>
                <c:pt idx="1044">
                  <c:v>41388</c:v>
                </c:pt>
                <c:pt idx="1045">
                  <c:v>41389</c:v>
                </c:pt>
                <c:pt idx="1046">
                  <c:v>41390</c:v>
                </c:pt>
                <c:pt idx="1047">
                  <c:v>41396</c:v>
                </c:pt>
                <c:pt idx="1048">
                  <c:v>41397</c:v>
                </c:pt>
                <c:pt idx="1049">
                  <c:v>41400</c:v>
                </c:pt>
                <c:pt idx="1050">
                  <c:v>41401</c:v>
                </c:pt>
                <c:pt idx="1051">
                  <c:v>41402</c:v>
                </c:pt>
                <c:pt idx="1052">
                  <c:v>41403</c:v>
                </c:pt>
                <c:pt idx="1053">
                  <c:v>41404</c:v>
                </c:pt>
                <c:pt idx="1054">
                  <c:v>41407</c:v>
                </c:pt>
                <c:pt idx="1055">
                  <c:v>41408</c:v>
                </c:pt>
                <c:pt idx="1056">
                  <c:v>41409</c:v>
                </c:pt>
                <c:pt idx="1057">
                  <c:v>41410</c:v>
                </c:pt>
                <c:pt idx="1058">
                  <c:v>41411</c:v>
                </c:pt>
                <c:pt idx="1059">
                  <c:v>41414</c:v>
                </c:pt>
                <c:pt idx="1060">
                  <c:v>41415</c:v>
                </c:pt>
                <c:pt idx="1061">
                  <c:v>41416</c:v>
                </c:pt>
                <c:pt idx="1062">
                  <c:v>41417</c:v>
                </c:pt>
                <c:pt idx="1063">
                  <c:v>41418</c:v>
                </c:pt>
                <c:pt idx="1064">
                  <c:v>41421</c:v>
                </c:pt>
                <c:pt idx="1065">
                  <c:v>41422</c:v>
                </c:pt>
                <c:pt idx="1066">
                  <c:v>41423</c:v>
                </c:pt>
                <c:pt idx="1067">
                  <c:v>41424</c:v>
                </c:pt>
                <c:pt idx="1068">
                  <c:v>41425</c:v>
                </c:pt>
                <c:pt idx="1069">
                  <c:v>41428</c:v>
                </c:pt>
                <c:pt idx="1070">
                  <c:v>41429</c:v>
                </c:pt>
                <c:pt idx="1071">
                  <c:v>41430</c:v>
                </c:pt>
                <c:pt idx="1072">
                  <c:v>41431</c:v>
                </c:pt>
                <c:pt idx="1073">
                  <c:v>41432</c:v>
                </c:pt>
                <c:pt idx="1074">
                  <c:v>41438</c:v>
                </c:pt>
                <c:pt idx="1075">
                  <c:v>41439</c:v>
                </c:pt>
                <c:pt idx="1076">
                  <c:v>41442</c:v>
                </c:pt>
                <c:pt idx="1077">
                  <c:v>41443</c:v>
                </c:pt>
                <c:pt idx="1078">
                  <c:v>41444</c:v>
                </c:pt>
                <c:pt idx="1079">
                  <c:v>41445</c:v>
                </c:pt>
                <c:pt idx="1080">
                  <c:v>41446</c:v>
                </c:pt>
                <c:pt idx="1081">
                  <c:v>41449</c:v>
                </c:pt>
                <c:pt idx="1082">
                  <c:v>41450</c:v>
                </c:pt>
                <c:pt idx="1083">
                  <c:v>41451</c:v>
                </c:pt>
                <c:pt idx="1084">
                  <c:v>41452</c:v>
                </c:pt>
                <c:pt idx="1085">
                  <c:v>41453</c:v>
                </c:pt>
                <c:pt idx="1086">
                  <c:v>41456</c:v>
                </c:pt>
                <c:pt idx="1087">
                  <c:v>41457</c:v>
                </c:pt>
                <c:pt idx="1088">
                  <c:v>41458</c:v>
                </c:pt>
                <c:pt idx="1089">
                  <c:v>41459</c:v>
                </c:pt>
                <c:pt idx="1090">
                  <c:v>41460</c:v>
                </c:pt>
                <c:pt idx="1091">
                  <c:v>41463</c:v>
                </c:pt>
                <c:pt idx="1092">
                  <c:v>41464</c:v>
                </c:pt>
                <c:pt idx="1093">
                  <c:v>41465</c:v>
                </c:pt>
                <c:pt idx="1094">
                  <c:v>41466</c:v>
                </c:pt>
                <c:pt idx="1095">
                  <c:v>41467</c:v>
                </c:pt>
                <c:pt idx="1096">
                  <c:v>41470</c:v>
                </c:pt>
                <c:pt idx="1097">
                  <c:v>41471</c:v>
                </c:pt>
                <c:pt idx="1098">
                  <c:v>41472</c:v>
                </c:pt>
                <c:pt idx="1099">
                  <c:v>41473</c:v>
                </c:pt>
                <c:pt idx="1100">
                  <c:v>41474</c:v>
                </c:pt>
                <c:pt idx="1101">
                  <c:v>41477</c:v>
                </c:pt>
                <c:pt idx="1102">
                  <c:v>41478</c:v>
                </c:pt>
                <c:pt idx="1103">
                  <c:v>41479</c:v>
                </c:pt>
                <c:pt idx="1104">
                  <c:v>41480</c:v>
                </c:pt>
                <c:pt idx="1105">
                  <c:v>41481</c:v>
                </c:pt>
                <c:pt idx="1106">
                  <c:v>41484</c:v>
                </c:pt>
                <c:pt idx="1107">
                  <c:v>41485</c:v>
                </c:pt>
                <c:pt idx="1108">
                  <c:v>41486</c:v>
                </c:pt>
                <c:pt idx="1109">
                  <c:v>41487</c:v>
                </c:pt>
                <c:pt idx="1110">
                  <c:v>41488</c:v>
                </c:pt>
                <c:pt idx="1111">
                  <c:v>41491</c:v>
                </c:pt>
                <c:pt idx="1112">
                  <c:v>41492</c:v>
                </c:pt>
                <c:pt idx="1113">
                  <c:v>41493</c:v>
                </c:pt>
                <c:pt idx="1114">
                  <c:v>41494</c:v>
                </c:pt>
                <c:pt idx="1115">
                  <c:v>41495</c:v>
                </c:pt>
                <c:pt idx="1116">
                  <c:v>41498</c:v>
                </c:pt>
                <c:pt idx="1117">
                  <c:v>41499</c:v>
                </c:pt>
                <c:pt idx="1118">
                  <c:v>41500</c:v>
                </c:pt>
                <c:pt idx="1119">
                  <c:v>41501</c:v>
                </c:pt>
                <c:pt idx="1120">
                  <c:v>41502</c:v>
                </c:pt>
                <c:pt idx="1121">
                  <c:v>41505</c:v>
                </c:pt>
                <c:pt idx="1122">
                  <c:v>41506</c:v>
                </c:pt>
                <c:pt idx="1123">
                  <c:v>41507</c:v>
                </c:pt>
                <c:pt idx="1124">
                  <c:v>41508</c:v>
                </c:pt>
                <c:pt idx="1125">
                  <c:v>41509</c:v>
                </c:pt>
                <c:pt idx="1126">
                  <c:v>41512</c:v>
                </c:pt>
                <c:pt idx="1127">
                  <c:v>41513</c:v>
                </c:pt>
                <c:pt idx="1128">
                  <c:v>41514</c:v>
                </c:pt>
                <c:pt idx="1129">
                  <c:v>41515</c:v>
                </c:pt>
                <c:pt idx="1130">
                  <c:v>41516</c:v>
                </c:pt>
                <c:pt idx="1131">
                  <c:v>41519</c:v>
                </c:pt>
                <c:pt idx="1132">
                  <c:v>41520</c:v>
                </c:pt>
                <c:pt idx="1133">
                  <c:v>41521</c:v>
                </c:pt>
                <c:pt idx="1134">
                  <c:v>41522</c:v>
                </c:pt>
                <c:pt idx="1135">
                  <c:v>41523</c:v>
                </c:pt>
                <c:pt idx="1136">
                  <c:v>41526</c:v>
                </c:pt>
                <c:pt idx="1137">
                  <c:v>41527</c:v>
                </c:pt>
                <c:pt idx="1138">
                  <c:v>41528</c:v>
                </c:pt>
                <c:pt idx="1139">
                  <c:v>41529</c:v>
                </c:pt>
                <c:pt idx="1140">
                  <c:v>41530</c:v>
                </c:pt>
                <c:pt idx="1141">
                  <c:v>41533</c:v>
                </c:pt>
                <c:pt idx="1142">
                  <c:v>41534</c:v>
                </c:pt>
                <c:pt idx="1143">
                  <c:v>41535</c:v>
                </c:pt>
                <c:pt idx="1144">
                  <c:v>41540</c:v>
                </c:pt>
                <c:pt idx="1145">
                  <c:v>41541</c:v>
                </c:pt>
                <c:pt idx="1146">
                  <c:v>41542</c:v>
                </c:pt>
                <c:pt idx="1147">
                  <c:v>41543</c:v>
                </c:pt>
                <c:pt idx="1148">
                  <c:v>41544</c:v>
                </c:pt>
                <c:pt idx="1149">
                  <c:v>41547</c:v>
                </c:pt>
                <c:pt idx="1150">
                  <c:v>41555</c:v>
                </c:pt>
                <c:pt idx="1151">
                  <c:v>41556</c:v>
                </c:pt>
                <c:pt idx="1152">
                  <c:v>41557</c:v>
                </c:pt>
                <c:pt idx="1153">
                  <c:v>41558</c:v>
                </c:pt>
                <c:pt idx="1154">
                  <c:v>41561</c:v>
                </c:pt>
                <c:pt idx="1155">
                  <c:v>41562</c:v>
                </c:pt>
                <c:pt idx="1156">
                  <c:v>41563</c:v>
                </c:pt>
                <c:pt idx="1157">
                  <c:v>41564</c:v>
                </c:pt>
                <c:pt idx="1158">
                  <c:v>41565</c:v>
                </c:pt>
                <c:pt idx="1159">
                  <c:v>41568</c:v>
                </c:pt>
                <c:pt idx="1160">
                  <c:v>41569</c:v>
                </c:pt>
                <c:pt idx="1161">
                  <c:v>41570</c:v>
                </c:pt>
                <c:pt idx="1162">
                  <c:v>41571</c:v>
                </c:pt>
                <c:pt idx="1163">
                  <c:v>41572</c:v>
                </c:pt>
                <c:pt idx="1164">
                  <c:v>41575</c:v>
                </c:pt>
                <c:pt idx="1165">
                  <c:v>41576</c:v>
                </c:pt>
                <c:pt idx="1166">
                  <c:v>41577</c:v>
                </c:pt>
                <c:pt idx="1167">
                  <c:v>41578</c:v>
                </c:pt>
                <c:pt idx="1168">
                  <c:v>41579</c:v>
                </c:pt>
                <c:pt idx="1169">
                  <c:v>41582</c:v>
                </c:pt>
                <c:pt idx="1170">
                  <c:v>41583</c:v>
                </c:pt>
                <c:pt idx="1171">
                  <c:v>41584</c:v>
                </c:pt>
                <c:pt idx="1172">
                  <c:v>41585</c:v>
                </c:pt>
                <c:pt idx="1173">
                  <c:v>41586</c:v>
                </c:pt>
                <c:pt idx="1174">
                  <c:v>41589</c:v>
                </c:pt>
                <c:pt idx="1175">
                  <c:v>41590</c:v>
                </c:pt>
                <c:pt idx="1176">
                  <c:v>41591</c:v>
                </c:pt>
                <c:pt idx="1177">
                  <c:v>41592</c:v>
                </c:pt>
                <c:pt idx="1178">
                  <c:v>41593</c:v>
                </c:pt>
                <c:pt idx="1179">
                  <c:v>41596</c:v>
                </c:pt>
                <c:pt idx="1180">
                  <c:v>41597</c:v>
                </c:pt>
                <c:pt idx="1181">
                  <c:v>41598</c:v>
                </c:pt>
                <c:pt idx="1182">
                  <c:v>41599</c:v>
                </c:pt>
                <c:pt idx="1183">
                  <c:v>41600</c:v>
                </c:pt>
                <c:pt idx="1184">
                  <c:v>41603</c:v>
                </c:pt>
                <c:pt idx="1185">
                  <c:v>41604</c:v>
                </c:pt>
                <c:pt idx="1186">
                  <c:v>41605</c:v>
                </c:pt>
                <c:pt idx="1187">
                  <c:v>41606</c:v>
                </c:pt>
                <c:pt idx="1188">
                  <c:v>41607</c:v>
                </c:pt>
                <c:pt idx="1189">
                  <c:v>41610</c:v>
                </c:pt>
                <c:pt idx="1190">
                  <c:v>41611</c:v>
                </c:pt>
                <c:pt idx="1191">
                  <c:v>41612</c:v>
                </c:pt>
                <c:pt idx="1192">
                  <c:v>41613</c:v>
                </c:pt>
                <c:pt idx="1193">
                  <c:v>41614</c:v>
                </c:pt>
                <c:pt idx="1194">
                  <c:v>41617</c:v>
                </c:pt>
                <c:pt idx="1195">
                  <c:v>41618</c:v>
                </c:pt>
                <c:pt idx="1196">
                  <c:v>41619</c:v>
                </c:pt>
                <c:pt idx="1197">
                  <c:v>41620</c:v>
                </c:pt>
                <c:pt idx="1198">
                  <c:v>41621</c:v>
                </c:pt>
                <c:pt idx="1199">
                  <c:v>41624</c:v>
                </c:pt>
                <c:pt idx="1200">
                  <c:v>41625</c:v>
                </c:pt>
                <c:pt idx="1201">
                  <c:v>41626</c:v>
                </c:pt>
                <c:pt idx="1202">
                  <c:v>41627</c:v>
                </c:pt>
                <c:pt idx="1203">
                  <c:v>41628</c:v>
                </c:pt>
                <c:pt idx="1204">
                  <c:v>41631</c:v>
                </c:pt>
                <c:pt idx="1205">
                  <c:v>41632</c:v>
                </c:pt>
                <c:pt idx="1206">
                  <c:v>41633</c:v>
                </c:pt>
                <c:pt idx="1207">
                  <c:v>41634</c:v>
                </c:pt>
                <c:pt idx="1208">
                  <c:v>41635</c:v>
                </c:pt>
                <c:pt idx="1209">
                  <c:v>41638</c:v>
                </c:pt>
                <c:pt idx="1210">
                  <c:v>41639</c:v>
                </c:pt>
                <c:pt idx="1211">
                  <c:v>41641</c:v>
                </c:pt>
                <c:pt idx="1212">
                  <c:v>41642</c:v>
                </c:pt>
                <c:pt idx="1213">
                  <c:v>41645</c:v>
                </c:pt>
                <c:pt idx="1214">
                  <c:v>41646</c:v>
                </c:pt>
                <c:pt idx="1215">
                  <c:v>41647</c:v>
                </c:pt>
                <c:pt idx="1216">
                  <c:v>41648</c:v>
                </c:pt>
                <c:pt idx="1217">
                  <c:v>41649</c:v>
                </c:pt>
                <c:pt idx="1218">
                  <c:v>41652</c:v>
                </c:pt>
                <c:pt idx="1219">
                  <c:v>41653</c:v>
                </c:pt>
                <c:pt idx="1220">
                  <c:v>41654</c:v>
                </c:pt>
                <c:pt idx="1221">
                  <c:v>41655</c:v>
                </c:pt>
                <c:pt idx="1222">
                  <c:v>41656</c:v>
                </c:pt>
                <c:pt idx="1223">
                  <c:v>41659</c:v>
                </c:pt>
                <c:pt idx="1224">
                  <c:v>41660</c:v>
                </c:pt>
                <c:pt idx="1225">
                  <c:v>41661</c:v>
                </c:pt>
                <c:pt idx="1226">
                  <c:v>41662</c:v>
                </c:pt>
                <c:pt idx="1227">
                  <c:v>41663</c:v>
                </c:pt>
                <c:pt idx="1228">
                  <c:v>41666</c:v>
                </c:pt>
                <c:pt idx="1229">
                  <c:v>41667</c:v>
                </c:pt>
                <c:pt idx="1230">
                  <c:v>41668</c:v>
                </c:pt>
                <c:pt idx="1231">
                  <c:v>41669</c:v>
                </c:pt>
                <c:pt idx="1232">
                  <c:v>41677</c:v>
                </c:pt>
                <c:pt idx="1233">
                  <c:v>41680</c:v>
                </c:pt>
                <c:pt idx="1234">
                  <c:v>41681</c:v>
                </c:pt>
                <c:pt idx="1235">
                  <c:v>41682</c:v>
                </c:pt>
                <c:pt idx="1236">
                  <c:v>41683</c:v>
                </c:pt>
                <c:pt idx="1237">
                  <c:v>41684</c:v>
                </c:pt>
                <c:pt idx="1238">
                  <c:v>41687</c:v>
                </c:pt>
                <c:pt idx="1239">
                  <c:v>41688</c:v>
                </c:pt>
                <c:pt idx="1240">
                  <c:v>41689</c:v>
                </c:pt>
                <c:pt idx="1241">
                  <c:v>41690</c:v>
                </c:pt>
                <c:pt idx="1242">
                  <c:v>41691</c:v>
                </c:pt>
                <c:pt idx="1243">
                  <c:v>41694</c:v>
                </c:pt>
                <c:pt idx="1244">
                  <c:v>41695</c:v>
                </c:pt>
                <c:pt idx="1245">
                  <c:v>41696</c:v>
                </c:pt>
                <c:pt idx="1246">
                  <c:v>41697</c:v>
                </c:pt>
                <c:pt idx="1247">
                  <c:v>41698</c:v>
                </c:pt>
                <c:pt idx="1248">
                  <c:v>41701</c:v>
                </c:pt>
                <c:pt idx="1249">
                  <c:v>41702</c:v>
                </c:pt>
                <c:pt idx="1250">
                  <c:v>41703</c:v>
                </c:pt>
                <c:pt idx="1251">
                  <c:v>41704</c:v>
                </c:pt>
                <c:pt idx="1252">
                  <c:v>41705</c:v>
                </c:pt>
                <c:pt idx="1253">
                  <c:v>41708</c:v>
                </c:pt>
                <c:pt idx="1254">
                  <c:v>41709</c:v>
                </c:pt>
                <c:pt idx="1255">
                  <c:v>41710</c:v>
                </c:pt>
                <c:pt idx="1256">
                  <c:v>41711</c:v>
                </c:pt>
                <c:pt idx="1257">
                  <c:v>41712</c:v>
                </c:pt>
                <c:pt idx="1258">
                  <c:v>41715</c:v>
                </c:pt>
                <c:pt idx="1259">
                  <c:v>41716</c:v>
                </c:pt>
                <c:pt idx="1260">
                  <c:v>41717</c:v>
                </c:pt>
                <c:pt idx="1261">
                  <c:v>41718</c:v>
                </c:pt>
                <c:pt idx="1262">
                  <c:v>41719</c:v>
                </c:pt>
                <c:pt idx="1263">
                  <c:v>41722</c:v>
                </c:pt>
                <c:pt idx="1264">
                  <c:v>41723</c:v>
                </c:pt>
                <c:pt idx="1265">
                  <c:v>41724</c:v>
                </c:pt>
                <c:pt idx="1266">
                  <c:v>41725</c:v>
                </c:pt>
                <c:pt idx="1267">
                  <c:v>41726</c:v>
                </c:pt>
                <c:pt idx="1268">
                  <c:v>41729</c:v>
                </c:pt>
                <c:pt idx="1269">
                  <c:v>41730</c:v>
                </c:pt>
                <c:pt idx="1270">
                  <c:v>41731</c:v>
                </c:pt>
                <c:pt idx="1271">
                  <c:v>41732</c:v>
                </c:pt>
                <c:pt idx="1272">
                  <c:v>41733</c:v>
                </c:pt>
                <c:pt idx="1273">
                  <c:v>41737</c:v>
                </c:pt>
                <c:pt idx="1274">
                  <c:v>41738</c:v>
                </c:pt>
                <c:pt idx="1275">
                  <c:v>41739</c:v>
                </c:pt>
                <c:pt idx="1276">
                  <c:v>41740</c:v>
                </c:pt>
                <c:pt idx="1277">
                  <c:v>41743</c:v>
                </c:pt>
                <c:pt idx="1278">
                  <c:v>41744</c:v>
                </c:pt>
                <c:pt idx="1279">
                  <c:v>41745</c:v>
                </c:pt>
                <c:pt idx="1280">
                  <c:v>41746</c:v>
                </c:pt>
                <c:pt idx="1281">
                  <c:v>41747</c:v>
                </c:pt>
                <c:pt idx="1282">
                  <c:v>41750</c:v>
                </c:pt>
                <c:pt idx="1283">
                  <c:v>41751</c:v>
                </c:pt>
                <c:pt idx="1284">
                  <c:v>41752</c:v>
                </c:pt>
                <c:pt idx="1285">
                  <c:v>41753</c:v>
                </c:pt>
                <c:pt idx="1286">
                  <c:v>41754</c:v>
                </c:pt>
                <c:pt idx="1287">
                  <c:v>41757</c:v>
                </c:pt>
                <c:pt idx="1288">
                  <c:v>41758</c:v>
                </c:pt>
                <c:pt idx="1289">
                  <c:v>41759</c:v>
                </c:pt>
                <c:pt idx="1290">
                  <c:v>41764</c:v>
                </c:pt>
                <c:pt idx="1291">
                  <c:v>41765</c:v>
                </c:pt>
                <c:pt idx="1292">
                  <c:v>41766</c:v>
                </c:pt>
                <c:pt idx="1293">
                  <c:v>41767</c:v>
                </c:pt>
                <c:pt idx="1294">
                  <c:v>41768</c:v>
                </c:pt>
                <c:pt idx="1295">
                  <c:v>41771</c:v>
                </c:pt>
                <c:pt idx="1296">
                  <c:v>41772</c:v>
                </c:pt>
                <c:pt idx="1297">
                  <c:v>41773</c:v>
                </c:pt>
                <c:pt idx="1298">
                  <c:v>41774</c:v>
                </c:pt>
                <c:pt idx="1299">
                  <c:v>41775</c:v>
                </c:pt>
                <c:pt idx="1300">
                  <c:v>41778</c:v>
                </c:pt>
                <c:pt idx="1301">
                  <c:v>41779</c:v>
                </c:pt>
                <c:pt idx="1302">
                  <c:v>41780</c:v>
                </c:pt>
                <c:pt idx="1303">
                  <c:v>41781</c:v>
                </c:pt>
                <c:pt idx="1304">
                  <c:v>41782</c:v>
                </c:pt>
                <c:pt idx="1305">
                  <c:v>41785</c:v>
                </c:pt>
                <c:pt idx="1306">
                  <c:v>41786</c:v>
                </c:pt>
                <c:pt idx="1307">
                  <c:v>41787</c:v>
                </c:pt>
                <c:pt idx="1308">
                  <c:v>41788</c:v>
                </c:pt>
                <c:pt idx="1309">
                  <c:v>41789</c:v>
                </c:pt>
                <c:pt idx="1310">
                  <c:v>41793</c:v>
                </c:pt>
                <c:pt idx="1311">
                  <c:v>41794</c:v>
                </c:pt>
                <c:pt idx="1312">
                  <c:v>41795</c:v>
                </c:pt>
                <c:pt idx="1313">
                  <c:v>41796</c:v>
                </c:pt>
                <c:pt idx="1314">
                  <c:v>41799</c:v>
                </c:pt>
                <c:pt idx="1315">
                  <c:v>41800</c:v>
                </c:pt>
                <c:pt idx="1316">
                  <c:v>41801</c:v>
                </c:pt>
                <c:pt idx="1317">
                  <c:v>41802</c:v>
                </c:pt>
                <c:pt idx="1318">
                  <c:v>41803</c:v>
                </c:pt>
                <c:pt idx="1319">
                  <c:v>41806</c:v>
                </c:pt>
                <c:pt idx="1320">
                  <c:v>41807</c:v>
                </c:pt>
                <c:pt idx="1321">
                  <c:v>41808</c:v>
                </c:pt>
                <c:pt idx="1322">
                  <c:v>41809</c:v>
                </c:pt>
                <c:pt idx="1323">
                  <c:v>41810</c:v>
                </c:pt>
                <c:pt idx="1324">
                  <c:v>41813</c:v>
                </c:pt>
                <c:pt idx="1325">
                  <c:v>41814</c:v>
                </c:pt>
                <c:pt idx="1326">
                  <c:v>41815</c:v>
                </c:pt>
                <c:pt idx="1327">
                  <c:v>41816</c:v>
                </c:pt>
                <c:pt idx="1328">
                  <c:v>41817</c:v>
                </c:pt>
                <c:pt idx="1329">
                  <c:v>41820</c:v>
                </c:pt>
                <c:pt idx="1330">
                  <c:v>41821</c:v>
                </c:pt>
                <c:pt idx="1331">
                  <c:v>41822</c:v>
                </c:pt>
                <c:pt idx="1332">
                  <c:v>41823</c:v>
                </c:pt>
                <c:pt idx="1333">
                  <c:v>41824</c:v>
                </c:pt>
                <c:pt idx="1334">
                  <c:v>41827</c:v>
                </c:pt>
                <c:pt idx="1335">
                  <c:v>41828</c:v>
                </c:pt>
                <c:pt idx="1336">
                  <c:v>41829</c:v>
                </c:pt>
                <c:pt idx="1337">
                  <c:v>41830</c:v>
                </c:pt>
                <c:pt idx="1338">
                  <c:v>41831</c:v>
                </c:pt>
                <c:pt idx="1339">
                  <c:v>41834</c:v>
                </c:pt>
                <c:pt idx="1340">
                  <c:v>41835</c:v>
                </c:pt>
                <c:pt idx="1341">
                  <c:v>41836</c:v>
                </c:pt>
                <c:pt idx="1342">
                  <c:v>41837</c:v>
                </c:pt>
                <c:pt idx="1343">
                  <c:v>41838</c:v>
                </c:pt>
                <c:pt idx="1344">
                  <c:v>41841</c:v>
                </c:pt>
                <c:pt idx="1345">
                  <c:v>41842</c:v>
                </c:pt>
                <c:pt idx="1346">
                  <c:v>41843</c:v>
                </c:pt>
                <c:pt idx="1347">
                  <c:v>41844</c:v>
                </c:pt>
                <c:pt idx="1348">
                  <c:v>41845</c:v>
                </c:pt>
                <c:pt idx="1349">
                  <c:v>41848</c:v>
                </c:pt>
                <c:pt idx="1350">
                  <c:v>41849</c:v>
                </c:pt>
                <c:pt idx="1351">
                  <c:v>41850</c:v>
                </c:pt>
                <c:pt idx="1352">
                  <c:v>41851</c:v>
                </c:pt>
                <c:pt idx="1353">
                  <c:v>41852</c:v>
                </c:pt>
                <c:pt idx="1354">
                  <c:v>41855</c:v>
                </c:pt>
                <c:pt idx="1355">
                  <c:v>41856</c:v>
                </c:pt>
                <c:pt idx="1356">
                  <c:v>41857</c:v>
                </c:pt>
                <c:pt idx="1357">
                  <c:v>41858</c:v>
                </c:pt>
                <c:pt idx="1358">
                  <c:v>41859</c:v>
                </c:pt>
                <c:pt idx="1359">
                  <c:v>41862</c:v>
                </c:pt>
                <c:pt idx="1360">
                  <c:v>41863</c:v>
                </c:pt>
                <c:pt idx="1361">
                  <c:v>41864</c:v>
                </c:pt>
                <c:pt idx="1362">
                  <c:v>41865</c:v>
                </c:pt>
                <c:pt idx="1363">
                  <c:v>41866</c:v>
                </c:pt>
                <c:pt idx="1364">
                  <c:v>41869</c:v>
                </c:pt>
                <c:pt idx="1365">
                  <c:v>41870</c:v>
                </c:pt>
                <c:pt idx="1366">
                  <c:v>41871</c:v>
                </c:pt>
                <c:pt idx="1367">
                  <c:v>41872</c:v>
                </c:pt>
                <c:pt idx="1368">
                  <c:v>41873</c:v>
                </c:pt>
                <c:pt idx="1369">
                  <c:v>41876</c:v>
                </c:pt>
                <c:pt idx="1370">
                  <c:v>41877</c:v>
                </c:pt>
                <c:pt idx="1371">
                  <c:v>41878</c:v>
                </c:pt>
                <c:pt idx="1372">
                  <c:v>41879</c:v>
                </c:pt>
                <c:pt idx="1373">
                  <c:v>41880</c:v>
                </c:pt>
                <c:pt idx="1374">
                  <c:v>41883</c:v>
                </c:pt>
                <c:pt idx="1375">
                  <c:v>41884</c:v>
                </c:pt>
                <c:pt idx="1376">
                  <c:v>41885</c:v>
                </c:pt>
                <c:pt idx="1377">
                  <c:v>41886</c:v>
                </c:pt>
                <c:pt idx="1378">
                  <c:v>41887</c:v>
                </c:pt>
                <c:pt idx="1379">
                  <c:v>41891</c:v>
                </c:pt>
                <c:pt idx="1380">
                  <c:v>41892</c:v>
                </c:pt>
                <c:pt idx="1381">
                  <c:v>41893</c:v>
                </c:pt>
                <c:pt idx="1382">
                  <c:v>41894</c:v>
                </c:pt>
                <c:pt idx="1383">
                  <c:v>41897</c:v>
                </c:pt>
                <c:pt idx="1384">
                  <c:v>41898</c:v>
                </c:pt>
                <c:pt idx="1385">
                  <c:v>41899</c:v>
                </c:pt>
                <c:pt idx="1386">
                  <c:v>41900</c:v>
                </c:pt>
                <c:pt idx="1387">
                  <c:v>41901</c:v>
                </c:pt>
                <c:pt idx="1388">
                  <c:v>41904</c:v>
                </c:pt>
                <c:pt idx="1389">
                  <c:v>41905</c:v>
                </c:pt>
                <c:pt idx="1390">
                  <c:v>41906</c:v>
                </c:pt>
                <c:pt idx="1391">
                  <c:v>41907</c:v>
                </c:pt>
                <c:pt idx="1392">
                  <c:v>41908</c:v>
                </c:pt>
                <c:pt idx="1393">
                  <c:v>41911</c:v>
                </c:pt>
                <c:pt idx="1394">
                  <c:v>41912</c:v>
                </c:pt>
                <c:pt idx="1395">
                  <c:v>41920</c:v>
                </c:pt>
                <c:pt idx="1396">
                  <c:v>41921</c:v>
                </c:pt>
                <c:pt idx="1397">
                  <c:v>41922</c:v>
                </c:pt>
                <c:pt idx="1398">
                  <c:v>41925</c:v>
                </c:pt>
                <c:pt idx="1399">
                  <c:v>41926</c:v>
                </c:pt>
                <c:pt idx="1400">
                  <c:v>41927</c:v>
                </c:pt>
                <c:pt idx="1401">
                  <c:v>41928</c:v>
                </c:pt>
                <c:pt idx="1402">
                  <c:v>41929</c:v>
                </c:pt>
                <c:pt idx="1403">
                  <c:v>41932</c:v>
                </c:pt>
                <c:pt idx="1404">
                  <c:v>41933</c:v>
                </c:pt>
                <c:pt idx="1405">
                  <c:v>41934</c:v>
                </c:pt>
                <c:pt idx="1406">
                  <c:v>41935</c:v>
                </c:pt>
                <c:pt idx="1407">
                  <c:v>41936</c:v>
                </c:pt>
                <c:pt idx="1408">
                  <c:v>41939</c:v>
                </c:pt>
                <c:pt idx="1409">
                  <c:v>41940</c:v>
                </c:pt>
                <c:pt idx="1410">
                  <c:v>41941</c:v>
                </c:pt>
                <c:pt idx="1411">
                  <c:v>41942</c:v>
                </c:pt>
                <c:pt idx="1412">
                  <c:v>41943</c:v>
                </c:pt>
                <c:pt idx="1413">
                  <c:v>41946</c:v>
                </c:pt>
                <c:pt idx="1414">
                  <c:v>41947</c:v>
                </c:pt>
                <c:pt idx="1415">
                  <c:v>41948</c:v>
                </c:pt>
                <c:pt idx="1416">
                  <c:v>41949</c:v>
                </c:pt>
                <c:pt idx="1417">
                  <c:v>41950</c:v>
                </c:pt>
                <c:pt idx="1418">
                  <c:v>41953</c:v>
                </c:pt>
                <c:pt idx="1419">
                  <c:v>41954</c:v>
                </c:pt>
                <c:pt idx="1420">
                  <c:v>41955</c:v>
                </c:pt>
                <c:pt idx="1421">
                  <c:v>41956</c:v>
                </c:pt>
                <c:pt idx="1422">
                  <c:v>41957</c:v>
                </c:pt>
                <c:pt idx="1423">
                  <c:v>41960</c:v>
                </c:pt>
                <c:pt idx="1424">
                  <c:v>41961</c:v>
                </c:pt>
                <c:pt idx="1425">
                  <c:v>41962</c:v>
                </c:pt>
                <c:pt idx="1426">
                  <c:v>41963</c:v>
                </c:pt>
                <c:pt idx="1427">
                  <c:v>41964</c:v>
                </c:pt>
                <c:pt idx="1428">
                  <c:v>41967</c:v>
                </c:pt>
                <c:pt idx="1429">
                  <c:v>41968</c:v>
                </c:pt>
                <c:pt idx="1430">
                  <c:v>41969</c:v>
                </c:pt>
                <c:pt idx="1431">
                  <c:v>41970</c:v>
                </c:pt>
                <c:pt idx="1432">
                  <c:v>41971</c:v>
                </c:pt>
                <c:pt idx="1433">
                  <c:v>41974</c:v>
                </c:pt>
                <c:pt idx="1434">
                  <c:v>41975</c:v>
                </c:pt>
                <c:pt idx="1435">
                  <c:v>41976</c:v>
                </c:pt>
                <c:pt idx="1436">
                  <c:v>41977</c:v>
                </c:pt>
                <c:pt idx="1437">
                  <c:v>41978</c:v>
                </c:pt>
                <c:pt idx="1438">
                  <c:v>41981</c:v>
                </c:pt>
                <c:pt idx="1439">
                  <c:v>41982</c:v>
                </c:pt>
                <c:pt idx="1440">
                  <c:v>41983</c:v>
                </c:pt>
                <c:pt idx="1441">
                  <c:v>41984</c:v>
                </c:pt>
                <c:pt idx="1442">
                  <c:v>41985</c:v>
                </c:pt>
                <c:pt idx="1443">
                  <c:v>41988</c:v>
                </c:pt>
                <c:pt idx="1444">
                  <c:v>41989</c:v>
                </c:pt>
                <c:pt idx="1445">
                  <c:v>41990</c:v>
                </c:pt>
                <c:pt idx="1446">
                  <c:v>41991</c:v>
                </c:pt>
                <c:pt idx="1447">
                  <c:v>41992</c:v>
                </c:pt>
                <c:pt idx="1448">
                  <c:v>41995</c:v>
                </c:pt>
                <c:pt idx="1449">
                  <c:v>41996</c:v>
                </c:pt>
                <c:pt idx="1450">
                  <c:v>41997</c:v>
                </c:pt>
                <c:pt idx="1451">
                  <c:v>41998</c:v>
                </c:pt>
                <c:pt idx="1452">
                  <c:v>41999</c:v>
                </c:pt>
                <c:pt idx="1453">
                  <c:v>42002</c:v>
                </c:pt>
                <c:pt idx="1454">
                  <c:v>42003</c:v>
                </c:pt>
                <c:pt idx="1455">
                  <c:v>42004</c:v>
                </c:pt>
                <c:pt idx="1456">
                  <c:v>42009</c:v>
                </c:pt>
                <c:pt idx="1457">
                  <c:v>42010</c:v>
                </c:pt>
                <c:pt idx="1458">
                  <c:v>42011</c:v>
                </c:pt>
                <c:pt idx="1459">
                  <c:v>42012</c:v>
                </c:pt>
                <c:pt idx="1460">
                  <c:v>42013</c:v>
                </c:pt>
                <c:pt idx="1461">
                  <c:v>42016</c:v>
                </c:pt>
                <c:pt idx="1462">
                  <c:v>42017</c:v>
                </c:pt>
                <c:pt idx="1463">
                  <c:v>42018</c:v>
                </c:pt>
                <c:pt idx="1464">
                  <c:v>42019</c:v>
                </c:pt>
                <c:pt idx="1465">
                  <c:v>42020</c:v>
                </c:pt>
                <c:pt idx="1466">
                  <c:v>42023</c:v>
                </c:pt>
                <c:pt idx="1467">
                  <c:v>42024</c:v>
                </c:pt>
                <c:pt idx="1468">
                  <c:v>42025</c:v>
                </c:pt>
                <c:pt idx="1469">
                  <c:v>42026</c:v>
                </c:pt>
                <c:pt idx="1470">
                  <c:v>42027</c:v>
                </c:pt>
                <c:pt idx="1471">
                  <c:v>42030</c:v>
                </c:pt>
                <c:pt idx="1472">
                  <c:v>42031</c:v>
                </c:pt>
                <c:pt idx="1473">
                  <c:v>42032</c:v>
                </c:pt>
                <c:pt idx="1474">
                  <c:v>42033</c:v>
                </c:pt>
                <c:pt idx="1475">
                  <c:v>42034</c:v>
                </c:pt>
                <c:pt idx="1476">
                  <c:v>42037</c:v>
                </c:pt>
                <c:pt idx="1477">
                  <c:v>42038</c:v>
                </c:pt>
                <c:pt idx="1478">
                  <c:v>42039</c:v>
                </c:pt>
                <c:pt idx="1479">
                  <c:v>42040</c:v>
                </c:pt>
                <c:pt idx="1480">
                  <c:v>42041</c:v>
                </c:pt>
                <c:pt idx="1481">
                  <c:v>42044</c:v>
                </c:pt>
                <c:pt idx="1482">
                  <c:v>42045</c:v>
                </c:pt>
                <c:pt idx="1483">
                  <c:v>42046</c:v>
                </c:pt>
                <c:pt idx="1484">
                  <c:v>42047</c:v>
                </c:pt>
                <c:pt idx="1485">
                  <c:v>42048</c:v>
                </c:pt>
                <c:pt idx="1486">
                  <c:v>42051</c:v>
                </c:pt>
                <c:pt idx="1487">
                  <c:v>42052</c:v>
                </c:pt>
                <c:pt idx="1488">
                  <c:v>42060</c:v>
                </c:pt>
                <c:pt idx="1489">
                  <c:v>42061</c:v>
                </c:pt>
                <c:pt idx="1490">
                  <c:v>42062</c:v>
                </c:pt>
                <c:pt idx="1491">
                  <c:v>42065</c:v>
                </c:pt>
                <c:pt idx="1492">
                  <c:v>42066</c:v>
                </c:pt>
                <c:pt idx="1493">
                  <c:v>42067</c:v>
                </c:pt>
                <c:pt idx="1494">
                  <c:v>42068</c:v>
                </c:pt>
                <c:pt idx="1495">
                  <c:v>42069</c:v>
                </c:pt>
                <c:pt idx="1496">
                  <c:v>42072</c:v>
                </c:pt>
                <c:pt idx="1497">
                  <c:v>42073</c:v>
                </c:pt>
                <c:pt idx="1498">
                  <c:v>42074</c:v>
                </c:pt>
                <c:pt idx="1499">
                  <c:v>42075</c:v>
                </c:pt>
                <c:pt idx="1500">
                  <c:v>42076</c:v>
                </c:pt>
                <c:pt idx="1501">
                  <c:v>42079</c:v>
                </c:pt>
                <c:pt idx="1502">
                  <c:v>42080</c:v>
                </c:pt>
                <c:pt idx="1503">
                  <c:v>42081</c:v>
                </c:pt>
                <c:pt idx="1504">
                  <c:v>42082</c:v>
                </c:pt>
                <c:pt idx="1505">
                  <c:v>42083</c:v>
                </c:pt>
                <c:pt idx="1506">
                  <c:v>42086</c:v>
                </c:pt>
                <c:pt idx="1507">
                  <c:v>42087</c:v>
                </c:pt>
                <c:pt idx="1508">
                  <c:v>42088</c:v>
                </c:pt>
                <c:pt idx="1509">
                  <c:v>42089</c:v>
                </c:pt>
                <c:pt idx="1510">
                  <c:v>42090</c:v>
                </c:pt>
                <c:pt idx="1511">
                  <c:v>42093</c:v>
                </c:pt>
                <c:pt idx="1512">
                  <c:v>42094</c:v>
                </c:pt>
                <c:pt idx="1513">
                  <c:v>42095</c:v>
                </c:pt>
                <c:pt idx="1514">
                  <c:v>42096</c:v>
                </c:pt>
                <c:pt idx="1515">
                  <c:v>42097</c:v>
                </c:pt>
                <c:pt idx="1516">
                  <c:v>42101</c:v>
                </c:pt>
                <c:pt idx="1517">
                  <c:v>42102</c:v>
                </c:pt>
                <c:pt idx="1518">
                  <c:v>42103</c:v>
                </c:pt>
                <c:pt idx="1519">
                  <c:v>42104</c:v>
                </c:pt>
                <c:pt idx="1520">
                  <c:v>42107</c:v>
                </c:pt>
                <c:pt idx="1521">
                  <c:v>42108</c:v>
                </c:pt>
                <c:pt idx="1522">
                  <c:v>42109</c:v>
                </c:pt>
                <c:pt idx="1523">
                  <c:v>42110</c:v>
                </c:pt>
                <c:pt idx="1524">
                  <c:v>42111</c:v>
                </c:pt>
                <c:pt idx="1525">
                  <c:v>42114</c:v>
                </c:pt>
                <c:pt idx="1526">
                  <c:v>42115</c:v>
                </c:pt>
                <c:pt idx="1527">
                  <c:v>42116</c:v>
                </c:pt>
                <c:pt idx="1528">
                  <c:v>42117</c:v>
                </c:pt>
                <c:pt idx="1529">
                  <c:v>42118</c:v>
                </c:pt>
                <c:pt idx="1530">
                  <c:v>42121</c:v>
                </c:pt>
                <c:pt idx="1531">
                  <c:v>42122</c:v>
                </c:pt>
                <c:pt idx="1532">
                  <c:v>42123</c:v>
                </c:pt>
                <c:pt idx="1533">
                  <c:v>42124</c:v>
                </c:pt>
                <c:pt idx="1534">
                  <c:v>42128</c:v>
                </c:pt>
                <c:pt idx="1535">
                  <c:v>42129</c:v>
                </c:pt>
                <c:pt idx="1536">
                  <c:v>42130</c:v>
                </c:pt>
                <c:pt idx="1537">
                  <c:v>42131</c:v>
                </c:pt>
                <c:pt idx="1538">
                  <c:v>42132</c:v>
                </c:pt>
                <c:pt idx="1539">
                  <c:v>42135</c:v>
                </c:pt>
                <c:pt idx="1540">
                  <c:v>42136</c:v>
                </c:pt>
                <c:pt idx="1541">
                  <c:v>42137</c:v>
                </c:pt>
                <c:pt idx="1542">
                  <c:v>42138</c:v>
                </c:pt>
                <c:pt idx="1543">
                  <c:v>42139</c:v>
                </c:pt>
                <c:pt idx="1544">
                  <c:v>42142</c:v>
                </c:pt>
                <c:pt idx="1545">
                  <c:v>42143</c:v>
                </c:pt>
                <c:pt idx="1546">
                  <c:v>42144</c:v>
                </c:pt>
                <c:pt idx="1547">
                  <c:v>42145</c:v>
                </c:pt>
                <c:pt idx="1548">
                  <c:v>42146</c:v>
                </c:pt>
                <c:pt idx="1549">
                  <c:v>42149</c:v>
                </c:pt>
                <c:pt idx="1550">
                  <c:v>42150</c:v>
                </c:pt>
                <c:pt idx="1551">
                  <c:v>42151</c:v>
                </c:pt>
                <c:pt idx="1552">
                  <c:v>42152</c:v>
                </c:pt>
                <c:pt idx="1553">
                  <c:v>42153</c:v>
                </c:pt>
                <c:pt idx="1554">
                  <c:v>42156</c:v>
                </c:pt>
                <c:pt idx="1555">
                  <c:v>42157</c:v>
                </c:pt>
                <c:pt idx="1556">
                  <c:v>42158</c:v>
                </c:pt>
                <c:pt idx="1557">
                  <c:v>42159</c:v>
                </c:pt>
                <c:pt idx="1558">
                  <c:v>42160</c:v>
                </c:pt>
                <c:pt idx="1559">
                  <c:v>42163</c:v>
                </c:pt>
                <c:pt idx="1560">
                  <c:v>42164</c:v>
                </c:pt>
                <c:pt idx="1561">
                  <c:v>42165</c:v>
                </c:pt>
                <c:pt idx="1562">
                  <c:v>42166</c:v>
                </c:pt>
                <c:pt idx="1563">
                  <c:v>42167</c:v>
                </c:pt>
                <c:pt idx="1564">
                  <c:v>42170</c:v>
                </c:pt>
                <c:pt idx="1565">
                  <c:v>42171</c:v>
                </c:pt>
                <c:pt idx="1566">
                  <c:v>42172</c:v>
                </c:pt>
                <c:pt idx="1567">
                  <c:v>42173</c:v>
                </c:pt>
                <c:pt idx="1568">
                  <c:v>42174</c:v>
                </c:pt>
                <c:pt idx="1569">
                  <c:v>42178</c:v>
                </c:pt>
                <c:pt idx="1570">
                  <c:v>42179</c:v>
                </c:pt>
                <c:pt idx="1571">
                  <c:v>42180</c:v>
                </c:pt>
                <c:pt idx="1572">
                  <c:v>42181</c:v>
                </c:pt>
                <c:pt idx="1573">
                  <c:v>42184</c:v>
                </c:pt>
                <c:pt idx="1574">
                  <c:v>42185</c:v>
                </c:pt>
                <c:pt idx="1575">
                  <c:v>42186</c:v>
                </c:pt>
                <c:pt idx="1576">
                  <c:v>42187</c:v>
                </c:pt>
                <c:pt idx="1577">
                  <c:v>42188</c:v>
                </c:pt>
                <c:pt idx="1578">
                  <c:v>42191</c:v>
                </c:pt>
                <c:pt idx="1579">
                  <c:v>42192</c:v>
                </c:pt>
                <c:pt idx="1580">
                  <c:v>42193</c:v>
                </c:pt>
                <c:pt idx="1581">
                  <c:v>42194</c:v>
                </c:pt>
                <c:pt idx="1582">
                  <c:v>42195</c:v>
                </c:pt>
                <c:pt idx="1583">
                  <c:v>42198</c:v>
                </c:pt>
                <c:pt idx="1584">
                  <c:v>42199</c:v>
                </c:pt>
                <c:pt idx="1585">
                  <c:v>42200</c:v>
                </c:pt>
                <c:pt idx="1586">
                  <c:v>42201</c:v>
                </c:pt>
                <c:pt idx="1587">
                  <c:v>42202</c:v>
                </c:pt>
                <c:pt idx="1588">
                  <c:v>42205</c:v>
                </c:pt>
                <c:pt idx="1589">
                  <c:v>42206</c:v>
                </c:pt>
                <c:pt idx="1590">
                  <c:v>42207</c:v>
                </c:pt>
                <c:pt idx="1591">
                  <c:v>42208</c:v>
                </c:pt>
                <c:pt idx="1592">
                  <c:v>42209</c:v>
                </c:pt>
                <c:pt idx="1593">
                  <c:v>42212</c:v>
                </c:pt>
                <c:pt idx="1594">
                  <c:v>42213</c:v>
                </c:pt>
                <c:pt idx="1595">
                  <c:v>42214</c:v>
                </c:pt>
                <c:pt idx="1596">
                  <c:v>42215</c:v>
                </c:pt>
                <c:pt idx="1597">
                  <c:v>42216</c:v>
                </c:pt>
                <c:pt idx="1598">
                  <c:v>42219</c:v>
                </c:pt>
                <c:pt idx="1599">
                  <c:v>42220</c:v>
                </c:pt>
                <c:pt idx="1600">
                  <c:v>42221</c:v>
                </c:pt>
                <c:pt idx="1601">
                  <c:v>42222</c:v>
                </c:pt>
                <c:pt idx="1602">
                  <c:v>42223</c:v>
                </c:pt>
                <c:pt idx="1603">
                  <c:v>42226</c:v>
                </c:pt>
                <c:pt idx="1604">
                  <c:v>42227</c:v>
                </c:pt>
                <c:pt idx="1605">
                  <c:v>42228</c:v>
                </c:pt>
                <c:pt idx="1606">
                  <c:v>42229</c:v>
                </c:pt>
                <c:pt idx="1607">
                  <c:v>42230</c:v>
                </c:pt>
                <c:pt idx="1608">
                  <c:v>42233</c:v>
                </c:pt>
                <c:pt idx="1609">
                  <c:v>42234</c:v>
                </c:pt>
                <c:pt idx="1610">
                  <c:v>42235</c:v>
                </c:pt>
                <c:pt idx="1611">
                  <c:v>42236</c:v>
                </c:pt>
                <c:pt idx="1612">
                  <c:v>42237</c:v>
                </c:pt>
                <c:pt idx="1613">
                  <c:v>42240</c:v>
                </c:pt>
                <c:pt idx="1614">
                  <c:v>42241</c:v>
                </c:pt>
                <c:pt idx="1615">
                  <c:v>42242</c:v>
                </c:pt>
                <c:pt idx="1616">
                  <c:v>42243</c:v>
                </c:pt>
                <c:pt idx="1617">
                  <c:v>42244</c:v>
                </c:pt>
                <c:pt idx="1618">
                  <c:v>42247</c:v>
                </c:pt>
                <c:pt idx="1619">
                  <c:v>42248</c:v>
                </c:pt>
                <c:pt idx="1620">
                  <c:v>42249</c:v>
                </c:pt>
                <c:pt idx="1621">
                  <c:v>42254</c:v>
                </c:pt>
                <c:pt idx="1622">
                  <c:v>42255</c:v>
                </c:pt>
                <c:pt idx="1623">
                  <c:v>42256</c:v>
                </c:pt>
                <c:pt idx="1624">
                  <c:v>42257</c:v>
                </c:pt>
                <c:pt idx="1625">
                  <c:v>42258</c:v>
                </c:pt>
                <c:pt idx="1626">
                  <c:v>42261</c:v>
                </c:pt>
                <c:pt idx="1627">
                  <c:v>42262</c:v>
                </c:pt>
                <c:pt idx="1628">
                  <c:v>42263</c:v>
                </c:pt>
                <c:pt idx="1629">
                  <c:v>42264</c:v>
                </c:pt>
                <c:pt idx="1630">
                  <c:v>42265</c:v>
                </c:pt>
                <c:pt idx="1631">
                  <c:v>42268</c:v>
                </c:pt>
                <c:pt idx="1632">
                  <c:v>42269</c:v>
                </c:pt>
                <c:pt idx="1633">
                  <c:v>42270</c:v>
                </c:pt>
                <c:pt idx="1634">
                  <c:v>42271</c:v>
                </c:pt>
                <c:pt idx="1635">
                  <c:v>42272</c:v>
                </c:pt>
                <c:pt idx="1636">
                  <c:v>42275</c:v>
                </c:pt>
                <c:pt idx="1637">
                  <c:v>42276</c:v>
                </c:pt>
                <c:pt idx="1638">
                  <c:v>42277</c:v>
                </c:pt>
                <c:pt idx="1639">
                  <c:v>42285</c:v>
                </c:pt>
                <c:pt idx="1640">
                  <c:v>42286</c:v>
                </c:pt>
                <c:pt idx="1641">
                  <c:v>42289</c:v>
                </c:pt>
                <c:pt idx="1642">
                  <c:v>42290</c:v>
                </c:pt>
                <c:pt idx="1643">
                  <c:v>42291</c:v>
                </c:pt>
                <c:pt idx="1644">
                  <c:v>42292</c:v>
                </c:pt>
                <c:pt idx="1645">
                  <c:v>42293</c:v>
                </c:pt>
                <c:pt idx="1646">
                  <c:v>42296</c:v>
                </c:pt>
                <c:pt idx="1647">
                  <c:v>42297</c:v>
                </c:pt>
                <c:pt idx="1648">
                  <c:v>42298</c:v>
                </c:pt>
                <c:pt idx="1649">
                  <c:v>42299</c:v>
                </c:pt>
                <c:pt idx="1650">
                  <c:v>42300</c:v>
                </c:pt>
                <c:pt idx="1651">
                  <c:v>42303</c:v>
                </c:pt>
                <c:pt idx="1652">
                  <c:v>42304</c:v>
                </c:pt>
                <c:pt idx="1653">
                  <c:v>42305</c:v>
                </c:pt>
                <c:pt idx="1654">
                  <c:v>42306</c:v>
                </c:pt>
                <c:pt idx="1655">
                  <c:v>42307</c:v>
                </c:pt>
                <c:pt idx="1656">
                  <c:v>42310</c:v>
                </c:pt>
                <c:pt idx="1657">
                  <c:v>42311</c:v>
                </c:pt>
                <c:pt idx="1658">
                  <c:v>42312</c:v>
                </c:pt>
                <c:pt idx="1659">
                  <c:v>42313</c:v>
                </c:pt>
                <c:pt idx="1660">
                  <c:v>42314</c:v>
                </c:pt>
                <c:pt idx="1661">
                  <c:v>42317</c:v>
                </c:pt>
                <c:pt idx="1662">
                  <c:v>42318</c:v>
                </c:pt>
                <c:pt idx="1663">
                  <c:v>42319</c:v>
                </c:pt>
                <c:pt idx="1664">
                  <c:v>42320</c:v>
                </c:pt>
                <c:pt idx="1665">
                  <c:v>42321</c:v>
                </c:pt>
                <c:pt idx="1666">
                  <c:v>42324</c:v>
                </c:pt>
                <c:pt idx="1667">
                  <c:v>42325</c:v>
                </c:pt>
                <c:pt idx="1668">
                  <c:v>42326</c:v>
                </c:pt>
                <c:pt idx="1669">
                  <c:v>42327</c:v>
                </c:pt>
                <c:pt idx="1670">
                  <c:v>42328</c:v>
                </c:pt>
                <c:pt idx="1671">
                  <c:v>42331</c:v>
                </c:pt>
                <c:pt idx="1672">
                  <c:v>42332</c:v>
                </c:pt>
                <c:pt idx="1673">
                  <c:v>42333</c:v>
                </c:pt>
                <c:pt idx="1674">
                  <c:v>42334</c:v>
                </c:pt>
                <c:pt idx="1675">
                  <c:v>42335</c:v>
                </c:pt>
                <c:pt idx="1676">
                  <c:v>42338</c:v>
                </c:pt>
                <c:pt idx="1677">
                  <c:v>42339</c:v>
                </c:pt>
                <c:pt idx="1678">
                  <c:v>42340</c:v>
                </c:pt>
                <c:pt idx="1679">
                  <c:v>42341</c:v>
                </c:pt>
                <c:pt idx="1680">
                  <c:v>42342</c:v>
                </c:pt>
                <c:pt idx="1681">
                  <c:v>42345</c:v>
                </c:pt>
                <c:pt idx="1682">
                  <c:v>42346</c:v>
                </c:pt>
                <c:pt idx="1683">
                  <c:v>42347</c:v>
                </c:pt>
                <c:pt idx="1684">
                  <c:v>42348</c:v>
                </c:pt>
                <c:pt idx="1685">
                  <c:v>42349</c:v>
                </c:pt>
                <c:pt idx="1686">
                  <c:v>42352</c:v>
                </c:pt>
                <c:pt idx="1687">
                  <c:v>42353</c:v>
                </c:pt>
                <c:pt idx="1688">
                  <c:v>42354</c:v>
                </c:pt>
                <c:pt idx="1689">
                  <c:v>42355</c:v>
                </c:pt>
                <c:pt idx="1690">
                  <c:v>42356</c:v>
                </c:pt>
                <c:pt idx="1691">
                  <c:v>42359</c:v>
                </c:pt>
                <c:pt idx="1692">
                  <c:v>42360</c:v>
                </c:pt>
                <c:pt idx="1693">
                  <c:v>42361</c:v>
                </c:pt>
                <c:pt idx="1694">
                  <c:v>42362</c:v>
                </c:pt>
                <c:pt idx="1695">
                  <c:v>42363</c:v>
                </c:pt>
                <c:pt idx="1696">
                  <c:v>42366</c:v>
                </c:pt>
                <c:pt idx="1697">
                  <c:v>42367</c:v>
                </c:pt>
                <c:pt idx="1698">
                  <c:v>42368</c:v>
                </c:pt>
                <c:pt idx="1699">
                  <c:v>42369</c:v>
                </c:pt>
                <c:pt idx="1700">
                  <c:v>42373</c:v>
                </c:pt>
                <c:pt idx="1701">
                  <c:v>42374</c:v>
                </c:pt>
                <c:pt idx="1702">
                  <c:v>42375</c:v>
                </c:pt>
                <c:pt idx="1703">
                  <c:v>42376</c:v>
                </c:pt>
                <c:pt idx="1704">
                  <c:v>42377</c:v>
                </c:pt>
                <c:pt idx="1705">
                  <c:v>42380</c:v>
                </c:pt>
                <c:pt idx="1706">
                  <c:v>42381</c:v>
                </c:pt>
                <c:pt idx="1707">
                  <c:v>42382</c:v>
                </c:pt>
                <c:pt idx="1708">
                  <c:v>42383</c:v>
                </c:pt>
                <c:pt idx="1709">
                  <c:v>42384</c:v>
                </c:pt>
                <c:pt idx="1710">
                  <c:v>42387</c:v>
                </c:pt>
                <c:pt idx="1711">
                  <c:v>42388</c:v>
                </c:pt>
                <c:pt idx="1712">
                  <c:v>42389</c:v>
                </c:pt>
                <c:pt idx="1713">
                  <c:v>42390</c:v>
                </c:pt>
                <c:pt idx="1714">
                  <c:v>42391</c:v>
                </c:pt>
                <c:pt idx="1715">
                  <c:v>42394</c:v>
                </c:pt>
                <c:pt idx="1716">
                  <c:v>42395</c:v>
                </c:pt>
                <c:pt idx="1717">
                  <c:v>42396</c:v>
                </c:pt>
                <c:pt idx="1718">
                  <c:v>42397</c:v>
                </c:pt>
                <c:pt idx="1719">
                  <c:v>42398</c:v>
                </c:pt>
                <c:pt idx="1720">
                  <c:v>42401</c:v>
                </c:pt>
                <c:pt idx="1721">
                  <c:v>42402</c:v>
                </c:pt>
                <c:pt idx="1722">
                  <c:v>42403</c:v>
                </c:pt>
                <c:pt idx="1723">
                  <c:v>42404</c:v>
                </c:pt>
                <c:pt idx="1724">
                  <c:v>42405</c:v>
                </c:pt>
                <c:pt idx="1725">
                  <c:v>42415</c:v>
                </c:pt>
                <c:pt idx="1726">
                  <c:v>42416</c:v>
                </c:pt>
                <c:pt idx="1727">
                  <c:v>42417</c:v>
                </c:pt>
                <c:pt idx="1728">
                  <c:v>42418</c:v>
                </c:pt>
                <c:pt idx="1729">
                  <c:v>42419</c:v>
                </c:pt>
                <c:pt idx="1730">
                  <c:v>42422</c:v>
                </c:pt>
                <c:pt idx="1731">
                  <c:v>42423</c:v>
                </c:pt>
                <c:pt idx="1732">
                  <c:v>42424</c:v>
                </c:pt>
                <c:pt idx="1733">
                  <c:v>42425</c:v>
                </c:pt>
                <c:pt idx="1734">
                  <c:v>42426</c:v>
                </c:pt>
                <c:pt idx="1735">
                  <c:v>42429</c:v>
                </c:pt>
                <c:pt idx="1736">
                  <c:v>42430</c:v>
                </c:pt>
                <c:pt idx="1737">
                  <c:v>42431</c:v>
                </c:pt>
                <c:pt idx="1738">
                  <c:v>42432</c:v>
                </c:pt>
                <c:pt idx="1739">
                  <c:v>42433</c:v>
                </c:pt>
                <c:pt idx="1740">
                  <c:v>42436</c:v>
                </c:pt>
                <c:pt idx="1741">
                  <c:v>42437</c:v>
                </c:pt>
                <c:pt idx="1742">
                  <c:v>42438</c:v>
                </c:pt>
                <c:pt idx="1743">
                  <c:v>42439</c:v>
                </c:pt>
                <c:pt idx="1744">
                  <c:v>42440</c:v>
                </c:pt>
                <c:pt idx="1745">
                  <c:v>42443</c:v>
                </c:pt>
                <c:pt idx="1746">
                  <c:v>42444</c:v>
                </c:pt>
                <c:pt idx="1747">
                  <c:v>42445</c:v>
                </c:pt>
                <c:pt idx="1748">
                  <c:v>42446</c:v>
                </c:pt>
                <c:pt idx="1749">
                  <c:v>42447</c:v>
                </c:pt>
                <c:pt idx="1750">
                  <c:v>42450</c:v>
                </c:pt>
                <c:pt idx="1751">
                  <c:v>42451</c:v>
                </c:pt>
                <c:pt idx="1752">
                  <c:v>42452</c:v>
                </c:pt>
                <c:pt idx="1753">
                  <c:v>42453</c:v>
                </c:pt>
                <c:pt idx="1754">
                  <c:v>42454</c:v>
                </c:pt>
                <c:pt idx="1755">
                  <c:v>42457</c:v>
                </c:pt>
                <c:pt idx="1756">
                  <c:v>42458</c:v>
                </c:pt>
                <c:pt idx="1757">
                  <c:v>42459</c:v>
                </c:pt>
                <c:pt idx="1758">
                  <c:v>42460</c:v>
                </c:pt>
                <c:pt idx="1759">
                  <c:v>42461</c:v>
                </c:pt>
                <c:pt idx="1760">
                  <c:v>42465</c:v>
                </c:pt>
                <c:pt idx="1761">
                  <c:v>42466</c:v>
                </c:pt>
                <c:pt idx="1762">
                  <c:v>42467</c:v>
                </c:pt>
                <c:pt idx="1763">
                  <c:v>42468</c:v>
                </c:pt>
                <c:pt idx="1764">
                  <c:v>42471</c:v>
                </c:pt>
                <c:pt idx="1765">
                  <c:v>42472</c:v>
                </c:pt>
                <c:pt idx="1766">
                  <c:v>42473</c:v>
                </c:pt>
                <c:pt idx="1767">
                  <c:v>42474</c:v>
                </c:pt>
                <c:pt idx="1768">
                  <c:v>42475</c:v>
                </c:pt>
                <c:pt idx="1769">
                  <c:v>42478</c:v>
                </c:pt>
                <c:pt idx="1770">
                  <c:v>42479</c:v>
                </c:pt>
                <c:pt idx="1771">
                  <c:v>42480</c:v>
                </c:pt>
                <c:pt idx="1772">
                  <c:v>42481</c:v>
                </c:pt>
                <c:pt idx="1773">
                  <c:v>42482</c:v>
                </c:pt>
                <c:pt idx="1774">
                  <c:v>42485</c:v>
                </c:pt>
                <c:pt idx="1775">
                  <c:v>42486</c:v>
                </c:pt>
                <c:pt idx="1776">
                  <c:v>42487</c:v>
                </c:pt>
                <c:pt idx="1777">
                  <c:v>42488</c:v>
                </c:pt>
                <c:pt idx="1778">
                  <c:v>42489</c:v>
                </c:pt>
                <c:pt idx="1779">
                  <c:v>42493</c:v>
                </c:pt>
                <c:pt idx="1780">
                  <c:v>42494</c:v>
                </c:pt>
                <c:pt idx="1781">
                  <c:v>42495</c:v>
                </c:pt>
                <c:pt idx="1782">
                  <c:v>42496</c:v>
                </c:pt>
                <c:pt idx="1783">
                  <c:v>42499</c:v>
                </c:pt>
                <c:pt idx="1784">
                  <c:v>42500</c:v>
                </c:pt>
                <c:pt idx="1785">
                  <c:v>42501</c:v>
                </c:pt>
                <c:pt idx="1786">
                  <c:v>42502</c:v>
                </c:pt>
                <c:pt idx="1787">
                  <c:v>42503</c:v>
                </c:pt>
                <c:pt idx="1788">
                  <c:v>42506</c:v>
                </c:pt>
                <c:pt idx="1789">
                  <c:v>42507</c:v>
                </c:pt>
                <c:pt idx="1790">
                  <c:v>42508</c:v>
                </c:pt>
                <c:pt idx="1791">
                  <c:v>42509</c:v>
                </c:pt>
                <c:pt idx="1792">
                  <c:v>42510</c:v>
                </c:pt>
                <c:pt idx="1793">
                  <c:v>42513</c:v>
                </c:pt>
                <c:pt idx="1794">
                  <c:v>42514</c:v>
                </c:pt>
                <c:pt idx="1795">
                  <c:v>42515</c:v>
                </c:pt>
                <c:pt idx="1796">
                  <c:v>42516</c:v>
                </c:pt>
                <c:pt idx="1797">
                  <c:v>42517</c:v>
                </c:pt>
                <c:pt idx="1798">
                  <c:v>42520</c:v>
                </c:pt>
                <c:pt idx="1799">
                  <c:v>42521</c:v>
                </c:pt>
                <c:pt idx="1800">
                  <c:v>42522</c:v>
                </c:pt>
                <c:pt idx="1801">
                  <c:v>42523</c:v>
                </c:pt>
                <c:pt idx="1802">
                  <c:v>42524</c:v>
                </c:pt>
                <c:pt idx="1803">
                  <c:v>42527</c:v>
                </c:pt>
                <c:pt idx="1804">
                  <c:v>42528</c:v>
                </c:pt>
                <c:pt idx="1805">
                  <c:v>42529</c:v>
                </c:pt>
                <c:pt idx="1806">
                  <c:v>42534</c:v>
                </c:pt>
                <c:pt idx="1807">
                  <c:v>42535</c:v>
                </c:pt>
                <c:pt idx="1808">
                  <c:v>42536</c:v>
                </c:pt>
                <c:pt idx="1809">
                  <c:v>42537</c:v>
                </c:pt>
                <c:pt idx="1810">
                  <c:v>42538</c:v>
                </c:pt>
                <c:pt idx="1811">
                  <c:v>42541</c:v>
                </c:pt>
                <c:pt idx="1812">
                  <c:v>42542</c:v>
                </c:pt>
                <c:pt idx="1813">
                  <c:v>42543</c:v>
                </c:pt>
                <c:pt idx="1814">
                  <c:v>42544</c:v>
                </c:pt>
                <c:pt idx="1815">
                  <c:v>42545</c:v>
                </c:pt>
                <c:pt idx="1816">
                  <c:v>42548</c:v>
                </c:pt>
                <c:pt idx="1817">
                  <c:v>42549</c:v>
                </c:pt>
                <c:pt idx="1818">
                  <c:v>42550</c:v>
                </c:pt>
                <c:pt idx="1819">
                  <c:v>42551</c:v>
                </c:pt>
                <c:pt idx="1820">
                  <c:v>42552</c:v>
                </c:pt>
                <c:pt idx="1821">
                  <c:v>42555</c:v>
                </c:pt>
                <c:pt idx="1822">
                  <c:v>42556</c:v>
                </c:pt>
                <c:pt idx="1823">
                  <c:v>42557</c:v>
                </c:pt>
                <c:pt idx="1824">
                  <c:v>42558</c:v>
                </c:pt>
                <c:pt idx="1825">
                  <c:v>42559</c:v>
                </c:pt>
                <c:pt idx="1826">
                  <c:v>42562</c:v>
                </c:pt>
                <c:pt idx="1827">
                  <c:v>42563</c:v>
                </c:pt>
                <c:pt idx="1828">
                  <c:v>42564</c:v>
                </c:pt>
                <c:pt idx="1829">
                  <c:v>42565</c:v>
                </c:pt>
                <c:pt idx="1830">
                  <c:v>42566</c:v>
                </c:pt>
                <c:pt idx="1831">
                  <c:v>42569</c:v>
                </c:pt>
                <c:pt idx="1832">
                  <c:v>42570</c:v>
                </c:pt>
                <c:pt idx="1833">
                  <c:v>42571</c:v>
                </c:pt>
                <c:pt idx="1834">
                  <c:v>42572</c:v>
                </c:pt>
                <c:pt idx="1835">
                  <c:v>42573</c:v>
                </c:pt>
                <c:pt idx="1836">
                  <c:v>42576</c:v>
                </c:pt>
                <c:pt idx="1837">
                  <c:v>42577</c:v>
                </c:pt>
                <c:pt idx="1838">
                  <c:v>42578</c:v>
                </c:pt>
                <c:pt idx="1839">
                  <c:v>42579</c:v>
                </c:pt>
                <c:pt idx="1840">
                  <c:v>42580</c:v>
                </c:pt>
                <c:pt idx="1841">
                  <c:v>42583</c:v>
                </c:pt>
                <c:pt idx="1842">
                  <c:v>42584</c:v>
                </c:pt>
                <c:pt idx="1843">
                  <c:v>42585</c:v>
                </c:pt>
                <c:pt idx="1844">
                  <c:v>42586</c:v>
                </c:pt>
                <c:pt idx="1845">
                  <c:v>42587</c:v>
                </c:pt>
                <c:pt idx="1846">
                  <c:v>42590</c:v>
                </c:pt>
                <c:pt idx="1847">
                  <c:v>42591</c:v>
                </c:pt>
                <c:pt idx="1848">
                  <c:v>42592</c:v>
                </c:pt>
                <c:pt idx="1849">
                  <c:v>42593</c:v>
                </c:pt>
                <c:pt idx="1850">
                  <c:v>42594</c:v>
                </c:pt>
                <c:pt idx="1851">
                  <c:v>42597</c:v>
                </c:pt>
                <c:pt idx="1852">
                  <c:v>42598</c:v>
                </c:pt>
                <c:pt idx="1853">
                  <c:v>42599</c:v>
                </c:pt>
                <c:pt idx="1854">
                  <c:v>42600</c:v>
                </c:pt>
                <c:pt idx="1855">
                  <c:v>42601</c:v>
                </c:pt>
                <c:pt idx="1856">
                  <c:v>42604</c:v>
                </c:pt>
                <c:pt idx="1857">
                  <c:v>42605</c:v>
                </c:pt>
                <c:pt idx="1858">
                  <c:v>42606</c:v>
                </c:pt>
                <c:pt idx="1859">
                  <c:v>42607</c:v>
                </c:pt>
                <c:pt idx="1860">
                  <c:v>42608</c:v>
                </c:pt>
                <c:pt idx="1861">
                  <c:v>42611</c:v>
                </c:pt>
                <c:pt idx="1862">
                  <c:v>42612</c:v>
                </c:pt>
                <c:pt idx="1863">
                  <c:v>42613</c:v>
                </c:pt>
                <c:pt idx="1864">
                  <c:v>42614</c:v>
                </c:pt>
                <c:pt idx="1865">
                  <c:v>42615</c:v>
                </c:pt>
                <c:pt idx="1866">
                  <c:v>42618</c:v>
                </c:pt>
                <c:pt idx="1867">
                  <c:v>42619</c:v>
                </c:pt>
                <c:pt idx="1868">
                  <c:v>42620</c:v>
                </c:pt>
                <c:pt idx="1869">
                  <c:v>42621</c:v>
                </c:pt>
                <c:pt idx="1870">
                  <c:v>42622</c:v>
                </c:pt>
                <c:pt idx="1871">
                  <c:v>42625</c:v>
                </c:pt>
                <c:pt idx="1872">
                  <c:v>42626</c:v>
                </c:pt>
                <c:pt idx="1873">
                  <c:v>42627</c:v>
                </c:pt>
                <c:pt idx="1874">
                  <c:v>42632</c:v>
                </c:pt>
                <c:pt idx="1875">
                  <c:v>42633</c:v>
                </c:pt>
                <c:pt idx="1876">
                  <c:v>42634</c:v>
                </c:pt>
                <c:pt idx="1877">
                  <c:v>42635</c:v>
                </c:pt>
                <c:pt idx="1878">
                  <c:v>42636</c:v>
                </c:pt>
                <c:pt idx="1879">
                  <c:v>42639</c:v>
                </c:pt>
                <c:pt idx="1880">
                  <c:v>42640</c:v>
                </c:pt>
                <c:pt idx="1881">
                  <c:v>42641</c:v>
                </c:pt>
                <c:pt idx="1882">
                  <c:v>42642</c:v>
                </c:pt>
                <c:pt idx="1883">
                  <c:v>42643</c:v>
                </c:pt>
                <c:pt idx="1884">
                  <c:v>42653</c:v>
                </c:pt>
                <c:pt idx="1885">
                  <c:v>42654</c:v>
                </c:pt>
                <c:pt idx="1886">
                  <c:v>42655</c:v>
                </c:pt>
                <c:pt idx="1887">
                  <c:v>42656</c:v>
                </c:pt>
                <c:pt idx="1888">
                  <c:v>42657</c:v>
                </c:pt>
                <c:pt idx="1889">
                  <c:v>42660</c:v>
                </c:pt>
                <c:pt idx="1890">
                  <c:v>42661</c:v>
                </c:pt>
                <c:pt idx="1891">
                  <c:v>42662</c:v>
                </c:pt>
                <c:pt idx="1892">
                  <c:v>42663</c:v>
                </c:pt>
                <c:pt idx="1893">
                  <c:v>42664</c:v>
                </c:pt>
                <c:pt idx="1894">
                  <c:v>42667</c:v>
                </c:pt>
                <c:pt idx="1895">
                  <c:v>42668</c:v>
                </c:pt>
                <c:pt idx="1896">
                  <c:v>42669</c:v>
                </c:pt>
                <c:pt idx="1897">
                  <c:v>42670</c:v>
                </c:pt>
                <c:pt idx="1898">
                  <c:v>42671</c:v>
                </c:pt>
                <c:pt idx="1899">
                  <c:v>42674</c:v>
                </c:pt>
                <c:pt idx="1900">
                  <c:v>42675</c:v>
                </c:pt>
                <c:pt idx="1901">
                  <c:v>42676</c:v>
                </c:pt>
                <c:pt idx="1902">
                  <c:v>42677</c:v>
                </c:pt>
                <c:pt idx="1903">
                  <c:v>42678</c:v>
                </c:pt>
                <c:pt idx="1904">
                  <c:v>42681</c:v>
                </c:pt>
                <c:pt idx="1905">
                  <c:v>42682</c:v>
                </c:pt>
                <c:pt idx="1906">
                  <c:v>42683</c:v>
                </c:pt>
                <c:pt idx="1907">
                  <c:v>42684</c:v>
                </c:pt>
                <c:pt idx="1908">
                  <c:v>42685</c:v>
                </c:pt>
                <c:pt idx="1909">
                  <c:v>42688</c:v>
                </c:pt>
                <c:pt idx="1910">
                  <c:v>42689</c:v>
                </c:pt>
                <c:pt idx="1911">
                  <c:v>42690</c:v>
                </c:pt>
                <c:pt idx="1912">
                  <c:v>42691</c:v>
                </c:pt>
                <c:pt idx="1913">
                  <c:v>42692</c:v>
                </c:pt>
                <c:pt idx="1914">
                  <c:v>42695</c:v>
                </c:pt>
                <c:pt idx="1915">
                  <c:v>42696</c:v>
                </c:pt>
                <c:pt idx="1916">
                  <c:v>42697</c:v>
                </c:pt>
                <c:pt idx="1917">
                  <c:v>42698</c:v>
                </c:pt>
                <c:pt idx="1918">
                  <c:v>42699</c:v>
                </c:pt>
                <c:pt idx="1919">
                  <c:v>42702</c:v>
                </c:pt>
                <c:pt idx="1920">
                  <c:v>42703</c:v>
                </c:pt>
                <c:pt idx="1921">
                  <c:v>42704</c:v>
                </c:pt>
                <c:pt idx="1922">
                  <c:v>42705</c:v>
                </c:pt>
                <c:pt idx="1923">
                  <c:v>42706</c:v>
                </c:pt>
                <c:pt idx="1924">
                  <c:v>42709</c:v>
                </c:pt>
                <c:pt idx="1925">
                  <c:v>42710</c:v>
                </c:pt>
                <c:pt idx="1926">
                  <c:v>42711</c:v>
                </c:pt>
                <c:pt idx="1927">
                  <c:v>42712</c:v>
                </c:pt>
                <c:pt idx="1928">
                  <c:v>42713</c:v>
                </c:pt>
                <c:pt idx="1929">
                  <c:v>42716</c:v>
                </c:pt>
                <c:pt idx="1930">
                  <c:v>42717</c:v>
                </c:pt>
                <c:pt idx="1931">
                  <c:v>42718</c:v>
                </c:pt>
                <c:pt idx="1932">
                  <c:v>42719</c:v>
                </c:pt>
                <c:pt idx="1933">
                  <c:v>42720</c:v>
                </c:pt>
                <c:pt idx="1934">
                  <c:v>42723</c:v>
                </c:pt>
                <c:pt idx="1935">
                  <c:v>42724</c:v>
                </c:pt>
                <c:pt idx="1936">
                  <c:v>42725</c:v>
                </c:pt>
                <c:pt idx="1937">
                  <c:v>42726</c:v>
                </c:pt>
                <c:pt idx="1938">
                  <c:v>42727</c:v>
                </c:pt>
                <c:pt idx="1939">
                  <c:v>42730</c:v>
                </c:pt>
                <c:pt idx="1940">
                  <c:v>42731</c:v>
                </c:pt>
                <c:pt idx="1941">
                  <c:v>42732</c:v>
                </c:pt>
                <c:pt idx="1942">
                  <c:v>42733</c:v>
                </c:pt>
                <c:pt idx="1943">
                  <c:v>42734</c:v>
                </c:pt>
                <c:pt idx="1944">
                  <c:v>42738</c:v>
                </c:pt>
                <c:pt idx="1945">
                  <c:v>42739</c:v>
                </c:pt>
                <c:pt idx="1946">
                  <c:v>42740</c:v>
                </c:pt>
                <c:pt idx="1947">
                  <c:v>42741</c:v>
                </c:pt>
                <c:pt idx="1948">
                  <c:v>42744</c:v>
                </c:pt>
                <c:pt idx="1949">
                  <c:v>42745</c:v>
                </c:pt>
                <c:pt idx="1950">
                  <c:v>42746</c:v>
                </c:pt>
                <c:pt idx="1951">
                  <c:v>42747</c:v>
                </c:pt>
                <c:pt idx="1952">
                  <c:v>42748</c:v>
                </c:pt>
                <c:pt idx="1953">
                  <c:v>42751</c:v>
                </c:pt>
                <c:pt idx="1954">
                  <c:v>42752</c:v>
                </c:pt>
                <c:pt idx="1955">
                  <c:v>42753</c:v>
                </c:pt>
                <c:pt idx="1956">
                  <c:v>42754</c:v>
                </c:pt>
                <c:pt idx="1957">
                  <c:v>42755</c:v>
                </c:pt>
                <c:pt idx="1958">
                  <c:v>42758</c:v>
                </c:pt>
                <c:pt idx="1959">
                  <c:v>42759</c:v>
                </c:pt>
                <c:pt idx="1960">
                  <c:v>42760</c:v>
                </c:pt>
                <c:pt idx="1961">
                  <c:v>42761</c:v>
                </c:pt>
                <c:pt idx="1962">
                  <c:v>42769</c:v>
                </c:pt>
                <c:pt idx="1963">
                  <c:v>42772</c:v>
                </c:pt>
                <c:pt idx="1964">
                  <c:v>42773</c:v>
                </c:pt>
                <c:pt idx="1965">
                  <c:v>42774</c:v>
                </c:pt>
                <c:pt idx="1966">
                  <c:v>42775</c:v>
                </c:pt>
                <c:pt idx="1967">
                  <c:v>42776</c:v>
                </c:pt>
                <c:pt idx="1968">
                  <c:v>42779</c:v>
                </c:pt>
                <c:pt idx="1969">
                  <c:v>42780</c:v>
                </c:pt>
                <c:pt idx="1970">
                  <c:v>42781</c:v>
                </c:pt>
                <c:pt idx="1971">
                  <c:v>42782</c:v>
                </c:pt>
                <c:pt idx="1972">
                  <c:v>42783</c:v>
                </c:pt>
                <c:pt idx="1973">
                  <c:v>42786</c:v>
                </c:pt>
                <c:pt idx="1974">
                  <c:v>42787</c:v>
                </c:pt>
                <c:pt idx="1975">
                  <c:v>42788</c:v>
                </c:pt>
                <c:pt idx="1976">
                  <c:v>42789</c:v>
                </c:pt>
                <c:pt idx="1977">
                  <c:v>42790</c:v>
                </c:pt>
                <c:pt idx="1978">
                  <c:v>42793</c:v>
                </c:pt>
                <c:pt idx="1979">
                  <c:v>42794</c:v>
                </c:pt>
                <c:pt idx="1980">
                  <c:v>42795</c:v>
                </c:pt>
                <c:pt idx="1981">
                  <c:v>42796</c:v>
                </c:pt>
                <c:pt idx="1982">
                  <c:v>42797</c:v>
                </c:pt>
                <c:pt idx="1983">
                  <c:v>42800</c:v>
                </c:pt>
                <c:pt idx="1984">
                  <c:v>42801</c:v>
                </c:pt>
                <c:pt idx="1985">
                  <c:v>42802</c:v>
                </c:pt>
                <c:pt idx="1986">
                  <c:v>42803</c:v>
                </c:pt>
                <c:pt idx="1987">
                  <c:v>42804</c:v>
                </c:pt>
                <c:pt idx="1988">
                  <c:v>42807</c:v>
                </c:pt>
                <c:pt idx="1989">
                  <c:v>42808</c:v>
                </c:pt>
                <c:pt idx="1990">
                  <c:v>42809</c:v>
                </c:pt>
                <c:pt idx="1991">
                  <c:v>42810</c:v>
                </c:pt>
                <c:pt idx="1992">
                  <c:v>42811</c:v>
                </c:pt>
                <c:pt idx="1993">
                  <c:v>42814</c:v>
                </c:pt>
                <c:pt idx="1994">
                  <c:v>42815</c:v>
                </c:pt>
                <c:pt idx="1995">
                  <c:v>42816</c:v>
                </c:pt>
                <c:pt idx="1996">
                  <c:v>42817</c:v>
                </c:pt>
                <c:pt idx="1997">
                  <c:v>42818</c:v>
                </c:pt>
                <c:pt idx="1998">
                  <c:v>42821</c:v>
                </c:pt>
                <c:pt idx="1999">
                  <c:v>42822</c:v>
                </c:pt>
                <c:pt idx="2000">
                  <c:v>42823</c:v>
                </c:pt>
                <c:pt idx="2001">
                  <c:v>42824</c:v>
                </c:pt>
                <c:pt idx="2002">
                  <c:v>42825</c:v>
                </c:pt>
                <c:pt idx="2003">
                  <c:v>42830</c:v>
                </c:pt>
                <c:pt idx="2004">
                  <c:v>42831</c:v>
                </c:pt>
                <c:pt idx="2005">
                  <c:v>42832</c:v>
                </c:pt>
                <c:pt idx="2006">
                  <c:v>42835</c:v>
                </c:pt>
                <c:pt idx="2007">
                  <c:v>42836</c:v>
                </c:pt>
                <c:pt idx="2008">
                  <c:v>42837</c:v>
                </c:pt>
                <c:pt idx="2009">
                  <c:v>42838</c:v>
                </c:pt>
                <c:pt idx="2010">
                  <c:v>42839</c:v>
                </c:pt>
                <c:pt idx="2011">
                  <c:v>42842</c:v>
                </c:pt>
                <c:pt idx="2012">
                  <c:v>42843</c:v>
                </c:pt>
                <c:pt idx="2013">
                  <c:v>42844</c:v>
                </c:pt>
                <c:pt idx="2014">
                  <c:v>42845</c:v>
                </c:pt>
                <c:pt idx="2015">
                  <c:v>42846</c:v>
                </c:pt>
                <c:pt idx="2016">
                  <c:v>42849</c:v>
                </c:pt>
                <c:pt idx="2017">
                  <c:v>42850</c:v>
                </c:pt>
                <c:pt idx="2018">
                  <c:v>42851</c:v>
                </c:pt>
                <c:pt idx="2019">
                  <c:v>42852</c:v>
                </c:pt>
                <c:pt idx="2020">
                  <c:v>42853</c:v>
                </c:pt>
                <c:pt idx="2021">
                  <c:v>42857</c:v>
                </c:pt>
                <c:pt idx="2022">
                  <c:v>42858</c:v>
                </c:pt>
                <c:pt idx="2023">
                  <c:v>42859</c:v>
                </c:pt>
                <c:pt idx="2024">
                  <c:v>42860</c:v>
                </c:pt>
                <c:pt idx="2025">
                  <c:v>42863</c:v>
                </c:pt>
                <c:pt idx="2026">
                  <c:v>42864</c:v>
                </c:pt>
                <c:pt idx="2027">
                  <c:v>42865</c:v>
                </c:pt>
                <c:pt idx="2028">
                  <c:v>42866</c:v>
                </c:pt>
                <c:pt idx="2029">
                  <c:v>42867</c:v>
                </c:pt>
                <c:pt idx="2030">
                  <c:v>42870</c:v>
                </c:pt>
                <c:pt idx="2031">
                  <c:v>42871</c:v>
                </c:pt>
                <c:pt idx="2032">
                  <c:v>42872</c:v>
                </c:pt>
                <c:pt idx="2033">
                  <c:v>42873</c:v>
                </c:pt>
                <c:pt idx="2034">
                  <c:v>42874</c:v>
                </c:pt>
                <c:pt idx="2035">
                  <c:v>42877</c:v>
                </c:pt>
                <c:pt idx="2036">
                  <c:v>42878</c:v>
                </c:pt>
                <c:pt idx="2037">
                  <c:v>42879</c:v>
                </c:pt>
                <c:pt idx="2038">
                  <c:v>42880</c:v>
                </c:pt>
                <c:pt idx="2039">
                  <c:v>42881</c:v>
                </c:pt>
                <c:pt idx="2040">
                  <c:v>42886</c:v>
                </c:pt>
                <c:pt idx="2041">
                  <c:v>42887</c:v>
                </c:pt>
                <c:pt idx="2042">
                  <c:v>42888</c:v>
                </c:pt>
                <c:pt idx="2043">
                  <c:v>42891</c:v>
                </c:pt>
                <c:pt idx="2044">
                  <c:v>42892</c:v>
                </c:pt>
                <c:pt idx="2045">
                  <c:v>42893</c:v>
                </c:pt>
                <c:pt idx="2046">
                  <c:v>42894</c:v>
                </c:pt>
                <c:pt idx="2047">
                  <c:v>42895</c:v>
                </c:pt>
                <c:pt idx="2048">
                  <c:v>42898</c:v>
                </c:pt>
                <c:pt idx="2049">
                  <c:v>42899</c:v>
                </c:pt>
                <c:pt idx="2050">
                  <c:v>42900</c:v>
                </c:pt>
                <c:pt idx="2051">
                  <c:v>42901</c:v>
                </c:pt>
                <c:pt idx="2052">
                  <c:v>42902</c:v>
                </c:pt>
                <c:pt idx="2053">
                  <c:v>42905</c:v>
                </c:pt>
                <c:pt idx="2054">
                  <c:v>42906</c:v>
                </c:pt>
                <c:pt idx="2055">
                  <c:v>42907</c:v>
                </c:pt>
                <c:pt idx="2056">
                  <c:v>42908</c:v>
                </c:pt>
                <c:pt idx="2057">
                  <c:v>42909</c:v>
                </c:pt>
                <c:pt idx="2058">
                  <c:v>42912</c:v>
                </c:pt>
                <c:pt idx="2059">
                  <c:v>42913</c:v>
                </c:pt>
                <c:pt idx="2060">
                  <c:v>42914</c:v>
                </c:pt>
                <c:pt idx="2061">
                  <c:v>42915</c:v>
                </c:pt>
                <c:pt idx="2062">
                  <c:v>42916</c:v>
                </c:pt>
                <c:pt idx="2063">
                  <c:v>42919</c:v>
                </c:pt>
                <c:pt idx="2064">
                  <c:v>42920</c:v>
                </c:pt>
                <c:pt idx="2065">
                  <c:v>42921</c:v>
                </c:pt>
                <c:pt idx="2066">
                  <c:v>42922</c:v>
                </c:pt>
                <c:pt idx="2067">
                  <c:v>42923</c:v>
                </c:pt>
                <c:pt idx="2068">
                  <c:v>42926</c:v>
                </c:pt>
                <c:pt idx="2069">
                  <c:v>42927</c:v>
                </c:pt>
                <c:pt idx="2070">
                  <c:v>42928</c:v>
                </c:pt>
                <c:pt idx="2071">
                  <c:v>42929</c:v>
                </c:pt>
                <c:pt idx="2072">
                  <c:v>42930</c:v>
                </c:pt>
                <c:pt idx="2073">
                  <c:v>42933</c:v>
                </c:pt>
                <c:pt idx="2074">
                  <c:v>42934</c:v>
                </c:pt>
                <c:pt idx="2075">
                  <c:v>42935</c:v>
                </c:pt>
                <c:pt idx="2076">
                  <c:v>42936</c:v>
                </c:pt>
                <c:pt idx="2077">
                  <c:v>42937</c:v>
                </c:pt>
                <c:pt idx="2078">
                  <c:v>42940</c:v>
                </c:pt>
                <c:pt idx="2079">
                  <c:v>42941</c:v>
                </c:pt>
                <c:pt idx="2080">
                  <c:v>42942</c:v>
                </c:pt>
                <c:pt idx="2081">
                  <c:v>42943</c:v>
                </c:pt>
                <c:pt idx="2082">
                  <c:v>42944</c:v>
                </c:pt>
                <c:pt idx="2083">
                  <c:v>42947</c:v>
                </c:pt>
                <c:pt idx="2084">
                  <c:v>42948</c:v>
                </c:pt>
                <c:pt idx="2085">
                  <c:v>42949</c:v>
                </c:pt>
                <c:pt idx="2086">
                  <c:v>42950</c:v>
                </c:pt>
                <c:pt idx="2087">
                  <c:v>42951</c:v>
                </c:pt>
                <c:pt idx="2088">
                  <c:v>42954</c:v>
                </c:pt>
                <c:pt idx="2089">
                  <c:v>42955</c:v>
                </c:pt>
                <c:pt idx="2090">
                  <c:v>42956</c:v>
                </c:pt>
                <c:pt idx="2091">
                  <c:v>42957</c:v>
                </c:pt>
                <c:pt idx="2092">
                  <c:v>42958</c:v>
                </c:pt>
                <c:pt idx="2093">
                  <c:v>42961</c:v>
                </c:pt>
                <c:pt idx="2094">
                  <c:v>42962</c:v>
                </c:pt>
                <c:pt idx="2095">
                  <c:v>42963</c:v>
                </c:pt>
                <c:pt idx="2096">
                  <c:v>42964</c:v>
                </c:pt>
                <c:pt idx="2097">
                  <c:v>42965</c:v>
                </c:pt>
                <c:pt idx="2098">
                  <c:v>42968</c:v>
                </c:pt>
                <c:pt idx="2099">
                  <c:v>42969</c:v>
                </c:pt>
                <c:pt idx="2100">
                  <c:v>42970</c:v>
                </c:pt>
                <c:pt idx="2101">
                  <c:v>42971</c:v>
                </c:pt>
                <c:pt idx="2102">
                  <c:v>42972</c:v>
                </c:pt>
                <c:pt idx="2103">
                  <c:v>42975</c:v>
                </c:pt>
                <c:pt idx="2104">
                  <c:v>42976</c:v>
                </c:pt>
                <c:pt idx="2105">
                  <c:v>42977</c:v>
                </c:pt>
                <c:pt idx="2106">
                  <c:v>42978</c:v>
                </c:pt>
                <c:pt idx="2107">
                  <c:v>42979</c:v>
                </c:pt>
                <c:pt idx="2108">
                  <c:v>42982</c:v>
                </c:pt>
                <c:pt idx="2109">
                  <c:v>42983</c:v>
                </c:pt>
                <c:pt idx="2110">
                  <c:v>42984</c:v>
                </c:pt>
                <c:pt idx="2111">
                  <c:v>42985</c:v>
                </c:pt>
                <c:pt idx="2112">
                  <c:v>42986</c:v>
                </c:pt>
                <c:pt idx="2113">
                  <c:v>42989</c:v>
                </c:pt>
                <c:pt idx="2114">
                  <c:v>42990</c:v>
                </c:pt>
                <c:pt idx="2115">
                  <c:v>42991</c:v>
                </c:pt>
                <c:pt idx="2116">
                  <c:v>42992</c:v>
                </c:pt>
                <c:pt idx="2117">
                  <c:v>42993</c:v>
                </c:pt>
                <c:pt idx="2118">
                  <c:v>42996</c:v>
                </c:pt>
                <c:pt idx="2119">
                  <c:v>42997</c:v>
                </c:pt>
                <c:pt idx="2120">
                  <c:v>42998</c:v>
                </c:pt>
                <c:pt idx="2121">
                  <c:v>42999</c:v>
                </c:pt>
                <c:pt idx="2122">
                  <c:v>43000</c:v>
                </c:pt>
                <c:pt idx="2123">
                  <c:v>43003</c:v>
                </c:pt>
                <c:pt idx="2124">
                  <c:v>43004</c:v>
                </c:pt>
                <c:pt idx="2125">
                  <c:v>43005</c:v>
                </c:pt>
                <c:pt idx="2126">
                  <c:v>43006</c:v>
                </c:pt>
                <c:pt idx="2127">
                  <c:v>43007</c:v>
                </c:pt>
                <c:pt idx="2128">
                  <c:v>43017</c:v>
                </c:pt>
                <c:pt idx="2129">
                  <c:v>43018</c:v>
                </c:pt>
                <c:pt idx="2130">
                  <c:v>43019</c:v>
                </c:pt>
                <c:pt idx="2131">
                  <c:v>43020</c:v>
                </c:pt>
                <c:pt idx="2132">
                  <c:v>43021</c:v>
                </c:pt>
                <c:pt idx="2133">
                  <c:v>43024</c:v>
                </c:pt>
                <c:pt idx="2134">
                  <c:v>43025</c:v>
                </c:pt>
                <c:pt idx="2135">
                  <c:v>43026</c:v>
                </c:pt>
                <c:pt idx="2136">
                  <c:v>43027</c:v>
                </c:pt>
                <c:pt idx="2137">
                  <c:v>43028</c:v>
                </c:pt>
                <c:pt idx="2138">
                  <c:v>43031</c:v>
                </c:pt>
                <c:pt idx="2139">
                  <c:v>43032</c:v>
                </c:pt>
                <c:pt idx="2140">
                  <c:v>43033</c:v>
                </c:pt>
                <c:pt idx="2141">
                  <c:v>43034</c:v>
                </c:pt>
                <c:pt idx="2142">
                  <c:v>43035</c:v>
                </c:pt>
                <c:pt idx="2143">
                  <c:v>43038</c:v>
                </c:pt>
                <c:pt idx="2144">
                  <c:v>43039</c:v>
                </c:pt>
                <c:pt idx="2145">
                  <c:v>43040</c:v>
                </c:pt>
                <c:pt idx="2146">
                  <c:v>43041</c:v>
                </c:pt>
                <c:pt idx="2147">
                  <c:v>43042</c:v>
                </c:pt>
                <c:pt idx="2148">
                  <c:v>43045</c:v>
                </c:pt>
                <c:pt idx="2149">
                  <c:v>43046</c:v>
                </c:pt>
                <c:pt idx="2150">
                  <c:v>43047</c:v>
                </c:pt>
                <c:pt idx="2151">
                  <c:v>43048</c:v>
                </c:pt>
                <c:pt idx="2152">
                  <c:v>43049</c:v>
                </c:pt>
                <c:pt idx="2153">
                  <c:v>43052</c:v>
                </c:pt>
                <c:pt idx="2154">
                  <c:v>43053</c:v>
                </c:pt>
                <c:pt idx="2155">
                  <c:v>43054</c:v>
                </c:pt>
                <c:pt idx="2156">
                  <c:v>43055</c:v>
                </c:pt>
                <c:pt idx="2157">
                  <c:v>43056</c:v>
                </c:pt>
                <c:pt idx="2158">
                  <c:v>43059</c:v>
                </c:pt>
                <c:pt idx="2159">
                  <c:v>43060</c:v>
                </c:pt>
                <c:pt idx="2160">
                  <c:v>43061</c:v>
                </c:pt>
                <c:pt idx="2161">
                  <c:v>43062</c:v>
                </c:pt>
                <c:pt idx="2162">
                  <c:v>43063</c:v>
                </c:pt>
                <c:pt idx="2163">
                  <c:v>43066</c:v>
                </c:pt>
                <c:pt idx="2164">
                  <c:v>43067</c:v>
                </c:pt>
                <c:pt idx="2165">
                  <c:v>43068</c:v>
                </c:pt>
                <c:pt idx="2166">
                  <c:v>43069</c:v>
                </c:pt>
                <c:pt idx="2167">
                  <c:v>43070</c:v>
                </c:pt>
                <c:pt idx="2168">
                  <c:v>43073</c:v>
                </c:pt>
                <c:pt idx="2169">
                  <c:v>43074</c:v>
                </c:pt>
                <c:pt idx="2170">
                  <c:v>43075</c:v>
                </c:pt>
                <c:pt idx="2171">
                  <c:v>43076</c:v>
                </c:pt>
                <c:pt idx="2172">
                  <c:v>43077</c:v>
                </c:pt>
                <c:pt idx="2173">
                  <c:v>43080</c:v>
                </c:pt>
                <c:pt idx="2174">
                  <c:v>43081</c:v>
                </c:pt>
                <c:pt idx="2175">
                  <c:v>43082</c:v>
                </c:pt>
                <c:pt idx="2176">
                  <c:v>43083</c:v>
                </c:pt>
                <c:pt idx="2177">
                  <c:v>43084</c:v>
                </c:pt>
                <c:pt idx="2178">
                  <c:v>43087</c:v>
                </c:pt>
                <c:pt idx="2179">
                  <c:v>43088</c:v>
                </c:pt>
                <c:pt idx="2180">
                  <c:v>43089</c:v>
                </c:pt>
                <c:pt idx="2181">
                  <c:v>43090</c:v>
                </c:pt>
                <c:pt idx="2182">
                  <c:v>43091</c:v>
                </c:pt>
                <c:pt idx="2183">
                  <c:v>43094</c:v>
                </c:pt>
                <c:pt idx="2184">
                  <c:v>43095</c:v>
                </c:pt>
                <c:pt idx="2185">
                  <c:v>43096</c:v>
                </c:pt>
                <c:pt idx="2186">
                  <c:v>43097</c:v>
                </c:pt>
                <c:pt idx="2187">
                  <c:v>43098</c:v>
                </c:pt>
                <c:pt idx="2188">
                  <c:v>43102</c:v>
                </c:pt>
                <c:pt idx="2189">
                  <c:v>43103</c:v>
                </c:pt>
                <c:pt idx="2190">
                  <c:v>43104</c:v>
                </c:pt>
                <c:pt idx="2191">
                  <c:v>43105</c:v>
                </c:pt>
                <c:pt idx="2192">
                  <c:v>43108</c:v>
                </c:pt>
                <c:pt idx="2193">
                  <c:v>43109</c:v>
                </c:pt>
                <c:pt idx="2194">
                  <c:v>43110</c:v>
                </c:pt>
                <c:pt idx="2195">
                  <c:v>43111</c:v>
                </c:pt>
                <c:pt idx="2196">
                  <c:v>43112</c:v>
                </c:pt>
                <c:pt idx="2197">
                  <c:v>43115</c:v>
                </c:pt>
                <c:pt idx="2198">
                  <c:v>43116</c:v>
                </c:pt>
                <c:pt idx="2199">
                  <c:v>43117</c:v>
                </c:pt>
                <c:pt idx="2200">
                  <c:v>43118</c:v>
                </c:pt>
                <c:pt idx="2201">
                  <c:v>43119</c:v>
                </c:pt>
                <c:pt idx="2202">
                  <c:v>43122</c:v>
                </c:pt>
                <c:pt idx="2203">
                  <c:v>43123</c:v>
                </c:pt>
                <c:pt idx="2204">
                  <c:v>43124</c:v>
                </c:pt>
                <c:pt idx="2205">
                  <c:v>43125</c:v>
                </c:pt>
                <c:pt idx="2206">
                  <c:v>43126</c:v>
                </c:pt>
                <c:pt idx="2207">
                  <c:v>43129</c:v>
                </c:pt>
                <c:pt idx="2208">
                  <c:v>43130</c:v>
                </c:pt>
                <c:pt idx="2209">
                  <c:v>43131</c:v>
                </c:pt>
                <c:pt idx="2210">
                  <c:v>43132</c:v>
                </c:pt>
                <c:pt idx="2211">
                  <c:v>43133</c:v>
                </c:pt>
                <c:pt idx="2212">
                  <c:v>43136</c:v>
                </c:pt>
                <c:pt idx="2213">
                  <c:v>43137</c:v>
                </c:pt>
                <c:pt idx="2214">
                  <c:v>43138</c:v>
                </c:pt>
                <c:pt idx="2215">
                  <c:v>43139</c:v>
                </c:pt>
                <c:pt idx="2216">
                  <c:v>43140</c:v>
                </c:pt>
                <c:pt idx="2217">
                  <c:v>43143</c:v>
                </c:pt>
                <c:pt idx="2218">
                  <c:v>43144</c:v>
                </c:pt>
                <c:pt idx="2219">
                  <c:v>43145</c:v>
                </c:pt>
                <c:pt idx="2220">
                  <c:v>43153</c:v>
                </c:pt>
                <c:pt idx="2221">
                  <c:v>43154</c:v>
                </c:pt>
                <c:pt idx="2222">
                  <c:v>43157</c:v>
                </c:pt>
                <c:pt idx="2223">
                  <c:v>43158</c:v>
                </c:pt>
                <c:pt idx="2224">
                  <c:v>43159</c:v>
                </c:pt>
                <c:pt idx="2225">
                  <c:v>43160</c:v>
                </c:pt>
                <c:pt idx="2226">
                  <c:v>43161</c:v>
                </c:pt>
                <c:pt idx="2227">
                  <c:v>43164</c:v>
                </c:pt>
                <c:pt idx="2228">
                  <c:v>43165</c:v>
                </c:pt>
                <c:pt idx="2229">
                  <c:v>43166</c:v>
                </c:pt>
                <c:pt idx="2230">
                  <c:v>43167</c:v>
                </c:pt>
                <c:pt idx="2231">
                  <c:v>43168</c:v>
                </c:pt>
                <c:pt idx="2232">
                  <c:v>43171</c:v>
                </c:pt>
                <c:pt idx="2233">
                  <c:v>43172</c:v>
                </c:pt>
                <c:pt idx="2234">
                  <c:v>43173</c:v>
                </c:pt>
                <c:pt idx="2235">
                  <c:v>43174</c:v>
                </c:pt>
                <c:pt idx="2236">
                  <c:v>43175</c:v>
                </c:pt>
                <c:pt idx="2237">
                  <c:v>43178</c:v>
                </c:pt>
                <c:pt idx="2238">
                  <c:v>43179</c:v>
                </c:pt>
                <c:pt idx="2239">
                  <c:v>43180</c:v>
                </c:pt>
                <c:pt idx="2240">
                  <c:v>43181</c:v>
                </c:pt>
                <c:pt idx="2241">
                  <c:v>43182</c:v>
                </c:pt>
                <c:pt idx="2242">
                  <c:v>43185</c:v>
                </c:pt>
                <c:pt idx="2243">
                  <c:v>43186</c:v>
                </c:pt>
                <c:pt idx="2244">
                  <c:v>43187</c:v>
                </c:pt>
                <c:pt idx="2245">
                  <c:v>43188</c:v>
                </c:pt>
                <c:pt idx="2246">
                  <c:v>43189</c:v>
                </c:pt>
                <c:pt idx="2247">
                  <c:v>43192</c:v>
                </c:pt>
                <c:pt idx="2248">
                  <c:v>43193</c:v>
                </c:pt>
                <c:pt idx="2249">
                  <c:v>43194</c:v>
                </c:pt>
                <c:pt idx="2250">
                  <c:v>43199</c:v>
                </c:pt>
                <c:pt idx="2251">
                  <c:v>43200</c:v>
                </c:pt>
                <c:pt idx="2252">
                  <c:v>43201</c:v>
                </c:pt>
                <c:pt idx="2253">
                  <c:v>43202</c:v>
                </c:pt>
                <c:pt idx="2254">
                  <c:v>43203</c:v>
                </c:pt>
                <c:pt idx="2255">
                  <c:v>43206</c:v>
                </c:pt>
                <c:pt idx="2256">
                  <c:v>43207</c:v>
                </c:pt>
                <c:pt idx="2257">
                  <c:v>43208</c:v>
                </c:pt>
                <c:pt idx="2258">
                  <c:v>43209</c:v>
                </c:pt>
                <c:pt idx="2259">
                  <c:v>43210</c:v>
                </c:pt>
                <c:pt idx="2260">
                  <c:v>43213</c:v>
                </c:pt>
                <c:pt idx="2261">
                  <c:v>43214</c:v>
                </c:pt>
                <c:pt idx="2262">
                  <c:v>43215</c:v>
                </c:pt>
                <c:pt idx="2263">
                  <c:v>43216</c:v>
                </c:pt>
                <c:pt idx="2264">
                  <c:v>43217</c:v>
                </c:pt>
                <c:pt idx="2265">
                  <c:v>43222</c:v>
                </c:pt>
                <c:pt idx="2266">
                  <c:v>43223</c:v>
                </c:pt>
                <c:pt idx="2267">
                  <c:v>43224</c:v>
                </c:pt>
                <c:pt idx="2268">
                  <c:v>43227</c:v>
                </c:pt>
                <c:pt idx="2269">
                  <c:v>43228</c:v>
                </c:pt>
                <c:pt idx="2270">
                  <c:v>43229</c:v>
                </c:pt>
                <c:pt idx="2271">
                  <c:v>43230</c:v>
                </c:pt>
                <c:pt idx="2272">
                  <c:v>43231</c:v>
                </c:pt>
                <c:pt idx="2273">
                  <c:v>43234</c:v>
                </c:pt>
                <c:pt idx="2274">
                  <c:v>43235</c:v>
                </c:pt>
                <c:pt idx="2275">
                  <c:v>43236</c:v>
                </c:pt>
                <c:pt idx="2276">
                  <c:v>43237</c:v>
                </c:pt>
                <c:pt idx="2277">
                  <c:v>43238</c:v>
                </c:pt>
                <c:pt idx="2278">
                  <c:v>43241</c:v>
                </c:pt>
                <c:pt idx="2279">
                  <c:v>43242</c:v>
                </c:pt>
                <c:pt idx="2280">
                  <c:v>43243</c:v>
                </c:pt>
                <c:pt idx="2281">
                  <c:v>43244</c:v>
                </c:pt>
                <c:pt idx="2282">
                  <c:v>43245</c:v>
                </c:pt>
                <c:pt idx="2283">
                  <c:v>43248</c:v>
                </c:pt>
                <c:pt idx="2284">
                  <c:v>43249</c:v>
                </c:pt>
                <c:pt idx="2285">
                  <c:v>43250</c:v>
                </c:pt>
                <c:pt idx="2286">
                  <c:v>43251</c:v>
                </c:pt>
                <c:pt idx="2287">
                  <c:v>43252</c:v>
                </c:pt>
                <c:pt idx="2288">
                  <c:v>43255</c:v>
                </c:pt>
                <c:pt idx="2289">
                  <c:v>43256</c:v>
                </c:pt>
                <c:pt idx="2290">
                  <c:v>43257</c:v>
                </c:pt>
                <c:pt idx="2291">
                  <c:v>43258</c:v>
                </c:pt>
                <c:pt idx="2292">
                  <c:v>43259</c:v>
                </c:pt>
                <c:pt idx="2293">
                  <c:v>43262</c:v>
                </c:pt>
                <c:pt idx="2294">
                  <c:v>43263</c:v>
                </c:pt>
                <c:pt idx="2295">
                  <c:v>43264</c:v>
                </c:pt>
                <c:pt idx="2296">
                  <c:v>43265</c:v>
                </c:pt>
                <c:pt idx="2297">
                  <c:v>43266</c:v>
                </c:pt>
                <c:pt idx="2298">
                  <c:v>43270</c:v>
                </c:pt>
                <c:pt idx="2299">
                  <c:v>43271</c:v>
                </c:pt>
                <c:pt idx="2300">
                  <c:v>43272</c:v>
                </c:pt>
                <c:pt idx="2301">
                  <c:v>43273</c:v>
                </c:pt>
                <c:pt idx="2302">
                  <c:v>43276</c:v>
                </c:pt>
                <c:pt idx="2303">
                  <c:v>43277</c:v>
                </c:pt>
                <c:pt idx="2304">
                  <c:v>43278</c:v>
                </c:pt>
                <c:pt idx="2305">
                  <c:v>43279</c:v>
                </c:pt>
                <c:pt idx="2306">
                  <c:v>43280</c:v>
                </c:pt>
                <c:pt idx="2307">
                  <c:v>43283</c:v>
                </c:pt>
                <c:pt idx="2308">
                  <c:v>43284</c:v>
                </c:pt>
                <c:pt idx="2309">
                  <c:v>43285</c:v>
                </c:pt>
                <c:pt idx="2310">
                  <c:v>43286</c:v>
                </c:pt>
                <c:pt idx="2311">
                  <c:v>43287</c:v>
                </c:pt>
                <c:pt idx="2312">
                  <c:v>43290</c:v>
                </c:pt>
                <c:pt idx="2313">
                  <c:v>43291</c:v>
                </c:pt>
                <c:pt idx="2314">
                  <c:v>43292</c:v>
                </c:pt>
                <c:pt idx="2315">
                  <c:v>43293</c:v>
                </c:pt>
                <c:pt idx="2316">
                  <c:v>43294</c:v>
                </c:pt>
                <c:pt idx="2317">
                  <c:v>43297</c:v>
                </c:pt>
                <c:pt idx="2318">
                  <c:v>43298</c:v>
                </c:pt>
                <c:pt idx="2319">
                  <c:v>43299</c:v>
                </c:pt>
                <c:pt idx="2320">
                  <c:v>43300</c:v>
                </c:pt>
                <c:pt idx="2321">
                  <c:v>43301</c:v>
                </c:pt>
                <c:pt idx="2322">
                  <c:v>43304</c:v>
                </c:pt>
                <c:pt idx="2323">
                  <c:v>43305</c:v>
                </c:pt>
                <c:pt idx="2324">
                  <c:v>43306</c:v>
                </c:pt>
                <c:pt idx="2325">
                  <c:v>43307</c:v>
                </c:pt>
                <c:pt idx="2326">
                  <c:v>43308</c:v>
                </c:pt>
                <c:pt idx="2327">
                  <c:v>43311</c:v>
                </c:pt>
                <c:pt idx="2328">
                  <c:v>43312</c:v>
                </c:pt>
                <c:pt idx="2329">
                  <c:v>43313</c:v>
                </c:pt>
                <c:pt idx="2330">
                  <c:v>43314</c:v>
                </c:pt>
                <c:pt idx="2331">
                  <c:v>43315</c:v>
                </c:pt>
                <c:pt idx="2332">
                  <c:v>43318</c:v>
                </c:pt>
                <c:pt idx="2333">
                  <c:v>43319</c:v>
                </c:pt>
                <c:pt idx="2334">
                  <c:v>43320</c:v>
                </c:pt>
                <c:pt idx="2335">
                  <c:v>43321</c:v>
                </c:pt>
                <c:pt idx="2336">
                  <c:v>43322</c:v>
                </c:pt>
                <c:pt idx="2337">
                  <c:v>43325</c:v>
                </c:pt>
                <c:pt idx="2338">
                  <c:v>43326</c:v>
                </c:pt>
                <c:pt idx="2339">
                  <c:v>43327</c:v>
                </c:pt>
                <c:pt idx="2340">
                  <c:v>43328</c:v>
                </c:pt>
                <c:pt idx="2341">
                  <c:v>43329</c:v>
                </c:pt>
                <c:pt idx="2342">
                  <c:v>43332</c:v>
                </c:pt>
                <c:pt idx="2343">
                  <c:v>43333</c:v>
                </c:pt>
                <c:pt idx="2344">
                  <c:v>43334</c:v>
                </c:pt>
                <c:pt idx="2345">
                  <c:v>43335</c:v>
                </c:pt>
                <c:pt idx="2346">
                  <c:v>43336</c:v>
                </c:pt>
                <c:pt idx="2347">
                  <c:v>43339</c:v>
                </c:pt>
                <c:pt idx="2348">
                  <c:v>43340</c:v>
                </c:pt>
                <c:pt idx="2349">
                  <c:v>43341</c:v>
                </c:pt>
                <c:pt idx="2350">
                  <c:v>43342</c:v>
                </c:pt>
                <c:pt idx="2351">
                  <c:v>43343</c:v>
                </c:pt>
                <c:pt idx="2352">
                  <c:v>43346</c:v>
                </c:pt>
                <c:pt idx="2353">
                  <c:v>43347</c:v>
                </c:pt>
                <c:pt idx="2354">
                  <c:v>43348</c:v>
                </c:pt>
                <c:pt idx="2355">
                  <c:v>43349</c:v>
                </c:pt>
                <c:pt idx="2356">
                  <c:v>43350</c:v>
                </c:pt>
                <c:pt idx="2357">
                  <c:v>43353</c:v>
                </c:pt>
                <c:pt idx="2358">
                  <c:v>43354</c:v>
                </c:pt>
                <c:pt idx="2359">
                  <c:v>43355</c:v>
                </c:pt>
                <c:pt idx="2360">
                  <c:v>43356</c:v>
                </c:pt>
                <c:pt idx="2361">
                  <c:v>43357</c:v>
                </c:pt>
                <c:pt idx="2362">
                  <c:v>43360</c:v>
                </c:pt>
                <c:pt idx="2363">
                  <c:v>43361</c:v>
                </c:pt>
                <c:pt idx="2364">
                  <c:v>43362</c:v>
                </c:pt>
                <c:pt idx="2365">
                  <c:v>43363</c:v>
                </c:pt>
                <c:pt idx="2366">
                  <c:v>43364</c:v>
                </c:pt>
                <c:pt idx="2367">
                  <c:v>43368</c:v>
                </c:pt>
                <c:pt idx="2368">
                  <c:v>43369</c:v>
                </c:pt>
                <c:pt idx="2369">
                  <c:v>43370</c:v>
                </c:pt>
                <c:pt idx="2370">
                  <c:v>43371</c:v>
                </c:pt>
                <c:pt idx="2371">
                  <c:v>43381</c:v>
                </c:pt>
                <c:pt idx="2372">
                  <c:v>43382</c:v>
                </c:pt>
                <c:pt idx="2373">
                  <c:v>43383</c:v>
                </c:pt>
                <c:pt idx="2374">
                  <c:v>43384</c:v>
                </c:pt>
                <c:pt idx="2375">
                  <c:v>43385</c:v>
                </c:pt>
                <c:pt idx="2376">
                  <c:v>43388</c:v>
                </c:pt>
                <c:pt idx="2377">
                  <c:v>43389</c:v>
                </c:pt>
                <c:pt idx="2378">
                  <c:v>43390</c:v>
                </c:pt>
                <c:pt idx="2379">
                  <c:v>43391</c:v>
                </c:pt>
                <c:pt idx="2380">
                  <c:v>43392</c:v>
                </c:pt>
                <c:pt idx="2381">
                  <c:v>43395</c:v>
                </c:pt>
                <c:pt idx="2382">
                  <c:v>43396</c:v>
                </c:pt>
                <c:pt idx="2383">
                  <c:v>43397</c:v>
                </c:pt>
                <c:pt idx="2384">
                  <c:v>43398</c:v>
                </c:pt>
                <c:pt idx="2385">
                  <c:v>43399</c:v>
                </c:pt>
                <c:pt idx="2386">
                  <c:v>43402</c:v>
                </c:pt>
                <c:pt idx="2387">
                  <c:v>43403</c:v>
                </c:pt>
                <c:pt idx="2388">
                  <c:v>43404</c:v>
                </c:pt>
                <c:pt idx="2389">
                  <c:v>43405</c:v>
                </c:pt>
                <c:pt idx="2390">
                  <c:v>43406</c:v>
                </c:pt>
                <c:pt idx="2391">
                  <c:v>43409</c:v>
                </c:pt>
                <c:pt idx="2392">
                  <c:v>43410</c:v>
                </c:pt>
                <c:pt idx="2393">
                  <c:v>43411</c:v>
                </c:pt>
                <c:pt idx="2394">
                  <c:v>43412</c:v>
                </c:pt>
                <c:pt idx="2395">
                  <c:v>43413</c:v>
                </c:pt>
                <c:pt idx="2396">
                  <c:v>43416</c:v>
                </c:pt>
                <c:pt idx="2397">
                  <c:v>43417</c:v>
                </c:pt>
                <c:pt idx="2398">
                  <c:v>43418</c:v>
                </c:pt>
                <c:pt idx="2399">
                  <c:v>43419</c:v>
                </c:pt>
                <c:pt idx="2400">
                  <c:v>43420</c:v>
                </c:pt>
                <c:pt idx="2401">
                  <c:v>43423</c:v>
                </c:pt>
                <c:pt idx="2402">
                  <c:v>43424</c:v>
                </c:pt>
                <c:pt idx="2403">
                  <c:v>43425</c:v>
                </c:pt>
                <c:pt idx="2404">
                  <c:v>43426</c:v>
                </c:pt>
                <c:pt idx="2405">
                  <c:v>43427</c:v>
                </c:pt>
                <c:pt idx="2406">
                  <c:v>43430</c:v>
                </c:pt>
                <c:pt idx="2407">
                  <c:v>43431</c:v>
                </c:pt>
                <c:pt idx="2408">
                  <c:v>43432</c:v>
                </c:pt>
                <c:pt idx="2409">
                  <c:v>43433</c:v>
                </c:pt>
                <c:pt idx="2410">
                  <c:v>43434</c:v>
                </c:pt>
                <c:pt idx="2411">
                  <c:v>43437</c:v>
                </c:pt>
                <c:pt idx="2412">
                  <c:v>43438</c:v>
                </c:pt>
                <c:pt idx="2413">
                  <c:v>43439</c:v>
                </c:pt>
                <c:pt idx="2414">
                  <c:v>43440</c:v>
                </c:pt>
                <c:pt idx="2415">
                  <c:v>43441</c:v>
                </c:pt>
                <c:pt idx="2416">
                  <c:v>43444</c:v>
                </c:pt>
                <c:pt idx="2417">
                  <c:v>43445</c:v>
                </c:pt>
                <c:pt idx="2418">
                  <c:v>43446</c:v>
                </c:pt>
                <c:pt idx="2419">
                  <c:v>43447</c:v>
                </c:pt>
                <c:pt idx="2420">
                  <c:v>43448</c:v>
                </c:pt>
                <c:pt idx="2421">
                  <c:v>43451</c:v>
                </c:pt>
                <c:pt idx="2422">
                  <c:v>43452</c:v>
                </c:pt>
                <c:pt idx="2423">
                  <c:v>43453</c:v>
                </c:pt>
                <c:pt idx="2424">
                  <c:v>43454</c:v>
                </c:pt>
                <c:pt idx="2425">
                  <c:v>43455</c:v>
                </c:pt>
                <c:pt idx="2426">
                  <c:v>43458</c:v>
                </c:pt>
                <c:pt idx="2427">
                  <c:v>43459</c:v>
                </c:pt>
                <c:pt idx="2428">
                  <c:v>43460</c:v>
                </c:pt>
                <c:pt idx="2429">
                  <c:v>43461</c:v>
                </c:pt>
                <c:pt idx="2430">
                  <c:v>43462</c:v>
                </c:pt>
                <c:pt idx="2431">
                  <c:v>43467</c:v>
                </c:pt>
                <c:pt idx="2432">
                  <c:v>43468</c:v>
                </c:pt>
                <c:pt idx="2433">
                  <c:v>43469</c:v>
                </c:pt>
                <c:pt idx="2434">
                  <c:v>43472</c:v>
                </c:pt>
                <c:pt idx="2435">
                  <c:v>43473</c:v>
                </c:pt>
                <c:pt idx="2436">
                  <c:v>43474</c:v>
                </c:pt>
                <c:pt idx="2437">
                  <c:v>43475</c:v>
                </c:pt>
                <c:pt idx="2438">
                  <c:v>43476</c:v>
                </c:pt>
                <c:pt idx="2439">
                  <c:v>43479</c:v>
                </c:pt>
                <c:pt idx="2440">
                  <c:v>43480</c:v>
                </c:pt>
                <c:pt idx="2441">
                  <c:v>43481</c:v>
                </c:pt>
                <c:pt idx="2442">
                  <c:v>43482</c:v>
                </c:pt>
                <c:pt idx="2443">
                  <c:v>43483</c:v>
                </c:pt>
                <c:pt idx="2444">
                  <c:v>43486</c:v>
                </c:pt>
                <c:pt idx="2445">
                  <c:v>43487</c:v>
                </c:pt>
                <c:pt idx="2446">
                  <c:v>43488</c:v>
                </c:pt>
                <c:pt idx="2447">
                  <c:v>43489</c:v>
                </c:pt>
                <c:pt idx="2448">
                  <c:v>43490</c:v>
                </c:pt>
                <c:pt idx="2449">
                  <c:v>43493</c:v>
                </c:pt>
                <c:pt idx="2450">
                  <c:v>43494</c:v>
                </c:pt>
                <c:pt idx="2451">
                  <c:v>43495</c:v>
                </c:pt>
                <c:pt idx="2452">
                  <c:v>43496</c:v>
                </c:pt>
                <c:pt idx="2453">
                  <c:v>43497</c:v>
                </c:pt>
                <c:pt idx="2454">
                  <c:v>43507</c:v>
                </c:pt>
                <c:pt idx="2455">
                  <c:v>43508</c:v>
                </c:pt>
                <c:pt idx="2456">
                  <c:v>43509</c:v>
                </c:pt>
                <c:pt idx="2457">
                  <c:v>43510</c:v>
                </c:pt>
                <c:pt idx="2458">
                  <c:v>43511</c:v>
                </c:pt>
                <c:pt idx="2459">
                  <c:v>43514</c:v>
                </c:pt>
                <c:pt idx="2460">
                  <c:v>43515</c:v>
                </c:pt>
                <c:pt idx="2461">
                  <c:v>43516</c:v>
                </c:pt>
                <c:pt idx="2462">
                  <c:v>43517</c:v>
                </c:pt>
                <c:pt idx="2463">
                  <c:v>43518</c:v>
                </c:pt>
                <c:pt idx="2464">
                  <c:v>43521</c:v>
                </c:pt>
                <c:pt idx="2465">
                  <c:v>43522</c:v>
                </c:pt>
                <c:pt idx="2466">
                  <c:v>43523</c:v>
                </c:pt>
                <c:pt idx="2467">
                  <c:v>43524</c:v>
                </c:pt>
                <c:pt idx="2468">
                  <c:v>43525</c:v>
                </c:pt>
                <c:pt idx="2469">
                  <c:v>43528</c:v>
                </c:pt>
                <c:pt idx="2470">
                  <c:v>43529</c:v>
                </c:pt>
                <c:pt idx="2471">
                  <c:v>43530</c:v>
                </c:pt>
                <c:pt idx="2472">
                  <c:v>43531</c:v>
                </c:pt>
                <c:pt idx="2473">
                  <c:v>43532</c:v>
                </c:pt>
                <c:pt idx="2474">
                  <c:v>43535</c:v>
                </c:pt>
                <c:pt idx="2475">
                  <c:v>43536</c:v>
                </c:pt>
                <c:pt idx="2476">
                  <c:v>43537</c:v>
                </c:pt>
                <c:pt idx="2477">
                  <c:v>43538</c:v>
                </c:pt>
                <c:pt idx="2478">
                  <c:v>43539</c:v>
                </c:pt>
                <c:pt idx="2479">
                  <c:v>43542</c:v>
                </c:pt>
                <c:pt idx="2480">
                  <c:v>43543</c:v>
                </c:pt>
                <c:pt idx="2481">
                  <c:v>43544</c:v>
                </c:pt>
                <c:pt idx="2482">
                  <c:v>43545</c:v>
                </c:pt>
                <c:pt idx="2483">
                  <c:v>43546</c:v>
                </c:pt>
                <c:pt idx="2484">
                  <c:v>43549</c:v>
                </c:pt>
                <c:pt idx="2485">
                  <c:v>43550</c:v>
                </c:pt>
                <c:pt idx="2486">
                  <c:v>43551</c:v>
                </c:pt>
                <c:pt idx="2487">
                  <c:v>43552</c:v>
                </c:pt>
                <c:pt idx="2488">
                  <c:v>43553</c:v>
                </c:pt>
                <c:pt idx="2489">
                  <c:v>43556</c:v>
                </c:pt>
                <c:pt idx="2490">
                  <c:v>43557</c:v>
                </c:pt>
                <c:pt idx="2491">
                  <c:v>43558</c:v>
                </c:pt>
                <c:pt idx="2492">
                  <c:v>43559</c:v>
                </c:pt>
                <c:pt idx="2493">
                  <c:v>43563</c:v>
                </c:pt>
                <c:pt idx="2494">
                  <c:v>43564</c:v>
                </c:pt>
                <c:pt idx="2495">
                  <c:v>43565</c:v>
                </c:pt>
                <c:pt idx="2496">
                  <c:v>43566</c:v>
                </c:pt>
                <c:pt idx="2497">
                  <c:v>43567</c:v>
                </c:pt>
                <c:pt idx="2498">
                  <c:v>43570</c:v>
                </c:pt>
                <c:pt idx="2499">
                  <c:v>43571</c:v>
                </c:pt>
                <c:pt idx="2500">
                  <c:v>43572</c:v>
                </c:pt>
                <c:pt idx="2501">
                  <c:v>43573</c:v>
                </c:pt>
                <c:pt idx="2502">
                  <c:v>43574</c:v>
                </c:pt>
                <c:pt idx="2503">
                  <c:v>43577</c:v>
                </c:pt>
                <c:pt idx="2504">
                  <c:v>43578</c:v>
                </c:pt>
                <c:pt idx="2505">
                  <c:v>43579</c:v>
                </c:pt>
                <c:pt idx="2506">
                  <c:v>43580</c:v>
                </c:pt>
                <c:pt idx="2507">
                  <c:v>43581</c:v>
                </c:pt>
                <c:pt idx="2508">
                  <c:v>43584</c:v>
                </c:pt>
                <c:pt idx="2509">
                  <c:v>43585</c:v>
                </c:pt>
                <c:pt idx="2510">
                  <c:v>43591</c:v>
                </c:pt>
                <c:pt idx="2511">
                  <c:v>43592</c:v>
                </c:pt>
                <c:pt idx="2512">
                  <c:v>43593</c:v>
                </c:pt>
                <c:pt idx="2513">
                  <c:v>43594</c:v>
                </c:pt>
                <c:pt idx="2514">
                  <c:v>43595</c:v>
                </c:pt>
                <c:pt idx="2515">
                  <c:v>43598</c:v>
                </c:pt>
                <c:pt idx="2516">
                  <c:v>43599</c:v>
                </c:pt>
                <c:pt idx="2517">
                  <c:v>43600</c:v>
                </c:pt>
                <c:pt idx="2518">
                  <c:v>43601</c:v>
                </c:pt>
                <c:pt idx="2519">
                  <c:v>43602</c:v>
                </c:pt>
                <c:pt idx="2520">
                  <c:v>43605</c:v>
                </c:pt>
                <c:pt idx="2521">
                  <c:v>43606</c:v>
                </c:pt>
                <c:pt idx="2522">
                  <c:v>43607</c:v>
                </c:pt>
                <c:pt idx="2523">
                  <c:v>43608</c:v>
                </c:pt>
                <c:pt idx="2524">
                  <c:v>43609</c:v>
                </c:pt>
                <c:pt idx="2525">
                  <c:v>43612</c:v>
                </c:pt>
                <c:pt idx="2526">
                  <c:v>43613</c:v>
                </c:pt>
                <c:pt idx="2527">
                  <c:v>43614</c:v>
                </c:pt>
                <c:pt idx="2528">
                  <c:v>43615</c:v>
                </c:pt>
                <c:pt idx="2529">
                  <c:v>43616</c:v>
                </c:pt>
                <c:pt idx="2530">
                  <c:v>43619</c:v>
                </c:pt>
                <c:pt idx="2531">
                  <c:v>43620</c:v>
                </c:pt>
                <c:pt idx="2532">
                  <c:v>43621</c:v>
                </c:pt>
                <c:pt idx="2533">
                  <c:v>43622</c:v>
                </c:pt>
                <c:pt idx="2534">
                  <c:v>43626</c:v>
                </c:pt>
                <c:pt idx="2535">
                  <c:v>43627</c:v>
                </c:pt>
                <c:pt idx="2536">
                  <c:v>43628</c:v>
                </c:pt>
                <c:pt idx="2537">
                  <c:v>43629</c:v>
                </c:pt>
                <c:pt idx="2538">
                  <c:v>43630</c:v>
                </c:pt>
                <c:pt idx="2539">
                  <c:v>43633</c:v>
                </c:pt>
                <c:pt idx="2540">
                  <c:v>43634</c:v>
                </c:pt>
                <c:pt idx="2541">
                  <c:v>43635</c:v>
                </c:pt>
                <c:pt idx="2542">
                  <c:v>43636</c:v>
                </c:pt>
                <c:pt idx="2543">
                  <c:v>43637</c:v>
                </c:pt>
                <c:pt idx="2544">
                  <c:v>43640</c:v>
                </c:pt>
                <c:pt idx="2545">
                  <c:v>43641</c:v>
                </c:pt>
                <c:pt idx="2546">
                  <c:v>43642</c:v>
                </c:pt>
                <c:pt idx="2547">
                  <c:v>43643</c:v>
                </c:pt>
                <c:pt idx="2548">
                  <c:v>43644</c:v>
                </c:pt>
                <c:pt idx="2549">
                  <c:v>43647</c:v>
                </c:pt>
                <c:pt idx="2550">
                  <c:v>43648</c:v>
                </c:pt>
                <c:pt idx="2551">
                  <c:v>43649</c:v>
                </c:pt>
                <c:pt idx="2552">
                  <c:v>43650</c:v>
                </c:pt>
                <c:pt idx="2553">
                  <c:v>43651</c:v>
                </c:pt>
                <c:pt idx="2554">
                  <c:v>43654</c:v>
                </c:pt>
                <c:pt idx="2555">
                  <c:v>43655</c:v>
                </c:pt>
                <c:pt idx="2556">
                  <c:v>43656</c:v>
                </c:pt>
                <c:pt idx="2557">
                  <c:v>43657</c:v>
                </c:pt>
                <c:pt idx="2558">
                  <c:v>43658</c:v>
                </c:pt>
                <c:pt idx="2559">
                  <c:v>43661</c:v>
                </c:pt>
                <c:pt idx="2560">
                  <c:v>43662</c:v>
                </c:pt>
                <c:pt idx="2561">
                  <c:v>43663</c:v>
                </c:pt>
                <c:pt idx="2562">
                  <c:v>43664</c:v>
                </c:pt>
                <c:pt idx="2563">
                  <c:v>43665</c:v>
                </c:pt>
                <c:pt idx="2564">
                  <c:v>43668</c:v>
                </c:pt>
                <c:pt idx="2565">
                  <c:v>43669</c:v>
                </c:pt>
                <c:pt idx="2566">
                  <c:v>43670</c:v>
                </c:pt>
                <c:pt idx="2567">
                  <c:v>43671</c:v>
                </c:pt>
                <c:pt idx="2568">
                  <c:v>43672</c:v>
                </c:pt>
                <c:pt idx="2569">
                  <c:v>43675</c:v>
                </c:pt>
                <c:pt idx="2570">
                  <c:v>43676</c:v>
                </c:pt>
                <c:pt idx="2571">
                  <c:v>43677</c:v>
                </c:pt>
                <c:pt idx="2572">
                  <c:v>43678</c:v>
                </c:pt>
                <c:pt idx="2573">
                  <c:v>43679</c:v>
                </c:pt>
                <c:pt idx="2574">
                  <c:v>43682</c:v>
                </c:pt>
                <c:pt idx="2575">
                  <c:v>43683</c:v>
                </c:pt>
                <c:pt idx="2576">
                  <c:v>43684</c:v>
                </c:pt>
                <c:pt idx="2577">
                  <c:v>43685</c:v>
                </c:pt>
                <c:pt idx="2578">
                  <c:v>43686</c:v>
                </c:pt>
                <c:pt idx="2579">
                  <c:v>43689</c:v>
                </c:pt>
                <c:pt idx="2580">
                  <c:v>43690</c:v>
                </c:pt>
                <c:pt idx="2581">
                  <c:v>43691</c:v>
                </c:pt>
                <c:pt idx="2582">
                  <c:v>43692</c:v>
                </c:pt>
                <c:pt idx="2583">
                  <c:v>43693</c:v>
                </c:pt>
                <c:pt idx="2584">
                  <c:v>43696</c:v>
                </c:pt>
                <c:pt idx="2585">
                  <c:v>43697</c:v>
                </c:pt>
                <c:pt idx="2586">
                  <c:v>43698</c:v>
                </c:pt>
                <c:pt idx="2587">
                  <c:v>43699</c:v>
                </c:pt>
                <c:pt idx="2588">
                  <c:v>43700</c:v>
                </c:pt>
                <c:pt idx="2589">
                  <c:v>43703</c:v>
                </c:pt>
                <c:pt idx="2590">
                  <c:v>43704</c:v>
                </c:pt>
                <c:pt idx="2591">
                  <c:v>43705</c:v>
                </c:pt>
                <c:pt idx="2592">
                  <c:v>43706</c:v>
                </c:pt>
                <c:pt idx="2593">
                  <c:v>43707</c:v>
                </c:pt>
                <c:pt idx="2594">
                  <c:v>43710</c:v>
                </c:pt>
                <c:pt idx="2595">
                  <c:v>43711</c:v>
                </c:pt>
                <c:pt idx="2596">
                  <c:v>43712</c:v>
                </c:pt>
                <c:pt idx="2597">
                  <c:v>43713</c:v>
                </c:pt>
                <c:pt idx="2598">
                  <c:v>43714</c:v>
                </c:pt>
                <c:pt idx="2599">
                  <c:v>43717</c:v>
                </c:pt>
                <c:pt idx="2600">
                  <c:v>43718</c:v>
                </c:pt>
                <c:pt idx="2601">
                  <c:v>43719</c:v>
                </c:pt>
                <c:pt idx="2602">
                  <c:v>43720</c:v>
                </c:pt>
                <c:pt idx="2603">
                  <c:v>43724</c:v>
                </c:pt>
                <c:pt idx="2604">
                  <c:v>43725</c:v>
                </c:pt>
                <c:pt idx="2605">
                  <c:v>43726</c:v>
                </c:pt>
                <c:pt idx="2606">
                  <c:v>43727</c:v>
                </c:pt>
                <c:pt idx="2607">
                  <c:v>43728</c:v>
                </c:pt>
                <c:pt idx="2608">
                  <c:v>43731</c:v>
                </c:pt>
                <c:pt idx="2609">
                  <c:v>43732</c:v>
                </c:pt>
                <c:pt idx="2610">
                  <c:v>43733</c:v>
                </c:pt>
                <c:pt idx="2611">
                  <c:v>43734</c:v>
                </c:pt>
                <c:pt idx="2612">
                  <c:v>43735</c:v>
                </c:pt>
                <c:pt idx="2613">
                  <c:v>43738</c:v>
                </c:pt>
                <c:pt idx="2614">
                  <c:v>43746</c:v>
                </c:pt>
                <c:pt idx="2615">
                  <c:v>43747</c:v>
                </c:pt>
                <c:pt idx="2616">
                  <c:v>43748</c:v>
                </c:pt>
                <c:pt idx="2617">
                  <c:v>43749</c:v>
                </c:pt>
                <c:pt idx="2618">
                  <c:v>43752</c:v>
                </c:pt>
                <c:pt idx="2619">
                  <c:v>43753</c:v>
                </c:pt>
                <c:pt idx="2620">
                  <c:v>43754</c:v>
                </c:pt>
                <c:pt idx="2621">
                  <c:v>43755</c:v>
                </c:pt>
                <c:pt idx="2622">
                  <c:v>43756</c:v>
                </c:pt>
                <c:pt idx="2623">
                  <c:v>43759</c:v>
                </c:pt>
                <c:pt idx="2624">
                  <c:v>43760</c:v>
                </c:pt>
                <c:pt idx="2625">
                  <c:v>43761</c:v>
                </c:pt>
                <c:pt idx="2626">
                  <c:v>43762</c:v>
                </c:pt>
                <c:pt idx="2627">
                  <c:v>43763</c:v>
                </c:pt>
                <c:pt idx="2628">
                  <c:v>43766</c:v>
                </c:pt>
                <c:pt idx="2629">
                  <c:v>43767</c:v>
                </c:pt>
                <c:pt idx="2630">
                  <c:v>43768</c:v>
                </c:pt>
                <c:pt idx="2631">
                  <c:v>43769</c:v>
                </c:pt>
                <c:pt idx="2632">
                  <c:v>43770</c:v>
                </c:pt>
                <c:pt idx="2633">
                  <c:v>43773</c:v>
                </c:pt>
                <c:pt idx="2634">
                  <c:v>43774</c:v>
                </c:pt>
                <c:pt idx="2635">
                  <c:v>43775</c:v>
                </c:pt>
                <c:pt idx="2636">
                  <c:v>43776</c:v>
                </c:pt>
                <c:pt idx="2637">
                  <c:v>43777</c:v>
                </c:pt>
                <c:pt idx="2638">
                  <c:v>43780</c:v>
                </c:pt>
                <c:pt idx="2639">
                  <c:v>43781</c:v>
                </c:pt>
                <c:pt idx="2640">
                  <c:v>43782</c:v>
                </c:pt>
                <c:pt idx="2641">
                  <c:v>43783</c:v>
                </c:pt>
                <c:pt idx="2642">
                  <c:v>43784</c:v>
                </c:pt>
                <c:pt idx="2643">
                  <c:v>43787</c:v>
                </c:pt>
                <c:pt idx="2644">
                  <c:v>43788</c:v>
                </c:pt>
                <c:pt idx="2645">
                  <c:v>43789</c:v>
                </c:pt>
                <c:pt idx="2646">
                  <c:v>43790</c:v>
                </c:pt>
                <c:pt idx="2647">
                  <c:v>43791</c:v>
                </c:pt>
                <c:pt idx="2648">
                  <c:v>43794</c:v>
                </c:pt>
                <c:pt idx="2649">
                  <c:v>43795</c:v>
                </c:pt>
                <c:pt idx="2650">
                  <c:v>43796</c:v>
                </c:pt>
                <c:pt idx="2651">
                  <c:v>43797</c:v>
                </c:pt>
                <c:pt idx="2652">
                  <c:v>43798</c:v>
                </c:pt>
                <c:pt idx="2653">
                  <c:v>43801</c:v>
                </c:pt>
                <c:pt idx="2654">
                  <c:v>43802</c:v>
                </c:pt>
                <c:pt idx="2655">
                  <c:v>43803</c:v>
                </c:pt>
                <c:pt idx="2656">
                  <c:v>43804</c:v>
                </c:pt>
                <c:pt idx="2657">
                  <c:v>43805</c:v>
                </c:pt>
                <c:pt idx="2658">
                  <c:v>43808</c:v>
                </c:pt>
                <c:pt idx="2659">
                  <c:v>43809</c:v>
                </c:pt>
                <c:pt idx="2660">
                  <c:v>43810</c:v>
                </c:pt>
                <c:pt idx="2661">
                  <c:v>43811</c:v>
                </c:pt>
                <c:pt idx="2662">
                  <c:v>43812</c:v>
                </c:pt>
                <c:pt idx="2663">
                  <c:v>43815</c:v>
                </c:pt>
                <c:pt idx="2664">
                  <c:v>43816</c:v>
                </c:pt>
                <c:pt idx="2665">
                  <c:v>43817</c:v>
                </c:pt>
                <c:pt idx="2666">
                  <c:v>43818</c:v>
                </c:pt>
                <c:pt idx="2667">
                  <c:v>43819</c:v>
                </c:pt>
                <c:pt idx="2668">
                  <c:v>43822</c:v>
                </c:pt>
                <c:pt idx="2669">
                  <c:v>43823</c:v>
                </c:pt>
                <c:pt idx="2670">
                  <c:v>43824</c:v>
                </c:pt>
                <c:pt idx="2671">
                  <c:v>43825</c:v>
                </c:pt>
                <c:pt idx="2672">
                  <c:v>43826</c:v>
                </c:pt>
                <c:pt idx="2673">
                  <c:v>43829</c:v>
                </c:pt>
                <c:pt idx="2674">
                  <c:v>43830</c:v>
                </c:pt>
                <c:pt idx="2675">
                  <c:v>43832</c:v>
                </c:pt>
                <c:pt idx="2676">
                  <c:v>43833</c:v>
                </c:pt>
                <c:pt idx="2677">
                  <c:v>43836</c:v>
                </c:pt>
                <c:pt idx="2678">
                  <c:v>43837</c:v>
                </c:pt>
                <c:pt idx="2679">
                  <c:v>43838</c:v>
                </c:pt>
                <c:pt idx="2680">
                  <c:v>43839</c:v>
                </c:pt>
                <c:pt idx="2681">
                  <c:v>43840</c:v>
                </c:pt>
                <c:pt idx="2682">
                  <c:v>43843</c:v>
                </c:pt>
                <c:pt idx="2683">
                  <c:v>43844</c:v>
                </c:pt>
                <c:pt idx="2684">
                  <c:v>43845</c:v>
                </c:pt>
                <c:pt idx="2685">
                  <c:v>43846</c:v>
                </c:pt>
                <c:pt idx="2686">
                  <c:v>43847</c:v>
                </c:pt>
                <c:pt idx="2687">
                  <c:v>43850</c:v>
                </c:pt>
                <c:pt idx="2688">
                  <c:v>43851</c:v>
                </c:pt>
                <c:pt idx="2689">
                  <c:v>43852</c:v>
                </c:pt>
                <c:pt idx="2690">
                  <c:v>43853</c:v>
                </c:pt>
                <c:pt idx="2691">
                  <c:v>43864</c:v>
                </c:pt>
                <c:pt idx="2692">
                  <c:v>43865</c:v>
                </c:pt>
                <c:pt idx="2693">
                  <c:v>43866</c:v>
                </c:pt>
                <c:pt idx="2694">
                  <c:v>43867</c:v>
                </c:pt>
                <c:pt idx="2695">
                  <c:v>43868</c:v>
                </c:pt>
                <c:pt idx="2696">
                  <c:v>43871</c:v>
                </c:pt>
                <c:pt idx="2697">
                  <c:v>43872</c:v>
                </c:pt>
                <c:pt idx="2698">
                  <c:v>43873</c:v>
                </c:pt>
                <c:pt idx="2699">
                  <c:v>43874</c:v>
                </c:pt>
                <c:pt idx="2700">
                  <c:v>43875</c:v>
                </c:pt>
                <c:pt idx="2701">
                  <c:v>43878</c:v>
                </c:pt>
                <c:pt idx="2702">
                  <c:v>43879</c:v>
                </c:pt>
                <c:pt idx="2703">
                  <c:v>43880</c:v>
                </c:pt>
                <c:pt idx="2704">
                  <c:v>43881</c:v>
                </c:pt>
                <c:pt idx="2705">
                  <c:v>43882</c:v>
                </c:pt>
                <c:pt idx="2706">
                  <c:v>43885</c:v>
                </c:pt>
                <c:pt idx="2707">
                  <c:v>43886</c:v>
                </c:pt>
                <c:pt idx="2708">
                  <c:v>43887</c:v>
                </c:pt>
                <c:pt idx="2709">
                  <c:v>43888</c:v>
                </c:pt>
                <c:pt idx="2710">
                  <c:v>43889</c:v>
                </c:pt>
                <c:pt idx="2711">
                  <c:v>43892</c:v>
                </c:pt>
                <c:pt idx="2712">
                  <c:v>43893</c:v>
                </c:pt>
                <c:pt idx="2713">
                  <c:v>43894</c:v>
                </c:pt>
                <c:pt idx="2714">
                  <c:v>43895</c:v>
                </c:pt>
                <c:pt idx="2715">
                  <c:v>43896</c:v>
                </c:pt>
                <c:pt idx="2716">
                  <c:v>43899</c:v>
                </c:pt>
                <c:pt idx="2717">
                  <c:v>43900</c:v>
                </c:pt>
                <c:pt idx="2718">
                  <c:v>43901</c:v>
                </c:pt>
                <c:pt idx="2719">
                  <c:v>43902</c:v>
                </c:pt>
                <c:pt idx="2720">
                  <c:v>43903</c:v>
                </c:pt>
                <c:pt idx="2721">
                  <c:v>43906</c:v>
                </c:pt>
                <c:pt idx="2722">
                  <c:v>43907</c:v>
                </c:pt>
                <c:pt idx="2723">
                  <c:v>43908</c:v>
                </c:pt>
                <c:pt idx="2724">
                  <c:v>43909</c:v>
                </c:pt>
                <c:pt idx="2725">
                  <c:v>43910</c:v>
                </c:pt>
                <c:pt idx="2726">
                  <c:v>43913</c:v>
                </c:pt>
                <c:pt idx="2727">
                  <c:v>43914</c:v>
                </c:pt>
                <c:pt idx="2728">
                  <c:v>43915</c:v>
                </c:pt>
                <c:pt idx="2729">
                  <c:v>43916</c:v>
                </c:pt>
                <c:pt idx="2730">
                  <c:v>43917</c:v>
                </c:pt>
                <c:pt idx="2731">
                  <c:v>43920</c:v>
                </c:pt>
                <c:pt idx="2732">
                  <c:v>43921</c:v>
                </c:pt>
                <c:pt idx="2733">
                  <c:v>43922</c:v>
                </c:pt>
                <c:pt idx="2734">
                  <c:v>43923</c:v>
                </c:pt>
                <c:pt idx="2735">
                  <c:v>43924</c:v>
                </c:pt>
                <c:pt idx="2736">
                  <c:v>43928</c:v>
                </c:pt>
                <c:pt idx="2737">
                  <c:v>43929</c:v>
                </c:pt>
                <c:pt idx="2738">
                  <c:v>43930</c:v>
                </c:pt>
                <c:pt idx="2739">
                  <c:v>43931</c:v>
                </c:pt>
                <c:pt idx="2740">
                  <c:v>43934</c:v>
                </c:pt>
                <c:pt idx="2741">
                  <c:v>43935</c:v>
                </c:pt>
                <c:pt idx="2742">
                  <c:v>43936</c:v>
                </c:pt>
                <c:pt idx="2743">
                  <c:v>43937</c:v>
                </c:pt>
                <c:pt idx="2744">
                  <c:v>43938</c:v>
                </c:pt>
                <c:pt idx="2745">
                  <c:v>43941</c:v>
                </c:pt>
                <c:pt idx="2746">
                  <c:v>43942</c:v>
                </c:pt>
                <c:pt idx="2747">
                  <c:v>43943</c:v>
                </c:pt>
                <c:pt idx="2748">
                  <c:v>43944</c:v>
                </c:pt>
                <c:pt idx="2749">
                  <c:v>43945</c:v>
                </c:pt>
                <c:pt idx="2750">
                  <c:v>43948</c:v>
                </c:pt>
                <c:pt idx="2751">
                  <c:v>43949</c:v>
                </c:pt>
                <c:pt idx="2752">
                  <c:v>43950</c:v>
                </c:pt>
                <c:pt idx="2753">
                  <c:v>43951</c:v>
                </c:pt>
                <c:pt idx="2754">
                  <c:v>43957</c:v>
                </c:pt>
                <c:pt idx="2755">
                  <c:v>43958</c:v>
                </c:pt>
                <c:pt idx="2756">
                  <c:v>43959</c:v>
                </c:pt>
                <c:pt idx="2757">
                  <c:v>43962</c:v>
                </c:pt>
                <c:pt idx="2758">
                  <c:v>43963</c:v>
                </c:pt>
                <c:pt idx="2759">
                  <c:v>43964</c:v>
                </c:pt>
                <c:pt idx="2760">
                  <c:v>43965</c:v>
                </c:pt>
                <c:pt idx="2761">
                  <c:v>43966</c:v>
                </c:pt>
                <c:pt idx="2762">
                  <c:v>43969</c:v>
                </c:pt>
                <c:pt idx="2763">
                  <c:v>43970</c:v>
                </c:pt>
                <c:pt idx="2764">
                  <c:v>43971</c:v>
                </c:pt>
                <c:pt idx="2765">
                  <c:v>43972</c:v>
                </c:pt>
                <c:pt idx="2766">
                  <c:v>43973</c:v>
                </c:pt>
                <c:pt idx="2767">
                  <c:v>43976</c:v>
                </c:pt>
                <c:pt idx="2768">
                  <c:v>43977</c:v>
                </c:pt>
                <c:pt idx="2769">
                  <c:v>43978</c:v>
                </c:pt>
                <c:pt idx="2770">
                  <c:v>43979</c:v>
                </c:pt>
                <c:pt idx="2771">
                  <c:v>43980</c:v>
                </c:pt>
                <c:pt idx="2772">
                  <c:v>43983</c:v>
                </c:pt>
                <c:pt idx="2773">
                  <c:v>43984</c:v>
                </c:pt>
                <c:pt idx="2774">
                  <c:v>43985</c:v>
                </c:pt>
                <c:pt idx="2775">
                  <c:v>43986</c:v>
                </c:pt>
                <c:pt idx="2776">
                  <c:v>43987</c:v>
                </c:pt>
                <c:pt idx="2777">
                  <c:v>43990</c:v>
                </c:pt>
                <c:pt idx="2778">
                  <c:v>43991</c:v>
                </c:pt>
                <c:pt idx="2779">
                  <c:v>43992</c:v>
                </c:pt>
                <c:pt idx="2780">
                  <c:v>43993</c:v>
                </c:pt>
                <c:pt idx="2781">
                  <c:v>43994</c:v>
                </c:pt>
                <c:pt idx="2782">
                  <c:v>43997</c:v>
                </c:pt>
                <c:pt idx="2783">
                  <c:v>43998</c:v>
                </c:pt>
                <c:pt idx="2784">
                  <c:v>43999</c:v>
                </c:pt>
                <c:pt idx="2785">
                  <c:v>44000</c:v>
                </c:pt>
                <c:pt idx="2786">
                  <c:v>44001</c:v>
                </c:pt>
                <c:pt idx="2787">
                  <c:v>44004</c:v>
                </c:pt>
                <c:pt idx="2788">
                  <c:v>44005</c:v>
                </c:pt>
                <c:pt idx="2789">
                  <c:v>44006</c:v>
                </c:pt>
                <c:pt idx="2790">
                  <c:v>44011</c:v>
                </c:pt>
                <c:pt idx="2791">
                  <c:v>44012</c:v>
                </c:pt>
                <c:pt idx="2792">
                  <c:v>44013</c:v>
                </c:pt>
                <c:pt idx="2793">
                  <c:v>44014</c:v>
                </c:pt>
                <c:pt idx="2794">
                  <c:v>44015</c:v>
                </c:pt>
                <c:pt idx="2795">
                  <c:v>44018</c:v>
                </c:pt>
                <c:pt idx="2796">
                  <c:v>44019</c:v>
                </c:pt>
                <c:pt idx="2797">
                  <c:v>44020</c:v>
                </c:pt>
                <c:pt idx="2798">
                  <c:v>44021</c:v>
                </c:pt>
                <c:pt idx="2799">
                  <c:v>44022</c:v>
                </c:pt>
                <c:pt idx="2800">
                  <c:v>44025</c:v>
                </c:pt>
                <c:pt idx="2801">
                  <c:v>44026</c:v>
                </c:pt>
                <c:pt idx="2802">
                  <c:v>44027</c:v>
                </c:pt>
                <c:pt idx="2803">
                  <c:v>44028</c:v>
                </c:pt>
                <c:pt idx="2804">
                  <c:v>44029</c:v>
                </c:pt>
                <c:pt idx="2805">
                  <c:v>44032</c:v>
                </c:pt>
                <c:pt idx="2806">
                  <c:v>44033</c:v>
                </c:pt>
                <c:pt idx="2807">
                  <c:v>44034</c:v>
                </c:pt>
                <c:pt idx="2808">
                  <c:v>44035</c:v>
                </c:pt>
                <c:pt idx="2809">
                  <c:v>44036</c:v>
                </c:pt>
                <c:pt idx="2810">
                  <c:v>44039</c:v>
                </c:pt>
                <c:pt idx="2811">
                  <c:v>44040</c:v>
                </c:pt>
                <c:pt idx="2812">
                  <c:v>44041</c:v>
                </c:pt>
                <c:pt idx="2813">
                  <c:v>44042</c:v>
                </c:pt>
                <c:pt idx="2814">
                  <c:v>44043</c:v>
                </c:pt>
                <c:pt idx="2815">
                  <c:v>44046</c:v>
                </c:pt>
                <c:pt idx="2816">
                  <c:v>44047</c:v>
                </c:pt>
                <c:pt idx="2817">
                  <c:v>44048</c:v>
                </c:pt>
                <c:pt idx="2818">
                  <c:v>44049</c:v>
                </c:pt>
                <c:pt idx="2819">
                  <c:v>44050</c:v>
                </c:pt>
                <c:pt idx="2820">
                  <c:v>44053</c:v>
                </c:pt>
                <c:pt idx="2821">
                  <c:v>44054</c:v>
                </c:pt>
                <c:pt idx="2822">
                  <c:v>44055</c:v>
                </c:pt>
                <c:pt idx="2823">
                  <c:v>44056</c:v>
                </c:pt>
                <c:pt idx="2824">
                  <c:v>44057</c:v>
                </c:pt>
                <c:pt idx="2825">
                  <c:v>44060</c:v>
                </c:pt>
                <c:pt idx="2826">
                  <c:v>44061</c:v>
                </c:pt>
                <c:pt idx="2827">
                  <c:v>44062</c:v>
                </c:pt>
                <c:pt idx="2828">
                  <c:v>44063</c:v>
                </c:pt>
                <c:pt idx="2829">
                  <c:v>44064</c:v>
                </c:pt>
                <c:pt idx="2830">
                  <c:v>44067</c:v>
                </c:pt>
                <c:pt idx="2831">
                  <c:v>44068</c:v>
                </c:pt>
                <c:pt idx="2832">
                  <c:v>44069</c:v>
                </c:pt>
                <c:pt idx="2833">
                  <c:v>44070</c:v>
                </c:pt>
                <c:pt idx="2834">
                  <c:v>44071</c:v>
                </c:pt>
                <c:pt idx="2835">
                  <c:v>44074</c:v>
                </c:pt>
                <c:pt idx="2836">
                  <c:v>44075</c:v>
                </c:pt>
                <c:pt idx="2837">
                  <c:v>44076</c:v>
                </c:pt>
                <c:pt idx="2838">
                  <c:v>44077</c:v>
                </c:pt>
                <c:pt idx="2839">
                  <c:v>44078</c:v>
                </c:pt>
                <c:pt idx="2840">
                  <c:v>44081</c:v>
                </c:pt>
                <c:pt idx="2841">
                  <c:v>44082</c:v>
                </c:pt>
                <c:pt idx="2842">
                  <c:v>44083</c:v>
                </c:pt>
                <c:pt idx="2843">
                  <c:v>44084</c:v>
                </c:pt>
                <c:pt idx="2844">
                  <c:v>44085</c:v>
                </c:pt>
                <c:pt idx="2845">
                  <c:v>44088</c:v>
                </c:pt>
                <c:pt idx="2846">
                  <c:v>44089</c:v>
                </c:pt>
                <c:pt idx="2847">
                  <c:v>44090</c:v>
                </c:pt>
                <c:pt idx="2848">
                  <c:v>44091</c:v>
                </c:pt>
                <c:pt idx="2849">
                  <c:v>44092</c:v>
                </c:pt>
                <c:pt idx="2850">
                  <c:v>44095</c:v>
                </c:pt>
                <c:pt idx="2851">
                  <c:v>44096</c:v>
                </c:pt>
                <c:pt idx="2852">
                  <c:v>44097</c:v>
                </c:pt>
                <c:pt idx="2853">
                  <c:v>44098</c:v>
                </c:pt>
                <c:pt idx="2854">
                  <c:v>44099</c:v>
                </c:pt>
                <c:pt idx="2855">
                  <c:v>44102</c:v>
                </c:pt>
                <c:pt idx="2856">
                  <c:v>44103</c:v>
                </c:pt>
                <c:pt idx="2857">
                  <c:v>44104</c:v>
                </c:pt>
                <c:pt idx="2858">
                  <c:v>44113</c:v>
                </c:pt>
                <c:pt idx="2859">
                  <c:v>44116</c:v>
                </c:pt>
                <c:pt idx="2860">
                  <c:v>44117</c:v>
                </c:pt>
                <c:pt idx="2861">
                  <c:v>44118</c:v>
                </c:pt>
                <c:pt idx="2862">
                  <c:v>44119</c:v>
                </c:pt>
                <c:pt idx="2863">
                  <c:v>44120</c:v>
                </c:pt>
                <c:pt idx="2864">
                  <c:v>44123</c:v>
                </c:pt>
                <c:pt idx="2865">
                  <c:v>44124</c:v>
                </c:pt>
                <c:pt idx="2866">
                  <c:v>44125</c:v>
                </c:pt>
                <c:pt idx="2867">
                  <c:v>44126</c:v>
                </c:pt>
                <c:pt idx="2868">
                  <c:v>44127</c:v>
                </c:pt>
                <c:pt idx="2869">
                  <c:v>44130</c:v>
                </c:pt>
                <c:pt idx="2870">
                  <c:v>44131</c:v>
                </c:pt>
                <c:pt idx="2871">
                  <c:v>44132</c:v>
                </c:pt>
                <c:pt idx="2872">
                  <c:v>44133</c:v>
                </c:pt>
                <c:pt idx="2873">
                  <c:v>44134</c:v>
                </c:pt>
                <c:pt idx="2874">
                  <c:v>44137</c:v>
                </c:pt>
                <c:pt idx="2875">
                  <c:v>44138</c:v>
                </c:pt>
                <c:pt idx="2876">
                  <c:v>44139</c:v>
                </c:pt>
                <c:pt idx="2877">
                  <c:v>44140</c:v>
                </c:pt>
                <c:pt idx="2878">
                  <c:v>44141</c:v>
                </c:pt>
                <c:pt idx="2879">
                  <c:v>44144</c:v>
                </c:pt>
                <c:pt idx="2880">
                  <c:v>44145</c:v>
                </c:pt>
                <c:pt idx="2881">
                  <c:v>44146</c:v>
                </c:pt>
                <c:pt idx="2882">
                  <c:v>44147</c:v>
                </c:pt>
                <c:pt idx="2883">
                  <c:v>44148</c:v>
                </c:pt>
                <c:pt idx="2884">
                  <c:v>44151</c:v>
                </c:pt>
                <c:pt idx="2885">
                  <c:v>44152</c:v>
                </c:pt>
                <c:pt idx="2886">
                  <c:v>44153</c:v>
                </c:pt>
                <c:pt idx="2887">
                  <c:v>44154</c:v>
                </c:pt>
                <c:pt idx="2888">
                  <c:v>44155</c:v>
                </c:pt>
                <c:pt idx="2889">
                  <c:v>44158</c:v>
                </c:pt>
                <c:pt idx="2890">
                  <c:v>44159</c:v>
                </c:pt>
                <c:pt idx="2891">
                  <c:v>44160</c:v>
                </c:pt>
                <c:pt idx="2892">
                  <c:v>44161</c:v>
                </c:pt>
                <c:pt idx="2893">
                  <c:v>44162</c:v>
                </c:pt>
                <c:pt idx="2894">
                  <c:v>44165</c:v>
                </c:pt>
                <c:pt idx="2895">
                  <c:v>44166</c:v>
                </c:pt>
                <c:pt idx="2896">
                  <c:v>44167</c:v>
                </c:pt>
                <c:pt idx="2897">
                  <c:v>44168</c:v>
                </c:pt>
                <c:pt idx="2898">
                  <c:v>44169</c:v>
                </c:pt>
                <c:pt idx="2899">
                  <c:v>44172</c:v>
                </c:pt>
                <c:pt idx="2900">
                  <c:v>44173</c:v>
                </c:pt>
                <c:pt idx="2901">
                  <c:v>44174</c:v>
                </c:pt>
                <c:pt idx="2902">
                  <c:v>44175</c:v>
                </c:pt>
                <c:pt idx="2903">
                  <c:v>44176</c:v>
                </c:pt>
                <c:pt idx="2904">
                  <c:v>44179</c:v>
                </c:pt>
                <c:pt idx="2905">
                  <c:v>44180</c:v>
                </c:pt>
                <c:pt idx="2906">
                  <c:v>44181</c:v>
                </c:pt>
                <c:pt idx="2907">
                  <c:v>44182</c:v>
                </c:pt>
                <c:pt idx="2908">
                  <c:v>44183</c:v>
                </c:pt>
                <c:pt idx="2909">
                  <c:v>44186</c:v>
                </c:pt>
                <c:pt idx="2910">
                  <c:v>44187</c:v>
                </c:pt>
                <c:pt idx="2911">
                  <c:v>44188</c:v>
                </c:pt>
                <c:pt idx="2912">
                  <c:v>44189</c:v>
                </c:pt>
                <c:pt idx="2913">
                  <c:v>44190</c:v>
                </c:pt>
                <c:pt idx="2914">
                  <c:v>44193</c:v>
                </c:pt>
                <c:pt idx="2915">
                  <c:v>44194</c:v>
                </c:pt>
                <c:pt idx="2916">
                  <c:v>44195</c:v>
                </c:pt>
                <c:pt idx="2917">
                  <c:v>44196</c:v>
                </c:pt>
                <c:pt idx="2918">
                  <c:v>44200</c:v>
                </c:pt>
                <c:pt idx="2919">
                  <c:v>44201</c:v>
                </c:pt>
                <c:pt idx="2920">
                  <c:v>44202</c:v>
                </c:pt>
                <c:pt idx="2921">
                  <c:v>44203</c:v>
                </c:pt>
                <c:pt idx="2922">
                  <c:v>44204</c:v>
                </c:pt>
                <c:pt idx="2923">
                  <c:v>44207</c:v>
                </c:pt>
                <c:pt idx="2924">
                  <c:v>44208</c:v>
                </c:pt>
                <c:pt idx="2925">
                  <c:v>44209</c:v>
                </c:pt>
                <c:pt idx="2926">
                  <c:v>44210</c:v>
                </c:pt>
                <c:pt idx="2927">
                  <c:v>44211</c:v>
                </c:pt>
                <c:pt idx="2928">
                  <c:v>44214</c:v>
                </c:pt>
                <c:pt idx="2929">
                  <c:v>44215</c:v>
                </c:pt>
                <c:pt idx="2930">
                  <c:v>44216</c:v>
                </c:pt>
                <c:pt idx="2931">
                  <c:v>44217</c:v>
                </c:pt>
                <c:pt idx="2932">
                  <c:v>44218</c:v>
                </c:pt>
                <c:pt idx="2933">
                  <c:v>44221</c:v>
                </c:pt>
                <c:pt idx="2934">
                  <c:v>44222</c:v>
                </c:pt>
                <c:pt idx="2935">
                  <c:v>44223</c:v>
                </c:pt>
                <c:pt idx="2936">
                  <c:v>44224</c:v>
                </c:pt>
                <c:pt idx="2937">
                  <c:v>44225</c:v>
                </c:pt>
                <c:pt idx="2938">
                  <c:v>44228</c:v>
                </c:pt>
                <c:pt idx="2939">
                  <c:v>44229</c:v>
                </c:pt>
                <c:pt idx="2940">
                  <c:v>44230</c:v>
                </c:pt>
                <c:pt idx="2941">
                  <c:v>44231</c:v>
                </c:pt>
                <c:pt idx="2942">
                  <c:v>44232</c:v>
                </c:pt>
                <c:pt idx="2943">
                  <c:v>44235</c:v>
                </c:pt>
                <c:pt idx="2944">
                  <c:v>44236</c:v>
                </c:pt>
                <c:pt idx="2945">
                  <c:v>44237</c:v>
                </c:pt>
                <c:pt idx="2946">
                  <c:v>44245</c:v>
                </c:pt>
                <c:pt idx="2947">
                  <c:v>44246</c:v>
                </c:pt>
                <c:pt idx="2948">
                  <c:v>44249</c:v>
                </c:pt>
                <c:pt idx="2949">
                  <c:v>44250</c:v>
                </c:pt>
                <c:pt idx="2950">
                  <c:v>44251</c:v>
                </c:pt>
                <c:pt idx="2951">
                  <c:v>44252</c:v>
                </c:pt>
                <c:pt idx="2952">
                  <c:v>44253</c:v>
                </c:pt>
                <c:pt idx="2953">
                  <c:v>44256</c:v>
                </c:pt>
                <c:pt idx="2954">
                  <c:v>44257</c:v>
                </c:pt>
                <c:pt idx="2955">
                  <c:v>44258</c:v>
                </c:pt>
                <c:pt idx="2956">
                  <c:v>44259</c:v>
                </c:pt>
                <c:pt idx="2957">
                  <c:v>44260</c:v>
                </c:pt>
                <c:pt idx="2958">
                  <c:v>44263</c:v>
                </c:pt>
                <c:pt idx="2959">
                  <c:v>44264</c:v>
                </c:pt>
                <c:pt idx="2960">
                  <c:v>44265</c:v>
                </c:pt>
                <c:pt idx="2961">
                  <c:v>44266</c:v>
                </c:pt>
                <c:pt idx="2962">
                  <c:v>44267</c:v>
                </c:pt>
                <c:pt idx="2963">
                  <c:v>44270</c:v>
                </c:pt>
                <c:pt idx="2964">
                  <c:v>44271</c:v>
                </c:pt>
                <c:pt idx="2965">
                  <c:v>44272</c:v>
                </c:pt>
                <c:pt idx="2966">
                  <c:v>44273</c:v>
                </c:pt>
                <c:pt idx="2967">
                  <c:v>44274</c:v>
                </c:pt>
                <c:pt idx="2968">
                  <c:v>44277</c:v>
                </c:pt>
                <c:pt idx="2969">
                  <c:v>44278</c:v>
                </c:pt>
                <c:pt idx="2970">
                  <c:v>44279</c:v>
                </c:pt>
                <c:pt idx="2971">
                  <c:v>44280</c:v>
                </c:pt>
                <c:pt idx="2972">
                  <c:v>44281</c:v>
                </c:pt>
                <c:pt idx="2973">
                  <c:v>44284</c:v>
                </c:pt>
                <c:pt idx="2974">
                  <c:v>44285</c:v>
                </c:pt>
                <c:pt idx="2975">
                  <c:v>44286</c:v>
                </c:pt>
                <c:pt idx="2976">
                  <c:v>44287</c:v>
                </c:pt>
                <c:pt idx="2977">
                  <c:v>44288</c:v>
                </c:pt>
                <c:pt idx="2978">
                  <c:v>44292</c:v>
                </c:pt>
                <c:pt idx="2979">
                  <c:v>44293</c:v>
                </c:pt>
                <c:pt idx="2980">
                  <c:v>44294</c:v>
                </c:pt>
                <c:pt idx="2981">
                  <c:v>44295</c:v>
                </c:pt>
                <c:pt idx="2982">
                  <c:v>44298</c:v>
                </c:pt>
                <c:pt idx="2983">
                  <c:v>44299</c:v>
                </c:pt>
                <c:pt idx="2984">
                  <c:v>44300</c:v>
                </c:pt>
                <c:pt idx="2985">
                  <c:v>44301</c:v>
                </c:pt>
                <c:pt idx="2986">
                  <c:v>44302</c:v>
                </c:pt>
                <c:pt idx="2987">
                  <c:v>44305</c:v>
                </c:pt>
                <c:pt idx="2988">
                  <c:v>44306</c:v>
                </c:pt>
                <c:pt idx="2989">
                  <c:v>44307</c:v>
                </c:pt>
                <c:pt idx="2990">
                  <c:v>44308</c:v>
                </c:pt>
                <c:pt idx="2991">
                  <c:v>44309</c:v>
                </c:pt>
                <c:pt idx="2992">
                  <c:v>44312</c:v>
                </c:pt>
                <c:pt idx="2993">
                  <c:v>44313</c:v>
                </c:pt>
                <c:pt idx="2994">
                  <c:v>44314</c:v>
                </c:pt>
                <c:pt idx="2995">
                  <c:v>44315</c:v>
                </c:pt>
                <c:pt idx="2996">
                  <c:v>44316</c:v>
                </c:pt>
                <c:pt idx="2997">
                  <c:v>44322</c:v>
                </c:pt>
                <c:pt idx="2998">
                  <c:v>44323</c:v>
                </c:pt>
                <c:pt idx="2999">
                  <c:v>44326</c:v>
                </c:pt>
                <c:pt idx="3000">
                  <c:v>44327</c:v>
                </c:pt>
                <c:pt idx="3001">
                  <c:v>44328</c:v>
                </c:pt>
                <c:pt idx="3002">
                  <c:v>44329</c:v>
                </c:pt>
                <c:pt idx="3003">
                  <c:v>44330</c:v>
                </c:pt>
                <c:pt idx="3004">
                  <c:v>44333</c:v>
                </c:pt>
                <c:pt idx="3005">
                  <c:v>44334</c:v>
                </c:pt>
                <c:pt idx="3006">
                  <c:v>44335</c:v>
                </c:pt>
                <c:pt idx="3007">
                  <c:v>44336</c:v>
                </c:pt>
                <c:pt idx="3008">
                  <c:v>44337</c:v>
                </c:pt>
                <c:pt idx="3009">
                  <c:v>44340</c:v>
                </c:pt>
                <c:pt idx="3010">
                  <c:v>44341</c:v>
                </c:pt>
                <c:pt idx="3011">
                  <c:v>44342</c:v>
                </c:pt>
                <c:pt idx="3012">
                  <c:v>44343</c:v>
                </c:pt>
                <c:pt idx="3013">
                  <c:v>44344</c:v>
                </c:pt>
                <c:pt idx="3014">
                  <c:v>44347</c:v>
                </c:pt>
                <c:pt idx="3015">
                  <c:v>44348</c:v>
                </c:pt>
                <c:pt idx="3016">
                  <c:v>44349</c:v>
                </c:pt>
                <c:pt idx="3017">
                  <c:v>44350</c:v>
                </c:pt>
                <c:pt idx="3018">
                  <c:v>44351</c:v>
                </c:pt>
                <c:pt idx="3019">
                  <c:v>44354</c:v>
                </c:pt>
                <c:pt idx="3020">
                  <c:v>44355</c:v>
                </c:pt>
                <c:pt idx="3021">
                  <c:v>44356</c:v>
                </c:pt>
                <c:pt idx="3022">
                  <c:v>44357</c:v>
                </c:pt>
                <c:pt idx="3023">
                  <c:v>44358</c:v>
                </c:pt>
                <c:pt idx="3024">
                  <c:v>44362</c:v>
                </c:pt>
                <c:pt idx="3025">
                  <c:v>44363</c:v>
                </c:pt>
                <c:pt idx="3026">
                  <c:v>44364</c:v>
                </c:pt>
                <c:pt idx="3027">
                  <c:v>44365</c:v>
                </c:pt>
                <c:pt idx="3028">
                  <c:v>44368</c:v>
                </c:pt>
                <c:pt idx="3029">
                  <c:v>44369</c:v>
                </c:pt>
                <c:pt idx="3030">
                  <c:v>44370</c:v>
                </c:pt>
                <c:pt idx="3031">
                  <c:v>44371</c:v>
                </c:pt>
                <c:pt idx="3032">
                  <c:v>44372</c:v>
                </c:pt>
                <c:pt idx="3033">
                  <c:v>44375</c:v>
                </c:pt>
                <c:pt idx="3034">
                  <c:v>44376</c:v>
                </c:pt>
                <c:pt idx="3035">
                  <c:v>44377</c:v>
                </c:pt>
                <c:pt idx="3036">
                  <c:v>44378</c:v>
                </c:pt>
                <c:pt idx="3037">
                  <c:v>44379</c:v>
                </c:pt>
                <c:pt idx="3038">
                  <c:v>44382</c:v>
                </c:pt>
                <c:pt idx="3039">
                  <c:v>44383</c:v>
                </c:pt>
                <c:pt idx="3040">
                  <c:v>44384</c:v>
                </c:pt>
                <c:pt idx="3041">
                  <c:v>44385</c:v>
                </c:pt>
                <c:pt idx="3042">
                  <c:v>44386</c:v>
                </c:pt>
                <c:pt idx="3043">
                  <c:v>44389</c:v>
                </c:pt>
                <c:pt idx="3044">
                  <c:v>44390</c:v>
                </c:pt>
                <c:pt idx="3045">
                  <c:v>44391</c:v>
                </c:pt>
                <c:pt idx="3046">
                  <c:v>44392</c:v>
                </c:pt>
                <c:pt idx="3047">
                  <c:v>44393</c:v>
                </c:pt>
                <c:pt idx="3048">
                  <c:v>44396</c:v>
                </c:pt>
                <c:pt idx="3049">
                  <c:v>44397</c:v>
                </c:pt>
                <c:pt idx="3050">
                  <c:v>44398</c:v>
                </c:pt>
                <c:pt idx="3051">
                  <c:v>44399</c:v>
                </c:pt>
                <c:pt idx="3052">
                  <c:v>44400</c:v>
                </c:pt>
                <c:pt idx="3053">
                  <c:v>44403</c:v>
                </c:pt>
                <c:pt idx="3054">
                  <c:v>44404</c:v>
                </c:pt>
                <c:pt idx="3055">
                  <c:v>44405</c:v>
                </c:pt>
                <c:pt idx="3056">
                  <c:v>44406</c:v>
                </c:pt>
                <c:pt idx="3057">
                  <c:v>44407</c:v>
                </c:pt>
                <c:pt idx="3058">
                  <c:v>44410</c:v>
                </c:pt>
                <c:pt idx="3059">
                  <c:v>44411</c:v>
                </c:pt>
                <c:pt idx="3060">
                  <c:v>44412</c:v>
                </c:pt>
                <c:pt idx="3061">
                  <c:v>44413</c:v>
                </c:pt>
                <c:pt idx="3062">
                  <c:v>44414</c:v>
                </c:pt>
                <c:pt idx="3063">
                  <c:v>44417</c:v>
                </c:pt>
                <c:pt idx="3064">
                  <c:v>44418</c:v>
                </c:pt>
                <c:pt idx="3065">
                  <c:v>44419</c:v>
                </c:pt>
                <c:pt idx="3066">
                  <c:v>44420</c:v>
                </c:pt>
                <c:pt idx="3067">
                  <c:v>44421</c:v>
                </c:pt>
                <c:pt idx="3068">
                  <c:v>44424</c:v>
                </c:pt>
                <c:pt idx="3069">
                  <c:v>44425</c:v>
                </c:pt>
                <c:pt idx="3070">
                  <c:v>44426</c:v>
                </c:pt>
                <c:pt idx="3071">
                  <c:v>44427</c:v>
                </c:pt>
                <c:pt idx="3072">
                  <c:v>44428</c:v>
                </c:pt>
                <c:pt idx="3073">
                  <c:v>44431</c:v>
                </c:pt>
                <c:pt idx="3074">
                  <c:v>44432</c:v>
                </c:pt>
                <c:pt idx="3075">
                  <c:v>44433</c:v>
                </c:pt>
                <c:pt idx="3076">
                  <c:v>44434</c:v>
                </c:pt>
                <c:pt idx="3077">
                  <c:v>44435</c:v>
                </c:pt>
                <c:pt idx="3078">
                  <c:v>44438</c:v>
                </c:pt>
                <c:pt idx="3079">
                  <c:v>44439</c:v>
                </c:pt>
                <c:pt idx="3080">
                  <c:v>44440</c:v>
                </c:pt>
                <c:pt idx="3081">
                  <c:v>44441</c:v>
                </c:pt>
                <c:pt idx="3082">
                  <c:v>44442</c:v>
                </c:pt>
                <c:pt idx="3083">
                  <c:v>44445</c:v>
                </c:pt>
                <c:pt idx="3084">
                  <c:v>44446</c:v>
                </c:pt>
                <c:pt idx="3085">
                  <c:v>44447</c:v>
                </c:pt>
                <c:pt idx="3086">
                  <c:v>44448</c:v>
                </c:pt>
                <c:pt idx="3087">
                  <c:v>44449</c:v>
                </c:pt>
                <c:pt idx="3088">
                  <c:v>44452</c:v>
                </c:pt>
                <c:pt idx="3089">
                  <c:v>44453</c:v>
                </c:pt>
                <c:pt idx="3090">
                  <c:v>44454</c:v>
                </c:pt>
                <c:pt idx="3091">
                  <c:v>44455</c:v>
                </c:pt>
                <c:pt idx="3092">
                  <c:v>44456</c:v>
                </c:pt>
                <c:pt idx="3093">
                  <c:v>44461</c:v>
                </c:pt>
                <c:pt idx="3094">
                  <c:v>44462</c:v>
                </c:pt>
                <c:pt idx="3095">
                  <c:v>44463</c:v>
                </c:pt>
                <c:pt idx="3096">
                  <c:v>44466</c:v>
                </c:pt>
                <c:pt idx="3097">
                  <c:v>44467</c:v>
                </c:pt>
                <c:pt idx="3098">
                  <c:v>44468</c:v>
                </c:pt>
                <c:pt idx="3099">
                  <c:v>44469</c:v>
                </c:pt>
                <c:pt idx="3100">
                  <c:v>44477</c:v>
                </c:pt>
                <c:pt idx="3101">
                  <c:v>44480</c:v>
                </c:pt>
                <c:pt idx="3102">
                  <c:v>44481</c:v>
                </c:pt>
                <c:pt idx="3103">
                  <c:v>44482</c:v>
                </c:pt>
                <c:pt idx="3104">
                  <c:v>44483</c:v>
                </c:pt>
                <c:pt idx="3105">
                  <c:v>44484</c:v>
                </c:pt>
                <c:pt idx="3106">
                  <c:v>44487</c:v>
                </c:pt>
                <c:pt idx="3107">
                  <c:v>44488</c:v>
                </c:pt>
                <c:pt idx="3108">
                  <c:v>44489</c:v>
                </c:pt>
                <c:pt idx="3109">
                  <c:v>44490</c:v>
                </c:pt>
                <c:pt idx="3110">
                  <c:v>44491</c:v>
                </c:pt>
                <c:pt idx="3111">
                  <c:v>44494</c:v>
                </c:pt>
                <c:pt idx="3112">
                  <c:v>44495</c:v>
                </c:pt>
                <c:pt idx="3113">
                  <c:v>44496</c:v>
                </c:pt>
                <c:pt idx="3114">
                  <c:v>44497</c:v>
                </c:pt>
                <c:pt idx="3115">
                  <c:v>44498</c:v>
                </c:pt>
                <c:pt idx="3116">
                  <c:v>44501</c:v>
                </c:pt>
                <c:pt idx="3117">
                  <c:v>44502</c:v>
                </c:pt>
                <c:pt idx="3118">
                  <c:v>44503</c:v>
                </c:pt>
                <c:pt idx="3119">
                  <c:v>44504</c:v>
                </c:pt>
                <c:pt idx="3120">
                  <c:v>44505</c:v>
                </c:pt>
                <c:pt idx="3121">
                  <c:v>44508</c:v>
                </c:pt>
                <c:pt idx="3122">
                  <c:v>44509</c:v>
                </c:pt>
                <c:pt idx="3123">
                  <c:v>44510</c:v>
                </c:pt>
                <c:pt idx="3124">
                  <c:v>44511</c:v>
                </c:pt>
                <c:pt idx="3125">
                  <c:v>44512</c:v>
                </c:pt>
                <c:pt idx="3126">
                  <c:v>44515</c:v>
                </c:pt>
                <c:pt idx="3127">
                  <c:v>44516</c:v>
                </c:pt>
                <c:pt idx="3128">
                  <c:v>44517</c:v>
                </c:pt>
                <c:pt idx="3129">
                  <c:v>44518</c:v>
                </c:pt>
                <c:pt idx="3130">
                  <c:v>44519</c:v>
                </c:pt>
                <c:pt idx="3131">
                  <c:v>44522</c:v>
                </c:pt>
                <c:pt idx="3132">
                  <c:v>44523</c:v>
                </c:pt>
                <c:pt idx="3133">
                  <c:v>44524</c:v>
                </c:pt>
                <c:pt idx="3134">
                  <c:v>44525</c:v>
                </c:pt>
                <c:pt idx="3135">
                  <c:v>44526</c:v>
                </c:pt>
                <c:pt idx="3136">
                  <c:v>44529</c:v>
                </c:pt>
                <c:pt idx="3137">
                  <c:v>44530</c:v>
                </c:pt>
                <c:pt idx="3138">
                  <c:v>44531</c:v>
                </c:pt>
                <c:pt idx="3139">
                  <c:v>44532</c:v>
                </c:pt>
                <c:pt idx="3140">
                  <c:v>44533</c:v>
                </c:pt>
                <c:pt idx="3141">
                  <c:v>44536</c:v>
                </c:pt>
                <c:pt idx="3142">
                  <c:v>44537</c:v>
                </c:pt>
                <c:pt idx="3143">
                  <c:v>44538</c:v>
                </c:pt>
                <c:pt idx="3144">
                  <c:v>44539</c:v>
                </c:pt>
                <c:pt idx="3145">
                  <c:v>44540</c:v>
                </c:pt>
                <c:pt idx="3146">
                  <c:v>44543</c:v>
                </c:pt>
                <c:pt idx="3147">
                  <c:v>44544</c:v>
                </c:pt>
                <c:pt idx="3148">
                  <c:v>44545</c:v>
                </c:pt>
                <c:pt idx="3149">
                  <c:v>44546</c:v>
                </c:pt>
                <c:pt idx="3150">
                  <c:v>44547</c:v>
                </c:pt>
                <c:pt idx="3151">
                  <c:v>44550</c:v>
                </c:pt>
                <c:pt idx="3152">
                  <c:v>44551</c:v>
                </c:pt>
                <c:pt idx="3153">
                  <c:v>44552</c:v>
                </c:pt>
                <c:pt idx="3154">
                  <c:v>44553</c:v>
                </c:pt>
                <c:pt idx="3155">
                  <c:v>44554</c:v>
                </c:pt>
                <c:pt idx="3156">
                  <c:v>44557</c:v>
                </c:pt>
                <c:pt idx="3157">
                  <c:v>44558</c:v>
                </c:pt>
                <c:pt idx="3158">
                  <c:v>44559</c:v>
                </c:pt>
                <c:pt idx="3159">
                  <c:v>44560</c:v>
                </c:pt>
                <c:pt idx="3160">
                  <c:v>44561</c:v>
                </c:pt>
                <c:pt idx="3161">
                  <c:v>44565</c:v>
                </c:pt>
                <c:pt idx="3162">
                  <c:v>44566</c:v>
                </c:pt>
                <c:pt idx="3163">
                  <c:v>44567</c:v>
                </c:pt>
                <c:pt idx="3164">
                  <c:v>44568</c:v>
                </c:pt>
                <c:pt idx="3165">
                  <c:v>44571</c:v>
                </c:pt>
                <c:pt idx="3166">
                  <c:v>44572</c:v>
                </c:pt>
                <c:pt idx="3167">
                  <c:v>44573</c:v>
                </c:pt>
                <c:pt idx="3168">
                  <c:v>44574</c:v>
                </c:pt>
                <c:pt idx="3169">
                  <c:v>44575</c:v>
                </c:pt>
                <c:pt idx="3170">
                  <c:v>44578</c:v>
                </c:pt>
                <c:pt idx="3171">
                  <c:v>44579</c:v>
                </c:pt>
                <c:pt idx="3172">
                  <c:v>44580</c:v>
                </c:pt>
                <c:pt idx="3173">
                  <c:v>44581</c:v>
                </c:pt>
                <c:pt idx="3174">
                  <c:v>44582</c:v>
                </c:pt>
                <c:pt idx="3175">
                  <c:v>44585</c:v>
                </c:pt>
                <c:pt idx="3176">
                  <c:v>44586</c:v>
                </c:pt>
                <c:pt idx="3177">
                  <c:v>44587</c:v>
                </c:pt>
                <c:pt idx="3178">
                  <c:v>44588</c:v>
                </c:pt>
                <c:pt idx="3179">
                  <c:v>44589</c:v>
                </c:pt>
                <c:pt idx="3180">
                  <c:v>44599</c:v>
                </c:pt>
                <c:pt idx="3181">
                  <c:v>44600</c:v>
                </c:pt>
                <c:pt idx="3182">
                  <c:v>44601</c:v>
                </c:pt>
                <c:pt idx="3183">
                  <c:v>44602</c:v>
                </c:pt>
                <c:pt idx="3184">
                  <c:v>44603</c:v>
                </c:pt>
                <c:pt idx="3185">
                  <c:v>44606</c:v>
                </c:pt>
                <c:pt idx="3186">
                  <c:v>44607</c:v>
                </c:pt>
                <c:pt idx="3187">
                  <c:v>44608</c:v>
                </c:pt>
                <c:pt idx="3188">
                  <c:v>44609</c:v>
                </c:pt>
                <c:pt idx="3189">
                  <c:v>44610</c:v>
                </c:pt>
                <c:pt idx="3190">
                  <c:v>44613</c:v>
                </c:pt>
                <c:pt idx="3191">
                  <c:v>44614</c:v>
                </c:pt>
                <c:pt idx="3192">
                  <c:v>44615</c:v>
                </c:pt>
                <c:pt idx="3193">
                  <c:v>44616</c:v>
                </c:pt>
                <c:pt idx="3194">
                  <c:v>44617</c:v>
                </c:pt>
                <c:pt idx="3195">
                  <c:v>44620</c:v>
                </c:pt>
                <c:pt idx="3196">
                  <c:v>44621</c:v>
                </c:pt>
                <c:pt idx="3197">
                  <c:v>44622</c:v>
                </c:pt>
                <c:pt idx="3198">
                  <c:v>44623</c:v>
                </c:pt>
                <c:pt idx="3199">
                  <c:v>44624</c:v>
                </c:pt>
                <c:pt idx="3200">
                  <c:v>44627</c:v>
                </c:pt>
                <c:pt idx="3201">
                  <c:v>44628</c:v>
                </c:pt>
                <c:pt idx="3202">
                  <c:v>44629</c:v>
                </c:pt>
                <c:pt idx="3203">
                  <c:v>44630</c:v>
                </c:pt>
                <c:pt idx="3204">
                  <c:v>44631</c:v>
                </c:pt>
                <c:pt idx="3205">
                  <c:v>44634</c:v>
                </c:pt>
                <c:pt idx="3206">
                  <c:v>44635</c:v>
                </c:pt>
                <c:pt idx="3207">
                  <c:v>44636</c:v>
                </c:pt>
                <c:pt idx="3208">
                  <c:v>44637</c:v>
                </c:pt>
                <c:pt idx="3209">
                  <c:v>44638</c:v>
                </c:pt>
                <c:pt idx="3210">
                  <c:v>44641</c:v>
                </c:pt>
                <c:pt idx="3211">
                  <c:v>44642</c:v>
                </c:pt>
                <c:pt idx="3212">
                  <c:v>44643</c:v>
                </c:pt>
                <c:pt idx="3213">
                  <c:v>44644</c:v>
                </c:pt>
                <c:pt idx="3214">
                  <c:v>44645</c:v>
                </c:pt>
                <c:pt idx="3215">
                  <c:v>44648</c:v>
                </c:pt>
                <c:pt idx="3216">
                  <c:v>44649</c:v>
                </c:pt>
                <c:pt idx="3217">
                  <c:v>44650</c:v>
                </c:pt>
                <c:pt idx="3218">
                  <c:v>44651</c:v>
                </c:pt>
                <c:pt idx="3219">
                  <c:v>44652</c:v>
                </c:pt>
                <c:pt idx="3220">
                  <c:v>44657</c:v>
                </c:pt>
                <c:pt idx="3221">
                  <c:v>44658</c:v>
                </c:pt>
                <c:pt idx="3222">
                  <c:v>44659</c:v>
                </c:pt>
              </c:numCache>
            </c:numRef>
          </c:cat>
          <c:val>
            <c:numRef>
              <c:f>indicators!$N$2:$N$3224</c:f>
              <c:numCache>
                <c:formatCode>General</c:formatCode>
                <c:ptCount val="3223"/>
                <c:pt idx="0">
                  <c:v>2.2727619020000001</c:v>
                </c:pt>
                <c:pt idx="1">
                  <c:v>2.2770492600000001</c:v>
                </c:pt>
                <c:pt idx="2">
                  <c:v>2.280133862</c:v>
                </c:pt>
                <c:pt idx="3">
                  <c:v>2.286296214</c:v>
                </c:pt>
                <c:pt idx="4">
                  <c:v>2.2919461210000001</c:v>
                </c:pt>
                <c:pt idx="5">
                  <c:v>2.2998351449999999</c:v>
                </c:pt>
                <c:pt idx="6">
                  <c:v>2.3057073680000002</c:v>
                </c:pt>
                <c:pt idx="7">
                  <c:v>2.320343512</c:v>
                </c:pt>
                <c:pt idx="8">
                  <c:v>2.3248361399999999</c:v>
                </c:pt>
                <c:pt idx="9">
                  <c:v>2.319189341</c:v>
                </c:pt>
                <c:pt idx="10">
                  <c:v>2.3197312069999998</c:v>
                </c:pt>
                <c:pt idx="11">
                  <c:v>2.327670489</c:v>
                </c:pt>
                <c:pt idx="12">
                  <c:v>2.3271299719999998</c:v>
                </c:pt>
                <c:pt idx="13">
                  <c:v>2.3322796609999998</c:v>
                </c:pt>
                <c:pt idx="14">
                  <c:v>2.332752208</c:v>
                </c:pt>
                <c:pt idx="15">
                  <c:v>2.3398698169999999</c:v>
                </c:pt>
                <c:pt idx="16">
                  <c:v>2.3379511430000002</c:v>
                </c:pt>
                <c:pt idx="17">
                  <c:v>2.3247211569999999</c:v>
                </c:pt>
                <c:pt idx="18">
                  <c:v>2.292179027</c:v>
                </c:pt>
                <c:pt idx="19">
                  <c:v>2.2854711440000002</c:v>
                </c:pt>
                <c:pt idx="20">
                  <c:v>2.2811523249999999</c:v>
                </c:pt>
                <c:pt idx="21">
                  <c:v>2.2737638750000002</c:v>
                </c:pt>
                <c:pt idx="22">
                  <c:v>2.2355648100000001</c:v>
                </c:pt>
                <c:pt idx="23">
                  <c:v>2.2231892929999999</c:v>
                </c:pt>
                <c:pt idx="24">
                  <c:v>2.2145095330000002</c:v>
                </c:pt>
                <c:pt idx="25">
                  <c:v>2.2005547640000001</c:v>
                </c:pt>
                <c:pt idx="26">
                  <c:v>2.1940990930000002</c:v>
                </c:pt>
                <c:pt idx="27">
                  <c:v>2.1647358780000001</c:v>
                </c:pt>
                <c:pt idx="28">
                  <c:v>2.1607397580000001</c:v>
                </c:pt>
                <c:pt idx="29">
                  <c:v>2.1541765060000002</c:v>
                </c:pt>
                <c:pt idx="30">
                  <c:v>2.1445950009999999</c:v>
                </c:pt>
                <c:pt idx="31">
                  <c:v>2.1393100220000001</c:v>
                </c:pt>
                <c:pt idx="32">
                  <c:v>2.1270390639999999</c:v>
                </c:pt>
                <c:pt idx="33">
                  <c:v>2.1264244830000001</c:v>
                </c:pt>
                <c:pt idx="34">
                  <c:v>2.1222737880000002</c:v>
                </c:pt>
                <c:pt idx="35">
                  <c:v>2.12146883</c:v>
                </c:pt>
                <c:pt idx="36">
                  <c:v>2.1164791350000001</c:v>
                </c:pt>
                <c:pt idx="37">
                  <c:v>2.12162089</c:v>
                </c:pt>
                <c:pt idx="38">
                  <c:v>2.108544975</c:v>
                </c:pt>
                <c:pt idx="39">
                  <c:v>2.098186133</c:v>
                </c:pt>
                <c:pt idx="40">
                  <c:v>2.0948595989999999</c:v>
                </c:pt>
                <c:pt idx="41">
                  <c:v>2.091848589</c:v>
                </c:pt>
                <c:pt idx="42">
                  <c:v>2.0870170250000002</c:v>
                </c:pt>
                <c:pt idx="43">
                  <c:v>2.0858893190000001</c:v>
                </c:pt>
                <c:pt idx="44">
                  <c:v>2.085161153</c:v>
                </c:pt>
                <c:pt idx="45">
                  <c:v>2.086526546</c:v>
                </c:pt>
                <c:pt idx="46">
                  <c:v>2.0848463769999999</c:v>
                </c:pt>
                <c:pt idx="47">
                  <c:v>2.0758548920000002</c:v>
                </c:pt>
                <c:pt idx="48">
                  <c:v>2.0728631339999999</c:v>
                </c:pt>
                <c:pt idx="49">
                  <c:v>2.0628770460000001</c:v>
                </c:pt>
                <c:pt idx="50">
                  <c:v>2.0581853209999998</c:v>
                </c:pt>
                <c:pt idx="51">
                  <c:v>2.049068976</c:v>
                </c:pt>
                <c:pt idx="52">
                  <c:v>2.0349643469999998</c:v>
                </c:pt>
                <c:pt idx="53">
                  <c:v>2.0210312400000001</c:v>
                </c:pt>
                <c:pt idx="54">
                  <c:v>2.006813615</c:v>
                </c:pt>
                <c:pt idx="55">
                  <c:v>2.0000486159999999</c:v>
                </c:pt>
                <c:pt idx="56">
                  <c:v>1.9958300739999999</c:v>
                </c:pt>
                <c:pt idx="57">
                  <c:v>1.979721533</c:v>
                </c:pt>
                <c:pt idx="58">
                  <c:v>1.968623652</c:v>
                </c:pt>
                <c:pt idx="59">
                  <c:v>1.9581367279999999</c:v>
                </c:pt>
                <c:pt idx="60">
                  <c:v>1.9469524840000001</c:v>
                </c:pt>
                <c:pt idx="61">
                  <c:v>1.940977357</c:v>
                </c:pt>
                <c:pt idx="62">
                  <c:v>1.93554217</c:v>
                </c:pt>
                <c:pt idx="63">
                  <c:v>1.922132081</c:v>
                </c:pt>
                <c:pt idx="64">
                  <c:v>1.9184825599999999</c:v>
                </c:pt>
                <c:pt idx="65">
                  <c:v>1.90853932</c:v>
                </c:pt>
                <c:pt idx="66">
                  <c:v>1.891622624</c:v>
                </c:pt>
                <c:pt idx="67">
                  <c:v>1.885668374</c:v>
                </c:pt>
                <c:pt idx="68">
                  <c:v>1.8699478</c:v>
                </c:pt>
                <c:pt idx="69">
                  <c:v>1.864332597</c:v>
                </c:pt>
                <c:pt idx="70">
                  <c:v>1.8566797340000001</c:v>
                </c:pt>
                <c:pt idx="71">
                  <c:v>1.834284993</c:v>
                </c:pt>
                <c:pt idx="72">
                  <c:v>1.8296843949999999</c:v>
                </c:pt>
                <c:pt idx="73">
                  <c:v>1.82317555</c:v>
                </c:pt>
                <c:pt idx="74">
                  <c:v>1.8174593859999999</c:v>
                </c:pt>
                <c:pt idx="75">
                  <c:v>1.810363521</c:v>
                </c:pt>
                <c:pt idx="76">
                  <c:v>1.81272802</c:v>
                </c:pt>
                <c:pt idx="77">
                  <c:v>1.808336239</c:v>
                </c:pt>
                <c:pt idx="78">
                  <c:v>1.800411357</c:v>
                </c:pt>
                <c:pt idx="79">
                  <c:v>1.7714983929999999</c:v>
                </c:pt>
                <c:pt idx="80">
                  <c:v>1.7775771140000001</c:v>
                </c:pt>
                <c:pt idx="81">
                  <c:v>1.770791397</c:v>
                </c:pt>
                <c:pt idx="82">
                  <c:v>1.765036292</c:v>
                </c:pt>
                <c:pt idx="83">
                  <c:v>1.755007856</c:v>
                </c:pt>
                <c:pt idx="84">
                  <c:v>1.7558156979999999</c:v>
                </c:pt>
                <c:pt idx="85">
                  <c:v>1.7544695690000001</c:v>
                </c:pt>
                <c:pt idx="86">
                  <c:v>1.7446630860000001</c:v>
                </c:pt>
                <c:pt idx="87">
                  <c:v>1.741587526</c:v>
                </c:pt>
                <c:pt idx="88">
                  <c:v>1.7414388700000001</c:v>
                </c:pt>
                <c:pt idx="89">
                  <c:v>1.7391634410000001</c:v>
                </c:pt>
                <c:pt idx="90">
                  <c:v>1.7372572340000001</c:v>
                </c:pt>
                <c:pt idx="91">
                  <c:v>1.732497001</c:v>
                </c:pt>
                <c:pt idx="92">
                  <c:v>1.733427018</c:v>
                </c:pt>
                <c:pt idx="93">
                  <c:v>1.7313535410000001</c:v>
                </c:pt>
                <c:pt idx="94">
                  <c:v>1.729254026</c:v>
                </c:pt>
                <c:pt idx="95">
                  <c:v>1.7160484920000001</c:v>
                </c:pt>
                <c:pt idx="96">
                  <c:v>1.714119454</c:v>
                </c:pt>
                <c:pt idx="97">
                  <c:v>1.707216286</c:v>
                </c:pt>
                <c:pt idx="98">
                  <c:v>1.7036310429999999</c:v>
                </c:pt>
                <c:pt idx="99">
                  <c:v>1.690668955</c:v>
                </c:pt>
                <c:pt idx="100">
                  <c:v>1.6839606739999999</c:v>
                </c:pt>
                <c:pt idx="101">
                  <c:v>1.6744896090000001</c:v>
                </c:pt>
                <c:pt idx="102">
                  <c:v>1.6663615540000001</c:v>
                </c:pt>
                <c:pt idx="103">
                  <c:v>1.660138841</c:v>
                </c:pt>
                <c:pt idx="104">
                  <c:v>1.6561021359999999</c:v>
                </c:pt>
                <c:pt idx="105">
                  <c:v>1.6553867250000001</c:v>
                </c:pt>
                <c:pt idx="106">
                  <c:v>1.652549096</c:v>
                </c:pt>
                <c:pt idx="107">
                  <c:v>1.648051017</c:v>
                </c:pt>
                <c:pt idx="108">
                  <c:v>1.6447084839999999</c:v>
                </c:pt>
                <c:pt idx="109">
                  <c:v>1.6099747600000001</c:v>
                </c:pt>
                <c:pt idx="110">
                  <c:v>1.6026016439999999</c:v>
                </c:pt>
                <c:pt idx="111">
                  <c:v>1.5955118150000001</c:v>
                </c:pt>
                <c:pt idx="112">
                  <c:v>1.5831052990000001</c:v>
                </c:pt>
                <c:pt idx="113">
                  <c:v>1.577461998</c:v>
                </c:pt>
                <c:pt idx="114">
                  <c:v>1.567151242</c:v>
                </c:pt>
                <c:pt idx="115">
                  <c:v>1.554908738</c:v>
                </c:pt>
                <c:pt idx="116">
                  <c:v>1.5274460219999999</c:v>
                </c:pt>
                <c:pt idx="117">
                  <c:v>1.5223396069999999</c:v>
                </c:pt>
                <c:pt idx="118">
                  <c:v>1.5172209379999999</c:v>
                </c:pt>
                <c:pt idx="119">
                  <c:v>1.5102061040000001</c:v>
                </c:pt>
                <c:pt idx="120">
                  <c:v>1.500241223</c:v>
                </c:pt>
                <c:pt idx="121">
                  <c:v>1.499116844</c:v>
                </c:pt>
                <c:pt idx="122">
                  <c:v>1.482882407</c:v>
                </c:pt>
                <c:pt idx="123">
                  <c:v>1.4796438750000001</c:v>
                </c:pt>
                <c:pt idx="124">
                  <c:v>1.4727075279999999</c:v>
                </c:pt>
                <c:pt idx="125">
                  <c:v>1.4708235160000001</c:v>
                </c:pt>
                <c:pt idx="126">
                  <c:v>1.469151895</c:v>
                </c:pt>
                <c:pt idx="127">
                  <c:v>1.4707494210000001</c:v>
                </c:pt>
                <c:pt idx="128">
                  <c:v>1.4596225730000001</c:v>
                </c:pt>
                <c:pt idx="129">
                  <c:v>1.4586180790000001</c:v>
                </c:pt>
                <c:pt idx="130">
                  <c:v>1.454290496</c:v>
                </c:pt>
                <c:pt idx="131">
                  <c:v>1.454605476</c:v>
                </c:pt>
                <c:pt idx="132">
                  <c:v>1.4534867739999999</c:v>
                </c:pt>
                <c:pt idx="133">
                  <c:v>1.452812744</c:v>
                </c:pt>
                <c:pt idx="134">
                  <c:v>1.4437390059999999</c:v>
                </c:pt>
                <c:pt idx="135">
                  <c:v>1.4344110269999999</c:v>
                </c:pt>
                <c:pt idx="136">
                  <c:v>1.432448578</c:v>
                </c:pt>
                <c:pt idx="137">
                  <c:v>1.425285269</c:v>
                </c:pt>
                <c:pt idx="138">
                  <c:v>1.4280437029999999</c:v>
                </c:pt>
                <c:pt idx="139">
                  <c:v>1.4254049980000001</c:v>
                </c:pt>
                <c:pt idx="140">
                  <c:v>1.425135187</c:v>
                </c:pt>
                <c:pt idx="141">
                  <c:v>1.420219557</c:v>
                </c:pt>
                <c:pt idx="142">
                  <c:v>1.4172559849999999</c:v>
                </c:pt>
                <c:pt idx="143">
                  <c:v>1.4158635740000001</c:v>
                </c:pt>
                <c:pt idx="144">
                  <c:v>1.4144053270000001</c:v>
                </c:pt>
                <c:pt idx="145">
                  <c:v>1.416799167</c:v>
                </c:pt>
                <c:pt idx="146">
                  <c:v>1.411829945</c:v>
                </c:pt>
                <c:pt idx="147">
                  <c:v>1.411235018</c:v>
                </c:pt>
                <c:pt idx="148">
                  <c:v>1.4161049809999999</c:v>
                </c:pt>
                <c:pt idx="149">
                  <c:v>1.412333694</c:v>
                </c:pt>
                <c:pt idx="150">
                  <c:v>1.4146400539999999</c:v>
                </c:pt>
                <c:pt idx="151">
                  <c:v>1.43073958</c:v>
                </c:pt>
                <c:pt idx="152">
                  <c:v>1.4196725059999999</c:v>
                </c:pt>
                <c:pt idx="153">
                  <c:v>1.417831641</c:v>
                </c:pt>
                <c:pt idx="154">
                  <c:v>1.423794072</c:v>
                </c:pt>
                <c:pt idx="155">
                  <c:v>1.423909608</c:v>
                </c:pt>
                <c:pt idx="156">
                  <c:v>1.422509477</c:v>
                </c:pt>
                <c:pt idx="157">
                  <c:v>1.426657391</c:v>
                </c:pt>
                <c:pt idx="158">
                  <c:v>1.4149703069999999</c:v>
                </c:pt>
                <c:pt idx="159">
                  <c:v>1.4134557699999999</c:v>
                </c:pt>
                <c:pt idx="160">
                  <c:v>1.395726011</c:v>
                </c:pt>
                <c:pt idx="161">
                  <c:v>1.414325815</c:v>
                </c:pt>
                <c:pt idx="162">
                  <c:v>1.412701344</c:v>
                </c:pt>
                <c:pt idx="163">
                  <c:v>1.4129412960000001</c:v>
                </c:pt>
                <c:pt idx="164">
                  <c:v>1.4194938930000001</c:v>
                </c:pt>
                <c:pt idx="165">
                  <c:v>1.418471783</c:v>
                </c:pt>
                <c:pt idx="166">
                  <c:v>1.4173681389999999</c:v>
                </c:pt>
                <c:pt idx="167">
                  <c:v>1.4162577940000001</c:v>
                </c:pt>
                <c:pt idx="168">
                  <c:v>1.409077339</c:v>
                </c:pt>
                <c:pt idx="169">
                  <c:v>1.408159605</c:v>
                </c:pt>
                <c:pt idx="170">
                  <c:v>1.407509232</c:v>
                </c:pt>
                <c:pt idx="171">
                  <c:v>1.406975901</c:v>
                </c:pt>
                <c:pt idx="172">
                  <c:v>1.401233457</c:v>
                </c:pt>
                <c:pt idx="173">
                  <c:v>1.397376924</c:v>
                </c:pt>
                <c:pt idx="174">
                  <c:v>1.3966198169999999</c:v>
                </c:pt>
                <c:pt idx="175">
                  <c:v>1.401137402</c:v>
                </c:pt>
                <c:pt idx="176">
                  <c:v>1.3939689980000001</c:v>
                </c:pt>
                <c:pt idx="177">
                  <c:v>1.3952910080000001</c:v>
                </c:pt>
                <c:pt idx="178">
                  <c:v>1.391407501</c:v>
                </c:pt>
                <c:pt idx="179">
                  <c:v>1.385341937</c:v>
                </c:pt>
                <c:pt idx="180">
                  <c:v>1.3864873470000001</c:v>
                </c:pt>
                <c:pt idx="181">
                  <c:v>1.357808656</c:v>
                </c:pt>
                <c:pt idx="182">
                  <c:v>1.347493144</c:v>
                </c:pt>
                <c:pt idx="183">
                  <c:v>1.344753831</c:v>
                </c:pt>
                <c:pt idx="184">
                  <c:v>1.3562703869999999</c:v>
                </c:pt>
                <c:pt idx="185">
                  <c:v>1.3522074749999999</c:v>
                </c:pt>
                <c:pt idx="186">
                  <c:v>1.3544676689999999</c:v>
                </c:pt>
                <c:pt idx="187">
                  <c:v>1.338841395</c:v>
                </c:pt>
                <c:pt idx="188">
                  <c:v>1.3373612969999999</c:v>
                </c:pt>
                <c:pt idx="189">
                  <c:v>1.3301166149999999</c:v>
                </c:pt>
                <c:pt idx="190">
                  <c:v>1.3308327600000001</c:v>
                </c:pt>
                <c:pt idx="191">
                  <c:v>1.3195798050000001</c:v>
                </c:pt>
                <c:pt idx="192">
                  <c:v>1.3124391929999999</c:v>
                </c:pt>
                <c:pt idx="193">
                  <c:v>1.310775982</c:v>
                </c:pt>
                <c:pt idx="194">
                  <c:v>1.309831269</c:v>
                </c:pt>
                <c:pt idx="195">
                  <c:v>1.296800851</c:v>
                </c:pt>
                <c:pt idx="196">
                  <c:v>1.3017036829999999</c:v>
                </c:pt>
                <c:pt idx="197">
                  <c:v>1.29779234</c:v>
                </c:pt>
                <c:pt idx="198">
                  <c:v>1.301363211</c:v>
                </c:pt>
                <c:pt idx="199">
                  <c:v>1.299006952</c:v>
                </c:pt>
                <c:pt idx="200">
                  <c:v>1.304261264</c:v>
                </c:pt>
                <c:pt idx="201">
                  <c:v>1.3003785480000001</c:v>
                </c:pt>
                <c:pt idx="202">
                  <c:v>1.2724650239999999</c:v>
                </c:pt>
                <c:pt idx="203">
                  <c:v>1.2703121500000001</c:v>
                </c:pt>
                <c:pt idx="204">
                  <c:v>1.266280211</c:v>
                </c:pt>
                <c:pt idx="205">
                  <c:v>1.2654944809999999</c:v>
                </c:pt>
                <c:pt idx="206">
                  <c:v>1.2627127149999999</c:v>
                </c:pt>
                <c:pt idx="207">
                  <c:v>1.2624569889999999</c:v>
                </c:pt>
                <c:pt idx="208">
                  <c:v>1.26066481</c:v>
                </c:pt>
                <c:pt idx="209">
                  <c:v>1.255513589</c:v>
                </c:pt>
                <c:pt idx="210">
                  <c:v>1.2541921920000001</c:v>
                </c:pt>
                <c:pt idx="211">
                  <c:v>1.25302008</c:v>
                </c:pt>
                <c:pt idx="212">
                  <c:v>1.2322383320000001</c:v>
                </c:pt>
                <c:pt idx="213">
                  <c:v>1.2329549870000001</c:v>
                </c:pt>
                <c:pt idx="214">
                  <c:v>1.233282752</c:v>
                </c:pt>
                <c:pt idx="215">
                  <c:v>1.230421856</c:v>
                </c:pt>
                <c:pt idx="216">
                  <c:v>1.232886243</c:v>
                </c:pt>
                <c:pt idx="217">
                  <c:v>1.236513441</c:v>
                </c:pt>
                <c:pt idx="218">
                  <c:v>1.2173333420000001</c:v>
                </c:pt>
                <c:pt idx="219">
                  <c:v>1.209173056</c:v>
                </c:pt>
                <c:pt idx="220">
                  <c:v>1.2187388939999999</c:v>
                </c:pt>
                <c:pt idx="221">
                  <c:v>1.2224581480000001</c:v>
                </c:pt>
                <c:pt idx="222">
                  <c:v>1.2121922060000001</c:v>
                </c:pt>
                <c:pt idx="223">
                  <c:v>1.2130266460000001</c:v>
                </c:pt>
                <c:pt idx="224">
                  <c:v>1.2127934950000001</c:v>
                </c:pt>
                <c:pt idx="225">
                  <c:v>1.2160310910000001</c:v>
                </c:pt>
                <c:pt idx="226">
                  <c:v>1.215229219</c:v>
                </c:pt>
                <c:pt idx="227">
                  <c:v>1.217767083</c:v>
                </c:pt>
                <c:pt idx="228">
                  <c:v>1.2203272190000001</c:v>
                </c:pt>
                <c:pt idx="229">
                  <c:v>1.2155155120000001</c:v>
                </c:pt>
                <c:pt idx="230">
                  <c:v>1.22081931</c:v>
                </c:pt>
                <c:pt idx="231">
                  <c:v>1.2233401880000001</c:v>
                </c:pt>
                <c:pt idx="232">
                  <c:v>1.2212582510000001</c:v>
                </c:pt>
                <c:pt idx="233">
                  <c:v>1.2241553110000001</c:v>
                </c:pt>
                <c:pt idx="234">
                  <c:v>1.2285932879999999</c:v>
                </c:pt>
                <c:pt idx="235">
                  <c:v>1.228210072</c:v>
                </c:pt>
                <c:pt idx="236">
                  <c:v>1.224664497</c:v>
                </c:pt>
                <c:pt idx="237">
                  <c:v>1.2266037299999999</c:v>
                </c:pt>
                <c:pt idx="238">
                  <c:v>1.232181368</c:v>
                </c:pt>
                <c:pt idx="239">
                  <c:v>1.234979069</c:v>
                </c:pt>
                <c:pt idx="240">
                  <c:v>1.2364191659999999</c:v>
                </c:pt>
                <c:pt idx="241">
                  <c:v>1.239226411</c:v>
                </c:pt>
                <c:pt idx="242">
                  <c:v>1.23897586</c:v>
                </c:pt>
                <c:pt idx="243">
                  <c:v>1.2219089970000001</c:v>
                </c:pt>
                <c:pt idx="244">
                  <c:v>1.2193034549999999</c:v>
                </c:pt>
                <c:pt idx="245">
                  <c:v>1.2156323410000001</c:v>
                </c:pt>
                <c:pt idx="246">
                  <c:v>1.213110111</c:v>
                </c:pt>
                <c:pt idx="247">
                  <c:v>1.2134191080000001</c:v>
                </c:pt>
                <c:pt idx="248">
                  <c:v>1.211103013</c:v>
                </c:pt>
                <c:pt idx="249">
                  <c:v>1.2066317740000001</c:v>
                </c:pt>
                <c:pt idx="250">
                  <c:v>1.1992881310000001</c:v>
                </c:pt>
                <c:pt idx="251">
                  <c:v>1.1997401459999999</c:v>
                </c:pt>
                <c:pt idx="252">
                  <c:v>1.199045634</c:v>
                </c:pt>
                <c:pt idx="253">
                  <c:v>1.1950142530000001</c:v>
                </c:pt>
                <c:pt idx="254">
                  <c:v>1.1923993079999999</c:v>
                </c:pt>
                <c:pt idx="255">
                  <c:v>1.1916520719999999</c:v>
                </c:pt>
                <c:pt idx="256">
                  <c:v>1.1929867620000001</c:v>
                </c:pt>
                <c:pt idx="257">
                  <c:v>1.1841414480000001</c:v>
                </c:pt>
                <c:pt idx="258">
                  <c:v>1.185203392</c:v>
                </c:pt>
                <c:pt idx="259">
                  <c:v>1.1890829599999999</c:v>
                </c:pt>
                <c:pt idx="260">
                  <c:v>1.195767333</c:v>
                </c:pt>
                <c:pt idx="261">
                  <c:v>1.197545512</c:v>
                </c:pt>
                <c:pt idx="262">
                  <c:v>1.199484161</c:v>
                </c:pt>
                <c:pt idx="263">
                  <c:v>1.2000829980000001</c:v>
                </c:pt>
                <c:pt idx="264">
                  <c:v>1.2022733569999999</c:v>
                </c:pt>
                <c:pt idx="265">
                  <c:v>1.202014157</c:v>
                </c:pt>
                <c:pt idx="266">
                  <c:v>1.2051298420000001</c:v>
                </c:pt>
                <c:pt idx="267">
                  <c:v>1.2062187689999999</c:v>
                </c:pt>
                <c:pt idx="268">
                  <c:v>1.21410632</c:v>
                </c:pt>
                <c:pt idx="269">
                  <c:v>1.2113395730000001</c:v>
                </c:pt>
                <c:pt idx="270">
                  <c:v>1.2151340900000001</c:v>
                </c:pt>
                <c:pt idx="271">
                  <c:v>1.22162419</c:v>
                </c:pt>
                <c:pt idx="272">
                  <c:v>1.2307777010000001</c:v>
                </c:pt>
                <c:pt idx="273">
                  <c:v>1.2373457480000001</c:v>
                </c:pt>
                <c:pt idx="274">
                  <c:v>1.2398250280000001</c:v>
                </c:pt>
                <c:pt idx="275">
                  <c:v>1.2460076090000001</c:v>
                </c:pt>
                <c:pt idx="276">
                  <c:v>1.2479652370000001</c:v>
                </c:pt>
                <c:pt idx="277">
                  <c:v>1.2390954999999999</c:v>
                </c:pt>
                <c:pt idx="278">
                  <c:v>1.2424545039999999</c:v>
                </c:pt>
                <c:pt idx="279">
                  <c:v>1.2442592889999999</c:v>
                </c:pt>
                <c:pt idx="280">
                  <c:v>1.245921719</c:v>
                </c:pt>
                <c:pt idx="281">
                  <c:v>1.238322608</c:v>
                </c:pt>
                <c:pt idx="282">
                  <c:v>1.2482638189999999</c:v>
                </c:pt>
                <c:pt idx="283">
                  <c:v>1.2358952670000001</c:v>
                </c:pt>
                <c:pt idx="284">
                  <c:v>1.2367319320000001</c:v>
                </c:pt>
                <c:pt idx="285">
                  <c:v>1.23785525</c:v>
                </c:pt>
                <c:pt idx="286">
                  <c:v>1.239559573</c:v>
                </c:pt>
                <c:pt idx="287">
                  <c:v>1.218835965</c:v>
                </c:pt>
                <c:pt idx="288">
                  <c:v>1.2292929889999999</c:v>
                </c:pt>
                <c:pt idx="289">
                  <c:v>1.235424436</c:v>
                </c:pt>
                <c:pt idx="290">
                  <c:v>1.2300477329999999</c:v>
                </c:pt>
                <c:pt idx="291">
                  <c:v>1.2326566640000001</c:v>
                </c:pt>
                <c:pt idx="292">
                  <c:v>1.2342951849999999</c:v>
                </c:pt>
                <c:pt idx="293">
                  <c:v>1.235892368</c:v>
                </c:pt>
                <c:pt idx="294">
                  <c:v>1.23639407</c:v>
                </c:pt>
                <c:pt idx="295">
                  <c:v>1.2366251109999999</c:v>
                </c:pt>
                <c:pt idx="296">
                  <c:v>1.2328434539999999</c:v>
                </c:pt>
                <c:pt idx="297">
                  <c:v>1.2392383309999999</c:v>
                </c:pt>
                <c:pt idx="298">
                  <c:v>1.2413608359999999</c:v>
                </c:pt>
                <c:pt idx="299">
                  <c:v>1.2467430049999999</c:v>
                </c:pt>
                <c:pt idx="300">
                  <c:v>1.247409346</c:v>
                </c:pt>
                <c:pt idx="301">
                  <c:v>1.2529654809999999</c:v>
                </c:pt>
                <c:pt idx="302">
                  <c:v>1.2533146509999999</c:v>
                </c:pt>
                <c:pt idx="303">
                  <c:v>1.2511938220000001</c:v>
                </c:pt>
                <c:pt idx="304">
                  <c:v>1.257483286</c:v>
                </c:pt>
                <c:pt idx="305">
                  <c:v>1.2614042009999999</c:v>
                </c:pt>
                <c:pt idx="306">
                  <c:v>1.2653708100000001</c:v>
                </c:pt>
                <c:pt idx="307">
                  <c:v>1.2707734390000001</c:v>
                </c:pt>
                <c:pt idx="308">
                  <c:v>1.276686582</c:v>
                </c:pt>
                <c:pt idx="309">
                  <c:v>1.2824835670000001</c:v>
                </c:pt>
                <c:pt idx="310">
                  <c:v>1.2855340230000001</c:v>
                </c:pt>
                <c:pt idx="311">
                  <c:v>1.277545513</c:v>
                </c:pt>
                <c:pt idx="312">
                  <c:v>1.280026734</c:v>
                </c:pt>
                <c:pt idx="313">
                  <c:v>1.2991437139999999</c:v>
                </c:pt>
                <c:pt idx="314">
                  <c:v>1.3020593069999999</c:v>
                </c:pt>
                <c:pt idx="315">
                  <c:v>1.3091041059999999</c:v>
                </c:pt>
                <c:pt idx="316">
                  <c:v>1.313577432</c:v>
                </c:pt>
                <c:pt idx="317">
                  <c:v>1.3186183300000001</c:v>
                </c:pt>
                <c:pt idx="318">
                  <c:v>1.3218257410000001</c:v>
                </c:pt>
                <c:pt idx="319">
                  <c:v>1.3249789359999999</c:v>
                </c:pt>
                <c:pt idx="320">
                  <c:v>1.3300251599999999</c:v>
                </c:pt>
                <c:pt idx="321">
                  <c:v>1.3278502400000001</c:v>
                </c:pt>
                <c:pt idx="322">
                  <c:v>1.3308282060000001</c:v>
                </c:pt>
                <c:pt idx="323">
                  <c:v>1.336258599</c:v>
                </c:pt>
                <c:pt idx="324">
                  <c:v>1.334039889</c:v>
                </c:pt>
                <c:pt idx="325">
                  <c:v>1.354068021</c:v>
                </c:pt>
                <c:pt idx="326">
                  <c:v>1.352944634</c:v>
                </c:pt>
                <c:pt idx="327">
                  <c:v>1.358000442</c:v>
                </c:pt>
                <c:pt idx="328">
                  <c:v>1.358013301</c:v>
                </c:pt>
                <c:pt idx="329">
                  <c:v>1.3637652389999999</c:v>
                </c:pt>
                <c:pt idx="330">
                  <c:v>1.372686818</c:v>
                </c:pt>
                <c:pt idx="331">
                  <c:v>1.381821559</c:v>
                </c:pt>
                <c:pt idx="332">
                  <c:v>1.413516226</c:v>
                </c:pt>
                <c:pt idx="333">
                  <c:v>1.422526808</c:v>
                </c:pt>
                <c:pt idx="334">
                  <c:v>1.4236020579999999</c:v>
                </c:pt>
                <c:pt idx="335">
                  <c:v>1.4321225200000001</c:v>
                </c:pt>
                <c:pt idx="336">
                  <c:v>1.437873666</c:v>
                </c:pt>
                <c:pt idx="337">
                  <c:v>1.4496974199999999</c:v>
                </c:pt>
                <c:pt idx="338">
                  <c:v>1.4568742130000001</c:v>
                </c:pt>
                <c:pt idx="339">
                  <c:v>1.461923404</c:v>
                </c:pt>
                <c:pt idx="340">
                  <c:v>1.467529927</c:v>
                </c:pt>
                <c:pt idx="341">
                  <c:v>1.467928779</c:v>
                </c:pt>
                <c:pt idx="342">
                  <c:v>1.4758518490000001</c:v>
                </c:pt>
                <c:pt idx="343">
                  <c:v>1.4798408919999999</c:v>
                </c:pt>
                <c:pt idx="344">
                  <c:v>1.481460778</c:v>
                </c:pt>
                <c:pt idx="345">
                  <c:v>1.484066927</c:v>
                </c:pt>
                <c:pt idx="346">
                  <c:v>1.4828926899999999</c:v>
                </c:pt>
                <c:pt idx="347">
                  <c:v>1.4934062269999999</c:v>
                </c:pt>
                <c:pt idx="348">
                  <c:v>1.496752809</c:v>
                </c:pt>
                <c:pt idx="349">
                  <c:v>1.51281343</c:v>
                </c:pt>
                <c:pt idx="350">
                  <c:v>1.519642946</c:v>
                </c:pt>
                <c:pt idx="351">
                  <c:v>1.5269085360000001</c:v>
                </c:pt>
                <c:pt idx="352">
                  <c:v>1.5345555689999999</c:v>
                </c:pt>
                <c:pt idx="353">
                  <c:v>1.5438971509999999</c:v>
                </c:pt>
                <c:pt idx="354">
                  <c:v>1.5556608999999999</c:v>
                </c:pt>
                <c:pt idx="355">
                  <c:v>1.557937444</c:v>
                </c:pt>
                <c:pt idx="356">
                  <c:v>1.5606716190000001</c:v>
                </c:pt>
                <c:pt idx="357">
                  <c:v>1.5665922080000001</c:v>
                </c:pt>
                <c:pt idx="358">
                  <c:v>1.570432512</c:v>
                </c:pt>
                <c:pt idx="359">
                  <c:v>1.577528319</c:v>
                </c:pt>
                <c:pt idx="360">
                  <c:v>1.6036117599999999</c:v>
                </c:pt>
                <c:pt idx="361">
                  <c:v>1.6132905289999999</c:v>
                </c:pt>
                <c:pt idx="362">
                  <c:v>1.6255570050000001</c:v>
                </c:pt>
                <c:pt idx="363">
                  <c:v>1.6322087890000001</c:v>
                </c:pt>
                <c:pt idx="364">
                  <c:v>1.6392756509999999</c:v>
                </c:pt>
                <c:pt idx="365">
                  <c:v>1.6468870390000001</c:v>
                </c:pt>
                <c:pt idx="366">
                  <c:v>1.650503262</c:v>
                </c:pt>
                <c:pt idx="367">
                  <c:v>1.658328641</c:v>
                </c:pt>
                <c:pt idx="368">
                  <c:v>1.666939269</c:v>
                </c:pt>
                <c:pt idx="369">
                  <c:v>1.674589112</c:v>
                </c:pt>
                <c:pt idx="370">
                  <c:v>1.682744899</c:v>
                </c:pt>
                <c:pt idx="371">
                  <c:v>1.6858578019999999</c:v>
                </c:pt>
                <c:pt idx="372">
                  <c:v>1.684578063</c:v>
                </c:pt>
                <c:pt idx="373">
                  <c:v>1.6868263109999999</c:v>
                </c:pt>
                <c:pt idx="374">
                  <c:v>1.6914089859999999</c:v>
                </c:pt>
                <c:pt idx="375">
                  <c:v>1.6937634509999999</c:v>
                </c:pt>
                <c:pt idx="376">
                  <c:v>1.6918303610000001</c:v>
                </c:pt>
                <c:pt idx="377">
                  <c:v>1.685217859</c:v>
                </c:pt>
                <c:pt idx="378">
                  <c:v>1.682732603</c:v>
                </c:pt>
                <c:pt idx="379">
                  <c:v>1.685965648</c:v>
                </c:pt>
                <c:pt idx="380">
                  <c:v>1.687890278</c:v>
                </c:pt>
                <c:pt idx="381">
                  <c:v>1.68917669</c:v>
                </c:pt>
                <c:pt idx="382">
                  <c:v>1.686556854</c:v>
                </c:pt>
                <c:pt idx="383">
                  <c:v>1.684753639</c:v>
                </c:pt>
                <c:pt idx="384">
                  <c:v>1.6873094609999999</c:v>
                </c:pt>
                <c:pt idx="385">
                  <c:v>1.6906947080000001</c:v>
                </c:pt>
                <c:pt idx="386">
                  <c:v>1.689211139</c:v>
                </c:pt>
                <c:pt idx="387">
                  <c:v>1.6925433700000001</c:v>
                </c:pt>
                <c:pt idx="388">
                  <c:v>1.679937273</c:v>
                </c:pt>
                <c:pt idx="389">
                  <c:v>1.681879766</c:v>
                </c:pt>
                <c:pt idx="390">
                  <c:v>1.685026677</c:v>
                </c:pt>
                <c:pt idx="391">
                  <c:v>1.6874328220000001</c:v>
                </c:pt>
                <c:pt idx="392">
                  <c:v>1.6927885600000001</c:v>
                </c:pt>
                <c:pt idx="393">
                  <c:v>1.6970376069999999</c:v>
                </c:pt>
                <c:pt idx="394">
                  <c:v>1.6988393420000001</c:v>
                </c:pt>
                <c:pt idx="395">
                  <c:v>1.690541018</c:v>
                </c:pt>
                <c:pt idx="396">
                  <c:v>1.6851588420000001</c:v>
                </c:pt>
                <c:pt idx="397">
                  <c:v>1.68067192</c:v>
                </c:pt>
                <c:pt idx="398">
                  <c:v>1.663279908</c:v>
                </c:pt>
                <c:pt idx="399">
                  <c:v>1.6623707679999999</c:v>
                </c:pt>
                <c:pt idx="400">
                  <c:v>1.6551537590000001</c:v>
                </c:pt>
                <c:pt idx="401">
                  <c:v>1.6217364649999999</c:v>
                </c:pt>
                <c:pt idx="402">
                  <c:v>1.6210495170000001</c:v>
                </c:pt>
                <c:pt idx="403">
                  <c:v>1.596650535</c:v>
                </c:pt>
                <c:pt idx="404">
                  <c:v>1.5803691369999999</c:v>
                </c:pt>
                <c:pt idx="405">
                  <c:v>1.5753110809999999</c:v>
                </c:pt>
                <c:pt idx="406">
                  <c:v>1.5716538419999999</c:v>
                </c:pt>
                <c:pt idx="407">
                  <c:v>1.5584106680000001</c:v>
                </c:pt>
                <c:pt idx="408">
                  <c:v>1.552128425</c:v>
                </c:pt>
                <c:pt idx="409">
                  <c:v>1.5520087899999999</c:v>
                </c:pt>
                <c:pt idx="410">
                  <c:v>1.5385281660000001</c:v>
                </c:pt>
                <c:pt idx="411">
                  <c:v>1.4789891589999999</c:v>
                </c:pt>
                <c:pt idx="412">
                  <c:v>1.479653474</c:v>
                </c:pt>
                <c:pt idx="413">
                  <c:v>1.4748829919999999</c:v>
                </c:pt>
                <c:pt idx="414">
                  <c:v>1.4435482740000001</c:v>
                </c:pt>
                <c:pt idx="415">
                  <c:v>1.441530336</c:v>
                </c:pt>
                <c:pt idx="416">
                  <c:v>1.4430405289999999</c:v>
                </c:pt>
                <c:pt idx="417">
                  <c:v>1.439975239</c:v>
                </c:pt>
                <c:pt idx="418">
                  <c:v>1.439650412</c:v>
                </c:pt>
                <c:pt idx="419">
                  <c:v>1.4376396419999999</c:v>
                </c:pt>
                <c:pt idx="420">
                  <c:v>1.433153941</c:v>
                </c:pt>
                <c:pt idx="421">
                  <c:v>1.433177299</c:v>
                </c:pt>
                <c:pt idx="422">
                  <c:v>1.4325220460000001</c:v>
                </c:pt>
                <c:pt idx="423">
                  <c:v>1.4303133720000001</c:v>
                </c:pt>
                <c:pt idx="424">
                  <c:v>1.4303686369999999</c:v>
                </c:pt>
                <c:pt idx="425">
                  <c:v>1.427381209</c:v>
                </c:pt>
                <c:pt idx="426">
                  <c:v>1.4270562760000001</c:v>
                </c:pt>
                <c:pt idx="427">
                  <c:v>1.41576065</c:v>
                </c:pt>
                <c:pt idx="428">
                  <c:v>1.4027056870000001</c:v>
                </c:pt>
                <c:pt idx="429">
                  <c:v>1.388147351</c:v>
                </c:pt>
                <c:pt idx="430">
                  <c:v>1.381965763</c:v>
                </c:pt>
                <c:pt idx="431">
                  <c:v>1.3565833519999999</c:v>
                </c:pt>
                <c:pt idx="432">
                  <c:v>1.3524414570000001</c:v>
                </c:pt>
                <c:pt idx="433">
                  <c:v>1.34193206</c:v>
                </c:pt>
                <c:pt idx="434">
                  <c:v>1.31042674</c:v>
                </c:pt>
                <c:pt idx="435">
                  <c:v>1.306870523</c:v>
                </c:pt>
                <c:pt idx="436">
                  <c:v>1.3065766480000001</c:v>
                </c:pt>
                <c:pt idx="437">
                  <c:v>1.3032513379999999</c:v>
                </c:pt>
                <c:pt idx="438">
                  <c:v>1.3029871829999999</c:v>
                </c:pt>
                <c:pt idx="439">
                  <c:v>1.2994649410000001</c:v>
                </c:pt>
                <c:pt idx="440">
                  <c:v>1.2904360290000001</c:v>
                </c:pt>
                <c:pt idx="441">
                  <c:v>1.2935771389999999</c:v>
                </c:pt>
                <c:pt idx="442">
                  <c:v>1.289159763</c:v>
                </c:pt>
                <c:pt idx="443">
                  <c:v>1.2846578129999999</c:v>
                </c:pt>
                <c:pt idx="444">
                  <c:v>1.2809286099999999</c:v>
                </c:pt>
                <c:pt idx="445">
                  <c:v>1.2765472229999999</c:v>
                </c:pt>
                <c:pt idx="446">
                  <c:v>1.2623092520000001</c:v>
                </c:pt>
                <c:pt idx="447">
                  <c:v>1.2563323179999999</c:v>
                </c:pt>
                <c:pt idx="448">
                  <c:v>1.2452348820000001</c:v>
                </c:pt>
                <c:pt idx="449">
                  <c:v>1.2372103459999999</c:v>
                </c:pt>
                <c:pt idx="450">
                  <c:v>1.2588992649999999</c:v>
                </c:pt>
                <c:pt idx="451">
                  <c:v>1.253361843</c:v>
                </c:pt>
                <c:pt idx="452">
                  <c:v>1.2680408519999999</c:v>
                </c:pt>
                <c:pt idx="453">
                  <c:v>1.2692196920000001</c:v>
                </c:pt>
                <c:pt idx="454">
                  <c:v>1.269062694</c:v>
                </c:pt>
                <c:pt idx="455">
                  <c:v>1.2665823270000001</c:v>
                </c:pt>
                <c:pt idx="456">
                  <c:v>1.263891404</c:v>
                </c:pt>
                <c:pt idx="457">
                  <c:v>1.26495968</c:v>
                </c:pt>
                <c:pt idx="458">
                  <c:v>1.26705775</c:v>
                </c:pt>
                <c:pt idx="459">
                  <c:v>1.2659806330000001</c:v>
                </c:pt>
                <c:pt idx="460">
                  <c:v>1.258175966</c:v>
                </c:pt>
                <c:pt idx="461">
                  <c:v>1.257692005</c:v>
                </c:pt>
                <c:pt idx="462">
                  <c:v>1.2574695360000001</c:v>
                </c:pt>
                <c:pt idx="463">
                  <c:v>1.2576766450000001</c:v>
                </c:pt>
                <c:pt idx="464">
                  <c:v>1.2571689130000001</c:v>
                </c:pt>
                <c:pt idx="465">
                  <c:v>1.2562026589999999</c:v>
                </c:pt>
                <c:pt idx="466">
                  <c:v>1.2478789450000001</c:v>
                </c:pt>
                <c:pt idx="467">
                  <c:v>1.24450416</c:v>
                </c:pt>
                <c:pt idx="468">
                  <c:v>1.2310309740000001</c:v>
                </c:pt>
                <c:pt idx="469">
                  <c:v>1.2253393589999999</c:v>
                </c:pt>
                <c:pt idx="470">
                  <c:v>1.213834079</c:v>
                </c:pt>
                <c:pt idx="471">
                  <c:v>1.2207946709999999</c:v>
                </c:pt>
                <c:pt idx="472">
                  <c:v>1.2198470880000001</c:v>
                </c:pt>
                <c:pt idx="473">
                  <c:v>1.2202825530000001</c:v>
                </c:pt>
                <c:pt idx="474">
                  <c:v>1.2215855440000001</c:v>
                </c:pt>
                <c:pt idx="475">
                  <c:v>1.2229096349999999</c:v>
                </c:pt>
                <c:pt idx="476">
                  <c:v>1.2237669120000001</c:v>
                </c:pt>
                <c:pt idx="477">
                  <c:v>1.2243862409999999</c:v>
                </c:pt>
                <c:pt idx="478">
                  <c:v>1.2242775850000001</c:v>
                </c:pt>
                <c:pt idx="479">
                  <c:v>1.2239568750000001</c:v>
                </c:pt>
                <c:pt idx="480">
                  <c:v>1.224178145</c:v>
                </c:pt>
                <c:pt idx="481">
                  <c:v>1.226781246</c:v>
                </c:pt>
                <c:pt idx="482">
                  <c:v>1.2295596010000001</c:v>
                </c:pt>
                <c:pt idx="483">
                  <c:v>1.2258436509999999</c:v>
                </c:pt>
                <c:pt idx="484">
                  <c:v>1.2201081039999999</c:v>
                </c:pt>
                <c:pt idx="485">
                  <c:v>1.2222913209999999</c:v>
                </c:pt>
                <c:pt idx="486">
                  <c:v>1.2159317970000001</c:v>
                </c:pt>
                <c:pt idx="487">
                  <c:v>1.2123576949999999</c:v>
                </c:pt>
                <c:pt idx="488">
                  <c:v>1.2025017710000001</c:v>
                </c:pt>
                <c:pt idx="489">
                  <c:v>1.1983260170000001</c:v>
                </c:pt>
                <c:pt idx="490">
                  <c:v>1.1968627039999999</c:v>
                </c:pt>
                <c:pt idx="491">
                  <c:v>1.195155543</c:v>
                </c:pt>
                <c:pt idx="492">
                  <c:v>1.1926857879999999</c:v>
                </c:pt>
                <c:pt idx="493">
                  <c:v>1.195744074</c:v>
                </c:pt>
                <c:pt idx="494">
                  <c:v>1.199116004</c:v>
                </c:pt>
                <c:pt idx="495">
                  <c:v>1.2152208</c:v>
                </c:pt>
                <c:pt idx="496">
                  <c:v>1.2186623080000001</c:v>
                </c:pt>
                <c:pt idx="497">
                  <c:v>1.223292104</c:v>
                </c:pt>
                <c:pt idx="498">
                  <c:v>1.2347021600000001</c:v>
                </c:pt>
                <c:pt idx="499">
                  <c:v>1.24020552</c:v>
                </c:pt>
                <c:pt idx="500">
                  <c:v>1.2420504800000001</c:v>
                </c:pt>
                <c:pt idx="501">
                  <c:v>1.2388972309999999</c:v>
                </c:pt>
                <c:pt idx="502">
                  <c:v>1.243451874</c:v>
                </c:pt>
                <c:pt idx="503">
                  <c:v>1.246688456</c:v>
                </c:pt>
                <c:pt idx="504">
                  <c:v>1.2489992670000001</c:v>
                </c:pt>
                <c:pt idx="505">
                  <c:v>1.252631026</c:v>
                </c:pt>
                <c:pt idx="506">
                  <c:v>1.246856926</c:v>
                </c:pt>
                <c:pt idx="507">
                  <c:v>1.250388856</c:v>
                </c:pt>
                <c:pt idx="508">
                  <c:v>1.2575100450000001</c:v>
                </c:pt>
                <c:pt idx="509">
                  <c:v>1.256165561</c:v>
                </c:pt>
                <c:pt idx="510">
                  <c:v>1.2563112009999999</c:v>
                </c:pt>
                <c:pt idx="511">
                  <c:v>1.2517967379999999</c:v>
                </c:pt>
                <c:pt idx="512">
                  <c:v>1.2506314839999999</c:v>
                </c:pt>
                <c:pt idx="513">
                  <c:v>1.2493010339999999</c:v>
                </c:pt>
                <c:pt idx="514">
                  <c:v>1.2479465999999999</c:v>
                </c:pt>
                <c:pt idx="515">
                  <c:v>1.249103147</c:v>
                </c:pt>
                <c:pt idx="516">
                  <c:v>1.249146047</c:v>
                </c:pt>
                <c:pt idx="517">
                  <c:v>1.2485775649999999</c:v>
                </c:pt>
                <c:pt idx="518">
                  <c:v>1.2445112760000001</c:v>
                </c:pt>
                <c:pt idx="519">
                  <c:v>1.2435116429999999</c:v>
                </c:pt>
                <c:pt idx="520">
                  <c:v>1.242533938</c:v>
                </c:pt>
                <c:pt idx="521">
                  <c:v>1.2375367420000001</c:v>
                </c:pt>
                <c:pt idx="522">
                  <c:v>1.2346927599999999</c:v>
                </c:pt>
                <c:pt idx="523">
                  <c:v>1.2293924409999999</c:v>
                </c:pt>
                <c:pt idx="524">
                  <c:v>1.2289487969999999</c:v>
                </c:pt>
                <c:pt idx="525">
                  <c:v>1.227097176</c:v>
                </c:pt>
                <c:pt idx="526">
                  <c:v>1.223538467</c:v>
                </c:pt>
                <c:pt idx="527">
                  <c:v>1.221754072</c:v>
                </c:pt>
                <c:pt idx="528">
                  <c:v>1.2236447989999999</c:v>
                </c:pt>
                <c:pt idx="529">
                  <c:v>1.223032895</c:v>
                </c:pt>
                <c:pt idx="530">
                  <c:v>1.2229076240000001</c:v>
                </c:pt>
                <c:pt idx="531">
                  <c:v>1.223330341</c:v>
                </c:pt>
                <c:pt idx="532">
                  <c:v>1.2186190640000001</c:v>
                </c:pt>
                <c:pt idx="533">
                  <c:v>1.219052993</c:v>
                </c:pt>
                <c:pt idx="534">
                  <c:v>1.2177106660000001</c:v>
                </c:pt>
                <c:pt idx="535">
                  <c:v>1.217925105</c:v>
                </c:pt>
                <c:pt idx="536">
                  <c:v>1.2174509570000001</c:v>
                </c:pt>
                <c:pt idx="537">
                  <c:v>1.218288936</c:v>
                </c:pt>
                <c:pt idx="538">
                  <c:v>1.2163131110000001</c:v>
                </c:pt>
                <c:pt idx="539">
                  <c:v>1.2130495379999999</c:v>
                </c:pt>
                <c:pt idx="540">
                  <c:v>1.209249306</c:v>
                </c:pt>
                <c:pt idx="541">
                  <c:v>1.2028701639999999</c:v>
                </c:pt>
                <c:pt idx="542">
                  <c:v>1.2017210620000001</c:v>
                </c:pt>
                <c:pt idx="543">
                  <c:v>1.201545305</c:v>
                </c:pt>
                <c:pt idx="544">
                  <c:v>1.203720066</c:v>
                </c:pt>
                <c:pt idx="545">
                  <c:v>1.200230651</c:v>
                </c:pt>
                <c:pt idx="546">
                  <c:v>1.1982890829999999</c:v>
                </c:pt>
                <c:pt idx="547">
                  <c:v>1.1957788359999999</c:v>
                </c:pt>
                <c:pt idx="548">
                  <c:v>1.1919178580000001</c:v>
                </c:pt>
                <c:pt idx="549">
                  <c:v>1.1872869130000001</c:v>
                </c:pt>
                <c:pt idx="550">
                  <c:v>1.1879647149999999</c:v>
                </c:pt>
                <c:pt idx="551">
                  <c:v>1.1863654349999999</c:v>
                </c:pt>
                <c:pt idx="552">
                  <c:v>1.1850305050000001</c:v>
                </c:pt>
                <c:pt idx="553">
                  <c:v>1.184515384</c:v>
                </c:pt>
                <c:pt idx="554">
                  <c:v>1.18748667</c:v>
                </c:pt>
                <c:pt idx="555">
                  <c:v>1.1868646890000001</c:v>
                </c:pt>
                <c:pt idx="556">
                  <c:v>1.1865543970000001</c:v>
                </c:pt>
                <c:pt idx="557">
                  <c:v>1.185784052</c:v>
                </c:pt>
                <c:pt idx="558">
                  <c:v>1.1884773479999999</c:v>
                </c:pt>
                <c:pt idx="559">
                  <c:v>1.1898386009999999</c:v>
                </c:pt>
                <c:pt idx="560">
                  <c:v>1.190380886</c:v>
                </c:pt>
                <c:pt idx="561">
                  <c:v>1.1924929550000001</c:v>
                </c:pt>
                <c:pt idx="562">
                  <c:v>1.192100701</c:v>
                </c:pt>
                <c:pt idx="563">
                  <c:v>1.166987553</c:v>
                </c:pt>
                <c:pt idx="564">
                  <c:v>1.1744464750000001</c:v>
                </c:pt>
                <c:pt idx="565">
                  <c:v>1.1725254949999999</c:v>
                </c:pt>
                <c:pt idx="566">
                  <c:v>1.1735325599999999</c:v>
                </c:pt>
                <c:pt idx="567">
                  <c:v>1.1754479739999999</c:v>
                </c:pt>
                <c:pt idx="568">
                  <c:v>1.1772385409999999</c:v>
                </c:pt>
                <c:pt idx="569">
                  <c:v>1.1756136129999999</c:v>
                </c:pt>
                <c:pt idx="570">
                  <c:v>1.177876801</c:v>
                </c:pt>
                <c:pt idx="571">
                  <c:v>1.177548171</c:v>
                </c:pt>
                <c:pt idx="572">
                  <c:v>1.1797355380000001</c:v>
                </c:pt>
                <c:pt idx="573">
                  <c:v>1.1776554290000001</c:v>
                </c:pt>
                <c:pt idx="574">
                  <c:v>1.1802005470000001</c:v>
                </c:pt>
                <c:pt idx="575">
                  <c:v>1.1596018320000001</c:v>
                </c:pt>
                <c:pt idx="576">
                  <c:v>1.1567703250000001</c:v>
                </c:pt>
                <c:pt idx="577">
                  <c:v>1.1667944459999999</c:v>
                </c:pt>
                <c:pt idx="578">
                  <c:v>1.1640093359999999</c:v>
                </c:pt>
                <c:pt idx="579">
                  <c:v>1.1665893919999999</c:v>
                </c:pt>
                <c:pt idx="580">
                  <c:v>1.162807057</c:v>
                </c:pt>
                <c:pt idx="581">
                  <c:v>1.162895064</c:v>
                </c:pt>
                <c:pt idx="582">
                  <c:v>1.1328516470000001</c:v>
                </c:pt>
                <c:pt idx="583">
                  <c:v>1.1322342700000001</c:v>
                </c:pt>
                <c:pt idx="584">
                  <c:v>1.1328735679999999</c:v>
                </c:pt>
                <c:pt idx="585">
                  <c:v>1.1331423309999999</c:v>
                </c:pt>
                <c:pt idx="586">
                  <c:v>1.1329561859999999</c:v>
                </c:pt>
                <c:pt idx="587">
                  <c:v>1.1215168760000001</c:v>
                </c:pt>
                <c:pt idx="588">
                  <c:v>1.1176909829999999</c:v>
                </c:pt>
                <c:pt idx="589">
                  <c:v>1.1212993339999999</c:v>
                </c:pt>
                <c:pt idx="590">
                  <c:v>1.1193170269999999</c:v>
                </c:pt>
                <c:pt idx="591">
                  <c:v>1.1202647020000001</c:v>
                </c:pt>
                <c:pt idx="592">
                  <c:v>1.1138683069999999</c:v>
                </c:pt>
                <c:pt idx="593">
                  <c:v>1.1141754619999999</c:v>
                </c:pt>
                <c:pt idx="594">
                  <c:v>1.1169650600000001</c:v>
                </c:pt>
                <c:pt idx="595">
                  <c:v>1.117214132</c:v>
                </c:pt>
                <c:pt idx="596">
                  <c:v>1.1175729299999999</c:v>
                </c:pt>
                <c:pt idx="597">
                  <c:v>1.115676229</c:v>
                </c:pt>
                <c:pt idx="598">
                  <c:v>1.1157206959999999</c:v>
                </c:pt>
                <c:pt idx="599">
                  <c:v>1.110463749</c:v>
                </c:pt>
                <c:pt idx="600">
                  <c:v>1.1132673639999999</c:v>
                </c:pt>
                <c:pt idx="601">
                  <c:v>1.112511075</c:v>
                </c:pt>
                <c:pt idx="602">
                  <c:v>1.1112616639999999</c:v>
                </c:pt>
                <c:pt idx="603">
                  <c:v>1.1097808929999999</c:v>
                </c:pt>
                <c:pt idx="604">
                  <c:v>1.102033888</c:v>
                </c:pt>
                <c:pt idx="605">
                  <c:v>1.1014068180000001</c:v>
                </c:pt>
                <c:pt idx="606">
                  <c:v>1.103934325</c:v>
                </c:pt>
                <c:pt idx="607">
                  <c:v>1.1019071540000001</c:v>
                </c:pt>
                <c:pt idx="608">
                  <c:v>1.099821537</c:v>
                </c:pt>
                <c:pt idx="609">
                  <c:v>1.09711442</c:v>
                </c:pt>
                <c:pt idx="610">
                  <c:v>1.072797961</c:v>
                </c:pt>
                <c:pt idx="611">
                  <c:v>1.0713950480000001</c:v>
                </c:pt>
                <c:pt idx="612">
                  <c:v>1.0719959999999999</c:v>
                </c:pt>
                <c:pt idx="613">
                  <c:v>1.074575769</c:v>
                </c:pt>
                <c:pt idx="614">
                  <c:v>1.0726445330000001</c:v>
                </c:pt>
                <c:pt idx="615">
                  <c:v>1.0681111329999999</c:v>
                </c:pt>
                <c:pt idx="616">
                  <c:v>1.0669230489999999</c:v>
                </c:pt>
                <c:pt idx="617">
                  <c:v>1.0671474620000001</c:v>
                </c:pt>
                <c:pt idx="618">
                  <c:v>1.060552027</c:v>
                </c:pt>
                <c:pt idx="619">
                  <c:v>1.0619601240000001</c:v>
                </c:pt>
                <c:pt idx="620">
                  <c:v>1.059707416</c:v>
                </c:pt>
                <c:pt idx="621">
                  <c:v>1.0710184810000001</c:v>
                </c:pt>
                <c:pt idx="622">
                  <c:v>1.072196583</c:v>
                </c:pt>
                <c:pt idx="623">
                  <c:v>1.0738903040000001</c:v>
                </c:pt>
                <c:pt idx="624">
                  <c:v>1.0696752979999999</c:v>
                </c:pt>
                <c:pt idx="625">
                  <c:v>1.0675379469999999</c:v>
                </c:pt>
                <c:pt idx="626">
                  <c:v>1.0703628940000001</c:v>
                </c:pt>
                <c:pt idx="627">
                  <c:v>1.0721816749999999</c:v>
                </c:pt>
                <c:pt idx="628">
                  <c:v>1.0759929260000001</c:v>
                </c:pt>
                <c:pt idx="629">
                  <c:v>1.0776814379999999</c:v>
                </c:pt>
                <c:pt idx="630">
                  <c:v>1.0830488229999999</c:v>
                </c:pt>
                <c:pt idx="631">
                  <c:v>1.0932856179999999</c:v>
                </c:pt>
                <c:pt idx="632">
                  <c:v>1.095066106</c:v>
                </c:pt>
                <c:pt idx="633">
                  <c:v>1.095720746</c:v>
                </c:pt>
                <c:pt idx="634">
                  <c:v>1.095587844</c:v>
                </c:pt>
                <c:pt idx="635">
                  <c:v>1.0934564200000001</c:v>
                </c:pt>
                <c:pt idx="636">
                  <c:v>1.0962362670000001</c:v>
                </c:pt>
                <c:pt idx="637">
                  <c:v>1.0970792620000001</c:v>
                </c:pt>
                <c:pt idx="638">
                  <c:v>1.096190816</c:v>
                </c:pt>
                <c:pt idx="639">
                  <c:v>1.1014773010000001</c:v>
                </c:pt>
                <c:pt idx="640">
                  <c:v>1.0948362469999999</c:v>
                </c:pt>
                <c:pt idx="641">
                  <c:v>1.0973589509999999</c:v>
                </c:pt>
                <c:pt idx="642">
                  <c:v>1.10030177</c:v>
                </c:pt>
                <c:pt idx="643">
                  <c:v>1.1002066779999999</c:v>
                </c:pt>
                <c:pt idx="644">
                  <c:v>1.106894931</c:v>
                </c:pt>
                <c:pt idx="645">
                  <c:v>1.108123193</c:v>
                </c:pt>
                <c:pt idx="646">
                  <c:v>1.1154242510000001</c:v>
                </c:pt>
                <c:pt idx="647">
                  <c:v>1.118218524</c:v>
                </c:pt>
                <c:pt idx="648">
                  <c:v>1.11689617</c:v>
                </c:pt>
                <c:pt idx="649">
                  <c:v>1.118731819</c:v>
                </c:pt>
                <c:pt idx="650">
                  <c:v>1.1219394229999999</c:v>
                </c:pt>
                <c:pt idx="651">
                  <c:v>1.12304216</c:v>
                </c:pt>
                <c:pt idx="652">
                  <c:v>1.125130215</c:v>
                </c:pt>
                <c:pt idx="653">
                  <c:v>1.1306050329999999</c:v>
                </c:pt>
                <c:pt idx="654">
                  <c:v>1.130019959</c:v>
                </c:pt>
                <c:pt idx="655">
                  <c:v>1.132783672</c:v>
                </c:pt>
                <c:pt idx="656">
                  <c:v>1.1376862320000001</c:v>
                </c:pt>
                <c:pt idx="657">
                  <c:v>1.1386745140000001</c:v>
                </c:pt>
                <c:pt idx="658">
                  <c:v>1.14165381</c:v>
                </c:pt>
                <c:pt idx="659">
                  <c:v>1.1417970529999999</c:v>
                </c:pt>
                <c:pt idx="660">
                  <c:v>1.1489746439999999</c:v>
                </c:pt>
                <c:pt idx="661">
                  <c:v>1.1524872159999999</c:v>
                </c:pt>
                <c:pt idx="662">
                  <c:v>1.1613768310000001</c:v>
                </c:pt>
                <c:pt idx="663">
                  <c:v>1.17423937</c:v>
                </c:pt>
                <c:pt idx="664">
                  <c:v>1.175372579</c:v>
                </c:pt>
                <c:pt idx="665">
                  <c:v>1.183331702</c:v>
                </c:pt>
                <c:pt idx="666">
                  <c:v>1.1835472279999999</c:v>
                </c:pt>
                <c:pt idx="667">
                  <c:v>1.183727594</c:v>
                </c:pt>
                <c:pt idx="668">
                  <c:v>1.1861115879999999</c:v>
                </c:pt>
                <c:pt idx="669">
                  <c:v>1.1880961459999999</c:v>
                </c:pt>
                <c:pt idx="670">
                  <c:v>1.18995841</c:v>
                </c:pt>
                <c:pt idx="671">
                  <c:v>1.187602029</c:v>
                </c:pt>
                <c:pt idx="672">
                  <c:v>1.203140533</c:v>
                </c:pt>
                <c:pt idx="673">
                  <c:v>1.2045478599999999</c:v>
                </c:pt>
                <c:pt idx="674">
                  <c:v>1.2020968700000001</c:v>
                </c:pt>
                <c:pt idx="675">
                  <c:v>1.1913849759999999</c:v>
                </c:pt>
                <c:pt idx="676">
                  <c:v>1.1991411729999999</c:v>
                </c:pt>
                <c:pt idx="677">
                  <c:v>1.204101799</c:v>
                </c:pt>
                <c:pt idx="678">
                  <c:v>1.2171834130000001</c:v>
                </c:pt>
                <c:pt idx="679">
                  <c:v>1.2316482289999999</c:v>
                </c:pt>
                <c:pt idx="680">
                  <c:v>1.242297794</c:v>
                </c:pt>
                <c:pt idx="681">
                  <c:v>1.2617537670000001</c:v>
                </c:pt>
                <c:pt idx="682">
                  <c:v>1.2635781049999999</c:v>
                </c:pt>
                <c:pt idx="683">
                  <c:v>1.274463334</c:v>
                </c:pt>
                <c:pt idx="684">
                  <c:v>1.285217483</c:v>
                </c:pt>
                <c:pt idx="685">
                  <c:v>1.291695128</c:v>
                </c:pt>
                <c:pt idx="686">
                  <c:v>1.2878123619999999</c:v>
                </c:pt>
                <c:pt idx="687">
                  <c:v>1.2998407080000001</c:v>
                </c:pt>
                <c:pt idx="688">
                  <c:v>1.300830924</c:v>
                </c:pt>
                <c:pt idx="689">
                  <c:v>1.3064630260000001</c:v>
                </c:pt>
                <c:pt idx="690">
                  <c:v>1.3131825589999999</c:v>
                </c:pt>
                <c:pt idx="691">
                  <c:v>1.3098843609999999</c:v>
                </c:pt>
                <c:pt idx="692">
                  <c:v>1.32038531</c:v>
                </c:pt>
                <c:pt idx="693">
                  <c:v>1.331065116</c:v>
                </c:pt>
                <c:pt idx="694">
                  <c:v>1.3346663400000001</c:v>
                </c:pt>
                <c:pt idx="695">
                  <c:v>1.348349537</c:v>
                </c:pt>
                <c:pt idx="696">
                  <c:v>1.3558796500000001</c:v>
                </c:pt>
                <c:pt idx="697">
                  <c:v>1.372813332</c:v>
                </c:pt>
                <c:pt idx="698">
                  <c:v>1.381434517</c:v>
                </c:pt>
                <c:pt idx="699">
                  <c:v>1.3973563689999999</c:v>
                </c:pt>
                <c:pt idx="700">
                  <c:v>1.3523500399999999</c:v>
                </c:pt>
                <c:pt idx="701">
                  <c:v>1.359766222</c:v>
                </c:pt>
                <c:pt idx="702">
                  <c:v>1.3389520150000001</c:v>
                </c:pt>
                <c:pt idx="703">
                  <c:v>1.338510834</c:v>
                </c:pt>
                <c:pt idx="704">
                  <c:v>1.3410359629999999</c:v>
                </c:pt>
                <c:pt idx="705">
                  <c:v>1.3459076839999999</c:v>
                </c:pt>
                <c:pt idx="706">
                  <c:v>1.3549701860000001</c:v>
                </c:pt>
                <c:pt idx="707">
                  <c:v>1.3705793070000001</c:v>
                </c:pt>
                <c:pt idx="708">
                  <c:v>1.374590153</c:v>
                </c:pt>
                <c:pt idx="709">
                  <c:v>1.378510006</c:v>
                </c:pt>
                <c:pt idx="710">
                  <c:v>1.383888327</c:v>
                </c:pt>
                <c:pt idx="711">
                  <c:v>1.387768728</c:v>
                </c:pt>
                <c:pt idx="712">
                  <c:v>1.3913231210000001</c:v>
                </c:pt>
                <c:pt idx="713">
                  <c:v>1.39410072</c:v>
                </c:pt>
                <c:pt idx="714">
                  <c:v>1.3989320519999999</c:v>
                </c:pt>
                <c:pt idx="715">
                  <c:v>1.4034480810000001</c:v>
                </c:pt>
                <c:pt idx="716">
                  <c:v>1.4145450799999999</c:v>
                </c:pt>
                <c:pt idx="717">
                  <c:v>1.4177638319999999</c:v>
                </c:pt>
                <c:pt idx="718">
                  <c:v>1.4285999709999999</c:v>
                </c:pt>
                <c:pt idx="719">
                  <c:v>1.434484095</c:v>
                </c:pt>
                <c:pt idx="720">
                  <c:v>1.4320928049999999</c:v>
                </c:pt>
                <c:pt idx="721">
                  <c:v>1.4191644080000001</c:v>
                </c:pt>
                <c:pt idx="722">
                  <c:v>1.4255603939999999</c:v>
                </c:pt>
                <c:pt idx="723">
                  <c:v>1.426799401</c:v>
                </c:pt>
                <c:pt idx="724">
                  <c:v>1.4288804930000001</c:v>
                </c:pt>
                <c:pt idx="725">
                  <c:v>1.4305643690000001</c:v>
                </c:pt>
                <c:pt idx="726">
                  <c:v>1.432332806</c:v>
                </c:pt>
                <c:pt idx="727">
                  <c:v>1.4257822659999999</c:v>
                </c:pt>
                <c:pt idx="728">
                  <c:v>1.426476858</c:v>
                </c:pt>
                <c:pt idx="729">
                  <c:v>1.4311747079999999</c:v>
                </c:pt>
                <c:pt idx="730">
                  <c:v>1.4375739089999999</c:v>
                </c:pt>
                <c:pt idx="731">
                  <c:v>1.4337330079999999</c:v>
                </c:pt>
                <c:pt idx="732">
                  <c:v>1.4307834049999999</c:v>
                </c:pt>
                <c:pt idx="733">
                  <c:v>1.447410649</c:v>
                </c:pt>
                <c:pt idx="734">
                  <c:v>1.4612339700000001</c:v>
                </c:pt>
                <c:pt idx="735">
                  <c:v>1.45459775</c:v>
                </c:pt>
                <c:pt idx="736">
                  <c:v>1.4517295450000001</c:v>
                </c:pt>
                <c:pt idx="737">
                  <c:v>1.4598713750000001</c:v>
                </c:pt>
                <c:pt idx="738">
                  <c:v>1.469253895</c:v>
                </c:pt>
                <c:pt idx="739">
                  <c:v>1.511942487</c:v>
                </c:pt>
                <c:pt idx="740">
                  <c:v>1.5117361819999999</c:v>
                </c:pt>
                <c:pt idx="741">
                  <c:v>1.5181836630000001</c:v>
                </c:pt>
                <c:pt idx="742">
                  <c:v>1.5219807320000001</c:v>
                </c:pt>
                <c:pt idx="743">
                  <c:v>1.5274465129999999</c:v>
                </c:pt>
                <c:pt idx="744">
                  <c:v>1.526497545</c:v>
                </c:pt>
                <c:pt idx="745">
                  <c:v>1.510218246</c:v>
                </c:pt>
                <c:pt idx="746">
                  <c:v>1.5197870099999999</c:v>
                </c:pt>
                <c:pt idx="747">
                  <c:v>1.512754953</c:v>
                </c:pt>
                <c:pt idx="748">
                  <c:v>1.4968215069999999</c:v>
                </c:pt>
                <c:pt idx="749">
                  <c:v>1.502923491</c:v>
                </c:pt>
                <c:pt idx="750">
                  <c:v>1.5169364729999999</c:v>
                </c:pt>
                <c:pt idx="751">
                  <c:v>1.5159501799999999</c:v>
                </c:pt>
                <c:pt idx="752">
                  <c:v>1.510216548</c:v>
                </c:pt>
                <c:pt idx="753">
                  <c:v>1.5089205160000001</c:v>
                </c:pt>
                <c:pt idx="754">
                  <c:v>1.511673627</c:v>
                </c:pt>
                <c:pt idx="755">
                  <c:v>1.5114580419999999</c:v>
                </c:pt>
                <c:pt idx="756">
                  <c:v>1.5112509199999999</c:v>
                </c:pt>
                <c:pt idx="757">
                  <c:v>1.5111121569999999</c:v>
                </c:pt>
                <c:pt idx="758">
                  <c:v>1.503898178</c:v>
                </c:pt>
                <c:pt idx="759">
                  <c:v>1.507709167</c:v>
                </c:pt>
                <c:pt idx="760">
                  <c:v>1.4995896019999999</c:v>
                </c:pt>
                <c:pt idx="761">
                  <c:v>1.504783151</c:v>
                </c:pt>
                <c:pt idx="762">
                  <c:v>1.508289888</c:v>
                </c:pt>
                <c:pt idx="763">
                  <c:v>1.5064591249999999</c:v>
                </c:pt>
                <c:pt idx="764">
                  <c:v>1.5043703079999999</c:v>
                </c:pt>
                <c:pt idx="765">
                  <c:v>1.5043139270000001</c:v>
                </c:pt>
                <c:pt idx="766">
                  <c:v>1.4973089289999999</c:v>
                </c:pt>
                <c:pt idx="767">
                  <c:v>1.5030275740000001</c:v>
                </c:pt>
                <c:pt idx="768">
                  <c:v>1.501665859</c:v>
                </c:pt>
                <c:pt idx="769">
                  <c:v>1.504486945</c:v>
                </c:pt>
                <c:pt idx="770">
                  <c:v>1.5034173040000001</c:v>
                </c:pt>
                <c:pt idx="771">
                  <c:v>1.5094359239999999</c:v>
                </c:pt>
                <c:pt idx="772">
                  <c:v>1.514217573</c:v>
                </c:pt>
                <c:pt idx="773">
                  <c:v>1.519928822</c:v>
                </c:pt>
                <c:pt idx="774">
                  <c:v>1.520699021</c:v>
                </c:pt>
                <c:pt idx="775">
                  <c:v>1.528247315</c:v>
                </c:pt>
                <c:pt idx="776">
                  <c:v>1.530124568</c:v>
                </c:pt>
                <c:pt idx="777">
                  <c:v>1.5362159179999999</c:v>
                </c:pt>
                <c:pt idx="778">
                  <c:v>1.5343102179999999</c:v>
                </c:pt>
                <c:pt idx="779">
                  <c:v>1.538679694</c:v>
                </c:pt>
                <c:pt idx="780">
                  <c:v>1.5391597340000001</c:v>
                </c:pt>
                <c:pt idx="781">
                  <c:v>1.539971666</c:v>
                </c:pt>
                <c:pt idx="782">
                  <c:v>1.542172782</c:v>
                </c:pt>
                <c:pt idx="783">
                  <c:v>1.5444167310000001</c:v>
                </c:pt>
                <c:pt idx="784">
                  <c:v>1.5471722299999999</c:v>
                </c:pt>
                <c:pt idx="785">
                  <c:v>1.5617873170000001</c:v>
                </c:pt>
                <c:pt idx="786">
                  <c:v>1.5645551600000001</c:v>
                </c:pt>
                <c:pt idx="787">
                  <c:v>1.565338774</c:v>
                </c:pt>
                <c:pt idx="788">
                  <c:v>1.5751315939999999</c:v>
                </c:pt>
                <c:pt idx="789">
                  <c:v>1.5772928310000001</c:v>
                </c:pt>
                <c:pt idx="790">
                  <c:v>1.5869586600000001</c:v>
                </c:pt>
                <c:pt idx="791">
                  <c:v>1.596016828</c:v>
                </c:pt>
                <c:pt idx="792">
                  <c:v>1.6004878650000001</c:v>
                </c:pt>
                <c:pt idx="793">
                  <c:v>1.607394108</c:v>
                </c:pt>
                <c:pt idx="794">
                  <c:v>1.6051696070000001</c:v>
                </c:pt>
                <c:pt idx="795">
                  <c:v>1.61312067</c:v>
                </c:pt>
                <c:pt idx="796">
                  <c:v>1.6217949899999999</c:v>
                </c:pt>
                <c:pt idx="797">
                  <c:v>1.6316441049999999</c:v>
                </c:pt>
                <c:pt idx="798">
                  <c:v>1.6379408660000001</c:v>
                </c:pt>
                <c:pt idx="799">
                  <c:v>1.644600182</c:v>
                </c:pt>
                <c:pt idx="800">
                  <c:v>1.644557504</c:v>
                </c:pt>
                <c:pt idx="801">
                  <c:v>1.646059894</c:v>
                </c:pt>
                <c:pt idx="802">
                  <c:v>1.6490968530000001</c:v>
                </c:pt>
                <c:pt idx="803">
                  <c:v>1.6539950640000001</c:v>
                </c:pt>
                <c:pt idx="804">
                  <c:v>1.652694616</c:v>
                </c:pt>
                <c:pt idx="805">
                  <c:v>1.6607466310000001</c:v>
                </c:pt>
                <c:pt idx="806">
                  <c:v>1.6614149709999999</c:v>
                </c:pt>
                <c:pt idx="807">
                  <c:v>1.663269084</c:v>
                </c:pt>
                <c:pt idx="808">
                  <c:v>1.660819644</c:v>
                </c:pt>
                <c:pt idx="809">
                  <c:v>1.6604074529999999</c:v>
                </c:pt>
                <c:pt idx="810">
                  <c:v>1.6676704840000001</c:v>
                </c:pt>
                <c:pt idx="811">
                  <c:v>1.6671424379999999</c:v>
                </c:pt>
                <c:pt idx="812">
                  <c:v>1.6688857180000001</c:v>
                </c:pt>
                <c:pt idx="813">
                  <c:v>1.6694829579999999</c:v>
                </c:pt>
                <c:pt idx="814">
                  <c:v>1.6607305210000001</c:v>
                </c:pt>
                <c:pt idx="815">
                  <c:v>1.6661291229999999</c:v>
                </c:pt>
                <c:pt idx="816">
                  <c:v>1.672109165</c:v>
                </c:pt>
                <c:pt idx="817">
                  <c:v>1.6763877890000001</c:v>
                </c:pt>
                <c:pt idx="818">
                  <c:v>1.675968723</c:v>
                </c:pt>
                <c:pt idx="819">
                  <c:v>1.6812844929999999</c:v>
                </c:pt>
                <c:pt idx="820">
                  <c:v>1.6780455379999999</c:v>
                </c:pt>
                <c:pt idx="821">
                  <c:v>1.6779056429999999</c:v>
                </c:pt>
                <c:pt idx="822">
                  <c:v>1.678136112</c:v>
                </c:pt>
                <c:pt idx="823">
                  <c:v>1.6814845810000001</c:v>
                </c:pt>
                <c:pt idx="824">
                  <c:v>1.679895428</c:v>
                </c:pt>
                <c:pt idx="825">
                  <c:v>1.679289888</c:v>
                </c:pt>
                <c:pt idx="826">
                  <c:v>1.679029173</c:v>
                </c:pt>
                <c:pt idx="827">
                  <c:v>1.6624776939999999</c:v>
                </c:pt>
                <c:pt idx="828">
                  <c:v>1.675020127</c:v>
                </c:pt>
                <c:pt idx="829">
                  <c:v>1.672765158</c:v>
                </c:pt>
                <c:pt idx="830">
                  <c:v>1.672673758</c:v>
                </c:pt>
                <c:pt idx="831">
                  <c:v>1.6738343579999999</c:v>
                </c:pt>
                <c:pt idx="832">
                  <c:v>1.6722812229999999</c:v>
                </c:pt>
                <c:pt idx="833">
                  <c:v>1.6702559610000001</c:v>
                </c:pt>
                <c:pt idx="834">
                  <c:v>1.670454259</c:v>
                </c:pt>
                <c:pt idx="835">
                  <c:v>1.672238595</c:v>
                </c:pt>
                <c:pt idx="836">
                  <c:v>1.6706942440000001</c:v>
                </c:pt>
                <c:pt idx="837">
                  <c:v>1.6689003630000001</c:v>
                </c:pt>
                <c:pt idx="838">
                  <c:v>1.67016897</c:v>
                </c:pt>
                <c:pt idx="839">
                  <c:v>1.6673498689999999</c:v>
                </c:pt>
                <c:pt idx="840">
                  <c:v>1.669120301</c:v>
                </c:pt>
                <c:pt idx="841">
                  <c:v>1.673814221</c:v>
                </c:pt>
                <c:pt idx="842">
                  <c:v>1.6807671470000001</c:v>
                </c:pt>
                <c:pt idx="843">
                  <c:v>1.6810645150000001</c:v>
                </c:pt>
                <c:pt idx="844">
                  <c:v>1.678692726</c:v>
                </c:pt>
                <c:pt idx="845">
                  <c:v>1.6807905729999999</c:v>
                </c:pt>
                <c:pt idx="846">
                  <c:v>1.684421776</c:v>
                </c:pt>
                <c:pt idx="847">
                  <c:v>1.6821630780000001</c:v>
                </c:pt>
                <c:pt idx="848">
                  <c:v>1.6823093419999999</c:v>
                </c:pt>
                <c:pt idx="849">
                  <c:v>1.678660601</c:v>
                </c:pt>
                <c:pt idx="850">
                  <c:v>1.678940095</c:v>
                </c:pt>
                <c:pt idx="851">
                  <c:v>1.6866053409999999</c:v>
                </c:pt>
                <c:pt idx="852">
                  <c:v>1.696068055</c:v>
                </c:pt>
                <c:pt idx="853">
                  <c:v>1.6958819650000001</c:v>
                </c:pt>
                <c:pt idx="854">
                  <c:v>1.6968921290000001</c:v>
                </c:pt>
                <c:pt idx="855">
                  <c:v>1.6988049380000001</c:v>
                </c:pt>
                <c:pt idx="856">
                  <c:v>1.6940224450000001</c:v>
                </c:pt>
                <c:pt idx="857">
                  <c:v>1.705416058</c:v>
                </c:pt>
                <c:pt idx="858">
                  <c:v>1.7108148089999999</c:v>
                </c:pt>
                <c:pt idx="859">
                  <c:v>1.715512623</c:v>
                </c:pt>
                <c:pt idx="860">
                  <c:v>1.717011574</c:v>
                </c:pt>
                <c:pt idx="861">
                  <c:v>1.7199167230000001</c:v>
                </c:pt>
                <c:pt idx="862">
                  <c:v>1.720956097</c:v>
                </c:pt>
                <c:pt idx="863">
                  <c:v>1.719566334</c:v>
                </c:pt>
                <c:pt idx="864">
                  <c:v>1.724814144</c:v>
                </c:pt>
                <c:pt idx="865">
                  <c:v>1.7289026649999999</c:v>
                </c:pt>
                <c:pt idx="866">
                  <c:v>1.7327378280000001</c:v>
                </c:pt>
                <c:pt idx="867">
                  <c:v>1.735119664</c:v>
                </c:pt>
                <c:pt idx="868">
                  <c:v>1.736754395</c:v>
                </c:pt>
                <c:pt idx="869">
                  <c:v>1.739587494</c:v>
                </c:pt>
                <c:pt idx="870">
                  <c:v>1.7415486609999999</c:v>
                </c:pt>
                <c:pt idx="871">
                  <c:v>1.7287857879999999</c:v>
                </c:pt>
                <c:pt idx="872">
                  <c:v>1.7331752090000001</c:v>
                </c:pt>
                <c:pt idx="873">
                  <c:v>1.733594512</c:v>
                </c:pt>
                <c:pt idx="874">
                  <c:v>1.734782606</c:v>
                </c:pt>
                <c:pt idx="875">
                  <c:v>1.739238895</c:v>
                </c:pt>
                <c:pt idx="876">
                  <c:v>1.739385567</c:v>
                </c:pt>
                <c:pt idx="877">
                  <c:v>1.744690098</c:v>
                </c:pt>
                <c:pt idx="878">
                  <c:v>1.744547818</c:v>
                </c:pt>
                <c:pt idx="879">
                  <c:v>1.746508138</c:v>
                </c:pt>
                <c:pt idx="880">
                  <c:v>1.7425950020000001</c:v>
                </c:pt>
                <c:pt idx="881">
                  <c:v>1.7252176420000001</c:v>
                </c:pt>
                <c:pt idx="882">
                  <c:v>1.732865058</c:v>
                </c:pt>
                <c:pt idx="883">
                  <c:v>1.7374896150000001</c:v>
                </c:pt>
                <c:pt idx="884">
                  <c:v>1.7395883489999999</c:v>
                </c:pt>
                <c:pt idx="885">
                  <c:v>1.7448145429999999</c:v>
                </c:pt>
                <c:pt idx="886">
                  <c:v>1.748338594</c:v>
                </c:pt>
                <c:pt idx="887">
                  <c:v>1.758901939</c:v>
                </c:pt>
                <c:pt idx="888">
                  <c:v>1.7607915430000001</c:v>
                </c:pt>
                <c:pt idx="889">
                  <c:v>1.7584619829999999</c:v>
                </c:pt>
                <c:pt idx="890">
                  <c:v>1.758166482</c:v>
                </c:pt>
                <c:pt idx="891">
                  <c:v>1.7578153400000001</c:v>
                </c:pt>
                <c:pt idx="892">
                  <c:v>1.754389234</c:v>
                </c:pt>
                <c:pt idx="893">
                  <c:v>1.756279822</c:v>
                </c:pt>
                <c:pt idx="894">
                  <c:v>1.7397017130000001</c:v>
                </c:pt>
                <c:pt idx="895">
                  <c:v>1.744303089</c:v>
                </c:pt>
                <c:pt idx="896">
                  <c:v>1.773618812</c:v>
                </c:pt>
                <c:pt idx="897">
                  <c:v>1.772073786</c:v>
                </c:pt>
                <c:pt idx="898">
                  <c:v>1.7713458989999999</c:v>
                </c:pt>
                <c:pt idx="899">
                  <c:v>1.769942455</c:v>
                </c:pt>
                <c:pt idx="900">
                  <c:v>1.768349092</c:v>
                </c:pt>
                <c:pt idx="901">
                  <c:v>1.7566591499999999</c:v>
                </c:pt>
                <c:pt idx="902">
                  <c:v>1.7650335049999999</c:v>
                </c:pt>
                <c:pt idx="903">
                  <c:v>1.758623107</c:v>
                </c:pt>
                <c:pt idx="904">
                  <c:v>1.7569423230000001</c:v>
                </c:pt>
                <c:pt idx="905">
                  <c:v>1.7647947509999999</c:v>
                </c:pt>
                <c:pt idx="906">
                  <c:v>1.7612658590000001</c:v>
                </c:pt>
                <c:pt idx="907">
                  <c:v>1.762150748</c:v>
                </c:pt>
                <c:pt idx="908">
                  <c:v>1.7639178419999999</c:v>
                </c:pt>
                <c:pt idx="909">
                  <c:v>1.766975754</c:v>
                </c:pt>
                <c:pt idx="910">
                  <c:v>1.7756615490000001</c:v>
                </c:pt>
                <c:pt idx="911">
                  <c:v>1.7780642659999999</c:v>
                </c:pt>
                <c:pt idx="912">
                  <c:v>1.7671729199999999</c:v>
                </c:pt>
                <c:pt idx="913">
                  <c:v>1.760983382</c:v>
                </c:pt>
                <c:pt idx="914">
                  <c:v>1.760848363</c:v>
                </c:pt>
                <c:pt idx="915">
                  <c:v>1.753386372</c:v>
                </c:pt>
                <c:pt idx="916">
                  <c:v>1.7510366939999999</c:v>
                </c:pt>
                <c:pt idx="917">
                  <c:v>1.750091361</c:v>
                </c:pt>
                <c:pt idx="918">
                  <c:v>1.749549335</c:v>
                </c:pt>
                <c:pt idx="919">
                  <c:v>1.7487019909999999</c:v>
                </c:pt>
                <c:pt idx="920">
                  <c:v>1.748199112</c:v>
                </c:pt>
                <c:pt idx="921">
                  <c:v>1.749232546</c:v>
                </c:pt>
                <c:pt idx="922">
                  <c:v>1.7269978880000001</c:v>
                </c:pt>
                <c:pt idx="923">
                  <c:v>1.7317625409999999</c:v>
                </c:pt>
                <c:pt idx="924">
                  <c:v>1.731251696</c:v>
                </c:pt>
                <c:pt idx="925">
                  <c:v>1.730102121</c:v>
                </c:pt>
                <c:pt idx="926">
                  <c:v>1.723454399</c:v>
                </c:pt>
                <c:pt idx="927">
                  <c:v>1.72528082</c:v>
                </c:pt>
                <c:pt idx="928">
                  <c:v>1.7141611830000001</c:v>
                </c:pt>
                <c:pt idx="929">
                  <c:v>1.7134375470000001</c:v>
                </c:pt>
                <c:pt idx="930">
                  <c:v>1.704563126</c:v>
                </c:pt>
                <c:pt idx="931">
                  <c:v>1.6993291260000001</c:v>
                </c:pt>
                <c:pt idx="932">
                  <c:v>1.7007026489999999</c:v>
                </c:pt>
                <c:pt idx="933">
                  <c:v>1.7013307529999999</c:v>
                </c:pt>
                <c:pt idx="934">
                  <c:v>1.6977359009999999</c:v>
                </c:pt>
                <c:pt idx="935">
                  <c:v>1.7061123709999999</c:v>
                </c:pt>
                <c:pt idx="936">
                  <c:v>1.709355006</c:v>
                </c:pt>
                <c:pt idx="937">
                  <c:v>1.7069756140000001</c:v>
                </c:pt>
                <c:pt idx="938">
                  <c:v>1.719251801</c:v>
                </c:pt>
                <c:pt idx="939">
                  <c:v>1.7222184439999999</c:v>
                </c:pt>
                <c:pt idx="940">
                  <c:v>1.7252071920000001</c:v>
                </c:pt>
                <c:pt idx="941">
                  <c:v>1.727563916</c:v>
                </c:pt>
                <c:pt idx="942">
                  <c:v>1.7273775090000001</c:v>
                </c:pt>
                <c:pt idx="943">
                  <c:v>1.7243776639999999</c:v>
                </c:pt>
                <c:pt idx="944">
                  <c:v>1.7292900369999999</c:v>
                </c:pt>
                <c:pt idx="945">
                  <c:v>1.723489085</c:v>
                </c:pt>
                <c:pt idx="946">
                  <c:v>1.7256205529999999</c:v>
                </c:pt>
                <c:pt idx="947">
                  <c:v>1.714790662</c:v>
                </c:pt>
                <c:pt idx="948">
                  <c:v>1.717174644</c:v>
                </c:pt>
                <c:pt idx="949">
                  <c:v>1.710909899</c:v>
                </c:pt>
                <c:pt idx="950">
                  <c:v>1.710784469</c:v>
                </c:pt>
                <c:pt idx="951">
                  <c:v>1.7124413249999999</c:v>
                </c:pt>
                <c:pt idx="952">
                  <c:v>1.7121790059999999</c:v>
                </c:pt>
                <c:pt idx="953">
                  <c:v>1.7131520060000001</c:v>
                </c:pt>
                <c:pt idx="954">
                  <c:v>1.72967644</c:v>
                </c:pt>
                <c:pt idx="955">
                  <c:v>1.7252991980000001</c:v>
                </c:pt>
                <c:pt idx="956">
                  <c:v>1.721565453</c:v>
                </c:pt>
                <c:pt idx="957">
                  <c:v>1.694709625</c:v>
                </c:pt>
                <c:pt idx="958">
                  <c:v>1.6835902190000001</c:v>
                </c:pt>
                <c:pt idx="959">
                  <c:v>1.67948382</c:v>
                </c:pt>
                <c:pt idx="960">
                  <c:v>1.6760627480000001</c:v>
                </c:pt>
                <c:pt idx="961">
                  <c:v>1.7149946780000001</c:v>
                </c:pt>
                <c:pt idx="962">
                  <c:v>1.7038149220000001</c:v>
                </c:pt>
                <c:pt idx="963">
                  <c:v>1.6949105040000001</c:v>
                </c:pt>
                <c:pt idx="964">
                  <c:v>1.6871148739999999</c:v>
                </c:pt>
                <c:pt idx="965">
                  <c:v>1.679285253</c:v>
                </c:pt>
                <c:pt idx="966">
                  <c:v>1.664728913</c:v>
                </c:pt>
                <c:pt idx="967">
                  <c:v>1.6585563759999999</c:v>
                </c:pt>
                <c:pt idx="968">
                  <c:v>1.653757433</c:v>
                </c:pt>
                <c:pt idx="969">
                  <c:v>1.64052219</c:v>
                </c:pt>
                <c:pt idx="970">
                  <c:v>1.6366150900000001</c:v>
                </c:pt>
                <c:pt idx="971">
                  <c:v>1.635780062</c:v>
                </c:pt>
                <c:pt idx="972">
                  <c:v>1.628837409</c:v>
                </c:pt>
                <c:pt idx="973">
                  <c:v>1.620097149</c:v>
                </c:pt>
                <c:pt idx="974">
                  <c:v>1.6129652510000001</c:v>
                </c:pt>
                <c:pt idx="975">
                  <c:v>1.6050944579999999</c:v>
                </c:pt>
                <c:pt idx="976">
                  <c:v>1.59595317</c:v>
                </c:pt>
                <c:pt idx="977">
                  <c:v>1.5911468849999999</c:v>
                </c:pt>
                <c:pt idx="978">
                  <c:v>1.592323089</c:v>
                </c:pt>
                <c:pt idx="979">
                  <c:v>1.6067333100000001</c:v>
                </c:pt>
                <c:pt idx="980">
                  <c:v>1.591314254</c:v>
                </c:pt>
                <c:pt idx="981">
                  <c:v>1.5845338819999999</c:v>
                </c:pt>
                <c:pt idx="982">
                  <c:v>1.581401075</c:v>
                </c:pt>
                <c:pt idx="983">
                  <c:v>1.563141774</c:v>
                </c:pt>
                <c:pt idx="984">
                  <c:v>1.5435135040000001</c:v>
                </c:pt>
                <c:pt idx="985">
                  <c:v>1.537026765</c:v>
                </c:pt>
                <c:pt idx="986">
                  <c:v>1.5338714870000001</c:v>
                </c:pt>
                <c:pt idx="987">
                  <c:v>1.5213962270000001</c:v>
                </c:pt>
                <c:pt idx="988">
                  <c:v>1.5099595809999999</c:v>
                </c:pt>
                <c:pt idx="989">
                  <c:v>1.4796382939999999</c:v>
                </c:pt>
                <c:pt idx="990">
                  <c:v>1.4708027829999999</c:v>
                </c:pt>
                <c:pt idx="991">
                  <c:v>1.4590828600000001</c:v>
                </c:pt>
                <c:pt idx="992">
                  <c:v>1.4509675559999999</c:v>
                </c:pt>
                <c:pt idx="993">
                  <c:v>1.446302333</c:v>
                </c:pt>
                <c:pt idx="994">
                  <c:v>1.4353943790000001</c:v>
                </c:pt>
                <c:pt idx="995">
                  <c:v>1.423317232</c:v>
                </c:pt>
                <c:pt idx="996">
                  <c:v>1.408891653</c:v>
                </c:pt>
                <c:pt idx="997">
                  <c:v>1.403589983</c:v>
                </c:pt>
                <c:pt idx="998">
                  <c:v>1.3999950720000001</c:v>
                </c:pt>
                <c:pt idx="999">
                  <c:v>1.3921493949999999</c:v>
                </c:pt>
                <c:pt idx="1000">
                  <c:v>1.381861993</c:v>
                </c:pt>
                <c:pt idx="1001">
                  <c:v>1.380718423</c:v>
                </c:pt>
                <c:pt idx="1002">
                  <c:v>1.399648094</c:v>
                </c:pt>
                <c:pt idx="1003">
                  <c:v>1.3991603889999999</c:v>
                </c:pt>
                <c:pt idx="1004">
                  <c:v>1.3972819160000001</c:v>
                </c:pt>
                <c:pt idx="1005">
                  <c:v>1.3959669219999999</c:v>
                </c:pt>
                <c:pt idx="1006">
                  <c:v>1.3955262180000001</c:v>
                </c:pt>
                <c:pt idx="1007">
                  <c:v>1.405853748</c:v>
                </c:pt>
                <c:pt idx="1008">
                  <c:v>1.403701189</c:v>
                </c:pt>
                <c:pt idx="1009">
                  <c:v>1.435692239</c:v>
                </c:pt>
                <c:pt idx="1010">
                  <c:v>1.4464882999999999</c:v>
                </c:pt>
                <c:pt idx="1011">
                  <c:v>1.44460185</c:v>
                </c:pt>
                <c:pt idx="1012">
                  <c:v>1.4416595409999999</c:v>
                </c:pt>
                <c:pt idx="1013">
                  <c:v>1.446592289</c:v>
                </c:pt>
                <c:pt idx="1014">
                  <c:v>1.4498606080000001</c:v>
                </c:pt>
                <c:pt idx="1015">
                  <c:v>1.449831348</c:v>
                </c:pt>
                <c:pt idx="1016">
                  <c:v>1.4505541630000001</c:v>
                </c:pt>
                <c:pt idx="1017">
                  <c:v>1.4473041980000001</c:v>
                </c:pt>
                <c:pt idx="1018">
                  <c:v>1.445357673</c:v>
                </c:pt>
                <c:pt idx="1019">
                  <c:v>1.445253364</c:v>
                </c:pt>
                <c:pt idx="1020">
                  <c:v>1.4463180760000001</c:v>
                </c:pt>
                <c:pt idx="1021">
                  <c:v>1.4587906820000001</c:v>
                </c:pt>
                <c:pt idx="1022">
                  <c:v>1.45612948</c:v>
                </c:pt>
                <c:pt idx="1023">
                  <c:v>1.45699179</c:v>
                </c:pt>
                <c:pt idx="1024">
                  <c:v>1.454929645</c:v>
                </c:pt>
                <c:pt idx="1025">
                  <c:v>1.448686446</c:v>
                </c:pt>
                <c:pt idx="1026">
                  <c:v>1.449346351</c:v>
                </c:pt>
                <c:pt idx="1027">
                  <c:v>1.4608266590000001</c:v>
                </c:pt>
                <c:pt idx="1028">
                  <c:v>1.4606364620000001</c:v>
                </c:pt>
                <c:pt idx="1029">
                  <c:v>1.4563454570000001</c:v>
                </c:pt>
                <c:pt idx="1030">
                  <c:v>1.4560287279999999</c:v>
                </c:pt>
                <c:pt idx="1031">
                  <c:v>1.4557449680000001</c:v>
                </c:pt>
                <c:pt idx="1032">
                  <c:v>1.45265859</c:v>
                </c:pt>
                <c:pt idx="1033">
                  <c:v>1.451407197</c:v>
                </c:pt>
                <c:pt idx="1034">
                  <c:v>1.4500471669999999</c:v>
                </c:pt>
                <c:pt idx="1035">
                  <c:v>1.4366654480000001</c:v>
                </c:pt>
                <c:pt idx="1036">
                  <c:v>1.435687589</c:v>
                </c:pt>
                <c:pt idx="1037">
                  <c:v>1.4366846209999999</c:v>
                </c:pt>
                <c:pt idx="1038">
                  <c:v>1.428833273</c:v>
                </c:pt>
                <c:pt idx="1039">
                  <c:v>1.4285259340000001</c:v>
                </c:pt>
                <c:pt idx="1040">
                  <c:v>1.4256148500000001</c:v>
                </c:pt>
                <c:pt idx="1041">
                  <c:v>1.4332723730000001</c:v>
                </c:pt>
                <c:pt idx="1042">
                  <c:v>1.4316155880000001</c:v>
                </c:pt>
                <c:pt idx="1043">
                  <c:v>1.4431126599999999</c:v>
                </c:pt>
                <c:pt idx="1044">
                  <c:v>1.4477726550000001</c:v>
                </c:pt>
                <c:pt idx="1045">
                  <c:v>1.4478941460000001</c:v>
                </c:pt>
                <c:pt idx="1046">
                  <c:v>1.4455918750000001</c:v>
                </c:pt>
                <c:pt idx="1047">
                  <c:v>1.438163474</c:v>
                </c:pt>
                <c:pt idx="1048">
                  <c:v>1.4424042029999999</c:v>
                </c:pt>
                <c:pt idx="1049">
                  <c:v>1.444171753</c:v>
                </c:pt>
                <c:pt idx="1050">
                  <c:v>1.4445621399999999</c:v>
                </c:pt>
                <c:pt idx="1051">
                  <c:v>1.4474098520000001</c:v>
                </c:pt>
                <c:pt idx="1052">
                  <c:v>1.447787972</c:v>
                </c:pt>
                <c:pt idx="1053">
                  <c:v>1.4487098190000001</c:v>
                </c:pt>
                <c:pt idx="1054">
                  <c:v>1.448500017</c:v>
                </c:pt>
                <c:pt idx="1055">
                  <c:v>1.446893939</c:v>
                </c:pt>
                <c:pt idx="1056">
                  <c:v>1.449175265</c:v>
                </c:pt>
                <c:pt idx="1057">
                  <c:v>1.4530372709999999</c:v>
                </c:pt>
                <c:pt idx="1058">
                  <c:v>1.4562232429999999</c:v>
                </c:pt>
                <c:pt idx="1059">
                  <c:v>1.4545820119999999</c:v>
                </c:pt>
                <c:pt idx="1060">
                  <c:v>1.4469412210000001</c:v>
                </c:pt>
                <c:pt idx="1061">
                  <c:v>1.444911673</c:v>
                </c:pt>
                <c:pt idx="1062">
                  <c:v>1.4426449100000001</c:v>
                </c:pt>
                <c:pt idx="1063">
                  <c:v>1.44175385</c:v>
                </c:pt>
                <c:pt idx="1064">
                  <c:v>1.4403388130000001</c:v>
                </c:pt>
                <c:pt idx="1065">
                  <c:v>1.4369740010000001</c:v>
                </c:pt>
                <c:pt idx="1066">
                  <c:v>1.430312016</c:v>
                </c:pt>
                <c:pt idx="1067">
                  <c:v>1.423895307</c:v>
                </c:pt>
                <c:pt idx="1068">
                  <c:v>1.4236257960000001</c:v>
                </c:pt>
                <c:pt idx="1069">
                  <c:v>1.418518159</c:v>
                </c:pt>
                <c:pt idx="1070">
                  <c:v>1.4200737109999999</c:v>
                </c:pt>
                <c:pt idx="1071">
                  <c:v>1.4193342760000001</c:v>
                </c:pt>
                <c:pt idx="1072">
                  <c:v>1.4202976570000001</c:v>
                </c:pt>
                <c:pt idx="1073">
                  <c:v>1.420828534</c:v>
                </c:pt>
                <c:pt idx="1074">
                  <c:v>1.4376503570000001</c:v>
                </c:pt>
                <c:pt idx="1075">
                  <c:v>1.43780884</c:v>
                </c:pt>
                <c:pt idx="1076">
                  <c:v>1.4378204130000001</c:v>
                </c:pt>
                <c:pt idx="1077">
                  <c:v>1.4386996409999999</c:v>
                </c:pt>
                <c:pt idx="1078">
                  <c:v>1.4268125089999999</c:v>
                </c:pt>
                <c:pt idx="1079">
                  <c:v>1.444380768</c:v>
                </c:pt>
                <c:pt idx="1080">
                  <c:v>1.4420666090000001</c:v>
                </c:pt>
                <c:pt idx="1081">
                  <c:v>1.5052183370000001</c:v>
                </c:pt>
                <c:pt idx="1082">
                  <c:v>1.498376946</c:v>
                </c:pt>
                <c:pt idx="1083">
                  <c:v>1.4915448060000001</c:v>
                </c:pt>
                <c:pt idx="1084">
                  <c:v>1.487756281</c:v>
                </c:pt>
                <c:pt idx="1085">
                  <c:v>1.4863658470000001</c:v>
                </c:pt>
                <c:pt idx="1086">
                  <c:v>1.484637915</c:v>
                </c:pt>
                <c:pt idx="1087">
                  <c:v>1.483249383</c:v>
                </c:pt>
                <c:pt idx="1088">
                  <c:v>1.4808355639999999</c:v>
                </c:pt>
                <c:pt idx="1089">
                  <c:v>1.4779061010000001</c:v>
                </c:pt>
                <c:pt idx="1090">
                  <c:v>1.475466538</c:v>
                </c:pt>
                <c:pt idx="1091">
                  <c:v>1.482715816</c:v>
                </c:pt>
                <c:pt idx="1092">
                  <c:v>1.4751783110000001</c:v>
                </c:pt>
                <c:pt idx="1093">
                  <c:v>1.4850828979999999</c:v>
                </c:pt>
                <c:pt idx="1094">
                  <c:v>1.5067096179999999</c:v>
                </c:pt>
                <c:pt idx="1095">
                  <c:v>1.5069244530000001</c:v>
                </c:pt>
                <c:pt idx="1096">
                  <c:v>1.5033450960000001</c:v>
                </c:pt>
                <c:pt idx="1097">
                  <c:v>1.501239387</c:v>
                </c:pt>
                <c:pt idx="1098">
                  <c:v>1.502026036</c:v>
                </c:pt>
                <c:pt idx="1099">
                  <c:v>1.5036914180000001</c:v>
                </c:pt>
                <c:pt idx="1100">
                  <c:v>1.506272646</c:v>
                </c:pt>
                <c:pt idx="1101">
                  <c:v>1.50212886</c:v>
                </c:pt>
                <c:pt idx="1102">
                  <c:v>1.5047971739999999</c:v>
                </c:pt>
                <c:pt idx="1103">
                  <c:v>1.5023017970000001</c:v>
                </c:pt>
                <c:pt idx="1104">
                  <c:v>1.4990963589999999</c:v>
                </c:pt>
                <c:pt idx="1105">
                  <c:v>1.4991296569999999</c:v>
                </c:pt>
                <c:pt idx="1106">
                  <c:v>1.5042417690000001</c:v>
                </c:pt>
                <c:pt idx="1107">
                  <c:v>1.4975670480000001</c:v>
                </c:pt>
                <c:pt idx="1108">
                  <c:v>1.4956514759999999</c:v>
                </c:pt>
                <c:pt idx="1109">
                  <c:v>1.5025801000000001</c:v>
                </c:pt>
                <c:pt idx="1110">
                  <c:v>1.5013459849999999</c:v>
                </c:pt>
                <c:pt idx="1111">
                  <c:v>1.501567393</c:v>
                </c:pt>
                <c:pt idx="1112">
                  <c:v>1.495871564</c:v>
                </c:pt>
                <c:pt idx="1113">
                  <c:v>1.49242013</c:v>
                </c:pt>
                <c:pt idx="1114">
                  <c:v>1.4895014660000001</c:v>
                </c:pt>
                <c:pt idx="1115">
                  <c:v>1.486720008</c:v>
                </c:pt>
                <c:pt idx="1116">
                  <c:v>1.4928417679999999</c:v>
                </c:pt>
                <c:pt idx="1117">
                  <c:v>1.4885777849999999</c:v>
                </c:pt>
                <c:pt idx="1118">
                  <c:v>1.4852671070000001</c:v>
                </c:pt>
                <c:pt idx="1119">
                  <c:v>1.4833463600000001</c:v>
                </c:pt>
                <c:pt idx="1120">
                  <c:v>1.4736776890000001</c:v>
                </c:pt>
                <c:pt idx="1121">
                  <c:v>1.4707637389999999</c:v>
                </c:pt>
                <c:pt idx="1122">
                  <c:v>1.465904992</c:v>
                </c:pt>
                <c:pt idx="1123">
                  <c:v>1.4642037569999999</c:v>
                </c:pt>
                <c:pt idx="1124">
                  <c:v>1.462607467</c:v>
                </c:pt>
                <c:pt idx="1125">
                  <c:v>1.4589765750000001</c:v>
                </c:pt>
                <c:pt idx="1126">
                  <c:v>1.4617022049999999</c:v>
                </c:pt>
                <c:pt idx="1127">
                  <c:v>1.454412136</c:v>
                </c:pt>
                <c:pt idx="1128">
                  <c:v>1.450909987</c:v>
                </c:pt>
                <c:pt idx="1129">
                  <c:v>1.447008139</c:v>
                </c:pt>
                <c:pt idx="1130">
                  <c:v>1.4422250940000001</c:v>
                </c:pt>
                <c:pt idx="1131">
                  <c:v>1.437373657</c:v>
                </c:pt>
                <c:pt idx="1132">
                  <c:v>1.4354445280000001</c:v>
                </c:pt>
                <c:pt idx="1133">
                  <c:v>1.431746822</c:v>
                </c:pt>
                <c:pt idx="1134">
                  <c:v>1.428669459</c:v>
                </c:pt>
                <c:pt idx="1135">
                  <c:v>1.425844949</c:v>
                </c:pt>
                <c:pt idx="1136">
                  <c:v>1.4279980050000001</c:v>
                </c:pt>
                <c:pt idx="1137">
                  <c:v>1.4136663920000001</c:v>
                </c:pt>
                <c:pt idx="1138">
                  <c:v>1.4027259910000001</c:v>
                </c:pt>
                <c:pt idx="1139">
                  <c:v>1.3921506749999999</c:v>
                </c:pt>
                <c:pt idx="1140">
                  <c:v>1.3873912660000001</c:v>
                </c:pt>
                <c:pt idx="1141">
                  <c:v>1.380648571</c:v>
                </c:pt>
                <c:pt idx="1142">
                  <c:v>1.380127149</c:v>
                </c:pt>
                <c:pt idx="1143">
                  <c:v>1.3753723369999999</c:v>
                </c:pt>
                <c:pt idx="1144">
                  <c:v>1.3750229679999999</c:v>
                </c:pt>
                <c:pt idx="1145">
                  <c:v>1.370596631</c:v>
                </c:pt>
                <c:pt idx="1146">
                  <c:v>1.347039855</c:v>
                </c:pt>
                <c:pt idx="1147">
                  <c:v>1.3495340680000001</c:v>
                </c:pt>
                <c:pt idx="1148">
                  <c:v>1.3475315349999999</c:v>
                </c:pt>
                <c:pt idx="1149">
                  <c:v>1.3470578980000001</c:v>
                </c:pt>
                <c:pt idx="1150">
                  <c:v>1.3448023229999999</c:v>
                </c:pt>
                <c:pt idx="1151">
                  <c:v>1.343687013</c:v>
                </c:pt>
                <c:pt idx="1152">
                  <c:v>1.334193183</c:v>
                </c:pt>
                <c:pt idx="1153">
                  <c:v>1.3314238279999999</c:v>
                </c:pt>
                <c:pt idx="1154">
                  <c:v>1.3268860689999999</c:v>
                </c:pt>
                <c:pt idx="1155">
                  <c:v>1.3176727690000001</c:v>
                </c:pt>
                <c:pt idx="1156">
                  <c:v>1.319515693</c:v>
                </c:pt>
                <c:pt idx="1157">
                  <c:v>1.3172071940000001</c:v>
                </c:pt>
                <c:pt idx="1158">
                  <c:v>1.31526459</c:v>
                </c:pt>
                <c:pt idx="1159">
                  <c:v>1.313808369</c:v>
                </c:pt>
                <c:pt idx="1160">
                  <c:v>1.3021425129999999</c:v>
                </c:pt>
                <c:pt idx="1161">
                  <c:v>1.2979624059999999</c:v>
                </c:pt>
                <c:pt idx="1162">
                  <c:v>1.2943000840000001</c:v>
                </c:pt>
                <c:pt idx="1163">
                  <c:v>1.2875331940000001</c:v>
                </c:pt>
                <c:pt idx="1164">
                  <c:v>1.2865216880000001</c:v>
                </c:pt>
                <c:pt idx="1165">
                  <c:v>1.2803000250000001</c:v>
                </c:pt>
                <c:pt idx="1166">
                  <c:v>1.2790327450000001</c:v>
                </c:pt>
                <c:pt idx="1167">
                  <c:v>1.2775712299999999</c:v>
                </c:pt>
                <c:pt idx="1168">
                  <c:v>1.275507993</c:v>
                </c:pt>
                <c:pt idx="1169">
                  <c:v>1.274452712</c:v>
                </c:pt>
                <c:pt idx="1170">
                  <c:v>1.2711207870000001</c:v>
                </c:pt>
                <c:pt idx="1171">
                  <c:v>1.2715857719999999</c:v>
                </c:pt>
                <c:pt idx="1172">
                  <c:v>1.2707997369999999</c:v>
                </c:pt>
                <c:pt idx="1173">
                  <c:v>1.2703144829999999</c:v>
                </c:pt>
                <c:pt idx="1174">
                  <c:v>1.2700470070000001</c:v>
                </c:pt>
                <c:pt idx="1175">
                  <c:v>1.270400698</c:v>
                </c:pt>
                <c:pt idx="1176">
                  <c:v>1.2710748860000001</c:v>
                </c:pt>
                <c:pt idx="1177">
                  <c:v>1.269658409</c:v>
                </c:pt>
                <c:pt idx="1178">
                  <c:v>1.2712483210000001</c:v>
                </c:pt>
                <c:pt idx="1179">
                  <c:v>1.2787777220000001</c:v>
                </c:pt>
                <c:pt idx="1180">
                  <c:v>1.2736383170000001</c:v>
                </c:pt>
                <c:pt idx="1181">
                  <c:v>1.2722278279999999</c:v>
                </c:pt>
                <c:pt idx="1182">
                  <c:v>1.270091225</c:v>
                </c:pt>
                <c:pt idx="1183">
                  <c:v>1.268162445</c:v>
                </c:pt>
                <c:pt idx="1184">
                  <c:v>1.2664836020000001</c:v>
                </c:pt>
                <c:pt idx="1185">
                  <c:v>1.261140455</c:v>
                </c:pt>
                <c:pt idx="1186">
                  <c:v>1.260046182</c:v>
                </c:pt>
                <c:pt idx="1187">
                  <c:v>1.2581142409999999</c:v>
                </c:pt>
                <c:pt idx="1188">
                  <c:v>1.2526821050000001</c:v>
                </c:pt>
                <c:pt idx="1189">
                  <c:v>1.2469282260000001</c:v>
                </c:pt>
                <c:pt idx="1190">
                  <c:v>1.2428742660000001</c:v>
                </c:pt>
                <c:pt idx="1191">
                  <c:v>1.2394708029999999</c:v>
                </c:pt>
                <c:pt idx="1192">
                  <c:v>1.2364196940000001</c:v>
                </c:pt>
                <c:pt idx="1193">
                  <c:v>1.2341272539999999</c:v>
                </c:pt>
                <c:pt idx="1194">
                  <c:v>1.230562427</c:v>
                </c:pt>
                <c:pt idx="1195">
                  <c:v>1.2271184100000001</c:v>
                </c:pt>
                <c:pt idx="1196">
                  <c:v>1.2277970389999999</c:v>
                </c:pt>
                <c:pt idx="1197">
                  <c:v>1.225593334</c:v>
                </c:pt>
                <c:pt idx="1198">
                  <c:v>1.2228750880000001</c:v>
                </c:pt>
                <c:pt idx="1199">
                  <c:v>1.2231132689999999</c:v>
                </c:pt>
                <c:pt idx="1200">
                  <c:v>1.222111521</c:v>
                </c:pt>
                <c:pt idx="1201">
                  <c:v>1.220814023</c:v>
                </c:pt>
                <c:pt idx="1202">
                  <c:v>1.2195449060000001</c:v>
                </c:pt>
                <c:pt idx="1203">
                  <c:v>1.2232032049999999</c:v>
                </c:pt>
                <c:pt idx="1204">
                  <c:v>1.2118569859999999</c:v>
                </c:pt>
                <c:pt idx="1205">
                  <c:v>1.2124446550000001</c:v>
                </c:pt>
                <c:pt idx="1206">
                  <c:v>1.2110455259999999</c:v>
                </c:pt>
                <c:pt idx="1207">
                  <c:v>1.215232944</c:v>
                </c:pt>
                <c:pt idx="1208">
                  <c:v>1.2181206899999999</c:v>
                </c:pt>
                <c:pt idx="1209">
                  <c:v>1.217830921</c:v>
                </c:pt>
                <c:pt idx="1210">
                  <c:v>1.2175104809999999</c:v>
                </c:pt>
                <c:pt idx="1211">
                  <c:v>1.192973839</c:v>
                </c:pt>
                <c:pt idx="1212">
                  <c:v>1.197645802</c:v>
                </c:pt>
                <c:pt idx="1213">
                  <c:v>1.205602879</c:v>
                </c:pt>
                <c:pt idx="1214">
                  <c:v>1.20719329</c:v>
                </c:pt>
                <c:pt idx="1215">
                  <c:v>1.2078611290000001</c:v>
                </c:pt>
                <c:pt idx="1216">
                  <c:v>1.209492198</c:v>
                </c:pt>
                <c:pt idx="1217">
                  <c:v>1.2104754289999999</c:v>
                </c:pt>
                <c:pt idx="1218">
                  <c:v>1.2041363949999999</c:v>
                </c:pt>
                <c:pt idx="1219">
                  <c:v>1.206342172</c:v>
                </c:pt>
                <c:pt idx="1220">
                  <c:v>1.2076316680000001</c:v>
                </c:pt>
                <c:pt idx="1221">
                  <c:v>1.2061169920000001</c:v>
                </c:pt>
                <c:pt idx="1222">
                  <c:v>1.2073634689999999</c:v>
                </c:pt>
                <c:pt idx="1223">
                  <c:v>1.2119807330000001</c:v>
                </c:pt>
                <c:pt idx="1224">
                  <c:v>1.2158809290000001</c:v>
                </c:pt>
                <c:pt idx="1225">
                  <c:v>1.2247534200000001</c:v>
                </c:pt>
                <c:pt idx="1226">
                  <c:v>1.2262900619999999</c:v>
                </c:pt>
                <c:pt idx="1227">
                  <c:v>1.2277496269999999</c:v>
                </c:pt>
                <c:pt idx="1228">
                  <c:v>1.2258404549999999</c:v>
                </c:pt>
                <c:pt idx="1229">
                  <c:v>1.2106026080000001</c:v>
                </c:pt>
                <c:pt idx="1230">
                  <c:v>1.2130525139999999</c:v>
                </c:pt>
                <c:pt idx="1231">
                  <c:v>1.2173829890000001</c:v>
                </c:pt>
                <c:pt idx="1232">
                  <c:v>1.2182486880000001</c:v>
                </c:pt>
                <c:pt idx="1233">
                  <c:v>1.222789806</c:v>
                </c:pt>
                <c:pt idx="1234">
                  <c:v>1.222549559</c:v>
                </c:pt>
                <c:pt idx="1235">
                  <c:v>1.2254502970000001</c:v>
                </c:pt>
                <c:pt idx="1236">
                  <c:v>1.224371358</c:v>
                </c:pt>
                <c:pt idx="1237">
                  <c:v>1.228164775</c:v>
                </c:pt>
                <c:pt idx="1238">
                  <c:v>1.227262125</c:v>
                </c:pt>
                <c:pt idx="1239">
                  <c:v>1.2182187229999999</c:v>
                </c:pt>
                <c:pt idx="1240">
                  <c:v>1.2198012119999999</c:v>
                </c:pt>
                <c:pt idx="1241">
                  <c:v>1.220712756</c:v>
                </c:pt>
                <c:pt idx="1242">
                  <c:v>1.223954786</c:v>
                </c:pt>
                <c:pt idx="1243">
                  <c:v>1.225498655</c:v>
                </c:pt>
                <c:pt idx="1244">
                  <c:v>1.236676879</c:v>
                </c:pt>
                <c:pt idx="1245">
                  <c:v>1.238753097</c:v>
                </c:pt>
                <c:pt idx="1246">
                  <c:v>1.2388201539999999</c:v>
                </c:pt>
                <c:pt idx="1247">
                  <c:v>1.2427074819999999</c:v>
                </c:pt>
                <c:pt idx="1248">
                  <c:v>1.243271692</c:v>
                </c:pt>
                <c:pt idx="1249">
                  <c:v>1.242264518</c:v>
                </c:pt>
                <c:pt idx="1250">
                  <c:v>1.2406000880000001</c:v>
                </c:pt>
                <c:pt idx="1251">
                  <c:v>1.2409024129999999</c:v>
                </c:pt>
                <c:pt idx="1252">
                  <c:v>1.229097337</c:v>
                </c:pt>
                <c:pt idx="1253">
                  <c:v>1.242297261</c:v>
                </c:pt>
                <c:pt idx="1254">
                  <c:v>1.242565361</c:v>
                </c:pt>
                <c:pt idx="1255">
                  <c:v>1.241806905</c:v>
                </c:pt>
                <c:pt idx="1256">
                  <c:v>1.242482525</c:v>
                </c:pt>
                <c:pt idx="1257">
                  <c:v>1.2336339670000001</c:v>
                </c:pt>
                <c:pt idx="1258">
                  <c:v>1.23742712</c:v>
                </c:pt>
                <c:pt idx="1259">
                  <c:v>1.213066223</c:v>
                </c:pt>
                <c:pt idx="1260">
                  <c:v>1.2040645649999999</c:v>
                </c:pt>
                <c:pt idx="1261">
                  <c:v>1.208976386</c:v>
                </c:pt>
                <c:pt idx="1262">
                  <c:v>1.224061222</c:v>
                </c:pt>
                <c:pt idx="1263">
                  <c:v>1.2225384530000001</c:v>
                </c:pt>
                <c:pt idx="1264">
                  <c:v>1.2208238570000001</c:v>
                </c:pt>
                <c:pt idx="1265">
                  <c:v>1.220120742</c:v>
                </c:pt>
                <c:pt idx="1266">
                  <c:v>1.218516065</c:v>
                </c:pt>
                <c:pt idx="1267">
                  <c:v>1.217116683</c:v>
                </c:pt>
                <c:pt idx="1268">
                  <c:v>1.2197981630000001</c:v>
                </c:pt>
                <c:pt idx="1269">
                  <c:v>1.2193482899999999</c:v>
                </c:pt>
                <c:pt idx="1270">
                  <c:v>1.2190606530000001</c:v>
                </c:pt>
                <c:pt idx="1271">
                  <c:v>1.2061520699999999</c:v>
                </c:pt>
                <c:pt idx="1272">
                  <c:v>1.2095649289999999</c:v>
                </c:pt>
                <c:pt idx="1273">
                  <c:v>1.2146873949999999</c:v>
                </c:pt>
                <c:pt idx="1274">
                  <c:v>1.214573463</c:v>
                </c:pt>
                <c:pt idx="1275">
                  <c:v>1.211910083</c:v>
                </c:pt>
                <c:pt idx="1276">
                  <c:v>1.2094961950000001</c:v>
                </c:pt>
                <c:pt idx="1277">
                  <c:v>1.197691031</c:v>
                </c:pt>
                <c:pt idx="1278">
                  <c:v>1.201338137</c:v>
                </c:pt>
                <c:pt idx="1279">
                  <c:v>1.201573438</c:v>
                </c:pt>
                <c:pt idx="1280">
                  <c:v>1.2028009770000001</c:v>
                </c:pt>
                <c:pt idx="1281">
                  <c:v>1.203103322</c:v>
                </c:pt>
                <c:pt idx="1282">
                  <c:v>1.206908181</c:v>
                </c:pt>
                <c:pt idx="1283">
                  <c:v>1.2063555130000001</c:v>
                </c:pt>
                <c:pt idx="1284">
                  <c:v>1.2063962800000001</c:v>
                </c:pt>
                <c:pt idx="1285">
                  <c:v>1.206276007</c:v>
                </c:pt>
                <c:pt idx="1286">
                  <c:v>1.2060903679999999</c:v>
                </c:pt>
                <c:pt idx="1287">
                  <c:v>1.2073281490000001</c:v>
                </c:pt>
                <c:pt idx="1288">
                  <c:v>1.2087087830000001</c:v>
                </c:pt>
                <c:pt idx="1289">
                  <c:v>1.2089057969999999</c:v>
                </c:pt>
                <c:pt idx="1290">
                  <c:v>1.2086391489999999</c:v>
                </c:pt>
                <c:pt idx="1291">
                  <c:v>1.2002184920000001</c:v>
                </c:pt>
                <c:pt idx="1292">
                  <c:v>1.2028951999999999</c:v>
                </c:pt>
                <c:pt idx="1293">
                  <c:v>1.1896208589999999</c:v>
                </c:pt>
                <c:pt idx="1294">
                  <c:v>1.1859576519999999</c:v>
                </c:pt>
                <c:pt idx="1295">
                  <c:v>1.1905007839999999</c:v>
                </c:pt>
                <c:pt idx="1296">
                  <c:v>1.1892200129999999</c:v>
                </c:pt>
                <c:pt idx="1297">
                  <c:v>1.189779363</c:v>
                </c:pt>
                <c:pt idx="1298">
                  <c:v>1.189044897</c:v>
                </c:pt>
                <c:pt idx="1299">
                  <c:v>1.187896689</c:v>
                </c:pt>
                <c:pt idx="1300">
                  <c:v>1.1916841359999999</c:v>
                </c:pt>
                <c:pt idx="1301">
                  <c:v>1.1931366839999999</c:v>
                </c:pt>
                <c:pt idx="1302">
                  <c:v>1.1958745070000001</c:v>
                </c:pt>
                <c:pt idx="1303">
                  <c:v>1.195844272</c:v>
                </c:pt>
                <c:pt idx="1304">
                  <c:v>1.1983138310000001</c:v>
                </c:pt>
                <c:pt idx="1305">
                  <c:v>1.1969398360000001</c:v>
                </c:pt>
                <c:pt idx="1306">
                  <c:v>1.1971956130000001</c:v>
                </c:pt>
                <c:pt idx="1307">
                  <c:v>1.1953050860000001</c:v>
                </c:pt>
                <c:pt idx="1308">
                  <c:v>1.194597949</c:v>
                </c:pt>
                <c:pt idx="1309">
                  <c:v>1.1971202030000001</c:v>
                </c:pt>
                <c:pt idx="1310">
                  <c:v>1.199335177</c:v>
                </c:pt>
                <c:pt idx="1311">
                  <c:v>1.202831132</c:v>
                </c:pt>
                <c:pt idx="1312">
                  <c:v>1.2058780090000001</c:v>
                </c:pt>
                <c:pt idx="1313">
                  <c:v>1.2075278599999999</c:v>
                </c:pt>
                <c:pt idx="1314">
                  <c:v>1.2091058779999999</c:v>
                </c:pt>
                <c:pt idx="1315">
                  <c:v>1.209432938</c:v>
                </c:pt>
                <c:pt idx="1316">
                  <c:v>1.212129459</c:v>
                </c:pt>
                <c:pt idx="1317">
                  <c:v>1.2141842249999999</c:v>
                </c:pt>
                <c:pt idx="1318">
                  <c:v>1.214379927</c:v>
                </c:pt>
                <c:pt idx="1319">
                  <c:v>1.2145130909999999</c:v>
                </c:pt>
                <c:pt idx="1320">
                  <c:v>1.2144386739999999</c:v>
                </c:pt>
                <c:pt idx="1321">
                  <c:v>1.214462409</c:v>
                </c:pt>
                <c:pt idx="1322">
                  <c:v>1.2155319469999999</c:v>
                </c:pt>
                <c:pt idx="1323">
                  <c:v>1.212993797</c:v>
                </c:pt>
                <c:pt idx="1324">
                  <c:v>1.1979451679999999</c:v>
                </c:pt>
                <c:pt idx="1325">
                  <c:v>1.1989963079999999</c:v>
                </c:pt>
                <c:pt idx="1326">
                  <c:v>1.2000493860000001</c:v>
                </c:pt>
                <c:pt idx="1327">
                  <c:v>1.2008557200000001</c:v>
                </c:pt>
                <c:pt idx="1328">
                  <c:v>1.200328938</c:v>
                </c:pt>
                <c:pt idx="1329">
                  <c:v>1.1845010680000001</c:v>
                </c:pt>
                <c:pt idx="1330">
                  <c:v>1.1856662419999999</c:v>
                </c:pt>
                <c:pt idx="1331">
                  <c:v>1.1205163899999999</c:v>
                </c:pt>
                <c:pt idx="1332">
                  <c:v>1.124785943</c:v>
                </c:pt>
                <c:pt idx="1333">
                  <c:v>1.127420946</c:v>
                </c:pt>
                <c:pt idx="1334">
                  <c:v>1.1295208750000001</c:v>
                </c:pt>
                <c:pt idx="1335">
                  <c:v>1.1263581970000001</c:v>
                </c:pt>
                <c:pt idx="1336">
                  <c:v>1.129693117</c:v>
                </c:pt>
                <c:pt idx="1337">
                  <c:v>1.1304046240000001</c:v>
                </c:pt>
                <c:pt idx="1338">
                  <c:v>1.130355443</c:v>
                </c:pt>
                <c:pt idx="1339">
                  <c:v>1.132006243</c:v>
                </c:pt>
                <c:pt idx="1340">
                  <c:v>1.1315423410000001</c:v>
                </c:pt>
                <c:pt idx="1341">
                  <c:v>1.116391626</c:v>
                </c:pt>
                <c:pt idx="1342">
                  <c:v>1.1167449949999999</c:v>
                </c:pt>
                <c:pt idx="1343">
                  <c:v>1.1037872099999999</c:v>
                </c:pt>
                <c:pt idx="1344">
                  <c:v>1.073399236</c:v>
                </c:pt>
                <c:pt idx="1345">
                  <c:v>1.069050048</c:v>
                </c:pt>
                <c:pt idx="1346">
                  <c:v>1.065806724</c:v>
                </c:pt>
                <c:pt idx="1347">
                  <c:v>1.068255062</c:v>
                </c:pt>
                <c:pt idx="1348">
                  <c:v>1.0649593470000001</c:v>
                </c:pt>
                <c:pt idx="1349">
                  <c:v>1.0667324119999999</c:v>
                </c:pt>
                <c:pt idx="1350">
                  <c:v>1.052528141</c:v>
                </c:pt>
                <c:pt idx="1351">
                  <c:v>1.048790753</c:v>
                </c:pt>
                <c:pt idx="1352">
                  <c:v>1.0357256029999999</c:v>
                </c:pt>
                <c:pt idx="1353">
                  <c:v>1.0333738960000001</c:v>
                </c:pt>
                <c:pt idx="1354">
                  <c:v>1.036980649</c:v>
                </c:pt>
                <c:pt idx="1355">
                  <c:v>1.0338333260000001</c:v>
                </c:pt>
                <c:pt idx="1356">
                  <c:v>1.0226723419999999</c:v>
                </c:pt>
                <c:pt idx="1357">
                  <c:v>1.0238275080000001</c:v>
                </c:pt>
                <c:pt idx="1358">
                  <c:v>1.022021203</c:v>
                </c:pt>
                <c:pt idx="1359">
                  <c:v>1.0148665610000001</c:v>
                </c:pt>
                <c:pt idx="1360">
                  <c:v>1.0141685620000001</c:v>
                </c:pt>
                <c:pt idx="1361">
                  <c:v>1.009010194</c:v>
                </c:pt>
                <c:pt idx="1362">
                  <c:v>1.009519362</c:v>
                </c:pt>
                <c:pt idx="1363">
                  <c:v>1.0102299180000001</c:v>
                </c:pt>
                <c:pt idx="1364">
                  <c:v>1.0085625110000001</c:v>
                </c:pt>
                <c:pt idx="1365">
                  <c:v>1.007050132</c:v>
                </c:pt>
                <c:pt idx="1366">
                  <c:v>0.99392469500000002</c:v>
                </c:pt>
                <c:pt idx="1367">
                  <c:v>0.99399063899999995</c:v>
                </c:pt>
                <c:pt idx="1368">
                  <c:v>0.99433565099999999</c:v>
                </c:pt>
                <c:pt idx="1369">
                  <c:v>0.99219768100000005</c:v>
                </c:pt>
                <c:pt idx="1370">
                  <c:v>0.99566875399999999</c:v>
                </c:pt>
                <c:pt idx="1371">
                  <c:v>0.99454415600000001</c:v>
                </c:pt>
                <c:pt idx="1372">
                  <c:v>0.99533657600000003</c:v>
                </c:pt>
                <c:pt idx="1373">
                  <c:v>0.99807785400000004</c:v>
                </c:pt>
                <c:pt idx="1374">
                  <c:v>0.99834644100000003</c:v>
                </c:pt>
                <c:pt idx="1375">
                  <c:v>0.99881560300000005</c:v>
                </c:pt>
                <c:pt idx="1376">
                  <c:v>0.99054636799999995</c:v>
                </c:pt>
                <c:pt idx="1377">
                  <c:v>0.98979552000000004</c:v>
                </c:pt>
                <c:pt idx="1378">
                  <c:v>0.98901857199999998</c:v>
                </c:pt>
                <c:pt idx="1379">
                  <c:v>0.98698850000000005</c:v>
                </c:pt>
                <c:pt idx="1380">
                  <c:v>0.98705188600000004</c:v>
                </c:pt>
                <c:pt idx="1381">
                  <c:v>0.98592360400000001</c:v>
                </c:pt>
                <c:pt idx="1382">
                  <c:v>0.98207866200000005</c:v>
                </c:pt>
                <c:pt idx="1383">
                  <c:v>0.98040084299999997</c:v>
                </c:pt>
                <c:pt idx="1384">
                  <c:v>0.98134236799999996</c:v>
                </c:pt>
                <c:pt idx="1385">
                  <c:v>0.97871562300000003</c:v>
                </c:pt>
                <c:pt idx="1386">
                  <c:v>0.96123192899999998</c:v>
                </c:pt>
                <c:pt idx="1387">
                  <c:v>0.96243488499999996</c:v>
                </c:pt>
                <c:pt idx="1388">
                  <c:v>0.97301660199999995</c:v>
                </c:pt>
                <c:pt idx="1389">
                  <c:v>0.977157363</c:v>
                </c:pt>
                <c:pt idx="1390">
                  <c:v>0.98065026799999999</c:v>
                </c:pt>
                <c:pt idx="1391">
                  <c:v>0.97986513799999997</c:v>
                </c:pt>
                <c:pt idx="1392">
                  <c:v>0.97340663100000002</c:v>
                </c:pt>
                <c:pt idx="1393">
                  <c:v>0.97190593700000005</c:v>
                </c:pt>
                <c:pt idx="1394">
                  <c:v>0.96651386100000003</c:v>
                </c:pt>
                <c:pt idx="1395">
                  <c:v>0.96614815600000004</c:v>
                </c:pt>
                <c:pt idx="1396">
                  <c:v>0.96383027300000002</c:v>
                </c:pt>
                <c:pt idx="1397">
                  <c:v>0.95555145699999999</c:v>
                </c:pt>
                <c:pt idx="1398">
                  <c:v>0.95265431099999998</c:v>
                </c:pt>
                <c:pt idx="1399">
                  <c:v>0.94927504500000004</c:v>
                </c:pt>
                <c:pt idx="1400">
                  <c:v>0.94485886799999996</c:v>
                </c:pt>
                <c:pt idx="1401">
                  <c:v>0.94113529200000001</c:v>
                </c:pt>
                <c:pt idx="1402">
                  <c:v>0.93733579099999997</c:v>
                </c:pt>
                <c:pt idx="1403">
                  <c:v>0.93344260400000001</c:v>
                </c:pt>
                <c:pt idx="1404">
                  <c:v>0.93508962100000004</c:v>
                </c:pt>
                <c:pt idx="1405">
                  <c:v>0.93551883700000005</c:v>
                </c:pt>
                <c:pt idx="1406">
                  <c:v>0.93004066900000004</c:v>
                </c:pt>
                <c:pt idx="1407">
                  <c:v>0.92967012999999998</c:v>
                </c:pt>
                <c:pt idx="1408">
                  <c:v>0.92977940199999998</c:v>
                </c:pt>
                <c:pt idx="1409">
                  <c:v>0.92987259700000002</c:v>
                </c:pt>
                <c:pt idx="1410">
                  <c:v>0.928058567</c:v>
                </c:pt>
                <c:pt idx="1411">
                  <c:v>0.921701086</c:v>
                </c:pt>
                <c:pt idx="1412">
                  <c:v>0.91590175500000004</c:v>
                </c:pt>
                <c:pt idx="1413">
                  <c:v>0.90651962600000002</c:v>
                </c:pt>
                <c:pt idx="1414">
                  <c:v>0.89948473699999998</c:v>
                </c:pt>
                <c:pt idx="1415">
                  <c:v>0.89708141100000005</c:v>
                </c:pt>
                <c:pt idx="1416">
                  <c:v>0.89152338399999997</c:v>
                </c:pt>
                <c:pt idx="1417">
                  <c:v>0.88237022399999998</c:v>
                </c:pt>
                <c:pt idx="1418">
                  <c:v>0.88475106299999995</c:v>
                </c:pt>
                <c:pt idx="1419">
                  <c:v>0.87158279100000002</c:v>
                </c:pt>
                <c:pt idx="1420">
                  <c:v>0.869170463</c:v>
                </c:pt>
                <c:pt idx="1421">
                  <c:v>0.86020410899999999</c:v>
                </c:pt>
                <c:pt idx="1422">
                  <c:v>0.85472873699999996</c:v>
                </c:pt>
                <c:pt idx="1423">
                  <c:v>0.84741061500000003</c:v>
                </c:pt>
                <c:pt idx="1424">
                  <c:v>0.84489562399999996</c:v>
                </c:pt>
                <c:pt idx="1425">
                  <c:v>0.840679603</c:v>
                </c:pt>
                <c:pt idx="1426">
                  <c:v>0.83045818699999996</c:v>
                </c:pt>
                <c:pt idx="1427">
                  <c:v>0.83114585900000004</c:v>
                </c:pt>
                <c:pt idx="1428">
                  <c:v>0.82697753299999999</c:v>
                </c:pt>
                <c:pt idx="1429">
                  <c:v>0.80889695100000003</c:v>
                </c:pt>
                <c:pt idx="1430">
                  <c:v>0.80454218700000002</c:v>
                </c:pt>
                <c:pt idx="1431">
                  <c:v>0.79842740800000001</c:v>
                </c:pt>
                <c:pt idx="1432">
                  <c:v>0.79581257400000005</c:v>
                </c:pt>
                <c:pt idx="1433">
                  <c:v>0.78802099000000003</c:v>
                </c:pt>
                <c:pt idx="1434">
                  <c:v>0.79935678700000001</c:v>
                </c:pt>
                <c:pt idx="1435">
                  <c:v>0.79148949499999999</c:v>
                </c:pt>
                <c:pt idx="1436">
                  <c:v>0.809543173</c:v>
                </c:pt>
                <c:pt idx="1437">
                  <c:v>0.797127747</c:v>
                </c:pt>
                <c:pt idx="1438">
                  <c:v>0.80684320499999995</c:v>
                </c:pt>
                <c:pt idx="1439">
                  <c:v>0.82214780499999995</c:v>
                </c:pt>
                <c:pt idx="1440">
                  <c:v>0.82775931700000005</c:v>
                </c:pt>
                <c:pt idx="1441">
                  <c:v>0.82243152600000002</c:v>
                </c:pt>
                <c:pt idx="1442">
                  <c:v>0.81769695899999995</c:v>
                </c:pt>
                <c:pt idx="1443">
                  <c:v>0.812682923</c:v>
                </c:pt>
                <c:pt idx="1444">
                  <c:v>0.81309065800000002</c:v>
                </c:pt>
                <c:pt idx="1445">
                  <c:v>0.80628540299999996</c:v>
                </c:pt>
                <c:pt idx="1446">
                  <c:v>0.79587922300000002</c:v>
                </c:pt>
                <c:pt idx="1447">
                  <c:v>0.78858084900000003</c:v>
                </c:pt>
                <c:pt idx="1448">
                  <c:v>0.77662549199999997</c:v>
                </c:pt>
                <c:pt idx="1449">
                  <c:v>0.77133974599999999</c:v>
                </c:pt>
                <c:pt idx="1450">
                  <c:v>0.77485654699999995</c:v>
                </c:pt>
                <c:pt idx="1451">
                  <c:v>0.77889218500000001</c:v>
                </c:pt>
                <c:pt idx="1452">
                  <c:v>0.77993080000000004</c:v>
                </c:pt>
                <c:pt idx="1453">
                  <c:v>0.76517313300000001</c:v>
                </c:pt>
                <c:pt idx="1454">
                  <c:v>0.75890924900000001</c:v>
                </c:pt>
                <c:pt idx="1455">
                  <c:v>0.755099466</c:v>
                </c:pt>
                <c:pt idx="1456">
                  <c:v>0.75281413100000005</c:v>
                </c:pt>
                <c:pt idx="1457">
                  <c:v>0.74019263199999996</c:v>
                </c:pt>
                <c:pt idx="1458">
                  <c:v>0.73187713099999996</c:v>
                </c:pt>
                <c:pt idx="1459">
                  <c:v>0.732583765</c:v>
                </c:pt>
                <c:pt idx="1460">
                  <c:v>0.72471132999999999</c:v>
                </c:pt>
                <c:pt idx="1461">
                  <c:v>0.72075923500000005</c:v>
                </c:pt>
                <c:pt idx="1462">
                  <c:v>0.71597083699999997</c:v>
                </c:pt>
                <c:pt idx="1463">
                  <c:v>0.70740532</c:v>
                </c:pt>
                <c:pt idx="1464">
                  <c:v>0.70968757599999999</c:v>
                </c:pt>
                <c:pt idx="1465">
                  <c:v>0.70495993999999995</c:v>
                </c:pt>
                <c:pt idx="1466">
                  <c:v>0.75867952500000002</c:v>
                </c:pt>
                <c:pt idx="1467">
                  <c:v>0.75308878300000004</c:v>
                </c:pt>
                <c:pt idx="1468">
                  <c:v>0.76118481400000004</c:v>
                </c:pt>
                <c:pt idx="1469">
                  <c:v>0.75619105499999995</c:v>
                </c:pt>
                <c:pt idx="1470">
                  <c:v>0.75103605600000001</c:v>
                </c:pt>
                <c:pt idx="1471">
                  <c:v>0.74762631800000001</c:v>
                </c:pt>
                <c:pt idx="1472">
                  <c:v>0.74120157600000003</c:v>
                </c:pt>
                <c:pt idx="1473">
                  <c:v>0.73928126900000002</c:v>
                </c:pt>
                <c:pt idx="1474">
                  <c:v>0.73713123599999997</c:v>
                </c:pt>
                <c:pt idx="1475">
                  <c:v>0.73235306700000002</c:v>
                </c:pt>
                <c:pt idx="1476">
                  <c:v>0.73376423499999999</c:v>
                </c:pt>
                <c:pt idx="1477">
                  <c:v>0.73445791999999999</c:v>
                </c:pt>
                <c:pt idx="1478">
                  <c:v>0.73108549599999995</c:v>
                </c:pt>
                <c:pt idx="1479">
                  <c:v>0.72749640900000001</c:v>
                </c:pt>
                <c:pt idx="1480">
                  <c:v>0.72671358500000005</c:v>
                </c:pt>
                <c:pt idx="1481">
                  <c:v>0.72281157399999996</c:v>
                </c:pt>
                <c:pt idx="1482">
                  <c:v>0.72219689200000003</c:v>
                </c:pt>
                <c:pt idx="1483">
                  <c:v>0.71710253499999999</c:v>
                </c:pt>
                <c:pt idx="1484">
                  <c:v>0.71561981100000005</c:v>
                </c:pt>
                <c:pt idx="1485">
                  <c:v>0.71316442599999996</c:v>
                </c:pt>
                <c:pt idx="1486">
                  <c:v>0.71199539700000003</c:v>
                </c:pt>
                <c:pt idx="1487">
                  <c:v>0.71003503000000001</c:v>
                </c:pt>
                <c:pt idx="1488">
                  <c:v>0.70972102500000001</c:v>
                </c:pt>
                <c:pt idx="1489">
                  <c:v>0.708936346</c:v>
                </c:pt>
                <c:pt idx="1490">
                  <c:v>0.70567514200000003</c:v>
                </c:pt>
                <c:pt idx="1491">
                  <c:v>0.70239162799999999</c:v>
                </c:pt>
                <c:pt idx="1492">
                  <c:v>0.70360719400000005</c:v>
                </c:pt>
                <c:pt idx="1493">
                  <c:v>0.69765863299999997</c:v>
                </c:pt>
                <c:pt idx="1494">
                  <c:v>0.69064109900000004</c:v>
                </c:pt>
                <c:pt idx="1495">
                  <c:v>0.68937701200000001</c:v>
                </c:pt>
                <c:pt idx="1496">
                  <c:v>0.68761041700000003</c:v>
                </c:pt>
                <c:pt idx="1497">
                  <c:v>0.68504816700000004</c:v>
                </c:pt>
                <c:pt idx="1498">
                  <c:v>0.68297670799999999</c:v>
                </c:pt>
                <c:pt idx="1499">
                  <c:v>0.68088695399999999</c:v>
                </c:pt>
                <c:pt idx="1500">
                  <c:v>0.67635234700000002</c:v>
                </c:pt>
                <c:pt idx="1501">
                  <c:v>0.67600831800000005</c:v>
                </c:pt>
                <c:pt idx="1502">
                  <c:v>0.67098855899999998</c:v>
                </c:pt>
                <c:pt idx="1503">
                  <c:v>0.65895181199999997</c:v>
                </c:pt>
                <c:pt idx="1504">
                  <c:v>0.65325731600000003</c:v>
                </c:pt>
                <c:pt idx="1505">
                  <c:v>0.64811939399999996</c:v>
                </c:pt>
                <c:pt idx="1506">
                  <c:v>0.64424107600000002</c:v>
                </c:pt>
                <c:pt idx="1507">
                  <c:v>0.63675744099999998</c:v>
                </c:pt>
                <c:pt idx="1508">
                  <c:v>0.63177729100000002</c:v>
                </c:pt>
                <c:pt idx="1509">
                  <c:v>0.62687165199999995</c:v>
                </c:pt>
                <c:pt idx="1510">
                  <c:v>0.62216632000000005</c:v>
                </c:pt>
                <c:pt idx="1511">
                  <c:v>0.61800888899999995</c:v>
                </c:pt>
                <c:pt idx="1512">
                  <c:v>0.60699796399999995</c:v>
                </c:pt>
                <c:pt idx="1513">
                  <c:v>0.60474366599999996</c:v>
                </c:pt>
                <c:pt idx="1514">
                  <c:v>0.60084359099999995</c:v>
                </c:pt>
                <c:pt idx="1515">
                  <c:v>0.59734187900000002</c:v>
                </c:pt>
                <c:pt idx="1516">
                  <c:v>0.59371439599999998</c:v>
                </c:pt>
                <c:pt idx="1517">
                  <c:v>0.58782137599999995</c:v>
                </c:pt>
                <c:pt idx="1518">
                  <c:v>0.58258786100000004</c:v>
                </c:pt>
                <c:pt idx="1519">
                  <c:v>0.57975109800000002</c:v>
                </c:pt>
                <c:pt idx="1520">
                  <c:v>0.57542359700000001</c:v>
                </c:pt>
                <c:pt idx="1521">
                  <c:v>0.56971377099999998</c:v>
                </c:pt>
                <c:pt idx="1522">
                  <c:v>0.56506768100000004</c:v>
                </c:pt>
                <c:pt idx="1523">
                  <c:v>0.56284215000000004</c:v>
                </c:pt>
                <c:pt idx="1524">
                  <c:v>0.55793172300000005</c:v>
                </c:pt>
                <c:pt idx="1525">
                  <c:v>0.55222390200000004</c:v>
                </c:pt>
                <c:pt idx="1526">
                  <c:v>0.54928793499999995</c:v>
                </c:pt>
                <c:pt idx="1527">
                  <c:v>0.54672537499999996</c:v>
                </c:pt>
                <c:pt idx="1528">
                  <c:v>0.53966035899999998</c:v>
                </c:pt>
                <c:pt idx="1529">
                  <c:v>0.53552820099999998</c:v>
                </c:pt>
                <c:pt idx="1530">
                  <c:v>0.53199442299999999</c:v>
                </c:pt>
                <c:pt idx="1531">
                  <c:v>0.52682863499999999</c:v>
                </c:pt>
                <c:pt idx="1532">
                  <c:v>0.520924147</c:v>
                </c:pt>
                <c:pt idx="1533">
                  <c:v>0.51757633999999997</c:v>
                </c:pt>
                <c:pt idx="1534">
                  <c:v>0.51413071499999996</c:v>
                </c:pt>
                <c:pt idx="1535">
                  <c:v>0.519524298</c:v>
                </c:pt>
                <c:pt idx="1536">
                  <c:v>0.51604154899999999</c:v>
                </c:pt>
                <c:pt idx="1537">
                  <c:v>0.51419687000000003</c:v>
                </c:pt>
                <c:pt idx="1538">
                  <c:v>0.51264312899999998</c:v>
                </c:pt>
                <c:pt idx="1539">
                  <c:v>0.51253130800000002</c:v>
                </c:pt>
                <c:pt idx="1540">
                  <c:v>0.50960562700000001</c:v>
                </c:pt>
                <c:pt idx="1541">
                  <c:v>0.50694355899999999</c:v>
                </c:pt>
                <c:pt idx="1542">
                  <c:v>0.50361605899999995</c:v>
                </c:pt>
                <c:pt idx="1543">
                  <c:v>0.50301596599999998</c:v>
                </c:pt>
                <c:pt idx="1544">
                  <c:v>0.50166365099999999</c:v>
                </c:pt>
                <c:pt idx="1545">
                  <c:v>0.50232805599999997</c:v>
                </c:pt>
                <c:pt idx="1546">
                  <c:v>0.49947676200000002</c:v>
                </c:pt>
                <c:pt idx="1547">
                  <c:v>0.49822411999999999</c:v>
                </c:pt>
                <c:pt idx="1548">
                  <c:v>0.49504628099999998</c:v>
                </c:pt>
                <c:pt idx="1549">
                  <c:v>0.49439083900000003</c:v>
                </c:pt>
                <c:pt idx="1550">
                  <c:v>0.49014577199999998</c:v>
                </c:pt>
                <c:pt idx="1551">
                  <c:v>0.48667056400000003</c:v>
                </c:pt>
                <c:pt idx="1552">
                  <c:v>0.50513763199999995</c:v>
                </c:pt>
                <c:pt idx="1553">
                  <c:v>0.50158874799999997</c:v>
                </c:pt>
                <c:pt idx="1554">
                  <c:v>0.50619619299999996</c:v>
                </c:pt>
                <c:pt idx="1555">
                  <c:v>0.50372779300000003</c:v>
                </c:pt>
                <c:pt idx="1556">
                  <c:v>0.50055556000000001</c:v>
                </c:pt>
                <c:pt idx="1557">
                  <c:v>0.49675203099999998</c:v>
                </c:pt>
                <c:pt idx="1558">
                  <c:v>0.49251803500000002</c:v>
                </c:pt>
                <c:pt idx="1559">
                  <c:v>0.48899094199999998</c:v>
                </c:pt>
                <c:pt idx="1560">
                  <c:v>0.48485784300000001</c:v>
                </c:pt>
                <c:pt idx="1561">
                  <c:v>0.48124820299999999</c:v>
                </c:pt>
                <c:pt idx="1562">
                  <c:v>0.47856472100000003</c:v>
                </c:pt>
                <c:pt idx="1563">
                  <c:v>0.475292194</c:v>
                </c:pt>
                <c:pt idx="1564">
                  <c:v>0.47474925200000001</c:v>
                </c:pt>
                <c:pt idx="1565">
                  <c:v>0.476419969</c:v>
                </c:pt>
                <c:pt idx="1566">
                  <c:v>0.47436353599999997</c:v>
                </c:pt>
                <c:pt idx="1567">
                  <c:v>0.47958275700000003</c:v>
                </c:pt>
                <c:pt idx="1568">
                  <c:v>0.49245889100000001</c:v>
                </c:pt>
                <c:pt idx="1569">
                  <c:v>0.493273619</c:v>
                </c:pt>
                <c:pt idx="1570">
                  <c:v>0.49100833399999999</c:v>
                </c:pt>
                <c:pt idx="1571">
                  <c:v>0.49354226099999998</c:v>
                </c:pt>
                <c:pt idx="1572">
                  <c:v>0.51369602299999995</c:v>
                </c:pt>
                <c:pt idx="1573">
                  <c:v>0.514373839</c:v>
                </c:pt>
                <c:pt idx="1574">
                  <c:v>0.52279326299999995</c:v>
                </c:pt>
                <c:pt idx="1575">
                  <c:v>0.52862737100000001</c:v>
                </c:pt>
                <c:pt idx="1576">
                  <c:v>0.52938133099999996</c:v>
                </c:pt>
                <c:pt idx="1577">
                  <c:v>0.53649369800000002</c:v>
                </c:pt>
                <c:pt idx="1578">
                  <c:v>0.53366982299999999</c:v>
                </c:pt>
                <c:pt idx="1579">
                  <c:v>0.529955128</c:v>
                </c:pt>
                <c:pt idx="1580">
                  <c:v>0.54004070900000001</c:v>
                </c:pt>
                <c:pt idx="1581">
                  <c:v>0.54617110499999999</c:v>
                </c:pt>
                <c:pt idx="1582">
                  <c:v>0.54901787499999999</c:v>
                </c:pt>
                <c:pt idx="1583">
                  <c:v>0.546807249</c:v>
                </c:pt>
                <c:pt idx="1584">
                  <c:v>0.54562190300000002</c:v>
                </c:pt>
                <c:pt idx="1585">
                  <c:v>0.54682957499999996</c:v>
                </c:pt>
                <c:pt idx="1586">
                  <c:v>0.54429421</c:v>
                </c:pt>
                <c:pt idx="1587">
                  <c:v>0.54555376700000002</c:v>
                </c:pt>
                <c:pt idx="1588">
                  <c:v>0.54363021099999997</c:v>
                </c:pt>
                <c:pt idx="1589">
                  <c:v>0.54177916500000001</c:v>
                </c:pt>
                <c:pt idx="1590">
                  <c:v>0.54032206199999999</c:v>
                </c:pt>
                <c:pt idx="1591">
                  <c:v>0.53963719799999998</c:v>
                </c:pt>
                <c:pt idx="1592">
                  <c:v>0.53842466</c:v>
                </c:pt>
                <c:pt idx="1593">
                  <c:v>0.55723599999999995</c:v>
                </c:pt>
                <c:pt idx="1594">
                  <c:v>0.55509783400000001</c:v>
                </c:pt>
                <c:pt idx="1595">
                  <c:v>0.55561198999999994</c:v>
                </c:pt>
                <c:pt idx="1596">
                  <c:v>0.55697438300000002</c:v>
                </c:pt>
                <c:pt idx="1597">
                  <c:v>0.55598402300000005</c:v>
                </c:pt>
                <c:pt idx="1598">
                  <c:v>0.55498215900000003</c:v>
                </c:pt>
                <c:pt idx="1599">
                  <c:v>0.555450098</c:v>
                </c:pt>
                <c:pt idx="1600">
                  <c:v>0.55649191600000003</c:v>
                </c:pt>
                <c:pt idx="1601">
                  <c:v>0.55674467699999997</c:v>
                </c:pt>
                <c:pt idx="1602">
                  <c:v>0.55686939199999996</c:v>
                </c:pt>
                <c:pt idx="1603">
                  <c:v>0.55974527500000004</c:v>
                </c:pt>
                <c:pt idx="1604">
                  <c:v>0.55795335199999996</c:v>
                </c:pt>
                <c:pt idx="1605">
                  <c:v>0.55752710400000005</c:v>
                </c:pt>
                <c:pt idx="1606">
                  <c:v>0.55711332700000005</c:v>
                </c:pt>
                <c:pt idx="1607">
                  <c:v>0.55570661799999999</c:v>
                </c:pt>
                <c:pt idx="1608">
                  <c:v>0.55478737099999997</c:v>
                </c:pt>
                <c:pt idx="1609">
                  <c:v>0.56300343500000005</c:v>
                </c:pt>
                <c:pt idx="1610">
                  <c:v>0.56226425499999999</c:v>
                </c:pt>
                <c:pt idx="1611">
                  <c:v>0.56436939100000005</c:v>
                </c:pt>
                <c:pt idx="1612">
                  <c:v>0.56862910200000005</c:v>
                </c:pt>
                <c:pt idx="1613">
                  <c:v>0.58620749299999997</c:v>
                </c:pt>
                <c:pt idx="1614">
                  <c:v>0.59682888300000003</c:v>
                </c:pt>
                <c:pt idx="1615">
                  <c:v>0.59546289200000002</c:v>
                </c:pt>
                <c:pt idx="1616">
                  <c:v>0.60081525599999996</c:v>
                </c:pt>
                <c:pt idx="1617">
                  <c:v>0.60274142799999997</c:v>
                </c:pt>
                <c:pt idx="1618">
                  <c:v>0.601448121</c:v>
                </c:pt>
                <c:pt idx="1619">
                  <c:v>0.59939819699999997</c:v>
                </c:pt>
                <c:pt idx="1620">
                  <c:v>0.59730228500000004</c:v>
                </c:pt>
                <c:pt idx="1621">
                  <c:v>0.59896874200000005</c:v>
                </c:pt>
                <c:pt idx="1622">
                  <c:v>0.59941293699999998</c:v>
                </c:pt>
                <c:pt idx="1623">
                  <c:v>0.59879344700000003</c:v>
                </c:pt>
                <c:pt idx="1624">
                  <c:v>0.59870690400000004</c:v>
                </c:pt>
                <c:pt idx="1625">
                  <c:v>0.59860854799999996</c:v>
                </c:pt>
                <c:pt idx="1626">
                  <c:v>0.59887665800000001</c:v>
                </c:pt>
                <c:pt idx="1627">
                  <c:v>0.60203938199999996</c:v>
                </c:pt>
                <c:pt idx="1628">
                  <c:v>0.60631879700000002</c:v>
                </c:pt>
                <c:pt idx="1629">
                  <c:v>0.60704288100000003</c:v>
                </c:pt>
                <c:pt idx="1630">
                  <c:v>0.60699855000000003</c:v>
                </c:pt>
                <c:pt idx="1631">
                  <c:v>0.60761390400000004</c:v>
                </c:pt>
                <c:pt idx="1632">
                  <c:v>0.60757419099999999</c:v>
                </c:pt>
                <c:pt idx="1633">
                  <c:v>0.60884876300000002</c:v>
                </c:pt>
                <c:pt idx="1634">
                  <c:v>0.60886337700000004</c:v>
                </c:pt>
                <c:pt idx="1635">
                  <c:v>0.60966790699999995</c:v>
                </c:pt>
                <c:pt idx="1636">
                  <c:v>0.6101472</c:v>
                </c:pt>
                <c:pt idx="1637">
                  <c:v>0.61123972100000001</c:v>
                </c:pt>
                <c:pt idx="1638">
                  <c:v>0.61078388100000003</c:v>
                </c:pt>
                <c:pt idx="1639">
                  <c:v>0.61192607700000001</c:v>
                </c:pt>
                <c:pt idx="1640">
                  <c:v>0.61203491600000004</c:v>
                </c:pt>
                <c:pt idx="1641">
                  <c:v>0.61340758399999995</c:v>
                </c:pt>
                <c:pt idx="1642">
                  <c:v>0.61316170999999997</c:v>
                </c:pt>
                <c:pt idx="1643">
                  <c:v>0.61342487199999995</c:v>
                </c:pt>
                <c:pt idx="1644">
                  <c:v>0.61409170300000004</c:v>
                </c:pt>
                <c:pt idx="1645">
                  <c:v>0.61376958400000003</c:v>
                </c:pt>
                <c:pt idx="1646">
                  <c:v>0.61355191200000003</c:v>
                </c:pt>
                <c:pt idx="1647">
                  <c:v>0.61370688699999998</c:v>
                </c:pt>
                <c:pt idx="1648">
                  <c:v>0.61459275899999999</c:v>
                </c:pt>
                <c:pt idx="1649">
                  <c:v>0.61459936100000001</c:v>
                </c:pt>
                <c:pt idx="1650">
                  <c:v>0.61462821099999998</c:v>
                </c:pt>
                <c:pt idx="1651">
                  <c:v>0.61455741100000005</c:v>
                </c:pt>
                <c:pt idx="1652">
                  <c:v>0.61455650500000003</c:v>
                </c:pt>
                <c:pt idx="1653">
                  <c:v>0.61512806399999997</c:v>
                </c:pt>
                <c:pt idx="1654">
                  <c:v>0.61496057900000001</c:v>
                </c:pt>
                <c:pt idx="1655">
                  <c:v>0.61471216200000001</c:v>
                </c:pt>
                <c:pt idx="1656">
                  <c:v>0.61511982200000004</c:v>
                </c:pt>
                <c:pt idx="1657">
                  <c:v>0.615083559</c:v>
                </c:pt>
                <c:pt idx="1658">
                  <c:v>0.61792712699999996</c:v>
                </c:pt>
                <c:pt idx="1659">
                  <c:v>0.61597601499999999</c:v>
                </c:pt>
                <c:pt idx="1660">
                  <c:v>0.61580374000000004</c:v>
                </c:pt>
                <c:pt idx="1661">
                  <c:v>0.61501533900000005</c:v>
                </c:pt>
                <c:pt idx="1662">
                  <c:v>0.61495861600000001</c:v>
                </c:pt>
                <c:pt idx="1663">
                  <c:v>0.61523657899999995</c:v>
                </c:pt>
                <c:pt idx="1664">
                  <c:v>0.61590420099999998</c:v>
                </c:pt>
                <c:pt idx="1665">
                  <c:v>0.61646199400000001</c:v>
                </c:pt>
                <c:pt idx="1666">
                  <c:v>0.61660591300000001</c:v>
                </c:pt>
                <c:pt idx="1667">
                  <c:v>0.61682249099999997</c:v>
                </c:pt>
                <c:pt idx="1668">
                  <c:v>0.61692483300000001</c:v>
                </c:pt>
                <c:pt idx="1669">
                  <c:v>0.61930394499999997</c:v>
                </c:pt>
                <c:pt idx="1670">
                  <c:v>0.61944971100000001</c:v>
                </c:pt>
                <c:pt idx="1671">
                  <c:v>0.62020521299999998</c:v>
                </c:pt>
                <c:pt idx="1672">
                  <c:v>0.62070749800000002</c:v>
                </c:pt>
                <c:pt idx="1673">
                  <c:v>0.62105186899999998</c:v>
                </c:pt>
                <c:pt idx="1674">
                  <c:v>0.62107677800000005</c:v>
                </c:pt>
                <c:pt idx="1675">
                  <c:v>0.62733718000000005</c:v>
                </c:pt>
                <c:pt idx="1676">
                  <c:v>0.627375986</c:v>
                </c:pt>
                <c:pt idx="1677">
                  <c:v>0.62756446799999999</c:v>
                </c:pt>
                <c:pt idx="1678">
                  <c:v>0.63015185100000004</c:v>
                </c:pt>
                <c:pt idx="1679">
                  <c:v>0.63080010399999997</c:v>
                </c:pt>
                <c:pt idx="1680">
                  <c:v>0.63281770800000003</c:v>
                </c:pt>
                <c:pt idx="1681">
                  <c:v>0.63458108499999999</c:v>
                </c:pt>
                <c:pt idx="1682">
                  <c:v>0.63666878100000002</c:v>
                </c:pt>
                <c:pt idx="1683">
                  <c:v>0.63868407100000002</c:v>
                </c:pt>
                <c:pt idx="1684">
                  <c:v>0.63828999600000003</c:v>
                </c:pt>
                <c:pt idx="1685">
                  <c:v>0.64072308099999997</c:v>
                </c:pt>
                <c:pt idx="1686">
                  <c:v>0.64055771800000005</c:v>
                </c:pt>
                <c:pt idx="1687">
                  <c:v>0.64385657200000002</c:v>
                </c:pt>
                <c:pt idx="1688">
                  <c:v>0.64389168399999996</c:v>
                </c:pt>
                <c:pt idx="1689">
                  <c:v>0.64406561900000003</c:v>
                </c:pt>
                <c:pt idx="1690">
                  <c:v>0.64384428599999999</c:v>
                </c:pt>
                <c:pt idx="1691">
                  <c:v>0.64625200199999999</c:v>
                </c:pt>
                <c:pt idx="1692">
                  <c:v>0.64746334299999997</c:v>
                </c:pt>
                <c:pt idx="1693">
                  <c:v>0.64837371700000002</c:v>
                </c:pt>
                <c:pt idx="1694">
                  <c:v>0.64915193900000001</c:v>
                </c:pt>
                <c:pt idx="1695">
                  <c:v>0.651628345</c:v>
                </c:pt>
                <c:pt idx="1696">
                  <c:v>0.65546277399999997</c:v>
                </c:pt>
                <c:pt idx="1697">
                  <c:v>0.65780401099999997</c:v>
                </c:pt>
                <c:pt idx="1698">
                  <c:v>0.66140991500000001</c:v>
                </c:pt>
                <c:pt idx="1699">
                  <c:v>0.66298016199999998</c:v>
                </c:pt>
                <c:pt idx="1700">
                  <c:v>0.67422850899999998</c:v>
                </c:pt>
                <c:pt idx="1701">
                  <c:v>0.67346677600000004</c:v>
                </c:pt>
                <c:pt idx="1702">
                  <c:v>0.67408466700000003</c:v>
                </c:pt>
                <c:pt idx="1703">
                  <c:v>0.688353985</c:v>
                </c:pt>
                <c:pt idx="1704">
                  <c:v>0.690666789</c:v>
                </c:pt>
                <c:pt idx="1705">
                  <c:v>0.69746062900000005</c:v>
                </c:pt>
                <c:pt idx="1706">
                  <c:v>0.69921832799999994</c:v>
                </c:pt>
                <c:pt idx="1707">
                  <c:v>0.70328083299999999</c:v>
                </c:pt>
                <c:pt idx="1708">
                  <c:v>0.70641949699999995</c:v>
                </c:pt>
                <c:pt idx="1709">
                  <c:v>0.70947345699999997</c:v>
                </c:pt>
                <c:pt idx="1710">
                  <c:v>0.71244257300000002</c:v>
                </c:pt>
                <c:pt idx="1711">
                  <c:v>0.715823129</c:v>
                </c:pt>
                <c:pt idx="1712">
                  <c:v>0.71708300400000002</c:v>
                </c:pt>
                <c:pt idx="1713">
                  <c:v>0.72008701200000003</c:v>
                </c:pt>
                <c:pt idx="1714">
                  <c:v>0.72048861099999995</c:v>
                </c:pt>
                <c:pt idx="1715">
                  <c:v>0.72285475700000001</c:v>
                </c:pt>
                <c:pt idx="1716">
                  <c:v>0.71982429299999995</c:v>
                </c:pt>
                <c:pt idx="1717">
                  <c:v>0.72164409100000004</c:v>
                </c:pt>
                <c:pt idx="1718">
                  <c:v>0.72157055699999995</c:v>
                </c:pt>
                <c:pt idx="1719">
                  <c:v>0.72568061299999997</c:v>
                </c:pt>
                <c:pt idx="1720">
                  <c:v>0.72841522400000003</c:v>
                </c:pt>
                <c:pt idx="1721">
                  <c:v>0.73096344300000005</c:v>
                </c:pt>
                <c:pt idx="1722">
                  <c:v>0.73330451399999996</c:v>
                </c:pt>
                <c:pt idx="1723">
                  <c:v>0.73476438799999999</c:v>
                </c:pt>
                <c:pt idx="1724">
                  <c:v>0.73609822800000002</c:v>
                </c:pt>
                <c:pt idx="1725">
                  <c:v>0.73715185299999997</c:v>
                </c:pt>
                <c:pt idx="1726">
                  <c:v>0.73951011600000005</c:v>
                </c:pt>
                <c:pt idx="1727">
                  <c:v>0.73963636200000005</c:v>
                </c:pt>
                <c:pt idx="1728">
                  <c:v>0.74075570700000004</c:v>
                </c:pt>
                <c:pt idx="1729">
                  <c:v>0.74307310500000001</c:v>
                </c:pt>
                <c:pt idx="1730">
                  <c:v>0.74488898199999998</c:v>
                </c:pt>
                <c:pt idx="1731">
                  <c:v>0.74622261999999995</c:v>
                </c:pt>
                <c:pt idx="1732">
                  <c:v>0.74672387799999995</c:v>
                </c:pt>
                <c:pt idx="1733">
                  <c:v>0.75588919099999996</c:v>
                </c:pt>
                <c:pt idx="1734">
                  <c:v>0.75722891199999998</c:v>
                </c:pt>
                <c:pt idx="1735">
                  <c:v>0.75974095200000002</c:v>
                </c:pt>
                <c:pt idx="1736">
                  <c:v>0.76135538000000003</c:v>
                </c:pt>
                <c:pt idx="1737">
                  <c:v>0.76540455699999999</c:v>
                </c:pt>
                <c:pt idx="1738">
                  <c:v>0.76569848399999996</c:v>
                </c:pt>
                <c:pt idx="1739">
                  <c:v>0.76539371199999995</c:v>
                </c:pt>
                <c:pt idx="1740">
                  <c:v>0.767116774</c:v>
                </c:pt>
                <c:pt idx="1741">
                  <c:v>0.76884242000000003</c:v>
                </c:pt>
                <c:pt idx="1742">
                  <c:v>0.76983620699999999</c:v>
                </c:pt>
                <c:pt idx="1743">
                  <c:v>0.77223137799999997</c:v>
                </c:pt>
                <c:pt idx="1744">
                  <c:v>0.77410347800000001</c:v>
                </c:pt>
                <c:pt idx="1745">
                  <c:v>0.775717239</c:v>
                </c:pt>
                <c:pt idx="1746">
                  <c:v>0.77741183400000002</c:v>
                </c:pt>
                <c:pt idx="1747">
                  <c:v>0.77858694299999998</c:v>
                </c:pt>
                <c:pt idx="1748">
                  <c:v>0.78019012600000004</c:v>
                </c:pt>
                <c:pt idx="1749">
                  <c:v>0.78179388299999997</c:v>
                </c:pt>
                <c:pt idx="1750">
                  <c:v>0.78416201900000004</c:v>
                </c:pt>
                <c:pt idx="1751">
                  <c:v>0.78496508799999998</c:v>
                </c:pt>
                <c:pt idx="1752">
                  <c:v>0.78840626599999997</c:v>
                </c:pt>
                <c:pt idx="1753">
                  <c:v>0.79216862700000001</c:v>
                </c:pt>
                <c:pt idx="1754">
                  <c:v>0.79662693799999995</c:v>
                </c:pt>
                <c:pt idx="1755">
                  <c:v>0.80108391899999998</c:v>
                </c:pt>
                <c:pt idx="1756">
                  <c:v>0.80481232000000003</c:v>
                </c:pt>
                <c:pt idx="1757">
                  <c:v>0.81177458999999996</c:v>
                </c:pt>
                <c:pt idx="1758">
                  <c:v>0.81591079300000002</c:v>
                </c:pt>
                <c:pt idx="1759">
                  <c:v>0.81975330000000002</c:v>
                </c:pt>
                <c:pt idx="1760">
                  <c:v>0.82313444499999999</c:v>
                </c:pt>
                <c:pt idx="1761">
                  <c:v>0.82679042800000002</c:v>
                </c:pt>
                <c:pt idx="1762">
                  <c:v>0.83299084599999995</c:v>
                </c:pt>
                <c:pt idx="1763">
                  <c:v>0.83635395300000004</c:v>
                </c:pt>
                <c:pt idx="1764">
                  <c:v>0.84069049100000004</c:v>
                </c:pt>
                <c:pt idx="1765">
                  <c:v>0.84427308999999995</c:v>
                </c:pt>
                <c:pt idx="1766">
                  <c:v>0.84816837199999995</c:v>
                </c:pt>
                <c:pt idx="1767">
                  <c:v>0.85456889599999997</c:v>
                </c:pt>
                <c:pt idx="1768">
                  <c:v>0.86080857799999999</c:v>
                </c:pt>
                <c:pt idx="1769">
                  <c:v>0.86490833</c:v>
                </c:pt>
                <c:pt idx="1770">
                  <c:v>0.87079874499999999</c:v>
                </c:pt>
                <c:pt idx="1771">
                  <c:v>0.87696011399999996</c:v>
                </c:pt>
                <c:pt idx="1772">
                  <c:v>0.883785445</c:v>
                </c:pt>
                <c:pt idx="1773">
                  <c:v>0.88757691699999997</c:v>
                </c:pt>
                <c:pt idx="1774">
                  <c:v>0.89538824699999997</c:v>
                </c:pt>
                <c:pt idx="1775">
                  <c:v>0.90627753</c:v>
                </c:pt>
                <c:pt idx="1776">
                  <c:v>0.91305886300000005</c:v>
                </c:pt>
                <c:pt idx="1777">
                  <c:v>0.91943003499999998</c:v>
                </c:pt>
                <c:pt idx="1778">
                  <c:v>0.92742891599999999</c:v>
                </c:pt>
                <c:pt idx="1779">
                  <c:v>0.93575180700000005</c:v>
                </c:pt>
                <c:pt idx="1780">
                  <c:v>0.94275255999999996</c:v>
                </c:pt>
                <c:pt idx="1781">
                  <c:v>0.953903469</c:v>
                </c:pt>
                <c:pt idx="1782">
                  <c:v>0.96202379599999999</c:v>
                </c:pt>
                <c:pt idx="1783">
                  <c:v>0.969804522</c:v>
                </c:pt>
                <c:pt idx="1784">
                  <c:v>0.97632512000000005</c:v>
                </c:pt>
                <c:pt idx="1785">
                  <c:v>0.98040392799999998</c:v>
                </c:pt>
                <c:pt idx="1786">
                  <c:v>0.98716160600000002</c:v>
                </c:pt>
                <c:pt idx="1787">
                  <c:v>0.99171350700000005</c:v>
                </c:pt>
                <c:pt idx="1788">
                  <c:v>0.99620124700000001</c:v>
                </c:pt>
                <c:pt idx="1789">
                  <c:v>1.000526652</c:v>
                </c:pt>
                <c:pt idx="1790">
                  <c:v>1.006853362</c:v>
                </c:pt>
                <c:pt idx="1791">
                  <c:v>1.0137188079999999</c:v>
                </c:pt>
                <c:pt idx="1792">
                  <c:v>1.0203656670000001</c:v>
                </c:pt>
                <c:pt idx="1793">
                  <c:v>1.025965378</c:v>
                </c:pt>
                <c:pt idx="1794">
                  <c:v>1.030868943</c:v>
                </c:pt>
                <c:pt idx="1795">
                  <c:v>1.0331725549999999</c:v>
                </c:pt>
                <c:pt idx="1796">
                  <c:v>1.0401847609999999</c:v>
                </c:pt>
                <c:pt idx="1797">
                  <c:v>1.0444191279999999</c:v>
                </c:pt>
                <c:pt idx="1798">
                  <c:v>1.051866543</c:v>
                </c:pt>
                <c:pt idx="1799">
                  <c:v>1.061052009</c:v>
                </c:pt>
                <c:pt idx="1800">
                  <c:v>1.069234185</c:v>
                </c:pt>
                <c:pt idx="1801">
                  <c:v>1.0789238219999999</c:v>
                </c:pt>
                <c:pt idx="1802">
                  <c:v>1.075962246</c:v>
                </c:pt>
                <c:pt idx="1803">
                  <c:v>1.085415714</c:v>
                </c:pt>
                <c:pt idx="1804">
                  <c:v>1.08661501</c:v>
                </c:pt>
                <c:pt idx="1805">
                  <c:v>1.0944535289999999</c:v>
                </c:pt>
                <c:pt idx="1806">
                  <c:v>1.1062701429999999</c:v>
                </c:pt>
                <c:pt idx="1807">
                  <c:v>1.11775801</c:v>
                </c:pt>
                <c:pt idx="1808">
                  <c:v>1.1305587699999999</c:v>
                </c:pt>
                <c:pt idx="1809">
                  <c:v>1.14482208</c:v>
                </c:pt>
                <c:pt idx="1810">
                  <c:v>1.15993276</c:v>
                </c:pt>
                <c:pt idx="1811">
                  <c:v>1.1708032340000001</c:v>
                </c:pt>
                <c:pt idx="1812">
                  <c:v>1.1797294149999999</c:v>
                </c:pt>
                <c:pt idx="1813">
                  <c:v>1.1906720930000001</c:v>
                </c:pt>
                <c:pt idx="1814">
                  <c:v>1.200894167</c:v>
                </c:pt>
                <c:pt idx="1815">
                  <c:v>1.2073745709999999</c:v>
                </c:pt>
                <c:pt idx="1816">
                  <c:v>1.2171518139999999</c:v>
                </c:pt>
                <c:pt idx="1817">
                  <c:v>1.2193218509999999</c:v>
                </c:pt>
                <c:pt idx="1818">
                  <c:v>1.2132793900000001</c:v>
                </c:pt>
                <c:pt idx="1819">
                  <c:v>1.2176767390000001</c:v>
                </c:pt>
                <c:pt idx="1820">
                  <c:v>1.2267186750000001</c:v>
                </c:pt>
                <c:pt idx="1821">
                  <c:v>1.2329509789999999</c:v>
                </c:pt>
                <c:pt idx="1822">
                  <c:v>1.216359271</c:v>
                </c:pt>
                <c:pt idx="1823">
                  <c:v>1.225623017</c:v>
                </c:pt>
                <c:pt idx="1824">
                  <c:v>1.220502996</c:v>
                </c:pt>
                <c:pt idx="1825">
                  <c:v>1.2210992329999999</c:v>
                </c:pt>
                <c:pt idx="1826">
                  <c:v>1.227684988</c:v>
                </c:pt>
                <c:pt idx="1827">
                  <c:v>1.2254439559999999</c:v>
                </c:pt>
                <c:pt idx="1828">
                  <c:v>1.2404285580000001</c:v>
                </c:pt>
                <c:pt idx="1829">
                  <c:v>1.26117832</c:v>
                </c:pt>
                <c:pt idx="1830">
                  <c:v>1.2580649669999999</c:v>
                </c:pt>
                <c:pt idx="1831">
                  <c:v>1.254505158</c:v>
                </c:pt>
                <c:pt idx="1832">
                  <c:v>1.2577518050000001</c:v>
                </c:pt>
                <c:pt idx="1833">
                  <c:v>1.271848359</c:v>
                </c:pt>
                <c:pt idx="1834">
                  <c:v>1.2841645820000001</c:v>
                </c:pt>
                <c:pt idx="1835">
                  <c:v>1.291118218</c:v>
                </c:pt>
                <c:pt idx="1836">
                  <c:v>1.301290031</c:v>
                </c:pt>
                <c:pt idx="1837">
                  <c:v>1.3038001299999999</c:v>
                </c:pt>
                <c:pt idx="1838">
                  <c:v>1.31356889</c:v>
                </c:pt>
                <c:pt idx="1839">
                  <c:v>1.322452151</c:v>
                </c:pt>
                <c:pt idx="1840">
                  <c:v>1.3318512280000001</c:v>
                </c:pt>
                <c:pt idx="1841">
                  <c:v>1.3393911000000001</c:v>
                </c:pt>
                <c:pt idx="1842">
                  <c:v>1.35104395</c:v>
                </c:pt>
                <c:pt idx="1843">
                  <c:v>1.3139961360000001</c:v>
                </c:pt>
                <c:pt idx="1844">
                  <c:v>1.327245368</c:v>
                </c:pt>
                <c:pt idx="1845">
                  <c:v>1.3287556629999999</c:v>
                </c:pt>
                <c:pt idx="1846">
                  <c:v>1.3311406240000001</c:v>
                </c:pt>
                <c:pt idx="1847">
                  <c:v>1.337029754</c:v>
                </c:pt>
                <c:pt idx="1848">
                  <c:v>1.3439170460000001</c:v>
                </c:pt>
                <c:pt idx="1849">
                  <c:v>1.342326605</c:v>
                </c:pt>
                <c:pt idx="1850">
                  <c:v>1.3456517180000001</c:v>
                </c:pt>
                <c:pt idx="1851">
                  <c:v>1.349228047</c:v>
                </c:pt>
                <c:pt idx="1852">
                  <c:v>1.3466499729999999</c:v>
                </c:pt>
                <c:pt idx="1853">
                  <c:v>1.341002526</c:v>
                </c:pt>
                <c:pt idx="1854">
                  <c:v>1.349788137</c:v>
                </c:pt>
                <c:pt idx="1855">
                  <c:v>1.3557466010000001</c:v>
                </c:pt>
                <c:pt idx="1856">
                  <c:v>1.3611611850000001</c:v>
                </c:pt>
                <c:pt idx="1857">
                  <c:v>1.368233045</c:v>
                </c:pt>
                <c:pt idx="1858">
                  <c:v>1.3760469239999999</c:v>
                </c:pt>
                <c:pt idx="1859">
                  <c:v>1.358134497</c:v>
                </c:pt>
                <c:pt idx="1860">
                  <c:v>1.3649724889999999</c:v>
                </c:pt>
                <c:pt idx="1861">
                  <c:v>1.3634332149999999</c:v>
                </c:pt>
                <c:pt idx="1862">
                  <c:v>1.3541309610000001</c:v>
                </c:pt>
                <c:pt idx="1863">
                  <c:v>1.299261666</c:v>
                </c:pt>
                <c:pt idx="1864">
                  <c:v>1.2652173280000001</c:v>
                </c:pt>
                <c:pt idx="1865">
                  <c:v>1.27585148</c:v>
                </c:pt>
                <c:pt idx="1866">
                  <c:v>1.257309912</c:v>
                </c:pt>
                <c:pt idx="1867">
                  <c:v>1.252035301</c:v>
                </c:pt>
                <c:pt idx="1868">
                  <c:v>1.260254322</c:v>
                </c:pt>
                <c:pt idx="1869">
                  <c:v>1.273986182</c:v>
                </c:pt>
                <c:pt idx="1870">
                  <c:v>1.288206161</c:v>
                </c:pt>
                <c:pt idx="1871">
                  <c:v>1.284576435</c:v>
                </c:pt>
                <c:pt idx="1872">
                  <c:v>1.283502242</c:v>
                </c:pt>
                <c:pt idx="1873">
                  <c:v>1.287790169</c:v>
                </c:pt>
                <c:pt idx="1874">
                  <c:v>1.2913135250000001</c:v>
                </c:pt>
                <c:pt idx="1875">
                  <c:v>1.2941565799999999</c:v>
                </c:pt>
                <c:pt idx="1876">
                  <c:v>1.2982517760000001</c:v>
                </c:pt>
                <c:pt idx="1877">
                  <c:v>1.2872067570000001</c:v>
                </c:pt>
                <c:pt idx="1878">
                  <c:v>1.2698883240000001</c:v>
                </c:pt>
                <c:pt idx="1879">
                  <c:v>1.273000989</c:v>
                </c:pt>
                <c:pt idx="1880">
                  <c:v>1.275927246</c:v>
                </c:pt>
                <c:pt idx="1881">
                  <c:v>1.2767649169999999</c:v>
                </c:pt>
                <c:pt idx="1882">
                  <c:v>1.2805346209999999</c:v>
                </c:pt>
                <c:pt idx="1883">
                  <c:v>1.27922066</c:v>
                </c:pt>
                <c:pt idx="1884">
                  <c:v>1.281522345</c:v>
                </c:pt>
                <c:pt idx="1885">
                  <c:v>1.280887205</c:v>
                </c:pt>
                <c:pt idx="1886">
                  <c:v>1.281444129</c:v>
                </c:pt>
                <c:pt idx="1887">
                  <c:v>1.2781110849999999</c:v>
                </c:pt>
                <c:pt idx="1888">
                  <c:v>1.2781738119999999</c:v>
                </c:pt>
                <c:pt idx="1889">
                  <c:v>1.2734542129999999</c:v>
                </c:pt>
                <c:pt idx="1890">
                  <c:v>1.274968793</c:v>
                </c:pt>
                <c:pt idx="1891">
                  <c:v>1.2712044849999999</c:v>
                </c:pt>
                <c:pt idx="1892">
                  <c:v>1.2749554890000001</c:v>
                </c:pt>
                <c:pt idx="1893">
                  <c:v>1.2763203190000001</c:v>
                </c:pt>
                <c:pt idx="1894">
                  <c:v>1.2736114949999999</c:v>
                </c:pt>
                <c:pt idx="1895">
                  <c:v>1.2767048750000001</c:v>
                </c:pt>
                <c:pt idx="1896">
                  <c:v>1.2821021589999999</c:v>
                </c:pt>
                <c:pt idx="1897">
                  <c:v>1.285669306</c:v>
                </c:pt>
                <c:pt idx="1898">
                  <c:v>1.2868934649999999</c:v>
                </c:pt>
                <c:pt idx="1899">
                  <c:v>1.290710963</c:v>
                </c:pt>
                <c:pt idx="1900">
                  <c:v>1.29513126</c:v>
                </c:pt>
                <c:pt idx="1901">
                  <c:v>1.3011230970000001</c:v>
                </c:pt>
                <c:pt idx="1902">
                  <c:v>1.3047427300000001</c:v>
                </c:pt>
                <c:pt idx="1903">
                  <c:v>1.3036218129999999</c:v>
                </c:pt>
                <c:pt idx="1904">
                  <c:v>1.3046172</c:v>
                </c:pt>
                <c:pt idx="1905">
                  <c:v>1.3065465549999999</c:v>
                </c:pt>
                <c:pt idx="1906">
                  <c:v>1.303333614</c:v>
                </c:pt>
                <c:pt idx="1907">
                  <c:v>1.3034600139999999</c:v>
                </c:pt>
                <c:pt idx="1908">
                  <c:v>1.282110834</c:v>
                </c:pt>
                <c:pt idx="1909">
                  <c:v>1.2888958180000001</c:v>
                </c:pt>
                <c:pt idx="1910">
                  <c:v>1.2925077</c:v>
                </c:pt>
                <c:pt idx="1911">
                  <c:v>1.304739444</c:v>
                </c:pt>
                <c:pt idx="1912">
                  <c:v>1.314221503</c:v>
                </c:pt>
                <c:pt idx="1913">
                  <c:v>1.32090869</c:v>
                </c:pt>
                <c:pt idx="1914">
                  <c:v>1.3241499919999999</c:v>
                </c:pt>
                <c:pt idx="1915">
                  <c:v>1.3249020309999999</c:v>
                </c:pt>
                <c:pt idx="1916">
                  <c:v>1.3248979320000001</c:v>
                </c:pt>
                <c:pt idx="1917">
                  <c:v>1.3309444479999999</c:v>
                </c:pt>
                <c:pt idx="1918">
                  <c:v>1.333530463</c:v>
                </c:pt>
                <c:pt idx="1919">
                  <c:v>1.3281572619999999</c:v>
                </c:pt>
                <c:pt idx="1920">
                  <c:v>1.3265755130000001</c:v>
                </c:pt>
                <c:pt idx="1921">
                  <c:v>1.3271424679999999</c:v>
                </c:pt>
                <c:pt idx="1922">
                  <c:v>1.326201722</c:v>
                </c:pt>
                <c:pt idx="1923">
                  <c:v>1.324773524</c:v>
                </c:pt>
                <c:pt idx="1924">
                  <c:v>1.326938545</c:v>
                </c:pt>
                <c:pt idx="1925">
                  <c:v>1.2921603639999999</c:v>
                </c:pt>
                <c:pt idx="1926">
                  <c:v>1.293507838</c:v>
                </c:pt>
                <c:pt idx="1927">
                  <c:v>1.2922057790000001</c:v>
                </c:pt>
                <c:pt idx="1928">
                  <c:v>1.277823532</c:v>
                </c:pt>
                <c:pt idx="1929">
                  <c:v>1.28318522</c:v>
                </c:pt>
                <c:pt idx="1930">
                  <c:v>1.2784572649999999</c:v>
                </c:pt>
                <c:pt idx="1931">
                  <c:v>1.2768852289999999</c:v>
                </c:pt>
                <c:pt idx="1932">
                  <c:v>1.2732489579999999</c:v>
                </c:pt>
                <c:pt idx="1933">
                  <c:v>1.2728049720000001</c:v>
                </c:pt>
                <c:pt idx="1934">
                  <c:v>1.273489957</c:v>
                </c:pt>
                <c:pt idx="1935">
                  <c:v>1.2731996160000001</c:v>
                </c:pt>
                <c:pt idx="1936">
                  <c:v>1.264217022</c:v>
                </c:pt>
                <c:pt idx="1937">
                  <c:v>1.264036071</c:v>
                </c:pt>
                <c:pt idx="1938">
                  <c:v>1.2639992870000001</c:v>
                </c:pt>
                <c:pt idx="1939">
                  <c:v>1.2612752060000001</c:v>
                </c:pt>
                <c:pt idx="1940">
                  <c:v>1.2637122220000001</c:v>
                </c:pt>
                <c:pt idx="1941">
                  <c:v>1.259926492</c:v>
                </c:pt>
                <c:pt idx="1942">
                  <c:v>1.262644377</c:v>
                </c:pt>
                <c:pt idx="1943">
                  <c:v>1.2666530469999999</c:v>
                </c:pt>
                <c:pt idx="1944">
                  <c:v>1.2677354059999999</c:v>
                </c:pt>
                <c:pt idx="1945">
                  <c:v>1.2680029669999999</c:v>
                </c:pt>
                <c:pt idx="1946">
                  <c:v>1.2586428460000001</c:v>
                </c:pt>
                <c:pt idx="1947">
                  <c:v>1.258635325</c:v>
                </c:pt>
                <c:pt idx="1948">
                  <c:v>1.2601598979999999</c:v>
                </c:pt>
                <c:pt idx="1949">
                  <c:v>1.260392202</c:v>
                </c:pt>
                <c:pt idx="1950">
                  <c:v>1.1927417140000001</c:v>
                </c:pt>
                <c:pt idx="1951">
                  <c:v>1.1967303499999999</c:v>
                </c:pt>
                <c:pt idx="1952">
                  <c:v>1.1948414409999999</c:v>
                </c:pt>
                <c:pt idx="1953">
                  <c:v>1.116416163</c:v>
                </c:pt>
                <c:pt idx="1954">
                  <c:v>1.1154651680000001</c:v>
                </c:pt>
                <c:pt idx="1955">
                  <c:v>1.0798620800000001</c:v>
                </c:pt>
                <c:pt idx="1956">
                  <c:v>1.0816043479999999</c:v>
                </c:pt>
                <c:pt idx="1957">
                  <c:v>1.0789930780000001</c:v>
                </c:pt>
                <c:pt idx="1958">
                  <c:v>1.0749852900000001</c:v>
                </c:pt>
                <c:pt idx="1959">
                  <c:v>1.060518155</c:v>
                </c:pt>
                <c:pt idx="1960">
                  <c:v>1.0621244270000001</c:v>
                </c:pt>
                <c:pt idx="1961">
                  <c:v>1.0514749569999999</c:v>
                </c:pt>
                <c:pt idx="1962">
                  <c:v>1.051438868</c:v>
                </c:pt>
                <c:pt idx="1963">
                  <c:v>1.038554183</c:v>
                </c:pt>
                <c:pt idx="1964">
                  <c:v>1.0379639940000001</c:v>
                </c:pt>
                <c:pt idx="1965">
                  <c:v>1.0377835099999999</c:v>
                </c:pt>
                <c:pt idx="1966">
                  <c:v>0.97234596399999995</c:v>
                </c:pt>
                <c:pt idx="1967">
                  <c:v>0.97245303299999997</c:v>
                </c:pt>
                <c:pt idx="1968">
                  <c:v>0.95882135999999996</c:v>
                </c:pt>
                <c:pt idx="1969">
                  <c:v>0.94213674599999997</c:v>
                </c:pt>
                <c:pt idx="1970">
                  <c:v>0.93618576600000003</c:v>
                </c:pt>
                <c:pt idx="1971">
                  <c:v>0.928310784</c:v>
                </c:pt>
                <c:pt idx="1972">
                  <c:v>0.92733509599999997</c:v>
                </c:pt>
                <c:pt idx="1973">
                  <c:v>0.92643350400000002</c:v>
                </c:pt>
                <c:pt idx="1974">
                  <c:v>0.92377884099999996</c:v>
                </c:pt>
                <c:pt idx="1975">
                  <c:v>0.92188249</c:v>
                </c:pt>
                <c:pt idx="1976">
                  <c:v>0.90672949899999999</c:v>
                </c:pt>
                <c:pt idx="1977">
                  <c:v>0.90660588600000003</c:v>
                </c:pt>
                <c:pt idx="1978">
                  <c:v>0.908327208</c:v>
                </c:pt>
                <c:pt idx="1979">
                  <c:v>0.90855126500000005</c:v>
                </c:pt>
                <c:pt idx="1980">
                  <c:v>0.90086543600000002</c:v>
                </c:pt>
                <c:pt idx="1981">
                  <c:v>0.90019915100000003</c:v>
                </c:pt>
                <c:pt idx="1982">
                  <c:v>0.90029296800000003</c:v>
                </c:pt>
                <c:pt idx="1983">
                  <c:v>0.822411436</c:v>
                </c:pt>
                <c:pt idx="1984">
                  <c:v>0.82111286000000006</c:v>
                </c:pt>
                <c:pt idx="1985">
                  <c:v>0.809573243</c:v>
                </c:pt>
                <c:pt idx="1986">
                  <c:v>0.804625865</c:v>
                </c:pt>
                <c:pt idx="1987">
                  <c:v>0.77318402600000002</c:v>
                </c:pt>
                <c:pt idx="1988">
                  <c:v>0.77653374600000002</c:v>
                </c:pt>
                <c:pt idx="1989">
                  <c:v>0.77878226399999995</c:v>
                </c:pt>
                <c:pt idx="1990">
                  <c:v>0.780221202</c:v>
                </c:pt>
                <c:pt idx="1991">
                  <c:v>0.78140785899999998</c:v>
                </c:pt>
                <c:pt idx="1992">
                  <c:v>0.78072161299999998</c:v>
                </c:pt>
                <c:pt idx="1993">
                  <c:v>0.77123319300000004</c:v>
                </c:pt>
                <c:pt idx="1994">
                  <c:v>0.77108264900000001</c:v>
                </c:pt>
                <c:pt idx="1995">
                  <c:v>0.76664757800000005</c:v>
                </c:pt>
                <c:pt idx="1996">
                  <c:v>0.76678511900000001</c:v>
                </c:pt>
                <c:pt idx="1997">
                  <c:v>0.76776393200000004</c:v>
                </c:pt>
                <c:pt idx="1998">
                  <c:v>0.76559300799999996</c:v>
                </c:pt>
                <c:pt idx="1999">
                  <c:v>0.76400906000000002</c:v>
                </c:pt>
                <c:pt idx="2000">
                  <c:v>0.75486237599999995</c:v>
                </c:pt>
                <c:pt idx="2001">
                  <c:v>0.75647731600000001</c:v>
                </c:pt>
                <c:pt idx="2002">
                  <c:v>0.75760841899999998</c:v>
                </c:pt>
                <c:pt idx="2003">
                  <c:v>0.75363897599999996</c:v>
                </c:pt>
                <c:pt idx="2004">
                  <c:v>0.75188642699999997</c:v>
                </c:pt>
                <c:pt idx="2005">
                  <c:v>0.748867791</c:v>
                </c:pt>
                <c:pt idx="2006">
                  <c:v>0.745056685</c:v>
                </c:pt>
                <c:pt idx="2007">
                  <c:v>0.72891566100000005</c:v>
                </c:pt>
                <c:pt idx="2008">
                  <c:v>0.72852546299999998</c:v>
                </c:pt>
                <c:pt idx="2009">
                  <c:v>0.729061442</c:v>
                </c:pt>
                <c:pt idx="2010">
                  <c:v>0.72765503799999998</c:v>
                </c:pt>
                <c:pt idx="2011">
                  <c:v>0.72774158200000005</c:v>
                </c:pt>
                <c:pt idx="2012">
                  <c:v>0.72289074900000005</c:v>
                </c:pt>
                <c:pt idx="2013">
                  <c:v>0.72165690000000005</c:v>
                </c:pt>
                <c:pt idx="2014">
                  <c:v>0.718209926</c:v>
                </c:pt>
                <c:pt idx="2015">
                  <c:v>0.71749940300000004</c:v>
                </c:pt>
                <c:pt idx="2016">
                  <c:v>0.71810096800000001</c:v>
                </c:pt>
                <c:pt idx="2017">
                  <c:v>0.71837995300000002</c:v>
                </c:pt>
                <c:pt idx="2018">
                  <c:v>0.718176437</c:v>
                </c:pt>
                <c:pt idx="2019">
                  <c:v>0.71307156299999996</c:v>
                </c:pt>
                <c:pt idx="2020">
                  <c:v>0.71276121699999995</c:v>
                </c:pt>
                <c:pt idx="2021">
                  <c:v>0.70743699800000004</c:v>
                </c:pt>
                <c:pt idx="2022">
                  <c:v>0.707305395</c:v>
                </c:pt>
                <c:pt idx="2023">
                  <c:v>0.70684066999999995</c:v>
                </c:pt>
                <c:pt idx="2024">
                  <c:v>0.70653969699999997</c:v>
                </c:pt>
                <c:pt idx="2025">
                  <c:v>0.705400582</c:v>
                </c:pt>
                <c:pt idx="2026">
                  <c:v>0.704571057</c:v>
                </c:pt>
                <c:pt idx="2027">
                  <c:v>0.70454472000000001</c:v>
                </c:pt>
                <c:pt idx="2028">
                  <c:v>0.70408921499999999</c:v>
                </c:pt>
                <c:pt idx="2029">
                  <c:v>0.698304386</c:v>
                </c:pt>
                <c:pt idx="2030">
                  <c:v>0.69881987599999995</c:v>
                </c:pt>
                <c:pt idx="2031">
                  <c:v>0.69985568600000003</c:v>
                </c:pt>
                <c:pt idx="2032">
                  <c:v>0.68290177100000005</c:v>
                </c:pt>
                <c:pt idx="2033">
                  <c:v>0.67198625199999995</c:v>
                </c:pt>
                <c:pt idx="2034">
                  <c:v>0.67217787500000004</c:v>
                </c:pt>
                <c:pt idx="2035">
                  <c:v>0.67162418499999998</c:v>
                </c:pt>
                <c:pt idx="2036">
                  <c:v>0.67075819599999997</c:v>
                </c:pt>
                <c:pt idx="2037">
                  <c:v>0.66960893099999996</c:v>
                </c:pt>
                <c:pt idx="2038">
                  <c:v>0.67449468400000001</c:v>
                </c:pt>
                <c:pt idx="2039">
                  <c:v>0.67337471500000001</c:v>
                </c:pt>
                <c:pt idx="2040">
                  <c:v>0.67185388599999996</c:v>
                </c:pt>
                <c:pt idx="2041">
                  <c:v>0.67049921499999998</c:v>
                </c:pt>
                <c:pt idx="2042">
                  <c:v>0.66951631499999997</c:v>
                </c:pt>
                <c:pt idx="2043">
                  <c:v>0.66949790799999997</c:v>
                </c:pt>
                <c:pt idx="2044">
                  <c:v>0.66849763399999995</c:v>
                </c:pt>
                <c:pt idx="2045">
                  <c:v>0.67034733999999996</c:v>
                </c:pt>
                <c:pt idx="2046">
                  <c:v>0.67075142399999998</c:v>
                </c:pt>
                <c:pt idx="2047">
                  <c:v>0.66990698599999998</c:v>
                </c:pt>
                <c:pt idx="2048">
                  <c:v>0.66913436999999998</c:v>
                </c:pt>
                <c:pt idx="2049">
                  <c:v>0.64315327</c:v>
                </c:pt>
                <c:pt idx="2050">
                  <c:v>0.64839512899999996</c:v>
                </c:pt>
                <c:pt idx="2051">
                  <c:v>0.64859821600000001</c:v>
                </c:pt>
                <c:pt idx="2052">
                  <c:v>0.64839729400000001</c:v>
                </c:pt>
                <c:pt idx="2053">
                  <c:v>0.65034334299999996</c:v>
                </c:pt>
                <c:pt idx="2054">
                  <c:v>0.65023912100000003</c:v>
                </c:pt>
                <c:pt idx="2055">
                  <c:v>0.65280077000000003</c:v>
                </c:pt>
                <c:pt idx="2056">
                  <c:v>0.62393803599999997</c:v>
                </c:pt>
                <c:pt idx="2057">
                  <c:v>0.62482922799999996</c:v>
                </c:pt>
                <c:pt idx="2058">
                  <c:v>0.62302280700000001</c:v>
                </c:pt>
                <c:pt idx="2059">
                  <c:v>0.62113188600000002</c:v>
                </c:pt>
                <c:pt idx="2060">
                  <c:v>0.622219772</c:v>
                </c:pt>
                <c:pt idx="2061">
                  <c:v>0.62248864800000003</c:v>
                </c:pt>
                <c:pt idx="2062">
                  <c:v>0.62243944900000003</c:v>
                </c:pt>
                <c:pt idx="2063">
                  <c:v>0.62069221399999996</c:v>
                </c:pt>
                <c:pt idx="2064">
                  <c:v>0.62124084700000004</c:v>
                </c:pt>
                <c:pt idx="2065">
                  <c:v>0.61943148000000003</c:v>
                </c:pt>
                <c:pt idx="2066">
                  <c:v>0.61397048300000001</c:v>
                </c:pt>
                <c:pt idx="2067">
                  <c:v>0.61313346599999996</c:v>
                </c:pt>
                <c:pt idx="2068">
                  <c:v>0.61239781699999996</c:v>
                </c:pt>
                <c:pt idx="2069">
                  <c:v>0.61179539999999999</c:v>
                </c:pt>
                <c:pt idx="2070">
                  <c:v>0.61080385299999995</c:v>
                </c:pt>
                <c:pt idx="2071">
                  <c:v>0.60559211300000004</c:v>
                </c:pt>
                <c:pt idx="2072">
                  <c:v>0.60625140700000002</c:v>
                </c:pt>
                <c:pt idx="2073">
                  <c:v>0.60822561200000003</c:v>
                </c:pt>
                <c:pt idx="2074">
                  <c:v>0.60774807600000003</c:v>
                </c:pt>
                <c:pt idx="2075">
                  <c:v>0.61178931400000003</c:v>
                </c:pt>
                <c:pt idx="2076">
                  <c:v>0.61206873900000003</c:v>
                </c:pt>
                <c:pt idx="2077">
                  <c:v>0.60204608199999998</c:v>
                </c:pt>
                <c:pt idx="2078">
                  <c:v>0.60285168</c:v>
                </c:pt>
                <c:pt idx="2079">
                  <c:v>0.60352487600000004</c:v>
                </c:pt>
                <c:pt idx="2080">
                  <c:v>0.60310929800000002</c:v>
                </c:pt>
                <c:pt idx="2081">
                  <c:v>0.60195342600000001</c:v>
                </c:pt>
                <c:pt idx="2082">
                  <c:v>0.60119955199999997</c:v>
                </c:pt>
                <c:pt idx="2083">
                  <c:v>0.59952356200000001</c:v>
                </c:pt>
                <c:pt idx="2084">
                  <c:v>0.599478697</c:v>
                </c:pt>
                <c:pt idx="2085">
                  <c:v>0.59579800199999999</c:v>
                </c:pt>
                <c:pt idx="2086">
                  <c:v>0.59672524299999996</c:v>
                </c:pt>
                <c:pt idx="2087">
                  <c:v>0.59272493299999995</c:v>
                </c:pt>
                <c:pt idx="2088">
                  <c:v>0.58662353899999997</c:v>
                </c:pt>
                <c:pt idx="2089">
                  <c:v>0.58619654700000001</c:v>
                </c:pt>
                <c:pt idx="2090">
                  <c:v>0.58441190499999995</c:v>
                </c:pt>
                <c:pt idx="2091">
                  <c:v>0.58175411600000004</c:v>
                </c:pt>
                <c:pt idx="2092">
                  <c:v>0.58948687600000005</c:v>
                </c:pt>
                <c:pt idx="2093">
                  <c:v>0.59235144200000001</c:v>
                </c:pt>
                <c:pt idx="2094">
                  <c:v>0.59149763099999997</c:v>
                </c:pt>
                <c:pt idx="2095">
                  <c:v>0.59106676300000005</c:v>
                </c:pt>
                <c:pt idx="2096">
                  <c:v>0.58931726100000004</c:v>
                </c:pt>
                <c:pt idx="2097">
                  <c:v>0.58815744999999997</c:v>
                </c:pt>
                <c:pt idx="2098">
                  <c:v>0.587636257</c:v>
                </c:pt>
                <c:pt idx="2099">
                  <c:v>0.58723669999999994</c:v>
                </c:pt>
                <c:pt idx="2100">
                  <c:v>0.57853228700000003</c:v>
                </c:pt>
                <c:pt idx="2101">
                  <c:v>0.55824759599999996</c:v>
                </c:pt>
                <c:pt idx="2102">
                  <c:v>0.56584692700000006</c:v>
                </c:pt>
                <c:pt idx="2103">
                  <c:v>0.56833466399999999</c:v>
                </c:pt>
                <c:pt idx="2104">
                  <c:v>0.56824054000000002</c:v>
                </c:pt>
                <c:pt idx="2105">
                  <c:v>0.56730487699999999</c:v>
                </c:pt>
                <c:pt idx="2106">
                  <c:v>0.56453542400000001</c:v>
                </c:pt>
                <c:pt idx="2107">
                  <c:v>0.56297499799999995</c:v>
                </c:pt>
                <c:pt idx="2108">
                  <c:v>0.56115822800000004</c:v>
                </c:pt>
                <c:pt idx="2109">
                  <c:v>0.55910449699999998</c:v>
                </c:pt>
                <c:pt idx="2110">
                  <c:v>0.55802461299999995</c:v>
                </c:pt>
                <c:pt idx="2111">
                  <c:v>0.55790826199999999</c:v>
                </c:pt>
                <c:pt idx="2112">
                  <c:v>0.55720186500000002</c:v>
                </c:pt>
                <c:pt idx="2113">
                  <c:v>0.55556557600000001</c:v>
                </c:pt>
                <c:pt idx="2114">
                  <c:v>0.552393158</c:v>
                </c:pt>
                <c:pt idx="2115">
                  <c:v>0.55173520300000001</c:v>
                </c:pt>
                <c:pt idx="2116">
                  <c:v>0.551317057</c:v>
                </c:pt>
                <c:pt idx="2117">
                  <c:v>0.54974547100000004</c:v>
                </c:pt>
                <c:pt idx="2118">
                  <c:v>0.54940009300000003</c:v>
                </c:pt>
                <c:pt idx="2119">
                  <c:v>0.54879467199999998</c:v>
                </c:pt>
                <c:pt idx="2120">
                  <c:v>0.54708578500000005</c:v>
                </c:pt>
                <c:pt idx="2121">
                  <c:v>0.538931206</c:v>
                </c:pt>
                <c:pt idx="2122">
                  <c:v>0.53820130700000002</c:v>
                </c:pt>
                <c:pt idx="2123">
                  <c:v>0.53699444699999999</c:v>
                </c:pt>
                <c:pt idx="2124">
                  <c:v>0.53513632700000002</c:v>
                </c:pt>
                <c:pt idx="2125">
                  <c:v>0.53420916200000002</c:v>
                </c:pt>
                <c:pt idx="2126">
                  <c:v>0.53322677100000004</c:v>
                </c:pt>
                <c:pt idx="2127">
                  <c:v>0.53166409999999997</c:v>
                </c:pt>
                <c:pt idx="2128">
                  <c:v>0.53258263100000003</c:v>
                </c:pt>
                <c:pt idx="2129">
                  <c:v>0.52286905400000006</c:v>
                </c:pt>
                <c:pt idx="2130">
                  <c:v>0.52122973699999997</c:v>
                </c:pt>
                <c:pt idx="2131">
                  <c:v>0.51982350200000005</c:v>
                </c:pt>
                <c:pt idx="2132">
                  <c:v>0.51866890099999996</c:v>
                </c:pt>
                <c:pt idx="2133">
                  <c:v>0.51721281500000005</c:v>
                </c:pt>
                <c:pt idx="2134">
                  <c:v>0.51330178599999998</c:v>
                </c:pt>
                <c:pt idx="2135">
                  <c:v>0.51400885500000004</c:v>
                </c:pt>
                <c:pt idx="2136">
                  <c:v>0.51336498900000005</c:v>
                </c:pt>
                <c:pt idx="2137">
                  <c:v>0.51342292300000003</c:v>
                </c:pt>
                <c:pt idx="2138">
                  <c:v>0.51323889700000003</c:v>
                </c:pt>
                <c:pt idx="2139">
                  <c:v>0.51178890600000004</c:v>
                </c:pt>
                <c:pt idx="2140">
                  <c:v>0.50785150400000001</c:v>
                </c:pt>
                <c:pt idx="2141">
                  <c:v>0.50716420600000001</c:v>
                </c:pt>
                <c:pt idx="2142">
                  <c:v>0.507066299</c:v>
                </c:pt>
                <c:pt idx="2143">
                  <c:v>0.50616385900000005</c:v>
                </c:pt>
                <c:pt idx="2144">
                  <c:v>0.50311992800000005</c:v>
                </c:pt>
                <c:pt idx="2145">
                  <c:v>0.50271626300000005</c:v>
                </c:pt>
                <c:pt idx="2146">
                  <c:v>0.50137223900000005</c:v>
                </c:pt>
                <c:pt idx="2147">
                  <c:v>0.50000248800000002</c:v>
                </c:pt>
                <c:pt idx="2148">
                  <c:v>0.50006671599999997</c:v>
                </c:pt>
                <c:pt idx="2149">
                  <c:v>0.49978018499999999</c:v>
                </c:pt>
                <c:pt idx="2150">
                  <c:v>0.497365214</c:v>
                </c:pt>
                <c:pt idx="2151">
                  <c:v>0.49566585099999999</c:v>
                </c:pt>
                <c:pt idx="2152">
                  <c:v>0.494731001</c:v>
                </c:pt>
                <c:pt idx="2153">
                  <c:v>0.493387831</c:v>
                </c:pt>
                <c:pt idx="2154">
                  <c:v>0.49407154199999997</c:v>
                </c:pt>
                <c:pt idx="2155">
                  <c:v>0.49460738900000001</c:v>
                </c:pt>
                <c:pt idx="2156">
                  <c:v>0.49500388099999998</c:v>
                </c:pt>
                <c:pt idx="2157">
                  <c:v>0.49094379799999999</c:v>
                </c:pt>
                <c:pt idx="2158">
                  <c:v>0.49077477600000002</c:v>
                </c:pt>
                <c:pt idx="2159">
                  <c:v>0.498305004</c:v>
                </c:pt>
                <c:pt idx="2160">
                  <c:v>0.49667622</c:v>
                </c:pt>
                <c:pt idx="2161">
                  <c:v>0.52018445199999996</c:v>
                </c:pt>
                <c:pt idx="2162">
                  <c:v>0.51939487900000003</c:v>
                </c:pt>
                <c:pt idx="2163">
                  <c:v>0.52244963799999999</c:v>
                </c:pt>
                <c:pt idx="2164">
                  <c:v>0.52208942199999997</c:v>
                </c:pt>
                <c:pt idx="2165">
                  <c:v>0.52141107499999995</c:v>
                </c:pt>
                <c:pt idx="2166">
                  <c:v>0.52616410000000002</c:v>
                </c:pt>
                <c:pt idx="2167">
                  <c:v>0.52652513000000001</c:v>
                </c:pt>
                <c:pt idx="2168">
                  <c:v>0.52569043500000001</c:v>
                </c:pt>
                <c:pt idx="2169">
                  <c:v>0.52681619499999999</c:v>
                </c:pt>
                <c:pt idx="2170">
                  <c:v>0.52863071800000005</c:v>
                </c:pt>
                <c:pt idx="2171">
                  <c:v>0.53206803800000002</c:v>
                </c:pt>
                <c:pt idx="2172">
                  <c:v>0.53386584999999998</c:v>
                </c:pt>
                <c:pt idx="2173">
                  <c:v>0.53907733999999996</c:v>
                </c:pt>
                <c:pt idx="2174">
                  <c:v>0.53776442400000002</c:v>
                </c:pt>
                <c:pt idx="2175">
                  <c:v>0.53958061400000001</c:v>
                </c:pt>
                <c:pt idx="2176">
                  <c:v>0.54051484299999997</c:v>
                </c:pt>
                <c:pt idx="2177">
                  <c:v>0.54429551899999995</c:v>
                </c:pt>
                <c:pt idx="2178">
                  <c:v>0.54475147700000004</c:v>
                </c:pt>
                <c:pt idx="2179">
                  <c:v>0.53389774499999998</c:v>
                </c:pt>
                <c:pt idx="2180">
                  <c:v>0.53427918900000004</c:v>
                </c:pt>
                <c:pt idx="2181">
                  <c:v>0.534479284</c:v>
                </c:pt>
                <c:pt idx="2182">
                  <c:v>0.53154037099999996</c:v>
                </c:pt>
                <c:pt idx="2183">
                  <c:v>0.53152003999999997</c:v>
                </c:pt>
                <c:pt idx="2184">
                  <c:v>0.53013579700000002</c:v>
                </c:pt>
                <c:pt idx="2185">
                  <c:v>0.53534227999999995</c:v>
                </c:pt>
                <c:pt idx="2186">
                  <c:v>0.53420559199999995</c:v>
                </c:pt>
                <c:pt idx="2187">
                  <c:v>0.53396893400000001</c:v>
                </c:pt>
                <c:pt idx="2188">
                  <c:v>0.53484582400000003</c:v>
                </c:pt>
                <c:pt idx="2189">
                  <c:v>0.53369806099999995</c:v>
                </c:pt>
                <c:pt idx="2190">
                  <c:v>0.53249871400000004</c:v>
                </c:pt>
                <c:pt idx="2191">
                  <c:v>0.53012364300000003</c:v>
                </c:pt>
                <c:pt idx="2192">
                  <c:v>0.528282221</c:v>
                </c:pt>
                <c:pt idx="2193">
                  <c:v>0.52753977799999996</c:v>
                </c:pt>
                <c:pt idx="2194">
                  <c:v>0.52444533800000004</c:v>
                </c:pt>
                <c:pt idx="2195">
                  <c:v>0.52249316099999998</c:v>
                </c:pt>
                <c:pt idx="2196">
                  <c:v>0.52220449599999996</c:v>
                </c:pt>
                <c:pt idx="2197">
                  <c:v>0.51904242899999997</c:v>
                </c:pt>
                <c:pt idx="2198">
                  <c:v>0.51809968500000003</c:v>
                </c:pt>
                <c:pt idx="2199">
                  <c:v>0.51533357099999999</c:v>
                </c:pt>
                <c:pt idx="2200">
                  <c:v>0.51235550100000005</c:v>
                </c:pt>
                <c:pt idx="2201">
                  <c:v>0.50905279299999995</c:v>
                </c:pt>
                <c:pt idx="2202">
                  <c:v>0.51028380900000003</c:v>
                </c:pt>
                <c:pt idx="2203">
                  <c:v>0.51151805500000003</c:v>
                </c:pt>
                <c:pt idx="2204">
                  <c:v>0.50859805800000002</c:v>
                </c:pt>
                <c:pt idx="2205">
                  <c:v>0.507251059</c:v>
                </c:pt>
                <c:pt idx="2206">
                  <c:v>0.50493679300000005</c:v>
                </c:pt>
                <c:pt idx="2207">
                  <c:v>0.51061013799999999</c:v>
                </c:pt>
                <c:pt idx="2208">
                  <c:v>0.51267195700000001</c:v>
                </c:pt>
                <c:pt idx="2209">
                  <c:v>0.51157362399999995</c:v>
                </c:pt>
                <c:pt idx="2210">
                  <c:v>0.51056381699999998</c:v>
                </c:pt>
                <c:pt idx="2211">
                  <c:v>0.50969121699999997</c:v>
                </c:pt>
                <c:pt idx="2212">
                  <c:v>0.50632138500000001</c:v>
                </c:pt>
                <c:pt idx="2213">
                  <c:v>0.52513224000000003</c:v>
                </c:pt>
                <c:pt idx="2214">
                  <c:v>0.53585440699999998</c:v>
                </c:pt>
                <c:pt idx="2215">
                  <c:v>0.53609781300000003</c:v>
                </c:pt>
                <c:pt idx="2216">
                  <c:v>0.57450930899999997</c:v>
                </c:pt>
                <c:pt idx="2217">
                  <c:v>0.577187915</c:v>
                </c:pt>
                <c:pt idx="2218">
                  <c:v>0.57898283500000003</c:v>
                </c:pt>
                <c:pt idx="2219">
                  <c:v>0.58046321999999995</c:v>
                </c:pt>
                <c:pt idx="2220">
                  <c:v>0.58898654399999995</c:v>
                </c:pt>
                <c:pt idx="2221">
                  <c:v>0.58909935700000005</c:v>
                </c:pt>
                <c:pt idx="2222">
                  <c:v>0.58992290000000003</c:v>
                </c:pt>
                <c:pt idx="2223">
                  <c:v>0.59089321100000003</c:v>
                </c:pt>
                <c:pt idx="2224">
                  <c:v>0.59255108700000003</c:v>
                </c:pt>
                <c:pt idx="2225">
                  <c:v>0.59288532599999999</c:v>
                </c:pt>
                <c:pt idx="2226">
                  <c:v>0.59376194800000004</c:v>
                </c:pt>
                <c:pt idx="2227">
                  <c:v>0.593802045</c:v>
                </c:pt>
                <c:pt idx="2228">
                  <c:v>0.59394570999999996</c:v>
                </c:pt>
                <c:pt idx="2229">
                  <c:v>0.594444168</c:v>
                </c:pt>
                <c:pt idx="2230">
                  <c:v>0.59637889799999999</c:v>
                </c:pt>
                <c:pt idx="2231">
                  <c:v>0.59583413500000004</c:v>
                </c:pt>
                <c:pt idx="2232">
                  <c:v>0.59472394900000003</c:v>
                </c:pt>
                <c:pt idx="2233">
                  <c:v>0.59551625399999997</c:v>
                </c:pt>
                <c:pt idx="2234">
                  <c:v>0.59556838499999998</c:v>
                </c:pt>
                <c:pt idx="2235">
                  <c:v>0.59576193600000005</c:v>
                </c:pt>
                <c:pt idx="2236">
                  <c:v>0.59689748799999998</c:v>
                </c:pt>
                <c:pt idx="2237">
                  <c:v>0.59683487499999999</c:v>
                </c:pt>
                <c:pt idx="2238">
                  <c:v>0.59581527300000003</c:v>
                </c:pt>
                <c:pt idx="2239">
                  <c:v>0.59574829500000004</c:v>
                </c:pt>
                <c:pt idx="2240">
                  <c:v>0.59761391900000005</c:v>
                </c:pt>
                <c:pt idx="2241">
                  <c:v>0.61209644900000004</c:v>
                </c:pt>
                <c:pt idx="2242">
                  <c:v>0.61049622000000003</c:v>
                </c:pt>
                <c:pt idx="2243">
                  <c:v>0.61098823400000002</c:v>
                </c:pt>
                <c:pt idx="2244">
                  <c:v>0.61666956500000003</c:v>
                </c:pt>
                <c:pt idx="2245">
                  <c:v>0.61888730199999997</c:v>
                </c:pt>
                <c:pt idx="2246">
                  <c:v>0.61862742100000001</c:v>
                </c:pt>
                <c:pt idx="2247">
                  <c:v>0.61816297799999997</c:v>
                </c:pt>
                <c:pt idx="2248">
                  <c:v>0.61904199199999999</c:v>
                </c:pt>
                <c:pt idx="2249">
                  <c:v>0.61882703500000003</c:v>
                </c:pt>
                <c:pt idx="2250">
                  <c:v>0.61899287199999997</c:v>
                </c:pt>
                <c:pt idx="2251">
                  <c:v>0.62392824899999999</c:v>
                </c:pt>
                <c:pt idx="2252">
                  <c:v>0.62319773700000003</c:v>
                </c:pt>
                <c:pt idx="2253">
                  <c:v>0.62353129299999999</c:v>
                </c:pt>
                <c:pt idx="2254">
                  <c:v>0.62560496899999996</c:v>
                </c:pt>
                <c:pt idx="2255">
                  <c:v>0.63097391400000002</c:v>
                </c:pt>
                <c:pt idx="2256">
                  <c:v>0.63602994800000001</c:v>
                </c:pt>
                <c:pt idx="2257">
                  <c:v>0.63689294399999996</c:v>
                </c:pt>
                <c:pt idx="2258">
                  <c:v>0.63968232199999997</c:v>
                </c:pt>
                <c:pt idx="2259">
                  <c:v>0.64274925000000005</c:v>
                </c:pt>
                <c:pt idx="2260">
                  <c:v>0.64167432499999999</c:v>
                </c:pt>
                <c:pt idx="2261">
                  <c:v>0.64799767500000005</c:v>
                </c:pt>
                <c:pt idx="2262">
                  <c:v>0.64799774099999996</c:v>
                </c:pt>
                <c:pt idx="2263">
                  <c:v>0.65460909599999995</c:v>
                </c:pt>
                <c:pt idx="2264">
                  <c:v>0.65431271000000002</c:v>
                </c:pt>
                <c:pt idx="2265">
                  <c:v>0.654433512</c:v>
                </c:pt>
                <c:pt idx="2266">
                  <c:v>0.65357441100000002</c:v>
                </c:pt>
                <c:pt idx="2267">
                  <c:v>0.65403802200000005</c:v>
                </c:pt>
                <c:pt idx="2268">
                  <c:v>0.65819719099999996</c:v>
                </c:pt>
                <c:pt idx="2269">
                  <c:v>0.66031850700000005</c:v>
                </c:pt>
                <c:pt idx="2270">
                  <c:v>0.66051357899999996</c:v>
                </c:pt>
                <c:pt idx="2271">
                  <c:v>0.66057291900000004</c:v>
                </c:pt>
                <c:pt idx="2272">
                  <c:v>0.66077620800000003</c:v>
                </c:pt>
                <c:pt idx="2273">
                  <c:v>0.66177371500000004</c:v>
                </c:pt>
                <c:pt idx="2274">
                  <c:v>0.66142398199999997</c:v>
                </c:pt>
                <c:pt idx="2275">
                  <c:v>0.66259231500000004</c:v>
                </c:pt>
                <c:pt idx="2276">
                  <c:v>0.66384570099999995</c:v>
                </c:pt>
                <c:pt idx="2277">
                  <c:v>0.66515177199999997</c:v>
                </c:pt>
                <c:pt idx="2278">
                  <c:v>0.66514672699999999</c:v>
                </c:pt>
                <c:pt idx="2279">
                  <c:v>0.66459788099999995</c:v>
                </c:pt>
                <c:pt idx="2280">
                  <c:v>0.66745207900000003</c:v>
                </c:pt>
                <c:pt idx="2281">
                  <c:v>0.66782754600000005</c:v>
                </c:pt>
                <c:pt idx="2282">
                  <c:v>0.66761028899999997</c:v>
                </c:pt>
                <c:pt idx="2283">
                  <c:v>0.66749879999999995</c:v>
                </c:pt>
                <c:pt idx="2284">
                  <c:v>0.66806271100000003</c:v>
                </c:pt>
                <c:pt idx="2285">
                  <c:v>0.67600165300000004</c:v>
                </c:pt>
                <c:pt idx="2286">
                  <c:v>0.68327406800000001</c:v>
                </c:pt>
                <c:pt idx="2287">
                  <c:v>0.68454623199999998</c:v>
                </c:pt>
                <c:pt idx="2288">
                  <c:v>0.68208473700000005</c:v>
                </c:pt>
                <c:pt idx="2289">
                  <c:v>0.683805039</c:v>
                </c:pt>
                <c:pt idx="2290">
                  <c:v>0.68425797399999999</c:v>
                </c:pt>
                <c:pt idx="2291">
                  <c:v>0.68471374600000001</c:v>
                </c:pt>
                <c:pt idx="2292">
                  <c:v>0.68767283999999995</c:v>
                </c:pt>
                <c:pt idx="2293">
                  <c:v>0.68743147900000001</c:v>
                </c:pt>
                <c:pt idx="2294">
                  <c:v>0.68866250500000004</c:v>
                </c:pt>
                <c:pt idx="2295">
                  <c:v>0.68868025200000005</c:v>
                </c:pt>
                <c:pt idx="2296">
                  <c:v>0.68839322400000003</c:v>
                </c:pt>
                <c:pt idx="2297">
                  <c:v>0.68897302000000005</c:v>
                </c:pt>
                <c:pt idx="2298">
                  <c:v>0.70868264599999997</c:v>
                </c:pt>
                <c:pt idx="2299">
                  <c:v>0.70847450599999995</c:v>
                </c:pt>
                <c:pt idx="2300">
                  <c:v>0.70758881699999998</c:v>
                </c:pt>
                <c:pt idx="2301">
                  <c:v>0.70774842400000004</c:v>
                </c:pt>
                <c:pt idx="2302">
                  <c:v>0.71023073000000003</c:v>
                </c:pt>
                <c:pt idx="2303">
                  <c:v>0.70939882300000001</c:v>
                </c:pt>
                <c:pt idx="2304">
                  <c:v>0.71567259000000005</c:v>
                </c:pt>
                <c:pt idx="2305">
                  <c:v>0.714985337</c:v>
                </c:pt>
                <c:pt idx="2306">
                  <c:v>0.72637379800000001</c:v>
                </c:pt>
                <c:pt idx="2307">
                  <c:v>0.738956053</c:v>
                </c:pt>
                <c:pt idx="2308">
                  <c:v>0.73733623999999998</c:v>
                </c:pt>
                <c:pt idx="2309">
                  <c:v>0.74036049100000001</c:v>
                </c:pt>
                <c:pt idx="2310">
                  <c:v>0.740268115</c:v>
                </c:pt>
                <c:pt idx="2311">
                  <c:v>0.740185066</c:v>
                </c:pt>
                <c:pt idx="2312">
                  <c:v>0.75212301199999998</c:v>
                </c:pt>
                <c:pt idx="2313">
                  <c:v>0.75223888900000002</c:v>
                </c:pt>
                <c:pt idx="2314">
                  <c:v>0.75615645399999998</c:v>
                </c:pt>
                <c:pt idx="2315">
                  <c:v>0.76088976399999997</c:v>
                </c:pt>
                <c:pt idx="2316">
                  <c:v>0.76155535100000005</c:v>
                </c:pt>
                <c:pt idx="2317">
                  <c:v>0.76265335199999995</c:v>
                </c:pt>
                <c:pt idx="2318">
                  <c:v>0.76443076399999998</c:v>
                </c:pt>
                <c:pt idx="2319">
                  <c:v>0.76569629699999997</c:v>
                </c:pt>
                <c:pt idx="2320">
                  <c:v>0.767022498</c:v>
                </c:pt>
                <c:pt idx="2321">
                  <c:v>0.77209857299999995</c:v>
                </c:pt>
                <c:pt idx="2322">
                  <c:v>0.77282713599999997</c:v>
                </c:pt>
                <c:pt idx="2323">
                  <c:v>0.77560645399999995</c:v>
                </c:pt>
                <c:pt idx="2324">
                  <c:v>0.77641975500000004</c:v>
                </c:pt>
                <c:pt idx="2325">
                  <c:v>0.776356724</c:v>
                </c:pt>
                <c:pt idx="2326">
                  <c:v>0.77806015299999998</c:v>
                </c:pt>
                <c:pt idx="2327">
                  <c:v>0.77855627299999997</c:v>
                </c:pt>
                <c:pt idx="2328">
                  <c:v>0.779918161</c:v>
                </c:pt>
                <c:pt idx="2329">
                  <c:v>0.78612383699999999</c:v>
                </c:pt>
                <c:pt idx="2330">
                  <c:v>0.79419320999999998</c:v>
                </c:pt>
                <c:pt idx="2331">
                  <c:v>0.79955001400000003</c:v>
                </c:pt>
                <c:pt idx="2332">
                  <c:v>0.80210735300000002</c:v>
                </c:pt>
                <c:pt idx="2333">
                  <c:v>0.81576711599999996</c:v>
                </c:pt>
                <c:pt idx="2334">
                  <c:v>0.81995034099999997</c:v>
                </c:pt>
                <c:pt idx="2335">
                  <c:v>0.83086387500000003</c:v>
                </c:pt>
                <c:pt idx="2336">
                  <c:v>0.83166749799999995</c:v>
                </c:pt>
                <c:pt idx="2337">
                  <c:v>0.83320544100000005</c:v>
                </c:pt>
                <c:pt idx="2338">
                  <c:v>0.83468181299999999</c:v>
                </c:pt>
                <c:pt idx="2339">
                  <c:v>0.84463589100000003</c:v>
                </c:pt>
                <c:pt idx="2340">
                  <c:v>0.846114162</c:v>
                </c:pt>
                <c:pt idx="2341">
                  <c:v>0.850414263</c:v>
                </c:pt>
                <c:pt idx="2342">
                  <c:v>0.84987201300000004</c:v>
                </c:pt>
                <c:pt idx="2343">
                  <c:v>0.85343813400000001</c:v>
                </c:pt>
                <c:pt idx="2344">
                  <c:v>0.85523629000000001</c:v>
                </c:pt>
                <c:pt idx="2345">
                  <c:v>0.85655121400000001</c:v>
                </c:pt>
                <c:pt idx="2346">
                  <c:v>0.85725311299999996</c:v>
                </c:pt>
                <c:pt idx="2347">
                  <c:v>0.86584308099999996</c:v>
                </c:pt>
                <c:pt idx="2348">
                  <c:v>0.86609520699999998</c:v>
                </c:pt>
                <c:pt idx="2349">
                  <c:v>0.86717260799999996</c:v>
                </c:pt>
                <c:pt idx="2350">
                  <c:v>0.86985126000000002</c:v>
                </c:pt>
                <c:pt idx="2351">
                  <c:v>0.870219411</c:v>
                </c:pt>
                <c:pt idx="2352">
                  <c:v>0.86847717099999999</c:v>
                </c:pt>
                <c:pt idx="2353">
                  <c:v>0.87208325099999995</c:v>
                </c:pt>
                <c:pt idx="2354">
                  <c:v>0.87938489600000003</c:v>
                </c:pt>
                <c:pt idx="2355">
                  <c:v>0.88329055700000003</c:v>
                </c:pt>
                <c:pt idx="2356">
                  <c:v>0.88565208200000001</c:v>
                </c:pt>
                <c:pt idx="2357">
                  <c:v>0.89138786800000003</c:v>
                </c:pt>
                <c:pt idx="2358">
                  <c:v>0.89407388799999998</c:v>
                </c:pt>
                <c:pt idx="2359">
                  <c:v>0.89678884400000003</c:v>
                </c:pt>
                <c:pt idx="2360">
                  <c:v>0.90067247399999995</c:v>
                </c:pt>
                <c:pt idx="2361">
                  <c:v>0.90230466200000004</c:v>
                </c:pt>
                <c:pt idx="2362">
                  <c:v>0.905787114</c:v>
                </c:pt>
                <c:pt idx="2363">
                  <c:v>0.91395088300000005</c:v>
                </c:pt>
                <c:pt idx="2364">
                  <c:v>0.91817836200000003</c:v>
                </c:pt>
                <c:pt idx="2365">
                  <c:v>0.91901087800000003</c:v>
                </c:pt>
                <c:pt idx="2366">
                  <c:v>0.932370323</c:v>
                </c:pt>
                <c:pt idx="2367">
                  <c:v>0.93477807599999996</c:v>
                </c:pt>
                <c:pt idx="2368">
                  <c:v>0.93715960300000001</c:v>
                </c:pt>
                <c:pt idx="2369">
                  <c:v>0.93848859799999995</c:v>
                </c:pt>
                <c:pt idx="2370">
                  <c:v>0.94040214799999999</c:v>
                </c:pt>
                <c:pt idx="2371">
                  <c:v>0.96783836300000003</c:v>
                </c:pt>
                <c:pt idx="2372">
                  <c:v>0.96875268400000003</c:v>
                </c:pt>
                <c:pt idx="2373">
                  <c:v>0.96969910800000003</c:v>
                </c:pt>
                <c:pt idx="2374">
                  <c:v>1.0013701589999999</c:v>
                </c:pt>
                <c:pt idx="2375">
                  <c:v>1.004385171</c:v>
                </c:pt>
                <c:pt idx="2376">
                  <c:v>1.0077195839999999</c:v>
                </c:pt>
                <c:pt idx="2377">
                  <c:v>1.009314754</c:v>
                </c:pt>
                <c:pt idx="2378">
                  <c:v>1.0100825470000001</c:v>
                </c:pt>
                <c:pt idx="2379">
                  <c:v>1.0187374520000001</c:v>
                </c:pt>
                <c:pt idx="2380">
                  <c:v>1.0310140489999999</c:v>
                </c:pt>
                <c:pt idx="2381">
                  <c:v>1.054046244</c:v>
                </c:pt>
                <c:pt idx="2382">
                  <c:v>1.0621233809999999</c:v>
                </c:pt>
                <c:pt idx="2383">
                  <c:v>1.0627216100000001</c:v>
                </c:pt>
                <c:pt idx="2384">
                  <c:v>1.0622043370000001</c:v>
                </c:pt>
                <c:pt idx="2385">
                  <c:v>1.062287462</c:v>
                </c:pt>
                <c:pt idx="2386">
                  <c:v>1.074827789</c:v>
                </c:pt>
                <c:pt idx="2387">
                  <c:v>1.075369171</c:v>
                </c:pt>
                <c:pt idx="2388">
                  <c:v>1.0773603679999999</c:v>
                </c:pt>
                <c:pt idx="2389">
                  <c:v>1.076141475</c:v>
                </c:pt>
                <c:pt idx="2390">
                  <c:v>1.0900426249999999</c:v>
                </c:pt>
                <c:pt idx="2391">
                  <c:v>1.09197433</c:v>
                </c:pt>
                <c:pt idx="2392">
                  <c:v>1.0935941360000001</c:v>
                </c:pt>
                <c:pt idx="2393">
                  <c:v>1.097010671</c:v>
                </c:pt>
                <c:pt idx="2394">
                  <c:v>1.0988455370000001</c:v>
                </c:pt>
                <c:pt idx="2395">
                  <c:v>1.1034795209999999</c:v>
                </c:pt>
                <c:pt idx="2396">
                  <c:v>1.1075932429999999</c:v>
                </c:pt>
                <c:pt idx="2397">
                  <c:v>1.1100281059999999</c:v>
                </c:pt>
                <c:pt idx="2398">
                  <c:v>1.1118745160000001</c:v>
                </c:pt>
                <c:pt idx="2399">
                  <c:v>1.1159365779999999</c:v>
                </c:pt>
                <c:pt idx="2400">
                  <c:v>1.1184037979999999</c:v>
                </c:pt>
                <c:pt idx="2401">
                  <c:v>1.1207708590000001</c:v>
                </c:pt>
                <c:pt idx="2402">
                  <c:v>1.128400705</c:v>
                </c:pt>
                <c:pt idx="2403">
                  <c:v>1.1319273839999999</c:v>
                </c:pt>
                <c:pt idx="2404">
                  <c:v>1.1355028279999999</c:v>
                </c:pt>
                <c:pt idx="2405">
                  <c:v>1.1428735299999999</c:v>
                </c:pt>
                <c:pt idx="2406">
                  <c:v>1.145127727</c:v>
                </c:pt>
                <c:pt idx="2407">
                  <c:v>1.151262612</c:v>
                </c:pt>
                <c:pt idx="2408">
                  <c:v>1.1569055290000001</c:v>
                </c:pt>
                <c:pt idx="2409">
                  <c:v>1.1597704209999999</c:v>
                </c:pt>
                <c:pt idx="2410">
                  <c:v>1.1679505050000001</c:v>
                </c:pt>
                <c:pt idx="2411">
                  <c:v>1.1711398749999999</c:v>
                </c:pt>
                <c:pt idx="2412">
                  <c:v>1.1744350180000001</c:v>
                </c:pt>
                <c:pt idx="2413">
                  <c:v>1.176714947</c:v>
                </c:pt>
                <c:pt idx="2414">
                  <c:v>1.184207204</c:v>
                </c:pt>
                <c:pt idx="2415">
                  <c:v>1.1880402910000001</c:v>
                </c:pt>
                <c:pt idx="2416">
                  <c:v>1.190679947</c:v>
                </c:pt>
                <c:pt idx="2417">
                  <c:v>1.1940935939999999</c:v>
                </c:pt>
                <c:pt idx="2418">
                  <c:v>1.19687718</c:v>
                </c:pt>
                <c:pt idx="2419">
                  <c:v>1.203937035</c:v>
                </c:pt>
                <c:pt idx="2420">
                  <c:v>1.2090065379999999</c:v>
                </c:pt>
                <c:pt idx="2421">
                  <c:v>1.209147706</c:v>
                </c:pt>
                <c:pt idx="2422">
                  <c:v>1.2111370969999999</c:v>
                </c:pt>
                <c:pt idx="2423">
                  <c:v>1.2113448929999999</c:v>
                </c:pt>
                <c:pt idx="2424">
                  <c:v>1.211205844</c:v>
                </c:pt>
                <c:pt idx="2425">
                  <c:v>1.2121771589999999</c:v>
                </c:pt>
                <c:pt idx="2426">
                  <c:v>1.2137338019999999</c:v>
                </c:pt>
                <c:pt idx="2427">
                  <c:v>1.214032491</c:v>
                </c:pt>
                <c:pt idx="2428">
                  <c:v>1.2157944380000001</c:v>
                </c:pt>
                <c:pt idx="2429">
                  <c:v>1.2139869249999999</c:v>
                </c:pt>
                <c:pt idx="2430">
                  <c:v>1.2163543080000001</c:v>
                </c:pt>
                <c:pt idx="2431">
                  <c:v>1.219528962</c:v>
                </c:pt>
                <c:pt idx="2432">
                  <c:v>1.2205375039999999</c:v>
                </c:pt>
                <c:pt idx="2433">
                  <c:v>1.2298197449999999</c:v>
                </c:pt>
                <c:pt idx="2434">
                  <c:v>1.231198239</c:v>
                </c:pt>
                <c:pt idx="2435">
                  <c:v>1.2306621579999999</c:v>
                </c:pt>
                <c:pt idx="2436">
                  <c:v>1.2328458069999999</c:v>
                </c:pt>
                <c:pt idx="2437">
                  <c:v>1.2340071909999999</c:v>
                </c:pt>
                <c:pt idx="2438">
                  <c:v>1.2368359419999999</c:v>
                </c:pt>
                <c:pt idx="2439">
                  <c:v>1.241953549</c:v>
                </c:pt>
                <c:pt idx="2440">
                  <c:v>1.250507888</c:v>
                </c:pt>
                <c:pt idx="2441">
                  <c:v>1.254796821</c:v>
                </c:pt>
                <c:pt idx="2442">
                  <c:v>1.2603222839999999</c:v>
                </c:pt>
                <c:pt idx="2443">
                  <c:v>1.2678784139999999</c:v>
                </c:pt>
                <c:pt idx="2444">
                  <c:v>1.272566334</c:v>
                </c:pt>
                <c:pt idx="2445">
                  <c:v>1.278280439</c:v>
                </c:pt>
                <c:pt idx="2446">
                  <c:v>1.281493577</c:v>
                </c:pt>
                <c:pt idx="2447">
                  <c:v>1.28854183</c:v>
                </c:pt>
                <c:pt idx="2448">
                  <c:v>1.2941024860000001</c:v>
                </c:pt>
                <c:pt idx="2449">
                  <c:v>1.302970645</c:v>
                </c:pt>
                <c:pt idx="2450">
                  <c:v>1.3092056219999999</c:v>
                </c:pt>
                <c:pt idx="2451">
                  <c:v>1.3186940620000001</c:v>
                </c:pt>
                <c:pt idx="2452">
                  <c:v>1.324050153</c:v>
                </c:pt>
                <c:pt idx="2453">
                  <c:v>1.3338157319999999</c:v>
                </c:pt>
                <c:pt idx="2454">
                  <c:v>1.347124008</c:v>
                </c:pt>
                <c:pt idx="2455">
                  <c:v>1.352899101</c:v>
                </c:pt>
                <c:pt idx="2456">
                  <c:v>1.3611056690000001</c:v>
                </c:pt>
                <c:pt idx="2457">
                  <c:v>1.3599547620000001</c:v>
                </c:pt>
                <c:pt idx="2458">
                  <c:v>1.363614812</c:v>
                </c:pt>
                <c:pt idx="2459">
                  <c:v>1.376925475</c:v>
                </c:pt>
                <c:pt idx="2460">
                  <c:v>1.3780091750000001</c:v>
                </c:pt>
                <c:pt idx="2461">
                  <c:v>1.378127989</c:v>
                </c:pt>
                <c:pt idx="2462">
                  <c:v>1.37867166</c:v>
                </c:pt>
                <c:pt idx="2463">
                  <c:v>1.3776870059999999</c:v>
                </c:pt>
                <c:pt idx="2464">
                  <c:v>1.4123305690000001</c:v>
                </c:pt>
                <c:pt idx="2465">
                  <c:v>1.403308751</c:v>
                </c:pt>
                <c:pt idx="2466">
                  <c:v>1.3738958779999999</c:v>
                </c:pt>
                <c:pt idx="2467">
                  <c:v>1.3687037449999999</c:v>
                </c:pt>
                <c:pt idx="2468">
                  <c:v>1.369461882</c:v>
                </c:pt>
                <c:pt idx="2469">
                  <c:v>1.3574889779999999</c:v>
                </c:pt>
                <c:pt idx="2470">
                  <c:v>1.3454606950000001</c:v>
                </c:pt>
                <c:pt idx="2471">
                  <c:v>1.3359409229999999</c:v>
                </c:pt>
                <c:pt idx="2472">
                  <c:v>1.3281169390000001</c:v>
                </c:pt>
                <c:pt idx="2473">
                  <c:v>1.3393457470000001</c:v>
                </c:pt>
                <c:pt idx="2474">
                  <c:v>1.3383949770000001</c:v>
                </c:pt>
                <c:pt idx="2475">
                  <c:v>1.331910919</c:v>
                </c:pt>
                <c:pt idx="2476">
                  <c:v>1.3263139129999999</c:v>
                </c:pt>
                <c:pt idx="2477">
                  <c:v>1.322771752</c:v>
                </c:pt>
                <c:pt idx="2478">
                  <c:v>1.322470942</c:v>
                </c:pt>
                <c:pt idx="2479">
                  <c:v>1.3276969869999999</c:v>
                </c:pt>
                <c:pt idx="2480">
                  <c:v>1.3231142469999999</c:v>
                </c:pt>
                <c:pt idx="2481">
                  <c:v>1.3200210139999999</c:v>
                </c:pt>
                <c:pt idx="2482">
                  <c:v>1.3185264940000001</c:v>
                </c:pt>
                <c:pt idx="2483">
                  <c:v>1.3156995629999999</c:v>
                </c:pt>
                <c:pt idx="2484">
                  <c:v>1.318614999</c:v>
                </c:pt>
                <c:pt idx="2485">
                  <c:v>1.3162483979999999</c:v>
                </c:pt>
                <c:pt idx="2486">
                  <c:v>1.314908551</c:v>
                </c:pt>
                <c:pt idx="2487">
                  <c:v>1.3130584839999999</c:v>
                </c:pt>
                <c:pt idx="2488">
                  <c:v>1.3253277320000001</c:v>
                </c:pt>
                <c:pt idx="2489">
                  <c:v>1.325902761</c:v>
                </c:pt>
                <c:pt idx="2490">
                  <c:v>1.3190599620000001</c:v>
                </c:pt>
                <c:pt idx="2491">
                  <c:v>1.309724648</c:v>
                </c:pt>
                <c:pt idx="2492">
                  <c:v>1.30513602</c:v>
                </c:pt>
                <c:pt idx="2493">
                  <c:v>1.298553187</c:v>
                </c:pt>
                <c:pt idx="2494">
                  <c:v>1.292059364</c:v>
                </c:pt>
                <c:pt idx="2495">
                  <c:v>1.2877533699999999</c:v>
                </c:pt>
                <c:pt idx="2496">
                  <c:v>1.291178162</c:v>
                </c:pt>
                <c:pt idx="2497">
                  <c:v>1.2911336980000001</c:v>
                </c:pt>
                <c:pt idx="2498">
                  <c:v>1.287686286</c:v>
                </c:pt>
                <c:pt idx="2499">
                  <c:v>1.292243308</c:v>
                </c:pt>
                <c:pt idx="2500">
                  <c:v>1.2886449090000001</c:v>
                </c:pt>
                <c:pt idx="2501">
                  <c:v>1.2838784089999999</c:v>
                </c:pt>
                <c:pt idx="2502">
                  <c:v>1.285122893</c:v>
                </c:pt>
                <c:pt idx="2503">
                  <c:v>1.286663187</c:v>
                </c:pt>
                <c:pt idx="2504">
                  <c:v>1.2830589349999999</c:v>
                </c:pt>
                <c:pt idx="2505">
                  <c:v>1.2786487609999999</c:v>
                </c:pt>
                <c:pt idx="2506">
                  <c:v>1.2791379679999999</c:v>
                </c:pt>
                <c:pt idx="2507">
                  <c:v>1.280538712</c:v>
                </c:pt>
                <c:pt idx="2508">
                  <c:v>1.277336888</c:v>
                </c:pt>
                <c:pt idx="2509">
                  <c:v>1.2750609180000001</c:v>
                </c:pt>
                <c:pt idx="2510">
                  <c:v>1.3133812119999999</c:v>
                </c:pt>
                <c:pt idx="2511">
                  <c:v>1.309668989</c:v>
                </c:pt>
                <c:pt idx="2512">
                  <c:v>1.3105857889999999</c:v>
                </c:pt>
                <c:pt idx="2513">
                  <c:v>1.309900023</c:v>
                </c:pt>
                <c:pt idx="2514">
                  <c:v>1.322510396</c:v>
                </c:pt>
                <c:pt idx="2515">
                  <c:v>1.3253716099999999</c:v>
                </c:pt>
                <c:pt idx="2516">
                  <c:v>1.3254559889999999</c:v>
                </c:pt>
                <c:pt idx="2517">
                  <c:v>1.329570726</c:v>
                </c:pt>
                <c:pt idx="2518">
                  <c:v>1.3264106870000001</c:v>
                </c:pt>
                <c:pt idx="2519">
                  <c:v>1.3316256150000001</c:v>
                </c:pt>
                <c:pt idx="2520">
                  <c:v>1.3306021530000001</c:v>
                </c:pt>
                <c:pt idx="2521">
                  <c:v>1.330522105</c:v>
                </c:pt>
                <c:pt idx="2522">
                  <c:v>1.329565546</c:v>
                </c:pt>
                <c:pt idx="2523">
                  <c:v>1.331662092</c:v>
                </c:pt>
                <c:pt idx="2524">
                  <c:v>1.3316320450000001</c:v>
                </c:pt>
                <c:pt idx="2525">
                  <c:v>1.3310658980000001</c:v>
                </c:pt>
                <c:pt idx="2526">
                  <c:v>1.3287773570000001</c:v>
                </c:pt>
                <c:pt idx="2527">
                  <c:v>1.3267588669999999</c:v>
                </c:pt>
                <c:pt idx="2528">
                  <c:v>1.32694186</c:v>
                </c:pt>
                <c:pt idx="2529">
                  <c:v>1.326310544</c:v>
                </c:pt>
                <c:pt idx="2530">
                  <c:v>1.3238642270000001</c:v>
                </c:pt>
                <c:pt idx="2531">
                  <c:v>1.3236274779999999</c:v>
                </c:pt>
                <c:pt idx="2532">
                  <c:v>1.32312659</c:v>
                </c:pt>
                <c:pt idx="2533">
                  <c:v>1.3235121430000001</c:v>
                </c:pt>
                <c:pt idx="2534">
                  <c:v>1.3246779390000001</c:v>
                </c:pt>
                <c:pt idx="2535">
                  <c:v>1.327048582</c:v>
                </c:pt>
                <c:pt idx="2536">
                  <c:v>1.3221191670000001</c:v>
                </c:pt>
                <c:pt idx="2537">
                  <c:v>1.320835564</c:v>
                </c:pt>
                <c:pt idx="2538">
                  <c:v>1.3198281650000001</c:v>
                </c:pt>
                <c:pt idx="2539">
                  <c:v>1.319456033</c:v>
                </c:pt>
                <c:pt idx="2540">
                  <c:v>1.320325296</c:v>
                </c:pt>
                <c:pt idx="2541">
                  <c:v>1.3204134460000001</c:v>
                </c:pt>
                <c:pt idx="2542">
                  <c:v>1.3245873990000001</c:v>
                </c:pt>
                <c:pt idx="2543">
                  <c:v>1.32087307</c:v>
                </c:pt>
                <c:pt idx="2544">
                  <c:v>1.3184973799999999</c:v>
                </c:pt>
                <c:pt idx="2545">
                  <c:v>1.3166197070000001</c:v>
                </c:pt>
                <c:pt idx="2546">
                  <c:v>1.316181703</c:v>
                </c:pt>
                <c:pt idx="2547">
                  <c:v>1.316393336</c:v>
                </c:pt>
                <c:pt idx="2548">
                  <c:v>1.306326146</c:v>
                </c:pt>
                <c:pt idx="2549">
                  <c:v>1.3118376519999999</c:v>
                </c:pt>
                <c:pt idx="2550">
                  <c:v>1.308719722</c:v>
                </c:pt>
                <c:pt idx="2551">
                  <c:v>1.3085482820000001</c:v>
                </c:pt>
                <c:pt idx="2552">
                  <c:v>1.3064147070000001</c:v>
                </c:pt>
                <c:pt idx="2553">
                  <c:v>1.3067918359999999</c:v>
                </c:pt>
                <c:pt idx="2554">
                  <c:v>1.307783184</c:v>
                </c:pt>
                <c:pt idx="2555">
                  <c:v>1.307219224</c:v>
                </c:pt>
                <c:pt idx="2556">
                  <c:v>1.301257366</c:v>
                </c:pt>
                <c:pt idx="2557">
                  <c:v>1.2921610080000001</c:v>
                </c:pt>
                <c:pt idx="2558">
                  <c:v>1.2938662940000001</c:v>
                </c:pt>
                <c:pt idx="2559">
                  <c:v>1.2910261359999999</c:v>
                </c:pt>
                <c:pt idx="2560">
                  <c:v>1.291146916</c:v>
                </c:pt>
                <c:pt idx="2561">
                  <c:v>1.2904925190000001</c:v>
                </c:pt>
                <c:pt idx="2562">
                  <c:v>1.2830507499999999</c:v>
                </c:pt>
                <c:pt idx="2563">
                  <c:v>1.283581015</c:v>
                </c:pt>
                <c:pt idx="2564">
                  <c:v>1.279399709</c:v>
                </c:pt>
                <c:pt idx="2565">
                  <c:v>1.2757670189999999</c:v>
                </c:pt>
                <c:pt idx="2566">
                  <c:v>1.2756900339999999</c:v>
                </c:pt>
                <c:pt idx="2567">
                  <c:v>1.2746077709999999</c:v>
                </c:pt>
                <c:pt idx="2568">
                  <c:v>1.273018787</c:v>
                </c:pt>
                <c:pt idx="2569">
                  <c:v>1.2719757970000001</c:v>
                </c:pt>
                <c:pt idx="2570">
                  <c:v>1.27093674</c:v>
                </c:pt>
                <c:pt idx="2571">
                  <c:v>1.2693265520000001</c:v>
                </c:pt>
                <c:pt idx="2572">
                  <c:v>1.27093754</c:v>
                </c:pt>
                <c:pt idx="2573">
                  <c:v>1.272844651</c:v>
                </c:pt>
                <c:pt idx="2574">
                  <c:v>1.2766392740000001</c:v>
                </c:pt>
                <c:pt idx="2575">
                  <c:v>1.2742709510000001</c:v>
                </c:pt>
                <c:pt idx="2576">
                  <c:v>1.273144099</c:v>
                </c:pt>
                <c:pt idx="2577">
                  <c:v>1.274342562</c:v>
                </c:pt>
                <c:pt idx="2578">
                  <c:v>1.274400124</c:v>
                </c:pt>
                <c:pt idx="2579">
                  <c:v>1.273338987</c:v>
                </c:pt>
                <c:pt idx="2580">
                  <c:v>1.2695568479999999</c:v>
                </c:pt>
                <c:pt idx="2581">
                  <c:v>1.2654730329999999</c:v>
                </c:pt>
                <c:pt idx="2582">
                  <c:v>1.263002253</c:v>
                </c:pt>
                <c:pt idx="2583">
                  <c:v>1.2540388849999999</c:v>
                </c:pt>
                <c:pt idx="2584">
                  <c:v>1.2527822959999999</c:v>
                </c:pt>
                <c:pt idx="2585">
                  <c:v>1.2454658059999999</c:v>
                </c:pt>
                <c:pt idx="2586">
                  <c:v>1.2446915949999999</c:v>
                </c:pt>
                <c:pt idx="2587">
                  <c:v>1.243946029</c:v>
                </c:pt>
                <c:pt idx="2588">
                  <c:v>1.2426747330000001</c:v>
                </c:pt>
                <c:pt idx="2589">
                  <c:v>1.236853953</c:v>
                </c:pt>
                <c:pt idx="2590">
                  <c:v>1.2360706109999999</c:v>
                </c:pt>
                <c:pt idx="2591">
                  <c:v>1.2325483260000001</c:v>
                </c:pt>
                <c:pt idx="2592">
                  <c:v>1.2304593340000001</c:v>
                </c:pt>
                <c:pt idx="2593">
                  <c:v>1.2252553180000001</c:v>
                </c:pt>
                <c:pt idx="2594">
                  <c:v>1.223491873</c:v>
                </c:pt>
                <c:pt idx="2595">
                  <c:v>1.221319482</c:v>
                </c:pt>
                <c:pt idx="2596">
                  <c:v>1.219051586</c:v>
                </c:pt>
                <c:pt idx="2597">
                  <c:v>1.2100347490000001</c:v>
                </c:pt>
                <c:pt idx="2598">
                  <c:v>1.2080785439999999</c:v>
                </c:pt>
                <c:pt idx="2599">
                  <c:v>1.204708903</c:v>
                </c:pt>
                <c:pt idx="2600">
                  <c:v>1.2008219120000001</c:v>
                </c:pt>
                <c:pt idx="2601">
                  <c:v>1.1986333119999999</c:v>
                </c:pt>
                <c:pt idx="2602">
                  <c:v>1.1976248620000001</c:v>
                </c:pt>
                <c:pt idx="2603">
                  <c:v>1.194430763</c:v>
                </c:pt>
                <c:pt idx="2604">
                  <c:v>1.1911513090000001</c:v>
                </c:pt>
                <c:pt idx="2605">
                  <c:v>1.1889972069999999</c:v>
                </c:pt>
                <c:pt idx="2606">
                  <c:v>1.188184924</c:v>
                </c:pt>
                <c:pt idx="2607">
                  <c:v>1.183981806</c:v>
                </c:pt>
                <c:pt idx="2608">
                  <c:v>1.184055225</c:v>
                </c:pt>
                <c:pt idx="2609">
                  <c:v>1.1818105809999999</c:v>
                </c:pt>
                <c:pt idx="2610">
                  <c:v>1.180522788</c:v>
                </c:pt>
                <c:pt idx="2611">
                  <c:v>1.1793812770000001</c:v>
                </c:pt>
                <c:pt idx="2612">
                  <c:v>1.1767569410000001</c:v>
                </c:pt>
                <c:pt idx="2613">
                  <c:v>1.174154371</c:v>
                </c:pt>
                <c:pt idx="2614">
                  <c:v>1.1733720670000001</c:v>
                </c:pt>
                <c:pt idx="2615">
                  <c:v>1.172977996</c:v>
                </c:pt>
                <c:pt idx="2616">
                  <c:v>1.165427287</c:v>
                </c:pt>
                <c:pt idx="2617">
                  <c:v>1.1644217290000001</c:v>
                </c:pt>
                <c:pt idx="2618">
                  <c:v>1.163355779</c:v>
                </c:pt>
                <c:pt idx="2619">
                  <c:v>1.1628843259999999</c:v>
                </c:pt>
                <c:pt idx="2620">
                  <c:v>1.162238109</c:v>
                </c:pt>
                <c:pt idx="2621">
                  <c:v>1.141164737</c:v>
                </c:pt>
                <c:pt idx="2622">
                  <c:v>1.1433328709999999</c:v>
                </c:pt>
                <c:pt idx="2623">
                  <c:v>1.143073888</c:v>
                </c:pt>
                <c:pt idx="2624">
                  <c:v>1.1163307</c:v>
                </c:pt>
                <c:pt idx="2625">
                  <c:v>1.1156267440000001</c:v>
                </c:pt>
                <c:pt idx="2626">
                  <c:v>1.112983788</c:v>
                </c:pt>
                <c:pt idx="2627">
                  <c:v>1.1120381859999999</c:v>
                </c:pt>
                <c:pt idx="2628">
                  <c:v>1.1116114669999999</c:v>
                </c:pt>
                <c:pt idx="2629">
                  <c:v>1.104152671</c:v>
                </c:pt>
                <c:pt idx="2630">
                  <c:v>1.095783975</c:v>
                </c:pt>
                <c:pt idx="2631">
                  <c:v>1.077000486</c:v>
                </c:pt>
                <c:pt idx="2632">
                  <c:v>1.0715826049999999</c:v>
                </c:pt>
                <c:pt idx="2633">
                  <c:v>1.0723471760000001</c:v>
                </c:pt>
                <c:pt idx="2634">
                  <c:v>1.0723544679999999</c:v>
                </c:pt>
                <c:pt idx="2635">
                  <c:v>1.071919619</c:v>
                </c:pt>
                <c:pt idx="2636">
                  <c:v>1.059460214</c:v>
                </c:pt>
                <c:pt idx="2637">
                  <c:v>1.0592304539999999</c:v>
                </c:pt>
                <c:pt idx="2638">
                  <c:v>1.062061253</c:v>
                </c:pt>
                <c:pt idx="2639">
                  <c:v>1.063464763</c:v>
                </c:pt>
                <c:pt idx="2640">
                  <c:v>1.051631553</c:v>
                </c:pt>
                <c:pt idx="2641">
                  <c:v>1.0513609500000001</c:v>
                </c:pt>
                <c:pt idx="2642">
                  <c:v>1.0517365830000001</c:v>
                </c:pt>
                <c:pt idx="2643">
                  <c:v>1.0523696360000001</c:v>
                </c:pt>
                <c:pt idx="2644">
                  <c:v>1.0531514420000001</c:v>
                </c:pt>
                <c:pt idx="2645">
                  <c:v>1.0520281629999999</c:v>
                </c:pt>
                <c:pt idx="2646">
                  <c:v>1.0515077580000001</c:v>
                </c:pt>
                <c:pt idx="2647">
                  <c:v>1.0527121989999999</c:v>
                </c:pt>
                <c:pt idx="2648">
                  <c:v>1.0517090630000001</c:v>
                </c:pt>
                <c:pt idx="2649">
                  <c:v>1.049215542</c:v>
                </c:pt>
                <c:pt idx="2650">
                  <c:v>1.0504806390000001</c:v>
                </c:pt>
                <c:pt idx="2651">
                  <c:v>1.0505774269999999</c:v>
                </c:pt>
                <c:pt idx="2652">
                  <c:v>1.045154226</c:v>
                </c:pt>
                <c:pt idx="2653">
                  <c:v>1.045259489</c:v>
                </c:pt>
                <c:pt idx="2654">
                  <c:v>1.044743303</c:v>
                </c:pt>
                <c:pt idx="2655">
                  <c:v>1.037993148</c:v>
                </c:pt>
                <c:pt idx="2656">
                  <c:v>1.0375411219999999</c:v>
                </c:pt>
                <c:pt idx="2657">
                  <c:v>1.037005492</c:v>
                </c:pt>
                <c:pt idx="2658">
                  <c:v>1.034218842</c:v>
                </c:pt>
                <c:pt idx="2659">
                  <c:v>1.030767064</c:v>
                </c:pt>
                <c:pt idx="2660">
                  <c:v>1.028239374</c:v>
                </c:pt>
                <c:pt idx="2661">
                  <c:v>1.020551585</c:v>
                </c:pt>
                <c:pt idx="2662">
                  <c:v>1.0230251370000001</c:v>
                </c:pt>
                <c:pt idx="2663">
                  <c:v>1.020317798</c:v>
                </c:pt>
                <c:pt idx="2664">
                  <c:v>1.011407634</c:v>
                </c:pt>
                <c:pt idx="2665">
                  <c:v>1.008288691</c:v>
                </c:pt>
                <c:pt idx="2666">
                  <c:v>1.004367314</c:v>
                </c:pt>
                <c:pt idx="2667">
                  <c:v>1.001899294</c:v>
                </c:pt>
                <c:pt idx="2668">
                  <c:v>1.0016928919999999</c:v>
                </c:pt>
                <c:pt idx="2669">
                  <c:v>0.99917160599999999</c:v>
                </c:pt>
                <c:pt idx="2670">
                  <c:v>0.99448327299999995</c:v>
                </c:pt>
                <c:pt idx="2671">
                  <c:v>0.99380181000000001</c:v>
                </c:pt>
                <c:pt idx="2672">
                  <c:v>0.98940770099999997</c:v>
                </c:pt>
                <c:pt idx="2673">
                  <c:v>0.98641745700000005</c:v>
                </c:pt>
                <c:pt idx="2674">
                  <c:v>0.98405734499999997</c:v>
                </c:pt>
                <c:pt idx="2675">
                  <c:v>0.98060230299999995</c:v>
                </c:pt>
                <c:pt idx="2676">
                  <c:v>0.97822450500000002</c:v>
                </c:pt>
                <c:pt idx="2677">
                  <c:v>0.97492276200000005</c:v>
                </c:pt>
                <c:pt idx="2678">
                  <c:v>0.97263054999999998</c:v>
                </c:pt>
                <c:pt idx="2679">
                  <c:v>0.97190612200000004</c:v>
                </c:pt>
                <c:pt idx="2680">
                  <c:v>0.97135823300000002</c:v>
                </c:pt>
                <c:pt idx="2681">
                  <c:v>0.96731436900000001</c:v>
                </c:pt>
                <c:pt idx="2682">
                  <c:v>0.96672749400000002</c:v>
                </c:pt>
                <c:pt idx="2683">
                  <c:v>0.96005057900000002</c:v>
                </c:pt>
                <c:pt idx="2684">
                  <c:v>0.96029243099999995</c:v>
                </c:pt>
                <c:pt idx="2685">
                  <c:v>0.95953543600000002</c:v>
                </c:pt>
                <c:pt idx="2686">
                  <c:v>0.95869819599999995</c:v>
                </c:pt>
                <c:pt idx="2687">
                  <c:v>0.95772660899999995</c:v>
                </c:pt>
                <c:pt idx="2688">
                  <c:v>0.95951753299999998</c:v>
                </c:pt>
                <c:pt idx="2689">
                  <c:v>0.95638123600000002</c:v>
                </c:pt>
                <c:pt idx="2690">
                  <c:v>0.96306169200000002</c:v>
                </c:pt>
                <c:pt idx="2691">
                  <c:v>1.0421344829999999</c:v>
                </c:pt>
                <c:pt idx="2692">
                  <c:v>1.044377154</c:v>
                </c:pt>
                <c:pt idx="2693">
                  <c:v>1.039422861</c:v>
                </c:pt>
                <c:pt idx="2694">
                  <c:v>1.039703416</c:v>
                </c:pt>
                <c:pt idx="2695">
                  <c:v>1.0344634159999999</c:v>
                </c:pt>
                <c:pt idx="2696">
                  <c:v>1.0313755870000001</c:v>
                </c:pt>
                <c:pt idx="2697">
                  <c:v>1.0296314609999999</c:v>
                </c:pt>
                <c:pt idx="2698">
                  <c:v>1.028172163</c:v>
                </c:pt>
                <c:pt idx="2699">
                  <c:v>1.026651577</c:v>
                </c:pt>
                <c:pt idx="2700">
                  <c:v>1.0249872019999999</c:v>
                </c:pt>
                <c:pt idx="2701">
                  <c:v>1.0255411830000001</c:v>
                </c:pt>
                <c:pt idx="2702">
                  <c:v>1.022568186</c:v>
                </c:pt>
                <c:pt idx="2703">
                  <c:v>1.0180978389999999</c:v>
                </c:pt>
                <c:pt idx="2704">
                  <c:v>1.016823789</c:v>
                </c:pt>
                <c:pt idx="2705">
                  <c:v>1.0137953500000001</c:v>
                </c:pt>
                <c:pt idx="2706">
                  <c:v>1.008833962</c:v>
                </c:pt>
                <c:pt idx="2707">
                  <c:v>1.0067413080000001</c:v>
                </c:pt>
                <c:pt idx="2708">
                  <c:v>1.0014753709999999</c:v>
                </c:pt>
                <c:pt idx="2709">
                  <c:v>0.99142937799999997</c:v>
                </c:pt>
                <c:pt idx="2710">
                  <c:v>1.0048059119999999</c:v>
                </c:pt>
                <c:pt idx="2711">
                  <c:v>1.013672855</c:v>
                </c:pt>
                <c:pt idx="2712">
                  <c:v>1.01277792</c:v>
                </c:pt>
                <c:pt idx="2713">
                  <c:v>1.0083402699999999</c:v>
                </c:pt>
                <c:pt idx="2714">
                  <c:v>0.98114118699999997</c:v>
                </c:pt>
                <c:pt idx="2715">
                  <c:v>0.98810995800000001</c:v>
                </c:pt>
                <c:pt idx="2716">
                  <c:v>1.004387989</c:v>
                </c:pt>
                <c:pt idx="2717">
                  <c:v>1.0089654130000001</c:v>
                </c:pt>
                <c:pt idx="2718">
                  <c:v>1.0078883190000001</c:v>
                </c:pt>
                <c:pt idx="2719">
                  <c:v>1.016033813</c:v>
                </c:pt>
                <c:pt idx="2720">
                  <c:v>1.019527348</c:v>
                </c:pt>
                <c:pt idx="2721">
                  <c:v>1.0438264209999999</c:v>
                </c:pt>
                <c:pt idx="2722">
                  <c:v>1.0473417519999999</c:v>
                </c:pt>
                <c:pt idx="2723">
                  <c:v>1.0384012140000001</c:v>
                </c:pt>
                <c:pt idx="2724">
                  <c:v>1.037503777</c:v>
                </c:pt>
                <c:pt idx="2725">
                  <c:v>1.044397153</c:v>
                </c:pt>
                <c:pt idx="2726">
                  <c:v>1.059439926</c:v>
                </c:pt>
                <c:pt idx="2727">
                  <c:v>1.0682792670000001</c:v>
                </c:pt>
                <c:pt idx="2728">
                  <c:v>1.0749957349999999</c:v>
                </c:pt>
                <c:pt idx="2729">
                  <c:v>1.0702973950000001</c:v>
                </c:pt>
                <c:pt idx="2730">
                  <c:v>1.0720202240000001</c:v>
                </c:pt>
                <c:pt idx="2731">
                  <c:v>1.0746696490000001</c:v>
                </c:pt>
                <c:pt idx="2732">
                  <c:v>1.0774033409999999</c:v>
                </c:pt>
                <c:pt idx="2733">
                  <c:v>1.0790930830000001</c:v>
                </c:pt>
                <c:pt idx="2734">
                  <c:v>1.0783977069999999</c:v>
                </c:pt>
                <c:pt idx="2735">
                  <c:v>1.0797792390000001</c:v>
                </c:pt>
                <c:pt idx="2736">
                  <c:v>1.0839162250000001</c:v>
                </c:pt>
                <c:pt idx="2737">
                  <c:v>1.0847334200000001</c:v>
                </c:pt>
                <c:pt idx="2738">
                  <c:v>1.0727696499999999</c:v>
                </c:pt>
                <c:pt idx="2739">
                  <c:v>1.0710543239999999</c:v>
                </c:pt>
                <c:pt idx="2740">
                  <c:v>1.075894895</c:v>
                </c:pt>
                <c:pt idx="2741">
                  <c:v>1.0819804150000001</c:v>
                </c:pt>
                <c:pt idx="2742">
                  <c:v>1.086236309</c:v>
                </c:pt>
                <c:pt idx="2743">
                  <c:v>1.092064739</c:v>
                </c:pt>
                <c:pt idx="2744">
                  <c:v>1.0944284310000001</c:v>
                </c:pt>
                <c:pt idx="2745">
                  <c:v>1.0974376800000001</c:v>
                </c:pt>
                <c:pt idx="2746">
                  <c:v>1.0958345060000001</c:v>
                </c:pt>
                <c:pt idx="2747">
                  <c:v>1.0981938469999999</c:v>
                </c:pt>
                <c:pt idx="2748">
                  <c:v>1.101225575</c:v>
                </c:pt>
                <c:pt idx="2749">
                  <c:v>1.0969185400000001</c:v>
                </c:pt>
                <c:pt idx="2750">
                  <c:v>1.1005917789999999</c:v>
                </c:pt>
                <c:pt idx="2751">
                  <c:v>1.1016967419999999</c:v>
                </c:pt>
                <c:pt idx="2752">
                  <c:v>1.1015055199999999</c:v>
                </c:pt>
                <c:pt idx="2753">
                  <c:v>1.09815196</c:v>
                </c:pt>
                <c:pt idx="2754">
                  <c:v>1.0987480949999999</c:v>
                </c:pt>
                <c:pt idx="2755">
                  <c:v>1.1000682159999999</c:v>
                </c:pt>
                <c:pt idx="2756">
                  <c:v>1.0967008540000001</c:v>
                </c:pt>
                <c:pt idx="2757">
                  <c:v>1.0952691489999999</c:v>
                </c:pt>
                <c:pt idx="2758">
                  <c:v>1.097197542</c:v>
                </c:pt>
                <c:pt idx="2759">
                  <c:v>1.0981550739999999</c:v>
                </c:pt>
                <c:pt idx="2760">
                  <c:v>1.057710232</c:v>
                </c:pt>
                <c:pt idx="2761">
                  <c:v>1.0581394340000001</c:v>
                </c:pt>
                <c:pt idx="2762">
                  <c:v>1.0555190969999999</c:v>
                </c:pt>
                <c:pt idx="2763">
                  <c:v>1.0520638040000001</c:v>
                </c:pt>
                <c:pt idx="2764">
                  <c:v>1.0376238330000001</c:v>
                </c:pt>
                <c:pt idx="2765">
                  <c:v>1.034524443</c:v>
                </c:pt>
                <c:pt idx="2766">
                  <c:v>1.041126357</c:v>
                </c:pt>
                <c:pt idx="2767">
                  <c:v>1.0357614319999999</c:v>
                </c:pt>
                <c:pt idx="2768">
                  <c:v>1.038212109</c:v>
                </c:pt>
                <c:pt idx="2769">
                  <c:v>1.0313568900000001</c:v>
                </c:pt>
                <c:pt idx="2770">
                  <c:v>1.0311199719999999</c:v>
                </c:pt>
                <c:pt idx="2771">
                  <c:v>1.0297965570000001</c:v>
                </c:pt>
                <c:pt idx="2772">
                  <c:v>1.0378164889999999</c:v>
                </c:pt>
                <c:pt idx="2773">
                  <c:v>1.0321326340000001</c:v>
                </c:pt>
                <c:pt idx="2774">
                  <c:v>1.0304208850000001</c:v>
                </c:pt>
                <c:pt idx="2775">
                  <c:v>1.0290508739999999</c:v>
                </c:pt>
                <c:pt idx="2776">
                  <c:v>1.029082482</c:v>
                </c:pt>
                <c:pt idx="2777">
                  <c:v>1.0280557100000001</c:v>
                </c:pt>
                <c:pt idx="2778">
                  <c:v>1.02749402</c:v>
                </c:pt>
                <c:pt idx="2779">
                  <c:v>1.026704488</c:v>
                </c:pt>
                <c:pt idx="2780">
                  <c:v>1.0277066960000001</c:v>
                </c:pt>
                <c:pt idx="2781">
                  <c:v>1.025055496</c:v>
                </c:pt>
                <c:pt idx="2782">
                  <c:v>1.025839062</c:v>
                </c:pt>
                <c:pt idx="2783">
                  <c:v>1.02653423</c:v>
                </c:pt>
                <c:pt idx="2784">
                  <c:v>1.0240938230000001</c:v>
                </c:pt>
                <c:pt idx="2785">
                  <c:v>1.0136266359999999</c:v>
                </c:pt>
                <c:pt idx="2786">
                  <c:v>1.0140169139999999</c:v>
                </c:pt>
                <c:pt idx="2787">
                  <c:v>1.0118887640000001</c:v>
                </c:pt>
                <c:pt idx="2788">
                  <c:v>1.0102089430000001</c:v>
                </c:pt>
                <c:pt idx="2789">
                  <c:v>1.0087691919999999</c:v>
                </c:pt>
                <c:pt idx="2790">
                  <c:v>1.007444995</c:v>
                </c:pt>
                <c:pt idx="2791">
                  <c:v>1.007648412</c:v>
                </c:pt>
                <c:pt idx="2792">
                  <c:v>1.0014138349999999</c:v>
                </c:pt>
                <c:pt idx="2793">
                  <c:v>1.003992373</c:v>
                </c:pt>
                <c:pt idx="2794">
                  <c:v>1.002953287</c:v>
                </c:pt>
                <c:pt idx="2795">
                  <c:v>1.031337964</c:v>
                </c:pt>
                <c:pt idx="2796">
                  <c:v>1.0216647160000001</c:v>
                </c:pt>
                <c:pt idx="2797">
                  <c:v>1.0163163049999999</c:v>
                </c:pt>
                <c:pt idx="2798">
                  <c:v>1.0106015310000001</c:v>
                </c:pt>
                <c:pt idx="2799">
                  <c:v>1.0016755340000001</c:v>
                </c:pt>
                <c:pt idx="2800">
                  <c:v>1.001402712</c:v>
                </c:pt>
                <c:pt idx="2801">
                  <c:v>0.995852921</c:v>
                </c:pt>
                <c:pt idx="2802">
                  <c:v>0.99285341900000001</c:v>
                </c:pt>
                <c:pt idx="2803">
                  <c:v>1.0161436960000001</c:v>
                </c:pt>
                <c:pt idx="2804">
                  <c:v>1.0070284</c:v>
                </c:pt>
                <c:pt idx="2805">
                  <c:v>1.0116293139999999</c:v>
                </c:pt>
                <c:pt idx="2806">
                  <c:v>1.0081847989999999</c:v>
                </c:pt>
                <c:pt idx="2807">
                  <c:v>1.0044799740000001</c:v>
                </c:pt>
                <c:pt idx="2808">
                  <c:v>0.99994541299999995</c:v>
                </c:pt>
                <c:pt idx="2809">
                  <c:v>1.019303901</c:v>
                </c:pt>
                <c:pt idx="2810">
                  <c:v>1.016885037</c:v>
                </c:pt>
                <c:pt idx="2811">
                  <c:v>1.016153326</c:v>
                </c:pt>
                <c:pt idx="2812">
                  <c:v>1.0183877100000001</c:v>
                </c:pt>
                <c:pt idx="2813">
                  <c:v>1.0158497040000001</c:v>
                </c:pt>
                <c:pt idx="2814">
                  <c:v>1.0138894220000001</c:v>
                </c:pt>
                <c:pt idx="2815">
                  <c:v>1.012826851</c:v>
                </c:pt>
                <c:pt idx="2816">
                  <c:v>1.008630044</c:v>
                </c:pt>
                <c:pt idx="2817">
                  <c:v>1.00584088</c:v>
                </c:pt>
                <c:pt idx="2818">
                  <c:v>1.002486158</c:v>
                </c:pt>
                <c:pt idx="2819">
                  <c:v>1.000939354</c:v>
                </c:pt>
                <c:pt idx="2820">
                  <c:v>0.99826078799999995</c:v>
                </c:pt>
                <c:pt idx="2821">
                  <c:v>0.99531430099999996</c:v>
                </c:pt>
                <c:pt idx="2822">
                  <c:v>0.99226422700000005</c:v>
                </c:pt>
                <c:pt idx="2823">
                  <c:v>0.98925684800000002</c:v>
                </c:pt>
                <c:pt idx="2824">
                  <c:v>0.986318578</c:v>
                </c:pt>
                <c:pt idx="2825">
                  <c:v>0.98708611199999996</c:v>
                </c:pt>
                <c:pt idx="2826">
                  <c:v>0.98470587399999998</c:v>
                </c:pt>
                <c:pt idx="2827">
                  <c:v>0.98377975699999998</c:v>
                </c:pt>
                <c:pt idx="2828">
                  <c:v>0.98331831199999997</c:v>
                </c:pt>
                <c:pt idx="2829">
                  <c:v>0.97984300499999999</c:v>
                </c:pt>
                <c:pt idx="2830">
                  <c:v>0.97754885199999997</c:v>
                </c:pt>
                <c:pt idx="2831">
                  <c:v>0.97654184300000002</c:v>
                </c:pt>
                <c:pt idx="2832">
                  <c:v>0.97702232</c:v>
                </c:pt>
                <c:pt idx="2833">
                  <c:v>0.976808334</c:v>
                </c:pt>
                <c:pt idx="2834">
                  <c:v>0.97792995199999999</c:v>
                </c:pt>
                <c:pt idx="2835">
                  <c:v>0.97636799399999996</c:v>
                </c:pt>
                <c:pt idx="2836">
                  <c:v>0.97558826399999998</c:v>
                </c:pt>
                <c:pt idx="2837">
                  <c:v>0.97418506900000001</c:v>
                </c:pt>
                <c:pt idx="2838">
                  <c:v>0.97317650499999997</c:v>
                </c:pt>
                <c:pt idx="2839">
                  <c:v>0.97173916000000005</c:v>
                </c:pt>
                <c:pt idx="2840">
                  <c:v>0.97517053499999995</c:v>
                </c:pt>
                <c:pt idx="2841">
                  <c:v>0.97437249000000004</c:v>
                </c:pt>
                <c:pt idx="2842">
                  <c:v>0.97916532899999997</c:v>
                </c:pt>
                <c:pt idx="2843">
                  <c:v>0.97897879399999999</c:v>
                </c:pt>
                <c:pt idx="2844">
                  <c:v>0.97912271799999995</c:v>
                </c:pt>
                <c:pt idx="2845">
                  <c:v>0.97986780399999995</c:v>
                </c:pt>
                <c:pt idx="2846">
                  <c:v>0.98116361100000005</c:v>
                </c:pt>
                <c:pt idx="2847">
                  <c:v>0.98366159399999997</c:v>
                </c:pt>
                <c:pt idx="2848">
                  <c:v>0.98477176899999996</c:v>
                </c:pt>
                <c:pt idx="2849">
                  <c:v>0.989602906</c:v>
                </c:pt>
                <c:pt idx="2850">
                  <c:v>0.99130469899999996</c:v>
                </c:pt>
                <c:pt idx="2851">
                  <c:v>0.99339687399999999</c:v>
                </c:pt>
                <c:pt idx="2852">
                  <c:v>0.99326536099999996</c:v>
                </c:pt>
                <c:pt idx="2853">
                  <c:v>0.99759960299999995</c:v>
                </c:pt>
                <c:pt idx="2854">
                  <c:v>0.99549953300000005</c:v>
                </c:pt>
                <c:pt idx="2855">
                  <c:v>0.99569344500000001</c:v>
                </c:pt>
                <c:pt idx="2856">
                  <c:v>0.99590322499999995</c:v>
                </c:pt>
                <c:pt idx="2857">
                  <c:v>0.99666861799999995</c:v>
                </c:pt>
                <c:pt idx="2858">
                  <c:v>0.99895168899999998</c:v>
                </c:pt>
                <c:pt idx="2859">
                  <c:v>1.006239466</c:v>
                </c:pt>
                <c:pt idx="2860">
                  <c:v>1.005201239</c:v>
                </c:pt>
                <c:pt idx="2861">
                  <c:v>1.005194291</c:v>
                </c:pt>
                <c:pt idx="2862">
                  <c:v>1.004438975</c:v>
                </c:pt>
                <c:pt idx="2863">
                  <c:v>1.002024963</c:v>
                </c:pt>
                <c:pt idx="2864">
                  <c:v>1.0012057080000001</c:v>
                </c:pt>
                <c:pt idx="2865">
                  <c:v>1.0012580230000001</c:v>
                </c:pt>
                <c:pt idx="2866">
                  <c:v>1.0002993010000001</c:v>
                </c:pt>
                <c:pt idx="2867">
                  <c:v>0.99976750800000003</c:v>
                </c:pt>
                <c:pt idx="2868">
                  <c:v>1.001291207</c:v>
                </c:pt>
                <c:pt idx="2869">
                  <c:v>1.0010118299999999</c:v>
                </c:pt>
                <c:pt idx="2870">
                  <c:v>1.000758096</c:v>
                </c:pt>
                <c:pt idx="2871">
                  <c:v>1.000259928</c:v>
                </c:pt>
                <c:pt idx="2872">
                  <c:v>0.99754111199999995</c:v>
                </c:pt>
                <c:pt idx="2873">
                  <c:v>0.99900181499999996</c:v>
                </c:pt>
                <c:pt idx="2874">
                  <c:v>0.99716201800000004</c:v>
                </c:pt>
                <c:pt idx="2875">
                  <c:v>0.99629732299999996</c:v>
                </c:pt>
                <c:pt idx="2876">
                  <c:v>0.99571191599999997</c:v>
                </c:pt>
                <c:pt idx="2877">
                  <c:v>0.99584982600000005</c:v>
                </c:pt>
                <c:pt idx="2878">
                  <c:v>0.99404026300000004</c:v>
                </c:pt>
                <c:pt idx="2879">
                  <c:v>0.99442390199999997</c:v>
                </c:pt>
                <c:pt idx="2880">
                  <c:v>0.992066648</c:v>
                </c:pt>
                <c:pt idx="2881">
                  <c:v>0.99139054800000004</c:v>
                </c:pt>
                <c:pt idx="2882">
                  <c:v>0.98843308299999999</c:v>
                </c:pt>
                <c:pt idx="2883">
                  <c:v>0.98876074899999999</c:v>
                </c:pt>
                <c:pt idx="2884">
                  <c:v>0.98865735300000002</c:v>
                </c:pt>
                <c:pt idx="2885">
                  <c:v>0.98733580700000001</c:v>
                </c:pt>
                <c:pt idx="2886">
                  <c:v>0.985516846</c:v>
                </c:pt>
                <c:pt idx="2887">
                  <c:v>0.98492984100000003</c:v>
                </c:pt>
                <c:pt idx="2888">
                  <c:v>0.98091563500000001</c:v>
                </c:pt>
                <c:pt idx="2889">
                  <c:v>0.97922443699999995</c:v>
                </c:pt>
                <c:pt idx="2890">
                  <c:v>0.97784307999999998</c:v>
                </c:pt>
                <c:pt idx="2891">
                  <c:v>0.97783701000000001</c:v>
                </c:pt>
                <c:pt idx="2892">
                  <c:v>0.97606127200000004</c:v>
                </c:pt>
                <c:pt idx="2893">
                  <c:v>0.97487681299999995</c:v>
                </c:pt>
                <c:pt idx="2894">
                  <c:v>0.96987452799999996</c:v>
                </c:pt>
                <c:pt idx="2895">
                  <c:v>0.96980154100000004</c:v>
                </c:pt>
                <c:pt idx="2896">
                  <c:v>0.96658486300000002</c:v>
                </c:pt>
                <c:pt idx="2897">
                  <c:v>0.96375766200000001</c:v>
                </c:pt>
                <c:pt idx="2898">
                  <c:v>0.96271321300000001</c:v>
                </c:pt>
                <c:pt idx="2899">
                  <c:v>0.96344706400000002</c:v>
                </c:pt>
                <c:pt idx="2900">
                  <c:v>0.96252215799999996</c:v>
                </c:pt>
                <c:pt idx="2901">
                  <c:v>0.96286771100000001</c:v>
                </c:pt>
                <c:pt idx="2902">
                  <c:v>0.96106035300000003</c:v>
                </c:pt>
                <c:pt idx="2903">
                  <c:v>0.96064798399999995</c:v>
                </c:pt>
                <c:pt idx="2904">
                  <c:v>0.96015825899999996</c:v>
                </c:pt>
                <c:pt idx="2905">
                  <c:v>0.95937713599999996</c:v>
                </c:pt>
                <c:pt idx="2906">
                  <c:v>0.95867113599999998</c:v>
                </c:pt>
                <c:pt idx="2907">
                  <c:v>0.95857451100000002</c:v>
                </c:pt>
                <c:pt idx="2908">
                  <c:v>0.95809609699999998</c:v>
                </c:pt>
                <c:pt idx="2909">
                  <c:v>0.95799888</c:v>
                </c:pt>
                <c:pt idx="2910">
                  <c:v>0.95960300899999995</c:v>
                </c:pt>
                <c:pt idx="2911">
                  <c:v>0.958692553</c:v>
                </c:pt>
                <c:pt idx="2912">
                  <c:v>0.95644888500000003</c:v>
                </c:pt>
                <c:pt idx="2913">
                  <c:v>0.95780151300000005</c:v>
                </c:pt>
                <c:pt idx="2914">
                  <c:v>0.95843208700000004</c:v>
                </c:pt>
                <c:pt idx="2915">
                  <c:v>0.95903521800000002</c:v>
                </c:pt>
                <c:pt idx="2916">
                  <c:v>0.96007015699999998</c:v>
                </c:pt>
                <c:pt idx="2917">
                  <c:v>0.96200890299999997</c:v>
                </c:pt>
                <c:pt idx="2918">
                  <c:v>0.95925844000000005</c:v>
                </c:pt>
                <c:pt idx="2919">
                  <c:v>0.95896072899999996</c:v>
                </c:pt>
                <c:pt idx="2920">
                  <c:v>0.95738535599999997</c:v>
                </c:pt>
                <c:pt idx="2921">
                  <c:v>0.95678291299999996</c:v>
                </c:pt>
                <c:pt idx="2922">
                  <c:v>0.95579847699999998</c:v>
                </c:pt>
                <c:pt idx="2923">
                  <c:v>0.95364120200000002</c:v>
                </c:pt>
                <c:pt idx="2924">
                  <c:v>0.95787230899999998</c:v>
                </c:pt>
                <c:pt idx="2925">
                  <c:v>0.95485890200000001</c:v>
                </c:pt>
                <c:pt idx="2926">
                  <c:v>0.956316948</c:v>
                </c:pt>
                <c:pt idx="2927">
                  <c:v>0.95463854599999998</c:v>
                </c:pt>
                <c:pt idx="2928">
                  <c:v>0.95337367100000003</c:v>
                </c:pt>
                <c:pt idx="2929">
                  <c:v>0.95320773599999997</c:v>
                </c:pt>
                <c:pt idx="2930">
                  <c:v>0.95149035599999998</c:v>
                </c:pt>
                <c:pt idx="2931">
                  <c:v>0.95134856099999998</c:v>
                </c:pt>
                <c:pt idx="2932">
                  <c:v>0.94897161600000002</c:v>
                </c:pt>
                <c:pt idx="2933">
                  <c:v>0.94793079000000002</c:v>
                </c:pt>
                <c:pt idx="2934">
                  <c:v>0.95015969300000003</c:v>
                </c:pt>
                <c:pt idx="2935">
                  <c:v>0.94907661600000004</c:v>
                </c:pt>
                <c:pt idx="2936">
                  <c:v>0.95510362100000001</c:v>
                </c:pt>
                <c:pt idx="2937">
                  <c:v>0.95394173999999998</c:v>
                </c:pt>
                <c:pt idx="2938">
                  <c:v>0.95166326300000004</c:v>
                </c:pt>
                <c:pt idx="2939">
                  <c:v>0.95287523699999999</c:v>
                </c:pt>
                <c:pt idx="2940">
                  <c:v>0.94325125200000004</c:v>
                </c:pt>
                <c:pt idx="2941">
                  <c:v>0.87865879300000005</c:v>
                </c:pt>
                <c:pt idx="2942">
                  <c:v>0.87376752599999996</c:v>
                </c:pt>
                <c:pt idx="2943">
                  <c:v>0.87515014700000004</c:v>
                </c:pt>
                <c:pt idx="2944">
                  <c:v>0.87697862299999996</c:v>
                </c:pt>
                <c:pt idx="2945">
                  <c:v>0.88073476399999995</c:v>
                </c:pt>
                <c:pt idx="2946">
                  <c:v>0.88028656999999999</c:v>
                </c:pt>
                <c:pt idx="2947">
                  <c:v>0.87854579300000002</c:v>
                </c:pt>
                <c:pt idx="2948">
                  <c:v>0.88581487000000003</c:v>
                </c:pt>
                <c:pt idx="2949">
                  <c:v>0.88390747000000003</c:v>
                </c:pt>
                <c:pt idx="2950">
                  <c:v>0.88904284499999997</c:v>
                </c:pt>
                <c:pt idx="2951">
                  <c:v>0.88438064699999996</c:v>
                </c:pt>
                <c:pt idx="2952">
                  <c:v>0.88959508300000001</c:v>
                </c:pt>
                <c:pt idx="2953">
                  <c:v>0.89144654999999995</c:v>
                </c:pt>
                <c:pt idx="2954">
                  <c:v>0.88941358999999998</c:v>
                </c:pt>
                <c:pt idx="2955">
                  <c:v>0.89310594499999996</c:v>
                </c:pt>
                <c:pt idx="2956">
                  <c:v>0.90314734699999999</c:v>
                </c:pt>
                <c:pt idx="2957">
                  <c:v>0.90424169499999996</c:v>
                </c:pt>
                <c:pt idx="2958">
                  <c:v>0.91543663399999997</c:v>
                </c:pt>
                <c:pt idx="2959">
                  <c:v>0.919149722</c:v>
                </c:pt>
                <c:pt idx="2960">
                  <c:v>0.90856076399999997</c:v>
                </c:pt>
                <c:pt idx="2961">
                  <c:v>0.905413311</c:v>
                </c:pt>
                <c:pt idx="2962">
                  <c:v>0.90584415399999996</c:v>
                </c:pt>
                <c:pt idx="2963">
                  <c:v>0.91006446500000004</c:v>
                </c:pt>
                <c:pt idx="2964">
                  <c:v>0.908269416</c:v>
                </c:pt>
                <c:pt idx="2965">
                  <c:v>0.90646096300000001</c:v>
                </c:pt>
                <c:pt idx="2966">
                  <c:v>0.89673692900000002</c:v>
                </c:pt>
                <c:pt idx="2967">
                  <c:v>0.900935492</c:v>
                </c:pt>
                <c:pt idx="2968">
                  <c:v>0.89968631200000004</c:v>
                </c:pt>
                <c:pt idx="2969">
                  <c:v>0.89688454100000004</c:v>
                </c:pt>
                <c:pt idx="2970">
                  <c:v>0.89833520499999997</c:v>
                </c:pt>
                <c:pt idx="2971">
                  <c:v>0.880317197</c:v>
                </c:pt>
                <c:pt idx="2972">
                  <c:v>0.88496356399999998</c:v>
                </c:pt>
                <c:pt idx="2973">
                  <c:v>0.88101711400000005</c:v>
                </c:pt>
                <c:pt idx="2974">
                  <c:v>0.88080682700000001</c:v>
                </c:pt>
                <c:pt idx="2975">
                  <c:v>0.87946635100000004</c:v>
                </c:pt>
                <c:pt idx="2976">
                  <c:v>0.86877025100000005</c:v>
                </c:pt>
                <c:pt idx="2977">
                  <c:v>0.86383720600000002</c:v>
                </c:pt>
                <c:pt idx="2978">
                  <c:v>0.85902058100000001</c:v>
                </c:pt>
                <c:pt idx="2979">
                  <c:v>0.85871460300000002</c:v>
                </c:pt>
                <c:pt idx="2980">
                  <c:v>0.85857741399999998</c:v>
                </c:pt>
                <c:pt idx="2981">
                  <c:v>0.86025384999999999</c:v>
                </c:pt>
                <c:pt idx="2982">
                  <c:v>0.86306423899999996</c:v>
                </c:pt>
                <c:pt idx="2983">
                  <c:v>0.86293153300000003</c:v>
                </c:pt>
                <c:pt idx="2984">
                  <c:v>0.861279503</c:v>
                </c:pt>
                <c:pt idx="2985">
                  <c:v>0.86135144200000002</c:v>
                </c:pt>
                <c:pt idx="2986">
                  <c:v>0.85772333099999998</c:v>
                </c:pt>
                <c:pt idx="2987">
                  <c:v>0.86198667799999995</c:v>
                </c:pt>
                <c:pt idx="2988">
                  <c:v>0.86138915400000005</c:v>
                </c:pt>
                <c:pt idx="2989">
                  <c:v>0.860593583</c:v>
                </c:pt>
                <c:pt idx="2990">
                  <c:v>0.85973090500000005</c:v>
                </c:pt>
                <c:pt idx="2991">
                  <c:v>0.85712077799999997</c:v>
                </c:pt>
                <c:pt idx="2992">
                  <c:v>0.85721180900000005</c:v>
                </c:pt>
                <c:pt idx="2993">
                  <c:v>0.85677714999999999</c:v>
                </c:pt>
                <c:pt idx="2994">
                  <c:v>0.85674149200000005</c:v>
                </c:pt>
                <c:pt idx="2995">
                  <c:v>0.85663456699999996</c:v>
                </c:pt>
                <c:pt idx="2996">
                  <c:v>0.85471642800000003</c:v>
                </c:pt>
                <c:pt idx="2997">
                  <c:v>0.85458542400000004</c:v>
                </c:pt>
                <c:pt idx="2998">
                  <c:v>0.85490548899999996</c:v>
                </c:pt>
                <c:pt idx="2999">
                  <c:v>0.85246628700000004</c:v>
                </c:pt>
                <c:pt idx="3000">
                  <c:v>0.85129180599999998</c:v>
                </c:pt>
                <c:pt idx="3001">
                  <c:v>0.85110942999999994</c:v>
                </c:pt>
                <c:pt idx="3002">
                  <c:v>0.85166284699999995</c:v>
                </c:pt>
                <c:pt idx="3003">
                  <c:v>0.85518338800000004</c:v>
                </c:pt>
                <c:pt idx="3004">
                  <c:v>0.85670475599999996</c:v>
                </c:pt>
                <c:pt idx="3005">
                  <c:v>0.85653906499999999</c:v>
                </c:pt>
                <c:pt idx="3006">
                  <c:v>0.85613371299999996</c:v>
                </c:pt>
                <c:pt idx="3007">
                  <c:v>0.85594376800000005</c:v>
                </c:pt>
                <c:pt idx="3008">
                  <c:v>0.85674938300000003</c:v>
                </c:pt>
                <c:pt idx="3009">
                  <c:v>0.85615939399999996</c:v>
                </c:pt>
                <c:pt idx="3010">
                  <c:v>0.86180376199999997</c:v>
                </c:pt>
                <c:pt idx="3011">
                  <c:v>0.86029821200000001</c:v>
                </c:pt>
                <c:pt idx="3012">
                  <c:v>0.85987179599999997</c:v>
                </c:pt>
                <c:pt idx="3013">
                  <c:v>0.85838262200000004</c:v>
                </c:pt>
                <c:pt idx="3014">
                  <c:v>0.85734545600000001</c:v>
                </c:pt>
                <c:pt idx="3015">
                  <c:v>0.856134061</c:v>
                </c:pt>
                <c:pt idx="3016">
                  <c:v>0.851035333</c:v>
                </c:pt>
                <c:pt idx="3017">
                  <c:v>0.85052277399999998</c:v>
                </c:pt>
                <c:pt idx="3018">
                  <c:v>0.848668019</c:v>
                </c:pt>
                <c:pt idx="3019">
                  <c:v>0.84743996799999999</c:v>
                </c:pt>
                <c:pt idx="3020">
                  <c:v>0.84789566199999999</c:v>
                </c:pt>
                <c:pt idx="3021">
                  <c:v>0.84752766899999998</c:v>
                </c:pt>
                <c:pt idx="3022">
                  <c:v>0.84167697699999999</c:v>
                </c:pt>
                <c:pt idx="3023">
                  <c:v>0.84225070499999999</c:v>
                </c:pt>
                <c:pt idx="3024">
                  <c:v>0.84303922899999995</c:v>
                </c:pt>
                <c:pt idx="3025">
                  <c:v>0.845205443</c:v>
                </c:pt>
                <c:pt idx="3026">
                  <c:v>0.84471214800000005</c:v>
                </c:pt>
                <c:pt idx="3027">
                  <c:v>0.84447086299999996</c:v>
                </c:pt>
                <c:pt idx="3028">
                  <c:v>0.84408988500000004</c:v>
                </c:pt>
                <c:pt idx="3029">
                  <c:v>0.84419734099999999</c:v>
                </c:pt>
                <c:pt idx="3030">
                  <c:v>0.84306038500000002</c:v>
                </c:pt>
                <c:pt idx="3031">
                  <c:v>0.84272450700000001</c:v>
                </c:pt>
                <c:pt idx="3032">
                  <c:v>0.84255719500000004</c:v>
                </c:pt>
                <c:pt idx="3033">
                  <c:v>0.84013482100000003</c:v>
                </c:pt>
                <c:pt idx="3034">
                  <c:v>0.84112688099999999</c:v>
                </c:pt>
                <c:pt idx="3035">
                  <c:v>0.84169530599999998</c:v>
                </c:pt>
                <c:pt idx="3036">
                  <c:v>0.84071550299999998</c:v>
                </c:pt>
                <c:pt idx="3037">
                  <c:v>0.849764407</c:v>
                </c:pt>
                <c:pt idx="3038">
                  <c:v>0.84952378100000003</c:v>
                </c:pt>
                <c:pt idx="3039">
                  <c:v>0.84888624300000004</c:v>
                </c:pt>
                <c:pt idx="3040">
                  <c:v>0.84879485099999996</c:v>
                </c:pt>
                <c:pt idx="3041">
                  <c:v>0.84735786400000002</c:v>
                </c:pt>
                <c:pt idx="3042">
                  <c:v>0.84400993599999996</c:v>
                </c:pt>
                <c:pt idx="3043">
                  <c:v>0.84233732500000003</c:v>
                </c:pt>
                <c:pt idx="3044">
                  <c:v>0.84129841100000002</c:v>
                </c:pt>
                <c:pt idx="3045">
                  <c:v>0.81716814900000001</c:v>
                </c:pt>
                <c:pt idx="3046">
                  <c:v>0.82286655799999997</c:v>
                </c:pt>
                <c:pt idx="3047">
                  <c:v>0.82499777600000002</c:v>
                </c:pt>
                <c:pt idx="3048">
                  <c:v>0.82694942900000001</c:v>
                </c:pt>
                <c:pt idx="3049">
                  <c:v>0.82711716000000002</c:v>
                </c:pt>
                <c:pt idx="3050">
                  <c:v>0.82622054599999994</c:v>
                </c:pt>
                <c:pt idx="3051">
                  <c:v>0.82743212700000002</c:v>
                </c:pt>
                <c:pt idx="3052">
                  <c:v>0.82833442800000001</c:v>
                </c:pt>
                <c:pt idx="3053">
                  <c:v>0.8150792</c:v>
                </c:pt>
                <c:pt idx="3054">
                  <c:v>0.82786025600000002</c:v>
                </c:pt>
                <c:pt idx="3055">
                  <c:v>0.81983489799999998</c:v>
                </c:pt>
                <c:pt idx="3056">
                  <c:v>0.82385073499999995</c:v>
                </c:pt>
                <c:pt idx="3057">
                  <c:v>0.82494037899999995</c:v>
                </c:pt>
                <c:pt idx="3058">
                  <c:v>0.83159942799999997</c:v>
                </c:pt>
                <c:pt idx="3059">
                  <c:v>0.81070409300000001</c:v>
                </c:pt>
                <c:pt idx="3060">
                  <c:v>0.81109832000000004</c:v>
                </c:pt>
                <c:pt idx="3061">
                  <c:v>0.81060757500000002</c:v>
                </c:pt>
                <c:pt idx="3062">
                  <c:v>0.80553698500000004</c:v>
                </c:pt>
                <c:pt idx="3063">
                  <c:v>0.80662479499999995</c:v>
                </c:pt>
                <c:pt idx="3064">
                  <c:v>0.80768601500000003</c:v>
                </c:pt>
                <c:pt idx="3065">
                  <c:v>0.80596925200000002</c:v>
                </c:pt>
                <c:pt idx="3066">
                  <c:v>0.80823028100000005</c:v>
                </c:pt>
                <c:pt idx="3067">
                  <c:v>0.80940766099999994</c:v>
                </c:pt>
                <c:pt idx="3068">
                  <c:v>0.81054458299999999</c:v>
                </c:pt>
                <c:pt idx="3069">
                  <c:v>0.81460821699999997</c:v>
                </c:pt>
                <c:pt idx="3070">
                  <c:v>0.816259128</c:v>
                </c:pt>
                <c:pt idx="3071">
                  <c:v>0.81601870899999995</c:v>
                </c:pt>
                <c:pt idx="3072">
                  <c:v>0.81935223499999998</c:v>
                </c:pt>
                <c:pt idx="3073">
                  <c:v>0.82102874699999995</c:v>
                </c:pt>
                <c:pt idx="3074">
                  <c:v>0.81887277700000005</c:v>
                </c:pt>
                <c:pt idx="3075">
                  <c:v>0.81423496100000003</c:v>
                </c:pt>
                <c:pt idx="3076">
                  <c:v>0.81799092799999995</c:v>
                </c:pt>
                <c:pt idx="3077">
                  <c:v>0.81577691200000002</c:v>
                </c:pt>
                <c:pt idx="3078">
                  <c:v>0.81245204299999996</c:v>
                </c:pt>
                <c:pt idx="3079">
                  <c:v>0.80967292199999996</c:v>
                </c:pt>
                <c:pt idx="3080">
                  <c:v>0.80736953700000003</c:v>
                </c:pt>
                <c:pt idx="3081">
                  <c:v>0.80462199999999995</c:v>
                </c:pt>
                <c:pt idx="3082">
                  <c:v>0.80082166600000004</c:v>
                </c:pt>
                <c:pt idx="3083">
                  <c:v>0.80152730000000005</c:v>
                </c:pt>
                <c:pt idx="3084">
                  <c:v>0.79533804799999996</c:v>
                </c:pt>
                <c:pt idx="3085">
                  <c:v>0.79376598799999998</c:v>
                </c:pt>
                <c:pt idx="3086">
                  <c:v>0.79097440500000005</c:v>
                </c:pt>
                <c:pt idx="3087">
                  <c:v>0.78918460599999996</c:v>
                </c:pt>
                <c:pt idx="3088">
                  <c:v>0.78698902500000001</c:v>
                </c:pt>
                <c:pt idx="3089">
                  <c:v>0.78595437599999995</c:v>
                </c:pt>
                <c:pt idx="3090">
                  <c:v>0.78147239300000004</c:v>
                </c:pt>
                <c:pt idx="3091">
                  <c:v>0.78127363000000005</c:v>
                </c:pt>
                <c:pt idx="3092">
                  <c:v>0.77505519300000003</c:v>
                </c:pt>
                <c:pt idx="3093">
                  <c:v>0.77438659399999998</c:v>
                </c:pt>
                <c:pt idx="3094">
                  <c:v>0.77142569999999999</c:v>
                </c:pt>
                <c:pt idx="3095">
                  <c:v>0.76913979300000002</c:v>
                </c:pt>
                <c:pt idx="3096">
                  <c:v>0.76658869100000004</c:v>
                </c:pt>
                <c:pt idx="3097">
                  <c:v>0.76427712400000003</c:v>
                </c:pt>
                <c:pt idx="3098">
                  <c:v>0.76338045700000001</c:v>
                </c:pt>
                <c:pt idx="3099">
                  <c:v>0.75822131199999998</c:v>
                </c:pt>
                <c:pt idx="3100">
                  <c:v>0.75769529899999999</c:v>
                </c:pt>
                <c:pt idx="3101">
                  <c:v>0.75498178100000002</c:v>
                </c:pt>
                <c:pt idx="3102">
                  <c:v>0.75446866499999998</c:v>
                </c:pt>
                <c:pt idx="3103">
                  <c:v>0.75118276900000003</c:v>
                </c:pt>
                <c:pt idx="3104">
                  <c:v>0.75081822200000004</c:v>
                </c:pt>
                <c:pt idx="3105">
                  <c:v>0.74976366299999997</c:v>
                </c:pt>
                <c:pt idx="3106">
                  <c:v>0.75006861199999997</c:v>
                </c:pt>
                <c:pt idx="3107">
                  <c:v>0.75004305599999999</c:v>
                </c:pt>
                <c:pt idx="3108">
                  <c:v>0.74526765800000006</c:v>
                </c:pt>
                <c:pt idx="3109">
                  <c:v>0.73615932799999995</c:v>
                </c:pt>
                <c:pt idx="3110">
                  <c:v>0.73590736700000003</c:v>
                </c:pt>
                <c:pt idx="3111">
                  <c:v>0.73500992499999995</c:v>
                </c:pt>
                <c:pt idx="3112">
                  <c:v>0.73448848499999997</c:v>
                </c:pt>
                <c:pt idx="3113">
                  <c:v>0.73564781099999998</c:v>
                </c:pt>
                <c:pt idx="3114">
                  <c:v>0.73486903000000003</c:v>
                </c:pt>
                <c:pt idx="3115">
                  <c:v>0.73391458700000001</c:v>
                </c:pt>
                <c:pt idx="3116">
                  <c:v>0.73269027600000003</c:v>
                </c:pt>
                <c:pt idx="3117">
                  <c:v>0.73214150300000003</c:v>
                </c:pt>
                <c:pt idx="3118">
                  <c:v>0.73009762600000006</c:v>
                </c:pt>
                <c:pt idx="3119">
                  <c:v>0.73027745200000005</c:v>
                </c:pt>
                <c:pt idx="3120">
                  <c:v>0.72959471200000003</c:v>
                </c:pt>
                <c:pt idx="3121">
                  <c:v>0.72849009200000003</c:v>
                </c:pt>
                <c:pt idx="3122">
                  <c:v>0.72789725199999999</c:v>
                </c:pt>
                <c:pt idx="3123">
                  <c:v>0.72542687299999997</c:v>
                </c:pt>
                <c:pt idx="3124">
                  <c:v>0.72757559000000005</c:v>
                </c:pt>
                <c:pt idx="3125">
                  <c:v>0.72635889200000003</c:v>
                </c:pt>
                <c:pt idx="3126">
                  <c:v>0.72574137999999999</c:v>
                </c:pt>
                <c:pt idx="3127">
                  <c:v>0.72380663599999995</c:v>
                </c:pt>
                <c:pt idx="3128">
                  <c:v>0.72469246899999995</c:v>
                </c:pt>
                <c:pt idx="3129">
                  <c:v>0.72319968499999998</c:v>
                </c:pt>
                <c:pt idx="3130">
                  <c:v>0.72513473799999995</c:v>
                </c:pt>
                <c:pt idx="3131">
                  <c:v>0.72490302399999995</c:v>
                </c:pt>
                <c:pt idx="3132">
                  <c:v>0.72446765300000004</c:v>
                </c:pt>
                <c:pt idx="3133">
                  <c:v>0.72332494000000003</c:v>
                </c:pt>
                <c:pt idx="3134">
                  <c:v>0.72305566499999996</c:v>
                </c:pt>
                <c:pt idx="3135">
                  <c:v>0.72415259399999998</c:v>
                </c:pt>
                <c:pt idx="3136">
                  <c:v>0.72468219</c:v>
                </c:pt>
                <c:pt idx="3137">
                  <c:v>0.72410201100000005</c:v>
                </c:pt>
                <c:pt idx="3138">
                  <c:v>0.72404090399999999</c:v>
                </c:pt>
                <c:pt idx="3139">
                  <c:v>0.72326320099999997</c:v>
                </c:pt>
                <c:pt idx="3140">
                  <c:v>0.72372641900000001</c:v>
                </c:pt>
                <c:pt idx="3141">
                  <c:v>0.72168112600000001</c:v>
                </c:pt>
                <c:pt idx="3142">
                  <c:v>0.72124800600000005</c:v>
                </c:pt>
                <c:pt idx="3143">
                  <c:v>0.72204783800000005</c:v>
                </c:pt>
                <c:pt idx="3144">
                  <c:v>0.72550228100000003</c:v>
                </c:pt>
                <c:pt idx="3145">
                  <c:v>0.72106323699999997</c:v>
                </c:pt>
                <c:pt idx="3146">
                  <c:v>0.72122925000000004</c:v>
                </c:pt>
                <c:pt idx="3147">
                  <c:v>0.72199678899999997</c:v>
                </c:pt>
                <c:pt idx="3148">
                  <c:v>0.72272831400000004</c:v>
                </c:pt>
                <c:pt idx="3149">
                  <c:v>0.72229953499999999</c:v>
                </c:pt>
                <c:pt idx="3150">
                  <c:v>0.72458862300000004</c:v>
                </c:pt>
                <c:pt idx="3151">
                  <c:v>0.72457734799999995</c:v>
                </c:pt>
                <c:pt idx="3152">
                  <c:v>0.72478631199999999</c:v>
                </c:pt>
                <c:pt idx="3153">
                  <c:v>0.72407946400000001</c:v>
                </c:pt>
                <c:pt idx="3154">
                  <c:v>0.72352846999999998</c:v>
                </c:pt>
                <c:pt idx="3155">
                  <c:v>0.72358302600000002</c:v>
                </c:pt>
                <c:pt idx="3156">
                  <c:v>0.72341678399999998</c:v>
                </c:pt>
                <c:pt idx="3157">
                  <c:v>0.72245896099999996</c:v>
                </c:pt>
                <c:pt idx="3158">
                  <c:v>0.72499944999999999</c:v>
                </c:pt>
                <c:pt idx="3159">
                  <c:v>0.72520280500000001</c:v>
                </c:pt>
                <c:pt idx="3160">
                  <c:v>0.72333252299999995</c:v>
                </c:pt>
                <c:pt idx="3161">
                  <c:v>0.72268952099999995</c:v>
                </c:pt>
                <c:pt idx="3162">
                  <c:v>0.72270727899999998</c:v>
                </c:pt>
                <c:pt idx="3163">
                  <c:v>0.72245699299999999</c:v>
                </c:pt>
                <c:pt idx="3164">
                  <c:v>0.72146111400000001</c:v>
                </c:pt>
                <c:pt idx="3165">
                  <c:v>0.72134606000000001</c:v>
                </c:pt>
                <c:pt idx="3166">
                  <c:v>0.72028916499999995</c:v>
                </c:pt>
                <c:pt idx="3167">
                  <c:v>0.718018979</c:v>
                </c:pt>
                <c:pt idx="3168">
                  <c:v>0.72072375799999999</c:v>
                </c:pt>
                <c:pt idx="3169">
                  <c:v>0.71874225700000005</c:v>
                </c:pt>
                <c:pt idx="3170">
                  <c:v>0.72003951300000002</c:v>
                </c:pt>
                <c:pt idx="3171">
                  <c:v>0.71888886600000002</c:v>
                </c:pt>
                <c:pt idx="3172">
                  <c:v>0.72051666400000003</c:v>
                </c:pt>
                <c:pt idx="3173">
                  <c:v>0.721775257</c:v>
                </c:pt>
                <c:pt idx="3174">
                  <c:v>0.71519778499999997</c:v>
                </c:pt>
                <c:pt idx="3175">
                  <c:v>0.71776981100000004</c:v>
                </c:pt>
                <c:pt idx="3176">
                  <c:v>0.721305953</c:v>
                </c:pt>
                <c:pt idx="3177">
                  <c:v>0.72440421600000005</c:v>
                </c:pt>
                <c:pt idx="3178">
                  <c:v>0.72861294200000004</c:v>
                </c:pt>
                <c:pt idx="3179">
                  <c:v>0.72949206300000002</c:v>
                </c:pt>
                <c:pt idx="3180">
                  <c:v>0.73223899000000003</c:v>
                </c:pt>
                <c:pt idx="3181">
                  <c:v>0.73034908300000001</c:v>
                </c:pt>
                <c:pt idx="3182">
                  <c:v>0.73234867800000003</c:v>
                </c:pt>
                <c:pt idx="3183">
                  <c:v>0.73195306900000001</c:v>
                </c:pt>
                <c:pt idx="3184">
                  <c:v>0.72864891399999998</c:v>
                </c:pt>
                <c:pt idx="3185">
                  <c:v>0.72998103000000003</c:v>
                </c:pt>
                <c:pt idx="3186">
                  <c:v>0.72422822899999995</c:v>
                </c:pt>
                <c:pt idx="3187">
                  <c:v>0.72559591099999998</c:v>
                </c:pt>
                <c:pt idx="3188">
                  <c:v>0.72482015</c:v>
                </c:pt>
                <c:pt idx="3189">
                  <c:v>0.72330795800000003</c:v>
                </c:pt>
                <c:pt idx="3190">
                  <c:v>0.72470805900000002</c:v>
                </c:pt>
                <c:pt idx="3191">
                  <c:v>0.72743155999999998</c:v>
                </c:pt>
                <c:pt idx="3192">
                  <c:v>0.73002052699999997</c:v>
                </c:pt>
                <c:pt idx="3193">
                  <c:v>0.73140464100000002</c:v>
                </c:pt>
                <c:pt idx="3194">
                  <c:v>0.72715725099999995</c:v>
                </c:pt>
                <c:pt idx="3195">
                  <c:v>0.72226166999999997</c:v>
                </c:pt>
                <c:pt idx="3196">
                  <c:v>0.72449113600000004</c:v>
                </c:pt>
                <c:pt idx="3197">
                  <c:v>0.72691090800000002</c:v>
                </c:pt>
                <c:pt idx="3198">
                  <c:v>0.71844084600000002</c:v>
                </c:pt>
                <c:pt idx="3199">
                  <c:v>0.72176354799999998</c:v>
                </c:pt>
                <c:pt idx="3200">
                  <c:v>0.72733092799999999</c:v>
                </c:pt>
                <c:pt idx="3201">
                  <c:v>0.73224709200000004</c:v>
                </c:pt>
                <c:pt idx="3202">
                  <c:v>0.72677041200000003</c:v>
                </c:pt>
                <c:pt idx="3203">
                  <c:v>0.72747335899999999</c:v>
                </c:pt>
                <c:pt idx="3204">
                  <c:v>0.72682103300000001</c:v>
                </c:pt>
                <c:pt idx="3205">
                  <c:v>0.73399198499999996</c:v>
                </c:pt>
                <c:pt idx="3206">
                  <c:v>0.74750463199999995</c:v>
                </c:pt>
                <c:pt idx="3207">
                  <c:v>0.76904187899999998</c:v>
                </c:pt>
                <c:pt idx="3208">
                  <c:v>0.76119724200000005</c:v>
                </c:pt>
                <c:pt idx="3209">
                  <c:v>0.75828614000000005</c:v>
                </c:pt>
                <c:pt idx="3210">
                  <c:v>0.75852962700000004</c:v>
                </c:pt>
                <c:pt idx="3211">
                  <c:v>0.75234984800000004</c:v>
                </c:pt>
                <c:pt idx="3212">
                  <c:v>0.75410908600000004</c:v>
                </c:pt>
                <c:pt idx="3213">
                  <c:v>0.75104218199999995</c:v>
                </c:pt>
                <c:pt idx="3214">
                  <c:v>0.75453701299999998</c:v>
                </c:pt>
                <c:pt idx="3215">
                  <c:v>0.755129626</c:v>
                </c:pt>
                <c:pt idx="3216">
                  <c:v>0.75507682099999995</c:v>
                </c:pt>
                <c:pt idx="3217">
                  <c:v>0.75789063999999995</c:v>
                </c:pt>
                <c:pt idx="3218">
                  <c:v>0.75768186299999996</c:v>
                </c:pt>
                <c:pt idx="3219">
                  <c:v>0.75928224099999997</c:v>
                </c:pt>
                <c:pt idx="3220">
                  <c:v>0.75646084199999997</c:v>
                </c:pt>
                <c:pt idx="3221">
                  <c:v>0.75822979599999996</c:v>
                </c:pt>
                <c:pt idx="3222">
                  <c:v>0.75241080299999996</c:v>
                </c:pt>
              </c:numCache>
            </c:numRef>
          </c:val>
          <c:smooth val="0"/>
          <c:extLst>
            <c:ext xmlns:c16="http://schemas.microsoft.com/office/drawing/2014/chart" uri="{C3380CC4-5D6E-409C-BE32-E72D297353CC}">
              <c16:uniqueId val="{00000001-3295-4415-82C7-54BFDC83C208}"/>
            </c:ext>
          </c:extLst>
        </c:ser>
        <c:dLbls>
          <c:showLegendKey val="0"/>
          <c:showVal val="0"/>
          <c:showCatName val="0"/>
          <c:showSerName val="0"/>
          <c:showPercent val="0"/>
          <c:showBubbleSize val="0"/>
        </c:dLbls>
        <c:marker val="1"/>
        <c:smooth val="0"/>
        <c:axId val="646469456"/>
        <c:axId val="646462096"/>
      </c:lineChart>
      <c:dateAx>
        <c:axId val="557129592"/>
        <c:scaling>
          <c:orientation val="minMax"/>
        </c:scaling>
        <c:delete val="0"/>
        <c:axPos val="b"/>
        <c:numFmt formatCode="yyyy\-mm\-dd;@"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zh-CN"/>
          </a:p>
        </c:txPr>
        <c:crossAx val="557132472"/>
        <c:crosses val="autoZero"/>
        <c:auto val="1"/>
        <c:lblOffset val="100"/>
        <c:baseTimeUnit val="days"/>
      </c:dateAx>
      <c:valAx>
        <c:axId val="557132472"/>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zh-CN"/>
          </a:p>
        </c:txPr>
        <c:crossAx val="557129592"/>
        <c:crosses val="autoZero"/>
        <c:crossBetween val="between"/>
      </c:valAx>
      <c:valAx>
        <c:axId val="646462096"/>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zh-CN"/>
          </a:p>
        </c:txPr>
        <c:crossAx val="646469456"/>
        <c:crosses val="max"/>
        <c:crossBetween val="between"/>
      </c:valAx>
      <c:dateAx>
        <c:axId val="646469456"/>
        <c:scaling>
          <c:orientation val="minMax"/>
        </c:scaling>
        <c:delete val="1"/>
        <c:axPos val="b"/>
        <c:numFmt formatCode="yyyy\-mm\-dd;@" sourceLinked="1"/>
        <c:majorTickMark val="out"/>
        <c:minorTickMark val="none"/>
        <c:tickLblPos val="nextTo"/>
        <c:crossAx val="646462096"/>
        <c:crosses val="autoZero"/>
        <c:auto val="1"/>
        <c:lblOffset val="100"/>
        <c:baseTimeUnit val="days"/>
      </c:date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latin typeface="Times New Roman" panose="02020603050405020304" pitchFamily="18" charset="0"/>
          <a:cs typeface="Times New Roman" panose="02020603050405020304" pitchFamily="18" charset="0"/>
        </a:defRPr>
      </a:pPr>
      <a:endParaRPr lang="zh-CN"/>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C$1</c:f>
              <c:strCache>
                <c:ptCount val="1"/>
                <c:pt idx="0">
                  <c:v>hs300</c:v>
                </c:pt>
              </c:strCache>
            </c:strRef>
          </c:tx>
          <c:spPr>
            <a:ln w="28575" cap="rnd">
              <a:solidFill>
                <a:schemeClr val="accent1"/>
              </a:solidFill>
              <a:round/>
            </a:ln>
            <a:effectLst/>
          </c:spPr>
          <c:marker>
            <c:symbol val="none"/>
          </c:marker>
          <c:cat>
            <c:strRef>
              <c:f>Sheet1!$B$2:$B$3224</c:f>
              <c:strCache>
                <c:ptCount val="3223"/>
                <c:pt idx="0">
                  <c:v>2009/1/5</c:v>
                </c:pt>
                <c:pt idx="1">
                  <c:v>2009/1/6</c:v>
                </c:pt>
                <c:pt idx="2">
                  <c:v>2009/1/7</c:v>
                </c:pt>
                <c:pt idx="3">
                  <c:v>2009/1/8</c:v>
                </c:pt>
                <c:pt idx="4">
                  <c:v>2009/1/9</c:v>
                </c:pt>
                <c:pt idx="5">
                  <c:v>2009/1/12</c:v>
                </c:pt>
                <c:pt idx="6">
                  <c:v>2009/1/13</c:v>
                </c:pt>
                <c:pt idx="7">
                  <c:v>2009/1/14</c:v>
                </c:pt>
                <c:pt idx="8">
                  <c:v>2009/1/15</c:v>
                </c:pt>
                <c:pt idx="9">
                  <c:v>2009/1/16</c:v>
                </c:pt>
                <c:pt idx="10">
                  <c:v>2009/1/19</c:v>
                </c:pt>
                <c:pt idx="11">
                  <c:v>2009/1/20</c:v>
                </c:pt>
                <c:pt idx="12">
                  <c:v>2009/1/21</c:v>
                </c:pt>
                <c:pt idx="13">
                  <c:v>2009/1/22</c:v>
                </c:pt>
                <c:pt idx="14">
                  <c:v>2009/1/23</c:v>
                </c:pt>
                <c:pt idx="15">
                  <c:v>2009/2/2</c:v>
                </c:pt>
                <c:pt idx="16">
                  <c:v>2009/2/3</c:v>
                </c:pt>
                <c:pt idx="17">
                  <c:v>2009/2/4</c:v>
                </c:pt>
                <c:pt idx="18">
                  <c:v>2009/2/5</c:v>
                </c:pt>
                <c:pt idx="19">
                  <c:v>2009/2/6</c:v>
                </c:pt>
                <c:pt idx="20">
                  <c:v>2009/2/9</c:v>
                </c:pt>
                <c:pt idx="21">
                  <c:v>2009/2/10</c:v>
                </c:pt>
                <c:pt idx="22">
                  <c:v>2009/2/11</c:v>
                </c:pt>
                <c:pt idx="23">
                  <c:v>2009/2/12</c:v>
                </c:pt>
                <c:pt idx="24">
                  <c:v>2009/2/13</c:v>
                </c:pt>
                <c:pt idx="25">
                  <c:v>2009/2/16</c:v>
                </c:pt>
                <c:pt idx="26">
                  <c:v>2009/2/17</c:v>
                </c:pt>
                <c:pt idx="27">
                  <c:v>2009/2/18</c:v>
                </c:pt>
                <c:pt idx="28">
                  <c:v>2009/2/19</c:v>
                </c:pt>
                <c:pt idx="29">
                  <c:v>2009/2/20</c:v>
                </c:pt>
                <c:pt idx="30">
                  <c:v>2009/2/23</c:v>
                </c:pt>
                <c:pt idx="31">
                  <c:v>2009/2/24</c:v>
                </c:pt>
                <c:pt idx="32">
                  <c:v>2009/2/25</c:v>
                </c:pt>
                <c:pt idx="33">
                  <c:v>2009/2/26</c:v>
                </c:pt>
                <c:pt idx="34">
                  <c:v>2009/2/27</c:v>
                </c:pt>
                <c:pt idx="35">
                  <c:v>2009/3/2</c:v>
                </c:pt>
                <c:pt idx="36">
                  <c:v>2009/3/3</c:v>
                </c:pt>
                <c:pt idx="37">
                  <c:v>2009/3/4</c:v>
                </c:pt>
                <c:pt idx="38">
                  <c:v>2009/3/5</c:v>
                </c:pt>
                <c:pt idx="39">
                  <c:v>2009/3/6</c:v>
                </c:pt>
                <c:pt idx="40">
                  <c:v>2009/3/9</c:v>
                </c:pt>
                <c:pt idx="41">
                  <c:v>2009/3/10</c:v>
                </c:pt>
                <c:pt idx="42">
                  <c:v>2009/3/11</c:v>
                </c:pt>
                <c:pt idx="43">
                  <c:v>2009/3/12</c:v>
                </c:pt>
                <c:pt idx="44">
                  <c:v>2009/3/13</c:v>
                </c:pt>
                <c:pt idx="45">
                  <c:v>2009/3/16</c:v>
                </c:pt>
                <c:pt idx="46">
                  <c:v>2009/3/17</c:v>
                </c:pt>
                <c:pt idx="47">
                  <c:v>2009/3/18</c:v>
                </c:pt>
                <c:pt idx="48">
                  <c:v>2009/3/19</c:v>
                </c:pt>
                <c:pt idx="49">
                  <c:v>2009/3/20</c:v>
                </c:pt>
                <c:pt idx="50">
                  <c:v>2009/3/23</c:v>
                </c:pt>
                <c:pt idx="51">
                  <c:v>2009/3/24</c:v>
                </c:pt>
                <c:pt idx="52">
                  <c:v>2009/3/25</c:v>
                </c:pt>
                <c:pt idx="53">
                  <c:v>2009/3/26</c:v>
                </c:pt>
                <c:pt idx="54">
                  <c:v>2009/3/27</c:v>
                </c:pt>
                <c:pt idx="55">
                  <c:v>2009/3/30</c:v>
                </c:pt>
                <c:pt idx="56">
                  <c:v>2009/3/31</c:v>
                </c:pt>
                <c:pt idx="57">
                  <c:v>2009/4/1</c:v>
                </c:pt>
                <c:pt idx="58">
                  <c:v>2009/4/2</c:v>
                </c:pt>
                <c:pt idx="59">
                  <c:v>2009/4/3</c:v>
                </c:pt>
                <c:pt idx="60">
                  <c:v>2009/4/7</c:v>
                </c:pt>
                <c:pt idx="61">
                  <c:v>2009/4/8</c:v>
                </c:pt>
                <c:pt idx="62">
                  <c:v>2009/4/9</c:v>
                </c:pt>
                <c:pt idx="63">
                  <c:v>2009/4/10</c:v>
                </c:pt>
                <c:pt idx="64">
                  <c:v>2009/4/13</c:v>
                </c:pt>
                <c:pt idx="65">
                  <c:v>2009/4/14</c:v>
                </c:pt>
                <c:pt idx="66">
                  <c:v>2009/4/15</c:v>
                </c:pt>
                <c:pt idx="67">
                  <c:v>2009/4/16</c:v>
                </c:pt>
                <c:pt idx="68">
                  <c:v>2009/4/17</c:v>
                </c:pt>
                <c:pt idx="69">
                  <c:v>2009/4/20</c:v>
                </c:pt>
                <c:pt idx="70">
                  <c:v>2009/4/21</c:v>
                </c:pt>
                <c:pt idx="71">
                  <c:v>2009/4/22</c:v>
                </c:pt>
                <c:pt idx="72">
                  <c:v>2009/4/23</c:v>
                </c:pt>
                <c:pt idx="73">
                  <c:v>2009/4/24</c:v>
                </c:pt>
                <c:pt idx="74">
                  <c:v>2009/4/27</c:v>
                </c:pt>
                <c:pt idx="75">
                  <c:v>2009/4/28</c:v>
                </c:pt>
                <c:pt idx="76">
                  <c:v>2009/4/29</c:v>
                </c:pt>
                <c:pt idx="77">
                  <c:v>2009/4/30</c:v>
                </c:pt>
                <c:pt idx="78">
                  <c:v>2009/5/4</c:v>
                </c:pt>
                <c:pt idx="79">
                  <c:v>2009/5/5</c:v>
                </c:pt>
                <c:pt idx="80">
                  <c:v>2009/5/6</c:v>
                </c:pt>
                <c:pt idx="81">
                  <c:v>2009/5/7</c:v>
                </c:pt>
                <c:pt idx="82">
                  <c:v>2009/5/8</c:v>
                </c:pt>
                <c:pt idx="83">
                  <c:v>2009/5/11</c:v>
                </c:pt>
                <c:pt idx="84">
                  <c:v>2009/5/12</c:v>
                </c:pt>
                <c:pt idx="85">
                  <c:v>2009/5/13</c:v>
                </c:pt>
                <c:pt idx="86">
                  <c:v>2009/5/14</c:v>
                </c:pt>
                <c:pt idx="87">
                  <c:v>2009/5/15</c:v>
                </c:pt>
                <c:pt idx="88">
                  <c:v>2009/5/18</c:v>
                </c:pt>
                <c:pt idx="89">
                  <c:v>2009/5/19</c:v>
                </c:pt>
                <c:pt idx="90">
                  <c:v>2009/5/20</c:v>
                </c:pt>
                <c:pt idx="91">
                  <c:v>2009/5/21</c:v>
                </c:pt>
                <c:pt idx="92">
                  <c:v>2009/5/22</c:v>
                </c:pt>
                <c:pt idx="93">
                  <c:v>2009/5/25</c:v>
                </c:pt>
                <c:pt idx="94">
                  <c:v>2009/5/26</c:v>
                </c:pt>
                <c:pt idx="95">
                  <c:v>2009/5/27</c:v>
                </c:pt>
                <c:pt idx="96">
                  <c:v>2009/6/1</c:v>
                </c:pt>
                <c:pt idx="97">
                  <c:v>2009/6/2</c:v>
                </c:pt>
                <c:pt idx="98">
                  <c:v>2009/6/3</c:v>
                </c:pt>
                <c:pt idx="99">
                  <c:v>2009/6/4</c:v>
                </c:pt>
                <c:pt idx="100">
                  <c:v>2009/6/5</c:v>
                </c:pt>
                <c:pt idx="101">
                  <c:v>2009/6/8</c:v>
                </c:pt>
                <c:pt idx="102">
                  <c:v>2009/6/9</c:v>
                </c:pt>
                <c:pt idx="103">
                  <c:v>2009/6/10</c:v>
                </c:pt>
                <c:pt idx="104">
                  <c:v>2009/6/11</c:v>
                </c:pt>
                <c:pt idx="105">
                  <c:v>2009/6/12</c:v>
                </c:pt>
                <c:pt idx="106">
                  <c:v>2009/6/15</c:v>
                </c:pt>
                <c:pt idx="107">
                  <c:v>2009/6/16</c:v>
                </c:pt>
                <c:pt idx="108">
                  <c:v>2009/6/17</c:v>
                </c:pt>
                <c:pt idx="109">
                  <c:v>2009/6/18</c:v>
                </c:pt>
                <c:pt idx="110">
                  <c:v>2009/6/19</c:v>
                </c:pt>
                <c:pt idx="111">
                  <c:v>2009/6/22</c:v>
                </c:pt>
                <c:pt idx="112">
                  <c:v>2009/6/23</c:v>
                </c:pt>
                <c:pt idx="113">
                  <c:v>2009/6/24</c:v>
                </c:pt>
                <c:pt idx="114">
                  <c:v>2009/6/25</c:v>
                </c:pt>
                <c:pt idx="115">
                  <c:v>2009/6/26</c:v>
                </c:pt>
                <c:pt idx="116">
                  <c:v>2009/6/29</c:v>
                </c:pt>
                <c:pt idx="117">
                  <c:v>2009/6/30</c:v>
                </c:pt>
                <c:pt idx="118">
                  <c:v>2009/7/1</c:v>
                </c:pt>
                <c:pt idx="119">
                  <c:v>2009/7/2</c:v>
                </c:pt>
                <c:pt idx="120">
                  <c:v>2009/7/3</c:v>
                </c:pt>
                <c:pt idx="121">
                  <c:v>2009/7/6</c:v>
                </c:pt>
                <c:pt idx="122">
                  <c:v>2009/7/7</c:v>
                </c:pt>
                <c:pt idx="123">
                  <c:v>2009/7/8</c:v>
                </c:pt>
                <c:pt idx="124">
                  <c:v>2009/7/9</c:v>
                </c:pt>
                <c:pt idx="125">
                  <c:v>2009/7/10</c:v>
                </c:pt>
                <c:pt idx="126">
                  <c:v>2009/7/13</c:v>
                </c:pt>
                <c:pt idx="127">
                  <c:v>2009/7/14</c:v>
                </c:pt>
                <c:pt idx="128">
                  <c:v>2009/7/15</c:v>
                </c:pt>
                <c:pt idx="129">
                  <c:v>2009/7/16</c:v>
                </c:pt>
                <c:pt idx="130">
                  <c:v>2009/7/17</c:v>
                </c:pt>
                <c:pt idx="131">
                  <c:v>2009/7/20</c:v>
                </c:pt>
                <c:pt idx="132">
                  <c:v>2009/7/21</c:v>
                </c:pt>
                <c:pt idx="133">
                  <c:v>2009/7/22</c:v>
                </c:pt>
                <c:pt idx="134">
                  <c:v>2009/7/23</c:v>
                </c:pt>
                <c:pt idx="135">
                  <c:v>2009/7/24</c:v>
                </c:pt>
                <c:pt idx="136">
                  <c:v>2009/7/27</c:v>
                </c:pt>
                <c:pt idx="137">
                  <c:v>2009/7/28</c:v>
                </c:pt>
                <c:pt idx="138">
                  <c:v>2009/7/29</c:v>
                </c:pt>
                <c:pt idx="139">
                  <c:v>2009/7/30</c:v>
                </c:pt>
                <c:pt idx="140">
                  <c:v>2009/7/31</c:v>
                </c:pt>
                <c:pt idx="141">
                  <c:v>2009/8/3</c:v>
                </c:pt>
                <c:pt idx="142">
                  <c:v>2009/8/4</c:v>
                </c:pt>
                <c:pt idx="143">
                  <c:v>2009/8/5</c:v>
                </c:pt>
                <c:pt idx="144">
                  <c:v>2009/8/6</c:v>
                </c:pt>
                <c:pt idx="145">
                  <c:v>2009/8/7</c:v>
                </c:pt>
                <c:pt idx="146">
                  <c:v>2009/8/10</c:v>
                </c:pt>
                <c:pt idx="147">
                  <c:v>2009/8/11</c:v>
                </c:pt>
                <c:pt idx="148">
                  <c:v>2009/8/12</c:v>
                </c:pt>
                <c:pt idx="149">
                  <c:v>2009/8/13</c:v>
                </c:pt>
                <c:pt idx="150">
                  <c:v>2009/8/14</c:v>
                </c:pt>
                <c:pt idx="151">
                  <c:v>2009/8/17</c:v>
                </c:pt>
                <c:pt idx="152">
                  <c:v>2009/8/18</c:v>
                </c:pt>
                <c:pt idx="153">
                  <c:v>2009/8/19</c:v>
                </c:pt>
                <c:pt idx="154">
                  <c:v>2009/8/20</c:v>
                </c:pt>
                <c:pt idx="155">
                  <c:v>2009/8/21</c:v>
                </c:pt>
                <c:pt idx="156">
                  <c:v>2009/8/24</c:v>
                </c:pt>
                <c:pt idx="157">
                  <c:v>2009/8/25</c:v>
                </c:pt>
                <c:pt idx="158">
                  <c:v>2009/8/26</c:v>
                </c:pt>
                <c:pt idx="159">
                  <c:v>2009/8/27</c:v>
                </c:pt>
                <c:pt idx="160">
                  <c:v>2009/8/28</c:v>
                </c:pt>
                <c:pt idx="161">
                  <c:v>2009/8/31</c:v>
                </c:pt>
                <c:pt idx="162">
                  <c:v>2009/9/1</c:v>
                </c:pt>
                <c:pt idx="163">
                  <c:v>2009/9/2</c:v>
                </c:pt>
                <c:pt idx="164">
                  <c:v>2009/9/3</c:v>
                </c:pt>
                <c:pt idx="165">
                  <c:v>2009/9/4</c:v>
                </c:pt>
                <c:pt idx="166">
                  <c:v>2009/9/7</c:v>
                </c:pt>
                <c:pt idx="167">
                  <c:v>2009/9/8</c:v>
                </c:pt>
                <c:pt idx="168">
                  <c:v>2009/9/9</c:v>
                </c:pt>
                <c:pt idx="169">
                  <c:v>2009/9/10</c:v>
                </c:pt>
                <c:pt idx="170">
                  <c:v>2009/9/11</c:v>
                </c:pt>
                <c:pt idx="171">
                  <c:v>2009/9/14</c:v>
                </c:pt>
                <c:pt idx="172">
                  <c:v>2009/9/15</c:v>
                </c:pt>
                <c:pt idx="173">
                  <c:v>2009/9/16</c:v>
                </c:pt>
                <c:pt idx="174">
                  <c:v>2009/9/17</c:v>
                </c:pt>
                <c:pt idx="175">
                  <c:v>2009/9/18</c:v>
                </c:pt>
                <c:pt idx="176">
                  <c:v>2009/9/21</c:v>
                </c:pt>
                <c:pt idx="177">
                  <c:v>2009/9/22</c:v>
                </c:pt>
                <c:pt idx="178">
                  <c:v>2009/9/23</c:v>
                </c:pt>
                <c:pt idx="179">
                  <c:v>2009/9/24</c:v>
                </c:pt>
                <c:pt idx="180">
                  <c:v>2009/9/25</c:v>
                </c:pt>
                <c:pt idx="181">
                  <c:v>2009/9/28</c:v>
                </c:pt>
                <c:pt idx="182">
                  <c:v>2009/9/29</c:v>
                </c:pt>
                <c:pt idx="183">
                  <c:v>2009/9/30</c:v>
                </c:pt>
                <c:pt idx="184">
                  <c:v>2009/10/9</c:v>
                </c:pt>
                <c:pt idx="185">
                  <c:v>2009/10/12</c:v>
                </c:pt>
                <c:pt idx="186">
                  <c:v>2009/10/13</c:v>
                </c:pt>
                <c:pt idx="187">
                  <c:v>2009/10/14</c:v>
                </c:pt>
                <c:pt idx="188">
                  <c:v>2009/10/15</c:v>
                </c:pt>
                <c:pt idx="189">
                  <c:v>2009/10/16</c:v>
                </c:pt>
                <c:pt idx="190">
                  <c:v>2009/10/19</c:v>
                </c:pt>
                <c:pt idx="191">
                  <c:v>2009/10/20</c:v>
                </c:pt>
                <c:pt idx="192">
                  <c:v>2009/10/21</c:v>
                </c:pt>
                <c:pt idx="193">
                  <c:v>2009/10/22</c:v>
                </c:pt>
                <c:pt idx="194">
                  <c:v>2009/10/23</c:v>
                </c:pt>
                <c:pt idx="195">
                  <c:v>2009/10/26</c:v>
                </c:pt>
                <c:pt idx="196">
                  <c:v>2009/10/27</c:v>
                </c:pt>
                <c:pt idx="197">
                  <c:v>2009/10/28</c:v>
                </c:pt>
                <c:pt idx="198">
                  <c:v>2009/10/29</c:v>
                </c:pt>
                <c:pt idx="199">
                  <c:v>2009/10/30</c:v>
                </c:pt>
                <c:pt idx="200">
                  <c:v>2009/11/2</c:v>
                </c:pt>
                <c:pt idx="201">
                  <c:v>2009/11/3</c:v>
                </c:pt>
                <c:pt idx="202">
                  <c:v>2009/11/4</c:v>
                </c:pt>
                <c:pt idx="203">
                  <c:v>2009/11/5</c:v>
                </c:pt>
                <c:pt idx="204">
                  <c:v>2009/11/6</c:v>
                </c:pt>
                <c:pt idx="205">
                  <c:v>2009/11/9</c:v>
                </c:pt>
                <c:pt idx="206">
                  <c:v>2009/11/10</c:v>
                </c:pt>
                <c:pt idx="207">
                  <c:v>2009/11/11</c:v>
                </c:pt>
                <c:pt idx="208">
                  <c:v>2009/11/12</c:v>
                </c:pt>
                <c:pt idx="209">
                  <c:v>2009/11/13</c:v>
                </c:pt>
                <c:pt idx="210">
                  <c:v>2009/11/16</c:v>
                </c:pt>
                <c:pt idx="211">
                  <c:v>2009/11/17</c:v>
                </c:pt>
                <c:pt idx="212">
                  <c:v>2009/11/18</c:v>
                </c:pt>
                <c:pt idx="213">
                  <c:v>2009/11/19</c:v>
                </c:pt>
                <c:pt idx="214">
                  <c:v>2009/11/20</c:v>
                </c:pt>
                <c:pt idx="215">
                  <c:v>2009/11/23</c:v>
                </c:pt>
                <c:pt idx="216">
                  <c:v>2009/11/24</c:v>
                </c:pt>
                <c:pt idx="217">
                  <c:v>2009/11/25</c:v>
                </c:pt>
                <c:pt idx="218">
                  <c:v>2009/11/26</c:v>
                </c:pt>
                <c:pt idx="219">
                  <c:v>2009/11/27</c:v>
                </c:pt>
                <c:pt idx="220">
                  <c:v>2009/11/30</c:v>
                </c:pt>
                <c:pt idx="221">
                  <c:v>2009/12/1</c:v>
                </c:pt>
                <c:pt idx="222">
                  <c:v>2009/12/2</c:v>
                </c:pt>
                <c:pt idx="223">
                  <c:v>2009/12/3</c:v>
                </c:pt>
                <c:pt idx="224">
                  <c:v>2009/12/4</c:v>
                </c:pt>
                <c:pt idx="225">
                  <c:v>2009/12/7</c:v>
                </c:pt>
                <c:pt idx="226">
                  <c:v>2009/12/8</c:v>
                </c:pt>
                <c:pt idx="227">
                  <c:v>2009/12/9</c:v>
                </c:pt>
                <c:pt idx="228">
                  <c:v>2009/12/10</c:v>
                </c:pt>
                <c:pt idx="229">
                  <c:v>2009/12/11</c:v>
                </c:pt>
                <c:pt idx="230">
                  <c:v>2009/12/14</c:v>
                </c:pt>
                <c:pt idx="231">
                  <c:v>2009/12/15</c:v>
                </c:pt>
                <c:pt idx="232">
                  <c:v>2009/12/16</c:v>
                </c:pt>
                <c:pt idx="233">
                  <c:v>2009/12/17</c:v>
                </c:pt>
                <c:pt idx="234">
                  <c:v>2009/12/18</c:v>
                </c:pt>
                <c:pt idx="235">
                  <c:v>2009/12/21</c:v>
                </c:pt>
                <c:pt idx="236">
                  <c:v>2009/12/22</c:v>
                </c:pt>
                <c:pt idx="237">
                  <c:v>2009/12/23</c:v>
                </c:pt>
                <c:pt idx="238">
                  <c:v>2009/12/24</c:v>
                </c:pt>
                <c:pt idx="239">
                  <c:v>2009/12/25</c:v>
                </c:pt>
                <c:pt idx="240">
                  <c:v>2009/12/28</c:v>
                </c:pt>
                <c:pt idx="241">
                  <c:v>2009/12/29</c:v>
                </c:pt>
                <c:pt idx="242">
                  <c:v>2009/12/30</c:v>
                </c:pt>
                <c:pt idx="243">
                  <c:v>2009/12/31</c:v>
                </c:pt>
                <c:pt idx="244">
                  <c:v>2010/1/4</c:v>
                </c:pt>
                <c:pt idx="245">
                  <c:v>2010/1/5</c:v>
                </c:pt>
                <c:pt idx="246">
                  <c:v>2010/1/6</c:v>
                </c:pt>
                <c:pt idx="247">
                  <c:v>2010/1/7</c:v>
                </c:pt>
                <c:pt idx="248">
                  <c:v>2010/1/8</c:v>
                </c:pt>
                <c:pt idx="249">
                  <c:v>2010/1/11</c:v>
                </c:pt>
                <c:pt idx="250">
                  <c:v>2010/1/12</c:v>
                </c:pt>
                <c:pt idx="251">
                  <c:v>2010/1/13</c:v>
                </c:pt>
                <c:pt idx="252">
                  <c:v>2010/1/14</c:v>
                </c:pt>
                <c:pt idx="253">
                  <c:v>2010/1/15</c:v>
                </c:pt>
                <c:pt idx="254">
                  <c:v>2010/1/18</c:v>
                </c:pt>
                <c:pt idx="255">
                  <c:v>2010/1/19</c:v>
                </c:pt>
                <c:pt idx="256">
                  <c:v>2010/1/20</c:v>
                </c:pt>
                <c:pt idx="257">
                  <c:v>2010/1/21</c:v>
                </c:pt>
                <c:pt idx="258">
                  <c:v>2010/1/22</c:v>
                </c:pt>
                <c:pt idx="259">
                  <c:v>2010/1/25</c:v>
                </c:pt>
                <c:pt idx="260">
                  <c:v>2010/1/26</c:v>
                </c:pt>
                <c:pt idx="261">
                  <c:v>2010/1/27</c:v>
                </c:pt>
                <c:pt idx="262">
                  <c:v>2010/1/28</c:v>
                </c:pt>
                <c:pt idx="263">
                  <c:v>2010/1/29</c:v>
                </c:pt>
                <c:pt idx="264">
                  <c:v>2010/2/1</c:v>
                </c:pt>
                <c:pt idx="265">
                  <c:v>2010/2/2</c:v>
                </c:pt>
                <c:pt idx="266">
                  <c:v>2010/2/3</c:v>
                </c:pt>
                <c:pt idx="267">
                  <c:v>2010/2/4</c:v>
                </c:pt>
                <c:pt idx="268">
                  <c:v>2010/2/5</c:v>
                </c:pt>
                <c:pt idx="269">
                  <c:v>2010/2/8</c:v>
                </c:pt>
                <c:pt idx="270">
                  <c:v>2010/2/9</c:v>
                </c:pt>
                <c:pt idx="271">
                  <c:v>2010/2/10</c:v>
                </c:pt>
                <c:pt idx="272">
                  <c:v>2010/2/11</c:v>
                </c:pt>
                <c:pt idx="273">
                  <c:v>2010/2/12</c:v>
                </c:pt>
                <c:pt idx="274">
                  <c:v>2010/2/22</c:v>
                </c:pt>
                <c:pt idx="275">
                  <c:v>2010/2/23</c:v>
                </c:pt>
                <c:pt idx="276">
                  <c:v>2010/2/24</c:v>
                </c:pt>
                <c:pt idx="277">
                  <c:v>2010/2/25</c:v>
                </c:pt>
                <c:pt idx="278">
                  <c:v>2010/2/26</c:v>
                </c:pt>
                <c:pt idx="279">
                  <c:v>2010/3/1</c:v>
                </c:pt>
                <c:pt idx="280">
                  <c:v>2010/3/2</c:v>
                </c:pt>
                <c:pt idx="281">
                  <c:v>2010/3/3</c:v>
                </c:pt>
                <c:pt idx="282">
                  <c:v>2010/3/4</c:v>
                </c:pt>
                <c:pt idx="283">
                  <c:v>2010/3/5</c:v>
                </c:pt>
                <c:pt idx="284">
                  <c:v>2010/3/8</c:v>
                </c:pt>
                <c:pt idx="285">
                  <c:v>2010/3/9</c:v>
                </c:pt>
                <c:pt idx="286">
                  <c:v>2010/3/10</c:v>
                </c:pt>
                <c:pt idx="287">
                  <c:v>2010/3/11</c:v>
                </c:pt>
                <c:pt idx="288">
                  <c:v>2010/3/12</c:v>
                </c:pt>
                <c:pt idx="289">
                  <c:v>2010/3/15</c:v>
                </c:pt>
                <c:pt idx="290">
                  <c:v>2010/3/16</c:v>
                </c:pt>
                <c:pt idx="291">
                  <c:v>2010/3/17</c:v>
                </c:pt>
                <c:pt idx="292">
                  <c:v>2010/3/18</c:v>
                </c:pt>
                <c:pt idx="293">
                  <c:v>2010/3/19</c:v>
                </c:pt>
                <c:pt idx="294">
                  <c:v>2010/3/22</c:v>
                </c:pt>
                <c:pt idx="295">
                  <c:v>2010/3/23</c:v>
                </c:pt>
                <c:pt idx="296">
                  <c:v>2010/3/24</c:v>
                </c:pt>
                <c:pt idx="297">
                  <c:v>2010/3/25</c:v>
                </c:pt>
                <c:pt idx="298">
                  <c:v>2010/3/26</c:v>
                </c:pt>
                <c:pt idx="299">
                  <c:v>2010/3/29</c:v>
                </c:pt>
                <c:pt idx="300">
                  <c:v>2010/3/30</c:v>
                </c:pt>
                <c:pt idx="301">
                  <c:v>2010/3/31</c:v>
                </c:pt>
                <c:pt idx="302">
                  <c:v>2010/4/1</c:v>
                </c:pt>
                <c:pt idx="303">
                  <c:v>2010/4/2</c:v>
                </c:pt>
                <c:pt idx="304">
                  <c:v>2010/4/6</c:v>
                </c:pt>
                <c:pt idx="305">
                  <c:v>2010/4/7</c:v>
                </c:pt>
                <c:pt idx="306">
                  <c:v>2010/4/8</c:v>
                </c:pt>
                <c:pt idx="307">
                  <c:v>2010/4/9</c:v>
                </c:pt>
                <c:pt idx="308">
                  <c:v>2010/4/12</c:v>
                </c:pt>
                <c:pt idx="309">
                  <c:v>2010/4/13</c:v>
                </c:pt>
                <c:pt idx="310">
                  <c:v>2010/4/14</c:v>
                </c:pt>
                <c:pt idx="311">
                  <c:v>2010/4/15</c:v>
                </c:pt>
                <c:pt idx="312">
                  <c:v>2010/4/16</c:v>
                </c:pt>
                <c:pt idx="313">
                  <c:v>2010/4/19</c:v>
                </c:pt>
                <c:pt idx="314">
                  <c:v>2010/4/20</c:v>
                </c:pt>
                <c:pt idx="315">
                  <c:v>2010/4/21</c:v>
                </c:pt>
                <c:pt idx="316">
                  <c:v>2010/4/22</c:v>
                </c:pt>
                <c:pt idx="317">
                  <c:v>2010/4/23</c:v>
                </c:pt>
                <c:pt idx="318">
                  <c:v>2010/4/26</c:v>
                </c:pt>
                <c:pt idx="319">
                  <c:v>2010/4/27</c:v>
                </c:pt>
                <c:pt idx="320">
                  <c:v>2010/4/28</c:v>
                </c:pt>
                <c:pt idx="321">
                  <c:v>2010/4/29</c:v>
                </c:pt>
                <c:pt idx="322">
                  <c:v>2010/4/30</c:v>
                </c:pt>
                <c:pt idx="323">
                  <c:v>2010/5/4</c:v>
                </c:pt>
                <c:pt idx="324">
                  <c:v>2010/5/5</c:v>
                </c:pt>
                <c:pt idx="325">
                  <c:v>2010/5/6</c:v>
                </c:pt>
                <c:pt idx="326">
                  <c:v>2010/5/7</c:v>
                </c:pt>
                <c:pt idx="327">
                  <c:v>2010/5/10</c:v>
                </c:pt>
                <c:pt idx="328">
                  <c:v>2010/5/11</c:v>
                </c:pt>
                <c:pt idx="329">
                  <c:v>2010/5/12</c:v>
                </c:pt>
                <c:pt idx="330">
                  <c:v>2010/5/13</c:v>
                </c:pt>
                <c:pt idx="331">
                  <c:v>2010/5/14</c:v>
                </c:pt>
                <c:pt idx="332">
                  <c:v>2010/5/17</c:v>
                </c:pt>
                <c:pt idx="333">
                  <c:v>2010/5/18</c:v>
                </c:pt>
                <c:pt idx="334">
                  <c:v>2010/5/19</c:v>
                </c:pt>
                <c:pt idx="335">
                  <c:v>2010/5/20</c:v>
                </c:pt>
                <c:pt idx="336">
                  <c:v>2010/5/21</c:v>
                </c:pt>
                <c:pt idx="337">
                  <c:v>2010/5/24</c:v>
                </c:pt>
                <c:pt idx="338">
                  <c:v>2010/5/25</c:v>
                </c:pt>
                <c:pt idx="339">
                  <c:v>2010/5/26</c:v>
                </c:pt>
                <c:pt idx="340">
                  <c:v>2010/5/27</c:v>
                </c:pt>
                <c:pt idx="341">
                  <c:v>2010/5/28</c:v>
                </c:pt>
                <c:pt idx="342">
                  <c:v>2010/5/31</c:v>
                </c:pt>
                <c:pt idx="343">
                  <c:v>2010/6/1</c:v>
                </c:pt>
                <c:pt idx="344">
                  <c:v>2010/6/2</c:v>
                </c:pt>
                <c:pt idx="345">
                  <c:v>2010/6/3</c:v>
                </c:pt>
                <c:pt idx="346">
                  <c:v>2010/6/4</c:v>
                </c:pt>
                <c:pt idx="347">
                  <c:v>2010/6/7</c:v>
                </c:pt>
                <c:pt idx="348">
                  <c:v>2010/6/8</c:v>
                </c:pt>
                <c:pt idx="349">
                  <c:v>2010/6/9</c:v>
                </c:pt>
                <c:pt idx="350">
                  <c:v>2010/6/10</c:v>
                </c:pt>
                <c:pt idx="351">
                  <c:v>2010/6/11</c:v>
                </c:pt>
                <c:pt idx="352">
                  <c:v>2010/6/17</c:v>
                </c:pt>
                <c:pt idx="353">
                  <c:v>2010/6/18</c:v>
                </c:pt>
                <c:pt idx="354">
                  <c:v>2010/6/21</c:v>
                </c:pt>
                <c:pt idx="355">
                  <c:v>2010/6/22</c:v>
                </c:pt>
                <c:pt idx="356">
                  <c:v>2010/6/23</c:v>
                </c:pt>
                <c:pt idx="357">
                  <c:v>2010/6/24</c:v>
                </c:pt>
                <c:pt idx="358">
                  <c:v>2010/6/25</c:v>
                </c:pt>
                <c:pt idx="359">
                  <c:v>2010/6/28</c:v>
                </c:pt>
                <c:pt idx="360">
                  <c:v>2010/6/29</c:v>
                </c:pt>
                <c:pt idx="361">
                  <c:v>2010/6/30</c:v>
                </c:pt>
                <c:pt idx="362">
                  <c:v>2010/7/1</c:v>
                </c:pt>
                <c:pt idx="363">
                  <c:v>2010/7/2</c:v>
                </c:pt>
                <c:pt idx="364">
                  <c:v>2010/7/5</c:v>
                </c:pt>
                <c:pt idx="365">
                  <c:v>2010/7/6</c:v>
                </c:pt>
                <c:pt idx="366">
                  <c:v>2010/7/7</c:v>
                </c:pt>
                <c:pt idx="367">
                  <c:v>2010/7/8</c:v>
                </c:pt>
                <c:pt idx="368">
                  <c:v>2010/7/9</c:v>
                </c:pt>
                <c:pt idx="369">
                  <c:v>2010/7/12</c:v>
                </c:pt>
                <c:pt idx="370">
                  <c:v>2010/7/13</c:v>
                </c:pt>
                <c:pt idx="371">
                  <c:v>2010/7/14</c:v>
                </c:pt>
                <c:pt idx="372">
                  <c:v>2010/7/15</c:v>
                </c:pt>
                <c:pt idx="373">
                  <c:v>2010/7/16</c:v>
                </c:pt>
                <c:pt idx="374">
                  <c:v>2010/7/19</c:v>
                </c:pt>
                <c:pt idx="375">
                  <c:v>2010/7/20</c:v>
                </c:pt>
                <c:pt idx="376">
                  <c:v>2010/7/21</c:v>
                </c:pt>
                <c:pt idx="377">
                  <c:v>2010/7/22</c:v>
                </c:pt>
                <c:pt idx="378">
                  <c:v>2010/7/23</c:v>
                </c:pt>
                <c:pt idx="379">
                  <c:v>2010/7/26</c:v>
                </c:pt>
                <c:pt idx="380">
                  <c:v>2010/7/27</c:v>
                </c:pt>
                <c:pt idx="381">
                  <c:v>2010/7/28</c:v>
                </c:pt>
                <c:pt idx="382">
                  <c:v>2010/7/29</c:v>
                </c:pt>
                <c:pt idx="383">
                  <c:v>2010/7/30</c:v>
                </c:pt>
                <c:pt idx="384">
                  <c:v>2010/8/2</c:v>
                </c:pt>
                <c:pt idx="385">
                  <c:v>2010/8/3</c:v>
                </c:pt>
                <c:pt idx="386">
                  <c:v>2010/8/4</c:v>
                </c:pt>
                <c:pt idx="387">
                  <c:v>2010/8/5</c:v>
                </c:pt>
                <c:pt idx="388">
                  <c:v>2010/8/6</c:v>
                </c:pt>
                <c:pt idx="389">
                  <c:v>2010/8/9</c:v>
                </c:pt>
                <c:pt idx="390">
                  <c:v>2010/8/10</c:v>
                </c:pt>
                <c:pt idx="391">
                  <c:v>2010/8/11</c:v>
                </c:pt>
                <c:pt idx="392">
                  <c:v>2010/8/12</c:v>
                </c:pt>
                <c:pt idx="393">
                  <c:v>2010/8/13</c:v>
                </c:pt>
                <c:pt idx="394">
                  <c:v>2010/8/16</c:v>
                </c:pt>
                <c:pt idx="395">
                  <c:v>2010/8/17</c:v>
                </c:pt>
                <c:pt idx="396">
                  <c:v>2010/8/18</c:v>
                </c:pt>
                <c:pt idx="397">
                  <c:v>2010/8/19</c:v>
                </c:pt>
                <c:pt idx="398">
                  <c:v>2010/8/20</c:v>
                </c:pt>
                <c:pt idx="399">
                  <c:v>2010/8/23</c:v>
                </c:pt>
                <c:pt idx="400">
                  <c:v>2010/8/24</c:v>
                </c:pt>
                <c:pt idx="401">
                  <c:v>2010/8/25</c:v>
                </c:pt>
                <c:pt idx="402">
                  <c:v>2010/8/26</c:v>
                </c:pt>
                <c:pt idx="403">
                  <c:v>2010/8/27</c:v>
                </c:pt>
                <c:pt idx="404">
                  <c:v>2010/8/30</c:v>
                </c:pt>
                <c:pt idx="405">
                  <c:v>2010/8/31</c:v>
                </c:pt>
                <c:pt idx="406">
                  <c:v>2010/9/1</c:v>
                </c:pt>
                <c:pt idx="407">
                  <c:v>2010/9/2</c:v>
                </c:pt>
                <c:pt idx="408">
                  <c:v>2010/9/3</c:v>
                </c:pt>
                <c:pt idx="409">
                  <c:v>2010/9/6</c:v>
                </c:pt>
                <c:pt idx="410">
                  <c:v>2010/9/7</c:v>
                </c:pt>
                <c:pt idx="411">
                  <c:v>2010/9/8</c:v>
                </c:pt>
                <c:pt idx="412">
                  <c:v>2010/9/9</c:v>
                </c:pt>
                <c:pt idx="413">
                  <c:v>2010/9/10</c:v>
                </c:pt>
                <c:pt idx="414">
                  <c:v>2010/9/13</c:v>
                </c:pt>
                <c:pt idx="415">
                  <c:v>2010/9/14</c:v>
                </c:pt>
                <c:pt idx="416">
                  <c:v>2010/9/15</c:v>
                </c:pt>
                <c:pt idx="417">
                  <c:v>2010/9/16</c:v>
                </c:pt>
                <c:pt idx="418">
                  <c:v>2010/9/17</c:v>
                </c:pt>
                <c:pt idx="419">
                  <c:v>2010/9/20</c:v>
                </c:pt>
                <c:pt idx="420">
                  <c:v>2010/9/21</c:v>
                </c:pt>
                <c:pt idx="421">
                  <c:v>2010/9/27</c:v>
                </c:pt>
                <c:pt idx="422">
                  <c:v>2010/9/28</c:v>
                </c:pt>
                <c:pt idx="423">
                  <c:v>2010/9/29</c:v>
                </c:pt>
                <c:pt idx="424">
                  <c:v>2010/9/30</c:v>
                </c:pt>
                <c:pt idx="425">
                  <c:v>2010/10/8</c:v>
                </c:pt>
                <c:pt idx="426">
                  <c:v>2010/10/11</c:v>
                </c:pt>
                <c:pt idx="427">
                  <c:v>2010/10/12</c:v>
                </c:pt>
                <c:pt idx="428">
                  <c:v>2010/10/13</c:v>
                </c:pt>
                <c:pt idx="429">
                  <c:v>2010/10/14</c:v>
                </c:pt>
                <c:pt idx="430">
                  <c:v>2010/10/15</c:v>
                </c:pt>
                <c:pt idx="431">
                  <c:v>2010/10/18</c:v>
                </c:pt>
                <c:pt idx="432">
                  <c:v>2010/10/19</c:v>
                </c:pt>
                <c:pt idx="433">
                  <c:v>2010/10/20</c:v>
                </c:pt>
                <c:pt idx="434">
                  <c:v>2010/10/21</c:v>
                </c:pt>
                <c:pt idx="435">
                  <c:v>2010/10/22</c:v>
                </c:pt>
                <c:pt idx="436">
                  <c:v>2010/10/25</c:v>
                </c:pt>
                <c:pt idx="437">
                  <c:v>2010/10/26</c:v>
                </c:pt>
                <c:pt idx="438">
                  <c:v>2010/10/27</c:v>
                </c:pt>
                <c:pt idx="439">
                  <c:v>2010/10/28</c:v>
                </c:pt>
                <c:pt idx="440">
                  <c:v>2010/10/29</c:v>
                </c:pt>
                <c:pt idx="441">
                  <c:v>2010/11/1</c:v>
                </c:pt>
                <c:pt idx="442">
                  <c:v>2010/11/2</c:v>
                </c:pt>
                <c:pt idx="443">
                  <c:v>2010/11/3</c:v>
                </c:pt>
                <c:pt idx="444">
                  <c:v>2010/11/4</c:v>
                </c:pt>
                <c:pt idx="445">
                  <c:v>2010/11/5</c:v>
                </c:pt>
                <c:pt idx="446">
                  <c:v>2010/11/8</c:v>
                </c:pt>
                <c:pt idx="447">
                  <c:v>2010/11/9</c:v>
                </c:pt>
                <c:pt idx="448">
                  <c:v>2010/11/10</c:v>
                </c:pt>
                <c:pt idx="449">
                  <c:v>2010/11/11</c:v>
                </c:pt>
                <c:pt idx="450">
                  <c:v>2010/11/12</c:v>
                </c:pt>
                <c:pt idx="451">
                  <c:v>2010/11/15</c:v>
                </c:pt>
                <c:pt idx="452">
                  <c:v>2010/11/16</c:v>
                </c:pt>
                <c:pt idx="453">
                  <c:v>2010/11/17</c:v>
                </c:pt>
                <c:pt idx="454">
                  <c:v>2010/11/18</c:v>
                </c:pt>
                <c:pt idx="455">
                  <c:v>2010/11/19</c:v>
                </c:pt>
                <c:pt idx="456">
                  <c:v>2010/11/22</c:v>
                </c:pt>
                <c:pt idx="457">
                  <c:v>2010/11/23</c:v>
                </c:pt>
                <c:pt idx="458">
                  <c:v>2010/11/24</c:v>
                </c:pt>
                <c:pt idx="459">
                  <c:v>2010/11/25</c:v>
                </c:pt>
                <c:pt idx="460">
                  <c:v>2010/11/26</c:v>
                </c:pt>
                <c:pt idx="461">
                  <c:v>2010/11/29</c:v>
                </c:pt>
                <c:pt idx="462">
                  <c:v>2010/11/30</c:v>
                </c:pt>
                <c:pt idx="463">
                  <c:v>2010/12/1</c:v>
                </c:pt>
                <c:pt idx="464">
                  <c:v>2010/12/2</c:v>
                </c:pt>
                <c:pt idx="465">
                  <c:v>2010/12/3</c:v>
                </c:pt>
                <c:pt idx="466">
                  <c:v>2010/12/6</c:v>
                </c:pt>
                <c:pt idx="467">
                  <c:v>2010/12/7</c:v>
                </c:pt>
                <c:pt idx="468">
                  <c:v>2010/12/8</c:v>
                </c:pt>
                <c:pt idx="469">
                  <c:v>2010/12/9</c:v>
                </c:pt>
                <c:pt idx="470">
                  <c:v>2010/12/10</c:v>
                </c:pt>
                <c:pt idx="471">
                  <c:v>2010/12/13</c:v>
                </c:pt>
                <c:pt idx="472">
                  <c:v>2010/12/14</c:v>
                </c:pt>
                <c:pt idx="473">
                  <c:v>2010/12/15</c:v>
                </c:pt>
                <c:pt idx="474">
                  <c:v>2010/12/16</c:v>
                </c:pt>
                <c:pt idx="475">
                  <c:v>2010/12/17</c:v>
                </c:pt>
                <c:pt idx="476">
                  <c:v>2010/12/20</c:v>
                </c:pt>
                <c:pt idx="477">
                  <c:v>2010/12/21</c:v>
                </c:pt>
                <c:pt idx="478">
                  <c:v>2010/12/22</c:v>
                </c:pt>
                <c:pt idx="479">
                  <c:v>2010/12/23</c:v>
                </c:pt>
                <c:pt idx="480">
                  <c:v>2010/12/24</c:v>
                </c:pt>
                <c:pt idx="481">
                  <c:v>2010/12/27</c:v>
                </c:pt>
                <c:pt idx="482">
                  <c:v>2010/12/28</c:v>
                </c:pt>
                <c:pt idx="483">
                  <c:v>2010/12/29</c:v>
                </c:pt>
                <c:pt idx="484">
                  <c:v>2010/12/30</c:v>
                </c:pt>
                <c:pt idx="485">
                  <c:v>2010/12/31</c:v>
                </c:pt>
                <c:pt idx="486">
                  <c:v>2011/1/4</c:v>
                </c:pt>
                <c:pt idx="487">
                  <c:v>2011/1/5</c:v>
                </c:pt>
                <c:pt idx="488">
                  <c:v>2011/1/6</c:v>
                </c:pt>
                <c:pt idx="489">
                  <c:v>2011/1/7</c:v>
                </c:pt>
                <c:pt idx="490">
                  <c:v>2011/1/10</c:v>
                </c:pt>
                <c:pt idx="491">
                  <c:v>2011/1/11</c:v>
                </c:pt>
                <c:pt idx="492">
                  <c:v>2011/1/12</c:v>
                </c:pt>
                <c:pt idx="493">
                  <c:v>2011/1/13</c:v>
                </c:pt>
                <c:pt idx="494">
                  <c:v>2011/1/14</c:v>
                </c:pt>
                <c:pt idx="495">
                  <c:v>2011/1/17</c:v>
                </c:pt>
                <c:pt idx="496">
                  <c:v>2011/1/18</c:v>
                </c:pt>
                <c:pt idx="497">
                  <c:v>2011/1/19</c:v>
                </c:pt>
                <c:pt idx="498">
                  <c:v>2011/1/20</c:v>
                </c:pt>
                <c:pt idx="499">
                  <c:v>2011/1/21</c:v>
                </c:pt>
                <c:pt idx="500">
                  <c:v>2011/1/24</c:v>
                </c:pt>
                <c:pt idx="501">
                  <c:v>2011/1/25</c:v>
                </c:pt>
                <c:pt idx="502">
                  <c:v>2011/1/26</c:v>
                </c:pt>
                <c:pt idx="503">
                  <c:v>2011/1/27</c:v>
                </c:pt>
                <c:pt idx="504">
                  <c:v>2011/1/28</c:v>
                </c:pt>
                <c:pt idx="505">
                  <c:v>2011/1/31</c:v>
                </c:pt>
                <c:pt idx="506">
                  <c:v>2011/2/1</c:v>
                </c:pt>
                <c:pt idx="507">
                  <c:v>2011/2/9</c:v>
                </c:pt>
                <c:pt idx="508">
                  <c:v>2011/2/10</c:v>
                </c:pt>
                <c:pt idx="509">
                  <c:v>2011/2/11</c:v>
                </c:pt>
                <c:pt idx="510">
                  <c:v>2011/2/14</c:v>
                </c:pt>
                <c:pt idx="511">
                  <c:v>2011/2/15</c:v>
                </c:pt>
                <c:pt idx="512">
                  <c:v>2011/2/16</c:v>
                </c:pt>
                <c:pt idx="513">
                  <c:v>2011/2/17</c:v>
                </c:pt>
                <c:pt idx="514">
                  <c:v>2011/2/18</c:v>
                </c:pt>
                <c:pt idx="515">
                  <c:v>2011/2/21</c:v>
                </c:pt>
                <c:pt idx="516">
                  <c:v>2011/2/22</c:v>
                </c:pt>
                <c:pt idx="517">
                  <c:v>2011/2/23</c:v>
                </c:pt>
                <c:pt idx="518">
                  <c:v>2011/2/24</c:v>
                </c:pt>
                <c:pt idx="519">
                  <c:v>2011/2/25</c:v>
                </c:pt>
                <c:pt idx="520">
                  <c:v>2011/2/28</c:v>
                </c:pt>
                <c:pt idx="521">
                  <c:v>2011/3/1</c:v>
                </c:pt>
                <c:pt idx="522">
                  <c:v>2011/3/2</c:v>
                </c:pt>
                <c:pt idx="523">
                  <c:v>2011/3/3</c:v>
                </c:pt>
                <c:pt idx="524">
                  <c:v>2011/3/4</c:v>
                </c:pt>
                <c:pt idx="525">
                  <c:v>2011/3/7</c:v>
                </c:pt>
                <c:pt idx="526">
                  <c:v>2011/3/8</c:v>
                </c:pt>
                <c:pt idx="527">
                  <c:v>2011/3/9</c:v>
                </c:pt>
                <c:pt idx="528">
                  <c:v>2011/3/10</c:v>
                </c:pt>
                <c:pt idx="529">
                  <c:v>2011/3/11</c:v>
                </c:pt>
                <c:pt idx="530">
                  <c:v>2011/3/14</c:v>
                </c:pt>
                <c:pt idx="531">
                  <c:v>2011/3/15</c:v>
                </c:pt>
                <c:pt idx="532">
                  <c:v>2011/3/16</c:v>
                </c:pt>
                <c:pt idx="533">
                  <c:v>2011/3/17</c:v>
                </c:pt>
                <c:pt idx="534">
                  <c:v>2011/3/18</c:v>
                </c:pt>
                <c:pt idx="535">
                  <c:v>2011/3/21</c:v>
                </c:pt>
                <c:pt idx="536">
                  <c:v>2011/3/22</c:v>
                </c:pt>
                <c:pt idx="537">
                  <c:v>2011/3/23</c:v>
                </c:pt>
                <c:pt idx="538">
                  <c:v>2011/3/24</c:v>
                </c:pt>
                <c:pt idx="539">
                  <c:v>2011/3/25</c:v>
                </c:pt>
                <c:pt idx="540">
                  <c:v>2011/3/28</c:v>
                </c:pt>
                <c:pt idx="541">
                  <c:v>2011/3/29</c:v>
                </c:pt>
                <c:pt idx="542">
                  <c:v>2011/3/30</c:v>
                </c:pt>
                <c:pt idx="543">
                  <c:v>2011/3/31</c:v>
                </c:pt>
                <c:pt idx="544">
                  <c:v>2011/4/1</c:v>
                </c:pt>
                <c:pt idx="545">
                  <c:v>2011/4/6</c:v>
                </c:pt>
                <c:pt idx="546">
                  <c:v>2011/4/7</c:v>
                </c:pt>
                <c:pt idx="547">
                  <c:v>2011/4/8</c:v>
                </c:pt>
                <c:pt idx="548">
                  <c:v>2011/4/11</c:v>
                </c:pt>
                <c:pt idx="549">
                  <c:v>2011/4/12</c:v>
                </c:pt>
                <c:pt idx="550">
                  <c:v>2011/4/13</c:v>
                </c:pt>
                <c:pt idx="551">
                  <c:v>2011/4/14</c:v>
                </c:pt>
                <c:pt idx="552">
                  <c:v>2011/4/15</c:v>
                </c:pt>
                <c:pt idx="553">
                  <c:v>2011/4/18</c:v>
                </c:pt>
                <c:pt idx="554">
                  <c:v>2011/4/19</c:v>
                </c:pt>
                <c:pt idx="555">
                  <c:v>2011/4/20</c:v>
                </c:pt>
                <c:pt idx="556">
                  <c:v>2011/4/21</c:v>
                </c:pt>
                <c:pt idx="557">
                  <c:v>2011/4/22</c:v>
                </c:pt>
                <c:pt idx="558">
                  <c:v>2011/4/25</c:v>
                </c:pt>
                <c:pt idx="559">
                  <c:v>2011/4/26</c:v>
                </c:pt>
                <c:pt idx="560">
                  <c:v>2011/4/27</c:v>
                </c:pt>
                <c:pt idx="561">
                  <c:v>2011/4/28</c:v>
                </c:pt>
                <c:pt idx="562">
                  <c:v>2011/4/29</c:v>
                </c:pt>
                <c:pt idx="563">
                  <c:v>2011/5/3</c:v>
                </c:pt>
                <c:pt idx="564">
                  <c:v>2011/5/4</c:v>
                </c:pt>
                <c:pt idx="565">
                  <c:v>2011/5/5</c:v>
                </c:pt>
                <c:pt idx="566">
                  <c:v>2011/5/6</c:v>
                </c:pt>
                <c:pt idx="567">
                  <c:v>2011/5/9</c:v>
                </c:pt>
                <c:pt idx="568">
                  <c:v>2011/5/10</c:v>
                </c:pt>
                <c:pt idx="569">
                  <c:v>2011/5/11</c:v>
                </c:pt>
                <c:pt idx="570">
                  <c:v>2011/5/12</c:v>
                </c:pt>
                <c:pt idx="571">
                  <c:v>2011/5/13</c:v>
                </c:pt>
                <c:pt idx="572">
                  <c:v>2011/5/16</c:v>
                </c:pt>
                <c:pt idx="573">
                  <c:v>2011/5/17</c:v>
                </c:pt>
                <c:pt idx="574">
                  <c:v>2011/5/18</c:v>
                </c:pt>
                <c:pt idx="575">
                  <c:v>2011/5/19</c:v>
                </c:pt>
                <c:pt idx="576">
                  <c:v>2011/5/20</c:v>
                </c:pt>
                <c:pt idx="577">
                  <c:v>2011/5/23</c:v>
                </c:pt>
                <c:pt idx="578">
                  <c:v>2011/5/24</c:v>
                </c:pt>
                <c:pt idx="579">
                  <c:v>2011/5/25</c:v>
                </c:pt>
                <c:pt idx="580">
                  <c:v>2011/5/26</c:v>
                </c:pt>
                <c:pt idx="581">
                  <c:v>2011/5/27</c:v>
                </c:pt>
                <c:pt idx="582">
                  <c:v>2011/5/30</c:v>
                </c:pt>
                <c:pt idx="583">
                  <c:v>2011/5/31</c:v>
                </c:pt>
                <c:pt idx="584">
                  <c:v>2011/6/1</c:v>
                </c:pt>
                <c:pt idx="585">
                  <c:v>2011/6/2</c:v>
                </c:pt>
                <c:pt idx="586">
                  <c:v>2011/6/3</c:v>
                </c:pt>
                <c:pt idx="587">
                  <c:v>2011/6/7</c:v>
                </c:pt>
                <c:pt idx="588">
                  <c:v>2011/6/8</c:v>
                </c:pt>
                <c:pt idx="589">
                  <c:v>2011/6/9</c:v>
                </c:pt>
                <c:pt idx="590">
                  <c:v>2011/6/10</c:v>
                </c:pt>
                <c:pt idx="591">
                  <c:v>2011/6/13</c:v>
                </c:pt>
                <c:pt idx="592">
                  <c:v>2011/6/14</c:v>
                </c:pt>
                <c:pt idx="593">
                  <c:v>2011/6/15</c:v>
                </c:pt>
                <c:pt idx="594">
                  <c:v>2011/6/16</c:v>
                </c:pt>
                <c:pt idx="595">
                  <c:v>2011/6/17</c:v>
                </c:pt>
                <c:pt idx="596">
                  <c:v>2011/6/20</c:v>
                </c:pt>
                <c:pt idx="597">
                  <c:v>2011/6/21</c:v>
                </c:pt>
                <c:pt idx="598">
                  <c:v>2011/6/22</c:v>
                </c:pt>
                <c:pt idx="599">
                  <c:v>2011/6/23</c:v>
                </c:pt>
                <c:pt idx="600">
                  <c:v>2011/6/24</c:v>
                </c:pt>
                <c:pt idx="601">
                  <c:v>2011/6/27</c:v>
                </c:pt>
                <c:pt idx="602">
                  <c:v>2011/6/28</c:v>
                </c:pt>
                <c:pt idx="603">
                  <c:v>2011/6/29</c:v>
                </c:pt>
                <c:pt idx="604">
                  <c:v>2011/6/30</c:v>
                </c:pt>
                <c:pt idx="605">
                  <c:v>2011/7/1</c:v>
                </c:pt>
                <c:pt idx="606">
                  <c:v>2011/7/4</c:v>
                </c:pt>
                <c:pt idx="607">
                  <c:v>2011/7/5</c:v>
                </c:pt>
                <c:pt idx="608">
                  <c:v>2011/7/6</c:v>
                </c:pt>
                <c:pt idx="609">
                  <c:v>2011/7/7</c:v>
                </c:pt>
                <c:pt idx="610">
                  <c:v>2011/7/8</c:v>
                </c:pt>
                <c:pt idx="611">
                  <c:v>2011/7/11</c:v>
                </c:pt>
                <c:pt idx="612">
                  <c:v>2011/7/12</c:v>
                </c:pt>
                <c:pt idx="613">
                  <c:v>2011/7/13</c:v>
                </c:pt>
                <c:pt idx="614">
                  <c:v>2011/7/14</c:v>
                </c:pt>
                <c:pt idx="615">
                  <c:v>2011/7/15</c:v>
                </c:pt>
                <c:pt idx="616">
                  <c:v>2011/7/18</c:v>
                </c:pt>
                <c:pt idx="617">
                  <c:v>2011/7/19</c:v>
                </c:pt>
                <c:pt idx="618">
                  <c:v>2011/7/20</c:v>
                </c:pt>
                <c:pt idx="619">
                  <c:v>2011/7/21</c:v>
                </c:pt>
                <c:pt idx="620">
                  <c:v>2011/7/22</c:v>
                </c:pt>
                <c:pt idx="621">
                  <c:v>2011/7/25</c:v>
                </c:pt>
                <c:pt idx="622">
                  <c:v>2011/7/26</c:v>
                </c:pt>
                <c:pt idx="623">
                  <c:v>2011/7/27</c:v>
                </c:pt>
                <c:pt idx="624">
                  <c:v>2011/7/28</c:v>
                </c:pt>
                <c:pt idx="625">
                  <c:v>2011/7/29</c:v>
                </c:pt>
                <c:pt idx="626">
                  <c:v>2011/8/1</c:v>
                </c:pt>
                <c:pt idx="627">
                  <c:v>2011/8/2</c:v>
                </c:pt>
                <c:pt idx="628">
                  <c:v>2011/8/3</c:v>
                </c:pt>
                <c:pt idx="629">
                  <c:v>2011/8/4</c:v>
                </c:pt>
                <c:pt idx="630">
                  <c:v>2011/8/5</c:v>
                </c:pt>
                <c:pt idx="631">
                  <c:v>2011/8/8</c:v>
                </c:pt>
                <c:pt idx="632">
                  <c:v>2011/8/9</c:v>
                </c:pt>
                <c:pt idx="633">
                  <c:v>2011/8/10</c:v>
                </c:pt>
                <c:pt idx="634">
                  <c:v>2011/8/11</c:v>
                </c:pt>
                <c:pt idx="635">
                  <c:v>2011/8/12</c:v>
                </c:pt>
                <c:pt idx="636">
                  <c:v>2011/8/15</c:v>
                </c:pt>
                <c:pt idx="637">
                  <c:v>2011/8/16</c:v>
                </c:pt>
                <c:pt idx="638">
                  <c:v>2011/8/17</c:v>
                </c:pt>
                <c:pt idx="639">
                  <c:v>2011/8/18</c:v>
                </c:pt>
                <c:pt idx="640">
                  <c:v>2011/8/19</c:v>
                </c:pt>
                <c:pt idx="641">
                  <c:v>2011/8/22</c:v>
                </c:pt>
                <c:pt idx="642">
                  <c:v>2011/8/23</c:v>
                </c:pt>
                <c:pt idx="643">
                  <c:v>2011/8/24</c:v>
                </c:pt>
                <c:pt idx="644">
                  <c:v>2011/8/25</c:v>
                </c:pt>
                <c:pt idx="645">
                  <c:v>2011/8/26</c:v>
                </c:pt>
                <c:pt idx="646">
                  <c:v>2011/8/29</c:v>
                </c:pt>
                <c:pt idx="647">
                  <c:v>2011/8/30</c:v>
                </c:pt>
                <c:pt idx="648">
                  <c:v>2011/8/31</c:v>
                </c:pt>
                <c:pt idx="649">
                  <c:v>2011/9/1</c:v>
                </c:pt>
                <c:pt idx="650">
                  <c:v>2011/9/2</c:v>
                </c:pt>
                <c:pt idx="651">
                  <c:v>2011/9/5</c:v>
                </c:pt>
                <c:pt idx="652">
                  <c:v>2011/9/6</c:v>
                </c:pt>
                <c:pt idx="653">
                  <c:v>2011/9/7</c:v>
                </c:pt>
                <c:pt idx="654">
                  <c:v>2011/9/8</c:v>
                </c:pt>
                <c:pt idx="655">
                  <c:v>2011/9/9</c:v>
                </c:pt>
                <c:pt idx="656">
                  <c:v>2011/9/13</c:v>
                </c:pt>
                <c:pt idx="657">
                  <c:v>2011/9/14</c:v>
                </c:pt>
                <c:pt idx="658">
                  <c:v>2011/9/15</c:v>
                </c:pt>
                <c:pt idx="659">
                  <c:v>2011/9/16</c:v>
                </c:pt>
                <c:pt idx="660">
                  <c:v>2011/9/19</c:v>
                </c:pt>
                <c:pt idx="661">
                  <c:v>2011/9/20</c:v>
                </c:pt>
                <c:pt idx="662">
                  <c:v>2011/9/21</c:v>
                </c:pt>
                <c:pt idx="663">
                  <c:v>2011/9/22</c:v>
                </c:pt>
                <c:pt idx="664">
                  <c:v>2011/9/23</c:v>
                </c:pt>
                <c:pt idx="665">
                  <c:v>2011/9/26</c:v>
                </c:pt>
                <c:pt idx="666">
                  <c:v>2011/9/27</c:v>
                </c:pt>
                <c:pt idx="667">
                  <c:v>2011/9/28</c:v>
                </c:pt>
                <c:pt idx="668">
                  <c:v>2011/9/29</c:v>
                </c:pt>
                <c:pt idx="669">
                  <c:v>2011/9/30</c:v>
                </c:pt>
                <c:pt idx="670">
                  <c:v>2011/10/10</c:v>
                </c:pt>
                <c:pt idx="671">
                  <c:v>2011/10/11</c:v>
                </c:pt>
                <c:pt idx="672">
                  <c:v>2011/10/12</c:v>
                </c:pt>
                <c:pt idx="673">
                  <c:v>2011/10/13</c:v>
                </c:pt>
                <c:pt idx="674">
                  <c:v>2011/10/14</c:v>
                </c:pt>
                <c:pt idx="675">
                  <c:v>2011/10/17</c:v>
                </c:pt>
                <c:pt idx="676">
                  <c:v>2011/10/18</c:v>
                </c:pt>
                <c:pt idx="677">
                  <c:v>2011/10/19</c:v>
                </c:pt>
                <c:pt idx="678">
                  <c:v>2011/10/20</c:v>
                </c:pt>
                <c:pt idx="679">
                  <c:v>2011/10/21</c:v>
                </c:pt>
                <c:pt idx="680">
                  <c:v>2011/10/24</c:v>
                </c:pt>
                <c:pt idx="681">
                  <c:v>2011/10/25</c:v>
                </c:pt>
                <c:pt idx="682">
                  <c:v>2011/10/26</c:v>
                </c:pt>
                <c:pt idx="683">
                  <c:v>2011/10/27</c:v>
                </c:pt>
                <c:pt idx="684">
                  <c:v>2011/10/28</c:v>
                </c:pt>
                <c:pt idx="685">
                  <c:v>2011/10/31</c:v>
                </c:pt>
                <c:pt idx="686">
                  <c:v>2011/11/1</c:v>
                </c:pt>
                <c:pt idx="687">
                  <c:v>2011/11/2</c:v>
                </c:pt>
                <c:pt idx="688">
                  <c:v>2011/11/3</c:v>
                </c:pt>
                <c:pt idx="689">
                  <c:v>2011/11/4</c:v>
                </c:pt>
                <c:pt idx="690">
                  <c:v>2011/11/7</c:v>
                </c:pt>
                <c:pt idx="691">
                  <c:v>2011/11/8</c:v>
                </c:pt>
                <c:pt idx="692">
                  <c:v>2011/11/9</c:v>
                </c:pt>
                <c:pt idx="693">
                  <c:v>2011/11/10</c:v>
                </c:pt>
                <c:pt idx="694">
                  <c:v>2011/11/11</c:v>
                </c:pt>
                <c:pt idx="695">
                  <c:v>2011/11/14</c:v>
                </c:pt>
                <c:pt idx="696">
                  <c:v>2011/11/15</c:v>
                </c:pt>
                <c:pt idx="697">
                  <c:v>2011/11/16</c:v>
                </c:pt>
                <c:pt idx="698">
                  <c:v>2011/11/17</c:v>
                </c:pt>
                <c:pt idx="699">
                  <c:v>2011/11/18</c:v>
                </c:pt>
                <c:pt idx="700">
                  <c:v>2011/11/21</c:v>
                </c:pt>
                <c:pt idx="701">
                  <c:v>2011/11/22</c:v>
                </c:pt>
                <c:pt idx="702">
                  <c:v>2011/11/23</c:v>
                </c:pt>
                <c:pt idx="703">
                  <c:v>2011/11/24</c:v>
                </c:pt>
                <c:pt idx="704">
                  <c:v>2011/11/25</c:v>
                </c:pt>
                <c:pt idx="705">
                  <c:v>2011/11/28</c:v>
                </c:pt>
                <c:pt idx="706">
                  <c:v>2011/11/29</c:v>
                </c:pt>
                <c:pt idx="707">
                  <c:v>2011/11/30</c:v>
                </c:pt>
                <c:pt idx="708">
                  <c:v>2011/12/1</c:v>
                </c:pt>
                <c:pt idx="709">
                  <c:v>2011/12/2</c:v>
                </c:pt>
                <c:pt idx="710">
                  <c:v>2011/12/5</c:v>
                </c:pt>
                <c:pt idx="711">
                  <c:v>2011/12/6</c:v>
                </c:pt>
                <c:pt idx="712">
                  <c:v>2011/12/7</c:v>
                </c:pt>
                <c:pt idx="713">
                  <c:v>2011/12/8</c:v>
                </c:pt>
                <c:pt idx="714">
                  <c:v>2011/12/9</c:v>
                </c:pt>
                <c:pt idx="715">
                  <c:v>2011/12/12</c:v>
                </c:pt>
                <c:pt idx="716">
                  <c:v>2011/12/13</c:v>
                </c:pt>
                <c:pt idx="717">
                  <c:v>2011/12/14</c:v>
                </c:pt>
                <c:pt idx="718">
                  <c:v>2011/12/15</c:v>
                </c:pt>
                <c:pt idx="719">
                  <c:v>2011/12/16</c:v>
                </c:pt>
                <c:pt idx="720">
                  <c:v>2011/12/19</c:v>
                </c:pt>
                <c:pt idx="721">
                  <c:v>2011/12/20</c:v>
                </c:pt>
                <c:pt idx="722">
                  <c:v>2011/12/21</c:v>
                </c:pt>
                <c:pt idx="723">
                  <c:v>2011/12/22</c:v>
                </c:pt>
                <c:pt idx="724">
                  <c:v>2011/12/23</c:v>
                </c:pt>
                <c:pt idx="725">
                  <c:v>2011/12/26</c:v>
                </c:pt>
                <c:pt idx="726">
                  <c:v>2011/12/27</c:v>
                </c:pt>
                <c:pt idx="727">
                  <c:v>2011/12/28</c:v>
                </c:pt>
                <c:pt idx="728">
                  <c:v>2011/12/29</c:v>
                </c:pt>
                <c:pt idx="729">
                  <c:v>2011/12/30</c:v>
                </c:pt>
                <c:pt idx="730">
                  <c:v>2012/1/4</c:v>
                </c:pt>
                <c:pt idx="731">
                  <c:v>2012/1/5</c:v>
                </c:pt>
                <c:pt idx="732">
                  <c:v>2012/1/6</c:v>
                </c:pt>
                <c:pt idx="733">
                  <c:v>2012/1/9</c:v>
                </c:pt>
                <c:pt idx="734">
                  <c:v>2012/1/10</c:v>
                </c:pt>
                <c:pt idx="735">
                  <c:v>2012/1/11</c:v>
                </c:pt>
                <c:pt idx="736">
                  <c:v>2012/1/12</c:v>
                </c:pt>
                <c:pt idx="737">
                  <c:v>2012/1/13</c:v>
                </c:pt>
                <c:pt idx="738">
                  <c:v>2012/1/16</c:v>
                </c:pt>
                <c:pt idx="739">
                  <c:v>2012/1/17</c:v>
                </c:pt>
                <c:pt idx="740">
                  <c:v>2012/1/18</c:v>
                </c:pt>
                <c:pt idx="741">
                  <c:v>2012/1/19</c:v>
                </c:pt>
                <c:pt idx="742">
                  <c:v>2012/1/20</c:v>
                </c:pt>
                <c:pt idx="743">
                  <c:v>2012/1/30</c:v>
                </c:pt>
                <c:pt idx="744">
                  <c:v>2012/1/31</c:v>
                </c:pt>
                <c:pt idx="745">
                  <c:v>2012/2/1</c:v>
                </c:pt>
                <c:pt idx="746">
                  <c:v>2012/2/2</c:v>
                </c:pt>
                <c:pt idx="747">
                  <c:v>2012/2/3</c:v>
                </c:pt>
                <c:pt idx="748">
                  <c:v>2012/2/6</c:v>
                </c:pt>
                <c:pt idx="749">
                  <c:v>2012/2/7</c:v>
                </c:pt>
                <c:pt idx="750">
                  <c:v>2012/2/8</c:v>
                </c:pt>
                <c:pt idx="751">
                  <c:v>2012/2/9</c:v>
                </c:pt>
                <c:pt idx="752">
                  <c:v>2012/2/10</c:v>
                </c:pt>
                <c:pt idx="753">
                  <c:v>2012/2/13</c:v>
                </c:pt>
                <c:pt idx="754">
                  <c:v>2012/2/14</c:v>
                </c:pt>
                <c:pt idx="755">
                  <c:v>2012/2/15</c:v>
                </c:pt>
                <c:pt idx="756">
                  <c:v>2012/2/16</c:v>
                </c:pt>
                <c:pt idx="757">
                  <c:v>2012/2/17</c:v>
                </c:pt>
                <c:pt idx="758">
                  <c:v>2012/2/20</c:v>
                </c:pt>
                <c:pt idx="759">
                  <c:v>2012/2/21</c:v>
                </c:pt>
                <c:pt idx="760">
                  <c:v>2012/2/22</c:v>
                </c:pt>
                <c:pt idx="761">
                  <c:v>2012/2/23</c:v>
                </c:pt>
                <c:pt idx="762">
                  <c:v>2012/2/24</c:v>
                </c:pt>
                <c:pt idx="763">
                  <c:v>2012/2/27</c:v>
                </c:pt>
                <c:pt idx="764">
                  <c:v>2012/2/28</c:v>
                </c:pt>
                <c:pt idx="765">
                  <c:v>2012/2/29</c:v>
                </c:pt>
                <c:pt idx="766">
                  <c:v>2012/3/1</c:v>
                </c:pt>
                <c:pt idx="767">
                  <c:v>2012/3/2</c:v>
                </c:pt>
                <c:pt idx="768">
                  <c:v>2012/3/5</c:v>
                </c:pt>
                <c:pt idx="769">
                  <c:v>2012/3/6</c:v>
                </c:pt>
                <c:pt idx="770">
                  <c:v>2012/3/7</c:v>
                </c:pt>
                <c:pt idx="771">
                  <c:v>2012/3/8</c:v>
                </c:pt>
                <c:pt idx="772">
                  <c:v>2012/3/9</c:v>
                </c:pt>
                <c:pt idx="773">
                  <c:v>2012/3/12</c:v>
                </c:pt>
                <c:pt idx="774">
                  <c:v>2012/3/13</c:v>
                </c:pt>
                <c:pt idx="775">
                  <c:v>2012/3/14</c:v>
                </c:pt>
                <c:pt idx="776">
                  <c:v>2012/3/15</c:v>
                </c:pt>
                <c:pt idx="777">
                  <c:v>2012/3/16</c:v>
                </c:pt>
                <c:pt idx="778">
                  <c:v>2012/3/19</c:v>
                </c:pt>
                <c:pt idx="779">
                  <c:v>2012/3/20</c:v>
                </c:pt>
                <c:pt idx="780">
                  <c:v>2012/3/21</c:v>
                </c:pt>
                <c:pt idx="781">
                  <c:v>2012/3/22</c:v>
                </c:pt>
                <c:pt idx="782">
                  <c:v>2012/3/23</c:v>
                </c:pt>
                <c:pt idx="783">
                  <c:v>2012/3/26</c:v>
                </c:pt>
                <c:pt idx="784">
                  <c:v>2012/3/27</c:v>
                </c:pt>
                <c:pt idx="785">
                  <c:v>2012/3/28</c:v>
                </c:pt>
                <c:pt idx="786">
                  <c:v>2012/3/29</c:v>
                </c:pt>
                <c:pt idx="787">
                  <c:v>2012/3/30</c:v>
                </c:pt>
                <c:pt idx="788">
                  <c:v>2012/4/5</c:v>
                </c:pt>
                <c:pt idx="789">
                  <c:v>2012/4/6</c:v>
                </c:pt>
                <c:pt idx="790">
                  <c:v>2012/4/9</c:v>
                </c:pt>
                <c:pt idx="791">
                  <c:v>2012/4/10</c:v>
                </c:pt>
                <c:pt idx="792">
                  <c:v>2012/4/11</c:v>
                </c:pt>
                <c:pt idx="793">
                  <c:v>2012/4/12</c:v>
                </c:pt>
                <c:pt idx="794">
                  <c:v>2012/4/13</c:v>
                </c:pt>
                <c:pt idx="795">
                  <c:v>2012/4/16</c:v>
                </c:pt>
                <c:pt idx="796">
                  <c:v>2012/4/17</c:v>
                </c:pt>
                <c:pt idx="797">
                  <c:v>2012/4/18</c:v>
                </c:pt>
                <c:pt idx="798">
                  <c:v>2012/4/19</c:v>
                </c:pt>
                <c:pt idx="799">
                  <c:v>2012/4/20</c:v>
                </c:pt>
                <c:pt idx="800">
                  <c:v>2012/4/23</c:v>
                </c:pt>
                <c:pt idx="801">
                  <c:v>2012/4/24</c:v>
                </c:pt>
                <c:pt idx="802">
                  <c:v>2012/4/25</c:v>
                </c:pt>
                <c:pt idx="803">
                  <c:v>2012/4/26</c:v>
                </c:pt>
                <c:pt idx="804">
                  <c:v>2012/4/27</c:v>
                </c:pt>
                <c:pt idx="805">
                  <c:v>2012/5/2</c:v>
                </c:pt>
                <c:pt idx="806">
                  <c:v>2012/5/3</c:v>
                </c:pt>
                <c:pt idx="807">
                  <c:v>2012/5/4</c:v>
                </c:pt>
                <c:pt idx="808">
                  <c:v>2012/5/7</c:v>
                </c:pt>
                <c:pt idx="809">
                  <c:v>2012/5/8</c:v>
                </c:pt>
                <c:pt idx="810">
                  <c:v>2012/5/9</c:v>
                </c:pt>
                <c:pt idx="811">
                  <c:v>2012/5/10</c:v>
                </c:pt>
                <c:pt idx="812">
                  <c:v>2012/5/11</c:v>
                </c:pt>
                <c:pt idx="813">
                  <c:v>2012/5/14</c:v>
                </c:pt>
                <c:pt idx="814">
                  <c:v>2012/5/15</c:v>
                </c:pt>
                <c:pt idx="815">
                  <c:v>2012/5/16</c:v>
                </c:pt>
                <c:pt idx="816">
                  <c:v>2012/5/17</c:v>
                </c:pt>
                <c:pt idx="817">
                  <c:v>2012/5/18</c:v>
                </c:pt>
                <c:pt idx="818">
                  <c:v>2012/5/21</c:v>
                </c:pt>
                <c:pt idx="819">
                  <c:v>2012/5/22</c:v>
                </c:pt>
                <c:pt idx="820">
                  <c:v>2012/5/23</c:v>
                </c:pt>
                <c:pt idx="821">
                  <c:v>2012/5/24</c:v>
                </c:pt>
                <c:pt idx="822">
                  <c:v>2012/5/25</c:v>
                </c:pt>
                <c:pt idx="823">
                  <c:v>2012/5/28</c:v>
                </c:pt>
                <c:pt idx="824">
                  <c:v>2012/5/29</c:v>
                </c:pt>
                <c:pt idx="825">
                  <c:v>2012/5/30</c:v>
                </c:pt>
                <c:pt idx="826">
                  <c:v>2012/5/31</c:v>
                </c:pt>
                <c:pt idx="827">
                  <c:v>2012/6/1</c:v>
                </c:pt>
                <c:pt idx="828">
                  <c:v>2012/6/4</c:v>
                </c:pt>
                <c:pt idx="829">
                  <c:v>2012/6/5</c:v>
                </c:pt>
                <c:pt idx="830">
                  <c:v>2012/6/6</c:v>
                </c:pt>
                <c:pt idx="831">
                  <c:v>2012/6/7</c:v>
                </c:pt>
                <c:pt idx="832">
                  <c:v>2012/6/8</c:v>
                </c:pt>
                <c:pt idx="833">
                  <c:v>2012/6/11</c:v>
                </c:pt>
                <c:pt idx="834">
                  <c:v>2012/6/12</c:v>
                </c:pt>
                <c:pt idx="835">
                  <c:v>2012/6/13</c:v>
                </c:pt>
                <c:pt idx="836">
                  <c:v>2012/6/14</c:v>
                </c:pt>
                <c:pt idx="837">
                  <c:v>2012/6/15</c:v>
                </c:pt>
                <c:pt idx="838">
                  <c:v>2012/6/18</c:v>
                </c:pt>
                <c:pt idx="839">
                  <c:v>2012/6/19</c:v>
                </c:pt>
                <c:pt idx="840">
                  <c:v>2012/6/20</c:v>
                </c:pt>
                <c:pt idx="841">
                  <c:v>2012/6/21</c:v>
                </c:pt>
                <c:pt idx="842">
                  <c:v>2012/6/25</c:v>
                </c:pt>
                <c:pt idx="843">
                  <c:v>2012/6/26</c:v>
                </c:pt>
                <c:pt idx="844">
                  <c:v>2012/6/27</c:v>
                </c:pt>
                <c:pt idx="845">
                  <c:v>2012/6/28</c:v>
                </c:pt>
                <c:pt idx="846">
                  <c:v>2012/6/29</c:v>
                </c:pt>
                <c:pt idx="847">
                  <c:v>2012/7/2</c:v>
                </c:pt>
                <c:pt idx="848">
                  <c:v>2012/7/3</c:v>
                </c:pt>
                <c:pt idx="849">
                  <c:v>2012/7/4</c:v>
                </c:pt>
                <c:pt idx="850">
                  <c:v>2012/7/5</c:v>
                </c:pt>
                <c:pt idx="851">
                  <c:v>2012/7/6</c:v>
                </c:pt>
                <c:pt idx="852">
                  <c:v>2012/7/9</c:v>
                </c:pt>
                <c:pt idx="853">
                  <c:v>2012/7/10</c:v>
                </c:pt>
                <c:pt idx="854">
                  <c:v>2012/7/11</c:v>
                </c:pt>
                <c:pt idx="855">
                  <c:v>2012/7/12</c:v>
                </c:pt>
                <c:pt idx="856">
                  <c:v>2012/7/13</c:v>
                </c:pt>
                <c:pt idx="857">
                  <c:v>2012/7/16</c:v>
                </c:pt>
                <c:pt idx="858">
                  <c:v>2012/7/17</c:v>
                </c:pt>
                <c:pt idx="859">
                  <c:v>2012/7/18</c:v>
                </c:pt>
                <c:pt idx="860">
                  <c:v>2012/7/19</c:v>
                </c:pt>
                <c:pt idx="861">
                  <c:v>2012/7/20</c:v>
                </c:pt>
                <c:pt idx="862">
                  <c:v>2012/7/23</c:v>
                </c:pt>
                <c:pt idx="863">
                  <c:v>2012/7/24</c:v>
                </c:pt>
                <c:pt idx="864">
                  <c:v>2012/7/25</c:v>
                </c:pt>
                <c:pt idx="865">
                  <c:v>2012/7/26</c:v>
                </c:pt>
                <c:pt idx="866">
                  <c:v>2012/7/27</c:v>
                </c:pt>
                <c:pt idx="867">
                  <c:v>2012/7/30</c:v>
                </c:pt>
                <c:pt idx="868">
                  <c:v>2012/7/31</c:v>
                </c:pt>
                <c:pt idx="869">
                  <c:v>2012/8/1</c:v>
                </c:pt>
                <c:pt idx="870">
                  <c:v>2012/8/2</c:v>
                </c:pt>
                <c:pt idx="871">
                  <c:v>2012/8/3</c:v>
                </c:pt>
                <c:pt idx="872">
                  <c:v>2012/8/6</c:v>
                </c:pt>
                <c:pt idx="873">
                  <c:v>2012/8/7</c:v>
                </c:pt>
                <c:pt idx="874">
                  <c:v>2012/8/8</c:v>
                </c:pt>
                <c:pt idx="875">
                  <c:v>2012/8/9</c:v>
                </c:pt>
                <c:pt idx="876">
                  <c:v>2012/8/10</c:v>
                </c:pt>
                <c:pt idx="877">
                  <c:v>2012/8/13</c:v>
                </c:pt>
                <c:pt idx="878">
                  <c:v>2012/8/14</c:v>
                </c:pt>
                <c:pt idx="879">
                  <c:v>2012/8/15</c:v>
                </c:pt>
                <c:pt idx="880">
                  <c:v>2012/8/16</c:v>
                </c:pt>
                <c:pt idx="881">
                  <c:v>2012/8/17</c:v>
                </c:pt>
                <c:pt idx="882">
                  <c:v>2012/8/20</c:v>
                </c:pt>
                <c:pt idx="883">
                  <c:v>2012/8/21</c:v>
                </c:pt>
                <c:pt idx="884">
                  <c:v>2012/8/22</c:v>
                </c:pt>
                <c:pt idx="885">
                  <c:v>2012/8/23</c:v>
                </c:pt>
                <c:pt idx="886">
                  <c:v>2012/8/24</c:v>
                </c:pt>
                <c:pt idx="887">
                  <c:v>2012/8/27</c:v>
                </c:pt>
                <c:pt idx="888">
                  <c:v>2012/8/28</c:v>
                </c:pt>
                <c:pt idx="889">
                  <c:v>2012/8/29</c:v>
                </c:pt>
                <c:pt idx="890">
                  <c:v>2012/8/30</c:v>
                </c:pt>
                <c:pt idx="891">
                  <c:v>2012/8/31</c:v>
                </c:pt>
                <c:pt idx="892">
                  <c:v>2012/9/3</c:v>
                </c:pt>
                <c:pt idx="893">
                  <c:v>2012/9/4</c:v>
                </c:pt>
                <c:pt idx="894">
                  <c:v>2012/9/5</c:v>
                </c:pt>
                <c:pt idx="895">
                  <c:v>2012/9/6</c:v>
                </c:pt>
                <c:pt idx="896">
                  <c:v>2012/9/7</c:v>
                </c:pt>
                <c:pt idx="897">
                  <c:v>2012/9/10</c:v>
                </c:pt>
                <c:pt idx="898">
                  <c:v>2012/9/11</c:v>
                </c:pt>
                <c:pt idx="899">
                  <c:v>2012/9/12</c:v>
                </c:pt>
                <c:pt idx="900">
                  <c:v>2012/9/13</c:v>
                </c:pt>
                <c:pt idx="901">
                  <c:v>2012/9/14</c:v>
                </c:pt>
                <c:pt idx="902">
                  <c:v>2012/9/17</c:v>
                </c:pt>
                <c:pt idx="903">
                  <c:v>2012/9/18</c:v>
                </c:pt>
                <c:pt idx="904">
                  <c:v>2012/9/19</c:v>
                </c:pt>
                <c:pt idx="905">
                  <c:v>2012/9/20</c:v>
                </c:pt>
                <c:pt idx="906">
                  <c:v>2012/9/21</c:v>
                </c:pt>
                <c:pt idx="907">
                  <c:v>2012/9/24</c:v>
                </c:pt>
                <c:pt idx="908">
                  <c:v>2012/9/25</c:v>
                </c:pt>
                <c:pt idx="909">
                  <c:v>2012/9/26</c:v>
                </c:pt>
                <c:pt idx="910">
                  <c:v>2012/9/27</c:v>
                </c:pt>
                <c:pt idx="911">
                  <c:v>2012/9/28</c:v>
                </c:pt>
                <c:pt idx="912">
                  <c:v>2012/10/8</c:v>
                </c:pt>
                <c:pt idx="913">
                  <c:v>2012/10/9</c:v>
                </c:pt>
                <c:pt idx="914">
                  <c:v>2012/10/10</c:v>
                </c:pt>
                <c:pt idx="915">
                  <c:v>2012/10/11</c:v>
                </c:pt>
                <c:pt idx="916">
                  <c:v>2012/10/12</c:v>
                </c:pt>
                <c:pt idx="917">
                  <c:v>2012/10/15</c:v>
                </c:pt>
                <c:pt idx="918">
                  <c:v>2012/10/16</c:v>
                </c:pt>
                <c:pt idx="919">
                  <c:v>2012/10/17</c:v>
                </c:pt>
                <c:pt idx="920">
                  <c:v>2012/10/18</c:v>
                </c:pt>
                <c:pt idx="921">
                  <c:v>2012/10/19</c:v>
                </c:pt>
                <c:pt idx="922">
                  <c:v>2012/10/22</c:v>
                </c:pt>
                <c:pt idx="923">
                  <c:v>2012/10/23</c:v>
                </c:pt>
                <c:pt idx="924">
                  <c:v>2012/10/24</c:v>
                </c:pt>
                <c:pt idx="925">
                  <c:v>2012/10/25</c:v>
                </c:pt>
                <c:pt idx="926">
                  <c:v>2012/10/26</c:v>
                </c:pt>
                <c:pt idx="927">
                  <c:v>2012/10/29</c:v>
                </c:pt>
                <c:pt idx="928">
                  <c:v>2012/10/30</c:v>
                </c:pt>
                <c:pt idx="929">
                  <c:v>2012/10/31</c:v>
                </c:pt>
                <c:pt idx="930">
                  <c:v>2012/11/1</c:v>
                </c:pt>
                <c:pt idx="931">
                  <c:v>2012/11/2</c:v>
                </c:pt>
                <c:pt idx="932">
                  <c:v>2012/11/5</c:v>
                </c:pt>
                <c:pt idx="933">
                  <c:v>2012/11/6</c:v>
                </c:pt>
                <c:pt idx="934">
                  <c:v>2012/11/7</c:v>
                </c:pt>
                <c:pt idx="935">
                  <c:v>2012/11/8</c:v>
                </c:pt>
                <c:pt idx="936">
                  <c:v>2012/11/9</c:v>
                </c:pt>
                <c:pt idx="937">
                  <c:v>2012/11/12</c:v>
                </c:pt>
                <c:pt idx="938">
                  <c:v>2012/11/13</c:v>
                </c:pt>
                <c:pt idx="939">
                  <c:v>2012/11/14</c:v>
                </c:pt>
                <c:pt idx="940">
                  <c:v>2012/11/15</c:v>
                </c:pt>
                <c:pt idx="941">
                  <c:v>2012/11/16</c:v>
                </c:pt>
                <c:pt idx="942">
                  <c:v>2012/11/19</c:v>
                </c:pt>
                <c:pt idx="943">
                  <c:v>2012/11/20</c:v>
                </c:pt>
                <c:pt idx="944">
                  <c:v>2012/11/21</c:v>
                </c:pt>
                <c:pt idx="945">
                  <c:v>2012/11/22</c:v>
                </c:pt>
                <c:pt idx="946">
                  <c:v>2012/11/23</c:v>
                </c:pt>
                <c:pt idx="947">
                  <c:v>2012/11/26</c:v>
                </c:pt>
                <c:pt idx="948">
                  <c:v>2012/11/27</c:v>
                </c:pt>
                <c:pt idx="949">
                  <c:v>2012/11/28</c:v>
                </c:pt>
                <c:pt idx="950">
                  <c:v>2012/11/29</c:v>
                </c:pt>
                <c:pt idx="951">
                  <c:v>2012/11/30</c:v>
                </c:pt>
                <c:pt idx="952">
                  <c:v>2012/12/3</c:v>
                </c:pt>
                <c:pt idx="953">
                  <c:v>2012/12/4</c:v>
                </c:pt>
                <c:pt idx="954">
                  <c:v>2012/12/5</c:v>
                </c:pt>
                <c:pt idx="955">
                  <c:v>2012/12/6</c:v>
                </c:pt>
                <c:pt idx="956">
                  <c:v>2012/12/7</c:v>
                </c:pt>
                <c:pt idx="957">
                  <c:v>2012/12/10</c:v>
                </c:pt>
                <c:pt idx="958">
                  <c:v>2012/12/11</c:v>
                </c:pt>
                <c:pt idx="959">
                  <c:v>2012/12/12</c:v>
                </c:pt>
                <c:pt idx="960">
                  <c:v>2012/12/13</c:v>
                </c:pt>
                <c:pt idx="961">
                  <c:v>2012/12/14</c:v>
                </c:pt>
                <c:pt idx="962">
                  <c:v>2012/12/17</c:v>
                </c:pt>
                <c:pt idx="963">
                  <c:v>2012/12/18</c:v>
                </c:pt>
                <c:pt idx="964">
                  <c:v>2012/12/19</c:v>
                </c:pt>
                <c:pt idx="965">
                  <c:v>2012/12/20</c:v>
                </c:pt>
                <c:pt idx="966">
                  <c:v>2012/12/21</c:v>
                </c:pt>
                <c:pt idx="967">
                  <c:v>2012/12/24</c:v>
                </c:pt>
                <c:pt idx="968">
                  <c:v>2012/12/25</c:v>
                </c:pt>
                <c:pt idx="969">
                  <c:v>2012/12/26</c:v>
                </c:pt>
                <c:pt idx="970">
                  <c:v>2012/12/27</c:v>
                </c:pt>
                <c:pt idx="971">
                  <c:v>2012/12/28</c:v>
                </c:pt>
                <c:pt idx="972">
                  <c:v>2012/12/31</c:v>
                </c:pt>
                <c:pt idx="973">
                  <c:v>2013/1/4</c:v>
                </c:pt>
                <c:pt idx="974">
                  <c:v>2013/1/7</c:v>
                </c:pt>
                <c:pt idx="975">
                  <c:v>2013/1/8</c:v>
                </c:pt>
                <c:pt idx="976">
                  <c:v>2013/1/9</c:v>
                </c:pt>
                <c:pt idx="977">
                  <c:v>2013/1/10</c:v>
                </c:pt>
                <c:pt idx="978">
                  <c:v>2013/1/11</c:v>
                </c:pt>
                <c:pt idx="979">
                  <c:v>2013/1/14</c:v>
                </c:pt>
                <c:pt idx="980">
                  <c:v>2013/1/15</c:v>
                </c:pt>
                <c:pt idx="981">
                  <c:v>2013/1/16</c:v>
                </c:pt>
                <c:pt idx="982">
                  <c:v>2013/1/17</c:v>
                </c:pt>
                <c:pt idx="983">
                  <c:v>2013/1/18</c:v>
                </c:pt>
                <c:pt idx="984">
                  <c:v>2013/1/21</c:v>
                </c:pt>
                <c:pt idx="985">
                  <c:v>2013/1/22</c:v>
                </c:pt>
                <c:pt idx="986">
                  <c:v>2013/1/23</c:v>
                </c:pt>
                <c:pt idx="987">
                  <c:v>2013/1/24</c:v>
                </c:pt>
                <c:pt idx="988">
                  <c:v>2013/1/25</c:v>
                </c:pt>
                <c:pt idx="989">
                  <c:v>2013/1/28</c:v>
                </c:pt>
                <c:pt idx="990">
                  <c:v>2013/1/29</c:v>
                </c:pt>
                <c:pt idx="991">
                  <c:v>2013/1/30</c:v>
                </c:pt>
                <c:pt idx="992">
                  <c:v>2013/1/31</c:v>
                </c:pt>
                <c:pt idx="993">
                  <c:v>2013/2/1</c:v>
                </c:pt>
                <c:pt idx="994">
                  <c:v>2013/2/4</c:v>
                </c:pt>
                <c:pt idx="995">
                  <c:v>2013/2/5</c:v>
                </c:pt>
                <c:pt idx="996">
                  <c:v>2013/2/6</c:v>
                </c:pt>
                <c:pt idx="997">
                  <c:v>2013/2/7</c:v>
                </c:pt>
                <c:pt idx="998">
                  <c:v>2013/2/8</c:v>
                </c:pt>
                <c:pt idx="999">
                  <c:v>2013/2/18</c:v>
                </c:pt>
                <c:pt idx="1000">
                  <c:v>2013/2/19</c:v>
                </c:pt>
                <c:pt idx="1001">
                  <c:v>2013/2/20</c:v>
                </c:pt>
                <c:pt idx="1002">
                  <c:v>2013/2/21</c:v>
                </c:pt>
                <c:pt idx="1003">
                  <c:v>2013/2/22</c:v>
                </c:pt>
                <c:pt idx="1004">
                  <c:v>2013/2/25</c:v>
                </c:pt>
                <c:pt idx="1005">
                  <c:v>2013/2/26</c:v>
                </c:pt>
                <c:pt idx="1006">
                  <c:v>2013/2/27</c:v>
                </c:pt>
                <c:pt idx="1007">
                  <c:v>2013/2/28</c:v>
                </c:pt>
                <c:pt idx="1008">
                  <c:v>2013/3/1</c:v>
                </c:pt>
                <c:pt idx="1009">
                  <c:v>2013/3/4</c:v>
                </c:pt>
                <c:pt idx="1010">
                  <c:v>2013/3/5</c:v>
                </c:pt>
                <c:pt idx="1011">
                  <c:v>2013/3/6</c:v>
                </c:pt>
                <c:pt idx="1012">
                  <c:v>2013/3/7</c:v>
                </c:pt>
                <c:pt idx="1013">
                  <c:v>2013/3/8</c:v>
                </c:pt>
                <c:pt idx="1014">
                  <c:v>2013/3/11</c:v>
                </c:pt>
                <c:pt idx="1015">
                  <c:v>2013/3/12</c:v>
                </c:pt>
                <c:pt idx="1016">
                  <c:v>2013/3/13</c:v>
                </c:pt>
                <c:pt idx="1017">
                  <c:v>2013/3/14</c:v>
                </c:pt>
                <c:pt idx="1018">
                  <c:v>2013/3/15</c:v>
                </c:pt>
                <c:pt idx="1019">
                  <c:v>2013/3/18</c:v>
                </c:pt>
                <c:pt idx="1020">
                  <c:v>2013/3/19</c:v>
                </c:pt>
                <c:pt idx="1021">
                  <c:v>2013/3/20</c:v>
                </c:pt>
                <c:pt idx="1022">
                  <c:v>2013/3/21</c:v>
                </c:pt>
                <c:pt idx="1023">
                  <c:v>2013/3/22</c:v>
                </c:pt>
                <c:pt idx="1024">
                  <c:v>2013/3/25</c:v>
                </c:pt>
                <c:pt idx="1025">
                  <c:v>2013/3/26</c:v>
                </c:pt>
                <c:pt idx="1026">
                  <c:v>2013/3/27</c:v>
                </c:pt>
                <c:pt idx="1027">
                  <c:v>2013/3/28</c:v>
                </c:pt>
                <c:pt idx="1028">
                  <c:v>2013/3/29</c:v>
                </c:pt>
                <c:pt idx="1029">
                  <c:v>2013/4/1</c:v>
                </c:pt>
                <c:pt idx="1030">
                  <c:v>2013/4/2</c:v>
                </c:pt>
                <c:pt idx="1031">
                  <c:v>2013/4/3</c:v>
                </c:pt>
                <c:pt idx="1032">
                  <c:v>2013/4/8</c:v>
                </c:pt>
                <c:pt idx="1033">
                  <c:v>2013/4/9</c:v>
                </c:pt>
                <c:pt idx="1034">
                  <c:v>2013/4/10</c:v>
                </c:pt>
                <c:pt idx="1035">
                  <c:v>2013/4/11</c:v>
                </c:pt>
                <c:pt idx="1036">
                  <c:v>2013/4/12</c:v>
                </c:pt>
                <c:pt idx="1037">
                  <c:v>2013/4/15</c:v>
                </c:pt>
                <c:pt idx="1038">
                  <c:v>2013/4/16</c:v>
                </c:pt>
                <c:pt idx="1039">
                  <c:v>2013/4/17</c:v>
                </c:pt>
                <c:pt idx="1040">
                  <c:v>2013/4/18</c:v>
                </c:pt>
                <c:pt idx="1041">
                  <c:v>2013/4/19</c:v>
                </c:pt>
                <c:pt idx="1042">
                  <c:v>2013/4/22</c:v>
                </c:pt>
                <c:pt idx="1043">
                  <c:v>2013/4/23</c:v>
                </c:pt>
                <c:pt idx="1044">
                  <c:v>2013/4/24</c:v>
                </c:pt>
                <c:pt idx="1045">
                  <c:v>2013/4/25</c:v>
                </c:pt>
                <c:pt idx="1046">
                  <c:v>2013/4/26</c:v>
                </c:pt>
                <c:pt idx="1047">
                  <c:v>2013/5/2</c:v>
                </c:pt>
                <c:pt idx="1048">
                  <c:v>2013/5/3</c:v>
                </c:pt>
                <c:pt idx="1049">
                  <c:v>2013/5/6</c:v>
                </c:pt>
                <c:pt idx="1050">
                  <c:v>2013/5/7</c:v>
                </c:pt>
                <c:pt idx="1051">
                  <c:v>2013/5/8</c:v>
                </c:pt>
                <c:pt idx="1052">
                  <c:v>2013/5/9</c:v>
                </c:pt>
                <c:pt idx="1053">
                  <c:v>2013/5/10</c:v>
                </c:pt>
                <c:pt idx="1054">
                  <c:v>2013/5/13</c:v>
                </c:pt>
                <c:pt idx="1055">
                  <c:v>2013/5/14</c:v>
                </c:pt>
                <c:pt idx="1056">
                  <c:v>2013/5/15</c:v>
                </c:pt>
                <c:pt idx="1057">
                  <c:v>2013/5/16</c:v>
                </c:pt>
                <c:pt idx="1058">
                  <c:v>2013/5/17</c:v>
                </c:pt>
                <c:pt idx="1059">
                  <c:v>2013/5/20</c:v>
                </c:pt>
                <c:pt idx="1060">
                  <c:v>2013/5/21</c:v>
                </c:pt>
                <c:pt idx="1061">
                  <c:v>2013/5/22</c:v>
                </c:pt>
                <c:pt idx="1062">
                  <c:v>2013/5/23</c:v>
                </c:pt>
                <c:pt idx="1063">
                  <c:v>2013/5/24</c:v>
                </c:pt>
                <c:pt idx="1064">
                  <c:v>2013/5/27</c:v>
                </c:pt>
                <c:pt idx="1065">
                  <c:v>2013/5/28</c:v>
                </c:pt>
                <c:pt idx="1066">
                  <c:v>2013/5/29</c:v>
                </c:pt>
                <c:pt idx="1067">
                  <c:v>2013/5/30</c:v>
                </c:pt>
                <c:pt idx="1068">
                  <c:v>2013/5/31</c:v>
                </c:pt>
                <c:pt idx="1069">
                  <c:v>2013/6/3</c:v>
                </c:pt>
                <c:pt idx="1070">
                  <c:v>2013/6/4</c:v>
                </c:pt>
                <c:pt idx="1071">
                  <c:v>2013/6/5</c:v>
                </c:pt>
                <c:pt idx="1072">
                  <c:v>2013/6/6</c:v>
                </c:pt>
                <c:pt idx="1073">
                  <c:v>2013/6/7</c:v>
                </c:pt>
                <c:pt idx="1074">
                  <c:v>2013/6/13</c:v>
                </c:pt>
                <c:pt idx="1075">
                  <c:v>2013/6/14</c:v>
                </c:pt>
                <c:pt idx="1076">
                  <c:v>2013/6/17</c:v>
                </c:pt>
                <c:pt idx="1077">
                  <c:v>2013/6/18</c:v>
                </c:pt>
                <c:pt idx="1078">
                  <c:v>2013/6/19</c:v>
                </c:pt>
                <c:pt idx="1079">
                  <c:v>2013/6/20</c:v>
                </c:pt>
                <c:pt idx="1080">
                  <c:v>2013/6/21</c:v>
                </c:pt>
                <c:pt idx="1081">
                  <c:v>2013/6/24</c:v>
                </c:pt>
                <c:pt idx="1082">
                  <c:v>2013/6/25</c:v>
                </c:pt>
                <c:pt idx="1083">
                  <c:v>2013/6/26</c:v>
                </c:pt>
                <c:pt idx="1084">
                  <c:v>2013/6/27</c:v>
                </c:pt>
                <c:pt idx="1085">
                  <c:v>2013/6/28</c:v>
                </c:pt>
                <c:pt idx="1086">
                  <c:v>2013/7/1</c:v>
                </c:pt>
                <c:pt idx="1087">
                  <c:v>2013/7/2</c:v>
                </c:pt>
                <c:pt idx="1088">
                  <c:v>2013/7/3</c:v>
                </c:pt>
                <c:pt idx="1089">
                  <c:v>2013/7/4</c:v>
                </c:pt>
                <c:pt idx="1090">
                  <c:v>2013/7/5</c:v>
                </c:pt>
                <c:pt idx="1091">
                  <c:v>2013/7/8</c:v>
                </c:pt>
                <c:pt idx="1092">
                  <c:v>2013/7/9</c:v>
                </c:pt>
                <c:pt idx="1093">
                  <c:v>2013/7/10</c:v>
                </c:pt>
                <c:pt idx="1094">
                  <c:v>2013/7/11</c:v>
                </c:pt>
                <c:pt idx="1095">
                  <c:v>2013/7/12</c:v>
                </c:pt>
                <c:pt idx="1096">
                  <c:v>2013/7/15</c:v>
                </c:pt>
                <c:pt idx="1097">
                  <c:v>2013/7/16</c:v>
                </c:pt>
                <c:pt idx="1098">
                  <c:v>2013/7/17</c:v>
                </c:pt>
                <c:pt idx="1099">
                  <c:v>2013/7/18</c:v>
                </c:pt>
                <c:pt idx="1100">
                  <c:v>2013/7/19</c:v>
                </c:pt>
                <c:pt idx="1101">
                  <c:v>2013/7/22</c:v>
                </c:pt>
                <c:pt idx="1102">
                  <c:v>2013/7/23</c:v>
                </c:pt>
                <c:pt idx="1103">
                  <c:v>2013/7/24</c:v>
                </c:pt>
                <c:pt idx="1104">
                  <c:v>2013/7/25</c:v>
                </c:pt>
                <c:pt idx="1105">
                  <c:v>2013/7/26</c:v>
                </c:pt>
                <c:pt idx="1106">
                  <c:v>2013/7/29</c:v>
                </c:pt>
                <c:pt idx="1107">
                  <c:v>2013/7/30</c:v>
                </c:pt>
                <c:pt idx="1108">
                  <c:v>2013/7/31</c:v>
                </c:pt>
                <c:pt idx="1109">
                  <c:v>2013/8/1</c:v>
                </c:pt>
                <c:pt idx="1110">
                  <c:v>2013/8/2</c:v>
                </c:pt>
                <c:pt idx="1111">
                  <c:v>2013/8/5</c:v>
                </c:pt>
                <c:pt idx="1112">
                  <c:v>2013/8/6</c:v>
                </c:pt>
                <c:pt idx="1113">
                  <c:v>2013/8/7</c:v>
                </c:pt>
                <c:pt idx="1114">
                  <c:v>2013/8/8</c:v>
                </c:pt>
                <c:pt idx="1115">
                  <c:v>2013/8/9</c:v>
                </c:pt>
                <c:pt idx="1116">
                  <c:v>2013/8/12</c:v>
                </c:pt>
                <c:pt idx="1117">
                  <c:v>2013/8/13</c:v>
                </c:pt>
                <c:pt idx="1118">
                  <c:v>2013/8/14</c:v>
                </c:pt>
                <c:pt idx="1119">
                  <c:v>2013/8/15</c:v>
                </c:pt>
                <c:pt idx="1120">
                  <c:v>2013/8/16</c:v>
                </c:pt>
                <c:pt idx="1121">
                  <c:v>2013/8/19</c:v>
                </c:pt>
                <c:pt idx="1122">
                  <c:v>2013/8/20</c:v>
                </c:pt>
                <c:pt idx="1123">
                  <c:v>2013/8/21</c:v>
                </c:pt>
                <c:pt idx="1124">
                  <c:v>2013/8/22</c:v>
                </c:pt>
                <c:pt idx="1125">
                  <c:v>2013/8/23</c:v>
                </c:pt>
                <c:pt idx="1126">
                  <c:v>2013/8/26</c:v>
                </c:pt>
                <c:pt idx="1127">
                  <c:v>2013/8/27</c:v>
                </c:pt>
                <c:pt idx="1128">
                  <c:v>2013/8/28</c:v>
                </c:pt>
                <c:pt idx="1129">
                  <c:v>2013/8/29</c:v>
                </c:pt>
                <c:pt idx="1130">
                  <c:v>2013/8/30</c:v>
                </c:pt>
                <c:pt idx="1131">
                  <c:v>2013/9/2</c:v>
                </c:pt>
                <c:pt idx="1132">
                  <c:v>2013/9/3</c:v>
                </c:pt>
                <c:pt idx="1133">
                  <c:v>2013/9/4</c:v>
                </c:pt>
                <c:pt idx="1134">
                  <c:v>2013/9/5</c:v>
                </c:pt>
                <c:pt idx="1135">
                  <c:v>2013/9/6</c:v>
                </c:pt>
                <c:pt idx="1136">
                  <c:v>2013/9/9</c:v>
                </c:pt>
                <c:pt idx="1137">
                  <c:v>2013/9/10</c:v>
                </c:pt>
                <c:pt idx="1138">
                  <c:v>2013/9/11</c:v>
                </c:pt>
                <c:pt idx="1139">
                  <c:v>2013/9/12</c:v>
                </c:pt>
                <c:pt idx="1140">
                  <c:v>2013/9/13</c:v>
                </c:pt>
                <c:pt idx="1141">
                  <c:v>2013/9/16</c:v>
                </c:pt>
                <c:pt idx="1142">
                  <c:v>2013/9/17</c:v>
                </c:pt>
                <c:pt idx="1143">
                  <c:v>2013/9/18</c:v>
                </c:pt>
                <c:pt idx="1144">
                  <c:v>2013/9/23</c:v>
                </c:pt>
                <c:pt idx="1145">
                  <c:v>2013/9/24</c:v>
                </c:pt>
                <c:pt idx="1146">
                  <c:v>2013/9/25</c:v>
                </c:pt>
                <c:pt idx="1147">
                  <c:v>2013/9/26</c:v>
                </c:pt>
                <c:pt idx="1148">
                  <c:v>2013/9/27</c:v>
                </c:pt>
                <c:pt idx="1149">
                  <c:v>2013/9/30</c:v>
                </c:pt>
                <c:pt idx="1150">
                  <c:v>2013/10/8</c:v>
                </c:pt>
                <c:pt idx="1151">
                  <c:v>2013/10/9</c:v>
                </c:pt>
                <c:pt idx="1152">
                  <c:v>2013/10/10</c:v>
                </c:pt>
                <c:pt idx="1153">
                  <c:v>2013/10/11</c:v>
                </c:pt>
                <c:pt idx="1154">
                  <c:v>2013/10/14</c:v>
                </c:pt>
                <c:pt idx="1155">
                  <c:v>2013/10/15</c:v>
                </c:pt>
                <c:pt idx="1156">
                  <c:v>2013/10/16</c:v>
                </c:pt>
                <c:pt idx="1157">
                  <c:v>2013/10/17</c:v>
                </c:pt>
                <c:pt idx="1158">
                  <c:v>2013/10/18</c:v>
                </c:pt>
                <c:pt idx="1159">
                  <c:v>2013/10/21</c:v>
                </c:pt>
                <c:pt idx="1160">
                  <c:v>2013/10/22</c:v>
                </c:pt>
                <c:pt idx="1161">
                  <c:v>2013/10/23</c:v>
                </c:pt>
                <c:pt idx="1162">
                  <c:v>2013/10/24</c:v>
                </c:pt>
                <c:pt idx="1163">
                  <c:v>2013/10/25</c:v>
                </c:pt>
                <c:pt idx="1164">
                  <c:v>2013/10/28</c:v>
                </c:pt>
                <c:pt idx="1165">
                  <c:v>2013/10/29</c:v>
                </c:pt>
                <c:pt idx="1166">
                  <c:v>2013/10/30</c:v>
                </c:pt>
                <c:pt idx="1167">
                  <c:v>2013/10/31</c:v>
                </c:pt>
                <c:pt idx="1168">
                  <c:v>2013/11/1</c:v>
                </c:pt>
                <c:pt idx="1169">
                  <c:v>2013/11/4</c:v>
                </c:pt>
                <c:pt idx="1170">
                  <c:v>2013/11/5</c:v>
                </c:pt>
                <c:pt idx="1171">
                  <c:v>2013/11/6</c:v>
                </c:pt>
                <c:pt idx="1172">
                  <c:v>2013/11/7</c:v>
                </c:pt>
                <c:pt idx="1173">
                  <c:v>2013/11/8</c:v>
                </c:pt>
                <c:pt idx="1174">
                  <c:v>2013/11/11</c:v>
                </c:pt>
                <c:pt idx="1175">
                  <c:v>2013/11/12</c:v>
                </c:pt>
                <c:pt idx="1176">
                  <c:v>2013/11/13</c:v>
                </c:pt>
                <c:pt idx="1177">
                  <c:v>2013/11/14</c:v>
                </c:pt>
                <c:pt idx="1178">
                  <c:v>2013/11/15</c:v>
                </c:pt>
                <c:pt idx="1179">
                  <c:v>2013/11/18</c:v>
                </c:pt>
                <c:pt idx="1180">
                  <c:v>2013/11/19</c:v>
                </c:pt>
                <c:pt idx="1181">
                  <c:v>2013/11/20</c:v>
                </c:pt>
                <c:pt idx="1182">
                  <c:v>2013/11/21</c:v>
                </c:pt>
                <c:pt idx="1183">
                  <c:v>2013/11/22</c:v>
                </c:pt>
                <c:pt idx="1184">
                  <c:v>2013/11/25</c:v>
                </c:pt>
                <c:pt idx="1185">
                  <c:v>2013/11/26</c:v>
                </c:pt>
                <c:pt idx="1186">
                  <c:v>2013/11/27</c:v>
                </c:pt>
                <c:pt idx="1187">
                  <c:v>2013/11/28</c:v>
                </c:pt>
                <c:pt idx="1188">
                  <c:v>2013/11/29</c:v>
                </c:pt>
                <c:pt idx="1189">
                  <c:v>2013/12/2</c:v>
                </c:pt>
                <c:pt idx="1190">
                  <c:v>2013/12/3</c:v>
                </c:pt>
                <c:pt idx="1191">
                  <c:v>2013/12/4</c:v>
                </c:pt>
                <c:pt idx="1192">
                  <c:v>2013/12/5</c:v>
                </c:pt>
                <c:pt idx="1193">
                  <c:v>2013/12/6</c:v>
                </c:pt>
                <c:pt idx="1194">
                  <c:v>2013/12/9</c:v>
                </c:pt>
                <c:pt idx="1195">
                  <c:v>2013/12/10</c:v>
                </c:pt>
                <c:pt idx="1196">
                  <c:v>2013/12/11</c:v>
                </c:pt>
                <c:pt idx="1197">
                  <c:v>2013/12/12</c:v>
                </c:pt>
                <c:pt idx="1198">
                  <c:v>2013/12/13</c:v>
                </c:pt>
                <c:pt idx="1199">
                  <c:v>2013/12/16</c:v>
                </c:pt>
                <c:pt idx="1200">
                  <c:v>2013/12/17</c:v>
                </c:pt>
                <c:pt idx="1201">
                  <c:v>2013/12/18</c:v>
                </c:pt>
                <c:pt idx="1202">
                  <c:v>2013/12/19</c:v>
                </c:pt>
                <c:pt idx="1203">
                  <c:v>2013/12/20</c:v>
                </c:pt>
                <c:pt idx="1204">
                  <c:v>2013/12/23</c:v>
                </c:pt>
                <c:pt idx="1205">
                  <c:v>2013/12/24</c:v>
                </c:pt>
                <c:pt idx="1206">
                  <c:v>2013/12/25</c:v>
                </c:pt>
                <c:pt idx="1207">
                  <c:v>2013/12/26</c:v>
                </c:pt>
                <c:pt idx="1208">
                  <c:v>2013/12/27</c:v>
                </c:pt>
                <c:pt idx="1209">
                  <c:v>2013/12/30</c:v>
                </c:pt>
                <c:pt idx="1210">
                  <c:v>2013/12/31</c:v>
                </c:pt>
                <c:pt idx="1211">
                  <c:v>2014/1/2</c:v>
                </c:pt>
                <c:pt idx="1212">
                  <c:v>2014/1/3</c:v>
                </c:pt>
                <c:pt idx="1213">
                  <c:v>2014/1/6</c:v>
                </c:pt>
                <c:pt idx="1214">
                  <c:v>2014/1/7</c:v>
                </c:pt>
                <c:pt idx="1215">
                  <c:v>2014/1/8</c:v>
                </c:pt>
                <c:pt idx="1216">
                  <c:v>2014/1/9</c:v>
                </c:pt>
                <c:pt idx="1217">
                  <c:v>2014/1/10</c:v>
                </c:pt>
                <c:pt idx="1218">
                  <c:v>2014/1/13</c:v>
                </c:pt>
                <c:pt idx="1219">
                  <c:v>2014/1/14</c:v>
                </c:pt>
                <c:pt idx="1220">
                  <c:v>2014/1/15</c:v>
                </c:pt>
                <c:pt idx="1221">
                  <c:v>2014/1/16</c:v>
                </c:pt>
                <c:pt idx="1222">
                  <c:v>2014/1/17</c:v>
                </c:pt>
                <c:pt idx="1223">
                  <c:v>2014/1/20</c:v>
                </c:pt>
                <c:pt idx="1224">
                  <c:v>2014/1/21</c:v>
                </c:pt>
                <c:pt idx="1225">
                  <c:v>2014/1/22</c:v>
                </c:pt>
                <c:pt idx="1226">
                  <c:v>2014/1/23</c:v>
                </c:pt>
                <c:pt idx="1227">
                  <c:v>2014/1/24</c:v>
                </c:pt>
                <c:pt idx="1228">
                  <c:v>2014/1/27</c:v>
                </c:pt>
                <c:pt idx="1229">
                  <c:v>2014/1/28</c:v>
                </c:pt>
                <c:pt idx="1230">
                  <c:v>2014/1/29</c:v>
                </c:pt>
                <c:pt idx="1231">
                  <c:v>2014/1/30</c:v>
                </c:pt>
                <c:pt idx="1232">
                  <c:v>2014/2/7</c:v>
                </c:pt>
                <c:pt idx="1233">
                  <c:v>2014/2/10</c:v>
                </c:pt>
                <c:pt idx="1234">
                  <c:v>2014/2/11</c:v>
                </c:pt>
                <c:pt idx="1235">
                  <c:v>2014/2/12</c:v>
                </c:pt>
                <c:pt idx="1236">
                  <c:v>2014/2/13</c:v>
                </c:pt>
                <c:pt idx="1237">
                  <c:v>2014/2/14</c:v>
                </c:pt>
                <c:pt idx="1238">
                  <c:v>2014/2/17</c:v>
                </c:pt>
                <c:pt idx="1239">
                  <c:v>2014/2/18</c:v>
                </c:pt>
                <c:pt idx="1240">
                  <c:v>2014/2/19</c:v>
                </c:pt>
                <c:pt idx="1241">
                  <c:v>2014/2/20</c:v>
                </c:pt>
                <c:pt idx="1242">
                  <c:v>2014/2/21</c:v>
                </c:pt>
                <c:pt idx="1243">
                  <c:v>2014/2/24</c:v>
                </c:pt>
                <c:pt idx="1244">
                  <c:v>2014/2/25</c:v>
                </c:pt>
                <c:pt idx="1245">
                  <c:v>2014/2/26</c:v>
                </c:pt>
                <c:pt idx="1246">
                  <c:v>2014/2/27</c:v>
                </c:pt>
                <c:pt idx="1247">
                  <c:v>2014/2/28</c:v>
                </c:pt>
                <c:pt idx="1248">
                  <c:v>2014/3/3</c:v>
                </c:pt>
                <c:pt idx="1249">
                  <c:v>2014/3/4</c:v>
                </c:pt>
                <c:pt idx="1250">
                  <c:v>2014/3/5</c:v>
                </c:pt>
                <c:pt idx="1251">
                  <c:v>2014/3/6</c:v>
                </c:pt>
                <c:pt idx="1252">
                  <c:v>2014/3/7</c:v>
                </c:pt>
                <c:pt idx="1253">
                  <c:v>2014/3/10</c:v>
                </c:pt>
                <c:pt idx="1254">
                  <c:v>2014/3/11</c:v>
                </c:pt>
                <c:pt idx="1255">
                  <c:v>2014/3/12</c:v>
                </c:pt>
                <c:pt idx="1256">
                  <c:v>2014/3/13</c:v>
                </c:pt>
                <c:pt idx="1257">
                  <c:v>2014/3/14</c:v>
                </c:pt>
                <c:pt idx="1258">
                  <c:v>2014/3/17</c:v>
                </c:pt>
                <c:pt idx="1259">
                  <c:v>2014/3/18</c:v>
                </c:pt>
                <c:pt idx="1260">
                  <c:v>2014/3/19</c:v>
                </c:pt>
                <c:pt idx="1261">
                  <c:v>2014/3/20</c:v>
                </c:pt>
                <c:pt idx="1262">
                  <c:v>2014/3/21</c:v>
                </c:pt>
                <c:pt idx="1263">
                  <c:v>2014/3/24</c:v>
                </c:pt>
                <c:pt idx="1264">
                  <c:v>2014/3/25</c:v>
                </c:pt>
                <c:pt idx="1265">
                  <c:v>2014/3/26</c:v>
                </c:pt>
                <c:pt idx="1266">
                  <c:v>2014/3/27</c:v>
                </c:pt>
                <c:pt idx="1267">
                  <c:v>2014/3/28</c:v>
                </c:pt>
                <c:pt idx="1268">
                  <c:v>2014/3/31</c:v>
                </c:pt>
                <c:pt idx="1269">
                  <c:v>2014/4/1</c:v>
                </c:pt>
                <c:pt idx="1270">
                  <c:v>2014/4/2</c:v>
                </c:pt>
                <c:pt idx="1271">
                  <c:v>2014/4/3</c:v>
                </c:pt>
                <c:pt idx="1272">
                  <c:v>2014/4/4</c:v>
                </c:pt>
                <c:pt idx="1273">
                  <c:v>2014/4/8</c:v>
                </c:pt>
                <c:pt idx="1274">
                  <c:v>2014/4/9</c:v>
                </c:pt>
                <c:pt idx="1275">
                  <c:v>2014/4/10</c:v>
                </c:pt>
                <c:pt idx="1276">
                  <c:v>2014/4/11</c:v>
                </c:pt>
                <c:pt idx="1277">
                  <c:v>2014/4/14</c:v>
                </c:pt>
                <c:pt idx="1278">
                  <c:v>2014/4/15</c:v>
                </c:pt>
                <c:pt idx="1279">
                  <c:v>2014/4/16</c:v>
                </c:pt>
                <c:pt idx="1280">
                  <c:v>2014/4/17</c:v>
                </c:pt>
                <c:pt idx="1281">
                  <c:v>2014/4/18</c:v>
                </c:pt>
                <c:pt idx="1282">
                  <c:v>2014/4/21</c:v>
                </c:pt>
                <c:pt idx="1283">
                  <c:v>2014/4/22</c:v>
                </c:pt>
                <c:pt idx="1284">
                  <c:v>2014/4/23</c:v>
                </c:pt>
                <c:pt idx="1285">
                  <c:v>2014/4/24</c:v>
                </c:pt>
                <c:pt idx="1286">
                  <c:v>2014/4/25</c:v>
                </c:pt>
                <c:pt idx="1287">
                  <c:v>2014/4/28</c:v>
                </c:pt>
                <c:pt idx="1288">
                  <c:v>2014/4/29</c:v>
                </c:pt>
                <c:pt idx="1289">
                  <c:v>2014/4/30</c:v>
                </c:pt>
                <c:pt idx="1290">
                  <c:v>2014/5/5</c:v>
                </c:pt>
                <c:pt idx="1291">
                  <c:v>2014/5/6</c:v>
                </c:pt>
                <c:pt idx="1292">
                  <c:v>2014/5/7</c:v>
                </c:pt>
                <c:pt idx="1293">
                  <c:v>2014/5/8</c:v>
                </c:pt>
                <c:pt idx="1294">
                  <c:v>2014/5/9</c:v>
                </c:pt>
                <c:pt idx="1295">
                  <c:v>2014/5/12</c:v>
                </c:pt>
                <c:pt idx="1296">
                  <c:v>2014/5/13</c:v>
                </c:pt>
                <c:pt idx="1297">
                  <c:v>2014/5/14</c:v>
                </c:pt>
                <c:pt idx="1298">
                  <c:v>2014/5/15</c:v>
                </c:pt>
                <c:pt idx="1299">
                  <c:v>2014/5/16</c:v>
                </c:pt>
                <c:pt idx="1300">
                  <c:v>2014/5/19</c:v>
                </c:pt>
                <c:pt idx="1301">
                  <c:v>2014/5/20</c:v>
                </c:pt>
                <c:pt idx="1302">
                  <c:v>2014/5/21</c:v>
                </c:pt>
                <c:pt idx="1303">
                  <c:v>2014/5/22</c:v>
                </c:pt>
                <c:pt idx="1304">
                  <c:v>2014/5/23</c:v>
                </c:pt>
                <c:pt idx="1305">
                  <c:v>2014/5/26</c:v>
                </c:pt>
                <c:pt idx="1306">
                  <c:v>2014/5/27</c:v>
                </c:pt>
                <c:pt idx="1307">
                  <c:v>2014/5/28</c:v>
                </c:pt>
                <c:pt idx="1308">
                  <c:v>2014/5/29</c:v>
                </c:pt>
                <c:pt idx="1309">
                  <c:v>2014/5/30</c:v>
                </c:pt>
                <c:pt idx="1310">
                  <c:v>2014/6/3</c:v>
                </c:pt>
                <c:pt idx="1311">
                  <c:v>2014/6/4</c:v>
                </c:pt>
                <c:pt idx="1312">
                  <c:v>2014/6/5</c:v>
                </c:pt>
                <c:pt idx="1313">
                  <c:v>2014/6/6</c:v>
                </c:pt>
                <c:pt idx="1314">
                  <c:v>2014/6/9</c:v>
                </c:pt>
                <c:pt idx="1315">
                  <c:v>2014/6/10</c:v>
                </c:pt>
                <c:pt idx="1316">
                  <c:v>2014/6/11</c:v>
                </c:pt>
                <c:pt idx="1317">
                  <c:v>2014/6/12</c:v>
                </c:pt>
                <c:pt idx="1318">
                  <c:v>2014/6/13</c:v>
                </c:pt>
                <c:pt idx="1319">
                  <c:v>2014/6/16</c:v>
                </c:pt>
                <c:pt idx="1320">
                  <c:v>2014/6/17</c:v>
                </c:pt>
                <c:pt idx="1321">
                  <c:v>2014/6/18</c:v>
                </c:pt>
                <c:pt idx="1322">
                  <c:v>2014/6/19</c:v>
                </c:pt>
                <c:pt idx="1323">
                  <c:v>2014/6/20</c:v>
                </c:pt>
                <c:pt idx="1324">
                  <c:v>2014/6/23</c:v>
                </c:pt>
                <c:pt idx="1325">
                  <c:v>2014/6/24</c:v>
                </c:pt>
                <c:pt idx="1326">
                  <c:v>2014/6/25</c:v>
                </c:pt>
                <c:pt idx="1327">
                  <c:v>2014/6/26</c:v>
                </c:pt>
                <c:pt idx="1328">
                  <c:v>2014/6/27</c:v>
                </c:pt>
                <c:pt idx="1329">
                  <c:v>2014/6/30</c:v>
                </c:pt>
                <c:pt idx="1330">
                  <c:v>2014/7/1</c:v>
                </c:pt>
                <c:pt idx="1331">
                  <c:v>2014/7/2</c:v>
                </c:pt>
                <c:pt idx="1332">
                  <c:v>2014/7/3</c:v>
                </c:pt>
                <c:pt idx="1333">
                  <c:v>2014/7/4</c:v>
                </c:pt>
                <c:pt idx="1334">
                  <c:v>2014/7/7</c:v>
                </c:pt>
                <c:pt idx="1335">
                  <c:v>2014/7/8</c:v>
                </c:pt>
                <c:pt idx="1336">
                  <c:v>2014/7/9</c:v>
                </c:pt>
                <c:pt idx="1337">
                  <c:v>2014/7/10</c:v>
                </c:pt>
                <c:pt idx="1338">
                  <c:v>2014/7/11</c:v>
                </c:pt>
                <c:pt idx="1339">
                  <c:v>2014/7/14</c:v>
                </c:pt>
                <c:pt idx="1340">
                  <c:v>2014/7/15</c:v>
                </c:pt>
                <c:pt idx="1341">
                  <c:v>2014/7/16</c:v>
                </c:pt>
                <c:pt idx="1342">
                  <c:v>2014/7/17</c:v>
                </c:pt>
                <c:pt idx="1343">
                  <c:v>2014/7/18</c:v>
                </c:pt>
                <c:pt idx="1344">
                  <c:v>2014/7/21</c:v>
                </c:pt>
                <c:pt idx="1345">
                  <c:v>2014/7/22</c:v>
                </c:pt>
                <c:pt idx="1346">
                  <c:v>2014/7/23</c:v>
                </c:pt>
                <c:pt idx="1347">
                  <c:v>2014/7/24</c:v>
                </c:pt>
                <c:pt idx="1348">
                  <c:v>2014/7/25</c:v>
                </c:pt>
                <c:pt idx="1349">
                  <c:v>2014/7/28</c:v>
                </c:pt>
                <c:pt idx="1350">
                  <c:v>2014/7/29</c:v>
                </c:pt>
                <c:pt idx="1351">
                  <c:v>2014/7/30</c:v>
                </c:pt>
                <c:pt idx="1352">
                  <c:v>2014/7/31</c:v>
                </c:pt>
                <c:pt idx="1353">
                  <c:v>2014/8/1</c:v>
                </c:pt>
                <c:pt idx="1354">
                  <c:v>2014/8/4</c:v>
                </c:pt>
                <c:pt idx="1355">
                  <c:v>2014/8/5</c:v>
                </c:pt>
                <c:pt idx="1356">
                  <c:v>2014/8/6</c:v>
                </c:pt>
                <c:pt idx="1357">
                  <c:v>2014/8/7</c:v>
                </c:pt>
                <c:pt idx="1358">
                  <c:v>2014/8/8</c:v>
                </c:pt>
                <c:pt idx="1359">
                  <c:v>2014/8/11</c:v>
                </c:pt>
                <c:pt idx="1360">
                  <c:v>2014/8/12</c:v>
                </c:pt>
                <c:pt idx="1361">
                  <c:v>2014/8/13</c:v>
                </c:pt>
                <c:pt idx="1362">
                  <c:v>2014/8/14</c:v>
                </c:pt>
                <c:pt idx="1363">
                  <c:v>2014/8/15</c:v>
                </c:pt>
                <c:pt idx="1364">
                  <c:v>2014/8/18</c:v>
                </c:pt>
                <c:pt idx="1365">
                  <c:v>2014/8/19</c:v>
                </c:pt>
                <c:pt idx="1366">
                  <c:v>2014/8/20</c:v>
                </c:pt>
                <c:pt idx="1367">
                  <c:v>2014/8/21</c:v>
                </c:pt>
                <c:pt idx="1368">
                  <c:v>2014/8/22</c:v>
                </c:pt>
                <c:pt idx="1369">
                  <c:v>2014/8/25</c:v>
                </c:pt>
                <c:pt idx="1370">
                  <c:v>2014/8/26</c:v>
                </c:pt>
                <c:pt idx="1371">
                  <c:v>2014/8/27</c:v>
                </c:pt>
                <c:pt idx="1372">
                  <c:v>2014/8/28</c:v>
                </c:pt>
                <c:pt idx="1373">
                  <c:v>2014/8/29</c:v>
                </c:pt>
                <c:pt idx="1374">
                  <c:v>2014/9/1</c:v>
                </c:pt>
                <c:pt idx="1375">
                  <c:v>2014/9/2</c:v>
                </c:pt>
                <c:pt idx="1376">
                  <c:v>2014/9/3</c:v>
                </c:pt>
                <c:pt idx="1377">
                  <c:v>2014/9/4</c:v>
                </c:pt>
                <c:pt idx="1378">
                  <c:v>2014/9/5</c:v>
                </c:pt>
                <c:pt idx="1379">
                  <c:v>2014/9/9</c:v>
                </c:pt>
                <c:pt idx="1380">
                  <c:v>2014/9/10</c:v>
                </c:pt>
                <c:pt idx="1381">
                  <c:v>2014/9/11</c:v>
                </c:pt>
                <c:pt idx="1382">
                  <c:v>2014/9/12</c:v>
                </c:pt>
                <c:pt idx="1383">
                  <c:v>2014/9/15</c:v>
                </c:pt>
                <c:pt idx="1384">
                  <c:v>2014/9/16</c:v>
                </c:pt>
                <c:pt idx="1385">
                  <c:v>2014/9/17</c:v>
                </c:pt>
                <c:pt idx="1386">
                  <c:v>2014/9/18</c:v>
                </c:pt>
                <c:pt idx="1387">
                  <c:v>2014/9/19</c:v>
                </c:pt>
                <c:pt idx="1388">
                  <c:v>2014/9/22</c:v>
                </c:pt>
                <c:pt idx="1389">
                  <c:v>2014/9/23</c:v>
                </c:pt>
                <c:pt idx="1390">
                  <c:v>2014/9/24</c:v>
                </c:pt>
                <c:pt idx="1391">
                  <c:v>2014/9/25</c:v>
                </c:pt>
                <c:pt idx="1392">
                  <c:v>2014/9/26</c:v>
                </c:pt>
                <c:pt idx="1393">
                  <c:v>2014/9/29</c:v>
                </c:pt>
                <c:pt idx="1394">
                  <c:v>2014/9/30</c:v>
                </c:pt>
                <c:pt idx="1395">
                  <c:v>2014/10/8</c:v>
                </c:pt>
                <c:pt idx="1396">
                  <c:v>2014/10/9</c:v>
                </c:pt>
                <c:pt idx="1397">
                  <c:v>2014/10/10</c:v>
                </c:pt>
                <c:pt idx="1398">
                  <c:v>2014/10/13</c:v>
                </c:pt>
                <c:pt idx="1399">
                  <c:v>2014/10/14</c:v>
                </c:pt>
                <c:pt idx="1400">
                  <c:v>2014/10/15</c:v>
                </c:pt>
                <c:pt idx="1401">
                  <c:v>2014/10/16</c:v>
                </c:pt>
                <c:pt idx="1402">
                  <c:v>2014/10/17</c:v>
                </c:pt>
                <c:pt idx="1403">
                  <c:v>2014/10/20</c:v>
                </c:pt>
                <c:pt idx="1404">
                  <c:v>2014/10/21</c:v>
                </c:pt>
                <c:pt idx="1405">
                  <c:v>2014/10/22</c:v>
                </c:pt>
                <c:pt idx="1406">
                  <c:v>2014/10/23</c:v>
                </c:pt>
                <c:pt idx="1407">
                  <c:v>2014/10/24</c:v>
                </c:pt>
                <c:pt idx="1408">
                  <c:v>2014/10/27</c:v>
                </c:pt>
                <c:pt idx="1409">
                  <c:v>2014/10/28</c:v>
                </c:pt>
                <c:pt idx="1410">
                  <c:v>2014/10/29</c:v>
                </c:pt>
                <c:pt idx="1411">
                  <c:v>2014/10/30</c:v>
                </c:pt>
                <c:pt idx="1412">
                  <c:v>2014/10/31</c:v>
                </c:pt>
                <c:pt idx="1413">
                  <c:v>2014/11/3</c:v>
                </c:pt>
                <c:pt idx="1414">
                  <c:v>2014/11/4</c:v>
                </c:pt>
                <c:pt idx="1415">
                  <c:v>2014/11/5</c:v>
                </c:pt>
                <c:pt idx="1416">
                  <c:v>2014/11/6</c:v>
                </c:pt>
                <c:pt idx="1417">
                  <c:v>2014/11/7</c:v>
                </c:pt>
                <c:pt idx="1418">
                  <c:v>2014/11/10</c:v>
                </c:pt>
                <c:pt idx="1419">
                  <c:v>2014/11/11</c:v>
                </c:pt>
                <c:pt idx="1420">
                  <c:v>2014/11/12</c:v>
                </c:pt>
                <c:pt idx="1421">
                  <c:v>2014/11/13</c:v>
                </c:pt>
                <c:pt idx="1422">
                  <c:v>2014/11/14</c:v>
                </c:pt>
                <c:pt idx="1423">
                  <c:v>2014/11/17</c:v>
                </c:pt>
                <c:pt idx="1424">
                  <c:v>2014/11/18</c:v>
                </c:pt>
                <c:pt idx="1425">
                  <c:v>2014/11/19</c:v>
                </c:pt>
                <c:pt idx="1426">
                  <c:v>2014/11/20</c:v>
                </c:pt>
                <c:pt idx="1427">
                  <c:v>2014/11/21</c:v>
                </c:pt>
                <c:pt idx="1428">
                  <c:v>2014/11/24</c:v>
                </c:pt>
                <c:pt idx="1429">
                  <c:v>2014/11/25</c:v>
                </c:pt>
                <c:pt idx="1430">
                  <c:v>2014/11/26</c:v>
                </c:pt>
                <c:pt idx="1431">
                  <c:v>2014/11/27</c:v>
                </c:pt>
                <c:pt idx="1432">
                  <c:v>2014/11/28</c:v>
                </c:pt>
                <c:pt idx="1433">
                  <c:v>2014/12/1</c:v>
                </c:pt>
                <c:pt idx="1434">
                  <c:v>2014/12/2</c:v>
                </c:pt>
                <c:pt idx="1435">
                  <c:v>2014/12/3</c:v>
                </c:pt>
                <c:pt idx="1436">
                  <c:v>2014/12/4</c:v>
                </c:pt>
                <c:pt idx="1437">
                  <c:v>2014/12/5</c:v>
                </c:pt>
                <c:pt idx="1438">
                  <c:v>2014/12/8</c:v>
                </c:pt>
                <c:pt idx="1439">
                  <c:v>2014/12/9</c:v>
                </c:pt>
                <c:pt idx="1440">
                  <c:v>2014/12/10</c:v>
                </c:pt>
                <c:pt idx="1441">
                  <c:v>2014/12/11</c:v>
                </c:pt>
                <c:pt idx="1442">
                  <c:v>2014/12/12</c:v>
                </c:pt>
                <c:pt idx="1443">
                  <c:v>2014/12/15</c:v>
                </c:pt>
                <c:pt idx="1444">
                  <c:v>2014/12/16</c:v>
                </c:pt>
                <c:pt idx="1445">
                  <c:v>2014/12/17</c:v>
                </c:pt>
                <c:pt idx="1446">
                  <c:v>2014/12/18</c:v>
                </c:pt>
                <c:pt idx="1447">
                  <c:v>2014/12/19</c:v>
                </c:pt>
                <c:pt idx="1448">
                  <c:v>2014/12/22</c:v>
                </c:pt>
                <c:pt idx="1449">
                  <c:v>2014/12/23</c:v>
                </c:pt>
                <c:pt idx="1450">
                  <c:v>2014/12/24</c:v>
                </c:pt>
                <c:pt idx="1451">
                  <c:v>2014/12/25</c:v>
                </c:pt>
                <c:pt idx="1452">
                  <c:v>2014/12/26</c:v>
                </c:pt>
                <c:pt idx="1453">
                  <c:v>2014/12/29</c:v>
                </c:pt>
                <c:pt idx="1454">
                  <c:v>2014/12/30</c:v>
                </c:pt>
                <c:pt idx="1455">
                  <c:v>2014/12/31</c:v>
                </c:pt>
                <c:pt idx="1456">
                  <c:v>2015/1/5</c:v>
                </c:pt>
                <c:pt idx="1457">
                  <c:v>2015/1/6</c:v>
                </c:pt>
                <c:pt idx="1458">
                  <c:v>2015/1/7</c:v>
                </c:pt>
                <c:pt idx="1459">
                  <c:v>2015/1/8</c:v>
                </c:pt>
                <c:pt idx="1460">
                  <c:v>2015/1/9</c:v>
                </c:pt>
                <c:pt idx="1461">
                  <c:v>2015/1/12</c:v>
                </c:pt>
                <c:pt idx="1462">
                  <c:v>2015/1/13</c:v>
                </c:pt>
                <c:pt idx="1463">
                  <c:v>2015/1/14</c:v>
                </c:pt>
                <c:pt idx="1464">
                  <c:v>2015/1/15</c:v>
                </c:pt>
                <c:pt idx="1465">
                  <c:v>2015/1/16</c:v>
                </c:pt>
                <c:pt idx="1466">
                  <c:v>2015/1/19</c:v>
                </c:pt>
                <c:pt idx="1467">
                  <c:v>2015/1/20</c:v>
                </c:pt>
                <c:pt idx="1468">
                  <c:v>2015/1/21</c:v>
                </c:pt>
                <c:pt idx="1469">
                  <c:v>2015/1/22</c:v>
                </c:pt>
                <c:pt idx="1470">
                  <c:v>2015/1/23</c:v>
                </c:pt>
                <c:pt idx="1471">
                  <c:v>2015/1/26</c:v>
                </c:pt>
                <c:pt idx="1472">
                  <c:v>2015/1/27</c:v>
                </c:pt>
                <c:pt idx="1473">
                  <c:v>2015/1/28</c:v>
                </c:pt>
                <c:pt idx="1474">
                  <c:v>2015/1/29</c:v>
                </c:pt>
                <c:pt idx="1475">
                  <c:v>2015/1/30</c:v>
                </c:pt>
                <c:pt idx="1476">
                  <c:v>2015/2/2</c:v>
                </c:pt>
                <c:pt idx="1477">
                  <c:v>2015/2/3</c:v>
                </c:pt>
                <c:pt idx="1478">
                  <c:v>2015/2/4</c:v>
                </c:pt>
                <c:pt idx="1479">
                  <c:v>2015/2/5</c:v>
                </c:pt>
                <c:pt idx="1480">
                  <c:v>2015/2/6</c:v>
                </c:pt>
                <c:pt idx="1481">
                  <c:v>2015/2/9</c:v>
                </c:pt>
                <c:pt idx="1482">
                  <c:v>2015/2/10</c:v>
                </c:pt>
                <c:pt idx="1483">
                  <c:v>2015/2/11</c:v>
                </c:pt>
                <c:pt idx="1484">
                  <c:v>2015/2/12</c:v>
                </c:pt>
                <c:pt idx="1485">
                  <c:v>2015/2/13</c:v>
                </c:pt>
                <c:pt idx="1486">
                  <c:v>2015/2/16</c:v>
                </c:pt>
                <c:pt idx="1487">
                  <c:v>2015/2/17</c:v>
                </c:pt>
                <c:pt idx="1488">
                  <c:v>2015/2/25</c:v>
                </c:pt>
                <c:pt idx="1489">
                  <c:v>2015/2/26</c:v>
                </c:pt>
                <c:pt idx="1490">
                  <c:v>2015/2/27</c:v>
                </c:pt>
                <c:pt idx="1491">
                  <c:v>2015/3/2</c:v>
                </c:pt>
                <c:pt idx="1492">
                  <c:v>2015/3/3</c:v>
                </c:pt>
                <c:pt idx="1493">
                  <c:v>2015/3/4</c:v>
                </c:pt>
                <c:pt idx="1494">
                  <c:v>2015/3/5</c:v>
                </c:pt>
                <c:pt idx="1495">
                  <c:v>2015/3/6</c:v>
                </c:pt>
                <c:pt idx="1496">
                  <c:v>2015/3/9</c:v>
                </c:pt>
                <c:pt idx="1497">
                  <c:v>2015/3/10</c:v>
                </c:pt>
                <c:pt idx="1498">
                  <c:v>2015/3/11</c:v>
                </c:pt>
                <c:pt idx="1499">
                  <c:v>2015/3/12</c:v>
                </c:pt>
                <c:pt idx="1500">
                  <c:v>2015/3/13</c:v>
                </c:pt>
                <c:pt idx="1501">
                  <c:v>2015/3/16</c:v>
                </c:pt>
                <c:pt idx="1502">
                  <c:v>2015/3/17</c:v>
                </c:pt>
                <c:pt idx="1503">
                  <c:v>2015/3/18</c:v>
                </c:pt>
                <c:pt idx="1504">
                  <c:v>2015/3/19</c:v>
                </c:pt>
                <c:pt idx="1505">
                  <c:v>2015/3/20</c:v>
                </c:pt>
                <c:pt idx="1506">
                  <c:v>2015/3/23</c:v>
                </c:pt>
                <c:pt idx="1507">
                  <c:v>2015/3/24</c:v>
                </c:pt>
                <c:pt idx="1508">
                  <c:v>2015/3/25</c:v>
                </c:pt>
                <c:pt idx="1509">
                  <c:v>2015/3/26</c:v>
                </c:pt>
                <c:pt idx="1510">
                  <c:v>2015/3/27</c:v>
                </c:pt>
                <c:pt idx="1511">
                  <c:v>2015/3/30</c:v>
                </c:pt>
                <c:pt idx="1512">
                  <c:v>2015/3/31</c:v>
                </c:pt>
                <c:pt idx="1513">
                  <c:v>2015/4/1</c:v>
                </c:pt>
                <c:pt idx="1514">
                  <c:v>2015/4/2</c:v>
                </c:pt>
                <c:pt idx="1515">
                  <c:v>2015/4/3</c:v>
                </c:pt>
                <c:pt idx="1516">
                  <c:v>2015/4/7</c:v>
                </c:pt>
                <c:pt idx="1517">
                  <c:v>2015/4/8</c:v>
                </c:pt>
                <c:pt idx="1518">
                  <c:v>2015/4/9</c:v>
                </c:pt>
                <c:pt idx="1519">
                  <c:v>2015/4/10</c:v>
                </c:pt>
                <c:pt idx="1520">
                  <c:v>2015/4/13</c:v>
                </c:pt>
                <c:pt idx="1521">
                  <c:v>2015/4/14</c:v>
                </c:pt>
                <c:pt idx="1522">
                  <c:v>2015/4/15</c:v>
                </c:pt>
                <c:pt idx="1523">
                  <c:v>2015/4/16</c:v>
                </c:pt>
                <c:pt idx="1524">
                  <c:v>2015/4/17</c:v>
                </c:pt>
                <c:pt idx="1525">
                  <c:v>2015/4/20</c:v>
                </c:pt>
                <c:pt idx="1526">
                  <c:v>2015/4/21</c:v>
                </c:pt>
                <c:pt idx="1527">
                  <c:v>2015/4/22</c:v>
                </c:pt>
                <c:pt idx="1528">
                  <c:v>2015/4/23</c:v>
                </c:pt>
                <c:pt idx="1529">
                  <c:v>2015/4/24</c:v>
                </c:pt>
                <c:pt idx="1530">
                  <c:v>2015/4/27</c:v>
                </c:pt>
                <c:pt idx="1531">
                  <c:v>2015/4/28</c:v>
                </c:pt>
                <c:pt idx="1532">
                  <c:v>2015/4/29</c:v>
                </c:pt>
                <c:pt idx="1533">
                  <c:v>2015/4/30</c:v>
                </c:pt>
                <c:pt idx="1534">
                  <c:v>2015/5/4</c:v>
                </c:pt>
                <c:pt idx="1535">
                  <c:v>2015/5/5</c:v>
                </c:pt>
                <c:pt idx="1536">
                  <c:v>2015/5/6</c:v>
                </c:pt>
                <c:pt idx="1537">
                  <c:v>2015/5/7</c:v>
                </c:pt>
                <c:pt idx="1538">
                  <c:v>2015/5/8</c:v>
                </c:pt>
                <c:pt idx="1539">
                  <c:v>2015/5/11</c:v>
                </c:pt>
                <c:pt idx="1540">
                  <c:v>2015/5/12</c:v>
                </c:pt>
                <c:pt idx="1541">
                  <c:v>2015/5/13</c:v>
                </c:pt>
                <c:pt idx="1542">
                  <c:v>2015/5/14</c:v>
                </c:pt>
                <c:pt idx="1543">
                  <c:v>2015/5/15</c:v>
                </c:pt>
                <c:pt idx="1544">
                  <c:v>2015/5/18</c:v>
                </c:pt>
                <c:pt idx="1545">
                  <c:v>2015/5/19</c:v>
                </c:pt>
                <c:pt idx="1546">
                  <c:v>2015/5/20</c:v>
                </c:pt>
                <c:pt idx="1547">
                  <c:v>2015/5/21</c:v>
                </c:pt>
                <c:pt idx="1548">
                  <c:v>2015/5/22</c:v>
                </c:pt>
                <c:pt idx="1549">
                  <c:v>2015/5/25</c:v>
                </c:pt>
                <c:pt idx="1550">
                  <c:v>2015/5/26</c:v>
                </c:pt>
                <c:pt idx="1551">
                  <c:v>2015/5/27</c:v>
                </c:pt>
                <c:pt idx="1552">
                  <c:v>2015/5/28</c:v>
                </c:pt>
                <c:pt idx="1553">
                  <c:v>2015/5/29</c:v>
                </c:pt>
                <c:pt idx="1554">
                  <c:v>2015/6/1</c:v>
                </c:pt>
                <c:pt idx="1555">
                  <c:v>2015/6/2</c:v>
                </c:pt>
                <c:pt idx="1556">
                  <c:v>2015/6/3</c:v>
                </c:pt>
                <c:pt idx="1557">
                  <c:v>2015/6/4</c:v>
                </c:pt>
                <c:pt idx="1558">
                  <c:v>2015/6/5</c:v>
                </c:pt>
                <c:pt idx="1559">
                  <c:v>2015/6/8</c:v>
                </c:pt>
                <c:pt idx="1560">
                  <c:v>2015/6/9</c:v>
                </c:pt>
                <c:pt idx="1561">
                  <c:v>2015/6/10</c:v>
                </c:pt>
                <c:pt idx="1562">
                  <c:v>2015/6/11</c:v>
                </c:pt>
                <c:pt idx="1563">
                  <c:v>2015/6/12</c:v>
                </c:pt>
                <c:pt idx="1564">
                  <c:v>2015/6/15</c:v>
                </c:pt>
                <c:pt idx="1565">
                  <c:v>2015/6/16</c:v>
                </c:pt>
                <c:pt idx="1566">
                  <c:v>2015/6/17</c:v>
                </c:pt>
                <c:pt idx="1567">
                  <c:v>2015/6/18</c:v>
                </c:pt>
                <c:pt idx="1568">
                  <c:v>2015/6/19</c:v>
                </c:pt>
                <c:pt idx="1569">
                  <c:v>2015/6/23</c:v>
                </c:pt>
                <c:pt idx="1570">
                  <c:v>2015/6/24</c:v>
                </c:pt>
                <c:pt idx="1571">
                  <c:v>2015/6/25</c:v>
                </c:pt>
                <c:pt idx="1572">
                  <c:v>2015/6/26</c:v>
                </c:pt>
                <c:pt idx="1573">
                  <c:v>2015/6/29</c:v>
                </c:pt>
                <c:pt idx="1574">
                  <c:v>2015/6/30</c:v>
                </c:pt>
                <c:pt idx="1575">
                  <c:v>2015/7/1</c:v>
                </c:pt>
                <c:pt idx="1576">
                  <c:v>2015/7/2</c:v>
                </c:pt>
                <c:pt idx="1577">
                  <c:v>2015/7/3</c:v>
                </c:pt>
                <c:pt idx="1578">
                  <c:v>2015/7/6</c:v>
                </c:pt>
                <c:pt idx="1579">
                  <c:v>2015/7/7</c:v>
                </c:pt>
                <c:pt idx="1580">
                  <c:v>2015/7/8</c:v>
                </c:pt>
                <c:pt idx="1581">
                  <c:v>2015/7/9</c:v>
                </c:pt>
                <c:pt idx="1582">
                  <c:v>2015/7/10</c:v>
                </c:pt>
                <c:pt idx="1583">
                  <c:v>2015/7/13</c:v>
                </c:pt>
                <c:pt idx="1584">
                  <c:v>2015/7/14</c:v>
                </c:pt>
                <c:pt idx="1585">
                  <c:v>2015/7/15</c:v>
                </c:pt>
                <c:pt idx="1586">
                  <c:v>2015/7/16</c:v>
                </c:pt>
                <c:pt idx="1587">
                  <c:v>2015/7/17</c:v>
                </c:pt>
                <c:pt idx="1588">
                  <c:v>2015/7/20</c:v>
                </c:pt>
                <c:pt idx="1589">
                  <c:v>2015/7/21</c:v>
                </c:pt>
                <c:pt idx="1590">
                  <c:v>2015/7/22</c:v>
                </c:pt>
                <c:pt idx="1591">
                  <c:v>2015/7/23</c:v>
                </c:pt>
                <c:pt idx="1592">
                  <c:v>2015/7/24</c:v>
                </c:pt>
                <c:pt idx="1593">
                  <c:v>2015/7/27</c:v>
                </c:pt>
                <c:pt idx="1594">
                  <c:v>2015/7/28</c:v>
                </c:pt>
                <c:pt idx="1595">
                  <c:v>2015/7/29</c:v>
                </c:pt>
                <c:pt idx="1596">
                  <c:v>2015/7/30</c:v>
                </c:pt>
                <c:pt idx="1597">
                  <c:v>2015/7/31</c:v>
                </c:pt>
                <c:pt idx="1598">
                  <c:v>2015/8/3</c:v>
                </c:pt>
                <c:pt idx="1599">
                  <c:v>2015/8/4</c:v>
                </c:pt>
                <c:pt idx="1600">
                  <c:v>2015/8/5</c:v>
                </c:pt>
                <c:pt idx="1601">
                  <c:v>2015/8/6</c:v>
                </c:pt>
                <c:pt idx="1602">
                  <c:v>2015/8/7</c:v>
                </c:pt>
                <c:pt idx="1603">
                  <c:v>2015/8/10</c:v>
                </c:pt>
                <c:pt idx="1604">
                  <c:v>2015/8/11</c:v>
                </c:pt>
                <c:pt idx="1605">
                  <c:v>2015/8/12</c:v>
                </c:pt>
                <c:pt idx="1606">
                  <c:v>2015/8/13</c:v>
                </c:pt>
                <c:pt idx="1607">
                  <c:v>2015/8/14</c:v>
                </c:pt>
                <c:pt idx="1608">
                  <c:v>2015/8/17</c:v>
                </c:pt>
                <c:pt idx="1609">
                  <c:v>2015/8/18</c:v>
                </c:pt>
                <c:pt idx="1610">
                  <c:v>2015/8/19</c:v>
                </c:pt>
                <c:pt idx="1611">
                  <c:v>2015/8/20</c:v>
                </c:pt>
                <c:pt idx="1612">
                  <c:v>2015/8/21</c:v>
                </c:pt>
                <c:pt idx="1613">
                  <c:v>2015/8/24</c:v>
                </c:pt>
                <c:pt idx="1614">
                  <c:v>2015/8/25</c:v>
                </c:pt>
                <c:pt idx="1615">
                  <c:v>2015/8/26</c:v>
                </c:pt>
                <c:pt idx="1616">
                  <c:v>2015/8/27</c:v>
                </c:pt>
                <c:pt idx="1617">
                  <c:v>2015/8/28</c:v>
                </c:pt>
                <c:pt idx="1618">
                  <c:v>2015/8/31</c:v>
                </c:pt>
                <c:pt idx="1619">
                  <c:v>2015/9/1</c:v>
                </c:pt>
                <c:pt idx="1620">
                  <c:v>2015/9/2</c:v>
                </c:pt>
                <c:pt idx="1621">
                  <c:v>2015/9/7</c:v>
                </c:pt>
                <c:pt idx="1622">
                  <c:v>2015/9/8</c:v>
                </c:pt>
                <c:pt idx="1623">
                  <c:v>2015/9/9</c:v>
                </c:pt>
                <c:pt idx="1624">
                  <c:v>2015/9/10</c:v>
                </c:pt>
                <c:pt idx="1625">
                  <c:v>2015/9/11</c:v>
                </c:pt>
                <c:pt idx="1626">
                  <c:v>2015/9/14</c:v>
                </c:pt>
                <c:pt idx="1627">
                  <c:v>2015/9/15</c:v>
                </c:pt>
                <c:pt idx="1628">
                  <c:v>2015/9/16</c:v>
                </c:pt>
                <c:pt idx="1629">
                  <c:v>2015/9/17</c:v>
                </c:pt>
                <c:pt idx="1630">
                  <c:v>2015/9/18</c:v>
                </c:pt>
                <c:pt idx="1631">
                  <c:v>2015/9/21</c:v>
                </c:pt>
                <c:pt idx="1632">
                  <c:v>2015/9/22</c:v>
                </c:pt>
                <c:pt idx="1633">
                  <c:v>2015/9/23</c:v>
                </c:pt>
                <c:pt idx="1634">
                  <c:v>2015/9/24</c:v>
                </c:pt>
                <c:pt idx="1635">
                  <c:v>2015/9/25</c:v>
                </c:pt>
                <c:pt idx="1636">
                  <c:v>2015/9/28</c:v>
                </c:pt>
                <c:pt idx="1637">
                  <c:v>2015/9/29</c:v>
                </c:pt>
                <c:pt idx="1638">
                  <c:v>2015/9/30</c:v>
                </c:pt>
                <c:pt idx="1639">
                  <c:v>2015/10/8</c:v>
                </c:pt>
                <c:pt idx="1640">
                  <c:v>2015/10/9</c:v>
                </c:pt>
                <c:pt idx="1641">
                  <c:v>2015/10/12</c:v>
                </c:pt>
                <c:pt idx="1642">
                  <c:v>2015/10/13</c:v>
                </c:pt>
                <c:pt idx="1643">
                  <c:v>2015/10/14</c:v>
                </c:pt>
                <c:pt idx="1644">
                  <c:v>2015/10/15</c:v>
                </c:pt>
                <c:pt idx="1645">
                  <c:v>2015/10/16</c:v>
                </c:pt>
                <c:pt idx="1646">
                  <c:v>2015/10/19</c:v>
                </c:pt>
                <c:pt idx="1647">
                  <c:v>2015/10/20</c:v>
                </c:pt>
                <c:pt idx="1648">
                  <c:v>2015/10/21</c:v>
                </c:pt>
                <c:pt idx="1649">
                  <c:v>2015/10/22</c:v>
                </c:pt>
                <c:pt idx="1650">
                  <c:v>2015/10/23</c:v>
                </c:pt>
                <c:pt idx="1651">
                  <c:v>2015/10/26</c:v>
                </c:pt>
                <c:pt idx="1652">
                  <c:v>2015/10/27</c:v>
                </c:pt>
                <c:pt idx="1653">
                  <c:v>2015/10/28</c:v>
                </c:pt>
                <c:pt idx="1654">
                  <c:v>2015/10/29</c:v>
                </c:pt>
                <c:pt idx="1655">
                  <c:v>2015/10/30</c:v>
                </c:pt>
                <c:pt idx="1656">
                  <c:v>2015/11/2</c:v>
                </c:pt>
                <c:pt idx="1657">
                  <c:v>2015/11/3</c:v>
                </c:pt>
                <c:pt idx="1658">
                  <c:v>2015/11/4</c:v>
                </c:pt>
                <c:pt idx="1659">
                  <c:v>2015/11/5</c:v>
                </c:pt>
                <c:pt idx="1660">
                  <c:v>2015/11/6</c:v>
                </c:pt>
                <c:pt idx="1661">
                  <c:v>2015/11/9</c:v>
                </c:pt>
                <c:pt idx="1662">
                  <c:v>2015/11/10</c:v>
                </c:pt>
                <c:pt idx="1663">
                  <c:v>2015/11/11</c:v>
                </c:pt>
                <c:pt idx="1664">
                  <c:v>2015/11/12</c:v>
                </c:pt>
                <c:pt idx="1665">
                  <c:v>2015/11/13</c:v>
                </c:pt>
                <c:pt idx="1666">
                  <c:v>2015/11/16</c:v>
                </c:pt>
                <c:pt idx="1667">
                  <c:v>2015/11/17</c:v>
                </c:pt>
                <c:pt idx="1668">
                  <c:v>2015/11/18</c:v>
                </c:pt>
                <c:pt idx="1669">
                  <c:v>2015/11/19</c:v>
                </c:pt>
                <c:pt idx="1670">
                  <c:v>2015/11/20</c:v>
                </c:pt>
                <c:pt idx="1671">
                  <c:v>2015/11/23</c:v>
                </c:pt>
                <c:pt idx="1672">
                  <c:v>2015/11/24</c:v>
                </c:pt>
                <c:pt idx="1673">
                  <c:v>2015/11/25</c:v>
                </c:pt>
                <c:pt idx="1674">
                  <c:v>2015/11/26</c:v>
                </c:pt>
                <c:pt idx="1675">
                  <c:v>2015/11/27</c:v>
                </c:pt>
                <c:pt idx="1676">
                  <c:v>2015/11/30</c:v>
                </c:pt>
                <c:pt idx="1677">
                  <c:v>2015/12/1</c:v>
                </c:pt>
                <c:pt idx="1678">
                  <c:v>2015/12/2</c:v>
                </c:pt>
                <c:pt idx="1679">
                  <c:v>2015/12/3</c:v>
                </c:pt>
                <c:pt idx="1680">
                  <c:v>2015/12/4</c:v>
                </c:pt>
                <c:pt idx="1681">
                  <c:v>2015/12/7</c:v>
                </c:pt>
                <c:pt idx="1682">
                  <c:v>2015/12/8</c:v>
                </c:pt>
                <c:pt idx="1683">
                  <c:v>2015/12/9</c:v>
                </c:pt>
                <c:pt idx="1684">
                  <c:v>2015/12/10</c:v>
                </c:pt>
                <c:pt idx="1685">
                  <c:v>2015/12/11</c:v>
                </c:pt>
                <c:pt idx="1686">
                  <c:v>2015/12/14</c:v>
                </c:pt>
                <c:pt idx="1687">
                  <c:v>2015/12/15</c:v>
                </c:pt>
                <c:pt idx="1688">
                  <c:v>2015/12/16</c:v>
                </c:pt>
                <c:pt idx="1689">
                  <c:v>2015/12/17</c:v>
                </c:pt>
                <c:pt idx="1690">
                  <c:v>2015/12/18</c:v>
                </c:pt>
                <c:pt idx="1691">
                  <c:v>2015/12/21</c:v>
                </c:pt>
                <c:pt idx="1692">
                  <c:v>2015/12/22</c:v>
                </c:pt>
                <c:pt idx="1693">
                  <c:v>2015/12/23</c:v>
                </c:pt>
                <c:pt idx="1694">
                  <c:v>2015/12/24</c:v>
                </c:pt>
                <c:pt idx="1695">
                  <c:v>2015/12/25</c:v>
                </c:pt>
                <c:pt idx="1696">
                  <c:v>2015/12/28</c:v>
                </c:pt>
                <c:pt idx="1697">
                  <c:v>2015/12/29</c:v>
                </c:pt>
                <c:pt idx="1698">
                  <c:v>2015/12/30</c:v>
                </c:pt>
                <c:pt idx="1699">
                  <c:v>2015/12/31</c:v>
                </c:pt>
                <c:pt idx="1700">
                  <c:v>2016/1/4</c:v>
                </c:pt>
                <c:pt idx="1701">
                  <c:v>2016/1/5</c:v>
                </c:pt>
                <c:pt idx="1702">
                  <c:v>2016/1/6</c:v>
                </c:pt>
                <c:pt idx="1703">
                  <c:v>2016/1/7</c:v>
                </c:pt>
                <c:pt idx="1704">
                  <c:v>2016/1/8</c:v>
                </c:pt>
                <c:pt idx="1705">
                  <c:v>2016/1/11</c:v>
                </c:pt>
                <c:pt idx="1706">
                  <c:v>2016/1/12</c:v>
                </c:pt>
                <c:pt idx="1707">
                  <c:v>2016/1/13</c:v>
                </c:pt>
                <c:pt idx="1708">
                  <c:v>2016/1/14</c:v>
                </c:pt>
                <c:pt idx="1709">
                  <c:v>2016/1/15</c:v>
                </c:pt>
                <c:pt idx="1710">
                  <c:v>2016/1/18</c:v>
                </c:pt>
                <c:pt idx="1711">
                  <c:v>2016/1/19</c:v>
                </c:pt>
                <c:pt idx="1712">
                  <c:v>2016/1/20</c:v>
                </c:pt>
                <c:pt idx="1713">
                  <c:v>2016/1/21</c:v>
                </c:pt>
                <c:pt idx="1714">
                  <c:v>2016/1/22</c:v>
                </c:pt>
                <c:pt idx="1715">
                  <c:v>2016/1/25</c:v>
                </c:pt>
                <c:pt idx="1716">
                  <c:v>2016/1/26</c:v>
                </c:pt>
                <c:pt idx="1717">
                  <c:v>2016/1/27</c:v>
                </c:pt>
                <c:pt idx="1718">
                  <c:v>2016/1/28</c:v>
                </c:pt>
                <c:pt idx="1719">
                  <c:v>2016/1/29</c:v>
                </c:pt>
                <c:pt idx="1720">
                  <c:v>2016/2/1</c:v>
                </c:pt>
                <c:pt idx="1721">
                  <c:v>2016/2/2</c:v>
                </c:pt>
                <c:pt idx="1722">
                  <c:v>2016/2/3</c:v>
                </c:pt>
                <c:pt idx="1723">
                  <c:v>2016/2/4</c:v>
                </c:pt>
                <c:pt idx="1724">
                  <c:v>2016/2/5</c:v>
                </c:pt>
                <c:pt idx="1725">
                  <c:v>2016/2/15</c:v>
                </c:pt>
                <c:pt idx="1726">
                  <c:v>2016/2/16</c:v>
                </c:pt>
                <c:pt idx="1727">
                  <c:v>2016/2/17</c:v>
                </c:pt>
                <c:pt idx="1728">
                  <c:v>2016/2/18</c:v>
                </c:pt>
                <c:pt idx="1729">
                  <c:v>2016/2/19</c:v>
                </c:pt>
                <c:pt idx="1730">
                  <c:v>2016/2/22</c:v>
                </c:pt>
                <c:pt idx="1731">
                  <c:v>2016/2/23</c:v>
                </c:pt>
                <c:pt idx="1732">
                  <c:v>2016/2/24</c:v>
                </c:pt>
                <c:pt idx="1733">
                  <c:v>2016/2/25</c:v>
                </c:pt>
                <c:pt idx="1734">
                  <c:v>2016/2/26</c:v>
                </c:pt>
                <c:pt idx="1735">
                  <c:v>2016/2/29</c:v>
                </c:pt>
                <c:pt idx="1736">
                  <c:v>2016/3/1</c:v>
                </c:pt>
                <c:pt idx="1737">
                  <c:v>2016/3/2</c:v>
                </c:pt>
                <c:pt idx="1738">
                  <c:v>2016/3/3</c:v>
                </c:pt>
                <c:pt idx="1739">
                  <c:v>2016/3/4</c:v>
                </c:pt>
                <c:pt idx="1740">
                  <c:v>2016/3/7</c:v>
                </c:pt>
                <c:pt idx="1741">
                  <c:v>2016/3/8</c:v>
                </c:pt>
                <c:pt idx="1742">
                  <c:v>2016/3/9</c:v>
                </c:pt>
                <c:pt idx="1743">
                  <c:v>2016/3/10</c:v>
                </c:pt>
                <c:pt idx="1744">
                  <c:v>2016/3/11</c:v>
                </c:pt>
                <c:pt idx="1745">
                  <c:v>2016/3/14</c:v>
                </c:pt>
                <c:pt idx="1746">
                  <c:v>2016/3/15</c:v>
                </c:pt>
                <c:pt idx="1747">
                  <c:v>2016/3/16</c:v>
                </c:pt>
                <c:pt idx="1748">
                  <c:v>2016/3/17</c:v>
                </c:pt>
                <c:pt idx="1749">
                  <c:v>2016/3/18</c:v>
                </c:pt>
                <c:pt idx="1750">
                  <c:v>2016/3/21</c:v>
                </c:pt>
                <c:pt idx="1751">
                  <c:v>2016/3/22</c:v>
                </c:pt>
                <c:pt idx="1752">
                  <c:v>2016/3/23</c:v>
                </c:pt>
                <c:pt idx="1753">
                  <c:v>2016/3/24</c:v>
                </c:pt>
                <c:pt idx="1754">
                  <c:v>2016/3/25</c:v>
                </c:pt>
                <c:pt idx="1755">
                  <c:v>2016/3/28</c:v>
                </c:pt>
                <c:pt idx="1756">
                  <c:v>2016/3/29</c:v>
                </c:pt>
                <c:pt idx="1757">
                  <c:v>2016/3/30</c:v>
                </c:pt>
                <c:pt idx="1758">
                  <c:v>2016/3/31</c:v>
                </c:pt>
                <c:pt idx="1759">
                  <c:v>2016/4/1</c:v>
                </c:pt>
                <c:pt idx="1760">
                  <c:v>2016/4/5</c:v>
                </c:pt>
                <c:pt idx="1761">
                  <c:v>2016/4/6</c:v>
                </c:pt>
                <c:pt idx="1762">
                  <c:v>2016/4/7</c:v>
                </c:pt>
                <c:pt idx="1763">
                  <c:v>2016/4/8</c:v>
                </c:pt>
                <c:pt idx="1764">
                  <c:v>2016/4/11</c:v>
                </c:pt>
                <c:pt idx="1765">
                  <c:v>2016/4/12</c:v>
                </c:pt>
                <c:pt idx="1766">
                  <c:v>2016/4/13</c:v>
                </c:pt>
                <c:pt idx="1767">
                  <c:v>2016/4/14</c:v>
                </c:pt>
                <c:pt idx="1768">
                  <c:v>2016/4/15</c:v>
                </c:pt>
                <c:pt idx="1769">
                  <c:v>2016/4/18</c:v>
                </c:pt>
                <c:pt idx="1770">
                  <c:v>2016/4/19</c:v>
                </c:pt>
                <c:pt idx="1771">
                  <c:v>2016/4/20</c:v>
                </c:pt>
                <c:pt idx="1772">
                  <c:v>2016/4/21</c:v>
                </c:pt>
                <c:pt idx="1773">
                  <c:v>2016/4/22</c:v>
                </c:pt>
                <c:pt idx="1774">
                  <c:v>2016/4/25</c:v>
                </c:pt>
                <c:pt idx="1775">
                  <c:v>2016/4/26</c:v>
                </c:pt>
                <c:pt idx="1776">
                  <c:v>2016/4/27</c:v>
                </c:pt>
                <c:pt idx="1777">
                  <c:v>2016/4/28</c:v>
                </c:pt>
                <c:pt idx="1778">
                  <c:v>2016/4/29</c:v>
                </c:pt>
                <c:pt idx="1779">
                  <c:v>2016/5/3</c:v>
                </c:pt>
                <c:pt idx="1780">
                  <c:v>2016/5/4</c:v>
                </c:pt>
                <c:pt idx="1781">
                  <c:v>2016/5/5</c:v>
                </c:pt>
                <c:pt idx="1782">
                  <c:v>2016/5/6</c:v>
                </c:pt>
                <c:pt idx="1783">
                  <c:v>2016/5/9</c:v>
                </c:pt>
                <c:pt idx="1784">
                  <c:v>2016/5/10</c:v>
                </c:pt>
                <c:pt idx="1785">
                  <c:v>2016/5/11</c:v>
                </c:pt>
                <c:pt idx="1786">
                  <c:v>2016/5/12</c:v>
                </c:pt>
                <c:pt idx="1787">
                  <c:v>2016/5/13</c:v>
                </c:pt>
                <c:pt idx="1788">
                  <c:v>2016/5/16</c:v>
                </c:pt>
                <c:pt idx="1789">
                  <c:v>2016/5/17</c:v>
                </c:pt>
                <c:pt idx="1790">
                  <c:v>2016/5/18</c:v>
                </c:pt>
                <c:pt idx="1791">
                  <c:v>2016/5/19</c:v>
                </c:pt>
                <c:pt idx="1792">
                  <c:v>2016/5/20</c:v>
                </c:pt>
                <c:pt idx="1793">
                  <c:v>2016/5/23</c:v>
                </c:pt>
                <c:pt idx="1794">
                  <c:v>2016/5/24</c:v>
                </c:pt>
                <c:pt idx="1795">
                  <c:v>2016/5/25</c:v>
                </c:pt>
                <c:pt idx="1796">
                  <c:v>2016/5/26</c:v>
                </c:pt>
                <c:pt idx="1797">
                  <c:v>2016/5/27</c:v>
                </c:pt>
                <c:pt idx="1798">
                  <c:v>2016/5/30</c:v>
                </c:pt>
                <c:pt idx="1799">
                  <c:v>2016/5/31</c:v>
                </c:pt>
                <c:pt idx="1800">
                  <c:v>2016/6/1</c:v>
                </c:pt>
                <c:pt idx="1801">
                  <c:v>2016/6/2</c:v>
                </c:pt>
                <c:pt idx="1802">
                  <c:v>2016/6/3</c:v>
                </c:pt>
                <c:pt idx="1803">
                  <c:v>2016/6/6</c:v>
                </c:pt>
                <c:pt idx="1804">
                  <c:v>2016/6/7</c:v>
                </c:pt>
                <c:pt idx="1805">
                  <c:v>2016/6/8</c:v>
                </c:pt>
                <c:pt idx="1806">
                  <c:v>2016/6/13</c:v>
                </c:pt>
                <c:pt idx="1807">
                  <c:v>2016/6/14</c:v>
                </c:pt>
                <c:pt idx="1808">
                  <c:v>2016/6/15</c:v>
                </c:pt>
                <c:pt idx="1809">
                  <c:v>2016/6/16</c:v>
                </c:pt>
                <c:pt idx="1810">
                  <c:v>2016/6/17</c:v>
                </c:pt>
                <c:pt idx="1811">
                  <c:v>2016/6/20</c:v>
                </c:pt>
                <c:pt idx="1812">
                  <c:v>2016/6/21</c:v>
                </c:pt>
                <c:pt idx="1813">
                  <c:v>2016/6/22</c:v>
                </c:pt>
                <c:pt idx="1814">
                  <c:v>2016/6/23</c:v>
                </c:pt>
                <c:pt idx="1815">
                  <c:v>2016/6/24</c:v>
                </c:pt>
                <c:pt idx="1816">
                  <c:v>2016/6/27</c:v>
                </c:pt>
                <c:pt idx="1817">
                  <c:v>2016/6/28</c:v>
                </c:pt>
                <c:pt idx="1818">
                  <c:v>2016/6/29</c:v>
                </c:pt>
                <c:pt idx="1819">
                  <c:v>2016/6/30</c:v>
                </c:pt>
                <c:pt idx="1820">
                  <c:v>2016/7/1</c:v>
                </c:pt>
                <c:pt idx="1821">
                  <c:v>2016/7/4</c:v>
                </c:pt>
                <c:pt idx="1822">
                  <c:v>2016/7/5</c:v>
                </c:pt>
                <c:pt idx="1823">
                  <c:v>2016/7/6</c:v>
                </c:pt>
                <c:pt idx="1824">
                  <c:v>2016/7/7</c:v>
                </c:pt>
                <c:pt idx="1825">
                  <c:v>2016/7/8</c:v>
                </c:pt>
                <c:pt idx="1826">
                  <c:v>2016/7/11</c:v>
                </c:pt>
                <c:pt idx="1827">
                  <c:v>2016/7/12</c:v>
                </c:pt>
                <c:pt idx="1828">
                  <c:v>2016/7/13</c:v>
                </c:pt>
                <c:pt idx="1829">
                  <c:v>2016/7/14</c:v>
                </c:pt>
                <c:pt idx="1830">
                  <c:v>2016/7/15</c:v>
                </c:pt>
                <c:pt idx="1831">
                  <c:v>2016/7/18</c:v>
                </c:pt>
                <c:pt idx="1832">
                  <c:v>2016/7/19</c:v>
                </c:pt>
                <c:pt idx="1833">
                  <c:v>2016/7/20</c:v>
                </c:pt>
                <c:pt idx="1834">
                  <c:v>2016/7/21</c:v>
                </c:pt>
                <c:pt idx="1835">
                  <c:v>2016/7/22</c:v>
                </c:pt>
                <c:pt idx="1836">
                  <c:v>2016/7/25</c:v>
                </c:pt>
                <c:pt idx="1837">
                  <c:v>2016/7/26</c:v>
                </c:pt>
                <c:pt idx="1838">
                  <c:v>2016/7/27</c:v>
                </c:pt>
                <c:pt idx="1839">
                  <c:v>2016/7/28</c:v>
                </c:pt>
                <c:pt idx="1840">
                  <c:v>2016/7/29</c:v>
                </c:pt>
                <c:pt idx="1841">
                  <c:v>2016/8/1</c:v>
                </c:pt>
                <c:pt idx="1842">
                  <c:v>2016/8/2</c:v>
                </c:pt>
                <c:pt idx="1843">
                  <c:v>2016/8/3</c:v>
                </c:pt>
                <c:pt idx="1844">
                  <c:v>2016/8/4</c:v>
                </c:pt>
                <c:pt idx="1845">
                  <c:v>2016/8/5</c:v>
                </c:pt>
                <c:pt idx="1846">
                  <c:v>2016/8/8</c:v>
                </c:pt>
                <c:pt idx="1847">
                  <c:v>2016/8/9</c:v>
                </c:pt>
                <c:pt idx="1848">
                  <c:v>2016/8/10</c:v>
                </c:pt>
                <c:pt idx="1849">
                  <c:v>2016/8/11</c:v>
                </c:pt>
                <c:pt idx="1850">
                  <c:v>2016/8/12</c:v>
                </c:pt>
                <c:pt idx="1851">
                  <c:v>2016/8/15</c:v>
                </c:pt>
                <c:pt idx="1852">
                  <c:v>2016/8/16</c:v>
                </c:pt>
                <c:pt idx="1853">
                  <c:v>2016/8/17</c:v>
                </c:pt>
                <c:pt idx="1854">
                  <c:v>2016/8/18</c:v>
                </c:pt>
                <c:pt idx="1855">
                  <c:v>2016/8/19</c:v>
                </c:pt>
                <c:pt idx="1856">
                  <c:v>2016/8/22</c:v>
                </c:pt>
                <c:pt idx="1857">
                  <c:v>2016/8/23</c:v>
                </c:pt>
                <c:pt idx="1858">
                  <c:v>2016/8/24</c:v>
                </c:pt>
                <c:pt idx="1859">
                  <c:v>2016/8/25</c:v>
                </c:pt>
                <c:pt idx="1860">
                  <c:v>2016/8/26</c:v>
                </c:pt>
                <c:pt idx="1861">
                  <c:v>2016/8/29</c:v>
                </c:pt>
                <c:pt idx="1862">
                  <c:v>2016/8/30</c:v>
                </c:pt>
                <c:pt idx="1863">
                  <c:v>2016/8/31</c:v>
                </c:pt>
                <c:pt idx="1864">
                  <c:v>2016/9/1</c:v>
                </c:pt>
                <c:pt idx="1865">
                  <c:v>2016/9/2</c:v>
                </c:pt>
                <c:pt idx="1866">
                  <c:v>2016/9/5</c:v>
                </c:pt>
                <c:pt idx="1867">
                  <c:v>2016/9/6</c:v>
                </c:pt>
                <c:pt idx="1868">
                  <c:v>2016/9/7</c:v>
                </c:pt>
                <c:pt idx="1869">
                  <c:v>2016/9/8</c:v>
                </c:pt>
                <c:pt idx="1870">
                  <c:v>2016/9/9</c:v>
                </c:pt>
                <c:pt idx="1871">
                  <c:v>2016/9/12</c:v>
                </c:pt>
                <c:pt idx="1872">
                  <c:v>2016/9/13</c:v>
                </c:pt>
                <c:pt idx="1873">
                  <c:v>2016/9/14</c:v>
                </c:pt>
                <c:pt idx="1874">
                  <c:v>2016/9/19</c:v>
                </c:pt>
                <c:pt idx="1875">
                  <c:v>2016/9/20</c:v>
                </c:pt>
                <c:pt idx="1876">
                  <c:v>2016/9/21</c:v>
                </c:pt>
                <c:pt idx="1877">
                  <c:v>2016/9/22</c:v>
                </c:pt>
                <c:pt idx="1878">
                  <c:v>2016/9/23</c:v>
                </c:pt>
                <c:pt idx="1879">
                  <c:v>2016/9/26</c:v>
                </c:pt>
                <c:pt idx="1880">
                  <c:v>2016/9/27</c:v>
                </c:pt>
                <c:pt idx="1881">
                  <c:v>2016/9/28</c:v>
                </c:pt>
                <c:pt idx="1882">
                  <c:v>2016/9/29</c:v>
                </c:pt>
                <c:pt idx="1883">
                  <c:v>2016/9/30</c:v>
                </c:pt>
                <c:pt idx="1884">
                  <c:v>2016/10/10</c:v>
                </c:pt>
                <c:pt idx="1885">
                  <c:v>2016/10/11</c:v>
                </c:pt>
                <c:pt idx="1886">
                  <c:v>2016/10/12</c:v>
                </c:pt>
                <c:pt idx="1887">
                  <c:v>2016/10/13</c:v>
                </c:pt>
                <c:pt idx="1888">
                  <c:v>2016/10/14</c:v>
                </c:pt>
                <c:pt idx="1889">
                  <c:v>2016/10/17</c:v>
                </c:pt>
                <c:pt idx="1890">
                  <c:v>2016/10/18</c:v>
                </c:pt>
                <c:pt idx="1891">
                  <c:v>2016/10/19</c:v>
                </c:pt>
                <c:pt idx="1892">
                  <c:v>2016/10/20</c:v>
                </c:pt>
                <c:pt idx="1893">
                  <c:v>2016/10/21</c:v>
                </c:pt>
                <c:pt idx="1894">
                  <c:v>2016/10/24</c:v>
                </c:pt>
                <c:pt idx="1895">
                  <c:v>2016/10/25</c:v>
                </c:pt>
                <c:pt idx="1896">
                  <c:v>2016/10/26</c:v>
                </c:pt>
                <c:pt idx="1897">
                  <c:v>2016/10/27</c:v>
                </c:pt>
                <c:pt idx="1898">
                  <c:v>2016/10/28</c:v>
                </c:pt>
                <c:pt idx="1899">
                  <c:v>2016/10/31</c:v>
                </c:pt>
                <c:pt idx="1900">
                  <c:v>2016/11/1</c:v>
                </c:pt>
                <c:pt idx="1901">
                  <c:v>2016/11/2</c:v>
                </c:pt>
                <c:pt idx="1902">
                  <c:v>2016/11/3</c:v>
                </c:pt>
                <c:pt idx="1903">
                  <c:v>2016/11/4</c:v>
                </c:pt>
                <c:pt idx="1904">
                  <c:v>2016/11/7</c:v>
                </c:pt>
                <c:pt idx="1905">
                  <c:v>2016/11/8</c:v>
                </c:pt>
                <c:pt idx="1906">
                  <c:v>2016/11/9</c:v>
                </c:pt>
                <c:pt idx="1907">
                  <c:v>2016/11/10</c:v>
                </c:pt>
                <c:pt idx="1908">
                  <c:v>2016/11/11</c:v>
                </c:pt>
                <c:pt idx="1909">
                  <c:v>2016/11/14</c:v>
                </c:pt>
                <c:pt idx="1910">
                  <c:v>2016/11/15</c:v>
                </c:pt>
                <c:pt idx="1911">
                  <c:v>2016/11/16</c:v>
                </c:pt>
                <c:pt idx="1912">
                  <c:v>2016/11/17</c:v>
                </c:pt>
                <c:pt idx="1913">
                  <c:v>2016/11/18</c:v>
                </c:pt>
                <c:pt idx="1914">
                  <c:v>2016/11/21</c:v>
                </c:pt>
                <c:pt idx="1915">
                  <c:v>2016/11/22</c:v>
                </c:pt>
                <c:pt idx="1916">
                  <c:v>2016/11/23</c:v>
                </c:pt>
                <c:pt idx="1917">
                  <c:v>2016/11/24</c:v>
                </c:pt>
                <c:pt idx="1918">
                  <c:v>2016/11/25</c:v>
                </c:pt>
                <c:pt idx="1919">
                  <c:v>2016/11/28</c:v>
                </c:pt>
                <c:pt idx="1920">
                  <c:v>2016/11/29</c:v>
                </c:pt>
                <c:pt idx="1921">
                  <c:v>2016/11/30</c:v>
                </c:pt>
                <c:pt idx="1922">
                  <c:v>2016/12/1</c:v>
                </c:pt>
                <c:pt idx="1923">
                  <c:v>2016/12/2</c:v>
                </c:pt>
                <c:pt idx="1924">
                  <c:v>2016/12/5</c:v>
                </c:pt>
                <c:pt idx="1925">
                  <c:v>2016/12/6</c:v>
                </c:pt>
                <c:pt idx="1926">
                  <c:v>2016/12/7</c:v>
                </c:pt>
                <c:pt idx="1927">
                  <c:v>2016/12/8</c:v>
                </c:pt>
                <c:pt idx="1928">
                  <c:v>2016/12/9</c:v>
                </c:pt>
                <c:pt idx="1929">
                  <c:v>2016/12/12</c:v>
                </c:pt>
                <c:pt idx="1930">
                  <c:v>2016/12/13</c:v>
                </c:pt>
                <c:pt idx="1931">
                  <c:v>2016/12/14</c:v>
                </c:pt>
                <c:pt idx="1932">
                  <c:v>2016/12/15</c:v>
                </c:pt>
                <c:pt idx="1933">
                  <c:v>2016/12/16</c:v>
                </c:pt>
                <c:pt idx="1934">
                  <c:v>2016/12/19</c:v>
                </c:pt>
                <c:pt idx="1935">
                  <c:v>2016/12/20</c:v>
                </c:pt>
                <c:pt idx="1936">
                  <c:v>2016/12/21</c:v>
                </c:pt>
                <c:pt idx="1937">
                  <c:v>2016/12/22</c:v>
                </c:pt>
                <c:pt idx="1938">
                  <c:v>2016/12/23</c:v>
                </c:pt>
                <c:pt idx="1939">
                  <c:v>2016/12/26</c:v>
                </c:pt>
                <c:pt idx="1940">
                  <c:v>2016/12/27</c:v>
                </c:pt>
                <c:pt idx="1941">
                  <c:v>2016/12/28</c:v>
                </c:pt>
                <c:pt idx="1942">
                  <c:v>2016/12/29</c:v>
                </c:pt>
                <c:pt idx="1943">
                  <c:v>2016/12/30</c:v>
                </c:pt>
                <c:pt idx="1944">
                  <c:v>2017/1/3</c:v>
                </c:pt>
                <c:pt idx="1945">
                  <c:v>2017/1/4</c:v>
                </c:pt>
                <c:pt idx="1946">
                  <c:v>2017/1/5</c:v>
                </c:pt>
                <c:pt idx="1947">
                  <c:v>2017/1/6</c:v>
                </c:pt>
                <c:pt idx="1948">
                  <c:v>2017/1/9</c:v>
                </c:pt>
                <c:pt idx="1949">
                  <c:v>2017/1/10</c:v>
                </c:pt>
                <c:pt idx="1950">
                  <c:v>2017/1/11</c:v>
                </c:pt>
                <c:pt idx="1951">
                  <c:v>2017/1/12</c:v>
                </c:pt>
                <c:pt idx="1952">
                  <c:v>2017/1/13</c:v>
                </c:pt>
                <c:pt idx="1953">
                  <c:v>2017/1/16</c:v>
                </c:pt>
                <c:pt idx="1954">
                  <c:v>2017/1/17</c:v>
                </c:pt>
                <c:pt idx="1955">
                  <c:v>2017/1/18</c:v>
                </c:pt>
                <c:pt idx="1956">
                  <c:v>2017/1/19</c:v>
                </c:pt>
                <c:pt idx="1957">
                  <c:v>2017/1/20</c:v>
                </c:pt>
                <c:pt idx="1958">
                  <c:v>2017/1/23</c:v>
                </c:pt>
                <c:pt idx="1959">
                  <c:v>2017/1/24</c:v>
                </c:pt>
                <c:pt idx="1960">
                  <c:v>2017/1/25</c:v>
                </c:pt>
                <c:pt idx="1961">
                  <c:v>2017/1/26</c:v>
                </c:pt>
                <c:pt idx="1962">
                  <c:v>2017/2/3</c:v>
                </c:pt>
                <c:pt idx="1963">
                  <c:v>2017/2/6</c:v>
                </c:pt>
                <c:pt idx="1964">
                  <c:v>2017/2/7</c:v>
                </c:pt>
                <c:pt idx="1965">
                  <c:v>2017/2/8</c:v>
                </c:pt>
                <c:pt idx="1966">
                  <c:v>2017/2/9</c:v>
                </c:pt>
                <c:pt idx="1967">
                  <c:v>2017/2/10</c:v>
                </c:pt>
                <c:pt idx="1968">
                  <c:v>2017/2/13</c:v>
                </c:pt>
                <c:pt idx="1969">
                  <c:v>2017/2/14</c:v>
                </c:pt>
                <c:pt idx="1970">
                  <c:v>2017/2/15</c:v>
                </c:pt>
                <c:pt idx="1971">
                  <c:v>2017/2/16</c:v>
                </c:pt>
                <c:pt idx="1972">
                  <c:v>2017/2/17</c:v>
                </c:pt>
                <c:pt idx="1973">
                  <c:v>2017/2/20</c:v>
                </c:pt>
                <c:pt idx="1974">
                  <c:v>2017/2/21</c:v>
                </c:pt>
                <c:pt idx="1975">
                  <c:v>2017/2/22</c:v>
                </c:pt>
                <c:pt idx="1976">
                  <c:v>2017/2/23</c:v>
                </c:pt>
                <c:pt idx="1977">
                  <c:v>2017/2/24</c:v>
                </c:pt>
                <c:pt idx="1978">
                  <c:v>2017/2/27</c:v>
                </c:pt>
                <c:pt idx="1979">
                  <c:v>2017/2/28</c:v>
                </c:pt>
                <c:pt idx="1980">
                  <c:v>2017/3/1</c:v>
                </c:pt>
                <c:pt idx="1981">
                  <c:v>2017/3/2</c:v>
                </c:pt>
                <c:pt idx="1982">
                  <c:v>2017/3/3</c:v>
                </c:pt>
                <c:pt idx="1983">
                  <c:v>2017/3/6</c:v>
                </c:pt>
                <c:pt idx="1984">
                  <c:v>2017/3/7</c:v>
                </c:pt>
                <c:pt idx="1985">
                  <c:v>2017/3/8</c:v>
                </c:pt>
                <c:pt idx="1986">
                  <c:v>2017/3/9</c:v>
                </c:pt>
                <c:pt idx="1987">
                  <c:v>2017/3/10</c:v>
                </c:pt>
                <c:pt idx="1988">
                  <c:v>2017/3/13</c:v>
                </c:pt>
                <c:pt idx="1989">
                  <c:v>2017/3/14</c:v>
                </c:pt>
                <c:pt idx="1990">
                  <c:v>2017/3/15</c:v>
                </c:pt>
                <c:pt idx="1991">
                  <c:v>2017/3/16</c:v>
                </c:pt>
                <c:pt idx="1992">
                  <c:v>2017/3/17</c:v>
                </c:pt>
                <c:pt idx="1993">
                  <c:v>2017/3/20</c:v>
                </c:pt>
                <c:pt idx="1994">
                  <c:v>2017/3/21</c:v>
                </c:pt>
                <c:pt idx="1995">
                  <c:v>2017/3/22</c:v>
                </c:pt>
                <c:pt idx="1996">
                  <c:v>2017/3/23</c:v>
                </c:pt>
                <c:pt idx="1997">
                  <c:v>2017/3/24</c:v>
                </c:pt>
                <c:pt idx="1998">
                  <c:v>2017/3/27</c:v>
                </c:pt>
                <c:pt idx="1999">
                  <c:v>2017/3/28</c:v>
                </c:pt>
                <c:pt idx="2000">
                  <c:v>2017/3/29</c:v>
                </c:pt>
                <c:pt idx="2001">
                  <c:v>2017/3/30</c:v>
                </c:pt>
                <c:pt idx="2002">
                  <c:v>2017/3/31</c:v>
                </c:pt>
                <c:pt idx="2003">
                  <c:v>2017/4/5</c:v>
                </c:pt>
                <c:pt idx="2004">
                  <c:v>2017/4/6</c:v>
                </c:pt>
                <c:pt idx="2005">
                  <c:v>2017/4/7</c:v>
                </c:pt>
                <c:pt idx="2006">
                  <c:v>2017/4/10</c:v>
                </c:pt>
                <c:pt idx="2007">
                  <c:v>2017/4/11</c:v>
                </c:pt>
                <c:pt idx="2008">
                  <c:v>2017/4/12</c:v>
                </c:pt>
                <c:pt idx="2009">
                  <c:v>2017/4/13</c:v>
                </c:pt>
                <c:pt idx="2010">
                  <c:v>2017/4/14</c:v>
                </c:pt>
                <c:pt idx="2011">
                  <c:v>2017/4/17</c:v>
                </c:pt>
                <c:pt idx="2012">
                  <c:v>2017/4/18</c:v>
                </c:pt>
                <c:pt idx="2013">
                  <c:v>2017/4/19</c:v>
                </c:pt>
                <c:pt idx="2014">
                  <c:v>2017/4/20</c:v>
                </c:pt>
                <c:pt idx="2015">
                  <c:v>2017/4/21</c:v>
                </c:pt>
                <c:pt idx="2016">
                  <c:v>2017/4/24</c:v>
                </c:pt>
                <c:pt idx="2017">
                  <c:v>2017/4/25</c:v>
                </c:pt>
                <c:pt idx="2018">
                  <c:v>2017/4/26</c:v>
                </c:pt>
                <c:pt idx="2019">
                  <c:v>2017/4/27</c:v>
                </c:pt>
                <c:pt idx="2020">
                  <c:v>2017/4/28</c:v>
                </c:pt>
                <c:pt idx="2021">
                  <c:v>2017/5/2</c:v>
                </c:pt>
                <c:pt idx="2022">
                  <c:v>2017/5/3</c:v>
                </c:pt>
                <c:pt idx="2023">
                  <c:v>2017/5/4</c:v>
                </c:pt>
                <c:pt idx="2024">
                  <c:v>2017/5/5</c:v>
                </c:pt>
                <c:pt idx="2025">
                  <c:v>2017/5/8</c:v>
                </c:pt>
                <c:pt idx="2026">
                  <c:v>2017/5/9</c:v>
                </c:pt>
                <c:pt idx="2027">
                  <c:v>2017/5/10</c:v>
                </c:pt>
                <c:pt idx="2028">
                  <c:v>2017/5/11</c:v>
                </c:pt>
                <c:pt idx="2029">
                  <c:v>2017/5/12</c:v>
                </c:pt>
                <c:pt idx="2030">
                  <c:v>2017/5/15</c:v>
                </c:pt>
                <c:pt idx="2031">
                  <c:v>2017/5/16</c:v>
                </c:pt>
                <c:pt idx="2032">
                  <c:v>2017/5/17</c:v>
                </c:pt>
                <c:pt idx="2033">
                  <c:v>2017/5/18</c:v>
                </c:pt>
                <c:pt idx="2034">
                  <c:v>2017/5/19</c:v>
                </c:pt>
                <c:pt idx="2035">
                  <c:v>2017/5/22</c:v>
                </c:pt>
                <c:pt idx="2036">
                  <c:v>2017/5/23</c:v>
                </c:pt>
                <c:pt idx="2037">
                  <c:v>2017/5/24</c:v>
                </c:pt>
                <c:pt idx="2038">
                  <c:v>2017/5/25</c:v>
                </c:pt>
                <c:pt idx="2039">
                  <c:v>2017/5/26</c:v>
                </c:pt>
                <c:pt idx="2040">
                  <c:v>2017/5/31</c:v>
                </c:pt>
                <c:pt idx="2041">
                  <c:v>2017/6/1</c:v>
                </c:pt>
                <c:pt idx="2042">
                  <c:v>2017/6/2</c:v>
                </c:pt>
                <c:pt idx="2043">
                  <c:v>2017/6/5</c:v>
                </c:pt>
                <c:pt idx="2044">
                  <c:v>2017/6/6</c:v>
                </c:pt>
                <c:pt idx="2045">
                  <c:v>2017/6/7</c:v>
                </c:pt>
                <c:pt idx="2046">
                  <c:v>2017/6/8</c:v>
                </c:pt>
                <c:pt idx="2047">
                  <c:v>2017/6/9</c:v>
                </c:pt>
                <c:pt idx="2048">
                  <c:v>2017/6/12</c:v>
                </c:pt>
                <c:pt idx="2049">
                  <c:v>2017/6/13</c:v>
                </c:pt>
                <c:pt idx="2050">
                  <c:v>2017/6/14</c:v>
                </c:pt>
                <c:pt idx="2051">
                  <c:v>2017/6/15</c:v>
                </c:pt>
                <c:pt idx="2052">
                  <c:v>2017/6/16</c:v>
                </c:pt>
                <c:pt idx="2053">
                  <c:v>2017/6/19</c:v>
                </c:pt>
                <c:pt idx="2054">
                  <c:v>2017/6/20</c:v>
                </c:pt>
                <c:pt idx="2055">
                  <c:v>2017/6/21</c:v>
                </c:pt>
                <c:pt idx="2056">
                  <c:v>2017/6/22</c:v>
                </c:pt>
                <c:pt idx="2057">
                  <c:v>2017/6/23</c:v>
                </c:pt>
                <c:pt idx="2058">
                  <c:v>2017/6/26</c:v>
                </c:pt>
                <c:pt idx="2059">
                  <c:v>2017/6/27</c:v>
                </c:pt>
                <c:pt idx="2060">
                  <c:v>2017/6/28</c:v>
                </c:pt>
                <c:pt idx="2061">
                  <c:v>2017/6/29</c:v>
                </c:pt>
                <c:pt idx="2062">
                  <c:v>2017/6/30</c:v>
                </c:pt>
                <c:pt idx="2063">
                  <c:v>2017/7/3</c:v>
                </c:pt>
                <c:pt idx="2064">
                  <c:v>2017/7/4</c:v>
                </c:pt>
                <c:pt idx="2065">
                  <c:v>2017/7/5</c:v>
                </c:pt>
                <c:pt idx="2066">
                  <c:v>2017/7/6</c:v>
                </c:pt>
                <c:pt idx="2067">
                  <c:v>2017/7/7</c:v>
                </c:pt>
                <c:pt idx="2068">
                  <c:v>2017/7/10</c:v>
                </c:pt>
                <c:pt idx="2069">
                  <c:v>2017/7/11</c:v>
                </c:pt>
                <c:pt idx="2070">
                  <c:v>2017/7/12</c:v>
                </c:pt>
                <c:pt idx="2071">
                  <c:v>2017/7/13</c:v>
                </c:pt>
                <c:pt idx="2072">
                  <c:v>2017/7/14</c:v>
                </c:pt>
                <c:pt idx="2073">
                  <c:v>2017/7/17</c:v>
                </c:pt>
                <c:pt idx="2074">
                  <c:v>2017/7/18</c:v>
                </c:pt>
                <c:pt idx="2075">
                  <c:v>2017/7/19</c:v>
                </c:pt>
                <c:pt idx="2076">
                  <c:v>2017/7/20</c:v>
                </c:pt>
                <c:pt idx="2077">
                  <c:v>2017/7/21</c:v>
                </c:pt>
                <c:pt idx="2078">
                  <c:v>2017/7/24</c:v>
                </c:pt>
                <c:pt idx="2079">
                  <c:v>2017/7/25</c:v>
                </c:pt>
                <c:pt idx="2080">
                  <c:v>2017/7/26</c:v>
                </c:pt>
                <c:pt idx="2081">
                  <c:v>2017/7/27</c:v>
                </c:pt>
                <c:pt idx="2082">
                  <c:v>2017/7/28</c:v>
                </c:pt>
                <c:pt idx="2083">
                  <c:v>2017/7/31</c:v>
                </c:pt>
                <c:pt idx="2084">
                  <c:v>2017/8/1</c:v>
                </c:pt>
                <c:pt idx="2085">
                  <c:v>2017/8/2</c:v>
                </c:pt>
                <c:pt idx="2086">
                  <c:v>2017/8/3</c:v>
                </c:pt>
                <c:pt idx="2087">
                  <c:v>2017/8/4</c:v>
                </c:pt>
                <c:pt idx="2088">
                  <c:v>2017/8/7</c:v>
                </c:pt>
                <c:pt idx="2089">
                  <c:v>2017/8/8</c:v>
                </c:pt>
                <c:pt idx="2090">
                  <c:v>2017/8/9</c:v>
                </c:pt>
                <c:pt idx="2091">
                  <c:v>2017/8/10</c:v>
                </c:pt>
                <c:pt idx="2092">
                  <c:v>2017/8/11</c:v>
                </c:pt>
                <c:pt idx="2093">
                  <c:v>2017/8/14</c:v>
                </c:pt>
                <c:pt idx="2094">
                  <c:v>2017/8/15</c:v>
                </c:pt>
                <c:pt idx="2095">
                  <c:v>2017/8/16</c:v>
                </c:pt>
                <c:pt idx="2096">
                  <c:v>2017/8/17</c:v>
                </c:pt>
                <c:pt idx="2097">
                  <c:v>2017/8/18</c:v>
                </c:pt>
                <c:pt idx="2098">
                  <c:v>2017/8/21</c:v>
                </c:pt>
                <c:pt idx="2099">
                  <c:v>2017/8/22</c:v>
                </c:pt>
                <c:pt idx="2100">
                  <c:v>2017/8/23</c:v>
                </c:pt>
                <c:pt idx="2101">
                  <c:v>2017/8/24</c:v>
                </c:pt>
                <c:pt idx="2102">
                  <c:v>2017/8/25</c:v>
                </c:pt>
                <c:pt idx="2103">
                  <c:v>2017/8/28</c:v>
                </c:pt>
                <c:pt idx="2104">
                  <c:v>2017/8/29</c:v>
                </c:pt>
                <c:pt idx="2105">
                  <c:v>2017/8/30</c:v>
                </c:pt>
                <c:pt idx="2106">
                  <c:v>2017/8/31</c:v>
                </c:pt>
                <c:pt idx="2107">
                  <c:v>2017/9/1</c:v>
                </c:pt>
                <c:pt idx="2108">
                  <c:v>2017/9/4</c:v>
                </c:pt>
                <c:pt idx="2109">
                  <c:v>2017/9/5</c:v>
                </c:pt>
                <c:pt idx="2110">
                  <c:v>2017/9/6</c:v>
                </c:pt>
                <c:pt idx="2111">
                  <c:v>2017/9/7</c:v>
                </c:pt>
                <c:pt idx="2112">
                  <c:v>2017/9/8</c:v>
                </c:pt>
                <c:pt idx="2113">
                  <c:v>2017/9/11</c:v>
                </c:pt>
                <c:pt idx="2114">
                  <c:v>2017/9/12</c:v>
                </c:pt>
                <c:pt idx="2115">
                  <c:v>2017/9/13</c:v>
                </c:pt>
                <c:pt idx="2116">
                  <c:v>2017/9/14</c:v>
                </c:pt>
                <c:pt idx="2117">
                  <c:v>2017/9/15</c:v>
                </c:pt>
                <c:pt idx="2118">
                  <c:v>2017/9/18</c:v>
                </c:pt>
                <c:pt idx="2119">
                  <c:v>2017/9/19</c:v>
                </c:pt>
                <c:pt idx="2120">
                  <c:v>2017/9/20</c:v>
                </c:pt>
                <c:pt idx="2121">
                  <c:v>2017/9/21</c:v>
                </c:pt>
                <c:pt idx="2122">
                  <c:v>2017/9/22</c:v>
                </c:pt>
                <c:pt idx="2123">
                  <c:v>2017/9/25</c:v>
                </c:pt>
                <c:pt idx="2124">
                  <c:v>2017/9/26</c:v>
                </c:pt>
                <c:pt idx="2125">
                  <c:v>2017/9/27</c:v>
                </c:pt>
                <c:pt idx="2126">
                  <c:v>2017/9/28</c:v>
                </c:pt>
                <c:pt idx="2127">
                  <c:v>2017/9/29</c:v>
                </c:pt>
                <c:pt idx="2128">
                  <c:v>2017/10/9</c:v>
                </c:pt>
                <c:pt idx="2129">
                  <c:v>2017/10/10</c:v>
                </c:pt>
                <c:pt idx="2130">
                  <c:v>2017/10/11</c:v>
                </c:pt>
                <c:pt idx="2131">
                  <c:v>2017/10/12</c:v>
                </c:pt>
                <c:pt idx="2132">
                  <c:v>2017/10/13</c:v>
                </c:pt>
                <c:pt idx="2133">
                  <c:v>2017/10/16</c:v>
                </c:pt>
                <c:pt idx="2134">
                  <c:v>2017/10/17</c:v>
                </c:pt>
                <c:pt idx="2135">
                  <c:v>2017/10/18</c:v>
                </c:pt>
                <c:pt idx="2136">
                  <c:v>2017/10/19</c:v>
                </c:pt>
                <c:pt idx="2137">
                  <c:v>2017/10/20</c:v>
                </c:pt>
                <c:pt idx="2138">
                  <c:v>2017/10/23</c:v>
                </c:pt>
                <c:pt idx="2139">
                  <c:v>2017/10/24</c:v>
                </c:pt>
                <c:pt idx="2140">
                  <c:v>2017/10/25</c:v>
                </c:pt>
                <c:pt idx="2141">
                  <c:v>2017/10/26</c:v>
                </c:pt>
                <c:pt idx="2142">
                  <c:v>2017/10/27</c:v>
                </c:pt>
                <c:pt idx="2143">
                  <c:v>2017/10/30</c:v>
                </c:pt>
                <c:pt idx="2144">
                  <c:v>2017/10/31</c:v>
                </c:pt>
                <c:pt idx="2145">
                  <c:v>2017/11/1</c:v>
                </c:pt>
                <c:pt idx="2146">
                  <c:v>2017/11/2</c:v>
                </c:pt>
                <c:pt idx="2147">
                  <c:v>2017/11/3</c:v>
                </c:pt>
                <c:pt idx="2148">
                  <c:v>2017/11/6</c:v>
                </c:pt>
                <c:pt idx="2149">
                  <c:v>2017/11/7</c:v>
                </c:pt>
                <c:pt idx="2150">
                  <c:v>2017/11/8</c:v>
                </c:pt>
                <c:pt idx="2151">
                  <c:v>2017/11/9</c:v>
                </c:pt>
                <c:pt idx="2152">
                  <c:v>2017/11/10</c:v>
                </c:pt>
                <c:pt idx="2153">
                  <c:v>2017/11/13</c:v>
                </c:pt>
                <c:pt idx="2154">
                  <c:v>2017/11/14</c:v>
                </c:pt>
                <c:pt idx="2155">
                  <c:v>2017/11/15</c:v>
                </c:pt>
                <c:pt idx="2156">
                  <c:v>2017/11/16</c:v>
                </c:pt>
                <c:pt idx="2157">
                  <c:v>2017/11/17</c:v>
                </c:pt>
                <c:pt idx="2158">
                  <c:v>2017/11/20</c:v>
                </c:pt>
                <c:pt idx="2159">
                  <c:v>2017/11/21</c:v>
                </c:pt>
                <c:pt idx="2160">
                  <c:v>2017/11/22</c:v>
                </c:pt>
                <c:pt idx="2161">
                  <c:v>2017/11/23</c:v>
                </c:pt>
                <c:pt idx="2162">
                  <c:v>2017/11/24</c:v>
                </c:pt>
                <c:pt idx="2163">
                  <c:v>2017/11/27</c:v>
                </c:pt>
                <c:pt idx="2164">
                  <c:v>2017/11/28</c:v>
                </c:pt>
                <c:pt idx="2165">
                  <c:v>2017/11/29</c:v>
                </c:pt>
                <c:pt idx="2166">
                  <c:v>2017/11/30</c:v>
                </c:pt>
                <c:pt idx="2167">
                  <c:v>2017/12/1</c:v>
                </c:pt>
                <c:pt idx="2168">
                  <c:v>2017/12/4</c:v>
                </c:pt>
                <c:pt idx="2169">
                  <c:v>2017/12/5</c:v>
                </c:pt>
                <c:pt idx="2170">
                  <c:v>2017/12/6</c:v>
                </c:pt>
                <c:pt idx="2171">
                  <c:v>2017/12/7</c:v>
                </c:pt>
                <c:pt idx="2172">
                  <c:v>2017/12/8</c:v>
                </c:pt>
                <c:pt idx="2173">
                  <c:v>2017/12/11</c:v>
                </c:pt>
                <c:pt idx="2174">
                  <c:v>2017/12/12</c:v>
                </c:pt>
                <c:pt idx="2175">
                  <c:v>2017/12/13</c:v>
                </c:pt>
                <c:pt idx="2176">
                  <c:v>2017/12/14</c:v>
                </c:pt>
                <c:pt idx="2177">
                  <c:v>2017/12/15</c:v>
                </c:pt>
                <c:pt idx="2178">
                  <c:v>2017/12/18</c:v>
                </c:pt>
                <c:pt idx="2179">
                  <c:v>2017/12/19</c:v>
                </c:pt>
                <c:pt idx="2180">
                  <c:v>2017/12/20</c:v>
                </c:pt>
                <c:pt idx="2181">
                  <c:v>2017/12/21</c:v>
                </c:pt>
                <c:pt idx="2182">
                  <c:v>2017/12/22</c:v>
                </c:pt>
                <c:pt idx="2183">
                  <c:v>2017/12/25</c:v>
                </c:pt>
                <c:pt idx="2184">
                  <c:v>2017/12/26</c:v>
                </c:pt>
                <c:pt idx="2185">
                  <c:v>2017/12/27</c:v>
                </c:pt>
                <c:pt idx="2186">
                  <c:v>2017/12/28</c:v>
                </c:pt>
                <c:pt idx="2187">
                  <c:v>2017/12/29</c:v>
                </c:pt>
                <c:pt idx="2188">
                  <c:v>2018/1/2</c:v>
                </c:pt>
                <c:pt idx="2189">
                  <c:v>2018/1/3</c:v>
                </c:pt>
                <c:pt idx="2190">
                  <c:v>2018/1/4</c:v>
                </c:pt>
                <c:pt idx="2191">
                  <c:v>2018/1/5</c:v>
                </c:pt>
                <c:pt idx="2192">
                  <c:v>2018/1/8</c:v>
                </c:pt>
                <c:pt idx="2193">
                  <c:v>2018/1/9</c:v>
                </c:pt>
                <c:pt idx="2194">
                  <c:v>2018/1/10</c:v>
                </c:pt>
                <c:pt idx="2195">
                  <c:v>2018/1/11</c:v>
                </c:pt>
                <c:pt idx="2196">
                  <c:v>2018/1/12</c:v>
                </c:pt>
                <c:pt idx="2197">
                  <c:v>2018/1/15</c:v>
                </c:pt>
                <c:pt idx="2198">
                  <c:v>2018/1/16</c:v>
                </c:pt>
                <c:pt idx="2199">
                  <c:v>2018/1/17</c:v>
                </c:pt>
                <c:pt idx="2200">
                  <c:v>2018/1/18</c:v>
                </c:pt>
                <c:pt idx="2201">
                  <c:v>2018/1/19</c:v>
                </c:pt>
                <c:pt idx="2202">
                  <c:v>2018/1/22</c:v>
                </c:pt>
                <c:pt idx="2203">
                  <c:v>2018/1/23</c:v>
                </c:pt>
                <c:pt idx="2204">
                  <c:v>2018/1/24</c:v>
                </c:pt>
                <c:pt idx="2205">
                  <c:v>2018/1/25</c:v>
                </c:pt>
                <c:pt idx="2206">
                  <c:v>2018/1/26</c:v>
                </c:pt>
                <c:pt idx="2207">
                  <c:v>2018/1/29</c:v>
                </c:pt>
                <c:pt idx="2208">
                  <c:v>2018/1/30</c:v>
                </c:pt>
                <c:pt idx="2209">
                  <c:v>2018/1/31</c:v>
                </c:pt>
                <c:pt idx="2210">
                  <c:v>2018/2/1</c:v>
                </c:pt>
                <c:pt idx="2211">
                  <c:v>2018/2/2</c:v>
                </c:pt>
                <c:pt idx="2212">
                  <c:v>2018/2/5</c:v>
                </c:pt>
                <c:pt idx="2213">
                  <c:v>2018/2/6</c:v>
                </c:pt>
                <c:pt idx="2214">
                  <c:v>2018/2/7</c:v>
                </c:pt>
                <c:pt idx="2215">
                  <c:v>2018/2/8</c:v>
                </c:pt>
                <c:pt idx="2216">
                  <c:v>2018/2/9</c:v>
                </c:pt>
                <c:pt idx="2217">
                  <c:v>2018/2/12</c:v>
                </c:pt>
                <c:pt idx="2218">
                  <c:v>2018/2/13</c:v>
                </c:pt>
                <c:pt idx="2219">
                  <c:v>2018/2/14</c:v>
                </c:pt>
                <c:pt idx="2220">
                  <c:v>2018/2/22</c:v>
                </c:pt>
                <c:pt idx="2221">
                  <c:v>2018/2/23</c:v>
                </c:pt>
                <c:pt idx="2222">
                  <c:v>2018/2/26</c:v>
                </c:pt>
                <c:pt idx="2223">
                  <c:v>2018/2/27</c:v>
                </c:pt>
                <c:pt idx="2224">
                  <c:v>2018/2/28</c:v>
                </c:pt>
                <c:pt idx="2225">
                  <c:v>2018/3/1</c:v>
                </c:pt>
                <c:pt idx="2226">
                  <c:v>2018/3/2</c:v>
                </c:pt>
                <c:pt idx="2227">
                  <c:v>2018/3/5</c:v>
                </c:pt>
                <c:pt idx="2228">
                  <c:v>2018/3/6</c:v>
                </c:pt>
                <c:pt idx="2229">
                  <c:v>2018/3/7</c:v>
                </c:pt>
                <c:pt idx="2230">
                  <c:v>2018/3/8</c:v>
                </c:pt>
                <c:pt idx="2231">
                  <c:v>2018/3/9</c:v>
                </c:pt>
                <c:pt idx="2232">
                  <c:v>2018/3/12</c:v>
                </c:pt>
                <c:pt idx="2233">
                  <c:v>2018/3/13</c:v>
                </c:pt>
                <c:pt idx="2234">
                  <c:v>2018/3/14</c:v>
                </c:pt>
                <c:pt idx="2235">
                  <c:v>2018/3/15</c:v>
                </c:pt>
                <c:pt idx="2236">
                  <c:v>2018/3/16</c:v>
                </c:pt>
                <c:pt idx="2237">
                  <c:v>2018/3/19</c:v>
                </c:pt>
                <c:pt idx="2238">
                  <c:v>2018/3/20</c:v>
                </c:pt>
                <c:pt idx="2239">
                  <c:v>2018/3/21</c:v>
                </c:pt>
                <c:pt idx="2240">
                  <c:v>2018/3/22</c:v>
                </c:pt>
                <c:pt idx="2241">
                  <c:v>2018/3/23</c:v>
                </c:pt>
                <c:pt idx="2242">
                  <c:v>2018/3/26</c:v>
                </c:pt>
                <c:pt idx="2243">
                  <c:v>2018/3/27</c:v>
                </c:pt>
                <c:pt idx="2244">
                  <c:v>2018/3/28</c:v>
                </c:pt>
                <c:pt idx="2245">
                  <c:v>2018/3/29</c:v>
                </c:pt>
                <c:pt idx="2246">
                  <c:v>2018/3/30</c:v>
                </c:pt>
                <c:pt idx="2247">
                  <c:v>2018/4/2</c:v>
                </c:pt>
                <c:pt idx="2248">
                  <c:v>2018/4/3</c:v>
                </c:pt>
                <c:pt idx="2249">
                  <c:v>2018/4/4</c:v>
                </c:pt>
                <c:pt idx="2250">
                  <c:v>2018/4/9</c:v>
                </c:pt>
                <c:pt idx="2251">
                  <c:v>2018/4/10</c:v>
                </c:pt>
                <c:pt idx="2252">
                  <c:v>2018/4/11</c:v>
                </c:pt>
                <c:pt idx="2253">
                  <c:v>2018/4/12</c:v>
                </c:pt>
                <c:pt idx="2254">
                  <c:v>2018/4/13</c:v>
                </c:pt>
                <c:pt idx="2255">
                  <c:v>2018/4/16</c:v>
                </c:pt>
                <c:pt idx="2256">
                  <c:v>2018/4/17</c:v>
                </c:pt>
                <c:pt idx="2257">
                  <c:v>2018/4/18</c:v>
                </c:pt>
                <c:pt idx="2258">
                  <c:v>2018/4/19</c:v>
                </c:pt>
                <c:pt idx="2259">
                  <c:v>2018/4/20</c:v>
                </c:pt>
                <c:pt idx="2260">
                  <c:v>2018/4/23</c:v>
                </c:pt>
                <c:pt idx="2261">
                  <c:v>2018/4/24</c:v>
                </c:pt>
                <c:pt idx="2262">
                  <c:v>2018/4/25</c:v>
                </c:pt>
                <c:pt idx="2263">
                  <c:v>2018/4/26</c:v>
                </c:pt>
                <c:pt idx="2264">
                  <c:v>2018/4/27</c:v>
                </c:pt>
                <c:pt idx="2265">
                  <c:v>2018/5/2</c:v>
                </c:pt>
                <c:pt idx="2266">
                  <c:v>2018/5/3</c:v>
                </c:pt>
                <c:pt idx="2267">
                  <c:v>2018/5/4</c:v>
                </c:pt>
                <c:pt idx="2268">
                  <c:v>2018/5/7</c:v>
                </c:pt>
                <c:pt idx="2269">
                  <c:v>2018/5/8</c:v>
                </c:pt>
                <c:pt idx="2270">
                  <c:v>2018/5/9</c:v>
                </c:pt>
                <c:pt idx="2271">
                  <c:v>2018/5/10</c:v>
                </c:pt>
                <c:pt idx="2272">
                  <c:v>2018/5/11</c:v>
                </c:pt>
                <c:pt idx="2273">
                  <c:v>2018/5/14</c:v>
                </c:pt>
                <c:pt idx="2274">
                  <c:v>2018/5/15</c:v>
                </c:pt>
                <c:pt idx="2275">
                  <c:v>2018/5/16</c:v>
                </c:pt>
                <c:pt idx="2276">
                  <c:v>2018/5/17</c:v>
                </c:pt>
                <c:pt idx="2277">
                  <c:v>2018/5/18</c:v>
                </c:pt>
                <c:pt idx="2278">
                  <c:v>2018/5/21</c:v>
                </c:pt>
                <c:pt idx="2279">
                  <c:v>2018/5/22</c:v>
                </c:pt>
                <c:pt idx="2280">
                  <c:v>2018/5/23</c:v>
                </c:pt>
                <c:pt idx="2281">
                  <c:v>2018/5/24</c:v>
                </c:pt>
                <c:pt idx="2282">
                  <c:v>2018/5/25</c:v>
                </c:pt>
                <c:pt idx="2283">
                  <c:v>2018/5/28</c:v>
                </c:pt>
                <c:pt idx="2284">
                  <c:v>2018/5/29</c:v>
                </c:pt>
                <c:pt idx="2285">
                  <c:v>2018/5/30</c:v>
                </c:pt>
                <c:pt idx="2286">
                  <c:v>2018/5/31</c:v>
                </c:pt>
                <c:pt idx="2287">
                  <c:v>2018/6/1</c:v>
                </c:pt>
                <c:pt idx="2288">
                  <c:v>2018/6/4</c:v>
                </c:pt>
                <c:pt idx="2289">
                  <c:v>2018/6/5</c:v>
                </c:pt>
                <c:pt idx="2290">
                  <c:v>2018/6/6</c:v>
                </c:pt>
                <c:pt idx="2291">
                  <c:v>2018/6/7</c:v>
                </c:pt>
                <c:pt idx="2292">
                  <c:v>2018/6/8</c:v>
                </c:pt>
                <c:pt idx="2293">
                  <c:v>2018/6/11</c:v>
                </c:pt>
                <c:pt idx="2294">
                  <c:v>2018/6/12</c:v>
                </c:pt>
                <c:pt idx="2295">
                  <c:v>2018/6/13</c:v>
                </c:pt>
                <c:pt idx="2296">
                  <c:v>2018/6/14</c:v>
                </c:pt>
                <c:pt idx="2297">
                  <c:v>2018/6/15</c:v>
                </c:pt>
                <c:pt idx="2298">
                  <c:v>2018/6/19</c:v>
                </c:pt>
                <c:pt idx="2299">
                  <c:v>2018/6/20</c:v>
                </c:pt>
                <c:pt idx="2300">
                  <c:v>2018/6/21</c:v>
                </c:pt>
                <c:pt idx="2301">
                  <c:v>2018/6/22</c:v>
                </c:pt>
                <c:pt idx="2302">
                  <c:v>2018/6/25</c:v>
                </c:pt>
                <c:pt idx="2303">
                  <c:v>2018/6/26</c:v>
                </c:pt>
                <c:pt idx="2304">
                  <c:v>2018/6/27</c:v>
                </c:pt>
                <c:pt idx="2305">
                  <c:v>2018/6/28</c:v>
                </c:pt>
                <c:pt idx="2306">
                  <c:v>2018/6/29</c:v>
                </c:pt>
                <c:pt idx="2307">
                  <c:v>2018/7/2</c:v>
                </c:pt>
                <c:pt idx="2308">
                  <c:v>2018/7/3</c:v>
                </c:pt>
                <c:pt idx="2309">
                  <c:v>2018/7/4</c:v>
                </c:pt>
                <c:pt idx="2310">
                  <c:v>2018/7/5</c:v>
                </c:pt>
                <c:pt idx="2311">
                  <c:v>2018/7/6</c:v>
                </c:pt>
                <c:pt idx="2312">
                  <c:v>2018/7/9</c:v>
                </c:pt>
                <c:pt idx="2313">
                  <c:v>2018/7/10</c:v>
                </c:pt>
                <c:pt idx="2314">
                  <c:v>2018/7/11</c:v>
                </c:pt>
                <c:pt idx="2315">
                  <c:v>2018/7/12</c:v>
                </c:pt>
                <c:pt idx="2316">
                  <c:v>2018/7/13</c:v>
                </c:pt>
                <c:pt idx="2317">
                  <c:v>2018/7/16</c:v>
                </c:pt>
                <c:pt idx="2318">
                  <c:v>2018/7/17</c:v>
                </c:pt>
                <c:pt idx="2319">
                  <c:v>2018/7/18</c:v>
                </c:pt>
                <c:pt idx="2320">
                  <c:v>2018/7/19</c:v>
                </c:pt>
                <c:pt idx="2321">
                  <c:v>2018/7/20</c:v>
                </c:pt>
                <c:pt idx="2322">
                  <c:v>2018/7/23</c:v>
                </c:pt>
                <c:pt idx="2323">
                  <c:v>2018/7/24</c:v>
                </c:pt>
                <c:pt idx="2324">
                  <c:v>2018/7/25</c:v>
                </c:pt>
                <c:pt idx="2325">
                  <c:v>2018/7/26</c:v>
                </c:pt>
                <c:pt idx="2326">
                  <c:v>2018/7/27</c:v>
                </c:pt>
                <c:pt idx="2327">
                  <c:v>2018/7/30</c:v>
                </c:pt>
                <c:pt idx="2328">
                  <c:v>2018/7/31</c:v>
                </c:pt>
                <c:pt idx="2329">
                  <c:v>2018/8/1</c:v>
                </c:pt>
                <c:pt idx="2330">
                  <c:v>2018/8/2</c:v>
                </c:pt>
                <c:pt idx="2331">
                  <c:v>2018/8/3</c:v>
                </c:pt>
                <c:pt idx="2332">
                  <c:v>2018/8/6</c:v>
                </c:pt>
                <c:pt idx="2333">
                  <c:v>2018/8/7</c:v>
                </c:pt>
                <c:pt idx="2334">
                  <c:v>2018/8/8</c:v>
                </c:pt>
                <c:pt idx="2335">
                  <c:v>2018/8/9</c:v>
                </c:pt>
                <c:pt idx="2336">
                  <c:v>2018/8/10</c:v>
                </c:pt>
                <c:pt idx="2337">
                  <c:v>2018/8/13</c:v>
                </c:pt>
                <c:pt idx="2338">
                  <c:v>2018/8/14</c:v>
                </c:pt>
                <c:pt idx="2339">
                  <c:v>2018/8/15</c:v>
                </c:pt>
                <c:pt idx="2340">
                  <c:v>2018/8/16</c:v>
                </c:pt>
                <c:pt idx="2341">
                  <c:v>2018/8/17</c:v>
                </c:pt>
                <c:pt idx="2342">
                  <c:v>2018/8/20</c:v>
                </c:pt>
                <c:pt idx="2343">
                  <c:v>2018/8/21</c:v>
                </c:pt>
                <c:pt idx="2344">
                  <c:v>2018/8/22</c:v>
                </c:pt>
                <c:pt idx="2345">
                  <c:v>2018/8/23</c:v>
                </c:pt>
                <c:pt idx="2346">
                  <c:v>2018/8/24</c:v>
                </c:pt>
                <c:pt idx="2347">
                  <c:v>2018/8/27</c:v>
                </c:pt>
                <c:pt idx="2348">
                  <c:v>2018/8/28</c:v>
                </c:pt>
                <c:pt idx="2349">
                  <c:v>2018/8/29</c:v>
                </c:pt>
                <c:pt idx="2350">
                  <c:v>2018/8/30</c:v>
                </c:pt>
                <c:pt idx="2351">
                  <c:v>2018/8/31</c:v>
                </c:pt>
                <c:pt idx="2352">
                  <c:v>2018/9/3</c:v>
                </c:pt>
                <c:pt idx="2353">
                  <c:v>2018/9/4</c:v>
                </c:pt>
                <c:pt idx="2354">
                  <c:v>2018/9/5</c:v>
                </c:pt>
                <c:pt idx="2355">
                  <c:v>2018/9/6</c:v>
                </c:pt>
                <c:pt idx="2356">
                  <c:v>2018/9/7</c:v>
                </c:pt>
                <c:pt idx="2357">
                  <c:v>2018/9/10</c:v>
                </c:pt>
                <c:pt idx="2358">
                  <c:v>2018/9/11</c:v>
                </c:pt>
                <c:pt idx="2359">
                  <c:v>2018/9/12</c:v>
                </c:pt>
                <c:pt idx="2360">
                  <c:v>2018/9/13</c:v>
                </c:pt>
                <c:pt idx="2361">
                  <c:v>2018/9/14</c:v>
                </c:pt>
                <c:pt idx="2362">
                  <c:v>2018/9/17</c:v>
                </c:pt>
                <c:pt idx="2363">
                  <c:v>2018/9/18</c:v>
                </c:pt>
                <c:pt idx="2364">
                  <c:v>2018/9/19</c:v>
                </c:pt>
                <c:pt idx="2365">
                  <c:v>2018/9/20</c:v>
                </c:pt>
                <c:pt idx="2366">
                  <c:v>2018/9/21</c:v>
                </c:pt>
                <c:pt idx="2367">
                  <c:v>2018/9/25</c:v>
                </c:pt>
                <c:pt idx="2368">
                  <c:v>2018/9/26</c:v>
                </c:pt>
                <c:pt idx="2369">
                  <c:v>2018/9/27</c:v>
                </c:pt>
                <c:pt idx="2370">
                  <c:v>2018/9/28</c:v>
                </c:pt>
                <c:pt idx="2371">
                  <c:v>2018/10/8</c:v>
                </c:pt>
                <c:pt idx="2372">
                  <c:v>2018/10/9</c:v>
                </c:pt>
                <c:pt idx="2373">
                  <c:v>2018/10/10</c:v>
                </c:pt>
                <c:pt idx="2374">
                  <c:v>2018/10/11</c:v>
                </c:pt>
                <c:pt idx="2375">
                  <c:v>2018/10/12</c:v>
                </c:pt>
                <c:pt idx="2376">
                  <c:v>2018/10/15</c:v>
                </c:pt>
                <c:pt idx="2377">
                  <c:v>2018/10/16</c:v>
                </c:pt>
                <c:pt idx="2378">
                  <c:v>2018/10/17</c:v>
                </c:pt>
                <c:pt idx="2379">
                  <c:v>2018/10/18</c:v>
                </c:pt>
                <c:pt idx="2380">
                  <c:v>2018/10/19</c:v>
                </c:pt>
                <c:pt idx="2381">
                  <c:v>2018/10/22</c:v>
                </c:pt>
                <c:pt idx="2382">
                  <c:v>2018/10/23</c:v>
                </c:pt>
                <c:pt idx="2383">
                  <c:v>2018/10/24</c:v>
                </c:pt>
                <c:pt idx="2384">
                  <c:v>2018/10/25</c:v>
                </c:pt>
                <c:pt idx="2385">
                  <c:v>2018/10/26</c:v>
                </c:pt>
                <c:pt idx="2386">
                  <c:v>2018/10/29</c:v>
                </c:pt>
                <c:pt idx="2387">
                  <c:v>2018/10/30</c:v>
                </c:pt>
                <c:pt idx="2388">
                  <c:v>2018/10/31</c:v>
                </c:pt>
                <c:pt idx="2389">
                  <c:v>2018/11/1</c:v>
                </c:pt>
                <c:pt idx="2390">
                  <c:v>2018/11/2</c:v>
                </c:pt>
                <c:pt idx="2391">
                  <c:v>2018/11/5</c:v>
                </c:pt>
                <c:pt idx="2392">
                  <c:v>2018/11/6</c:v>
                </c:pt>
                <c:pt idx="2393">
                  <c:v>2018/11/7</c:v>
                </c:pt>
                <c:pt idx="2394">
                  <c:v>2018/11/8</c:v>
                </c:pt>
                <c:pt idx="2395">
                  <c:v>2018/11/9</c:v>
                </c:pt>
                <c:pt idx="2396">
                  <c:v>2018/11/12</c:v>
                </c:pt>
                <c:pt idx="2397">
                  <c:v>2018/11/13</c:v>
                </c:pt>
                <c:pt idx="2398">
                  <c:v>2018/11/14</c:v>
                </c:pt>
                <c:pt idx="2399">
                  <c:v>2018/11/15</c:v>
                </c:pt>
                <c:pt idx="2400">
                  <c:v>2018/11/16</c:v>
                </c:pt>
                <c:pt idx="2401">
                  <c:v>2018/11/19</c:v>
                </c:pt>
                <c:pt idx="2402">
                  <c:v>2018/11/20</c:v>
                </c:pt>
                <c:pt idx="2403">
                  <c:v>2018/11/21</c:v>
                </c:pt>
                <c:pt idx="2404">
                  <c:v>2018/11/22</c:v>
                </c:pt>
                <c:pt idx="2405">
                  <c:v>2018/11/23</c:v>
                </c:pt>
                <c:pt idx="2406">
                  <c:v>2018/11/26</c:v>
                </c:pt>
                <c:pt idx="2407">
                  <c:v>2018/11/27</c:v>
                </c:pt>
                <c:pt idx="2408">
                  <c:v>2018/11/28</c:v>
                </c:pt>
                <c:pt idx="2409">
                  <c:v>2018/11/29</c:v>
                </c:pt>
                <c:pt idx="2410">
                  <c:v>2018/11/30</c:v>
                </c:pt>
                <c:pt idx="2411">
                  <c:v>2018/12/3</c:v>
                </c:pt>
                <c:pt idx="2412">
                  <c:v>2018/12/4</c:v>
                </c:pt>
                <c:pt idx="2413">
                  <c:v>2018/12/5</c:v>
                </c:pt>
                <c:pt idx="2414">
                  <c:v>2018/12/6</c:v>
                </c:pt>
                <c:pt idx="2415">
                  <c:v>2018/12/7</c:v>
                </c:pt>
                <c:pt idx="2416">
                  <c:v>2018/12/10</c:v>
                </c:pt>
                <c:pt idx="2417">
                  <c:v>2018/12/11</c:v>
                </c:pt>
                <c:pt idx="2418">
                  <c:v>2018/12/12</c:v>
                </c:pt>
                <c:pt idx="2419">
                  <c:v>2018/12/13</c:v>
                </c:pt>
                <c:pt idx="2420">
                  <c:v>2018/12/14</c:v>
                </c:pt>
                <c:pt idx="2421">
                  <c:v>2018/12/17</c:v>
                </c:pt>
                <c:pt idx="2422">
                  <c:v>2018/12/18</c:v>
                </c:pt>
                <c:pt idx="2423">
                  <c:v>2018/12/19</c:v>
                </c:pt>
                <c:pt idx="2424">
                  <c:v>2018/12/20</c:v>
                </c:pt>
                <c:pt idx="2425">
                  <c:v>2018/12/21</c:v>
                </c:pt>
                <c:pt idx="2426">
                  <c:v>2018/12/24</c:v>
                </c:pt>
                <c:pt idx="2427">
                  <c:v>2018/12/25</c:v>
                </c:pt>
                <c:pt idx="2428">
                  <c:v>2018/12/26</c:v>
                </c:pt>
                <c:pt idx="2429">
                  <c:v>2018/12/27</c:v>
                </c:pt>
                <c:pt idx="2430">
                  <c:v>2018/12/28</c:v>
                </c:pt>
                <c:pt idx="2431">
                  <c:v>2019/1/2</c:v>
                </c:pt>
                <c:pt idx="2432">
                  <c:v>2019/1/3</c:v>
                </c:pt>
                <c:pt idx="2433">
                  <c:v>2019/1/4</c:v>
                </c:pt>
                <c:pt idx="2434">
                  <c:v>2019/1/7</c:v>
                </c:pt>
                <c:pt idx="2435">
                  <c:v>2019/1/8</c:v>
                </c:pt>
                <c:pt idx="2436">
                  <c:v>2019/1/9</c:v>
                </c:pt>
                <c:pt idx="2437">
                  <c:v>2019/1/10</c:v>
                </c:pt>
                <c:pt idx="2438">
                  <c:v>2019/1/11</c:v>
                </c:pt>
                <c:pt idx="2439">
                  <c:v>2019/1/14</c:v>
                </c:pt>
                <c:pt idx="2440">
                  <c:v>2019/1/15</c:v>
                </c:pt>
                <c:pt idx="2441">
                  <c:v>2019/1/16</c:v>
                </c:pt>
                <c:pt idx="2442">
                  <c:v>2019/1/17</c:v>
                </c:pt>
                <c:pt idx="2443">
                  <c:v>2019/1/18</c:v>
                </c:pt>
                <c:pt idx="2444">
                  <c:v>2019/1/21</c:v>
                </c:pt>
                <c:pt idx="2445">
                  <c:v>2019/1/22</c:v>
                </c:pt>
                <c:pt idx="2446">
                  <c:v>2019/1/23</c:v>
                </c:pt>
                <c:pt idx="2447">
                  <c:v>2019/1/24</c:v>
                </c:pt>
                <c:pt idx="2448">
                  <c:v>2019/1/25</c:v>
                </c:pt>
                <c:pt idx="2449">
                  <c:v>2019/1/28</c:v>
                </c:pt>
                <c:pt idx="2450">
                  <c:v>2019/1/29</c:v>
                </c:pt>
                <c:pt idx="2451">
                  <c:v>2019/1/30</c:v>
                </c:pt>
                <c:pt idx="2452">
                  <c:v>2019/1/31</c:v>
                </c:pt>
                <c:pt idx="2453">
                  <c:v>2019/2/1</c:v>
                </c:pt>
                <c:pt idx="2454">
                  <c:v>2019/2/11</c:v>
                </c:pt>
                <c:pt idx="2455">
                  <c:v>2019/2/12</c:v>
                </c:pt>
                <c:pt idx="2456">
                  <c:v>2019/2/13</c:v>
                </c:pt>
                <c:pt idx="2457">
                  <c:v>2019/2/14</c:v>
                </c:pt>
                <c:pt idx="2458">
                  <c:v>2019/2/15</c:v>
                </c:pt>
                <c:pt idx="2459">
                  <c:v>2019/2/18</c:v>
                </c:pt>
                <c:pt idx="2460">
                  <c:v>2019/2/19</c:v>
                </c:pt>
                <c:pt idx="2461">
                  <c:v>2019/2/20</c:v>
                </c:pt>
                <c:pt idx="2462">
                  <c:v>2019/2/21</c:v>
                </c:pt>
                <c:pt idx="2463">
                  <c:v>2019/2/22</c:v>
                </c:pt>
                <c:pt idx="2464">
                  <c:v>2019/2/25</c:v>
                </c:pt>
                <c:pt idx="2465">
                  <c:v>2019/2/26</c:v>
                </c:pt>
                <c:pt idx="2466">
                  <c:v>2019/2/27</c:v>
                </c:pt>
                <c:pt idx="2467">
                  <c:v>2019/2/28</c:v>
                </c:pt>
                <c:pt idx="2468">
                  <c:v>2019/3/1</c:v>
                </c:pt>
                <c:pt idx="2469">
                  <c:v>2019/3/4</c:v>
                </c:pt>
                <c:pt idx="2470">
                  <c:v>2019/3/5</c:v>
                </c:pt>
                <c:pt idx="2471">
                  <c:v>2019/3/6</c:v>
                </c:pt>
                <c:pt idx="2472">
                  <c:v>2019/3/7</c:v>
                </c:pt>
                <c:pt idx="2473">
                  <c:v>2019/3/8</c:v>
                </c:pt>
                <c:pt idx="2474">
                  <c:v>2019/3/11</c:v>
                </c:pt>
                <c:pt idx="2475">
                  <c:v>2019/3/12</c:v>
                </c:pt>
                <c:pt idx="2476">
                  <c:v>2019/3/13</c:v>
                </c:pt>
                <c:pt idx="2477">
                  <c:v>2019/3/14</c:v>
                </c:pt>
                <c:pt idx="2478">
                  <c:v>2019/3/15</c:v>
                </c:pt>
                <c:pt idx="2479">
                  <c:v>2019/3/18</c:v>
                </c:pt>
                <c:pt idx="2480">
                  <c:v>2019/3/19</c:v>
                </c:pt>
                <c:pt idx="2481">
                  <c:v>2019/3/20</c:v>
                </c:pt>
                <c:pt idx="2482">
                  <c:v>2019/3/21</c:v>
                </c:pt>
                <c:pt idx="2483">
                  <c:v>2019/3/22</c:v>
                </c:pt>
                <c:pt idx="2484">
                  <c:v>2019/3/25</c:v>
                </c:pt>
                <c:pt idx="2485">
                  <c:v>2019/3/26</c:v>
                </c:pt>
                <c:pt idx="2486">
                  <c:v>2019/3/27</c:v>
                </c:pt>
                <c:pt idx="2487">
                  <c:v>2019/3/28</c:v>
                </c:pt>
                <c:pt idx="2488">
                  <c:v>2019/3/29</c:v>
                </c:pt>
                <c:pt idx="2489">
                  <c:v>2019/4/1</c:v>
                </c:pt>
                <c:pt idx="2490">
                  <c:v>2019/4/2</c:v>
                </c:pt>
                <c:pt idx="2491">
                  <c:v>2019/4/3</c:v>
                </c:pt>
                <c:pt idx="2492">
                  <c:v>2019/4/4</c:v>
                </c:pt>
                <c:pt idx="2493">
                  <c:v>2019/4/8</c:v>
                </c:pt>
                <c:pt idx="2494">
                  <c:v>2019/4/9</c:v>
                </c:pt>
                <c:pt idx="2495">
                  <c:v>2019/4/10</c:v>
                </c:pt>
                <c:pt idx="2496">
                  <c:v>2019/4/11</c:v>
                </c:pt>
                <c:pt idx="2497">
                  <c:v>2019/4/12</c:v>
                </c:pt>
                <c:pt idx="2498">
                  <c:v>2019/4/15</c:v>
                </c:pt>
                <c:pt idx="2499">
                  <c:v>2019/4/16</c:v>
                </c:pt>
                <c:pt idx="2500">
                  <c:v>2019/4/17</c:v>
                </c:pt>
                <c:pt idx="2501">
                  <c:v>2019/4/18</c:v>
                </c:pt>
                <c:pt idx="2502">
                  <c:v>2019/4/19</c:v>
                </c:pt>
                <c:pt idx="2503">
                  <c:v>2019/4/22</c:v>
                </c:pt>
                <c:pt idx="2504">
                  <c:v>2019/4/23</c:v>
                </c:pt>
                <c:pt idx="2505">
                  <c:v>2019/4/24</c:v>
                </c:pt>
                <c:pt idx="2506">
                  <c:v>2019/4/25</c:v>
                </c:pt>
                <c:pt idx="2507">
                  <c:v>2019/4/26</c:v>
                </c:pt>
                <c:pt idx="2508">
                  <c:v>2019/4/29</c:v>
                </c:pt>
                <c:pt idx="2509">
                  <c:v>2019/4/30</c:v>
                </c:pt>
                <c:pt idx="2510">
                  <c:v>2019/5/6</c:v>
                </c:pt>
                <c:pt idx="2511">
                  <c:v>2019/5/7</c:v>
                </c:pt>
                <c:pt idx="2512">
                  <c:v>2019/5/8</c:v>
                </c:pt>
                <c:pt idx="2513">
                  <c:v>2019/5/9</c:v>
                </c:pt>
                <c:pt idx="2514">
                  <c:v>2019/5/10</c:v>
                </c:pt>
                <c:pt idx="2515">
                  <c:v>2019/5/13</c:v>
                </c:pt>
                <c:pt idx="2516">
                  <c:v>2019/5/14</c:v>
                </c:pt>
                <c:pt idx="2517">
                  <c:v>2019/5/15</c:v>
                </c:pt>
                <c:pt idx="2518">
                  <c:v>2019/5/16</c:v>
                </c:pt>
                <c:pt idx="2519">
                  <c:v>2019/5/17</c:v>
                </c:pt>
                <c:pt idx="2520">
                  <c:v>2019/5/20</c:v>
                </c:pt>
                <c:pt idx="2521">
                  <c:v>2019/5/21</c:v>
                </c:pt>
                <c:pt idx="2522">
                  <c:v>2019/5/22</c:v>
                </c:pt>
                <c:pt idx="2523">
                  <c:v>2019/5/23</c:v>
                </c:pt>
                <c:pt idx="2524">
                  <c:v>2019/5/24</c:v>
                </c:pt>
                <c:pt idx="2525">
                  <c:v>2019/5/27</c:v>
                </c:pt>
                <c:pt idx="2526">
                  <c:v>2019/5/28</c:v>
                </c:pt>
                <c:pt idx="2527">
                  <c:v>2019/5/29</c:v>
                </c:pt>
                <c:pt idx="2528">
                  <c:v>2019/5/30</c:v>
                </c:pt>
                <c:pt idx="2529">
                  <c:v>2019/5/31</c:v>
                </c:pt>
                <c:pt idx="2530">
                  <c:v>2019/6/3</c:v>
                </c:pt>
                <c:pt idx="2531">
                  <c:v>2019/6/4</c:v>
                </c:pt>
                <c:pt idx="2532">
                  <c:v>2019/6/5</c:v>
                </c:pt>
                <c:pt idx="2533">
                  <c:v>2019/6/6</c:v>
                </c:pt>
                <c:pt idx="2534">
                  <c:v>2019/6/10</c:v>
                </c:pt>
                <c:pt idx="2535">
                  <c:v>2019/6/11</c:v>
                </c:pt>
                <c:pt idx="2536">
                  <c:v>2019/6/12</c:v>
                </c:pt>
                <c:pt idx="2537">
                  <c:v>2019/6/13</c:v>
                </c:pt>
                <c:pt idx="2538">
                  <c:v>2019/6/14</c:v>
                </c:pt>
                <c:pt idx="2539">
                  <c:v>2019/6/17</c:v>
                </c:pt>
                <c:pt idx="2540">
                  <c:v>2019/6/18</c:v>
                </c:pt>
                <c:pt idx="2541">
                  <c:v>2019/6/19</c:v>
                </c:pt>
                <c:pt idx="2542">
                  <c:v>2019/6/20</c:v>
                </c:pt>
                <c:pt idx="2543">
                  <c:v>2019/6/21</c:v>
                </c:pt>
                <c:pt idx="2544">
                  <c:v>2019/6/24</c:v>
                </c:pt>
                <c:pt idx="2545">
                  <c:v>2019/6/25</c:v>
                </c:pt>
                <c:pt idx="2546">
                  <c:v>2019/6/26</c:v>
                </c:pt>
                <c:pt idx="2547">
                  <c:v>2019/6/27</c:v>
                </c:pt>
                <c:pt idx="2548">
                  <c:v>2019/6/28</c:v>
                </c:pt>
                <c:pt idx="2549">
                  <c:v>2019/7/1</c:v>
                </c:pt>
                <c:pt idx="2550">
                  <c:v>2019/7/2</c:v>
                </c:pt>
                <c:pt idx="2551">
                  <c:v>2019/7/3</c:v>
                </c:pt>
                <c:pt idx="2552">
                  <c:v>2019/7/4</c:v>
                </c:pt>
                <c:pt idx="2553">
                  <c:v>2019/7/5</c:v>
                </c:pt>
                <c:pt idx="2554">
                  <c:v>2019/7/8</c:v>
                </c:pt>
                <c:pt idx="2555">
                  <c:v>2019/7/9</c:v>
                </c:pt>
                <c:pt idx="2556">
                  <c:v>2019/7/10</c:v>
                </c:pt>
                <c:pt idx="2557">
                  <c:v>2019/7/11</c:v>
                </c:pt>
                <c:pt idx="2558">
                  <c:v>2019/7/12</c:v>
                </c:pt>
                <c:pt idx="2559">
                  <c:v>2019/7/15</c:v>
                </c:pt>
                <c:pt idx="2560">
                  <c:v>2019/7/16</c:v>
                </c:pt>
                <c:pt idx="2561">
                  <c:v>2019/7/17</c:v>
                </c:pt>
                <c:pt idx="2562">
                  <c:v>2019/7/18</c:v>
                </c:pt>
                <c:pt idx="2563">
                  <c:v>2019/7/19</c:v>
                </c:pt>
                <c:pt idx="2564">
                  <c:v>2019/7/22</c:v>
                </c:pt>
                <c:pt idx="2565">
                  <c:v>2019/7/23</c:v>
                </c:pt>
                <c:pt idx="2566">
                  <c:v>2019/7/24</c:v>
                </c:pt>
                <c:pt idx="2567">
                  <c:v>2019/7/25</c:v>
                </c:pt>
                <c:pt idx="2568">
                  <c:v>2019/7/26</c:v>
                </c:pt>
                <c:pt idx="2569">
                  <c:v>2019/7/29</c:v>
                </c:pt>
                <c:pt idx="2570">
                  <c:v>2019/7/30</c:v>
                </c:pt>
                <c:pt idx="2571">
                  <c:v>2019/7/31</c:v>
                </c:pt>
                <c:pt idx="2572">
                  <c:v>2019/8/1</c:v>
                </c:pt>
                <c:pt idx="2573">
                  <c:v>2019/8/2</c:v>
                </c:pt>
                <c:pt idx="2574">
                  <c:v>2019/8/5</c:v>
                </c:pt>
                <c:pt idx="2575">
                  <c:v>2019/8/6</c:v>
                </c:pt>
                <c:pt idx="2576">
                  <c:v>2019/8/7</c:v>
                </c:pt>
                <c:pt idx="2577">
                  <c:v>2019/8/8</c:v>
                </c:pt>
                <c:pt idx="2578">
                  <c:v>2019/8/9</c:v>
                </c:pt>
                <c:pt idx="2579">
                  <c:v>2019/8/12</c:v>
                </c:pt>
                <c:pt idx="2580">
                  <c:v>2019/8/13</c:v>
                </c:pt>
                <c:pt idx="2581">
                  <c:v>2019/8/14</c:v>
                </c:pt>
                <c:pt idx="2582">
                  <c:v>2019/8/15</c:v>
                </c:pt>
                <c:pt idx="2583">
                  <c:v>2019/8/16</c:v>
                </c:pt>
                <c:pt idx="2584">
                  <c:v>2019/8/19</c:v>
                </c:pt>
                <c:pt idx="2585">
                  <c:v>2019/8/20</c:v>
                </c:pt>
                <c:pt idx="2586">
                  <c:v>2019/8/21</c:v>
                </c:pt>
                <c:pt idx="2587">
                  <c:v>2019/8/22</c:v>
                </c:pt>
                <c:pt idx="2588">
                  <c:v>2019/8/23</c:v>
                </c:pt>
                <c:pt idx="2589">
                  <c:v>2019/8/26</c:v>
                </c:pt>
                <c:pt idx="2590">
                  <c:v>2019/8/27</c:v>
                </c:pt>
                <c:pt idx="2591">
                  <c:v>2019/8/28</c:v>
                </c:pt>
                <c:pt idx="2592">
                  <c:v>2019/8/29</c:v>
                </c:pt>
                <c:pt idx="2593">
                  <c:v>2019/8/30</c:v>
                </c:pt>
                <c:pt idx="2594">
                  <c:v>2019/9/2</c:v>
                </c:pt>
                <c:pt idx="2595">
                  <c:v>2019/9/3</c:v>
                </c:pt>
                <c:pt idx="2596">
                  <c:v>2019/9/4</c:v>
                </c:pt>
                <c:pt idx="2597">
                  <c:v>2019/9/5</c:v>
                </c:pt>
                <c:pt idx="2598">
                  <c:v>2019/9/6</c:v>
                </c:pt>
                <c:pt idx="2599">
                  <c:v>2019/9/9</c:v>
                </c:pt>
                <c:pt idx="2600">
                  <c:v>2019/9/10</c:v>
                </c:pt>
                <c:pt idx="2601">
                  <c:v>2019/9/11</c:v>
                </c:pt>
                <c:pt idx="2602">
                  <c:v>2019/9/12</c:v>
                </c:pt>
                <c:pt idx="2603">
                  <c:v>2019/9/16</c:v>
                </c:pt>
                <c:pt idx="2604">
                  <c:v>2019/9/17</c:v>
                </c:pt>
                <c:pt idx="2605">
                  <c:v>2019/9/18</c:v>
                </c:pt>
                <c:pt idx="2606">
                  <c:v>2019/9/19</c:v>
                </c:pt>
                <c:pt idx="2607">
                  <c:v>2019/9/20</c:v>
                </c:pt>
                <c:pt idx="2608">
                  <c:v>2019/9/23</c:v>
                </c:pt>
                <c:pt idx="2609">
                  <c:v>2019/9/24</c:v>
                </c:pt>
                <c:pt idx="2610">
                  <c:v>2019/9/25</c:v>
                </c:pt>
                <c:pt idx="2611">
                  <c:v>2019/9/26</c:v>
                </c:pt>
                <c:pt idx="2612">
                  <c:v>2019/9/27</c:v>
                </c:pt>
                <c:pt idx="2613">
                  <c:v>2019/9/30</c:v>
                </c:pt>
                <c:pt idx="2614">
                  <c:v>2019/10/8</c:v>
                </c:pt>
                <c:pt idx="2615">
                  <c:v>2019/10/9</c:v>
                </c:pt>
                <c:pt idx="2616">
                  <c:v>2019/10/10</c:v>
                </c:pt>
                <c:pt idx="2617">
                  <c:v>2019/10/11</c:v>
                </c:pt>
                <c:pt idx="2618">
                  <c:v>2019/10/14</c:v>
                </c:pt>
                <c:pt idx="2619">
                  <c:v>2019/10/15</c:v>
                </c:pt>
                <c:pt idx="2620">
                  <c:v>2019/10/16</c:v>
                </c:pt>
                <c:pt idx="2621">
                  <c:v>2019/10/17</c:v>
                </c:pt>
                <c:pt idx="2622">
                  <c:v>2019/10/18</c:v>
                </c:pt>
                <c:pt idx="2623">
                  <c:v>2019/10/21</c:v>
                </c:pt>
                <c:pt idx="2624">
                  <c:v>2019/10/22</c:v>
                </c:pt>
                <c:pt idx="2625">
                  <c:v>2019/10/23</c:v>
                </c:pt>
                <c:pt idx="2626">
                  <c:v>2019/10/24</c:v>
                </c:pt>
                <c:pt idx="2627">
                  <c:v>2019/10/25</c:v>
                </c:pt>
                <c:pt idx="2628">
                  <c:v>2019/10/28</c:v>
                </c:pt>
                <c:pt idx="2629">
                  <c:v>2019/10/29</c:v>
                </c:pt>
                <c:pt idx="2630">
                  <c:v>2019/10/30</c:v>
                </c:pt>
                <c:pt idx="2631">
                  <c:v>2019/10/31</c:v>
                </c:pt>
                <c:pt idx="2632">
                  <c:v>2019/11/1</c:v>
                </c:pt>
                <c:pt idx="2633">
                  <c:v>2019/11/4</c:v>
                </c:pt>
                <c:pt idx="2634">
                  <c:v>2019/11/5</c:v>
                </c:pt>
                <c:pt idx="2635">
                  <c:v>2019/11/6</c:v>
                </c:pt>
                <c:pt idx="2636">
                  <c:v>2019/11/7</c:v>
                </c:pt>
                <c:pt idx="2637">
                  <c:v>2019/11/8</c:v>
                </c:pt>
                <c:pt idx="2638">
                  <c:v>2019/11/11</c:v>
                </c:pt>
                <c:pt idx="2639">
                  <c:v>2019/11/12</c:v>
                </c:pt>
                <c:pt idx="2640">
                  <c:v>2019/11/13</c:v>
                </c:pt>
                <c:pt idx="2641">
                  <c:v>2019/11/14</c:v>
                </c:pt>
                <c:pt idx="2642">
                  <c:v>2019/11/15</c:v>
                </c:pt>
                <c:pt idx="2643">
                  <c:v>2019/11/18</c:v>
                </c:pt>
                <c:pt idx="2644">
                  <c:v>2019/11/19</c:v>
                </c:pt>
                <c:pt idx="2645">
                  <c:v>2019/11/20</c:v>
                </c:pt>
                <c:pt idx="2646">
                  <c:v>2019/11/21</c:v>
                </c:pt>
                <c:pt idx="2647">
                  <c:v>2019/11/22</c:v>
                </c:pt>
                <c:pt idx="2648">
                  <c:v>2019/11/25</c:v>
                </c:pt>
                <c:pt idx="2649">
                  <c:v>2019/11/26</c:v>
                </c:pt>
                <c:pt idx="2650">
                  <c:v>2019/11/27</c:v>
                </c:pt>
                <c:pt idx="2651">
                  <c:v>2019/11/28</c:v>
                </c:pt>
                <c:pt idx="2652">
                  <c:v>2019/11/29</c:v>
                </c:pt>
                <c:pt idx="2653">
                  <c:v>2019/12/2</c:v>
                </c:pt>
                <c:pt idx="2654">
                  <c:v>2019/12/3</c:v>
                </c:pt>
                <c:pt idx="2655">
                  <c:v>2019/12/4</c:v>
                </c:pt>
                <c:pt idx="2656">
                  <c:v>2019/12/5</c:v>
                </c:pt>
                <c:pt idx="2657">
                  <c:v>2019/12/6</c:v>
                </c:pt>
                <c:pt idx="2658">
                  <c:v>2019/12/9</c:v>
                </c:pt>
                <c:pt idx="2659">
                  <c:v>2019/12/10</c:v>
                </c:pt>
                <c:pt idx="2660">
                  <c:v>2019/12/11</c:v>
                </c:pt>
                <c:pt idx="2661">
                  <c:v>2019/12/12</c:v>
                </c:pt>
                <c:pt idx="2662">
                  <c:v>2019/12/13</c:v>
                </c:pt>
                <c:pt idx="2663">
                  <c:v>2019/12/16</c:v>
                </c:pt>
                <c:pt idx="2664">
                  <c:v>2019/12/17</c:v>
                </c:pt>
                <c:pt idx="2665">
                  <c:v>2019/12/18</c:v>
                </c:pt>
                <c:pt idx="2666">
                  <c:v>2019/12/19</c:v>
                </c:pt>
                <c:pt idx="2667">
                  <c:v>2019/12/20</c:v>
                </c:pt>
                <c:pt idx="2668">
                  <c:v>2019/12/23</c:v>
                </c:pt>
                <c:pt idx="2669">
                  <c:v>2019/12/24</c:v>
                </c:pt>
                <c:pt idx="2670">
                  <c:v>2019/12/25</c:v>
                </c:pt>
                <c:pt idx="2671">
                  <c:v>2019/12/26</c:v>
                </c:pt>
                <c:pt idx="2672">
                  <c:v>2019/12/27</c:v>
                </c:pt>
                <c:pt idx="2673">
                  <c:v>2019/12/30</c:v>
                </c:pt>
                <c:pt idx="2674">
                  <c:v>2019/12/31</c:v>
                </c:pt>
                <c:pt idx="2675">
                  <c:v>2020/1/2</c:v>
                </c:pt>
                <c:pt idx="2676">
                  <c:v>2020/1/3</c:v>
                </c:pt>
                <c:pt idx="2677">
                  <c:v>2020/1/6</c:v>
                </c:pt>
                <c:pt idx="2678">
                  <c:v>2020/1/7</c:v>
                </c:pt>
                <c:pt idx="2679">
                  <c:v>2020/1/8</c:v>
                </c:pt>
                <c:pt idx="2680">
                  <c:v>2020/1/9</c:v>
                </c:pt>
                <c:pt idx="2681">
                  <c:v>2020/1/10</c:v>
                </c:pt>
                <c:pt idx="2682">
                  <c:v>2020/1/13</c:v>
                </c:pt>
                <c:pt idx="2683">
                  <c:v>2020/1/14</c:v>
                </c:pt>
                <c:pt idx="2684">
                  <c:v>2020/1/15</c:v>
                </c:pt>
                <c:pt idx="2685">
                  <c:v>2020/1/16</c:v>
                </c:pt>
                <c:pt idx="2686">
                  <c:v>2020/1/17</c:v>
                </c:pt>
                <c:pt idx="2687">
                  <c:v>2020/1/20</c:v>
                </c:pt>
                <c:pt idx="2688">
                  <c:v>2020/1/21</c:v>
                </c:pt>
                <c:pt idx="2689">
                  <c:v>2020/1/22</c:v>
                </c:pt>
                <c:pt idx="2690">
                  <c:v>2020/1/23</c:v>
                </c:pt>
                <c:pt idx="2691">
                  <c:v>2020/2/3</c:v>
                </c:pt>
                <c:pt idx="2692">
                  <c:v>2020/2/4</c:v>
                </c:pt>
                <c:pt idx="2693">
                  <c:v>2020/2/5</c:v>
                </c:pt>
                <c:pt idx="2694">
                  <c:v>2020/2/6</c:v>
                </c:pt>
                <c:pt idx="2695">
                  <c:v>2020/2/7</c:v>
                </c:pt>
                <c:pt idx="2696">
                  <c:v>2020/2/10</c:v>
                </c:pt>
                <c:pt idx="2697">
                  <c:v>2020/2/11</c:v>
                </c:pt>
                <c:pt idx="2698">
                  <c:v>2020/2/12</c:v>
                </c:pt>
                <c:pt idx="2699">
                  <c:v>2020/2/13</c:v>
                </c:pt>
                <c:pt idx="2700">
                  <c:v>2020/2/14</c:v>
                </c:pt>
                <c:pt idx="2701">
                  <c:v>2020/2/17</c:v>
                </c:pt>
                <c:pt idx="2702">
                  <c:v>2020/2/18</c:v>
                </c:pt>
                <c:pt idx="2703">
                  <c:v>2020/2/19</c:v>
                </c:pt>
                <c:pt idx="2704">
                  <c:v>2020/2/20</c:v>
                </c:pt>
                <c:pt idx="2705">
                  <c:v>2020/2/21</c:v>
                </c:pt>
                <c:pt idx="2706">
                  <c:v>2020/2/24</c:v>
                </c:pt>
                <c:pt idx="2707">
                  <c:v>2020/2/25</c:v>
                </c:pt>
                <c:pt idx="2708">
                  <c:v>2020/2/26</c:v>
                </c:pt>
                <c:pt idx="2709">
                  <c:v>2020/2/27</c:v>
                </c:pt>
                <c:pt idx="2710">
                  <c:v>2020/2/28</c:v>
                </c:pt>
                <c:pt idx="2711">
                  <c:v>2020/3/2</c:v>
                </c:pt>
                <c:pt idx="2712">
                  <c:v>2020/3/3</c:v>
                </c:pt>
                <c:pt idx="2713">
                  <c:v>2020/3/4</c:v>
                </c:pt>
                <c:pt idx="2714">
                  <c:v>2020/3/5</c:v>
                </c:pt>
                <c:pt idx="2715">
                  <c:v>2020/3/6</c:v>
                </c:pt>
                <c:pt idx="2716">
                  <c:v>2020/3/9</c:v>
                </c:pt>
                <c:pt idx="2717">
                  <c:v>2020/3/10</c:v>
                </c:pt>
                <c:pt idx="2718">
                  <c:v>2020/3/11</c:v>
                </c:pt>
                <c:pt idx="2719">
                  <c:v>2020/3/12</c:v>
                </c:pt>
                <c:pt idx="2720">
                  <c:v>2020/3/13</c:v>
                </c:pt>
                <c:pt idx="2721">
                  <c:v>2020/3/16</c:v>
                </c:pt>
                <c:pt idx="2722">
                  <c:v>2020/3/17</c:v>
                </c:pt>
                <c:pt idx="2723">
                  <c:v>2020/3/18</c:v>
                </c:pt>
                <c:pt idx="2724">
                  <c:v>2020/3/19</c:v>
                </c:pt>
                <c:pt idx="2725">
                  <c:v>2020/3/20</c:v>
                </c:pt>
                <c:pt idx="2726">
                  <c:v>2020/3/23</c:v>
                </c:pt>
                <c:pt idx="2727">
                  <c:v>2020/3/24</c:v>
                </c:pt>
                <c:pt idx="2728">
                  <c:v>2020/3/25</c:v>
                </c:pt>
                <c:pt idx="2729">
                  <c:v>2020/3/26</c:v>
                </c:pt>
                <c:pt idx="2730">
                  <c:v>2020/3/27</c:v>
                </c:pt>
                <c:pt idx="2731">
                  <c:v>2020/3/30</c:v>
                </c:pt>
                <c:pt idx="2732">
                  <c:v>2020/3/31</c:v>
                </c:pt>
                <c:pt idx="2733">
                  <c:v>2020/4/1</c:v>
                </c:pt>
                <c:pt idx="2734">
                  <c:v>2020/4/2</c:v>
                </c:pt>
                <c:pt idx="2735">
                  <c:v>2020/4/3</c:v>
                </c:pt>
                <c:pt idx="2736">
                  <c:v>2020/4/7</c:v>
                </c:pt>
                <c:pt idx="2737">
                  <c:v>2020/4/8</c:v>
                </c:pt>
                <c:pt idx="2738">
                  <c:v>2020/4/9</c:v>
                </c:pt>
                <c:pt idx="2739">
                  <c:v>2020/4/10</c:v>
                </c:pt>
                <c:pt idx="2740">
                  <c:v>2020/4/13</c:v>
                </c:pt>
                <c:pt idx="2741">
                  <c:v>2020/4/14</c:v>
                </c:pt>
                <c:pt idx="2742">
                  <c:v>2020/4/15</c:v>
                </c:pt>
                <c:pt idx="2743">
                  <c:v>2020/4/16</c:v>
                </c:pt>
                <c:pt idx="2744">
                  <c:v>2020/4/17</c:v>
                </c:pt>
                <c:pt idx="2745">
                  <c:v>2020/4/20</c:v>
                </c:pt>
                <c:pt idx="2746">
                  <c:v>2020/4/21</c:v>
                </c:pt>
                <c:pt idx="2747">
                  <c:v>2020/4/22</c:v>
                </c:pt>
                <c:pt idx="2748">
                  <c:v>2020/4/23</c:v>
                </c:pt>
                <c:pt idx="2749">
                  <c:v>2020/4/24</c:v>
                </c:pt>
                <c:pt idx="2750">
                  <c:v>2020/4/27</c:v>
                </c:pt>
                <c:pt idx="2751">
                  <c:v>2020/4/28</c:v>
                </c:pt>
                <c:pt idx="2752">
                  <c:v>2020/4/29</c:v>
                </c:pt>
                <c:pt idx="2753">
                  <c:v>2020/4/30</c:v>
                </c:pt>
                <c:pt idx="2754">
                  <c:v>2020/5/6</c:v>
                </c:pt>
                <c:pt idx="2755">
                  <c:v>2020/5/7</c:v>
                </c:pt>
                <c:pt idx="2756">
                  <c:v>2020/5/8</c:v>
                </c:pt>
                <c:pt idx="2757">
                  <c:v>2020/5/11</c:v>
                </c:pt>
                <c:pt idx="2758">
                  <c:v>2020/5/12</c:v>
                </c:pt>
                <c:pt idx="2759">
                  <c:v>2020/5/13</c:v>
                </c:pt>
                <c:pt idx="2760">
                  <c:v>2020/5/14</c:v>
                </c:pt>
                <c:pt idx="2761">
                  <c:v>2020/5/15</c:v>
                </c:pt>
                <c:pt idx="2762">
                  <c:v>2020/5/18</c:v>
                </c:pt>
                <c:pt idx="2763">
                  <c:v>2020/5/19</c:v>
                </c:pt>
                <c:pt idx="2764">
                  <c:v>2020/5/20</c:v>
                </c:pt>
                <c:pt idx="2765">
                  <c:v>2020/5/21</c:v>
                </c:pt>
                <c:pt idx="2766">
                  <c:v>2020/5/22</c:v>
                </c:pt>
                <c:pt idx="2767">
                  <c:v>2020/5/25</c:v>
                </c:pt>
                <c:pt idx="2768">
                  <c:v>2020/5/26</c:v>
                </c:pt>
                <c:pt idx="2769">
                  <c:v>2020/5/27</c:v>
                </c:pt>
                <c:pt idx="2770">
                  <c:v>2020/5/28</c:v>
                </c:pt>
                <c:pt idx="2771">
                  <c:v>2020/5/29</c:v>
                </c:pt>
                <c:pt idx="2772">
                  <c:v>2020/6/1</c:v>
                </c:pt>
                <c:pt idx="2773">
                  <c:v>2020/6/2</c:v>
                </c:pt>
                <c:pt idx="2774">
                  <c:v>2020/6/3</c:v>
                </c:pt>
                <c:pt idx="2775">
                  <c:v>2020/6/4</c:v>
                </c:pt>
                <c:pt idx="2776">
                  <c:v>2020/6/5</c:v>
                </c:pt>
                <c:pt idx="2777">
                  <c:v>2020/6/8</c:v>
                </c:pt>
                <c:pt idx="2778">
                  <c:v>2020/6/9</c:v>
                </c:pt>
                <c:pt idx="2779">
                  <c:v>2020/6/10</c:v>
                </c:pt>
                <c:pt idx="2780">
                  <c:v>2020/6/11</c:v>
                </c:pt>
                <c:pt idx="2781">
                  <c:v>2020/6/12</c:v>
                </c:pt>
                <c:pt idx="2782">
                  <c:v>2020/6/15</c:v>
                </c:pt>
                <c:pt idx="2783">
                  <c:v>2020/6/16</c:v>
                </c:pt>
                <c:pt idx="2784">
                  <c:v>2020/6/17</c:v>
                </c:pt>
                <c:pt idx="2785">
                  <c:v>2020/6/18</c:v>
                </c:pt>
                <c:pt idx="2786">
                  <c:v>2020/6/19</c:v>
                </c:pt>
                <c:pt idx="2787">
                  <c:v>2020/6/22</c:v>
                </c:pt>
                <c:pt idx="2788">
                  <c:v>2020/6/23</c:v>
                </c:pt>
                <c:pt idx="2789">
                  <c:v>2020/6/24</c:v>
                </c:pt>
                <c:pt idx="2790">
                  <c:v>2020/6/29</c:v>
                </c:pt>
                <c:pt idx="2791">
                  <c:v>2020/6/30</c:v>
                </c:pt>
                <c:pt idx="2792">
                  <c:v>2020/7/1</c:v>
                </c:pt>
                <c:pt idx="2793">
                  <c:v>2020/7/2</c:v>
                </c:pt>
                <c:pt idx="2794">
                  <c:v>2020/7/3</c:v>
                </c:pt>
                <c:pt idx="2795">
                  <c:v>2020/7/6</c:v>
                </c:pt>
                <c:pt idx="2796">
                  <c:v>2020/7/7</c:v>
                </c:pt>
                <c:pt idx="2797">
                  <c:v>2020/7/8</c:v>
                </c:pt>
                <c:pt idx="2798">
                  <c:v>2020/7/9</c:v>
                </c:pt>
                <c:pt idx="2799">
                  <c:v>2020/7/10</c:v>
                </c:pt>
                <c:pt idx="2800">
                  <c:v>2020/7/13</c:v>
                </c:pt>
                <c:pt idx="2801">
                  <c:v>2020/7/14</c:v>
                </c:pt>
                <c:pt idx="2802">
                  <c:v>2020/7/15</c:v>
                </c:pt>
                <c:pt idx="2803">
                  <c:v>2020/7/16</c:v>
                </c:pt>
                <c:pt idx="2804">
                  <c:v>2020/7/17</c:v>
                </c:pt>
                <c:pt idx="2805">
                  <c:v>2020/7/20</c:v>
                </c:pt>
                <c:pt idx="2806">
                  <c:v>2020/7/21</c:v>
                </c:pt>
                <c:pt idx="2807">
                  <c:v>2020/7/22</c:v>
                </c:pt>
                <c:pt idx="2808">
                  <c:v>2020/7/23</c:v>
                </c:pt>
                <c:pt idx="2809">
                  <c:v>2020/7/24</c:v>
                </c:pt>
                <c:pt idx="2810">
                  <c:v>2020/7/27</c:v>
                </c:pt>
                <c:pt idx="2811">
                  <c:v>2020/7/28</c:v>
                </c:pt>
                <c:pt idx="2812">
                  <c:v>2020/7/29</c:v>
                </c:pt>
                <c:pt idx="2813">
                  <c:v>2020/7/30</c:v>
                </c:pt>
                <c:pt idx="2814">
                  <c:v>2020/7/31</c:v>
                </c:pt>
                <c:pt idx="2815">
                  <c:v>2020/8/3</c:v>
                </c:pt>
                <c:pt idx="2816">
                  <c:v>2020/8/4</c:v>
                </c:pt>
                <c:pt idx="2817">
                  <c:v>2020/8/5</c:v>
                </c:pt>
                <c:pt idx="2818">
                  <c:v>2020/8/6</c:v>
                </c:pt>
                <c:pt idx="2819">
                  <c:v>2020/8/7</c:v>
                </c:pt>
                <c:pt idx="2820">
                  <c:v>2020/8/10</c:v>
                </c:pt>
                <c:pt idx="2821">
                  <c:v>2020/8/11</c:v>
                </c:pt>
                <c:pt idx="2822">
                  <c:v>2020/8/12</c:v>
                </c:pt>
                <c:pt idx="2823">
                  <c:v>2020/8/13</c:v>
                </c:pt>
                <c:pt idx="2824">
                  <c:v>2020/8/14</c:v>
                </c:pt>
                <c:pt idx="2825">
                  <c:v>2020/8/17</c:v>
                </c:pt>
                <c:pt idx="2826">
                  <c:v>2020/8/18</c:v>
                </c:pt>
                <c:pt idx="2827">
                  <c:v>2020/8/19</c:v>
                </c:pt>
                <c:pt idx="2828">
                  <c:v>2020/8/20</c:v>
                </c:pt>
                <c:pt idx="2829">
                  <c:v>2020/8/21</c:v>
                </c:pt>
                <c:pt idx="2830">
                  <c:v>2020/8/24</c:v>
                </c:pt>
                <c:pt idx="2831">
                  <c:v>2020/8/25</c:v>
                </c:pt>
                <c:pt idx="2832">
                  <c:v>2020/8/26</c:v>
                </c:pt>
                <c:pt idx="2833">
                  <c:v>2020/8/27</c:v>
                </c:pt>
                <c:pt idx="2834">
                  <c:v>2020/8/28</c:v>
                </c:pt>
                <c:pt idx="2835">
                  <c:v>2020/8/31</c:v>
                </c:pt>
                <c:pt idx="2836">
                  <c:v>2020/9/1</c:v>
                </c:pt>
                <c:pt idx="2837">
                  <c:v>2020/9/2</c:v>
                </c:pt>
                <c:pt idx="2838">
                  <c:v>2020/9/3</c:v>
                </c:pt>
                <c:pt idx="2839">
                  <c:v>2020/9/4</c:v>
                </c:pt>
                <c:pt idx="2840">
                  <c:v>2020/9/7</c:v>
                </c:pt>
                <c:pt idx="2841">
                  <c:v>2020/9/8</c:v>
                </c:pt>
                <c:pt idx="2842">
                  <c:v>2020/9/9</c:v>
                </c:pt>
                <c:pt idx="2843">
                  <c:v>2020/9/10</c:v>
                </c:pt>
                <c:pt idx="2844">
                  <c:v>2020/9/11</c:v>
                </c:pt>
                <c:pt idx="2845">
                  <c:v>2020/9/14</c:v>
                </c:pt>
                <c:pt idx="2846">
                  <c:v>2020/9/15</c:v>
                </c:pt>
                <c:pt idx="2847">
                  <c:v>2020/9/16</c:v>
                </c:pt>
                <c:pt idx="2848">
                  <c:v>2020/9/17</c:v>
                </c:pt>
                <c:pt idx="2849">
                  <c:v>2020/9/18</c:v>
                </c:pt>
                <c:pt idx="2850">
                  <c:v>2020/9/21</c:v>
                </c:pt>
                <c:pt idx="2851">
                  <c:v>2020/9/22</c:v>
                </c:pt>
                <c:pt idx="2852">
                  <c:v>2020/9/23</c:v>
                </c:pt>
                <c:pt idx="2853">
                  <c:v>2020/9/24</c:v>
                </c:pt>
                <c:pt idx="2854">
                  <c:v>2020/9/25</c:v>
                </c:pt>
                <c:pt idx="2855">
                  <c:v>2020/9/28</c:v>
                </c:pt>
                <c:pt idx="2856">
                  <c:v>2020/9/29</c:v>
                </c:pt>
                <c:pt idx="2857">
                  <c:v>2020/9/30</c:v>
                </c:pt>
                <c:pt idx="2858">
                  <c:v>2020/10/9</c:v>
                </c:pt>
                <c:pt idx="2859">
                  <c:v>2020/10/12</c:v>
                </c:pt>
                <c:pt idx="2860">
                  <c:v>2020/10/13</c:v>
                </c:pt>
                <c:pt idx="2861">
                  <c:v>2020/10/14</c:v>
                </c:pt>
                <c:pt idx="2862">
                  <c:v>2020/10/15</c:v>
                </c:pt>
                <c:pt idx="2863">
                  <c:v>2020/10/16</c:v>
                </c:pt>
                <c:pt idx="2864">
                  <c:v>2020/10/19</c:v>
                </c:pt>
                <c:pt idx="2865">
                  <c:v>2020/10/20</c:v>
                </c:pt>
                <c:pt idx="2866">
                  <c:v>2020/10/21</c:v>
                </c:pt>
                <c:pt idx="2867">
                  <c:v>2020/10/22</c:v>
                </c:pt>
                <c:pt idx="2868">
                  <c:v>2020/10/23</c:v>
                </c:pt>
                <c:pt idx="2869">
                  <c:v>2020/10/26</c:v>
                </c:pt>
                <c:pt idx="2870">
                  <c:v>2020/10/27</c:v>
                </c:pt>
                <c:pt idx="2871">
                  <c:v>2020/10/28</c:v>
                </c:pt>
                <c:pt idx="2872">
                  <c:v>2020/10/29</c:v>
                </c:pt>
                <c:pt idx="2873">
                  <c:v>2020/10/30</c:v>
                </c:pt>
                <c:pt idx="2874">
                  <c:v>2020/11/2</c:v>
                </c:pt>
                <c:pt idx="2875">
                  <c:v>2020/11/3</c:v>
                </c:pt>
                <c:pt idx="2876">
                  <c:v>2020/11/4</c:v>
                </c:pt>
                <c:pt idx="2877">
                  <c:v>2020/11/5</c:v>
                </c:pt>
                <c:pt idx="2878">
                  <c:v>2020/11/6</c:v>
                </c:pt>
                <c:pt idx="2879">
                  <c:v>2020/11/9</c:v>
                </c:pt>
                <c:pt idx="2880">
                  <c:v>2020/11/10</c:v>
                </c:pt>
                <c:pt idx="2881">
                  <c:v>2020/11/11</c:v>
                </c:pt>
                <c:pt idx="2882">
                  <c:v>2020/11/12</c:v>
                </c:pt>
                <c:pt idx="2883">
                  <c:v>2020/11/13</c:v>
                </c:pt>
                <c:pt idx="2884">
                  <c:v>2020/11/16</c:v>
                </c:pt>
                <c:pt idx="2885">
                  <c:v>2020/11/17</c:v>
                </c:pt>
                <c:pt idx="2886">
                  <c:v>2020/11/18</c:v>
                </c:pt>
                <c:pt idx="2887">
                  <c:v>2020/11/19</c:v>
                </c:pt>
                <c:pt idx="2888">
                  <c:v>2020/11/20</c:v>
                </c:pt>
                <c:pt idx="2889">
                  <c:v>2020/11/23</c:v>
                </c:pt>
                <c:pt idx="2890">
                  <c:v>2020/11/24</c:v>
                </c:pt>
                <c:pt idx="2891">
                  <c:v>2020/11/25</c:v>
                </c:pt>
                <c:pt idx="2892">
                  <c:v>2020/11/26</c:v>
                </c:pt>
                <c:pt idx="2893">
                  <c:v>2020/11/27</c:v>
                </c:pt>
                <c:pt idx="2894">
                  <c:v>2020/11/30</c:v>
                </c:pt>
                <c:pt idx="2895">
                  <c:v>2020/12/1</c:v>
                </c:pt>
                <c:pt idx="2896">
                  <c:v>2020/12/2</c:v>
                </c:pt>
                <c:pt idx="2897">
                  <c:v>2020/12/3</c:v>
                </c:pt>
                <c:pt idx="2898">
                  <c:v>2020/12/4</c:v>
                </c:pt>
                <c:pt idx="2899">
                  <c:v>2020/12/7</c:v>
                </c:pt>
                <c:pt idx="2900">
                  <c:v>2020/12/8</c:v>
                </c:pt>
                <c:pt idx="2901">
                  <c:v>2020/12/9</c:v>
                </c:pt>
                <c:pt idx="2902">
                  <c:v>2020/12/10</c:v>
                </c:pt>
                <c:pt idx="2903">
                  <c:v>2020/12/11</c:v>
                </c:pt>
                <c:pt idx="2904">
                  <c:v>2020/12/14</c:v>
                </c:pt>
                <c:pt idx="2905">
                  <c:v>2020/12/15</c:v>
                </c:pt>
                <c:pt idx="2906">
                  <c:v>2020/12/16</c:v>
                </c:pt>
                <c:pt idx="2907">
                  <c:v>2020/12/17</c:v>
                </c:pt>
                <c:pt idx="2908">
                  <c:v>2020/12/18</c:v>
                </c:pt>
                <c:pt idx="2909">
                  <c:v>2020/12/21</c:v>
                </c:pt>
                <c:pt idx="2910">
                  <c:v>2020/12/22</c:v>
                </c:pt>
                <c:pt idx="2911">
                  <c:v>2020/12/23</c:v>
                </c:pt>
                <c:pt idx="2912">
                  <c:v>2020/12/24</c:v>
                </c:pt>
                <c:pt idx="2913">
                  <c:v>2020/12/25</c:v>
                </c:pt>
                <c:pt idx="2914">
                  <c:v>2020/12/28</c:v>
                </c:pt>
                <c:pt idx="2915">
                  <c:v>2020/12/29</c:v>
                </c:pt>
                <c:pt idx="2916">
                  <c:v>2020/12/30</c:v>
                </c:pt>
                <c:pt idx="2917">
                  <c:v>2020/12/31</c:v>
                </c:pt>
                <c:pt idx="2918">
                  <c:v>2021/1/4</c:v>
                </c:pt>
                <c:pt idx="2919">
                  <c:v>2021/1/5</c:v>
                </c:pt>
                <c:pt idx="2920">
                  <c:v>2021/1/6</c:v>
                </c:pt>
                <c:pt idx="2921">
                  <c:v>2021/1/7</c:v>
                </c:pt>
                <c:pt idx="2922">
                  <c:v>2021/1/8</c:v>
                </c:pt>
                <c:pt idx="2923">
                  <c:v>2021/1/11</c:v>
                </c:pt>
                <c:pt idx="2924">
                  <c:v>2021/1/12</c:v>
                </c:pt>
                <c:pt idx="2925">
                  <c:v>2021/1/13</c:v>
                </c:pt>
                <c:pt idx="2926">
                  <c:v>2021/1/14</c:v>
                </c:pt>
                <c:pt idx="2927">
                  <c:v>2021/1/15</c:v>
                </c:pt>
                <c:pt idx="2928">
                  <c:v>2021/1/18</c:v>
                </c:pt>
                <c:pt idx="2929">
                  <c:v>2021/1/19</c:v>
                </c:pt>
                <c:pt idx="2930">
                  <c:v>2021/1/20</c:v>
                </c:pt>
                <c:pt idx="2931">
                  <c:v>2021/1/21</c:v>
                </c:pt>
                <c:pt idx="2932">
                  <c:v>2021/1/22</c:v>
                </c:pt>
                <c:pt idx="2933">
                  <c:v>2021/1/25</c:v>
                </c:pt>
                <c:pt idx="2934">
                  <c:v>2021/1/26</c:v>
                </c:pt>
                <c:pt idx="2935">
                  <c:v>2021/1/27</c:v>
                </c:pt>
                <c:pt idx="2936">
                  <c:v>2021/1/28</c:v>
                </c:pt>
                <c:pt idx="2937">
                  <c:v>2021/1/29</c:v>
                </c:pt>
                <c:pt idx="2938">
                  <c:v>2021/2/1</c:v>
                </c:pt>
                <c:pt idx="2939">
                  <c:v>2021/2/2</c:v>
                </c:pt>
                <c:pt idx="2940">
                  <c:v>2021/2/3</c:v>
                </c:pt>
                <c:pt idx="2941">
                  <c:v>2021/2/4</c:v>
                </c:pt>
                <c:pt idx="2942">
                  <c:v>2021/2/5</c:v>
                </c:pt>
                <c:pt idx="2943">
                  <c:v>2021/2/8</c:v>
                </c:pt>
                <c:pt idx="2944">
                  <c:v>2021/2/9</c:v>
                </c:pt>
                <c:pt idx="2945">
                  <c:v>2021/2/10</c:v>
                </c:pt>
                <c:pt idx="2946">
                  <c:v>2021/2/18</c:v>
                </c:pt>
                <c:pt idx="2947">
                  <c:v>2021/2/19</c:v>
                </c:pt>
                <c:pt idx="2948">
                  <c:v>2021/2/22</c:v>
                </c:pt>
                <c:pt idx="2949">
                  <c:v>2021/2/23</c:v>
                </c:pt>
                <c:pt idx="2950">
                  <c:v>2021/2/24</c:v>
                </c:pt>
                <c:pt idx="2951">
                  <c:v>2021/2/25</c:v>
                </c:pt>
                <c:pt idx="2952">
                  <c:v>2021/2/26</c:v>
                </c:pt>
                <c:pt idx="2953">
                  <c:v>2021/3/1</c:v>
                </c:pt>
                <c:pt idx="2954">
                  <c:v>2021/3/2</c:v>
                </c:pt>
                <c:pt idx="2955">
                  <c:v>2021/3/3</c:v>
                </c:pt>
                <c:pt idx="2956">
                  <c:v>2021/3/4</c:v>
                </c:pt>
                <c:pt idx="2957">
                  <c:v>2021/3/5</c:v>
                </c:pt>
                <c:pt idx="2958">
                  <c:v>2021/3/8</c:v>
                </c:pt>
                <c:pt idx="2959">
                  <c:v>2021/3/9</c:v>
                </c:pt>
                <c:pt idx="2960">
                  <c:v>2021/3/10</c:v>
                </c:pt>
                <c:pt idx="2961">
                  <c:v>2021/3/11</c:v>
                </c:pt>
                <c:pt idx="2962">
                  <c:v>2021/3/12</c:v>
                </c:pt>
                <c:pt idx="2963">
                  <c:v>2021/3/15</c:v>
                </c:pt>
                <c:pt idx="2964">
                  <c:v>2021/3/16</c:v>
                </c:pt>
                <c:pt idx="2965">
                  <c:v>2021/3/17</c:v>
                </c:pt>
                <c:pt idx="2966">
                  <c:v>2021/3/18</c:v>
                </c:pt>
                <c:pt idx="2967">
                  <c:v>2021/3/19</c:v>
                </c:pt>
                <c:pt idx="2968">
                  <c:v>2021/3/22</c:v>
                </c:pt>
                <c:pt idx="2969">
                  <c:v>2021/3/23</c:v>
                </c:pt>
                <c:pt idx="2970">
                  <c:v>2021/3/24</c:v>
                </c:pt>
                <c:pt idx="2971">
                  <c:v>2021/3/25</c:v>
                </c:pt>
                <c:pt idx="2972">
                  <c:v>2021/3/26</c:v>
                </c:pt>
                <c:pt idx="2973">
                  <c:v>2021/3/29</c:v>
                </c:pt>
                <c:pt idx="2974">
                  <c:v>2021/3/30</c:v>
                </c:pt>
                <c:pt idx="2975">
                  <c:v>2021/3/31</c:v>
                </c:pt>
                <c:pt idx="2976">
                  <c:v>2021/4/1</c:v>
                </c:pt>
                <c:pt idx="2977">
                  <c:v>2021/4/2</c:v>
                </c:pt>
                <c:pt idx="2978">
                  <c:v>2021/4/6</c:v>
                </c:pt>
                <c:pt idx="2979">
                  <c:v>2021/4/7</c:v>
                </c:pt>
                <c:pt idx="2980">
                  <c:v>2021/4/8</c:v>
                </c:pt>
                <c:pt idx="2981">
                  <c:v>2021/4/9</c:v>
                </c:pt>
                <c:pt idx="2982">
                  <c:v>2021/4/12</c:v>
                </c:pt>
                <c:pt idx="2983">
                  <c:v>2021/4/13</c:v>
                </c:pt>
                <c:pt idx="2984">
                  <c:v>2021/4/14</c:v>
                </c:pt>
                <c:pt idx="2985">
                  <c:v>2021/4/15</c:v>
                </c:pt>
                <c:pt idx="2986">
                  <c:v>2021/4/16</c:v>
                </c:pt>
                <c:pt idx="2987">
                  <c:v>2021/4/19</c:v>
                </c:pt>
                <c:pt idx="2988">
                  <c:v>2021/4/20</c:v>
                </c:pt>
                <c:pt idx="2989">
                  <c:v>2021/4/21</c:v>
                </c:pt>
                <c:pt idx="2990">
                  <c:v>2021/4/22</c:v>
                </c:pt>
                <c:pt idx="2991">
                  <c:v>2021/4/23</c:v>
                </c:pt>
                <c:pt idx="2992">
                  <c:v>2021/4/26</c:v>
                </c:pt>
                <c:pt idx="2993">
                  <c:v>2021/4/27</c:v>
                </c:pt>
                <c:pt idx="2994">
                  <c:v>2021/4/28</c:v>
                </c:pt>
                <c:pt idx="2995">
                  <c:v>2021/4/29</c:v>
                </c:pt>
                <c:pt idx="2996">
                  <c:v>2021/4/30</c:v>
                </c:pt>
                <c:pt idx="2997">
                  <c:v>2021/5/6</c:v>
                </c:pt>
                <c:pt idx="2998">
                  <c:v>2021/5/7</c:v>
                </c:pt>
                <c:pt idx="2999">
                  <c:v>2021/5/10</c:v>
                </c:pt>
                <c:pt idx="3000">
                  <c:v>2021/5/11</c:v>
                </c:pt>
                <c:pt idx="3001">
                  <c:v>2021/5/12</c:v>
                </c:pt>
                <c:pt idx="3002">
                  <c:v>2021/5/13</c:v>
                </c:pt>
                <c:pt idx="3003">
                  <c:v>2021/5/14</c:v>
                </c:pt>
                <c:pt idx="3004">
                  <c:v>2021/5/17</c:v>
                </c:pt>
                <c:pt idx="3005">
                  <c:v>2021/5/18</c:v>
                </c:pt>
                <c:pt idx="3006">
                  <c:v>2021/5/19</c:v>
                </c:pt>
                <c:pt idx="3007">
                  <c:v>2021/5/20</c:v>
                </c:pt>
                <c:pt idx="3008">
                  <c:v>2021/5/21</c:v>
                </c:pt>
                <c:pt idx="3009">
                  <c:v>2021/5/24</c:v>
                </c:pt>
                <c:pt idx="3010">
                  <c:v>2021/5/25</c:v>
                </c:pt>
                <c:pt idx="3011">
                  <c:v>2021/5/26</c:v>
                </c:pt>
                <c:pt idx="3012">
                  <c:v>2021/5/27</c:v>
                </c:pt>
                <c:pt idx="3013">
                  <c:v>2021/5/28</c:v>
                </c:pt>
                <c:pt idx="3014">
                  <c:v>2021/5/31</c:v>
                </c:pt>
                <c:pt idx="3015">
                  <c:v>2021/6/1</c:v>
                </c:pt>
                <c:pt idx="3016">
                  <c:v>2021/6/2</c:v>
                </c:pt>
                <c:pt idx="3017">
                  <c:v>2021/6/3</c:v>
                </c:pt>
                <c:pt idx="3018">
                  <c:v>2021/6/4</c:v>
                </c:pt>
                <c:pt idx="3019">
                  <c:v>2021/6/7</c:v>
                </c:pt>
                <c:pt idx="3020">
                  <c:v>2021/6/8</c:v>
                </c:pt>
                <c:pt idx="3021">
                  <c:v>2021/6/9</c:v>
                </c:pt>
                <c:pt idx="3022">
                  <c:v>2021/6/10</c:v>
                </c:pt>
                <c:pt idx="3023">
                  <c:v>2021/6/11</c:v>
                </c:pt>
                <c:pt idx="3024">
                  <c:v>2021/6/15</c:v>
                </c:pt>
                <c:pt idx="3025">
                  <c:v>2021/6/16</c:v>
                </c:pt>
                <c:pt idx="3026">
                  <c:v>2021/6/17</c:v>
                </c:pt>
                <c:pt idx="3027">
                  <c:v>2021/6/18</c:v>
                </c:pt>
                <c:pt idx="3028">
                  <c:v>2021/6/21</c:v>
                </c:pt>
                <c:pt idx="3029">
                  <c:v>2021/6/22</c:v>
                </c:pt>
                <c:pt idx="3030">
                  <c:v>2021/6/23</c:v>
                </c:pt>
                <c:pt idx="3031">
                  <c:v>2021/6/24</c:v>
                </c:pt>
                <c:pt idx="3032">
                  <c:v>2021/6/25</c:v>
                </c:pt>
                <c:pt idx="3033">
                  <c:v>2021/6/28</c:v>
                </c:pt>
                <c:pt idx="3034">
                  <c:v>2021/6/29</c:v>
                </c:pt>
                <c:pt idx="3035">
                  <c:v>2021/6/30</c:v>
                </c:pt>
                <c:pt idx="3036">
                  <c:v>2021/7/1</c:v>
                </c:pt>
                <c:pt idx="3037">
                  <c:v>2021/7/2</c:v>
                </c:pt>
                <c:pt idx="3038">
                  <c:v>2021/7/5</c:v>
                </c:pt>
                <c:pt idx="3039">
                  <c:v>2021/7/6</c:v>
                </c:pt>
                <c:pt idx="3040">
                  <c:v>2021/7/7</c:v>
                </c:pt>
                <c:pt idx="3041">
                  <c:v>2021/7/8</c:v>
                </c:pt>
                <c:pt idx="3042">
                  <c:v>2021/7/9</c:v>
                </c:pt>
                <c:pt idx="3043">
                  <c:v>2021/7/12</c:v>
                </c:pt>
                <c:pt idx="3044">
                  <c:v>2021/7/13</c:v>
                </c:pt>
                <c:pt idx="3045">
                  <c:v>2021/7/14</c:v>
                </c:pt>
                <c:pt idx="3046">
                  <c:v>2021/7/15</c:v>
                </c:pt>
                <c:pt idx="3047">
                  <c:v>2021/7/16</c:v>
                </c:pt>
                <c:pt idx="3048">
                  <c:v>2021/7/19</c:v>
                </c:pt>
                <c:pt idx="3049">
                  <c:v>2021/7/20</c:v>
                </c:pt>
                <c:pt idx="3050">
                  <c:v>2021/7/21</c:v>
                </c:pt>
                <c:pt idx="3051">
                  <c:v>2021/7/22</c:v>
                </c:pt>
                <c:pt idx="3052">
                  <c:v>2021/7/23</c:v>
                </c:pt>
                <c:pt idx="3053">
                  <c:v>2021/7/26</c:v>
                </c:pt>
                <c:pt idx="3054">
                  <c:v>2021/7/27</c:v>
                </c:pt>
                <c:pt idx="3055">
                  <c:v>2021/7/28</c:v>
                </c:pt>
                <c:pt idx="3056">
                  <c:v>2021/7/29</c:v>
                </c:pt>
                <c:pt idx="3057">
                  <c:v>2021/7/30</c:v>
                </c:pt>
                <c:pt idx="3058">
                  <c:v>2021/8/2</c:v>
                </c:pt>
                <c:pt idx="3059">
                  <c:v>2021/8/3</c:v>
                </c:pt>
                <c:pt idx="3060">
                  <c:v>2021/8/4</c:v>
                </c:pt>
                <c:pt idx="3061">
                  <c:v>2021/8/5</c:v>
                </c:pt>
                <c:pt idx="3062">
                  <c:v>2021/8/6</c:v>
                </c:pt>
                <c:pt idx="3063">
                  <c:v>2021/8/9</c:v>
                </c:pt>
                <c:pt idx="3064">
                  <c:v>2021/8/10</c:v>
                </c:pt>
                <c:pt idx="3065">
                  <c:v>2021/8/11</c:v>
                </c:pt>
                <c:pt idx="3066">
                  <c:v>2021/8/12</c:v>
                </c:pt>
                <c:pt idx="3067">
                  <c:v>2021/8/13</c:v>
                </c:pt>
                <c:pt idx="3068">
                  <c:v>2021/8/16</c:v>
                </c:pt>
                <c:pt idx="3069">
                  <c:v>2021/8/17</c:v>
                </c:pt>
                <c:pt idx="3070">
                  <c:v>2021/8/18</c:v>
                </c:pt>
                <c:pt idx="3071">
                  <c:v>2021/8/19</c:v>
                </c:pt>
                <c:pt idx="3072">
                  <c:v>2021/8/20</c:v>
                </c:pt>
                <c:pt idx="3073">
                  <c:v>2021/8/23</c:v>
                </c:pt>
                <c:pt idx="3074">
                  <c:v>2021/8/24</c:v>
                </c:pt>
                <c:pt idx="3075">
                  <c:v>2021/8/25</c:v>
                </c:pt>
                <c:pt idx="3076">
                  <c:v>2021/8/26</c:v>
                </c:pt>
                <c:pt idx="3077">
                  <c:v>2021/8/27</c:v>
                </c:pt>
                <c:pt idx="3078">
                  <c:v>2021/8/30</c:v>
                </c:pt>
                <c:pt idx="3079">
                  <c:v>2021/8/31</c:v>
                </c:pt>
                <c:pt idx="3080">
                  <c:v>2021/9/1</c:v>
                </c:pt>
                <c:pt idx="3081">
                  <c:v>2021/9/2</c:v>
                </c:pt>
                <c:pt idx="3082">
                  <c:v>2021/9/3</c:v>
                </c:pt>
                <c:pt idx="3083">
                  <c:v>2021/9/6</c:v>
                </c:pt>
                <c:pt idx="3084">
                  <c:v>2021/9/7</c:v>
                </c:pt>
                <c:pt idx="3085">
                  <c:v>2021/9/8</c:v>
                </c:pt>
                <c:pt idx="3086">
                  <c:v>2021/9/9</c:v>
                </c:pt>
                <c:pt idx="3087">
                  <c:v>2021/9/10</c:v>
                </c:pt>
                <c:pt idx="3088">
                  <c:v>2021/9/13</c:v>
                </c:pt>
                <c:pt idx="3089">
                  <c:v>2021/9/14</c:v>
                </c:pt>
                <c:pt idx="3090">
                  <c:v>2021/9/15</c:v>
                </c:pt>
                <c:pt idx="3091">
                  <c:v>2021/9/16</c:v>
                </c:pt>
                <c:pt idx="3092">
                  <c:v>2021/9/17</c:v>
                </c:pt>
                <c:pt idx="3093">
                  <c:v>2021/9/22</c:v>
                </c:pt>
                <c:pt idx="3094">
                  <c:v>2021/9/23</c:v>
                </c:pt>
                <c:pt idx="3095">
                  <c:v>2021/9/24</c:v>
                </c:pt>
                <c:pt idx="3096">
                  <c:v>2021/9/27</c:v>
                </c:pt>
                <c:pt idx="3097">
                  <c:v>2021/9/28</c:v>
                </c:pt>
                <c:pt idx="3098">
                  <c:v>2021/9/29</c:v>
                </c:pt>
                <c:pt idx="3099">
                  <c:v>2021/9/30</c:v>
                </c:pt>
                <c:pt idx="3100">
                  <c:v>2021/10/8</c:v>
                </c:pt>
                <c:pt idx="3101">
                  <c:v>2021/10/11</c:v>
                </c:pt>
                <c:pt idx="3102">
                  <c:v>2021/10/12</c:v>
                </c:pt>
                <c:pt idx="3103">
                  <c:v>2021/10/13</c:v>
                </c:pt>
                <c:pt idx="3104">
                  <c:v>2021/10/14</c:v>
                </c:pt>
                <c:pt idx="3105">
                  <c:v>2021/10/15</c:v>
                </c:pt>
                <c:pt idx="3106">
                  <c:v>2021/10/18</c:v>
                </c:pt>
                <c:pt idx="3107">
                  <c:v>2021/10/19</c:v>
                </c:pt>
                <c:pt idx="3108">
                  <c:v>2021/10/20</c:v>
                </c:pt>
                <c:pt idx="3109">
                  <c:v>2021/10/21</c:v>
                </c:pt>
                <c:pt idx="3110">
                  <c:v>2021/10/22</c:v>
                </c:pt>
                <c:pt idx="3111">
                  <c:v>2021/10/25</c:v>
                </c:pt>
                <c:pt idx="3112">
                  <c:v>2021/10/26</c:v>
                </c:pt>
                <c:pt idx="3113">
                  <c:v>2021/10/27</c:v>
                </c:pt>
                <c:pt idx="3114">
                  <c:v>2021/10/28</c:v>
                </c:pt>
                <c:pt idx="3115">
                  <c:v>2021/10/29</c:v>
                </c:pt>
                <c:pt idx="3116">
                  <c:v>2021/11/1</c:v>
                </c:pt>
                <c:pt idx="3117">
                  <c:v>2021/11/2</c:v>
                </c:pt>
                <c:pt idx="3118">
                  <c:v>2021/11/3</c:v>
                </c:pt>
                <c:pt idx="3119">
                  <c:v>2021/11/4</c:v>
                </c:pt>
                <c:pt idx="3120">
                  <c:v>2021/11/5</c:v>
                </c:pt>
                <c:pt idx="3121">
                  <c:v>2021/11/8</c:v>
                </c:pt>
                <c:pt idx="3122">
                  <c:v>2021/11/9</c:v>
                </c:pt>
                <c:pt idx="3123">
                  <c:v>2021/11/10</c:v>
                </c:pt>
                <c:pt idx="3124">
                  <c:v>2021/11/11</c:v>
                </c:pt>
                <c:pt idx="3125">
                  <c:v>2021/11/12</c:v>
                </c:pt>
                <c:pt idx="3126">
                  <c:v>2021/11/15</c:v>
                </c:pt>
                <c:pt idx="3127">
                  <c:v>2021/11/16</c:v>
                </c:pt>
                <c:pt idx="3128">
                  <c:v>2021/11/17</c:v>
                </c:pt>
                <c:pt idx="3129">
                  <c:v>2021/11/18</c:v>
                </c:pt>
                <c:pt idx="3130">
                  <c:v>2021/11/19</c:v>
                </c:pt>
                <c:pt idx="3131">
                  <c:v>2021/11/22</c:v>
                </c:pt>
                <c:pt idx="3132">
                  <c:v>2021/11/23</c:v>
                </c:pt>
                <c:pt idx="3133">
                  <c:v>2021/11/24</c:v>
                </c:pt>
                <c:pt idx="3134">
                  <c:v>2021/11/25</c:v>
                </c:pt>
                <c:pt idx="3135">
                  <c:v>2021/11/26</c:v>
                </c:pt>
                <c:pt idx="3136">
                  <c:v>2021/11/29</c:v>
                </c:pt>
                <c:pt idx="3137">
                  <c:v>2021/11/30</c:v>
                </c:pt>
                <c:pt idx="3138">
                  <c:v>2021/12/1</c:v>
                </c:pt>
                <c:pt idx="3139">
                  <c:v>2021/12/2</c:v>
                </c:pt>
                <c:pt idx="3140">
                  <c:v>2021/12/3</c:v>
                </c:pt>
                <c:pt idx="3141">
                  <c:v>2021/12/6</c:v>
                </c:pt>
                <c:pt idx="3142">
                  <c:v>2021/12/7</c:v>
                </c:pt>
                <c:pt idx="3143">
                  <c:v>2021/12/8</c:v>
                </c:pt>
                <c:pt idx="3144">
                  <c:v>2021/12/9</c:v>
                </c:pt>
                <c:pt idx="3145">
                  <c:v>2021/12/10</c:v>
                </c:pt>
                <c:pt idx="3146">
                  <c:v>2021/12/13</c:v>
                </c:pt>
                <c:pt idx="3147">
                  <c:v>2021/12/14</c:v>
                </c:pt>
                <c:pt idx="3148">
                  <c:v>2021/12/15</c:v>
                </c:pt>
                <c:pt idx="3149">
                  <c:v>2021/12/16</c:v>
                </c:pt>
                <c:pt idx="3150">
                  <c:v>2021/12/17</c:v>
                </c:pt>
                <c:pt idx="3151">
                  <c:v>2021/12/20</c:v>
                </c:pt>
                <c:pt idx="3152">
                  <c:v>2021/12/21</c:v>
                </c:pt>
                <c:pt idx="3153">
                  <c:v>2021/12/22</c:v>
                </c:pt>
                <c:pt idx="3154">
                  <c:v>2021/12/23</c:v>
                </c:pt>
                <c:pt idx="3155">
                  <c:v>2021/12/24</c:v>
                </c:pt>
                <c:pt idx="3156">
                  <c:v>2021/12/27</c:v>
                </c:pt>
                <c:pt idx="3157">
                  <c:v>2021/12/28</c:v>
                </c:pt>
                <c:pt idx="3158">
                  <c:v>2021/12/29</c:v>
                </c:pt>
                <c:pt idx="3159">
                  <c:v>2021/12/30</c:v>
                </c:pt>
                <c:pt idx="3160">
                  <c:v>2021/12/31</c:v>
                </c:pt>
                <c:pt idx="3161">
                  <c:v>2022/1/4</c:v>
                </c:pt>
                <c:pt idx="3162">
                  <c:v>2022/1/5</c:v>
                </c:pt>
                <c:pt idx="3163">
                  <c:v>2022/1/6</c:v>
                </c:pt>
                <c:pt idx="3164">
                  <c:v>2022/1/7</c:v>
                </c:pt>
                <c:pt idx="3165">
                  <c:v>2022/1/10</c:v>
                </c:pt>
                <c:pt idx="3166">
                  <c:v>2022/1/11</c:v>
                </c:pt>
                <c:pt idx="3167">
                  <c:v>2022/1/12</c:v>
                </c:pt>
                <c:pt idx="3168">
                  <c:v>2022/1/13</c:v>
                </c:pt>
                <c:pt idx="3169">
                  <c:v>2022/1/14</c:v>
                </c:pt>
                <c:pt idx="3170">
                  <c:v>2022/1/17</c:v>
                </c:pt>
                <c:pt idx="3171">
                  <c:v>2022/1/18</c:v>
                </c:pt>
                <c:pt idx="3172">
                  <c:v>2022/1/19</c:v>
                </c:pt>
                <c:pt idx="3173">
                  <c:v>2022/1/20</c:v>
                </c:pt>
                <c:pt idx="3174">
                  <c:v>2022/1/21</c:v>
                </c:pt>
                <c:pt idx="3175">
                  <c:v>2022/1/24</c:v>
                </c:pt>
                <c:pt idx="3176">
                  <c:v>2022/1/25</c:v>
                </c:pt>
                <c:pt idx="3177">
                  <c:v>2022/1/26</c:v>
                </c:pt>
                <c:pt idx="3178">
                  <c:v>2022/1/27</c:v>
                </c:pt>
                <c:pt idx="3179">
                  <c:v>2022/1/28</c:v>
                </c:pt>
                <c:pt idx="3180">
                  <c:v>2022/2/7</c:v>
                </c:pt>
                <c:pt idx="3181">
                  <c:v>2022/2/8</c:v>
                </c:pt>
                <c:pt idx="3182">
                  <c:v>2022/2/9</c:v>
                </c:pt>
                <c:pt idx="3183">
                  <c:v>2022/2/10</c:v>
                </c:pt>
                <c:pt idx="3184">
                  <c:v>2022/2/11</c:v>
                </c:pt>
                <c:pt idx="3185">
                  <c:v>2022/2/14</c:v>
                </c:pt>
                <c:pt idx="3186">
                  <c:v>2022/2/15</c:v>
                </c:pt>
                <c:pt idx="3187">
                  <c:v>2022/2/16</c:v>
                </c:pt>
                <c:pt idx="3188">
                  <c:v>2022/2/17</c:v>
                </c:pt>
                <c:pt idx="3189">
                  <c:v>2022/2/18</c:v>
                </c:pt>
                <c:pt idx="3190">
                  <c:v>2022/2/21</c:v>
                </c:pt>
                <c:pt idx="3191">
                  <c:v>2022/2/22</c:v>
                </c:pt>
                <c:pt idx="3192">
                  <c:v>2022/2/23</c:v>
                </c:pt>
                <c:pt idx="3193">
                  <c:v>2022/2/24</c:v>
                </c:pt>
                <c:pt idx="3194">
                  <c:v>2022/2/25</c:v>
                </c:pt>
                <c:pt idx="3195">
                  <c:v>2022/2/28</c:v>
                </c:pt>
                <c:pt idx="3196">
                  <c:v>2022/3/1</c:v>
                </c:pt>
                <c:pt idx="3197">
                  <c:v>2022/3/2</c:v>
                </c:pt>
                <c:pt idx="3198">
                  <c:v>2022/3/3</c:v>
                </c:pt>
                <c:pt idx="3199">
                  <c:v>2022/3/4</c:v>
                </c:pt>
                <c:pt idx="3200">
                  <c:v>2022/3/7</c:v>
                </c:pt>
                <c:pt idx="3201">
                  <c:v>2022/3/8</c:v>
                </c:pt>
                <c:pt idx="3202">
                  <c:v>2022/3/9</c:v>
                </c:pt>
                <c:pt idx="3203">
                  <c:v>2022/3/10</c:v>
                </c:pt>
                <c:pt idx="3204">
                  <c:v>2022/3/11</c:v>
                </c:pt>
                <c:pt idx="3205">
                  <c:v>2022/3/14</c:v>
                </c:pt>
                <c:pt idx="3206">
                  <c:v>2022/3/15</c:v>
                </c:pt>
                <c:pt idx="3207">
                  <c:v>2022/3/16</c:v>
                </c:pt>
                <c:pt idx="3208">
                  <c:v>2022/3/17</c:v>
                </c:pt>
                <c:pt idx="3209">
                  <c:v>2022/3/18</c:v>
                </c:pt>
                <c:pt idx="3210">
                  <c:v>2022/3/21</c:v>
                </c:pt>
                <c:pt idx="3211">
                  <c:v>2022/3/22</c:v>
                </c:pt>
                <c:pt idx="3212">
                  <c:v>2022/3/23</c:v>
                </c:pt>
                <c:pt idx="3213">
                  <c:v>2022/3/24</c:v>
                </c:pt>
                <c:pt idx="3214">
                  <c:v>2022/3/25</c:v>
                </c:pt>
                <c:pt idx="3215">
                  <c:v>2022/3/28</c:v>
                </c:pt>
                <c:pt idx="3216">
                  <c:v>2022/3/29</c:v>
                </c:pt>
                <c:pt idx="3217">
                  <c:v>2022/3/30</c:v>
                </c:pt>
                <c:pt idx="3218">
                  <c:v>2022/3/31</c:v>
                </c:pt>
                <c:pt idx="3219">
                  <c:v>2022/4/1</c:v>
                </c:pt>
                <c:pt idx="3220">
                  <c:v>2022/4/6</c:v>
                </c:pt>
                <c:pt idx="3221">
                  <c:v>2022/4/7</c:v>
                </c:pt>
                <c:pt idx="3222">
                  <c:v>2022/4/8</c:v>
                </c:pt>
              </c:strCache>
            </c:strRef>
          </c:cat>
          <c:val>
            <c:numRef>
              <c:f>Sheet1!$C$2:$C$3224</c:f>
              <c:numCache>
                <c:formatCode>General</c:formatCode>
                <c:ptCount val="3223"/>
                <c:pt idx="0">
                  <c:v>1000000</c:v>
                </c:pt>
                <c:pt idx="1">
                  <c:v>1031779.7510302926</c:v>
                </c:pt>
                <c:pt idx="2">
                  <c:v>1025608.6162212688</c:v>
                </c:pt>
                <c:pt idx="3">
                  <c:v>1002671.3259973659</c:v>
                </c:pt>
                <c:pt idx="4">
                  <c:v>1018805.4977269829</c:v>
                </c:pt>
                <c:pt idx="5">
                  <c:v>1020037.6003738793</c:v>
                </c:pt>
                <c:pt idx="6">
                  <c:v>996404.5970174619</c:v>
                </c:pt>
                <c:pt idx="7">
                  <c:v>1038386.3703955474</c:v>
                </c:pt>
                <c:pt idx="8">
                  <c:v>1038189.8712665165</c:v>
                </c:pt>
                <c:pt idx="9">
                  <c:v>1056958.1934826018</c:v>
                </c:pt>
                <c:pt idx="10">
                  <c:v>1068780.0059480816</c:v>
                </c:pt>
                <c:pt idx="11">
                  <c:v>1075535.3273569276</c:v>
                </c:pt>
                <c:pt idx="12">
                  <c:v>1073687.1733865829</c:v>
                </c:pt>
                <c:pt idx="13">
                  <c:v>1085817.0115137869</c:v>
                </c:pt>
                <c:pt idx="14">
                  <c:v>1079513.1070229851</c:v>
                </c:pt>
                <c:pt idx="15">
                  <c:v>1092460.8063899393</c:v>
                </c:pt>
                <c:pt idx="16">
                  <c:v>1119997.2383906189</c:v>
                </c:pt>
                <c:pt idx="17">
                  <c:v>1150534.2651994729</c:v>
                </c:pt>
                <c:pt idx="18">
                  <c:v>1142334.4096528869</c:v>
                </c:pt>
                <c:pt idx="19">
                  <c:v>1188171.8145897947</c:v>
                </c:pt>
                <c:pt idx="20">
                  <c:v>1219712.5801928879</c:v>
                </c:pt>
                <c:pt idx="21">
                  <c:v>1235692.7390916429</c:v>
                </c:pt>
                <c:pt idx="22">
                  <c:v>1238018.8639163869</c:v>
                </c:pt>
                <c:pt idx="23">
                  <c:v>1231221.0562093726</c:v>
                </c:pt>
                <c:pt idx="24">
                  <c:v>1274095.0418490039</c:v>
                </c:pt>
                <c:pt idx="25">
                  <c:v>1307648.5958278454</c:v>
                </c:pt>
                <c:pt idx="26">
                  <c:v>1266776.7769894209</c:v>
                </c:pt>
                <c:pt idx="27">
                  <c:v>1208650.210307176</c:v>
                </c:pt>
                <c:pt idx="28">
                  <c:v>1220636.6571780599</c:v>
                </c:pt>
                <c:pt idx="29">
                  <c:v>1245018.4815397034</c:v>
                </c:pt>
                <c:pt idx="30">
                  <c:v>1280154.6501253345</c:v>
                </c:pt>
                <c:pt idx="31">
                  <c:v>1222463.5679993201</c:v>
                </c:pt>
                <c:pt idx="32">
                  <c:v>1223738.1569443855</c:v>
                </c:pt>
                <c:pt idx="33">
                  <c:v>1163163.3173301609</c:v>
                </c:pt>
                <c:pt idx="34">
                  <c:v>1136768.7045927688</c:v>
                </c:pt>
                <c:pt idx="35">
                  <c:v>1149610.1882143009</c:v>
                </c:pt>
                <c:pt idx="36">
                  <c:v>1137650.2952797723</c:v>
                </c:pt>
                <c:pt idx="37">
                  <c:v>1213594.5532565748</c:v>
                </c:pt>
                <c:pt idx="38">
                  <c:v>1224093.9796915494</c:v>
                </c:pt>
                <c:pt idx="39">
                  <c:v>1214353.9958363427</c:v>
                </c:pt>
                <c:pt idx="40">
                  <c:v>1169716.8288227047</c:v>
                </c:pt>
                <c:pt idx="41">
                  <c:v>1190030.5901346817</c:v>
                </c:pt>
                <c:pt idx="42">
                  <c:v>1179196.5841016271</c:v>
                </c:pt>
                <c:pt idx="43">
                  <c:v>1176711.1356587498</c:v>
                </c:pt>
                <c:pt idx="44">
                  <c:v>1171251.646344054</c:v>
                </c:pt>
                <c:pt idx="45">
                  <c:v>1190471.3854781834</c:v>
                </c:pt>
                <c:pt idx="46">
                  <c:v>1233377.2358414412</c:v>
                </c:pt>
                <c:pt idx="47">
                  <c:v>1238820.7927943238</c:v>
                </c:pt>
                <c:pt idx="48">
                  <c:v>1265326.9320644091</c:v>
                </c:pt>
                <c:pt idx="49">
                  <c:v>1263882.3979266686</c:v>
                </c:pt>
                <c:pt idx="50">
                  <c:v>1295513.4469133704</c:v>
                </c:pt>
                <c:pt idx="51">
                  <c:v>1302088.2015549985</c:v>
                </c:pt>
                <c:pt idx="52">
                  <c:v>1275295.2797722735</c:v>
                </c:pt>
                <c:pt idx="53">
                  <c:v>1316963.7167013637</c:v>
                </c:pt>
                <c:pt idx="54">
                  <c:v>1327128.5635382589</c:v>
                </c:pt>
                <c:pt idx="55">
                  <c:v>1319459.786718783</c:v>
                </c:pt>
                <c:pt idx="56">
                  <c:v>1331833.9210604581</c:v>
                </c:pt>
                <c:pt idx="57">
                  <c:v>1353305.4339975356</c:v>
                </c:pt>
                <c:pt idx="58">
                  <c:v>1368271.23252751</c:v>
                </c:pt>
                <c:pt idx="59">
                  <c:v>1365137.8680375579</c:v>
                </c:pt>
                <c:pt idx="60">
                  <c:v>1368563.3258274207</c:v>
                </c:pt>
                <c:pt idx="61">
                  <c:v>1316730.0420614353</c:v>
                </c:pt>
                <c:pt idx="62">
                  <c:v>1337080.9788843098</c:v>
                </c:pt>
                <c:pt idx="63">
                  <c:v>1378430.768577134</c:v>
                </c:pt>
                <c:pt idx="64">
                  <c:v>1410821.2601436037</c:v>
                </c:pt>
                <c:pt idx="65">
                  <c:v>1421628.7122403025</c:v>
                </c:pt>
                <c:pt idx="66">
                  <c:v>1427003.2289586607</c:v>
                </c:pt>
                <c:pt idx="67">
                  <c:v>1427066.958405914</c:v>
                </c:pt>
                <c:pt idx="68">
                  <c:v>1407725.0711645496</c:v>
                </c:pt>
                <c:pt idx="69">
                  <c:v>1437985.9370353061</c:v>
                </c:pt>
                <c:pt idx="70">
                  <c:v>1420869.2696605346</c:v>
                </c:pt>
                <c:pt idx="71">
                  <c:v>1368207.5030802567</c:v>
                </c:pt>
                <c:pt idx="72">
                  <c:v>1377384.543484726</c:v>
                </c:pt>
                <c:pt idx="73">
                  <c:v>1366407.1461953521</c:v>
                </c:pt>
                <c:pt idx="74">
                  <c:v>1334754.8540595658</c:v>
                </c:pt>
                <c:pt idx="75">
                  <c:v>1337537.706589625</c:v>
                </c:pt>
                <c:pt idx="76">
                  <c:v>1383656.5832519012</c:v>
                </c:pt>
                <c:pt idx="77">
                  <c:v>1392982.3256999615</c:v>
                </c:pt>
                <c:pt idx="78">
                  <c:v>1441506.9889960487</c:v>
                </c:pt>
                <c:pt idx="79">
                  <c:v>1448256.9996176234</c:v>
                </c:pt>
                <c:pt idx="80">
                  <c:v>1468422.0588860093</c:v>
                </c:pt>
                <c:pt idx="81">
                  <c:v>1469537.3242129413</c:v>
                </c:pt>
                <c:pt idx="82">
                  <c:v>1481295.4072311677</c:v>
                </c:pt>
                <c:pt idx="83">
                  <c:v>1447359.4765688067</c:v>
                </c:pt>
                <c:pt idx="84">
                  <c:v>1480944.895271275</c:v>
                </c:pt>
                <c:pt idx="85">
                  <c:v>1494460.8488762374</c:v>
                </c:pt>
                <c:pt idx="86">
                  <c:v>1483090.4533288013</c:v>
                </c:pt>
                <c:pt idx="87">
                  <c:v>1484959.8504482305</c:v>
                </c:pt>
                <c:pt idx="88">
                  <c:v>1492633.9380549775</c:v>
                </c:pt>
                <c:pt idx="89">
                  <c:v>1508306.0712920083</c:v>
                </c:pt>
                <c:pt idx="90">
                  <c:v>1493855.4191273313</c:v>
                </c:pt>
                <c:pt idx="91">
                  <c:v>1460471.8103411652</c:v>
                </c:pt>
                <c:pt idx="92">
                  <c:v>1455516.8458172239</c:v>
                </c:pt>
                <c:pt idx="93">
                  <c:v>1461911.0336916344</c:v>
                </c:pt>
                <c:pt idx="94">
                  <c:v>1444406.6788460724</c:v>
                </c:pt>
                <c:pt idx="95">
                  <c:v>1465623.2739941368</c:v>
                </c:pt>
                <c:pt idx="96">
                  <c:v>1518003.5688490462</c:v>
                </c:pt>
                <c:pt idx="97">
                  <c:v>1521593.6610443131</c:v>
                </c:pt>
                <c:pt idx="98">
                  <c:v>1561047.4996813526</c:v>
                </c:pt>
                <c:pt idx="99">
                  <c:v>1568673.7902026596</c:v>
                </c:pt>
                <c:pt idx="100">
                  <c:v>1561005.0133831839</c:v>
                </c:pt>
                <c:pt idx="101">
                  <c:v>1565875.0053107874</c:v>
                </c:pt>
                <c:pt idx="102">
                  <c:v>1572290.4363342822</c:v>
                </c:pt>
                <c:pt idx="103">
                  <c:v>1587712.9625695711</c:v>
                </c:pt>
                <c:pt idx="104">
                  <c:v>1572858.6905722904</c:v>
                </c:pt>
                <c:pt idx="105">
                  <c:v>1543468.7938139951</c:v>
                </c:pt>
                <c:pt idx="106">
                  <c:v>1575280.4095679142</c:v>
                </c:pt>
                <c:pt idx="107">
                  <c:v>1572640.9482941751</c:v>
                </c:pt>
                <c:pt idx="108">
                  <c:v>1598860.3050516208</c:v>
                </c:pt>
                <c:pt idx="109">
                  <c:v>1623736.0326294769</c:v>
                </c:pt>
                <c:pt idx="110">
                  <c:v>1635722.479500361</c:v>
                </c:pt>
                <c:pt idx="111">
                  <c:v>1637082.041041764</c:v>
                </c:pt>
                <c:pt idx="112">
                  <c:v>1637793.6865360921</c:v>
                </c:pt>
                <c:pt idx="113">
                  <c:v>1657353.3160555721</c:v>
                </c:pt>
                <c:pt idx="114">
                  <c:v>1655860.9848323916</c:v>
                </c:pt>
                <c:pt idx="115">
                  <c:v>1661437.311467052</c:v>
                </c:pt>
                <c:pt idx="116">
                  <c:v>1688814.4198495985</c:v>
                </c:pt>
                <c:pt idx="117">
                  <c:v>1681644.8570336064</c:v>
                </c:pt>
                <c:pt idx="118">
                  <c:v>1719579.8105111101</c:v>
                </c:pt>
                <c:pt idx="119">
                  <c:v>1743191.5707184433</c:v>
                </c:pt>
                <c:pt idx="120">
                  <c:v>1766973.2761184517</c:v>
                </c:pt>
                <c:pt idx="121">
                  <c:v>1792257.934316183</c:v>
                </c:pt>
                <c:pt idx="122">
                  <c:v>1774063.1771253769</c:v>
                </c:pt>
                <c:pt idx="123">
                  <c:v>1780319.2845307388</c:v>
                </c:pt>
                <c:pt idx="124">
                  <c:v>1803702.6808854144</c:v>
                </c:pt>
                <c:pt idx="125">
                  <c:v>1804770.1491269066</c:v>
                </c:pt>
                <c:pt idx="126">
                  <c:v>1784960.9126056847</c:v>
                </c:pt>
                <c:pt idx="127">
                  <c:v>1834744.2324850236</c:v>
                </c:pt>
                <c:pt idx="128">
                  <c:v>1855222.6282024046</c:v>
                </c:pt>
                <c:pt idx="129">
                  <c:v>1859434.0825083908</c:v>
                </c:pt>
                <c:pt idx="130">
                  <c:v>1869296.2144708331</c:v>
                </c:pt>
                <c:pt idx="131">
                  <c:v>1907167.4385010833</c:v>
                </c:pt>
                <c:pt idx="132">
                  <c:v>1879928.4105875855</c:v>
                </c:pt>
                <c:pt idx="133">
                  <c:v>1915558.4823894294</c:v>
                </c:pt>
                <c:pt idx="134">
                  <c:v>1939483.5790457577</c:v>
                </c:pt>
                <c:pt idx="135">
                  <c:v>1947763.0964014106</c:v>
                </c:pt>
                <c:pt idx="136">
                  <c:v>1988162.2551727067</c:v>
                </c:pt>
                <c:pt idx="137">
                  <c:v>1994636.104856184</c:v>
                </c:pt>
                <c:pt idx="138">
                  <c:v>1889848.9612100099</c:v>
                </c:pt>
                <c:pt idx="139">
                  <c:v>1930375.5788758125</c:v>
                </c:pt>
                <c:pt idx="140">
                  <c:v>1983377.235841441</c:v>
                </c:pt>
                <c:pt idx="141">
                  <c:v>2011211.0719293028</c:v>
                </c:pt>
                <c:pt idx="142">
                  <c:v>2010993.3296511872</c:v>
                </c:pt>
                <c:pt idx="143">
                  <c:v>1986733.6533967794</c:v>
                </c:pt>
                <c:pt idx="144">
                  <c:v>1945405.1068530397</c:v>
                </c:pt>
                <c:pt idx="145">
                  <c:v>1888037.982750563</c:v>
                </c:pt>
                <c:pt idx="146">
                  <c:v>1882429.7913922758</c:v>
                </c:pt>
                <c:pt idx="147">
                  <c:v>1888717.7635212643</c:v>
                </c:pt>
                <c:pt idx="148">
                  <c:v>1804286.8674852359</c:v>
                </c:pt>
                <c:pt idx="149">
                  <c:v>1827346.3058163743</c:v>
                </c:pt>
                <c:pt idx="150">
                  <c:v>1776171.5596720057</c:v>
                </c:pt>
                <c:pt idx="151">
                  <c:v>1667730.5943833115</c:v>
                </c:pt>
                <c:pt idx="152">
                  <c:v>1684576.4116072566</c:v>
                </c:pt>
                <c:pt idx="153">
                  <c:v>1600973.9983855207</c:v>
                </c:pt>
                <c:pt idx="154">
                  <c:v>1669918.6387390066</c:v>
                </c:pt>
                <c:pt idx="155">
                  <c:v>1701374.431745762</c:v>
                </c:pt>
                <c:pt idx="156">
                  <c:v>1715171.8570760931</c:v>
                </c:pt>
                <c:pt idx="157">
                  <c:v>1651564.5579300674</c:v>
                </c:pt>
                <c:pt idx="158">
                  <c:v>1684788.8430981007</c:v>
                </c:pt>
                <c:pt idx="159">
                  <c:v>1676243.7863788928</c:v>
                </c:pt>
                <c:pt idx="160">
                  <c:v>1618080.0441857502</c:v>
                </c:pt>
                <c:pt idx="161">
                  <c:v>1503096.1889790541</c:v>
                </c:pt>
                <c:pt idx="162">
                  <c:v>1510228.5762841483</c:v>
                </c:pt>
                <c:pt idx="163">
                  <c:v>1535311.4245655774</c:v>
                </c:pt>
                <c:pt idx="164">
                  <c:v>1620831.0319921826</c:v>
                </c:pt>
                <c:pt idx="165">
                  <c:v>1634203.594340825</c:v>
                </c:pt>
                <c:pt idx="166">
                  <c:v>1648579.8954837066</c:v>
                </c:pt>
                <c:pt idx="167">
                  <c:v>1684034.7113056039</c:v>
                </c:pt>
                <c:pt idx="168">
                  <c:v>1696748.7360326294</c:v>
                </c:pt>
                <c:pt idx="169">
                  <c:v>1679754.2167650932</c:v>
                </c:pt>
                <c:pt idx="170">
                  <c:v>1719701.9586183454</c:v>
                </c:pt>
                <c:pt idx="171">
                  <c:v>1749049.369078472</c:v>
                </c:pt>
                <c:pt idx="172">
                  <c:v>1753961.8473042443</c:v>
                </c:pt>
                <c:pt idx="173">
                  <c:v>1730381.9518205377</c:v>
                </c:pt>
                <c:pt idx="174">
                  <c:v>1763234.4818795938</c:v>
                </c:pt>
                <c:pt idx="175">
                  <c:v>1699287.2923482177</c:v>
                </c:pt>
                <c:pt idx="176">
                  <c:v>1704019.2038067724</c:v>
                </c:pt>
                <c:pt idx="177">
                  <c:v>1662823.4269448104</c:v>
                </c:pt>
                <c:pt idx="178">
                  <c:v>1625138.0804690488</c:v>
                </c:pt>
                <c:pt idx="179">
                  <c:v>1636216.3827165738</c:v>
                </c:pt>
                <c:pt idx="180">
                  <c:v>1624320.2192292986</c:v>
                </c:pt>
                <c:pt idx="181">
                  <c:v>1578705.867357777</c:v>
                </c:pt>
                <c:pt idx="182">
                  <c:v>1578519.9898032884</c:v>
                </c:pt>
                <c:pt idx="183">
                  <c:v>1595790.6700089222</c:v>
                </c:pt>
                <c:pt idx="184">
                  <c:v>1680179.0797467816</c:v>
                </c:pt>
                <c:pt idx="185">
                  <c:v>1673763.6487232868</c:v>
                </c:pt>
                <c:pt idx="186">
                  <c:v>1698665.9302374984</c:v>
                </c:pt>
                <c:pt idx="187">
                  <c:v>1714003.48387645</c:v>
                </c:pt>
                <c:pt idx="188">
                  <c:v>1720503.8874962823</c:v>
                </c:pt>
                <c:pt idx="189">
                  <c:v>1721603.2204614012</c:v>
                </c:pt>
                <c:pt idx="190">
                  <c:v>1768046.0551472148</c:v>
                </c:pt>
                <c:pt idx="191">
                  <c:v>1793755.5763266347</c:v>
                </c:pt>
                <c:pt idx="192">
                  <c:v>1789358.2444661595</c:v>
                </c:pt>
                <c:pt idx="193">
                  <c:v>1777690.4448315417</c:v>
                </c:pt>
                <c:pt idx="194">
                  <c:v>1812704.4653099375</c:v>
                </c:pt>
                <c:pt idx="195">
                  <c:v>1813230.2332497768</c:v>
                </c:pt>
                <c:pt idx="196">
                  <c:v>1760377.2783277391</c:v>
                </c:pt>
                <c:pt idx="197">
                  <c:v>1768136.3385308238</c:v>
                </c:pt>
                <c:pt idx="198">
                  <c:v>1724439.1808641714</c:v>
                </c:pt>
                <c:pt idx="199">
                  <c:v>1742134.7240514932</c:v>
                </c:pt>
                <c:pt idx="200">
                  <c:v>1801843.9053405276</c:v>
                </c:pt>
                <c:pt idx="201">
                  <c:v>1824483.7914772485</c:v>
                </c:pt>
                <c:pt idx="202">
                  <c:v>1834287.5047797086</c:v>
                </c:pt>
                <c:pt idx="203">
                  <c:v>1839826.6559034712</c:v>
                </c:pt>
                <c:pt idx="204">
                  <c:v>1849757.8281004378</c:v>
                </c:pt>
                <c:pt idx="205">
                  <c:v>1856539.7034456388</c:v>
                </c:pt>
                <c:pt idx="206">
                  <c:v>1860783.0224752517</c:v>
                </c:pt>
                <c:pt idx="207">
                  <c:v>1856475.9739983855</c:v>
                </c:pt>
                <c:pt idx="208">
                  <c:v>1858770.2340995027</c:v>
                </c:pt>
                <c:pt idx="209">
                  <c:v>1868717.3386582825</c:v>
                </c:pt>
                <c:pt idx="210">
                  <c:v>1925585.2487572758</c:v>
                </c:pt>
                <c:pt idx="211">
                  <c:v>1926939.4995114075</c:v>
                </c:pt>
                <c:pt idx="212">
                  <c:v>1927937.9275183752</c:v>
                </c:pt>
                <c:pt idx="213">
                  <c:v>1934422.3987763945</c:v>
                </c:pt>
                <c:pt idx="214">
                  <c:v>1928352.1689255217</c:v>
                </c:pt>
                <c:pt idx="215">
                  <c:v>1946674.3850108341</c:v>
                </c:pt>
                <c:pt idx="216">
                  <c:v>1884309.8100862473</c:v>
                </c:pt>
                <c:pt idx="217">
                  <c:v>1927619.280282109</c:v>
                </c:pt>
                <c:pt idx="218">
                  <c:v>1851218.2945999915</c:v>
                </c:pt>
                <c:pt idx="219">
                  <c:v>1796379.1052385606</c:v>
                </c:pt>
                <c:pt idx="220">
                  <c:v>1864973.2336321536</c:v>
                </c:pt>
                <c:pt idx="221">
                  <c:v>1891081.063856906</c:v>
                </c:pt>
                <c:pt idx="222">
                  <c:v>1910465.4373964395</c:v>
                </c:pt>
                <c:pt idx="223">
                  <c:v>1907039.979606577</c:v>
                </c:pt>
                <c:pt idx="224">
                  <c:v>1934980.0314398604</c:v>
                </c:pt>
                <c:pt idx="225">
                  <c:v>1948437.5663848408</c:v>
                </c:pt>
                <c:pt idx="226">
                  <c:v>1924639.9286230193</c:v>
                </c:pt>
                <c:pt idx="227">
                  <c:v>1887708.7139397543</c:v>
                </c:pt>
                <c:pt idx="228">
                  <c:v>1899796.0657687893</c:v>
                </c:pt>
                <c:pt idx="229">
                  <c:v>1898617.0709946041</c:v>
                </c:pt>
                <c:pt idx="230">
                  <c:v>1918654.6713684835</c:v>
                </c:pt>
                <c:pt idx="231">
                  <c:v>1903035.6460041637</c:v>
                </c:pt>
                <c:pt idx="232">
                  <c:v>1891022.6451969238</c:v>
                </c:pt>
                <c:pt idx="233">
                  <c:v>1848233.6321536305</c:v>
                </c:pt>
                <c:pt idx="234">
                  <c:v>1801280.9618897904</c:v>
                </c:pt>
                <c:pt idx="235">
                  <c:v>1803872.6260780897</c:v>
                </c:pt>
                <c:pt idx="236">
                  <c:v>1755501.9756128646</c:v>
                </c:pt>
                <c:pt idx="237">
                  <c:v>1771933.551429664</c:v>
                </c:pt>
                <c:pt idx="238">
                  <c:v>1826284.1483621532</c:v>
                </c:pt>
                <c:pt idx="239">
                  <c:v>1818827.8030335216</c:v>
                </c:pt>
                <c:pt idx="240">
                  <c:v>1847320.1767430003</c:v>
                </c:pt>
                <c:pt idx="241">
                  <c:v>1859168.5431448356</c:v>
                </c:pt>
                <c:pt idx="242">
                  <c:v>1890034.8387644985</c:v>
                </c:pt>
                <c:pt idx="243">
                  <c:v>1898967.5829544971</c:v>
                </c:pt>
                <c:pt idx="244">
                  <c:v>1877485.448442877</c:v>
                </c:pt>
                <c:pt idx="245">
                  <c:v>1892785.8265709307</c:v>
                </c:pt>
                <c:pt idx="246">
                  <c:v>1880937.4601690953</c:v>
                </c:pt>
                <c:pt idx="247">
                  <c:v>1843618.5580150401</c:v>
                </c:pt>
                <c:pt idx="248">
                  <c:v>1848223.0105790882</c:v>
                </c:pt>
                <c:pt idx="249">
                  <c:v>1849242.6817351405</c:v>
                </c:pt>
                <c:pt idx="250">
                  <c:v>1877320.8140374729</c:v>
                </c:pt>
                <c:pt idx="251">
                  <c:v>1816894.6764668394</c:v>
                </c:pt>
                <c:pt idx="252">
                  <c:v>1842338.658282704</c:v>
                </c:pt>
                <c:pt idx="253">
                  <c:v>1849609.1260568465</c:v>
                </c:pt>
                <c:pt idx="254">
                  <c:v>1859136.6784212091</c:v>
                </c:pt>
                <c:pt idx="255">
                  <c:v>1862748.0137655605</c:v>
                </c:pt>
                <c:pt idx="256">
                  <c:v>1802709.5636657178</c:v>
                </c:pt>
                <c:pt idx="257">
                  <c:v>1810219.0168670604</c:v>
                </c:pt>
                <c:pt idx="258">
                  <c:v>1787717.2111993879</c:v>
                </c:pt>
                <c:pt idx="259">
                  <c:v>1767435.314611038</c:v>
                </c:pt>
                <c:pt idx="260">
                  <c:v>1722182.0962739517</c:v>
                </c:pt>
                <c:pt idx="261">
                  <c:v>1698692.4841738539</c:v>
                </c:pt>
                <c:pt idx="262">
                  <c:v>1702941.1139907381</c:v>
                </c:pt>
                <c:pt idx="263">
                  <c:v>1701661.2142584017</c:v>
                </c:pt>
                <c:pt idx="264">
                  <c:v>1674337.2137485661</c:v>
                </c:pt>
                <c:pt idx="265">
                  <c:v>1670874.5804478056</c:v>
                </c:pt>
                <c:pt idx="266">
                  <c:v>1715766.6652504567</c:v>
                </c:pt>
                <c:pt idx="267">
                  <c:v>1709436.2068232996</c:v>
                </c:pt>
                <c:pt idx="268">
                  <c:v>1674539.023664868</c:v>
                </c:pt>
                <c:pt idx="269">
                  <c:v>1673423.7583379359</c:v>
                </c:pt>
                <c:pt idx="270">
                  <c:v>1683089.3911713471</c:v>
                </c:pt>
                <c:pt idx="271">
                  <c:v>1706956.0691676934</c:v>
                </c:pt>
                <c:pt idx="272">
                  <c:v>1710285.9327866763</c:v>
                </c:pt>
                <c:pt idx="273">
                  <c:v>1726685.6438798488</c:v>
                </c:pt>
                <c:pt idx="274">
                  <c:v>1717163.4023027574</c:v>
                </c:pt>
                <c:pt idx="275">
                  <c:v>1698724.3488974806</c:v>
                </c:pt>
                <c:pt idx="276">
                  <c:v>1723074.3085354974</c:v>
                </c:pt>
                <c:pt idx="277">
                  <c:v>1748380.2098823129</c:v>
                </c:pt>
                <c:pt idx="278">
                  <c:v>1742825.1263967371</c:v>
                </c:pt>
                <c:pt idx="279">
                  <c:v>1765528.7419807112</c:v>
                </c:pt>
                <c:pt idx="280">
                  <c:v>1758529.1243573946</c:v>
                </c:pt>
                <c:pt idx="281">
                  <c:v>1771190.0412117091</c:v>
                </c:pt>
                <c:pt idx="282">
                  <c:v>1726308.5779836003</c:v>
                </c:pt>
                <c:pt idx="283">
                  <c:v>1731189.1914857461</c:v>
                </c:pt>
                <c:pt idx="284">
                  <c:v>1745220.2914560053</c:v>
                </c:pt>
                <c:pt idx="285">
                  <c:v>1755671.9208055402</c:v>
                </c:pt>
                <c:pt idx="286">
                  <c:v>1741773.5905170583</c:v>
                </c:pt>
                <c:pt idx="287">
                  <c:v>1740190.975910269</c:v>
                </c:pt>
                <c:pt idx="288">
                  <c:v>1717046.5649827931</c:v>
                </c:pt>
                <c:pt idx="289">
                  <c:v>1690519.1825636232</c:v>
                </c:pt>
                <c:pt idx="290">
                  <c:v>1701560.3093002504</c:v>
                </c:pt>
                <c:pt idx="291">
                  <c:v>1738709.2662616307</c:v>
                </c:pt>
                <c:pt idx="292">
                  <c:v>1735331.6055572077</c:v>
                </c:pt>
                <c:pt idx="293">
                  <c:v>1749304.2868674851</c:v>
                </c:pt>
                <c:pt idx="294">
                  <c:v>1753956.5365169733</c:v>
                </c:pt>
                <c:pt idx="295">
                  <c:v>1739585.5461613629</c:v>
                </c:pt>
                <c:pt idx="296">
                  <c:v>1740169.7327611845</c:v>
                </c:pt>
                <c:pt idx="297">
                  <c:v>1714922.250074351</c:v>
                </c:pt>
                <c:pt idx="298">
                  <c:v>1739282.83128691</c:v>
                </c:pt>
                <c:pt idx="299">
                  <c:v>1783649.1481497216</c:v>
                </c:pt>
                <c:pt idx="300">
                  <c:v>1787988.0613502145</c:v>
                </c:pt>
                <c:pt idx="301">
                  <c:v>1776782.3002081828</c:v>
                </c:pt>
                <c:pt idx="302">
                  <c:v>1801387.1776352127</c:v>
                </c:pt>
                <c:pt idx="303">
                  <c:v>1809571.1008199856</c:v>
                </c:pt>
                <c:pt idx="304">
                  <c:v>1808402.7276203425</c:v>
                </c:pt>
                <c:pt idx="305">
                  <c:v>1798737.0947869311</c:v>
                </c:pt>
                <c:pt idx="306">
                  <c:v>1777382.4191698176</c:v>
                </c:pt>
                <c:pt idx="307">
                  <c:v>1794605.3022900114</c:v>
                </c:pt>
                <c:pt idx="308">
                  <c:v>1779899.7323363214</c:v>
                </c:pt>
                <c:pt idx="309">
                  <c:v>1801270.3403152481</c:v>
                </c:pt>
                <c:pt idx="310">
                  <c:v>1807637.9742533034</c:v>
                </c:pt>
                <c:pt idx="311">
                  <c:v>1802783.9146875134</c:v>
                </c:pt>
                <c:pt idx="312">
                  <c:v>1782475.4641628074</c:v>
                </c:pt>
                <c:pt idx="313">
                  <c:v>1686929.0903683563</c:v>
                </c:pt>
                <c:pt idx="314">
                  <c:v>1685309.3002506692</c:v>
                </c:pt>
                <c:pt idx="315">
                  <c:v>1718931.8944640353</c:v>
                </c:pt>
                <c:pt idx="316">
                  <c:v>1700269.7879933722</c:v>
                </c:pt>
                <c:pt idx="317">
                  <c:v>1694141.1394825168</c:v>
                </c:pt>
                <c:pt idx="318">
                  <c:v>1684581.7223945276</c:v>
                </c:pt>
                <c:pt idx="319">
                  <c:v>1650810.4261375705</c:v>
                </c:pt>
                <c:pt idx="320">
                  <c:v>1644936.6954157283</c:v>
                </c:pt>
                <c:pt idx="321">
                  <c:v>1625132.7696817776</c:v>
                </c:pt>
                <c:pt idx="322">
                  <c:v>1629014.9551769553</c:v>
                </c:pt>
                <c:pt idx="323">
                  <c:v>1603565.6625738197</c:v>
                </c:pt>
                <c:pt idx="324">
                  <c:v>1612562.1362110719</c:v>
                </c:pt>
                <c:pt idx="325">
                  <c:v>1538460.721417343</c:v>
                </c:pt>
                <c:pt idx="326">
                  <c:v>1506558.8222798146</c:v>
                </c:pt>
                <c:pt idx="327">
                  <c:v>1517945.150189064</c:v>
                </c:pt>
                <c:pt idx="328">
                  <c:v>1487455.9204656498</c:v>
                </c:pt>
                <c:pt idx="329">
                  <c:v>1496664.8255937458</c:v>
                </c:pt>
                <c:pt idx="330">
                  <c:v>1533176.4880825933</c:v>
                </c:pt>
                <c:pt idx="331">
                  <c:v>1523144.4109274759</c:v>
                </c:pt>
                <c:pt idx="332">
                  <c:v>1441730.0420614351</c:v>
                </c:pt>
                <c:pt idx="333">
                  <c:v>1471805.030377703</c:v>
                </c:pt>
                <c:pt idx="334">
                  <c:v>1466929.7276628288</c:v>
                </c:pt>
                <c:pt idx="335">
                  <c:v>1447731.2316777839</c:v>
                </c:pt>
                <c:pt idx="336">
                  <c:v>1470445.4688363003</c:v>
                </c:pt>
                <c:pt idx="337">
                  <c:v>1526038.7899902279</c:v>
                </c:pt>
                <c:pt idx="338">
                  <c:v>1494423.6733653399</c:v>
                </c:pt>
                <c:pt idx="339">
                  <c:v>1494423.6733653399</c:v>
                </c:pt>
                <c:pt idx="340">
                  <c:v>1518874.5379615074</c:v>
                </c:pt>
                <c:pt idx="341">
                  <c:v>1513733.6958830778</c:v>
                </c:pt>
                <c:pt idx="342">
                  <c:v>1472819.3907464843</c:v>
                </c:pt>
                <c:pt idx="343">
                  <c:v>1457364.9997875683</c:v>
                </c:pt>
                <c:pt idx="344">
                  <c:v>1464465.5223690362</c:v>
                </c:pt>
                <c:pt idx="345">
                  <c:v>1453073.8836725154</c:v>
                </c:pt>
                <c:pt idx="346">
                  <c:v>1457487.1478948039</c:v>
                </c:pt>
                <c:pt idx="347">
                  <c:v>1431639.5462463354</c:v>
                </c:pt>
                <c:pt idx="348">
                  <c:v>1433562.0512384756</c:v>
                </c:pt>
                <c:pt idx="349">
                  <c:v>1477530.0590559547</c:v>
                </c:pt>
                <c:pt idx="350">
                  <c:v>1460477.1211284359</c:v>
                </c:pt>
                <c:pt idx="351">
                  <c:v>1465177.1678633641</c:v>
                </c:pt>
                <c:pt idx="352">
                  <c:v>1456605.5572078004</c:v>
                </c:pt>
                <c:pt idx="353">
                  <c:v>1431878.5316735355</c:v>
                </c:pt>
                <c:pt idx="354">
                  <c:v>1476749.373327102</c:v>
                </c:pt>
                <c:pt idx="355">
                  <c:v>1478374.4742320599</c:v>
                </c:pt>
                <c:pt idx="356">
                  <c:v>1464980.6687343332</c:v>
                </c:pt>
                <c:pt idx="357">
                  <c:v>1464449.5900072227</c:v>
                </c:pt>
                <c:pt idx="358">
                  <c:v>1453185.4102052089</c:v>
                </c:pt>
                <c:pt idx="359">
                  <c:v>1442824.0642392829</c:v>
                </c:pt>
                <c:pt idx="360">
                  <c:v>1376566.6822449761</c:v>
                </c:pt>
                <c:pt idx="361">
                  <c:v>1361191.9530951269</c:v>
                </c:pt>
                <c:pt idx="362">
                  <c:v>1341542.0401920381</c:v>
                </c:pt>
                <c:pt idx="363">
                  <c:v>1345811.9131580067</c:v>
                </c:pt>
                <c:pt idx="364">
                  <c:v>1334414.9636742151</c:v>
                </c:pt>
                <c:pt idx="365">
                  <c:v>1361101.6697115181</c:v>
                </c:pt>
                <c:pt idx="366">
                  <c:v>1370438.0337341207</c:v>
                </c:pt>
                <c:pt idx="367">
                  <c:v>1368016.3147384969</c:v>
                </c:pt>
                <c:pt idx="368">
                  <c:v>1405818.4985342226</c:v>
                </c:pt>
                <c:pt idx="369">
                  <c:v>1421283.5110676805</c:v>
                </c:pt>
                <c:pt idx="370">
                  <c:v>1399174.7036580704</c:v>
                </c:pt>
                <c:pt idx="371">
                  <c:v>1409275.8210477121</c:v>
                </c:pt>
                <c:pt idx="372">
                  <c:v>1385329.4812422993</c:v>
                </c:pt>
                <c:pt idx="373">
                  <c:v>1389370.9903556104</c:v>
                </c:pt>
                <c:pt idx="374">
                  <c:v>1424602.7531121213</c:v>
                </c:pt>
                <c:pt idx="375">
                  <c:v>1455952.3303734546</c:v>
                </c:pt>
                <c:pt idx="376">
                  <c:v>1459053.83013978</c:v>
                </c:pt>
                <c:pt idx="377">
                  <c:v>1477083.9529251815</c:v>
                </c:pt>
                <c:pt idx="378">
                  <c:v>1483345.3711178144</c:v>
                </c:pt>
                <c:pt idx="379">
                  <c:v>1492894.1666312614</c:v>
                </c:pt>
                <c:pt idx="380">
                  <c:v>1484747.4189573862</c:v>
                </c:pt>
                <c:pt idx="381">
                  <c:v>1520860.7724009007</c:v>
                </c:pt>
                <c:pt idx="382">
                  <c:v>1528433.9550494966</c:v>
                </c:pt>
                <c:pt idx="383">
                  <c:v>1523585.2062709776</c:v>
                </c:pt>
                <c:pt idx="384">
                  <c:v>1549305.3490249396</c:v>
                </c:pt>
                <c:pt idx="385">
                  <c:v>1522055.6995368993</c:v>
                </c:pt>
                <c:pt idx="386">
                  <c:v>1527610.7830224752</c:v>
                </c:pt>
                <c:pt idx="387">
                  <c:v>1514015.1676084462</c:v>
                </c:pt>
                <c:pt idx="388">
                  <c:v>1538885.5843990312</c:v>
                </c:pt>
                <c:pt idx="389">
                  <c:v>1549815.1846029654</c:v>
                </c:pt>
                <c:pt idx="390">
                  <c:v>1504354.8455623062</c:v>
                </c:pt>
                <c:pt idx="391">
                  <c:v>1513685.8987976378</c:v>
                </c:pt>
                <c:pt idx="392">
                  <c:v>1495724.8162467603</c:v>
                </c:pt>
                <c:pt idx="393">
                  <c:v>1516521.859200408</c:v>
                </c:pt>
                <c:pt idx="394">
                  <c:v>1551854.5269150699</c:v>
                </c:pt>
                <c:pt idx="395">
                  <c:v>1562587.6279899732</c:v>
                </c:pt>
                <c:pt idx="396">
                  <c:v>1559969.4098653186</c:v>
                </c:pt>
                <c:pt idx="397">
                  <c:v>1569550.070102392</c:v>
                </c:pt>
                <c:pt idx="398">
                  <c:v>1539241.4071461952</c:v>
                </c:pt>
                <c:pt idx="399">
                  <c:v>1538104.8986701788</c:v>
                </c:pt>
                <c:pt idx="400">
                  <c:v>1546410.9699621871</c:v>
                </c:pt>
                <c:pt idx="401">
                  <c:v>1509867.4427497131</c:v>
                </c:pt>
                <c:pt idx="402">
                  <c:v>1513622.1693503847</c:v>
                </c:pt>
                <c:pt idx="403">
                  <c:v>1518125.7169562816</c:v>
                </c:pt>
                <c:pt idx="404">
                  <c:v>1548099.8003143987</c:v>
                </c:pt>
                <c:pt idx="405">
                  <c:v>1541822.4497599525</c:v>
                </c:pt>
                <c:pt idx="406">
                  <c:v>1531652.2921357863</c:v>
                </c:pt>
                <c:pt idx="407">
                  <c:v>1551488.0825933635</c:v>
                </c:pt>
                <c:pt idx="408">
                  <c:v>1550861.4096953731</c:v>
                </c:pt>
                <c:pt idx="409">
                  <c:v>1580007.0102391979</c:v>
                </c:pt>
                <c:pt idx="410">
                  <c:v>1584266.2616306243</c:v>
                </c:pt>
                <c:pt idx="411">
                  <c:v>1583129.7531546075</c:v>
                </c:pt>
                <c:pt idx="412">
                  <c:v>1554180.6517398139</c:v>
                </c:pt>
                <c:pt idx="413">
                  <c:v>1557414.921187917</c:v>
                </c:pt>
                <c:pt idx="414">
                  <c:v>1573225.1348939966</c:v>
                </c:pt>
                <c:pt idx="415">
                  <c:v>1574653.7366699241</c:v>
                </c:pt>
                <c:pt idx="416">
                  <c:v>1547133.2370310575</c:v>
                </c:pt>
                <c:pt idx="417">
                  <c:v>1517711.4755491354</c:v>
                </c:pt>
                <c:pt idx="418">
                  <c:v>1519612.7373921908</c:v>
                </c:pt>
                <c:pt idx="419">
                  <c:v>1513484.0888813357</c:v>
                </c:pt>
                <c:pt idx="420">
                  <c:v>1517546.8411437313</c:v>
                </c:pt>
                <c:pt idx="421">
                  <c:v>1542799.634617836</c:v>
                </c:pt>
                <c:pt idx="422">
                  <c:v>1529990.0157199302</c:v>
                </c:pt>
                <c:pt idx="423">
                  <c:v>1526750.4354845562</c:v>
                </c:pt>
                <c:pt idx="424">
                  <c:v>1559018.7789437906</c:v>
                </c:pt>
                <c:pt idx="425">
                  <c:v>1616725.7934316185</c:v>
                </c:pt>
                <c:pt idx="426">
                  <c:v>1663816.544164507</c:v>
                </c:pt>
                <c:pt idx="427">
                  <c:v>1684969.4098653186</c:v>
                </c:pt>
                <c:pt idx="428">
                  <c:v>1708788.2907762246</c:v>
                </c:pt>
                <c:pt idx="429">
                  <c:v>1712272.1672260694</c:v>
                </c:pt>
                <c:pt idx="430">
                  <c:v>1767260.0586310914</c:v>
                </c:pt>
                <c:pt idx="431">
                  <c:v>1755831.2444236733</c:v>
                </c:pt>
                <c:pt idx="432">
                  <c:v>1792746.5267451247</c:v>
                </c:pt>
                <c:pt idx="433">
                  <c:v>1804010.7065471385</c:v>
                </c:pt>
                <c:pt idx="434">
                  <c:v>1792226.0695925565</c:v>
                </c:pt>
                <c:pt idx="435">
                  <c:v>1794334.452139185</c:v>
                </c:pt>
                <c:pt idx="436">
                  <c:v>1848727.5353698432</c:v>
                </c:pt>
                <c:pt idx="437">
                  <c:v>1840761.3544631856</c:v>
                </c:pt>
                <c:pt idx="438">
                  <c:v>1807722.9468496409</c:v>
                </c:pt>
                <c:pt idx="439">
                  <c:v>1804440.880316098</c:v>
                </c:pt>
                <c:pt idx="440">
                  <c:v>1795035.4760589709</c:v>
                </c:pt>
                <c:pt idx="441">
                  <c:v>1844436.4192547903</c:v>
                </c:pt>
                <c:pt idx="442">
                  <c:v>1839194.6722182098</c:v>
                </c:pt>
                <c:pt idx="443">
                  <c:v>1816469.8134851512</c:v>
                </c:pt>
                <c:pt idx="444">
                  <c:v>1848424.8204953903</c:v>
                </c:pt>
                <c:pt idx="445">
                  <c:v>1869821.9824106726</c:v>
                </c:pt>
                <c:pt idx="446">
                  <c:v>1884570.0386625314</c:v>
                </c:pt>
                <c:pt idx="447">
                  <c:v>1871494.8804010705</c:v>
                </c:pt>
                <c:pt idx="448">
                  <c:v>1858302.8848196457</c:v>
                </c:pt>
                <c:pt idx="449">
                  <c:v>1864075.7105833367</c:v>
                </c:pt>
                <c:pt idx="450">
                  <c:v>1748220.8862641796</c:v>
                </c:pt>
                <c:pt idx="451">
                  <c:v>1760467.5617113479</c:v>
                </c:pt>
                <c:pt idx="452">
                  <c:v>1683275.268725836</c:v>
                </c:pt>
                <c:pt idx="453">
                  <c:v>1648420.5718655733</c:v>
                </c:pt>
                <c:pt idx="454">
                  <c:v>1671814.5897947911</c:v>
                </c:pt>
                <c:pt idx="455">
                  <c:v>1688219.6116752345</c:v>
                </c:pt>
                <c:pt idx="456">
                  <c:v>1684549.8576709011</c:v>
                </c:pt>
                <c:pt idx="457">
                  <c:v>1650157.1993032247</c:v>
                </c:pt>
                <c:pt idx="458">
                  <c:v>1687258.3591791645</c:v>
                </c:pt>
                <c:pt idx="459">
                  <c:v>1711921.6552661767</c:v>
                </c:pt>
                <c:pt idx="460">
                  <c:v>1696716.8713090029</c:v>
                </c:pt>
                <c:pt idx="461">
                  <c:v>1694167.6934188725</c:v>
                </c:pt>
                <c:pt idx="462">
                  <c:v>1665988.6561583888</c:v>
                </c:pt>
                <c:pt idx="463">
                  <c:v>1665473.5097930918</c:v>
                </c:pt>
                <c:pt idx="464">
                  <c:v>1675585.2487572758</c:v>
                </c:pt>
                <c:pt idx="465">
                  <c:v>1677231.5928113181</c:v>
                </c:pt>
                <c:pt idx="466">
                  <c:v>1681166.8861792074</c:v>
                </c:pt>
                <c:pt idx="467">
                  <c:v>1699632.4935208396</c:v>
                </c:pt>
                <c:pt idx="468">
                  <c:v>1684517.9929472744</c:v>
                </c:pt>
                <c:pt idx="469">
                  <c:v>1658755.3638951438</c:v>
                </c:pt>
                <c:pt idx="470">
                  <c:v>1679260.3135488804</c:v>
                </c:pt>
                <c:pt idx="471">
                  <c:v>1731879.5938309894</c:v>
                </c:pt>
                <c:pt idx="472">
                  <c:v>1736345.9659259887</c:v>
                </c:pt>
                <c:pt idx="473">
                  <c:v>1724752.5173131663</c:v>
                </c:pt>
                <c:pt idx="474">
                  <c:v>1715740.1113141014</c:v>
                </c:pt>
                <c:pt idx="475">
                  <c:v>1713079.4068912773</c:v>
                </c:pt>
                <c:pt idx="476">
                  <c:v>1688118.7067170835</c:v>
                </c:pt>
                <c:pt idx="477">
                  <c:v>1725745.6345328633</c:v>
                </c:pt>
                <c:pt idx="478">
                  <c:v>1707657.0930874792</c:v>
                </c:pt>
                <c:pt idx="479">
                  <c:v>1693402.9400518334</c:v>
                </c:pt>
                <c:pt idx="480">
                  <c:v>1679780.7707014487</c:v>
                </c:pt>
                <c:pt idx="481">
                  <c:v>1646190.0412117091</c:v>
                </c:pt>
                <c:pt idx="482">
                  <c:v>1617097.5485405957</c:v>
                </c:pt>
                <c:pt idx="483">
                  <c:v>1626072.7790287633</c:v>
                </c:pt>
                <c:pt idx="484">
                  <c:v>1627278.3277393039</c:v>
                </c:pt>
                <c:pt idx="485">
                  <c:v>1661352.3388707144</c:v>
                </c:pt>
                <c:pt idx="486">
                  <c:v>1693971.1942898415</c:v>
                </c:pt>
                <c:pt idx="487">
                  <c:v>1686525.4705357521</c:v>
                </c:pt>
                <c:pt idx="488">
                  <c:v>1678017.5893274418</c:v>
                </c:pt>
                <c:pt idx="489">
                  <c:v>1681724.5188426729</c:v>
                </c:pt>
                <c:pt idx="490">
                  <c:v>1650693.5888176064</c:v>
                </c:pt>
                <c:pt idx="491">
                  <c:v>1659578.535922165</c:v>
                </c:pt>
                <c:pt idx="492">
                  <c:v>1668829.9273484303</c:v>
                </c:pt>
                <c:pt idx="493">
                  <c:v>1668266.9838976932</c:v>
                </c:pt>
                <c:pt idx="494">
                  <c:v>1642021.0732038917</c:v>
                </c:pt>
                <c:pt idx="495">
                  <c:v>1579614.0119811359</c:v>
                </c:pt>
                <c:pt idx="496">
                  <c:v>1581366.5717806006</c:v>
                </c:pt>
                <c:pt idx="497">
                  <c:v>1617055.0622424267</c:v>
                </c:pt>
                <c:pt idx="498">
                  <c:v>1563872.8385095806</c:v>
                </c:pt>
                <c:pt idx="499">
                  <c:v>1584452.1391851127</c:v>
                </c:pt>
                <c:pt idx="500">
                  <c:v>1568928.7079916727</c:v>
                </c:pt>
                <c:pt idx="501">
                  <c:v>1560654.5014232912</c:v>
                </c:pt>
                <c:pt idx="502">
                  <c:v>1581780.8131877468</c:v>
                </c:pt>
                <c:pt idx="503">
                  <c:v>1607293.8352381357</c:v>
                </c:pt>
                <c:pt idx="504">
                  <c:v>1612748.0137655605</c:v>
                </c:pt>
                <c:pt idx="505">
                  <c:v>1633869.0147427456</c:v>
                </c:pt>
                <c:pt idx="506">
                  <c:v>1634277.9453626205</c:v>
                </c:pt>
                <c:pt idx="507">
                  <c:v>1614983.8552066959</c:v>
                </c:pt>
                <c:pt idx="508">
                  <c:v>1648553.3415473509</c:v>
                </c:pt>
                <c:pt idx="509">
                  <c:v>1657475.4641628074</c:v>
                </c:pt>
                <c:pt idx="510">
                  <c:v>1709616.773590517</c:v>
                </c:pt>
                <c:pt idx="511">
                  <c:v>1708836.0878616646</c:v>
                </c:pt>
                <c:pt idx="512">
                  <c:v>1725225.177380295</c:v>
                </c:pt>
                <c:pt idx="513">
                  <c:v>1723833.7511152653</c:v>
                </c:pt>
                <c:pt idx="514">
                  <c:v>1705761.1420316948</c:v>
                </c:pt>
                <c:pt idx="515">
                  <c:v>1730206.6958405913</c:v>
                </c:pt>
                <c:pt idx="516">
                  <c:v>1680110.0395122573</c:v>
                </c:pt>
                <c:pt idx="517">
                  <c:v>1686036.8781068104</c:v>
                </c:pt>
                <c:pt idx="518">
                  <c:v>1694640.3534860008</c:v>
                </c:pt>
                <c:pt idx="519">
                  <c:v>1698187.9593830989</c:v>
                </c:pt>
                <c:pt idx="520">
                  <c:v>1720461.4011981136</c:v>
                </c:pt>
                <c:pt idx="521">
                  <c:v>1728602.8380847175</c:v>
                </c:pt>
                <c:pt idx="522">
                  <c:v>1722447.6356375068</c:v>
                </c:pt>
                <c:pt idx="523">
                  <c:v>1710986.956706462</c:v>
                </c:pt>
                <c:pt idx="524">
                  <c:v>1736983.2603985216</c:v>
                </c:pt>
                <c:pt idx="525">
                  <c:v>1770887.3263372562</c:v>
                </c:pt>
                <c:pt idx="526">
                  <c:v>1772454.0085822323</c:v>
                </c:pt>
                <c:pt idx="527">
                  <c:v>1773197.5188001869</c:v>
                </c:pt>
                <c:pt idx="528">
                  <c:v>1742076.3053915114</c:v>
                </c:pt>
                <c:pt idx="529">
                  <c:v>1724614.4368441179</c:v>
                </c:pt>
                <c:pt idx="530">
                  <c:v>1732867.400263415</c:v>
                </c:pt>
                <c:pt idx="531">
                  <c:v>1701554.9985129796</c:v>
                </c:pt>
                <c:pt idx="532">
                  <c:v>1725049.9214003482</c:v>
                </c:pt>
                <c:pt idx="533">
                  <c:v>1697911.7984450015</c:v>
                </c:pt>
                <c:pt idx="534">
                  <c:v>1707784.5519819858</c:v>
                </c:pt>
                <c:pt idx="535">
                  <c:v>1703227.8965033777</c:v>
                </c:pt>
                <c:pt idx="536">
                  <c:v>1711645.4943280793</c:v>
                </c:pt>
                <c:pt idx="537">
                  <c:v>1733934.868504907</c:v>
                </c:pt>
                <c:pt idx="538">
                  <c:v>1726728.1301780175</c:v>
                </c:pt>
                <c:pt idx="539">
                  <c:v>1749628.2448910226</c:v>
                </c:pt>
                <c:pt idx="540">
                  <c:v>1747551.7270680205</c:v>
                </c:pt>
                <c:pt idx="541">
                  <c:v>1730243.8713514891</c:v>
                </c:pt>
                <c:pt idx="542">
                  <c:v>1729234.8217699791</c:v>
                </c:pt>
                <c:pt idx="543">
                  <c:v>1711820.7503080256</c:v>
                </c:pt>
                <c:pt idx="544">
                  <c:v>1738077.2825763691</c:v>
                </c:pt>
                <c:pt idx="545">
                  <c:v>1758438.8409737861</c:v>
                </c:pt>
                <c:pt idx="546">
                  <c:v>1765528.7419807112</c:v>
                </c:pt>
                <c:pt idx="547">
                  <c:v>1780898.1603432894</c:v>
                </c:pt>
                <c:pt idx="548">
                  <c:v>1770313.7613119767</c:v>
                </c:pt>
                <c:pt idx="549">
                  <c:v>1766776.7769894209</c:v>
                </c:pt>
                <c:pt idx="550">
                  <c:v>1790813.4001784427</c:v>
                </c:pt>
                <c:pt idx="551">
                  <c:v>1781004.3760887112</c:v>
                </c:pt>
                <c:pt idx="552">
                  <c:v>1783861.5796405659</c:v>
                </c:pt>
                <c:pt idx="553">
                  <c:v>1784127.1190041213</c:v>
                </c:pt>
                <c:pt idx="554">
                  <c:v>1750334.5795980797</c:v>
                </c:pt>
                <c:pt idx="555">
                  <c:v>1750308.0256617244</c:v>
                </c:pt>
                <c:pt idx="556">
                  <c:v>1761784.6369545821</c:v>
                </c:pt>
                <c:pt idx="557">
                  <c:v>1752527.934741046</c:v>
                </c:pt>
                <c:pt idx="558">
                  <c:v>1725777.4992564898</c:v>
                </c:pt>
                <c:pt idx="559">
                  <c:v>1715894.1241449632</c:v>
                </c:pt>
                <c:pt idx="560">
                  <c:v>1704497.1746611716</c:v>
                </c:pt>
                <c:pt idx="561">
                  <c:v>1679154.0978034586</c:v>
                </c:pt>
                <c:pt idx="562">
                  <c:v>1695585.6736202573</c:v>
                </c:pt>
                <c:pt idx="563">
                  <c:v>1705362.832986362</c:v>
                </c:pt>
                <c:pt idx="564">
                  <c:v>1661761.2694905894</c:v>
                </c:pt>
                <c:pt idx="565">
                  <c:v>1660215.8303946976</c:v>
                </c:pt>
                <c:pt idx="566">
                  <c:v>1657709.1388027361</c:v>
                </c:pt>
                <c:pt idx="567">
                  <c:v>1662148.9569613801</c:v>
                </c:pt>
                <c:pt idx="568">
                  <c:v>1674608.0638993923</c:v>
                </c:pt>
                <c:pt idx="569">
                  <c:v>1670290.393847984</c:v>
                </c:pt>
                <c:pt idx="570">
                  <c:v>1647193.7800059479</c:v>
                </c:pt>
                <c:pt idx="571">
                  <c:v>1661262.0554871054</c:v>
                </c:pt>
                <c:pt idx="572">
                  <c:v>1646588.3502570421</c:v>
                </c:pt>
                <c:pt idx="573">
                  <c:v>1654857.2460381528</c:v>
                </c:pt>
                <c:pt idx="574">
                  <c:v>1667257.934316183</c:v>
                </c:pt>
                <c:pt idx="575">
                  <c:v>1657305.5189701321</c:v>
                </c:pt>
                <c:pt idx="576">
                  <c:v>1657815.3545481581</c:v>
                </c:pt>
                <c:pt idx="577">
                  <c:v>1605440.37048052</c:v>
                </c:pt>
                <c:pt idx="578">
                  <c:v>1607161.0655563578</c:v>
                </c:pt>
                <c:pt idx="579">
                  <c:v>1588105.960827633</c:v>
                </c:pt>
                <c:pt idx="580">
                  <c:v>1581754.2592513913</c:v>
                </c:pt>
                <c:pt idx="581">
                  <c:v>1573750.9028338362</c:v>
                </c:pt>
                <c:pt idx="582">
                  <c:v>1569077.4100352637</c:v>
                </c:pt>
                <c:pt idx="583">
                  <c:v>1594064.6641458129</c:v>
                </c:pt>
                <c:pt idx="584">
                  <c:v>1595450.7796235716</c:v>
                </c:pt>
                <c:pt idx="585">
                  <c:v>1569714.7045077961</c:v>
                </c:pt>
                <c:pt idx="586">
                  <c:v>1585986.9567064622</c:v>
                </c:pt>
                <c:pt idx="587">
                  <c:v>1595498.5767090116</c:v>
                </c:pt>
                <c:pt idx="588">
                  <c:v>1597830.0123210265</c:v>
                </c:pt>
                <c:pt idx="589">
                  <c:v>1567685.983770234</c:v>
                </c:pt>
                <c:pt idx="590">
                  <c:v>1573018.0141904235</c:v>
                </c:pt>
                <c:pt idx="591">
                  <c:v>1566868.1225304839</c:v>
                </c:pt>
                <c:pt idx="592">
                  <c:v>1589816.0343289289</c:v>
                </c:pt>
                <c:pt idx="593">
                  <c:v>1573649.9978756851</c:v>
                </c:pt>
                <c:pt idx="594">
                  <c:v>1549464.6726430724</c:v>
                </c:pt>
                <c:pt idx="595">
                  <c:v>1535964.6513999235</c:v>
                </c:pt>
                <c:pt idx="596">
                  <c:v>1526798.2325699963</c:v>
                </c:pt>
                <c:pt idx="597">
                  <c:v>1544945.1926753623</c:v>
                </c:pt>
                <c:pt idx="598">
                  <c:v>1544684.964099078</c:v>
                </c:pt>
                <c:pt idx="599">
                  <c:v>1570734.3756638484</c:v>
                </c:pt>
                <c:pt idx="600">
                  <c:v>1607824.9139652462</c:v>
                </c:pt>
                <c:pt idx="601">
                  <c:v>1612615.2440837829</c:v>
                </c:pt>
                <c:pt idx="602">
                  <c:v>1615398.0966138418</c:v>
                </c:pt>
                <c:pt idx="603">
                  <c:v>1593326.4647151292</c:v>
                </c:pt>
                <c:pt idx="604">
                  <c:v>1616651.442409823</c:v>
                </c:pt>
                <c:pt idx="605">
                  <c:v>1619657.3480052683</c:v>
                </c:pt>
                <c:pt idx="606">
                  <c:v>1658017.1644644602</c:v>
                </c:pt>
                <c:pt idx="607">
                  <c:v>1658293.3254025576</c:v>
                </c:pt>
                <c:pt idx="608">
                  <c:v>1653625.1433912562</c:v>
                </c:pt>
                <c:pt idx="609">
                  <c:v>1647236.2663041169</c:v>
                </c:pt>
                <c:pt idx="610">
                  <c:v>1651219.3567574455</c:v>
                </c:pt>
                <c:pt idx="611">
                  <c:v>1653359.6040277011</c:v>
                </c:pt>
                <c:pt idx="612">
                  <c:v>1623459.8716913795</c:v>
                </c:pt>
                <c:pt idx="613">
                  <c:v>1649663.2960870119</c:v>
                </c:pt>
                <c:pt idx="614">
                  <c:v>1654708.5439945618</c:v>
                </c:pt>
                <c:pt idx="615">
                  <c:v>1661686.9184687936</c:v>
                </c:pt>
                <c:pt idx="616">
                  <c:v>1658346.4332752686</c:v>
                </c:pt>
                <c:pt idx="617">
                  <c:v>1643757.7006415431</c:v>
                </c:pt>
                <c:pt idx="618">
                  <c:v>1641867.0603730297</c:v>
                </c:pt>
                <c:pt idx="619">
                  <c:v>1624644.1772528358</c:v>
                </c:pt>
                <c:pt idx="620">
                  <c:v>1629344.2239877637</c:v>
                </c:pt>
                <c:pt idx="621">
                  <c:v>1576395.6748948465</c:v>
                </c:pt>
                <c:pt idx="622">
                  <c:v>1581430.3012278539</c:v>
                </c:pt>
                <c:pt idx="623">
                  <c:v>1593262.7352678762</c:v>
                </c:pt>
                <c:pt idx="624">
                  <c:v>1583145.685516421</c:v>
                </c:pt>
                <c:pt idx="625">
                  <c:v>1578408.4632705953</c:v>
                </c:pt>
                <c:pt idx="626">
                  <c:v>1581403.7472914984</c:v>
                </c:pt>
                <c:pt idx="627">
                  <c:v>1570070.5272549603</c:v>
                </c:pt>
                <c:pt idx="628">
                  <c:v>1569268.5983770234</c:v>
                </c:pt>
                <c:pt idx="629">
                  <c:v>1572157.6666525046</c:v>
                </c:pt>
                <c:pt idx="630">
                  <c:v>1538758.1255045249</c:v>
                </c:pt>
                <c:pt idx="631">
                  <c:v>1483780.8556740452</c:v>
                </c:pt>
                <c:pt idx="632">
                  <c:v>1486059.1834133491</c:v>
                </c:pt>
                <c:pt idx="633">
                  <c:v>1499830.0548073244</c:v>
                </c:pt>
                <c:pt idx="634">
                  <c:v>1522560.2243276543</c:v>
                </c:pt>
                <c:pt idx="635">
                  <c:v>1527047.8395717379</c:v>
                </c:pt>
                <c:pt idx="636">
                  <c:v>1549623.9962612058</c:v>
                </c:pt>
                <c:pt idx="637">
                  <c:v>1538843.0981008625</c:v>
                </c:pt>
                <c:pt idx="638">
                  <c:v>1532698.517228194</c:v>
                </c:pt>
                <c:pt idx="639">
                  <c:v>1505209.8823129539</c:v>
                </c:pt>
                <c:pt idx="640">
                  <c:v>1491088.4989590857</c:v>
                </c:pt>
                <c:pt idx="641">
                  <c:v>1475225.177380295</c:v>
                </c:pt>
                <c:pt idx="642">
                  <c:v>1498173.0891787398</c:v>
                </c:pt>
                <c:pt idx="643">
                  <c:v>1492341.8447550666</c:v>
                </c:pt>
                <c:pt idx="644">
                  <c:v>1542167.6509325744</c:v>
                </c:pt>
                <c:pt idx="645">
                  <c:v>1540776.2246675445</c:v>
                </c:pt>
                <c:pt idx="646">
                  <c:v>1515066.703488125</c:v>
                </c:pt>
                <c:pt idx="647">
                  <c:v>1509187.6619790117</c:v>
                </c:pt>
                <c:pt idx="648">
                  <c:v>1511864.2987636488</c:v>
                </c:pt>
                <c:pt idx="649">
                  <c:v>1505363.895143816</c:v>
                </c:pt>
                <c:pt idx="650">
                  <c:v>1489065.0890087946</c:v>
                </c:pt>
                <c:pt idx="651">
                  <c:v>1457184.433020351</c:v>
                </c:pt>
                <c:pt idx="652">
                  <c:v>1446286.6975400434</c:v>
                </c:pt>
                <c:pt idx="653">
                  <c:v>1475915.5797255386</c:v>
                </c:pt>
                <c:pt idx="654">
                  <c:v>1463711.3905765391</c:v>
                </c:pt>
                <c:pt idx="655">
                  <c:v>1461050.6861537155</c:v>
                </c:pt>
                <c:pt idx="656">
                  <c:v>1444682.8397841698</c:v>
                </c:pt>
                <c:pt idx="657">
                  <c:v>1451496.5798529976</c:v>
                </c:pt>
                <c:pt idx="658">
                  <c:v>1449340.4002209289</c:v>
                </c:pt>
                <c:pt idx="659">
                  <c:v>1451963.9291328546</c:v>
                </c:pt>
                <c:pt idx="660">
                  <c:v>1422903.3011853679</c:v>
                </c:pt>
                <c:pt idx="661">
                  <c:v>1428522.1141181968</c:v>
                </c:pt>
                <c:pt idx="662">
                  <c:v>1471624.4636104857</c:v>
                </c:pt>
                <c:pt idx="663">
                  <c:v>1426312.8266134171</c:v>
                </c:pt>
                <c:pt idx="664">
                  <c:v>1417704.0404469559</c:v>
                </c:pt>
                <c:pt idx="665">
                  <c:v>1386604.0701873645</c:v>
                </c:pt>
                <c:pt idx="666">
                  <c:v>1400921.9526702638</c:v>
                </c:pt>
                <c:pt idx="667">
                  <c:v>1386428.8142074181</c:v>
                </c:pt>
                <c:pt idx="668">
                  <c:v>1374532.6507201428</c:v>
                </c:pt>
                <c:pt idx="669">
                  <c:v>1370900.0722267069</c:v>
                </c:pt>
                <c:pt idx="670">
                  <c:v>1358010.7915197348</c:v>
                </c:pt>
                <c:pt idx="671">
                  <c:v>1355307.6007987424</c:v>
                </c:pt>
                <c:pt idx="672">
                  <c:v>1404575.7743127842</c:v>
                </c:pt>
                <c:pt idx="673">
                  <c:v>1414050.2188044356</c:v>
                </c:pt>
                <c:pt idx="674">
                  <c:v>1409366.1044313211</c:v>
                </c:pt>
                <c:pt idx="675">
                  <c:v>1416360.4112673663</c:v>
                </c:pt>
                <c:pt idx="676">
                  <c:v>1376667.5872031269</c:v>
                </c:pt>
                <c:pt idx="677">
                  <c:v>1371818.8384246079</c:v>
                </c:pt>
                <c:pt idx="678">
                  <c:v>1338599.8640438458</c:v>
                </c:pt>
                <c:pt idx="679">
                  <c:v>1331881.7181458978</c:v>
                </c:pt>
                <c:pt idx="680">
                  <c:v>1368414.6237838296</c:v>
                </c:pt>
                <c:pt idx="681">
                  <c:v>1394310.0225177379</c:v>
                </c:pt>
                <c:pt idx="682">
                  <c:v>1408234.9067425753</c:v>
                </c:pt>
                <c:pt idx="683">
                  <c:v>1411331.0957216299</c:v>
                </c:pt>
                <c:pt idx="684">
                  <c:v>1438702.8933169052</c:v>
                </c:pt>
                <c:pt idx="685">
                  <c:v>1431421.8039682203</c:v>
                </c:pt>
                <c:pt idx="686">
                  <c:v>1432600.7987424056</c:v>
                </c:pt>
                <c:pt idx="687">
                  <c:v>1456424.9904405829</c:v>
                </c:pt>
                <c:pt idx="688">
                  <c:v>1457439.3508093641</c:v>
                </c:pt>
                <c:pt idx="689">
                  <c:v>1467768.8320516632</c:v>
                </c:pt>
                <c:pt idx="690">
                  <c:v>1453164.1670561244</c:v>
                </c:pt>
                <c:pt idx="691">
                  <c:v>1448628.7547266006</c:v>
                </c:pt>
                <c:pt idx="692">
                  <c:v>1461342.7794536261</c:v>
                </c:pt>
                <c:pt idx="693">
                  <c:v>1433694.8209202534</c:v>
                </c:pt>
                <c:pt idx="694">
                  <c:v>1431257.1695628159</c:v>
                </c:pt>
                <c:pt idx="695">
                  <c:v>1460572.7152993158</c:v>
                </c:pt>
                <c:pt idx="696">
                  <c:v>1457641.1607256657</c:v>
                </c:pt>
                <c:pt idx="697">
                  <c:v>1418043.9308323066</c:v>
                </c:pt>
                <c:pt idx="698">
                  <c:v>1413742.1931427114</c:v>
                </c:pt>
                <c:pt idx="699">
                  <c:v>1384256.7022135362</c:v>
                </c:pt>
                <c:pt idx="700">
                  <c:v>1385950.8433530186</c:v>
                </c:pt>
                <c:pt idx="701">
                  <c:v>1385839.3168203253</c:v>
                </c:pt>
                <c:pt idx="702">
                  <c:v>1372312.7416408209</c:v>
                </c:pt>
                <c:pt idx="703">
                  <c:v>1374920.3381909335</c:v>
                </c:pt>
                <c:pt idx="704">
                  <c:v>1364856.3963121891</c:v>
                </c:pt>
                <c:pt idx="705">
                  <c:v>1366635.5100480097</c:v>
                </c:pt>
                <c:pt idx="706">
                  <c:v>1385356.0351786548</c:v>
                </c:pt>
                <c:pt idx="707">
                  <c:v>1339125.6319836853</c:v>
                </c:pt>
                <c:pt idx="708">
                  <c:v>1372100.3101499768</c:v>
                </c:pt>
                <c:pt idx="709">
                  <c:v>1358132.9396269703</c:v>
                </c:pt>
                <c:pt idx="710">
                  <c:v>1339056.5917491608</c:v>
                </c:pt>
                <c:pt idx="711">
                  <c:v>1336374.6441772529</c:v>
                </c:pt>
                <c:pt idx="712">
                  <c:v>1342689.1702425967</c:v>
                </c:pt>
                <c:pt idx="713">
                  <c:v>1340973.7859540298</c:v>
                </c:pt>
                <c:pt idx="714">
                  <c:v>1329534.3501720696</c:v>
                </c:pt>
                <c:pt idx="715">
                  <c:v>1315848.4513744318</c:v>
                </c:pt>
                <c:pt idx="716">
                  <c:v>1286235.5015507499</c:v>
                </c:pt>
                <c:pt idx="717">
                  <c:v>1273250.626672898</c:v>
                </c:pt>
                <c:pt idx="718">
                  <c:v>1243143.7736330032</c:v>
                </c:pt>
                <c:pt idx="719">
                  <c:v>1269347.1980286357</c:v>
                </c:pt>
                <c:pt idx="720">
                  <c:v>1266309.4277095636</c:v>
                </c:pt>
                <c:pt idx="721">
                  <c:v>1262411.3098525726</c:v>
                </c:pt>
                <c:pt idx="722">
                  <c:v>1242251.5613714578</c:v>
                </c:pt>
                <c:pt idx="723">
                  <c:v>1243435.8669329141</c:v>
                </c:pt>
                <c:pt idx="724">
                  <c:v>1252899.6898500232</c:v>
                </c:pt>
                <c:pt idx="725">
                  <c:v>1240440.5829120106</c:v>
                </c:pt>
                <c:pt idx="726">
                  <c:v>1224157.7091388027</c:v>
                </c:pt>
                <c:pt idx="727">
                  <c:v>1225692.526660152</c:v>
                </c:pt>
                <c:pt idx="728">
                  <c:v>1227514.1266941412</c:v>
                </c:pt>
                <c:pt idx="729">
                  <c:v>1245772.6133322003</c:v>
                </c:pt>
                <c:pt idx="730">
                  <c:v>1220817.2239452777</c:v>
                </c:pt>
                <c:pt idx="731">
                  <c:v>1208942.3036070867</c:v>
                </c:pt>
                <c:pt idx="732">
                  <c:v>1216488.9323193268</c:v>
                </c:pt>
                <c:pt idx="733">
                  <c:v>1257897.1406721333</c:v>
                </c:pt>
                <c:pt idx="734">
                  <c:v>1299735.5227938988</c:v>
                </c:pt>
                <c:pt idx="735">
                  <c:v>1293500.6585376216</c:v>
                </c:pt>
                <c:pt idx="736">
                  <c:v>1293293.5378340485</c:v>
                </c:pt>
                <c:pt idx="737">
                  <c:v>1271577.7286824998</c:v>
                </c:pt>
                <c:pt idx="738">
                  <c:v>1245724.8162467605</c:v>
                </c:pt>
                <c:pt idx="739">
                  <c:v>1306772.3159281129</c:v>
                </c:pt>
                <c:pt idx="740">
                  <c:v>1286373.5820197985</c:v>
                </c:pt>
                <c:pt idx="741">
                  <c:v>1310888.1760632196</c:v>
                </c:pt>
                <c:pt idx="742">
                  <c:v>1329868.9297701491</c:v>
                </c:pt>
                <c:pt idx="743">
                  <c:v>1306836.0453753662</c:v>
                </c:pt>
                <c:pt idx="744">
                  <c:v>1308716.0640693379</c:v>
                </c:pt>
                <c:pt idx="745">
                  <c:v>1289984.9173641501</c:v>
                </c:pt>
                <c:pt idx="746">
                  <c:v>1320389.1744912264</c:v>
                </c:pt>
                <c:pt idx="747">
                  <c:v>1330931.0872243703</c:v>
                </c:pt>
                <c:pt idx="748">
                  <c:v>1329991.0778773846</c:v>
                </c:pt>
                <c:pt idx="749">
                  <c:v>1305364.9573012702</c:v>
                </c:pt>
                <c:pt idx="750">
                  <c:v>1342694.4810298677</c:v>
                </c:pt>
                <c:pt idx="751">
                  <c:v>1343220.2489697072</c:v>
                </c:pt>
                <c:pt idx="752">
                  <c:v>1345551.6845817224</c:v>
                </c:pt>
                <c:pt idx="753">
                  <c:v>1344680.7154692609</c:v>
                </c:pt>
                <c:pt idx="754">
                  <c:v>1339438.9684326805</c:v>
                </c:pt>
                <c:pt idx="755">
                  <c:v>1354043.6334282195</c:v>
                </c:pt>
                <c:pt idx="756">
                  <c:v>1346852.8274631433</c:v>
                </c:pt>
                <c:pt idx="757">
                  <c:v>1347394.5277647958</c:v>
                </c:pt>
                <c:pt idx="758">
                  <c:v>1349317.032756936</c:v>
                </c:pt>
                <c:pt idx="759">
                  <c:v>1360862.684284318</c:v>
                </c:pt>
                <c:pt idx="760">
                  <c:v>1379466.3720949993</c:v>
                </c:pt>
                <c:pt idx="761">
                  <c:v>1384129.2433190297</c:v>
                </c:pt>
                <c:pt idx="762">
                  <c:v>1406307.0909631643</c:v>
                </c:pt>
                <c:pt idx="763">
                  <c:v>1410847.8140799592</c:v>
                </c:pt>
                <c:pt idx="764">
                  <c:v>1413975.8677826403</c:v>
                </c:pt>
                <c:pt idx="765">
                  <c:v>1398935.7182308703</c:v>
                </c:pt>
                <c:pt idx="766">
                  <c:v>1398516.1660364531</c:v>
                </c:pt>
                <c:pt idx="767">
                  <c:v>1423253.8131452606</c:v>
                </c:pt>
                <c:pt idx="768">
                  <c:v>1414103.3266771466</c:v>
                </c:pt>
                <c:pt idx="769">
                  <c:v>1391983.8976929942</c:v>
                </c:pt>
                <c:pt idx="770">
                  <c:v>1382403.2374559205</c:v>
                </c:pt>
                <c:pt idx="771">
                  <c:v>1399811.9981306028</c:v>
                </c:pt>
                <c:pt idx="772">
                  <c:v>1414953.0526405233</c:v>
                </c:pt>
                <c:pt idx="773">
                  <c:v>1409695.3732421293</c:v>
                </c:pt>
                <c:pt idx="774">
                  <c:v>1423859.2428941668</c:v>
                </c:pt>
                <c:pt idx="775">
                  <c:v>1383518.5027828524</c:v>
                </c:pt>
                <c:pt idx="776">
                  <c:v>1373130.602880571</c:v>
                </c:pt>
                <c:pt idx="777">
                  <c:v>1393295.6621489569</c:v>
                </c:pt>
                <c:pt idx="778">
                  <c:v>1396742.3630879044</c:v>
                </c:pt>
                <c:pt idx="779">
                  <c:v>1372546.4162807493</c:v>
                </c:pt>
                <c:pt idx="780">
                  <c:v>1374320.2192292984</c:v>
                </c:pt>
                <c:pt idx="781">
                  <c:v>1372174.6611717721</c:v>
                </c:pt>
                <c:pt idx="782">
                  <c:v>1355812.1255894974</c:v>
                </c:pt>
                <c:pt idx="783">
                  <c:v>1357139.8224072738</c:v>
                </c:pt>
                <c:pt idx="784">
                  <c:v>1352731.8689722563</c:v>
                </c:pt>
                <c:pt idx="785">
                  <c:v>1314366.7417257933</c:v>
                </c:pt>
                <c:pt idx="786">
                  <c:v>1297489.0597782214</c:v>
                </c:pt>
                <c:pt idx="787">
                  <c:v>1303745.1671835834</c:v>
                </c:pt>
                <c:pt idx="788">
                  <c:v>1334510.5578450949</c:v>
                </c:pt>
                <c:pt idx="789">
                  <c:v>1338228.1089348684</c:v>
                </c:pt>
                <c:pt idx="790">
                  <c:v>1325121.0859497814</c:v>
                </c:pt>
                <c:pt idx="791">
                  <c:v>1338206.8657857839</c:v>
                </c:pt>
                <c:pt idx="792">
                  <c:v>1338339.6354675617</c:v>
                </c:pt>
                <c:pt idx="793">
                  <c:v>1365106.0033139312</c:v>
                </c:pt>
                <c:pt idx="794">
                  <c:v>1370422.1013723072</c:v>
                </c:pt>
                <c:pt idx="795">
                  <c:v>1367017.8867315289</c:v>
                </c:pt>
                <c:pt idx="796">
                  <c:v>1349938.3948676554</c:v>
                </c:pt>
                <c:pt idx="797">
                  <c:v>1380756.8934018777</c:v>
                </c:pt>
                <c:pt idx="798">
                  <c:v>1378712.2403025022</c:v>
                </c:pt>
                <c:pt idx="799">
                  <c:v>1395058.8435229638</c:v>
                </c:pt>
                <c:pt idx="800">
                  <c:v>1384012.4059990654</c:v>
                </c:pt>
                <c:pt idx="801">
                  <c:v>1383391.0438883458</c:v>
                </c:pt>
                <c:pt idx="802">
                  <c:v>1394607.4266049198</c:v>
                </c:pt>
                <c:pt idx="803">
                  <c:v>1397528.3596040276</c:v>
                </c:pt>
                <c:pt idx="804">
                  <c:v>1394697.7099885284</c:v>
                </c:pt>
                <c:pt idx="805">
                  <c:v>1425144.4534137738</c:v>
                </c:pt>
                <c:pt idx="806">
                  <c:v>1429409.0155924715</c:v>
                </c:pt>
                <c:pt idx="807">
                  <c:v>1442346.0933848836</c:v>
                </c:pt>
                <c:pt idx="808">
                  <c:v>1443355.1429663934</c:v>
                </c:pt>
                <c:pt idx="809">
                  <c:v>1438756.0011896163</c:v>
                </c:pt>
                <c:pt idx="810">
                  <c:v>1411347.0280834432</c:v>
                </c:pt>
                <c:pt idx="811">
                  <c:v>1411187.7044653099</c:v>
                </c:pt>
                <c:pt idx="812">
                  <c:v>1400412.1170922376</c:v>
                </c:pt>
                <c:pt idx="813">
                  <c:v>1389052.343119344</c:v>
                </c:pt>
                <c:pt idx="814">
                  <c:v>1390029.5279772272</c:v>
                </c:pt>
                <c:pt idx="815">
                  <c:v>1367341.8447550666</c:v>
                </c:pt>
                <c:pt idx="816">
                  <c:v>1388207.9279432383</c:v>
                </c:pt>
                <c:pt idx="817">
                  <c:v>1366986.0220079024</c:v>
                </c:pt>
                <c:pt idx="818">
                  <c:v>1374022.8151421165</c:v>
                </c:pt>
                <c:pt idx="819">
                  <c:v>1395425.2878446702</c:v>
                </c:pt>
                <c:pt idx="820">
                  <c:v>1389763.9886136719</c:v>
                </c:pt>
                <c:pt idx="821">
                  <c:v>1378287.3773208142</c:v>
                </c:pt>
                <c:pt idx="822">
                  <c:v>1366518.6727280451</c:v>
                </c:pt>
                <c:pt idx="823">
                  <c:v>1388606.2369885712</c:v>
                </c:pt>
                <c:pt idx="824">
                  <c:v>1407810.0437608871</c:v>
                </c:pt>
                <c:pt idx="825">
                  <c:v>1403248.077495008</c:v>
                </c:pt>
                <c:pt idx="826">
                  <c:v>1397820.4529039385</c:v>
                </c:pt>
                <c:pt idx="827">
                  <c:v>1398330.2884819645</c:v>
                </c:pt>
                <c:pt idx="828">
                  <c:v>1359046.3950376003</c:v>
                </c:pt>
                <c:pt idx="829">
                  <c:v>1358945.4900794495</c:v>
                </c:pt>
                <c:pt idx="830">
                  <c:v>1358180.7367124103</c:v>
                </c:pt>
                <c:pt idx="831">
                  <c:v>1350097.7184857882</c:v>
                </c:pt>
                <c:pt idx="832">
                  <c:v>1340617.9632068658</c:v>
                </c:pt>
                <c:pt idx="833">
                  <c:v>1358642.7752049963</c:v>
                </c:pt>
                <c:pt idx="834">
                  <c:v>1349035.5610315672</c:v>
                </c:pt>
                <c:pt idx="835">
                  <c:v>1370523.0063304582</c:v>
                </c:pt>
                <c:pt idx="836">
                  <c:v>1359784.5944682839</c:v>
                </c:pt>
                <c:pt idx="837">
                  <c:v>1363836.7251561373</c:v>
                </c:pt>
                <c:pt idx="838">
                  <c:v>1370825.7212049114</c:v>
                </c:pt>
                <c:pt idx="839">
                  <c:v>1358828.6527594849</c:v>
                </c:pt>
                <c:pt idx="840">
                  <c:v>1355636.8696095508</c:v>
                </c:pt>
                <c:pt idx="841">
                  <c:v>1334170.6674597443</c:v>
                </c:pt>
                <c:pt idx="842">
                  <c:v>1304605.5147215023</c:v>
                </c:pt>
                <c:pt idx="843">
                  <c:v>1303755.7887581254</c:v>
                </c:pt>
                <c:pt idx="844">
                  <c:v>1299655.8609848323</c:v>
                </c:pt>
                <c:pt idx="845">
                  <c:v>1288253.6007137697</c:v>
                </c:pt>
                <c:pt idx="846">
                  <c:v>1307308.7054424947</c:v>
                </c:pt>
                <c:pt idx="847">
                  <c:v>1309236.5212219057</c:v>
                </c:pt>
                <c:pt idx="848">
                  <c:v>1311084.6751922504</c:v>
                </c:pt>
                <c:pt idx="849">
                  <c:v>1309066.5760292306</c:v>
                </c:pt>
                <c:pt idx="850">
                  <c:v>1290717.8060075627</c:v>
                </c:pt>
                <c:pt idx="851">
                  <c:v>1313150.5714407105</c:v>
                </c:pt>
                <c:pt idx="852">
                  <c:v>1283107.4478480688</c:v>
                </c:pt>
                <c:pt idx="853">
                  <c:v>1278152.483324128</c:v>
                </c:pt>
                <c:pt idx="854">
                  <c:v>1288168.6281174324</c:v>
                </c:pt>
                <c:pt idx="855">
                  <c:v>1300707.3968645111</c:v>
                </c:pt>
                <c:pt idx="856">
                  <c:v>1301477.4610188215</c:v>
                </c:pt>
                <c:pt idx="857">
                  <c:v>1274445.5538088966</c:v>
                </c:pt>
                <c:pt idx="858">
                  <c:v>1282130.2629901855</c:v>
                </c:pt>
                <c:pt idx="859">
                  <c:v>1282204.6140119811</c:v>
                </c:pt>
                <c:pt idx="860">
                  <c:v>1287504.7797085443</c:v>
                </c:pt>
                <c:pt idx="861">
                  <c:v>1273771.0838254662</c:v>
                </c:pt>
                <c:pt idx="862">
                  <c:v>1256229.5534690062</c:v>
                </c:pt>
                <c:pt idx="863">
                  <c:v>1261837.7448272931</c:v>
                </c:pt>
                <c:pt idx="864">
                  <c:v>1253388.282278965</c:v>
                </c:pt>
                <c:pt idx="865">
                  <c:v>1246702.0011046438</c:v>
                </c:pt>
                <c:pt idx="866">
                  <c:v>1247562.348642563</c:v>
                </c:pt>
                <c:pt idx="867">
                  <c:v>1240488.3799974509</c:v>
                </c:pt>
                <c:pt idx="868">
                  <c:v>1238964.1840506438</c:v>
                </c:pt>
                <c:pt idx="869">
                  <c:v>1252628.8396991971</c:v>
                </c:pt>
                <c:pt idx="870">
                  <c:v>1240005.0983557801</c:v>
                </c:pt>
                <c:pt idx="871">
                  <c:v>1250021.2431490843</c:v>
                </c:pt>
                <c:pt idx="872">
                  <c:v>1266946.7221820962</c:v>
                </c:pt>
                <c:pt idx="873">
                  <c:v>1268678.0388324766</c:v>
                </c:pt>
                <c:pt idx="874">
                  <c:v>1269171.9420486894</c:v>
                </c:pt>
                <c:pt idx="875">
                  <c:v>1280802.5661724091</c:v>
                </c:pt>
                <c:pt idx="876">
                  <c:v>1274456.1753834388</c:v>
                </c:pt>
                <c:pt idx="877">
                  <c:v>1249059.9906530143</c:v>
                </c:pt>
                <c:pt idx="878">
                  <c:v>1251763.1813740069</c:v>
                </c:pt>
                <c:pt idx="879">
                  <c:v>1238268.470918129</c:v>
                </c:pt>
                <c:pt idx="880">
                  <c:v>1231927.3909164295</c:v>
                </c:pt>
                <c:pt idx="881">
                  <c:v>1228640.0135956155</c:v>
                </c:pt>
                <c:pt idx="882">
                  <c:v>1222431.7032756936</c:v>
                </c:pt>
                <c:pt idx="883">
                  <c:v>1228756.8509155796</c:v>
                </c:pt>
                <c:pt idx="884">
                  <c:v>1219139.0151676084</c:v>
                </c:pt>
                <c:pt idx="885">
                  <c:v>1222649.4455538089</c:v>
                </c:pt>
                <c:pt idx="886">
                  <c:v>1208565.2377108382</c:v>
                </c:pt>
                <c:pt idx="887">
                  <c:v>1183349.6197476313</c:v>
                </c:pt>
                <c:pt idx="888">
                  <c:v>1188771.9335514295</c:v>
                </c:pt>
                <c:pt idx="889">
                  <c:v>1176238.4755916218</c:v>
                </c:pt>
                <c:pt idx="890">
                  <c:v>1174411.5647703614</c:v>
                </c:pt>
                <c:pt idx="891">
                  <c:v>1170959.5530441431</c:v>
                </c:pt>
                <c:pt idx="892">
                  <c:v>1183439.90313124</c:v>
                </c:pt>
                <c:pt idx="893">
                  <c:v>1170715.2568296723</c:v>
                </c:pt>
                <c:pt idx="894">
                  <c:v>1168309.4701958618</c:v>
                </c:pt>
                <c:pt idx="895">
                  <c:v>1177837.0225602244</c:v>
                </c:pt>
                <c:pt idx="896">
                  <c:v>1230605.0048859243</c:v>
                </c:pt>
                <c:pt idx="897">
                  <c:v>1235644.9420062031</c:v>
                </c:pt>
                <c:pt idx="898">
                  <c:v>1227795.5984195096</c:v>
                </c:pt>
                <c:pt idx="899">
                  <c:v>1232139.8224072738</c:v>
                </c:pt>
                <c:pt idx="900">
                  <c:v>1220663.2111144157</c:v>
                </c:pt>
                <c:pt idx="901">
                  <c:v>1229734.0357734628</c:v>
                </c:pt>
                <c:pt idx="902">
                  <c:v>1199552.8317117731</c:v>
                </c:pt>
                <c:pt idx="903">
                  <c:v>1187088.4139864892</c:v>
                </c:pt>
                <c:pt idx="904">
                  <c:v>1192930.2799847047</c:v>
                </c:pt>
                <c:pt idx="905">
                  <c:v>1166222.3307983174</c:v>
                </c:pt>
                <c:pt idx="906">
                  <c:v>1167873.9856396313</c:v>
                </c:pt>
                <c:pt idx="907">
                  <c:v>1176615.54148787</c:v>
                </c:pt>
                <c:pt idx="908">
                  <c:v>1173763.6487232868</c:v>
                </c:pt>
                <c:pt idx="909">
                  <c:v>1160348.6000764754</c:v>
                </c:pt>
                <c:pt idx="910">
                  <c:v>1195840.5914092704</c:v>
                </c:pt>
                <c:pt idx="911">
                  <c:v>1217821.9399243745</c:v>
                </c:pt>
                <c:pt idx="912">
                  <c:v>1205575.2644772062</c:v>
                </c:pt>
                <c:pt idx="913">
                  <c:v>1232187.6194927136</c:v>
                </c:pt>
                <c:pt idx="914">
                  <c:v>1234290.6912520709</c:v>
                </c:pt>
                <c:pt idx="915">
                  <c:v>1222824.7015337555</c:v>
                </c:pt>
                <c:pt idx="916">
                  <c:v>1223886.8589879766</c:v>
                </c:pt>
                <c:pt idx="917">
                  <c:v>1218751.3276968179</c:v>
                </c:pt>
                <c:pt idx="918">
                  <c:v>1220503.8874962823</c:v>
                </c:pt>
                <c:pt idx="919">
                  <c:v>1221905.9353358543</c:v>
                </c:pt>
                <c:pt idx="920">
                  <c:v>1240642.3928283127</c:v>
                </c:pt>
                <c:pt idx="921">
                  <c:v>1238725.1986234437</c:v>
                </c:pt>
                <c:pt idx="922">
                  <c:v>1243568.6366146919</c:v>
                </c:pt>
                <c:pt idx="923">
                  <c:v>1227896.5033776606</c:v>
                </c:pt>
                <c:pt idx="924">
                  <c:v>1225612.8648510855</c:v>
                </c:pt>
                <c:pt idx="925">
                  <c:v>1216828.8227046775</c:v>
                </c:pt>
                <c:pt idx="926">
                  <c:v>1193817.1814589794</c:v>
                </c:pt>
                <c:pt idx="927">
                  <c:v>1187412.3720100266</c:v>
                </c:pt>
                <c:pt idx="928">
                  <c:v>1189552.6192802822</c:v>
                </c:pt>
                <c:pt idx="929">
                  <c:v>1197486.935463313</c:v>
                </c:pt>
                <c:pt idx="930">
                  <c:v>1220355.1854526915</c:v>
                </c:pt>
                <c:pt idx="931">
                  <c:v>1225076.4753367039</c:v>
                </c:pt>
                <c:pt idx="932">
                  <c:v>1222479.5003611336</c:v>
                </c:pt>
                <c:pt idx="933">
                  <c:v>1217343.969069975</c:v>
                </c:pt>
                <c:pt idx="934">
                  <c:v>1214847.8990525557</c:v>
                </c:pt>
                <c:pt idx="935">
                  <c:v>1192489.4846412032</c:v>
                </c:pt>
                <c:pt idx="936">
                  <c:v>1190104.941156477</c:v>
                </c:pt>
                <c:pt idx="937">
                  <c:v>1195909.6316437947</c:v>
                </c:pt>
                <c:pt idx="938">
                  <c:v>1174979.8190083697</c:v>
                </c:pt>
                <c:pt idx="939">
                  <c:v>1180646.4290266389</c:v>
                </c:pt>
                <c:pt idx="940">
                  <c:v>1164984.9173641501</c:v>
                </c:pt>
                <c:pt idx="941">
                  <c:v>1156285.8478140798</c:v>
                </c:pt>
                <c:pt idx="942">
                  <c:v>1155090.9206780812</c:v>
                </c:pt>
                <c:pt idx="943">
                  <c:v>1149721.714746994</c:v>
                </c:pt>
                <c:pt idx="944">
                  <c:v>1165664.6981348514</c:v>
                </c:pt>
                <c:pt idx="945">
                  <c:v>1156450.4822194844</c:v>
                </c:pt>
                <c:pt idx="946">
                  <c:v>1164485.7033606661</c:v>
                </c:pt>
                <c:pt idx="947">
                  <c:v>1155414.8787016186</c:v>
                </c:pt>
                <c:pt idx="948">
                  <c:v>1142159.1536729403</c:v>
                </c:pt>
                <c:pt idx="949">
                  <c:v>1130751.5826146067</c:v>
                </c:pt>
                <c:pt idx="950">
                  <c:v>1123592.641373157</c:v>
                </c:pt>
                <c:pt idx="951">
                  <c:v>1136327.9092492671</c:v>
                </c:pt>
                <c:pt idx="952">
                  <c:v>1119965.3736669924</c:v>
                </c:pt>
                <c:pt idx="953">
                  <c:v>1131978.3744742321</c:v>
                </c:pt>
                <c:pt idx="954">
                  <c:v>1172558.1000127459</c:v>
                </c:pt>
                <c:pt idx="955">
                  <c:v>1170285.0830607128</c:v>
                </c:pt>
                <c:pt idx="956">
                  <c:v>1193206.4409228025</c:v>
                </c:pt>
                <c:pt idx="957">
                  <c:v>1206106.3432043167</c:v>
                </c:pt>
                <c:pt idx="958">
                  <c:v>1199441.3051790798</c:v>
                </c:pt>
                <c:pt idx="959">
                  <c:v>1204364.4049793941</c:v>
                </c:pt>
                <c:pt idx="960">
                  <c:v>1191018.3965671072</c:v>
                </c:pt>
                <c:pt idx="961">
                  <c:v>1251147.1300505588</c:v>
                </c:pt>
                <c:pt idx="962">
                  <c:v>1256904.0234524366</c:v>
                </c:pt>
                <c:pt idx="963">
                  <c:v>1257658.1552449334</c:v>
                </c:pt>
                <c:pt idx="964">
                  <c:v>1259246.080638994</c:v>
                </c:pt>
                <c:pt idx="965">
                  <c:v>1266527.169987679</c:v>
                </c:pt>
                <c:pt idx="966">
                  <c:v>1259718.7407061222</c:v>
                </c:pt>
                <c:pt idx="967">
                  <c:v>1264615.286570081</c:v>
                </c:pt>
                <c:pt idx="968">
                  <c:v>1300293.1554573651</c:v>
                </c:pt>
                <c:pt idx="969">
                  <c:v>1305189.7013213239</c:v>
                </c:pt>
                <c:pt idx="970">
                  <c:v>1298269.7455070741</c:v>
                </c:pt>
                <c:pt idx="971">
                  <c:v>1317101.7971704127</c:v>
                </c:pt>
                <c:pt idx="972">
                  <c:v>1339885.0745634532</c:v>
                </c:pt>
                <c:pt idx="973">
                  <c:v>1340660.4495050346</c:v>
                </c:pt>
                <c:pt idx="974">
                  <c:v>1346810.341164974</c:v>
                </c:pt>
                <c:pt idx="975">
                  <c:v>1341149.0419339761</c:v>
                </c:pt>
                <c:pt idx="976">
                  <c:v>1341573.9049156648</c:v>
                </c:pt>
                <c:pt idx="977">
                  <c:v>1343931.8944640355</c:v>
                </c:pt>
                <c:pt idx="978">
                  <c:v>1318790.6275226241</c:v>
                </c:pt>
                <c:pt idx="979">
                  <c:v>1368977.5672345667</c:v>
                </c:pt>
                <c:pt idx="980">
                  <c:v>1378606.0245570804</c:v>
                </c:pt>
                <c:pt idx="981">
                  <c:v>1368637.6768492162</c:v>
                </c:pt>
                <c:pt idx="982">
                  <c:v>1355716.5314186176</c:v>
                </c:pt>
                <c:pt idx="983">
                  <c:v>1378382.971491694</c:v>
                </c:pt>
                <c:pt idx="984">
                  <c:v>1386593.4486128225</c:v>
                </c:pt>
                <c:pt idx="985">
                  <c:v>1379158.3464332754</c:v>
                </c:pt>
                <c:pt idx="986">
                  <c:v>1384766.537791562</c:v>
                </c:pt>
                <c:pt idx="987">
                  <c:v>1371648.8932319328</c:v>
                </c:pt>
                <c:pt idx="988">
                  <c:v>1365759.2301482772</c:v>
                </c:pt>
                <c:pt idx="989">
                  <c:v>1408346.4332752689</c:v>
                </c:pt>
                <c:pt idx="990">
                  <c:v>1421097.6335131919</c:v>
                </c:pt>
                <c:pt idx="991">
                  <c:v>1427916.6843692909</c:v>
                </c:pt>
                <c:pt idx="992">
                  <c:v>1426944.8102986787</c:v>
                </c:pt>
                <c:pt idx="993">
                  <c:v>1456918.8936567958</c:v>
                </c:pt>
                <c:pt idx="994">
                  <c:v>1459420.2744614861</c:v>
                </c:pt>
                <c:pt idx="995">
                  <c:v>1471980.2863576494</c:v>
                </c:pt>
                <c:pt idx="996">
                  <c:v>1474189.5738624292</c:v>
                </c:pt>
                <c:pt idx="997">
                  <c:v>1465708.2465904744</c:v>
                </c:pt>
                <c:pt idx="998">
                  <c:v>1472006.8402940051</c:v>
                </c:pt>
                <c:pt idx="999">
                  <c:v>1453812.083103199</c:v>
                </c:pt>
                <c:pt idx="1000">
                  <c:v>1426270.3403152484</c:v>
                </c:pt>
                <c:pt idx="1001">
                  <c:v>1435314.6110379403</c:v>
                </c:pt>
                <c:pt idx="1002">
                  <c:v>1386407.5710583336</c:v>
                </c:pt>
                <c:pt idx="1003">
                  <c:v>1378999.0228151421</c:v>
                </c:pt>
                <c:pt idx="1004">
                  <c:v>1383438.8409737858</c:v>
                </c:pt>
                <c:pt idx="1005">
                  <c:v>1363592.4289416664</c:v>
                </c:pt>
                <c:pt idx="1006">
                  <c:v>1377979.35165909</c:v>
                </c:pt>
                <c:pt idx="1007">
                  <c:v>1419748.6935463313</c:v>
                </c:pt>
                <c:pt idx="1008">
                  <c:v>1417364.1500616053</c:v>
                </c:pt>
                <c:pt idx="1009">
                  <c:v>1351977.7371797594</c:v>
                </c:pt>
                <c:pt idx="1010">
                  <c:v>1392918.5962527085</c:v>
                </c:pt>
                <c:pt idx="1011">
                  <c:v>1407464.8425882652</c:v>
                </c:pt>
                <c:pt idx="1012">
                  <c:v>1391150.1040914305</c:v>
                </c:pt>
                <c:pt idx="1013">
                  <c:v>1384485.0660661936</c:v>
                </c:pt>
                <c:pt idx="1014">
                  <c:v>1376752.5597994647</c:v>
                </c:pt>
                <c:pt idx="1015">
                  <c:v>1357230.1057908824</c:v>
                </c:pt>
                <c:pt idx="1016">
                  <c:v>1342296.1719845347</c:v>
                </c:pt>
                <c:pt idx="1017">
                  <c:v>1345896.8857543443</c:v>
                </c:pt>
                <c:pt idx="1018">
                  <c:v>1348870.9266261628</c:v>
                </c:pt>
                <c:pt idx="1019">
                  <c:v>1329019.2038067721</c:v>
                </c:pt>
                <c:pt idx="1020">
                  <c:v>1341026.8938267408</c:v>
                </c:pt>
                <c:pt idx="1021">
                  <c:v>1386205.7611420318</c:v>
                </c:pt>
                <c:pt idx="1022">
                  <c:v>1388765.5606067041</c:v>
                </c:pt>
                <c:pt idx="1023">
                  <c:v>1390528.741980711</c:v>
                </c:pt>
                <c:pt idx="1024">
                  <c:v>1387761.8218124653</c:v>
                </c:pt>
                <c:pt idx="1025">
                  <c:v>1367554.2762459107</c:v>
                </c:pt>
                <c:pt idx="1026">
                  <c:v>1372057.823851808</c:v>
                </c:pt>
                <c:pt idx="1027">
                  <c:v>1327325.06266729</c:v>
                </c:pt>
                <c:pt idx="1028">
                  <c:v>1325083.9104388834</c:v>
                </c:pt>
                <c:pt idx="1029">
                  <c:v>1324080.1716446446</c:v>
                </c:pt>
                <c:pt idx="1030">
                  <c:v>1320468.836300293</c:v>
                </c:pt>
                <c:pt idx="1031">
                  <c:v>1318960.5727152992</c:v>
                </c:pt>
                <c:pt idx="1032">
                  <c:v>1312985.9370353061</c:v>
                </c:pt>
                <c:pt idx="1033">
                  <c:v>1322083.3156307091</c:v>
                </c:pt>
                <c:pt idx="1034">
                  <c:v>1319895.2712750139</c:v>
                </c:pt>
                <c:pt idx="1035">
                  <c:v>1315949.3563325829</c:v>
                </c:pt>
                <c:pt idx="1036">
                  <c:v>1307574.2448060501</c:v>
                </c:pt>
                <c:pt idx="1037">
                  <c:v>1294143.2637974254</c:v>
                </c:pt>
                <c:pt idx="1038">
                  <c:v>1306235.9264137316</c:v>
                </c:pt>
                <c:pt idx="1039">
                  <c:v>1305641.1182393676</c:v>
                </c:pt>
                <c:pt idx="1040">
                  <c:v>1309029.4005183326</c:v>
                </c:pt>
                <c:pt idx="1041">
                  <c:v>1345663.2111144157</c:v>
                </c:pt>
                <c:pt idx="1042">
                  <c:v>1343985.0023367463</c:v>
                </c:pt>
                <c:pt idx="1043">
                  <c:v>1300861.4096953729</c:v>
                </c:pt>
                <c:pt idx="1044">
                  <c:v>1325349.4498024387</c:v>
                </c:pt>
                <c:pt idx="1045">
                  <c:v>1310638.5690614777</c:v>
                </c:pt>
                <c:pt idx="1046">
                  <c:v>1299714.2796448146</c:v>
                </c:pt>
                <c:pt idx="1047">
                  <c:v>1300951.6930789819</c:v>
                </c:pt>
                <c:pt idx="1048">
                  <c:v>1323931.4696010535</c:v>
                </c:pt>
                <c:pt idx="1049">
                  <c:v>1341494.243106598</c:v>
                </c:pt>
                <c:pt idx="1050">
                  <c:v>1343597.3148659556</c:v>
                </c:pt>
                <c:pt idx="1051">
                  <c:v>1350426.9872965969</c:v>
                </c:pt>
                <c:pt idx="1052">
                  <c:v>1342455.4956026683</c:v>
                </c:pt>
                <c:pt idx="1053">
                  <c:v>1349386.0729914603</c:v>
                </c:pt>
                <c:pt idx="1054">
                  <c:v>1344038.1102094573</c:v>
                </c:pt>
                <c:pt idx="1055">
                  <c:v>1324159.8334537114</c:v>
                </c:pt>
                <c:pt idx="1056">
                  <c:v>1331377.1933551428</c:v>
                </c:pt>
                <c:pt idx="1057">
                  <c:v>1355689.9774822618</c:v>
                </c:pt>
                <c:pt idx="1058">
                  <c:v>1376582.6146067895</c:v>
                </c:pt>
                <c:pt idx="1059">
                  <c:v>1385908.3570548499</c:v>
                </c:pt>
                <c:pt idx="1060">
                  <c:v>1388691.2095849088</c:v>
                </c:pt>
                <c:pt idx="1061">
                  <c:v>1390380.0399371204</c:v>
                </c:pt>
                <c:pt idx="1062">
                  <c:v>1371696.6903173726</c:v>
                </c:pt>
                <c:pt idx="1063">
                  <c:v>1379333.6024132217</c:v>
                </c:pt>
                <c:pt idx="1064">
                  <c:v>1380586.9482092026</c:v>
                </c:pt>
                <c:pt idx="1065">
                  <c:v>1404363.3428219401</c:v>
                </c:pt>
                <c:pt idx="1066">
                  <c:v>1403407.4011131411</c:v>
                </c:pt>
                <c:pt idx="1067">
                  <c:v>1399031.3124017506</c:v>
                </c:pt>
                <c:pt idx="1068">
                  <c:v>1384219.5267026382</c:v>
                </c:pt>
                <c:pt idx="1069">
                  <c:v>1382196.1167523472</c:v>
                </c:pt>
                <c:pt idx="1070">
                  <c:v>1362572.7577856141</c:v>
                </c:pt>
                <c:pt idx="1071">
                  <c:v>1359848.3239155372</c:v>
                </c:pt>
                <c:pt idx="1072">
                  <c:v>1342482.0495390238</c:v>
                </c:pt>
                <c:pt idx="1073">
                  <c:v>1319284.5307388366</c:v>
                </c:pt>
                <c:pt idx="1074">
                  <c:v>1274557.0803415899</c:v>
                </c:pt>
                <c:pt idx="1075">
                  <c:v>1283495.1353188597</c:v>
                </c:pt>
                <c:pt idx="1076">
                  <c:v>1276628.2873773209</c:v>
                </c:pt>
                <c:pt idx="1077">
                  <c:v>1284546.6711985385</c:v>
                </c:pt>
                <c:pt idx="1078">
                  <c:v>1274997.8756850916</c:v>
                </c:pt>
                <c:pt idx="1079">
                  <c:v>1232883.3326252282</c:v>
                </c:pt>
                <c:pt idx="1080">
                  <c:v>1230716.5314186176</c:v>
                </c:pt>
                <c:pt idx="1081">
                  <c:v>1153083.4430896034</c:v>
                </c:pt>
                <c:pt idx="1082">
                  <c:v>1150008.4972596338</c:v>
                </c:pt>
                <c:pt idx="1083">
                  <c:v>1151538.0039937121</c:v>
                </c:pt>
                <c:pt idx="1084">
                  <c:v>1147523.0488167566</c:v>
                </c:pt>
                <c:pt idx="1085">
                  <c:v>1168713.0900284657</c:v>
                </c:pt>
                <c:pt idx="1086">
                  <c:v>1175447.1682882269</c:v>
                </c:pt>
                <c:pt idx="1087">
                  <c:v>1180046.310065004</c:v>
                </c:pt>
                <c:pt idx="1088">
                  <c:v>1170407.2311679483</c:v>
                </c:pt>
                <c:pt idx="1089">
                  <c:v>1180046.310065004</c:v>
                </c:pt>
                <c:pt idx="1090">
                  <c:v>1182632.6634660321</c:v>
                </c:pt>
                <c:pt idx="1091">
                  <c:v>1149052.5555508349</c:v>
                </c:pt>
                <c:pt idx="1092">
                  <c:v>1148548.0307600799</c:v>
                </c:pt>
                <c:pt idx="1093">
                  <c:v>1181156.2646046651</c:v>
                </c:pt>
                <c:pt idx="1094">
                  <c:v>1235655.5635807451</c:v>
                </c:pt>
                <c:pt idx="1095">
                  <c:v>1208400.6033054339</c:v>
                </c:pt>
                <c:pt idx="1096">
                  <c:v>1225357.9470620726</c:v>
                </c:pt>
                <c:pt idx="1097">
                  <c:v>1230960.8276330885</c:v>
                </c:pt>
                <c:pt idx="1098">
                  <c:v>1212367.7613969494</c:v>
                </c:pt>
                <c:pt idx="1099">
                  <c:v>1192446.9983430344</c:v>
                </c:pt>
                <c:pt idx="1100">
                  <c:v>1163317.3301610232</c:v>
                </c:pt>
                <c:pt idx="1101">
                  <c:v>1169536.2620554871</c:v>
                </c:pt>
                <c:pt idx="1102">
                  <c:v>1203339.423036071</c:v>
                </c:pt>
                <c:pt idx="1103">
                  <c:v>1194475.7190805965</c:v>
                </c:pt>
                <c:pt idx="1104">
                  <c:v>1188384.2460806388</c:v>
                </c:pt>
                <c:pt idx="1105">
                  <c:v>1181124.3998810386</c:v>
                </c:pt>
                <c:pt idx="1106">
                  <c:v>1155611.3778306495</c:v>
                </c:pt>
                <c:pt idx="1107">
                  <c:v>1162738.4543484724</c:v>
                </c:pt>
                <c:pt idx="1108">
                  <c:v>1164666.2701278839</c:v>
                </c:pt>
                <c:pt idx="1109">
                  <c:v>1192462.9307048477</c:v>
                </c:pt>
                <c:pt idx="1110">
                  <c:v>1193471.9802863579</c:v>
                </c:pt>
                <c:pt idx="1111">
                  <c:v>1209972.5963376812</c:v>
                </c:pt>
                <c:pt idx="1112">
                  <c:v>1218103.4116497429</c:v>
                </c:pt>
                <c:pt idx="1113">
                  <c:v>1211188.7666227641</c:v>
                </c:pt>
                <c:pt idx="1114">
                  <c:v>1209149.42431066</c:v>
                </c:pt>
                <c:pt idx="1115">
                  <c:v>1214051.28096189</c:v>
                </c:pt>
                <c:pt idx="1116">
                  <c:v>1249516.7183583293</c:v>
                </c:pt>
                <c:pt idx="1117">
                  <c:v>1252851.8927645835</c:v>
                </c:pt>
                <c:pt idx="1118">
                  <c:v>1247546.4162807495</c:v>
                </c:pt>
                <c:pt idx="1119">
                  <c:v>1232941.7512852105</c:v>
                </c:pt>
                <c:pt idx="1120">
                  <c:v>1223679.7382844032</c:v>
                </c:pt>
                <c:pt idx="1121">
                  <c:v>1238172.8767472489</c:v>
                </c:pt>
                <c:pt idx="1122">
                  <c:v>1228103.6240812337</c:v>
                </c:pt>
                <c:pt idx="1123">
                  <c:v>1226043.0386200452</c:v>
                </c:pt>
                <c:pt idx="1124">
                  <c:v>1223568.2117517099</c:v>
                </c:pt>
                <c:pt idx="1125">
                  <c:v>1214539.8733908313</c:v>
                </c:pt>
                <c:pt idx="1126">
                  <c:v>1240398.0966138418</c:v>
                </c:pt>
                <c:pt idx="1127">
                  <c:v>1243191.5707184433</c:v>
                </c:pt>
                <c:pt idx="1128">
                  <c:v>1236383.1414368867</c:v>
                </c:pt>
                <c:pt idx="1129">
                  <c:v>1231205.1238475591</c:v>
                </c:pt>
                <c:pt idx="1130">
                  <c:v>1228868.3774482729</c:v>
                </c:pt>
                <c:pt idx="1131">
                  <c:v>1232283.2136635934</c:v>
                </c:pt>
                <c:pt idx="1132">
                  <c:v>1250424.8629816882</c:v>
                </c:pt>
                <c:pt idx="1133">
                  <c:v>1248406.7638186684</c:v>
                </c:pt>
                <c:pt idx="1134">
                  <c:v>1243648.2984237582</c:v>
                </c:pt>
                <c:pt idx="1135">
                  <c:v>1252166.8012066109</c:v>
                </c:pt>
                <c:pt idx="1136">
                  <c:v>1296156.052173174</c:v>
                </c:pt>
                <c:pt idx="1137">
                  <c:v>1314361.4309385223</c:v>
                </c:pt>
                <c:pt idx="1138">
                  <c:v>1318610.0607554063</c:v>
                </c:pt>
                <c:pt idx="1139">
                  <c:v>1331658.6650805115</c:v>
                </c:pt>
                <c:pt idx="1140">
                  <c:v>1321801.8439053404</c:v>
                </c:pt>
                <c:pt idx="1141">
                  <c:v>1316220.206483409</c:v>
                </c:pt>
                <c:pt idx="1142">
                  <c:v>1289098.0158898756</c:v>
                </c:pt>
                <c:pt idx="1143">
                  <c:v>1291854.3144835792</c:v>
                </c:pt>
                <c:pt idx="1144">
                  <c:v>1312980.6262480351</c:v>
                </c:pt>
                <c:pt idx="1145">
                  <c:v>1297897.9903980964</c:v>
                </c:pt>
                <c:pt idx="1146">
                  <c:v>1290006.1605132346</c:v>
                </c:pt>
                <c:pt idx="1147">
                  <c:v>1266325.3600713771</c:v>
                </c:pt>
                <c:pt idx="1148">
                  <c:v>1271917.6190678505</c:v>
                </c:pt>
                <c:pt idx="1149">
                  <c:v>1279389.8967582956</c:v>
                </c:pt>
                <c:pt idx="1150">
                  <c:v>1296793.3466457066</c:v>
                </c:pt>
                <c:pt idx="1151">
                  <c:v>1303044.1432637973</c:v>
                </c:pt>
                <c:pt idx="1152">
                  <c:v>1290160.1733440966</c:v>
                </c:pt>
                <c:pt idx="1153">
                  <c:v>1310973.1486595573</c:v>
                </c:pt>
                <c:pt idx="1154">
                  <c:v>1313113.3959298127</c:v>
                </c:pt>
                <c:pt idx="1155">
                  <c:v>1310447.3807197178</c:v>
                </c:pt>
                <c:pt idx="1156">
                  <c:v>1285938.097463568</c:v>
                </c:pt>
                <c:pt idx="1157">
                  <c:v>1281668.2244975995</c:v>
                </c:pt>
                <c:pt idx="1158">
                  <c:v>1288423.5459064452</c:v>
                </c:pt>
                <c:pt idx="1159">
                  <c:v>1312465.4798827381</c:v>
                </c:pt>
                <c:pt idx="1160">
                  <c:v>1298960.1478523177</c:v>
                </c:pt>
                <c:pt idx="1161">
                  <c:v>1284408.5907294895</c:v>
                </c:pt>
                <c:pt idx="1162">
                  <c:v>1274859.795216043</c:v>
                </c:pt>
                <c:pt idx="1163">
                  <c:v>1257891.8298848621</c:v>
                </c:pt>
                <c:pt idx="1164">
                  <c:v>1256505.7144071036</c:v>
                </c:pt>
                <c:pt idx="1165">
                  <c:v>1259745.2946424778</c:v>
                </c:pt>
                <c:pt idx="1166">
                  <c:v>1278556.1031567319</c:v>
                </c:pt>
                <c:pt idx="1167">
                  <c:v>1260632.1961167522</c:v>
                </c:pt>
                <c:pt idx="1168">
                  <c:v>1266601.5210094745</c:v>
                </c:pt>
                <c:pt idx="1169">
                  <c:v>1264206.3559502058</c:v>
                </c:pt>
                <c:pt idx="1170">
                  <c:v>1265969.5373242127</c:v>
                </c:pt>
                <c:pt idx="1171">
                  <c:v>1249930.9597654757</c:v>
                </c:pt>
                <c:pt idx="1172">
                  <c:v>1243016.3147384969</c:v>
                </c:pt>
                <c:pt idx="1173">
                  <c:v>1225703.1482346943</c:v>
                </c:pt>
                <c:pt idx="1174">
                  <c:v>1229919.9133279517</c:v>
                </c:pt>
                <c:pt idx="1175">
                  <c:v>1242724.221438586</c:v>
                </c:pt>
                <c:pt idx="1176">
                  <c:v>1215171.8570760931</c:v>
                </c:pt>
                <c:pt idx="1177">
                  <c:v>1223870.9266261631</c:v>
                </c:pt>
                <c:pt idx="1178">
                  <c:v>1248422.6961804819</c:v>
                </c:pt>
                <c:pt idx="1179">
                  <c:v>1289937.1202787103</c:v>
                </c:pt>
                <c:pt idx="1180">
                  <c:v>1281046.86238688</c:v>
                </c:pt>
                <c:pt idx="1181">
                  <c:v>1287786.2514339124</c:v>
                </c:pt>
                <c:pt idx="1182">
                  <c:v>1279894.4215490501</c:v>
                </c:pt>
                <c:pt idx="1183">
                  <c:v>1273505.5444619111</c:v>
                </c:pt>
                <c:pt idx="1184">
                  <c:v>1268550.57993797</c:v>
                </c:pt>
                <c:pt idx="1185">
                  <c:v>1267907.9746781662</c:v>
                </c:pt>
                <c:pt idx="1186">
                  <c:v>1282278.9650337766</c:v>
                </c:pt>
                <c:pt idx="1187">
                  <c:v>1295582.4871478949</c:v>
                </c:pt>
                <c:pt idx="1188">
                  <c:v>1295269.1506988995</c:v>
                </c:pt>
                <c:pt idx="1189">
                  <c:v>1284567.9143476228</c:v>
                </c:pt>
                <c:pt idx="1190">
                  <c:v>1297308.4930110038</c:v>
                </c:pt>
                <c:pt idx="1191">
                  <c:v>1314494.2006202997</c:v>
                </c:pt>
                <c:pt idx="1192">
                  <c:v>1310808.514254153</c:v>
                </c:pt>
                <c:pt idx="1193">
                  <c:v>1302359.0517058247</c:v>
                </c:pt>
                <c:pt idx="1194">
                  <c:v>1301604.919913328</c:v>
                </c:pt>
                <c:pt idx="1195">
                  <c:v>1302906.0627947489</c:v>
                </c:pt>
                <c:pt idx="1196">
                  <c:v>1281365.5096231466</c:v>
                </c:pt>
                <c:pt idx="1197">
                  <c:v>1279910.3539108636</c:v>
                </c:pt>
                <c:pt idx="1198">
                  <c:v>1278115.3078132302</c:v>
                </c:pt>
                <c:pt idx="1199">
                  <c:v>1257551.9394995114</c:v>
                </c:pt>
                <c:pt idx="1200">
                  <c:v>1251423.2909886562</c:v>
                </c:pt>
                <c:pt idx="1201">
                  <c:v>1251874.7079067</c:v>
                </c:pt>
                <c:pt idx="1202">
                  <c:v>1238693.3338998172</c:v>
                </c:pt>
                <c:pt idx="1203">
                  <c:v>1209871.6913795299</c:v>
                </c:pt>
                <c:pt idx="1204">
                  <c:v>1213302.4599566639</c:v>
                </c:pt>
                <c:pt idx="1205">
                  <c:v>1215240.8973106171</c:v>
                </c:pt>
                <c:pt idx="1206">
                  <c:v>1224194.8846497007</c:v>
                </c:pt>
                <c:pt idx="1207">
                  <c:v>1203068.5728852444</c:v>
                </c:pt>
                <c:pt idx="1208">
                  <c:v>1223329.2263245103</c:v>
                </c:pt>
                <c:pt idx="1209">
                  <c:v>1221194.289841526</c:v>
                </c:pt>
                <c:pt idx="1210">
                  <c:v>1237429.3665292943</c:v>
                </c:pt>
                <c:pt idx="1211">
                  <c:v>1233154.1827760548</c:v>
                </c:pt>
                <c:pt idx="1212">
                  <c:v>1216584.5264902071</c:v>
                </c:pt>
                <c:pt idx="1213">
                  <c:v>1188894.0816586651</c:v>
                </c:pt>
                <c:pt idx="1214">
                  <c:v>1188554.1912733144</c:v>
                </c:pt>
                <c:pt idx="1215">
                  <c:v>1190630.7090963165</c:v>
                </c:pt>
                <c:pt idx="1216">
                  <c:v>1180173.7689595104</c:v>
                </c:pt>
                <c:pt idx="1217">
                  <c:v>1170948.9314696009</c:v>
                </c:pt>
                <c:pt idx="1218">
                  <c:v>1165016.7820877766</c:v>
                </c:pt>
                <c:pt idx="1219">
                  <c:v>1175197.5612864851</c:v>
                </c:pt>
                <c:pt idx="1220">
                  <c:v>1173121.0434634832</c:v>
                </c:pt>
                <c:pt idx="1221">
                  <c:v>1174661.1717721035</c:v>
                </c:pt>
                <c:pt idx="1222">
                  <c:v>1156949.6962229679</c:v>
                </c:pt>
                <c:pt idx="1223">
                  <c:v>1150311.2121340865</c:v>
                </c:pt>
                <c:pt idx="1224">
                  <c:v>1161686.9184687936</c:v>
                </c:pt>
                <c:pt idx="1225">
                  <c:v>1191634.4478905555</c:v>
                </c:pt>
                <c:pt idx="1226">
                  <c:v>1185309.3002506692</c:v>
                </c:pt>
                <c:pt idx="1227">
                  <c:v>1192632.8758975228</c:v>
                </c:pt>
                <c:pt idx="1228">
                  <c:v>1176827.9729787144</c:v>
                </c:pt>
                <c:pt idx="1229">
                  <c:v>1178920.4231635297</c:v>
                </c:pt>
                <c:pt idx="1230">
                  <c:v>1183126.5666822451</c:v>
                </c:pt>
                <c:pt idx="1231">
                  <c:v>1169674.3425245357</c:v>
                </c:pt>
                <c:pt idx="1232">
                  <c:v>1175001.0621574542</c:v>
                </c:pt>
                <c:pt idx="1233">
                  <c:v>1204236.9460848877</c:v>
                </c:pt>
                <c:pt idx="1234">
                  <c:v>1213812.2955346899</c:v>
                </c:pt>
                <c:pt idx="1235">
                  <c:v>1216834.1334919487</c:v>
                </c:pt>
                <c:pt idx="1236">
                  <c:v>1210620.512384756</c:v>
                </c:pt>
                <c:pt idx="1237">
                  <c:v>1219128.3935930664</c:v>
                </c:pt>
                <c:pt idx="1238">
                  <c:v>1227668.1395250033</c:v>
                </c:pt>
                <c:pt idx="1239">
                  <c:v>1212155.3299061053</c:v>
                </c:pt>
                <c:pt idx="1240">
                  <c:v>1226080.2141309425</c:v>
                </c:pt>
                <c:pt idx="1241">
                  <c:v>1214810.7235416579</c:v>
                </c:pt>
                <c:pt idx="1242">
                  <c:v>1202516.2510090494</c:v>
                </c:pt>
                <c:pt idx="1243">
                  <c:v>1176079.1519734885</c:v>
                </c:pt>
                <c:pt idx="1244">
                  <c:v>1146020.0960190336</c:v>
                </c:pt>
                <c:pt idx="1245">
                  <c:v>1148941.0290181416</c:v>
                </c:pt>
                <c:pt idx="1246">
                  <c:v>1144001.996856014</c:v>
                </c:pt>
                <c:pt idx="1247">
                  <c:v>1157204.6140119808</c:v>
                </c:pt>
                <c:pt idx="1248">
                  <c:v>1163258.9115010407</c:v>
                </c:pt>
                <c:pt idx="1249">
                  <c:v>1160019.3312656668</c:v>
                </c:pt>
                <c:pt idx="1250">
                  <c:v>1149243.7438925947</c:v>
                </c:pt>
                <c:pt idx="1251">
                  <c:v>1154368.6536092111</c:v>
                </c:pt>
                <c:pt idx="1252">
                  <c:v>1151569.8687173389</c:v>
                </c:pt>
                <c:pt idx="1253">
                  <c:v>1114091.6429451501</c:v>
                </c:pt>
                <c:pt idx="1254">
                  <c:v>1119864.4687088414</c:v>
                </c:pt>
                <c:pt idx="1255">
                  <c:v>1122769.4693461359</c:v>
                </c:pt>
                <c:pt idx="1256">
                  <c:v>1136683.7319964312</c:v>
                </c:pt>
                <c:pt idx="1257">
                  <c:v>1127395.1650592685</c:v>
                </c:pt>
                <c:pt idx="1258">
                  <c:v>1138122.9553469005</c:v>
                </c:pt>
                <c:pt idx="1259">
                  <c:v>1135515.3587967881</c:v>
                </c:pt>
                <c:pt idx="1260">
                  <c:v>1126348.9399668607</c:v>
                </c:pt>
                <c:pt idx="1261">
                  <c:v>1108345.3711178144</c:v>
                </c:pt>
                <c:pt idx="1262">
                  <c:v>1146492.7560861623</c:v>
                </c:pt>
                <c:pt idx="1263">
                  <c:v>1155919.4034923739</c:v>
                </c:pt>
                <c:pt idx="1264">
                  <c:v>1154798.8273781706</c:v>
                </c:pt>
                <c:pt idx="1265">
                  <c:v>1152998.4704932661</c:v>
                </c:pt>
                <c:pt idx="1266">
                  <c:v>1144851.7228193909</c:v>
                </c:pt>
                <c:pt idx="1267">
                  <c:v>1142865.4883799974</c:v>
                </c:pt>
                <c:pt idx="1268">
                  <c:v>1139854.2719972809</c:v>
                </c:pt>
                <c:pt idx="1269">
                  <c:v>1148781.7054000085</c:v>
                </c:pt>
                <c:pt idx="1270">
                  <c:v>1158139.3125716958</c:v>
                </c:pt>
                <c:pt idx="1271">
                  <c:v>1149790.7549815185</c:v>
                </c:pt>
                <c:pt idx="1272">
                  <c:v>1160656.6257381993</c:v>
                </c:pt>
                <c:pt idx="1273">
                  <c:v>1188193.0577388792</c:v>
                </c:pt>
                <c:pt idx="1274">
                  <c:v>1188883.4600841226</c:v>
                </c:pt>
                <c:pt idx="1275">
                  <c:v>1207545.5665547862</c:v>
                </c:pt>
                <c:pt idx="1276">
                  <c:v>1205904.5332880148</c:v>
                </c:pt>
                <c:pt idx="1277">
                  <c:v>1204810.511110167</c:v>
                </c:pt>
                <c:pt idx="1278">
                  <c:v>1184018.7789437906</c:v>
                </c:pt>
                <c:pt idx="1279">
                  <c:v>1185649.1906360199</c:v>
                </c:pt>
                <c:pt idx="1280">
                  <c:v>1181543.9520754558</c:v>
                </c:pt>
                <c:pt idx="1281">
                  <c:v>1181374.0068827802</c:v>
                </c:pt>
                <c:pt idx="1282">
                  <c:v>1161601.9458724561</c:v>
                </c:pt>
                <c:pt idx="1283">
                  <c:v>1166673.7477163617</c:v>
                </c:pt>
                <c:pt idx="1284">
                  <c:v>1165542.5500276161</c:v>
                </c:pt>
                <c:pt idx="1285">
                  <c:v>1163312.0193737519</c:v>
                </c:pt>
                <c:pt idx="1286">
                  <c:v>1151288.39699197</c:v>
                </c:pt>
                <c:pt idx="1287">
                  <c:v>1133837.1500191186</c:v>
                </c:pt>
                <c:pt idx="1288">
                  <c:v>1146317.5001062155</c:v>
                </c:pt>
                <c:pt idx="1289">
                  <c:v>1146418.4050643668</c:v>
                </c:pt>
                <c:pt idx="1290">
                  <c:v>1145255.3426519947</c:v>
                </c:pt>
                <c:pt idx="1291">
                  <c:v>1145712.0703573097</c:v>
                </c:pt>
                <c:pt idx="1292">
                  <c:v>1135085.1850278284</c:v>
                </c:pt>
                <c:pt idx="1293">
                  <c:v>1134118.6217444874</c:v>
                </c:pt>
                <c:pt idx="1294">
                  <c:v>1133274.2065683815</c:v>
                </c:pt>
                <c:pt idx="1295">
                  <c:v>1157778.1790372606</c:v>
                </c:pt>
                <c:pt idx="1296">
                  <c:v>1155016.5696562857</c:v>
                </c:pt>
                <c:pt idx="1297">
                  <c:v>1153699.4944130518</c:v>
                </c:pt>
                <c:pt idx="1298">
                  <c:v>1138675.2772230955</c:v>
                </c:pt>
                <c:pt idx="1299">
                  <c:v>1139668.3944427921</c:v>
                </c:pt>
                <c:pt idx="1300">
                  <c:v>1123305.8588605174</c:v>
                </c:pt>
                <c:pt idx="1301">
                  <c:v>1123640.4384585973</c:v>
                </c:pt>
                <c:pt idx="1302">
                  <c:v>1134336.3640226026</c:v>
                </c:pt>
                <c:pt idx="1303">
                  <c:v>1131659.7272379657</c:v>
                </c:pt>
                <c:pt idx="1304">
                  <c:v>1140974.848111484</c:v>
                </c:pt>
                <c:pt idx="1305">
                  <c:v>1144995.1140757105</c:v>
                </c:pt>
                <c:pt idx="1306">
                  <c:v>1140374.7291498492</c:v>
                </c:pt>
                <c:pt idx="1307">
                  <c:v>1152095.6366571779</c:v>
                </c:pt>
                <c:pt idx="1308">
                  <c:v>1144559.6295194798</c:v>
                </c:pt>
                <c:pt idx="1309">
                  <c:v>1145250.0318647237</c:v>
                </c:pt>
                <c:pt idx="1310">
                  <c:v>1141776.7769894209</c:v>
                </c:pt>
                <c:pt idx="1311">
                  <c:v>1130278.9225474782</c:v>
                </c:pt>
                <c:pt idx="1312">
                  <c:v>1142137.9105238561</c:v>
                </c:pt>
                <c:pt idx="1313">
                  <c:v>1133704.380337341</c:v>
                </c:pt>
                <c:pt idx="1314">
                  <c:v>1133470.7056974126</c:v>
                </c:pt>
                <c:pt idx="1315">
                  <c:v>1147804.5205421252</c:v>
                </c:pt>
                <c:pt idx="1316">
                  <c:v>1147538.9811785698</c:v>
                </c:pt>
                <c:pt idx="1317">
                  <c:v>1143630.2417470366</c:v>
                </c:pt>
                <c:pt idx="1318">
                  <c:v>1155754.7690869693</c:v>
                </c:pt>
                <c:pt idx="1319">
                  <c:v>1164050.2188044358</c:v>
                </c:pt>
                <c:pt idx="1320">
                  <c:v>1152265.5818498535</c:v>
                </c:pt>
                <c:pt idx="1321">
                  <c:v>1147257.5094532012</c:v>
                </c:pt>
                <c:pt idx="1322">
                  <c:v>1129556.6554786081</c:v>
                </c:pt>
                <c:pt idx="1323">
                  <c:v>1134771.8485788335</c:v>
                </c:pt>
                <c:pt idx="1324">
                  <c:v>1133380.4223138038</c:v>
                </c:pt>
                <c:pt idx="1325">
                  <c:v>1139068.2754811575</c:v>
                </c:pt>
                <c:pt idx="1326">
                  <c:v>1132987.4240557421</c:v>
                </c:pt>
                <c:pt idx="1327">
                  <c:v>1141330.6708586479</c:v>
                </c:pt>
                <c:pt idx="1328">
                  <c:v>1141957.3437566387</c:v>
                </c:pt>
                <c:pt idx="1329">
                  <c:v>1149849.1736415005</c:v>
                </c:pt>
                <c:pt idx="1330">
                  <c:v>1149551.7695543186</c:v>
                </c:pt>
                <c:pt idx="1331">
                  <c:v>1152902.8763223859</c:v>
                </c:pt>
                <c:pt idx="1332">
                  <c:v>1157852.5300590559</c:v>
                </c:pt>
                <c:pt idx="1333">
                  <c:v>1157061.2227556612</c:v>
                </c:pt>
                <c:pt idx="1334">
                  <c:v>1155781.3230233248</c:v>
                </c:pt>
                <c:pt idx="1335">
                  <c:v>1158001.2321026467</c:v>
                </c:pt>
                <c:pt idx="1336">
                  <c:v>1141134.1717296173</c:v>
                </c:pt>
                <c:pt idx="1337">
                  <c:v>1138022.0503887495</c:v>
                </c:pt>
                <c:pt idx="1338">
                  <c:v>1140762.4166206401</c:v>
                </c:pt>
                <c:pt idx="1339">
                  <c:v>1153375.5363895143</c:v>
                </c:pt>
                <c:pt idx="1340">
                  <c:v>1155085.6098908102</c:v>
                </c:pt>
                <c:pt idx="1341">
                  <c:v>1152902.8763223859</c:v>
                </c:pt>
                <c:pt idx="1342">
                  <c:v>1145573.9898882611</c:v>
                </c:pt>
                <c:pt idx="1343">
                  <c:v>1149328.7164889323</c:v>
                </c:pt>
                <c:pt idx="1344">
                  <c:v>1150475.8465394911</c:v>
                </c:pt>
                <c:pt idx="1345">
                  <c:v>1164496.3249352083</c:v>
                </c:pt>
                <c:pt idx="1346">
                  <c:v>1167220.7588052852</c:v>
                </c:pt>
                <c:pt idx="1347">
                  <c:v>1188033.7341207461</c:v>
                </c:pt>
                <c:pt idx="1348">
                  <c:v>1200476.9086969451</c:v>
                </c:pt>
                <c:pt idx="1349">
                  <c:v>1234173.8539321071</c:v>
                </c:pt>
                <c:pt idx="1350">
                  <c:v>1238141.0120236222</c:v>
                </c:pt>
                <c:pt idx="1351">
                  <c:v>1233170.1151378683</c:v>
                </c:pt>
                <c:pt idx="1352">
                  <c:v>1248167.7783914686</c:v>
                </c:pt>
                <c:pt idx="1353">
                  <c:v>1237094.7869312149</c:v>
                </c:pt>
                <c:pt idx="1354">
                  <c:v>1261641.2456982622</c:v>
                </c:pt>
                <c:pt idx="1355">
                  <c:v>1258311.3820792793</c:v>
                </c:pt>
                <c:pt idx="1356">
                  <c:v>1255055.8694820919</c:v>
                </c:pt>
                <c:pt idx="1357">
                  <c:v>1236064.4942006203</c:v>
                </c:pt>
                <c:pt idx="1358">
                  <c:v>1238013.5531291158</c:v>
                </c:pt>
                <c:pt idx="1359">
                  <c:v>1256187.0671708372</c:v>
                </c:pt>
                <c:pt idx="1360">
                  <c:v>1251779.1137358204</c:v>
                </c:pt>
                <c:pt idx="1361">
                  <c:v>1252761.6093809747</c:v>
                </c:pt>
                <c:pt idx="1362">
                  <c:v>1240573.3525937884</c:v>
                </c:pt>
                <c:pt idx="1363">
                  <c:v>1253685.6863661467</c:v>
                </c:pt>
                <c:pt idx="1364">
                  <c:v>1261078.3022475252</c:v>
                </c:pt>
                <c:pt idx="1365">
                  <c:v>1261189.8287802183</c:v>
                </c:pt>
                <c:pt idx="1366">
                  <c:v>1256606.6193652544</c:v>
                </c:pt>
                <c:pt idx="1367">
                  <c:v>1250286.7825126396</c:v>
                </c:pt>
                <c:pt idx="1368">
                  <c:v>1256192.3779581087</c:v>
                </c:pt>
                <c:pt idx="1369">
                  <c:v>1244243.106598122</c:v>
                </c:pt>
                <c:pt idx="1370">
                  <c:v>1234274.7588902579</c:v>
                </c:pt>
                <c:pt idx="1371">
                  <c:v>1236133.5344351446</c:v>
                </c:pt>
                <c:pt idx="1372">
                  <c:v>1227471.6403959724</c:v>
                </c:pt>
                <c:pt idx="1373">
                  <c:v>1241816.076815227</c:v>
                </c:pt>
                <c:pt idx="1374">
                  <c:v>1250860.3475379192</c:v>
                </c:pt>
                <c:pt idx="1375">
                  <c:v>1267398.1391001402</c:v>
                </c:pt>
                <c:pt idx="1376">
                  <c:v>1279283.6810128733</c:v>
                </c:pt>
                <c:pt idx="1377">
                  <c:v>1288513.8292900538</c:v>
                </c:pt>
                <c:pt idx="1378">
                  <c:v>1300749.8831626801</c:v>
                </c:pt>
                <c:pt idx="1379">
                  <c:v>1298604.3251051535</c:v>
                </c:pt>
                <c:pt idx="1380">
                  <c:v>1291811.82818541</c:v>
                </c:pt>
                <c:pt idx="1381">
                  <c:v>1287042.7412159578</c:v>
                </c:pt>
                <c:pt idx="1382">
                  <c:v>1294961.1250371756</c:v>
                </c:pt>
                <c:pt idx="1383">
                  <c:v>1294339.7629264561</c:v>
                </c:pt>
                <c:pt idx="1384">
                  <c:v>1268624.9309597656</c:v>
                </c:pt>
                <c:pt idx="1385">
                  <c:v>1275295.2797722735</c:v>
                </c:pt>
                <c:pt idx="1386">
                  <c:v>1279188.0868419933</c:v>
                </c:pt>
                <c:pt idx="1387">
                  <c:v>1287977.4397756723</c:v>
                </c:pt>
                <c:pt idx="1388">
                  <c:v>1263393.8054977269</c:v>
                </c:pt>
                <c:pt idx="1389">
                  <c:v>1274302.1625525767</c:v>
                </c:pt>
                <c:pt idx="1390">
                  <c:v>1296819.9005820623</c:v>
                </c:pt>
                <c:pt idx="1391">
                  <c:v>1294222.925606492</c:v>
                </c:pt>
                <c:pt idx="1392">
                  <c:v>1294345.0737137273</c:v>
                </c:pt>
                <c:pt idx="1393">
                  <c:v>1299974.5082210987</c:v>
                </c:pt>
                <c:pt idx="1394">
                  <c:v>1301668.6493605811</c:v>
                </c:pt>
                <c:pt idx="1395">
                  <c:v>1316214.895696138</c:v>
                </c:pt>
                <c:pt idx="1396">
                  <c:v>1318116.1575391935</c:v>
                </c:pt>
                <c:pt idx="1397">
                  <c:v>1310059.6932489271</c:v>
                </c:pt>
                <c:pt idx="1398">
                  <c:v>1303771.7211199387</c:v>
                </c:pt>
                <c:pt idx="1399">
                  <c:v>1299315.9705994816</c:v>
                </c:pt>
                <c:pt idx="1400">
                  <c:v>1308508.9433657643</c:v>
                </c:pt>
                <c:pt idx="1401">
                  <c:v>1298168.840548923</c:v>
                </c:pt>
                <c:pt idx="1402">
                  <c:v>1296750.860347538</c:v>
                </c:pt>
                <c:pt idx="1403">
                  <c:v>1303644.2622254323</c:v>
                </c:pt>
                <c:pt idx="1404">
                  <c:v>1292321.6637634363</c:v>
                </c:pt>
                <c:pt idx="1405">
                  <c:v>1284488.2525385562</c:v>
                </c:pt>
                <c:pt idx="1406">
                  <c:v>1272432.7654331478</c:v>
                </c:pt>
                <c:pt idx="1407">
                  <c:v>1269655.2236903599</c:v>
                </c:pt>
                <c:pt idx="1408">
                  <c:v>1258035.2211411819</c:v>
                </c:pt>
                <c:pt idx="1409">
                  <c:v>1283431.4058716064</c:v>
                </c:pt>
                <c:pt idx="1410">
                  <c:v>1301875.7700641544</c:v>
                </c:pt>
                <c:pt idx="1411">
                  <c:v>1311196.2017249437</c:v>
                </c:pt>
                <c:pt idx="1412">
                  <c:v>1332115.3927858267</c:v>
                </c:pt>
                <c:pt idx="1413">
                  <c:v>1334361.8558015041</c:v>
                </c:pt>
                <c:pt idx="1414">
                  <c:v>1334691.1246123125</c:v>
                </c:pt>
                <c:pt idx="1415">
                  <c:v>1329529.0393847984</c:v>
                </c:pt>
                <c:pt idx="1416">
                  <c:v>1330920.4656498278</c:v>
                </c:pt>
                <c:pt idx="1417">
                  <c:v>1328838.6370395548</c:v>
                </c:pt>
                <c:pt idx="1418">
                  <c:v>1362604.6225092406</c:v>
                </c:pt>
                <c:pt idx="1419">
                  <c:v>1358823.3419722139</c:v>
                </c:pt>
                <c:pt idx="1420">
                  <c:v>1377788.1633173302</c:v>
                </c:pt>
                <c:pt idx="1421">
                  <c:v>1370050.34626333</c:v>
                </c:pt>
                <c:pt idx="1422">
                  <c:v>1370761.9917576581</c:v>
                </c:pt>
                <c:pt idx="1423">
                  <c:v>1363332.200365382</c:v>
                </c:pt>
                <c:pt idx="1424">
                  <c:v>1349694.0986531845</c:v>
                </c:pt>
                <c:pt idx="1425">
                  <c:v>1347463.5679993201</c:v>
                </c:pt>
                <c:pt idx="1426">
                  <c:v>1347399.8385520668</c:v>
                </c:pt>
                <c:pt idx="1427">
                  <c:v>1372020.64834091</c:v>
                </c:pt>
                <c:pt idx="1428">
                  <c:v>1406965.6285847817</c:v>
                </c:pt>
                <c:pt idx="1429">
                  <c:v>1426243.7863788928</c:v>
                </c:pt>
                <c:pt idx="1430">
                  <c:v>1446137.9954964523</c:v>
                </c:pt>
                <c:pt idx="1431">
                  <c:v>1462851.0430386199</c:v>
                </c:pt>
                <c:pt idx="1432">
                  <c:v>1491704.550282534</c:v>
                </c:pt>
                <c:pt idx="1433">
                  <c:v>1497541.1054934782</c:v>
                </c:pt>
                <c:pt idx="1434">
                  <c:v>1552842.3333474954</c:v>
                </c:pt>
                <c:pt idx="1435">
                  <c:v>1576002.6766367848</c:v>
                </c:pt>
                <c:pt idx="1436">
                  <c:v>1648654.2465055019</c:v>
                </c:pt>
                <c:pt idx="1437">
                  <c:v>1659562.6035603518</c:v>
                </c:pt>
                <c:pt idx="1438">
                  <c:v>1727535.3698432257</c:v>
                </c:pt>
                <c:pt idx="1439">
                  <c:v>1650013.8080469046</c:v>
                </c:pt>
                <c:pt idx="1440">
                  <c:v>1710896.6733228534</c:v>
                </c:pt>
                <c:pt idx="1441">
                  <c:v>1690428.8991800144</c:v>
                </c:pt>
                <c:pt idx="1442">
                  <c:v>1695856.5237710839</c:v>
                </c:pt>
                <c:pt idx="1443">
                  <c:v>1708602.413221736</c:v>
                </c:pt>
                <c:pt idx="1444">
                  <c:v>1754365.4671368485</c:v>
                </c:pt>
                <c:pt idx="1445">
                  <c:v>1784743.1703275694</c:v>
                </c:pt>
                <c:pt idx="1446">
                  <c:v>1776952.2454008581</c:v>
                </c:pt>
                <c:pt idx="1447">
                  <c:v>1796729.6171984535</c:v>
                </c:pt>
                <c:pt idx="1448">
                  <c:v>1802736.1176020734</c:v>
                </c:pt>
                <c:pt idx="1449">
                  <c:v>1765794.2813442664</c:v>
                </c:pt>
                <c:pt idx="1450">
                  <c:v>1715591.4092705103</c:v>
                </c:pt>
                <c:pt idx="1451">
                  <c:v>1771370.607978927</c:v>
                </c:pt>
                <c:pt idx="1452">
                  <c:v>1830012.3210264689</c:v>
                </c:pt>
                <c:pt idx="1453">
                  <c:v>1835121.298381272</c:v>
                </c:pt>
                <c:pt idx="1454">
                  <c:v>1836231.2529209331</c:v>
                </c:pt>
                <c:pt idx="1455">
                  <c:v>1876678.2087776691</c:v>
                </c:pt>
                <c:pt idx="1456">
                  <c:v>1933944.4279219951</c:v>
                </c:pt>
                <c:pt idx="1457">
                  <c:v>1933689.5101329822</c:v>
                </c:pt>
                <c:pt idx="1458">
                  <c:v>1935139.3550579939</c:v>
                </c:pt>
                <c:pt idx="1459">
                  <c:v>1890247.2702553428</c:v>
                </c:pt>
                <c:pt idx="1460">
                  <c:v>1883587.5430173767</c:v>
                </c:pt>
                <c:pt idx="1461">
                  <c:v>1865987.5940009346</c:v>
                </c:pt>
                <c:pt idx="1462">
                  <c:v>1866231.8902154055</c:v>
                </c:pt>
                <c:pt idx="1463">
                  <c:v>1860060.7554063816</c:v>
                </c:pt>
                <c:pt idx="1464">
                  <c:v>1914071.4619535198</c:v>
                </c:pt>
                <c:pt idx="1465">
                  <c:v>1930550.8348557591</c:v>
                </c:pt>
                <c:pt idx="1466">
                  <c:v>1781854.1020520881</c:v>
                </c:pt>
                <c:pt idx="1467">
                  <c:v>1803660.1945872456</c:v>
                </c:pt>
                <c:pt idx="1468">
                  <c:v>1884739.9838552065</c:v>
                </c:pt>
                <c:pt idx="1469">
                  <c:v>1894681.7776267156</c:v>
                </c:pt>
                <c:pt idx="1470">
                  <c:v>1896869.8219824107</c:v>
                </c:pt>
                <c:pt idx="1471">
                  <c:v>1916126.7366274374</c:v>
                </c:pt>
                <c:pt idx="1472">
                  <c:v>1898569.2739091641</c:v>
                </c:pt>
                <c:pt idx="1473">
                  <c:v>1872222.4582572121</c:v>
                </c:pt>
                <c:pt idx="1474">
                  <c:v>1849109.9120533629</c:v>
                </c:pt>
                <c:pt idx="1475">
                  <c:v>1823931.4696010535</c:v>
                </c:pt>
                <c:pt idx="1476">
                  <c:v>1781216.8075795555</c:v>
                </c:pt>
                <c:pt idx="1477">
                  <c:v>1825556.5705060118</c:v>
                </c:pt>
                <c:pt idx="1478">
                  <c:v>1806607.6815227089</c:v>
                </c:pt>
                <c:pt idx="1479">
                  <c:v>1788115.5202447211</c:v>
                </c:pt>
                <c:pt idx="1480">
                  <c:v>1759155.797255385</c:v>
                </c:pt>
                <c:pt idx="1481">
                  <c:v>1776946.9346135871</c:v>
                </c:pt>
                <c:pt idx="1482">
                  <c:v>1809353.3585418703</c:v>
                </c:pt>
                <c:pt idx="1483">
                  <c:v>1823788.0783447337</c:v>
                </c:pt>
                <c:pt idx="1484">
                  <c:v>1828435.0172069506</c:v>
                </c:pt>
                <c:pt idx="1485">
                  <c:v>1842752.8996898499</c:v>
                </c:pt>
                <c:pt idx="1486">
                  <c:v>1858499.3839486765</c:v>
                </c:pt>
                <c:pt idx="1487">
                  <c:v>1870629.2220758807</c:v>
                </c:pt>
                <c:pt idx="1488">
                  <c:v>1847479.5003611336</c:v>
                </c:pt>
                <c:pt idx="1489">
                  <c:v>1893986.0644942005</c:v>
                </c:pt>
                <c:pt idx="1490">
                  <c:v>1897459.3193695033</c:v>
                </c:pt>
                <c:pt idx="1491">
                  <c:v>1912557.8875812551</c:v>
                </c:pt>
                <c:pt idx="1492">
                  <c:v>1862971.0668309468</c:v>
                </c:pt>
                <c:pt idx="1493">
                  <c:v>1875143.3912563198</c:v>
                </c:pt>
                <c:pt idx="1494">
                  <c:v>1856831.7967455497</c:v>
                </c:pt>
                <c:pt idx="1495">
                  <c:v>1847367.9738284403</c:v>
                </c:pt>
                <c:pt idx="1496">
                  <c:v>1878823.7668351957</c:v>
                </c:pt>
                <c:pt idx="1497">
                  <c:v>1869721.0774525218</c:v>
                </c:pt>
                <c:pt idx="1498">
                  <c:v>1871866.6355100479</c:v>
                </c:pt>
                <c:pt idx="1499">
                  <c:v>1908080.8939117135</c:v>
                </c:pt>
                <c:pt idx="1500">
                  <c:v>1921262.2679185963</c:v>
                </c:pt>
                <c:pt idx="1501">
                  <c:v>1968002.506691592</c:v>
                </c:pt>
                <c:pt idx="1502">
                  <c:v>1995326.5072014274</c:v>
                </c:pt>
                <c:pt idx="1503">
                  <c:v>2042560.6491906359</c:v>
                </c:pt>
                <c:pt idx="1504">
                  <c:v>2039204.2316352974</c:v>
                </c:pt>
                <c:pt idx="1505">
                  <c:v>2067261.1207885456</c:v>
                </c:pt>
                <c:pt idx="1506">
                  <c:v>2109476.5688065598</c:v>
                </c:pt>
                <c:pt idx="1507">
                  <c:v>2110002.3367463993</c:v>
                </c:pt>
                <c:pt idx="1508">
                  <c:v>2092667.9270935121</c:v>
                </c:pt>
                <c:pt idx="1509">
                  <c:v>2097760.9720865022</c:v>
                </c:pt>
                <c:pt idx="1510">
                  <c:v>2109285.3804648002</c:v>
                </c:pt>
                <c:pt idx="1511">
                  <c:v>2171145.430598632</c:v>
                </c:pt>
                <c:pt idx="1512">
                  <c:v>2151506.1392700854</c:v>
                </c:pt>
                <c:pt idx="1513">
                  <c:v>2190115.5627310192</c:v>
                </c:pt>
                <c:pt idx="1514">
                  <c:v>2190582.912010876</c:v>
                </c:pt>
                <c:pt idx="1515">
                  <c:v>2214885.0745634534</c:v>
                </c:pt>
                <c:pt idx="1516">
                  <c:v>2262416.6206398434</c:v>
                </c:pt>
                <c:pt idx="1517">
                  <c:v>2281407.9959213152</c:v>
                </c:pt>
                <c:pt idx="1518">
                  <c:v>2263531.8859667759</c:v>
                </c:pt>
                <c:pt idx="1519">
                  <c:v>2307229.0436334284</c:v>
                </c:pt>
                <c:pt idx="1520">
                  <c:v>2347936.2280664481</c:v>
                </c:pt>
                <c:pt idx="1521">
                  <c:v>2357022.985087309</c:v>
                </c:pt>
                <c:pt idx="1522">
                  <c:v>2326395.6748948465</c:v>
                </c:pt>
                <c:pt idx="1523">
                  <c:v>2397050.3887496283</c:v>
                </c:pt>
                <c:pt idx="1524">
                  <c:v>2440912.1808216851</c:v>
                </c:pt>
                <c:pt idx="1525">
                  <c:v>2401495.5176955429</c:v>
                </c:pt>
                <c:pt idx="1526">
                  <c:v>2453137.6131197684</c:v>
                </c:pt>
                <c:pt idx="1527">
                  <c:v>2517212.2615456516</c:v>
                </c:pt>
                <c:pt idx="1528">
                  <c:v>2517785.8265709314</c:v>
                </c:pt>
                <c:pt idx="1529">
                  <c:v>2497472.0652589537</c:v>
                </c:pt>
                <c:pt idx="1530">
                  <c:v>2553208.7776692016</c:v>
                </c:pt>
                <c:pt idx="1531">
                  <c:v>2518300.9729362279</c:v>
                </c:pt>
                <c:pt idx="1532">
                  <c:v>2535545.099205506</c:v>
                </c:pt>
                <c:pt idx="1533">
                  <c:v>2522565.5351149254</c:v>
                </c:pt>
                <c:pt idx="1534">
                  <c:v>2542666.8649360579</c:v>
                </c:pt>
                <c:pt idx="1535">
                  <c:v>2441283.9359306623</c:v>
                </c:pt>
                <c:pt idx="1536">
                  <c:v>2418176.7005140837</c:v>
                </c:pt>
                <c:pt idx="1537">
                  <c:v>2373969.7072694055</c:v>
                </c:pt>
                <c:pt idx="1538">
                  <c:v>2420869.2696605339</c:v>
                </c:pt>
                <c:pt idx="1539">
                  <c:v>2491040.7018736452</c:v>
                </c:pt>
                <c:pt idx="1540">
                  <c:v>2521253.7706589624</c:v>
                </c:pt>
                <c:pt idx="1541">
                  <c:v>2505863.1091473</c:v>
                </c:pt>
                <c:pt idx="1542">
                  <c:v>2496484.2588265282</c:v>
                </c:pt>
                <c:pt idx="1543">
                  <c:v>2452240.0900709522</c:v>
                </c:pt>
                <c:pt idx="1544">
                  <c:v>2429759.5275523649</c:v>
                </c:pt>
                <c:pt idx="1545">
                  <c:v>2512650.2952797725</c:v>
                </c:pt>
                <c:pt idx="1546">
                  <c:v>2525236.8611122915</c:v>
                </c:pt>
                <c:pt idx="1547">
                  <c:v>2570941.4963674215</c:v>
                </c:pt>
                <c:pt idx="1548">
                  <c:v>2629551.3446913371</c:v>
                </c:pt>
                <c:pt idx="1549">
                  <c:v>2708235.9689000295</c:v>
                </c:pt>
                <c:pt idx="1550">
                  <c:v>2761035.8159493562</c:v>
                </c:pt>
                <c:pt idx="1551">
                  <c:v>2751747.2490121936</c:v>
                </c:pt>
                <c:pt idx="1552">
                  <c:v>2567239.8776394613</c:v>
                </c:pt>
                <c:pt idx="1553">
                  <c:v>2570861.8345583547</c:v>
                </c:pt>
                <c:pt idx="1554">
                  <c:v>2695851.2129838131</c:v>
                </c:pt>
                <c:pt idx="1555">
                  <c:v>2741359.3491099118</c:v>
                </c:pt>
                <c:pt idx="1556">
                  <c:v>2731651.2299783323</c:v>
                </c:pt>
                <c:pt idx="1557">
                  <c:v>2751741.9382249229</c:v>
                </c:pt>
                <c:pt idx="1558">
                  <c:v>2777833.836087862</c:v>
                </c:pt>
                <c:pt idx="1559">
                  <c:v>2843262.7352678762</c:v>
                </c:pt>
                <c:pt idx="1560">
                  <c:v>2823989.888261036</c:v>
                </c:pt>
                <c:pt idx="1561">
                  <c:v>2819555.3808896625</c:v>
                </c:pt>
                <c:pt idx="1562">
                  <c:v>2818217.0624973448</c:v>
                </c:pt>
                <c:pt idx="1563">
                  <c:v>2833368.7385818074</c:v>
                </c:pt>
                <c:pt idx="1564">
                  <c:v>2772852.317627565</c:v>
                </c:pt>
                <c:pt idx="1565">
                  <c:v>2689818.1586438371</c:v>
                </c:pt>
                <c:pt idx="1566">
                  <c:v>2729123.2952372856</c:v>
                </c:pt>
                <c:pt idx="1567">
                  <c:v>2618510.2179547097</c:v>
                </c:pt>
                <c:pt idx="1568">
                  <c:v>2462638.611547776</c:v>
                </c:pt>
                <c:pt idx="1569">
                  <c:v>2541790.5850363257</c:v>
                </c:pt>
                <c:pt idx="1570">
                  <c:v>2591733.2285337979</c:v>
                </c:pt>
                <c:pt idx="1571">
                  <c:v>2499532.6507201428</c:v>
                </c:pt>
                <c:pt idx="1572">
                  <c:v>2302858.2657093084</c:v>
                </c:pt>
                <c:pt idx="1573">
                  <c:v>2226043.0386200449</c:v>
                </c:pt>
                <c:pt idx="1574">
                  <c:v>2375515.146365297</c:v>
                </c:pt>
                <c:pt idx="1575">
                  <c:v>2258688.447975528</c:v>
                </c:pt>
                <c:pt idx="1576">
                  <c:v>2181671.4109699624</c:v>
                </c:pt>
                <c:pt idx="1577">
                  <c:v>2063729.447253261</c:v>
                </c:pt>
                <c:pt idx="1578">
                  <c:v>2123539.533500446</c:v>
                </c:pt>
                <c:pt idx="1579">
                  <c:v>2086077.240090071</c:v>
                </c:pt>
                <c:pt idx="1580">
                  <c:v>1945362.6205548712</c:v>
                </c:pt>
                <c:pt idx="1581">
                  <c:v>2069948.3791477249</c:v>
                </c:pt>
                <c:pt idx="1582">
                  <c:v>2180906.657602923</c:v>
                </c:pt>
                <c:pt idx="1583">
                  <c:v>2236802.693631304</c:v>
                </c:pt>
                <c:pt idx="1584">
                  <c:v>2183875.3876874708</c:v>
                </c:pt>
                <c:pt idx="1585">
                  <c:v>2106661.8515528743</c:v>
                </c:pt>
                <c:pt idx="1586">
                  <c:v>2122912.8606024557</c:v>
                </c:pt>
                <c:pt idx="1587">
                  <c:v>2204773.3355992693</c:v>
                </c:pt>
                <c:pt idx="1588">
                  <c:v>2209611.4628032455</c:v>
                </c:pt>
                <c:pt idx="1589">
                  <c:v>2212479.2879296429</c:v>
                </c:pt>
                <c:pt idx="1590">
                  <c:v>2207779.2411947148</c:v>
                </c:pt>
                <c:pt idx="1591">
                  <c:v>2257514.7639886136</c:v>
                </c:pt>
                <c:pt idx="1592">
                  <c:v>2217933.4664570675</c:v>
                </c:pt>
                <c:pt idx="1593">
                  <c:v>2028046.2675787057</c:v>
                </c:pt>
                <c:pt idx="1594">
                  <c:v>2023988.8261035816</c:v>
                </c:pt>
                <c:pt idx="1595">
                  <c:v>2087341.2074605939</c:v>
                </c:pt>
                <c:pt idx="1596">
                  <c:v>2026283.0862046988</c:v>
                </c:pt>
                <c:pt idx="1597">
                  <c:v>2026968.1777626714</c:v>
                </c:pt>
                <c:pt idx="1598">
                  <c:v>2033627.9050006373</c:v>
                </c:pt>
                <c:pt idx="1599">
                  <c:v>2096783.7872286185</c:v>
                </c:pt>
                <c:pt idx="1600">
                  <c:v>2053628.3298636188</c:v>
                </c:pt>
                <c:pt idx="1601">
                  <c:v>2035014.0204783957</c:v>
                </c:pt>
                <c:pt idx="1602">
                  <c:v>2074892.7220971235</c:v>
                </c:pt>
                <c:pt idx="1603">
                  <c:v>2169116.7098610699</c:v>
                </c:pt>
                <c:pt idx="1604">
                  <c:v>2159721.9271784849</c:v>
                </c:pt>
                <c:pt idx="1605">
                  <c:v>2132881.20831032</c:v>
                </c:pt>
                <c:pt idx="1606">
                  <c:v>2164390.109189786</c:v>
                </c:pt>
                <c:pt idx="1607">
                  <c:v>2163370.438033734</c:v>
                </c:pt>
                <c:pt idx="1608">
                  <c:v>2165670.0089221224</c:v>
                </c:pt>
                <c:pt idx="1609">
                  <c:v>2031593.8734758042</c:v>
                </c:pt>
                <c:pt idx="1610">
                  <c:v>2063846.2845732248</c:v>
                </c:pt>
                <c:pt idx="1611">
                  <c:v>1997626.0780898158</c:v>
                </c:pt>
                <c:pt idx="1612">
                  <c:v>1906328.3341122488</c:v>
                </c:pt>
                <c:pt idx="1613">
                  <c:v>1739564.3030122786</c:v>
                </c:pt>
                <c:pt idx="1614">
                  <c:v>1616035.3910863744</c:v>
                </c:pt>
                <c:pt idx="1615">
                  <c:v>1606879.5938309894</c:v>
                </c:pt>
                <c:pt idx="1616">
                  <c:v>1702447.2107745253</c:v>
                </c:pt>
                <c:pt idx="1617">
                  <c:v>1775019.1188341759</c:v>
                </c:pt>
                <c:pt idx="1618">
                  <c:v>1787897.7779666057</c:v>
                </c:pt>
                <c:pt idx="1619">
                  <c:v>1785529.1668436928</c:v>
                </c:pt>
                <c:pt idx="1620">
                  <c:v>1787520.7120703573</c:v>
                </c:pt>
                <c:pt idx="1621">
                  <c:v>1726266.0916854313</c:v>
                </c:pt>
                <c:pt idx="1622">
                  <c:v>1770627.0977609719</c:v>
                </c:pt>
                <c:pt idx="1623">
                  <c:v>1805301.2278540169</c:v>
                </c:pt>
                <c:pt idx="1624">
                  <c:v>1783128.6909971533</c:v>
                </c:pt>
                <c:pt idx="1625">
                  <c:v>1777621.4045970174</c:v>
                </c:pt>
                <c:pt idx="1626">
                  <c:v>1742538.3438840974</c:v>
                </c:pt>
                <c:pt idx="1627">
                  <c:v>1674082.295959553</c:v>
                </c:pt>
                <c:pt idx="1628">
                  <c:v>1757472.2776904448</c:v>
                </c:pt>
                <c:pt idx="1629">
                  <c:v>1719101.8396567106</c:v>
                </c:pt>
                <c:pt idx="1630">
                  <c:v>1726680.3330925775</c:v>
                </c:pt>
                <c:pt idx="1631">
                  <c:v>1756941.1989633343</c:v>
                </c:pt>
                <c:pt idx="1632">
                  <c:v>1773287.802183796</c:v>
                </c:pt>
                <c:pt idx="1633">
                  <c:v>1732925.8189233975</c:v>
                </c:pt>
                <c:pt idx="1634">
                  <c:v>1744593.618558015</c:v>
                </c:pt>
                <c:pt idx="1635">
                  <c:v>1716419.8920848025</c:v>
                </c:pt>
                <c:pt idx="1636">
                  <c:v>1722155.542337596</c:v>
                </c:pt>
                <c:pt idx="1637">
                  <c:v>1688219.6116752345</c:v>
                </c:pt>
                <c:pt idx="1638">
                  <c:v>1701018.6089985978</c:v>
                </c:pt>
                <c:pt idx="1639">
                  <c:v>1750690.4023452436</c:v>
                </c:pt>
                <c:pt idx="1640">
                  <c:v>1773866.677996346</c:v>
                </c:pt>
                <c:pt idx="1641">
                  <c:v>1830994.8166716234</c:v>
                </c:pt>
                <c:pt idx="1642">
                  <c:v>1829587.4580447804</c:v>
                </c:pt>
                <c:pt idx="1643">
                  <c:v>1808912.5631983685</c:v>
                </c:pt>
                <c:pt idx="1644">
                  <c:v>1851775.9272634576</c:v>
                </c:pt>
                <c:pt idx="1645">
                  <c:v>1876869.397119429</c:v>
                </c:pt>
                <c:pt idx="1646">
                  <c:v>1876927.815779411</c:v>
                </c:pt>
                <c:pt idx="1647">
                  <c:v>1900040.3619832601</c:v>
                </c:pt>
                <c:pt idx="1648">
                  <c:v>1844569.1889365679</c:v>
                </c:pt>
                <c:pt idx="1649">
                  <c:v>1871802.9060627948</c:v>
                </c:pt>
                <c:pt idx="1650">
                  <c:v>1896609.5934061264</c:v>
                </c:pt>
                <c:pt idx="1651">
                  <c:v>1906179.632068658</c:v>
                </c:pt>
                <c:pt idx="1652">
                  <c:v>1908102.137060798</c:v>
                </c:pt>
                <c:pt idx="1653">
                  <c:v>1872010.0267663677</c:v>
                </c:pt>
                <c:pt idx="1654">
                  <c:v>1876465.777286825</c:v>
                </c:pt>
                <c:pt idx="1655">
                  <c:v>1876874.7079067</c:v>
                </c:pt>
                <c:pt idx="1656">
                  <c:v>1846008.4122870376</c:v>
                </c:pt>
                <c:pt idx="1657">
                  <c:v>1840448.0180141903</c:v>
                </c:pt>
                <c:pt idx="1658">
                  <c:v>1927040.4044695585</c:v>
                </c:pt>
                <c:pt idx="1659">
                  <c:v>1968161.8303097251</c:v>
                </c:pt>
                <c:pt idx="1660">
                  <c:v>2014578.1110591835</c:v>
                </c:pt>
                <c:pt idx="1661">
                  <c:v>2039528.1896588351</c:v>
                </c:pt>
                <c:pt idx="1662">
                  <c:v>2035752.2199090789</c:v>
                </c:pt>
                <c:pt idx="1663">
                  <c:v>2035969.9621871945</c:v>
                </c:pt>
                <c:pt idx="1664">
                  <c:v>2015613.7145770488</c:v>
                </c:pt>
                <c:pt idx="1665">
                  <c:v>1989548.3706504651</c:v>
                </c:pt>
                <c:pt idx="1666">
                  <c:v>1999049.3690784723</c:v>
                </c:pt>
                <c:pt idx="1667">
                  <c:v>1996000.9771848577</c:v>
                </c:pt>
                <c:pt idx="1668">
                  <c:v>1973265.496877257</c:v>
                </c:pt>
                <c:pt idx="1669">
                  <c:v>2004806.2624803497</c:v>
                </c:pt>
                <c:pt idx="1670">
                  <c:v>2004492.926031355</c:v>
                </c:pt>
                <c:pt idx="1671">
                  <c:v>1993319.02961295</c:v>
                </c:pt>
                <c:pt idx="1672">
                  <c:v>1993611.1229128605</c:v>
                </c:pt>
                <c:pt idx="1673">
                  <c:v>2008332.625228364</c:v>
                </c:pt>
                <c:pt idx="1674">
                  <c:v>1996553.2990610525</c:v>
                </c:pt>
                <c:pt idx="1675">
                  <c:v>1889041.7215448017</c:v>
                </c:pt>
                <c:pt idx="1676">
                  <c:v>1894044.4831541828</c:v>
                </c:pt>
                <c:pt idx="1677">
                  <c:v>1907475.4641628074</c:v>
                </c:pt>
                <c:pt idx="1678">
                  <c:v>1976648.468368951</c:v>
                </c:pt>
                <c:pt idx="1679">
                  <c:v>1991173.4715554235</c:v>
                </c:pt>
                <c:pt idx="1680">
                  <c:v>1953089.8160343291</c:v>
                </c:pt>
                <c:pt idx="1681">
                  <c:v>1958411.2248799764</c:v>
                </c:pt>
                <c:pt idx="1682">
                  <c:v>1924108.8498959085</c:v>
                </c:pt>
                <c:pt idx="1683">
                  <c:v>1930970.3870501763</c:v>
                </c:pt>
                <c:pt idx="1684">
                  <c:v>1924140.714619535</c:v>
                </c:pt>
                <c:pt idx="1685">
                  <c:v>1916163.9121383354</c:v>
                </c:pt>
                <c:pt idx="1686">
                  <c:v>1971003.1014997663</c:v>
                </c:pt>
                <c:pt idx="1687">
                  <c:v>1962011.9386497855</c:v>
                </c:pt>
                <c:pt idx="1688">
                  <c:v>1957258.7840421465</c:v>
                </c:pt>
                <c:pt idx="1689">
                  <c:v>1994673.2803670815</c:v>
                </c:pt>
                <c:pt idx="1690">
                  <c:v>2001056.8466669496</c:v>
                </c:pt>
                <c:pt idx="1691">
                  <c:v>2053134.4266474058</c:v>
                </c:pt>
                <c:pt idx="1692">
                  <c:v>2058848.833751115</c:v>
                </c:pt>
                <c:pt idx="1693">
                  <c:v>2053352.1689255214</c:v>
                </c:pt>
                <c:pt idx="1694">
                  <c:v>2033712.8775969751</c:v>
                </c:pt>
                <c:pt idx="1695">
                  <c:v>2038386.3703955472</c:v>
                </c:pt>
                <c:pt idx="1696">
                  <c:v>1979664.9955389388</c:v>
                </c:pt>
                <c:pt idx="1697">
                  <c:v>1997849.1311552022</c:v>
                </c:pt>
                <c:pt idx="1698">
                  <c:v>1999607.0017419381</c:v>
                </c:pt>
                <c:pt idx="1699">
                  <c:v>1981454.7308493012</c:v>
                </c:pt>
                <c:pt idx="1700">
                  <c:v>1842349.279857246</c:v>
                </c:pt>
                <c:pt idx="1701">
                  <c:v>1847506.0542974891</c:v>
                </c:pt>
                <c:pt idx="1702">
                  <c:v>1879917.7890130433</c:v>
                </c:pt>
                <c:pt idx="1703">
                  <c:v>1749575.1370183118</c:v>
                </c:pt>
                <c:pt idx="1704">
                  <c:v>1785253.0059055954</c:v>
                </c:pt>
                <c:pt idx="1705">
                  <c:v>1695442.2823639375</c:v>
                </c:pt>
                <c:pt idx="1706">
                  <c:v>1707795.1735565281</c:v>
                </c:pt>
                <c:pt idx="1707">
                  <c:v>1676020.7333135065</c:v>
                </c:pt>
                <c:pt idx="1708">
                  <c:v>1710907.2948973957</c:v>
                </c:pt>
                <c:pt idx="1709">
                  <c:v>1656291.1586013511</c:v>
                </c:pt>
                <c:pt idx="1710">
                  <c:v>1662664.1033266771</c:v>
                </c:pt>
                <c:pt idx="1711">
                  <c:v>1711735.7777116878</c:v>
                </c:pt>
                <c:pt idx="1712">
                  <c:v>1685845.689765051</c:v>
                </c:pt>
                <c:pt idx="1713">
                  <c:v>1636439.4357819604</c:v>
                </c:pt>
                <c:pt idx="1714">
                  <c:v>1653492.3737094786</c:v>
                </c:pt>
                <c:pt idx="1715">
                  <c:v>1661686.9184687936</c:v>
                </c:pt>
                <c:pt idx="1716">
                  <c:v>1561642.3078557167</c:v>
                </c:pt>
                <c:pt idx="1717">
                  <c:v>1556246.5479882737</c:v>
                </c:pt>
                <c:pt idx="1718">
                  <c:v>1515571.2282788802</c:v>
                </c:pt>
                <c:pt idx="1719">
                  <c:v>1564605.7271529932</c:v>
                </c:pt>
                <c:pt idx="1720">
                  <c:v>1540685.9412839359</c:v>
                </c:pt>
                <c:pt idx="1721">
                  <c:v>1572699.3669541571</c:v>
                </c:pt>
                <c:pt idx="1722">
                  <c:v>1565959.9779071249</c:v>
                </c:pt>
                <c:pt idx="1723">
                  <c:v>1585142.5415303565</c:v>
                </c:pt>
                <c:pt idx="1724">
                  <c:v>1574005.820622849</c:v>
                </c:pt>
                <c:pt idx="1725">
                  <c:v>1564934.9959638016</c:v>
                </c:pt>
                <c:pt idx="1726">
                  <c:v>1612907.3373836938</c:v>
                </c:pt>
                <c:pt idx="1727">
                  <c:v>1626864.086332158</c:v>
                </c:pt>
                <c:pt idx="1728">
                  <c:v>1621755.1089773548</c:v>
                </c:pt>
                <c:pt idx="1729">
                  <c:v>1620634.5328631517</c:v>
                </c:pt>
                <c:pt idx="1730">
                  <c:v>1656365.5096231464</c:v>
                </c:pt>
                <c:pt idx="1731">
                  <c:v>1640693.3763861156</c:v>
                </c:pt>
                <c:pt idx="1732">
                  <c:v>1651415.8558864766</c:v>
                </c:pt>
                <c:pt idx="1733">
                  <c:v>1550086.034753792</c:v>
                </c:pt>
                <c:pt idx="1734">
                  <c:v>1565636.0198835877</c:v>
                </c:pt>
                <c:pt idx="1735">
                  <c:v>1528163.1048986702</c:v>
                </c:pt>
                <c:pt idx="1736">
                  <c:v>1556427.1147554913</c:v>
                </c:pt>
                <c:pt idx="1737">
                  <c:v>1620496.4523941027</c:v>
                </c:pt>
                <c:pt idx="1738">
                  <c:v>1624261.8005693164</c:v>
                </c:pt>
                <c:pt idx="1739">
                  <c:v>1643099.1630199258</c:v>
                </c:pt>
                <c:pt idx="1740">
                  <c:v>1648914.475081786</c:v>
                </c:pt>
                <c:pt idx="1741">
                  <c:v>1650417.4278795091</c:v>
                </c:pt>
                <c:pt idx="1742">
                  <c:v>1631426.0525980371</c:v>
                </c:pt>
                <c:pt idx="1743">
                  <c:v>1600219.8665930238</c:v>
                </c:pt>
                <c:pt idx="1744">
                  <c:v>1602944.3004631007</c:v>
                </c:pt>
                <c:pt idx="1745">
                  <c:v>1628122.7429154096</c:v>
                </c:pt>
                <c:pt idx="1746">
                  <c:v>1632950.2485448443</c:v>
                </c:pt>
                <c:pt idx="1747">
                  <c:v>1641049.1991332797</c:v>
                </c:pt>
                <c:pt idx="1748">
                  <c:v>1659196.1592386456</c:v>
                </c:pt>
                <c:pt idx="1749">
                  <c:v>1684560.4792454434</c:v>
                </c:pt>
                <c:pt idx="1750">
                  <c:v>1725708.4590219653</c:v>
                </c:pt>
                <c:pt idx="1751">
                  <c:v>1713148.4471258018</c:v>
                </c:pt>
                <c:pt idx="1752">
                  <c:v>1718618.5580150401</c:v>
                </c:pt>
                <c:pt idx="1753">
                  <c:v>1689812.8478565661</c:v>
                </c:pt>
                <c:pt idx="1754">
                  <c:v>1698294.1751285212</c:v>
                </c:pt>
                <c:pt idx="1755">
                  <c:v>1683376.173683987</c:v>
                </c:pt>
                <c:pt idx="1756">
                  <c:v>1665149.5517695541</c:v>
                </c:pt>
                <c:pt idx="1757">
                  <c:v>1708097.888430981</c:v>
                </c:pt>
                <c:pt idx="1758">
                  <c:v>1709059.140927051</c:v>
                </c:pt>
                <c:pt idx="1759">
                  <c:v>1711077.240090071</c:v>
                </c:pt>
                <c:pt idx="1760">
                  <c:v>1733701.1938649784</c:v>
                </c:pt>
                <c:pt idx="1761">
                  <c:v>1730004.8859242895</c:v>
                </c:pt>
                <c:pt idx="1762">
                  <c:v>1704385.6481284786</c:v>
                </c:pt>
                <c:pt idx="1763">
                  <c:v>1691873.4333177549</c:v>
                </c:pt>
                <c:pt idx="1764">
                  <c:v>1715437.396439648</c:v>
                </c:pt>
                <c:pt idx="1765">
                  <c:v>1709250.3292688106</c:v>
                </c:pt>
                <c:pt idx="1766">
                  <c:v>1732049.539023665</c:v>
                </c:pt>
                <c:pt idx="1767">
                  <c:v>1739723.6266304117</c:v>
                </c:pt>
                <c:pt idx="1768">
                  <c:v>1737801.1216382715</c:v>
                </c:pt>
                <c:pt idx="1769">
                  <c:v>1714561.1165399158</c:v>
                </c:pt>
                <c:pt idx="1770">
                  <c:v>1719792.2420019545</c:v>
                </c:pt>
                <c:pt idx="1771">
                  <c:v>1689377.3633003358</c:v>
                </c:pt>
                <c:pt idx="1772">
                  <c:v>1678527.4249054678</c:v>
                </c:pt>
                <c:pt idx="1773">
                  <c:v>1686121.8507031484</c:v>
                </c:pt>
                <c:pt idx="1774">
                  <c:v>1679286.8674852361</c:v>
                </c:pt>
                <c:pt idx="1775">
                  <c:v>1688384.2460806388</c:v>
                </c:pt>
                <c:pt idx="1776">
                  <c:v>1681352.7637336957</c:v>
                </c:pt>
                <c:pt idx="1777">
                  <c:v>1678516.8033309258</c:v>
                </c:pt>
                <c:pt idx="1778">
                  <c:v>1676482.7718060925</c:v>
                </c:pt>
                <c:pt idx="1779">
                  <c:v>1706642.7327186982</c:v>
                </c:pt>
                <c:pt idx="1780">
                  <c:v>1704475.9315120874</c:v>
                </c:pt>
                <c:pt idx="1781">
                  <c:v>1706844.5426350003</c:v>
                </c:pt>
                <c:pt idx="1782">
                  <c:v>1662462.293410375</c:v>
                </c:pt>
                <c:pt idx="1783">
                  <c:v>1628085.5674045121</c:v>
                </c:pt>
                <c:pt idx="1784">
                  <c:v>1629939.0321621276</c:v>
                </c:pt>
                <c:pt idx="1785">
                  <c:v>1637214.8107235415</c:v>
                </c:pt>
                <c:pt idx="1786">
                  <c:v>1641107.6177932615</c:v>
                </c:pt>
                <c:pt idx="1787">
                  <c:v>1633035.2211411821</c:v>
                </c:pt>
                <c:pt idx="1788">
                  <c:v>1643853.2948124229</c:v>
                </c:pt>
                <c:pt idx="1789">
                  <c:v>1638919.5734375664</c:v>
                </c:pt>
                <c:pt idx="1790">
                  <c:v>1629370.7779241193</c:v>
                </c:pt>
                <c:pt idx="1791">
                  <c:v>1626428.6017759272</c:v>
                </c:pt>
                <c:pt idx="1792">
                  <c:v>1634777.1593661043</c:v>
                </c:pt>
                <c:pt idx="1793">
                  <c:v>1639556.867910099</c:v>
                </c:pt>
                <c:pt idx="1794">
                  <c:v>1626991.5452266643</c:v>
                </c:pt>
                <c:pt idx="1795">
                  <c:v>1624691.9743382758</c:v>
                </c:pt>
                <c:pt idx="1796">
                  <c:v>1627336.7463992862</c:v>
                </c:pt>
                <c:pt idx="1797">
                  <c:v>1626428.6017759272</c:v>
                </c:pt>
                <c:pt idx="1798">
                  <c:v>1628664.4432170624</c:v>
                </c:pt>
                <c:pt idx="1799">
                  <c:v>1683285.890300378</c:v>
                </c:pt>
                <c:pt idx="1800">
                  <c:v>1678500.8709691125</c:v>
                </c:pt>
                <c:pt idx="1801">
                  <c:v>1681979.4366316863</c:v>
                </c:pt>
                <c:pt idx="1802">
                  <c:v>1693785.3167353526</c:v>
                </c:pt>
                <c:pt idx="1803">
                  <c:v>1688187.746951608</c:v>
                </c:pt>
                <c:pt idx="1804">
                  <c:v>1687263.6699664358</c:v>
                </c:pt>
                <c:pt idx="1805">
                  <c:v>1680327.7817903724</c:v>
                </c:pt>
                <c:pt idx="1806">
                  <c:v>1628467.9440880315</c:v>
                </c:pt>
                <c:pt idx="1807">
                  <c:v>1633587.5430173769</c:v>
                </c:pt>
                <c:pt idx="1808">
                  <c:v>1655037.8128053702</c:v>
                </c:pt>
                <c:pt idx="1809">
                  <c:v>1643513.4044270723</c:v>
                </c:pt>
                <c:pt idx="1810">
                  <c:v>1651846.0296554363</c:v>
                </c:pt>
                <c:pt idx="1811">
                  <c:v>1653072.8215150614</c:v>
                </c:pt>
                <c:pt idx="1812">
                  <c:v>1649700.4715979097</c:v>
                </c:pt>
                <c:pt idx="1813">
                  <c:v>1664379.487615244</c:v>
                </c:pt>
                <c:pt idx="1814">
                  <c:v>1655542.3375961254</c:v>
                </c:pt>
                <c:pt idx="1815">
                  <c:v>1634214.2159153672</c:v>
                </c:pt>
                <c:pt idx="1816">
                  <c:v>1657252.4110974208</c:v>
                </c:pt>
                <c:pt idx="1817">
                  <c:v>1665675.3197093937</c:v>
                </c:pt>
                <c:pt idx="1818">
                  <c:v>1673636.1898287802</c:v>
                </c:pt>
                <c:pt idx="1819">
                  <c:v>1674979.8190083697</c:v>
                </c:pt>
                <c:pt idx="1820">
                  <c:v>1675128.5210519605</c:v>
                </c:pt>
                <c:pt idx="1821">
                  <c:v>1701947.9967710411</c:v>
                </c:pt>
                <c:pt idx="1822">
                  <c:v>1703371.2877596975</c:v>
                </c:pt>
                <c:pt idx="1823">
                  <c:v>1708374.0493690784</c:v>
                </c:pt>
                <c:pt idx="1824">
                  <c:v>1704736.1600883715</c:v>
                </c:pt>
                <c:pt idx="1825">
                  <c:v>1695351.9989803289</c:v>
                </c:pt>
                <c:pt idx="1826">
                  <c:v>1701220.4189148999</c:v>
                </c:pt>
                <c:pt idx="1827">
                  <c:v>1738316.2680035688</c:v>
                </c:pt>
                <c:pt idx="1828">
                  <c:v>1743462.4208692694</c:v>
                </c:pt>
                <c:pt idx="1829">
                  <c:v>1740217.5298466245</c:v>
                </c:pt>
                <c:pt idx="1830">
                  <c:v>1739962.6120576116</c:v>
                </c:pt>
                <c:pt idx="1831">
                  <c:v>1732389.4294090157</c:v>
                </c:pt>
                <c:pt idx="1832">
                  <c:v>1725065.8537621617</c:v>
                </c:pt>
                <c:pt idx="1833">
                  <c:v>1719425.797680248</c:v>
                </c:pt>
                <c:pt idx="1834">
                  <c:v>1727344.1815014656</c:v>
                </c:pt>
                <c:pt idx="1835">
                  <c:v>1712813.8675277221</c:v>
                </c:pt>
                <c:pt idx="1836">
                  <c:v>1715856.9486340655</c:v>
                </c:pt>
                <c:pt idx="1837">
                  <c:v>1736409.6953732423</c:v>
                </c:pt>
                <c:pt idx="1838">
                  <c:v>1709138.8027361175</c:v>
                </c:pt>
                <c:pt idx="1839">
                  <c:v>1710678.9310447378</c:v>
                </c:pt>
                <c:pt idx="1840">
                  <c:v>1701539.0661511663</c:v>
                </c:pt>
                <c:pt idx="1841">
                  <c:v>1687136.2110719292</c:v>
                </c:pt>
                <c:pt idx="1842">
                  <c:v>1693636.614691762</c:v>
                </c:pt>
                <c:pt idx="1843">
                  <c:v>1696005.225814675</c:v>
                </c:pt>
                <c:pt idx="1844">
                  <c:v>1700137.0183115944</c:v>
                </c:pt>
                <c:pt idx="1845">
                  <c:v>1702165.7390491567</c:v>
                </c:pt>
                <c:pt idx="1846">
                  <c:v>1717604.1976462591</c:v>
                </c:pt>
                <c:pt idx="1847">
                  <c:v>1729712.7926243788</c:v>
                </c:pt>
                <c:pt idx="1848">
                  <c:v>1722468.8787865913</c:v>
                </c:pt>
                <c:pt idx="1849">
                  <c:v>1717168.7130900286</c:v>
                </c:pt>
                <c:pt idx="1850">
                  <c:v>1749495.475209245</c:v>
                </c:pt>
                <c:pt idx="1851">
                  <c:v>1802173.1741513363</c:v>
                </c:pt>
                <c:pt idx="1852">
                  <c:v>1794116.7098610697</c:v>
                </c:pt>
                <c:pt idx="1853">
                  <c:v>1791355.1004800953</c:v>
                </c:pt>
                <c:pt idx="1854">
                  <c:v>1786809.0665760289</c:v>
                </c:pt>
                <c:pt idx="1855">
                  <c:v>1787090.5383013978</c:v>
                </c:pt>
                <c:pt idx="1856">
                  <c:v>1772098.1858350681</c:v>
                </c:pt>
                <c:pt idx="1857">
                  <c:v>1774774.822619705</c:v>
                </c:pt>
                <c:pt idx="1858">
                  <c:v>1768417.8102561925</c:v>
                </c:pt>
                <c:pt idx="1859">
                  <c:v>1757323.5756468538</c:v>
                </c:pt>
                <c:pt idx="1860">
                  <c:v>1756325.1476398862</c:v>
                </c:pt>
                <c:pt idx="1861">
                  <c:v>1756691.5919615924</c:v>
                </c:pt>
                <c:pt idx="1862">
                  <c:v>1758927.4334027274</c:v>
                </c:pt>
                <c:pt idx="1863">
                  <c:v>1767318.4772910734</c:v>
                </c:pt>
                <c:pt idx="1864">
                  <c:v>1753398.9038535072</c:v>
                </c:pt>
                <c:pt idx="1865">
                  <c:v>1760053.3203042019</c:v>
                </c:pt>
                <c:pt idx="1866">
                  <c:v>1763011.4288142074</c:v>
                </c:pt>
                <c:pt idx="1867">
                  <c:v>1775199.6856013937</c:v>
                </c:pt>
                <c:pt idx="1868">
                  <c:v>1774238.4331053237</c:v>
                </c:pt>
                <c:pt idx="1869">
                  <c:v>1773569.2739091641</c:v>
                </c:pt>
                <c:pt idx="1870">
                  <c:v>1762140.459701746</c:v>
                </c:pt>
                <c:pt idx="1871">
                  <c:v>1732697.4550707396</c:v>
                </c:pt>
                <c:pt idx="1872">
                  <c:v>1731491.9063601987</c:v>
                </c:pt>
                <c:pt idx="1873">
                  <c:v>1720020.6058546118</c:v>
                </c:pt>
                <c:pt idx="1874">
                  <c:v>1732973.6160088372</c:v>
                </c:pt>
                <c:pt idx="1875">
                  <c:v>1729935.8456897652</c:v>
                </c:pt>
                <c:pt idx="1876">
                  <c:v>1734843.013128266</c:v>
                </c:pt>
                <c:pt idx="1877">
                  <c:v>1747843.8203679312</c:v>
                </c:pt>
                <c:pt idx="1878">
                  <c:v>1739638.6540340739</c:v>
                </c:pt>
                <c:pt idx="1879">
                  <c:v>1710222.2033394233</c:v>
                </c:pt>
                <c:pt idx="1880">
                  <c:v>1721093.3848833751</c:v>
                </c:pt>
                <c:pt idx="1881">
                  <c:v>1715856.9486340655</c:v>
                </c:pt>
                <c:pt idx="1882">
                  <c:v>1723026.5114500574</c:v>
                </c:pt>
                <c:pt idx="1883">
                  <c:v>1727747.8013340698</c:v>
                </c:pt>
                <c:pt idx="1884">
                  <c:v>1749304.2868674851</c:v>
                </c:pt>
                <c:pt idx="1885">
                  <c:v>1756043.6759145176</c:v>
                </c:pt>
                <c:pt idx="1886">
                  <c:v>1752565.1102519438</c:v>
                </c:pt>
                <c:pt idx="1887">
                  <c:v>1753967.1580915155</c:v>
                </c:pt>
                <c:pt idx="1888">
                  <c:v>1755666.6100182689</c:v>
                </c:pt>
                <c:pt idx="1889">
                  <c:v>1740812.3380209883</c:v>
                </c:pt>
                <c:pt idx="1890">
                  <c:v>1763887.7087139396</c:v>
                </c:pt>
                <c:pt idx="1891">
                  <c:v>1761184.517992947</c:v>
                </c:pt>
                <c:pt idx="1892">
                  <c:v>1762437.8637889279</c:v>
                </c:pt>
                <c:pt idx="1893">
                  <c:v>1767291.9233547179</c:v>
                </c:pt>
                <c:pt idx="1894">
                  <c:v>1788450.0998428005</c:v>
                </c:pt>
                <c:pt idx="1895">
                  <c:v>1788381.059608276</c:v>
                </c:pt>
                <c:pt idx="1896">
                  <c:v>1781662.9137103285</c:v>
                </c:pt>
                <c:pt idx="1897">
                  <c:v>1776830.0972936226</c:v>
                </c:pt>
                <c:pt idx="1898">
                  <c:v>1773871.9887836175</c:v>
                </c:pt>
                <c:pt idx="1899">
                  <c:v>1771827.335684242</c:v>
                </c:pt>
                <c:pt idx="1900">
                  <c:v>1783919.9983005479</c:v>
                </c:pt>
                <c:pt idx="1901">
                  <c:v>1770271.2750138079</c:v>
                </c:pt>
                <c:pt idx="1902">
                  <c:v>1787127.7138122956</c:v>
                </c:pt>
                <c:pt idx="1903">
                  <c:v>1781328.3341122488</c:v>
                </c:pt>
                <c:pt idx="1904">
                  <c:v>1782613.5446318563</c:v>
                </c:pt>
                <c:pt idx="1905">
                  <c:v>1790330.1185367717</c:v>
                </c:pt>
                <c:pt idx="1906">
                  <c:v>1780733.525937885</c:v>
                </c:pt>
                <c:pt idx="1907">
                  <c:v>1800680.8429281558</c:v>
                </c:pt>
                <c:pt idx="1908">
                  <c:v>1814812.8478565661</c:v>
                </c:pt>
                <c:pt idx="1909">
                  <c:v>1821732.8036708161</c:v>
                </c:pt>
                <c:pt idx="1910">
                  <c:v>1821530.993754514</c:v>
                </c:pt>
                <c:pt idx="1911">
                  <c:v>1821382.2917109232</c:v>
                </c:pt>
                <c:pt idx="1912">
                  <c:v>1825073.2888643413</c:v>
                </c:pt>
                <c:pt idx="1913">
                  <c:v>1814940.3067510729</c:v>
                </c:pt>
                <c:pt idx="1914">
                  <c:v>1827500.3186472363</c:v>
                </c:pt>
                <c:pt idx="1915">
                  <c:v>1841972.2139609975</c:v>
                </c:pt>
                <c:pt idx="1916">
                  <c:v>1845355.1854526915</c:v>
                </c:pt>
                <c:pt idx="1917">
                  <c:v>1852795.5984195094</c:v>
                </c:pt>
                <c:pt idx="1918">
                  <c:v>1870087.521774228</c:v>
                </c:pt>
                <c:pt idx="1919">
                  <c:v>1877405.7866338105</c:v>
                </c:pt>
                <c:pt idx="1920">
                  <c:v>1892785.8265709307</c:v>
                </c:pt>
                <c:pt idx="1921">
                  <c:v>1878956.5365169731</c:v>
                </c:pt>
                <c:pt idx="1922">
                  <c:v>1893316.9052980414</c:v>
                </c:pt>
                <c:pt idx="1923">
                  <c:v>1874150.2740366231</c:v>
                </c:pt>
                <c:pt idx="1924">
                  <c:v>1842529.8466244636</c:v>
                </c:pt>
                <c:pt idx="1925">
                  <c:v>1837080.9788843098</c:v>
                </c:pt>
                <c:pt idx="1926">
                  <c:v>1845896.8857543443</c:v>
                </c:pt>
                <c:pt idx="1927">
                  <c:v>1842917.5340952543</c:v>
                </c:pt>
                <c:pt idx="1928">
                  <c:v>1855429.7489059777</c:v>
                </c:pt>
                <c:pt idx="1929">
                  <c:v>1810542.9748905976</c:v>
                </c:pt>
                <c:pt idx="1930">
                  <c:v>1808344.3089603602</c:v>
                </c:pt>
                <c:pt idx="1931">
                  <c:v>1794488.4649700469</c:v>
                </c:pt>
                <c:pt idx="1932">
                  <c:v>1774031.3124017504</c:v>
                </c:pt>
                <c:pt idx="1933">
                  <c:v>1777005.3532735694</c:v>
                </c:pt>
                <c:pt idx="1934">
                  <c:v>1767950.460976335</c:v>
                </c:pt>
                <c:pt idx="1935">
                  <c:v>1757371.3727322938</c:v>
                </c:pt>
                <c:pt idx="1936">
                  <c:v>1773027.5736075116</c:v>
                </c:pt>
                <c:pt idx="1937">
                  <c:v>1771503.3776607045</c:v>
                </c:pt>
                <c:pt idx="1938">
                  <c:v>1756595.9977907124</c:v>
                </c:pt>
                <c:pt idx="1939">
                  <c:v>1764455.9629519482</c:v>
                </c:pt>
                <c:pt idx="1940">
                  <c:v>1761264.1798020136</c:v>
                </c:pt>
                <c:pt idx="1941">
                  <c:v>1753563.5382589113</c:v>
                </c:pt>
                <c:pt idx="1942">
                  <c:v>1751370.1831159452</c:v>
                </c:pt>
                <c:pt idx="1943">
                  <c:v>1757913.0730339466</c:v>
                </c:pt>
                <c:pt idx="1944">
                  <c:v>1774987.2541105493</c:v>
                </c:pt>
                <c:pt idx="1945">
                  <c:v>1788837.7873135912</c:v>
                </c:pt>
                <c:pt idx="1946">
                  <c:v>1788561.6263754938</c:v>
                </c:pt>
                <c:pt idx="1947">
                  <c:v>1777876.3223860306</c:v>
                </c:pt>
                <c:pt idx="1948">
                  <c:v>1786495.730127034</c:v>
                </c:pt>
                <c:pt idx="1949">
                  <c:v>1783505.756893402</c:v>
                </c:pt>
                <c:pt idx="1950">
                  <c:v>1770882.0155499852</c:v>
                </c:pt>
                <c:pt idx="1951">
                  <c:v>1761917.4066363596</c:v>
                </c:pt>
                <c:pt idx="1952">
                  <c:v>1763133.5769214428</c:v>
                </c:pt>
                <c:pt idx="1953">
                  <c:v>1762889.2807069719</c:v>
                </c:pt>
                <c:pt idx="1954">
                  <c:v>1766559.0347113055</c:v>
                </c:pt>
                <c:pt idx="1955">
                  <c:v>1773468.3689510131</c:v>
                </c:pt>
                <c:pt idx="1956">
                  <c:v>1768115.0953817393</c:v>
                </c:pt>
                <c:pt idx="1957">
                  <c:v>1781710.7107957683</c:v>
                </c:pt>
                <c:pt idx="1958">
                  <c:v>1786591.3242979138</c:v>
                </c:pt>
                <c:pt idx="1959">
                  <c:v>1786787.8234269447</c:v>
                </c:pt>
                <c:pt idx="1960">
                  <c:v>1792868.67485236</c:v>
                </c:pt>
                <c:pt idx="1961">
                  <c:v>1799273.4843013128</c:v>
                </c:pt>
                <c:pt idx="1962">
                  <c:v>1786809.0665760289</c:v>
                </c:pt>
                <c:pt idx="1963">
                  <c:v>1791440.0730764328</c:v>
                </c:pt>
                <c:pt idx="1964">
                  <c:v>1787441.0502612905</c:v>
                </c:pt>
                <c:pt idx="1965">
                  <c:v>1796793.3466457066</c:v>
                </c:pt>
                <c:pt idx="1966">
                  <c:v>1803697.3700981434</c:v>
                </c:pt>
                <c:pt idx="1967">
                  <c:v>1812831.924204444</c:v>
                </c:pt>
                <c:pt idx="1968">
                  <c:v>1824935.2083952925</c:v>
                </c:pt>
                <c:pt idx="1969">
                  <c:v>1824680.2906062796</c:v>
                </c:pt>
                <c:pt idx="1970">
                  <c:v>1817197.3913412925</c:v>
                </c:pt>
                <c:pt idx="1971">
                  <c:v>1827404.7244763563</c:v>
                </c:pt>
                <c:pt idx="1972">
                  <c:v>1817054.0000849727</c:v>
                </c:pt>
                <c:pt idx="1973">
                  <c:v>1843581.3825041424</c:v>
                </c:pt>
                <c:pt idx="1974">
                  <c:v>1849651.6123550155</c:v>
                </c:pt>
                <c:pt idx="1975">
                  <c:v>1853337.2987211624</c:v>
                </c:pt>
                <c:pt idx="1976">
                  <c:v>1844606.3644474656</c:v>
                </c:pt>
                <c:pt idx="1977">
                  <c:v>1844887.8361728343</c:v>
                </c:pt>
                <c:pt idx="1978">
                  <c:v>1830214.1309427707</c:v>
                </c:pt>
                <c:pt idx="1979">
                  <c:v>1833713.939754429</c:v>
                </c:pt>
                <c:pt idx="1980">
                  <c:v>1836703.9129880613</c:v>
                </c:pt>
                <c:pt idx="1981">
                  <c:v>1824308.5354973022</c:v>
                </c:pt>
                <c:pt idx="1982">
                  <c:v>1820463.5255130222</c:v>
                </c:pt>
                <c:pt idx="1983">
                  <c:v>1830352.2114118196</c:v>
                </c:pt>
                <c:pt idx="1984">
                  <c:v>1834324.6802906063</c:v>
                </c:pt>
                <c:pt idx="1985">
                  <c:v>1831547.1385478184</c:v>
                </c:pt>
                <c:pt idx="1986">
                  <c:v>1819974.9330840805</c:v>
                </c:pt>
                <c:pt idx="1987">
                  <c:v>1820479.4578748352</c:v>
                </c:pt>
                <c:pt idx="1988">
                  <c:v>1836523.3462208437</c:v>
                </c:pt>
                <c:pt idx="1989">
                  <c:v>1835774.5252156178</c:v>
                </c:pt>
                <c:pt idx="1990">
                  <c:v>1839465.522369036</c:v>
                </c:pt>
                <c:pt idx="1991">
                  <c:v>1848955.8992225009</c:v>
                </c:pt>
                <c:pt idx="1992">
                  <c:v>1829996.3886646556</c:v>
                </c:pt>
                <c:pt idx="1993">
                  <c:v>1832014.4878276756</c:v>
                </c:pt>
                <c:pt idx="1994">
                  <c:v>1840904.7457195052</c:v>
                </c:pt>
                <c:pt idx="1995">
                  <c:v>1832248.1624676043</c:v>
                </c:pt>
                <c:pt idx="1996">
                  <c:v>1838583.9316820325</c:v>
                </c:pt>
                <c:pt idx="1997">
                  <c:v>1853252.3261248246</c:v>
                </c:pt>
                <c:pt idx="1998">
                  <c:v>1847113.0560394274</c:v>
                </c:pt>
                <c:pt idx="1999">
                  <c:v>1842742.2781153077</c:v>
                </c:pt>
                <c:pt idx="2000">
                  <c:v>1840288.6943960572</c:v>
                </c:pt>
                <c:pt idx="2001">
                  <c:v>1825190.1261843056</c:v>
                </c:pt>
                <c:pt idx="2002">
                  <c:v>1835434.6348302672</c:v>
                </c:pt>
                <c:pt idx="2003">
                  <c:v>1860841.441135234</c:v>
                </c:pt>
                <c:pt idx="2004">
                  <c:v>1866237.2010026767</c:v>
                </c:pt>
                <c:pt idx="2005">
                  <c:v>1868048.1794621234</c:v>
                </c:pt>
                <c:pt idx="2006">
                  <c:v>1861505.2895441221</c:v>
                </c:pt>
                <c:pt idx="2007">
                  <c:v>1867979.1392275991</c:v>
                </c:pt>
                <c:pt idx="2008">
                  <c:v>1863788.9280706972</c:v>
                </c:pt>
                <c:pt idx="2009">
                  <c:v>1866513.3619407741</c:v>
                </c:pt>
                <c:pt idx="2010">
                  <c:v>1851605.9820707822</c:v>
                </c:pt>
                <c:pt idx="2011">
                  <c:v>1848122.1056209372</c:v>
                </c:pt>
                <c:pt idx="2012">
                  <c:v>1838987.5515146363</c:v>
                </c:pt>
                <c:pt idx="2013">
                  <c:v>1830033.5641755534</c:v>
                </c:pt>
                <c:pt idx="2014">
                  <c:v>1838355.5678293749</c:v>
                </c:pt>
                <c:pt idx="2015">
                  <c:v>1841138.4203594341</c:v>
                </c:pt>
                <c:pt idx="2016">
                  <c:v>1822269.1931851977</c:v>
                </c:pt>
                <c:pt idx="2017">
                  <c:v>1827425.9676254408</c:v>
                </c:pt>
                <c:pt idx="2018">
                  <c:v>1829661.809066576</c:v>
                </c:pt>
                <c:pt idx="2019">
                  <c:v>1830479.6703063259</c:v>
                </c:pt>
                <c:pt idx="2020">
                  <c:v>1826778.051578366</c:v>
                </c:pt>
                <c:pt idx="2021">
                  <c:v>1819783.7447423206</c:v>
                </c:pt>
                <c:pt idx="2022">
                  <c:v>1812640.7358626844</c:v>
                </c:pt>
                <c:pt idx="2023">
                  <c:v>1807999.1077877383</c:v>
                </c:pt>
                <c:pt idx="2024">
                  <c:v>1796400.3483876449</c:v>
                </c:pt>
                <c:pt idx="2025">
                  <c:v>1783792.5394060414</c:v>
                </c:pt>
                <c:pt idx="2026">
                  <c:v>1780457.3649997876</c:v>
                </c:pt>
                <c:pt idx="2027">
                  <c:v>1772581.4674767386</c:v>
                </c:pt>
                <c:pt idx="2028">
                  <c:v>1782645.4093554828</c:v>
                </c:pt>
                <c:pt idx="2029">
                  <c:v>1797903.3011853679</c:v>
                </c:pt>
                <c:pt idx="2030">
                  <c:v>1805237.4984067639</c:v>
                </c:pt>
                <c:pt idx="2031">
                  <c:v>1820883.0777074394</c:v>
                </c:pt>
                <c:pt idx="2032">
                  <c:v>1810962.5270850149</c:v>
                </c:pt>
                <c:pt idx="2033">
                  <c:v>1804663.9333814844</c:v>
                </c:pt>
                <c:pt idx="2034">
                  <c:v>1807712.3252750987</c:v>
                </c:pt>
                <c:pt idx="2035">
                  <c:v>1811636.9970684452</c:v>
                </c:pt>
                <c:pt idx="2036">
                  <c:v>1818514.4665845265</c:v>
                </c:pt>
                <c:pt idx="2037">
                  <c:v>1818503.8450099842</c:v>
                </c:pt>
                <c:pt idx="2038">
                  <c:v>1851159.8759400093</c:v>
                </c:pt>
                <c:pt idx="2039">
                  <c:v>1848382.3341972211</c:v>
                </c:pt>
                <c:pt idx="2040">
                  <c:v>1854994.2643497472</c:v>
                </c:pt>
                <c:pt idx="2041">
                  <c:v>1857575.3069635041</c:v>
                </c:pt>
                <c:pt idx="2042">
                  <c:v>1851611.2928580532</c:v>
                </c:pt>
                <c:pt idx="2043">
                  <c:v>1842179.3346645706</c:v>
                </c:pt>
                <c:pt idx="2044">
                  <c:v>1854994.2643497472</c:v>
                </c:pt>
                <c:pt idx="2045">
                  <c:v>1876763.1813740069</c:v>
                </c:pt>
                <c:pt idx="2046">
                  <c:v>1891160.7256659726</c:v>
                </c:pt>
                <c:pt idx="2047">
                  <c:v>1899227.8115307812</c:v>
                </c:pt>
                <c:pt idx="2048">
                  <c:v>1898282.4913965247</c:v>
                </c:pt>
                <c:pt idx="2049">
                  <c:v>1902467.3917661554</c:v>
                </c:pt>
                <c:pt idx="2050">
                  <c:v>1877522.623953775</c:v>
                </c:pt>
                <c:pt idx="2051">
                  <c:v>1874065.3014402855</c:v>
                </c:pt>
                <c:pt idx="2052">
                  <c:v>1868738.5818073673</c:v>
                </c:pt>
                <c:pt idx="2053">
                  <c:v>1887278.5401707951</c:v>
                </c:pt>
                <c:pt idx="2054">
                  <c:v>1883465.3949101414</c:v>
                </c:pt>
                <c:pt idx="2055">
                  <c:v>1905489.2297234142</c:v>
                </c:pt>
                <c:pt idx="2056">
                  <c:v>1906753.1970939373</c:v>
                </c:pt>
                <c:pt idx="2057">
                  <c:v>1924034.4988741132</c:v>
                </c:pt>
                <c:pt idx="2058">
                  <c:v>1948044.568126779</c:v>
                </c:pt>
                <c:pt idx="2059">
                  <c:v>1951565.6200875216</c:v>
                </c:pt>
                <c:pt idx="2060">
                  <c:v>1936403.3224285168</c:v>
                </c:pt>
                <c:pt idx="2061">
                  <c:v>1948437.5663848408</c:v>
                </c:pt>
                <c:pt idx="2062">
                  <c:v>1947359.4765688067</c:v>
                </c:pt>
                <c:pt idx="2063">
                  <c:v>1938888.7708713941</c:v>
                </c:pt>
                <c:pt idx="2064">
                  <c:v>1922494.3705654927</c:v>
                </c:pt>
                <c:pt idx="2065">
                  <c:v>1943578.1960317797</c:v>
                </c:pt>
                <c:pt idx="2066">
                  <c:v>1943801.2490971661</c:v>
                </c:pt>
                <c:pt idx="2067">
                  <c:v>1941586.6508051152</c:v>
                </c:pt>
                <c:pt idx="2068">
                  <c:v>1940397.0344563879</c:v>
                </c:pt>
                <c:pt idx="2069">
                  <c:v>1949489.1022645195</c:v>
                </c:pt>
                <c:pt idx="2070">
                  <c:v>1943121.4683264648</c:v>
                </c:pt>
                <c:pt idx="2071">
                  <c:v>1958044.7805582699</c:v>
                </c:pt>
                <c:pt idx="2072">
                  <c:v>1966632.3235756468</c:v>
                </c:pt>
                <c:pt idx="2073">
                  <c:v>1945638.7814929686</c:v>
                </c:pt>
                <c:pt idx="2074">
                  <c:v>1947561.2864851083</c:v>
                </c:pt>
                <c:pt idx="2075">
                  <c:v>1980790.8824404131</c:v>
                </c:pt>
                <c:pt idx="2076">
                  <c:v>1990419.3397629263</c:v>
                </c:pt>
                <c:pt idx="2077">
                  <c:v>1980180.1419042358</c:v>
                </c:pt>
                <c:pt idx="2078">
                  <c:v>1988077.2825763691</c:v>
                </c:pt>
                <c:pt idx="2079">
                  <c:v>1975379.1902111568</c:v>
                </c:pt>
                <c:pt idx="2080">
                  <c:v>1967853.804648001</c:v>
                </c:pt>
                <c:pt idx="2081">
                  <c:v>1971465.1399923523</c:v>
                </c:pt>
                <c:pt idx="2082">
                  <c:v>1976616.6036453242</c:v>
                </c:pt>
                <c:pt idx="2083">
                  <c:v>1985103.2417045501</c:v>
                </c:pt>
                <c:pt idx="2084">
                  <c:v>2002368.611122913</c:v>
                </c:pt>
                <c:pt idx="2085">
                  <c:v>1997307.4308535496</c:v>
                </c:pt>
                <c:pt idx="2086">
                  <c:v>1979771.2112843606</c:v>
                </c:pt>
                <c:pt idx="2087">
                  <c:v>1969016.8670603728</c:v>
                </c:pt>
                <c:pt idx="2088">
                  <c:v>1979218.8894081656</c:v>
                </c:pt>
                <c:pt idx="2089">
                  <c:v>1982097.3361091048</c:v>
                </c:pt>
                <c:pt idx="2090">
                  <c:v>1981475.9739983855</c:v>
                </c:pt>
                <c:pt idx="2091">
                  <c:v>1973446.0636444746</c:v>
                </c:pt>
                <c:pt idx="2092">
                  <c:v>1937029.9953265071</c:v>
                </c:pt>
                <c:pt idx="2093">
                  <c:v>1962165.9514806473</c:v>
                </c:pt>
                <c:pt idx="2094">
                  <c:v>1968209.6273951649</c:v>
                </c:pt>
                <c:pt idx="2095">
                  <c:v>1965745.4221013724</c:v>
                </c:pt>
                <c:pt idx="2096">
                  <c:v>1976292.6456217871</c:v>
                </c:pt>
                <c:pt idx="2097">
                  <c:v>1978093.0025066917</c:v>
                </c:pt>
                <c:pt idx="2098">
                  <c:v>1986760.207333135</c:v>
                </c:pt>
                <c:pt idx="2099">
                  <c:v>1992766.707736755</c:v>
                </c:pt>
                <c:pt idx="2100">
                  <c:v>1994779.4961125038</c:v>
                </c:pt>
                <c:pt idx="2101">
                  <c:v>1983393.1682032545</c:v>
                </c:pt>
                <c:pt idx="2102">
                  <c:v>2015842.0784297064</c:v>
                </c:pt>
                <c:pt idx="2103">
                  <c:v>2040781.535454816</c:v>
                </c:pt>
                <c:pt idx="2104">
                  <c:v>2036442.6222543227</c:v>
                </c:pt>
                <c:pt idx="2105">
                  <c:v>2036315.1633598164</c:v>
                </c:pt>
                <c:pt idx="2106">
                  <c:v>2029830.6921017973</c:v>
                </c:pt>
                <c:pt idx="2107">
                  <c:v>2034318.3073458811</c:v>
                </c:pt>
                <c:pt idx="2108">
                  <c:v>2042326.9745507073</c:v>
                </c:pt>
                <c:pt idx="2109">
                  <c:v>2048397.2044015806</c:v>
                </c:pt>
                <c:pt idx="2110">
                  <c:v>2044361.0060755403</c:v>
                </c:pt>
                <c:pt idx="2111">
                  <c:v>2033962.484598717</c:v>
                </c:pt>
                <c:pt idx="2112">
                  <c:v>2031901.8991375279</c:v>
                </c:pt>
                <c:pt idx="2113">
                  <c:v>2031721.3323703106</c:v>
                </c:pt>
                <c:pt idx="2114">
                  <c:v>2038242.9791392274</c:v>
                </c:pt>
                <c:pt idx="2115">
                  <c:v>2040728.4275821049</c:v>
                </c:pt>
                <c:pt idx="2116">
                  <c:v>2034010.2816841567</c:v>
                </c:pt>
                <c:pt idx="2117">
                  <c:v>2034721.9271784849</c:v>
                </c:pt>
                <c:pt idx="2118">
                  <c:v>2041009.8993074733</c:v>
                </c:pt>
                <c:pt idx="2119">
                  <c:v>2035157.4117347156</c:v>
                </c:pt>
                <c:pt idx="2120">
                  <c:v>2040638.1441984957</c:v>
                </c:pt>
                <c:pt idx="2121">
                  <c:v>2038184.5604792454</c:v>
                </c:pt>
                <c:pt idx="2122">
                  <c:v>2038136.7633938056</c:v>
                </c:pt>
                <c:pt idx="2123">
                  <c:v>2027547.0535752219</c:v>
                </c:pt>
                <c:pt idx="2124">
                  <c:v>2029134.9789692825</c:v>
                </c:pt>
                <c:pt idx="2125">
                  <c:v>2029358.0320346684</c:v>
                </c:pt>
                <c:pt idx="2126">
                  <c:v>2030069.677528997</c:v>
                </c:pt>
                <c:pt idx="2127">
                  <c:v>2037483.5365594595</c:v>
                </c:pt>
                <c:pt idx="2128">
                  <c:v>2061759.1451756808</c:v>
                </c:pt>
                <c:pt idx="2129">
                  <c:v>2065821.8974380763</c:v>
                </c:pt>
                <c:pt idx="2130">
                  <c:v>2072635.6375069041</c:v>
                </c:pt>
                <c:pt idx="2131">
                  <c:v>2078084.5052470576</c:v>
                </c:pt>
                <c:pt idx="2132">
                  <c:v>2082359.6890002976</c:v>
                </c:pt>
                <c:pt idx="2133">
                  <c:v>2078350.0446106128</c:v>
                </c:pt>
                <c:pt idx="2134">
                  <c:v>2078148.2346943112</c:v>
                </c:pt>
                <c:pt idx="2135">
                  <c:v>2094659.4723201769</c:v>
                </c:pt>
                <c:pt idx="2136">
                  <c:v>2087803.2459531801</c:v>
                </c:pt>
                <c:pt idx="2137">
                  <c:v>2085466.4995538937</c:v>
                </c:pt>
                <c:pt idx="2138">
                  <c:v>2087564.2605259803</c:v>
                </c:pt>
                <c:pt idx="2139">
                  <c:v>2102753.1121213408</c:v>
                </c:pt>
                <c:pt idx="2140">
                  <c:v>2112073.5437821299</c:v>
                </c:pt>
                <c:pt idx="2141">
                  <c:v>2120905.3830139781</c:v>
                </c:pt>
                <c:pt idx="2142">
                  <c:v>2135982.7080766452</c:v>
                </c:pt>
                <c:pt idx="2143">
                  <c:v>2129476.9936695411</c:v>
                </c:pt>
                <c:pt idx="2144">
                  <c:v>2127883.7574882102</c:v>
                </c:pt>
                <c:pt idx="2145">
                  <c:v>2122519.8623443935</c:v>
                </c:pt>
                <c:pt idx="2146">
                  <c:v>2122790.7124952204</c:v>
                </c:pt>
                <c:pt idx="2147">
                  <c:v>2120438.0337341204</c:v>
                </c:pt>
                <c:pt idx="2148">
                  <c:v>2135409.1430513659</c:v>
                </c:pt>
                <c:pt idx="2149">
                  <c:v>2153125.9293877725</c:v>
                </c:pt>
                <c:pt idx="2150">
                  <c:v>2149811.9981306028</c:v>
                </c:pt>
                <c:pt idx="2151">
                  <c:v>2164623.7838297151</c:v>
                </c:pt>
                <c:pt idx="2152">
                  <c:v>2183747.9287929642</c:v>
                </c:pt>
                <c:pt idx="2153">
                  <c:v>2192330.1610230696</c:v>
                </c:pt>
                <c:pt idx="2154">
                  <c:v>2177077.5799804563</c:v>
                </c:pt>
                <c:pt idx="2155">
                  <c:v>2163439.4782682587</c:v>
                </c:pt>
                <c:pt idx="2156">
                  <c:v>2180083.4855759018</c:v>
                </c:pt>
                <c:pt idx="2157">
                  <c:v>2188495.7726133326</c:v>
                </c:pt>
                <c:pt idx="2158">
                  <c:v>2200699.9617623319</c:v>
                </c:pt>
                <c:pt idx="2159">
                  <c:v>2239930.7473339848</c:v>
                </c:pt>
                <c:pt idx="2160">
                  <c:v>2245172.4943705653</c:v>
                </c:pt>
                <c:pt idx="2161">
                  <c:v>2178697.3700981429</c:v>
                </c:pt>
                <c:pt idx="2162">
                  <c:v>2179653.3118069423</c:v>
                </c:pt>
                <c:pt idx="2163">
                  <c:v>2150842.2908611973</c:v>
                </c:pt>
                <c:pt idx="2164">
                  <c:v>2153959.7229893361</c:v>
                </c:pt>
                <c:pt idx="2165">
                  <c:v>2152860.3900242173</c:v>
                </c:pt>
                <c:pt idx="2166">
                  <c:v>2127554.4886774016</c:v>
                </c:pt>
                <c:pt idx="2167">
                  <c:v>2123327.1020096019</c:v>
                </c:pt>
                <c:pt idx="2168">
                  <c:v>2134331.0532353316</c:v>
                </c:pt>
                <c:pt idx="2169">
                  <c:v>2145648.3409100566</c:v>
                </c:pt>
                <c:pt idx="2170">
                  <c:v>2132716.5739049157</c:v>
                </c:pt>
                <c:pt idx="2171">
                  <c:v>2108945.4900794495</c:v>
                </c:pt>
                <c:pt idx="2172">
                  <c:v>2126109.9545396613</c:v>
                </c:pt>
                <c:pt idx="2173">
                  <c:v>2161224.8799762079</c:v>
                </c:pt>
                <c:pt idx="2174">
                  <c:v>2132822.7896503378</c:v>
                </c:pt>
                <c:pt idx="2175">
                  <c:v>2150916.6418829928</c:v>
                </c:pt>
                <c:pt idx="2176">
                  <c:v>2138202.6171559673</c:v>
                </c:pt>
                <c:pt idx="2177">
                  <c:v>2114150.0616051327</c:v>
                </c:pt>
                <c:pt idx="2178">
                  <c:v>2116502.7403662321</c:v>
                </c:pt>
                <c:pt idx="2179">
                  <c:v>2143077.9198708418</c:v>
                </c:pt>
                <c:pt idx="2180">
                  <c:v>2140507.4988316265</c:v>
                </c:pt>
                <c:pt idx="2181">
                  <c:v>2160348.6000764752</c:v>
                </c:pt>
                <c:pt idx="2182">
                  <c:v>2153311.8069422608</c:v>
                </c:pt>
                <c:pt idx="2183">
                  <c:v>2146375.9187661977</c:v>
                </c:pt>
                <c:pt idx="2184">
                  <c:v>2152791.349789693</c:v>
                </c:pt>
                <c:pt idx="2185">
                  <c:v>2119646.7264307262</c:v>
                </c:pt>
                <c:pt idx="2186">
                  <c:v>2134352.2963844161</c:v>
                </c:pt>
                <c:pt idx="2187">
                  <c:v>2140698.6871733866</c:v>
                </c:pt>
                <c:pt idx="2188">
                  <c:v>2170731.1891914858</c:v>
                </c:pt>
                <c:pt idx="2189">
                  <c:v>2183471.7678548666</c:v>
                </c:pt>
                <c:pt idx="2190">
                  <c:v>2192723.1592811318</c:v>
                </c:pt>
                <c:pt idx="2191">
                  <c:v>2198002.0818286105</c:v>
                </c:pt>
                <c:pt idx="2192">
                  <c:v>2209372.4773760461</c:v>
                </c:pt>
                <c:pt idx="2193">
                  <c:v>2224848.1114840466</c:v>
                </c:pt>
                <c:pt idx="2194">
                  <c:v>2234678.3787228623</c:v>
                </c:pt>
                <c:pt idx="2195">
                  <c:v>2233499.3839486768</c:v>
                </c:pt>
                <c:pt idx="2196">
                  <c:v>2243807.6220418918</c:v>
                </c:pt>
                <c:pt idx="2197">
                  <c:v>2243935.0809363979</c:v>
                </c:pt>
                <c:pt idx="2198">
                  <c:v>2261582.8270382802</c:v>
                </c:pt>
                <c:pt idx="2199">
                  <c:v>2256086.1622126861</c:v>
                </c:pt>
                <c:pt idx="2200">
                  <c:v>2268460.296554361</c:v>
                </c:pt>
                <c:pt idx="2201">
                  <c:v>2275884.7771593658</c:v>
                </c:pt>
                <c:pt idx="2202">
                  <c:v>2303076.0079874243</c:v>
                </c:pt>
                <c:pt idx="2203">
                  <c:v>2327510.9402217786</c:v>
                </c:pt>
                <c:pt idx="2204">
                  <c:v>2331377.1933551431</c:v>
                </c:pt>
                <c:pt idx="2205">
                  <c:v>2318201.1301355315</c:v>
                </c:pt>
                <c:pt idx="2206">
                  <c:v>2326815.2270892635</c:v>
                </c:pt>
                <c:pt idx="2207">
                  <c:v>2284711.3056039428</c:v>
                </c:pt>
                <c:pt idx="2208">
                  <c:v>2260324.1704550288</c:v>
                </c:pt>
                <c:pt idx="2209">
                  <c:v>2270839.5292518162</c:v>
                </c:pt>
                <c:pt idx="2210">
                  <c:v>2254907.167438501</c:v>
                </c:pt>
                <c:pt idx="2211">
                  <c:v>2268359.3915962097</c:v>
                </c:pt>
                <c:pt idx="2212">
                  <c:v>2269910.1414793725</c:v>
                </c:pt>
                <c:pt idx="2213">
                  <c:v>2203387.2201215108</c:v>
                </c:pt>
                <c:pt idx="2214">
                  <c:v>2151134.3841611082</c:v>
                </c:pt>
                <c:pt idx="2215">
                  <c:v>2130714.4071037094</c:v>
                </c:pt>
                <c:pt idx="2216">
                  <c:v>2039687.5132769684</c:v>
                </c:pt>
                <c:pt idx="2217">
                  <c:v>2065949.3563325829</c:v>
                </c:pt>
                <c:pt idx="2218">
                  <c:v>2090129.3707779241</c:v>
                </c:pt>
                <c:pt idx="2219">
                  <c:v>2106768.0672982964</c:v>
                </c:pt>
                <c:pt idx="2220">
                  <c:v>2152318.6897225645</c:v>
                </c:pt>
                <c:pt idx="2221">
                  <c:v>2162069.2951523135</c:v>
                </c:pt>
                <c:pt idx="2222">
                  <c:v>2187205.2513064537</c:v>
                </c:pt>
                <c:pt idx="2223">
                  <c:v>2155637.931767005</c:v>
                </c:pt>
                <c:pt idx="2224">
                  <c:v>2136869.6095509198</c:v>
                </c:pt>
                <c:pt idx="2225">
                  <c:v>2150385.5631558825</c:v>
                </c:pt>
                <c:pt idx="2226">
                  <c:v>2133056.4642902664</c:v>
                </c:pt>
                <c:pt idx="2227">
                  <c:v>2133927.4334027274</c:v>
                </c:pt>
                <c:pt idx="2228">
                  <c:v>2159663.5085185026</c:v>
                </c:pt>
                <c:pt idx="2229">
                  <c:v>2143778.9437906276</c:v>
                </c:pt>
                <c:pt idx="2230">
                  <c:v>2165526.6176658026</c:v>
                </c:pt>
                <c:pt idx="2231">
                  <c:v>2182133.4494625484</c:v>
                </c:pt>
                <c:pt idx="2232">
                  <c:v>2192117.729532226</c:v>
                </c:pt>
                <c:pt idx="2233">
                  <c:v>2172775.8422908611</c:v>
                </c:pt>
                <c:pt idx="2234">
                  <c:v>2163264.2222883119</c:v>
                </c:pt>
                <c:pt idx="2235">
                  <c:v>2175383.4388409737</c:v>
                </c:pt>
                <c:pt idx="2236">
                  <c:v>2154278.3702256023</c:v>
                </c:pt>
                <c:pt idx="2237">
                  <c:v>2163747.5039299824</c:v>
                </c:pt>
                <c:pt idx="2238">
                  <c:v>2165579.7255385136</c:v>
                </c:pt>
                <c:pt idx="2239">
                  <c:v>2156737.2647321238</c:v>
                </c:pt>
                <c:pt idx="2240">
                  <c:v>2135122.3605387257</c:v>
                </c:pt>
                <c:pt idx="2241">
                  <c:v>2073830.5646429027</c:v>
                </c:pt>
                <c:pt idx="2242">
                  <c:v>2060527.0425287846</c:v>
                </c:pt>
                <c:pt idx="2243">
                  <c:v>2078254.4504397332</c:v>
                </c:pt>
                <c:pt idx="2244">
                  <c:v>2040786.8462420867</c:v>
                </c:pt>
                <c:pt idx="2245">
                  <c:v>2068047.1173046695</c:v>
                </c:pt>
                <c:pt idx="2246">
                  <c:v>2070410.4176403112</c:v>
                </c:pt>
                <c:pt idx="2247">
                  <c:v>2064260.5259803713</c:v>
                </c:pt>
                <c:pt idx="2248">
                  <c:v>2051280.9618897906</c:v>
                </c:pt>
                <c:pt idx="2249">
                  <c:v>2047234.1419892083</c:v>
                </c:pt>
                <c:pt idx="2250">
                  <c:v>2046209.1600458852</c:v>
                </c:pt>
                <c:pt idx="2251">
                  <c:v>2085636.4447465695</c:v>
                </c:pt>
                <c:pt idx="2252">
                  <c:v>2091568.5941283938</c:v>
                </c:pt>
                <c:pt idx="2253">
                  <c:v>2070484.7686621065</c:v>
                </c:pt>
                <c:pt idx="2254">
                  <c:v>2055880.1036665675</c:v>
                </c:pt>
                <c:pt idx="2255">
                  <c:v>2022804.5205421252</c:v>
                </c:pt>
                <c:pt idx="2256">
                  <c:v>1990822.9595955303</c:v>
                </c:pt>
                <c:pt idx="2257">
                  <c:v>2000191.1883417601</c:v>
                </c:pt>
                <c:pt idx="2258">
                  <c:v>2024387.1351489148</c:v>
                </c:pt>
                <c:pt idx="2259">
                  <c:v>1997307.4308535496</c:v>
                </c:pt>
                <c:pt idx="2260">
                  <c:v>2000217.7422781151</c:v>
                </c:pt>
                <c:pt idx="2261">
                  <c:v>2041195.7768619619</c:v>
                </c:pt>
                <c:pt idx="2262">
                  <c:v>2033341.1224879976</c:v>
                </c:pt>
                <c:pt idx="2263">
                  <c:v>1994460.8488762372</c:v>
                </c:pt>
                <c:pt idx="2264">
                  <c:v>1995199.048306921</c:v>
                </c:pt>
                <c:pt idx="2265">
                  <c:v>1998794.4512894591</c:v>
                </c:pt>
                <c:pt idx="2266">
                  <c:v>2014381.6119301526</c:v>
                </c:pt>
                <c:pt idx="2267">
                  <c:v>2004609.7633513189</c:v>
                </c:pt>
                <c:pt idx="2268">
                  <c:v>2036256.7446998341</c:v>
                </c:pt>
                <c:pt idx="2269">
                  <c:v>2059884.4372689803</c:v>
                </c:pt>
                <c:pt idx="2270">
                  <c:v>2056135.0214555806</c:v>
                </c:pt>
                <c:pt idx="2271">
                  <c:v>2067521.3493648297</c:v>
                </c:pt>
                <c:pt idx="2272">
                  <c:v>2056782.9375026557</c:v>
                </c:pt>
                <c:pt idx="2273">
                  <c:v>2076140.7571058332</c:v>
                </c:pt>
                <c:pt idx="2274">
                  <c:v>2084006.0330543397</c:v>
                </c:pt>
                <c:pt idx="2275">
                  <c:v>2067404.5120448654</c:v>
                </c:pt>
                <c:pt idx="2276">
                  <c:v>2052114.7554913538</c:v>
                </c:pt>
                <c:pt idx="2277">
                  <c:v>2072832.1366359349</c:v>
                </c:pt>
                <c:pt idx="2278">
                  <c:v>2082487.1478948039</c:v>
                </c:pt>
                <c:pt idx="2279">
                  <c:v>2074505.0346263333</c:v>
                </c:pt>
                <c:pt idx="2280">
                  <c:v>2047085.4399456172</c:v>
                </c:pt>
                <c:pt idx="2281">
                  <c:v>2032555.1259718738</c:v>
                </c:pt>
                <c:pt idx="2282">
                  <c:v>2026861.9620172493</c:v>
                </c:pt>
                <c:pt idx="2283">
                  <c:v>2035762.8414836216</c:v>
                </c:pt>
                <c:pt idx="2284">
                  <c:v>2020228.7887156394</c:v>
                </c:pt>
                <c:pt idx="2285">
                  <c:v>1977402.6001614477</c:v>
                </c:pt>
                <c:pt idx="2286">
                  <c:v>2019363.130390449</c:v>
                </c:pt>
                <c:pt idx="2287">
                  <c:v>2002480.1376556063</c:v>
                </c:pt>
                <c:pt idx="2288">
                  <c:v>2022124.7397714234</c:v>
                </c:pt>
                <c:pt idx="2289">
                  <c:v>2042167.6509325742</c:v>
                </c:pt>
                <c:pt idx="2290">
                  <c:v>2037934.9534775035</c:v>
                </c:pt>
                <c:pt idx="2291">
                  <c:v>2034567.914347623</c:v>
                </c:pt>
                <c:pt idx="2292">
                  <c:v>2007275.778561414</c:v>
                </c:pt>
                <c:pt idx="2293">
                  <c:v>2007466.9669031736</c:v>
                </c:pt>
                <c:pt idx="2294">
                  <c:v>2031880.6559884436</c:v>
                </c:pt>
                <c:pt idx="2295">
                  <c:v>2011906.7850618176</c:v>
                </c:pt>
                <c:pt idx="2296">
                  <c:v>2003956.5365169731</c:v>
                </c:pt>
                <c:pt idx="2297">
                  <c:v>1993366.8266983896</c:v>
                </c:pt>
                <c:pt idx="2298">
                  <c:v>1923099.8003143985</c:v>
                </c:pt>
                <c:pt idx="2299">
                  <c:v>1930704.8476866211</c:v>
                </c:pt>
                <c:pt idx="2300">
                  <c:v>1908149.9341462378</c:v>
                </c:pt>
                <c:pt idx="2301">
                  <c:v>1916610.0182691081</c:v>
                </c:pt>
                <c:pt idx="2302">
                  <c:v>1890895.1863024174</c:v>
                </c:pt>
                <c:pt idx="2303">
                  <c:v>1875297.4040871819</c:v>
                </c:pt>
                <c:pt idx="2304">
                  <c:v>1837139.397544292</c:v>
                </c:pt>
                <c:pt idx="2305">
                  <c:v>1818163.9546246335</c:v>
                </c:pt>
                <c:pt idx="2306">
                  <c:v>1864606.7893104474</c:v>
                </c:pt>
                <c:pt idx="2307">
                  <c:v>1809895.058843523</c:v>
                </c:pt>
                <c:pt idx="2308">
                  <c:v>1810596.0827633089</c:v>
                </c:pt>
                <c:pt idx="2309">
                  <c:v>1786416.0683179675</c:v>
                </c:pt>
                <c:pt idx="2310">
                  <c:v>1775098.7806432426</c:v>
                </c:pt>
                <c:pt idx="2311">
                  <c:v>1787143.6461741088</c:v>
                </c:pt>
                <c:pt idx="2312">
                  <c:v>1837096.911246123</c:v>
                </c:pt>
                <c:pt idx="2313">
                  <c:v>1841526.1078302248</c:v>
                </c:pt>
                <c:pt idx="2314">
                  <c:v>1809666.6949908654</c:v>
                </c:pt>
                <c:pt idx="2315">
                  <c:v>1848716.913795301</c:v>
                </c:pt>
                <c:pt idx="2316">
                  <c:v>1854893.3593915962</c:v>
                </c:pt>
                <c:pt idx="2317">
                  <c:v>1843953.1376131198</c:v>
                </c:pt>
                <c:pt idx="2318">
                  <c:v>1831892.3397204401</c:v>
                </c:pt>
                <c:pt idx="2319">
                  <c:v>1822301.0579088244</c:v>
                </c:pt>
                <c:pt idx="2320">
                  <c:v>1820718.4433020351</c:v>
                </c:pt>
                <c:pt idx="2321">
                  <c:v>1854999.5751370182</c:v>
                </c:pt>
                <c:pt idx="2322">
                  <c:v>1872450.8221098694</c:v>
                </c:pt>
                <c:pt idx="2323">
                  <c:v>1902169.9876789735</c:v>
                </c:pt>
                <c:pt idx="2324">
                  <c:v>1900066.9159196159</c:v>
                </c:pt>
                <c:pt idx="2325">
                  <c:v>1878027.1487445298</c:v>
                </c:pt>
                <c:pt idx="2326">
                  <c:v>1870050.34626333</c:v>
                </c:pt>
                <c:pt idx="2327">
                  <c:v>1866784.2120916003</c:v>
                </c:pt>
                <c:pt idx="2328">
                  <c:v>1868154.3952075455</c:v>
                </c:pt>
                <c:pt idx="2329">
                  <c:v>1830835.4930534903</c:v>
                </c:pt>
                <c:pt idx="2330">
                  <c:v>1790245.1459404342</c:v>
                </c:pt>
                <c:pt idx="2331">
                  <c:v>1760674.6824149212</c:v>
                </c:pt>
                <c:pt idx="2332">
                  <c:v>1738364.0650890085</c:v>
                </c:pt>
                <c:pt idx="2333">
                  <c:v>1789135.1914007731</c:v>
                </c:pt>
                <c:pt idx="2334">
                  <c:v>1760265.7517950463</c:v>
                </c:pt>
                <c:pt idx="2335">
                  <c:v>1804355.9077197604</c:v>
                </c:pt>
                <c:pt idx="2336">
                  <c:v>1808333.687385818</c:v>
                </c:pt>
                <c:pt idx="2337">
                  <c:v>1800537.4516718357</c:v>
                </c:pt>
                <c:pt idx="2338">
                  <c:v>1791280.7494582997</c:v>
                </c:pt>
                <c:pt idx="2339">
                  <c:v>1748300.5480732464</c:v>
                </c:pt>
                <c:pt idx="2340">
                  <c:v>1740201.597484811</c:v>
                </c:pt>
                <c:pt idx="2341">
                  <c:v>1715182.4786506351</c:v>
                </c:pt>
                <c:pt idx="2342">
                  <c:v>1735166.9711518034</c:v>
                </c:pt>
                <c:pt idx="2343">
                  <c:v>1766713.0475421678</c:v>
                </c:pt>
                <c:pt idx="2344">
                  <c:v>1756781.8753452012</c:v>
                </c:pt>
                <c:pt idx="2345">
                  <c:v>1763197.306368696</c:v>
                </c:pt>
                <c:pt idx="2346">
                  <c:v>1766012.0236223817</c:v>
                </c:pt>
                <c:pt idx="2347">
                  <c:v>1809156.8594128394</c:v>
                </c:pt>
                <c:pt idx="2348">
                  <c:v>1805757.9555593322</c:v>
                </c:pt>
                <c:pt idx="2349">
                  <c:v>1798535.2848706292</c:v>
                </c:pt>
                <c:pt idx="2350">
                  <c:v>1779692.6116327485</c:v>
                </c:pt>
                <c:pt idx="2351">
                  <c:v>1770882.0155499852</c:v>
                </c:pt>
                <c:pt idx="2352">
                  <c:v>1764147.937290224</c:v>
                </c:pt>
                <c:pt idx="2353">
                  <c:v>1786495.730127034</c:v>
                </c:pt>
                <c:pt idx="2354">
                  <c:v>1751571.9930322471</c:v>
                </c:pt>
                <c:pt idx="2355">
                  <c:v>1732846.1571143304</c:v>
                </c:pt>
                <c:pt idx="2356">
                  <c:v>1740684.8791264815</c:v>
                </c:pt>
                <c:pt idx="2357">
                  <c:v>1715421.464077835</c:v>
                </c:pt>
                <c:pt idx="2358">
                  <c:v>1712309.3427369674</c:v>
                </c:pt>
                <c:pt idx="2359">
                  <c:v>1700524.7057823851</c:v>
                </c:pt>
                <c:pt idx="2360">
                  <c:v>1718873.4758040532</c:v>
                </c:pt>
                <c:pt idx="2361">
                  <c:v>1721805.0303777033</c:v>
                </c:pt>
                <c:pt idx="2362">
                  <c:v>1702064.8340910056</c:v>
                </c:pt>
                <c:pt idx="2363">
                  <c:v>1736324.7227769042</c:v>
                </c:pt>
                <c:pt idx="2364">
                  <c:v>1759187.6619790117</c:v>
                </c:pt>
                <c:pt idx="2365">
                  <c:v>1757939.6269703021</c:v>
                </c:pt>
                <c:pt idx="2366">
                  <c:v>1811238.6880231125</c:v>
                </c:pt>
                <c:pt idx="2367">
                  <c:v>1794939.8818880911</c:v>
                </c:pt>
                <c:pt idx="2368">
                  <c:v>1814823.4694311083</c:v>
                </c:pt>
                <c:pt idx="2369">
                  <c:v>1807574.2448060501</c:v>
                </c:pt>
                <c:pt idx="2370">
                  <c:v>1826305.3915112377</c:v>
                </c:pt>
                <c:pt idx="2371">
                  <c:v>1747726.9830479671</c:v>
                </c:pt>
                <c:pt idx="2372">
                  <c:v>1746553.2990610527</c:v>
                </c:pt>
                <c:pt idx="2373">
                  <c:v>1742787.9508858393</c:v>
                </c:pt>
                <c:pt idx="2374">
                  <c:v>1659148.3621532058</c:v>
                </c:pt>
                <c:pt idx="2375">
                  <c:v>1683907.2524110973</c:v>
                </c:pt>
                <c:pt idx="2376">
                  <c:v>1660391.086374644</c:v>
                </c:pt>
                <c:pt idx="2377">
                  <c:v>1646859.2004078685</c:v>
                </c:pt>
                <c:pt idx="2378">
                  <c:v>1656036.240812338</c:v>
                </c:pt>
                <c:pt idx="2379">
                  <c:v>1616810.7660279558</c:v>
                </c:pt>
                <c:pt idx="2380">
                  <c:v>1664905.2555550835</c:v>
                </c:pt>
                <c:pt idx="2381">
                  <c:v>1736770.8289076772</c:v>
                </c:pt>
                <c:pt idx="2382">
                  <c:v>1690651.9522454008</c:v>
                </c:pt>
                <c:pt idx="2383">
                  <c:v>1693185.1977737178</c:v>
                </c:pt>
                <c:pt idx="2384">
                  <c:v>1696430.088796363</c:v>
                </c:pt>
                <c:pt idx="2385">
                  <c:v>1685452.6915069891</c:v>
                </c:pt>
                <c:pt idx="2386">
                  <c:v>1634070.8246590474</c:v>
                </c:pt>
                <c:pt idx="2387">
                  <c:v>1651792.9217827253</c:v>
                </c:pt>
                <c:pt idx="2388">
                  <c:v>1674926.7111356587</c:v>
                </c:pt>
                <c:pt idx="2389">
                  <c:v>1687253.0483918937</c:v>
                </c:pt>
                <c:pt idx="2390">
                  <c:v>1747381.7818753452</c:v>
                </c:pt>
                <c:pt idx="2391">
                  <c:v>1732824.9139652464</c:v>
                </c:pt>
                <c:pt idx="2392">
                  <c:v>1722367.9738284403</c:v>
                </c:pt>
                <c:pt idx="2393">
                  <c:v>1711087.861664613</c:v>
                </c:pt>
                <c:pt idx="2394">
                  <c:v>1706233.802098823</c:v>
                </c:pt>
                <c:pt idx="2395">
                  <c:v>1682160.0033989039</c:v>
                </c:pt>
                <c:pt idx="2396">
                  <c:v>1702181.6714109699</c:v>
                </c:pt>
                <c:pt idx="2397">
                  <c:v>1719303.6495730127</c:v>
                </c:pt>
                <c:pt idx="2398">
                  <c:v>1702075.4556655479</c:v>
                </c:pt>
                <c:pt idx="2399">
                  <c:v>1721953.7324212941</c:v>
                </c:pt>
                <c:pt idx="2400">
                  <c:v>1730079.236946085</c:v>
                </c:pt>
                <c:pt idx="2401">
                  <c:v>1749691.9743382756</c:v>
                </c:pt>
                <c:pt idx="2402">
                  <c:v>1709229.0861197263</c:v>
                </c:pt>
                <c:pt idx="2403">
                  <c:v>1713520.202234779</c:v>
                </c:pt>
                <c:pt idx="2404">
                  <c:v>1707115.3927858265</c:v>
                </c:pt>
                <c:pt idx="2405">
                  <c:v>1669435.3570973361</c:v>
                </c:pt>
                <c:pt idx="2406">
                  <c:v>1668245.7407486085</c:v>
                </c:pt>
                <c:pt idx="2407">
                  <c:v>1666121.4258401664</c:v>
                </c:pt>
                <c:pt idx="2408">
                  <c:v>1688262.0979734035</c:v>
                </c:pt>
                <c:pt idx="2409">
                  <c:v>1666339.168118282</c:v>
                </c:pt>
                <c:pt idx="2410">
                  <c:v>1684948.1667162341</c:v>
                </c:pt>
                <c:pt idx="2411">
                  <c:v>1731821.1751710074</c:v>
                </c:pt>
                <c:pt idx="2412">
                  <c:v>1735411.2673662743</c:v>
                </c:pt>
                <c:pt idx="2413">
                  <c:v>1727068.0205633685</c:v>
                </c:pt>
                <c:pt idx="2414">
                  <c:v>1689717.2536856863</c:v>
                </c:pt>
                <c:pt idx="2415">
                  <c:v>1689658.8350257042</c:v>
                </c:pt>
                <c:pt idx="2416">
                  <c:v>1670115.1378680377</c:v>
                </c:pt>
                <c:pt idx="2417">
                  <c:v>1678113.1834983218</c:v>
                </c:pt>
                <c:pt idx="2418">
                  <c:v>1683843.5229638442</c:v>
                </c:pt>
                <c:pt idx="2419">
                  <c:v>1709908.8668904279</c:v>
                </c:pt>
                <c:pt idx="2420">
                  <c:v>1681347.4529464247</c:v>
                </c:pt>
                <c:pt idx="2421">
                  <c:v>1678846.0721417342</c:v>
                </c:pt>
                <c:pt idx="2422">
                  <c:v>1661442.6222543227</c:v>
                </c:pt>
                <c:pt idx="2423">
                  <c:v>1641633.3857331011</c:v>
                </c:pt>
                <c:pt idx="2424">
                  <c:v>1629041.5091133111</c:v>
                </c:pt>
                <c:pt idx="2425">
                  <c:v>1608849.8959085695</c:v>
                </c:pt>
                <c:pt idx="2426">
                  <c:v>1613523.3887071419</c:v>
                </c:pt>
                <c:pt idx="2427">
                  <c:v>1602413.2217359904</c:v>
                </c:pt>
                <c:pt idx="2428">
                  <c:v>1594314.271147555</c:v>
                </c:pt>
                <c:pt idx="2429">
                  <c:v>1588196.2442112421</c:v>
                </c:pt>
                <c:pt idx="2430">
                  <c:v>1598892.1697752473</c:v>
                </c:pt>
                <c:pt idx="2431">
                  <c:v>1577059.5233037346</c:v>
                </c:pt>
                <c:pt idx="2432">
                  <c:v>1574563.4532863153</c:v>
                </c:pt>
                <c:pt idx="2433">
                  <c:v>1612285.9752729742</c:v>
                </c:pt>
                <c:pt idx="2434">
                  <c:v>1622073.7562136212</c:v>
                </c:pt>
                <c:pt idx="2435">
                  <c:v>1618568.6366146917</c:v>
                </c:pt>
                <c:pt idx="2436">
                  <c:v>1634915.2398351531</c:v>
                </c:pt>
                <c:pt idx="2437">
                  <c:v>1631840.2940051833</c:v>
                </c:pt>
                <c:pt idx="2438">
                  <c:v>1643571.8230870543</c:v>
                </c:pt>
                <c:pt idx="2439">
                  <c:v>1629232.6974550709</c:v>
                </c:pt>
                <c:pt idx="2440">
                  <c:v>1661208.9476143944</c:v>
                </c:pt>
                <c:pt idx="2441">
                  <c:v>1661559.4595742873</c:v>
                </c:pt>
                <c:pt idx="2442">
                  <c:v>1652408.9731061733</c:v>
                </c:pt>
                <c:pt idx="2443">
                  <c:v>1682547.6908696946</c:v>
                </c:pt>
                <c:pt idx="2444">
                  <c:v>1691825.6362323149</c:v>
                </c:pt>
                <c:pt idx="2445">
                  <c:v>1669350.3845009985</c:v>
                </c:pt>
                <c:pt idx="2446">
                  <c:v>1668144.8357904577</c:v>
                </c:pt>
                <c:pt idx="2447">
                  <c:v>1677560.861622127</c:v>
                </c:pt>
                <c:pt idx="2448">
                  <c:v>1691204.2741215955</c:v>
                </c:pt>
                <c:pt idx="2449">
                  <c:v>1690837.8297998896</c:v>
                </c:pt>
                <c:pt idx="2450">
                  <c:v>1696249.5220291454</c:v>
                </c:pt>
                <c:pt idx="2451">
                  <c:v>1682712.3252750989</c:v>
                </c:pt>
                <c:pt idx="2452">
                  <c:v>1700317.5850788122</c:v>
                </c:pt>
                <c:pt idx="2453">
                  <c:v>1724625.05841866</c:v>
                </c:pt>
                <c:pt idx="2454">
                  <c:v>1755995.8788290776</c:v>
                </c:pt>
                <c:pt idx="2455">
                  <c:v>1768672.7280452056</c:v>
                </c:pt>
                <c:pt idx="2456">
                  <c:v>1804090.3683562053</c:v>
                </c:pt>
                <c:pt idx="2457">
                  <c:v>1806804.1806517397</c:v>
                </c:pt>
                <c:pt idx="2458">
                  <c:v>1773112.5462038491</c:v>
                </c:pt>
                <c:pt idx="2459">
                  <c:v>1829959.2131537579</c:v>
                </c:pt>
                <c:pt idx="2460">
                  <c:v>1826703.7005565704</c:v>
                </c:pt>
                <c:pt idx="2461">
                  <c:v>1833246.5904745718</c:v>
                </c:pt>
                <c:pt idx="2462">
                  <c:v>1828350.044610613</c:v>
                </c:pt>
                <c:pt idx="2463">
                  <c:v>1869460.8488762374</c:v>
                </c:pt>
                <c:pt idx="2464">
                  <c:v>1980647.4911840931</c:v>
                </c:pt>
                <c:pt idx="2465">
                  <c:v>1956860.4749968136</c:v>
                </c:pt>
                <c:pt idx="2466">
                  <c:v>1953514.6790160171</c:v>
                </c:pt>
                <c:pt idx="2467">
                  <c:v>1948724.3488974804</c:v>
                </c:pt>
                <c:pt idx="2468">
                  <c:v>1991391.2138335386</c:v>
                </c:pt>
                <c:pt idx="2469">
                  <c:v>2014965.7985299737</c:v>
                </c:pt>
                <c:pt idx="2470">
                  <c:v>2026601.7334409652</c:v>
                </c:pt>
                <c:pt idx="2471">
                  <c:v>2043638.7390066707</c:v>
                </c:pt>
                <c:pt idx="2472">
                  <c:v>2022799.209754854</c:v>
                </c:pt>
                <c:pt idx="2473">
                  <c:v>1942462.9307048474</c:v>
                </c:pt>
                <c:pt idx="2474">
                  <c:v>1980897.0981858349</c:v>
                </c:pt>
                <c:pt idx="2475">
                  <c:v>1994386.4978544419</c:v>
                </c:pt>
                <c:pt idx="2476">
                  <c:v>1977838.0847176786</c:v>
                </c:pt>
                <c:pt idx="2477">
                  <c:v>1964189.3614309386</c:v>
                </c:pt>
                <c:pt idx="2478">
                  <c:v>1988895.1438161193</c:v>
                </c:pt>
                <c:pt idx="2479">
                  <c:v>2045582.4871478949</c:v>
                </c:pt>
                <c:pt idx="2480">
                  <c:v>2036134.5965925991</c:v>
                </c:pt>
                <c:pt idx="2481">
                  <c:v>2036920.5931087225</c:v>
                </c:pt>
                <c:pt idx="2482">
                  <c:v>2037690.6572630324</c:v>
                </c:pt>
                <c:pt idx="2483">
                  <c:v>2036049.623996261</c:v>
                </c:pt>
                <c:pt idx="2484">
                  <c:v>1987737.3921910184</c:v>
                </c:pt>
                <c:pt idx="2485">
                  <c:v>1965224.9649488041</c:v>
                </c:pt>
                <c:pt idx="2486">
                  <c:v>1988034.7962782001</c:v>
                </c:pt>
                <c:pt idx="2487">
                  <c:v>1980073.9261588138</c:v>
                </c:pt>
                <c:pt idx="2488">
                  <c:v>2056517.3981391003</c:v>
                </c:pt>
                <c:pt idx="2489">
                  <c:v>2110469.6860262565</c:v>
                </c:pt>
                <c:pt idx="2490">
                  <c:v>2109067.6381866848</c:v>
                </c:pt>
                <c:pt idx="2491">
                  <c:v>2136083.613034796</c:v>
                </c:pt>
                <c:pt idx="2492">
                  <c:v>2157363.9376301141</c:v>
                </c:pt>
                <c:pt idx="2493">
                  <c:v>2154708.5439945618</c:v>
                </c:pt>
                <c:pt idx="2494">
                  <c:v>2164374.1768279728</c:v>
                </c:pt>
                <c:pt idx="2495">
                  <c:v>2169908.0171644646</c:v>
                </c:pt>
                <c:pt idx="2496">
                  <c:v>2123029.6979224202</c:v>
                </c:pt>
                <c:pt idx="2497">
                  <c:v>2118271.2325275098</c:v>
                </c:pt>
                <c:pt idx="2498">
                  <c:v>2111314.1012023622</c:v>
                </c:pt>
                <c:pt idx="2499">
                  <c:v>2169876.1524408376</c:v>
                </c:pt>
                <c:pt idx="2500">
                  <c:v>2170646.2165951482</c:v>
                </c:pt>
                <c:pt idx="2501">
                  <c:v>2162595.0630921531</c:v>
                </c:pt>
                <c:pt idx="2502">
                  <c:v>2188368.3137188256</c:v>
                </c:pt>
                <c:pt idx="2503">
                  <c:v>2137915.8346433272</c:v>
                </c:pt>
                <c:pt idx="2504">
                  <c:v>2134410.7150443983</c:v>
                </c:pt>
                <c:pt idx="2505">
                  <c:v>2140295.0673407828</c:v>
                </c:pt>
                <c:pt idx="2506">
                  <c:v>2093416.748098738</c:v>
                </c:pt>
                <c:pt idx="2507">
                  <c:v>2065508.5609890809</c:v>
                </c:pt>
                <c:pt idx="2508">
                  <c:v>2071382.2917109232</c:v>
                </c:pt>
                <c:pt idx="2509">
                  <c:v>2078222.5857161065</c:v>
                </c:pt>
                <c:pt idx="2510">
                  <c:v>1956823.2994859156</c:v>
                </c:pt>
                <c:pt idx="2511">
                  <c:v>1975968.6875982496</c:v>
                </c:pt>
                <c:pt idx="2512">
                  <c:v>1947709.9885286994</c:v>
                </c:pt>
                <c:pt idx="2513">
                  <c:v>1911724.0939796914</c:v>
                </c:pt>
                <c:pt idx="2514">
                  <c:v>1981162.6375493903</c:v>
                </c:pt>
                <c:pt idx="2515">
                  <c:v>1948384.4585121297</c:v>
                </c:pt>
                <c:pt idx="2516">
                  <c:v>1935861.622126864</c:v>
                </c:pt>
                <c:pt idx="2517">
                  <c:v>1979378.2130262991</c:v>
                </c:pt>
                <c:pt idx="2518">
                  <c:v>1988337.5111526533</c:v>
                </c:pt>
                <c:pt idx="2519">
                  <c:v>1937778.816331733</c:v>
                </c:pt>
                <c:pt idx="2520">
                  <c:v>1921331.3081531206</c:v>
                </c:pt>
                <c:pt idx="2521">
                  <c:v>1947348.8549942644</c:v>
                </c:pt>
                <c:pt idx="2522">
                  <c:v>1938108.0851425417</c:v>
                </c:pt>
                <c:pt idx="2523">
                  <c:v>1903364.9148149721</c:v>
                </c:pt>
                <c:pt idx="2524">
                  <c:v>1908649.1481497216</c:v>
                </c:pt>
                <c:pt idx="2525">
                  <c:v>1931639.5462463354</c:v>
                </c:pt>
                <c:pt idx="2526">
                  <c:v>1950259.1664188299</c:v>
                </c:pt>
                <c:pt idx="2527">
                  <c:v>1945824.6590474572</c:v>
                </c:pt>
                <c:pt idx="2528">
                  <c:v>1933753.2395802352</c:v>
                </c:pt>
                <c:pt idx="2529">
                  <c:v>1927704.2528784466</c:v>
                </c:pt>
                <c:pt idx="2530">
                  <c:v>1928883.2476526322</c:v>
                </c:pt>
                <c:pt idx="2531">
                  <c:v>1911070.8671453455</c:v>
                </c:pt>
                <c:pt idx="2532">
                  <c:v>1910348.6000764754</c:v>
                </c:pt>
                <c:pt idx="2533">
                  <c:v>1893125.7169562813</c:v>
                </c:pt>
                <c:pt idx="2534">
                  <c:v>1917587.2031269914</c:v>
                </c:pt>
                <c:pt idx="2535">
                  <c:v>1975230.488167566</c:v>
                </c:pt>
                <c:pt idx="2536">
                  <c:v>1960264.6896375916</c:v>
                </c:pt>
                <c:pt idx="2537">
                  <c:v>1957232.2301057908</c:v>
                </c:pt>
                <c:pt idx="2538">
                  <c:v>1941029.0181416494</c:v>
                </c:pt>
                <c:pt idx="2539">
                  <c:v>1940997.1534180229</c:v>
                </c:pt>
                <c:pt idx="2540">
                  <c:v>1947794.9611250372</c:v>
                </c:pt>
                <c:pt idx="2541">
                  <c:v>1973456.6852190169</c:v>
                </c:pt>
                <c:pt idx="2542">
                  <c:v>2033245.5283171176</c:v>
                </c:pt>
                <c:pt idx="2543">
                  <c:v>2036123.9750180568</c:v>
                </c:pt>
                <c:pt idx="2544">
                  <c:v>2040016.7820877768</c:v>
                </c:pt>
                <c:pt idx="2545">
                  <c:v>2018794.8761524407</c:v>
                </c:pt>
                <c:pt idx="2546">
                  <c:v>2015087.9466372093</c:v>
                </c:pt>
                <c:pt idx="2547">
                  <c:v>2036591.3242979138</c:v>
                </c:pt>
                <c:pt idx="2548">
                  <c:v>2031689.467646684</c:v>
                </c:pt>
                <c:pt idx="2549">
                  <c:v>2090224.9649488041</c:v>
                </c:pt>
                <c:pt idx="2550">
                  <c:v>2090947.2320176743</c:v>
                </c:pt>
                <c:pt idx="2551">
                  <c:v>2067770.9563665721</c:v>
                </c:pt>
                <c:pt idx="2552">
                  <c:v>2056921.017971704</c:v>
                </c:pt>
                <c:pt idx="2553">
                  <c:v>2067595.700386625</c:v>
                </c:pt>
                <c:pt idx="2554">
                  <c:v>2019580.8726685646</c:v>
                </c:pt>
                <c:pt idx="2555">
                  <c:v>2014450.6521646769</c:v>
                </c:pt>
                <c:pt idx="2556">
                  <c:v>2011057.0590984405</c:v>
                </c:pt>
                <c:pt idx="2557">
                  <c:v>2010249.8194332328</c:v>
                </c:pt>
                <c:pt idx="2558">
                  <c:v>2022735.4803076007</c:v>
                </c:pt>
                <c:pt idx="2559">
                  <c:v>2030945.9574287292</c:v>
                </c:pt>
                <c:pt idx="2560">
                  <c:v>2021731.7415133617</c:v>
                </c:pt>
                <c:pt idx="2561">
                  <c:v>2020563.3683137188</c:v>
                </c:pt>
                <c:pt idx="2562">
                  <c:v>2001317.0752432342</c:v>
                </c:pt>
                <c:pt idx="2563">
                  <c:v>2022326.5496877257</c:v>
                </c:pt>
                <c:pt idx="2564">
                  <c:v>2008369.8007392616</c:v>
                </c:pt>
                <c:pt idx="2565">
                  <c:v>2012740.5786633808</c:v>
                </c:pt>
                <c:pt idx="2566">
                  <c:v>2028630.4541785275</c:v>
                </c:pt>
                <c:pt idx="2567">
                  <c:v>2045221.3536134595</c:v>
                </c:pt>
                <c:pt idx="2568">
                  <c:v>2049204.4440667888</c:v>
                </c:pt>
                <c:pt idx="2569">
                  <c:v>2046920.8055402134</c:v>
                </c:pt>
                <c:pt idx="2570">
                  <c:v>2055444.6191103368</c:v>
                </c:pt>
                <c:pt idx="2571">
                  <c:v>2036878.1068105535</c:v>
                </c:pt>
                <c:pt idx="2572">
                  <c:v>2019942.0062029993</c:v>
                </c:pt>
                <c:pt idx="2573">
                  <c:v>1990185.6651229979</c:v>
                </c:pt>
                <c:pt idx="2574">
                  <c:v>1952080.7664528191</c:v>
                </c:pt>
                <c:pt idx="2575">
                  <c:v>1931177.5077537494</c:v>
                </c:pt>
                <c:pt idx="2576">
                  <c:v>1923264.4347198026</c:v>
                </c:pt>
                <c:pt idx="2577">
                  <c:v>1948681.8625993116</c:v>
                </c:pt>
                <c:pt idx="2578">
                  <c:v>1929690.4873178399</c:v>
                </c:pt>
                <c:pt idx="2579">
                  <c:v>1964513.319454476</c:v>
                </c:pt>
                <c:pt idx="2580">
                  <c:v>1946801.8439053404</c:v>
                </c:pt>
                <c:pt idx="2581">
                  <c:v>1955644.3047117305</c:v>
                </c:pt>
                <c:pt idx="2582">
                  <c:v>1961804.8179462121</c:v>
                </c:pt>
                <c:pt idx="2583">
                  <c:v>1970588.8600926201</c:v>
                </c:pt>
                <c:pt idx="2584">
                  <c:v>2013367.2515613714</c:v>
                </c:pt>
                <c:pt idx="2585">
                  <c:v>2011582.8270382802</c:v>
                </c:pt>
                <c:pt idx="2586">
                  <c:v>2008412.2870374306</c:v>
                </c:pt>
                <c:pt idx="2587">
                  <c:v>2014652.4620809793</c:v>
                </c:pt>
                <c:pt idx="2588">
                  <c:v>2029177.4652674515</c:v>
                </c:pt>
                <c:pt idx="2589">
                  <c:v>1999994.6892127288</c:v>
                </c:pt>
                <c:pt idx="2590">
                  <c:v>2027100.9474444489</c:v>
                </c:pt>
                <c:pt idx="2591">
                  <c:v>2019469.346135871</c:v>
                </c:pt>
                <c:pt idx="2592">
                  <c:v>2012889.2807069719</c:v>
                </c:pt>
                <c:pt idx="2593">
                  <c:v>2017881.4207418107</c:v>
                </c:pt>
                <c:pt idx="2594">
                  <c:v>2043760.8871139057</c:v>
                </c:pt>
                <c:pt idx="2595">
                  <c:v>2046570.2935803204</c:v>
                </c:pt>
                <c:pt idx="2596">
                  <c:v>2063771.9335514295</c:v>
                </c:pt>
                <c:pt idx="2597">
                  <c:v>2084653.9491014148</c:v>
                </c:pt>
                <c:pt idx="2598">
                  <c:v>2096969.6647831073</c:v>
                </c:pt>
                <c:pt idx="2599">
                  <c:v>2109949.2288736883</c:v>
                </c:pt>
                <c:pt idx="2600">
                  <c:v>2102684.0718868165</c:v>
                </c:pt>
                <c:pt idx="2601">
                  <c:v>2087192.5054170028</c:v>
                </c:pt>
                <c:pt idx="2602">
                  <c:v>2109646.5139992354</c:v>
                </c:pt>
                <c:pt idx="2603">
                  <c:v>2101860.8998597949</c:v>
                </c:pt>
                <c:pt idx="2604">
                  <c:v>2066544.1645069462</c:v>
                </c:pt>
                <c:pt idx="2605">
                  <c:v>2076560.3093002504</c:v>
                </c:pt>
                <c:pt idx="2606">
                  <c:v>2084154.7350979308</c:v>
                </c:pt>
                <c:pt idx="2607">
                  <c:v>2090139.9923524661</c:v>
                </c:pt>
                <c:pt idx="2608">
                  <c:v>2066246.7604197646</c:v>
                </c:pt>
                <c:pt idx="2609">
                  <c:v>2071780.6007562559</c:v>
                </c:pt>
                <c:pt idx="2610">
                  <c:v>2055795.1310702302</c:v>
                </c:pt>
                <c:pt idx="2611">
                  <c:v>2039947.7418532523</c:v>
                </c:pt>
                <c:pt idx="2612">
                  <c:v>2046060.4580022942</c:v>
                </c:pt>
                <c:pt idx="2613">
                  <c:v>2025815.7369248418</c:v>
                </c:pt>
                <c:pt idx="2614">
                  <c:v>2038110.2094574496</c:v>
                </c:pt>
                <c:pt idx="2615">
                  <c:v>2041063.0071801844</c:v>
                </c:pt>
                <c:pt idx="2616">
                  <c:v>2057738.8792114544</c:v>
                </c:pt>
                <c:pt idx="2617">
                  <c:v>2077436.589199983</c:v>
                </c:pt>
                <c:pt idx="2618">
                  <c:v>2099481.6671623401</c:v>
                </c:pt>
                <c:pt idx="2619">
                  <c:v>2090458.6395887325</c:v>
                </c:pt>
                <c:pt idx="2620">
                  <c:v>2083257.2120491141</c:v>
                </c:pt>
                <c:pt idx="2621">
                  <c:v>2084600.8412287035</c:v>
                </c:pt>
                <c:pt idx="2622">
                  <c:v>2054945.405106853</c:v>
                </c:pt>
                <c:pt idx="2623">
                  <c:v>2061031.5673195396</c:v>
                </c:pt>
                <c:pt idx="2624">
                  <c:v>2069018.9913752817</c:v>
                </c:pt>
                <c:pt idx="2625">
                  <c:v>2055848.2389429407</c:v>
                </c:pt>
                <c:pt idx="2626">
                  <c:v>2055630.4966648256</c:v>
                </c:pt>
                <c:pt idx="2627">
                  <c:v>2069502.2730169522</c:v>
                </c:pt>
                <c:pt idx="2628">
                  <c:v>2085328.4190848451</c:v>
                </c:pt>
                <c:pt idx="2629">
                  <c:v>2076639.9711093171</c:v>
                </c:pt>
                <c:pt idx="2630">
                  <c:v>2066549.4752942175</c:v>
                </c:pt>
                <c:pt idx="2631">
                  <c:v>2064170.2425967625</c:v>
                </c:pt>
                <c:pt idx="2632">
                  <c:v>2099030.2502442957</c:v>
                </c:pt>
                <c:pt idx="2633">
                  <c:v>2112694.9058928494</c:v>
                </c:pt>
                <c:pt idx="2634">
                  <c:v>2125807.2396652075</c:v>
                </c:pt>
                <c:pt idx="2635">
                  <c:v>2116284.9980881163</c:v>
                </c:pt>
                <c:pt idx="2636">
                  <c:v>2119997.2383906189</c:v>
                </c:pt>
                <c:pt idx="2637">
                  <c:v>2109981.0935973153</c:v>
                </c:pt>
                <c:pt idx="2638">
                  <c:v>2072789.6503377662</c:v>
                </c:pt>
                <c:pt idx="2639">
                  <c:v>2073166.7162340144</c:v>
                </c:pt>
                <c:pt idx="2640">
                  <c:v>2071196.4141564346</c:v>
                </c:pt>
                <c:pt idx="2641">
                  <c:v>2074319.1570718444</c:v>
                </c:pt>
                <c:pt idx="2642">
                  <c:v>2059040.0220928751</c:v>
                </c:pt>
                <c:pt idx="2643">
                  <c:v>2075418.490036963</c:v>
                </c:pt>
                <c:pt idx="2644">
                  <c:v>2096188.9790542552</c:v>
                </c:pt>
                <c:pt idx="2645">
                  <c:v>2075381.3145260653</c:v>
                </c:pt>
                <c:pt idx="2646">
                  <c:v>2065683.8169690275</c:v>
                </c:pt>
                <c:pt idx="2647">
                  <c:v>2044647.78858818</c:v>
                </c:pt>
                <c:pt idx="2648">
                  <c:v>2059634.8302672389</c:v>
                </c:pt>
                <c:pt idx="2649">
                  <c:v>2066772.5283596038</c:v>
                </c:pt>
                <c:pt idx="2650">
                  <c:v>2058259.3363640225</c:v>
                </c:pt>
                <c:pt idx="2651">
                  <c:v>2051185.3677189108</c:v>
                </c:pt>
                <c:pt idx="2652">
                  <c:v>2033325.1901261841</c:v>
                </c:pt>
                <c:pt idx="2653">
                  <c:v>2037249.8619195309</c:v>
                </c:pt>
                <c:pt idx="2654">
                  <c:v>2045231.9751880018</c:v>
                </c:pt>
                <c:pt idx="2655">
                  <c:v>2044557.5052045716</c:v>
                </c:pt>
                <c:pt idx="2656">
                  <c:v>2060245.5708034157</c:v>
                </c:pt>
                <c:pt idx="2657">
                  <c:v>2072476.313888771</c:v>
                </c:pt>
                <c:pt idx="2658">
                  <c:v>2068790.6275226241</c:v>
                </c:pt>
                <c:pt idx="2659">
                  <c:v>2071408.8456472787</c:v>
                </c:pt>
                <c:pt idx="2660">
                  <c:v>2072667.5022305306</c:v>
                </c:pt>
                <c:pt idx="2661">
                  <c:v>2066437.9487615246</c:v>
                </c:pt>
                <c:pt idx="2662">
                  <c:v>2107437.2264944552</c:v>
                </c:pt>
                <c:pt idx="2663">
                  <c:v>2117702.9782895017</c:v>
                </c:pt>
                <c:pt idx="2664">
                  <c:v>2146513.9992352468</c:v>
                </c:pt>
                <c:pt idx="2665">
                  <c:v>2141723.6691167098</c:v>
                </c:pt>
                <c:pt idx="2666">
                  <c:v>2138733.6958830776</c:v>
                </c:pt>
                <c:pt idx="2667">
                  <c:v>2133476.0164846838</c:v>
                </c:pt>
                <c:pt idx="2668">
                  <c:v>2106842.4183200919</c:v>
                </c:pt>
                <c:pt idx="2669">
                  <c:v>2120576.1142031695</c:v>
                </c:pt>
                <c:pt idx="2670">
                  <c:v>2119466.1596635082</c:v>
                </c:pt>
                <c:pt idx="2671">
                  <c:v>2138117.6445596293</c:v>
                </c:pt>
                <c:pt idx="2672">
                  <c:v>2136014.5728002721</c:v>
                </c:pt>
                <c:pt idx="2673">
                  <c:v>2167666.8649360579</c:v>
                </c:pt>
                <c:pt idx="2674">
                  <c:v>2175606.4919063603</c:v>
                </c:pt>
                <c:pt idx="2675">
                  <c:v>2205166.333857331</c:v>
                </c:pt>
                <c:pt idx="2676">
                  <c:v>2201300.0807239665</c:v>
                </c:pt>
                <c:pt idx="2677">
                  <c:v>2192983.3878574157</c:v>
                </c:pt>
                <c:pt idx="2678">
                  <c:v>2209409.6528869434</c:v>
                </c:pt>
                <c:pt idx="2679">
                  <c:v>2183965.6710710791</c:v>
                </c:pt>
                <c:pt idx="2680">
                  <c:v>2211608.3188171815</c:v>
                </c:pt>
                <c:pt idx="2681">
                  <c:v>2210976.3351319199</c:v>
                </c:pt>
                <c:pt idx="2682">
                  <c:v>2232649.6579852994</c:v>
                </c:pt>
                <c:pt idx="2683">
                  <c:v>2225161.4479330415</c:v>
                </c:pt>
                <c:pt idx="2684">
                  <c:v>2212861.6646131622</c:v>
                </c:pt>
                <c:pt idx="2685">
                  <c:v>2203466.8819305771</c:v>
                </c:pt>
                <c:pt idx="2686">
                  <c:v>2206552.4493350894</c:v>
                </c:pt>
                <c:pt idx="2687">
                  <c:v>2223005.2683009729</c:v>
                </c:pt>
                <c:pt idx="2688">
                  <c:v>2185022.5177380298</c:v>
                </c:pt>
                <c:pt idx="2689">
                  <c:v>2194380.1249097167</c:v>
                </c:pt>
                <c:pt idx="2690">
                  <c:v>2126386.1154777585</c:v>
                </c:pt>
                <c:pt idx="2691">
                  <c:v>1958809.5339253091</c:v>
                </c:pt>
                <c:pt idx="2692">
                  <c:v>2010472.8724986191</c:v>
                </c:pt>
                <c:pt idx="2693">
                  <c:v>2033250.8391043888</c:v>
                </c:pt>
                <c:pt idx="2694">
                  <c:v>2071090.1984110123</c:v>
                </c:pt>
                <c:pt idx="2695">
                  <c:v>2071137.9954964521</c:v>
                </c:pt>
                <c:pt idx="2696">
                  <c:v>2079709.606152016</c:v>
                </c:pt>
                <c:pt idx="2697">
                  <c:v>2099067.4257551939</c:v>
                </c:pt>
                <c:pt idx="2698">
                  <c:v>2116046.0126609164</c:v>
                </c:pt>
                <c:pt idx="2699">
                  <c:v>2103029.2730594384</c:v>
                </c:pt>
                <c:pt idx="2700">
                  <c:v>2117798.5724603813</c:v>
                </c:pt>
                <c:pt idx="2701">
                  <c:v>2165431.0234949226</c:v>
                </c:pt>
                <c:pt idx="2702">
                  <c:v>2154857.2460381528</c:v>
                </c:pt>
                <c:pt idx="2703">
                  <c:v>2151564.5579300676</c:v>
                </c:pt>
                <c:pt idx="2704">
                  <c:v>2201140.7571058334</c:v>
                </c:pt>
                <c:pt idx="2705">
                  <c:v>2203705.867357777</c:v>
                </c:pt>
                <c:pt idx="2706">
                  <c:v>2194863.4065513872</c:v>
                </c:pt>
                <c:pt idx="2707">
                  <c:v>2190089.0087946639</c:v>
                </c:pt>
                <c:pt idx="2708">
                  <c:v>2163094.2770956368</c:v>
                </c:pt>
                <c:pt idx="2709">
                  <c:v>2169392.8707991671</c:v>
                </c:pt>
                <c:pt idx="2710">
                  <c:v>2092476.7387517528</c:v>
                </c:pt>
                <c:pt idx="2711">
                  <c:v>2161315.1633598167</c:v>
                </c:pt>
                <c:pt idx="2712">
                  <c:v>2172834.2609508433</c:v>
                </c:pt>
                <c:pt idx="2713">
                  <c:v>2185415.5159960915</c:v>
                </c:pt>
                <c:pt idx="2714">
                  <c:v>2234104.8136975821</c:v>
                </c:pt>
                <c:pt idx="2715">
                  <c:v>2197874.6229341039</c:v>
                </c:pt>
                <c:pt idx="2716">
                  <c:v>2122790.7124952204</c:v>
                </c:pt>
                <c:pt idx="2717">
                  <c:v>2168251.0515358797</c:v>
                </c:pt>
                <c:pt idx="2718">
                  <c:v>2139413.4766537789</c:v>
                </c:pt>
                <c:pt idx="2719">
                  <c:v>2098244.2537281723</c:v>
                </c:pt>
                <c:pt idx="2720">
                  <c:v>2068716.2765008283</c:v>
                </c:pt>
                <c:pt idx="2721">
                  <c:v>1979776.5220716319</c:v>
                </c:pt>
                <c:pt idx="2722">
                  <c:v>1970132.1323873049</c:v>
                </c:pt>
                <c:pt idx="2723">
                  <c:v>1931140.3322428518</c:v>
                </c:pt>
                <c:pt idx="2724">
                  <c:v>1906089.3486850492</c:v>
                </c:pt>
                <c:pt idx="2725">
                  <c:v>1940147.4274546457</c:v>
                </c:pt>
                <c:pt idx="2726">
                  <c:v>1874872.5411054934</c:v>
                </c:pt>
                <c:pt idx="2727">
                  <c:v>1925218.8044355696</c:v>
                </c:pt>
                <c:pt idx="2728">
                  <c:v>1976951.1832434039</c:v>
                </c:pt>
                <c:pt idx="2729">
                  <c:v>1963955.68679101</c:v>
                </c:pt>
                <c:pt idx="2730">
                  <c:v>1970333.942303607</c:v>
                </c:pt>
                <c:pt idx="2731">
                  <c:v>1951241.6620639842</c:v>
                </c:pt>
                <c:pt idx="2732">
                  <c:v>1957641.1607256657</c:v>
                </c:pt>
                <c:pt idx="2733">
                  <c:v>1951756.8084292815</c:v>
                </c:pt>
                <c:pt idx="2734">
                  <c:v>1983329.4387560012</c:v>
                </c:pt>
                <c:pt idx="2735">
                  <c:v>1972012.1510812764</c:v>
                </c:pt>
                <c:pt idx="2736">
                  <c:v>2017047.627140247</c:v>
                </c:pt>
                <c:pt idx="2737">
                  <c:v>2007658.1552449334</c:v>
                </c:pt>
                <c:pt idx="2738">
                  <c:v>2014280.7069720016</c:v>
                </c:pt>
                <c:pt idx="2739">
                  <c:v>2001731.3166503801</c:v>
                </c:pt>
                <c:pt idx="2740">
                  <c:v>1993276.543314781</c:v>
                </c:pt>
                <c:pt idx="2741">
                  <c:v>2031747.8863066661</c:v>
                </c:pt>
                <c:pt idx="2742">
                  <c:v>2016697.1151803543</c:v>
                </c:pt>
                <c:pt idx="2743">
                  <c:v>2019363.130390449</c:v>
                </c:pt>
                <c:pt idx="2744">
                  <c:v>2039071.4619535198</c:v>
                </c:pt>
                <c:pt idx="2745">
                  <c:v>2046490.6317712539</c:v>
                </c:pt>
                <c:pt idx="2746">
                  <c:v>2022374.3467731657</c:v>
                </c:pt>
                <c:pt idx="2747">
                  <c:v>2039013.0432935378</c:v>
                </c:pt>
                <c:pt idx="2748">
                  <c:v>2033898.7551514637</c:v>
                </c:pt>
                <c:pt idx="2749">
                  <c:v>2016489.994476781</c:v>
                </c:pt>
                <c:pt idx="2750">
                  <c:v>2030191.825636232</c:v>
                </c:pt>
                <c:pt idx="2751">
                  <c:v>2044201.6824574077</c:v>
                </c:pt>
                <c:pt idx="2752">
                  <c:v>2053697.3700981434</c:v>
                </c:pt>
                <c:pt idx="2753">
                  <c:v>2077888.0061180268</c:v>
                </c:pt>
                <c:pt idx="2754">
                  <c:v>2090458.6395887325</c:v>
                </c:pt>
                <c:pt idx="2755">
                  <c:v>2084425.5852487569</c:v>
                </c:pt>
                <c:pt idx="2756">
                  <c:v>2104994.264349747</c:v>
                </c:pt>
                <c:pt idx="2757">
                  <c:v>2103167.353528487</c:v>
                </c:pt>
                <c:pt idx="2758">
                  <c:v>2103199.2182521136</c:v>
                </c:pt>
                <c:pt idx="2759">
                  <c:v>2107453.1588562685</c:v>
                </c:pt>
                <c:pt idx="2760">
                  <c:v>2084600.8412287035</c:v>
                </c:pt>
                <c:pt idx="2761">
                  <c:v>2078015.4650125336</c:v>
                </c:pt>
                <c:pt idx="2762">
                  <c:v>2083374.0493690781</c:v>
                </c:pt>
                <c:pt idx="2763">
                  <c:v>2101080.2141309427</c:v>
                </c:pt>
                <c:pt idx="2764">
                  <c:v>2089911.6284998085</c:v>
                </c:pt>
                <c:pt idx="2765">
                  <c:v>2078530.6113778308</c:v>
                </c:pt>
                <c:pt idx="2766">
                  <c:v>2030876.9171942046</c:v>
                </c:pt>
                <c:pt idx="2767">
                  <c:v>2033670.3912988061</c:v>
                </c:pt>
                <c:pt idx="2768">
                  <c:v>2056745.7619917574</c:v>
                </c:pt>
                <c:pt idx="2769">
                  <c:v>2042321.6637634365</c:v>
                </c:pt>
                <c:pt idx="2770">
                  <c:v>2048174.1513361942</c:v>
                </c:pt>
                <c:pt idx="2771">
                  <c:v>2053692.0593108721</c:v>
                </c:pt>
                <c:pt idx="2772">
                  <c:v>2109094.1921230406</c:v>
                </c:pt>
                <c:pt idx="2773">
                  <c:v>2115589.2849556017</c:v>
                </c:pt>
                <c:pt idx="2774">
                  <c:v>2115631.7712537707</c:v>
                </c:pt>
                <c:pt idx="2775">
                  <c:v>2114856.3963121893</c:v>
                </c:pt>
                <c:pt idx="2776">
                  <c:v>2124978.756850916</c:v>
                </c:pt>
                <c:pt idx="2777">
                  <c:v>2135972.0865021031</c:v>
                </c:pt>
                <c:pt idx="2778">
                  <c:v>2149291.5409780345</c:v>
                </c:pt>
                <c:pt idx="2779">
                  <c:v>2145404.0446955855</c:v>
                </c:pt>
                <c:pt idx="2780">
                  <c:v>2122126.8640863318</c:v>
                </c:pt>
                <c:pt idx="2781">
                  <c:v>2125950.6309215277</c:v>
                </c:pt>
                <c:pt idx="2782">
                  <c:v>2100411.0549347834</c:v>
                </c:pt>
                <c:pt idx="2783">
                  <c:v>2132052.7254960276</c:v>
                </c:pt>
                <c:pt idx="2784">
                  <c:v>2133656.5832519014</c:v>
                </c:pt>
                <c:pt idx="2785">
                  <c:v>2147884.182351192</c:v>
                </c:pt>
                <c:pt idx="2786">
                  <c:v>2176737.6895951056</c:v>
                </c:pt>
                <c:pt idx="2787">
                  <c:v>2178511.4925436545</c:v>
                </c:pt>
                <c:pt idx="2788">
                  <c:v>2188994.9866168159</c:v>
                </c:pt>
                <c:pt idx="2789">
                  <c:v>2198129.5407231166</c:v>
                </c:pt>
                <c:pt idx="2790">
                  <c:v>2182584.8663805923</c:v>
                </c:pt>
                <c:pt idx="2791">
                  <c:v>2211390.5765390662</c:v>
                </c:pt>
                <c:pt idx="2792">
                  <c:v>2255905.5954454686</c:v>
                </c:pt>
                <c:pt idx="2793">
                  <c:v>2302672.3881548201</c:v>
                </c:pt>
                <c:pt idx="2794">
                  <c:v>2347155.5423375964</c:v>
                </c:pt>
                <c:pt idx="2795">
                  <c:v>2480185.4526915071</c:v>
                </c:pt>
                <c:pt idx="2796">
                  <c:v>2495076.9001996857</c:v>
                </c:pt>
                <c:pt idx="2797">
                  <c:v>2535369.8432255597</c:v>
                </c:pt>
                <c:pt idx="2798">
                  <c:v>2570829.9698347282</c:v>
                </c:pt>
                <c:pt idx="2799">
                  <c:v>2524286.2301907632</c:v>
                </c:pt>
                <c:pt idx="2800">
                  <c:v>2577303.8195182052</c:v>
                </c:pt>
                <c:pt idx="2801">
                  <c:v>2552730.8068148019</c:v>
                </c:pt>
                <c:pt idx="2802">
                  <c:v>2519687.0884139864</c:v>
                </c:pt>
                <c:pt idx="2803">
                  <c:v>2398484.3013128266</c:v>
                </c:pt>
                <c:pt idx="2804">
                  <c:v>2413593.4910991206</c:v>
                </c:pt>
                <c:pt idx="2805">
                  <c:v>2485607.7664953056</c:v>
                </c:pt>
                <c:pt idx="2806">
                  <c:v>2491311.552024472</c:v>
                </c:pt>
                <c:pt idx="2807">
                  <c:v>2503744.1050261287</c:v>
                </c:pt>
                <c:pt idx="2808">
                  <c:v>2502676.6367846369</c:v>
                </c:pt>
                <c:pt idx="2809">
                  <c:v>2392823.0020818287</c:v>
                </c:pt>
                <c:pt idx="2810">
                  <c:v>2404963.4617835744</c:v>
                </c:pt>
                <c:pt idx="2811">
                  <c:v>2426105.705909844</c:v>
                </c:pt>
                <c:pt idx="2812">
                  <c:v>2484922.674937333</c:v>
                </c:pt>
                <c:pt idx="2813">
                  <c:v>2472782.2152355863</c:v>
                </c:pt>
                <c:pt idx="2814">
                  <c:v>2493441.1777201854</c:v>
                </c:pt>
                <c:pt idx="2815">
                  <c:v>2533941.2414496327</c:v>
                </c:pt>
                <c:pt idx="2816">
                  <c:v>2536325.7849343587</c:v>
                </c:pt>
                <c:pt idx="2817">
                  <c:v>2537021.4980668733</c:v>
                </c:pt>
                <c:pt idx="2818">
                  <c:v>2529400.5183328381</c:v>
                </c:pt>
                <c:pt idx="2819">
                  <c:v>2500281.4717253689</c:v>
                </c:pt>
                <c:pt idx="2820">
                  <c:v>2509277.9453626205</c:v>
                </c:pt>
                <c:pt idx="2821">
                  <c:v>2486393.763011429</c:v>
                </c:pt>
                <c:pt idx="2822">
                  <c:v>2468262.7352678762</c:v>
                </c:pt>
                <c:pt idx="2823">
                  <c:v>2461926.9660534477</c:v>
                </c:pt>
                <c:pt idx="2824">
                  <c:v>2498528.911925904</c:v>
                </c:pt>
                <c:pt idx="2825">
                  <c:v>2557266.2191443257</c:v>
                </c:pt>
                <c:pt idx="2826">
                  <c:v>2555954.4546883632</c:v>
                </c:pt>
                <c:pt idx="2827">
                  <c:v>2517674.3000382376</c:v>
                </c:pt>
                <c:pt idx="2828">
                  <c:v>2484997.025959128</c:v>
                </c:pt>
                <c:pt idx="2829">
                  <c:v>2506075.5406381441</c:v>
                </c:pt>
                <c:pt idx="2830">
                  <c:v>2525730.7643285044</c:v>
                </c:pt>
                <c:pt idx="2831">
                  <c:v>2528970.3445638781</c:v>
                </c:pt>
                <c:pt idx="2832">
                  <c:v>2499325.5300165694</c:v>
                </c:pt>
                <c:pt idx="2833">
                  <c:v>2512719.3355142968</c:v>
                </c:pt>
                <c:pt idx="2834">
                  <c:v>2572688.7453796151</c:v>
                </c:pt>
                <c:pt idx="2835">
                  <c:v>2557791.9870841652</c:v>
                </c:pt>
                <c:pt idx="2836">
                  <c:v>2571546.9261163273</c:v>
                </c:pt>
                <c:pt idx="2837">
                  <c:v>2572486.935463313</c:v>
                </c:pt>
                <c:pt idx="2838">
                  <c:v>2558259.3363640229</c:v>
                </c:pt>
                <c:pt idx="2839">
                  <c:v>2533362.3656370821</c:v>
                </c:pt>
                <c:pt idx="2840">
                  <c:v>2479803.0760079874</c:v>
                </c:pt>
                <c:pt idx="2841">
                  <c:v>2493090.6657602922</c:v>
                </c:pt>
                <c:pt idx="2842">
                  <c:v>2434778.2215235587</c:v>
                </c:pt>
                <c:pt idx="2843">
                  <c:v>2433392.1060458003</c:v>
                </c:pt>
                <c:pt idx="2844">
                  <c:v>2457449.9723839057</c:v>
                </c:pt>
                <c:pt idx="2845">
                  <c:v>2470073.7137273233</c:v>
                </c:pt>
                <c:pt idx="2846">
                  <c:v>2489951.9904830689</c:v>
                </c:pt>
                <c:pt idx="2847">
                  <c:v>2473424.8204953899</c:v>
                </c:pt>
                <c:pt idx="2848">
                  <c:v>2460333.7298721164</c:v>
                </c:pt>
                <c:pt idx="2849">
                  <c:v>2515767.7274079113</c:v>
                </c:pt>
                <c:pt idx="2850">
                  <c:v>2491518.6727280454</c:v>
                </c:pt>
                <c:pt idx="2851">
                  <c:v>2461953.5199898034</c:v>
                </c:pt>
                <c:pt idx="2852">
                  <c:v>2470753.4944980247</c:v>
                </c:pt>
                <c:pt idx="2853">
                  <c:v>2423349.4073161404</c:v>
                </c:pt>
                <c:pt idx="2854">
                  <c:v>2427040.4044695585</c:v>
                </c:pt>
                <c:pt idx="2855">
                  <c:v>2433354.9305349025</c:v>
                </c:pt>
                <c:pt idx="2856">
                  <c:v>2438607.2991460254</c:v>
                </c:pt>
                <c:pt idx="2857">
                  <c:v>2436270.5527467388</c:v>
                </c:pt>
                <c:pt idx="2858">
                  <c:v>2486053.8726260783</c:v>
                </c:pt>
                <c:pt idx="2859">
                  <c:v>2561477.6734503121</c:v>
                </c:pt>
                <c:pt idx="2860">
                  <c:v>2569996.1762331645</c:v>
                </c:pt>
                <c:pt idx="2861">
                  <c:v>2552948.5490929177</c:v>
                </c:pt>
                <c:pt idx="2862">
                  <c:v>2548508.7309342735</c:v>
                </c:pt>
                <c:pt idx="2863">
                  <c:v>2544759.315120874</c:v>
                </c:pt>
                <c:pt idx="2864">
                  <c:v>2525539.5759867444</c:v>
                </c:pt>
                <c:pt idx="2865">
                  <c:v>2545709.9460424013</c:v>
                </c:pt>
                <c:pt idx="2866">
                  <c:v>2545370.0556570506</c:v>
                </c:pt>
                <c:pt idx="2867">
                  <c:v>2537483.5365594593</c:v>
                </c:pt>
                <c:pt idx="2868">
                  <c:v>2505889.6630836553</c:v>
                </c:pt>
                <c:pt idx="2869">
                  <c:v>2491417.7677698941</c:v>
                </c:pt>
                <c:pt idx="2870">
                  <c:v>2495687.6407358623</c:v>
                </c:pt>
                <c:pt idx="2871">
                  <c:v>2515863.3215787909</c:v>
                </c:pt>
                <c:pt idx="2872">
                  <c:v>2534796.2782002804</c:v>
                </c:pt>
                <c:pt idx="2873">
                  <c:v>2493589.879763776</c:v>
                </c:pt>
                <c:pt idx="2874">
                  <c:v>2507132.3873050939</c:v>
                </c:pt>
                <c:pt idx="2875">
                  <c:v>2537260.4834940736</c:v>
                </c:pt>
                <c:pt idx="2876">
                  <c:v>2556432.4255427625</c:v>
                </c:pt>
                <c:pt idx="2877">
                  <c:v>2594378.0005948083</c:v>
                </c:pt>
                <c:pt idx="2878">
                  <c:v>2594701.9586183457</c:v>
                </c:pt>
                <c:pt idx="2879">
                  <c:v>2645489.0172919235</c:v>
                </c:pt>
                <c:pt idx="2880">
                  <c:v>2630900.2846581978</c:v>
                </c:pt>
                <c:pt idx="2881">
                  <c:v>2604888.0486043249</c:v>
                </c:pt>
                <c:pt idx="2882">
                  <c:v>2606778.6888728384</c:v>
                </c:pt>
                <c:pt idx="2883">
                  <c:v>2579369.7157666655</c:v>
                </c:pt>
                <c:pt idx="2884">
                  <c:v>2604500.3611335345</c:v>
                </c:pt>
                <c:pt idx="2885">
                  <c:v>2599518.8426732374</c:v>
                </c:pt>
                <c:pt idx="2886">
                  <c:v>2597861.8770446531</c:v>
                </c:pt>
                <c:pt idx="2887">
                  <c:v>2617150.6564133065</c:v>
                </c:pt>
                <c:pt idx="2888">
                  <c:v>2625276.1609380976</c:v>
                </c:pt>
                <c:pt idx="2889">
                  <c:v>2658064.9615499</c:v>
                </c:pt>
                <c:pt idx="2890">
                  <c:v>2641739.6014785231</c:v>
                </c:pt>
                <c:pt idx="2891">
                  <c:v>2607968.305221566</c:v>
                </c:pt>
                <c:pt idx="2892">
                  <c:v>2612689.5951055787</c:v>
                </c:pt>
                <c:pt idx="2893">
                  <c:v>2645180.9916301994</c:v>
                </c:pt>
                <c:pt idx="2894">
                  <c:v>2634283.2561498913</c:v>
                </c:pt>
                <c:pt idx="2895">
                  <c:v>2691029.0181416492</c:v>
                </c:pt>
                <c:pt idx="2896">
                  <c:v>2691050.2612907337</c:v>
                </c:pt>
                <c:pt idx="2897">
                  <c:v>2685696.9877214599</c:v>
                </c:pt>
                <c:pt idx="2898">
                  <c:v>2690402.3452436589</c:v>
                </c:pt>
                <c:pt idx="2899">
                  <c:v>2667204.8264434719</c:v>
                </c:pt>
                <c:pt idx="2900">
                  <c:v>2660640.6933763861</c:v>
                </c:pt>
                <c:pt idx="2901">
                  <c:v>2624962.8244891018</c:v>
                </c:pt>
                <c:pt idx="2902">
                  <c:v>2623805.0728640016</c:v>
                </c:pt>
                <c:pt idx="2903">
                  <c:v>2596778.4764413475</c:v>
                </c:pt>
                <c:pt idx="2904">
                  <c:v>2620788.5456940136</c:v>
                </c:pt>
                <c:pt idx="2905">
                  <c:v>2626237.4134341674</c:v>
                </c:pt>
                <c:pt idx="2906">
                  <c:v>2630894.9738709265</c:v>
                </c:pt>
                <c:pt idx="2907">
                  <c:v>2664676.8917024257</c:v>
                </c:pt>
                <c:pt idx="2908">
                  <c:v>2655377.7031907206</c:v>
                </c:pt>
                <c:pt idx="2909">
                  <c:v>2680269.3631303906</c:v>
                </c:pt>
                <c:pt idx="2910">
                  <c:v>2636683.731996431</c:v>
                </c:pt>
                <c:pt idx="2911">
                  <c:v>2659174.9160895608</c:v>
                </c:pt>
                <c:pt idx="2912">
                  <c:v>2655404.2571270769</c:v>
                </c:pt>
                <c:pt idx="2913">
                  <c:v>2677704.2528784471</c:v>
                </c:pt>
                <c:pt idx="2914">
                  <c:v>2689600.4163657217</c:v>
                </c:pt>
                <c:pt idx="2915">
                  <c:v>2678198.1560946591</c:v>
                </c:pt>
                <c:pt idx="2916">
                  <c:v>2715782.5976122697</c:v>
                </c:pt>
                <c:pt idx="2917">
                  <c:v>2767605.2598037133</c:v>
                </c:pt>
                <c:pt idx="2918">
                  <c:v>2797574.0323745594</c:v>
                </c:pt>
                <c:pt idx="2919">
                  <c:v>2851096.1464927564</c:v>
                </c:pt>
                <c:pt idx="2920">
                  <c:v>2877209.2875047796</c:v>
                </c:pt>
                <c:pt idx="2921">
                  <c:v>2928187.5345201171</c:v>
                </c:pt>
                <c:pt idx="2922">
                  <c:v>2918505.9693248929</c:v>
                </c:pt>
                <c:pt idx="2923">
                  <c:v>2889684.3268046053</c:v>
                </c:pt>
                <c:pt idx="2924">
                  <c:v>2972102.4344648854</c:v>
                </c:pt>
                <c:pt idx="2925">
                  <c:v>2962341.2074605939</c:v>
                </c:pt>
                <c:pt idx="2926">
                  <c:v>2905244.9335089433</c:v>
                </c:pt>
                <c:pt idx="2927">
                  <c:v>2898670.1788673154</c:v>
                </c:pt>
                <c:pt idx="2928">
                  <c:v>2930768.5771338744</c:v>
                </c:pt>
                <c:pt idx="2929">
                  <c:v>2887751.2002379233</c:v>
                </c:pt>
                <c:pt idx="2930">
                  <c:v>2908415.4735097932</c:v>
                </c:pt>
                <c:pt idx="2931">
                  <c:v>2955437.1840081573</c:v>
                </c:pt>
                <c:pt idx="2932">
                  <c:v>2957991.6726855584</c:v>
                </c:pt>
                <c:pt idx="2933">
                  <c:v>2987806.4324255427</c:v>
                </c:pt>
                <c:pt idx="2934">
                  <c:v>2927821.0901984111</c:v>
                </c:pt>
                <c:pt idx="2935">
                  <c:v>2935803.203466882</c:v>
                </c:pt>
                <c:pt idx="2936">
                  <c:v>2855684.6666949908</c:v>
                </c:pt>
                <c:pt idx="2937">
                  <c:v>2842312.104346348</c:v>
                </c:pt>
                <c:pt idx="2938">
                  <c:v>2877198.6659302372</c:v>
                </c:pt>
                <c:pt idx="2939">
                  <c:v>2921511.8749203379</c:v>
                </c:pt>
                <c:pt idx="2940">
                  <c:v>2913073.0339465518</c:v>
                </c:pt>
                <c:pt idx="2941">
                  <c:v>2907098.398266559</c:v>
                </c:pt>
                <c:pt idx="2942">
                  <c:v>2912122.4030250241</c:v>
                </c:pt>
                <c:pt idx="2943">
                  <c:v>2955219.4417300425</c:v>
                </c:pt>
                <c:pt idx="2944">
                  <c:v>3019846.4120321199</c:v>
                </c:pt>
                <c:pt idx="2945">
                  <c:v>3084356.5450142329</c:v>
                </c:pt>
                <c:pt idx="2946">
                  <c:v>3063463.9078897056</c:v>
                </c:pt>
                <c:pt idx="2947">
                  <c:v>3069018.9913752815</c:v>
                </c:pt>
                <c:pt idx="2948">
                  <c:v>2972622.8916174532</c:v>
                </c:pt>
                <c:pt idx="2949">
                  <c:v>2963244.0412966814</c:v>
                </c:pt>
                <c:pt idx="2950">
                  <c:v>2887777.7541742786</c:v>
                </c:pt>
                <c:pt idx="2951">
                  <c:v>2904766.962654544</c:v>
                </c:pt>
                <c:pt idx="2952">
                  <c:v>2834239.7076942688</c:v>
                </c:pt>
                <c:pt idx="2953">
                  <c:v>2877798.7848918722</c:v>
                </c:pt>
                <c:pt idx="2954">
                  <c:v>2841074.6909121806</c:v>
                </c:pt>
                <c:pt idx="2955">
                  <c:v>2895552.7467391766</c:v>
                </c:pt>
                <c:pt idx="2956">
                  <c:v>2804472.7450397247</c:v>
                </c:pt>
                <c:pt idx="2957">
                  <c:v>2794961.1250371756</c:v>
                </c:pt>
                <c:pt idx="2958">
                  <c:v>2697890.5552959172</c:v>
                </c:pt>
                <c:pt idx="2959">
                  <c:v>2639992.3524663295</c:v>
                </c:pt>
                <c:pt idx="2960">
                  <c:v>2657310.8297574031</c:v>
                </c:pt>
                <c:pt idx="2961">
                  <c:v>2723488.5499426434</c:v>
                </c:pt>
                <c:pt idx="2962">
                  <c:v>2733132.9396269703</c:v>
                </c:pt>
                <c:pt idx="2963">
                  <c:v>2674268.1735140416</c:v>
                </c:pt>
                <c:pt idx="2964">
                  <c:v>2697540.0433360236</c:v>
                </c:pt>
                <c:pt idx="2965">
                  <c:v>2708958.2359688999</c:v>
                </c:pt>
                <c:pt idx="2966">
                  <c:v>2730684.6666949908</c:v>
                </c:pt>
                <c:pt idx="2967">
                  <c:v>2659158.983727748</c:v>
                </c:pt>
                <c:pt idx="2968">
                  <c:v>2685744.7848068997</c:v>
                </c:pt>
                <c:pt idx="2969">
                  <c:v>2660306.1137783066</c:v>
                </c:pt>
                <c:pt idx="2970">
                  <c:v>2617522.4115222842</c:v>
                </c:pt>
                <c:pt idx="2971">
                  <c:v>2616279.6873008455</c:v>
                </c:pt>
                <c:pt idx="2972">
                  <c:v>2675569.316395462</c:v>
                </c:pt>
                <c:pt idx="2973">
                  <c:v>2680290.6062794747</c:v>
                </c:pt>
                <c:pt idx="2974">
                  <c:v>2705702.7233717125</c:v>
                </c:pt>
                <c:pt idx="2975">
                  <c:v>2681076.6027955986</c:v>
                </c:pt>
                <c:pt idx="2976">
                  <c:v>2714226.5369418361</c:v>
                </c:pt>
                <c:pt idx="2977">
                  <c:v>2741194.714704508</c:v>
                </c:pt>
                <c:pt idx="2978">
                  <c:v>2729925.2241152232</c:v>
                </c:pt>
                <c:pt idx="2979">
                  <c:v>2710487.7427029782</c:v>
                </c:pt>
                <c:pt idx="2980">
                  <c:v>2714985.9795216043</c:v>
                </c:pt>
                <c:pt idx="2981">
                  <c:v>2674161.9577686195</c:v>
                </c:pt>
                <c:pt idx="2982">
                  <c:v>2627644.7720610104</c:v>
                </c:pt>
                <c:pt idx="2983">
                  <c:v>2623337.7235841444</c:v>
                </c:pt>
                <c:pt idx="2984">
                  <c:v>2645106.6406084038</c:v>
                </c:pt>
                <c:pt idx="2985">
                  <c:v>2628292.6881080852</c:v>
                </c:pt>
                <c:pt idx="2986">
                  <c:v>2637432.5530016571</c:v>
                </c:pt>
                <c:pt idx="2987">
                  <c:v>2701608.1063856906</c:v>
                </c:pt>
                <c:pt idx="2988">
                  <c:v>2699669.6690317374</c:v>
                </c:pt>
                <c:pt idx="2989">
                  <c:v>2707832.3490674254</c:v>
                </c:pt>
                <c:pt idx="2990">
                  <c:v>2702787.1011598757</c:v>
                </c:pt>
                <c:pt idx="2991">
                  <c:v>2727328.2491396526</c:v>
                </c:pt>
                <c:pt idx="2992">
                  <c:v>2696414.1564345495</c:v>
                </c:pt>
                <c:pt idx="2993">
                  <c:v>2703466.8819305776</c:v>
                </c:pt>
                <c:pt idx="2994">
                  <c:v>2718719.4629731909</c:v>
                </c:pt>
                <c:pt idx="2995">
                  <c:v>2742580.8301822664</c:v>
                </c:pt>
                <c:pt idx="2996">
                  <c:v>2720976.5475634104</c:v>
                </c:pt>
                <c:pt idx="2997">
                  <c:v>2687853.1673535286</c:v>
                </c:pt>
                <c:pt idx="2998">
                  <c:v>2653295.874580448</c:v>
                </c:pt>
                <c:pt idx="2999">
                  <c:v>2651368.0588010368</c:v>
                </c:pt>
                <c:pt idx="3000">
                  <c:v>2667640.3109997027</c:v>
                </c:pt>
                <c:pt idx="3001">
                  <c:v>2679053.1928453073</c:v>
                </c:pt>
                <c:pt idx="3002">
                  <c:v>2651660.1521009477</c:v>
                </c:pt>
                <c:pt idx="3003">
                  <c:v>2714125.6319836853</c:v>
                </c:pt>
                <c:pt idx="3004">
                  <c:v>2753637.8892807066</c:v>
                </c:pt>
                <c:pt idx="3005">
                  <c:v>2755024.0047584651</c:v>
                </c:pt>
                <c:pt idx="3006">
                  <c:v>2746882.5678718612</c:v>
                </c:pt>
                <c:pt idx="3007">
                  <c:v>2754392.021073204</c:v>
                </c:pt>
                <c:pt idx="3008">
                  <c:v>2726637.8467944087</c:v>
                </c:pt>
                <c:pt idx="3009">
                  <c:v>2738024.1747036581</c:v>
                </c:pt>
                <c:pt idx="3010">
                  <c:v>2824531.5885626883</c:v>
                </c:pt>
                <c:pt idx="3011">
                  <c:v>2825652.1646768916</c:v>
                </c:pt>
                <c:pt idx="3012">
                  <c:v>2835020.393423121</c:v>
                </c:pt>
                <c:pt idx="3013">
                  <c:v>2825917.7040404468</c:v>
                </c:pt>
                <c:pt idx="3014">
                  <c:v>2831483.4091005651</c:v>
                </c:pt>
                <c:pt idx="3015">
                  <c:v>2836852.6150316522</c:v>
                </c:pt>
                <c:pt idx="3016">
                  <c:v>2809390.5340527683</c:v>
                </c:pt>
                <c:pt idx="3017">
                  <c:v>2790972.7237965758</c:v>
                </c:pt>
                <c:pt idx="3018">
                  <c:v>2805306.5386412879</c:v>
                </c:pt>
                <c:pt idx="3019">
                  <c:v>2802837.0225602239</c:v>
                </c:pt>
                <c:pt idx="3020">
                  <c:v>2778667.6296894252</c:v>
                </c:pt>
                <c:pt idx="3021">
                  <c:v>2780967.2005778137</c:v>
                </c:pt>
                <c:pt idx="3022">
                  <c:v>2799565.5776012237</c:v>
                </c:pt>
                <c:pt idx="3023">
                  <c:v>2774727.0255342647</c:v>
                </c:pt>
                <c:pt idx="3024">
                  <c:v>2743850.1083400608</c:v>
                </c:pt>
                <c:pt idx="3025">
                  <c:v>2698140.1622976586</c:v>
                </c:pt>
                <c:pt idx="3026">
                  <c:v>2709505.2470578239</c:v>
                </c:pt>
                <c:pt idx="3027">
                  <c:v>2709813.2727195481</c:v>
                </c:pt>
                <c:pt idx="3028">
                  <c:v>2703397.8416960533</c:v>
                </c:pt>
                <c:pt idx="3029">
                  <c:v>2720270.2128563537</c:v>
                </c:pt>
                <c:pt idx="3030">
                  <c:v>2733669.3291413519</c:v>
                </c:pt>
                <c:pt idx="3031">
                  <c:v>2738225.9846199602</c:v>
                </c:pt>
                <c:pt idx="3032">
                  <c:v>2782836.5976972431</c:v>
                </c:pt>
                <c:pt idx="3033">
                  <c:v>2789098.0158898756</c:v>
                </c:pt>
                <c:pt idx="3034">
                  <c:v>2756585.3762161699</c:v>
                </c:pt>
                <c:pt idx="3035">
                  <c:v>2774376.513574372</c:v>
                </c:pt>
                <c:pt idx="3036">
                  <c:v>2777361.1760207331</c:v>
                </c:pt>
                <c:pt idx="3037">
                  <c:v>2698474.7418957385</c:v>
                </c:pt>
                <c:pt idx="3038">
                  <c:v>2700954.8795513446</c:v>
                </c:pt>
                <c:pt idx="3039">
                  <c:v>2699526.2777754175</c:v>
                </c:pt>
                <c:pt idx="3040">
                  <c:v>2730004.885924289</c:v>
                </c:pt>
                <c:pt idx="3041">
                  <c:v>2702266.6440073079</c:v>
                </c:pt>
                <c:pt idx="3042">
                  <c:v>2692271.7423630878</c:v>
                </c:pt>
                <c:pt idx="3043">
                  <c:v>2725873.0934273698</c:v>
                </c:pt>
                <c:pt idx="3044">
                  <c:v>2730859.9226749376</c:v>
                </c:pt>
                <c:pt idx="3045">
                  <c:v>2699515.6562008755</c:v>
                </c:pt>
                <c:pt idx="3046">
                  <c:v>2735830.8195606917</c:v>
                </c:pt>
                <c:pt idx="3047">
                  <c:v>2705723.966520797</c:v>
                </c:pt>
                <c:pt idx="3048">
                  <c:v>2715665.7602923056</c:v>
                </c:pt>
                <c:pt idx="3049">
                  <c:v>2713275.9060203084</c:v>
                </c:pt>
                <c:pt idx="3050">
                  <c:v>2731890.2154055317</c:v>
                </c:pt>
                <c:pt idx="3051">
                  <c:v>2735984.8323915536</c:v>
                </c:pt>
                <c:pt idx="3052">
                  <c:v>2702781.7903726045</c:v>
                </c:pt>
                <c:pt idx="3053">
                  <c:v>2615722.0546373795</c:v>
                </c:pt>
                <c:pt idx="3054">
                  <c:v>2523319.6669074227</c:v>
                </c:pt>
                <c:pt idx="3055">
                  <c:v>2528189.6588350255</c:v>
                </c:pt>
                <c:pt idx="3056">
                  <c:v>2575875.2177422782</c:v>
                </c:pt>
                <c:pt idx="3057">
                  <c:v>2555110.0395122576</c:v>
                </c:pt>
                <c:pt idx="3058">
                  <c:v>2620204.3590941918</c:v>
                </c:pt>
                <c:pt idx="3059">
                  <c:v>2620586.7357777115</c:v>
                </c:pt>
                <c:pt idx="3060">
                  <c:v>2644161.3204741473</c:v>
                </c:pt>
                <c:pt idx="3061">
                  <c:v>2628133.3644899521</c:v>
                </c:pt>
                <c:pt idx="3062">
                  <c:v>2613735.820197986</c:v>
                </c:pt>
                <c:pt idx="3063">
                  <c:v>2647724.8587330584</c:v>
                </c:pt>
                <c:pt idx="3064">
                  <c:v>2678309.6826273524</c:v>
                </c:pt>
                <c:pt idx="3065">
                  <c:v>2663540.3832264096</c:v>
                </c:pt>
                <c:pt idx="3066">
                  <c:v>2641240.3874750393</c:v>
                </c:pt>
                <c:pt idx="3067">
                  <c:v>2626704.7627140246</c:v>
                </c:pt>
                <c:pt idx="3068">
                  <c:v>2624097.166163912</c:v>
                </c:pt>
                <c:pt idx="3069">
                  <c:v>2569040.2345243655</c:v>
                </c:pt>
                <c:pt idx="3070">
                  <c:v>2599226.7493733265</c:v>
                </c:pt>
                <c:pt idx="3071">
                  <c:v>2582179.1222330802</c:v>
                </c:pt>
                <c:pt idx="3072">
                  <c:v>2532857.8408463271</c:v>
                </c:pt>
                <c:pt idx="3073">
                  <c:v>2568232.9948591576</c:v>
                </c:pt>
                <c:pt idx="3074">
                  <c:v>2596119.9388197307</c:v>
                </c:pt>
                <c:pt idx="3075">
                  <c:v>2601308.5779836001</c:v>
                </c:pt>
                <c:pt idx="3076">
                  <c:v>2550032.9268810805</c:v>
                </c:pt>
                <c:pt idx="3077">
                  <c:v>2563538.2589115012</c:v>
                </c:pt>
                <c:pt idx="3078">
                  <c:v>2556225.3048391896</c:v>
                </c:pt>
                <c:pt idx="3079">
                  <c:v>2552157.241789523</c:v>
                </c:pt>
                <c:pt idx="3080">
                  <c:v>2586066.6185155287</c:v>
                </c:pt>
                <c:pt idx="3081">
                  <c:v>2586040.0645791735</c:v>
                </c:pt>
                <c:pt idx="3082">
                  <c:v>2572046.1401198115</c:v>
                </c:pt>
                <c:pt idx="3083">
                  <c:v>2620199.0483069206</c:v>
                </c:pt>
                <c:pt idx="3084">
                  <c:v>2651585.8010791517</c:v>
                </c:pt>
                <c:pt idx="3085">
                  <c:v>2640592.4714279645</c:v>
                </c:pt>
                <c:pt idx="3086">
                  <c:v>2639466.5845264904</c:v>
                </c:pt>
                <c:pt idx="3087">
                  <c:v>2662573.8199430685</c:v>
                </c:pt>
                <c:pt idx="3088">
                  <c:v>2650964.4389684321</c:v>
                </c:pt>
                <c:pt idx="3089">
                  <c:v>2611399.0737986998</c:v>
                </c:pt>
                <c:pt idx="3090">
                  <c:v>2584930.1100395122</c:v>
                </c:pt>
                <c:pt idx="3091">
                  <c:v>2553267.1963291834</c:v>
                </c:pt>
                <c:pt idx="3092">
                  <c:v>2578886.4341249946</c:v>
                </c:pt>
                <c:pt idx="3093">
                  <c:v>2560739.4740196289</c:v>
                </c:pt>
                <c:pt idx="3094">
                  <c:v>2577431.2784127118</c:v>
                </c:pt>
                <c:pt idx="3095">
                  <c:v>2575429.1116115055</c:v>
                </c:pt>
                <c:pt idx="3096">
                  <c:v>2590267.4512469727</c:v>
                </c:pt>
                <c:pt idx="3097">
                  <c:v>2593698.2198241069</c:v>
                </c:pt>
                <c:pt idx="3098">
                  <c:v>2567197.3913412923</c:v>
                </c:pt>
                <c:pt idx="3099">
                  <c:v>2584430.8960360284</c:v>
                </c:pt>
                <c:pt idx="3100">
                  <c:v>2618186.2599311718</c:v>
                </c:pt>
                <c:pt idx="3101">
                  <c:v>2621505.5019756127</c:v>
                </c:pt>
                <c:pt idx="3102">
                  <c:v>2593703.5306113781</c:v>
                </c:pt>
                <c:pt idx="3103">
                  <c:v>2623587.3305858858</c:v>
                </c:pt>
                <c:pt idx="3104">
                  <c:v>2609513.7443174571</c:v>
                </c:pt>
                <c:pt idx="3105">
                  <c:v>2619338.7007690021</c:v>
                </c:pt>
                <c:pt idx="3106">
                  <c:v>2588891.9573437567</c:v>
                </c:pt>
                <c:pt idx="3107">
                  <c:v>2614351.8715214343</c:v>
                </c:pt>
                <c:pt idx="3108">
                  <c:v>2607692.1442834688</c:v>
                </c:pt>
                <c:pt idx="3109">
                  <c:v>2617166.5887751202</c:v>
                </c:pt>
                <c:pt idx="3110">
                  <c:v>2634007.0952117941</c:v>
                </c:pt>
                <c:pt idx="3111">
                  <c:v>2644517.1432213113</c:v>
                </c:pt>
                <c:pt idx="3112">
                  <c:v>2635796.8305221568</c:v>
                </c:pt>
                <c:pt idx="3113">
                  <c:v>2601308.5779836001</c:v>
                </c:pt>
                <c:pt idx="3114">
                  <c:v>2583241.2796873008</c:v>
                </c:pt>
                <c:pt idx="3115">
                  <c:v>2606943.3232782432</c:v>
                </c:pt>
                <c:pt idx="3116">
                  <c:v>2597341.4198920843</c:v>
                </c:pt>
                <c:pt idx="3117">
                  <c:v>2570341.3774057864</c:v>
                </c:pt>
                <c:pt idx="3118">
                  <c:v>2560388.9620597353</c:v>
                </c:pt>
                <c:pt idx="3119">
                  <c:v>2585684.2418320091</c:v>
                </c:pt>
                <c:pt idx="3120">
                  <c:v>2571669.0742235626</c:v>
                </c:pt>
                <c:pt idx="3121">
                  <c:v>2574765.2632026174</c:v>
                </c:pt>
                <c:pt idx="3122">
                  <c:v>2574000.509835578</c:v>
                </c:pt>
                <c:pt idx="3123">
                  <c:v>2560431.4483579043</c:v>
                </c:pt>
                <c:pt idx="3124">
                  <c:v>2601568.806559884</c:v>
                </c:pt>
                <c:pt idx="3125">
                  <c:v>2596109.3172451882</c:v>
                </c:pt>
                <c:pt idx="3126">
                  <c:v>2592928.1556697963</c:v>
                </c:pt>
                <c:pt idx="3127">
                  <c:v>2593427.36967328</c:v>
                </c:pt>
                <c:pt idx="3128">
                  <c:v>2594717.8909801589</c:v>
                </c:pt>
                <c:pt idx="3129">
                  <c:v>2569157.0718443301</c:v>
                </c:pt>
                <c:pt idx="3130">
                  <c:v>2597006.8402940053</c:v>
                </c:pt>
                <c:pt idx="3131">
                  <c:v>2608871.1390576535</c:v>
                </c:pt>
                <c:pt idx="3132">
                  <c:v>2609375.663848409</c:v>
                </c:pt>
                <c:pt idx="3133">
                  <c:v>2611133.5344351446</c:v>
                </c:pt>
                <c:pt idx="3134">
                  <c:v>2600395.1225729696</c:v>
                </c:pt>
                <c:pt idx="3135">
                  <c:v>2581111.6539915879</c:v>
                </c:pt>
                <c:pt idx="3136">
                  <c:v>2576485.9582784553</c:v>
                </c:pt>
                <c:pt idx="3137">
                  <c:v>2566188.3417597823</c:v>
                </c:pt>
                <c:pt idx="3138">
                  <c:v>2572465.692314229</c:v>
                </c:pt>
                <c:pt idx="3139">
                  <c:v>2579003.2714449586</c:v>
                </c:pt>
                <c:pt idx="3140">
                  <c:v>2602827.4631431368</c:v>
                </c:pt>
                <c:pt idx="3141">
                  <c:v>2598366.4018354081</c:v>
                </c:pt>
                <c:pt idx="3142">
                  <c:v>2614022.6027106261</c:v>
                </c:pt>
                <c:pt idx="3143">
                  <c:v>2653232.145133195</c:v>
                </c:pt>
                <c:pt idx="3144">
                  <c:v>2697184.2205888596</c:v>
                </c:pt>
                <c:pt idx="3145">
                  <c:v>2684666.6949908654</c:v>
                </c:pt>
                <c:pt idx="3146">
                  <c:v>2699898.0328843947</c:v>
                </c:pt>
                <c:pt idx="3147">
                  <c:v>2681788.2482899264</c:v>
                </c:pt>
                <c:pt idx="3148">
                  <c:v>2658527.000042486</c:v>
                </c:pt>
                <c:pt idx="3149">
                  <c:v>2673837.9997450821</c:v>
                </c:pt>
                <c:pt idx="3150">
                  <c:v>2631367.633938055</c:v>
                </c:pt>
                <c:pt idx="3151">
                  <c:v>2591887.2413646602</c:v>
                </c:pt>
                <c:pt idx="3152">
                  <c:v>2609450.014870204</c:v>
                </c:pt>
                <c:pt idx="3153">
                  <c:v>2609959.8504482303</c:v>
                </c:pt>
                <c:pt idx="3154">
                  <c:v>2628170.5400008499</c:v>
                </c:pt>
                <c:pt idx="3155">
                  <c:v>2613618.9828780219</c:v>
                </c:pt>
                <c:pt idx="3156">
                  <c:v>2612546.2038492584</c:v>
                </c:pt>
                <c:pt idx="3157">
                  <c:v>2632004.9284105878</c:v>
                </c:pt>
                <c:pt idx="3158">
                  <c:v>2593512.3422696176</c:v>
                </c:pt>
                <c:pt idx="3159">
                  <c:v>2613709.2662616307</c:v>
                </c:pt>
                <c:pt idx="3160">
                  <c:v>2623725.4110549348</c:v>
                </c:pt>
                <c:pt idx="3161">
                  <c:v>2611723.0318222372</c:v>
                </c:pt>
                <c:pt idx="3162">
                  <c:v>2585354.9730212009</c:v>
                </c:pt>
                <c:pt idx="3163">
                  <c:v>2558859.455325657</c:v>
                </c:pt>
                <c:pt idx="3164">
                  <c:v>2561058.1212558947</c:v>
                </c:pt>
                <c:pt idx="3165">
                  <c:v>2572571.908059651</c:v>
                </c:pt>
                <c:pt idx="3166">
                  <c:v>2547993.5845689769</c:v>
                </c:pt>
                <c:pt idx="3167">
                  <c:v>2573384.4585121297</c:v>
                </c:pt>
                <c:pt idx="3168">
                  <c:v>2531078.727110507</c:v>
                </c:pt>
                <c:pt idx="3169">
                  <c:v>2510265.7517950456</c:v>
                </c:pt>
                <c:pt idx="3170">
                  <c:v>2531800.9941793769</c:v>
                </c:pt>
                <c:pt idx="3171">
                  <c:v>2556267.7911373582</c:v>
                </c:pt>
                <c:pt idx="3172">
                  <c:v>2538758.1255045244</c:v>
                </c:pt>
                <c:pt idx="3173">
                  <c:v>2561663.5510048009</c:v>
                </c:pt>
                <c:pt idx="3174">
                  <c:v>2538189.8712665169</c:v>
                </c:pt>
                <c:pt idx="3175">
                  <c:v>2542135.7862089472</c:v>
                </c:pt>
                <c:pt idx="3176">
                  <c:v>2484625.2708501508</c:v>
                </c:pt>
                <c:pt idx="3177">
                  <c:v>2502607.5965501126</c:v>
                </c:pt>
                <c:pt idx="3178">
                  <c:v>2453519.9898032886</c:v>
                </c:pt>
                <c:pt idx="3179">
                  <c:v>2423721.162425118</c:v>
                </c:pt>
                <c:pt idx="3180">
                  <c:v>2461066.6185155287</c:v>
                </c:pt>
                <c:pt idx="3181">
                  <c:v>2447619.7051450908</c:v>
                </c:pt>
                <c:pt idx="3182">
                  <c:v>2470610.1032417049</c:v>
                </c:pt>
                <c:pt idx="3183">
                  <c:v>2464130.9427709565</c:v>
                </c:pt>
                <c:pt idx="3184">
                  <c:v>2443705.6549262861</c:v>
                </c:pt>
                <c:pt idx="3185">
                  <c:v>2417305.7314016228</c:v>
                </c:pt>
                <c:pt idx="3186">
                  <c:v>2443015.2525810427</c:v>
                </c:pt>
                <c:pt idx="3187">
                  <c:v>2452516.2510090494</c:v>
                </c:pt>
                <c:pt idx="3188">
                  <c:v>2458448.4003908741</c:v>
                </c:pt>
                <c:pt idx="3189">
                  <c:v>2470174.6186854737</c:v>
                </c:pt>
                <c:pt idx="3190">
                  <c:v>2461183.4558354928</c:v>
                </c:pt>
                <c:pt idx="3191">
                  <c:v>2429233.7596125249</c:v>
                </c:pt>
                <c:pt idx="3192">
                  <c:v>2455203.5093682287</c:v>
                </c:pt>
                <c:pt idx="3193">
                  <c:v>2405425.5002761604</c:v>
                </c:pt>
                <c:pt idx="3194">
                  <c:v>2428846.0721417344</c:v>
                </c:pt>
                <c:pt idx="3195">
                  <c:v>2433216.8500658534</c:v>
                </c:pt>
                <c:pt idx="3196">
                  <c:v>2453419.0848451373</c:v>
                </c:pt>
                <c:pt idx="3197">
                  <c:v>2431597.0599481668</c:v>
                </c:pt>
                <c:pt idx="3198">
                  <c:v>2417273.8666779962</c:v>
                </c:pt>
                <c:pt idx="3199">
                  <c:v>2387958.3209414962</c:v>
                </c:pt>
                <c:pt idx="3200">
                  <c:v>2311668.8617920722</c:v>
                </c:pt>
                <c:pt idx="3201">
                  <c:v>2265257.8918298851</c:v>
                </c:pt>
                <c:pt idx="3202">
                  <c:v>2244524.5783234905</c:v>
                </c:pt>
                <c:pt idx="3203">
                  <c:v>2279836.0028890683</c:v>
                </c:pt>
                <c:pt idx="3204">
                  <c:v>2287101.1598759405</c:v>
                </c:pt>
                <c:pt idx="3205">
                  <c:v>2217126.2267918601</c:v>
                </c:pt>
                <c:pt idx="3206">
                  <c:v>2115716.7438501082</c:v>
                </c:pt>
                <c:pt idx="3207">
                  <c:v>2207205.676169435</c:v>
                </c:pt>
                <c:pt idx="3208">
                  <c:v>2250552.3218761948</c:v>
                </c:pt>
                <c:pt idx="3209">
                  <c:v>2265528.741980711</c:v>
                </c:pt>
                <c:pt idx="3210">
                  <c:v>2261731.5290818708</c:v>
                </c:pt>
                <c:pt idx="3211">
                  <c:v>2259899.3074733401</c:v>
                </c:pt>
                <c:pt idx="3212">
                  <c:v>2271168.7980626253</c:v>
                </c:pt>
                <c:pt idx="3213">
                  <c:v>2257780.3033521692</c:v>
                </c:pt>
                <c:pt idx="3214">
                  <c:v>2217025.3218337088</c:v>
                </c:pt>
                <c:pt idx="3215">
                  <c:v>2203164.1670561247</c:v>
                </c:pt>
                <c:pt idx="3216">
                  <c:v>2195553.808896631</c:v>
                </c:pt>
                <c:pt idx="3217">
                  <c:v>2259262.0130008073</c:v>
                </c:pt>
                <c:pt idx="3218">
                  <c:v>2242533.0330968266</c:v>
                </c:pt>
                <c:pt idx="3219">
                  <c:v>2270977.6097208648</c:v>
                </c:pt>
                <c:pt idx="3220">
                  <c:v>2264434.7198028634</c:v>
                </c:pt>
                <c:pt idx="3221">
                  <c:v>2235363.4702808349</c:v>
                </c:pt>
                <c:pt idx="3222">
                  <c:v>2246871.9462973191</c:v>
                </c:pt>
              </c:numCache>
            </c:numRef>
          </c:val>
          <c:smooth val="0"/>
          <c:extLst>
            <c:ext xmlns:c16="http://schemas.microsoft.com/office/drawing/2014/chart" uri="{C3380CC4-5D6E-409C-BE32-E72D297353CC}">
              <c16:uniqueId val="{00000000-C197-4006-B924-AB1192166FA7}"/>
            </c:ext>
          </c:extLst>
        </c:ser>
        <c:ser>
          <c:idx val="1"/>
          <c:order val="1"/>
          <c:tx>
            <c:strRef>
              <c:f>Sheet1!$D$1</c:f>
              <c:strCache>
                <c:ptCount val="1"/>
                <c:pt idx="0">
                  <c:v>RSRS</c:v>
                </c:pt>
              </c:strCache>
            </c:strRef>
          </c:tx>
          <c:spPr>
            <a:ln w="28575" cap="rnd">
              <a:solidFill>
                <a:schemeClr val="accent2"/>
              </a:solidFill>
              <a:round/>
            </a:ln>
            <a:effectLst/>
          </c:spPr>
          <c:marker>
            <c:symbol val="none"/>
          </c:marker>
          <c:cat>
            <c:strRef>
              <c:f>Sheet1!$B$2:$B$3224</c:f>
              <c:strCache>
                <c:ptCount val="3223"/>
                <c:pt idx="0">
                  <c:v>2009/1/5</c:v>
                </c:pt>
                <c:pt idx="1">
                  <c:v>2009/1/6</c:v>
                </c:pt>
                <c:pt idx="2">
                  <c:v>2009/1/7</c:v>
                </c:pt>
                <c:pt idx="3">
                  <c:v>2009/1/8</c:v>
                </c:pt>
                <c:pt idx="4">
                  <c:v>2009/1/9</c:v>
                </c:pt>
                <c:pt idx="5">
                  <c:v>2009/1/12</c:v>
                </c:pt>
                <c:pt idx="6">
                  <c:v>2009/1/13</c:v>
                </c:pt>
                <c:pt idx="7">
                  <c:v>2009/1/14</c:v>
                </c:pt>
                <c:pt idx="8">
                  <c:v>2009/1/15</c:v>
                </c:pt>
                <c:pt idx="9">
                  <c:v>2009/1/16</c:v>
                </c:pt>
                <c:pt idx="10">
                  <c:v>2009/1/19</c:v>
                </c:pt>
                <c:pt idx="11">
                  <c:v>2009/1/20</c:v>
                </c:pt>
                <c:pt idx="12">
                  <c:v>2009/1/21</c:v>
                </c:pt>
                <c:pt idx="13">
                  <c:v>2009/1/22</c:v>
                </c:pt>
                <c:pt idx="14">
                  <c:v>2009/1/23</c:v>
                </c:pt>
                <c:pt idx="15">
                  <c:v>2009/2/2</c:v>
                </c:pt>
                <c:pt idx="16">
                  <c:v>2009/2/3</c:v>
                </c:pt>
                <c:pt idx="17">
                  <c:v>2009/2/4</c:v>
                </c:pt>
                <c:pt idx="18">
                  <c:v>2009/2/5</c:v>
                </c:pt>
                <c:pt idx="19">
                  <c:v>2009/2/6</c:v>
                </c:pt>
                <c:pt idx="20">
                  <c:v>2009/2/9</c:v>
                </c:pt>
                <c:pt idx="21">
                  <c:v>2009/2/10</c:v>
                </c:pt>
                <c:pt idx="22">
                  <c:v>2009/2/11</c:v>
                </c:pt>
                <c:pt idx="23">
                  <c:v>2009/2/12</c:v>
                </c:pt>
                <c:pt idx="24">
                  <c:v>2009/2/13</c:v>
                </c:pt>
                <c:pt idx="25">
                  <c:v>2009/2/16</c:v>
                </c:pt>
                <c:pt idx="26">
                  <c:v>2009/2/17</c:v>
                </c:pt>
                <c:pt idx="27">
                  <c:v>2009/2/18</c:v>
                </c:pt>
                <c:pt idx="28">
                  <c:v>2009/2/19</c:v>
                </c:pt>
                <c:pt idx="29">
                  <c:v>2009/2/20</c:v>
                </c:pt>
                <c:pt idx="30">
                  <c:v>2009/2/23</c:v>
                </c:pt>
                <c:pt idx="31">
                  <c:v>2009/2/24</c:v>
                </c:pt>
                <c:pt idx="32">
                  <c:v>2009/2/25</c:v>
                </c:pt>
                <c:pt idx="33">
                  <c:v>2009/2/26</c:v>
                </c:pt>
                <c:pt idx="34">
                  <c:v>2009/2/27</c:v>
                </c:pt>
                <c:pt idx="35">
                  <c:v>2009/3/2</c:v>
                </c:pt>
                <c:pt idx="36">
                  <c:v>2009/3/3</c:v>
                </c:pt>
                <c:pt idx="37">
                  <c:v>2009/3/4</c:v>
                </c:pt>
                <c:pt idx="38">
                  <c:v>2009/3/5</c:v>
                </c:pt>
                <c:pt idx="39">
                  <c:v>2009/3/6</c:v>
                </c:pt>
                <c:pt idx="40">
                  <c:v>2009/3/9</c:v>
                </c:pt>
                <c:pt idx="41">
                  <c:v>2009/3/10</c:v>
                </c:pt>
                <c:pt idx="42">
                  <c:v>2009/3/11</c:v>
                </c:pt>
                <c:pt idx="43">
                  <c:v>2009/3/12</c:v>
                </c:pt>
                <c:pt idx="44">
                  <c:v>2009/3/13</c:v>
                </c:pt>
                <c:pt idx="45">
                  <c:v>2009/3/16</c:v>
                </c:pt>
                <c:pt idx="46">
                  <c:v>2009/3/17</c:v>
                </c:pt>
                <c:pt idx="47">
                  <c:v>2009/3/18</c:v>
                </c:pt>
                <c:pt idx="48">
                  <c:v>2009/3/19</c:v>
                </c:pt>
                <c:pt idx="49">
                  <c:v>2009/3/20</c:v>
                </c:pt>
                <c:pt idx="50">
                  <c:v>2009/3/23</c:v>
                </c:pt>
                <c:pt idx="51">
                  <c:v>2009/3/24</c:v>
                </c:pt>
                <c:pt idx="52">
                  <c:v>2009/3/25</c:v>
                </c:pt>
                <c:pt idx="53">
                  <c:v>2009/3/26</c:v>
                </c:pt>
                <c:pt idx="54">
                  <c:v>2009/3/27</c:v>
                </c:pt>
                <c:pt idx="55">
                  <c:v>2009/3/30</c:v>
                </c:pt>
                <c:pt idx="56">
                  <c:v>2009/3/31</c:v>
                </c:pt>
                <c:pt idx="57">
                  <c:v>2009/4/1</c:v>
                </c:pt>
                <c:pt idx="58">
                  <c:v>2009/4/2</c:v>
                </c:pt>
                <c:pt idx="59">
                  <c:v>2009/4/3</c:v>
                </c:pt>
                <c:pt idx="60">
                  <c:v>2009/4/7</c:v>
                </c:pt>
                <c:pt idx="61">
                  <c:v>2009/4/8</c:v>
                </c:pt>
                <c:pt idx="62">
                  <c:v>2009/4/9</c:v>
                </c:pt>
                <c:pt idx="63">
                  <c:v>2009/4/10</c:v>
                </c:pt>
                <c:pt idx="64">
                  <c:v>2009/4/13</c:v>
                </c:pt>
                <c:pt idx="65">
                  <c:v>2009/4/14</c:v>
                </c:pt>
                <c:pt idx="66">
                  <c:v>2009/4/15</c:v>
                </c:pt>
                <c:pt idx="67">
                  <c:v>2009/4/16</c:v>
                </c:pt>
                <c:pt idx="68">
                  <c:v>2009/4/17</c:v>
                </c:pt>
                <c:pt idx="69">
                  <c:v>2009/4/20</c:v>
                </c:pt>
                <c:pt idx="70">
                  <c:v>2009/4/21</c:v>
                </c:pt>
                <c:pt idx="71">
                  <c:v>2009/4/22</c:v>
                </c:pt>
                <c:pt idx="72">
                  <c:v>2009/4/23</c:v>
                </c:pt>
                <c:pt idx="73">
                  <c:v>2009/4/24</c:v>
                </c:pt>
                <c:pt idx="74">
                  <c:v>2009/4/27</c:v>
                </c:pt>
                <c:pt idx="75">
                  <c:v>2009/4/28</c:v>
                </c:pt>
                <c:pt idx="76">
                  <c:v>2009/4/29</c:v>
                </c:pt>
                <c:pt idx="77">
                  <c:v>2009/4/30</c:v>
                </c:pt>
                <c:pt idx="78">
                  <c:v>2009/5/4</c:v>
                </c:pt>
                <c:pt idx="79">
                  <c:v>2009/5/5</c:v>
                </c:pt>
                <c:pt idx="80">
                  <c:v>2009/5/6</c:v>
                </c:pt>
                <c:pt idx="81">
                  <c:v>2009/5/7</c:v>
                </c:pt>
                <c:pt idx="82">
                  <c:v>2009/5/8</c:v>
                </c:pt>
                <c:pt idx="83">
                  <c:v>2009/5/11</c:v>
                </c:pt>
                <c:pt idx="84">
                  <c:v>2009/5/12</c:v>
                </c:pt>
                <c:pt idx="85">
                  <c:v>2009/5/13</c:v>
                </c:pt>
                <c:pt idx="86">
                  <c:v>2009/5/14</c:v>
                </c:pt>
                <c:pt idx="87">
                  <c:v>2009/5/15</c:v>
                </c:pt>
                <c:pt idx="88">
                  <c:v>2009/5/18</c:v>
                </c:pt>
                <c:pt idx="89">
                  <c:v>2009/5/19</c:v>
                </c:pt>
                <c:pt idx="90">
                  <c:v>2009/5/20</c:v>
                </c:pt>
                <c:pt idx="91">
                  <c:v>2009/5/21</c:v>
                </c:pt>
                <c:pt idx="92">
                  <c:v>2009/5/22</c:v>
                </c:pt>
                <c:pt idx="93">
                  <c:v>2009/5/25</c:v>
                </c:pt>
                <c:pt idx="94">
                  <c:v>2009/5/26</c:v>
                </c:pt>
                <c:pt idx="95">
                  <c:v>2009/5/27</c:v>
                </c:pt>
                <c:pt idx="96">
                  <c:v>2009/6/1</c:v>
                </c:pt>
                <c:pt idx="97">
                  <c:v>2009/6/2</c:v>
                </c:pt>
                <c:pt idx="98">
                  <c:v>2009/6/3</c:v>
                </c:pt>
                <c:pt idx="99">
                  <c:v>2009/6/4</c:v>
                </c:pt>
                <c:pt idx="100">
                  <c:v>2009/6/5</c:v>
                </c:pt>
                <c:pt idx="101">
                  <c:v>2009/6/8</c:v>
                </c:pt>
                <c:pt idx="102">
                  <c:v>2009/6/9</c:v>
                </c:pt>
                <c:pt idx="103">
                  <c:v>2009/6/10</c:v>
                </c:pt>
                <c:pt idx="104">
                  <c:v>2009/6/11</c:v>
                </c:pt>
                <c:pt idx="105">
                  <c:v>2009/6/12</c:v>
                </c:pt>
                <c:pt idx="106">
                  <c:v>2009/6/15</c:v>
                </c:pt>
                <c:pt idx="107">
                  <c:v>2009/6/16</c:v>
                </c:pt>
                <c:pt idx="108">
                  <c:v>2009/6/17</c:v>
                </c:pt>
                <c:pt idx="109">
                  <c:v>2009/6/18</c:v>
                </c:pt>
                <c:pt idx="110">
                  <c:v>2009/6/19</c:v>
                </c:pt>
                <c:pt idx="111">
                  <c:v>2009/6/22</c:v>
                </c:pt>
                <c:pt idx="112">
                  <c:v>2009/6/23</c:v>
                </c:pt>
                <c:pt idx="113">
                  <c:v>2009/6/24</c:v>
                </c:pt>
                <c:pt idx="114">
                  <c:v>2009/6/25</c:v>
                </c:pt>
                <c:pt idx="115">
                  <c:v>2009/6/26</c:v>
                </c:pt>
                <c:pt idx="116">
                  <c:v>2009/6/29</c:v>
                </c:pt>
                <c:pt idx="117">
                  <c:v>2009/6/30</c:v>
                </c:pt>
                <c:pt idx="118">
                  <c:v>2009/7/1</c:v>
                </c:pt>
                <c:pt idx="119">
                  <c:v>2009/7/2</c:v>
                </c:pt>
                <c:pt idx="120">
                  <c:v>2009/7/3</c:v>
                </c:pt>
                <c:pt idx="121">
                  <c:v>2009/7/6</c:v>
                </c:pt>
                <c:pt idx="122">
                  <c:v>2009/7/7</c:v>
                </c:pt>
                <c:pt idx="123">
                  <c:v>2009/7/8</c:v>
                </c:pt>
                <c:pt idx="124">
                  <c:v>2009/7/9</c:v>
                </c:pt>
                <c:pt idx="125">
                  <c:v>2009/7/10</c:v>
                </c:pt>
                <c:pt idx="126">
                  <c:v>2009/7/13</c:v>
                </c:pt>
                <c:pt idx="127">
                  <c:v>2009/7/14</c:v>
                </c:pt>
                <c:pt idx="128">
                  <c:v>2009/7/15</c:v>
                </c:pt>
                <c:pt idx="129">
                  <c:v>2009/7/16</c:v>
                </c:pt>
                <c:pt idx="130">
                  <c:v>2009/7/17</c:v>
                </c:pt>
                <c:pt idx="131">
                  <c:v>2009/7/20</c:v>
                </c:pt>
                <c:pt idx="132">
                  <c:v>2009/7/21</c:v>
                </c:pt>
                <c:pt idx="133">
                  <c:v>2009/7/22</c:v>
                </c:pt>
                <c:pt idx="134">
                  <c:v>2009/7/23</c:v>
                </c:pt>
                <c:pt idx="135">
                  <c:v>2009/7/24</c:v>
                </c:pt>
                <c:pt idx="136">
                  <c:v>2009/7/27</c:v>
                </c:pt>
                <c:pt idx="137">
                  <c:v>2009/7/28</c:v>
                </c:pt>
                <c:pt idx="138">
                  <c:v>2009/7/29</c:v>
                </c:pt>
                <c:pt idx="139">
                  <c:v>2009/7/30</c:v>
                </c:pt>
                <c:pt idx="140">
                  <c:v>2009/7/31</c:v>
                </c:pt>
                <c:pt idx="141">
                  <c:v>2009/8/3</c:v>
                </c:pt>
                <c:pt idx="142">
                  <c:v>2009/8/4</c:v>
                </c:pt>
                <c:pt idx="143">
                  <c:v>2009/8/5</c:v>
                </c:pt>
                <c:pt idx="144">
                  <c:v>2009/8/6</c:v>
                </c:pt>
                <c:pt idx="145">
                  <c:v>2009/8/7</c:v>
                </c:pt>
                <c:pt idx="146">
                  <c:v>2009/8/10</c:v>
                </c:pt>
                <c:pt idx="147">
                  <c:v>2009/8/11</c:v>
                </c:pt>
                <c:pt idx="148">
                  <c:v>2009/8/12</c:v>
                </c:pt>
                <c:pt idx="149">
                  <c:v>2009/8/13</c:v>
                </c:pt>
                <c:pt idx="150">
                  <c:v>2009/8/14</c:v>
                </c:pt>
                <c:pt idx="151">
                  <c:v>2009/8/17</c:v>
                </c:pt>
                <c:pt idx="152">
                  <c:v>2009/8/18</c:v>
                </c:pt>
                <c:pt idx="153">
                  <c:v>2009/8/19</c:v>
                </c:pt>
                <c:pt idx="154">
                  <c:v>2009/8/20</c:v>
                </c:pt>
                <c:pt idx="155">
                  <c:v>2009/8/21</c:v>
                </c:pt>
                <c:pt idx="156">
                  <c:v>2009/8/24</c:v>
                </c:pt>
                <c:pt idx="157">
                  <c:v>2009/8/25</c:v>
                </c:pt>
                <c:pt idx="158">
                  <c:v>2009/8/26</c:v>
                </c:pt>
                <c:pt idx="159">
                  <c:v>2009/8/27</c:v>
                </c:pt>
                <c:pt idx="160">
                  <c:v>2009/8/28</c:v>
                </c:pt>
                <c:pt idx="161">
                  <c:v>2009/8/31</c:v>
                </c:pt>
                <c:pt idx="162">
                  <c:v>2009/9/1</c:v>
                </c:pt>
                <c:pt idx="163">
                  <c:v>2009/9/2</c:v>
                </c:pt>
                <c:pt idx="164">
                  <c:v>2009/9/3</c:v>
                </c:pt>
                <c:pt idx="165">
                  <c:v>2009/9/4</c:v>
                </c:pt>
                <c:pt idx="166">
                  <c:v>2009/9/7</c:v>
                </c:pt>
                <c:pt idx="167">
                  <c:v>2009/9/8</c:v>
                </c:pt>
                <c:pt idx="168">
                  <c:v>2009/9/9</c:v>
                </c:pt>
                <c:pt idx="169">
                  <c:v>2009/9/10</c:v>
                </c:pt>
                <c:pt idx="170">
                  <c:v>2009/9/11</c:v>
                </c:pt>
                <c:pt idx="171">
                  <c:v>2009/9/14</c:v>
                </c:pt>
                <c:pt idx="172">
                  <c:v>2009/9/15</c:v>
                </c:pt>
                <c:pt idx="173">
                  <c:v>2009/9/16</c:v>
                </c:pt>
                <c:pt idx="174">
                  <c:v>2009/9/17</c:v>
                </c:pt>
                <c:pt idx="175">
                  <c:v>2009/9/18</c:v>
                </c:pt>
                <c:pt idx="176">
                  <c:v>2009/9/21</c:v>
                </c:pt>
                <c:pt idx="177">
                  <c:v>2009/9/22</c:v>
                </c:pt>
                <c:pt idx="178">
                  <c:v>2009/9/23</c:v>
                </c:pt>
                <c:pt idx="179">
                  <c:v>2009/9/24</c:v>
                </c:pt>
                <c:pt idx="180">
                  <c:v>2009/9/25</c:v>
                </c:pt>
                <c:pt idx="181">
                  <c:v>2009/9/28</c:v>
                </c:pt>
                <c:pt idx="182">
                  <c:v>2009/9/29</c:v>
                </c:pt>
                <c:pt idx="183">
                  <c:v>2009/9/30</c:v>
                </c:pt>
                <c:pt idx="184">
                  <c:v>2009/10/9</c:v>
                </c:pt>
                <c:pt idx="185">
                  <c:v>2009/10/12</c:v>
                </c:pt>
                <c:pt idx="186">
                  <c:v>2009/10/13</c:v>
                </c:pt>
                <c:pt idx="187">
                  <c:v>2009/10/14</c:v>
                </c:pt>
                <c:pt idx="188">
                  <c:v>2009/10/15</c:v>
                </c:pt>
                <c:pt idx="189">
                  <c:v>2009/10/16</c:v>
                </c:pt>
                <c:pt idx="190">
                  <c:v>2009/10/19</c:v>
                </c:pt>
                <c:pt idx="191">
                  <c:v>2009/10/20</c:v>
                </c:pt>
                <c:pt idx="192">
                  <c:v>2009/10/21</c:v>
                </c:pt>
                <c:pt idx="193">
                  <c:v>2009/10/22</c:v>
                </c:pt>
                <c:pt idx="194">
                  <c:v>2009/10/23</c:v>
                </c:pt>
                <c:pt idx="195">
                  <c:v>2009/10/26</c:v>
                </c:pt>
                <c:pt idx="196">
                  <c:v>2009/10/27</c:v>
                </c:pt>
                <c:pt idx="197">
                  <c:v>2009/10/28</c:v>
                </c:pt>
                <c:pt idx="198">
                  <c:v>2009/10/29</c:v>
                </c:pt>
                <c:pt idx="199">
                  <c:v>2009/10/30</c:v>
                </c:pt>
                <c:pt idx="200">
                  <c:v>2009/11/2</c:v>
                </c:pt>
                <c:pt idx="201">
                  <c:v>2009/11/3</c:v>
                </c:pt>
                <c:pt idx="202">
                  <c:v>2009/11/4</c:v>
                </c:pt>
                <c:pt idx="203">
                  <c:v>2009/11/5</c:v>
                </c:pt>
                <c:pt idx="204">
                  <c:v>2009/11/6</c:v>
                </c:pt>
                <c:pt idx="205">
                  <c:v>2009/11/9</c:v>
                </c:pt>
                <c:pt idx="206">
                  <c:v>2009/11/10</c:v>
                </c:pt>
                <c:pt idx="207">
                  <c:v>2009/11/11</c:v>
                </c:pt>
                <c:pt idx="208">
                  <c:v>2009/11/12</c:v>
                </c:pt>
                <c:pt idx="209">
                  <c:v>2009/11/13</c:v>
                </c:pt>
                <c:pt idx="210">
                  <c:v>2009/11/16</c:v>
                </c:pt>
                <c:pt idx="211">
                  <c:v>2009/11/17</c:v>
                </c:pt>
                <c:pt idx="212">
                  <c:v>2009/11/18</c:v>
                </c:pt>
                <c:pt idx="213">
                  <c:v>2009/11/19</c:v>
                </c:pt>
                <c:pt idx="214">
                  <c:v>2009/11/20</c:v>
                </c:pt>
                <c:pt idx="215">
                  <c:v>2009/11/23</c:v>
                </c:pt>
                <c:pt idx="216">
                  <c:v>2009/11/24</c:v>
                </c:pt>
                <c:pt idx="217">
                  <c:v>2009/11/25</c:v>
                </c:pt>
                <c:pt idx="218">
                  <c:v>2009/11/26</c:v>
                </c:pt>
                <c:pt idx="219">
                  <c:v>2009/11/27</c:v>
                </c:pt>
                <c:pt idx="220">
                  <c:v>2009/11/30</c:v>
                </c:pt>
                <c:pt idx="221">
                  <c:v>2009/12/1</c:v>
                </c:pt>
                <c:pt idx="222">
                  <c:v>2009/12/2</c:v>
                </c:pt>
                <c:pt idx="223">
                  <c:v>2009/12/3</c:v>
                </c:pt>
                <c:pt idx="224">
                  <c:v>2009/12/4</c:v>
                </c:pt>
                <c:pt idx="225">
                  <c:v>2009/12/7</c:v>
                </c:pt>
                <c:pt idx="226">
                  <c:v>2009/12/8</c:v>
                </c:pt>
                <c:pt idx="227">
                  <c:v>2009/12/9</c:v>
                </c:pt>
                <c:pt idx="228">
                  <c:v>2009/12/10</c:v>
                </c:pt>
                <c:pt idx="229">
                  <c:v>2009/12/11</c:v>
                </c:pt>
                <c:pt idx="230">
                  <c:v>2009/12/14</c:v>
                </c:pt>
                <c:pt idx="231">
                  <c:v>2009/12/15</c:v>
                </c:pt>
                <c:pt idx="232">
                  <c:v>2009/12/16</c:v>
                </c:pt>
                <c:pt idx="233">
                  <c:v>2009/12/17</c:v>
                </c:pt>
                <c:pt idx="234">
                  <c:v>2009/12/18</c:v>
                </c:pt>
                <c:pt idx="235">
                  <c:v>2009/12/21</c:v>
                </c:pt>
                <c:pt idx="236">
                  <c:v>2009/12/22</c:v>
                </c:pt>
                <c:pt idx="237">
                  <c:v>2009/12/23</c:v>
                </c:pt>
                <c:pt idx="238">
                  <c:v>2009/12/24</c:v>
                </c:pt>
                <c:pt idx="239">
                  <c:v>2009/12/25</c:v>
                </c:pt>
                <c:pt idx="240">
                  <c:v>2009/12/28</c:v>
                </c:pt>
                <c:pt idx="241">
                  <c:v>2009/12/29</c:v>
                </c:pt>
                <c:pt idx="242">
                  <c:v>2009/12/30</c:v>
                </c:pt>
                <c:pt idx="243">
                  <c:v>2009/12/31</c:v>
                </c:pt>
                <c:pt idx="244">
                  <c:v>2010/1/4</c:v>
                </c:pt>
                <c:pt idx="245">
                  <c:v>2010/1/5</c:v>
                </c:pt>
                <c:pt idx="246">
                  <c:v>2010/1/6</c:v>
                </c:pt>
                <c:pt idx="247">
                  <c:v>2010/1/7</c:v>
                </c:pt>
                <c:pt idx="248">
                  <c:v>2010/1/8</c:v>
                </c:pt>
                <c:pt idx="249">
                  <c:v>2010/1/11</c:v>
                </c:pt>
                <c:pt idx="250">
                  <c:v>2010/1/12</c:v>
                </c:pt>
                <c:pt idx="251">
                  <c:v>2010/1/13</c:v>
                </c:pt>
                <c:pt idx="252">
                  <c:v>2010/1/14</c:v>
                </c:pt>
                <c:pt idx="253">
                  <c:v>2010/1/15</c:v>
                </c:pt>
                <c:pt idx="254">
                  <c:v>2010/1/18</c:v>
                </c:pt>
                <c:pt idx="255">
                  <c:v>2010/1/19</c:v>
                </c:pt>
                <c:pt idx="256">
                  <c:v>2010/1/20</c:v>
                </c:pt>
                <c:pt idx="257">
                  <c:v>2010/1/21</c:v>
                </c:pt>
                <c:pt idx="258">
                  <c:v>2010/1/22</c:v>
                </c:pt>
                <c:pt idx="259">
                  <c:v>2010/1/25</c:v>
                </c:pt>
                <c:pt idx="260">
                  <c:v>2010/1/26</c:v>
                </c:pt>
                <c:pt idx="261">
                  <c:v>2010/1/27</c:v>
                </c:pt>
                <c:pt idx="262">
                  <c:v>2010/1/28</c:v>
                </c:pt>
                <c:pt idx="263">
                  <c:v>2010/1/29</c:v>
                </c:pt>
                <c:pt idx="264">
                  <c:v>2010/2/1</c:v>
                </c:pt>
                <c:pt idx="265">
                  <c:v>2010/2/2</c:v>
                </c:pt>
                <c:pt idx="266">
                  <c:v>2010/2/3</c:v>
                </c:pt>
                <c:pt idx="267">
                  <c:v>2010/2/4</c:v>
                </c:pt>
                <c:pt idx="268">
                  <c:v>2010/2/5</c:v>
                </c:pt>
                <c:pt idx="269">
                  <c:v>2010/2/8</c:v>
                </c:pt>
                <c:pt idx="270">
                  <c:v>2010/2/9</c:v>
                </c:pt>
                <c:pt idx="271">
                  <c:v>2010/2/10</c:v>
                </c:pt>
                <c:pt idx="272">
                  <c:v>2010/2/11</c:v>
                </c:pt>
                <c:pt idx="273">
                  <c:v>2010/2/12</c:v>
                </c:pt>
                <c:pt idx="274">
                  <c:v>2010/2/22</c:v>
                </c:pt>
                <c:pt idx="275">
                  <c:v>2010/2/23</c:v>
                </c:pt>
                <c:pt idx="276">
                  <c:v>2010/2/24</c:v>
                </c:pt>
                <c:pt idx="277">
                  <c:v>2010/2/25</c:v>
                </c:pt>
                <c:pt idx="278">
                  <c:v>2010/2/26</c:v>
                </c:pt>
                <c:pt idx="279">
                  <c:v>2010/3/1</c:v>
                </c:pt>
                <c:pt idx="280">
                  <c:v>2010/3/2</c:v>
                </c:pt>
                <c:pt idx="281">
                  <c:v>2010/3/3</c:v>
                </c:pt>
                <c:pt idx="282">
                  <c:v>2010/3/4</c:v>
                </c:pt>
                <c:pt idx="283">
                  <c:v>2010/3/5</c:v>
                </c:pt>
                <c:pt idx="284">
                  <c:v>2010/3/8</c:v>
                </c:pt>
                <c:pt idx="285">
                  <c:v>2010/3/9</c:v>
                </c:pt>
                <c:pt idx="286">
                  <c:v>2010/3/10</c:v>
                </c:pt>
                <c:pt idx="287">
                  <c:v>2010/3/11</c:v>
                </c:pt>
                <c:pt idx="288">
                  <c:v>2010/3/12</c:v>
                </c:pt>
                <c:pt idx="289">
                  <c:v>2010/3/15</c:v>
                </c:pt>
                <c:pt idx="290">
                  <c:v>2010/3/16</c:v>
                </c:pt>
                <c:pt idx="291">
                  <c:v>2010/3/17</c:v>
                </c:pt>
                <c:pt idx="292">
                  <c:v>2010/3/18</c:v>
                </c:pt>
                <c:pt idx="293">
                  <c:v>2010/3/19</c:v>
                </c:pt>
                <c:pt idx="294">
                  <c:v>2010/3/22</c:v>
                </c:pt>
                <c:pt idx="295">
                  <c:v>2010/3/23</c:v>
                </c:pt>
                <c:pt idx="296">
                  <c:v>2010/3/24</c:v>
                </c:pt>
                <c:pt idx="297">
                  <c:v>2010/3/25</c:v>
                </c:pt>
                <c:pt idx="298">
                  <c:v>2010/3/26</c:v>
                </c:pt>
                <c:pt idx="299">
                  <c:v>2010/3/29</c:v>
                </c:pt>
                <c:pt idx="300">
                  <c:v>2010/3/30</c:v>
                </c:pt>
                <c:pt idx="301">
                  <c:v>2010/3/31</c:v>
                </c:pt>
                <c:pt idx="302">
                  <c:v>2010/4/1</c:v>
                </c:pt>
                <c:pt idx="303">
                  <c:v>2010/4/2</c:v>
                </c:pt>
                <c:pt idx="304">
                  <c:v>2010/4/6</c:v>
                </c:pt>
                <c:pt idx="305">
                  <c:v>2010/4/7</c:v>
                </c:pt>
                <c:pt idx="306">
                  <c:v>2010/4/8</c:v>
                </c:pt>
                <c:pt idx="307">
                  <c:v>2010/4/9</c:v>
                </c:pt>
                <c:pt idx="308">
                  <c:v>2010/4/12</c:v>
                </c:pt>
                <c:pt idx="309">
                  <c:v>2010/4/13</c:v>
                </c:pt>
                <c:pt idx="310">
                  <c:v>2010/4/14</c:v>
                </c:pt>
                <c:pt idx="311">
                  <c:v>2010/4/15</c:v>
                </c:pt>
                <c:pt idx="312">
                  <c:v>2010/4/16</c:v>
                </c:pt>
                <c:pt idx="313">
                  <c:v>2010/4/19</c:v>
                </c:pt>
                <c:pt idx="314">
                  <c:v>2010/4/20</c:v>
                </c:pt>
                <c:pt idx="315">
                  <c:v>2010/4/21</c:v>
                </c:pt>
                <c:pt idx="316">
                  <c:v>2010/4/22</c:v>
                </c:pt>
                <c:pt idx="317">
                  <c:v>2010/4/23</c:v>
                </c:pt>
                <c:pt idx="318">
                  <c:v>2010/4/26</c:v>
                </c:pt>
                <c:pt idx="319">
                  <c:v>2010/4/27</c:v>
                </c:pt>
                <c:pt idx="320">
                  <c:v>2010/4/28</c:v>
                </c:pt>
                <c:pt idx="321">
                  <c:v>2010/4/29</c:v>
                </c:pt>
                <c:pt idx="322">
                  <c:v>2010/4/30</c:v>
                </c:pt>
                <c:pt idx="323">
                  <c:v>2010/5/4</c:v>
                </c:pt>
                <c:pt idx="324">
                  <c:v>2010/5/5</c:v>
                </c:pt>
                <c:pt idx="325">
                  <c:v>2010/5/6</c:v>
                </c:pt>
                <c:pt idx="326">
                  <c:v>2010/5/7</c:v>
                </c:pt>
                <c:pt idx="327">
                  <c:v>2010/5/10</c:v>
                </c:pt>
                <c:pt idx="328">
                  <c:v>2010/5/11</c:v>
                </c:pt>
                <c:pt idx="329">
                  <c:v>2010/5/12</c:v>
                </c:pt>
                <c:pt idx="330">
                  <c:v>2010/5/13</c:v>
                </c:pt>
                <c:pt idx="331">
                  <c:v>2010/5/14</c:v>
                </c:pt>
                <c:pt idx="332">
                  <c:v>2010/5/17</c:v>
                </c:pt>
                <c:pt idx="333">
                  <c:v>2010/5/18</c:v>
                </c:pt>
                <c:pt idx="334">
                  <c:v>2010/5/19</c:v>
                </c:pt>
                <c:pt idx="335">
                  <c:v>2010/5/20</c:v>
                </c:pt>
                <c:pt idx="336">
                  <c:v>2010/5/21</c:v>
                </c:pt>
                <c:pt idx="337">
                  <c:v>2010/5/24</c:v>
                </c:pt>
                <c:pt idx="338">
                  <c:v>2010/5/25</c:v>
                </c:pt>
                <c:pt idx="339">
                  <c:v>2010/5/26</c:v>
                </c:pt>
                <c:pt idx="340">
                  <c:v>2010/5/27</c:v>
                </c:pt>
                <c:pt idx="341">
                  <c:v>2010/5/28</c:v>
                </c:pt>
                <c:pt idx="342">
                  <c:v>2010/5/31</c:v>
                </c:pt>
                <c:pt idx="343">
                  <c:v>2010/6/1</c:v>
                </c:pt>
                <c:pt idx="344">
                  <c:v>2010/6/2</c:v>
                </c:pt>
                <c:pt idx="345">
                  <c:v>2010/6/3</c:v>
                </c:pt>
                <c:pt idx="346">
                  <c:v>2010/6/4</c:v>
                </c:pt>
                <c:pt idx="347">
                  <c:v>2010/6/7</c:v>
                </c:pt>
                <c:pt idx="348">
                  <c:v>2010/6/8</c:v>
                </c:pt>
                <c:pt idx="349">
                  <c:v>2010/6/9</c:v>
                </c:pt>
                <c:pt idx="350">
                  <c:v>2010/6/10</c:v>
                </c:pt>
                <c:pt idx="351">
                  <c:v>2010/6/11</c:v>
                </c:pt>
                <c:pt idx="352">
                  <c:v>2010/6/17</c:v>
                </c:pt>
                <c:pt idx="353">
                  <c:v>2010/6/18</c:v>
                </c:pt>
                <c:pt idx="354">
                  <c:v>2010/6/21</c:v>
                </c:pt>
                <c:pt idx="355">
                  <c:v>2010/6/22</c:v>
                </c:pt>
                <c:pt idx="356">
                  <c:v>2010/6/23</c:v>
                </c:pt>
                <c:pt idx="357">
                  <c:v>2010/6/24</c:v>
                </c:pt>
                <c:pt idx="358">
                  <c:v>2010/6/25</c:v>
                </c:pt>
                <c:pt idx="359">
                  <c:v>2010/6/28</c:v>
                </c:pt>
                <c:pt idx="360">
                  <c:v>2010/6/29</c:v>
                </c:pt>
                <c:pt idx="361">
                  <c:v>2010/6/30</c:v>
                </c:pt>
                <c:pt idx="362">
                  <c:v>2010/7/1</c:v>
                </c:pt>
                <c:pt idx="363">
                  <c:v>2010/7/2</c:v>
                </c:pt>
                <c:pt idx="364">
                  <c:v>2010/7/5</c:v>
                </c:pt>
                <c:pt idx="365">
                  <c:v>2010/7/6</c:v>
                </c:pt>
                <c:pt idx="366">
                  <c:v>2010/7/7</c:v>
                </c:pt>
                <c:pt idx="367">
                  <c:v>2010/7/8</c:v>
                </c:pt>
                <c:pt idx="368">
                  <c:v>2010/7/9</c:v>
                </c:pt>
                <c:pt idx="369">
                  <c:v>2010/7/12</c:v>
                </c:pt>
                <c:pt idx="370">
                  <c:v>2010/7/13</c:v>
                </c:pt>
                <c:pt idx="371">
                  <c:v>2010/7/14</c:v>
                </c:pt>
                <c:pt idx="372">
                  <c:v>2010/7/15</c:v>
                </c:pt>
                <c:pt idx="373">
                  <c:v>2010/7/16</c:v>
                </c:pt>
                <c:pt idx="374">
                  <c:v>2010/7/19</c:v>
                </c:pt>
                <c:pt idx="375">
                  <c:v>2010/7/20</c:v>
                </c:pt>
                <c:pt idx="376">
                  <c:v>2010/7/21</c:v>
                </c:pt>
                <c:pt idx="377">
                  <c:v>2010/7/22</c:v>
                </c:pt>
                <c:pt idx="378">
                  <c:v>2010/7/23</c:v>
                </c:pt>
                <c:pt idx="379">
                  <c:v>2010/7/26</c:v>
                </c:pt>
                <c:pt idx="380">
                  <c:v>2010/7/27</c:v>
                </c:pt>
                <c:pt idx="381">
                  <c:v>2010/7/28</c:v>
                </c:pt>
                <c:pt idx="382">
                  <c:v>2010/7/29</c:v>
                </c:pt>
                <c:pt idx="383">
                  <c:v>2010/7/30</c:v>
                </c:pt>
                <c:pt idx="384">
                  <c:v>2010/8/2</c:v>
                </c:pt>
                <c:pt idx="385">
                  <c:v>2010/8/3</c:v>
                </c:pt>
                <c:pt idx="386">
                  <c:v>2010/8/4</c:v>
                </c:pt>
                <c:pt idx="387">
                  <c:v>2010/8/5</c:v>
                </c:pt>
                <c:pt idx="388">
                  <c:v>2010/8/6</c:v>
                </c:pt>
                <c:pt idx="389">
                  <c:v>2010/8/9</c:v>
                </c:pt>
                <c:pt idx="390">
                  <c:v>2010/8/10</c:v>
                </c:pt>
                <c:pt idx="391">
                  <c:v>2010/8/11</c:v>
                </c:pt>
                <c:pt idx="392">
                  <c:v>2010/8/12</c:v>
                </c:pt>
                <c:pt idx="393">
                  <c:v>2010/8/13</c:v>
                </c:pt>
                <c:pt idx="394">
                  <c:v>2010/8/16</c:v>
                </c:pt>
                <c:pt idx="395">
                  <c:v>2010/8/17</c:v>
                </c:pt>
                <c:pt idx="396">
                  <c:v>2010/8/18</c:v>
                </c:pt>
                <c:pt idx="397">
                  <c:v>2010/8/19</c:v>
                </c:pt>
                <c:pt idx="398">
                  <c:v>2010/8/20</c:v>
                </c:pt>
                <c:pt idx="399">
                  <c:v>2010/8/23</c:v>
                </c:pt>
                <c:pt idx="400">
                  <c:v>2010/8/24</c:v>
                </c:pt>
                <c:pt idx="401">
                  <c:v>2010/8/25</c:v>
                </c:pt>
                <c:pt idx="402">
                  <c:v>2010/8/26</c:v>
                </c:pt>
                <c:pt idx="403">
                  <c:v>2010/8/27</c:v>
                </c:pt>
                <c:pt idx="404">
                  <c:v>2010/8/30</c:v>
                </c:pt>
                <c:pt idx="405">
                  <c:v>2010/8/31</c:v>
                </c:pt>
                <c:pt idx="406">
                  <c:v>2010/9/1</c:v>
                </c:pt>
                <c:pt idx="407">
                  <c:v>2010/9/2</c:v>
                </c:pt>
                <c:pt idx="408">
                  <c:v>2010/9/3</c:v>
                </c:pt>
                <c:pt idx="409">
                  <c:v>2010/9/6</c:v>
                </c:pt>
                <c:pt idx="410">
                  <c:v>2010/9/7</c:v>
                </c:pt>
                <c:pt idx="411">
                  <c:v>2010/9/8</c:v>
                </c:pt>
                <c:pt idx="412">
                  <c:v>2010/9/9</c:v>
                </c:pt>
                <c:pt idx="413">
                  <c:v>2010/9/10</c:v>
                </c:pt>
                <c:pt idx="414">
                  <c:v>2010/9/13</c:v>
                </c:pt>
                <c:pt idx="415">
                  <c:v>2010/9/14</c:v>
                </c:pt>
                <c:pt idx="416">
                  <c:v>2010/9/15</c:v>
                </c:pt>
                <c:pt idx="417">
                  <c:v>2010/9/16</c:v>
                </c:pt>
                <c:pt idx="418">
                  <c:v>2010/9/17</c:v>
                </c:pt>
                <c:pt idx="419">
                  <c:v>2010/9/20</c:v>
                </c:pt>
                <c:pt idx="420">
                  <c:v>2010/9/21</c:v>
                </c:pt>
                <c:pt idx="421">
                  <c:v>2010/9/27</c:v>
                </c:pt>
                <c:pt idx="422">
                  <c:v>2010/9/28</c:v>
                </c:pt>
                <c:pt idx="423">
                  <c:v>2010/9/29</c:v>
                </c:pt>
                <c:pt idx="424">
                  <c:v>2010/9/30</c:v>
                </c:pt>
                <c:pt idx="425">
                  <c:v>2010/10/8</c:v>
                </c:pt>
                <c:pt idx="426">
                  <c:v>2010/10/11</c:v>
                </c:pt>
                <c:pt idx="427">
                  <c:v>2010/10/12</c:v>
                </c:pt>
                <c:pt idx="428">
                  <c:v>2010/10/13</c:v>
                </c:pt>
                <c:pt idx="429">
                  <c:v>2010/10/14</c:v>
                </c:pt>
                <c:pt idx="430">
                  <c:v>2010/10/15</c:v>
                </c:pt>
                <c:pt idx="431">
                  <c:v>2010/10/18</c:v>
                </c:pt>
                <c:pt idx="432">
                  <c:v>2010/10/19</c:v>
                </c:pt>
                <c:pt idx="433">
                  <c:v>2010/10/20</c:v>
                </c:pt>
                <c:pt idx="434">
                  <c:v>2010/10/21</c:v>
                </c:pt>
                <c:pt idx="435">
                  <c:v>2010/10/22</c:v>
                </c:pt>
                <c:pt idx="436">
                  <c:v>2010/10/25</c:v>
                </c:pt>
                <c:pt idx="437">
                  <c:v>2010/10/26</c:v>
                </c:pt>
                <c:pt idx="438">
                  <c:v>2010/10/27</c:v>
                </c:pt>
                <c:pt idx="439">
                  <c:v>2010/10/28</c:v>
                </c:pt>
                <c:pt idx="440">
                  <c:v>2010/10/29</c:v>
                </c:pt>
                <c:pt idx="441">
                  <c:v>2010/11/1</c:v>
                </c:pt>
                <c:pt idx="442">
                  <c:v>2010/11/2</c:v>
                </c:pt>
                <c:pt idx="443">
                  <c:v>2010/11/3</c:v>
                </c:pt>
                <c:pt idx="444">
                  <c:v>2010/11/4</c:v>
                </c:pt>
                <c:pt idx="445">
                  <c:v>2010/11/5</c:v>
                </c:pt>
                <c:pt idx="446">
                  <c:v>2010/11/8</c:v>
                </c:pt>
                <c:pt idx="447">
                  <c:v>2010/11/9</c:v>
                </c:pt>
                <c:pt idx="448">
                  <c:v>2010/11/10</c:v>
                </c:pt>
                <c:pt idx="449">
                  <c:v>2010/11/11</c:v>
                </c:pt>
                <c:pt idx="450">
                  <c:v>2010/11/12</c:v>
                </c:pt>
                <c:pt idx="451">
                  <c:v>2010/11/15</c:v>
                </c:pt>
                <c:pt idx="452">
                  <c:v>2010/11/16</c:v>
                </c:pt>
                <c:pt idx="453">
                  <c:v>2010/11/17</c:v>
                </c:pt>
                <c:pt idx="454">
                  <c:v>2010/11/18</c:v>
                </c:pt>
                <c:pt idx="455">
                  <c:v>2010/11/19</c:v>
                </c:pt>
                <c:pt idx="456">
                  <c:v>2010/11/22</c:v>
                </c:pt>
                <c:pt idx="457">
                  <c:v>2010/11/23</c:v>
                </c:pt>
                <c:pt idx="458">
                  <c:v>2010/11/24</c:v>
                </c:pt>
                <c:pt idx="459">
                  <c:v>2010/11/25</c:v>
                </c:pt>
                <c:pt idx="460">
                  <c:v>2010/11/26</c:v>
                </c:pt>
                <c:pt idx="461">
                  <c:v>2010/11/29</c:v>
                </c:pt>
                <c:pt idx="462">
                  <c:v>2010/11/30</c:v>
                </c:pt>
                <c:pt idx="463">
                  <c:v>2010/12/1</c:v>
                </c:pt>
                <c:pt idx="464">
                  <c:v>2010/12/2</c:v>
                </c:pt>
                <c:pt idx="465">
                  <c:v>2010/12/3</c:v>
                </c:pt>
                <c:pt idx="466">
                  <c:v>2010/12/6</c:v>
                </c:pt>
                <c:pt idx="467">
                  <c:v>2010/12/7</c:v>
                </c:pt>
                <c:pt idx="468">
                  <c:v>2010/12/8</c:v>
                </c:pt>
                <c:pt idx="469">
                  <c:v>2010/12/9</c:v>
                </c:pt>
                <c:pt idx="470">
                  <c:v>2010/12/10</c:v>
                </c:pt>
                <c:pt idx="471">
                  <c:v>2010/12/13</c:v>
                </c:pt>
                <c:pt idx="472">
                  <c:v>2010/12/14</c:v>
                </c:pt>
                <c:pt idx="473">
                  <c:v>2010/12/15</c:v>
                </c:pt>
                <c:pt idx="474">
                  <c:v>2010/12/16</c:v>
                </c:pt>
                <c:pt idx="475">
                  <c:v>2010/12/17</c:v>
                </c:pt>
                <c:pt idx="476">
                  <c:v>2010/12/20</c:v>
                </c:pt>
                <c:pt idx="477">
                  <c:v>2010/12/21</c:v>
                </c:pt>
                <c:pt idx="478">
                  <c:v>2010/12/22</c:v>
                </c:pt>
                <c:pt idx="479">
                  <c:v>2010/12/23</c:v>
                </c:pt>
                <c:pt idx="480">
                  <c:v>2010/12/24</c:v>
                </c:pt>
                <c:pt idx="481">
                  <c:v>2010/12/27</c:v>
                </c:pt>
                <c:pt idx="482">
                  <c:v>2010/12/28</c:v>
                </c:pt>
                <c:pt idx="483">
                  <c:v>2010/12/29</c:v>
                </c:pt>
                <c:pt idx="484">
                  <c:v>2010/12/30</c:v>
                </c:pt>
                <c:pt idx="485">
                  <c:v>2010/12/31</c:v>
                </c:pt>
                <c:pt idx="486">
                  <c:v>2011/1/4</c:v>
                </c:pt>
                <c:pt idx="487">
                  <c:v>2011/1/5</c:v>
                </c:pt>
                <c:pt idx="488">
                  <c:v>2011/1/6</c:v>
                </c:pt>
                <c:pt idx="489">
                  <c:v>2011/1/7</c:v>
                </c:pt>
                <c:pt idx="490">
                  <c:v>2011/1/10</c:v>
                </c:pt>
                <c:pt idx="491">
                  <c:v>2011/1/11</c:v>
                </c:pt>
                <c:pt idx="492">
                  <c:v>2011/1/12</c:v>
                </c:pt>
                <c:pt idx="493">
                  <c:v>2011/1/13</c:v>
                </c:pt>
                <c:pt idx="494">
                  <c:v>2011/1/14</c:v>
                </c:pt>
                <c:pt idx="495">
                  <c:v>2011/1/17</c:v>
                </c:pt>
                <c:pt idx="496">
                  <c:v>2011/1/18</c:v>
                </c:pt>
                <c:pt idx="497">
                  <c:v>2011/1/19</c:v>
                </c:pt>
                <c:pt idx="498">
                  <c:v>2011/1/20</c:v>
                </c:pt>
                <c:pt idx="499">
                  <c:v>2011/1/21</c:v>
                </c:pt>
                <c:pt idx="500">
                  <c:v>2011/1/24</c:v>
                </c:pt>
                <c:pt idx="501">
                  <c:v>2011/1/25</c:v>
                </c:pt>
                <c:pt idx="502">
                  <c:v>2011/1/26</c:v>
                </c:pt>
                <c:pt idx="503">
                  <c:v>2011/1/27</c:v>
                </c:pt>
                <c:pt idx="504">
                  <c:v>2011/1/28</c:v>
                </c:pt>
                <c:pt idx="505">
                  <c:v>2011/1/31</c:v>
                </c:pt>
                <c:pt idx="506">
                  <c:v>2011/2/1</c:v>
                </c:pt>
                <c:pt idx="507">
                  <c:v>2011/2/9</c:v>
                </c:pt>
                <c:pt idx="508">
                  <c:v>2011/2/10</c:v>
                </c:pt>
                <c:pt idx="509">
                  <c:v>2011/2/11</c:v>
                </c:pt>
                <c:pt idx="510">
                  <c:v>2011/2/14</c:v>
                </c:pt>
                <c:pt idx="511">
                  <c:v>2011/2/15</c:v>
                </c:pt>
                <c:pt idx="512">
                  <c:v>2011/2/16</c:v>
                </c:pt>
                <c:pt idx="513">
                  <c:v>2011/2/17</c:v>
                </c:pt>
                <c:pt idx="514">
                  <c:v>2011/2/18</c:v>
                </c:pt>
                <c:pt idx="515">
                  <c:v>2011/2/21</c:v>
                </c:pt>
                <c:pt idx="516">
                  <c:v>2011/2/22</c:v>
                </c:pt>
                <c:pt idx="517">
                  <c:v>2011/2/23</c:v>
                </c:pt>
                <c:pt idx="518">
                  <c:v>2011/2/24</c:v>
                </c:pt>
                <c:pt idx="519">
                  <c:v>2011/2/25</c:v>
                </c:pt>
                <c:pt idx="520">
                  <c:v>2011/2/28</c:v>
                </c:pt>
                <c:pt idx="521">
                  <c:v>2011/3/1</c:v>
                </c:pt>
                <c:pt idx="522">
                  <c:v>2011/3/2</c:v>
                </c:pt>
                <c:pt idx="523">
                  <c:v>2011/3/3</c:v>
                </c:pt>
                <c:pt idx="524">
                  <c:v>2011/3/4</c:v>
                </c:pt>
                <c:pt idx="525">
                  <c:v>2011/3/7</c:v>
                </c:pt>
                <c:pt idx="526">
                  <c:v>2011/3/8</c:v>
                </c:pt>
                <c:pt idx="527">
                  <c:v>2011/3/9</c:v>
                </c:pt>
                <c:pt idx="528">
                  <c:v>2011/3/10</c:v>
                </c:pt>
                <c:pt idx="529">
                  <c:v>2011/3/11</c:v>
                </c:pt>
                <c:pt idx="530">
                  <c:v>2011/3/14</c:v>
                </c:pt>
                <c:pt idx="531">
                  <c:v>2011/3/15</c:v>
                </c:pt>
                <c:pt idx="532">
                  <c:v>2011/3/16</c:v>
                </c:pt>
                <c:pt idx="533">
                  <c:v>2011/3/17</c:v>
                </c:pt>
                <c:pt idx="534">
                  <c:v>2011/3/18</c:v>
                </c:pt>
                <c:pt idx="535">
                  <c:v>2011/3/21</c:v>
                </c:pt>
                <c:pt idx="536">
                  <c:v>2011/3/22</c:v>
                </c:pt>
                <c:pt idx="537">
                  <c:v>2011/3/23</c:v>
                </c:pt>
                <c:pt idx="538">
                  <c:v>2011/3/24</c:v>
                </c:pt>
                <c:pt idx="539">
                  <c:v>2011/3/25</c:v>
                </c:pt>
                <c:pt idx="540">
                  <c:v>2011/3/28</c:v>
                </c:pt>
                <c:pt idx="541">
                  <c:v>2011/3/29</c:v>
                </c:pt>
                <c:pt idx="542">
                  <c:v>2011/3/30</c:v>
                </c:pt>
                <c:pt idx="543">
                  <c:v>2011/3/31</c:v>
                </c:pt>
                <c:pt idx="544">
                  <c:v>2011/4/1</c:v>
                </c:pt>
                <c:pt idx="545">
                  <c:v>2011/4/6</c:v>
                </c:pt>
                <c:pt idx="546">
                  <c:v>2011/4/7</c:v>
                </c:pt>
                <c:pt idx="547">
                  <c:v>2011/4/8</c:v>
                </c:pt>
                <c:pt idx="548">
                  <c:v>2011/4/11</c:v>
                </c:pt>
                <c:pt idx="549">
                  <c:v>2011/4/12</c:v>
                </c:pt>
                <c:pt idx="550">
                  <c:v>2011/4/13</c:v>
                </c:pt>
                <c:pt idx="551">
                  <c:v>2011/4/14</c:v>
                </c:pt>
                <c:pt idx="552">
                  <c:v>2011/4/15</c:v>
                </c:pt>
                <c:pt idx="553">
                  <c:v>2011/4/18</c:v>
                </c:pt>
                <c:pt idx="554">
                  <c:v>2011/4/19</c:v>
                </c:pt>
                <c:pt idx="555">
                  <c:v>2011/4/20</c:v>
                </c:pt>
                <c:pt idx="556">
                  <c:v>2011/4/21</c:v>
                </c:pt>
                <c:pt idx="557">
                  <c:v>2011/4/22</c:v>
                </c:pt>
                <c:pt idx="558">
                  <c:v>2011/4/25</c:v>
                </c:pt>
                <c:pt idx="559">
                  <c:v>2011/4/26</c:v>
                </c:pt>
                <c:pt idx="560">
                  <c:v>2011/4/27</c:v>
                </c:pt>
                <c:pt idx="561">
                  <c:v>2011/4/28</c:v>
                </c:pt>
                <c:pt idx="562">
                  <c:v>2011/4/29</c:v>
                </c:pt>
                <c:pt idx="563">
                  <c:v>2011/5/3</c:v>
                </c:pt>
                <c:pt idx="564">
                  <c:v>2011/5/4</c:v>
                </c:pt>
                <c:pt idx="565">
                  <c:v>2011/5/5</c:v>
                </c:pt>
                <c:pt idx="566">
                  <c:v>2011/5/6</c:v>
                </c:pt>
                <c:pt idx="567">
                  <c:v>2011/5/9</c:v>
                </c:pt>
                <c:pt idx="568">
                  <c:v>2011/5/10</c:v>
                </c:pt>
                <c:pt idx="569">
                  <c:v>2011/5/11</c:v>
                </c:pt>
                <c:pt idx="570">
                  <c:v>2011/5/12</c:v>
                </c:pt>
                <c:pt idx="571">
                  <c:v>2011/5/13</c:v>
                </c:pt>
                <c:pt idx="572">
                  <c:v>2011/5/16</c:v>
                </c:pt>
                <c:pt idx="573">
                  <c:v>2011/5/17</c:v>
                </c:pt>
                <c:pt idx="574">
                  <c:v>2011/5/18</c:v>
                </c:pt>
                <c:pt idx="575">
                  <c:v>2011/5/19</c:v>
                </c:pt>
                <c:pt idx="576">
                  <c:v>2011/5/20</c:v>
                </c:pt>
                <c:pt idx="577">
                  <c:v>2011/5/23</c:v>
                </c:pt>
                <c:pt idx="578">
                  <c:v>2011/5/24</c:v>
                </c:pt>
                <c:pt idx="579">
                  <c:v>2011/5/25</c:v>
                </c:pt>
                <c:pt idx="580">
                  <c:v>2011/5/26</c:v>
                </c:pt>
                <c:pt idx="581">
                  <c:v>2011/5/27</c:v>
                </c:pt>
                <c:pt idx="582">
                  <c:v>2011/5/30</c:v>
                </c:pt>
                <c:pt idx="583">
                  <c:v>2011/5/31</c:v>
                </c:pt>
                <c:pt idx="584">
                  <c:v>2011/6/1</c:v>
                </c:pt>
                <c:pt idx="585">
                  <c:v>2011/6/2</c:v>
                </c:pt>
                <c:pt idx="586">
                  <c:v>2011/6/3</c:v>
                </c:pt>
                <c:pt idx="587">
                  <c:v>2011/6/7</c:v>
                </c:pt>
                <c:pt idx="588">
                  <c:v>2011/6/8</c:v>
                </c:pt>
                <c:pt idx="589">
                  <c:v>2011/6/9</c:v>
                </c:pt>
                <c:pt idx="590">
                  <c:v>2011/6/10</c:v>
                </c:pt>
                <c:pt idx="591">
                  <c:v>2011/6/13</c:v>
                </c:pt>
                <c:pt idx="592">
                  <c:v>2011/6/14</c:v>
                </c:pt>
                <c:pt idx="593">
                  <c:v>2011/6/15</c:v>
                </c:pt>
                <c:pt idx="594">
                  <c:v>2011/6/16</c:v>
                </c:pt>
                <c:pt idx="595">
                  <c:v>2011/6/17</c:v>
                </c:pt>
                <c:pt idx="596">
                  <c:v>2011/6/20</c:v>
                </c:pt>
                <c:pt idx="597">
                  <c:v>2011/6/21</c:v>
                </c:pt>
                <c:pt idx="598">
                  <c:v>2011/6/22</c:v>
                </c:pt>
                <c:pt idx="599">
                  <c:v>2011/6/23</c:v>
                </c:pt>
                <c:pt idx="600">
                  <c:v>2011/6/24</c:v>
                </c:pt>
                <c:pt idx="601">
                  <c:v>2011/6/27</c:v>
                </c:pt>
                <c:pt idx="602">
                  <c:v>2011/6/28</c:v>
                </c:pt>
                <c:pt idx="603">
                  <c:v>2011/6/29</c:v>
                </c:pt>
                <c:pt idx="604">
                  <c:v>2011/6/30</c:v>
                </c:pt>
                <c:pt idx="605">
                  <c:v>2011/7/1</c:v>
                </c:pt>
                <c:pt idx="606">
                  <c:v>2011/7/4</c:v>
                </c:pt>
                <c:pt idx="607">
                  <c:v>2011/7/5</c:v>
                </c:pt>
                <c:pt idx="608">
                  <c:v>2011/7/6</c:v>
                </c:pt>
                <c:pt idx="609">
                  <c:v>2011/7/7</c:v>
                </c:pt>
                <c:pt idx="610">
                  <c:v>2011/7/8</c:v>
                </c:pt>
                <c:pt idx="611">
                  <c:v>2011/7/11</c:v>
                </c:pt>
                <c:pt idx="612">
                  <c:v>2011/7/12</c:v>
                </c:pt>
                <c:pt idx="613">
                  <c:v>2011/7/13</c:v>
                </c:pt>
                <c:pt idx="614">
                  <c:v>2011/7/14</c:v>
                </c:pt>
                <c:pt idx="615">
                  <c:v>2011/7/15</c:v>
                </c:pt>
                <c:pt idx="616">
                  <c:v>2011/7/18</c:v>
                </c:pt>
                <c:pt idx="617">
                  <c:v>2011/7/19</c:v>
                </c:pt>
                <c:pt idx="618">
                  <c:v>2011/7/20</c:v>
                </c:pt>
                <c:pt idx="619">
                  <c:v>2011/7/21</c:v>
                </c:pt>
                <c:pt idx="620">
                  <c:v>2011/7/22</c:v>
                </c:pt>
                <c:pt idx="621">
                  <c:v>2011/7/25</c:v>
                </c:pt>
                <c:pt idx="622">
                  <c:v>2011/7/26</c:v>
                </c:pt>
                <c:pt idx="623">
                  <c:v>2011/7/27</c:v>
                </c:pt>
                <c:pt idx="624">
                  <c:v>2011/7/28</c:v>
                </c:pt>
                <c:pt idx="625">
                  <c:v>2011/7/29</c:v>
                </c:pt>
                <c:pt idx="626">
                  <c:v>2011/8/1</c:v>
                </c:pt>
                <c:pt idx="627">
                  <c:v>2011/8/2</c:v>
                </c:pt>
                <c:pt idx="628">
                  <c:v>2011/8/3</c:v>
                </c:pt>
                <c:pt idx="629">
                  <c:v>2011/8/4</c:v>
                </c:pt>
                <c:pt idx="630">
                  <c:v>2011/8/5</c:v>
                </c:pt>
                <c:pt idx="631">
                  <c:v>2011/8/8</c:v>
                </c:pt>
                <c:pt idx="632">
                  <c:v>2011/8/9</c:v>
                </c:pt>
                <c:pt idx="633">
                  <c:v>2011/8/10</c:v>
                </c:pt>
                <c:pt idx="634">
                  <c:v>2011/8/11</c:v>
                </c:pt>
                <c:pt idx="635">
                  <c:v>2011/8/12</c:v>
                </c:pt>
                <c:pt idx="636">
                  <c:v>2011/8/15</c:v>
                </c:pt>
                <c:pt idx="637">
                  <c:v>2011/8/16</c:v>
                </c:pt>
                <c:pt idx="638">
                  <c:v>2011/8/17</c:v>
                </c:pt>
                <c:pt idx="639">
                  <c:v>2011/8/18</c:v>
                </c:pt>
                <c:pt idx="640">
                  <c:v>2011/8/19</c:v>
                </c:pt>
                <c:pt idx="641">
                  <c:v>2011/8/22</c:v>
                </c:pt>
                <c:pt idx="642">
                  <c:v>2011/8/23</c:v>
                </c:pt>
                <c:pt idx="643">
                  <c:v>2011/8/24</c:v>
                </c:pt>
                <c:pt idx="644">
                  <c:v>2011/8/25</c:v>
                </c:pt>
                <c:pt idx="645">
                  <c:v>2011/8/26</c:v>
                </c:pt>
                <c:pt idx="646">
                  <c:v>2011/8/29</c:v>
                </c:pt>
                <c:pt idx="647">
                  <c:v>2011/8/30</c:v>
                </c:pt>
                <c:pt idx="648">
                  <c:v>2011/8/31</c:v>
                </c:pt>
                <c:pt idx="649">
                  <c:v>2011/9/1</c:v>
                </c:pt>
                <c:pt idx="650">
                  <c:v>2011/9/2</c:v>
                </c:pt>
                <c:pt idx="651">
                  <c:v>2011/9/5</c:v>
                </c:pt>
                <c:pt idx="652">
                  <c:v>2011/9/6</c:v>
                </c:pt>
                <c:pt idx="653">
                  <c:v>2011/9/7</c:v>
                </c:pt>
                <c:pt idx="654">
                  <c:v>2011/9/8</c:v>
                </c:pt>
                <c:pt idx="655">
                  <c:v>2011/9/9</c:v>
                </c:pt>
                <c:pt idx="656">
                  <c:v>2011/9/13</c:v>
                </c:pt>
                <c:pt idx="657">
                  <c:v>2011/9/14</c:v>
                </c:pt>
                <c:pt idx="658">
                  <c:v>2011/9/15</c:v>
                </c:pt>
                <c:pt idx="659">
                  <c:v>2011/9/16</c:v>
                </c:pt>
                <c:pt idx="660">
                  <c:v>2011/9/19</c:v>
                </c:pt>
                <c:pt idx="661">
                  <c:v>2011/9/20</c:v>
                </c:pt>
                <c:pt idx="662">
                  <c:v>2011/9/21</c:v>
                </c:pt>
                <c:pt idx="663">
                  <c:v>2011/9/22</c:v>
                </c:pt>
                <c:pt idx="664">
                  <c:v>2011/9/23</c:v>
                </c:pt>
                <c:pt idx="665">
                  <c:v>2011/9/26</c:v>
                </c:pt>
                <c:pt idx="666">
                  <c:v>2011/9/27</c:v>
                </c:pt>
                <c:pt idx="667">
                  <c:v>2011/9/28</c:v>
                </c:pt>
                <c:pt idx="668">
                  <c:v>2011/9/29</c:v>
                </c:pt>
                <c:pt idx="669">
                  <c:v>2011/9/30</c:v>
                </c:pt>
                <c:pt idx="670">
                  <c:v>2011/10/10</c:v>
                </c:pt>
                <c:pt idx="671">
                  <c:v>2011/10/11</c:v>
                </c:pt>
                <c:pt idx="672">
                  <c:v>2011/10/12</c:v>
                </c:pt>
                <c:pt idx="673">
                  <c:v>2011/10/13</c:v>
                </c:pt>
                <c:pt idx="674">
                  <c:v>2011/10/14</c:v>
                </c:pt>
                <c:pt idx="675">
                  <c:v>2011/10/17</c:v>
                </c:pt>
                <c:pt idx="676">
                  <c:v>2011/10/18</c:v>
                </c:pt>
                <c:pt idx="677">
                  <c:v>2011/10/19</c:v>
                </c:pt>
                <c:pt idx="678">
                  <c:v>2011/10/20</c:v>
                </c:pt>
                <c:pt idx="679">
                  <c:v>2011/10/21</c:v>
                </c:pt>
                <c:pt idx="680">
                  <c:v>2011/10/24</c:v>
                </c:pt>
                <c:pt idx="681">
                  <c:v>2011/10/25</c:v>
                </c:pt>
                <c:pt idx="682">
                  <c:v>2011/10/26</c:v>
                </c:pt>
                <c:pt idx="683">
                  <c:v>2011/10/27</c:v>
                </c:pt>
                <c:pt idx="684">
                  <c:v>2011/10/28</c:v>
                </c:pt>
                <c:pt idx="685">
                  <c:v>2011/10/31</c:v>
                </c:pt>
                <c:pt idx="686">
                  <c:v>2011/11/1</c:v>
                </c:pt>
                <c:pt idx="687">
                  <c:v>2011/11/2</c:v>
                </c:pt>
                <c:pt idx="688">
                  <c:v>2011/11/3</c:v>
                </c:pt>
                <c:pt idx="689">
                  <c:v>2011/11/4</c:v>
                </c:pt>
                <c:pt idx="690">
                  <c:v>2011/11/7</c:v>
                </c:pt>
                <c:pt idx="691">
                  <c:v>2011/11/8</c:v>
                </c:pt>
                <c:pt idx="692">
                  <c:v>2011/11/9</c:v>
                </c:pt>
                <c:pt idx="693">
                  <c:v>2011/11/10</c:v>
                </c:pt>
                <c:pt idx="694">
                  <c:v>2011/11/11</c:v>
                </c:pt>
                <c:pt idx="695">
                  <c:v>2011/11/14</c:v>
                </c:pt>
                <c:pt idx="696">
                  <c:v>2011/11/15</c:v>
                </c:pt>
                <c:pt idx="697">
                  <c:v>2011/11/16</c:v>
                </c:pt>
                <c:pt idx="698">
                  <c:v>2011/11/17</c:v>
                </c:pt>
                <c:pt idx="699">
                  <c:v>2011/11/18</c:v>
                </c:pt>
                <c:pt idx="700">
                  <c:v>2011/11/21</c:v>
                </c:pt>
                <c:pt idx="701">
                  <c:v>2011/11/22</c:v>
                </c:pt>
                <c:pt idx="702">
                  <c:v>2011/11/23</c:v>
                </c:pt>
                <c:pt idx="703">
                  <c:v>2011/11/24</c:v>
                </c:pt>
                <c:pt idx="704">
                  <c:v>2011/11/25</c:v>
                </c:pt>
                <c:pt idx="705">
                  <c:v>2011/11/28</c:v>
                </c:pt>
                <c:pt idx="706">
                  <c:v>2011/11/29</c:v>
                </c:pt>
                <c:pt idx="707">
                  <c:v>2011/11/30</c:v>
                </c:pt>
                <c:pt idx="708">
                  <c:v>2011/12/1</c:v>
                </c:pt>
                <c:pt idx="709">
                  <c:v>2011/12/2</c:v>
                </c:pt>
                <c:pt idx="710">
                  <c:v>2011/12/5</c:v>
                </c:pt>
                <c:pt idx="711">
                  <c:v>2011/12/6</c:v>
                </c:pt>
                <c:pt idx="712">
                  <c:v>2011/12/7</c:v>
                </c:pt>
                <c:pt idx="713">
                  <c:v>2011/12/8</c:v>
                </c:pt>
                <c:pt idx="714">
                  <c:v>2011/12/9</c:v>
                </c:pt>
                <c:pt idx="715">
                  <c:v>2011/12/12</c:v>
                </c:pt>
                <c:pt idx="716">
                  <c:v>2011/12/13</c:v>
                </c:pt>
                <c:pt idx="717">
                  <c:v>2011/12/14</c:v>
                </c:pt>
                <c:pt idx="718">
                  <c:v>2011/12/15</c:v>
                </c:pt>
                <c:pt idx="719">
                  <c:v>2011/12/16</c:v>
                </c:pt>
                <c:pt idx="720">
                  <c:v>2011/12/19</c:v>
                </c:pt>
                <c:pt idx="721">
                  <c:v>2011/12/20</c:v>
                </c:pt>
                <c:pt idx="722">
                  <c:v>2011/12/21</c:v>
                </c:pt>
                <c:pt idx="723">
                  <c:v>2011/12/22</c:v>
                </c:pt>
                <c:pt idx="724">
                  <c:v>2011/12/23</c:v>
                </c:pt>
                <c:pt idx="725">
                  <c:v>2011/12/26</c:v>
                </c:pt>
                <c:pt idx="726">
                  <c:v>2011/12/27</c:v>
                </c:pt>
                <c:pt idx="727">
                  <c:v>2011/12/28</c:v>
                </c:pt>
                <c:pt idx="728">
                  <c:v>2011/12/29</c:v>
                </c:pt>
                <c:pt idx="729">
                  <c:v>2011/12/30</c:v>
                </c:pt>
                <c:pt idx="730">
                  <c:v>2012/1/4</c:v>
                </c:pt>
                <c:pt idx="731">
                  <c:v>2012/1/5</c:v>
                </c:pt>
                <c:pt idx="732">
                  <c:v>2012/1/6</c:v>
                </c:pt>
                <c:pt idx="733">
                  <c:v>2012/1/9</c:v>
                </c:pt>
                <c:pt idx="734">
                  <c:v>2012/1/10</c:v>
                </c:pt>
                <c:pt idx="735">
                  <c:v>2012/1/11</c:v>
                </c:pt>
                <c:pt idx="736">
                  <c:v>2012/1/12</c:v>
                </c:pt>
                <c:pt idx="737">
                  <c:v>2012/1/13</c:v>
                </c:pt>
                <c:pt idx="738">
                  <c:v>2012/1/16</c:v>
                </c:pt>
                <c:pt idx="739">
                  <c:v>2012/1/17</c:v>
                </c:pt>
                <c:pt idx="740">
                  <c:v>2012/1/18</c:v>
                </c:pt>
                <c:pt idx="741">
                  <c:v>2012/1/19</c:v>
                </c:pt>
                <c:pt idx="742">
                  <c:v>2012/1/20</c:v>
                </c:pt>
                <c:pt idx="743">
                  <c:v>2012/1/30</c:v>
                </c:pt>
                <c:pt idx="744">
                  <c:v>2012/1/31</c:v>
                </c:pt>
                <c:pt idx="745">
                  <c:v>2012/2/1</c:v>
                </c:pt>
                <c:pt idx="746">
                  <c:v>2012/2/2</c:v>
                </c:pt>
                <c:pt idx="747">
                  <c:v>2012/2/3</c:v>
                </c:pt>
                <c:pt idx="748">
                  <c:v>2012/2/6</c:v>
                </c:pt>
                <c:pt idx="749">
                  <c:v>2012/2/7</c:v>
                </c:pt>
                <c:pt idx="750">
                  <c:v>2012/2/8</c:v>
                </c:pt>
                <c:pt idx="751">
                  <c:v>2012/2/9</c:v>
                </c:pt>
                <c:pt idx="752">
                  <c:v>2012/2/10</c:v>
                </c:pt>
                <c:pt idx="753">
                  <c:v>2012/2/13</c:v>
                </c:pt>
                <c:pt idx="754">
                  <c:v>2012/2/14</c:v>
                </c:pt>
                <c:pt idx="755">
                  <c:v>2012/2/15</c:v>
                </c:pt>
                <c:pt idx="756">
                  <c:v>2012/2/16</c:v>
                </c:pt>
                <c:pt idx="757">
                  <c:v>2012/2/17</c:v>
                </c:pt>
                <c:pt idx="758">
                  <c:v>2012/2/20</c:v>
                </c:pt>
                <c:pt idx="759">
                  <c:v>2012/2/21</c:v>
                </c:pt>
                <c:pt idx="760">
                  <c:v>2012/2/22</c:v>
                </c:pt>
                <c:pt idx="761">
                  <c:v>2012/2/23</c:v>
                </c:pt>
                <c:pt idx="762">
                  <c:v>2012/2/24</c:v>
                </c:pt>
                <c:pt idx="763">
                  <c:v>2012/2/27</c:v>
                </c:pt>
                <c:pt idx="764">
                  <c:v>2012/2/28</c:v>
                </c:pt>
                <c:pt idx="765">
                  <c:v>2012/2/29</c:v>
                </c:pt>
                <c:pt idx="766">
                  <c:v>2012/3/1</c:v>
                </c:pt>
                <c:pt idx="767">
                  <c:v>2012/3/2</c:v>
                </c:pt>
                <c:pt idx="768">
                  <c:v>2012/3/5</c:v>
                </c:pt>
                <c:pt idx="769">
                  <c:v>2012/3/6</c:v>
                </c:pt>
                <c:pt idx="770">
                  <c:v>2012/3/7</c:v>
                </c:pt>
                <c:pt idx="771">
                  <c:v>2012/3/8</c:v>
                </c:pt>
                <c:pt idx="772">
                  <c:v>2012/3/9</c:v>
                </c:pt>
                <c:pt idx="773">
                  <c:v>2012/3/12</c:v>
                </c:pt>
                <c:pt idx="774">
                  <c:v>2012/3/13</c:v>
                </c:pt>
                <c:pt idx="775">
                  <c:v>2012/3/14</c:v>
                </c:pt>
                <c:pt idx="776">
                  <c:v>2012/3/15</c:v>
                </c:pt>
                <c:pt idx="777">
                  <c:v>2012/3/16</c:v>
                </c:pt>
                <c:pt idx="778">
                  <c:v>2012/3/19</c:v>
                </c:pt>
                <c:pt idx="779">
                  <c:v>2012/3/20</c:v>
                </c:pt>
                <c:pt idx="780">
                  <c:v>2012/3/21</c:v>
                </c:pt>
                <c:pt idx="781">
                  <c:v>2012/3/22</c:v>
                </c:pt>
                <c:pt idx="782">
                  <c:v>2012/3/23</c:v>
                </c:pt>
                <c:pt idx="783">
                  <c:v>2012/3/26</c:v>
                </c:pt>
                <c:pt idx="784">
                  <c:v>2012/3/27</c:v>
                </c:pt>
                <c:pt idx="785">
                  <c:v>2012/3/28</c:v>
                </c:pt>
                <c:pt idx="786">
                  <c:v>2012/3/29</c:v>
                </c:pt>
                <c:pt idx="787">
                  <c:v>2012/3/30</c:v>
                </c:pt>
                <c:pt idx="788">
                  <c:v>2012/4/5</c:v>
                </c:pt>
                <c:pt idx="789">
                  <c:v>2012/4/6</c:v>
                </c:pt>
                <c:pt idx="790">
                  <c:v>2012/4/9</c:v>
                </c:pt>
                <c:pt idx="791">
                  <c:v>2012/4/10</c:v>
                </c:pt>
                <c:pt idx="792">
                  <c:v>2012/4/11</c:v>
                </c:pt>
                <c:pt idx="793">
                  <c:v>2012/4/12</c:v>
                </c:pt>
                <c:pt idx="794">
                  <c:v>2012/4/13</c:v>
                </c:pt>
                <c:pt idx="795">
                  <c:v>2012/4/16</c:v>
                </c:pt>
                <c:pt idx="796">
                  <c:v>2012/4/17</c:v>
                </c:pt>
                <c:pt idx="797">
                  <c:v>2012/4/18</c:v>
                </c:pt>
                <c:pt idx="798">
                  <c:v>2012/4/19</c:v>
                </c:pt>
                <c:pt idx="799">
                  <c:v>2012/4/20</c:v>
                </c:pt>
                <c:pt idx="800">
                  <c:v>2012/4/23</c:v>
                </c:pt>
                <c:pt idx="801">
                  <c:v>2012/4/24</c:v>
                </c:pt>
                <c:pt idx="802">
                  <c:v>2012/4/25</c:v>
                </c:pt>
                <c:pt idx="803">
                  <c:v>2012/4/26</c:v>
                </c:pt>
                <c:pt idx="804">
                  <c:v>2012/4/27</c:v>
                </c:pt>
                <c:pt idx="805">
                  <c:v>2012/5/2</c:v>
                </c:pt>
                <c:pt idx="806">
                  <c:v>2012/5/3</c:v>
                </c:pt>
                <c:pt idx="807">
                  <c:v>2012/5/4</c:v>
                </c:pt>
                <c:pt idx="808">
                  <c:v>2012/5/7</c:v>
                </c:pt>
                <c:pt idx="809">
                  <c:v>2012/5/8</c:v>
                </c:pt>
                <c:pt idx="810">
                  <c:v>2012/5/9</c:v>
                </c:pt>
                <c:pt idx="811">
                  <c:v>2012/5/10</c:v>
                </c:pt>
                <c:pt idx="812">
                  <c:v>2012/5/11</c:v>
                </c:pt>
                <c:pt idx="813">
                  <c:v>2012/5/14</c:v>
                </c:pt>
                <c:pt idx="814">
                  <c:v>2012/5/15</c:v>
                </c:pt>
                <c:pt idx="815">
                  <c:v>2012/5/16</c:v>
                </c:pt>
                <c:pt idx="816">
                  <c:v>2012/5/17</c:v>
                </c:pt>
                <c:pt idx="817">
                  <c:v>2012/5/18</c:v>
                </c:pt>
                <c:pt idx="818">
                  <c:v>2012/5/21</c:v>
                </c:pt>
                <c:pt idx="819">
                  <c:v>2012/5/22</c:v>
                </c:pt>
                <c:pt idx="820">
                  <c:v>2012/5/23</c:v>
                </c:pt>
                <c:pt idx="821">
                  <c:v>2012/5/24</c:v>
                </c:pt>
                <c:pt idx="822">
                  <c:v>2012/5/25</c:v>
                </c:pt>
                <c:pt idx="823">
                  <c:v>2012/5/28</c:v>
                </c:pt>
                <c:pt idx="824">
                  <c:v>2012/5/29</c:v>
                </c:pt>
                <c:pt idx="825">
                  <c:v>2012/5/30</c:v>
                </c:pt>
                <c:pt idx="826">
                  <c:v>2012/5/31</c:v>
                </c:pt>
                <c:pt idx="827">
                  <c:v>2012/6/1</c:v>
                </c:pt>
                <c:pt idx="828">
                  <c:v>2012/6/4</c:v>
                </c:pt>
                <c:pt idx="829">
                  <c:v>2012/6/5</c:v>
                </c:pt>
                <c:pt idx="830">
                  <c:v>2012/6/6</c:v>
                </c:pt>
                <c:pt idx="831">
                  <c:v>2012/6/7</c:v>
                </c:pt>
                <c:pt idx="832">
                  <c:v>2012/6/8</c:v>
                </c:pt>
                <c:pt idx="833">
                  <c:v>2012/6/11</c:v>
                </c:pt>
                <c:pt idx="834">
                  <c:v>2012/6/12</c:v>
                </c:pt>
                <c:pt idx="835">
                  <c:v>2012/6/13</c:v>
                </c:pt>
                <c:pt idx="836">
                  <c:v>2012/6/14</c:v>
                </c:pt>
                <c:pt idx="837">
                  <c:v>2012/6/15</c:v>
                </c:pt>
                <c:pt idx="838">
                  <c:v>2012/6/18</c:v>
                </c:pt>
                <c:pt idx="839">
                  <c:v>2012/6/19</c:v>
                </c:pt>
                <c:pt idx="840">
                  <c:v>2012/6/20</c:v>
                </c:pt>
                <c:pt idx="841">
                  <c:v>2012/6/21</c:v>
                </c:pt>
                <c:pt idx="842">
                  <c:v>2012/6/25</c:v>
                </c:pt>
                <c:pt idx="843">
                  <c:v>2012/6/26</c:v>
                </c:pt>
                <c:pt idx="844">
                  <c:v>2012/6/27</c:v>
                </c:pt>
                <c:pt idx="845">
                  <c:v>2012/6/28</c:v>
                </c:pt>
                <c:pt idx="846">
                  <c:v>2012/6/29</c:v>
                </c:pt>
                <c:pt idx="847">
                  <c:v>2012/7/2</c:v>
                </c:pt>
                <c:pt idx="848">
                  <c:v>2012/7/3</c:v>
                </c:pt>
                <c:pt idx="849">
                  <c:v>2012/7/4</c:v>
                </c:pt>
                <c:pt idx="850">
                  <c:v>2012/7/5</c:v>
                </c:pt>
                <c:pt idx="851">
                  <c:v>2012/7/6</c:v>
                </c:pt>
                <c:pt idx="852">
                  <c:v>2012/7/9</c:v>
                </c:pt>
                <c:pt idx="853">
                  <c:v>2012/7/10</c:v>
                </c:pt>
                <c:pt idx="854">
                  <c:v>2012/7/11</c:v>
                </c:pt>
                <c:pt idx="855">
                  <c:v>2012/7/12</c:v>
                </c:pt>
                <c:pt idx="856">
                  <c:v>2012/7/13</c:v>
                </c:pt>
                <c:pt idx="857">
                  <c:v>2012/7/16</c:v>
                </c:pt>
                <c:pt idx="858">
                  <c:v>2012/7/17</c:v>
                </c:pt>
                <c:pt idx="859">
                  <c:v>2012/7/18</c:v>
                </c:pt>
                <c:pt idx="860">
                  <c:v>2012/7/19</c:v>
                </c:pt>
                <c:pt idx="861">
                  <c:v>2012/7/20</c:v>
                </c:pt>
                <c:pt idx="862">
                  <c:v>2012/7/23</c:v>
                </c:pt>
                <c:pt idx="863">
                  <c:v>2012/7/24</c:v>
                </c:pt>
                <c:pt idx="864">
                  <c:v>2012/7/25</c:v>
                </c:pt>
                <c:pt idx="865">
                  <c:v>2012/7/26</c:v>
                </c:pt>
                <c:pt idx="866">
                  <c:v>2012/7/27</c:v>
                </c:pt>
                <c:pt idx="867">
                  <c:v>2012/7/30</c:v>
                </c:pt>
                <c:pt idx="868">
                  <c:v>2012/7/31</c:v>
                </c:pt>
                <c:pt idx="869">
                  <c:v>2012/8/1</c:v>
                </c:pt>
                <c:pt idx="870">
                  <c:v>2012/8/2</c:v>
                </c:pt>
                <c:pt idx="871">
                  <c:v>2012/8/3</c:v>
                </c:pt>
                <c:pt idx="872">
                  <c:v>2012/8/6</c:v>
                </c:pt>
                <c:pt idx="873">
                  <c:v>2012/8/7</c:v>
                </c:pt>
                <c:pt idx="874">
                  <c:v>2012/8/8</c:v>
                </c:pt>
                <c:pt idx="875">
                  <c:v>2012/8/9</c:v>
                </c:pt>
                <c:pt idx="876">
                  <c:v>2012/8/10</c:v>
                </c:pt>
                <c:pt idx="877">
                  <c:v>2012/8/13</c:v>
                </c:pt>
                <c:pt idx="878">
                  <c:v>2012/8/14</c:v>
                </c:pt>
                <c:pt idx="879">
                  <c:v>2012/8/15</c:v>
                </c:pt>
                <c:pt idx="880">
                  <c:v>2012/8/16</c:v>
                </c:pt>
                <c:pt idx="881">
                  <c:v>2012/8/17</c:v>
                </c:pt>
                <c:pt idx="882">
                  <c:v>2012/8/20</c:v>
                </c:pt>
                <c:pt idx="883">
                  <c:v>2012/8/21</c:v>
                </c:pt>
                <c:pt idx="884">
                  <c:v>2012/8/22</c:v>
                </c:pt>
                <c:pt idx="885">
                  <c:v>2012/8/23</c:v>
                </c:pt>
                <c:pt idx="886">
                  <c:v>2012/8/24</c:v>
                </c:pt>
                <c:pt idx="887">
                  <c:v>2012/8/27</c:v>
                </c:pt>
                <c:pt idx="888">
                  <c:v>2012/8/28</c:v>
                </c:pt>
                <c:pt idx="889">
                  <c:v>2012/8/29</c:v>
                </c:pt>
                <c:pt idx="890">
                  <c:v>2012/8/30</c:v>
                </c:pt>
                <c:pt idx="891">
                  <c:v>2012/8/31</c:v>
                </c:pt>
                <c:pt idx="892">
                  <c:v>2012/9/3</c:v>
                </c:pt>
                <c:pt idx="893">
                  <c:v>2012/9/4</c:v>
                </c:pt>
                <c:pt idx="894">
                  <c:v>2012/9/5</c:v>
                </c:pt>
                <c:pt idx="895">
                  <c:v>2012/9/6</c:v>
                </c:pt>
                <c:pt idx="896">
                  <c:v>2012/9/7</c:v>
                </c:pt>
                <c:pt idx="897">
                  <c:v>2012/9/10</c:v>
                </c:pt>
                <c:pt idx="898">
                  <c:v>2012/9/11</c:v>
                </c:pt>
                <c:pt idx="899">
                  <c:v>2012/9/12</c:v>
                </c:pt>
                <c:pt idx="900">
                  <c:v>2012/9/13</c:v>
                </c:pt>
                <c:pt idx="901">
                  <c:v>2012/9/14</c:v>
                </c:pt>
                <c:pt idx="902">
                  <c:v>2012/9/17</c:v>
                </c:pt>
                <c:pt idx="903">
                  <c:v>2012/9/18</c:v>
                </c:pt>
                <c:pt idx="904">
                  <c:v>2012/9/19</c:v>
                </c:pt>
                <c:pt idx="905">
                  <c:v>2012/9/20</c:v>
                </c:pt>
                <c:pt idx="906">
                  <c:v>2012/9/21</c:v>
                </c:pt>
                <c:pt idx="907">
                  <c:v>2012/9/24</c:v>
                </c:pt>
                <c:pt idx="908">
                  <c:v>2012/9/25</c:v>
                </c:pt>
                <c:pt idx="909">
                  <c:v>2012/9/26</c:v>
                </c:pt>
                <c:pt idx="910">
                  <c:v>2012/9/27</c:v>
                </c:pt>
                <c:pt idx="911">
                  <c:v>2012/9/28</c:v>
                </c:pt>
                <c:pt idx="912">
                  <c:v>2012/10/8</c:v>
                </c:pt>
                <c:pt idx="913">
                  <c:v>2012/10/9</c:v>
                </c:pt>
                <c:pt idx="914">
                  <c:v>2012/10/10</c:v>
                </c:pt>
                <c:pt idx="915">
                  <c:v>2012/10/11</c:v>
                </c:pt>
                <c:pt idx="916">
                  <c:v>2012/10/12</c:v>
                </c:pt>
                <c:pt idx="917">
                  <c:v>2012/10/15</c:v>
                </c:pt>
                <c:pt idx="918">
                  <c:v>2012/10/16</c:v>
                </c:pt>
                <c:pt idx="919">
                  <c:v>2012/10/17</c:v>
                </c:pt>
                <c:pt idx="920">
                  <c:v>2012/10/18</c:v>
                </c:pt>
                <c:pt idx="921">
                  <c:v>2012/10/19</c:v>
                </c:pt>
                <c:pt idx="922">
                  <c:v>2012/10/22</c:v>
                </c:pt>
                <c:pt idx="923">
                  <c:v>2012/10/23</c:v>
                </c:pt>
                <c:pt idx="924">
                  <c:v>2012/10/24</c:v>
                </c:pt>
                <c:pt idx="925">
                  <c:v>2012/10/25</c:v>
                </c:pt>
                <c:pt idx="926">
                  <c:v>2012/10/26</c:v>
                </c:pt>
                <c:pt idx="927">
                  <c:v>2012/10/29</c:v>
                </c:pt>
                <c:pt idx="928">
                  <c:v>2012/10/30</c:v>
                </c:pt>
                <c:pt idx="929">
                  <c:v>2012/10/31</c:v>
                </c:pt>
                <c:pt idx="930">
                  <c:v>2012/11/1</c:v>
                </c:pt>
                <c:pt idx="931">
                  <c:v>2012/11/2</c:v>
                </c:pt>
                <c:pt idx="932">
                  <c:v>2012/11/5</c:v>
                </c:pt>
                <c:pt idx="933">
                  <c:v>2012/11/6</c:v>
                </c:pt>
                <c:pt idx="934">
                  <c:v>2012/11/7</c:v>
                </c:pt>
                <c:pt idx="935">
                  <c:v>2012/11/8</c:v>
                </c:pt>
                <c:pt idx="936">
                  <c:v>2012/11/9</c:v>
                </c:pt>
                <c:pt idx="937">
                  <c:v>2012/11/12</c:v>
                </c:pt>
                <c:pt idx="938">
                  <c:v>2012/11/13</c:v>
                </c:pt>
                <c:pt idx="939">
                  <c:v>2012/11/14</c:v>
                </c:pt>
                <c:pt idx="940">
                  <c:v>2012/11/15</c:v>
                </c:pt>
                <c:pt idx="941">
                  <c:v>2012/11/16</c:v>
                </c:pt>
                <c:pt idx="942">
                  <c:v>2012/11/19</c:v>
                </c:pt>
                <c:pt idx="943">
                  <c:v>2012/11/20</c:v>
                </c:pt>
                <c:pt idx="944">
                  <c:v>2012/11/21</c:v>
                </c:pt>
                <c:pt idx="945">
                  <c:v>2012/11/22</c:v>
                </c:pt>
                <c:pt idx="946">
                  <c:v>2012/11/23</c:v>
                </c:pt>
                <c:pt idx="947">
                  <c:v>2012/11/26</c:v>
                </c:pt>
                <c:pt idx="948">
                  <c:v>2012/11/27</c:v>
                </c:pt>
                <c:pt idx="949">
                  <c:v>2012/11/28</c:v>
                </c:pt>
                <c:pt idx="950">
                  <c:v>2012/11/29</c:v>
                </c:pt>
                <c:pt idx="951">
                  <c:v>2012/11/30</c:v>
                </c:pt>
                <c:pt idx="952">
                  <c:v>2012/12/3</c:v>
                </c:pt>
                <c:pt idx="953">
                  <c:v>2012/12/4</c:v>
                </c:pt>
                <c:pt idx="954">
                  <c:v>2012/12/5</c:v>
                </c:pt>
                <c:pt idx="955">
                  <c:v>2012/12/6</c:v>
                </c:pt>
                <c:pt idx="956">
                  <c:v>2012/12/7</c:v>
                </c:pt>
                <c:pt idx="957">
                  <c:v>2012/12/10</c:v>
                </c:pt>
                <c:pt idx="958">
                  <c:v>2012/12/11</c:v>
                </c:pt>
                <c:pt idx="959">
                  <c:v>2012/12/12</c:v>
                </c:pt>
                <c:pt idx="960">
                  <c:v>2012/12/13</c:v>
                </c:pt>
                <c:pt idx="961">
                  <c:v>2012/12/14</c:v>
                </c:pt>
                <c:pt idx="962">
                  <c:v>2012/12/17</c:v>
                </c:pt>
                <c:pt idx="963">
                  <c:v>2012/12/18</c:v>
                </c:pt>
                <c:pt idx="964">
                  <c:v>2012/12/19</c:v>
                </c:pt>
                <c:pt idx="965">
                  <c:v>2012/12/20</c:v>
                </c:pt>
                <c:pt idx="966">
                  <c:v>2012/12/21</c:v>
                </c:pt>
                <c:pt idx="967">
                  <c:v>2012/12/24</c:v>
                </c:pt>
                <c:pt idx="968">
                  <c:v>2012/12/25</c:v>
                </c:pt>
                <c:pt idx="969">
                  <c:v>2012/12/26</c:v>
                </c:pt>
                <c:pt idx="970">
                  <c:v>2012/12/27</c:v>
                </c:pt>
                <c:pt idx="971">
                  <c:v>2012/12/28</c:v>
                </c:pt>
                <c:pt idx="972">
                  <c:v>2012/12/31</c:v>
                </c:pt>
                <c:pt idx="973">
                  <c:v>2013/1/4</c:v>
                </c:pt>
                <c:pt idx="974">
                  <c:v>2013/1/7</c:v>
                </c:pt>
                <c:pt idx="975">
                  <c:v>2013/1/8</c:v>
                </c:pt>
                <c:pt idx="976">
                  <c:v>2013/1/9</c:v>
                </c:pt>
                <c:pt idx="977">
                  <c:v>2013/1/10</c:v>
                </c:pt>
                <c:pt idx="978">
                  <c:v>2013/1/11</c:v>
                </c:pt>
                <c:pt idx="979">
                  <c:v>2013/1/14</c:v>
                </c:pt>
                <c:pt idx="980">
                  <c:v>2013/1/15</c:v>
                </c:pt>
                <c:pt idx="981">
                  <c:v>2013/1/16</c:v>
                </c:pt>
                <c:pt idx="982">
                  <c:v>2013/1/17</c:v>
                </c:pt>
                <c:pt idx="983">
                  <c:v>2013/1/18</c:v>
                </c:pt>
                <c:pt idx="984">
                  <c:v>2013/1/21</c:v>
                </c:pt>
                <c:pt idx="985">
                  <c:v>2013/1/22</c:v>
                </c:pt>
                <c:pt idx="986">
                  <c:v>2013/1/23</c:v>
                </c:pt>
                <c:pt idx="987">
                  <c:v>2013/1/24</c:v>
                </c:pt>
                <c:pt idx="988">
                  <c:v>2013/1/25</c:v>
                </c:pt>
                <c:pt idx="989">
                  <c:v>2013/1/28</c:v>
                </c:pt>
                <c:pt idx="990">
                  <c:v>2013/1/29</c:v>
                </c:pt>
                <c:pt idx="991">
                  <c:v>2013/1/30</c:v>
                </c:pt>
                <c:pt idx="992">
                  <c:v>2013/1/31</c:v>
                </c:pt>
                <c:pt idx="993">
                  <c:v>2013/2/1</c:v>
                </c:pt>
                <c:pt idx="994">
                  <c:v>2013/2/4</c:v>
                </c:pt>
                <c:pt idx="995">
                  <c:v>2013/2/5</c:v>
                </c:pt>
                <c:pt idx="996">
                  <c:v>2013/2/6</c:v>
                </c:pt>
                <c:pt idx="997">
                  <c:v>2013/2/7</c:v>
                </c:pt>
                <c:pt idx="998">
                  <c:v>2013/2/8</c:v>
                </c:pt>
                <c:pt idx="999">
                  <c:v>2013/2/18</c:v>
                </c:pt>
                <c:pt idx="1000">
                  <c:v>2013/2/19</c:v>
                </c:pt>
                <c:pt idx="1001">
                  <c:v>2013/2/20</c:v>
                </c:pt>
                <c:pt idx="1002">
                  <c:v>2013/2/21</c:v>
                </c:pt>
                <c:pt idx="1003">
                  <c:v>2013/2/22</c:v>
                </c:pt>
                <c:pt idx="1004">
                  <c:v>2013/2/25</c:v>
                </c:pt>
                <c:pt idx="1005">
                  <c:v>2013/2/26</c:v>
                </c:pt>
                <c:pt idx="1006">
                  <c:v>2013/2/27</c:v>
                </c:pt>
                <c:pt idx="1007">
                  <c:v>2013/2/28</c:v>
                </c:pt>
                <c:pt idx="1008">
                  <c:v>2013/3/1</c:v>
                </c:pt>
                <c:pt idx="1009">
                  <c:v>2013/3/4</c:v>
                </c:pt>
                <c:pt idx="1010">
                  <c:v>2013/3/5</c:v>
                </c:pt>
                <c:pt idx="1011">
                  <c:v>2013/3/6</c:v>
                </c:pt>
                <c:pt idx="1012">
                  <c:v>2013/3/7</c:v>
                </c:pt>
                <c:pt idx="1013">
                  <c:v>2013/3/8</c:v>
                </c:pt>
                <c:pt idx="1014">
                  <c:v>2013/3/11</c:v>
                </c:pt>
                <c:pt idx="1015">
                  <c:v>2013/3/12</c:v>
                </c:pt>
                <c:pt idx="1016">
                  <c:v>2013/3/13</c:v>
                </c:pt>
                <c:pt idx="1017">
                  <c:v>2013/3/14</c:v>
                </c:pt>
                <c:pt idx="1018">
                  <c:v>2013/3/15</c:v>
                </c:pt>
                <c:pt idx="1019">
                  <c:v>2013/3/18</c:v>
                </c:pt>
                <c:pt idx="1020">
                  <c:v>2013/3/19</c:v>
                </c:pt>
                <c:pt idx="1021">
                  <c:v>2013/3/20</c:v>
                </c:pt>
                <c:pt idx="1022">
                  <c:v>2013/3/21</c:v>
                </c:pt>
                <c:pt idx="1023">
                  <c:v>2013/3/22</c:v>
                </c:pt>
                <c:pt idx="1024">
                  <c:v>2013/3/25</c:v>
                </c:pt>
                <c:pt idx="1025">
                  <c:v>2013/3/26</c:v>
                </c:pt>
                <c:pt idx="1026">
                  <c:v>2013/3/27</c:v>
                </c:pt>
                <c:pt idx="1027">
                  <c:v>2013/3/28</c:v>
                </c:pt>
                <c:pt idx="1028">
                  <c:v>2013/3/29</c:v>
                </c:pt>
                <c:pt idx="1029">
                  <c:v>2013/4/1</c:v>
                </c:pt>
                <c:pt idx="1030">
                  <c:v>2013/4/2</c:v>
                </c:pt>
                <c:pt idx="1031">
                  <c:v>2013/4/3</c:v>
                </c:pt>
                <c:pt idx="1032">
                  <c:v>2013/4/8</c:v>
                </c:pt>
                <c:pt idx="1033">
                  <c:v>2013/4/9</c:v>
                </c:pt>
                <c:pt idx="1034">
                  <c:v>2013/4/10</c:v>
                </c:pt>
                <c:pt idx="1035">
                  <c:v>2013/4/11</c:v>
                </c:pt>
                <c:pt idx="1036">
                  <c:v>2013/4/12</c:v>
                </c:pt>
                <c:pt idx="1037">
                  <c:v>2013/4/15</c:v>
                </c:pt>
                <c:pt idx="1038">
                  <c:v>2013/4/16</c:v>
                </c:pt>
                <c:pt idx="1039">
                  <c:v>2013/4/17</c:v>
                </c:pt>
                <c:pt idx="1040">
                  <c:v>2013/4/18</c:v>
                </c:pt>
                <c:pt idx="1041">
                  <c:v>2013/4/19</c:v>
                </c:pt>
                <c:pt idx="1042">
                  <c:v>2013/4/22</c:v>
                </c:pt>
                <c:pt idx="1043">
                  <c:v>2013/4/23</c:v>
                </c:pt>
                <c:pt idx="1044">
                  <c:v>2013/4/24</c:v>
                </c:pt>
                <c:pt idx="1045">
                  <c:v>2013/4/25</c:v>
                </c:pt>
                <c:pt idx="1046">
                  <c:v>2013/4/26</c:v>
                </c:pt>
                <c:pt idx="1047">
                  <c:v>2013/5/2</c:v>
                </c:pt>
                <c:pt idx="1048">
                  <c:v>2013/5/3</c:v>
                </c:pt>
                <c:pt idx="1049">
                  <c:v>2013/5/6</c:v>
                </c:pt>
                <c:pt idx="1050">
                  <c:v>2013/5/7</c:v>
                </c:pt>
                <c:pt idx="1051">
                  <c:v>2013/5/8</c:v>
                </c:pt>
                <c:pt idx="1052">
                  <c:v>2013/5/9</c:v>
                </c:pt>
                <c:pt idx="1053">
                  <c:v>2013/5/10</c:v>
                </c:pt>
                <c:pt idx="1054">
                  <c:v>2013/5/13</c:v>
                </c:pt>
                <c:pt idx="1055">
                  <c:v>2013/5/14</c:v>
                </c:pt>
                <c:pt idx="1056">
                  <c:v>2013/5/15</c:v>
                </c:pt>
                <c:pt idx="1057">
                  <c:v>2013/5/16</c:v>
                </c:pt>
                <c:pt idx="1058">
                  <c:v>2013/5/17</c:v>
                </c:pt>
                <c:pt idx="1059">
                  <c:v>2013/5/20</c:v>
                </c:pt>
                <c:pt idx="1060">
                  <c:v>2013/5/21</c:v>
                </c:pt>
                <c:pt idx="1061">
                  <c:v>2013/5/22</c:v>
                </c:pt>
                <c:pt idx="1062">
                  <c:v>2013/5/23</c:v>
                </c:pt>
                <c:pt idx="1063">
                  <c:v>2013/5/24</c:v>
                </c:pt>
                <c:pt idx="1064">
                  <c:v>2013/5/27</c:v>
                </c:pt>
                <c:pt idx="1065">
                  <c:v>2013/5/28</c:v>
                </c:pt>
                <c:pt idx="1066">
                  <c:v>2013/5/29</c:v>
                </c:pt>
                <c:pt idx="1067">
                  <c:v>2013/5/30</c:v>
                </c:pt>
                <c:pt idx="1068">
                  <c:v>2013/5/31</c:v>
                </c:pt>
                <c:pt idx="1069">
                  <c:v>2013/6/3</c:v>
                </c:pt>
                <c:pt idx="1070">
                  <c:v>2013/6/4</c:v>
                </c:pt>
                <c:pt idx="1071">
                  <c:v>2013/6/5</c:v>
                </c:pt>
                <c:pt idx="1072">
                  <c:v>2013/6/6</c:v>
                </c:pt>
                <c:pt idx="1073">
                  <c:v>2013/6/7</c:v>
                </c:pt>
                <c:pt idx="1074">
                  <c:v>2013/6/13</c:v>
                </c:pt>
                <c:pt idx="1075">
                  <c:v>2013/6/14</c:v>
                </c:pt>
                <c:pt idx="1076">
                  <c:v>2013/6/17</c:v>
                </c:pt>
                <c:pt idx="1077">
                  <c:v>2013/6/18</c:v>
                </c:pt>
                <c:pt idx="1078">
                  <c:v>2013/6/19</c:v>
                </c:pt>
                <c:pt idx="1079">
                  <c:v>2013/6/20</c:v>
                </c:pt>
                <c:pt idx="1080">
                  <c:v>2013/6/21</c:v>
                </c:pt>
                <c:pt idx="1081">
                  <c:v>2013/6/24</c:v>
                </c:pt>
                <c:pt idx="1082">
                  <c:v>2013/6/25</c:v>
                </c:pt>
                <c:pt idx="1083">
                  <c:v>2013/6/26</c:v>
                </c:pt>
                <c:pt idx="1084">
                  <c:v>2013/6/27</c:v>
                </c:pt>
                <c:pt idx="1085">
                  <c:v>2013/6/28</c:v>
                </c:pt>
                <c:pt idx="1086">
                  <c:v>2013/7/1</c:v>
                </c:pt>
                <c:pt idx="1087">
                  <c:v>2013/7/2</c:v>
                </c:pt>
                <c:pt idx="1088">
                  <c:v>2013/7/3</c:v>
                </c:pt>
                <c:pt idx="1089">
                  <c:v>2013/7/4</c:v>
                </c:pt>
                <c:pt idx="1090">
                  <c:v>2013/7/5</c:v>
                </c:pt>
                <c:pt idx="1091">
                  <c:v>2013/7/8</c:v>
                </c:pt>
                <c:pt idx="1092">
                  <c:v>2013/7/9</c:v>
                </c:pt>
                <c:pt idx="1093">
                  <c:v>2013/7/10</c:v>
                </c:pt>
                <c:pt idx="1094">
                  <c:v>2013/7/11</c:v>
                </c:pt>
                <c:pt idx="1095">
                  <c:v>2013/7/12</c:v>
                </c:pt>
                <c:pt idx="1096">
                  <c:v>2013/7/15</c:v>
                </c:pt>
                <c:pt idx="1097">
                  <c:v>2013/7/16</c:v>
                </c:pt>
                <c:pt idx="1098">
                  <c:v>2013/7/17</c:v>
                </c:pt>
                <c:pt idx="1099">
                  <c:v>2013/7/18</c:v>
                </c:pt>
                <c:pt idx="1100">
                  <c:v>2013/7/19</c:v>
                </c:pt>
                <c:pt idx="1101">
                  <c:v>2013/7/22</c:v>
                </c:pt>
                <c:pt idx="1102">
                  <c:v>2013/7/23</c:v>
                </c:pt>
                <c:pt idx="1103">
                  <c:v>2013/7/24</c:v>
                </c:pt>
                <c:pt idx="1104">
                  <c:v>2013/7/25</c:v>
                </c:pt>
                <c:pt idx="1105">
                  <c:v>2013/7/26</c:v>
                </c:pt>
                <c:pt idx="1106">
                  <c:v>2013/7/29</c:v>
                </c:pt>
                <c:pt idx="1107">
                  <c:v>2013/7/30</c:v>
                </c:pt>
                <c:pt idx="1108">
                  <c:v>2013/7/31</c:v>
                </c:pt>
                <c:pt idx="1109">
                  <c:v>2013/8/1</c:v>
                </c:pt>
                <c:pt idx="1110">
                  <c:v>2013/8/2</c:v>
                </c:pt>
                <c:pt idx="1111">
                  <c:v>2013/8/5</c:v>
                </c:pt>
                <c:pt idx="1112">
                  <c:v>2013/8/6</c:v>
                </c:pt>
                <c:pt idx="1113">
                  <c:v>2013/8/7</c:v>
                </c:pt>
                <c:pt idx="1114">
                  <c:v>2013/8/8</c:v>
                </c:pt>
                <c:pt idx="1115">
                  <c:v>2013/8/9</c:v>
                </c:pt>
                <c:pt idx="1116">
                  <c:v>2013/8/12</c:v>
                </c:pt>
                <c:pt idx="1117">
                  <c:v>2013/8/13</c:v>
                </c:pt>
                <c:pt idx="1118">
                  <c:v>2013/8/14</c:v>
                </c:pt>
                <c:pt idx="1119">
                  <c:v>2013/8/15</c:v>
                </c:pt>
                <c:pt idx="1120">
                  <c:v>2013/8/16</c:v>
                </c:pt>
                <c:pt idx="1121">
                  <c:v>2013/8/19</c:v>
                </c:pt>
                <c:pt idx="1122">
                  <c:v>2013/8/20</c:v>
                </c:pt>
                <c:pt idx="1123">
                  <c:v>2013/8/21</c:v>
                </c:pt>
                <c:pt idx="1124">
                  <c:v>2013/8/22</c:v>
                </c:pt>
                <c:pt idx="1125">
                  <c:v>2013/8/23</c:v>
                </c:pt>
                <c:pt idx="1126">
                  <c:v>2013/8/26</c:v>
                </c:pt>
                <c:pt idx="1127">
                  <c:v>2013/8/27</c:v>
                </c:pt>
                <c:pt idx="1128">
                  <c:v>2013/8/28</c:v>
                </c:pt>
                <c:pt idx="1129">
                  <c:v>2013/8/29</c:v>
                </c:pt>
                <c:pt idx="1130">
                  <c:v>2013/8/30</c:v>
                </c:pt>
                <c:pt idx="1131">
                  <c:v>2013/9/2</c:v>
                </c:pt>
                <c:pt idx="1132">
                  <c:v>2013/9/3</c:v>
                </c:pt>
                <c:pt idx="1133">
                  <c:v>2013/9/4</c:v>
                </c:pt>
                <c:pt idx="1134">
                  <c:v>2013/9/5</c:v>
                </c:pt>
                <c:pt idx="1135">
                  <c:v>2013/9/6</c:v>
                </c:pt>
                <c:pt idx="1136">
                  <c:v>2013/9/9</c:v>
                </c:pt>
                <c:pt idx="1137">
                  <c:v>2013/9/10</c:v>
                </c:pt>
                <c:pt idx="1138">
                  <c:v>2013/9/11</c:v>
                </c:pt>
                <c:pt idx="1139">
                  <c:v>2013/9/12</c:v>
                </c:pt>
                <c:pt idx="1140">
                  <c:v>2013/9/13</c:v>
                </c:pt>
                <c:pt idx="1141">
                  <c:v>2013/9/16</c:v>
                </c:pt>
                <c:pt idx="1142">
                  <c:v>2013/9/17</c:v>
                </c:pt>
                <c:pt idx="1143">
                  <c:v>2013/9/18</c:v>
                </c:pt>
                <c:pt idx="1144">
                  <c:v>2013/9/23</c:v>
                </c:pt>
                <c:pt idx="1145">
                  <c:v>2013/9/24</c:v>
                </c:pt>
                <c:pt idx="1146">
                  <c:v>2013/9/25</c:v>
                </c:pt>
                <c:pt idx="1147">
                  <c:v>2013/9/26</c:v>
                </c:pt>
                <c:pt idx="1148">
                  <c:v>2013/9/27</c:v>
                </c:pt>
                <c:pt idx="1149">
                  <c:v>2013/9/30</c:v>
                </c:pt>
                <c:pt idx="1150">
                  <c:v>2013/10/8</c:v>
                </c:pt>
                <c:pt idx="1151">
                  <c:v>2013/10/9</c:v>
                </c:pt>
                <c:pt idx="1152">
                  <c:v>2013/10/10</c:v>
                </c:pt>
                <c:pt idx="1153">
                  <c:v>2013/10/11</c:v>
                </c:pt>
                <c:pt idx="1154">
                  <c:v>2013/10/14</c:v>
                </c:pt>
                <c:pt idx="1155">
                  <c:v>2013/10/15</c:v>
                </c:pt>
                <c:pt idx="1156">
                  <c:v>2013/10/16</c:v>
                </c:pt>
                <c:pt idx="1157">
                  <c:v>2013/10/17</c:v>
                </c:pt>
                <c:pt idx="1158">
                  <c:v>2013/10/18</c:v>
                </c:pt>
                <c:pt idx="1159">
                  <c:v>2013/10/21</c:v>
                </c:pt>
                <c:pt idx="1160">
                  <c:v>2013/10/22</c:v>
                </c:pt>
                <c:pt idx="1161">
                  <c:v>2013/10/23</c:v>
                </c:pt>
                <c:pt idx="1162">
                  <c:v>2013/10/24</c:v>
                </c:pt>
                <c:pt idx="1163">
                  <c:v>2013/10/25</c:v>
                </c:pt>
                <c:pt idx="1164">
                  <c:v>2013/10/28</c:v>
                </c:pt>
                <c:pt idx="1165">
                  <c:v>2013/10/29</c:v>
                </c:pt>
                <c:pt idx="1166">
                  <c:v>2013/10/30</c:v>
                </c:pt>
                <c:pt idx="1167">
                  <c:v>2013/10/31</c:v>
                </c:pt>
                <c:pt idx="1168">
                  <c:v>2013/11/1</c:v>
                </c:pt>
                <c:pt idx="1169">
                  <c:v>2013/11/4</c:v>
                </c:pt>
                <c:pt idx="1170">
                  <c:v>2013/11/5</c:v>
                </c:pt>
                <c:pt idx="1171">
                  <c:v>2013/11/6</c:v>
                </c:pt>
                <c:pt idx="1172">
                  <c:v>2013/11/7</c:v>
                </c:pt>
                <c:pt idx="1173">
                  <c:v>2013/11/8</c:v>
                </c:pt>
                <c:pt idx="1174">
                  <c:v>2013/11/11</c:v>
                </c:pt>
                <c:pt idx="1175">
                  <c:v>2013/11/12</c:v>
                </c:pt>
                <c:pt idx="1176">
                  <c:v>2013/11/13</c:v>
                </c:pt>
                <c:pt idx="1177">
                  <c:v>2013/11/14</c:v>
                </c:pt>
                <c:pt idx="1178">
                  <c:v>2013/11/15</c:v>
                </c:pt>
                <c:pt idx="1179">
                  <c:v>2013/11/18</c:v>
                </c:pt>
                <c:pt idx="1180">
                  <c:v>2013/11/19</c:v>
                </c:pt>
                <c:pt idx="1181">
                  <c:v>2013/11/20</c:v>
                </c:pt>
                <c:pt idx="1182">
                  <c:v>2013/11/21</c:v>
                </c:pt>
                <c:pt idx="1183">
                  <c:v>2013/11/22</c:v>
                </c:pt>
                <c:pt idx="1184">
                  <c:v>2013/11/25</c:v>
                </c:pt>
                <c:pt idx="1185">
                  <c:v>2013/11/26</c:v>
                </c:pt>
                <c:pt idx="1186">
                  <c:v>2013/11/27</c:v>
                </c:pt>
                <c:pt idx="1187">
                  <c:v>2013/11/28</c:v>
                </c:pt>
                <c:pt idx="1188">
                  <c:v>2013/11/29</c:v>
                </c:pt>
                <c:pt idx="1189">
                  <c:v>2013/12/2</c:v>
                </c:pt>
                <c:pt idx="1190">
                  <c:v>2013/12/3</c:v>
                </c:pt>
                <c:pt idx="1191">
                  <c:v>2013/12/4</c:v>
                </c:pt>
                <c:pt idx="1192">
                  <c:v>2013/12/5</c:v>
                </c:pt>
                <c:pt idx="1193">
                  <c:v>2013/12/6</c:v>
                </c:pt>
                <c:pt idx="1194">
                  <c:v>2013/12/9</c:v>
                </c:pt>
                <c:pt idx="1195">
                  <c:v>2013/12/10</c:v>
                </c:pt>
                <c:pt idx="1196">
                  <c:v>2013/12/11</c:v>
                </c:pt>
                <c:pt idx="1197">
                  <c:v>2013/12/12</c:v>
                </c:pt>
                <c:pt idx="1198">
                  <c:v>2013/12/13</c:v>
                </c:pt>
                <c:pt idx="1199">
                  <c:v>2013/12/16</c:v>
                </c:pt>
                <c:pt idx="1200">
                  <c:v>2013/12/17</c:v>
                </c:pt>
                <c:pt idx="1201">
                  <c:v>2013/12/18</c:v>
                </c:pt>
                <c:pt idx="1202">
                  <c:v>2013/12/19</c:v>
                </c:pt>
                <c:pt idx="1203">
                  <c:v>2013/12/20</c:v>
                </c:pt>
                <c:pt idx="1204">
                  <c:v>2013/12/23</c:v>
                </c:pt>
                <c:pt idx="1205">
                  <c:v>2013/12/24</c:v>
                </c:pt>
                <c:pt idx="1206">
                  <c:v>2013/12/25</c:v>
                </c:pt>
                <c:pt idx="1207">
                  <c:v>2013/12/26</c:v>
                </c:pt>
                <c:pt idx="1208">
                  <c:v>2013/12/27</c:v>
                </c:pt>
                <c:pt idx="1209">
                  <c:v>2013/12/30</c:v>
                </c:pt>
                <c:pt idx="1210">
                  <c:v>2013/12/31</c:v>
                </c:pt>
                <c:pt idx="1211">
                  <c:v>2014/1/2</c:v>
                </c:pt>
                <c:pt idx="1212">
                  <c:v>2014/1/3</c:v>
                </c:pt>
                <c:pt idx="1213">
                  <c:v>2014/1/6</c:v>
                </c:pt>
                <c:pt idx="1214">
                  <c:v>2014/1/7</c:v>
                </c:pt>
                <c:pt idx="1215">
                  <c:v>2014/1/8</c:v>
                </c:pt>
                <c:pt idx="1216">
                  <c:v>2014/1/9</c:v>
                </c:pt>
                <c:pt idx="1217">
                  <c:v>2014/1/10</c:v>
                </c:pt>
                <c:pt idx="1218">
                  <c:v>2014/1/13</c:v>
                </c:pt>
                <c:pt idx="1219">
                  <c:v>2014/1/14</c:v>
                </c:pt>
                <c:pt idx="1220">
                  <c:v>2014/1/15</c:v>
                </c:pt>
                <c:pt idx="1221">
                  <c:v>2014/1/16</c:v>
                </c:pt>
                <c:pt idx="1222">
                  <c:v>2014/1/17</c:v>
                </c:pt>
                <c:pt idx="1223">
                  <c:v>2014/1/20</c:v>
                </c:pt>
                <c:pt idx="1224">
                  <c:v>2014/1/21</c:v>
                </c:pt>
                <c:pt idx="1225">
                  <c:v>2014/1/22</c:v>
                </c:pt>
                <c:pt idx="1226">
                  <c:v>2014/1/23</c:v>
                </c:pt>
                <c:pt idx="1227">
                  <c:v>2014/1/24</c:v>
                </c:pt>
                <c:pt idx="1228">
                  <c:v>2014/1/27</c:v>
                </c:pt>
                <c:pt idx="1229">
                  <c:v>2014/1/28</c:v>
                </c:pt>
                <c:pt idx="1230">
                  <c:v>2014/1/29</c:v>
                </c:pt>
                <c:pt idx="1231">
                  <c:v>2014/1/30</c:v>
                </c:pt>
                <c:pt idx="1232">
                  <c:v>2014/2/7</c:v>
                </c:pt>
                <c:pt idx="1233">
                  <c:v>2014/2/10</c:v>
                </c:pt>
                <c:pt idx="1234">
                  <c:v>2014/2/11</c:v>
                </c:pt>
                <c:pt idx="1235">
                  <c:v>2014/2/12</c:v>
                </c:pt>
                <c:pt idx="1236">
                  <c:v>2014/2/13</c:v>
                </c:pt>
                <c:pt idx="1237">
                  <c:v>2014/2/14</c:v>
                </c:pt>
                <c:pt idx="1238">
                  <c:v>2014/2/17</c:v>
                </c:pt>
                <c:pt idx="1239">
                  <c:v>2014/2/18</c:v>
                </c:pt>
                <c:pt idx="1240">
                  <c:v>2014/2/19</c:v>
                </c:pt>
                <c:pt idx="1241">
                  <c:v>2014/2/20</c:v>
                </c:pt>
                <c:pt idx="1242">
                  <c:v>2014/2/21</c:v>
                </c:pt>
                <c:pt idx="1243">
                  <c:v>2014/2/24</c:v>
                </c:pt>
                <c:pt idx="1244">
                  <c:v>2014/2/25</c:v>
                </c:pt>
                <c:pt idx="1245">
                  <c:v>2014/2/26</c:v>
                </c:pt>
                <c:pt idx="1246">
                  <c:v>2014/2/27</c:v>
                </c:pt>
                <c:pt idx="1247">
                  <c:v>2014/2/28</c:v>
                </c:pt>
                <c:pt idx="1248">
                  <c:v>2014/3/3</c:v>
                </c:pt>
                <c:pt idx="1249">
                  <c:v>2014/3/4</c:v>
                </c:pt>
                <c:pt idx="1250">
                  <c:v>2014/3/5</c:v>
                </c:pt>
                <c:pt idx="1251">
                  <c:v>2014/3/6</c:v>
                </c:pt>
                <c:pt idx="1252">
                  <c:v>2014/3/7</c:v>
                </c:pt>
                <c:pt idx="1253">
                  <c:v>2014/3/10</c:v>
                </c:pt>
                <c:pt idx="1254">
                  <c:v>2014/3/11</c:v>
                </c:pt>
                <c:pt idx="1255">
                  <c:v>2014/3/12</c:v>
                </c:pt>
                <c:pt idx="1256">
                  <c:v>2014/3/13</c:v>
                </c:pt>
                <c:pt idx="1257">
                  <c:v>2014/3/14</c:v>
                </c:pt>
                <c:pt idx="1258">
                  <c:v>2014/3/17</c:v>
                </c:pt>
                <c:pt idx="1259">
                  <c:v>2014/3/18</c:v>
                </c:pt>
                <c:pt idx="1260">
                  <c:v>2014/3/19</c:v>
                </c:pt>
                <c:pt idx="1261">
                  <c:v>2014/3/20</c:v>
                </c:pt>
                <c:pt idx="1262">
                  <c:v>2014/3/21</c:v>
                </c:pt>
                <c:pt idx="1263">
                  <c:v>2014/3/24</c:v>
                </c:pt>
                <c:pt idx="1264">
                  <c:v>2014/3/25</c:v>
                </c:pt>
                <c:pt idx="1265">
                  <c:v>2014/3/26</c:v>
                </c:pt>
                <c:pt idx="1266">
                  <c:v>2014/3/27</c:v>
                </c:pt>
                <c:pt idx="1267">
                  <c:v>2014/3/28</c:v>
                </c:pt>
                <c:pt idx="1268">
                  <c:v>2014/3/31</c:v>
                </c:pt>
                <c:pt idx="1269">
                  <c:v>2014/4/1</c:v>
                </c:pt>
                <c:pt idx="1270">
                  <c:v>2014/4/2</c:v>
                </c:pt>
                <c:pt idx="1271">
                  <c:v>2014/4/3</c:v>
                </c:pt>
                <c:pt idx="1272">
                  <c:v>2014/4/4</c:v>
                </c:pt>
                <c:pt idx="1273">
                  <c:v>2014/4/8</c:v>
                </c:pt>
                <c:pt idx="1274">
                  <c:v>2014/4/9</c:v>
                </c:pt>
                <c:pt idx="1275">
                  <c:v>2014/4/10</c:v>
                </c:pt>
                <c:pt idx="1276">
                  <c:v>2014/4/11</c:v>
                </c:pt>
                <c:pt idx="1277">
                  <c:v>2014/4/14</c:v>
                </c:pt>
                <c:pt idx="1278">
                  <c:v>2014/4/15</c:v>
                </c:pt>
                <c:pt idx="1279">
                  <c:v>2014/4/16</c:v>
                </c:pt>
                <c:pt idx="1280">
                  <c:v>2014/4/17</c:v>
                </c:pt>
                <c:pt idx="1281">
                  <c:v>2014/4/18</c:v>
                </c:pt>
                <c:pt idx="1282">
                  <c:v>2014/4/21</c:v>
                </c:pt>
                <c:pt idx="1283">
                  <c:v>2014/4/22</c:v>
                </c:pt>
                <c:pt idx="1284">
                  <c:v>2014/4/23</c:v>
                </c:pt>
                <c:pt idx="1285">
                  <c:v>2014/4/24</c:v>
                </c:pt>
                <c:pt idx="1286">
                  <c:v>2014/4/25</c:v>
                </c:pt>
                <c:pt idx="1287">
                  <c:v>2014/4/28</c:v>
                </c:pt>
                <c:pt idx="1288">
                  <c:v>2014/4/29</c:v>
                </c:pt>
                <c:pt idx="1289">
                  <c:v>2014/4/30</c:v>
                </c:pt>
                <c:pt idx="1290">
                  <c:v>2014/5/5</c:v>
                </c:pt>
                <c:pt idx="1291">
                  <c:v>2014/5/6</c:v>
                </c:pt>
                <c:pt idx="1292">
                  <c:v>2014/5/7</c:v>
                </c:pt>
                <c:pt idx="1293">
                  <c:v>2014/5/8</c:v>
                </c:pt>
                <c:pt idx="1294">
                  <c:v>2014/5/9</c:v>
                </c:pt>
                <c:pt idx="1295">
                  <c:v>2014/5/12</c:v>
                </c:pt>
                <c:pt idx="1296">
                  <c:v>2014/5/13</c:v>
                </c:pt>
                <c:pt idx="1297">
                  <c:v>2014/5/14</c:v>
                </c:pt>
                <c:pt idx="1298">
                  <c:v>2014/5/15</c:v>
                </c:pt>
                <c:pt idx="1299">
                  <c:v>2014/5/16</c:v>
                </c:pt>
                <c:pt idx="1300">
                  <c:v>2014/5/19</c:v>
                </c:pt>
                <c:pt idx="1301">
                  <c:v>2014/5/20</c:v>
                </c:pt>
                <c:pt idx="1302">
                  <c:v>2014/5/21</c:v>
                </c:pt>
                <c:pt idx="1303">
                  <c:v>2014/5/22</c:v>
                </c:pt>
                <c:pt idx="1304">
                  <c:v>2014/5/23</c:v>
                </c:pt>
                <c:pt idx="1305">
                  <c:v>2014/5/26</c:v>
                </c:pt>
                <c:pt idx="1306">
                  <c:v>2014/5/27</c:v>
                </c:pt>
                <c:pt idx="1307">
                  <c:v>2014/5/28</c:v>
                </c:pt>
                <c:pt idx="1308">
                  <c:v>2014/5/29</c:v>
                </c:pt>
                <c:pt idx="1309">
                  <c:v>2014/5/30</c:v>
                </c:pt>
                <c:pt idx="1310">
                  <c:v>2014/6/3</c:v>
                </c:pt>
                <c:pt idx="1311">
                  <c:v>2014/6/4</c:v>
                </c:pt>
                <c:pt idx="1312">
                  <c:v>2014/6/5</c:v>
                </c:pt>
                <c:pt idx="1313">
                  <c:v>2014/6/6</c:v>
                </c:pt>
                <c:pt idx="1314">
                  <c:v>2014/6/9</c:v>
                </c:pt>
                <c:pt idx="1315">
                  <c:v>2014/6/10</c:v>
                </c:pt>
                <c:pt idx="1316">
                  <c:v>2014/6/11</c:v>
                </c:pt>
                <c:pt idx="1317">
                  <c:v>2014/6/12</c:v>
                </c:pt>
                <c:pt idx="1318">
                  <c:v>2014/6/13</c:v>
                </c:pt>
                <c:pt idx="1319">
                  <c:v>2014/6/16</c:v>
                </c:pt>
                <c:pt idx="1320">
                  <c:v>2014/6/17</c:v>
                </c:pt>
                <c:pt idx="1321">
                  <c:v>2014/6/18</c:v>
                </c:pt>
                <c:pt idx="1322">
                  <c:v>2014/6/19</c:v>
                </c:pt>
                <c:pt idx="1323">
                  <c:v>2014/6/20</c:v>
                </c:pt>
                <c:pt idx="1324">
                  <c:v>2014/6/23</c:v>
                </c:pt>
                <c:pt idx="1325">
                  <c:v>2014/6/24</c:v>
                </c:pt>
                <c:pt idx="1326">
                  <c:v>2014/6/25</c:v>
                </c:pt>
                <c:pt idx="1327">
                  <c:v>2014/6/26</c:v>
                </c:pt>
                <c:pt idx="1328">
                  <c:v>2014/6/27</c:v>
                </c:pt>
                <c:pt idx="1329">
                  <c:v>2014/6/30</c:v>
                </c:pt>
                <c:pt idx="1330">
                  <c:v>2014/7/1</c:v>
                </c:pt>
                <c:pt idx="1331">
                  <c:v>2014/7/2</c:v>
                </c:pt>
                <c:pt idx="1332">
                  <c:v>2014/7/3</c:v>
                </c:pt>
                <c:pt idx="1333">
                  <c:v>2014/7/4</c:v>
                </c:pt>
                <c:pt idx="1334">
                  <c:v>2014/7/7</c:v>
                </c:pt>
                <c:pt idx="1335">
                  <c:v>2014/7/8</c:v>
                </c:pt>
                <c:pt idx="1336">
                  <c:v>2014/7/9</c:v>
                </c:pt>
                <c:pt idx="1337">
                  <c:v>2014/7/10</c:v>
                </c:pt>
                <c:pt idx="1338">
                  <c:v>2014/7/11</c:v>
                </c:pt>
                <c:pt idx="1339">
                  <c:v>2014/7/14</c:v>
                </c:pt>
                <c:pt idx="1340">
                  <c:v>2014/7/15</c:v>
                </c:pt>
                <c:pt idx="1341">
                  <c:v>2014/7/16</c:v>
                </c:pt>
                <c:pt idx="1342">
                  <c:v>2014/7/17</c:v>
                </c:pt>
                <c:pt idx="1343">
                  <c:v>2014/7/18</c:v>
                </c:pt>
                <c:pt idx="1344">
                  <c:v>2014/7/21</c:v>
                </c:pt>
                <c:pt idx="1345">
                  <c:v>2014/7/22</c:v>
                </c:pt>
                <c:pt idx="1346">
                  <c:v>2014/7/23</c:v>
                </c:pt>
                <c:pt idx="1347">
                  <c:v>2014/7/24</c:v>
                </c:pt>
                <c:pt idx="1348">
                  <c:v>2014/7/25</c:v>
                </c:pt>
                <c:pt idx="1349">
                  <c:v>2014/7/28</c:v>
                </c:pt>
                <c:pt idx="1350">
                  <c:v>2014/7/29</c:v>
                </c:pt>
                <c:pt idx="1351">
                  <c:v>2014/7/30</c:v>
                </c:pt>
                <c:pt idx="1352">
                  <c:v>2014/7/31</c:v>
                </c:pt>
                <c:pt idx="1353">
                  <c:v>2014/8/1</c:v>
                </c:pt>
                <c:pt idx="1354">
                  <c:v>2014/8/4</c:v>
                </c:pt>
                <c:pt idx="1355">
                  <c:v>2014/8/5</c:v>
                </c:pt>
                <c:pt idx="1356">
                  <c:v>2014/8/6</c:v>
                </c:pt>
                <c:pt idx="1357">
                  <c:v>2014/8/7</c:v>
                </c:pt>
                <c:pt idx="1358">
                  <c:v>2014/8/8</c:v>
                </c:pt>
                <c:pt idx="1359">
                  <c:v>2014/8/11</c:v>
                </c:pt>
                <c:pt idx="1360">
                  <c:v>2014/8/12</c:v>
                </c:pt>
                <c:pt idx="1361">
                  <c:v>2014/8/13</c:v>
                </c:pt>
                <c:pt idx="1362">
                  <c:v>2014/8/14</c:v>
                </c:pt>
                <c:pt idx="1363">
                  <c:v>2014/8/15</c:v>
                </c:pt>
                <c:pt idx="1364">
                  <c:v>2014/8/18</c:v>
                </c:pt>
                <c:pt idx="1365">
                  <c:v>2014/8/19</c:v>
                </c:pt>
                <c:pt idx="1366">
                  <c:v>2014/8/20</c:v>
                </c:pt>
                <c:pt idx="1367">
                  <c:v>2014/8/21</c:v>
                </c:pt>
                <c:pt idx="1368">
                  <c:v>2014/8/22</c:v>
                </c:pt>
                <c:pt idx="1369">
                  <c:v>2014/8/25</c:v>
                </c:pt>
                <c:pt idx="1370">
                  <c:v>2014/8/26</c:v>
                </c:pt>
                <c:pt idx="1371">
                  <c:v>2014/8/27</c:v>
                </c:pt>
                <c:pt idx="1372">
                  <c:v>2014/8/28</c:v>
                </c:pt>
                <c:pt idx="1373">
                  <c:v>2014/8/29</c:v>
                </c:pt>
                <c:pt idx="1374">
                  <c:v>2014/9/1</c:v>
                </c:pt>
                <c:pt idx="1375">
                  <c:v>2014/9/2</c:v>
                </c:pt>
                <c:pt idx="1376">
                  <c:v>2014/9/3</c:v>
                </c:pt>
                <c:pt idx="1377">
                  <c:v>2014/9/4</c:v>
                </c:pt>
                <c:pt idx="1378">
                  <c:v>2014/9/5</c:v>
                </c:pt>
                <c:pt idx="1379">
                  <c:v>2014/9/9</c:v>
                </c:pt>
                <c:pt idx="1380">
                  <c:v>2014/9/10</c:v>
                </c:pt>
                <c:pt idx="1381">
                  <c:v>2014/9/11</c:v>
                </c:pt>
                <c:pt idx="1382">
                  <c:v>2014/9/12</c:v>
                </c:pt>
                <c:pt idx="1383">
                  <c:v>2014/9/15</c:v>
                </c:pt>
                <c:pt idx="1384">
                  <c:v>2014/9/16</c:v>
                </c:pt>
                <c:pt idx="1385">
                  <c:v>2014/9/17</c:v>
                </c:pt>
                <c:pt idx="1386">
                  <c:v>2014/9/18</c:v>
                </c:pt>
                <c:pt idx="1387">
                  <c:v>2014/9/19</c:v>
                </c:pt>
                <c:pt idx="1388">
                  <c:v>2014/9/22</c:v>
                </c:pt>
                <c:pt idx="1389">
                  <c:v>2014/9/23</c:v>
                </c:pt>
                <c:pt idx="1390">
                  <c:v>2014/9/24</c:v>
                </c:pt>
                <c:pt idx="1391">
                  <c:v>2014/9/25</c:v>
                </c:pt>
                <c:pt idx="1392">
                  <c:v>2014/9/26</c:v>
                </c:pt>
                <c:pt idx="1393">
                  <c:v>2014/9/29</c:v>
                </c:pt>
                <c:pt idx="1394">
                  <c:v>2014/9/30</c:v>
                </c:pt>
                <c:pt idx="1395">
                  <c:v>2014/10/8</c:v>
                </c:pt>
                <c:pt idx="1396">
                  <c:v>2014/10/9</c:v>
                </c:pt>
                <c:pt idx="1397">
                  <c:v>2014/10/10</c:v>
                </c:pt>
                <c:pt idx="1398">
                  <c:v>2014/10/13</c:v>
                </c:pt>
                <c:pt idx="1399">
                  <c:v>2014/10/14</c:v>
                </c:pt>
                <c:pt idx="1400">
                  <c:v>2014/10/15</c:v>
                </c:pt>
                <c:pt idx="1401">
                  <c:v>2014/10/16</c:v>
                </c:pt>
                <c:pt idx="1402">
                  <c:v>2014/10/17</c:v>
                </c:pt>
                <c:pt idx="1403">
                  <c:v>2014/10/20</c:v>
                </c:pt>
                <c:pt idx="1404">
                  <c:v>2014/10/21</c:v>
                </c:pt>
                <c:pt idx="1405">
                  <c:v>2014/10/22</c:v>
                </c:pt>
                <c:pt idx="1406">
                  <c:v>2014/10/23</c:v>
                </c:pt>
                <c:pt idx="1407">
                  <c:v>2014/10/24</c:v>
                </c:pt>
                <c:pt idx="1408">
                  <c:v>2014/10/27</c:v>
                </c:pt>
                <c:pt idx="1409">
                  <c:v>2014/10/28</c:v>
                </c:pt>
                <c:pt idx="1410">
                  <c:v>2014/10/29</c:v>
                </c:pt>
                <c:pt idx="1411">
                  <c:v>2014/10/30</c:v>
                </c:pt>
                <c:pt idx="1412">
                  <c:v>2014/10/31</c:v>
                </c:pt>
                <c:pt idx="1413">
                  <c:v>2014/11/3</c:v>
                </c:pt>
                <c:pt idx="1414">
                  <c:v>2014/11/4</c:v>
                </c:pt>
                <c:pt idx="1415">
                  <c:v>2014/11/5</c:v>
                </c:pt>
                <c:pt idx="1416">
                  <c:v>2014/11/6</c:v>
                </c:pt>
                <c:pt idx="1417">
                  <c:v>2014/11/7</c:v>
                </c:pt>
                <c:pt idx="1418">
                  <c:v>2014/11/10</c:v>
                </c:pt>
                <c:pt idx="1419">
                  <c:v>2014/11/11</c:v>
                </c:pt>
                <c:pt idx="1420">
                  <c:v>2014/11/12</c:v>
                </c:pt>
                <c:pt idx="1421">
                  <c:v>2014/11/13</c:v>
                </c:pt>
                <c:pt idx="1422">
                  <c:v>2014/11/14</c:v>
                </c:pt>
                <c:pt idx="1423">
                  <c:v>2014/11/17</c:v>
                </c:pt>
                <c:pt idx="1424">
                  <c:v>2014/11/18</c:v>
                </c:pt>
                <c:pt idx="1425">
                  <c:v>2014/11/19</c:v>
                </c:pt>
                <c:pt idx="1426">
                  <c:v>2014/11/20</c:v>
                </c:pt>
                <c:pt idx="1427">
                  <c:v>2014/11/21</c:v>
                </c:pt>
                <c:pt idx="1428">
                  <c:v>2014/11/24</c:v>
                </c:pt>
                <c:pt idx="1429">
                  <c:v>2014/11/25</c:v>
                </c:pt>
                <c:pt idx="1430">
                  <c:v>2014/11/26</c:v>
                </c:pt>
                <c:pt idx="1431">
                  <c:v>2014/11/27</c:v>
                </c:pt>
                <c:pt idx="1432">
                  <c:v>2014/11/28</c:v>
                </c:pt>
                <c:pt idx="1433">
                  <c:v>2014/12/1</c:v>
                </c:pt>
                <c:pt idx="1434">
                  <c:v>2014/12/2</c:v>
                </c:pt>
                <c:pt idx="1435">
                  <c:v>2014/12/3</c:v>
                </c:pt>
                <c:pt idx="1436">
                  <c:v>2014/12/4</c:v>
                </c:pt>
                <c:pt idx="1437">
                  <c:v>2014/12/5</c:v>
                </c:pt>
                <c:pt idx="1438">
                  <c:v>2014/12/8</c:v>
                </c:pt>
                <c:pt idx="1439">
                  <c:v>2014/12/9</c:v>
                </c:pt>
                <c:pt idx="1440">
                  <c:v>2014/12/10</c:v>
                </c:pt>
                <c:pt idx="1441">
                  <c:v>2014/12/11</c:v>
                </c:pt>
                <c:pt idx="1442">
                  <c:v>2014/12/12</c:v>
                </c:pt>
                <c:pt idx="1443">
                  <c:v>2014/12/15</c:v>
                </c:pt>
                <c:pt idx="1444">
                  <c:v>2014/12/16</c:v>
                </c:pt>
                <c:pt idx="1445">
                  <c:v>2014/12/17</c:v>
                </c:pt>
                <c:pt idx="1446">
                  <c:v>2014/12/18</c:v>
                </c:pt>
                <c:pt idx="1447">
                  <c:v>2014/12/19</c:v>
                </c:pt>
                <c:pt idx="1448">
                  <c:v>2014/12/22</c:v>
                </c:pt>
                <c:pt idx="1449">
                  <c:v>2014/12/23</c:v>
                </c:pt>
                <c:pt idx="1450">
                  <c:v>2014/12/24</c:v>
                </c:pt>
                <c:pt idx="1451">
                  <c:v>2014/12/25</c:v>
                </c:pt>
                <c:pt idx="1452">
                  <c:v>2014/12/26</c:v>
                </c:pt>
                <c:pt idx="1453">
                  <c:v>2014/12/29</c:v>
                </c:pt>
                <c:pt idx="1454">
                  <c:v>2014/12/30</c:v>
                </c:pt>
                <c:pt idx="1455">
                  <c:v>2014/12/31</c:v>
                </c:pt>
                <c:pt idx="1456">
                  <c:v>2015/1/5</c:v>
                </c:pt>
                <c:pt idx="1457">
                  <c:v>2015/1/6</c:v>
                </c:pt>
                <c:pt idx="1458">
                  <c:v>2015/1/7</c:v>
                </c:pt>
                <c:pt idx="1459">
                  <c:v>2015/1/8</c:v>
                </c:pt>
                <c:pt idx="1460">
                  <c:v>2015/1/9</c:v>
                </c:pt>
                <c:pt idx="1461">
                  <c:v>2015/1/12</c:v>
                </c:pt>
                <c:pt idx="1462">
                  <c:v>2015/1/13</c:v>
                </c:pt>
                <c:pt idx="1463">
                  <c:v>2015/1/14</c:v>
                </c:pt>
                <c:pt idx="1464">
                  <c:v>2015/1/15</c:v>
                </c:pt>
                <c:pt idx="1465">
                  <c:v>2015/1/16</c:v>
                </c:pt>
                <c:pt idx="1466">
                  <c:v>2015/1/19</c:v>
                </c:pt>
                <c:pt idx="1467">
                  <c:v>2015/1/20</c:v>
                </c:pt>
                <c:pt idx="1468">
                  <c:v>2015/1/21</c:v>
                </c:pt>
                <c:pt idx="1469">
                  <c:v>2015/1/22</c:v>
                </c:pt>
                <c:pt idx="1470">
                  <c:v>2015/1/23</c:v>
                </c:pt>
                <c:pt idx="1471">
                  <c:v>2015/1/26</c:v>
                </c:pt>
                <c:pt idx="1472">
                  <c:v>2015/1/27</c:v>
                </c:pt>
                <c:pt idx="1473">
                  <c:v>2015/1/28</c:v>
                </c:pt>
                <c:pt idx="1474">
                  <c:v>2015/1/29</c:v>
                </c:pt>
                <c:pt idx="1475">
                  <c:v>2015/1/30</c:v>
                </c:pt>
                <c:pt idx="1476">
                  <c:v>2015/2/2</c:v>
                </c:pt>
                <c:pt idx="1477">
                  <c:v>2015/2/3</c:v>
                </c:pt>
                <c:pt idx="1478">
                  <c:v>2015/2/4</c:v>
                </c:pt>
                <c:pt idx="1479">
                  <c:v>2015/2/5</c:v>
                </c:pt>
                <c:pt idx="1480">
                  <c:v>2015/2/6</c:v>
                </c:pt>
                <c:pt idx="1481">
                  <c:v>2015/2/9</c:v>
                </c:pt>
                <c:pt idx="1482">
                  <c:v>2015/2/10</c:v>
                </c:pt>
                <c:pt idx="1483">
                  <c:v>2015/2/11</c:v>
                </c:pt>
                <c:pt idx="1484">
                  <c:v>2015/2/12</c:v>
                </c:pt>
                <c:pt idx="1485">
                  <c:v>2015/2/13</c:v>
                </c:pt>
                <c:pt idx="1486">
                  <c:v>2015/2/16</c:v>
                </c:pt>
                <c:pt idx="1487">
                  <c:v>2015/2/17</c:v>
                </c:pt>
                <c:pt idx="1488">
                  <c:v>2015/2/25</c:v>
                </c:pt>
                <c:pt idx="1489">
                  <c:v>2015/2/26</c:v>
                </c:pt>
                <c:pt idx="1490">
                  <c:v>2015/2/27</c:v>
                </c:pt>
                <c:pt idx="1491">
                  <c:v>2015/3/2</c:v>
                </c:pt>
                <c:pt idx="1492">
                  <c:v>2015/3/3</c:v>
                </c:pt>
                <c:pt idx="1493">
                  <c:v>2015/3/4</c:v>
                </c:pt>
                <c:pt idx="1494">
                  <c:v>2015/3/5</c:v>
                </c:pt>
                <c:pt idx="1495">
                  <c:v>2015/3/6</c:v>
                </c:pt>
                <c:pt idx="1496">
                  <c:v>2015/3/9</c:v>
                </c:pt>
                <c:pt idx="1497">
                  <c:v>2015/3/10</c:v>
                </c:pt>
                <c:pt idx="1498">
                  <c:v>2015/3/11</c:v>
                </c:pt>
                <c:pt idx="1499">
                  <c:v>2015/3/12</c:v>
                </c:pt>
                <c:pt idx="1500">
                  <c:v>2015/3/13</c:v>
                </c:pt>
                <c:pt idx="1501">
                  <c:v>2015/3/16</c:v>
                </c:pt>
                <c:pt idx="1502">
                  <c:v>2015/3/17</c:v>
                </c:pt>
                <c:pt idx="1503">
                  <c:v>2015/3/18</c:v>
                </c:pt>
                <c:pt idx="1504">
                  <c:v>2015/3/19</c:v>
                </c:pt>
                <c:pt idx="1505">
                  <c:v>2015/3/20</c:v>
                </c:pt>
                <c:pt idx="1506">
                  <c:v>2015/3/23</c:v>
                </c:pt>
                <c:pt idx="1507">
                  <c:v>2015/3/24</c:v>
                </c:pt>
                <c:pt idx="1508">
                  <c:v>2015/3/25</c:v>
                </c:pt>
                <c:pt idx="1509">
                  <c:v>2015/3/26</c:v>
                </c:pt>
                <c:pt idx="1510">
                  <c:v>2015/3/27</c:v>
                </c:pt>
                <c:pt idx="1511">
                  <c:v>2015/3/30</c:v>
                </c:pt>
                <c:pt idx="1512">
                  <c:v>2015/3/31</c:v>
                </c:pt>
                <c:pt idx="1513">
                  <c:v>2015/4/1</c:v>
                </c:pt>
                <c:pt idx="1514">
                  <c:v>2015/4/2</c:v>
                </c:pt>
                <c:pt idx="1515">
                  <c:v>2015/4/3</c:v>
                </c:pt>
                <c:pt idx="1516">
                  <c:v>2015/4/7</c:v>
                </c:pt>
                <c:pt idx="1517">
                  <c:v>2015/4/8</c:v>
                </c:pt>
                <c:pt idx="1518">
                  <c:v>2015/4/9</c:v>
                </c:pt>
                <c:pt idx="1519">
                  <c:v>2015/4/10</c:v>
                </c:pt>
                <c:pt idx="1520">
                  <c:v>2015/4/13</c:v>
                </c:pt>
                <c:pt idx="1521">
                  <c:v>2015/4/14</c:v>
                </c:pt>
                <c:pt idx="1522">
                  <c:v>2015/4/15</c:v>
                </c:pt>
                <c:pt idx="1523">
                  <c:v>2015/4/16</c:v>
                </c:pt>
                <c:pt idx="1524">
                  <c:v>2015/4/17</c:v>
                </c:pt>
                <c:pt idx="1525">
                  <c:v>2015/4/20</c:v>
                </c:pt>
                <c:pt idx="1526">
                  <c:v>2015/4/21</c:v>
                </c:pt>
                <c:pt idx="1527">
                  <c:v>2015/4/22</c:v>
                </c:pt>
                <c:pt idx="1528">
                  <c:v>2015/4/23</c:v>
                </c:pt>
                <c:pt idx="1529">
                  <c:v>2015/4/24</c:v>
                </c:pt>
                <c:pt idx="1530">
                  <c:v>2015/4/27</c:v>
                </c:pt>
                <c:pt idx="1531">
                  <c:v>2015/4/28</c:v>
                </c:pt>
                <c:pt idx="1532">
                  <c:v>2015/4/29</c:v>
                </c:pt>
                <c:pt idx="1533">
                  <c:v>2015/4/30</c:v>
                </c:pt>
                <c:pt idx="1534">
                  <c:v>2015/5/4</c:v>
                </c:pt>
                <c:pt idx="1535">
                  <c:v>2015/5/5</c:v>
                </c:pt>
                <c:pt idx="1536">
                  <c:v>2015/5/6</c:v>
                </c:pt>
                <c:pt idx="1537">
                  <c:v>2015/5/7</c:v>
                </c:pt>
                <c:pt idx="1538">
                  <c:v>2015/5/8</c:v>
                </c:pt>
                <c:pt idx="1539">
                  <c:v>2015/5/11</c:v>
                </c:pt>
                <c:pt idx="1540">
                  <c:v>2015/5/12</c:v>
                </c:pt>
                <c:pt idx="1541">
                  <c:v>2015/5/13</c:v>
                </c:pt>
                <c:pt idx="1542">
                  <c:v>2015/5/14</c:v>
                </c:pt>
                <c:pt idx="1543">
                  <c:v>2015/5/15</c:v>
                </c:pt>
                <c:pt idx="1544">
                  <c:v>2015/5/18</c:v>
                </c:pt>
                <c:pt idx="1545">
                  <c:v>2015/5/19</c:v>
                </c:pt>
                <c:pt idx="1546">
                  <c:v>2015/5/20</c:v>
                </c:pt>
                <c:pt idx="1547">
                  <c:v>2015/5/21</c:v>
                </c:pt>
                <c:pt idx="1548">
                  <c:v>2015/5/22</c:v>
                </c:pt>
                <c:pt idx="1549">
                  <c:v>2015/5/25</c:v>
                </c:pt>
                <c:pt idx="1550">
                  <c:v>2015/5/26</c:v>
                </c:pt>
                <c:pt idx="1551">
                  <c:v>2015/5/27</c:v>
                </c:pt>
                <c:pt idx="1552">
                  <c:v>2015/5/28</c:v>
                </c:pt>
                <c:pt idx="1553">
                  <c:v>2015/5/29</c:v>
                </c:pt>
                <c:pt idx="1554">
                  <c:v>2015/6/1</c:v>
                </c:pt>
                <c:pt idx="1555">
                  <c:v>2015/6/2</c:v>
                </c:pt>
                <c:pt idx="1556">
                  <c:v>2015/6/3</c:v>
                </c:pt>
                <c:pt idx="1557">
                  <c:v>2015/6/4</c:v>
                </c:pt>
                <c:pt idx="1558">
                  <c:v>2015/6/5</c:v>
                </c:pt>
                <c:pt idx="1559">
                  <c:v>2015/6/8</c:v>
                </c:pt>
                <c:pt idx="1560">
                  <c:v>2015/6/9</c:v>
                </c:pt>
                <c:pt idx="1561">
                  <c:v>2015/6/10</c:v>
                </c:pt>
                <c:pt idx="1562">
                  <c:v>2015/6/11</c:v>
                </c:pt>
                <c:pt idx="1563">
                  <c:v>2015/6/12</c:v>
                </c:pt>
                <c:pt idx="1564">
                  <c:v>2015/6/15</c:v>
                </c:pt>
                <c:pt idx="1565">
                  <c:v>2015/6/16</c:v>
                </c:pt>
                <c:pt idx="1566">
                  <c:v>2015/6/17</c:v>
                </c:pt>
                <c:pt idx="1567">
                  <c:v>2015/6/18</c:v>
                </c:pt>
                <c:pt idx="1568">
                  <c:v>2015/6/19</c:v>
                </c:pt>
                <c:pt idx="1569">
                  <c:v>2015/6/23</c:v>
                </c:pt>
                <c:pt idx="1570">
                  <c:v>2015/6/24</c:v>
                </c:pt>
                <c:pt idx="1571">
                  <c:v>2015/6/25</c:v>
                </c:pt>
                <c:pt idx="1572">
                  <c:v>2015/6/26</c:v>
                </c:pt>
                <c:pt idx="1573">
                  <c:v>2015/6/29</c:v>
                </c:pt>
                <c:pt idx="1574">
                  <c:v>2015/6/30</c:v>
                </c:pt>
                <c:pt idx="1575">
                  <c:v>2015/7/1</c:v>
                </c:pt>
                <c:pt idx="1576">
                  <c:v>2015/7/2</c:v>
                </c:pt>
                <c:pt idx="1577">
                  <c:v>2015/7/3</c:v>
                </c:pt>
                <c:pt idx="1578">
                  <c:v>2015/7/6</c:v>
                </c:pt>
                <c:pt idx="1579">
                  <c:v>2015/7/7</c:v>
                </c:pt>
                <c:pt idx="1580">
                  <c:v>2015/7/8</c:v>
                </c:pt>
                <c:pt idx="1581">
                  <c:v>2015/7/9</c:v>
                </c:pt>
                <c:pt idx="1582">
                  <c:v>2015/7/10</c:v>
                </c:pt>
                <c:pt idx="1583">
                  <c:v>2015/7/13</c:v>
                </c:pt>
                <c:pt idx="1584">
                  <c:v>2015/7/14</c:v>
                </c:pt>
                <c:pt idx="1585">
                  <c:v>2015/7/15</c:v>
                </c:pt>
                <c:pt idx="1586">
                  <c:v>2015/7/16</c:v>
                </c:pt>
                <c:pt idx="1587">
                  <c:v>2015/7/17</c:v>
                </c:pt>
                <c:pt idx="1588">
                  <c:v>2015/7/20</c:v>
                </c:pt>
                <c:pt idx="1589">
                  <c:v>2015/7/21</c:v>
                </c:pt>
                <c:pt idx="1590">
                  <c:v>2015/7/22</c:v>
                </c:pt>
                <c:pt idx="1591">
                  <c:v>2015/7/23</c:v>
                </c:pt>
                <c:pt idx="1592">
                  <c:v>2015/7/24</c:v>
                </c:pt>
                <c:pt idx="1593">
                  <c:v>2015/7/27</c:v>
                </c:pt>
                <c:pt idx="1594">
                  <c:v>2015/7/28</c:v>
                </c:pt>
                <c:pt idx="1595">
                  <c:v>2015/7/29</c:v>
                </c:pt>
                <c:pt idx="1596">
                  <c:v>2015/7/30</c:v>
                </c:pt>
                <c:pt idx="1597">
                  <c:v>2015/7/31</c:v>
                </c:pt>
                <c:pt idx="1598">
                  <c:v>2015/8/3</c:v>
                </c:pt>
                <c:pt idx="1599">
                  <c:v>2015/8/4</c:v>
                </c:pt>
                <c:pt idx="1600">
                  <c:v>2015/8/5</c:v>
                </c:pt>
                <c:pt idx="1601">
                  <c:v>2015/8/6</c:v>
                </c:pt>
                <c:pt idx="1602">
                  <c:v>2015/8/7</c:v>
                </c:pt>
                <c:pt idx="1603">
                  <c:v>2015/8/10</c:v>
                </c:pt>
                <c:pt idx="1604">
                  <c:v>2015/8/11</c:v>
                </c:pt>
                <c:pt idx="1605">
                  <c:v>2015/8/12</c:v>
                </c:pt>
                <c:pt idx="1606">
                  <c:v>2015/8/13</c:v>
                </c:pt>
                <c:pt idx="1607">
                  <c:v>2015/8/14</c:v>
                </c:pt>
                <c:pt idx="1608">
                  <c:v>2015/8/17</c:v>
                </c:pt>
                <c:pt idx="1609">
                  <c:v>2015/8/18</c:v>
                </c:pt>
                <c:pt idx="1610">
                  <c:v>2015/8/19</c:v>
                </c:pt>
                <c:pt idx="1611">
                  <c:v>2015/8/20</c:v>
                </c:pt>
                <c:pt idx="1612">
                  <c:v>2015/8/21</c:v>
                </c:pt>
                <c:pt idx="1613">
                  <c:v>2015/8/24</c:v>
                </c:pt>
                <c:pt idx="1614">
                  <c:v>2015/8/25</c:v>
                </c:pt>
                <c:pt idx="1615">
                  <c:v>2015/8/26</c:v>
                </c:pt>
                <c:pt idx="1616">
                  <c:v>2015/8/27</c:v>
                </c:pt>
                <c:pt idx="1617">
                  <c:v>2015/8/28</c:v>
                </c:pt>
                <c:pt idx="1618">
                  <c:v>2015/8/31</c:v>
                </c:pt>
                <c:pt idx="1619">
                  <c:v>2015/9/1</c:v>
                </c:pt>
                <c:pt idx="1620">
                  <c:v>2015/9/2</c:v>
                </c:pt>
                <c:pt idx="1621">
                  <c:v>2015/9/7</c:v>
                </c:pt>
                <c:pt idx="1622">
                  <c:v>2015/9/8</c:v>
                </c:pt>
                <c:pt idx="1623">
                  <c:v>2015/9/9</c:v>
                </c:pt>
                <c:pt idx="1624">
                  <c:v>2015/9/10</c:v>
                </c:pt>
                <c:pt idx="1625">
                  <c:v>2015/9/11</c:v>
                </c:pt>
                <c:pt idx="1626">
                  <c:v>2015/9/14</c:v>
                </c:pt>
                <c:pt idx="1627">
                  <c:v>2015/9/15</c:v>
                </c:pt>
                <c:pt idx="1628">
                  <c:v>2015/9/16</c:v>
                </c:pt>
                <c:pt idx="1629">
                  <c:v>2015/9/17</c:v>
                </c:pt>
                <c:pt idx="1630">
                  <c:v>2015/9/18</c:v>
                </c:pt>
                <c:pt idx="1631">
                  <c:v>2015/9/21</c:v>
                </c:pt>
                <c:pt idx="1632">
                  <c:v>2015/9/22</c:v>
                </c:pt>
                <c:pt idx="1633">
                  <c:v>2015/9/23</c:v>
                </c:pt>
                <c:pt idx="1634">
                  <c:v>2015/9/24</c:v>
                </c:pt>
                <c:pt idx="1635">
                  <c:v>2015/9/25</c:v>
                </c:pt>
                <c:pt idx="1636">
                  <c:v>2015/9/28</c:v>
                </c:pt>
                <c:pt idx="1637">
                  <c:v>2015/9/29</c:v>
                </c:pt>
                <c:pt idx="1638">
                  <c:v>2015/9/30</c:v>
                </c:pt>
                <c:pt idx="1639">
                  <c:v>2015/10/8</c:v>
                </c:pt>
                <c:pt idx="1640">
                  <c:v>2015/10/9</c:v>
                </c:pt>
                <c:pt idx="1641">
                  <c:v>2015/10/12</c:v>
                </c:pt>
                <c:pt idx="1642">
                  <c:v>2015/10/13</c:v>
                </c:pt>
                <c:pt idx="1643">
                  <c:v>2015/10/14</c:v>
                </c:pt>
                <c:pt idx="1644">
                  <c:v>2015/10/15</c:v>
                </c:pt>
                <c:pt idx="1645">
                  <c:v>2015/10/16</c:v>
                </c:pt>
                <c:pt idx="1646">
                  <c:v>2015/10/19</c:v>
                </c:pt>
                <c:pt idx="1647">
                  <c:v>2015/10/20</c:v>
                </c:pt>
                <c:pt idx="1648">
                  <c:v>2015/10/21</c:v>
                </c:pt>
                <c:pt idx="1649">
                  <c:v>2015/10/22</c:v>
                </c:pt>
                <c:pt idx="1650">
                  <c:v>2015/10/23</c:v>
                </c:pt>
                <c:pt idx="1651">
                  <c:v>2015/10/26</c:v>
                </c:pt>
                <c:pt idx="1652">
                  <c:v>2015/10/27</c:v>
                </c:pt>
                <c:pt idx="1653">
                  <c:v>2015/10/28</c:v>
                </c:pt>
                <c:pt idx="1654">
                  <c:v>2015/10/29</c:v>
                </c:pt>
                <c:pt idx="1655">
                  <c:v>2015/10/30</c:v>
                </c:pt>
                <c:pt idx="1656">
                  <c:v>2015/11/2</c:v>
                </c:pt>
                <c:pt idx="1657">
                  <c:v>2015/11/3</c:v>
                </c:pt>
                <c:pt idx="1658">
                  <c:v>2015/11/4</c:v>
                </c:pt>
                <c:pt idx="1659">
                  <c:v>2015/11/5</c:v>
                </c:pt>
                <c:pt idx="1660">
                  <c:v>2015/11/6</c:v>
                </c:pt>
                <c:pt idx="1661">
                  <c:v>2015/11/9</c:v>
                </c:pt>
                <c:pt idx="1662">
                  <c:v>2015/11/10</c:v>
                </c:pt>
                <c:pt idx="1663">
                  <c:v>2015/11/11</c:v>
                </c:pt>
                <c:pt idx="1664">
                  <c:v>2015/11/12</c:v>
                </c:pt>
                <c:pt idx="1665">
                  <c:v>2015/11/13</c:v>
                </c:pt>
                <c:pt idx="1666">
                  <c:v>2015/11/16</c:v>
                </c:pt>
                <c:pt idx="1667">
                  <c:v>2015/11/17</c:v>
                </c:pt>
                <c:pt idx="1668">
                  <c:v>2015/11/18</c:v>
                </c:pt>
                <c:pt idx="1669">
                  <c:v>2015/11/19</c:v>
                </c:pt>
                <c:pt idx="1670">
                  <c:v>2015/11/20</c:v>
                </c:pt>
                <c:pt idx="1671">
                  <c:v>2015/11/23</c:v>
                </c:pt>
                <c:pt idx="1672">
                  <c:v>2015/11/24</c:v>
                </c:pt>
                <c:pt idx="1673">
                  <c:v>2015/11/25</c:v>
                </c:pt>
                <c:pt idx="1674">
                  <c:v>2015/11/26</c:v>
                </c:pt>
                <c:pt idx="1675">
                  <c:v>2015/11/27</c:v>
                </c:pt>
                <c:pt idx="1676">
                  <c:v>2015/11/30</c:v>
                </c:pt>
                <c:pt idx="1677">
                  <c:v>2015/12/1</c:v>
                </c:pt>
                <c:pt idx="1678">
                  <c:v>2015/12/2</c:v>
                </c:pt>
                <c:pt idx="1679">
                  <c:v>2015/12/3</c:v>
                </c:pt>
                <c:pt idx="1680">
                  <c:v>2015/12/4</c:v>
                </c:pt>
                <c:pt idx="1681">
                  <c:v>2015/12/7</c:v>
                </c:pt>
                <c:pt idx="1682">
                  <c:v>2015/12/8</c:v>
                </c:pt>
                <c:pt idx="1683">
                  <c:v>2015/12/9</c:v>
                </c:pt>
                <c:pt idx="1684">
                  <c:v>2015/12/10</c:v>
                </c:pt>
                <c:pt idx="1685">
                  <c:v>2015/12/11</c:v>
                </c:pt>
                <c:pt idx="1686">
                  <c:v>2015/12/14</c:v>
                </c:pt>
                <c:pt idx="1687">
                  <c:v>2015/12/15</c:v>
                </c:pt>
                <c:pt idx="1688">
                  <c:v>2015/12/16</c:v>
                </c:pt>
                <c:pt idx="1689">
                  <c:v>2015/12/17</c:v>
                </c:pt>
                <c:pt idx="1690">
                  <c:v>2015/12/18</c:v>
                </c:pt>
                <c:pt idx="1691">
                  <c:v>2015/12/21</c:v>
                </c:pt>
                <c:pt idx="1692">
                  <c:v>2015/12/22</c:v>
                </c:pt>
                <c:pt idx="1693">
                  <c:v>2015/12/23</c:v>
                </c:pt>
                <c:pt idx="1694">
                  <c:v>2015/12/24</c:v>
                </c:pt>
                <c:pt idx="1695">
                  <c:v>2015/12/25</c:v>
                </c:pt>
                <c:pt idx="1696">
                  <c:v>2015/12/28</c:v>
                </c:pt>
                <c:pt idx="1697">
                  <c:v>2015/12/29</c:v>
                </c:pt>
                <c:pt idx="1698">
                  <c:v>2015/12/30</c:v>
                </c:pt>
                <c:pt idx="1699">
                  <c:v>2015/12/31</c:v>
                </c:pt>
                <c:pt idx="1700">
                  <c:v>2016/1/4</c:v>
                </c:pt>
                <c:pt idx="1701">
                  <c:v>2016/1/5</c:v>
                </c:pt>
                <c:pt idx="1702">
                  <c:v>2016/1/6</c:v>
                </c:pt>
                <c:pt idx="1703">
                  <c:v>2016/1/7</c:v>
                </c:pt>
                <c:pt idx="1704">
                  <c:v>2016/1/8</c:v>
                </c:pt>
                <c:pt idx="1705">
                  <c:v>2016/1/11</c:v>
                </c:pt>
                <c:pt idx="1706">
                  <c:v>2016/1/12</c:v>
                </c:pt>
                <c:pt idx="1707">
                  <c:v>2016/1/13</c:v>
                </c:pt>
                <c:pt idx="1708">
                  <c:v>2016/1/14</c:v>
                </c:pt>
                <c:pt idx="1709">
                  <c:v>2016/1/15</c:v>
                </c:pt>
                <c:pt idx="1710">
                  <c:v>2016/1/18</c:v>
                </c:pt>
                <c:pt idx="1711">
                  <c:v>2016/1/19</c:v>
                </c:pt>
                <c:pt idx="1712">
                  <c:v>2016/1/20</c:v>
                </c:pt>
                <c:pt idx="1713">
                  <c:v>2016/1/21</c:v>
                </c:pt>
                <c:pt idx="1714">
                  <c:v>2016/1/22</c:v>
                </c:pt>
                <c:pt idx="1715">
                  <c:v>2016/1/25</c:v>
                </c:pt>
                <c:pt idx="1716">
                  <c:v>2016/1/26</c:v>
                </c:pt>
                <c:pt idx="1717">
                  <c:v>2016/1/27</c:v>
                </c:pt>
                <c:pt idx="1718">
                  <c:v>2016/1/28</c:v>
                </c:pt>
                <c:pt idx="1719">
                  <c:v>2016/1/29</c:v>
                </c:pt>
                <c:pt idx="1720">
                  <c:v>2016/2/1</c:v>
                </c:pt>
                <c:pt idx="1721">
                  <c:v>2016/2/2</c:v>
                </c:pt>
                <c:pt idx="1722">
                  <c:v>2016/2/3</c:v>
                </c:pt>
                <c:pt idx="1723">
                  <c:v>2016/2/4</c:v>
                </c:pt>
                <c:pt idx="1724">
                  <c:v>2016/2/5</c:v>
                </c:pt>
                <c:pt idx="1725">
                  <c:v>2016/2/15</c:v>
                </c:pt>
                <c:pt idx="1726">
                  <c:v>2016/2/16</c:v>
                </c:pt>
                <c:pt idx="1727">
                  <c:v>2016/2/17</c:v>
                </c:pt>
                <c:pt idx="1728">
                  <c:v>2016/2/18</c:v>
                </c:pt>
                <c:pt idx="1729">
                  <c:v>2016/2/19</c:v>
                </c:pt>
                <c:pt idx="1730">
                  <c:v>2016/2/22</c:v>
                </c:pt>
                <c:pt idx="1731">
                  <c:v>2016/2/23</c:v>
                </c:pt>
                <c:pt idx="1732">
                  <c:v>2016/2/24</c:v>
                </c:pt>
                <c:pt idx="1733">
                  <c:v>2016/2/25</c:v>
                </c:pt>
                <c:pt idx="1734">
                  <c:v>2016/2/26</c:v>
                </c:pt>
                <c:pt idx="1735">
                  <c:v>2016/2/29</c:v>
                </c:pt>
                <c:pt idx="1736">
                  <c:v>2016/3/1</c:v>
                </c:pt>
                <c:pt idx="1737">
                  <c:v>2016/3/2</c:v>
                </c:pt>
                <c:pt idx="1738">
                  <c:v>2016/3/3</c:v>
                </c:pt>
                <c:pt idx="1739">
                  <c:v>2016/3/4</c:v>
                </c:pt>
                <c:pt idx="1740">
                  <c:v>2016/3/7</c:v>
                </c:pt>
                <c:pt idx="1741">
                  <c:v>2016/3/8</c:v>
                </c:pt>
                <c:pt idx="1742">
                  <c:v>2016/3/9</c:v>
                </c:pt>
                <c:pt idx="1743">
                  <c:v>2016/3/10</c:v>
                </c:pt>
                <c:pt idx="1744">
                  <c:v>2016/3/11</c:v>
                </c:pt>
                <c:pt idx="1745">
                  <c:v>2016/3/14</c:v>
                </c:pt>
                <c:pt idx="1746">
                  <c:v>2016/3/15</c:v>
                </c:pt>
                <c:pt idx="1747">
                  <c:v>2016/3/16</c:v>
                </c:pt>
                <c:pt idx="1748">
                  <c:v>2016/3/17</c:v>
                </c:pt>
                <c:pt idx="1749">
                  <c:v>2016/3/18</c:v>
                </c:pt>
                <c:pt idx="1750">
                  <c:v>2016/3/21</c:v>
                </c:pt>
                <c:pt idx="1751">
                  <c:v>2016/3/22</c:v>
                </c:pt>
                <c:pt idx="1752">
                  <c:v>2016/3/23</c:v>
                </c:pt>
                <c:pt idx="1753">
                  <c:v>2016/3/24</c:v>
                </c:pt>
                <c:pt idx="1754">
                  <c:v>2016/3/25</c:v>
                </c:pt>
                <c:pt idx="1755">
                  <c:v>2016/3/28</c:v>
                </c:pt>
                <c:pt idx="1756">
                  <c:v>2016/3/29</c:v>
                </c:pt>
                <c:pt idx="1757">
                  <c:v>2016/3/30</c:v>
                </c:pt>
                <c:pt idx="1758">
                  <c:v>2016/3/31</c:v>
                </c:pt>
                <c:pt idx="1759">
                  <c:v>2016/4/1</c:v>
                </c:pt>
                <c:pt idx="1760">
                  <c:v>2016/4/5</c:v>
                </c:pt>
                <c:pt idx="1761">
                  <c:v>2016/4/6</c:v>
                </c:pt>
                <c:pt idx="1762">
                  <c:v>2016/4/7</c:v>
                </c:pt>
                <c:pt idx="1763">
                  <c:v>2016/4/8</c:v>
                </c:pt>
                <c:pt idx="1764">
                  <c:v>2016/4/11</c:v>
                </c:pt>
                <c:pt idx="1765">
                  <c:v>2016/4/12</c:v>
                </c:pt>
                <c:pt idx="1766">
                  <c:v>2016/4/13</c:v>
                </c:pt>
                <c:pt idx="1767">
                  <c:v>2016/4/14</c:v>
                </c:pt>
                <c:pt idx="1768">
                  <c:v>2016/4/15</c:v>
                </c:pt>
                <c:pt idx="1769">
                  <c:v>2016/4/18</c:v>
                </c:pt>
                <c:pt idx="1770">
                  <c:v>2016/4/19</c:v>
                </c:pt>
                <c:pt idx="1771">
                  <c:v>2016/4/20</c:v>
                </c:pt>
                <c:pt idx="1772">
                  <c:v>2016/4/21</c:v>
                </c:pt>
                <c:pt idx="1773">
                  <c:v>2016/4/22</c:v>
                </c:pt>
                <c:pt idx="1774">
                  <c:v>2016/4/25</c:v>
                </c:pt>
                <c:pt idx="1775">
                  <c:v>2016/4/26</c:v>
                </c:pt>
                <c:pt idx="1776">
                  <c:v>2016/4/27</c:v>
                </c:pt>
                <c:pt idx="1777">
                  <c:v>2016/4/28</c:v>
                </c:pt>
                <c:pt idx="1778">
                  <c:v>2016/4/29</c:v>
                </c:pt>
                <c:pt idx="1779">
                  <c:v>2016/5/3</c:v>
                </c:pt>
                <c:pt idx="1780">
                  <c:v>2016/5/4</c:v>
                </c:pt>
                <c:pt idx="1781">
                  <c:v>2016/5/5</c:v>
                </c:pt>
                <c:pt idx="1782">
                  <c:v>2016/5/6</c:v>
                </c:pt>
                <c:pt idx="1783">
                  <c:v>2016/5/9</c:v>
                </c:pt>
                <c:pt idx="1784">
                  <c:v>2016/5/10</c:v>
                </c:pt>
                <c:pt idx="1785">
                  <c:v>2016/5/11</c:v>
                </c:pt>
                <c:pt idx="1786">
                  <c:v>2016/5/12</c:v>
                </c:pt>
                <c:pt idx="1787">
                  <c:v>2016/5/13</c:v>
                </c:pt>
                <c:pt idx="1788">
                  <c:v>2016/5/16</c:v>
                </c:pt>
                <c:pt idx="1789">
                  <c:v>2016/5/17</c:v>
                </c:pt>
                <c:pt idx="1790">
                  <c:v>2016/5/18</c:v>
                </c:pt>
                <c:pt idx="1791">
                  <c:v>2016/5/19</c:v>
                </c:pt>
                <c:pt idx="1792">
                  <c:v>2016/5/20</c:v>
                </c:pt>
                <c:pt idx="1793">
                  <c:v>2016/5/23</c:v>
                </c:pt>
                <c:pt idx="1794">
                  <c:v>2016/5/24</c:v>
                </c:pt>
                <c:pt idx="1795">
                  <c:v>2016/5/25</c:v>
                </c:pt>
                <c:pt idx="1796">
                  <c:v>2016/5/26</c:v>
                </c:pt>
                <c:pt idx="1797">
                  <c:v>2016/5/27</c:v>
                </c:pt>
                <c:pt idx="1798">
                  <c:v>2016/5/30</c:v>
                </c:pt>
                <c:pt idx="1799">
                  <c:v>2016/5/31</c:v>
                </c:pt>
                <c:pt idx="1800">
                  <c:v>2016/6/1</c:v>
                </c:pt>
                <c:pt idx="1801">
                  <c:v>2016/6/2</c:v>
                </c:pt>
                <c:pt idx="1802">
                  <c:v>2016/6/3</c:v>
                </c:pt>
                <c:pt idx="1803">
                  <c:v>2016/6/6</c:v>
                </c:pt>
                <c:pt idx="1804">
                  <c:v>2016/6/7</c:v>
                </c:pt>
                <c:pt idx="1805">
                  <c:v>2016/6/8</c:v>
                </c:pt>
                <c:pt idx="1806">
                  <c:v>2016/6/13</c:v>
                </c:pt>
                <c:pt idx="1807">
                  <c:v>2016/6/14</c:v>
                </c:pt>
                <c:pt idx="1808">
                  <c:v>2016/6/15</c:v>
                </c:pt>
                <c:pt idx="1809">
                  <c:v>2016/6/16</c:v>
                </c:pt>
                <c:pt idx="1810">
                  <c:v>2016/6/17</c:v>
                </c:pt>
                <c:pt idx="1811">
                  <c:v>2016/6/20</c:v>
                </c:pt>
                <c:pt idx="1812">
                  <c:v>2016/6/21</c:v>
                </c:pt>
                <c:pt idx="1813">
                  <c:v>2016/6/22</c:v>
                </c:pt>
                <c:pt idx="1814">
                  <c:v>2016/6/23</c:v>
                </c:pt>
                <c:pt idx="1815">
                  <c:v>2016/6/24</c:v>
                </c:pt>
                <c:pt idx="1816">
                  <c:v>2016/6/27</c:v>
                </c:pt>
                <c:pt idx="1817">
                  <c:v>2016/6/28</c:v>
                </c:pt>
                <c:pt idx="1818">
                  <c:v>2016/6/29</c:v>
                </c:pt>
                <c:pt idx="1819">
                  <c:v>2016/6/30</c:v>
                </c:pt>
                <c:pt idx="1820">
                  <c:v>2016/7/1</c:v>
                </c:pt>
                <c:pt idx="1821">
                  <c:v>2016/7/4</c:v>
                </c:pt>
                <c:pt idx="1822">
                  <c:v>2016/7/5</c:v>
                </c:pt>
                <c:pt idx="1823">
                  <c:v>2016/7/6</c:v>
                </c:pt>
                <c:pt idx="1824">
                  <c:v>2016/7/7</c:v>
                </c:pt>
                <c:pt idx="1825">
                  <c:v>2016/7/8</c:v>
                </c:pt>
                <c:pt idx="1826">
                  <c:v>2016/7/11</c:v>
                </c:pt>
                <c:pt idx="1827">
                  <c:v>2016/7/12</c:v>
                </c:pt>
                <c:pt idx="1828">
                  <c:v>2016/7/13</c:v>
                </c:pt>
                <c:pt idx="1829">
                  <c:v>2016/7/14</c:v>
                </c:pt>
                <c:pt idx="1830">
                  <c:v>2016/7/15</c:v>
                </c:pt>
                <c:pt idx="1831">
                  <c:v>2016/7/18</c:v>
                </c:pt>
                <c:pt idx="1832">
                  <c:v>2016/7/19</c:v>
                </c:pt>
                <c:pt idx="1833">
                  <c:v>2016/7/20</c:v>
                </c:pt>
                <c:pt idx="1834">
                  <c:v>2016/7/21</c:v>
                </c:pt>
                <c:pt idx="1835">
                  <c:v>2016/7/22</c:v>
                </c:pt>
                <c:pt idx="1836">
                  <c:v>2016/7/25</c:v>
                </c:pt>
                <c:pt idx="1837">
                  <c:v>2016/7/26</c:v>
                </c:pt>
                <c:pt idx="1838">
                  <c:v>2016/7/27</c:v>
                </c:pt>
                <c:pt idx="1839">
                  <c:v>2016/7/28</c:v>
                </c:pt>
                <c:pt idx="1840">
                  <c:v>2016/7/29</c:v>
                </c:pt>
                <c:pt idx="1841">
                  <c:v>2016/8/1</c:v>
                </c:pt>
                <c:pt idx="1842">
                  <c:v>2016/8/2</c:v>
                </c:pt>
                <c:pt idx="1843">
                  <c:v>2016/8/3</c:v>
                </c:pt>
                <c:pt idx="1844">
                  <c:v>2016/8/4</c:v>
                </c:pt>
                <c:pt idx="1845">
                  <c:v>2016/8/5</c:v>
                </c:pt>
                <c:pt idx="1846">
                  <c:v>2016/8/8</c:v>
                </c:pt>
                <c:pt idx="1847">
                  <c:v>2016/8/9</c:v>
                </c:pt>
                <c:pt idx="1848">
                  <c:v>2016/8/10</c:v>
                </c:pt>
                <c:pt idx="1849">
                  <c:v>2016/8/11</c:v>
                </c:pt>
                <c:pt idx="1850">
                  <c:v>2016/8/12</c:v>
                </c:pt>
                <c:pt idx="1851">
                  <c:v>2016/8/15</c:v>
                </c:pt>
                <c:pt idx="1852">
                  <c:v>2016/8/16</c:v>
                </c:pt>
                <c:pt idx="1853">
                  <c:v>2016/8/17</c:v>
                </c:pt>
                <c:pt idx="1854">
                  <c:v>2016/8/18</c:v>
                </c:pt>
                <c:pt idx="1855">
                  <c:v>2016/8/19</c:v>
                </c:pt>
                <c:pt idx="1856">
                  <c:v>2016/8/22</c:v>
                </c:pt>
                <c:pt idx="1857">
                  <c:v>2016/8/23</c:v>
                </c:pt>
                <c:pt idx="1858">
                  <c:v>2016/8/24</c:v>
                </c:pt>
                <c:pt idx="1859">
                  <c:v>2016/8/25</c:v>
                </c:pt>
                <c:pt idx="1860">
                  <c:v>2016/8/26</c:v>
                </c:pt>
                <c:pt idx="1861">
                  <c:v>2016/8/29</c:v>
                </c:pt>
                <c:pt idx="1862">
                  <c:v>2016/8/30</c:v>
                </c:pt>
                <c:pt idx="1863">
                  <c:v>2016/8/31</c:v>
                </c:pt>
                <c:pt idx="1864">
                  <c:v>2016/9/1</c:v>
                </c:pt>
                <c:pt idx="1865">
                  <c:v>2016/9/2</c:v>
                </c:pt>
                <c:pt idx="1866">
                  <c:v>2016/9/5</c:v>
                </c:pt>
                <c:pt idx="1867">
                  <c:v>2016/9/6</c:v>
                </c:pt>
                <c:pt idx="1868">
                  <c:v>2016/9/7</c:v>
                </c:pt>
                <c:pt idx="1869">
                  <c:v>2016/9/8</c:v>
                </c:pt>
                <c:pt idx="1870">
                  <c:v>2016/9/9</c:v>
                </c:pt>
                <c:pt idx="1871">
                  <c:v>2016/9/12</c:v>
                </c:pt>
                <c:pt idx="1872">
                  <c:v>2016/9/13</c:v>
                </c:pt>
                <c:pt idx="1873">
                  <c:v>2016/9/14</c:v>
                </c:pt>
                <c:pt idx="1874">
                  <c:v>2016/9/19</c:v>
                </c:pt>
                <c:pt idx="1875">
                  <c:v>2016/9/20</c:v>
                </c:pt>
                <c:pt idx="1876">
                  <c:v>2016/9/21</c:v>
                </c:pt>
                <c:pt idx="1877">
                  <c:v>2016/9/22</c:v>
                </c:pt>
                <c:pt idx="1878">
                  <c:v>2016/9/23</c:v>
                </c:pt>
                <c:pt idx="1879">
                  <c:v>2016/9/26</c:v>
                </c:pt>
                <c:pt idx="1880">
                  <c:v>2016/9/27</c:v>
                </c:pt>
                <c:pt idx="1881">
                  <c:v>2016/9/28</c:v>
                </c:pt>
                <c:pt idx="1882">
                  <c:v>2016/9/29</c:v>
                </c:pt>
                <c:pt idx="1883">
                  <c:v>2016/9/30</c:v>
                </c:pt>
                <c:pt idx="1884">
                  <c:v>2016/10/10</c:v>
                </c:pt>
                <c:pt idx="1885">
                  <c:v>2016/10/11</c:v>
                </c:pt>
                <c:pt idx="1886">
                  <c:v>2016/10/12</c:v>
                </c:pt>
                <c:pt idx="1887">
                  <c:v>2016/10/13</c:v>
                </c:pt>
                <c:pt idx="1888">
                  <c:v>2016/10/14</c:v>
                </c:pt>
                <c:pt idx="1889">
                  <c:v>2016/10/17</c:v>
                </c:pt>
                <c:pt idx="1890">
                  <c:v>2016/10/18</c:v>
                </c:pt>
                <c:pt idx="1891">
                  <c:v>2016/10/19</c:v>
                </c:pt>
                <c:pt idx="1892">
                  <c:v>2016/10/20</c:v>
                </c:pt>
                <c:pt idx="1893">
                  <c:v>2016/10/21</c:v>
                </c:pt>
                <c:pt idx="1894">
                  <c:v>2016/10/24</c:v>
                </c:pt>
                <c:pt idx="1895">
                  <c:v>2016/10/25</c:v>
                </c:pt>
                <c:pt idx="1896">
                  <c:v>2016/10/26</c:v>
                </c:pt>
                <c:pt idx="1897">
                  <c:v>2016/10/27</c:v>
                </c:pt>
                <c:pt idx="1898">
                  <c:v>2016/10/28</c:v>
                </c:pt>
                <c:pt idx="1899">
                  <c:v>2016/10/31</c:v>
                </c:pt>
                <c:pt idx="1900">
                  <c:v>2016/11/1</c:v>
                </c:pt>
                <c:pt idx="1901">
                  <c:v>2016/11/2</c:v>
                </c:pt>
                <c:pt idx="1902">
                  <c:v>2016/11/3</c:v>
                </c:pt>
                <c:pt idx="1903">
                  <c:v>2016/11/4</c:v>
                </c:pt>
                <c:pt idx="1904">
                  <c:v>2016/11/7</c:v>
                </c:pt>
                <c:pt idx="1905">
                  <c:v>2016/11/8</c:v>
                </c:pt>
                <c:pt idx="1906">
                  <c:v>2016/11/9</c:v>
                </c:pt>
                <c:pt idx="1907">
                  <c:v>2016/11/10</c:v>
                </c:pt>
                <c:pt idx="1908">
                  <c:v>2016/11/11</c:v>
                </c:pt>
                <c:pt idx="1909">
                  <c:v>2016/11/14</c:v>
                </c:pt>
                <c:pt idx="1910">
                  <c:v>2016/11/15</c:v>
                </c:pt>
                <c:pt idx="1911">
                  <c:v>2016/11/16</c:v>
                </c:pt>
                <c:pt idx="1912">
                  <c:v>2016/11/17</c:v>
                </c:pt>
                <c:pt idx="1913">
                  <c:v>2016/11/18</c:v>
                </c:pt>
                <c:pt idx="1914">
                  <c:v>2016/11/21</c:v>
                </c:pt>
                <c:pt idx="1915">
                  <c:v>2016/11/22</c:v>
                </c:pt>
                <c:pt idx="1916">
                  <c:v>2016/11/23</c:v>
                </c:pt>
                <c:pt idx="1917">
                  <c:v>2016/11/24</c:v>
                </c:pt>
                <c:pt idx="1918">
                  <c:v>2016/11/25</c:v>
                </c:pt>
                <c:pt idx="1919">
                  <c:v>2016/11/28</c:v>
                </c:pt>
                <c:pt idx="1920">
                  <c:v>2016/11/29</c:v>
                </c:pt>
                <c:pt idx="1921">
                  <c:v>2016/11/30</c:v>
                </c:pt>
                <c:pt idx="1922">
                  <c:v>2016/12/1</c:v>
                </c:pt>
                <c:pt idx="1923">
                  <c:v>2016/12/2</c:v>
                </c:pt>
                <c:pt idx="1924">
                  <c:v>2016/12/5</c:v>
                </c:pt>
                <c:pt idx="1925">
                  <c:v>2016/12/6</c:v>
                </c:pt>
                <c:pt idx="1926">
                  <c:v>2016/12/7</c:v>
                </c:pt>
                <c:pt idx="1927">
                  <c:v>2016/12/8</c:v>
                </c:pt>
                <c:pt idx="1928">
                  <c:v>2016/12/9</c:v>
                </c:pt>
                <c:pt idx="1929">
                  <c:v>2016/12/12</c:v>
                </c:pt>
                <c:pt idx="1930">
                  <c:v>2016/12/13</c:v>
                </c:pt>
                <c:pt idx="1931">
                  <c:v>2016/12/14</c:v>
                </c:pt>
                <c:pt idx="1932">
                  <c:v>2016/12/15</c:v>
                </c:pt>
                <c:pt idx="1933">
                  <c:v>2016/12/16</c:v>
                </c:pt>
                <c:pt idx="1934">
                  <c:v>2016/12/19</c:v>
                </c:pt>
                <c:pt idx="1935">
                  <c:v>2016/12/20</c:v>
                </c:pt>
                <c:pt idx="1936">
                  <c:v>2016/12/21</c:v>
                </c:pt>
                <c:pt idx="1937">
                  <c:v>2016/12/22</c:v>
                </c:pt>
                <c:pt idx="1938">
                  <c:v>2016/12/23</c:v>
                </c:pt>
                <c:pt idx="1939">
                  <c:v>2016/12/26</c:v>
                </c:pt>
                <c:pt idx="1940">
                  <c:v>2016/12/27</c:v>
                </c:pt>
                <c:pt idx="1941">
                  <c:v>2016/12/28</c:v>
                </c:pt>
                <c:pt idx="1942">
                  <c:v>2016/12/29</c:v>
                </c:pt>
                <c:pt idx="1943">
                  <c:v>2016/12/30</c:v>
                </c:pt>
                <c:pt idx="1944">
                  <c:v>2017/1/3</c:v>
                </c:pt>
                <c:pt idx="1945">
                  <c:v>2017/1/4</c:v>
                </c:pt>
                <c:pt idx="1946">
                  <c:v>2017/1/5</c:v>
                </c:pt>
                <c:pt idx="1947">
                  <c:v>2017/1/6</c:v>
                </c:pt>
                <c:pt idx="1948">
                  <c:v>2017/1/9</c:v>
                </c:pt>
                <c:pt idx="1949">
                  <c:v>2017/1/10</c:v>
                </c:pt>
                <c:pt idx="1950">
                  <c:v>2017/1/11</c:v>
                </c:pt>
                <c:pt idx="1951">
                  <c:v>2017/1/12</c:v>
                </c:pt>
                <c:pt idx="1952">
                  <c:v>2017/1/13</c:v>
                </c:pt>
                <c:pt idx="1953">
                  <c:v>2017/1/16</c:v>
                </c:pt>
                <c:pt idx="1954">
                  <c:v>2017/1/17</c:v>
                </c:pt>
                <c:pt idx="1955">
                  <c:v>2017/1/18</c:v>
                </c:pt>
                <c:pt idx="1956">
                  <c:v>2017/1/19</c:v>
                </c:pt>
                <c:pt idx="1957">
                  <c:v>2017/1/20</c:v>
                </c:pt>
                <c:pt idx="1958">
                  <c:v>2017/1/23</c:v>
                </c:pt>
                <c:pt idx="1959">
                  <c:v>2017/1/24</c:v>
                </c:pt>
                <c:pt idx="1960">
                  <c:v>2017/1/25</c:v>
                </c:pt>
                <c:pt idx="1961">
                  <c:v>2017/1/26</c:v>
                </c:pt>
                <c:pt idx="1962">
                  <c:v>2017/2/3</c:v>
                </c:pt>
                <c:pt idx="1963">
                  <c:v>2017/2/6</c:v>
                </c:pt>
                <c:pt idx="1964">
                  <c:v>2017/2/7</c:v>
                </c:pt>
                <c:pt idx="1965">
                  <c:v>2017/2/8</c:v>
                </c:pt>
                <c:pt idx="1966">
                  <c:v>2017/2/9</c:v>
                </c:pt>
                <c:pt idx="1967">
                  <c:v>2017/2/10</c:v>
                </c:pt>
                <c:pt idx="1968">
                  <c:v>2017/2/13</c:v>
                </c:pt>
                <c:pt idx="1969">
                  <c:v>2017/2/14</c:v>
                </c:pt>
                <c:pt idx="1970">
                  <c:v>2017/2/15</c:v>
                </c:pt>
                <c:pt idx="1971">
                  <c:v>2017/2/16</c:v>
                </c:pt>
                <c:pt idx="1972">
                  <c:v>2017/2/17</c:v>
                </c:pt>
                <c:pt idx="1973">
                  <c:v>2017/2/20</c:v>
                </c:pt>
                <c:pt idx="1974">
                  <c:v>2017/2/21</c:v>
                </c:pt>
                <c:pt idx="1975">
                  <c:v>2017/2/22</c:v>
                </c:pt>
                <c:pt idx="1976">
                  <c:v>2017/2/23</c:v>
                </c:pt>
                <c:pt idx="1977">
                  <c:v>2017/2/24</c:v>
                </c:pt>
                <c:pt idx="1978">
                  <c:v>2017/2/27</c:v>
                </c:pt>
                <c:pt idx="1979">
                  <c:v>2017/2/28</c:v>
                </c:pt>
                <c:pt idx="1980">
                  <c:v>2017/3/1</c:v>
                </c:pt>
                <c:pt idx="1981">
                  <c:v>2017/3/2</c:v>
                </c:pt>
                <c:pt idx="1982">
                  <c:v>2017/3/3</c:v>
                </c:pt>
                <c:pt idx="1983">
                  <c:v>2017/3/6</c:v>
                </c:pt>
                <c:pt idx="1984">
                  <c:v>2017/3/7</c:v>
                </c:pt>
                <c:pt idx="1985">
                  <c:v>2017/3/8</c:v>
                </c:pt>
                <c:pt idx="1986">
                  <c:v>2017/3/9</c:v>
                </c:pt>
                <c:pt idx="1987">
                  <c:v>2017/3/10</c:v>
                </c:pt>
                <c:pt idx="1988">
                  <c:v>2017/3/13</c:v>
                </c:pt>
                <c:pt idx="1989">
                  <c:v>2017/3/14</c:v>
                </c:pt>
                <c:pt idx="1990">
                  <c:v>2017/3/15</c:v>
                </c:pt>
                <c:pt idx="1991">
                  <c:v>2017/3/16</c:v>
                </c:pt>
                <c:pt idx="1992">
                  <c:v>2017/3/17</c:v>
                </c:pt>
                <c:pt idx="1993">
                  <c:v>2017/3/20</c:v>
                </c:pt>
                <c:pt idx="1994">
                  <c:v>2017/3/21</c:v>
                </c:pt>
                <c:pt idx="1995">
                  <c:v>2017/3/22</c:v>
                </c:pt>
                <c:pt idx="1996">
                  <c:v>2017/3/23</c:v>
                </c:pt>
                <c:pt idx="1997">
                  <c:v>2017/3/24</c:v>
                </c:pt>
                <c:pt idx="1998">
                  <c:v>2017/3/27</c:v>
                </c:pt>
                <c:pt idx="1999">
                  <c:v>2017/3/28</c:v>
                </c:pt>
                <c:pt idx="2000">
                  <c:v>2017/3/29</c:v>
                </c:pt>
                <c:pt idx="2001">
                  <c:v>2017/3/30</c:v>
                </c:pt>
                <c:pt idx="2002">
                  <c:v>2017/3/31</c:v>
                </c:pt>
                <c:pt idx="2003">
                  <c:v>2017/4/5</c:v>
                </c:pt>
                <c:pt idx="2004">
                  <c:v>2017/4/6</c:v>
                </c:pt>
                <c:pt idx="2005">
                  <c:v>2017/4/7</c:v>
                </c:pt>
                <c:pt idx="2006">
                  <c:v>2017/4/10</c:v>
                </c:pt>
                <c:pt idx="2007">
                  <c:v>2017/4/11</c:v>
                </c:pt>
                <c:pt idx="2008">
                  <c:v>2017/4/12</c:v>
                </c:pt>
                <c:pt idx="2009">
                  <c:v>2017/4/13</c:v>
                </c:pt>
                <c:pt idx="2010">
                  <c:v>2017/4/14</c:v>
                </c:pt>
                <c:pt idx="2011">
                  <c:v>2017/4/17</c:v>
                </c:pt>
                <c:pt idx="2012">
                  <c:v>2017/4/18</c:v>
                </c:pt>
                <c:pt idx="2013">
                  <c:v>2017/4/19</c:v>
                </c:pt>
                <c:pt idx="2014">
                  <c:v>2017/4/20</c:v>
                </c:pt>
                <c:pt idx="2015">
                  <c:v>2017/4/21</c:v>
                </c:pt>
                <c:pt idx="2016">
                  <c:v>2017/4/24</c:v>
                </c:pt>
                <c:pt idx="2017">
                  <c:v>2017/4/25</c:v>
                </c:pt>
                <c:pt idx="2018">
                  <c:v>2017/4/26</c:v>
                </c:pt>
                <c:pt idx="2019">
                  <c:v>2017/4/27</c:v>
                </c:pt>
                <c:pt idx="2020">
                  <c:v>2017/4/28</c:v>
                </c:pt>
                <c:pt idx="2021">
                  <c:v>2017/5/2</c:v>
                </c:pt>
                <c:pt idx="2022">
                  <c:v>2017/5/3</c:v>
                </c:pt>
                <c:pt idx="2023">
                  <c:v>2017/5/4</c:v>
                </c:pt>
                <c:pt idx="2024">
                  <c:v>2017/5/5</c:v>
                </c:pt>
                <c:pt idx="2025">
                  <c:v>2017/5/8</c:v>
                </c:pt>
                <c:pt idx="2026">
                  <c:v>2017/5/9</c:v>
                </c:pt>
                <c:pt idx="2027">
                  <c:v>2017/5/10</c:v>
                </c:pt>
                <c:pt idx="2028">
                  <c:v>2017/5/11</c:v>
                </c:pt>
                <c:pt idx="2029">
                  <c:v>2017/5/12</c:v>
                </c:pt>
                <c:pt idx="2030">
                  <c:v>2017/5/15</c:v>
                </c:pt>
                <c:pt idx="2031">
                  <c:v>2017/5/16</c:v>
                </c:pt>
                <c:pt idx="2032">
                  <c:v>2017/5/17</c:v>
                </c:pt>
                <c:pt idx="2033">
                  <c:v>2017/5/18</c:v>
                </c:pt>
                <c:pt idx="2034">
                  <c:v>2017/5/19</c:v>
                </c:pt>
                <c:pt idx="2035">
                  <c:v>2017/5/22</c:v>
                </c:pt>
                <c:pt idx="2036">
                  <c:v>2017/5/23</c:v>
                </c:pt>
                <c:pt idx="2037">
                  <c:v>2017/5/24</c:v>
                </c:pt>
                <c:pt idx="2038">
                  <c:v>2017/5/25</c:v>
                </c:pt>
                <c:pt idx="2039">
                  <c:v>2017/5/26</c:v>
                </c:pt>
                <c:pt idx="2040">
                  <c:v>2017/5/31</c:v>
                </c:pt>
                <c:pt idx="2041">
                  <c:v>2017/6/1</c:v>
                </c:pt>
                <c:pt idx="2042">
                  <c:v>2017/6/2</c:v>
                </c:pt>
                <c:pt idx="2043">
                  <c:v>2017/6/5</c:v>
                </c:pt>
                <c:pt idx="2044">
                  <c:v>2017/6/6</c:v>
                </c:pt>
                <c:pt idx="2045">
                  <c:v>2017/6/7</c:v>
                </c:pt>
                <c:pt idx="2046">
                  <c:v>2017/6/8</c:v>
                </c:pt>
                <c:pt idx="2047">
                  <c:v>2017/6/9</c:v>
                </c:pt>
                <c:pt idx="2048">
                  <c:v>2017/6/12</c:v>
                </c:pt>
                <c:pt idx="2049">
                  <c:v>2017/6/13</c:v>
                </c:pt>
                <c:pt idx="2050">
                  <c:v>2017/6/14</c:v>
                </c:pt>
                <c:pt idx="2051">
                  <c:v>2017/6/15</c:v>
                </c:pt>
                <c:pt idx="2052">
                  <c:v>2017/6/16</c:v>
                </c:pt>
                <c:pt idx="2053">
                  <c:v>2017/6/19</c:v>
                </c:pt>
                <c:pt idx="2054">
                  <c:v>2017/6/20</c:v>
                </c:pt>
                <c:pt idx="2055">
                  <c:v>2017/6/21</c:v>
                </c:pt>
                <c:pt idx="2056">
                  <c:v>2017/6/22</c:v>
                </c:pt>
                <c:pt idx="2057">
                  <c:v>2017/6/23</c:v>
                </c:pt>
                <c:pt idx="2058">
                  <c:v>2017/6/26</c:v>
                </c:pt>
                <c:pt idx="2059">
                  <c:v>2017/6/27</c:v>
                </c:pt>
                <c:pt idx="2060">
                  <c:v>2017/6/28</c:v>
                </c:pt>
                <c:pt idx="2061">
                  <c:v>2017/6/29</c:v>
                </c:pt>
                <c:pt idx="2062">
                  <c:v>2017/6/30</c:v>
                </c:pt>
                <c:pt idx="2063">
                  <c:v>2017/7/3</c:v>
                </c:pt>
                <c:pt idx="2064">
                  <c:v>2017/7/4</c:v>
                </c:pt>
                <c:pt idx="2065">
                  <c:v>2017/7/5</c:v>
                </c:pt>
                <c:pt idx="2066">
                  <c:v>2017/7/6</c:v>
                </c:pt>
                <c:pt idx="2067">
                  <c:v>2017/7/7</c:v>
                </c:pt>
                <c:pt idx="2068">
                  <c:v>2017/7/10</c:v>
                </c:pt>
                <c:pt idx="2069">
                  <c:v>2017/7/11</c:v>
                </c:pt>
                <c:pt idx="2070">
                  <c:v>2017/7/12</c:v>
                </c:pt>
                <c:pt idx="2071">
                  <c:v>2017/7/13</c:v>
                </c:pt>
                <c:pt idx="2072">
                  <c:v>2017/7/14</c:v>
                </c:pt>
                <c:pt idx="2073">
                  <c:v>2017/7/17</c:v>
                </c:pt>
                <c:pt idx="2074">
                  <c:v>2017/7/18</c:v>
                </c:pt>
                <c:pt idx="2075">
                  <c:v>2017/7/19</c:v>
                </c:pt>
                <c:pt idx="2076">
                  <c:v>2017/7/20</c:v>
                </c:pt>
                <c:pt idx="2077">
                  <c:v>2017/7/21</c:v>
                </c:pt>
                <c:pt idx="2078">
                  <c:v>2017/7/24</c:v>
                </c:pt>
                <c:pt idx="2079">
                  <c:v>2017/7/25</c:v>
                </c:pt>
                <c:pt idx="2080">
                  <c:v>2017/7/26</c:v>
                </c:pt>
                <c:pt idx="2081">
                  <c:v>2017/7/27</c:v>
                </c:pt>
                <c:pt idx="2082">
                  <c:v>2017/7/28</c:v>
                </c:pt>
                <c:pt idx="2083">
                  <c:v>2017/7/31</c:v>
                </c:pt>
                <c:pt idx="2084">
                  <c:v>2017/8/1</c:v>
                </c:pt>
                <c:pt idx="2085">
                  <c:v>2017/8/2</c:v>
                </c:pt>
                <c:pt idx="2086">
                  <c:v>2017/8/3</c:v>
                </c:pt>
                <c:pt idx="2087">
                  <c:v>2017/8/4</c:v>
                </c:pt>
                <c:pt idx="2088">
                  <c:v>2017/8/7</c:v>
                </c:pt>
                <c:pt idx="2089">
                  <c:v>2017/8/8</c:v>
                </c:pt>
                <c:pt idx="2090">
                  <c:v>2017/8/9</c:v>
                </c:pt>
                <c:pt idx="2091">
                  <c:v>2017/8/10</c:v>
                </c:pt>
                <c:pt idx="2092">
                  <c:v>2017/8/11</c:v>
                </c:pt>
                <c:pt idx="2093">
                  <c:v>2017/8/14</c:v>
                </c:pt>
                <c:pt idx="2094">
                  <c:v>2017/8/15</c:v>
                </c:pt>
                <c:pt idx="2095">
                  <c:v>2017/8/16</c:v>
                </c:pt>
                <c:pt idx="2096">
                  <c:v>2017/8/17</c:v>
                </c:pt>
                <c:pt idx="2097">
                  <c:v>2017/8/18</c:v>
                </c:pt>
                <c:pt idx="2098">
                  <c:v>2017/8/21</c:v>
                </c:pt>
                <c:pt idx="2099">
                  <c:v>2017/8/22</c:v>
                </c:pt>
                <c:pt idx="2100">
                  <c:v>2017/8/23</c:v>
                </c:pt>
                <c:pt idx="2101">
                  <c:v>2017/8/24</c:v>
                </c:pt>
                <c:pt idx="2102">
                  <c:v>2017/8/25</c:v>
                </c:pt>
                <c:pt idx="2103">
                  <c:v>2017/8/28</c:v>
                </c:pt>
                <c:pt idx="2104">
                  <c:v>2017/8/29</c:v>
                </c:pt>
                <c:pt idx="2105">
                  <c:v>2017/8/30</c:v>
                </c:pt>
                <c:pt idx="2106">
                  <c:v>2017/8/31</c:v>
                </c:pt>
                <c:pt idx="2107">
                  <c:v>2017/9/1</c:v>
                </c:pt>
                <c:pt idx="2108">
                  <c:v>2017/9/4</c:v>
                </c:pt>
                <c:pt idx="2109">
                  <c:v>2017/9/5</c:v>
                </c:pt>
                <c:pt idx="2110">
                  <c:v>2017/9/6</c:v>
                </c:pt>
                <c:pt idx="2111">
                  <c:v>2017/9/7</c:v>
                </c:pt>
                <c:pt idx="2112">
                  <c:v>2017/9/8</c:v>
                </c:pt>
                <c:pt idx="2113">
                  <c:v>2017/9/11</c:v>
                </c:pt>
                <c:pt idx="2114">
                  <c:v>2017/9/12</c:v>
                </c:pt>
                <c:pt idx="2115">
                  <c:v>2017/9/13</c:v>
                </c:pt>
                <c:pt idx="2116">
                  <c:v>2017/9/14</c:v>
                </c:pt>
                <c:pt idx="2117">
                  <c:v>2017/9/15</c:v>
                </c:pt>
                <c:pt idx="2118">
                  <c:v>2017/9/18</c:v>
                </c:pt>
                <c:pt idx="2119">
                  <c:v>2017/9/19</c:v>
                </c:pt>
                <c:pt idx="2120">
                  <c:v>2017/9/20</c:v>
                </c:pt>
                <c:pt idx="2121">
                  <c:v>2017/9/21</c:v>
                </c:pt>
                <c:pt idx="2122">
                  <c:v>2017/9/22</c:v>
                </c:pt>
                <c:pt idx="2123">
                  <c:v>2017/9/25</c:v>
                </c:pt>
                <c:pt idx="2124">
                  <c:v>2017/9/26</c:v>
                </c:pt>
                <c:pt idx="2125">
                  <c:v>2017/9/27</c:v>
                </c:pt>
                <c:pt idx="2126">
                  <c:v>2017/9/28</c:v>
                </c:pt>
                <c:pt idx="2127">
                  <c:v>2017/9/29</c:v>
                </c:pt>
                <c:pt idx="2128">
                  <c:v>2017/10/9</c:v>
                </c:pt>
                <c:pt idx="2129">
                  <c:v>2017/10/10</c:v>
                </c:pt>
                <c:pt idx="2130">
                  <c:v>2017/10/11</c:v>
                </c:pt>
                <c:pt idx="2131">
                  <c:v>2017/10/12</c:v>
                </c:pt>
                <c:pt idx="2132">
                  <c:v>2017/10/13</c:v>
                </c:pt>
                <c:pt idx="2133">
                  <c:v>2017/10/16</c:v>
                </c:pt>
                <c:pt idx="2134">
                  <c:v>2017/10/17</c:v>
                </c:pt>
                <c:pt idx="2135">
                  <c:v>2017/10/18</c:v>
                </c:pt>
                <c:pt idx="2136">
                  <c:v>2017/10/19</c:v>
                </c:pt>
                <c:pt idx="2137">
                  <c:v>2017/10/20</c:v>
                </c:pt>
                <c:pt idx="2138">
                  <c:v>2017/10/23</c:v>
                </c:pt>
                <c:pt idx="2139">
                  <c:v>2017/10/24</c:v>
                </c:pt>
                <c:pt idx="2140">
                  <c:v>2017/10/25</c:v>
                </c:pt>
                <c:pt idx="2141">
                  <c:v>2017/10/26</c:v>
                </c:pt>
                <c:pt idx="2142">
                  <c:v>2017/10/27</c:v>
                </c:pt>
                <c:pt idx="2143">
                  <c:v>2017/10/30</c:v>
                </c:pt>
                <c:pt idx="2144">
                  <c:v>2017/10/31</c:v>
                </c:pt>
                <c:pt idx="2145">
                  <c:v>2017/11/1</c:v>
                </c:pt>
                <c:pt idx="2146">
                  <c:v>2017/11/2</c:v>
                </c:pt>
                <c:pt idx="2147">
                  <c:v>2017/11/3</c:v>
                </c:pt>
                <c:pt idx="2148">
                  <c:v>2017/11/6</c:v>
                </c:pt>
                <c:pt idx="2149">
                  <c:v>2017/11/7</c:v>
                </c:pt>
                <c:pt idx="2150">
                  <c:v>2017/11/8</c:v>
                </c:pt>
                <c:pt idx="2151">
                  <c:v>2017/11/9</c:v>
                </c:pt>
                <c:pt idx="2152">
                  <c:v>2017/11/10</c:v>
                </c:pt>
                <c:pt idx="2153">
                  <c:v>2017/11/13</c:v>
                </c:pt>
                <c:pt idx="2154">
                  <c:v>2017/11/14</c:v>
                </c:pt>
                <c:pt idx="2155">
                  <c:v>2017/11/15</c:v>
                </c:pt>
                <c:pt idx="2156">
                  <c:v>2017/11/16</c:v>
                </c:pt>
                <c:pt idx="2157">
                  <c:v>2017/11/17</c:v>
                </c:pt>
                <c:pt idx="2158">
                  <c:v>2017/11/20</c:v>
                </c:pt>
                <c:pt idx="2159">
                  <c:v>2017/11/21</c:v>
                </c:pt>
                <c:pt idx="2160">
                  <c:v>2017/11/22</c:v>
                </c:pt>
                <c:pt idx="2161">
                  <c:v>2017/11/23</c:v>
                </c:pt>
                <c:pt idx="2162">
                  <c:v>2017/11/24</c:v>
                </c:pt>
                <c:pt idx="2163">
                  <c:v>2017/11/27</c:v>
                </c:pt>
                <c:pt idx="2164">
                  <c:v>2017/11/28</c:v>
                </c:pt>
                <c:pt idx="2165">
                  <c:v>2017/11/29</c:v>
                </c:pt>
                <c:pt idx="2166">
                  <c:v>2017/11/30</c:v>
                </c:pt>
                <c:pt idx="2167">
                  <c:v>2017/12/1</c:v>
                </c:pt>
                <c:pt idx="2168">
                  <c:v>2017/12/4</c:v>
                </c:pt>
                <c:pt idx="2169">
                  <c:v>2017/12/5</c:v>
                </c:pt>
                <c:pt idx="2170">
                  <c:v>2017/12/6</c:v>
                </c:pt>
                <c:pt idx="2171">
                  <c:v>2017/12/7</c:v>
                </c:pt>
                <c:pt idx="2172">
                  <c:v>2017/12/8</c:v>
                </c:pt>
                <c:pt idx="2173">
                  <c:v>2017/12/11</c:v>
                </c:pt>
                <c:pt idx="2174">
                  <c:v>2017/12/12</c:v>
                </c:pt>
                <c:pt idx="2175">
                  <c:v>2017/12/13</c:v>
                </c:pt>
                <c:pt idx="2176">
                  <c:v>2017/12/14</c:v>
                </c:pt>
                <c:pt idx="2177">
                  <c:v>2017/12/15</c:v>
                </c:pt>
                <c:pt idx="2178">
                  <c:v>2017/12/18</c:v>
                </c:pt>
                <c:pt idx="2179">
                  <c:v>2017/12/19</c:v>
                </c:pt>
                <c:pt idx="2180">
                  <c:v>2017/12/20</c:v>
                </c:pt>
                <c:pt idx="2181">
                  <c:v>2017/12/21</c:v>
                </c:pt>
                <c:pt idx="2182">
                  <c:v>2017/12/22</c:v>
                </c:pt>
                <c:pt idx="2183">
                  <c:v>2017/12/25</c:v>
                </c:pt>
                <c:pt idx="2184">
                  <c:v>2017/12/26</c:v>
                </c:pt>
                <c:pt idx="2185">
                  <c:v>2017/12/27</c:v>
                </c:pt>
                <c:pt idx="2186">
                  <c:v>2017/12/28</c:v>
                </c:pt>
                <c:pt idx="2187">
                  <c:v>2017/12/29</c:v>
                </c:pt>
                <c:pt idx="2188">
                  <c:v>2018/1/2</c:v>
                </c:pt>
                <c:pt idx="2189">
                  <c:v>2018/1/3</c:v>
                </c:pt>
                <c:pt idx="2190">
                  <c:v>2018/1/4</c:v>
                </c:pt>
                <c:pt idx="2191">
                  <c:v>2018/1/5</c:v>
                </c:pt>
                <c:pt idx="2192">
                  <c:v>2018/1/8</c:v>
                </c:pt>
                <c:pt idx="2193">
                  <c:v>2018/1/9</c:v>
                </c:pt>
                <c:pt idx="2194">
                  <c:v>2018/1/10</c:v>
                </c:pt>
                <c:pt idx="2195">
                  <c:v>2018/1/11</c:v>
                </c:pt>
                <c:pt idx="2196">
                  <c:v>2018/1/12</c:v>
                </c:pt>
                <c:pt idx="2197">
                  <c:v>2018/1/15</c:v>
                </c:pt>
                <c:pt idx="2198">
                  <c:v>2018/1/16</c:v>
                </c:pt>
                <c:pt idx="2199">
                  <c:v>2018/1/17</c:v>
                </c:pt>
                <c:pt idx="2200">
                  <c:v>2018/1/18</c:v>
                </c:pt>
                <c:pt idx="2201">
                  <c:v>2018/1/19</c:v>
                </c:pt>
                <c:pt idx="2202">
                  <c:v>2018/1/22</c:v>
                </c:pt>
                <c:pt idx="2203">
                  <c:v>2018/1/23</c:v>
                </c:pt>
                <c:pt idx="2204">
                  <c:v>2018/1/24</c:v>
                </c:pt>
                <c:pt idx="2205">
                  <c:v>2018/1/25</c:v>
                </c:pt>
                <c:pt idx="2206">
                  <c:v>2018/1/26</c:v>
                </c:pt>
                <c:pt idx="2207">
                  <c:v>2018/1/29</c:v>
                </c:pt>
                <c:pt idx="2208">
                  <c:v>2018/1/30</c:v>
                </c:pt>
                <c:pt idx="2209">
                  <c:v>2018/1/31</c:v>
                </c:pt>
                <c:pt idx="2210">
                  <c:v>2018/2/1</c:v>
                </c:pt>
                <c:pt idx="2211">
                  <c:v>2018/2/2</c:v>
                </c:pt>
                <c:pt idx="2212">
                  <c:v>2018/2/5</c:v>
                </c:pt>
                <c:pt idx="2213">
                  <c:v>2018/2/6</c:v>
                </c:pt>
                <c:pt idx="2214">
                  <c:v>2018/2/7</c:v>
                </c:pt>
                <c:pt idx="2215">
                  <c:v>2018/2/8</c:v>
                </c:pt>
                <c:pt idx="2216">
                  <c:v>2018/2/9</c:v>
                </c:pt>
                <c:pt idx="2217">
                  <c:v>2018/2/12</c:v>
                </c:pt>
                <c:pt idx="2218">
                  <c:v>2018/2/13</c:v>
                </c:pt>
                <c:pt idx="2219">
                  <c:v>2018/2/14</c:v>
                </c:pt>
                <c:pt idx="2220">
                  <c:v>2018/2/22</c:v>
                </c:pt>
                <c:pt idx="2221">
                  <c:v>2018/2/23</c:v>
                </c:pt>
                <c:pt idx="2222">
                  <c:v>2018/2/26</c:v>
                </c:pt>
                <c:pt idx="2223">
                  <c:v>2018/2/27</c:v>
                </c:pt>
                <c:pt idx="2224">
                  <c:v>2018/2/28</c:v>
                </c:pt>
                <c:pt idx="2225">
                  <c:v>2018/3/1</c:v>
                </c:pt>
                <c:pt idx="2226">
                  <c:v>2018/3/2</c:v>
                </c:pt>
                <c:pt idx="2227">
                  <c:v>2018/3/5</c:v>
                </c:pt>
                <c:pt idx="2228">
                  <c:v>2018/3/6</c:v>
                </c:pt>
                <c:pt idx="2229">
                  <c:v>2018/3/7</c:v>
                </c:pt>
                <c:pt idx="2230">
                  <c:v>2018/3/8</c:v>
                </c:pt>
                <c:pt idx="2231">
                  <c:v>2018/3/9</c:v>
                </c:pt>
                <c:pt idx="2232">
                  <c:v>2018/3/12</c:v>
                </c:pt>
                <c:pt idx="2233">
                  <c:v>2018/3/13</c:v>
                </c:pt>
                <c:pt idx="2234">
                  <c:v>2018/3/14</c:v>
                </c:pt>
                <c:pt idx="2235">
                  <c:v>2018/3/15</c:v>
                </c:pt>
                <c:pt idx="2236">
                  <c:v>2018/3/16</c:v>
                </c:pt>
                <c:pt idx="2237">
                  <c:v>2018/3/19</c:v>
                </c:pt>
                <c:pt idx="2238">
                  <c:v>2018/3/20</c:v>
                </c:pt>
                <c:pt idx="2239">
                  <c:v>2018/3/21</c:v>
                </c:pt>
                <c:pt idx="2240">
                  <c:v>2018/3/22</c:v>
                </c:pt>
                <c:pt idx="2241">
                  <c:v>2018/3/23</c:v>
                </c:pt>
                <c:pt idx="2242">
                  <c:v>2018/3/26</c:v>
                </c:pt>
                <c:pt idx="2243">
                  <c:v>2018/3/27</c:v>
                </c:pt>
                <c:pt idx="2244">
                  <c:v>2018/3/28</c:v>
                </c:pt>
                <c:pt idx="2245">
                  <c:v>2018/3/29</c:v>
                </c:pt>
                <c:pt idx="2246">
                  <c:v>2018/3/30</c:v>
                </c:pt>
                <c:pt idx="2247">
                  <c:v>2018/4/2</c:v>
                </c:pt>
                <c:pt idx="2248">
                  <c:v>2018/4/3</c:v>
                </c:pt>
                <c:pt idx="2249">
                  <c:v>2018/4/4</c:v>
                </c:pt>
                <c:pt idx="2250">
                  <c:v>2018/4/9</c:v>
                </c:pt>
                <c:pt idx="2251">
                  <c:v>2018/4/10</c:v>
                </c:pt>
                <c:pt idx="2252">
                  <c:v>2018/4/11</c:v>
                </c:pt>
                <c:pt idx="2253">
                  <c:v>2018/4/12</c:v>
                </c:pt>
                <c:pt idx="2254">
                  <c:v>2018/4/13</c:v>
                </c:pt>
                <c:pt idx="2255">
                  <c:v>2018/4/16</c:v>
                </c:pt>
                <c:pt idx="2256">
                  <c:v>2018/4/17</c:v>
                </c:pt>
                <c:pt idx="2257">
                  <c:v>2018/4/18</c:v>
                </c:pt>
                <c:pt idx="2258">
                  <c:v>2018/4/19</c:v>
                </c:pt>
                <c:pt idx="2259">
                  <c:v>2018/4/20</c:v>
                </c:pt>
                <c:pt idx="2260">
                  <c:v>2018/4/23</c:v>
                </c:pt>
                <c:pt idx="2261">
                  <c:v>2018/4/24</c:v>
                </c:pt>
                <c:pt idx="2262">
                  <c:v>2018/4/25</c:v>
                </c:pt>
                <c:pt idx="2263">
                  <c:v>2018/4/26</c:v>
                </c:pt>
                <c:pt idx="2264">
                  <c:v>2018/4/27</c:v>
                </c:pt>
                <c:pt idx="2265">
                  <c:v>2018/5/2</c:v>
                </c:pt>
                <c:pt idx="2266">
                  <c:v>2018/5/3</c:v>
                </c:pt>
                <c:pt idx="2267">
                  <c:v>2018/5/4</c:v>
                </c:pt>
                <c:pt idx="2268">
                  <c:v>2018/5/7</c:v>
                </c:pt>
                <c:pt idx="2269">
                  <c:v>2018/5/8</c:v>
                </c:pt>
                <c:pt idx="2270">
                  <c:v>2018/5/9</c:v>
                </c:pt>
                <c:pt idx="2271">
                  <c:v>2018/5/10</c:v>
                </c:pt>
                <c:pt idx="2272">
                  <c:v>2018/5/11</c:v>
                </c:pt>
                <c:pt idx="2273">
                  <c:v>2018/5/14</c:v>
                </c:pt>
                <c:pt idx="2274">
                  <c:v>2018/5/15</c:v>
                </c:pt>
                <c:pt idx="2275">
                  <c:v>2018/5/16</c:v>
                </c:pt>
                <c:pt idx="2276">
                  <c:v>2018/5/17</c:v>
                </c:pt>
                <c:pt idx="2277">
                  <c:v>2018/5/18</c:v>
                </c:pt>
                <c:pt idx="2278">
                  <c:v>2018/5/21</c:v>
                </c:pt>
                <c:pt idx="2279">
                  <c:v>2018/5/22</c:v>
                </c:pt>
                <c:pt idx="2280">
                  <c:v>2018/5/23</c:v>
                </c:pt>
                <c:pt idx="2281">
                  <c:v>2018/5/24</c:v>
                </c:pt>
                <c:pt idx="2282">
                  <c:v>2018/5/25</c:v>
                </c:pt>
                <c:pt idx="2283">
                  <c:v>2018/5/28</c:v>
                </c:pt>
                <c:pt idx="2284">
                  <c:v>2018/5/29</c:v>
                </c:pt>
                <c:pt idx="2285">
                  <c:v>2018/5/30</c:v>
                </c:pt>
                <c:pt idx="2286">
                  <c:v>2018/5/31</c:v>
                </c:pt>
                <c:pt idx="2287">
                  <c:v>2018/6/1</c:v>
                </c:pt>
                <c:pt idx="2288">
                  <c:v>2018/6/4</c:v>
                </c:pt>
                <c:pt idx="2289">
                  <c:v>2018/6/5</c:v>
                </c:pt>
                <c:pt idx="2290">
                  <c:v>2018/6/6</c:v>
                </c:pt>
                <c:pt idx="2291">
                  <c:v>2018/6/7</c:v>
                </c:pt>
                <c:pt idx="2292">
                  <c:v>2018/6/8</c:v>
                </c:pt>
                <c:pt idx="2293">
                  <c:v>2018/6/11</c:v>
                </c:pt>
                <c:pt idx="2294">
                  <c:v>2018/6/12</c:v>
                </c:pt>
                <c:pt idx="2295">
                  <c:v>2018/6/13</c:v>
                </c:pt>
                <c:pt idx="2296">
                  <c:v>2018/6/14</c:v>
                </c:pt>
                <c:pt idx="2297">
                  <c:v>2018/6/15</c:v>
                </c:pt>
                <c:pt idx="2298">
                  <c:v>2018/6/19</c:v>
                </c:pt>
                <c:pt idx="2299">
                  <c:v>2018/6/20</c:v>
                </c:pt>
                <c:pt idx="2300">
                  <c:v>2018/6/21</c:v>
                </c:pt>
                <c:pt idx="2301">
                  <c:v>2018/6/22</c:v>
                </c:pt>
                <c:pt idx="2302">
                  <c:v>2018/6/25</c:v>
                </c:pt>
                <c:pt idx="2303">
                  <c:v>2018/6/26</c:v>
                </c:pt>
                <c:pt idx="2304">
                  <c:v>2018/6/27</c:v>
                </c:pt>
                <c:pt idx="2305">
                  <c:v>2018/6/28</c:v>
                </c:pt>
                <c:pt idx="2306">
                  <c:v>2018/6/29</c:v>
                </c:pt>
                <c:pt idx="2307">
                  <c:v>2018/7/2</c:v>
                </c:pt>
                <c:pt idx="2308">
                  <c:v>2018/7/3</c:v>
                </c:pt>
                <c:pt idx="2309">
                  <c:v>2018/7/4</c:v>
                </c:pt>
                <c:pt idx="2310">
                  <c:v>2018/7/5</c:v>
                </c:pt>
                <c:pt idx="2311">
                  <c:v>2018/7/6</c:v>
                </c:pt>
                <c:pt idx="2312">
                  <c:v>2018/7/9</c:v>
                </c:pt>
                <c:pt idx="2313">
                  <c:v>2018/7/10</c:v>
                </c:pt>
                <c:pt idx="2314">
                  <c:v>2018/7/11</c:v>
                </c:pt>
                <c:pt idx="2315">
                  <c:v>2018/7/12</c:v>
                </c:pt>
                <c:pt idx="2316">
                  <c:v>2018/7/13</c:v>
                </c:pt>
                <c:pt idx="2317">
                  <c:v>2018/7/16</c:v>
                </c:pt>
                <c:pt idx="2318">
                  <c:v>2018/7/17</c:v>
                </c:pt>
                <c:pt idx="2319">
                  <c:v>2018/7/18</c:v>
                </c:pt>
                <c:pt idx="2320">
                  <c:v>2018/7/19</c:v>
                </c:pt>
                <c:pt idx="2321">
                  <c:v>2018/7/20</c:v>
                </c:pt>
                <c:pt idx="2322">
                  <c:v>2018/7/23</c:v>
                </c:pt>
                <c:pt idx="2323">
                  <c:v>2018/7/24</c:v>
                </c:pt>
                <c:pt idx="2324">
                  <c:v>2018/7/25</c:v>
                </c:pt>
                <c:pt idx="2325">
                  <c:v>2018/7/26</c:v>
                </c:pt>
                <c:pt idx="2326">
                  <c:v>2018/7/27</c:v>
                </c:pt>
                <c:pt idx="2327">
                  <c:v>2018/7/30</c:v>
                </c:pt>
                <c:pt idx="2328">
                  <c:v>2018/7/31</c:v>
                </c:pt>
                <c:pt idx="2329">
                  <c:v>2018/8/1</c:v>
                </c:pt>
                <c:pt idx="2330">
                  <c:v>2018/8/2</c:v>
                </c:pt>
                <c:pt idx="2331">
                  <c:v>2018/8/3</c:v>
                </c:pt>
                <c:pt idx="2332">
                  <c:v>2018/8/6</c:v>
                </c:pt>
                <c:pt idx="2333">
                  <c:v>2018/8/7</c:v>
                </c:pt>
                <c:pt idx="2334">
                  <c:v>2018/8/8</c:v>
                </c:pt>
                <c:pt idx="2335">
                  <c:v>2018/8/9</c:v>
                </c:pt>
                <c:pt idx="2336">
                  <c:v>2018/8/10</c:v>
                </c:pt>
                <c:pt idx="2337">
                  <c:v>2018/8/13</c:v>
                </c:pt>
                <c:pt idx="2338">
                  <c:v>2018/8/14</c:v>
                </c:pt>
                <c:pt idx="2339">
                  <c:v>2018/8/15</c:v>
                </c:pt>
                <c:pt idx="2340">
                  <c:v>2018/8/16</c:v>
                </c:pt>
                <c:pt idx="2341">
                  <c:v>2018/8/17</c:v>
                </c:pt>
                <c:pt idx="2342">
                  <c:v>2018/8/20</c:v>
                </c:pt>
                <c:pt idx="2343">
                  <c:v>2018/8/21</c:v>
                </c:pt>
                <c:pt idx="2344">
                  <c:v>2018/8/22</c:v>
                </c:pt>
                <c:pt idx="2345">
                  <c:v>2018/8/23</c:v>
                </c:pt>
                <c:pt idx="2346">
                  <c:v>2018/8/24</c:v>
                </c:pt>
                <c:pt idx="2347">
                  <c:v>2018/8/27</c:v>
                </c:pt>
                <c:pt idx="2348">
                  <c:v>2018/8/28</c:v>
                </c:pt>
                <c:pt idx="2349">
                  <c:v>2018/8/29</c:v>
                </c:pt>
                <c:pt idx="2350">
                  <c:v>2018/8/30</c:v>
                </c:pt>
                <c:pt idx="2351">
                  <c:v>2018/8/31</c:v>
                </c:pt>
                <c:pt idx="2352">
                  <c:v>2018/9/3</c:v>
                </c:pt>
                <c:pt idx="2353">
                  <c:v>2018/9/4</c:v>
                </c:pt>
                <c:pt idx="2354">
                  <c:v>2018/9/5</c:v>
                </c:pt>
                <c:pt idx="2355">
                  <c:v>2018/9/6</c:v>
                </c:pt>
                <c:pt idx="2356">
                  <c:v>2018/9/7</c:v>
                </c:pt>
                <c:pt idx="2357">
                  <c:v>2018/9/10</c:v>
                </c:pt>
                <c:pt idx="2358">
                  <c:v>2018/9/11</c:v>
                </c:pt>
                <c:pt idx="2359">
                  <c:v>2018/9/12</c:v>
                </c:pt>
                <c:pt idx="2360">
                  <c:v>2018/9/13</c:v>
                </c:pt>
                <c:pt idx="2361">
                  <c:v>2018/9/14</c:v>
                </c:pt>
                <c:pt idx="2362">
                  <c:v>2018/9/17</c:v>
                </c:pt>
                <c:pt idx="2363">
                  <c:v>2018/9/18</c:v>
                </c:pt>
                <c:pt idx="2364">
                  <c:v>2018/9/19</c:v>
                </c:pt>
                <c:pt idx="2365">
                  <c:v>2018/9/20</c:v>
                </c:pt>
                <c:pt idx="2366">
                  <c:v>2018/9/21</c:v>
                </c:pt>
                <c:pt idx="2367">
                  <c:v>2018/9/25</c:v>
                </c:pt>
                <c:pt idx="2368">
                  <c:v>2018/9/26</c:v>
                </c:pt>
                <c:pt idx="2369">
                  <c:v>2018/9/27</c:v>
                </c:pt>
                <c:pt idx="2370">
                  <c:v>2018/9/28</c:v>
                </c:pt>
                <c:pt idx="2371">
                  <c:v>2018/10/8</c:v>
                </c:pt>
                <c:pt idx="2372">
                  <c:v>2018/10/9</c:v>
                </c:pt>
                <c:pt idx="2373">
                  <c:v>2018/10/10</c:v>
                </c:pt>
                <c:pt idx="2374">
                  <c:v>2018/10/11</c:v>
                </c:pt>
                <c:pt idx="2375">
                  <c:v>2018/10/12</c:v>
                </c:pt>
                <c:pt idx="2376">
                  <c:v>2018/10/15</c:v>
                </c:pt>
                <c:pt idx="2377">
                  <c:v>2018/10/16</c:v>
                </c:pt>
                <c:pt idx="2378">
                  <c:v>2018/10/17</c:v>
                </c:pt>
                <c:pt idx="2379">
                  <c:v>2018/10/18</c:v>
                </c:pt>
                <c:pt idx="2380">
                  <c:v>2018/10/19</c:v>
                </c:pt>
                <c:pt idx="2381">
                  <c:v>2018/10/22</c:v>
                </c:pt>
                <c:pt idx="2382">
                  <c:v>2018/10/23</c:v>
                </c:pt>
                <c:pt idx="2383">
                  <c:v>2018/10/24</c:v>
                </c:pt>
                <c:pt idx="2384">
                  <c:v>2018/10/25</c:v>
                </c:pt>
                <c:pt idx="2385">
                  <c:v>2018/10/26</c:v>
                </c:pt>
                <c:pt idx="2386">
                  <c:v>2018/10/29</c:v>
                </c:pt>
                <c:pt idx="2387">
                  <c:v>2018/10/30</c:v>
                </c:pt>
                <c:pt idx="2388">
                  <c:v>2018/10/31</c:v>
                </c:pt>
                <c:pt idx="2389">
                  <c:v>2018/11/1</c:v>
                </c:pt>
                <c:pt idx="2390">
                  <c:v>2018/11/2</c:v>
                </c:pt>
                <c:pt idx="2391">
                  <c:v>2018/11/5</c:v>
                </c:pt>
                <c:pt idx="2392">
                  <c:v>2018/11/6</c:v>
                </c:pt>
                <c:pt idx="2393">
                  <c:v>2018/11/7</c:v>
                </c:pt>
                <c:pt idx="2394">
                  <c:v>2018/11/8</c:v>
                </c:pt>
                <c:pt idx="2395">
                  <c:v>2018/11/9</c:v>
                </c:pt>
                <c:pt idx="2396">
                  <c:v>2018/11/12</c:v>
                </c:pt>
                <c:pt idx="2397">
                  <c:v>2018/11/13</c:v>
                </c:pt>
                <c:pt idx="2398">
                  <c:v>2018/11/14</c:v>
                </c:pt>
                <c:pt idx="2399">
                  <c:v>2018/11/15</c:v>
                </c:pt>
                <c:pt idx="2400">
                  <c:v>2018/11/16</c:v>
                </c:pt>
                <c:pt idx="2401">
                  <c:v>2018/11/19</c:v>
                </c:pt>
                <c:pt idx="2402">
                  <c:v>2018/11/20</c:v>
                </c:pt>
                <c:pt idx="2403">
                  <c:v>2018/11/21</c:v>
                </c:pt>
                <c:pt idx="2404">
                  <c:v>2018/11/22</c:v>
                </c:pt>
                <c:pt idx="2405">
                  <c:v>2018/11/23</c:v>
                </c:pt>
                <c:pt idx="2406">
                  <c:v>2018/11/26</c:v>
                </c:pt>
                <c:pt idx="2407">
                  <c:v>2018/11/27</c:v>
                </c:pt>
                <c:pt idx="2408">
                  <c:v>2018/11/28</c:v>
                </c:pt>
                <c:pt idx="2409">
                  <c:v>2018/11/29</c:v>
                </c:pt>
                <c:pt idx="2410">
                  <c:v>2018/11/30</c:v>
                </c:pt>
                <c:pt idx="2411">
                  <c:v>2018/12/3</c:v>
                </c:pt>
                <c:pt idx="2412">
                  <c:v>2018/12/4</c:v>
                </c:pt>
                <c:pt idx="2413">
                  <c:v>2018/12/5</c:v>
                </c:pt>
                <c:pt idx="2414">
                  <c:v>2018/12/6</c:v>
                </c:pt>
                <c:pt idx="2415">
                  <c:v>2018/12/7</c:v>
                </c:pt>
                <c:pt idx="2416">
                  <c:v>2018/12/10</c:v>
                </c:pt>
                <c:pt idx="2417">
                  <c:v>2018/12/11</c:v>
                </c:pt>
                <c:pt idx="2418">
                  <c:v>2018/12/12</c:v>
                </c:pt>
                <c:pt idx="2419">
                  <c:v>2018/12/13</c:v>
                </c:pt>
                <c:pt idx="2420">
                  <c:v>2018/12/14</c:v>
                </c:pt>
                <c:pt idx="2421">
                  <c:v>2018/12/17</c:v>
                </c:pt>
                <c:pt idx="2422">
                  <c:v>2018/12/18</c:v>
                </c:pt>
                <c:pt idx="2423">
                  <c:v>2018/12/19</c:v>
                </c:pt>
                <c:pt idx="2424">
                  <c:v>2018/12/20</c:v>
                </c:pt>
                <c:pt idx="2425">
                  <c:v>2018/12/21</c:v>
                </c:pt>
                <c:pt idx="2426">
                  <c:v>2018/12/24</c:v>
                </c:pt>
                <c:pt idx="2427">
                  <c:v>2018/12/25</c:v>
                </c:pt>
                <c:pt idx="2428">
                  <c:v>2018/12/26</c:v>
                </c:pt>
                <c:pt idx="2429">
                  <c:v>2018/12/27</c:v>
                </c:pt>
                <c:pt idx="2430">
                  <c:v>2018/12/28</c:v>
                </c:pt>
                <c:pt idx="2431">
                  <c:v>2019/1/2</c:v>
                </c:pt>
                <c:pt idx="2432">
                  <c:v>2019/1/3</c:v>
                </c:pt>
                <c:pt idx="2433">
                  <c:v>2019/1/4</c:v>
                </c:pt>
                <c:pt idx="2434">
                  <c:v>2019/1/7</c:v>
                </c:pt>
                <c:pt idx="2435">
                  <c:v>2019/1/8</c:v>
                </c:pt>
                <c:pt idx="2436">
                  <c:v>2019/1/9</c:v>
                </c:pt>
                <c:pt idx="2437">
                  <c:v>2019/1/10</c:v>
                </c:pt>
                <c:pt idx="2438">
                  <c:v>2019/1/11</c:v>
                </c:pt>
                <c:pt idx="2439">
                  <c:v>2019/1/14</c:v>
                </c:pt>
                <c:pt idx="2440">
                  <c:v>2019/1/15</c:v>
                </c:pt>
                <c:pt idx="2441">
                  <c:v>2019/1/16</c:v>
                </c:pt>
                <c:pt idx="2442">
                  <c:v>2019/1/17</c:v>
                </c:pt>
                <c:pt idx="2443">
                  <c:v>2019/1/18</c:v>
                </c:pt>
                <c:pt idx="2444">
                  <c:v>2019/1/21</c:v>
                </c:pt>
                <c:pt idx="2445">
                  <c:v>2019/1/22</c:v>
                </c:pt>
                <c:pt idx="2446">
                  <c:v>2019/1/23</c:v>
                </c:pt>
                <c:pt idx="2447">
                  <c:v>2019/1/24</c:v>
                </c:pt>
                <c:pt idx="2448">
                  <c:v>2019/1/25</c:v>
                </c:pt>
                <c:pt idx="2449">
                  <c:v>2019/1/28</c:v>
                </c:pt>
                <c:pt idx="2450">
                  <c:v>2019/1/29</c:v>
                </c:pt>
                <c:pt idx="2451">
                  <c:v>2019/1/30</c:v>
                </c:pt>
                <c:pt idx="2452">
                  <c:v>2019/1/31</c:v>
                </c:pt>
                <c:pt idx="2453">
                  <c:v>2019/2/1</c:v>
                </c:pt>
                <c:pt idx="2454">
                  <c:v>2019/2/11</c:v>
                </c:pt>
                <c:pt idx="2455">
                  <c:v>2019/2/12</c:v>
                </c:pt>
                <c:pt idx="2456">
                  <c:v>2019/2/13</c:v>
                </c:pt>
                <c:pt idx="2457">
                  <c:v>2019/2/14</c:v>
                </c:pt>
                <c:pt idx="2458">
                  <c:v>2019/2/15</c:v>
                </c:pt>
                <c:pt idx="2459">
                  <c:v>2019/2/18</c:v>
                </c:pt>
                <c:pt idx="2460">
                  <c:v>2019/2/19</c:v>
                </c:pt>
                <c:pt idx="2461">
                  <c:v>2019/2/20</c:v>
                </c:pt>
                <c:pt idx="2462">
                  <c:v>2019/2/21</c:v>
                </c:pt>
                <c:pt idx="2463">
                  <c:v>2019/2/22</c:v>
                </c:pt>
                <c:pt idx="2464">
                  <c:v>2019/2/25</c:v>
                </c:pt>
                <c:pt idx="2465">
                  <c:v>2019/2/26</c:v>
                </c:pt>
                <c:pt idx="2466">
                  <c:v>2019/2/27</c:v>
                </c:pt>
                <c:pt idx="2467">
                  <c:v>2019/2/28</c:v>
                </c:pt>
                <c:pt idx="2468">
                  <c:v>2019/3/1</c:v>
                </c:pt>
                <c:pt idx="2469">
                  <c:v>2019/3/4</c:v>
                </c:pt>
                <c:pt idx="2470">
                  <c:v>2019/3/5</c:v>
                </c:pt>
                <c:pt idx="2471">
                  <c:v>2019/3/6</c:v>
                </c:pt>
                <c:pt idx="2472">
                  <c:v>2019/3/7</c:v>
                </c:pt>
                <c:pt idx="2473">
                  <c:v>2019/3/8</c:v>
                </c:pt>
                <c:pt idx="2474">
                  <c:v>2019/3/11</c:v>
                </c:pt>
                <c:pt idx="2475">
                  <c:v>2019/3/12</c:v>
                </c:pt>
                <c:pt idx="2476">
                  <c:v>2019/3/13</c:v>
                </c:pt>
                <c:pt idx="2477">
                  <c:v>2019/3/14</c:v>
                </c:pt>
                <c:pt idx="2478">
                  <c:v>2019/3/15</c:v>
                </c:pt>
                <c:pt idx="2479">
                  <c:v>2019/3/18</c:v>
                </c:pt>
                <c:pt idx="2480">
                  <c:v>2019/3/19</c:v>
                </c:pt>
                <c:pt idx="2481">
                  <c:v>2019/3/20</c:v>
                </c:pt>
                <c:pt idx="2482">
                  <c:v>2019/3/21</c:v>
                </c:pt>
                <c:pt idx="2483">
                  <c:v>2019/3/22</c:v>
                </c:pt>
                <c:pt idx="2484">
                  <c:v>2019/3/25</c:v>
                </c:pt>
                <c:pt idx="2485">
                  <c:v>2019/3/26</c:v>
                </c:pt>
                <c:pt idx="2486">
                  <c:v>2019/3/27</c:v>
                </c:pt>
                <c:pt idx="2487">
                  <c:v>2019/3/28</c:v>
                </c:pt>
                <c:pt idx="2488">
                  <c:v>2019/3/29</c:v>
                </c:pt>
                <c:pt idx="2489">
                  <c:v>2019/4/1</c:v>
                </c:pt>
                <c:pt idx="2490">
                  <c:v>2019/4/2</c:v>
                </c:pt>
                <c:pt idx="2491">
                  <c:v>2019/4/3</c:v>
                </c:pt>
                <c:pt idx="2492">
                  <c:v>2019/4/4</c:v>
                </c:pt>
                <c:pt idx="2493">
                  <c:v>2019/4/8</c:v>
                </c:pt>
                <c:pt idx="2494">
                  <c:v>2019/4/9</c:v>
                </c:pt>
                <c:pt idx="2495">
                  <c:v>2019/4/10</c:v>
                </c:pt>
                <c:pt idx="2496">
                  <c:v>2019/4/11</c:v>
                </c:pt>
                <c:pt idx="2497">
                  <c:v>2019/4/12</c:v>
                </c:pt>
                <c:pt idx="2498">
                  <c:v>2019/4/15</c:v>
                </c:pt>
                <c:pt idx="2499">
                  <c:v>2019/4/16</c:v>
                </c:pt>
                <c:pt idx="2500">
                  <c:v>2019/4/17</c:v>
                </c:pt>
                <c:pt idx="2501">
                  <c:v>2019/4/18</c:v>
                </c:pt>
                <c:pt idx="2502">
                  <c:v>2019/4/19</c:v>
                </c:pt>
                <c:pt idx="2503">
                  <c:v>2019/4/22</c:v>
                </c:pt>
                <c:pt idx="2504">
                  <c:v>2019/4/23</c:v>
                </c:pt>
                <c:pt idx="2505">
                  <c:v>2019/4/24</c:v>
                </c:pt>
                <c:pt idx="2506">
                  <c:v>2019/4/25</c:v>
                </c:pt>
                <c:pt idx="2507">
                  <c:v>2019/4/26</c:v>
                </c:pt>
                <c:pt idx="2508">
                  <c:v>2019/4/29</c:v>
                </c:pt>
                <c:pt idx="2509">
                  <c:v>2019/4/30</c:v>
                </c:pt>
                <c:pt idx="2510">
                  <c:v>2019/5/6</c:v>
                </c:pt>
                <c:pt idx="2511">
                  <c:v>2019/5/7</c:v>
                </c:pt>
                <c:pt idx="2512">
                  <c:v>2019/5/8</c:v>
                </c:pt>
                <c:pt idx="2513">
                  <c:v>2019/5/9</c:v>
                </c:pt>
                <c:pt idx="2514">
                  <c:v>2019/5/10</c:v>
                </c:pt>
                <c:pt idx="2515">
                  <c:v>2019/5/13</c:v>
                </c:pt>
                <c:pt idx="2516">
                  <c:v>2019/5/14</c:v>
                </c:pt>
                <c:pt idx="2517">
                  <c:v>2019/5/15</c:v>
                </c:pt>
                <c:pt idx="2518">
                  <c:v>2019/5/16</c:v>
                </c:pt>
                <c:pt idx="2519">
                  <c:v>2019/5/17</c:v>
                </c:pt>
                <c:pt idx="2520">
                  <c:v>2019/5/20</c:v>
                </c:pt>
                <c:pt idx="2521">
                  <c:v>2019/5/21</c:v>
                </c:pt>
                <c:pt idx="2522">
                  <c:v>2019/5/22</c:v>
                </c:pt>
                <c:pt idx="2523">
                  <c:v>2019/5/23</c:v>
                </c:pt>
                <c:pt idx="2524">
                  <c:v>2019/5/24</c:v>
                </c:pt>
                <c:pt idx="2525">
                  <c:v>2019/5/27</c:v>
                </c:pt>
                <c:pt idx="2526">
                  <c:v>2019/5/28</c:v>
                </c:pt>
                <c:pt idx="2527">
                  <c:v>2019/5/29</c:v>
                </c:pt>
                <c:pt idx="2528">
                  <c:v>2019/5/30</c:v>
                </c:pt>
                <c:pt idx="2529">
                  <c:v>2019/5/31</c:v>
                </c:pt>
                <c:pt idx="2530">
                  <c:v>2019/6/3</c:v>
                </c:pt>
                <c:pt idx="2531">
                  <c:v>2019/6/4</c:v>
                </c:pt>
                <c:pt idx="2532">
                  <c:v>2019/6/5</c:v>
                </c:pt>
                <c:pt idx="2533">
                  <c:v>2019/6/6</c:v>
                </c:pt>
                <c:pt idx="2534">
                  <c:v>2019/6/10</c:v>
                </c:pt>
                <c:pt idx="2535">
                  <c:v>2019/6/11</c:v>
                </c:pt>
                <c:pt idx="2536">
                  <c:v>2019/6/12</c:v>
                </c:pt>
                <c:pt idx="2537">
                  <c:v>2019/6/13</c:v>
                </c:pt>
                <c:pt idx="2538">
                  <c:v>2019/6/14</c:v>
                </c:pt>
                <c:pt idx="2539">
                  <c:v>2019/6/17</c:v>
                </c:pt>
                <c:pt idx="2540">
                  <c:v>2019/6/18</c:v>
                </c:pt>
                <c:pt idx="2541">
                  <c:v>2019/6/19</c:v>
                </c:pt>
                <c:pt idx="2542">
                  <c:v>2019/6/20</c:v>
                </c:pt>
                <c:pt idx="2543">
                  <c:v>2019/6/21</c:v>
                </c:pt>
                <c:pt idx="2544">
                  <c:v>2019/6/24</c:v>
                </c:pt>
                <c:pt idx="2545">
                  <c:v>2019/6/25</c:v>
                </c:pt>
                <c:pt idx="2546">
                  <c:v>2019/6/26</c:v>
                </c:pt>
                <c:pt idx="2547">
                  <c:v>2019/6/27</c:v>
                </c:pt>
                <c:pt idx="2548">
                  <c:v>2019/6/28</c:v>
                </c:pt>
                <c:pt idx="2549">
                  <c:v>2019/7/1</c:v>
                </c:pt>
                <c:pt idx="2550">
                  <c:v>2019/7/2</c:v>
                </c:pt>
                <c:pt idx="2551">
                  <c:v>2019/7/3</c:v>
                </c:pt>
                <c:pt idx="2552">
                  <c:v>2019/7/4</c:v>
                </c:pt>
                <c:pt idx="2553">
                  <c:v>2019/7/5</c:v>
                </c:pt>
                <c:pt idx="2554">
                  <c:v>2019/7/8</c:v>
                </c:pt>
                <c:pt idx="2555">
                  <c:v>2019/7/9</c:v>
                </c:pt>
                <c:pt idx="2556">
                  <c:v>2019/7/10</c:v>
                </c:pt>
                <c:pt idx="2557">
                  <c:v>2019/7/11</c:v>
                </c:pt>
                <c:pt idx="2558">
                  <c:v>2019/7/12</c:v>
                </c:pt>
                <c:pt idx="2559">
                  <c:v>2019/7/15</c:v>
                </c:pt>
                <c:pt idx="2560">
                  <c:v>2019/7/16</c:v>
                </c:pt>
                <c:pt idx="2561">
                  <c:v>2019/7/17</c:v>
                </c:pt>
                <c:pt idx="2562">
                  <c:v>2019/7/18</c:v>
                </c:pt>
                <c:pt idx="2563">
                  <c:v>2019/7/19</c:v>
                </c:pt>
                <c:pt idx="2564">
                  <c:v>2019/7/22</c:v>
                </c:pt>
                <c:pt idx="2565">
                  <c:v>2019/7/23</c:v>
                </c:pt>
                <c:pt idx="2566">
                  <c:v>2019/7/24</c:v>
                </c:pt>
                <c:pt idx="2567">
                  <c:v>2019/7/25</c:v>
                </c:pt>
                <c:pt idx="2568">
                  <c:v>2019/7/26</c:v>
                </c:pt>
                <c:pt idx="2569">
                  <c:v>2019/7/29</c:v>
                </c:pt>
                <c:pt idx="2570">
                  <c:v>2019/7/30</c:v>
                </c:pt>
                <c:pt idx="2571">
                  <c:v>2019/7/31</c:v>
                </c:pt>
                <c:pt idx="2572">
                  <c:v>2019/8/1</c:v>
                </c:pt>
                <c:pt idx="2573">
                  <c:v>2019/8/2</c:v>
                </c:pt>
                <c:pt idx="2574">
                  <c:v>2019/8/5</c:v>
                </c:pt>
                <c:pt idx="2575">
                  <c:v>2019/8/6</c:v>
                </c:pt>
                <c:pt idx="2576">
                  <c:v>2019/8/7</c:v>
                </c:pt>
                <c:pt idx="2577">
                  <c:v>2019/8/8</c:v>
                </c:pt>
                <c:pt idx="2578">
                  <c:v>2019/8/9</c:v>
                </c:pt>
                <c:pt idx="2579">
                  <c:v>2019/8/12</c:v>
                </c:pt>
                <c:pt idx="2580">
                  <c:v>2019/8/13</c:v>
                </c:pt>
                <c:pt idx="2581">
                  <c:v>2019/8/14</c:v>
                </c:pt>
                <c:pt idx="2582">
                  <c:v>2019/8/15</c:v>
                </c:pt>
                <c:pt idx="2583">
                  <c:v>2019/8/16</c:v>
                </c:pt>
                <c:pt idx="2584">
                  <c:v>2019/8/19</c:v>
                </c:pt>
                <c:pt idx="2585">
                  <c:v>2019/8/20</c:v>
                </c:pt>
                <c:pt idx="2586">
                  <c:v>2019/8/21</c:v>
                </c:pt>
                <c:pt idx="2587">
                  <c:v>2019/8/22</c:v>
                </c:pt>
                <c:pt idx="2588">
                  <c:v>2019/8/23</c:v>
                </c:pt>
                <c:pt idx="2589">
                  <c:v>2019/8/26</c:v>
                </c:pt>
                <c:pt idx="2590">
                  <c:v>2019/8/27</c:v>
                </c:pt>
                <c:pt idx="2591">
                  <c:v>2019/8/28</c:v>
                </c:pt>
                <c:pt idx="2592">
                  <c:v>2019/8/29</c:v>
                </c:pt>
                <c:pt idx="2593">
                  <c:v>2019/8/30</c:v>
                </c:pt>
                <c:pt idx="2594">
                  <c:v>2019/9/2</c:v>
                </c:pt>
                <c:pt idx="2595">
                  <c:v>2019/9/3</c:v>
                </c:pt>
                <c:pt idx="2596">
                  <c:v>2019/9/4</c:v>
                </c:pt>
                <c:pt idx="2597">
                  <c:v>2019/9/5</c:v>
                </c:pt>
                <c:pt idx="2598">
                  <c:v>2019/9/6</c:v>
                </c:pt>
                <c:pt idx="2599">
                  <c:v>2019/9/9</c:v>
                </c:pt>
                <c:pt idx="2600">
                  <c:v>2019/9/10</c:v>
                </c:pt>
                <c:pt idx="2601">
                  <c:v>2019/9/11</c:v>
                </c:pt>
                <c:pt idx="2602">
                  <c:v>2019/9/12</c:v>
                </c:pt>
                <c:pt idx="2603">
                  <c:v>2019/9/16</c:v>
                </c:pt>
                <c:pt idx="2604">
                  <c:v>2019/9/17</c:v>
                </c:pt>
                <c:pt idx="2605">
                  <c:v>2019/9/18</c:v>
                </c:pt>
                <c:pt idx="2606">
                  <c:v>2019/9/19</c:v>
                </c:pt>
                <c:pt idx="2607">
                  <c:v>2019/9/20</c:v>
                </c:pt>
                <c:pt idx="2608">
                  <c:v>2019/9/23</c:v>
                </c:pt>
                <c:pt idx="2609">
                  <c:v>2019/9/24</c:v>
                </c:pt>
                <c:pt idx="2610">
                  <c:v>2019/9/25</c:v>
                </c:pt>
                <c:pt idx="2611">
                  <c:v>2019/9/26</c:v>
                </c:pt>
                <c:pt idx="2612">
                  <c:v>2019/9/27</c:v>
                </c:pt>
                <c:pt idx="2613">
                  <c:v>2019/9/30</c:v>
                </c:pt>
                <c:pt idx="2614">
                  <c:v>2019/10/8</c:v>
                </c:pt>
                <c:pt idx="2615">
                  <c:v>2019/10/9</c:v>
                </c:pt>
                <c:pt idx="2616">
                  <c:v>2019/10/10</c:v>
                </c:pt>
                <c:pt idx="2617">
                  <c:v>2019/10/11</c:v>
                </c:pt>
                <c:pt idx="2618">
                  <c:v>2019/10/14</c:v>
                </c:pt>
                <c:pt idx="2619">
                  <c:v>2019/10/15</c:v>
                </c:pt>
                <c:pt idx="2620">
                  <c:v>2019/10/16</c:v>
                </c:pt>
                <c:pt idx="2621">
                  <c:v>2019/10/17</c:v>
                </c:pt>
                <c:pt idx="2622">
                  <c:v>2019/10/18</c:v>
                </c:pt>
                <c:pt idx="2623">
                  <c:v>2019/10/21</c:v>
                </c:pt>
                <c:pt idx="2624">
                  <c:v>2019/10/22</c:v>
                </c:pt>
                <c:pt idx="2625">
                  <c:v>2019/10/23</c:v>
                </c:pt>
                <c:pt idx="2626">
                  <c:v>2019/10/24</c:v>
                </c:pt>
                <c:pt idx="2627">
                  <c:v>2019/10/25</c:v>
                </c:pt>
                <c:pt idx="2628">
                  <c:v>2019/10/28</c:v>
                </c:pt>
                <c:pt idx="2629">
                  <c:v>2019/10/29</c:v>
                </c:pt>
                <c:pt idx="2630">
                  <c:v>2019/10/30</c:v>
                </c:pt>
                <c:pt idx="2631">
                  <c:v>2019/10/31</c:v>
                </c:pt>
                <c:pt idx="2632">
                  <c:v>2019/11/1</c:v>
                </c:pt>
                <c:pt idx="2633">
                  <c:v>2019/11/4</c:v>
                </c:pt>
                <c:pt idx="2634">
                  <c:v>2019/11/5</c:v>
                </c:pt>
                <c:pt idx="2635">
                  <c:v>2019/11/6</c:v>
                </c:pt>
                <c:pt idx="2636">
                  <c:v>2019/11/7</c:v>
                </c:pt>
                <c:pt idx="2637">
                  <c:v>2019/11/8</c:v>
                </c:pt>
                <c:pt idx="2638">
                  <c:v>2019/11/11</c:v>
                </c:pt>
                <c:pt idx="2639">
                  <c:v>2019/11/12</c:v>
                </c:pt>
                <c:pt idx="2640">
                  <c:v>2019/11/13</c:v>
                </c:pt>
                <c:pt idx="2641">
                  <c:v>2019/11/14</c:v>
                </c:pt>
                <c:pt idx="2642">
                  <c:v>2019/11/15</c:v>
                </c:pt>
                <c:pt idx="2643">
                  <c:v>2019/11/18</c:v>
                </c:pt>
                <c:pt idx="2644">
                  <c:v>2019/11/19</c:v>
                </c:pt>
                <c:pt idx="2645">
                  <c:v>2019/11/20</c:v>
                </c:pt>
                <c:pt idx="2646">
                  <c:v>2019/11/21</c:v>
                </c:pt>
                <c:pt idx="2647">
                  <c:v>2019/11/22</c:v>
                </c:pt>
                <c:pt idx="2648">
                  <c:v>2019/11/25</c:v>
                </c:pt>
                <c:pt idx="2649">
                  <c:v>2019/11/26</c:v>
                </c:pt>
                <c:pt idx="2650">
                  <c:v>2019/11/27</c:v>
                </c:pt>
                <c:pt idx="2651">
                  <c:v>2019/11/28</c:v>
                </c:pt>
                <c:pt idx="2652">
                  <c:v>2019/11/29</c:v>
                </c:pt>
                <c:pt idx="2653">
                  <c:v>2019/12/2</c:v>
                </c:pt>
                <c:pt idx="2654">
                  <c:v>2019/12/3</c:v>
                </c:pt>
                <c:pt idx="2655">
                  <c:v>2019/12/4</c:v>
                </c:pt>
                <c:pt idx="2656">
                  <c:v>2019/12/5</c:v>
                </c:pt>
                <c:pt idx="2657">
                  <c:v>2019/12/6</c:v>
                </c:pt>
                <c:pt idx="2658">
                  <c:v>2019/12/9</c:v>
                </c:pt>
                <c:pt idx="2659">
                  <c:v>2019/12/10</c:v>
                </c:pt>
                <c:pt idx="2660">
                  <c:v>2019/12/11</c:v>
                </c:pt>
                <c:pt idx="2661">
                  <c:v>2019/12/12</c:v>
                </c:pt>
                <c:pt idx="2662">
                  <c:v>2019/12/13</c:v>
                </c:pt>
                <c:pt idx="2663">
                  <c:v>2019/12/16</c:v>
                </c:pt>
                <c:pt idx="2664">
                  <c:v>2019/12/17</c:v>
                </c:pt>
                <c:pt idx="2665">
                  <c:v>2019/12/18</c:v>
                </c:pt>
                <c:pt idx="2666">
                  <c:v>2019/12/19</c:v>
                </c:pt>
                <c:pt idx="2667">
                  <c:v>2019/12/20</c:v>
                </c:pt>
                <c:pt idx="2668">
                  <c:v>2019/12/23</c:v>
                </c:pt>
                <c:pt idx="2669">
                  <c:v>2019/12/24</c:v>
                </c:pt>
                <c:pt idx="2670">
                  <c:v>2019/12/25</c:v>
                </c:pt>
                <c:pt idx="2671">
                  <c:v>2019/12/26</c:v>
                </c:pt>
                <c:pt idx="2672">
                  <c:v>2019/12/27</c:v>
                </c:pt>
                <c:pt idx="2673">
                  <c:v>2019/12/30</c:v>
                </c:pt>
                <c:pt idx="2674">
                  <c:v>2019/12/31</c:v>
                </c:pt>
                <c:pt idx="2675">
                  <c:v>2020/1/2</c:v>
                </c:pt>
                <c:pt idx="2676">
                  <c:v>2020/1/3</c:v>
                </c:pt>
                <c:pt idx="2677">
                  <c:v>2020/1/6</c:v>
                </c:pt>
                <c:pt idx="2678">
                  <c:v>2020/1/7</c:v>
                </c:pt>
                <c:pt idx="2679">
                  <c:v>2020/1/8</c:v>
                </c:pt>
                <c:pt idx="2680">
                  <c:v>2020/1/9</c:v>
                </c:pt>
                <c:pt idx="2681">
                  <c:v>2020/1/10</c:v>
                </c:pt>
                <c:pt idx="2682">
                  <c:v>2020/1/13</c:v>
                </c:pt>
                <c:pt idx="2683">
                  <c:v>2020/1/14</c:v>
                </c:pt>
                <c:pt idx="2684">
                  <c:v>2020/1/15</c:v>
                </c:pt>
                <c:pt idx="2685">
                  <c:v>2020/1/16</c:v>
                </c:pt>
                <c:pt idx="2686">
                  <c:v>2020/1/17</c:v>
                </c:pt>
                <c:pt idx="2687">
                  <c:v>2020/1/20</c:v>
                </c:pt>
                <c:pt idx="2688">
                  <c:v>2020/1/21</c:v>
                </c:pt>
                <c:pt idx="2689">
                  <c:v>2020/1/22</c:v>
                </c:pt>
                <c:pt idx="2690">
                  <c:v>2020/1/23</c:v>
                </c:pt>
                <c:pt idx="2691">
                  <c:v>2020/2/3</c:v>
                </c:pt>
                <c:pt idx="2692">
                  <c:v>2020/2/4</c:v>
                </c:pt>
                <c:pt idx="2693">
                  <c:v>2020/2/5</c:v>
                </c:pt>
                <c:pt idx="2694">
                  <c:v>2020/2/6</c:v>
                </c:pt>
                <c:pt idx="2695">
                  <c:v>2020/2/7</c:v>
                </c:pt>
                <c:pt idx="2696">
                  <c:v>2020/2/10</c:v>
                </c:pt>
                <c:pt idx="2697">
                  <c:v>2020/2/11</c:v>
                </c:pt>
                <c:pt idx="2698">
                  <c:v>2020/2/12</c:v>
                </c:pt>
                <c:pt idx="2699">
                  <c:v>2020/2/13</c:v>
                </c:pt>
                <c:pt idx="2700">
                  <c:v>2020/2/14</c:v>
                </c:pt>
                <c:pt idx="2701">
                  <c:v>2020/2/17</c:v>
                </c:pt>
                <c:pt idx="2702">
                  <c:v>2020/2/18</c:v>
                </c:pt>
                <c:pt idx="2703">
                  <c:v>2020/2/19</c:v>
                </c:pt>
                <c:pt idx="2704">
                  <c:v>2020/2/20</c:v>
                </c:pt>
                <c:pt idx="2705">
                  <c:v>2020/2/21</c:v>
                </c:pt>
                <c:pt idx="2706">
                  <c:v>2020/2/24</c:v>
                </c:pt>
                <c:pt idx="2707">
                  <c:v>2020/2/25</c:v>
                </c:pt>
                <c:pt idx="2708">
                  <c:v>2020/2/26</c:v>
                </c:pt>
                <c:pt idx="2709">
                  <c:v>2020/2/27</c:v>
                </c:pt>
                <c:pt idx="2710">
                  <c:v>2020/2/28</c:v>
                </c:pt>
                <c:pt idx="2711">
                  <c:v>2020/3/2</c:v>
                </c:pt>
                <c:pt idx="2712">
                  <c:v>2020/3/3</c:v>
                </c:pt>
                <c:pt idx="2713">
                  <c:v>2020/3/4</c:v>
                </c:pt>
                <c:pt idx="2714">
                  <c:v>2020/3/5</c:v>
                </c:pt>
                <c:pt idx="2715">
                  <c:v>2020/3/6</c:v>
                </c:pt>
                <c:pt idx="2716">
                  <c:v>2020/3/9</c:v>
                </c:pt>
                <c:pt idx="2717">
                  <c:v>2020/3/10</c:v>
                </c:pt>
                <c:pt idx="2718">
                  <c:v>2020/3/11</c:v>
                </c:pt>
                <c:pt idx="2719">
                  <c:v>2020/3/12</c:v>
                </c:pt>
                <c:pt idx="2720">
                  <c:v>2020/3/13</c:v>
                </c:pt>
                <c:pt idx="2721">
                  <c:v>2020/3/16</c:v>
                </c:pt>
                <c:pt idx="2722">
                  <c:v>2020/3/17</c:v>
                </c:pt>
                <c:pt idx="2723">
                  <c:v>2020/3/18</c:v>
                </c:pt>
                <c:pt idx="2724">
                  <c:v>2020/3/19</c:v>
                </c:pt>
                <c:pt idx="2725">
                  <c:v>2020/3/20</c:v>
                </c:pt>
                <c:pt idx="2726">
                  <c:v>2020/3/23</c:v>
                </c:pt>
                <c:pt idx="2727">
                  <c:v>2020/3/24</c:v>
                </c:pt>
                <c:pt idx="2728">
                  <c:v>2020/3/25</c:v>
                </c:pt>
                <c:pt idx="2729">
                  <c:v>2020/3/26</c:v>
                </c:pt>
                <c:pt idx="2730">
                  <c:v>2020/3/27</c:v>
                </c:pt>
                <c:pt idx="2731">
                  <c:v>2020/3/30</c:v>
                </c:pt>
                <c:pt idx="2732">
                  <c:v>2020/3/31</c:v>
                </c:pt>
                <c:pt idx="2733">
                  <c:v>2020/4/1</c:v>
                </c:pt>
                <c:pt idx="2734">
                  <c:v>2020/4/2</c:v>
                </c:pt>
                <c:pt idx="2735">
                  <c:v>2020/4/3</c:v>
                </c:pt>
                <c:pt idx="2736">
                  <c:v>2020/4/7</c:v>
                </c:pt>
                <c:pt idx="2737">
                  <c:v>2020/4/8</c:v>
                </c:pt>
                <c:pt idx="2738">
                  <c:v>2020/4/9</c:v>
                </c:pt>
                <c:pt idx="2739">
                  <c:v>2020/4/10</c:v>
                </c:pt>
                <c:pt idx="2740">
                  <c:v>2020/4/13</c:v>
                </c:pt>
                <c:pt idx="2741">
                  <c:v>2020/4/14</c:v>
                </c:pt>
                <c:pt idx="2742">
                  <c:v>2020/4/15</c:v>
                </c:pt>
                <c:pt idx="2743">
                  <c:v>2020/4/16</c:v>
                </c:pt>
                <c:pt idx="2744">
                  <c:v>2020/4/17</c:v>
                </c:pt>
                <c:pt idx="2745">
                  <c:v>2020/4/20</c:v>
                </c:pt>
                <c:pt idx="2746">
                  <c:v>2020/4/21</c:v>
                </c:pt>
                <c:pt idx="2747">
                  <c:v>2020/4/22</c:v>
                </c:pt>
                <c:pt idx="2748">
                  <c:v>2020/4/23</c:v>
                </c:pt>
                <c:pt idx="2749">
                  <c:v>2020/4/24</c:v>
                </c:pt>
                <c:pt idx="2750">
                  <c:v>2020/4/27</c:v>
                </c:pt>
                <c:pt idx="2751">
                  <c:v>2020/4/28</c:v>
                </c:pt>
                <c:pt idx="2752">
                  <c:v>2020/4/29</c:v>
                </c:pt>
                <c:pt idx="2753">
                  <c:v>2020/4/30</c:v>
                </c:pt>
                <c:pt idx="2754">
                  <c:v>2020/5/6</c:v>
                </c:pt>
                <c:pt idx="2755">
                  <c:v>2020/5/7</c:v>
                </c:pt>
                <c:pt idx="2756">
                  <c:v>2020/5/8</c:v>
                </c:pt>
                <c:pt idx="2757">
                  <c:v>2020/5/11</c:v>
                </c:pt>
                <c:pt idx="2758">
                  <c:v>2020/5/12</c:v>
                </c:pt>
                <c:pt idx="2759">
                  <c:v>2020/5/13</c:v>
                </c:pt>
                <c:pt idx="2760">
                  <c:v>2020/5/14</c:v>
                </c:pt>
                <c:pt idx="2761">
                  <c:v>2020/5/15</c:v>
                </c:pt>
                <c:pt idx="2762">
                  <c:v>2020/5/18</c:v>
                </c:pt>
                <c:pt idx="2763">
                  <c:v>2020/5/19</c:v>
                </c:pt>
                <c:pt idx="2764">
                  <c:v>2020/5/20</c:v>
                </c:pt>
                <c:pt idx="2765">
                  <c:v>2020/5/21</c:v>
                </c:pt>
                <c:pt idx="2766">
                  <c:v>2020/5/22</c:v>
                </c:pt>
                <c:pt idx="2767">
                  <c:v>2020/5/25</c:v>
                </c:pt>
                <c:pt idx="2768">
                  <c:v>2020/5/26</c:v>
                </c:pt>
                <c:pt idx="2769">
                  <c:v>2020/5/27</c:v>
                </c:pt>
                <c:pt idx="2770">
                  <c:v>2020/5/28</c:v>
                </c:pt>
                <c:pt idx="2771">
                  <c:v>2020/5/29</c:v>
                </c:pt>
                <c:pt idx="2772">
                  <c:v>2020/6/1</c:v>
                </c:pt>
                <c:pt idx="2773">
                  <c:v>2020/6/2</c:v>
                </c:pt>
                <c:pt idx="2774">
                  <c:v>2020/6/3</c:v>
                </c:pt>
                <c:pt idx="2775">
                  <c:v>2020/6/4</c:v>
                </c:pt>
                <c:pt idx="2776">
                  <c:v>2020/6/5</c:v>
                </c:pt>
                <c:pt idx="2777">
                  <c:v>2020/6/8</c:v>
                </c:pt>
                <c:pt idx="2778">
                  <c:v>2020/6/9</c:v>
                </c:pt>
                <c:pt idx="2779">
                  <c:v>2020/6/10</c:v>
                </c:pt>
                <c:pt idx="2780">
                  <c:v>2020/6/11</c:v>
                </c:pt>
                <c:pt idx="2781">
                  <c:v>2020/6/12</c:v>
                </c:pt>
                <c:pt idx="2782">
                  <c:v>2020/6/15</c:v>
                </c:pt>
                <c:pt idx="2783">
                  <c:v>2020/6/16</c:v>
                </c:pt>
                <c:pt idx="2784">
                  <c:v>2020/6/17</c:v>
                </c:pt>
                <c:pt idx="2785">
                  <c:v>2020/6/18</c:v>
                </c:pt>
                <c:pt idx="2786">
                  <c:v>2020/6/19</c:v>
                </c:pt>
                <c:pt idx="2787">
                  <c:v>2020/6/22</c:v>
                </c:pt>
                <c:pt idx="2788">
                  <c:v>2020/6/23</c:v>
                </c:pt>
                <c:pt idx="2789">
                  <c:v>2020/6/24</c:v>
                </c:pt>
                <c:pt idx="2790">
                  <c:v>2020/6/29</c:v>
                </c:pt>
                <c:pt idx="2791">
                  <c:v>2020/6/30</c:v>
                </c:pt>
                <c:pt idx="2792">
                  <c:v>2020/7/1</c:v>
                </c:pt>
                <c:pt idx="2793">
                  <c:v>2020/7/2</c:v>
                </c:pt>
                <c:pt idx="2794">
                  <c:v>2020/7/3</c:v>
                </c:pt>
                <c:pt idx="2795">
                  <c:v>2020/7/6</c:v>
                </c:pt>
                <c:pt idx="2796">
                  <c:v>2020/7/7</c:v>
                </c:pt>
                <c:pt idx="2797">
                  <c:v>2020/7/8</c:v>
                </c:pt>
                <c:pt idx="2798">
                  <c:v>2020/7/9</c:v>
                </c:pt>
                <c:pt idx="2799">
                  <c:v>2020/7/10</c:v>
                </c:pt>
                <c:pt idx="2800">
                  <c:v>2020/7/13</c:v>
                </c:pt>
                <c:pt idx="2801">
                  <c:v>2020/7/14</c:v>
                </c:pt>
                <c:pt idx="2802">
                  <c:v>2020/7/15</c:v>
                </c:pt>
                <c:pt idx="2803">
                  <c:v>2020/7/16</c:v>
                </c:pt>
                <c:pt idx="2804">
                  <c:v>2020/7/17</c:v>
                </c:pt>
                <c:pt idx="2805">
                  <c:v>2020/7/20</c:v>
                </c:pt>
                <c:pt idx="2806">
                  <c:v>2020/7/21</c:v>
                </c:pt>
                <c:pt idx="2807">
                  <c:v>2020/7/22</c:v>
                </c:pt>
                <c:pt idx="2808">
                  <c:v>2020/7/23</c:v>
                </c:pt>
                <c:pt idx="2809">
                  <c:v>2020/7/24</c:v>
                </c:pt>
                <c:pt idx="2810">
                  <c:v>2020/7/27</c:v>
                </c:pt>
                <c:pt idx="2811">
                  <c:v>2020/7/28</c:v>
                </c:pt>
                <c:pt idx="2812">
                  <c:v>2020/7/29</c:v>
                </c:pt>
                <c:pt idx="2813">
                  <c:v>2020/7/30</c:v>
                </c:pt>
                <c:pt idx="2814">
                  <c:v>2020/7/31</c:v>
                </c:pt>
                <c:pt idx="2815">
                  <c:v>2020/8/3</c:v>
                </c:pt>
                <c:pt idx="2816">
                  <c:v>2020/8/4</c:v>
                </c:pt>
                <c:pt idx="2817">
                  <c:v>2020/8/5</c:v>
                </c:pt>
                <c:pt idx="2818">
                  <c:v>2020/8/6</c:v>
                </c:pt>
                <c:pt idx="2819">
                  <c:v>2020/8/7</c:v>
                </c:pt>
                <c:pt idx="2820">
                  <c:v>2020/8/10</c:v>
                </c:pt>
                <c:pt idx="2821">
                  <c:v>2020/8/11</c:v>
                </c:pt>
                <c:pt idx="2822">
                  <c:v>2020/8/12</c:v>
                </c:pt>
                <c:pt idx="2823">
                  <c:v>2020/8/13</c:v>
                </c:pt>
                <c:pt idx="2824">
                  <c:v>2020/8/14</c:v>
                </c:pt>
                <c:pt idx="2825">
                  <c:v>2020/8/17</c:v>
                </c:pt>
                <c:pt idx="2826">
                  <c:v>2020/8/18</c:v>
                </c:pt>
                <c:pt idx="2827">
                  <c:v>2020/8/19</c:v>
                </c:pt>
                <c:pt idx="2828">
                  <c:v>2020/8/20</c:v>
                </c:pt>
                <c:pt idx="2829">
                  <c:v>2020/8/21</c:v>
                </c:pt>
                <c:pt idx="2830">
                  <c:v>2020/8/24</c:v>
                </c:pt>
                <c:pt idx="2831">
                  <c:v>2020/8/25</c:v>
                </c:pt>
                <c:pt idx="2832">
                  <c:v>2020/8/26</c:v>
                </c:pt>
                <c:pt idx="2833">
                  <c:v>2020/8/27</c:v>
                </c:pt>
                <c:pt idx="2834">
                  <c:v>2020/8/28</c:v>
                </c:pt>
                <c:pt idx="2835">
                  <c:v>2020/8/31</c:v>
                </c:pt>
                <c:pt idx="2836">
                  <c:v>2020/9/1</c:v>
                </c:pt>
                <c:pt idx="2837">
                  <c:v>2020/9/2</c:v>
                </c:pt>
                <c:pt idx="2838">
                  <c:v>2020/9/3</c:v>
                </c:pt>
                <c:pt idx="2839">
                  <c:v>2020/9/4</c:v>
                </c:pt>
                <c:pt idx="2840">
                  <c:v>2020/9/7</c:v>
                </c:pt>
                <c:pt idx="2841">
                  <c:v>2020/9/8</c:v>
                </c:pt>
                <c:pt idx="2842">
                  <c:v>2020/9/9</c:v>
                </c:pt>
                <c:pt idx="2843">
                  <c:v>2020/9/10</c:v>
                </c:pt>
                <c:pt idx="2844">
                  <c:v>2020/9/11</c:v>
                </c:pt>
                <c:pt idx="2845">
                  <c:v>2020/9/14</c:v>
                </c:pt>
                <c:pt idx="2846">
                  <c:v>2020/9/15</c:v>
                </c:pt>
                <c:pt idx="2847">
                  <c:v>2020/9/16</c:v>
                </c:pt>
                <c:pt idx="2848">
                  <c:v>2020/9/17</c:v>
                </c:pt>
                <c:pt idx="2849">
                  <c:v>2020/9/18</c:v>
                </c:pt>
                <c:pt idx="2850">
                  <c:v>2020/9/21</c:v>
                </c:pt>
                <c:pt idx="2851">
                  <c:v>2020/9/22</c:v>
                </c:pt>
                <c:pt idx="2852">
                  <c:v>2020/9/23</c:v>
                </c:pt>
                <c:pt idx="2853">
                  <c:v>2020/9/24</c:v>
                </c:pt>
                <c:pt idx="2854">
                  <c:v>2020/9/25</c:v>
                </c:pt>
                <c:pt idx="2855">
                  <c:v>2020/9/28</c:v>
                </c:pt>
                <c:pt idx="2856">
                  <c:v>2020/9/29</c:v>
                </c:pt>
                <c:pt idx="2857">
                  <c:v>2020/9/30</c:v>
                </c:pt>
                <c:pt idx="2858">
                  <c:v>2020/10/9</c:v>
                </c:pt>
                <c:pt idx="2859">
                  <c:v>2020/10/12</c:v>
                </c:pt>
                <c:pt idx="2860">
                  <c:v>2020/10/13</c:v>
                </c:pt>
                <c:pt idx="2861">
                  <c:v>2020/10/14</c:v>
                </c:pt>
                <c:pt idx="2862">
                  <c:v>2020/10/15</c:v>
                </c:pt>
                <c:pt idx="2863">
                  <c:v>2020/10/16</c:v>
                </c:pt>
                <c:pt idx="2864">
                  <c:v>2020/10/19</c:v>
                </c:pt>
                <c:pt idx="2865">
                  <c:v>2020/10/20</c:v>
                </c:pt>
                <c:pt idx="2866">
                  <c:v>2020/10/21</c:v>
                </c:pt>
                <c:pt idx="2867">
                  <c:v>2020/10/22</c:v>
                </c:pt>
                <c:pt idx="2868">
                  <c:v>2020/10/23</c:v>
                </c:pt>
                <c:pt idx="2869">
                  <c:v>2020/10/26</c:v>
                </c:pt>
                <c:pt idx="2870">
                  <c:v>2020/10/27</c:v>
                </c:pt>
                <c:pt idx="2871">
                  <c:v>2020/10/28</c:v>
                </c:pt>
                <c:pt idx="2872">
                  <c:v>2020/10/29</c:v>
                </c:pt>
                <c:pt idx="2873">
                  <c:v>2020/10/30</c:v>
                </c:pt>
                <c:pt idx="2874">
                  <c:v>2020/11/2</c:v>
                </c:pt>
                <c:pt idx="2875">
                  <c:v>2020/11/3</c:v>
                </c:pt>
                <c:pt idx="2876">
                  <c:v>2020/11/4</c:v>
                </c:pt>
                <c:pt idx="2877">
                  <c:v>2020/11/5</c:v>
                </c:pt>
                <c:pt idx="2878">
                  <c:v>2020/11/6</c:v>
                </c:pt>
                <c:pt idx="2879">
                  <c:v>2020/11/9</c:v>
                </c:pt>
                <c:pt idx="2880">
                  <c:v>2020/11/10</c:v>
                </c:pt>
                <c:pt idx="2881">
                  <c:v>2020/11/11</c:v>
                </c:pt>
                <c:pt idx="2882">
                  <c:v>2020/11/12</c:v>
                </c:pt>
                <c:pt idx="2883">
                  <c:v>2020/11/13</c:v>
                </c:pt>
                <c:pt idx="2884">
                  <c:v>2020/11/16</c:v>
                </c:pt>
                <c:pt idx="2885">
                  <c:v>2020/11/17</c:v>
                </c:pt>
                <c:pt idx="2886">
                  <c:v>2020/11/18</c:v>
                </c:pt>
                <c:pt idx="2887">
                  <c:v>2020/11/19</c:v>
                </c:pt>
                <c:pt idx="2888">
                  <c:v>2020/11/20</c:v>
                </c:pt>
                <c:pt idx="2889">
                  <c:v>2020/11/23</c:v>
                </c:pt>
                <c:pt idx="2890">
                  <c:v>2020/11/24</c:v>
                </c:pt>
                <c:pt idx="2891">
                  <c:v>2020/11/25</c:v>
                </c:pt>
                <c:pt idx="2892">
                  <c:v>2020/11/26</c:v>
                </c:pt>
                <c:pt idx="2893">
                  <c:v>2020/11/27</c:v>
                </c:pt>
                <c:pt idx="2894">
                  <c:v>2020/11/30</c:v>
                </c:pt>
                <c:pt idx="2895">
                  <c:v>2020/12/1</c:v>
                </c:pt>
                <c:pt idx="2896">
                  <c:v>2020/12/2</c:v>
                </c:pt>
                <c:pt idx="2897">
                  <c:v>2020/12/3</c:v>
                </c:pt>
                <c:pt idx="2898">
                  <c:v>2020/12/4</c:v>
                </c:pt>
                <c:pt idx="2899">
                  <c:v>2020/12/7</c:v>
                </c:pt>
                <c:pt idx="2900">
                  <c:v>2020/12/8</c:v>
                </c:pt>
                <c:pt idx="2901">
                  <c:v>2020/12/9</c:v>
                </c:pt>
                <c:pt idx="2902">
                  <c:v>2020/12/10</c:v>
                </c:pt>
                <c:pt idx="2903">
                  <c:v>2020/12/11</c:v>
                </c:pt>
                <c:pt idx="2904">
                  <c:v>2020/12/14</c:v>
                </c:pt>
                <c:pt idx="2905">
                  <c:v>2020/12/15</c:v>
                </c:pt>
                <c:pt idx="2906">
                  <c:v>2020/12/16</c:v>
                </c:pt>
                <c:pt idx="2907">
                  <c:v>2020/12/17</c:v>
                </c:pt>
                <c:pt idx="2908">
                  <c:v>2020/12/18</c:v>
                </c:pt>
                <c:pt idx="2909">
                  <c:v>2020/12/21</c:v>
                </c:pt>
                <c:pt idx="2910">
                  <c:v>2020/12/22</c:v>
                </c:pt>
                <c:pt idx="2911">
                  <c:v>2020/12/23</c:v>
                </c:pt>
                <c:pt idx="2912">
                  <c:v>2020/12/24</c:v>
                </c:pt>
                <c:pt idx="2913">
                  <c:v>2020/12/25</c:v>
                </c:pt>
                <c:pt idx="2914">
                  <c:v>2020/12/28</c:v>
                </c:pt>
                <c:pt idx="2915">
                  <c:v>2020/12/29</c:v>
                </c:pt>
                <c:pt idx="2916">
                  <c:v>2020/12/30</c:v>
                </c:pt>
                <c:pt idx="2917">
                  <c:v>2020/12/31</c:v>
                </c:pt>
                <c:pt idx="2918">
                  <c:v>2021/1/4</c:v>
                </c:pt>
                <c:pt idx="2919">
                  <c:v>2021/1/5</c:v>
                </c:pt>
                <c:pt idx="2920">
                  <c:v>2021/1/6</c:v>
                </c:pt>
                <c:pt idx="2921">
                  <c:v>2021/1/7</c:v>
                </c:pt>
                <c:pt idx="2922">
                  <c:v>2021/1/8</c:v>
                </c:pt>
                <c:pt idx="2923">
                  <c:v>2021/1/11</c:v>
                </c:pt>
                <c:pt idx="2924">
                  <c:v>2021/1/12</c:v>
                </c:pt>
                <c:pt idx="2925">
                  <c:v>2021/1/13</c:v>
                </c:pt>
                <c:pt idx="2926">
                  <c:v>2021/1/14</c:v>
                </c:pt>
                <c:pt idx="2927">
                  <c:v>2021/1/15</c:v>
                </c:pt>
                <c:pt idx="2928">
                  <c:v>2021/1/18</c:v>
                </c:pt>
                <c:pt idx="2929">
                  <c:v>2021/1/19</c:v>
                </c:pt>
                <c:pt idx="2930">
                  <c:v>2021/1/20</c:v>
                </c:pt>
                <c:pt idx="2931">
                  <c:v>2021/1/21</c:v>
                </c:pt>
                <c:pt idx="2932">
                  <c:v>2021/1/22</c:v>
                </c:pt>
                <c:pt idx="2933">
                  <c:v>2021/1/25</c:v>
                </c:pt>
                <c:pt idx="2934">
                  <c:v>2021/1/26</c:v>
                </c:pt>
                <c:pt idx="2935">
                  <c:v>2021/1/27</c:v>
                </c:pt>
                <c:pt idx="2936">
                  <c:v>2021/1/28</c:v>
                </c:pt>
                <c:pt idx="2937">
                  <c:v>2021/1/29</c:v>
                </c:pt>
                <c:pt idx="2938">
                  <c:v>2021/2/1</c:v>
                </c:pt>
                <c:pt idx="2939">
                  <c:v>2021/2/2</c:v>
                </c:pt>
                <c:pt idx="2940">
                  <c:v>2021/2/3</c:v>
                </c:pt>
                <c:pt idx="2941">
                  <c:v>2021/2/4</c:v>
                </c:pt>
                <c:pt idx="2942">
                  <c:v>2021/2/5</c:v>
                </c:pt>
                <c:pt idx="2943">
                  <c:v>2021/2/8</c:v>
                </c:pt>
                <c:pt idx="2944">
                  <c:v>2021/2/9</c:v>
                </c:pt>
                <c:pt idx="2945">
                  <c:v>2021/2/10</c:v>
                </c:pt>
                <c:pt idx="2946">
                  <c:v>2021/2/18</c:v>
                </c:pt>
                <c:pt idx="2947">
                  <c:v>2021/2/19</c:v>
                </c:pt>
                <c:pt idx="2948">
                  <c:v>2021/2/22</c:v>
                </c:pt>
                <c:pt idx="2949">
                  <c:v>2021/2/23</c:v>
                </c:pt>
                <c:pt idx="2950">
                  <c:v>2021/2/24</c:v>
                </c:pt>
                <c:pt idx="2951">
                  <c:v>2021/2/25</c:v>
                </c:pt>
                <c:pt idx="2952">
                  <c:v>2021/2/26</c:v>
                </c:pt>
                <c:pt idx="2953">
                  <c:v>2021/3/1</c:v>
                </c:pt>
                <c:pt idx="2954">
                  <c:v>2021/3/2</c:v>
                </c:pt>
                <c:pt idx="2955">
                  <c:v>2021/3/3</c:v>
                </c:pt>
                <c:pt idx="2956">
                  <c:v>2021/3/4</c:v>
                </c:pt>
                <c:pt idx="2957">
                  <c:v>2021/3/5</c:v>
                </c:pt>
                <c:pt idx="2958">
                  <c:v>2021/3/8</c:v>
                </c:pt>
                <c:pt idx="2959">
                  <c:v>2021/3/9</c:v>
                </c:pt>
                <c:pt idx="2960">
                  <c:v>2021/3/10</c:v>
                </c:pt>
                <c:pt idx="2961">
                  <c:v>2021/3/11</c:v>
                </c:pt>
                <c:pt idx="2962">
                  <c:v>2021/3/12</c:v>
                </c:pt>
                <c:pt idx="2963">
                  <c:v>2021/3/15</c:v>
                </c:pt>
                <c:pt idx="2964">
                  <c:v>2021/3/16</c:v>
                </c:pt>
                <c:pt idx="2965">
                  <c:v>2021/3/17</c:v>
                </c:pt>
                <c:pt idx="2966">
                  <c:v>2021/3/18</c:v>
                </c:pt>
                <c:pt idx="2967">
                  <c:v>2021/3/19</c:v>
                </c:pt>
                <c:pt idx="2968">
                  <c:v>2021/3/22</c:v>
                </c:pt>
                <c:pt idx="2969">
                  <c:v>2021/3/23</c:v>
                </c:pt>
                <c:pt idx="2970">
                  <c:v>2021/3/24</c:v>
                </c:pt>
                <c:pt idx="2971">
                  <c:v>2021/3/25</c:v>
                </c:pt>
                <c:pt idx="2972">
                  <c:v>2021/3/26</c:v>
                </c:pt>
                <c:pt idx="2973">
                  <c:v>2021/3/29</c:v>
                </c:pt>
                <c:pt idx="2974">
                  <c:v>2021/3/30</c:v>
                </c:pt>
                <c:pt idx="2975">
                  <c:v>2021/3/31</c:v>
                </c:pt>
                <c:pt idx="2976">
                  <c:v>2021/4/1</c:v>
                </c:pt>
                <c:pt idx="2977">
                  <c:v>2021/4/2</c:v>
                </c:pt>
                <c:pt idx="2978">
                  <c:v>2021/4/6</c:v>
                </c:pt>
                <c:pt idx="2979">
                  <c:v>2021/4/7</c:v>
                </c:pt>
                <c:pt idx="2980">
                  <c:v>2021/4/8</c:v>
                </c:pt>
                <c:pt idx="2981">
                  <c:v>2021/4/9</c:v>
                </c:pt>
                <c:pt idx="2982">
                  <c:v>2021/4/12</c:v>
                </c:pt>
                <c:pt idx="2983">
                  <c:v>2021/4/13</c:v>
                </c:pt>
                <c:pt idx="2984">
                  <c:v>2021/4/14</c:v>
                </c:pt>
                <c:pt idx="2985">
                  <c:v>2021/4/15</c:v>
                </c:pt>
                <c:pt idx="2986">
                  <c:v>2021/4/16</c:v>
                </c:pt>
                <c:pt idx="2987">
                  <c:v>2021/4/19</c:v>
                </c:pt>
                <c:pt idx="2988">
                  <c:v>2021/4/20</c:v>
                </c:pt>
                <c:pt idx="2989">
                  <c:v>2021/4/21</c:v>
                </c:pt>
                <c:pt idx="2990">
                  <c:v>2021/4/22</c:v>
                </c:pt>
                <c:pt idx="2991">
                  <c:v>2021/4/23</c:v>
                </c:pt>
                <c:pt idx="2992">
                  <c:v>2021/4/26</c:v>
                </c:pt>
                <c:pt idx="2993">
                  <c:v>2021/4/27</c:v>
                </c:pt>
                <c:pt idx="2994">
                  <c:v>2021/4/28</c:v>
                </c:pt>
                <c:pt idx="2995">
                  <c:v>2021/4/29</c:v>
                </c:pt>
                <c:pt idx="2996">
                  <c:v>2021/4/30</c:v>
                </c:pt>
                <c:pt idx="2997">
                  <c:v>2021/5/6</c:v>
                </c:pt>
                <c:pt idx="2998">
                  <c:v>2021/5/7</c:v>
                </c:pt>
                <c:pt idx="2999">
                  <c:v>2021/5/10</c:v>
                </c:pt>
                <c:pt idx="3000">
                  <c:v>2021/5/11</c:v>
                </c:pt>
                <c:pt idx="3001">
                  <c:v>2021/5/12</c:v>
                </c:pt>
                <c:pt idx="3002">
                  <c:v>2021/5/13</c:v>
                </c:pt>
                <c:pt idx="3003">
                  <c:v>2021/5/14</c:v>
                </c:pt>
                <c:pt idx="3004">
                  <c:v>2021/5/17</c:v>
                </c:pt>
                <c:pt idx="3005">
                  <c:v>2021/5/18</c:v>
                </c:pt>
                <c:pt idx="3006">
                  <c:v>2021/5/19</c:v>
                </c:pt>
                <c:pt idx="3007">
                  <c:v>2021/5/20</c:v>
                </c:pt>
                <c:pt idx="3008">
                  <c:v>2021/5/21</c:v>
                </c:pt>
                <c:pt idx="3009">
                  <c:v>2021/5/24</c:v>
                </c:pt>
                <c:pt idx="3010">
                  <c:v>2021/5/25</c:v>
                </c:pt>
                <c:pt idx="3011">
                  <c:v>2021/5/26</c:v>
                </c:pt>
                <c:pt idx="3012">
                  <c:v>2021/5/27</c:v>
                </c:pt>
                <c:pt idx="3013">
                  <c:v>2021/5/28</c:v>
                </c:pt>
                <c:pt idx="3014">
                  <c:v>2021/5/31</c:v>
                </c:pt>
                <c:pt idx="3015">
                  <c:v>2021/6/1</c:v>
                </c:pt>
                <c:pt idx="3016">
                  <c:v>2021/6/2</c:v>
                </c:pt>
                <c:pt idx="3017">
                  <c:v>2021/6/3</c:v>
                </c:pt>
                <c:pt idx="3018">
                  <c:v>2021/6/4</c:v>
                </c:pt>
                <c:pt idx="3019">
                  <c:v>2021/6/7</c:v>
                </c:pt>
                <c:pt idx="3020">
                  <c:v>2021/6/8</c:v>
                </c:pt>
                <c:pt idx="3021">
                  <c:v>2021/6/9</c:v>
                </c:pt>
                <c:pt idx="3022">
                  <c:v>2021/6/10</c:v>
                </c:pt>
                <c:pt idx="3023">
                  <c:v>2021/6/11</c:v>
                </c:pt>
                <c:pt idx="3024">
                  <c:v>2021/6/15</c:v>
                </c:pt>
                <c:pt idx="3025">
                  <c:v>2021/6/16</c:v>
                </c:pt>
                <c:pt idx="3026">
                  <c:v>2021/6/17</c:v>
                </c:pt>
                <c:pt idx="3027">
                  <c:v>2021/6/18</c:v>
                </c:pt>
                <c:pt idx="3028">
                  <c:v>2021/6/21</c:v>
                </c:pt>
                <c:pt idx="3029">
                  <c:v>2021/6/22</c:v>
                </c:pt>
                <c:pt idx="3030">
                  <c:v>2021/6/23</c:v>
                </c:pt>
                <c:pt idx="3031">
                  <c:v>2021/6/24</c:v>
                </c:pt>
                <c:pt idx="3032">
                  <c:v>2021/6/25</c:v>
                </c:pt>
                <c:pt idx="3033">
                  <c:v>2021/6/28</c:v>
                </c:pt>
                <c:pt idx="3034">
                  <c:v>2021/6/29</c:v>
                </c:pt>
                <c:pt idx="3035">
                  <c:v>2021/6/30</c:v>
                </c:pt>
                <c:pt idx="3036">
                  <c:v>2021/7/1</c:v>
                </c:pt>
                <c:pt idx="3037">
                  <c:v>2021/7/2</c:v>
                </c:pt>
                <c:pt idx="3038">
                  <c:v>2021/7/5</c:v>
                </c:pt>
                <c:pt idx="3039">
                  <c:v>2021/7/6</c:v>
                </c:pt>
                <c:pt idx="3040">
                  <c:v>2021/7/7</c:v>
                </c:pt>
                <c:pt idx="3041">
                  <c:v>2021/7/8</c:v>
                </c:pt>
                <c:pt idx="3042">
                  <c:v>2021/7/9</c:v>
                </c:pt>
                <c:pt idx="3043">
                  <c:v>2021/7/12</c:v>
                </c:pt>
                <c:pt idx="3044">
                  <c:v>2021/7/13</c:v>
                </c:pt>
                <c:pt idx="3045">
                  <c:v>2021/7/14</c:v>
                </c:pt>
                <c:pt idx="3046">
                  <c:v>2021/7/15</c:v>
                </c:pt>
                <c:pt idx="3047">
                  <c:v>2021/7/16</c:v>
                </c:pt>
                <c:pt idx="3048">
                  <c:v>2021/7/19</c:v>
                </c:pt>
                <c:pt idx="3049">
                  <c:v>2021/7/20</c:v>
                </c:pt>
                <c:pt idx="3050">
                  <c:v>2021/7/21</c:v>
                </c:pt>
                <c:pt idx="3051">
                  <c:v>2021/7/22</c:v>
                </c:pt>
                <c:pt idx="3052">
                  <c:v>2021/7/23</c:v>
                </c:pt>
                <c:pt idx="3053">
                  <c:v>2021/7/26</c:v>
                </c:pt>
                <c:pt idx="3054">
                  <c:v>2021/7/27</c:v>
                </c:pt>
                <c:pt idx="3055">
                  <c:v>2021/7/28</c:v>
                </c:pt>
                <c:pt idx="3056">
                  <c:v>2021/7/29</c:v>
                </c:pt>
                <c:pt idx="3057">
                  <c:v>2021/7/30</c:v>
                </c:pt>
                <c:pt idx="3058">
                  <c:v>2021/8/2</c:v>
                </c:pt>
                <c:pt idx="3059">
                  <c:v>2021/8/3</c:v>
                </c:pt>
                <c:pt idx="3060">
                  <c:v>2021/8/4</c:v>
                </c:pt>
                <c:pt idx="3061">
                  <c:v>2021/8/5</c:v>
                </c:pt>
                <c:pt idx="3062">
                  <c:v>2021/8/6</c:v>
                </c:pt>
                <c:pt idx="3063">
                  <c:v>2021/8/9</c:v>
                </c:pt>
                <c:pt idx="3064">
                  <c:v>2021/8/10</c:v>
                </c:pt>
                <c:pt idx="3065">
                  <c:v>2021/8/11</c:v>
                </c:pt>
                <c:pt idx="3066">
                  <c:v>2021/8/12</c:v>
                </c:pt>
                <c:pt idx="3067">
                  <c:v>2021/8/13</c:v>
                </c:pt>
                <c:pt idx="3068">
                  <c:v>2021/8/16</c:v>
                </c:pt>
                <c:pt idx="3069">
                  <c:v>2021/8/17</c:v>
                </c:pt>
                <c:pt idx="3070">
                  <c:v>2021/8/18</c:v>
                </c:pt>
                <c:pt idx="3071">
                  <c:v>2021/8/19</c:v>
                </c:pt>
                <c:pt idx="3072">
                  <c:v>2021/8/20</c:v>
                </c:pt>
                <c:pt idx="3073">
                  <c:v>2021/8/23</c:v>
                </c:pt>
                <c:pt idx="3074">
                  <c:v>2021/8/24</c:v>
                </c:pt>
                <c:pt idx="3075">
                  <c:v>2021/8/25</c:v>
                </c:pt>
                <c:pt idx="3076">
                  <c:v>2021/8/26</c:v>
                </c:pt>
                <c:pt idx="3077">
                  <c:v>2021/8/27</c:v>
                </c:pt>
                <c:pt idx="3078">
                  <c:v>2021/8/30</c:v>
                </c:pt>
                <c:pt idx="3079">
                  <c:v>2021/8/31</c:v>
                </c:pt>
                <c:pt idx="3080">
                  <c:v>2021/9/1</c:v>
                </c:pt>
                <c:pt idx="3081">
                  <c:v>2021/9/2</c:v>
                </c:pt>
                <c:pt idx="3082">
                  <c:v>2021/9/3</c:v>
                </c:pt>
                <c:pt idx="3083">
                  <c:v>2021/9/6</c:v>
                </c:pt>
                <c:pt idx="3084">
                  <c:v>2021/9/7</c:v>
                </c:pt>
                <c:pt idx="3085">
                  <c:v>2021/9/8</c:v>
                </c:pt>
                <c:pt idx="3086">
                  <c:v>2021/9/9</c:v>
                </c:pt>
                <c:pt idx="3087">
                  <c:v>2021/9/10</c:v>
                </c:pt>
                <c:pt idx="3088">
                  <c:v>2021/9/13</c:v>
                </c:pt>
                <c:pt idx="3089">
                  <c:v>2021/9/14</c:v>
                </c:pt>
                <c:pt idx="3090">
                  <c:v>2021/9/15</c:v>
                </c:pt>
                <c:pt idx="3091">
                  <c:v>2021/9/16</c:v>
                </c:pt>
                <c:pt idx="3092">
                  <c:v>2021/9/17</c:v>
                </c:pt>
                <c:pt idx="3093">
                  <c:v>2021/9/22</c:v>
                </c:pt>
                <c:pt idx="3094">
                  <c:v>2021/9/23</c:v>
                </c:pt>
                <c:pt idx="3095">
                  <c:v>2021/9/24</c:v>
                </c:pt>
                <c:pt idx="3096">
                  <c:v>2021/9/27</c:v>
                </c:pt>
                <c:pt idx="3097">
                  <c:v>2021/9/28</c:v>
                </c:pt>
                <c:pt idx="3098">
                  <c:v>2021/9/29</c:v>
                </c:pt>
                <c:pt idx="3099">
                  <c:v>2021/9/30</c:v>
                </c:pt>
                <c:pt idx="3100">
                  <c:v>2021/10/8</c:v>
                </c:pt>
                <c:pt idx="3101">
                  <c:v>2021/10/11</c:v>
                </c:pt>
                <c:pt idx="3102">
                  <c:v>2021/10/12</c:v>
                </c:pt>
                <c:pt idx="3103">
                  <c:v>2021/10/13</c:v>
                </c:pt>
                <c:pt idx="3104">
                  <c:v>2021/10/14</c:v>
                </c:pt>
                <c:pt idx="3105">
                  <c:v>2021/10/15</c:v>
                </c:pt>
                <c:pt idx="3106">
                  <c:v>2021/10/18</c:v>
                </c:pt>
                <c:pt idx="3107">
                  <c:v>2021/10/19</c:v>
                </c:pt>
                <c:pt idx="3108">
                  <c:v>2021/10/20</c:v>
                </c:pt>
                <c:pt idx="3109">
                  <c:v>2021/10/21</c:v>
                </c:pt>
                <c:pt idx="3110">
                  <c:v>2021/10/22</c:v>
                </c:pt>
                <c:pt idx="3111">
                  <c:v>2021/10/25</c:v>
                </c:pt>
                <c:pt idx="3112">
                  <c:v>2021/10/26</c:v>
                </c:pt>
                <c:pt idx="3113">
                  <c:v>2021/10/27</c:v>
                </c:pt>
                <c:pt idx="3114">
                  <c:v>2021/10/28</c:v>
                </c:pt>
                <c:pt idx="3115">
                  <c:v>2021/10/29</c:v>
                </c:pt>
                <c:pt idx="3116">
                  <c:v>2021/11/1</c:v>
                </c:pt>
                <c:pt idx="3117">
                  <c:v>2021/11/2</c:v>
                </c:pt>
                <c:pt idx="3118">
                  <c:v>2021/11/3</c:v>
                </c:pt>
                <c:pt idx="3119">
                  <c:v>2021/11/4</c:v>
                </c:pt>
                <c:pt idx="3120">
                  <c:v>2021/11/5</c:v>
                </c:pt>
                <c:pt idx="3121">
                  <c:v>2021/11/8</c:v>
                </c:pt>
                <c:pt idx="3122">
                  <c:v>2021/11/9</c:v>
                </c:pt>
                <c:pt idx="3123">
                  <c:v>2021/11/10</c:v>
                </c:pt>
                <c:pt idx="3124">
                  <c:v>2021/11/11</c:v>
                </c:pt>
                <c:pt idx="3125">
                  <c:v>2021/11/12</c:v>
                </c:pt>
                <c:pt idx="3126">
                  <c:v>2021/11/15</c:v>
                </c:pt>
                <c:pt idx="3127">
                  <c:v>2021/11/16</c:v>
                </c:pt>
                <c:pt idx="3128">
                  <c:v>2021/11/17</c:v>
                </c:pt>
                <c:pt idx="3129">
                  <c:v>2021/11/18</c:v>
                </c:pt>
                <c:pt idx="3130">
                  <c:v>2021/11/19</c:v>
                </c:pt>
                <c:pt idx="3131">
                  <c:v>2021/11/22</c:v>
                </c:pt>
                <c:pt idx="3132">
                  <c:v>2021/11/23</c:v>
                </c:pt>
                <c:pt idx="3133">
                  <c:v>2021/11/24</c:v>
                </c:pt>
                <c:pt idx="3134">
                  <c:v>2021/11/25</c:v>
                </c:pt>
                <c:pt idx="3135">
                  <c:v>2021/11/26</c:v>
                </c:pt>
                <c:pt idx="3136">
                  <c:v>2021/11/29</c:v>
                </c:pt>
                <c:pt idx="3137">
                  <c:v>2021/11/30</c:v>
                </c:pt>
                <c:pt idx="3138">
                  <c:v>2021/12/1</c:v>
                </c:pt>
                <c:pt idx="3139">
                  <c:v>2021/12/2</c:v>
                </c:pt>
                <c:pt idx="3140">
                  <c:v>2021/12/3</c:v>
                </c:pt>
                <c:pt idx="3141">
                  <c:v>2021/12/6</c:v>
                </c:pt>
                <c:pt idx="3142">
                  <c:v>2021/12/7</c:v>
                </c:pt>
                <c:pt idx="3143">
                  <c:v>2021/12/8</c:v>
                </c:pt>
                <c:pt idx="3144">
                  <c:v>2021/12/9</c:v>
                </c:pt>
                <c:pt idx="3145">
                  <c:v>2021/12/10</c:v>
                </c:pt>
                <c:pt idx="3146">
                  <c:v>2021/12/13</c:v>
                </c:pt>
                <c:pt idx="3147">
                  <c:v>2021/12/14</c:v>
                </c:pt>
                <c:pt idx="3148">
                  <c:v>2021/12/15</c:v>
                </c:pt>
                <c:pt idx="3149">
                  <c:v>2021/12/16</c:v>
                </c:pt>
                <c:pt idx="3150">
                  <c:v>2021/12/17</c:v>
                </c:pt>
                <c:pt idx="3151">
                  <c:v>2021/12/20</c:v>
                </c:pt>
                <c:pt idx="3152">
                  <c:v>2021/12/21</c:v>
                </c:pt>
                <c:pt idx="3153">
                  <c:v>2021/12/22</c:v>
                </c:pt>
                <c:pt idx="3154">
                  <c:v>2021/12/23</c:v>
                </c:pt>
                <c:pt idx="3155">
                  <c:v>2021/12/24</c:v>
                </c:pt>
                <c:pt idx="3156">
                  <c:v>2021/12/27</c:v>
                </c:pt>
                <c:pt idx="3157">
                  <c:v>2021/12/28</c:v>
                </c:pt>
                <c:pt idx="3158">
                  <c:v>2021/12/29</c:v>
                </c:pt>
                <c:pt idx="3159">
                  <c:v>2021/12/30</c:v>
                </c:pt>
                <c:pt idx="3160">
                  <c:v>2021/12/31</c:v>
                </c:pt>
                <c:pt idx="3161">
                  <c:v>2022/1/4</c:v>
                </c:pt>
                <c:pt idx="3162">
                  <c:v>2022/1/5</c:v>
                </c:pt>
                <c:pt idx="3163">
                  <c:v>2022/1/6</c:v>
                </c:pt>
                <c:pt idx="3164">
                  <c:v>2022/1/7</c:v>
                </c:pt>
                <c:pt idx="3165">
                  <c:v>2022/1/10</c:v>
                </c:pt>
                <c:pt idx="3166">
                  <c:v>2022/1/11</c:v>
                </c:pt>
                <c:pt idx="3167">
                  <c:v>2022/1/12</c:v>
                </c:pt>
                <c:pt idx="3168">
                  <c:v>2022/1/13</c:v>
                </c:pt>
                <c:pt idx="3169">
                  <c:v>2022/1/14</c:v>
                </c:pt>
                <c:pt idx="3170">
                  <c:v>2022/1/17</c:v>
                </c:pt>
                <c:pt idx="3171">
                  <c:v>2022/1/18</c:v>
                </c:pt>
                <c:pt idx="3172">
                  <c:v>2022/1/19</c:v>
                </c:pt>
                <c:pt idx="3173">
                  <c:v>2022/1/20</c:v>
                </c:pt>
                <c:pt idx="3174">
                  <c:v>2022/1/21</c:v>
                </c:pt>
                <c:pt idx="3175">
                  <c:v>2022/1/24</c:v>
                </c:pt>
                <c:pt idx="3176">
                  <c:v>2022/1/25</c:v>
                </c:pt>
                <c:pt idx="3177">
                  <c:v>2022/1/26</c:v>
                </c:pt>
                <c:pt idx="3178">
                  <c:v>2022/1/27</c:v>
                </c:pt>
                <c:pt idx="3179">
                  <c:v>2022/1/28</c:v>
                </c:pt>
                <c:pt idx="3180">
                  <c:v>2022/2/7</c:v>
                </c:pt>
                <c:pt idx="3181">
                  <c:v>2022/2/8</c:v>
                </c:pt>
                <c:pt idx="3182">
                  <c:v>2022/2/9</c:v>
                </c:pt>
                <c:pt idx="3183">
                  <c:v>2022/2/10</c:v>
                </c:pt>
                <c:pt idx="3184">
                  <c:v>2022/2/11</c:v>
                </c:pt>
                <c:pt idx="3185">
                  <c:v>2022/2/14</c:v>
                </c:pt>
                <c:pt idx="3186">
                  <c:v>2022/2/15</c:v>
                </c:pt>
                <c:pt idx="3187">
                  <c:v>2022/2/16</c:v>
                </c:pt>
                <c:pt idx="3188">
                  <c:v>2022/2/17</c:v>
                </c:pt>
                <c:pt idx="3189">
                  <c:v>2022/2/18</c:v>
                </c:pt>
                <c:pt idx="3190">
                  <c:v>2022/2/21</c:v>
                </c:pt>
                <c:pt idx="3191">
                  <c:v>2022/2/22</c:v>
                </c:pt>
                <c:pt idx="3192">
                  <c:v>2022/2/23</c:v>
                </c:pt>
                <c:pt idx="3193">
                  <c:v>2022/2/24</c:v>
                </c:pt>
                <c:pt idx="3194">
                  <c:v>2022/2/25</c:v>
                </c:pt>
                <c:pt idx="3195">
                  <c:v>2022/2/28</c:v>
                </c:pt>
                <c:pt idx="3196">
                  <c:v>2022/3/1</c:v>
                </c:pt>
                <c:pt idx="3197">
                  <c:v>2022/3/2</c:v>
                </c:pt>
                <c:pt idx="3198">
                  <c:v>2022/3/3</c:v>
                </c:pt>
                <c:pt idx="3199">
                  <c:v>2022/3/4</c:v>
                </c:pt>
                <c:pt idx="3200">
                  <c:v>2022/3/7</c:v>
                </c:pt>
                <c:pt idx="3201">
                  <c:v>2022/3/8</c:v>
                </c:pt>
                <c:pt idx="3202">
                  <c:v>2022/3/9</c:v>
                </c:pt>
                <c:pt idx="3203">
                  <c:v>2022/3/10</c:v>
                </c:pt>
                <c:pt idx="3204">
                  <c:v>2022/3/11</c:v>
                </c:pt>
                <c:pt idx="3205">
                  <c:v>2022/3/14</c:v>
                </c:pt>
                <c:pt idx="3206">
                  <c:v>2022/3/15</c:v>
                </c:pt>
                <c:pt idx="3207">
                  <c:v>2022/3/16</c:v>
                </c:pt>
                <c:pt idx="3208">
                  <c:v>2022/3/17</c:v>
                </c:pt>
                <c:pt idx="3209">
                  <c:v>2022/3/18</c:v>
                </c:pt>
                <c:pt idx="3210">
                  <c:v>2022/3/21</c:v>
                </c:pt>
                <c:pt idx="3211">
                  <c:v>2022/3/22</c:v>
                </c:pt>
                <c:pt idx="3212">
                  <c:v>2022/3/23</c:v>
                </c:pt>
                <c:pt idx="3213">
                  <c:v>2022/3/24</c:v>
                </c:pt>
                <c:pt idx="3214">
                  <c:v>2022/3/25</c:v>
                </c:pt>
                <c:pt idx="3215">
                  <c:v>2022/3/28</c:v>
                </c:pt>
                <c:pt idx="3216">
                  <c:v>2022/3/29</c:v>
                </c:pt>
                <c:pt idx="3217">
                  <c:v>2022/3/30</c:v>
                </c:pt>
                <c:pt idx="3218">
                  <c:v>2022/3/31</c:v>
                </c:pt>
                <c:pt idx="3219">
                  <c:v>2022/4/1</c:v>
                </c:pt>
                <c:pt idx="3220">
                  <c:v>2022/4/6</c:v>
                </c:pt>
                <c:pt idx="3221">
                  <c:v>2022/4/7</c:v>
                </c:pt>
                <c:pt idx="3222">
                  <c:v>2022/4/8</c:v>
                </c:pt>
              </c:strCache>
            </c:strRef>
          </c:cat>
          <c:val>
            <c:numRef>
              <c:f>Sheet1!$D$2:$D$3224</c:f>
              <c:numCache>
                <c:formatCode>General</c:formatCode>
                <c:ptCount val="3223"/>
                <c:pt idx="0">
                  <c:v>999905.85199999996</c:v>
                </c:pt>
                <c:pt idx="1">
                  <c:v>1029825.852</c:v>
                </c:pt>
                <c:pt idx="2">
                  <c:v>1024015.852</c:v>
                </c:pt>
                <c:pt idx="3">
                  <c:v>1002420.852</c:v>
                </c:pt>
                <c:pt idx="4">
                  <c:v>1017610.852</c:v>
                </c:pt>
                <c:pt idx="5">
                  <c:v>1018770.852</c:v>
                </c:pt>
                <c:pt idx="6">
                  <c:v>996520.85199999996</c:v>
                </c:pt>
                <c:pt idx="7">
                  <c:v>1036045.852</c:v>
                </c:pt>
                <c:pt idx="8">
                  <c:v>1035860.852</c:v>
                </c:pt>
                <c:pt idx="9">
                  <c:v>1053530.852</c:v>
                </c:pt>
                <c:pt idx="10">
                  <c:v>1064660.852</c:v>
                </c:pt>
                <c:pt idx="11">
                  <c:v>1071020.852</c:v>
                </c:pt>
                <c:pt idx="12">
                  <c:v>1069280.852</c:v>
                </c:pt>
                <c:pt idx="13">
                  <c:v>1080700.852</c:v>
                </c:pt>
                <c:pt idx="14">
                  <c:v>1074765.852</c:v>
                </c:pt>
                <c:pt idx="15">
                  <c:v>1086955.852</c:v>
                </c:pt>
                <c:pt idx="16">
                  <c:v>1112880.852</c:v>
                </c:pt>
                <c:pt idx="17">
                  <c:v>1141630.852</c:v>
                </c:pt>
                <c:pt idx="18">
                  <c:v>1133910.852</c:v>
                </c:pt>
                <c:pt idx="19">
                  <c:v>1177065.852</c:v>
                </c:pt>
                <c:pt idx="20">
                  <c:v>1206760.852</c:v>
                </c:pt>
                <c:pt idx="21">
                  <c:v>1221805.852</c:v>
                </c:pt>
                <c:pt idx="22">
                  <c:v>1223995.852</c:v>
                </c:pt>
                <c:pt idx="23">
                  <c:v>1217595.852</c:v>
                </c:pt>
                <c:pt idx="24">
                  <c:v>1257960.852</c:v>
                </c:pt>
                <c:pt idx="25">
                  <c:v>1289550.852</c:v>
                </c:pt>
                <c:pt idx="26">
                  <c:v>1251070.852</c:v>
                </c:pt>
                <c:pt idx="27">
                  <c:v>1196345.852</c:v>
                </c:pt>
                <c:pt idx="28">
                  <c:v>1207630.852</c:v>
                </c:pt>
                <c:pt idx="29">
                  <c:v>1230585.852</c:v>
                </c:pt>
                <c:pt idx="30">
                  <c:v>1263665.852</c:v>
                </c:pt>
                <c:pt idx="31">
                  <c:v>1209350.852</c:v>
                </c:pt>
                <c:pt idx="32">
                  <c:v>1210550.852</c:v>
                </c:pt>
                <c:pt idx="33">
                  <c:v>1153520.852</c:v>
                </c:pt>
                <c:pt idx="34">
                  <c:v>1128670.852</c:v>
                </c:pt>
                <c:pt idx="35">
                  <c:v>1140760.852</c:v>
                </c:pt>
                <c:pt idx="36">
                  <c:v>1129500.852</c:v>
                </c:pt>
                <c:pt idx="37">
                  <c:v>1201000.852</c:v>
                </c:pt>
                <c:pt idx="38">
                  <c:v>1210885.852</c:v>
                </c:pt>
                <c:pt idx="39">
                  <c:v>1201715.852</c:v>
                </c:pt>
                <c:pt idx="40">
                  <c:v>1159690.852</c:v>
                </c:pt>
                <c:pt idx="41">
                  <c:v>1178815.852</c:v>
                </c:pt>
                <c:pt idx="42">
                  <c:v>1168615.852</c:v>
                </c:pt>
                <c:pt idx="43">
                  <c:v>1166275.852</c:v>
                </c:pt>
                <c:pt idx="44">
                  <c:v>1161135.852</c:v>
                </c:pt>
                <c:pt idx="45">
                  <c:v>1179230.852</c:v>
                </c:pt>
                <c:pt idx="46">
                  <c:v>1219625.852</c:v>
                </c:pt>
                <c:pt idx="47">
                  <c:v>1224750.852</c:v>
                </c:pt>
                <c:pt idx="48">
                  <c:v>1249705.852</c:v>
                </c:pt>
                <c:pt idx="49">
                  <c:v>1248345.852</c:v>
                </c:pt>
                <c:pt idx="50">
                  <c:v>1278125.852</c:v>
                </c:pt>
                <c:pt idx="51">
                  <c:v>1284315.852</c:v>
                </c:pt>
                <c:pt idx="52">
                  <c:v>1259090.852</c:v>
                </c:pt>
                <c:pt idx="53">
                  <c:v>1298320.852</c:v>
                </c:pt>
                <c:pt idx="54">
                  <c:v>1307890.852</c:v>
                </c:pt>
                <c:pt idx="55">
                  <c:v>1300670.852</c:v>
                </c:pt>
                <c:pt idx="56">
                  <c:v>1312320.852</c:v>
                </c:pt>
                <c:pt idx="57">
                  <c:v>1332535.852</c:v>
                </c:pt>
                <c:pt idx="58">
                  <c:v>1346625.852</c:v>
                </c:pt>
                <c:pt idx="59">
                  <c:v>1343675.852</c:v>
                </c:pt>
                <c:pt idx="60">
                  <c:v>1346900.852</c:v>
                </c:pt>
                <c:pt idx="61">
                  <c:v>1298100.852</c:v>
                </c:pt>
                <c:pt idx="62">
                  <c:v>1317260.852</c:v>
                </c:pt>
                <c:pt idx="63">
                  <c:v>1356190.852</c:v>
                </c:pt>
                <c:pt idx="64">
                  <c:v>1386685.852</c:v>
                </c:pt>
                <c:pt idx="65">
                  <c:v>1396860.852</c:v>
                </c:pt>
                <c:pt idx="66">
                  <c:v>1401920.852</c:v>
                </c:pt>
                <c:pt idx="67">
                  <c:v>1401980.852</c:v>
                </c:pt>
                <c:pt idx="68">
                  <c:v>1383770.852</c:v>
                </c:pt>
                <c:pt idx="69">
                  <c:v>1412260.852</c:v>
                </c:pt>
                <c:pt idx="70">
                  <c:v>1396145.852</c:v>
                </c:pt>
                <c:pt idx="71">
                  <c:v>1346565.852</c:v>
                </c:pt>
                <c:pt idx="72">
                  <c:v>1355205.852</c:v>
                </c:pt>
                <c:pt idx="73">
                  <c:v>1344870.852</c:v>
                </c:pt>
                <c:pt idx="74">
                  <c:v>1315070.852</c:v>
                </c:pt>
                <c:pt idx="75">
                  <c:v>1317690.852</c:v>
                </c:pt>
                <c:pt idx="76">
                  <c:v>1361110.852</c:v>
                </c:pt>
                <c:pt idx="77">
                  <c:v>1369890.852</c:v>
                </c:pt>
                <c:pt idx="78">
                  <c:v>1415575.852</c:v>
                </c:pt>
                <c:pt idx="79">
                  <c:v>1421930.852</c:v>
                </c:pt>
                <c:pt idx="80">
                  <c:v>1440915.852</c:v>
                </c:pt>
                <c:pt idx="81">
                  <c:v>1441965.852</c:v>
                </c:pt>
                <c:pt idx="82">
                  <c:v>1453035.852</c:v>
                </c:pt>
                <c:pt idx="83">
                  <c:v>1421085.852</c:v>
                </c:pt>
                <c:pt idx="84">
                  <c:v>1452705.852</c:v>
                </c:pt>
                <c:pt idx="85">
                  <c:v>1465430.852</c:v>
                </c:pt>
                <c:pt idx="86">
                  <c:v>1454725.852</c:v>
                </c:pt>
                <c:pt idx="87">
                  <c:v>1456485.852</c:v>
                </c:pt>
                <c:pt idx="88">
                  <c:v>1463710.852</c:v>
                </c:pt>
                <c:pt idx="89">
                  <c:v>1478465.852</c:v>
                </c:pt>
                <c:pt idx="90">
                  <c:v>1464860.852</c:v>
                </c:pt>
                <c:pt idx="91">
                  <c:v>1433430.852</c:v>
                </c:pt>
                <c:pt idx="92">
                  <c:v>1428765.852</c:v>
                </c:pt>
                <c:pt idx="93">
                  <c:v>1434785.852</c:v>
                </c:pt>
                <c:pt idx="94">
                  <c:v>1418305.852</c:v>
                </c:pt>
                <c:pt idx="95">
                  <c:v>1438280.852</c:v>
                </c:pt>
                <c:pt idx="96">
                  <c:v>1487452.9350000001</c:v>
                </c:pt>
                <c:pt idx="97">
                  <c:v>1487452.9350000001</c:v>
                </c:pt>
                <c:pt idx="98">
                  <c:v>1487452.9350000001</c:v>
                </c:pt>
                <c:pt idx="99">
                  <c:v>1487452.9350000001</c:v>
                </c:pt>
                <c:pt idx="100">
                  <c:v>1487452.9350000001</c:v>
                </c:pt>
                <c:pt idx="101">
                  <c:v>1487452.9350000001</c:v>
                </c:pt>
                <c:pt idx="102">
                  <c:v>1487452.9350000001</c:v>
                </c:pt>
                <c:pt idx="103">
                  <c:v>1487452.9350000001</c:v>
                </c:pt>
                <c:pt idx="104">
                  <c:v>1487452.9350000001</c:v>
                </c:pt>
                <c:pt idx="105">
                  <c:v>1487452.9350000001</c:v>
                </c:pt>
                <c:pt idx="106">
                  <c:v>1487452.9350000001</c:v>
                </c:pt>
                <c:pt idx="107">
                  <c:v>1487452.9350000001</c:v>
                </c:pt>
                <c:pt idx="108">
                  <c:v>1487452.9350000001</c:v>
                </c:pt>
                <c:pt idx="109">
                  <c:v>1487452.9350000001</c:v>
                </c:pt>
                <c:pt idx="110">
                  <c:v>1487452.9350000001</c:v>
                </c:pt>
                <c:pt idx="111">
                  <c:v>1487452.9350000001</c:v>
                </c:pt>
                <c:pt idx="112">
                  <c:v>1487452.9350000001</c:v>
                </c:pt>
                <c:pt idx="113">
                  <c:v>1487452.9350000001</c:v>
                </c:pt>
                <c:pt idx="114">
                  <c:v>1487452.9350000001</c:v>
                </c:pt>
                <c:pt idx="115">
                  <c:v>1487452.9350000001</c:v>
                </c:pt>
                <c:pt idx="116">
                  <c:v>1487452.9350000001</c:v>
                </c:pt>
                <c:pt idx="117">
                  <c:v>1487452.9350000001</c:v>
                </c:pt>
                <c:pt idx="118">
                  <c:v>1487452.9350000001</c:v>
                </c:pt>
                <c:pt idx="119">
                  <c:v>1487452.9350000001</c:v>
                </c:pt>
                <c:pt idx="120">
                  <c:v>1487452.9350000001</c:v>
                </c:pt>
                <c:pt idx="121">
                  <c:v>1487452.9350000001</c:v>
                </c:pt>
                <c:pt idx="122">
                  <c:v>1487452.9350000001</c:v>
                </c:pt>
                <c:pt idx="123">
                  <c:v>1487452.9350000001</c:v>
                </c:pt>
                <c:pt idx="124">
                  <c:v>1487452.9350000001</c:v>
                </c:pt>
                <c:pt idx="125">
                  <c:v>1487452.9350000001</c:v>
                </c:pt>
                <c:pt idx="126">
                  <c:v>1487452.9350000001</c:v>
                </c:pt>
                <c:pt idx="127">
                  <c:v>1487452.9350000001</c:v>
                </c:pt>
                <c:pt idx="128">
                  <c:v>1487452.9350000001</c:v>
                </c:pt>
                <c:pt idx="129">
                  <c:v>1487452.9350000001</c:v>
                </c:pt>
                <c:pt idx="130">
                  <c:v>1487452.9350000001</c:v>
                </c:pt>
                <c:pt idx="131">
                  <c:v>1487452.9350000001</c:v>
                </c:pt>
                <c:pt idx="132">
                  <c:v>1487452.9350000001</c:v>
                </c:pt>
                <c:pt idx="133">
                  <c:v>1487452.9350000001</c:v>
                </c:pt>
                <c:pt idx="134">
                  <c:v>1487452.9350000001</c:v>
                </c:pt>
                <c:pt idx="135">
                  <c:v>1487452.9350000001</c:v>
                </c:pt>
                <c:pt idx="136">
                  <c:v>1487452.9350000001</c:v>
                </c:pt>
                <c:pt idx="137">
                  <c:v>1487452.9350000001</c:v>
                </c:pt>
                <c:pt idx="138">
                  <c:v>1487452.9350000001</c:v>
                </c:pt>
                <c:pt idx="139">
                  <c:v>1487452.9350000001</c:v>
                </c:pt>
                <c:pt idx="140">
                  <c:v>1487452.9350000001</c:v>
                </c:pt>
                <c:pt idx="141">
                  <c:v>1487452.9350000001</c:v>
                </c:pt>
                <c:pt idx="142">
                  <c:v>1487452.9350000001</c:v>
                </c:pt>
                <c:pt idx="143">
                  <c:v>1487452.9350000001</c:v>
                </c:pt>
                <c:pt idx="144">
                  <c:v>1487452.9350000001</c:v>
                </c:pt>
                <c:pt idx="145">
                  <c:v>1487452.9350000001</c:v>
                </c:pt>
                <c:pt idx="146">
                  <c:v>1487452.9350000001</c:v>
                </c:pt>
                <c:pt idx="147">
                  <c:v>1487452.9350000001</c:v>
                </c:pt>
                <c:pt idx="148">
                  <c:v>1487452.9350000001</c:v>
                </c:pt>
                <c:pt idx="149">
                  <c:v>1487452.9350000001</c:v>
                </c:pt>
                <c:pt idx="150">
                  <c:v>1487452.9350000001</c:v>
                </c:pt>
                <c:pt idx="151">
                  <c:v>1487452.9350000001</c:v>
                </c:pt>
                <c:pt idx="152">
                  <c:v>1487452.9350000001</c:v>
                </c:pt>
                <c:pt idx="153">
                  <c:v>1487452.9350000001</c:v>
                </c:pt>
                <c:pt idx="154">
                  <c:v>1487452.9350000001</c:v>
                </c:pt>
                <c:pt idx="155">
                  <c:v>1487452.9350000001</c:v>
                </c:pt>
                <c:pt idx="156">
                  <c:v>1487452.9350000001</c:v>
                </c:pt>
                <c:pt idx="157">
                  <c:v>1487452.9350000001</c:v>
                </c:pt>
                <c:pt idx="158">
                  <c:v>1487452.9350000001</c:v>
                </c:pt>
                <c:pt idx="159">
                  <c:v>1487452.9350000001</c:v>
                </c:pt>
                <c:pt idx="160">
                  <c:v>1487452.9350000001</c:v>
                </c:pt>
                <c:pt idx="161">
                  <c:v>1487452.9350000001</c:v>
                </c:pt>
                <c:pt idx="162">
                  <c:v>1487452.9350000001</c:v>
                </c:pt>
                <c:pt idx="163">
                  <c:v>1487452.9350000001</c:v>
                </c:pt>
                <c:pt idx="164">
                  <c:v>1487452.9350000001</c:v>
                </c:pt>
                <c:pt idx="165">
                  <c:v>1487452.9350000001</c:v>
                </c:pt>
                <c:pt idx="166">
                  <c:v>1487452.9350000001</c:v>
                </c:pt>
                <c:pt idx="167">
                  <c:v>1487452.9350000001</c:v>
                </c:pt>
                <c:pt idx="168">
                  <c:v>1487452.9350000001</c:v>
                </c:pt>
                <c:pt idx="169">
                  <c:v>1487452.9350000001</c:v>
                </c:pt>
                <c:pt idx="170">
                  <c:v>1487452.9350000001</c:v>
                </c:pt>
                <c:pt idx="171">
                  <c:v>1487452.9350000001</c:v>
                </c:pt>
                <c:pt idx="172">
                  <c:v>1487452.9350000001</c:v>
                </c:pt>
                <c:pt idx="173">
                  <c:v>1487452.9350000001</c:v>
                </c:pt>
                <c:pt idx="174">
                  <c:v>1487452.9350000001</c:v>
                </c:pt>
                <c:pt idx="175">
                  <c:v>1487452.9350000001</c:v>
                </c:pt>
                <c:pt idx="176">
                  <c:v>1487452.9350000001</c:v>
                </c:pt>
                <c:pt idx="177">
                  <c:v>1487452.9350000001</c:v>
                </c:pt>
                <c:pt idx="178">
                  <c:v>1487452.9350000001</c:v>
                </c:pt>
                <c:pt idx="179">
                  <c:v>1487452.9350000001</c:v>
                </c:pt>
                <c:pt idx="180">
                  <c:v>1487452.9350000001</c:v>
                </c:pt>
                <c:pt idx="181">
                  <c:v>1487452.9350000001</c:v>
                </c:pt>
                <c:pt idx="182">
                  <c:v>1487452.9350000001</c:v>
                </c:pt>
                <c:pt idx="183">
                  <c:v>1487452.9350000001</c:v>
                </c:pt>
                <c:pt idx="184">
                  <c:v>1487452.9350000001</c:v>
                </c:pt>
                <c:pt idx="185">
                  <c:v>1487452.9350000001</c:v>
                </c:pt>
                <c:pt idx="186">
                  <c:v>1487452.9350000001</c:v>
                </c:pt>
                <c:pt idx="187">
                  <c:v>1487452.9350000001</c:v>
                </c:pt>
                <c:pt idx="188">
                  <c:v>1487452.9350000001</c:v>
                </c:pt>
                <c:pt idx="189">
                  <c:v>1487452.9350000001</c:v>
                </c:pt>
                <c:pt idx="190">
                  <c:v>1487452.9350000001</c:v>
                </c:pt>
                <c:pt idx="191">
                  <c:v>1487452.9350000001</c:v>
                </c:pt>
                <c:pt idx="192">
                  <c:v>1487452.9350000001</c:v>
                </c:pt>
                <c:pt idx="193">
                  <c:v>1487452.9350000001</c:v>
                </c:pt>
                <c:pt idx="194">
                  <c:v>1487452.9350000001</c:v>
                </c:pt>
                <c:pt idx="195">
                  <c:v>1487452.9350000001</c:v>
                </c:pt>
                <c:pt idx="196">
                  <c:v>1487452.9350000001</c:v>
                </c:pt>
                <c:pt idx="197">
                  <c:v>1487452.9350000001</c:v>
                </c:pt>
                <c:pt idx="198">
                  <c:v>1487452.9350000001</c:v>
                </c:pt>
                <c:pt idx="199">
                  <c:v>1487452.9350000001</c:v>
                </c:pt>
                <c:pt idx="200">
                  <c:v>1487452.9350000001</c:v>
                </c:pt>
                <c:pt idx="201">
                  <c:v>1487452.9350000001</c:v>
                </c:pt>
                <c:pt idx="202">
                  <c:v>1487452.9350000001</c:v>
                </c:pt>
                <c:pt idx="203">
                  <c:v>1487452.9350000001</c:v>
                </c:pt>
                <c:pt idx="204">
                  <c:v>1487452.9350000001</c:v>
                </c:pt>
                <c:pt idx="205">
                  <c:v>1487452.9350000001</c:v>
                </c:pt>
                <c:pt idx="206">
                  <c:v>1487452.9350000001</c:v>
                </c:pt>
                <c:pt idx="207">
                  <c:v>1487452.9350000001</c:v>
                </c:pt>
                <c:pt idx="208">
                  <c:v>1487452.9350000001</c:v>
                </c:pt>
                <c:pt idx="209">
                  <c:v>1487452.9350000001</c:v>
                </c:pt>
                <c:pt idx="210">
                  <c:v>1487452.9350000001</c:v>
                </c:pt>
                <c:pt idx="211">
                  <c:v>1487452.9350000001</c:v>
                </c:pt>
                <c:pt idx="212">
                  <c:v>1487452.9350000001</c:v>
                </c:pt>
                <c:pt idx="213">
                  <c:v>1487452.9350000001</c:v>
                </c:pt>
                <c:pt idx="214">
                  <c:v>1487452.9350000001</c:v>
                </c:pt>
                <c:pt idx="215">
                  <c:v>1487452.9350000001</c:v>
                </c:pt>
                <c:pt idx="216">
                  <c:v>1487452.9350000001</c:v>
                </c:pt>
                <c:pt idx="217">
                  <c:v>1487452.9350000001</c:v>
                </c:pt>
                <c:pt idx="218">
                  <c:v>1487452.9350000001</c:v>
                </c:pt>
                <c:pt idx="219">
                  <c:v>1487452.9350000001</c:v>
                </c:pt>
                <c:pt idx="220">
                  <c:v>1487452.9350000001</c:v>
                </c:pt>
                <c:pt idx="221">
                  <c:v>1487452.9350000001</c:v>
                </c:pt>
                <c:pt idx="222">
                  <c:v>1487452.9350000001</c:v>
                </c:pt>
                <c:pt idx="223">
                  <c:v>1487452.9350000001</c:v>
                </c:pt>
                <c:pt idx="224">
                  <c:v>1487452.9350000001</c:v>
                </c:pt>
                <c:pt idx="225">
                  <c:v>1487452.9350000001</c:v>
                </c:pt>
                <c:pt idx="226">
                  <c:v>1487452.9350000001</c:v>
                </c:pt>
                <c:pt idx="227">
                  <c:v>1487452.9350000001</c:v>
                </c:pt>
                <c:pt idx="228">
                  <c:v>1487452.9350000001</c:v>
                </c:pt>
                <c:pt idx="229">
                  <c:v>1487452.9350000001</c:v>
                </c:pt>
                <c:pt idx="230">
                  <c:v>1487452.9350000001</c:v>
                </c:pt>
                <c:pt idx="231">
                  <c:v>1487452.9350000001</c:v>
                </c:pt>
                <c:pt idx="232">
                  <c:v>1487452.9350000001</c:v>
                </c:pt>
                <c:pt idx="233">
                  <c:v>1487452.9350000001</c:v>
                </c:pt>
                <c:pt idx="234">
                  <c:v>1487452.9350000001</c:v>
                </c:pt>
                <c:pt idx="235">
                  <c:v>1487452.9350000001</c:v>
                </c:pt>
                <c:pt idx="236">
                  <c:v>1487452.9350000001</c:v>
                </c:pt>
                <c:pt idx="237">
                  <c:v>1487452.9350000001</c:v>
                </c:pt>
                <c:pt idx="238">
                  <c:v>1487452.9350000001</c:v>
                </c:pt>
                <c:pt idx="239">
                  <c:v>1487452.9350000001</c:v>
                </c:pt>
                <c:pt idx="240">
                  <c:v>1487452.9350000001</c:v>
                </c:pt>
                <c:pt idx="241">
                  <c:v>1487452.9350000001</c:v>
                </c:pt>
                <c:pt idx="242">
                  <c:v>1487452.9350000001</c:v>
                </c:pt>
                <c:pt idx="243">
                  <c:v>1487452.9350000001</c:v>
                </c:pt>
                <c:pt idx="244">
                  <c:v>1487452.9350000001</c:v>
                </c:pt>
                <c:pt idx="245">
                  <c:v>1487452.9350000001</c:v>
                </c:pt>
                <c:pt idx="246">
                  <c:v>1487452.9350000001</c:v>
                </c:pt>
                <c:pt idx="247">
                  <c:v>1487452.9350000001</c:v>
                </c:pt>
                <c:pt idx="248">
                  <c:v>1487452.9350000001</c:v>
                </c:pt>
                <c:pt idx="249">
                  <c:v>1487452.9350000001</c:v>
                </c:pt>
                <c:pt idx="250">
                  <c:v>1487452.9350000001</c:v>
                </c:pt>
                <c:pt idx="251">
                  <c:v>1487452.9350000001</c:v>
                </c:pt>
                <c:pt idx="252">
                  <c:v>1487452.9350000001</c:v>
                </c:pt>
                <c:pt idx="253">
                  <c:v>1487452.9350000001</c:v>
                </c:pt>
                <c:pt idx="254">
                  <c:v>1487452.9350000001</c:v>
                </c:pt>
                <c:pt idx="255">
                  <c:v>1487452.9350000001</c:v>
                </c:pt>
                <c:pt idx="256">
                  <c:v>1487452.9350000001</c:v>
                </c:pt>
                <c:pt idx="257">
                  <c:v>1487452.9350000001</c:v>
                </c:pt>
                <c:pt idx="258">
                  <c:v>1487452.9350000001</c:v>
                </c:pt>
                <c:pt idx="259">
                  <c:v>1487452.9350000001</c:v>
                </c:pt>
                <c:pt idx="260">
                  <c:v>1487452.9350000001</c:v>
                </c:pt>
                <c:pt idx="261">
                  <c:v>1487452.9350000001</c:v>
                </c:pt>
                <c:pt idx="262">
                  <c:v>1487452.9350000001</c:v>
                </c:pt>
                <c:pt idx="263">
                  <c:v>1487452.9350000001</c:v>
                </c:pt>
                <c:pt idx="264">
                  <c:v>1487452.9350000001</c:v>
                </c:pt>
                <c:pt idx="265">
                  <c:v>1487452.9350000001</c:v>
                </c:pt>
                <c:pt idx="266">
                  <c:v>1487452.9350000001</c:v>
                </c:pt>
                <c:pt idx="267">
                  <c:v>1487452.9350000001</c:v>
                </c:pt>
                <c:pt idx="268">
                  <c:v>1487452.9350000001</c:v>
                </c:pt>
                <c:pt idx="269">
                  <c:v>1487452.9350000001</c:v>
                </c:pt>
                <c:pt idx="270">
                  <c:v>1487452.9350000001</c:v>
                </c:pt>
                <c:pt idx="271">
                  <c:v>1487452.9350000001</c:v>
                </c:pt>
                <c:pt idx="272">
                  <c:v>1487452.9350000001</c:v>
                </c:pt>
                <c:pt idx="273">
                  <c:v>1487452.9350000001</c:v>
                </c:pt>
                <c:pt idx="274">
                  <c:v>1487323.601</c:v>
                </c:pt>
                <c:pt idx="275">
                  <c:v>1473435.601</c:v>
                </c:pt>
                <c:pt idx="276">
                  <c:v>1491775.601</c:v>
                </c:pt>
                <c:pt idx="277">
                  <c:v>1510835.601</c:v>
                </c:pt>
                <c:pt idx="278">
                  <c:v>1506651.601</c:v>
                </c:pt>
                <c:pt idx="279">
                  <c:v>1523618.6242</c:v>
                </c:pt>
                <c:pt idx="280">
                  <c:v>1523618.6242</c:v>
                </c:pt>
                <c:pt idx="281">
                  <c:v>1523618.6242</c:v>
                </c:pt>
                <c:pt idx="282">
                  <c:v>1523618.6242</c:v>
                </c:pt>
                <c:pt idx="283">
                  <c:v>1523618.6242</c:v>
                </c:pt>
                <c:pt idx="284">
                  <c:v>1523618.6242</c:v>
                </c:pt>
                <c:pt idx="285">
                  <c:v>1523618.6242</c:v>
                </c:pt>
                <c:pt idx="286">
                  <c:v>1523618.6242</c:v>
                </c:pt>
                <c:pt idx="287">
                  <c:v>1523618.6242</c:v>
                </c:pt>
                <c:pt idx="288">
                  <c:v>1523618.6242</c:v>
                </c:pt>
                <c:pt idx="289">
                  <c:v>1523618.6242</c:v>
                </c:pt>
                <c:pt idx="290">
                  <c:v>1523618.6242</c:v>
                </c:pt>
                <c:pt idx="291">
                  <c:v>1523618.6242</c:v>
                </c:pt>
                <c:pt idx="292">
                  <c:v>1523618.6242</c:v>
                </c:pt>
                <c:pt idx="293">
                  <c:v>1523618.6242</c:v>
                </c:pt>
                <c:pt idx="294">
                  <c:v>1523618.6242</c:v>
                </c:pt>
                <c:pt idx="295">
                  <c:v>1523618.6242</c:v>
                </c:pt>
                <c:pt idx="296">
                  <c:v>1523618.6242</c:v>
                </c:pt>
                <c:pt idx="297">
                  <c:v>1523618.6242</c:v>
                </c:pt>
                <c:pt idx="298">
                  <c:v>1523618.6242</c:v>
                </c:pt>
                <c:pt idx="299">
                  <c:v>1523618.6242</c:v>
                </c:pt>
                <c:pt idx="300">
                  <c:v>1523618.6242</c:v>
                </c:pt>
                <c:pt idx="301">
                  <c:v>1523618.6242</c:v>
                </c:pt>
                <c:pt idx="302">
                  <c:v>1523618.6242</c:v>
                </c:pt>
                <c:pt idx="303">
                  <c:v>1523618.6242</c:v>
                </c:pt>
                <c:pt idx="304">
                  <c:v>1523618.6242</c:v>
                </c:pt>
                <c:pt idx="305">
                  <c:v>1523618.6242</c:v>
                </c:pt>
                <c:pt idx="306">
                  <c:v>1523618.6242</c:v>
                </c:pt>
                <c:pt idx="307">
                  <c:v>1523618.6242</c:v>
                </c:pt>
                <c:pt idx="308">
                  <c:v>1523618.6242</c:v>
                </c:pt>
                <c:pt idx="309">
                  <c:v>1523618.6242</c:v>
                </c:pt>
                <c:pt idx="310">
                  <c:v>1523618.6242</c:v>
                </c:pt>
                <c:pt idx="311">
                  <c:v>1523618.6242</c:v>
                </c:pt>
                <c:pt idx="312">
                  <c:v>1523618.6242</c:v>
                </c:pt>
                <c:pt idx="313">
                  <c:v>1523618.6242</c:v>
                </c:pt>
                <c:pt idx="314">
                  <c:v>1523618.6242</c:v>
                </c:pt>
                <c:pt idx="315">
                  <c:v>1523618.6242</c:v>
                </c:pt>
                <c:pt idx="316">
                  <c:v>1523618.6242</c:v>
                </c:pt>
                <c:pt idx="317">
                  <c:v>1523618.6242</c:v>
                </c:pt>
                <c:pt idx="318">
                  <c:v>1523618.6242</c:v>
                </c:pt>
                <c:pt idx="319">
                  <c:v>1523618.6242</c:v>
                </c:pt>
                <c:pt idx="320">
                  <c:v>1523618.6242</c:v>
                </c:pt>
                <c:pt idx="321">
                  <c:v>1523618.6242</c:v>
                </c:pt>
                <c:pt idx="322">
                  <c:v>1523618.6242</c:v>
                </c:pt>
                <c:pt idx="323">
                  <c:v>1523618.6242</c:v>
                </c:pt>
                <c:pt idx="324">
                  <c:v>1523618.6242</c:v>
                </c:pt>
                <c:pt idx="325">
                  <c:v>1523618.6242</c:v>
                </c:pt>
                <c:pt idx="326">
                  <c:v>1523618.6242</c:v>
                </c:pt>
                <c:pt idx="327">
                  <c:v>1523618.6242</c:v>
                </c:pt>
                <c:pt idx="328">
                  <c:v>1523618.6242</c:v>
                </c:pt>
                <c:pt idx="329">
                  <c:v>1523618.6242</c:v>
                </c:pt>
                <c:pt idx="330">
                  <c:v>1523618.6242</c:v>
                </c:pt>
                <c:pt idx="331">
                  <c:v>1523618.6242</c:v>
                </c:pt>
                <c:pt idx="332">
                  <c:v>1523618.6242</c:v>
                </c:pt>
                <c:pt idx="333">
                  <c:v>1523618.6242</c:v>
                </c:pt>
                <c:pt idx="334">
                  <c:v>1523618.6242</c:v>
                </c:pt>
                <c:pt idx="335">
                  <c:v>1523618.6242</c:v>
                </c:pt>
                <c:pt idx="336">
                  <c:v>1523618.6242</c:v>
                </c:pt>
                <c:pt idx="337">
                  <c:v>1523618.6242</c:v>
                </c:pt>
                <c:pt idx="338">
                  <c:v>1523618.6242</c:v>
                </c:pt>
                <c:pt idx="339">
                  <c:v>1523618.6242</c:v>
                </c:pt>
                <c:pt idx="340">
                  <c:v>1523618.6242</c:v>
                </c:pt>
                <c:pt idx="341">
                  <c:v>1523618.6242</c:v>
                </c:pt>
                <c:pt idx="342">
                  <c:v>1523618.6242</c:v>
                </c:pt>
                <c:pt idx="343">
                  <c:v>1523618.6242</c:v>
                </c:pt>
                <c:pt idx="344">
                  <c:v>1523618.6242</c:v>
                </c:pt>
                <c:pt idx="345">
                  <c:v>1523618.6242</c:v>
                </c:pt>
                <c:pt idx="346">
                  <c:v>1523618.6242</c:v>
                </c:pt>
                <c:pt idx="347">
                  <c:v>1523618.6242</c:v>
                </c:pt>
                <c:pt idx="348">
                  <c:v>1523618.6242</c:v>
                </c:pt>
                <c:pt idx="349">
                  <c:v>1523618.6242</c:v>
                </c:pt>
                <c:pt idx="350">
                  <c:v>1523618.6242</c:v>
                </c:pt>
                <c:pt idx="351">
                  <c:v>1523618.6242</c:v>
                </c:pt>
                <c:pt idx="352">
                  <c:v>1523618.6242</c:v>
                </c:pt>
                <c:pt idx="353">
                  <c:v>1523618.6242</c:v>
                </c:pt>
                <c:pt idx="354">
                  <c:v>1523618.6242</c:v>
                </c:pt>
                <c:pt idx="355">
                  <c:v>1523618.6242</c:v>
                </c:pt>
                <c:pt idx="356">
                  <c:v>1523618.6242</c:v>
                </c:pt>
                <c:pt idx="357">
                  <c:v>1523618.6242</c:v>
                </c:pt>
                <c:pt idx="358">
                  <c:v>1523618.6242</c:v>
                </c:pt>
                <c:pt idx="359">
                  <c:v>1523618.6242</c:v>
                </c:pt>
                <c:pt idx="360">
                  <c:v>1523618.6242</c:v>
                </c:pt>
                <c:pt idx="361">
                  <c:v>1523618.6242</c:v>
                </c:pt>
                <c:pt idx="362">
                  <c:v>1523618.6242</c:v>
                </c:pt>
                <c:pt idx="363">
                  <c:v>1523618.6242</c:v>
                </c:pt>
                <c:pt idx="364">
                  <c:v>1523618.6242</c:v>
                </c:pt>
                <c:pt idx="365">
                  <c:v>1523618.6242</c:v>
                </c:pt>
                <c:pt idx="366">
                  <c:v>1523618.6242</c:v>
                </c:pt>
                <c:pt idx="367">
                  <c:v>1523618.6242</c:v>
                </c:pt>
                <c:pt idx="368">
                  <c:v>1523618.6242</c:v>
                </c:pt>
                <c:pt idx="369">
                  <c:v>1523618.6242</c:v>
                </c:pt>
                <c:pt idx="370">
                  <c:v>1523618.6242</c:v>
                </c:pt>
                <c:pt idx="371">
                  <c:v>1523618.6242</c:v>
                </c:pt>
                <c:pt idx="372">
                  <c:v>1523618.6242</c:v>
                </c:pt>
                <c:pt idx="373">
                  <c:v>1523618.6242</c:v>
                </c:pt>
                <c:pt idx="374">
                  <c:v>1523618.6242</c:v>
                </c:pt>
                <c:pt idx="375">
                  <c:v>1523618.6242</c:v>
                </c:pt>
                <c:pt idx="376">
                  <c:v>1523618.6242</c:v>
                </c:pt>
                <c:pt idx="377">
                  <c:v>1523618.6242</c:v>
                </c:pt>
                <c:pt idx="378">
                  <c:v>1523618.6242</c:v>
                </c:pt>
                <c:pt idx="379">
                  <c:v>1523618.6242</c:v>
                </c:pt>
                <c:pt idx="380">
                  <c:v>1523618.6242</c:v>
                </c:pt>
                <c:pt idx="381">
                  <c:v>1523618.6242</c:v>
                </c:pt>
                <c:pt idx="382">
                  <c:v>1523618.6242</c:v>
                </c:pt>
                <c:pt idx="383">
                  <c:v>1523618.6242</c:v>
                </c:pt>
                <c:pt idx="384">
                  <c:v>1523618.6242</c:v>
                </c:pt>
                <c:pt idx="385">
                  <c:v>1523618.6242</c:v>
                </c:pt>
                <c:pt idx="386">
                  <c:v>1523618.6242</c:v>
                </c:pt>
                <c:pt idx="387">
                  <c:v>1523618.6242</c:v>
                </c:pt>
                <c:pt idx="388">
                  <c:v>1523618.6242</c:v>
                </c:pt>
                <c:pt idx="389">
                  <c:v>1523618.6242</c:v>
                </c:pt>
                <c:pt idx="390">
                  <c:v>1523618.6242</c:v>
                </c:pt>
                <c:pt idx="391">
                  <c:v>1523618.6242</c:v>
                </c:pt>
                <c:pt idx="392">
                  <c:v>1523618.6242</c:v>
                </c:pt>
                <c:pt idx="393">
                  <c:v>1523475.8467000001</c:v>
                </c:pt>
                <c:pt idx="394">
                  <c:v>1556740.8467000001</c:v>
                </c:pt>
                <c:pt idx="395">
                  <c:v>1566845.8467000001</c:v>
                </c:pt>
                <c:pt idx="396">
                  <c:v>1564380.8467000001</c:v>
                </c:pt>
                <c:pt idx="397">
                  <c:v>1573400.8467000001</c:v>
                </c:pt>
                <c:pt idx="398">
                  <c:v>1544865.8467000001</c:v>
                </c:pt>
                <c:pt idx="399">
                  <c:v>1543795.8467000001</c:v>
                </c:pt>
                <c:pt idx="400">
                  <c:v>1551615.8467000001</c:v>
                </c:pt>
                <c:pt idx="401">
                  <c:v>1517210.8467000001</c:v>
                </c:pt>
                <c:pt idx="402">
                  <c:v>1520745.8467000001</c:v>
                </c:pt>
                <c:pt idx="403">
                  <c:v>1524985.8467000001</c:v>
                </c:pt>
                <c:pt idx="404">
                  <c:v>1553205.8467000001</c:v>
                </c:pt>
                <c:pt idx="405">
                  <c:v>1547295.8467000001</c:v>
                </c:pt>
                <c:pt idx="406">
                  <c:v>1537720.8467000001</c:v>
                </c:pt>
                <c:pt idx="407">
                  <c:v>1556395.8467000001</c:v>
                </c:pt>
                <c:pt idx="408">
                  <c:v>1555805.8467000001</c:v>
                </c:pt>
                <c:pt idx="409">
                  <c:v>1583245.8467000001</c:v>
                </c:pt>
                <c:pt idx="410">
                  <c:v>1587255.8467000001</c:v>
                </c:pt>
                <c:pt idx="411">
                  <c:v>1586185.8467000001</c:v>
                </c:pt>
                <c:pt idx="412">
                  <c:v>1558930.8467000001</c:v>
                </c:pt>
                <c:pt idx="413">
                  <c:v>1561975.8467000001</c:v>
                </c:pt>
                <c:pt idx="414">
                  <c:v>1576860.8467000001</c:v>
                </c:pt>
                <c:pt idx="415">
                  <c:v>1578205.8467000001</c:v>
                </c:pt>
                <c:pt idx="416">
                  <c:v>1552295.8467000001</c:v>
                </c:pt>
                <c:pt idx="417">
                  <c:v>1524595.8467000001</c:v>
                </c:pt>
                <c:pt idx="418">
                  <c:v>1526385.8467000001</c:v>
                </c:pt>
                <c:pt idx="419">
                  <c:v>1520615.8467000001</c:v>
                </c:pt>
                <c:pt idx="420">
                  <c:v>1524440.8467000001</c:v>
                </c:pt>
                <c:pt idx="421">
                  <c:v>1548215.8467000001</c:v>
                </c:pt>
                <c:pt idx="422">
                  <c:v>1536155.8467000001</c:v>
                </c:pt>
                <c:pt idx="423">
                  <c:v>1533105.8467000001</c:v>
                </c:pt>
                <c:pt idx="424">
                  <c:v>1563485.8467000001</c:v>
                </c:pt>
                <c:pt idx="425">
                  <c:v>1617815.8467000001</c:v>
                </c:pt>
                <c:pt idx="426">
                  <c:v>1662150.8467000001</c:v>
                </c:pt>
                <c:pt idx="427">
                  <c:v>1682065.8467000001</c:v>
                </c:pt>
                <c:pt idx="428">
                  <c:v>1704490.8467000001</c:v>
                </c:pt>
                <c:pt idx="429">
                  <c:v>1707770.8467000001</c:v>
                </c:pt>
                <c:pt idx="430">
                  <c:v>1759540.8467000001</c:v>
                </c:pt>
                <c:pt idx="431">
                  <c:v>1748780.8467000001</c:v>
                </c:pt>
                <c:pt idx="432">
                  <c:v>1783535.8467000001</c:v>
                </c:pt>
                <c:pt idx="433">
                  <c:v>1794140.8467000001</c:v>
                </c:pt>
                <c:pt idx="434">
                  <c:v>1783045.8467000001</c:v>
                </c:pt>
                <c:pt idx="435">
                  <c:v>1785030.8467000001</c:v>
                </c:pt>
                <c:pt idx="436">
                  <c:v>1836240.8467000001</c:v>
                </c:pt>
                <c:pt idx="437">
                  <c:v>1828740.8467000001</c:v>
                </c:pt>
                <c:pt idx="438">
                  <c:v>1797635.8467000001</c:v>
                </c:pt>
                <c:pt idx="439">
                  <c:v>1794545.8467000001</c:v>
                </c:pt>
                <c:pt idx="440">
                  <c:v>1785690.8467000001</c:v>
                </c:pt>
                <c:pt idx="441">
                  <c:v>1832200.8467000001</c:v>
                </c:pt>
                <c:pt idx="442">
                  <c:v>1827265.8467000001</c:v>
                </c:pt>
                <c:pt idx="443">
                  <c:v>1805870.8467000001</c:v>
                </c:pt>
                <c:pt idx="444">
                  <c:v>1835955.8467000001</c:v>
                </c:pt>
                <c:pt idx="445">
                  <c:v>1856100.8467000001</c:v>
                </c:pt>
                <c:pt idx="446">
                  <c:v>1869985.8467000001</c:v>
                </c:pt>
                <c:pt idx="447">
                  <c:v>1857675.8467000001</c:v>
                </c:pt>
                <c:pt idx="448">
                  <c:v>1845080.8912</c:v>
                </c:pt>
                <c:pt idx="449">
                  <c:v>1845080.8912</c:v>
                </c:pt>
                <c:pt idx="450">
                  <c:v>1845080.8912</c:v>
                </c:pt>
                <c:pt idx="451">
                  <c:v>1845080.8912</c:v>
                </c:pt>
                <c:pt idx="452">
                  <c:v>1845080.8912</c:v>
                </c:pt>
                <c:pt idx="453">
                  <c:v>1845080.8912</c:v>
                </c:pt>
                <c:pt idx="454">
                  <c:v>1845080.8912</c:v>
                </c:pt>
                <c:pt idx="455">
                  <c:v>1845080.8912</c:v>
                </c:pt>
                <c:pt idx="456">
                  <c:v>1845080.8912</c:v>
                </c:pt>
                <c:pt idx="457">
                  <c:v>1845080.8912</c:v>
                </c:pt>
                <c:pt idx="458">
                  <c:v>1845080.8912</c:v>
                </c:pt>
                <c:pt idx="459">
                  <c:v>1845080.8912</c:v>
                </c:pt>
                <c:pt idx="460">
                  <c:v>1845080.8912</c:v>
                </c:pt>
                <c:pt idx="461">
                  <c:v>1845080.8912</c:v>
                </c:pt>
                <c:pt idx="462">
                  <c:v>1845080.8912</c:v>
                </c:pt>
                <c:pt idx="463">
                  <c:v>1845080.8912</c:v>
                </c:pt>
                <c:pt idx="464">
                  <c:v>1845080.8912</c:v>
                </c:pt>
                <c:pt idx="465">
                  <c:v>1845080.8912</c:v>
                </c:pt>
                <c:pt idx="466">
                  <c:v>1845080.8912</c:v>
                </c:pt>
                <c:pt idx="467">
                  <c:v>1844920.8742</c:v>
                </c:pt>
                <c:pt idx="468">
                  <c:v>1830690.8742</c:v>
                </c:pt>
                <c:pt idx="469">
                  <c:v>1806435.8742</c:v>
                </c:pt>
                <c:pt idx="470">
                  <c:v>1825740.8742</c:v>
                </c:pt>
                <c:pt idx="471">
                  <c:v>1875280.8742</c:v>
                </c:pt>
                <c:pt idx="472">
                  <c:v>1879485.8742</c:v>
                </c:pt>
                <c:pt idx="473">
                  <c:v>1868408.4922</c:v>
                </c:pt>
                <c:pt idx="474">
                  <c:v>1868408.4922</c:v>
                </c:pt>
                <c:pt idx="475">
                  <c:v>1868408.4922</c:v>
                </c:pt>
                <c:pt idx="476">
                  <c:v>1868408.4922</c:v>
                </c:pt>
                <c:pt idx="477">
                  <c:v>1868408.4922</c:v>
                </c:pt>
                <c:pt idx="478">
                  <c:v>1868408.4922</c:v>
                </c:pt>
                <c:pt idx="479">
                  <c:v>1868408.4922</c:v>
                </c:pt>
                <c:pt idx="480">
                  <c:v>1868408.4922</c:v>
                </c:pt>
                <c:pt idx="481">
                  <c:v>1868408.4922</c:v>
                </c:pt>
                <c:pt idx="482">
                  <c:v>1868408.4922</c:v>
                </c:pt>
                <c:pt idx="483">
                  <c:v>1868408.4922</c:v>
                </c:pt>
                <c:pt idx="484">
                  <c:v>1868408.4922</c:v>
                </c:pt>
                <c:pt idx="485">
                  <c:v>1868408.4922</c:v>
                </c:pt>
                <c:pt idx="486">
                  <c:v>1868408.4922</c:v>
                </c:pt>
                <c:pt idx="487">
                  <c:v>1868408.4922</c:v>
                </c:pt>
                <c:pt idx="488">
                  <c:v>1868408.4922</c:v>
                </c:pt>
                <c:pt idx="489">
                  <c:v>1868408.4922</c:v>
                </c:pt>
                <c:pt idx="490">
                  <c:v>1868408.4922</c:v>
                </c:pt>
                <c:pt idx="491">
                  <c:v>1868408.4922</c:v>
                </c:pt>
                <c:pt idx="492">
                  <c:v>1868408.4922</c:v>
                </c:pt>
                <c:pt idx="493">
                  <c:v>1868408.4922</c:v>
                </c:pt>
                <c:pt idx="494">
                  <c:v>1868408.4922</c:v>
                </c:pt>
                <c:pt idx="495">
                  <c:v>1868230.0312000001</c:v>
                </c:pt>
                <c:pt idx="496">
                  <c:v>1870210.0312000001</c:v>
                </c:pt>
                <c:pt idx="497">
                  <c:v>1910530.0312000001</c:v>
                </c:pt>
                <c:pt idx="498">
                  <c:v>1850446.0312000001</c:v>
                </c:pt>
                <c:pt idx="499">
                  <c:v>1873696.0312000001</c:v>
                </c:pt>
                <c:pt idx="500">
                  <c:v>1856158.0312000001</c:v>
                </c:pt>
                <c:pt idx="501">
                  <c:v>1846810.0312000001</c:v>
                </c:pt>
                <c:pt idx="502">
                  <c:v>1870678.0312000001</c:v>
                </c:pt>
                <c:pt idx="503">
                  <c:v>1899502.0312000001</c:v>
                </c:pt>
                <c:pt idx="504">
                  <c:v>1905664.0312000001</c:v>
                </c:pt>
                <c:pt idx="505">
                  <c:v>1929526.0312000001</c:v>
                </c:pt>
                <c:pt idx="506">
                  <c:v>1929988.0312000001</c:v>
                </c:pt>
                <c:pt idx="507">
                  <c:v>1908190.0312000001</c:v>
                </c:pt>
                <c:pt idx="508">
                  <c:v>1946116.0312000001</c:v>
                </c:pt>
                <c:pt idx="509">
                  <c:v>1956196.0312000001</c:v>
                </c:pt>
                <c:pt idx="510">
                  <c:v>2015104.0312000001</c:v>
                </c:pt>
                <c:pt idx="511">
                  <c:v>2014222.0312000001</c:v>
                </c:pt>
                <c:pt idx="512">
                  <c:v>2032738.0312000001</c:v>
                </c:pt>
                <c:pt idx="513">
                  <c:v>2031166.0312000001</c:v>
                </c:pt>
                <c:pt idx="514">
                  <c:v>2010748.0312000001</c:v>
                </c:pt>
                <c:pt idx="515">
                  <c:v>2038366.0312000001</c:v>
                </c:pt>
                <c:pt idx="516">
                  <c:v>1981768.0312000001</c:v>
                </c:pt>
                <c:pt idx="517">
                  <c:v>1988464.0312000001</c:v>
                </c:pt>
                <c:pt idx="518">
                  <c:v>1998184.0312000001</c:v>
                </c:pt>
                <c:pt idx="519">
                  <c:v>2002192.0312000001</c:v>
                </c:pt>
                <c:pt idx="520">
                  <c:v>2027356.0312000001</c:v>
                </c:pt>
                <c:pt idx="521">
                  <c:v>2036554.0312000001</c:v>
                </c:pt>
                <c:pt idx="522">
                  <c:v>2029600.0312000001</c:v>
                </c:pt>
                <c:pt idx="523">
                  <c:v>2016652.0312000001</c:v>
                </c:pt>
                <c:pt idx="524">
                  <c:v>2046022.0312000001</c:v>
                </c:pt>
                <c:pt idx="525">
                  <c:v>2084326.0312000001</c:v>
                </c:pt>
                <c:pt idx="526">
                  <c:v>2086096.0312000001</c:v>
                </c:pt>
                <c:pt idx="527">
                  <c:v>2086936.0312000001</c:v>
                </c:pt>
                <c:pt idx="528">
                  <c:v>2051776.0312000001</c:v>
                </c:pt>
                <c:pt idx="529">
                  <c:v>2032048.0312000001</c:v>
                </c:pt>
                <c:pt idx="530">
                  <c:v>2041372.0312000001</c:v>
                </c:pt>
                <c:pt idx="531">
                  <c:v>2005996.0312000001</c:v>
                </c:pt>
                <c:pt idx="532">
                  <c:v>2032540.0312000001</c:v>
                </c:pt>
                <c:pt idx="533">
                  <c:v>2001880.0312000001</c:v>
                </c:pt>
                <c:pt idx="534">
                  <c:v>2013034.0312000001</c:v>
                </c:pt>
                <c:pt idx="535">
                  <c:v>2007886.0312000001</c:v>
                </c:pt>
                <c:pt idx="536">
                  <c:v>2017396.0312000001</c:v>
                </c:pt>
                <c:pt idx="537">
                  <c:v>2042578.0312000001</c:v>
                </c:pt>
                <c:pt idx="538">
                  <c:v>2034436.0312000001</c:v>
                </c:pt>
                <c:pt idx="539">
                  <c:v>2060308.0312000001</c:v>
                </c:pt>
                <c:pt idx="540">
                  <c:v>2057962.0312000001</c:v>
                </c:pt>
                <c:pt idx="541">
                  <c:v>2038408.0312000001</c:v>
                </c:pt>
                <c:pt idx="542">
                  <c:v>2037268.0312000001</c:v>
                </c:pt>
                <c:pt idx="543">
                  <c:v>2017594.0312000001</c:v>
                </c:pt>
                <c:pt idx="544">
                  <c:v>2047258.0312000001</c:v>
                </c:pt>
                <c:pt idx="545">
                  <c:v>2070262.0312000001</c:v>
                </c:pt>
                <c:pt idx="546">
                  <c:v>2078272.0312000001</c:v>
                </c:pt>
                <c:pt idx="547">
                  <c:v>2095434.8296000001</c:v>
                </c:pt>
                <c:pt idx="548">
                  <c:v>2095434.8296000001</c:v>
                </c:pt>
                <c:pt idx="549">
                  <c:v>2095434.8296000001</c:v>
                </c:pt>
                <c:pt idx="550">
                  <c:v>2095434.8296000001</c:v>
                </c:pt>
                <c:pt idx="551">
                  <c:v>2095434.8296000001</c:v>
                </c:pt>
                <c:pt idx="552">
                  <c:v>2095434.8296000001</c:v>
                </c:pt>
                <c:pt idx="553">
                  <c:v>2095434.8296000001</c:v>
                </c:pt>
                <c:pt idx="554">
                  <c:v>2095434.8296000001</c:v>
                </c:pt>
                <c:pt idx="555">
                  <c:v>2095434.8296000001</c:v>
                </c:pt>
                <c:pt idx="556">
                  <c:v>2095434.8296000001</c:v>
                </c:pt>
                <c:pt idx="557">
                  <c:v>2095434.8296000001</c:v>
                </c:pt>
                <c:pt idx="558">
                  <c:v>2095434.8296000001</c:v>
                </c:pt>
                <c:pt idx="559">
                  <c:v>2095434.8296000001</c:v>
                </c:pt>
                <c:pt idx="560">
                  <c:v>2095434.8296000001</c:v>
                </c:pt>
                <c:pt idx="561">
                  <c:v>2095434.8296000001</c:v>
                </c:pt>
                <c:pt idx="562">
                  <c:v>2095434.8296000001</c:v>
                </c:pt>
                <c:pt idx="563">
                  <c:v>2095434.8296000001</c:v>
                </c:pt>
                <c:pt idx="564">
                  <c:v>2095434.8296000001</c:v>
                </c:pt>
                <c:pt idx="565">
                  <c:v>2095434.8296000001</c:v>
                </c:pt>
                <c:pt idx="566">
                  <c:v>2095434.8296000001</c:v>
                </c:pt>
                <c:pt idx="567">
                  <c:v>2095434.8296000001</c:v>
                </c:pt>
                <c:pt idx="568">
                  <c:v>2095434.8296000001</c:v>
                </c:pt>
                <c:pt idx="569">
                  <c:v>2095434.8296000001</c:v>
                </c:pt>
                <c:pt idx="570">
                  <c:v>2095434.8296000001</c:v>
                </c:pt>
                <c:pt idx="571">
                  <c:v>2095434.8296000001</c:v>
                </c:pt>
                <c:pt idx="572">
                  <c:v>2095434.8296000001</c:v>
                </c:pt>
                <c:pt idx="573">
                  <c:v>2095434.8296000001</c:v>
                </c:pt>
                <c:pt idx="574">
                  <c:v>2095434.8296000001</c:v>
                </c:pt>
                <c:pt idx="575">
                  <c:v>2095434.8296000001</c:v>
                </c:pt>
                <c:pt idx="576">
                  <c:v>2095247.5336</c:v>
                </c:pt>
                <c:pt idx="577">
                  <c:v>2036075.5336</c:v>
                </c:pt>
                <c:pt idx="578">
                  <c:v>2038019.5336</c:v>
                </c:pt>
                <c:pt idx="579">
                  <c:v>2016491.5336</c:v>
                </c:pt>
                <c:pt idx="580">
                  <c:v>2009315.5336</c:v>
                </c:pt>
                <c:pt idx="581">
                  <c:v>2000273.5336</c:v>
                </c:pt>
                <c:pt idx="582">
                  <c:v>1994993.5336</c:v>
                </c:pt>
                <c:pt idx="583">
                  <c:v>2023223.5336</c:v>
                </c:pt>
                <c:pt idx="584">
                  <c:v>2024789.5336</c:v>
                </c:pt>
                <c:pt idx="585">
                  <c:v>1995713.5336</c:v>
                </c:pt>
                <c:pt idx="586">
                  <c:v>2014097.5336</c:v>
                </c:pt>
                <c:pt idx="587">
                  <c:v>2024843.5336</c:v>
                </c:pt>
                <c:pt idx="588">
                  <c:v>2027477.5336</c:v>
                </c:pt>
                <c:pt idx="589">
                  <c:v>1993421.5336</c:v>
                </c:pt>
                <c:pt idx="590">
                  <c:v>1999445.5336</c:v>
                </c:pt>
                <c:pt idx="591">
                  <c:v>1992497.5336</c:v>
                </c:pt>
                <c:pt idx="592">
                  <c:v>2018423.5336</c:v>
                </c:pt>
                <c:pt idx="593">
                  <c:v>2000159.5336</c:v>
                </c:pt>
                <c:pt idx="594">
                  <c:v>1972835.5336</c:v>
                </c:pt>
                <c:pt idx="595">
                  <c:v>1957583.5336</c:v>
                </c:pt>
                <c:pt idx="596">
                  <c:v>1947227.5336</c:v>
                </c:pt>
                <c:pt idx="597">
                  <c:v>1967729.5336</c:v>
                </c:pt>
                <c:pt idx="598">
                  <c:v>1967435.5336</c:v>
                </c:pt>
                <c:pt idx="599">
                  <c:v>1996865.5336</c:v>
                </c:pt>
                <c:pt idx="600">
                  <c:v>2038769.5336</c:v>
                </c:pt>
                <c:pt idx="601">
                  <c:v>2044181.5336</c:v>
                </c:pt>
                <c:pt idx="602">
                  <c:v>2047325.5336</c:v>
                </c:pt>
                <c:pt idx="603">
                  <c:v>2022389.5336</c:v>
                </c:pt>
                <c:pt idx="604">
                  <c:v>2048741.5336</c:v>
                </c:pt>
                <c:pt idx="605">
                  <c:v>2052137.5336</c:v>
                </c:pt>
                <c:pt idx="606">
                  <c:v>2095475.5336</c:v>
                </c:pt>
                <c:pt idx="607">
                  <c:v>2095787.5336</c:v>
                </c:pt>
                <c:pt idx="608">
                  <c:v>2090513.5336</c:v>
                </c:pt>
                <c:pt idx="609">
                  <c:v>2083295.5336</c:v>
                </c:pt>
                <c:pt idx="610">
                  <c:v>2087795.5336</c:v>
                </c:pt>
                <c:pt idx="611">
                  <c:v>2090213.5336</c:v>
                </c:pt>
                <c:pt idx="612">
                  <c:v>2056433.5336</c:v>
                </c:pt>
                <c:pt idx="613">
                  <c:v>2086037.5336</c:v>
                </c:pt>
                <c:pt idx="614">
                  <c:v>2091737.5336</c:v>
                </c:pt>
                <c:pt idx="615">
                  <c:v>2099621.5336000002</c:v>
                </c:pt>
                <c:pt idx="616">
                  <c:v>2095847.5336</c:v>
                </c:pt>
                <c:pt idx="617">
                  <c:v>2079179.8258</c:v>
                </c:pt>
                <c:pt idx="618">
                  <c:v>2079179.8258</c:v>
                </c:pt>
                <c:pt idx="619">
                  <c:v>2079179.8258</c:v>
                </c:pt>
                <c:pt idx="620">
                  <c:v>2079179.8258</c:v>
                </c:pt>
                <c:pt idx="621">
                  <c:v>2079179.8258</c:v>
                </c:pt>
                <c:pt idx="622">
                  <c:v>2079179.8258</c:v>
                </c:pt>
                <c:pt idx="623">
                  <c:v>2079179.8258</c:v>
                </c:pt>
                <c:pt idx="624">
                  <c:v>2079179.8258</c:v>
                </c:pt>
                <c:pt idx="625">
                  <c:v>2079179.8258</c:v>
                </c:pt>
                <c:pt idx="626">
                  <c:v>2079179.8258</c:v>
                </c:pt>
                <c:pt idx="627">
                  <c:v>2079179.8258</c:v>
                </c:pt>
                <c:pt idx="628">
                  <c:v>2079179.8258</c:v>
                </c:pt>
                <c:pt idx="629">
                  <c:v>2079179.8258</c:v>
                </c:pt>
                <c:pt idx="630">
                  <c:v>2079179.8258</c:v>
                </c:pt>
                <c:pt idx="631">
                  <c:v>2079179.8258</c:v>
                </c:pt>
                <c:pt idx="632">
                  <c:v>2079179.8258</c:v>
                </c:pt>
                <c:pt idx="633">
                  <c:v>2079179.8258</c:v>
                </c:pt>
                <c:pt idx="634">
                  <c:v>2079179.8258</c:v>
                </c:pt>
                <c:pt idx="635">
                  <c:v>2079179.8258</c:v>
                </c:pt>
                <c:pt idx="636">
                  <c:v>2079179.8258</c:v>
                </c:pt>
                <c:pt idx="637">
                  <c:v>2079179.8258</c:v>
                </c:pt>
                <c:pt idx="638">
                  <c:v>2079179.8258</c:v>
                </c:pt>
                <c:pt idx="639">
                  <c:v>2079179.8258</c:v>
                </c:pt>
                <c:pt idx="640">
                  <c:v>2079179.8258</c:v>
                </c:pt>
                <c:pt idx="641">
                  <c:v>2079179.8258</c:v>
                </c:pt>
                <c:pt idx="642">
                  <c:v>2079179.8258</c:v>
                </c:pt>
                <c:pt idx="643">
                  <c:v>2079179.8258</c:v>
                </c:pt>
                <c:pt idx="644">
                  <c:v>2079179.8258</c:v>
                </c:pt>
                <c:pt idx="645">
                  <c:v>2079179.8258</c:v>
                </c:pt>
                <c:pt idx="646">
                  <c:v>2079179.8258</c:v>
                </c:pt>
                <c:pt idx="647">
                  <c:v>2079179.8258</c:v>
                </c:pt>
                <c:pt idx="648">
                  <c:v>2079179.8258</c:v>
                </c:pt>
                <c:pt idx="649">
                  <c:v>2079179.8258</c:v>
                </c:pt>
                <c:pt idx="650">
                  <c:v>2079179.8258</c:v>
                </c:pt>
                <c:pt idx="651">
                  <c:v>2079179.8258</c:v>
                </c:pt>
                <c:pt idx="652">
                  <c:v>2079179.8258</c:v>
                </c:pt>
                <c:pt idx="653">
                  <c:v>2079179.8258</c:v>
                </c:pt>
                <c:pt idx="654">
                  <c:v>2079179.8258</c:v>
                </c:pt>
                <c:pt idx="655">
                  <c:v>2079179.8258</c:v>
                </c:pt>
                <c:pt idx="656">
                  <c:v>2079179.8258</c:v>
                </c:pt>
                <c:pt idx="657">
                  <c:v>2078988.5081</c:v>
                </c:pt>
                <c:pt idx="658">
                  <c:v>2076146.5081</c:v>
                </c:pt>
                <c:pt idx="659">
                  <c:v>2079604.5081</c:v>
                </c:pt>
                <c:pt idx="660">
                  <c:v>2041300.5081</c:v>
                </c:pt>
                <c:pt idx="661">
                  <c:v>2048706.5081</c:v>
                </c:pt>
                <c:pt idx="662">
                  <c:v>2105518.5081000002</c:v>
                </c:pt>
                <c:pt idx="663">
                  <c:v>2045794.5081</c:v>
                </c:pt>
                <c:pt idx="664">
                  <c:v>2034447.5081</c:v>
                </c:pt>
                <c:pt idx="665">
                  <c:v>1993455.5081</c:v>
                </c:pt>
                <c:pt idx="666">
                  <c:v>2012327.5081</c:v>
                </c:pt>
                <c:pt idx="667">
                  <c:v>1993224.5081</c:v>
                </c:pt>
                <c:pt idx="668">
                  <c:v>1977544.5081</c:v>
                </c:pt>
                <c:pt idx="669">
                  <c:v>1972756.5081</c:v>
                </c:pt>
                <c:pt idx="670">
                  <c:v>1955767.5081</c:v>
                </c:pt>
                <c:pt idx="671">
                  <c:v>1952204.5081</c:v>
                </c:pt>
                <c:pt idx="672">
                  <c:v>2017143.5081</c:v>
                </c:pt>
                <c:pt idx="673">
                  <c:v>2029631.5081</c:v>
                </c:pt>
                <c:pt idx="674">
                  <c:v>2023457.5081</c:v>
                </c:pt>
                <c:pt idx="675">
                  <c:v>2032676.5081</c:v>
                </c:pt>
                <c:pt idx="676">
                  <c:v>1980358.5081</c:v>
                </c:pt>
                <c:pt idx="677">
                  <c:v>1973967.5081</c:v>
                </c:pt>
                <c:pt idx="678">
                  <c:v>1930182.5081</c:v>
                </c:pt>
                <c:pt idx="679">
                  <c:v>1921327.5081</c:v>
                </c:pt>
                <c:pt idx="680">
                  <c:v>1969480.5081</c:v>
                </c:pt>
                <c:pt idx="681">
                  <c:v>2003612.5081</c:v>
                </c:pt>
                <c:pt idx="682">
                  <c:v>2021966.5081</c:v>
                </c:pt>
                <c:pt idx="683">
                  <c:v>2026047.5081</c:v>
                </c:pt>
                <c:pt idx="684">
                  <c:v>2061935.8766999999</c:v>
                </c:pt>
                <c:pt idx="685">
                  <c:v>2061935.8766999999</c:v>
                </c:pt>
                <c:pt idx="686">
                  <c:v>2061935.8766999999</c:v>
                </c:pt>
                <c:pt idx="687">
                  <c:v>2061935.8766999999</c:v>
                </c:pt>
                <c:pt idx="688">
                  <c:v>2061935.8766999999</c:v>
                </c:pt>
                <c:pt idx="689">
                  <c:v>2061935.8766999999</c:v>
                </c:pt>
                <c:pt idx="690">
                  <c:v>2061935.8766999999</c:v>
                </c:pt>
                <c:pt idx="691">
                  <c:v>2061935.8766999999</c:v>
                </c:pt>
                <c:pt idx="692">
                  <c:v>2061935.8766999999</c:v>
                </c:pt>
                <c:pt idx="693">
                  <c:v>2061935.8766999999</c:v>
                </c:pt>
                <c:pt idx="694">
                  <c:v>2061935.8766999999</c:v>
                </c:pt>
                <c:pt idx="695">
                  <c:v>2061935.8766999999</c:v>
                </c:pt>
                <c:pt idx="696">
                  <c:v>2061935.8766999999</c:v>
                </c:pt>
                <c:pt idx="697">
                  <c:v>2061935.8766999999</c:v>
                </c:pt>
                <c:pt idx="698">
                  <c:v>2061935.8766999999</c:v>
                </c:pt>
                <c:pt idx="699">
                  <c:v>2061935.8766999999</c:v>
                </c:pt>
                <c:pt idx="700">
                  <c:v>2061935.8766999999</c:v>
                </c:pt>
                <c:pt idx="701">
                  <c:v>2061935.8766999999</c:v>
                </c:pt>
                <c:pt idx="702">
                  <c:v>2061935.8766999999</c:v>
                </c:pt>
                <c:pt idx="703">
                  <c:v>2061935.8766999999</c:v>
                </c:pt>
                <c:pt idx="704">
                  <c:v>2061935.8766999999</c:v>
                </c:pt>
                <c:pt idx="705">
                  <c:v>2061935.8766999999</c:v>
                </c:pt>
                <c:pt idx="706">
                  <c:v>2061935.8766999999</c:v>
                </c:pt>
                <c:pt idx="707">
                  <c:v>2061935.8766999999</c:v>
                </c:pt>
                <c:pt idx="708">
                  <c:v>2061935.8766999999</c:v>
                </c:pt>
                <c:pt idx="709">
                  <c:v>2061935.8766999999</c:v>
                </c:pt>
                <c:pt idx="710">
                  <c:v>2061935.8766999999</c:v>
                </c:pt>
                <c:pt idx="711">
                  <c:v>2061935.8766999999</c:v>
                </c:pt>
                <c:pt idx="712">
                  <c:v>2061935.8766999999</c:v>
                </c:pt>
                <c:pt idx="713">
                  <c:v>2061935.8766999999</c:v>
                </c:pt>
                <c:pt idx="714">
                  <c:v>2061935.8766999999</c:v>
                </c:pt>
                <c:pt idx="715">
                  <c:v>2061737.6614999999</c:v>
                </c:pt>
                <c:pt idx="716">
                  <c:v>2017129.6614999999</c:v>
                </c:pt>
                <c:pt idx="717">
                  <c:v>1997569.6614999999</c:v>
                </c:pt>
                <c:pt idx="718">
                  <c:v>1952217.6614999999</c:v>
                </c:pt>
                <c:pt idx="719">
                  <c:v>1991689.6614999999</c:v>
                </c:pt>
                <c:pt idx="720">
                  <c:v>1987113.6614999999</c:v>
                </c:pt>
                <c:pt idx="721">
                  <c:v>1981241.6614999999</c:v>
                </c:pt>
                <c:pt idx="722">
                  <c:v>1950873.6614999999</c:v>
                </c:pt>
                <c:pt idx="723">
                  <c:v>1952657.6614999999</c:v>
                </c:pt>
                <c:pt idx="724">
                  <c:v>1966913.6614999999</c:v>
                </c:pt>
                <c:pt idx="725">
                  <c:v>1948145.6614999999</c:v>
                </c:pt>
                <c:pt idx="726">
                  <c:v>1923617.6614999999</c:v>
                </c:pt>
                <c:pt idx="727">
                  <c:v>1925929.6614999999</c:v>
                </c:pt>
                <c:pt idx="728">
                  <c:v>1928673.6614999999</c:v>
                </c:pt>
                <c:pt idx="729">
                  <c:v>1956177.6614999999</c:v>
                </c:pt>
                <c:pt idx="730">
                  <c:v>1918585.6614999999</c:v>
                </c:pt>
                <c:pt idx="731">
                  <c:v>1900697.6614999999</c:v>
                </c:pt>
                <c:pt idx="732">
                  <c:v>1912065.6614999999</c:v>
                </c:pt>
                <c:pt idx="733">
                  <c:v>1974441.6614999999</c:v>
                </c:pt>
                <c:pt idx="734">
                  <c:v>2037465.6614999999</c:v>
                </c:pt>
                <c:pt idx="735">
                  <c:v>2028073.6614999999</c:v>
                </c:pt>
                <c:pt idx="736">
                  <c:v>2027761.6614999999</c:v>
                </c:pt>
                <c:pt idx="737">
                  <c:v>1995049.6614999999</c:v>
                </c:pt>
                <c:pt idx="738">
                  <c:v>1956105.6614999999</c:v>
                </c:pt>
                <c:pt idx="739">
                  <c:v>2048065.6614999999</c:v>
                </c:pt>
                <c:pt idx="740">
                  <c:v>2017337.6614999999</c:v>
                </c:pt>
                <c:pt idx="741">
                  <c:v>2054265.6614999999</c:v>
                </c:pt>
                <c:pt idx="742">
                  <c:v>2082857.6614999999</c:v>
                </c:pt>
                <c:pt idx="743">
                  <c:v>2048161.6614999999</c:v>
                </c:pt>
                <c:pt idx="744">
                  <c:v>2050993.6614999999</c:v>
                </c:pt>
                <c:pt idx="745">
                  <c:v>2022777.6614999999</c:v>
                </c:pt>
                <c:pt idx="746">
                  <c:v>2068577.6614999999</c:v>
                </c:pt>
                <c:pt idx="747">
                  <c:v>2084457.6614999999</c:v>
                </c:pt>
                <c:pt idx="748">
                  <c:v>2083041.6614999999</c:v>
                </c:pt>
                <c:pt idx="749">
                  <c:v>2045945.6614999999</c:v>
                </c:pt>
                <c:pt idx="750">
                  <c:v>2102177.661499999</c:v>
                </c:pt>
                <c:pt idx="751">
                  <c:v>2102767.3231000002</c:v>
                </c:pt>
                <c:pt idx="752">
                  <c:v>2102767.3231000002</c:v>
                </c:pt>
                <c:pt idx="753">
                  <c:v>2102767.3231000002</c:v>
                </c:pt>
                <c:pt idx="754">
                  <c:v>2102767.3231000002</c:v>
                </c:pt>
                <c:pt idx="755">
                  <c:v>2102767.3231000002</c:v>
                </c:pt>
                <c:pt idx="756">
                  <c:v>2102767.3231000002</c:v>
                </c:pt>
                <c:pt idx="757">
                  <c:v>2102767.3231000002</c:v>
                </c:pt>
                <c:pt idx="758">
                  <c:v>2102767.3231000002</c:v>
                </c:pt>
                <c:pt idx="759">
                  <c:v>2102767.3231000002</c:v>
                </c:pt>
                <c:pt idx="760">
                  <c:v>2102767.3231000002</c:v>
                </c:pt>
                <c:pt idx="761">
                  <c:v>2102767.3231000002</c:v>
                </c:pt>
                <c:pt idx="762">
                  <c:v>2102767.3231000002</c:v>
                </c:pt>
                <c:pt idx="763">
                  <c:v>2102767.3231000002</c:v>
                </c:pt>
                <c:pt idx="764">
                  <c:v>2102767.3231000002</c:v>
                </c:pt>
                <c:pt idx="765">
                  <c:v>2102767.3231000002</c:v>
                </c:pt>
                <c:pt idx="766">
                  <c:v>2102767.3231000002</c:v>
                </c:pt>
                <c:pt idx="767">
                  <c:v>2102767.3231000002</c:v>
                </c:pt>
                <c:pt idx="768">
                  <c:v>2102767.3231000002</c:v>
                </c:pt>
                <c:pt idx="769">
                  <c:v>2102767.3231000002</c:v>
                </c:pt>
                <c:pt idx="770">
                  <c:v>2102767.3231000002</c:v>
                </c:pt>
                <c:pt idx="771">
                  <c:v>2102767.3231000002</c:v>
                </c:pt>
                <c:pt idx="772">
                  <c:v>2102767.3231000002</c:v>
                </c:pt>
                <c:pt idx="773">
                  <c:v>2102767.3231000002</c:v>
                </c:pt>
                <c:pt idx="774">
                  <c:v>2102767.3231000002</c:v>
                </c:pt>
                <c:pt idx="775">
                  <c:v>2102767.3231000002</c:v>
                </c:pt>
                <c:pt idx="776">
                  <c:v>2102767.3231000002</c:v>
                </c:pt>
                <c:pt idx="777">
                  <c:v>2102767.3231000002</c:v>
                </c:pt>
                <c:pt idx="778">
                  <c:v>2102767.3231000002</c:v>
                </c:pt>
                <c:pt idx="779">
                  <c:v>2102767.3231000002</c:v>
                </c:pt>
                <c:pt idx="780">
                  <c:v>2102767.3231000002</c:v>
                </c:pt>
                <c:pt idx="781">
                  <c:v>2102767.3231000002</c:v>
                </c:pt>
                <c:pt idx="782">
                  <c:v>2102767.3231000002</c:v>
                </c:pt>
                <c:pt idx="783">
                  <c:v>2102767.3231000002</c:v>
                </c:pt>
                <c:pt idx="784">
                  <c:v>2102767.3231000002</c:v>
                </c:pt>
                <c:pt idx="785">
                  <c:v>2102569.3311000001</c:v>
                </c:pt>
                <c:pt idx="786">
                  <c:v>2077145.3311000001</c:v>
                </c:pt>
                <c:pt idx="787">
                  <c:v>2086569.3311000001</c:v>
                </c:pt>
                <c:pt idx="788">
                  <c:v>2132913.3311000001</c:v>
                </c:pt>
                <c:pt idx="789">
                  <c:v>2138513.3311000001</c:v>
                </c:pt>
                <c:pt idx="790">
                  <c:v>2118769.3311000001</c:v>
                </c:pt>
                <c:pt idx="791">
                  <c:v>2138481.3311000001</c:v>
                </c:pt>
                <c:pt idx="792">
                  <c:v>2138681.3311000001</c:v>
                </c:pt>
                <c:pt idx="793">
                  <c:v>2179001.3311000001</c:v>
                </c:pt>
                <c:pt idx="794">
                  <c:v>2187009.3310999991</c:v>
                </c:pt>
                <c:pt idx="795">
                  <c:v>2181881.3311000001</c:v>
                </c:pt>
                <c:pt idx="796">
                  <c:v>2156153.3311000001</c:v>
                </c:pt>
                <c:pt idx="797">
                  <c:v>2202577.3311000001</c:v>
                </c:pt>
                <c:pt idx="798">
                  <c:v>2199497.3311000001</c:v>
                </c:pt>
                <c:pt idx="799">
                  <c:v>2224121.3311000001</c:v>
                </c:pt>
                <c:pt idx="800">
                  <c:v>2207481.3311000001</c:v>
                </c:pt>
                <c:pt idx="801">
                  <c:v>2206545.3311000001</c:v>
                </c:pt>
                <c:pt idx="802">
                  <c:v>2223441.3311000001</c:v>
                </c:pt>
                <c:pt idx="803">
                  <c:v>2227841.3311000001</c:v>
                </c:pt>
                <c:pt idx="804">
                  <c:v>2223577.3311000001</c:v>
                </c:pt>
                <c:pt idx="805">
                  <c:v>2269441.3311000001</c:v>
                </c:pt>
                <c:pt idx="806">
                  <c:v>2275865.3311000001</c:v>
                </c:pt>
                <c:pt idx="807">
                  <c:v>2295353.3311000001</c:v>
                </c:pt>
                <c:pt idx="808">
                  <c:v>2296873.3311000001</c:v>
                </c:pt>
                <c:pt idx="809">
                  <c:v>2289945.3311000001</c:v>
                </c:pt>
                <c:pt idx="810">
                  <c:v>2248657.3311000001</c:v>
                </c:pt>
                <c:pt idx="811">
                  <c:v>2248417.3311000001</c:v>
                </c:pt>
                <c:pt idx="812">
                  <c:v>2232185.3311000001</c:v>
                </c:pt>
                <c:pt idx="813">
                  <c:v>2215073.3311000001</c:v>
                </c:pt>
                <c:pt idx="814">
                  <c:v>2216545.3311000001</c:v>
                </c:pt>
                <c:pt idx="815">
                  <c:v>2182369.3311000001</c:v>
                </c:pt>
                <c:pt idx="816">
                  <c:v>2213801.3311000001</c:v>
                </c:pt>
                <c:pt idx="817">
                  <c:v>2181833.3311000001</c:v>
                </c:pt>
                <c:pt idx="818">
                  <c:v>2192433.3311000001</c:v>
                </c:pt>
                <c:pt idx="819">
                  <c:v>2224673.3311000001</c:v>
                </c:pt>
                <c:pt idx="820">
                  <c:v>2216145.3311000001</c:v>
                </c:pt>
                <c:pt idx="821">
                  <c:v>2198857.3311000001</c:v>
                </c:pt>
                <c:pt idx="822">
                  <c:v>2181129.3311000001</c:v>
                </c:pt>
                <c:pt idx="823">
                  <c:v>2214401.3311000001</c:v>
                </c:pt>
                <c:pt idx="824">
                  <c:v>2243329.3311000001</c:v>
                </c:pt>
                <c:pt idx="825">
                  <c:v>2236457.3311000001</c:v>
                </c:pt>
                <c:pt idx="826">
                  <c:v>2228281.3311000001</c:v>
                </c:pt>
                <c:pt idx="827">
                  <c:v>2229049.3311000001</c:v>
                </c:pt>
                <c:pt idx="828">
                  <c:v>2169668.6087000002</c:v>
                </c:pt>
                <c:pt idx="829">
                  <c:v>2169668.6087000002</c:v>
                </c:pt>
                <c:pt idx="830">
                  <c:v>2169668.6087000002</c:v>
                </c:pt>
                <c:pt idx="831">
                  <c:v>2169668.6087000002</c:v>
                </c:pt>
                <c:pt idx="832">
                  <c:v>2169668.6087000002</c:v>
                </c:pt>
                <c:pt idx="833">
                  <c:v>2169668.6087000002</c:v>
                </c:pt>
                <c:pt idx="834">
                  <c:v>2169668.6087000002</c:v>
                </c:pt>
                <c:pt idx="835">
                  <c:v>2169668.6087000002</c:v>
                </c:pt>
                <c:pt idx="836">
                  <c:v>2169668.6087000002</c:v>
                </c:pt>
                <c:pt idx="837">
                  <c:v>2169668.6087000002</c:v>
                </c:pt>
                <c:pt idx="838">
                  <c:v>2169668.6087000002</c:v>
                </c:pt>
                <c:pt idx="839">
                  <c:v>2169668.6087000002</c:v>
                </c:pt>
                <c:pt idx="840">
                  <c:v>2169668.6087000002</c:v>
                </c:pt>
                <c:pt idx="841">
                  <c:v>2169668.6087000002</c:v>
                </c:pt>
                <c:pt idx="842">
                  <c:v>2169668.6087000002</c:v>
                </c:pt>
                <c:pt idx="843">
                  <c:v>2169668.6087000002</c:v>
                </c:pt>
                <c:pt idx="844">
                  <c:v>2169668.6087000002</c:v>
                </c:pt>
                <c:pt idx="845">
                  <c:v>2169668.6087000002</c:v>
                </c:pt>
                <c:pt idx="846">
                  <c:v>2169668.6087000002</c:v>
                </c:pt>
                <c:pt idx="847">
                  <c:v>2169668.6087000002</c:v>
                </c:pt>
                <c:pt idx="848">
                  <c:v>2169668.6087000002</c:v>
                </c:pt>
                <c:pt idx="849">
                  <c:v>2169668.6087000002</c:v>
                </c:pt>
                <c:pt idx="850">
                  <c:v>2169668.6087000002</c:v>
                </c:pt>
                <c:pt idx="851">
                  <c:v>2169668.6087000002</c:v>
                </c:pt>
                <c:pt idx="852">
                  <c:v>2169668.6087000002</c:v>
                </c:pt>
                <c:pt idx="853">
                  <c:v>2169668.6087000002</c:v>
                </c:pt>
                <c:pt idx="854">
                  <c:v>2169668.6087000002</c:v>
                </c:pt>
                <c:pt idx="855">
                  <c:v>2169668.6087000002</c:v>
                </c:pt>
                <c:pt idx="856">
                  <c:v>2169668.6087000002</c:v>
                </c:pt>
                <c:pt idx="857">
                  <c:v>2169668.6087000002</c:v>
                </c:pt>
                <c:pt idx="858">
                  <c:v>2169668.6087000002</c:v>
                </c:pt>
                <c:pt idx="859">
                  <c:v>2169668.6087000002</c:v>
                </c:pt>
                <c:pt idx="860">
                  <c:v>2169668.6087000002</c:v>
                </c:pt>
                <c:pt idx="861">
                  <c:v>2169668.6087000002</c:v>
                </c:pt>
                <c:pt idx="862">
                  <c:v>2169668.6087000002</c:v>
                </c:pt>
                <c:pt idx="863">
                  <c:v>2169668.6087000002</c:v>
                </c:pt>
                <c:pt idx="864">
                  <c:v>2169668.6087000002</c:v>
                </c:pt>
                <c:pt idx="865">
                  <c:v>2169668.6087000002</c:v>
                </c:pt>
                <c:pt idx="866">
                  <c:v>2169457.1888000001</c:v>
                </c:pt>
                <c:pt idx="867">
                  <c:v>2157469.1888000001</c:v>
                </c:pt>
                <c:pt idx="868">
                  <c:v>2154886.1888000001</c:v>
                </c:pt>
                <c:pt idx="869">
                  <c:v>2178043.1888000001</c:v>
                </c:pt>
                <c:pt idx="870">
                  <c:v>2156650.1888000001</c:v>
                </c:pt>
                <c:pt idx="871">
                  <c:v>2173624.1888000001</c:v>
                </c:pt>
                <c:pt idx="872">
                  <c:v>2202307.1888000001</c:v>
                </c:pt>
                <c:pt idx="873">
                  <c:v>2205241.1888000001</c:v>
                </c:pt>
                <c:pt idx="874">
                  <c:v>2206078.1888000001</c:v>
                </c:pt>
                <c:pt idx="875">
                  <c:v>2225788.1888000001</c:v>
                </c:pt>
                <c:pt idx="876">
                  <c:v>2215033.1888000001</c:v>
                </c:pt>
                <c:pt idx="877">
                  <c:v>2171995.1888000001</c:v>
                </c:pt>
                <c:pt idx="878">
                  <c:v>2176576.1888000001</c:v>
                </c:pt>
                <c:pt idx="879">
                  <c:v>2153707.1888000001</c:v>
                </c:pt>
                <c:pt idx="880">
                  <c:v>2142961.1888000001</c:v>
                </c:pt>
                <c:pt idx="881">
                  <c:v>2137390.1888000001</c:v>
                </c:pt>
                <c:pt idx="882">
                  <c:v>2126869.1888000001</c:v>
                </c:pt>
                <c:pt idx="883">
                  <c:v>2137588.1888000001</c:v>
                </c:pt>
                <c:pt idx="884">
                  <c:v>2121289.1888000001</c:v>
                </c:pt>
                <c:pt idx="885">
                  <c:v>2127238.1888000001</c:v>
                </c:pt>
                <c:pt idx="886">
                  <c:v>2103370.1888000001</c:v>
                </c:pt>
                <c:pt idx="887">
                  <c:v>2060638.188799999</c:v>
                </c:pt>
                <c:pt idx="888">
                  <c:v>2069827.188799999</c:v>
                </c:pt>
                <c:pt idx="889">
                  <c:v>2048587.1887999999</c:v>
                </c:pt>
                <c:pt idx="890">
                  <c:v>2045491.1887999999</c:v>
                </c:pt>
                <c:pt idx="891">
                  <c:v>2039641.1887999999</c:v>
                </c:pt>
                <c:pt idx="892">
                  <c:v>2060791.1887999999</c:v>
                </c:pt>
                <c:pt idx="893">
                  <c:v>2039227.188799999</c:v>
                </c:pt>
                <c:pt idx="894">
                  <c:v>2035150.1887999999</c:v>
                </c:pt>
                <c:pt idx="895">
                  <c:v>2051296.1887999999</c:v>
                </c:pt>
                <c:pt idx="896">
                  <c:v>2140720.1888000001</c:v>
                </c:pt>
                <c:pt idx="897">
                  <c:v>2149261.1888000001</c:v>
                </c:pt>
                <c:pt idx="898">
                  <c:v>2135959.1888000001</c:v>
                </c:pt>
                <c:pt idx="899">
                  <c:v>2143321.1888000001</c:v>
                </c:pt>
                <c:pt idx="900">
                  <c:v>2123872.1888000001</c:v>
                </c:pt>
                <c:pt idx="901">
                  <c:v>2139244.1888000001</c:v>
                </c:pt>
                <c:pt idx="902">
                  <c:v>2088097.1887999999</c:v>
                </c:pt>
                <c:pt idx="903">
                  <c:v>2066974.188799999</c:v>
                </c:pt>
                <c:pt idx="904">
                  <c:v>2076874.188799999</c:v>
                </c:pt>
                <c:pt idx="905">
                  <c:v>2031613.188799999</c:v>
                </c:pt>
                <c:pt idx="906">
                  <c:v>2034412.1887999999</c:v>
                </c:pt>
                <c:pt idx="907">
                  <c:v>2049226.1887999999</c:v>
                </c:pt>
                <c:pt idx="908">
                  <c:v>2044393.1887999999</c:v>
                </c:pt>
                <c:pt idx="909">
                  <c:v>2021659.1887999999</c:v>
                </c:pt>
                <c:pt idx="910">
                  <c:v>2081806.188799999</c:v>
                </c:pt>
                <c:pt idx="911">
                  <c:v>2119057.1888000001</c:v>
                </c:pt>
                <c:pt idx="912">
                  <c:v>2098303.1888000001</c:v>
                </c:pt>
                <c:pt idx="913">
                  <c:v>2143402.1888000001</c:v>
                </c:pt>
                <c:pt idx="914">
                  <c:v>2146966.1888000001</c:v>
                </c:pt>
                <c:pt idx="915">
                  <c:v>2127535.1888000001</c:v>
                </c:pt>
                <c:pt idx="916">
                  <c:v>2129335.1888000001</c:v>
                </c:pt>
                <c:pt idx="917">
                  <c:v>2120632.1888000001</c:v>
                </c:pt>
                <c:pt idx="918">
                  <c:v>2123602.1888000001</c:v>
                </c:pt>
                <c:pt idx="919">
                  <c:v>2125978.1888000001</c:v>
                </c:pt>
                <c:pt idx="920">
                  <c:v>2157730.1888000001</c:v>
                </c:pt>
                <c:pt idx="921">
                  <c:v>2154481.1888000001</c:v>
                </c:pt>
                <c:pt idx="922">
                  <c:v>2162689.1888000001</c:v>
                </c:pt>
                <c:pt idx="923">
                  <c:v>2136130.1888000001</c:v>
                </c:pt>
                <c:pt idx="924">
                  <c:v>2132260.1888000001</c:v>
                </c:pt>
                <c:pt idx="925">
                  <c:v>2117374.1888000001</c:v>
                </c:pt>
                <c:pt idx="926">
                  <c:v>2078377.188799999</c:v>
                </c:pt>
                <c:pt idx="927">
                  <c:v>2067321.9623</c:v>
                </c:pt>
                <c:pt idx="928">
                  <c:v>2067321.9623</c:v>
                </c:pt>
                <c:pt idx="929">
                  <c:v>2067321.9623</c:v>
                </c:pt>
                <c:pt idx="930">
                  <c:v>2067321.9623</c:v>
                </c:pt>
                <c:pt idx="931">
                  <c:v>2067321.9623</c:v>
                </c:pt>
                <c:pt idx="932">
                  <c:v>2067321.9623</c:v>
                </c:pt>
                <c:pt idx="933">
                  <c:v>2067321.9623</c:v>
                </c:pt>
                <c:pt idx="934">
                  <c:v>2067321.9623</c:v>
                </c:pt>
                <c:pt idx="935">
                  <c:v>2067321.9623</c:v>
                </c:pt>
                <c:pt idx="936">
                  <c:v>2067321.9623</c:v>
                </c:pt>
                <c:pt idx="937">
                  <c:v>2067321.9623</c:v>
                </c:pt>
                <c:pt idx="938">
                  <c:v>2067321.9623</c:v>
                </c:pt>
                <c:pt idx="939">
                  <c:v>2067321.9623</c:v>
                </c:pt>
                <c:pt idx="940">
                  <c:v>2067124.5364999999</c:v>
                </c:pt>
                <c:pt idx="941">
                  <c:v>2052382.536499999</c:v>
                </c:pt>
                <c:pt idx="942">
                  <c:v>2050357.536499999</c:v>
                </c:pt>
                <c:pt idx="943">
                  <c:v>2041258.5364999999</c:v>
                </c:pt>
                <c:pt idx="944">
                  <c:v>2068276.5364999999</c:v>
                </c:pt>
                <c:pt idx="945">
                  <c:v>2052661.5364999999</c:v>
                </c:pt>
                <c:pt idx="946">
                  <c:v>2066278.536499999</c:v>
                </c:pt>
                <c:pt idx="947">
                  <c:v>2050906.5364999999</c:v>
                </c:pt>
                <c:pt idx="948">
                  <c:v>2028442.5364999999</c:v>
                </c:pt>
                <c:pt idx="949">
                  <c:v>2009110.536499999</c:v>
                </c:pt>
                <c:pt idx="950">
                  <c:v>1996978.536499999</c:v>
                </c:pt>
                <c:pt idx="951">
                  <c:v>2018560.536499999</c:v>
                </c:pt>
                <c:pt idx="952">
                  <c:v>1990831.5364999999</c:v>
                </c:pt>
                <c:pt idx="953">
                  <c:v>2011189.536499999</c:v>
                </c:pt>
                <c:pt idx="954">
                  <c:v>2079958.5364999999</c:v>
                </c:pt>
                <c:pt idx="955">
                  <c:v>2076106.5364999999</c:v>
                </c:pt>
                <c:pt idx="956">
                  <c:v>2114950.5364999999</c:v>
                </c:pt>
                <c:pt idx="957">
                  <c:v>2136811.5364999999</c:v>
                </c:pt>
                <c:pt idx="958">
                  <c:v>2125516.536499999</c:v>
                </c:pt>
                <c:pt idx="959">
                  <c:v>2133859.536499999</c:v>
                </c:pt>
                <c:pt idx="960">
                  <c:v>2111242.536499999</c:v>
                </c:pt>
                <c:pt idx="961">
                  <c:v>2213140.536499999</c:v>
                </c:pt>
                <c:pt idx="962">
                  <c:v>2222896.536499999</c:v>
                </c:pt>
                <c:pt idx="963">
                  <c:v>2224174.536499999</c:v>
                </c:pt>
                <c:pt idx="964">
                  <c:v>2226865.536499999</c:v>
                </c:pt>
                <c:pt idx="965">
                  <c:v>2239204.536499999</c:v>
                </c:pt>
                <c:pt idx="966">
                  <c:v>2227666.536499999</c:v>
                </c:pt>
                <c:pt idx="967">
                  <c:v>2235964.536499999</c:v>
                </c:pt>
                <c:pt idx="968">
                  <c:v>2296426.536499999</c:v>
                </c:pt>
                <c:pt idx="969">
                  <c:v>2304724.536499999</c:v>
                </c:pt>
                <c:pt idx="970">
                  <c:v>2292997.536499999</c:v>
                </c:pt>
                <c:pt idx="971">
                  <c:v>2324911.536499999</c:v>
                </c:pt>
                <c:pt idx="972">
                  <c:v>2363521.536499999</c:v>
                </c:pt>
                <c:pt idx="973">
                  <c:v>2364835.536499999</c:v>
                </c:pt>
                <c:pt idx="974">
                  <c:v>2375257.536499999</c:v>
                </c:pt>
                <c:pt idx="975">
                  <c:v>2365663.536499999</c:v>
                </c:pt>
                <c:pt idx="976">
                  <c:v>2366383.536499999</c:v>
                </c:pt>
                <c:pt idx="977">
                  <c:v>2370379.536499999</c:v>
                </c:pt>
                <c:pt idx="978">
                  <c:v>2327773.536499999</c:v>
                </c:pt>
                <c:pt idx="979">
                  <c:v>2412823.536499999</c:v>
                </c:pt>
                <c:pt idx="980">
                  <c:v>2429140.536499999</c:v>
                </c:pt>
                <c:pt idx="981">
                  <c:v>2412247.536499999</c:v>
                </c:pt>
                <c:pt idx="982">
                  <c:v>2390350.536499999</c:v>
                </c:pt>
                <c:pt idx="983">
                  <c:v>2428762.536499999</c:v>
                </c:pt>
                <c:pt idx="984">
                  <c:v>2442676.536499999</c:v>
                </c:pt>
                <c:pt idx="985">
                  <c:v>2430076.536499999</c:v>
                </c:pt>
                <c:pt idx="986">
                  <c:v>2439580.536499999</c:v>
                </c:pt>
                <c:pt idx="987">
                  <c:v>2417350.536499999</c:v>
                </c:pt>
                <c:pt idx="988">
                  <c:v>2407369.536499999</c:v>
                </c:pt>
                <c:pt idx="989">
                  <c:v>2479540.536499999</c:v>
                </c:pt>
                <c:pt idx="990">
                  <c:v>2501149.536499999</c:v>
                </c:pt>
                <c:pt idx="991">
                  <c:v>2512705.536499999</c:v>
                </c:pt>
                <c:pt idx="992">
                  <c:v>2511058.536499999</c:v>
                </c:pt>
                <c:pt idx="993">
                  <c:v>2561854.536499999</c:v>
                </c:pt>
                <c:pt idx="994">
                  <c:v>2566093.536499999</c:v>
                </c:pt>
                <c:pt idx="995">
                  <c:v>2587378.536499999</c:v>
                </c:pt>
                <c:pt idx="996">
                  <c:v>2591122.536499999</c:v>
                </c:pt>
                <c:pt idx="997">
                  <c:v>2576749.536499999</c:v>
                </c:pt>
                <c:pt idx="998">
                  <c:v>2587423.536499999</c:v>
                </c:pt>
                <c:pt idx="999">
                  <c:v>2556589.536499999</c:v>
                </c:pt>
                <c:pt idx="1000">
                  <c:v>2509915.536499999</c:v>
                </c:pt>
                <c:pt idx="1001">
                  <c:v>2525242.536499999</c:v>
                </c:pt>
                <c:pt idx="1002">
                  <c:v>2442361.536499999</c:v>
                </c:pt>
                <c:pt idx="1003">
                  <c:v>2429806.536499999</c:v>
                </c:pt>
                <c:pt idx="1004">
                  <c:v>2437330.536499999</c:v>
                </c:pt>
                <c:pt idx="1005">
                  <c:v>2403697.536499999</c:v>
                </c:pt>
                <c:pt idx="1006">
                  <c:v>2428078.536499999</c:v>
                </c:pt>
                <c:pt idx="1007">
                  <c:v>2498863.536499999</c:v>
                </c:pt>
                <c:pt idx="1008">
                  <c:v>2494822.536499999</c:v>
                </c:pt>
                <c:pt idx="1009">
                  <c:v>2384014.536499999</c:v>
                </c:pt>
                <c:pt idx="1010">
                  <c:v>2453395.536499999</c:v>
                </c:pt>
                <c:pt idx="1011">
                  <c:v>2478046.536499999</c:v>
                </c:pt>
                <c:pt idx="1012">
                  <c:v>2450398.536499999</c:v>
                </c:pt>
                <c:pt idx="1013">
                  <c:v>2439103.536499999</c:v>
                </c:pt>
                <c:pt idx="1014">
                  <c:v>2425999.536499999</c:v>
                </c:pt>
                <c:pt idx="1015">
                  <c:v>2392915.536499999</c:v>
                </c:pt>
                <c:pt idx="1016">
                  <c:v>2367607.536499999</c:v>
                </c:pt>
                <c:pt idx="1017">
                  <c:v>2373709.536499999</c:v>
                </c:pt>
                <c:pt idx="1018">
                  <c:v>2378749.536499999</c:v>
                </c:pt>
                <c:pt idx="1019">
                  <c:v>2345107.536499999</c:v>
                </c:pt>
                <c:pt idx="1020">
                  <c:v>2365456.536499999</c:v>
                </c:pt>
                <c:pt idx="1021">
                  <c:v>2442019.536499999</c:v>
                </c:pt>
                <c:pt idx="1022">
                  <c:v>2446357.536499999</c:v>
                </c:pt>
                <c:pt idx="1023">
                  <c:v>2449345.536499999</c:v>
                </c:pt>
                <c:pt idx="1024">
                  <c:v>2444656.536499999</c:v>
                </c:pt>
                <c:pt idx="1025">
                  <c:v>2410411.536499999</c:v>
                </c:pt>
                <c:pt idx="1026">
                  <c:v>2418043.536499999</c:v>
                </c:pt>
                <c:pt idx="1027">
                  <c:v>2342236.536499999</c:v>
                </c:pt>
                <c:pt idx="1028">
                  <c:v>2338438.536499999</c:v>
                </c:pt>
                <c:pt idx="1029">
                  <c:v>2336737.536499999</c:v>
                </c:pt>
                <c:pt idx="1030">
                  <c:v>2330617.536499999</c:v>
                </c:pt>
                <c:pt idx="1031">
                  <c:v>2328061.536499999</c:v>
                </c:pt>
                <c:pt idx="1032">
                  <c:v>2317936.536499999</c:v>
                </c:pt>
                <c:pt idx="1033">
                  <c:v>2333353.536499999</c:v>
                </c:pt>
                <c:pt idx="1034">
                  <c:v>2329645.536499999</c:v>
                </c:pt>
                <c:pt idx="1035">
                  <c:v>2322958.536499999</c:v>
                </c:pt>
                <c:pt idx="1036">
                  <c:v>2308765.536499999</c:v>
                </c:pt>
                <c:pt idx="1037">
                  <c:v>2286004.536499999</c:v>
                </c:pt>
                <c:pt idx="1038">
                  <c:v>2306497.536499999</c:v>
                </c:pt>
                <c:pt idx="1039">
                  <c:v>2305489.536499999</c:v>
                </c:pt>
                <c:pt idx="1040">
                  <c:v>2311231.536499999</c:v>
                </c:pt>
                <c:pt idx="1041">
                  <c:v>2373313.536499999</c:v>
                </c:pt>
                <c:pt idx="1042">
                  <c:v>2370469.536499999</c:v>
                </c:pt>
                <c:pt idx="1043">
                  <c:v>2297389.536499999</c:v>
                </c:pt>
                <c:pt idx="1044">
                  <c:v>2338888.536499999</c:v>
                </c:pt>
                <c:pt idx="1045">
                  <c:v>2313958.536499999</c:v>
                </c:pt>
                <c:pt idx="1046">
                  <c:v>2295445.536499999</c:v>
                </c:pt>
                <c:pt idx="1047">
                  <c:v>2297542.536499999</c:v>
                </c:pt>
                <c:pt idx="1048">
                  <c:v>2336485.536499999</c:v>
                </c:pt>
                <c:pt idx="1049">
                  <c:v>2366248.536499999</c:v>
                </c:pt>
                <c:pt idx="1050">
                  <c:v>2369812.536499999</c:v>
                </c:pt>
                <c:pt idx="1051">
                  <c:v>2381386.536499999</c:v>
                </c:pt>
                <c:pt idx="1052">
                  <c:v>2367877.536499999</c:v>
                </c:pt>
                <c:pt idx="1053">
                  <c:v>2379622.536499999</c:v>
                </c:pt>
                <c:pt idx="1054">
                  <c:v>2370559.536499999</c:v>
                </c:pt>
                <c:pt idx="1055">
                  <c:v>2336872.536499999</c:v>
                </c:pt>
                <c:pt idx="1056">
                  <c:v>2349103.536499999</c:v>
                </c:pt>
                <c:pt idx="1057">
                  <c:v>2390305.536499999</c:v>
                </c:pt>
                <c:pt idx="1058">
                  <c:v>2425478.2519999989</c:v>
                </c:pt>
                <c:pt idx="1059">
                  <c:v>2425478.2519999989</c:v>
                </c:pt>
                <c:pt idx="1060">
                  <c:v>2425478.2519999989</c:v>
                </c:pt>
                <c:pt idx="1061">
                  <c:v>2425478.2519999989</c:v>
                </c:pt>
                <c:pt idx="1062">
                  <c:v>2425478.2519999989</c:v>
                </c:pt>
                <c:pt idx="1063">
                  <c:v>2425478.2519999989</c:v>
                </c:pt>
                <c:pt idx="1064">
                  <c:v>2425478.2519999989</c:v>
                </c:pt>
                <c:pt idx="1065">
                  <c:v>2425478.2519999989</c:v>
                </c:pt>
                <c:pt idx="1066">
                  <c:v>2425478.2519999989</c:v>
                </c:pt>
                <c:pt idx="1067">
                  <c:v>2425478.2519999989</c:v>
                </c:pt>
                <c:pt idx="1068">
                  <c:v>2425478.2519999989</c:v>
                </c:pt>
                <c:pt idx="1069">
                  <c:v>2425478.2519999989</c:v>
                </c:pt>
                <c:pt idx="1070">
                  <c:v>2425478.2519999989</c:v>
                </c:pt>
                <c:pt idx="1071">
                  <c:v>2425478.2519999989</c:v>
                </c:pt>
                <c:pt idx="1072">
                  <c:v>2425478.2519999989</c:v>
                </c:pt>
                <c:pt idx="1073">
                  <c:v>2425478.2519999989</c:v>
                </c:pt>
                <c:pt idx="1074">
                  <c:v>2425478.2519999989</c:v>
                </c:pt>
                <c:pt idx="1075">
                  <c:v>2425478.2519999989</c:v>
                </c:pt>
                <c:pt idx="1076">
                  <c:v>2425478.2519999989</c:v>
                </c:pt>
                <c:pt idx="1077">
                  <c:v>2425478.2519999989</c:v>
                </c:pt>
                <c:pt idx="1078">
                  <c:v>2425478.2519999989</c:v>
                </c:pt>
                <c:pt idx="1079">
                  <c:v>2425478.2519999989</c:v>
                </c:pt>
                <c:pt idx="1080">
                  <c:v>2425478.2519999989</c:v>
                </c:pt>
                <c:pt idx="1081">
                  <c:v>2425478.2519999989</c:v>
                </c:pt>
                <c:pt idx="1082">
                  <c:v>2425478.2519999989</c:v>
                </c:pt>
                <c:pt idx="1083">
                  <c:v>2425478.2519999989</c:v>
                </c:pt>
                <c:pt idx="1084">
                  <c:v>2425478.2519999989</c:v>
                </c:pt>
                <c:pt idx="1085">
                  <c:v>2425478.2519999989</c:v>
                </c:pt>
                <c:pt idx="1086">
                  <c:v>2425478.2519999989</c:v>
                </c:pt>
                <c:pt idx="1087">
                  <c:v>2425478.2519999989</c:v>
                </c:pt>
                <c:pt idx="1088">
                  <c:v>2425478.2519999989</c:v>
                </c:pt>
                <c:pt idx="1089">
                  <c:v>2425478.2519999989</c:v>
                </c:pt>
                <c:pt idx="1090">
                  <c:v>2425478.2519999989</c:v>
                </c:pt>
                <c:pt idx="1091">
                  <c:v>2425478.2519999989</c:v>
                </c:pt>
                <c:pt idx="1092">
                  <c:v>2425478.2519999989</c:v>
                </c:pt>
                <c:pt idx="1093">
                  <c:v>2425478.2519999989</c:v>
                </c:pt>
                <c:pt idx="1094">
                  <c:v>2425478.2519999989</c:v>
                </c:pt>
                <c:pt idx="1095">
                  <c:v>2425478.2519999989</c:v>
                </c:pt>
                <c:pt idx="1096">
                  <c:v>2425478.2519999989</c:v>
                </c:pt>
                <c:pt idx="1097">
                  <c:v>2425478.2519999989</c:v>
                </c:pt>
                <c:pt idx="1098">
                  <c:v>2425478.2519999989</c:v>
                </c:pt>
                <c:pt idx="1099">
                  <c:v>2425478.2519999989</c:v>
                </c:pt>
                <c:pt idx="1100">
                  <c:v>2425478.2519999989</c:v>
                </c:pt>
                <c:pt idx="1101">
                  <c:v>2425478.2519999989</c:v>
                </c:pt>
                <c:pt idx="1102">
                  <c:v>2425478.2519999989</c:v>
                </c:pt>
                <c:pt idx="1103">
                  <c:v>2425478.2519999989</c:v>
                </c:pt>
                <c:pt idx="1104">
                  <c:v>2425254.4839999988</c:v>
                </c:pt>
                <c:pt idx="1105">
                  <c:v>2411584.4839999988</c:v>
                </c:pt>
                <c:pt idx="1106">
                  <c:v>2363544.4839999988</c:v>
                </c:pt>
                <c:pt idx="1107">
                  <c:v>2376964.4839999988</c:v>
                </c:pt>
                <c:pt idx="1108">
                  <c:v>2380594.4839999988</c:v>
                </c:pt>
                <c:pt idx="1109">
                  <c:v>2432934.4839999988</c:v>
                </c:pt>
                <c:pt idx="1110">
                  <c:v>2434834.4839999988</c:v>
                </c:pt>
                <c:pt idx="1111">
                  <c:v>2465904.4839999988</c:v>
                </c:pt>
                <c:pt idx="1112">
                  <c:v>2481214.4839999988</c:v>
                </c:pt>
                <c:pt idx="1113">
                  <c:v>2468194.4839999988</c:v>
                </c:pt>
                <c:pt idx="1114">
                  <c:v>2464354.4839999988</c:v>
                </c:pt>
                <c:pt idx="1115">
                  <c:v>2473584.4839999988</c:v>
                </c:pt>
                <c:pt idx="1116">
                  <c:v>2540364.4839999988</c:v>
                </c:pt>
                <c:pt idx="1117">
                  <c:v>2546644.4839999988</c:v>
                </c:pt>
                <c:pt idx="1118">
                  <c:v>2536654.4839999988</c:v>
                </c:pt>
                <c:pt idx="1119">
                  <c:v>2509154.4839999988</c:v>
                </c:pt>
                <c:pt idx="1120">
                  <c:v>2491714.4839999988</c:v>
                </c:pt>
                <c:pt idx="1121">
                  <c:v>2519004.4839999988</c:v>
                </c:pt>
                <c:pt idx="1122">
                  <c:v>2500044.4839999988</c:v>
                </c:pt>
                <c:pt idx="1123">
                  <c:v>2496164.4839999988</c:v>
                </c:pt>
                <c:pt idx="1124">
                  <c:v>2491504.4839999988</c:v>
                </c:pt>
                <c:pt idx="1125">
                  <c:v>2474504.4839999988</c:v>
                </c:pt>
                <c:pt idx="1126">
                  <c:v>2523194.4839999988</c:v>
                </c:pt>
                <c:pt idx="1127">
                  <c:v>2528454.4839999988</c:v>
                </c:pt>
                <c:pt idx="1128">
                  <c:v>2515634.4839999988</c:v>
                </c:pt>
                <c:pt idx="1129">
                  <c:v>2505884.4839999988</c:v>
                </c:pt>
                <c:pt idx="1130">
                  <c:v>2501484.4839999988</c:v>
                </c:pt>
                <c:pt idx="1131">
                  <c:v>2507914.4839999988</c:v>
                </c:pt>
                <c:pt idx="1132">
                  <c:v>2542074.4839999988</c:v>
                </c:pt>
                <c:pt idx="1133">
                  <c:v>2538274.4839999988</c:v>
                </c:pt>
                <c:pt idx="1134">
                  <c:v>2529314.4839999988</c:v>
                </c:pt>
                <c:pt idx="1135">
                  <c:v>2545354.4839999988</c:v>
                </c:pt>
                <c:pt idx="1136">
                  <c:v>2628184.4839999988</c:v>
                </c:pt>
                <c:pt idx="1137">
                  <c:v>2662464.4839999988</c:v>
                </c:pt>
                <c:pt idx="1138">
                  <c:v>2670464.4839999988</c:v>
                </c:pt>
                <c:pt idx="1139">
                  <c:v>2695034.4839999988</c:v>
                </c:pt>
                <c:pt idx="1140">
                  <c:v>2676474.4839999988</c:v>
                </c:pt>
                <c:pt idx="1141">
                  <c:v>2665964.4839999988</c:v>
                </c:pt>
                <c:pt idx="1142">
                  <c:v>2614894.4839999988</c:v>
                </c:pt>
                <c:pt idx="1143">
                  <c:v>2620084.4839999988</c:v>
                </c:pt>
                <c:pt idx="1144">
                  <c:v>2659864.4839999988</c:v>
                </c:pt>
                <c:pt idx="1145">
                  <c:v>2631464.4839999988</c:v>
                </c:pt>
                <c:pt idx="1146">
                  <c:v>2616604.4839999988</c:v>
                </c:pt>
                <c:pt idx="1147">
                  <c:v>2572014.4839999988</c:v>
                </c:pt>
                <c:pt idx="1148">
                  <c:v>2582544.4839999988</c:v>
                </c:pt>
                <c:pt idx="1149">
                  <c:v>2596614.4839999988</c:v>
                </c:pt>
                <c:pt idx="1150">
                  <c:v>2629384.4839999988</c:v>
                </c:pt>
                <c:pt idx="1151">
                  <c:v>2641154.4839999988</c:v>
                </c:pt>
                <c:pt idx="1152">
                  <c:v>2616894.4839999988</c:v>
                </c:pt>
                <c:pt idx="1153">
                  <c:v>2656084.4839999988</c:v>
                </c:pt>
                <c:pt idx="1154">
                  <c:v>2660114.4839999988</c:v>
                </c:pt>
                <c:pt idx="1155">
                  <c:v>2655094.4839999988</c:v>
                </c:pt>
                <c:pt idx="1156">
                  <c:v>2608944.4839999988</c:v>
                </c:pt>
                <c:pt idx="1157">
                  <c:v>2600904.4839999988</c:v>
                </c:pt>
                <c:pt idx="1158">
                  <c:v>2613624.4839999988</c:v>
                </c:pt>
                <c:pt idx="1159">
                  <c:v>2658894.4839999988</c:v>
                </c:pt>
                <c:pt idx="1160">
                  <c:v>2633464.4839999988</c:v>
                </c:pt>
                <c:pt idx="1161">
                  <c:v>2606064.4839999988</c:v>
                </c:pt>
                <c:pt idx="1162">
                  <c:v>2588084.4839999988</c:v>
                </c:pt>
                <c:pt idx="1163">
                  <c:v>2556134.4839999988</c:v>
                </c:pt>
                <c:pt idx="1164">
                  <c:v>2553524.4839999988</c:v>
                </c:pt>
                <c:pt idx="1165">
                  <c:v>2559624.4839999988</c:v>
                </c:pt>
                <c:pt idx="1166">
                  <c:v>2595044.4839999988</c:v>
                </c:pt>
                <c:pt idx="1167">
                  <c:v>2561294.4839999988</c:v>
                </c:pt>
                <c:pt idx="1168">
                  <c:v>2572534.4839999988</c:v>
                </c:pt>
                <c:pt idx="1169">
                  <c:v>2568024.4839999988</c:v>
                </c:pt>
                <c:pt idx="1170">
                  <c:v>2571344.4839999988</c:v>
                </c:pt>
                <c:pt idx="1171">
                  <c:v>2541144.4839999988</c:v>
                </c:pt>
                <c:pt idx="1172">
                  <c:v>2528124.4839999988</c:v>
                </c:pt>
                <c:pt idx="1173">
                  <c:v>2495524.4839999988</c:v>
                </c:pt>
                <c:pt idx="1174">
                  <c:v>2503464.4839999988</c:v>
                </c:pt>
                <c:pt idx="1175">
                  <c:v>2527574.4839999988</c:v>
                </c:pt>
                <c:pt idx="1176">
                  <c:v>2475694.4839999988</c:v>
                </c:pt>
                <c:pt idx="1177">
                  <c:v>2492074.4839999988</c:v>
                </c:pt>
                <c:pt idx="1178">
                  <c:v>2538304.4839999988</c:v>
                </c:pt>
                <c:pt idx="1179">
                  <c:v>2616474.4839999988</c:v>
                </c:pt>
                <c:pt idx="1180">
                  <c:v>2599734.4839999988</c:v>
                </c:pt>
                <c:pt idx="1181">
                  <c:v>2612424.4839999988</c:v>
                </c:pt>
                <c:pt idx="1182">
                  <c:v>2597564.4839999988</c:v>
                </c:pt>
                <c:pt idx="1183">
                  <c:v>2585534.4839999988</c:v>
                </c:pt>
                <c:pt idx="1184">
                  <c:v>2576204.4839999988</c:v>
                </c:pt>
                <c:pt idx="1185">
                  <c:v>2574994.4839999988</c:v>
                </c:pt>
                <c:pt idx="1186">
                  <c:v>2602054.4839999988</c:v>
                </c:pt>
                <c:pt idx="1187">
                  <c:v>2627104.4839999988</c:v>
                </c:pt>
                <c:pt idx="1188">
                  <c:v>2626514.4839999988</c:v>
                </c:pt>
                <c:pt idx="1189">
                  <c:v>2606364.4839999988</c:v>
                </c:pt>
                <c:pt idx="1190">
                  <c:v>2630354.4839999988</c:v>
                </c:pt>
                <c:pt idx="1191">
                  <c:v>2662714.4839999988</c:v>
                </c:pt>
                <c:pt idx="1192">
                  <c:v>2655774.4839999988</c:v>
                </c:pt>
                <c:pt idx="1193">
                  <c:v>2639864.4839999988</c:v>
                </c:pt>
                <c:pt idx="1194">
                  <c:v>2638444.4839999988</c:v>
                </c:pt>
                <c:pt idx="1195">
                  <c:v>2640894.4839999988</c:v>
                </c:pt>
                <c:pt idx="1196">
                  <c:v>2600093.2079999992</c:v>
                </c:pt>
                <c:pt idx="1197">
                  <c:v>2600093.2079999992</c:v>
                </c:pt>
                <c:pt idx="1198">
                  <c:v>2600093.2079999992</c:v>
                </c:pt>
                <c:pt idx="1199">
                  <c:v>2600093.2079999992</c:v>
                </c:pt>
                <c:pt idx="1200">
                  <c:v>2600093.2079999992</c:v>
                </c:pt>
                <c:pt idx="1201">
                  <c:v>2600093.2079999992</c:v>
                </c:pt>
                <c:pt idx="1202">
                  <c:v>2600093.2079999992</c:v>
                </c:pt>
                <c:pt idx="1203">
                  <c:v>2600093.2079999992</c:v>
                </c:pt>
                <c:pt idx="1204">
                  <c:v>2600093.2079999992</c:v>
                </c:pt>
                <c:pt idx="1205">
                  <c:v>2600093.2079999992</c:v>
                </c:pt>
                <c:pt idx="1206">
                  <c:v>2600093.2079999992</c:v>
                </c:pt>
                <c:pt idx="1207">
                  <c:v>2600093.2079999992</c:v>
                </c:pt>
                <c:pt idx="1208">
                  <c:v>2600093.2079999992</c:v>
                </c:pt>
                <c:pt idx="1209">
                  <c:v>2600093.2079999992</c:v>
                </c:pt>
                <c:pt idx="1210">
                  <c:v>2600093.2079999992</c:v>
                </c:pt>
                <c:pt idx="1211">
                  <c:v>2600093.2079999992</c:v>
                </c:pt>
                <c:pt idx="1212">
                  <c:v>2600093.2079999992</c:v>
                </c:pt>
                <c:pt idx="1213">
                  <c:v>2600093.2079999992</c:v>
                </c:pt>
                <c:pt idx="1214">
                  <c:v>2600093.2079999992</c:v>
                </c:pt>
                <c:pt idx="1215">
                  <c:v>2600093.2079999992</c:v>
                </c:pt>
                <c:pt idx="1216">
                  <c:v>2600093.2079999992</c:v>
                </c:pt>
                <c:pt idx="1217">
                  <c:v>2600093.2079999992</c:v>
                </c:pt>
                <c:pt idx="1218">
                  <c:v>2600093.2079999992</c:v>
                </c:pt>
                <c:pt idx="1219">
                  <c:v>2600093.2079999992</c:v>
                </c:pt>
                <c:pt idx="1220">
                  <c:v>2600093.2079999992</c:v>
                </c:pt>
                <c:pt idx="1221">
                  <c:v>2599849.9055999988</c:v>
                </c:pt>
                <c:pt idx="1222">
                  <c:v>2563164.9055999988</c:v>
                </c:pt>
                <c:pt idx="1223">
                  <c:v>2549414.9055999988</c:v>
                </c:pt>
                <c:pt idx="1224">
                  <c:v>2572976.9055999988</c:v>
                </c:pt>
                <c:pt idx="1225">
                  <c:v>2635005.9055999988</c:v>
                </c:pt>
                <c:pt idx="1226">
                  <c:v>2621904.9055999988</c:v>
                </c:pt>
                <c:pt idx="1227">
                  <c:v>2637073.9055999988</c:v>
                </c:pt>
                <c:pt idx="1228">
                  <c:v>2604337.9055999988</c:v>
                </c:pt>
                <c:pt idx="1229">
                  <c:v>2608671.9055999988</c:v>
                </c:pt>
                <c:pt idx="1230">
                  <c:v>2617383.9055999988</c:v>
                </c:pt>
                <c:pt idx="1231">
                  <c:v>2589520.9055999988</c:v>
                </c:pt>
                <c:pt idx="1232">
                  <c:v>2600553.9055999988</c:v>
                </c:pt>
                <c:pt idx="1233">
                  <c:v>2661108.9055999988</c:v>
                </c:pt>
                <c:pt idx="1234">
                  <c:v>2680941.9055999988</c:v>
                </c:pt>
                <c:pt idx="1235">
                  <c:v>2687200.9055999988</c:v>
                </c:pt>
                <c:pt idx="1236">
                  <c:v>2674330.9055999988</c:v>
                </c:pt>
                <c:pt idx="1237">
                  <c:v>2691952.9055999988</c:v>
                </c:pt>
                <c:pt idx="1238">
                  <c:v>2709640.9055999988</c:v>
                </c:pt>
                <c:pt idx="1239">
                  <c:v>2677509.9055999988</c:v>
                </c:pt>
                <c:pt idx="1240">
                  <c:v>2706351.9055999988</c:v>
                </c:pt>
                <c:pt idx="1241">
                  <c:v>2683009.9055999988</c:v>
                </c:pt>
                <c:pt idx="1242">
                  <c:v>2657544.9055999988</c:v>
                </c:pt>
                <c:pt idx="1243">
                  <c:v>2602786.9056000002</c:v>
                </c:pt>
                <c:pt idx="1244">
                  <c:v>2540526.9055999988</c:v>
                </c:pt>
                <c:pt idx="1245">
                  <c:v>2546576.9055999988</c:v>
                </c:pt>
                <c:pt idx="1246">
                  <c:v>2536346.9055999988</c:v>
                </c:pt>
                <c:pt idx="1247">
                  <c:v>2563692.9055999988</c:v>
                </c:pt>
                <c:pt idx="1248">
                  <c:v>2576232.9055999988</c:v>
                </c:pt>
                <c:pt idx="1249">
                  <c:v>2569522.9055999988</c:v>
                </c:pt>
                <c:pt idx="1250">
                  <c:v>2547203.9055999988</c:v>
                </c:pt>
                <c:pt idx="1251">
                  <c:v>2557818.9055999988</c:v>
                </c:pt>
                <c:pt idx="1252">
                  <c:v>2552021.9055999988</c:v>
                </c:pt>
                <c:pt idx="1253">
                  <c:v>2474394.9055999988</c:v>
                </c:pt>
                <c:pt idx="1254">
                  <c:v>2486351.9055999988</c:v>
                </c:pt>
                <c:pt idx="1255">
                  <c:v>2492368.9055999988</c:v>
                </c:pt>
                <c:pt idx="1256">
                  <c:v>2521188.9055999988</c:v>
                </c:pt>
                <c:pt idx="1257">
                  <c:v>2501949.9055999988</c:v>
                </c:pt>
                <c:pt idx="1258">
                  <c:v>2524169.9055999988</c:v>
                </c:pt>
                <c:pt idx="1259">
                  <c:v>2518768.9055999988</c:v>
                </c:pt>
                <c:pt idx="1260">
                  <c:v>2499782.9055999988</c:v>
                </c:pt>
                <c:pt idx="1261">
                  <c:v>2462492.9055999988</c:v>
                </c:pt>
                <c:pt idx="1262">
                  <c:v>2541505.9055999988</c:v>
                </c:pt>
                <c:pt idx="1263">
                  <c:v>2560791.4850999988</c:v>
                </c:pt>
                <c:pt idx="1264">
                  <c:v>2560791.4850999988</c:v>
                </c:pt>
                <c:pt idx="1265">
                  <c:v>2560791.4850999988</c:v>
                </c:pt>
                <c:pt idx="1266">
                  <c:v>2560791.4850999988</c:v>
                </c:pt>
                <c:pt idx="1267">
                  <c:v>2560791.4850999988</c:v>
                </c:pt>
                <c:pt idx="1268">
                  <c:v>2560791.4850999988</c:v>
                </c:pt>
                <c:pt idx="1269">
                  <c:v>2560791.4850999988</c:v>
                </c:pt>
                <c:pt idx="1270">
                  <c:v>2560791.4850999988</c:v>
                </c:pt>
                <c:pt idx="1271">
                  <c:v>2560791.4850999988</c:v>
                </c:pt>
                <c:pt idx="1272">
                  <c:v>2560791.4850999988</c:v>
                </c:pt>
                <c:pt idx="1273">
                  <c:v>2560791.4850999988</c:v>
                </c:pt>
                <c:pt idx="1274">
                  <c:v>2560791.4850999988</c:v>
                </c:pt>
                <c:pt idx="1275">
                  <c:v>2560791.4850999988</c:v>
                </c:pt>
                <c:pt idx="1276">
                  <c:v>2560791.4850999988</c:v>
                </c:pt>
                <c:pt idx="1277">
                  <c:v>2560791.4850999988</c:v>
                </c:pt>
                <c:pt idx="1278">
                  <c:v>2560791.4850999988</c:v>
                </c:pt>
                <c:pt idx="1279">
                  <c:v>2560791.4850999988</c:v>
                </c:pt>
                <c:pt idx="1280">
                  <c:v>2560791.4850999988</c:v>
                </c:pt>
                <c:pt idx="1281">
                  <c:v>2560791.4850999988</c:v>
                </c:pt>
                <c:pt idx="1282">
                  <c:v>2560791.4850999988</c:v>
                </c:pt>
                <c:pt idx="1283">
                  <c:v>2560791.4850999988</c:v>
                </c:pt>
                <c:pt idx="1284">
                  <c:v>2560791.4850999988</c:v>
                </c:pt>
                <c:pt idx="1285">
                  <c:v>2560791.4850999988</c:v>
                </c:pt>
                <c:pt idx="1286">
                  <c:v>2560791.4850999988</c:v>
                </c:pt>
                <c:pt idx="1287">
                  <c:v>2560791.4850999988</c:v>
                </c:pt>
                <c:pt idx="1288">
                  <c:v>2560791.4850999988</c:v>
                </c:pt>
                <c:pt idx="1289">
                  <c:v>2560791.4850999988</c:v>
                </c:pt>
                <c:pt idx="1290">
                  <c:v>2560791.4850999988</c:v>
                </c:pt>
                <c:pt idx="1291">
                  <c:v>2560791.4850999988</c:v>
                </c:pt>
                <c:pt idx="1292">
                  <c:v>2560791.4850999988</c:v>
                </c:pt>
                <c:pt idx="1293">
                  <c:v>2560556.580099999</c:v>
                </c:pt>
                <c:pt idx="1294">
                  <c:v>2558807.580099999</c:v>
                </c:pt>
                <c:pt idx="1295">
                  <c:v>2609561.580099999</c:v>
                </c:pt>
                <c:pt idx="1296">
                  <c:v>2603841.580099999</c:v>
                </c:pt>
                <c:pt idx="1297">
                  <c:v>2601113.580099999</c:v>
                </c:pt>
                <c:pt idx="1298">
                  <c:v>2569994.580099999</c:v>
                </c:pt>
                <c:pt idx="1299">
                  <c:v>2572051.580099999</c:v>
                </c:pt>
                <c:pt idx="1300">
                  <c:v>2538160.580099999</c:v>
                </c:pt>
                <c:pt idx="1301">
                  <c:v>2538853.580099999</c:v>
                </c:pt>
                <c:pt idx="1302">
                  <c:v>2561007.580099999</c:v>
                </c:pt>
                <c:pt idx="1303">
                  <c:v>2555463.580099999</c:v>
                </c:pt>
                <c:pt idx="1304">
                  <c:v>2574757.580099999</c:v>
                </c:pt>
                <c:pt idx="1305">
                  <c:v>2582847.4222999988</c:v>
                </c:pt>
                <c:pt idx="1306">
                  <c:v>2582847.4222999988</c:v>
                </c:pt>
                <c:pt idx="1307">
                  <c:v>2582847.4222999988</c:v>
                </c:pt>
                <c:pt idx="1308">
                  <c:v>2582847.4222999988</c:v>
                </c:pt>
                <c:pt idx="1309">
                  <c:v>2582847.4222999988</c:v>
                </c:pt>
                <c:pt idx="1310">
                  <c:v>2582847.4222999988</c:v>
                </c:pt>
                <c:pt idx="1311">
                  <c:v>2582847.4222999988</c:v>
                </c:pt>
                <c:pt idx="1312">
                  <c:v>2582847.4222999988</c:v>
                </c:pt>
                <c:pt idx="1313">
                  <c:v>2582847.4222999988</c:v>
                </c:pt>
                <c:pt idx="1314">
                  <c:v>2582847.4222999988</c:v>
                </c:pt>
                <c:pt idx="1315">
                  <c:v>2582847.4222999988</c:v>
                </c:pt>
                <c:pt idx="1316">
                  <c:v>2582847.4222999988</c:v>
                </c:pt>
                <c:pt idx="1317">
                  <c:v>2582847.4222999988</c:v>
                </c:pt>
                <c:pt idx="1318">
                  <c:v>2582847.4222999988</c:v>
                </c:pt>
                <c:pt idx="1319">
                  <c:v>2582847.4222999988</c:v>
                </c:pt>
                <c:pt idx="1320">
                  <c:v>2582847.4222999988</c:v>
                </c:pt>
                <c:pt idx="1321">
                  <c:v>2582847.4222999988</c:v>
                </c:pt>
                <c:pt idx="1322">
                  <c:v>2582847.4222999988</c:v>
                </c:pt>
                <c:pt idx="1323">
                  <c:v>2582847.4222999988</c:v>
                </c:pt>
                <c:pt idx="1324">
                  <c:v>2582847.4222999988</c:v>
                </c:pt>
                <c:pt idx="1325">
                  <c:v>2582847.4222999988</c:v>
                </c:pt>
                <c:pt idx="1326">
                  <c:v>2582847.4222999988</c:v>
                </c:pt>
                <c:pt idx="1327">
                  <c:v>2582847.4222999988</c:v>
                </c:pt>
                <c:pt idx="1328">
                  <c:v>2582847.4222999988</c:v>
                </c:pt>
                <c:pt idx="1329">
                  <c:v>2582847.4222999988</c:v>
                </c:pt>
                <c:pt idx="1330">
                  <c:v>2582847.4222999988</c:v>
                </c:pt>
                <c:pt idx="1331">
                  <c:v>2582847.4222999988</c:v>
                </c:pt>
                <c:pt idx="1332">
                  <c:v>2582847.4222999988</c:v>
                </c:pt>
                <c:pt idx="1333">
                  <c:v>2582847.4222999988</c:v>
                </c:pt>
                <c:pt idx="1334">
                  <c:v>2582847.4222999988</c:v>
                </c:pt>
                <c:pt idx="1335">
                  <c:v>2582847.4222999988</c:v>
                </c:pt>
                <c:pt idx="1336">
                  <c:v>2582847.4222999988</c:v>
                </c:pt>
                <c:pt idx="1337">
                  <c:v>2582847.4222999988</c:v>
                </c:pt>
                <c:pt idx="1338">
                  <c:v>2582847.4222999988</c:v>
                </c:pt>
                <c:pt idx="1339">
                  <c:v>2582847.4222999988</c:v>
                </c:pt>
                <c:pt idx="1340">
                  <c:v>2582847.4222999988</c:v>
                </c:pt>
                <c:pt idx="1341">
                  <c:v>2582847.4222999988</c:v>
                </c:pt>
                <c:pt idx="1342">
                  <c:v>2582847.4222999988</c:v>
                </c:pt>
                <c:pt idx="1343">
                  <c:v>2582847.4222999988</c:v>
                </c:pt>
                <c:pt idx="1344">
                  <c:v>2582847.4222999988</c:v>
                </c:pt>
                <c:pt idx="1345">
                  <c:v>2582847.4222999988</c:v>
                </c:pt>
                <c:pt idx="1346">
                  <c:v>2582847.4222999988</c:v>
                </c:pt>
                <c:pt idx="1347">
                  <c:v>2582847.4222999988</c:v>
                </c:pt>
                <c:pt idx="1348">
                  <c:v>2582598.772799999</c:v>
                </c:pt>
                <c:pt idx="1349">
                  <c:v>2652393.772799999</c:v>
                </c:pt>
                <c:pt idx="1350">
                  <c:v>2660610.772799999</c:v>
                </c:pt>
                <c:pt idx="1351">
                  <c:v>2650314.7727999999</c:v>
                </c:pt>
                <c:pt idx="1352">
                  <c:v>2681378.772799999</c:v>
                </c:pt>
                <c:pt idx="1353">
                  <c:v>2658443.772799999</c:v>
                </c:pt>
                <c:pt idx="1354">
                  <c:v>2709285.772799999</c:v>
                </c:pt>
                <c:pt idx="1355">
                  <c:v>2702388.772799999</c:v>
                </c:pt>
                <c:pt idx="1356">
                  <c:v>2695645.772799999</c:v>
                </c:pt>
                <c:pt idx="1357">
                  <c:v>2656309.772799999</c:v>
                </c:pt>
                <c:pt idx="1358">
                  <c:v>2660346.772799999</c:v>
                </c:pt>
                <c:pt idx="1359">
                  <c:v>2697988.772799999</c:v>
                </c:pt>
                <c:pt idx="1360">
                  <c:v>2688858.772799999</c:v>
                </c:pt>
                <c:pt idx="1361">
                  <c:v>2690893.772799999</c:v>
                </c:pt>
                <c:pt idx="1362">
                  <c:v>2665648.772799999</c:v>
                </c:pt>
                <c:pt idx="1363">
                  <c:v>2692807.772799999</c:v>
                </c:pt>
                <c:pt idx="1364">
                  <c:v>2708119.772799999</c:v>
                </c:pt>
                <c:pt idx="1365">
                  <c:v>2708350.772799999</c:v>
                </c:pt>
                <c:pt idx="1366">
                  <c:v>2698857.772799999</c:v>
                </c:pt>
                <c:pt idx="1367">
                  <c:v>2685508.8063999992</c:v>
                </c:pt>
                <c:pt idx="1368">
                  <c:v>2685508.8063999992</c:v>
                </c:pt>
                <c:pt idx="1369">
                  <c:v>2685508.8063999992</c:v>
                </c:pt>
                <c:pt idx="1370">
                  <c:v>2685508.8063999992</c:v>
                </c:pt>
                <c:pt idx="1371">
                  <c:v>2685508.8063999992</c:v>
                </c:pt>
                <c:pt idx="1372">
                  <c:v>2685508.8063999992</c:v>
                </c:pt>
                <c:pt idx="1373">
                  <c:v>2685508.8063999992</c:v>
                </c:pt>
                <c:pt idx="1374">
                  <c:v>2685508.8063999992</c:v>
                </c:pt>
                <c:pt idx="1375">
                  <c:v>2685508.8063999992</c:v>
                </c:pt>
                <c:pt idx="1376">
                  <c:v>2685508.8063999992</c:v>
                </c:pt>
                <c:pt idx="1377">
                  <c:v>2685508.8063999992</c:v>
                </c:pt>
                <c:pt idx="1378">
                  <c:v>2685508.8063999992</c:v>
                </c:pt>
                <c:pt idx="1379">
                  <c:v>2685508.8063999992</c:v>
                </c:pt>
                <c:pt idx="1380">
                  <c:v>2685508.8063999992</c:v>
                </c:pt>
                <c:pt idx="1381">
                  <c:v>2685508.8063999992</c:v>
                </c:pt>
                <c:pt idx="1382">
                  <c:v>2685508.8063999992</c:v>
                </c:pt>
                <c:pt idx="1383">
                  <c:v>2685508.8063999992</c:v>
                </c:pt>
                <c:pt idx="1384">
                  <c:v>2685508.8063999992</c:v>
                </c:pt>
                <c:pt idx="1385">
                  <c:v>2685508.8063999992</c:v>
                </c:pt>
                <c:pt idx="1386">
                  <c:v>2685243.8537999992</c:v>
                </c:pt>
                <c:pt idx="1387">
                  <c:v>2703448.8537999992</c:v>
                </c:pt>
                <c:pt idx="1388">
                  <c:v>2652529.8537999992</c:v>
                </c:pt>
                <c:pt idx="1389">
                  <c:v>2675123.8537999992</c:v>
                </c:pt>
                <c:pt idx="1390">
                  <c:v>2721763.8537999992</c:v>
                </c:pt>
                <c:pt idx="1391">
                  <c:v>2716384.8537999992</c:v>
                </c:pt>
                <c:pt idx="1392">
                  <c:v>2716637.8537999992</c:v>
                </c:pt>
                <c:pt idx="1393">
                  <c:v>2728297.8537999992</c:v>
                </c:pt>
                <c:pt idx="1394">
                  <c:v>2731806.8537999992</c:v>
                </c:pt>
                <c:pt idx="1395">
                  <c:v>2761663.2319999989</c:v>
                </c:pt>
                <c:pt idx="1396">
                  <c:v>2761663.2319999989</c:v>
                </c:pt>
                <c:pt idx="1397">
                  <c:v>2761663.2319999989</c:v>
                </c:pt>
                <c:pt idx="1398">
                  <c:v>2761663.2319999989</c:v>
                </c:pt>
                <c:pt idx="1399">
                  <c:v>2761663.2319999989</c:v>
                </c:pt>
                <c:pt idx="1400">
                  <c:v>2761663.2319999989</c:v>
                </c:pt>
                <c:pt idx="1401">
                  <c:v>2761663.2319999989</c:v>
                </c:pt>
                <c:pt idx="1402">
                  <c:v>2761663.2319999989</c:v>
                </c:pt>
                <c:pt idx="1403">
                  <c:v>2761663.2319999989</c:v>
                </c:pt>
                <c:pt idx="1404">
                  <c:v>2761663.2319999989</c:v>
                </c:pt>
                <c:pt idx="1405">
                  <c:v>2761663.2319999989</c:v>
                </c:pt>
                <c:pt idx="1406">
                  <c:v>2761663.2319999989</c:v>
                </c:pt>
                <c:pt idx="1407">
                  <c:v>2761663.2319999989</c:v>
                </c:pt>
                <c:pt idx="1408">
                  <c:v>2761663.2319999989</c:v>
                </c:pt>
                <c:pt idx="1409">
                  <c:v>2761397.4005</c:v>
                </c:pt>
                <c:pt idx="1410">
                  <c:v>2799600.4005</c:v>
                </c:pt>
                <c:pt idx="1411">
                  <c:v>2818905.4005</c:v>
                </c:pt>
                <c:pt idx="1412">
                  <c:v>2862234.4005</c:v>
                </c:pt>
                <c:pt idx="1413">
                  <c:v>2866887.4005</c:v>
                </c:pt>
                <c:pt idx="1414">
                  <c:v>2867569.4005</c:v>
                </c:pt>
                <c:pt idx="1415">
                  <c:v>2856877.4005</c:v>
                </c:pt>
                <c:pt idx="1416">
                  <c:v>2859759.4005</c:v>
                </c:pt>
                <c:pt idx="1417">
                  <c:v>2855447.4005</c:v>
                </c:pt>
                <c:pt idx="1418">
                  <c:v>2925385.4005</c:v>
                </c:pt>
                <c:pt idx="1419">
                  <c:v>2917553.4005</c:v>
                </c:pt>
                <c:pt idx="1420">
                  <c:v>2956834.4005</c:v>
                </c:pt>
                <c:pt idx="1421">
                  <c:v>2940807.4005</c:v>
                </c:pt>
                <c:pt idx="1422">
                  <c:v>2942281.4005</c:v>
                </c:pt>
                <c:pt idx="1423">
                  <c:v>2926892.4005</c:v>
                </c:pt>
                <c:pt idx="1424">
                  <c:v>2898644.4005</c:v>
                </c:pt>
                <c:pt idx="1425">
                  <c:v>2894024.4005</c:v>
                </c:pt>
                <c:pt idx="1426">
                  <c:v>2893892.4005</c:v>
                </c:pt>
                <c:pt idx="1427">
                  <c:v>2944888.4005</c:v>
                </c:pt>
                <c:pt idx="1428">
                  <c:v>3017268.4005</c:v>
                </c:pt>
                <c:pt idx="1429">
                  <c:v>3057198.4005</c:v>
                </c:pt>
                <c:pt idx="1430">
                  <c:v>3098404.4005</c:v>
                </c:pt>
                <c:pt idx="1431">
                  <c:v>3133021.4004999991</c:v>
                </c:pt>
                <c:pt idx="1432">
                  <c:v>3192784.4005</c:v>
                </c:pt>
                <c:pt idx="1433">
                  <c:v>3204873.4005</c:v>
                </c:pt>
                <c:pt idx="1434">
                  <c:v>3319416.4005</c:v>
                </c:pt>
                <c:pt idx="1435">
                  <c:v>3367387.4005</c:v>
                </c:pt>
                <c:pt idx="1436">
                  <c:v>3517867.4005</c:v>
                </c:pt>
                <c:pt idx="1437">
                  <c:v>3540461.4005</c:v>
                </c:pt>
                <c:pt idx="1438">
                  <c:v>3681250.4005</c:v>
                </c:pt>
                <c:pt idx="1439">
                  <c:v>3520683.4005</c:v>
                </c:pt>
                <c:pt idx="1440">
                  <c:v>3646787.4005</c:v>
                </c:pt>
                <c:pt idx="1441">
                  <c:v>3604393.4005</c:v>
                </c:pt>
                <c:pt idx="1442">
                  <c:v>3615635.4005</c:v>
                </c:pt>
                <c:pt idx="1443">
                  <c:v>3642035.4005</c:v>
                </c:pt>
                <c:pt idx="1444">
                  <c:v>3736822.4005</c:v>
                </c:pt>
                <c:pt idx="1445">
                  <c:v>3799742.4005</c:v>
                </c:pt>
                <c:pt idx="1446">
                  <c:v>3783605.4005</c:v>
                </c:pt>
                <c:pt idx="1447">
                  <c:v>3824569.4005</c:v>
                </c:pt>
                <c:pt idx="1448">
                  <c:v>3837010.4005</c:v>
                </c:pt>
                <c:pt idx="1449">
                  <c:v>3760494.4005</c:v>
                </c:pt>
                <c:pt idx="1450">
                  <c:v>3656511.4005</c:v>
                </c:pt>
                <c:pt idx="1451">
                  <c:v>3772044.4005</c:v>
                </c:pt>
                <c:pt idx="1452">
                  <c:v>3893506.4005</c:v>
                </c:pt>
                <c:pt idx="1453">
                  <c:v>3904088.4005</c:v>
                </c:pt>
                <c:pt idx="1454">
                  <c:v>3906387.4005</c:v>
                </c:pt>
                <c:pt idx="1455">
                  <c:v>3989774.6924000001</c:v>
                </c:pt>
                <c:pt idx="1456">
                  <c:v>3989774.6924000001</c:v>
                </c:pt>
                <c:pt idx="1457">
                  <c:v>3989774.6924000001</c:v>
                </c:pt>
                <c:pt idx="1458">
                  <c:v>3989774.6924000001</c:v>
                </c:pt>
                <c:pt idx="1459">
                  <c:v>3989774.6924000001</c:v>
                </c:pt>
                <c:pt idx="1460">
                  <c:v>3989774.6924000001</c:v>
                </c:pt>
                <c:pt idx="1461">
                  <c:v>3989774.6924000001</c:v>
                </c:pt>
                <c:pt idx="1462">
                  <c:v>3989774.6924000001</c:v>
                </c:pt>
                <c:pt idx="1463">
                  <c:v>3989774.6924000001</c:v>
                </c:pt>
                <c:pt idx="1464">
                  <c:v>3989774.6924000001</c:v>
                </c:pt>
                <c:pt idx="1465">
                  <c:v>3989774.6924000001</c:v>
                </c:pt>
                <c:pt idx="1466">
                  <c:v>3989774.6924000001</c:v>
                </c:pt>
                <c:pt idx="1467">
                  <c:v>3989774.6924000001</c:v>
                </c:pt>
                <c:pt idx="1468">
                  <c:v>3989774.6924000001</c:v>
                </c:pt>
                <c:pt idx="1469">
                  <c:v>3989774.6924000001</c:v>
                </c:pt>
                <c:pt idx="1470">
                  <c:v>3989774.6924000001</c:v>
                </c:pt>
                <c:pt idx="1471">
                  <c:v>3989774.6924000001</c:v>
                </c:pt>
                <c:pt idx="1472">
                  <c:v>3989774.6924000001</c:v>
                </c:pt>
                <c:pt idx="1473">
                  <c:v>3989774.6924000001</c:v>
                </c:pt>
                <c:pt idx="1474">
                  <c:v>3989774.6924000001</c:v>
                </c:pt>
                <c:pt idx="1475">
                  <c:v>3989774.6924000001</c:v>
                </c:pt>
                <c:pt idx="1476">
                  <c:v>3989774.6924000001</c:v>
                </c:pt>
                <c:pt idx="1477">
                  <c:v>3989774.6924000001</c:v>
                </c:pt>
                <c:pt idx="1478">
                  <c:v>3989774.6924000001</c:v>
                </c:pt>
                <c:pt idx="1479">
                  <c:v>3989774.6924000001</c:v>
                </c:pt>
                <c:pt idx="1480">
                  <c:v>3989774.6924000001</c:v>
                </c:pt>
                <c:pt idx="1481">
                  <c:v>3989774.6924000001</c:v>
                </c:pt>
                <c:pt idx="1482">
                  <c:v>3989774.6924000001</c:v>
                </c:pt>
                <c:pt idx="1483">
                  <c:v>3989774.6924000001</c:v>
                </c:pt>
                <c:pt idx="1484">
                  <c:v>3989774.6924000001</c:v>
                </c:pt>
                <c:pt idx="1485">
                  <c:v>3989774.6924000001</c:v>
                </c:pt>
                <c:pt idx="1486">
                  <c:v>3989774.6924000001</c:v>
                </c:pt>
                <c:pt idx="1487">
                  <c:v>3989774.6924000001</c:v>
                </c:pt>
                <c:pt idx="1488">
                  <c:v>3989774.6924000001</c:v>
                </c:pt>
                <c:pt idx="1489">
                  <c:v>3989774.6924000001</c:v>
                </c:pt>
                <c:pt idx="1490">
                  <c:v>3989774.6924000001</c:v>
                </c:pt>
                <c:pt idx="1491">
                  <c:v>3989774.6924000001</c:v>
                </c:pt>
                <c:pt idx="1492">
                  <c:v>3989774.6924000001</c:v>
                </c:pt>
                <c:pt idx="1493">
                  <c:v>3989774.6924000001</c:v>
                </c:pt>
                <c:pt idx="1494">
                  <c:v>3989774.6924000001</c:v>
                </c:pt>
                <c:pt idx="1495">
                  <c:v>3989774.6924000001</c:v>
                </c:pt>
                <c:pt idx="1496">
                  <c:v>3989774.6924000001</c:v>
                </c:pt>
                <c:pt idx="1497">
                  <c:v>3989774.6924000001</c:v>
                </c:pt>
                <c:pt idx="1498">
                  <c:v>3989774.6924000001</c:v>
                </c:pt>
                <c:pt idx="1499">
                  <c:v>3989774.6924000001</c:v>
                </c:pt>
                <c:pt idx="1500">
                  <c:v>3989774.6924000001</c:v>
                </c:pt>
                <c:pt idx="1501">
                  <c:v>3989774.6924000001</c:v>
                </c:pt>
                <c:pt idx="1502">
                  <c:v>3989774.6924000001</c:v>
                </c:pt>
                <c:pt idx="1503">
                  <c:v>3989774.6924000001</c:v>
                </c:pt>
                <c:pt idx="1504">
                  <c:v>3989774.6924000001</c:v>
                </c:pt>
                <c:pt idx="1505">
                  <c:v>3989774.6924000001</c:v>
                </c:pt>
                <c:pt idx="1506">
                  <c:v>3989774.6924000001</c:v>
                </c:pt>
                <c:pt idx="1507">
                  <c:v>3989774.6924000001</c:v>
                </c:pt>
                <c:pt idx="1508">
                  <c:v>3989380.6513999999</c:v>
                </c:pt>
                <c:pt idx="1509">
                  <c:v>3998970.6513999999</c:v>
                </c:pt>
                <c:pt idx="1510">
                  <c:v>4020670.6513999999</c:v>
                </c:pt>
                <c:pt idx="1511">
                  <c:v>4137150.6513999999</c:v>
                </c:pt>
                <c:pt idx="1512">
                  <c:v>4100170.6513999999</c:v>
                </c:pt>
                <c:pt idx="1513">
                  <c:v>4172870.6513999989</c:v>
                </c:pt>
                <c:pt idx="1514">
                  <c:v>4173750.6513999989</c:v>
                </c:pt>
                <c:pt idx="1515">
                  <c:v>4219510.6513999999</c:v>
                </c:pt>
                <c:pt idx="1516">
                  <c:v>4309010.6513999999</c:v>
                </c:pt>
                <c:pt idx="1517">
                  <c:v>4344770.6513999999</c:v>
                </c:pt>
                <c:pt idx="1518">
                  <c:v>4311110.6513999999</c:v>
                </c:pt>
                <c:pt idx="1519">
                  <c:v>4393390.6513999999</c:v>
                </c:pt>
                <c:pt idx="1520">
                  <c:v>4470040.6513999999</c:v>
                </c:pt>
                <c:pt idx="1521">
                  <c:v>4487150.6513999999</c:v>
                </c:pt>
                <c:pt idx="1522">
                  <c:v>4429480.6513999999</c:v>
                </c:pt>
                <c:pt idx="1523">
                  <c:v>4562520.6513999999</c:v>
                </c:pt>
                <c:pt idx="1524">
                  <c:v>4645110.6513999999</c:v>
                </c:pt>
                <c:pt idx="1525">
                  <c:v>4570890.6513999999</c:v>
                </c:pt>
                <c:pt idx="1526">
                  <c:v>4668130.6513999999</c:v>
                </c:pt>
                <c:pt idx="1527">
                  <c:v>4788780.6513999999</c:v>
                </c:pt>
                <c:pt idx="1528">
                  <c:v>4789860.6513999999</c:v>
                </c:pt>
                <c:pt idx="1529">
                  <c:v>4751610.6513999999</c:v>
                </c:pt>
                <c:pt idx="1530">
                  <c:v>4856560.6513999999</c:v>
                </c:pt>
                <c:pt idx="1531">
                  <c:v>4790830.6513999999</c:v>
                </c:pt>
                <c:pt idx="1532">
                  <c:v>4823300.6513999999</c:v>
                </c:pt>
                <c:pt idx="1533">
                  <c:v>4798860.6513999999</c:v>
                </c:pt>
                <c:pt idx="1534">
                  <c:v>4836710.6513999999</c:v>
                </c:pt>
                <c:pt idx="1535">
                  <c:v>4645810.6513999999</c:v>
                </c:pt>
                <c:pt idx="1536">
                  <c:v>4602300.6513999999</c:v>
                </c:pt>
                <c:pt idx="1537">
                  <c:v>4519060.6513999999</c:v>
                </c:pt>
                <c:pt idx="1538">
                  <c:v>4607370.6513999999</c:v>
                </c:pt>
                <c:pt idx="1539">
                  <c:v>4739500.6513999999</c:v>
                </c:pt>
                <c:pt idx="1540">
                  <c:v>4796390.6513999999</c:v>
                </c:pt>
                <c:pt idx="1541">
                  <c:v>4767410.6513999999</c:v>
                </c:pt>
                <c:pt idx="1542">
                  <c:v>4749750.6513999999</c:v>
                </c:pt>
                <c:pt idx="1543">
                  <c:v>4666440.6513999999</c:v>
                </c:pt>
                <c:pt idx="1544">
                  <c:v>4624110.6513999999</c:v>
                </c:pt>
                <c:pt idx="1545">
                  <c:v>4780190.6513999999</c:v>
                </c:pt>
                <c:pt idx="1546">
                  <c:v>4803890.6513999999</c:v>
                </c:pt>
                <c:pt idx="1547">
                  <c:v>4889950.6513999999</c:v>
                </c:pt>
                <c:pt idx="1548">
                  <c:v>5000310.6513999999</c:v>
                </c:pt>
                <c:pt idx="1549">
                  <c:v>5148470.6513999999</c:v>
                </c:pt>
                <c:pt idx="1550">
                  <c:v>5247890.6513999999</c:v>
                </c:pt>
                <c:pt idx="1551">
                  <c:v>5230400.6513999999</c:v>
                </c:pt>
                <c:pt idx="1552">
                  <c:v>4882980.6513999999</c:v>
                </c:pt>
                <c:pt idx="1553">
                  <c:v>4889800.6513999999</c:v>
                </c:pt>
                <c:pt idx="1554">
                  <c:v>5125150.6513999999</c:v>
                </c:pt>
                <c:pt idx="1555">
                  <c:v>5210840.6513999999</c:v>
                </c:pt>
                <c:pt idx="1556">
                  <c:v>5192560.6513999999</c:v>
                </c:pt>
                <c:pt idx="1557">
                  <c:v>5230390.6513999999</c:v>
                </c:pt>
                <c:pt idx="1558">
                  <c:v>5279520.6513999999</c:v>
                </c:pt>
                <c:pt idx="1559">
                  <c:v>5402720.6513999999</c:v>
                </c:pt>
                <c:pt idx="1560">
                  <c:v>5366430.6513999999</c:v>
                </c:pt>
                <c:pt idx="1561">
                  <c:v>5358080.6513999999</c:v>
                </c:pt>
                <c:pt idx="1562">
                  <c:v>5355560.6513999999</c:v>
                </c:pt>
                <c:pt idx="1563">
                  <c:v>5384090.6513999999</c:v>
                </c:pt>
                <c:pt idx="1564">
                  <c:v>5270140.6513999999</c:v>
                </c:pt>
                <c:pt idx="1565">
                  <c:v>5113790.6513999999</c:v>
                </c:pt>
                <c:pt idx="1566">
                  <c:v>5187286.7683999985</c:v>
                </c:pt>
                <c:pt idx="1567">
                  <c:v>5187286.7683999985</c:v>
                </c:pt>
                <c:pt idx="1568">
                  <c:v>5187286.7683999985</c:v>
                </c:pt>
                <c:pt idx="1569">
                  <c:v>5187286.7683999985</c:v>
                </c:pt>
                <c:pt idx="1570">
                  <c:v>5187286.7683999985</c:v>
                </c:pt>
                <c:pt idx="1571">
                  <c:v>5187286.7683999985</c:v>
                </c:pt>
                <c:pt idx="1572">
                  <c:v>5187286.7683999985</c:v>
                </c:pt>
                <c:pt idx="1573">
                  <c:v>5187286.7683999985</c:v>
                </c:pt>
                <c:pt idx="1574">
                  <c:v>5187286.7683999985</c:v>
                </c:pt>
                <c:pt idx="1575">
                  <c:v>5187286.7683999985</c:v>
                </c:pt>
                <c:pt idx="1576">
                  <c:v>5187286.7683999985</c:v>
                </c:pt>
                <c:pt idx="1577">
                  <c:v>5187286.7683999985</c:v>
                </c:pt>
                <c:pt idx="1578">
                  <c:v>5187286.7683999985</c:v>
                </c:pt>
                <c:pt idx="1579">
                  <c:v>5187286.7683999985</c:v>
                </c:pt>
                <c:pt idx="1580">
                  <c:v>5187286.7683999985</c:v>
                </c:pt>
                <c:pt idx="1581">
                  <c:v>5187286.7683999985</c:v>
                </c:pt>
                <c:pt idx="1582">
                  <c:v>5187286.7683999985</c:v>
                </c:pt>
                <c:pt idx="1583">
                  <c:v>5187286.7683999985</c:v>
                </c:pt>
                <c:pt idx="1584">
                  <c:v>5187286.7683999985</c:v>
                </c:pt>
                <c:pt idx="1585">
                  <c:v>5187286.7683999985</c:v>
                </c:pt>
                <c:pt idx="1586">
                  <c:v>5187286.7683999985</c:v>
                </c:pt>
                <c:pt idx="1587">
                  <c:v>5187286.7683999985</c:v>
                </c:pt>
                <c:pt idx="1588">
                  <c:v>5187286.7683999985</c:v>
                </c:pt>
                <c:pt idx="1589">
                  <c:v>5187286.7683999985</c:v>
                </c:pt>
                <c:pt idx="1590">
                  <c:v>5187286.7683999985</c:v>
                </c:pt>
                <c:pt idx="1591">
                  <c:v>5187286.7683999985</c:v>
                </c:pt>
                <c:pt idx="1592">
                  <c:v>5187286.7683999985</c:v>
                </c:pt>
                <c:pt idx="1593">
                  <c:v>5187286.7683999985</c:v>
                </c:pt>
                <c:pt idx="1594">
                  <c:v>5187286.7683999985</c:v>
                </c:pt>
                <c:pt idx="1595">
                  <c:v>5187286.7683999985</c:v>
                </c:pt>
                <c:pt idx="1596">
                  <c:v>5187286.7683999985</c:v>
                </c:pt>
                <c:pt idx="1597">
                  <c:v>5187286.7683999985</c:v>
                </c:pt>
                <c:pt idx="1598">
                  <c:v>5187286.7683999985</c:v>
                </c:pt>
                <c:pt idx="1599">
                  <c:v>5187286.7683999985</c:v>
                </c:pt>
                <c:pt idx="1600">
                  <c:v>5187286.7683999985</c:v>
                </c:pt>
                <c:pt idx="1601">
                  <c:v>5187286.7683999985</c:v>
                </c:pt>
                <c:pt idx="1602">
                  <c:v>5187286.7683999985</c:v>
                </c:pt>
                <c:pt idx="1603">
                  <c:v>5187286.7683999985</c:v>
                </c:pt>
                <c:pt idx="1604">
                  <c:v>5187286.7683999985</c:v>
                </c:pt>
                <c:pt idx="1605">
                  <c:v>5187286.7683999985</c:v>
                </c:pt>
                <c:pt idx="1606">
                  <c:v>5187286.7683999985</c:v>
                </c:pt>
                <c:pt idx="1607">
                  <c:v>5187286.7683999985</c:v>
                </c:pt>
                <c:pt idx="1608">
                  <c:v>5187286.7683999985</c:v>
                </c:pt>
                <c:pt idx="1609">
                  <c:v>5187286.7683999985</c:v>
                </c:pt>
                <c:pt idx="1610">
                  <c:v>5187286.7683999985</c:v>
                </c:pt>
                <c:pt idx="1611">
                  <c:v>5187286.7683999985</c:v>
                </c:pt>
                <c:pt idx="1612">
                  <c:v>5187286.7683999985</c:v>
                </c:pt>
                <c:pt idx="1613">
                  <c:v>5187286.7683999985</c:v>
                </c:pt>
                <c:pt idx="1614">
                  <c:v>5187286.7683999985</c:v>
                </c:pt>
                <c:pt idx="1615">
                  <c:v>5187286.7683999985</c:v>
                </c:pt>
                <c:pt idx="1616">
                  <c:v>5187286.7683999985</c:v>
                </c:pt>
                <c:pt idx="1617">
                  <c:v>5187286.7683999985</c:v>
                </c:pt>
                <c:pt idx="1618">
                  <c:v>5187286.7683999985</c:v>
                </c:pt>
                <c:pt idx="1619">
                  <c:v>5187286.7683999985</c:v>
                </c:pt>
                <c:pt idx="1620">
                  <c:v>5187286.7683999985</c:v>
                </c:pt>
                <c:pt idx="1621">
                  <c:v>5187286.7683999985</c:v>
                </c:pt>
                <c:pt idx="1622">
                  <c:v>5187286.7683999985</c:v>
                </c:pt>
                <c:pt idx="1623">
                  <c:v>5187286.7683999985</c:v>
                </c:pt>
                <c:pt idx="1624">
                  <c:v>5187286.7683999985</c:v>
                </c:pt>
                <c:pt idx="1625">
                  <c:v>5187286.7683999985</c:v>
                </c:pt>
                <c:pt idx="1626">
                  <c:v>5187286.7683999985</c:v>
                </c:pt>
                <c:pt idx="1627">
                  <c:v>5186782.4115999993</c:v>
                </c:pt>
                <c:pt idx="1628">
                  <c:v>5438014.4115999993</c:v>
                </c:pt>
                <c:pt idx="1629">
                  <c:v>5322414.4115999993</c:v>
                </c:pt>
                <c:pt idx="1630">
                  <c:v>5345246.4115999993</c:v>
                </c:pt>
                <c:pt idx="1631">
                  <c:v>5435885.091599999</c:v>
                </c:pt>
                <c:pt idx="1632">
                  <c:v>5435885.091599999</c:v>
                </c:pt>
                <c:pt idx="1633">
                  <c:v>5435885.091599999</c:v>
                </c:pt>
                <c:pt idx="1634">
                  <c:v>5435885.091599999</c:v>
                </c:pt>
                <c:pt idx="1635">
                  <c:v>5435885.091599999</c:v>
                </c:pt>
                <c:pt idx="1636">
                  <c:v>5435885.091599999</c:v>
                </c:pt>
                <c:pt idx="1637">
                  <c:v>5435885.091599999</c:v>
                </c:pt>
                <c:pt idx="1638">
                  <c:v>5435885.091599999</c:v>
                </c:pt>
                <c:pt idx="1639">
                  <c:v>5435885.091599999</c:v>
                </c:pt>
                <c:pt idx="1640">
                  <c:v>5435885.091599999</c:v>
                </c:pt>
                <c:pt idx="1641">
                  <c:v>5435885.091599999</c:v>
                </c:pt>
                <c:pt idx="1642">
                  <c:v>5435885.091599999</c:v>
                </c:pt>
                <c:pt idx="1643">
                  <c:v>5435885.091599999</c:v>
                </c:pt>
                <c:pt idx="1644">
                  <c:v>5435885.091599999</c:v>
                </c:pt>
                <c:pt idx="1645">
                  <c:v>5435885.091599999</c:v>
                </c:pt>
                <c:pt idx="1646">
                  <c:v>5435885.091599999</c:v>
                </c:pt>
                <c:pt idx="1647">
                  <c:v>5435885.091599999</c:v>
                </c:pt>
                <c:pt idx="1648">
                  <c:v>5435364.1040999992</c:v>
                </c:pt>
                <c:pt idx="1649">
                  <c:v>5512284.1040999992</c:v>
                </c:pt>
                <c:pt idx="1650">
                  <c:v>5582349.1040999992</c:v>
                </c:pt>
                <c:pt idx="1651">
                  <c:v>5609379.1040999992</c:v>
                </c:pt>
                <c:pt idx="1652">
                  <c:v>5614809.1040999992</c:v>
                </c:pt>
                <c:pt idx="1653">
                  <c:v>5512869.1040999992</c:v>
                </c:pt>
                <c:pt idx="1654">
                  <c:v>5525454.1040999992</c:v>
                </c:pt>
                <c:pt idx="1655">
                  <c:v>5526609.1040999992</c:v>
                </c:pt>
                <c:pt idx="1656">
                  <c:v>5439429.1040999992</c:v>
                </c:pt>
                <c:pt idx="1657">
                  <c:v>5423724.1040999992</c:v>
                </c:pt>
                <c:pt idx="1658">
                  <c:v>5668299.1040999992</c:v>
                </c:pt>
                <c:pt idx="1659">
                  <c:v>5784444.1040999992</c:v>
                </c:pt>
                <c:pt idx="1660">
                  <c:v>5915544.1040999992</c:v>
                </c:pt>
                <c:pt idx="1661">
                  <c:v>5986014.1040999992</c:v>
                </c:pt>
                <c:pt idx="1662">
                  <c:v>5975349.1040999992</c:v>
                </c:pt>
                <c:pt idx="1663">
                  <c:v>5975964.1040999992</c:v>
                </c:pt>
                <c:pt idx="1664">
                  <c:v>5918469.1040999992</c:v>
                </c:pt>
                <c:pt idx="1665">
                  <c:v>5844849.1040999992</c:v>
                </c:pt>
                <c:pt idx="1666">
                  <c:v>5871684.1040999992</c:v>
                </c:pt>
                <c:pt idx="1667">
                  <c:v>5863074.1040999992</c:v>
                </c:pt>
                <c:pt idx="1668">
                  <c:v>5798859.1040999992</c:v>
                </c:pt>
                <c:pt idx="1669">
                  <c:v>5887944.1040999992</c:v>
                </c:pt>
                <c:pt idx="1670">
                  <c:v>5887059.1040999992</c:v>
                </c:pt>
                <c:pt idx="1671">
                  <c:v>5855499.1040999992</c:v>
                </c:pt>
                <c:pt idx="1672">
                  <c:v>5856324.1040999992</c:v>
                </c:pt>
                <c:pt idx="1673">
                  <c:v>5897904.1040999992</c:v>
                </c:pt>
                <c:pt idx="1674">
                  <c:v>5864634.1040999992</c:v>
                </c:pt>
                <c:pt idx="1675">
                  <c:v>5560974.1040999992</c:v>
                </c:pt>
                <c:pt idx="1676">
                  <c:v>5574569.142599999</c:v>
                </c:pt>
                <c:pt idx="1677">
                  <c:v>5574569.142599999</c:v>
                </c:pt>
                <c:pt idx="1678">
                  <c:v>5574569.142599999</c:v>
                </c:pt>
                <c:pt idx="1679">
                  <c:v>5574569.142599999</c:v>
                </c:pt>
                <c:pt idx="1680">
                  <c:v>5574569.142599999</c:v>
                </c:pt>
                <c:pt idx="1681">
                  <c:v>5574569.142599999</c:v>
                </c:pt>
                <c:pt idx="1682">
                  <c:v>5574569.142599999</c:v>
                </c:pt>
                <c:pt idx="1683">
                  <c:v>5574569.142599999</c:v>
                </c:pt>
                <c:pt idx="1684">
                  <c:v>5574569.142599999</c:v>
                </c:pt>
                <c:pt idx="1685">
                  <c:v>5574569.142599999</c:v>
                </c:pt>
                <c:pt idx="1686">
                  <c:v>5574569.142599999</c:v>
                </c:pt>
                <c:pt idx="1687">
                  <c:v>5574569.142599999</c:v>
                </c:pt>
                <c:pt idx="1688">
                  <c:v>5574569.142599999</c:v>
                </c:pt>
                <c:pt idx="1689">
                  <c:v>5574569.142599999</c:v>
                </c:pt>
                <c:pt idx="1690">
                  <c:v>5574569.142599999</c:v>
                </c:pt>
                <c:pt idx="1691">
                  <c:v>5574569.142599999</c:v>
                </c:pt>
                <c:pt idx="1692">
                  <c:v>5574569.142599999</c:v>
                </c:pt>
                <c:pt idx="1693">
                  <c:v>5574569.142599999</c:v>
                </c:pt>
                <c:pt idx="1694">
                  <c:v>5574569.142599999</c:v>
                </c:pt>
                <c:pt idx="1695">
                  <c:v>5574569.142599999</c:v>
                </c:pt>
                <c:pt idx="1696">
                  <c:v>5574569.142599999</c:v>
                </c:pt>
                <c:pt idx="1697">
                  <c:v>5574569.142599999</c:v>
                </c:pt>
                <c:pt idx="1698">
                  <c:v>5574569.142599999</c:v>
                </c:pt>
                <c:pt idx="1699">
                  <c:v>5574569.142599999</c:v>
                </c:pt>
                <c:pt idx="1700">
                  <c:v>5574569.142599999</c:v>
                </c:pt>
                <c:pt idx="1701">
                  <c:v>5574569.142599999</c:v>
                </c:pt>
                <c:pt idx="1702">
                  <c:v>5574569.142599999</c:v>
                </c:pt>
                <c:pt idx="1703">
                  <c:v>5574569.142599999</c:v>
                </c:pt>
                <c:pt idx="1704">
                  <c:v>5574569.142599999</c:v>
                </c:pt>
                <c:pt idx="1705">
                  <c:v>5574569.142599999</c:v>
                </c:pt>
                <c:pt idx="1706">
                  <c:v>5574569.142599999</c:v>
                </c:pt>
                <c:pt idx="1707">
                  <c:v>5574569.142599999</c:v>
                </c:pt>
                <c:pt idx="1708">
                  <c:v>5574569.142599999</c:v>
                </c:pt>
                <c:pt idx="1709">
                  <c:v>5574569.142599999</c:v>
                </c:pt>
                <c:pt idx="1710">
                  <c:v>5574569.142599999</c:v>
                </c:pt>
                <c:pt idx="1711">
                  <c:v>5574569.142599999</c:v>
                </c:pt>
                <c:pt idx="1712">
                  <c:v>5574569.142599999</c:v>
                </c:pt>
                <c:pt idx="1713">
                  <c:v>5574569.142599999</c:v>
                </c:pt>
                <c:pt idx="1714">
                  <c:v>5574569.142599999</c:v>
                </c:pt>
                <c:pt idx="1715">
                  <c:v>5574569.142599999</c:v>
                </c:pt>
                <c:pt idx="1716">
                  <c:v>5574569.142599999</c:v>
                </c:pt>
                <c:pt idx="1717">
                  <c:v>5574569.142599999</c:v>
                </c:pt>
                <c:pt idx="1718">
                  <c:v>5574026.928199999</c:v>
                </c:pt>
                <c:pt idx="1719">
                  <c:v>5749453.928199999</c:v>
                </c:pt>
                <c:pt idx="1720">
                  <c:v>5663877.928199999</c:v>
                </c:pt>
                <c:pt idx="1721">
                  <c:v>5778409.928199999</c:v>
                </c:pt>
                <c:pt idx="1722">
                  <c:v>5754298.928199999</c:v>
                </c:pt>
                <c:pt idx="1723">
                  <c:v>5822926.928199999</c:v>
                </c:pt>
                <c:pt idx="1724">
                  <c:v>5783083.928199999</c:v>
                </c:pt>
                <c:pt idx="1725">
                  <c:v>5750631.928199999</c:v>
                </c:pt>
                <c:pt idx="1726">
                  <c:v>5922258.928199999</c:v>
                </c:pt>
                <c:pt idx="1727">
                  <c:v>5972190.928199999</c:v>
                </c:pt>
                <c:pt idx="1728">
                  <c:v>5953912.928199999</c:v>
                </c:pt>
                <c:pt idx="1729">
                  <c:v>5949903.928199999</c:v>
                </c:pt>
                <c:pt idx="1730">
                  <c:v>6077735.928199999</c:v>
                </c:pt>
                <c:pt idx="1731">
                  <c:v>6021666.928199999</c:v>
                </c:pt>
                <c:pt idx="1732">
                  <c:v>6060027.928199999</c:v>
                </c:pt>
                <c:pt idx="1733">
                  <c:v>5697507.928199999</c:v>
                </c:pt>
                <c:pt idx="1734">
                  <c:v>5753139.928199999</c:v>
                </c:pt>
                <c:pt idx="1735">
                  <c:v>5619075.928199999</c:v>
                </c:pt>
                <c:pt idx="1736">
                  <c:v>5720193.928199999</c:v>
                </c:pt>
                <c:pt idx="1737">
                  <c:v>5949409.928199999</c:v>
                </c:pt>
                <c:pt idx="1738">
                  <c:v>5962880.928199999</c:v>
                </c:pt>
                <c:pt idx="1739">
                  <c:v>6030273.928199999</c:v>
                </c:pt>
                <c:pt idx="1740">
                  <c:v>6051078.928199999</c:v>
                </c:pt>
                <c:pt idx="1741">
                  <c:v>6056455.928199999</c:v>
                </c:pt>
                <c:pt idx="1742">
                  <c:v>5988511.928199999</c:v>
                </c:pt>
                <c:pt idx="1743">
                  <c:v>5876295.4296999993</c:v>
                </c:pt>
                <c:pt idx="1744">
                  <c:v>5876295.4296999993</c:v>
                </c:pt>
                <c:pt idx="1745">
                  <c:v>5876295.4296999993</c:v>
                </c:pt>
                <c:pt idx="1746">
                  <c:v>5876295.4296999993</c:v>
                </c:pt>
                <c:pt idx="1747">
                  <c:v>5876295.4296999993</c:v>
                </c:pt>
                <c:pt idx="1748">
                  <c:v>5876295.4296999993</c:v>
                </c:pt>
                <c:pt idx="1749">
                  <c:v>5876295.4296999993</c:v>
                </c:pt>
                <c:pt idx="1750">
                  <c:v>5876295.4296999993</c:v>
                </c:pt>
                <c:pt idx="1751">
                  <c:v>5876295.4296999993</c:v>
                </c:pt>
                <c:pt idx="1752">
                  <c:v>5876295.4296999993</c:v>
                </c:pt>
                <c:pt idx="1753">
                  <c:v>5876295.4296999993</c:v>
                </c:pt>
                <c:pt idx="1754">
                  <c:v>5876295.4296999993</c:v>
                </c:pt>
                <c:pt idx="1755">
                  <c:v>5876295.4296999993</c:v>
                </c:pt>
                <c:pt idx="1756">
                  <c:v>5876295.4296999993</c:v>
                </c:pt>
                <c:pt idx="1757">
                  <c:v>5876295.4296999993</c:v>
                </c:pt>
                <c:pt idx="1758">
                  <c:v>5876295.4296999993</c:v>
                </c:pt>
                <c:pt idx="1759">
                  <c:v>5876295.4296999993</c:v>
                </c:pt>
                <c:pt idx="1760">
                  <c:v>5876295.4296999993</c:v>
                </c:pt>
                <c:pt idx="1761">
                  <c:v>5876295.4296999993</c:v>
                </c:pt>
                <c:pt idx="1762">
                  <c:v>5876295.4296999993</c:v>
                </c:pt>
                <c:pt idx="1763">
                  <c:v>5876295.4296999993</c:v>
                </c:pt>
                <c:pt idx="1764">
                  <c:v>5876295.4296999993</c:v>
                </c:pt>
                <c:pt idx="1765">
                  <c:v>5876295.4296999993</c:v>
                </c:pt>
                <c:pt idx="1766">
                  <c:v>5876295.4296999993</c:v>
                </c:pt>
                <c:pt idx="1767">
                  <c:v>5876295.4296999993</c:v>
                </c:pt>
                <c:pt idx="1768">
                  <c:v>5876295.4296999993</c:v>
                </c:pt>
                <c:pt idx="1769">
                  <c:v>5876295.4296999993</c:v>
                </c:pt>
                <c:pt idx="1770">
                  <c:v>5876295.4296999993</c:v>
                </c:pt>
                <c:pt idx="1771">
                  <c:v>5876295.4296999993</c:v>
                </c:pt>
                <c:pt idx="1772">
                  <c:v>5876295.4296999993</c:v>
                </c:pt>
                <c:pt idx="1773">
                  <c:v>5876295.4296999993</c:v>
                </c:pt>
                <c:pt idx="1774">
                  <c:v>5876295.4296999993</c:v>
                </c:pt>
                <c:pt idx="1775">
                  <c:v>5876295.4296999993</c:v>
                </c:pt>
                <c:pt idx="1776">
                  <c:v>5876295.4296999993</c:v>
                </c:pt>
                <c:pt idx="1777">
                  <c:v>5876295.4296999993</c:v>
                </c:pt>
                <c:pt idx="1778">
                  <c:v>5876295.4296999993</c:v>
                </c:pt>
                <c:pt idx="1779">
                  <c:v>5876295.4296999993</c:v>
                </c:pt>
                <c:pt idx="1780">
                  <c:v>5876295.4296999993</c:v>
                </c:pt>
                <c:pt idx="1781">
                  <c:v>5876295.4296999993</c:v>
                </c:pt>
                <c:pt idx="1782">
                  <c:v>5876295.4296999993</c:v>
                </c:pt>
                <c:pt idx="1783">
                  <c:v>5876295.4296999993</c:v>
                </c:pt>
                <c:pt idx="1784">
                  <c:v>5876295.4296999993</c:v>
                </c:pt>
                <c:pt idx="1785">
                  <c:v>5876295.4296999993</c:v>
                </c:pt>
                <c:pt idx="1786">
                  <c:v>5876295.4296999993</c:v>
                </c:pt>
                <c:pt idx="1787">
                  <c:v>5876295.4296999993</c:v>
                </c:pt>
                <c:pt idx="1788">
                  <c:v>5876295.4296999993</c:v>
                </c:pt>
                <c:pt idx="1789">
                  <c:v>5876295.4296999993</c:v>
                </c:pt>
                <c:pt idx="1790">
                  <c:v>5876295.4296999993</c:v>
                </c:pt>
                <c:pt idx="1791">
                  <c:v>5876295.4296999993</c:v>
                </c:pt>
                <c:pt idx="1792">
                  <c:v>5876295.4296999993</c:v>
                </c:pt>
                <c:pt idx="1793">
                  <c:v>5876295.4296999993</c:v>
                </c:pt>
                <c:pt idx="1794">
                  <c:v>5876295.4296999993</c:v>
                </c:pt>
                <c:pt idx="1795">
                  <c:v>5876295.4296999993</c:v>
                </c:pt>
                <c:pt idx="1796">
                  <c:v>5876295.4296999993</c:v>
                </c:pt>
                <c:pt idx="1797">
                  <c:v>5876295.4296999993</c:v>
                </c:pt>
                <c:pt idx="1798">
                  <c:v>5876295.4296999993</c:v>
                </c:pt>
                <c:pt idx="1799">
                  <c:v>5876295.4296999993</c:v>
                </c:pt>
                <c:pt idx="1800">
                  <c:v>5875726.5306999991</c:v>
                </c:pt>
                <c:pt idx="1801">
                  <c:v>5887516.5306999991</c:v>
                </c:pt>
                <c:pt idx="1802">
                  <c:v>5927530.5306999991</c:v>
                </c:pt>
                <c:pt idx="1803">
                  <c:v>5908558.5306999991</c:v>
                </c:pt>
                <c:pt idx="1804">
                  <c:v>5905426.5306999991</c:v>
                </c:pt>
                <c:pt idx="1805">
                  <c:v>5881918.5306999991</c:v>
                </c:pt>
                <c:pt idx="1806">
                  <c:v>5706148.5306999991</c:v>
                </c:pt>
                <c:pt idx="1807">
                  <c:v>5723500.5306999991</c:v>
                </c:pt>
                <c:pt idx="1808">
                  <c:v>5796202.5306999991</c:v>
                </c:pt>
                <c:pt idx="1809">
                  <c:v>5757142.5306999991</c:v>
                </c:pt>
                <c:pt idx="1810">
                  <c:v>5785384.5306999991</c:v>
                </c:pt>
                <c:pt idx="1811">
                  <c:v>5789542.5306999991</c:v>
                </c:pt>
                <c:pt idx="1812">
                  <c:v>5778112.5306999991</c:v>
                </c:pt>
                <c:pt idx="1813">
                  <c:v>5827864.5306999991</c:v>
                </c:pt>
                <c:pt idx="1814">
                  <c:v>5797912.5306999991</c:v>
                </c:pt>
                <c:pt idx="1815">
                  <c:v>5725624.5306999991</c:v>
                </c:pt>
                <c:pt idx="1816">
                  <c:v>5803708.5306999991</c:v>
                </c:pt>
                <c:pt idx="1817">
                  <c:v>5832256.5306999991</c:v>
                </c:pt>
                <c:pt idx="1818">
                  <c:v>5858671.2804999994</c:v>
                </c:pt>
                <c:pt idx="1819">
                  <c:v>5858671.2804999994</c:v>
                </c:pt>
                <c:pt idx="1820">
                  <c:v>5858671.2804999994</c:v>
                </c:pt>
                <c:pt idx="1821">
                  <c:v>5858671.2804999994</c:v>
                </c:pt>
                <c:pt idx="1822">
                  <c:v>5858671.2804999994</c:v>
                </c:pt>
                <c:pt idx="1823">
                  <c:v>5858671.2804999994</c:v>
                </c:pt>
                <c:pt idx="1824">
                  <c:v>5858671.2804999994</c:v>
                </c:pt>
                <c:pt idx="1825">
                  <c:v>5858671.2804999994</c:v>
                </c:pt>
                <c:pt idx="1826">
                  <c:v>5858671.2804999994</c:v>
                </c:pt>
                <c:pt idx="1827">
                  <c:v>5858671.2804999994</c:v>
                </c:pt>
                <c:pt idx="1828">
                  <c:v>5858671.2804999994</c:v>
                </c:pt>
                <c:pt idx="1829">
                  <c:v>5858671.2804999994</c:v>
                </c:pt>
                <c:pt idx="1830">
                  <c:v>5858671.2804999994</c:v>
                </c:pt>
                <c:pt idx="1831">
                  <c:v>5858671.2804999994</c:v>
                </c:pt>
                <c:pt idx="1832">
                  <c:v>5858671.2804999994</c:v>
                </c:pt>
                <c:pt idx="1833">
                  <c:v>5858671.2804999994</c:v>
                </c:pt>
                <c:pt idx="1834">
                  <c:v>5858671.2804999994</c:v>
                </c:pt>
                <c:pt idx="1835">
                  <c:v>5858671.2804999994</c:v>
                </c:pt>
                <c:pt idx="1836">
                  <c:v>5858671.2804999994</c:v>
                </c:pt>
                <c:pt idx="1837">
                  <c:v>5858671.2804999994</c:v>
                </c:pt>
                <c:pt idx="1838">
                  <c:v>5858671.2804999994</c:v>
                </c:pt>
                <c:pt idx="1839">
                  <c:v>5858671.2804999994</c:v>
                </c:pt>
                <c:pt idx="1840">
                  <c:v>5858671.2804999994</c:v>
                </c:pt>
                <c:pt idx="1841">
                  <c:v>5858671.2804999994</c:v>
                </c:pt>
                <c:pt idx="1842">
                  <c:v>5858671.2804999994</c:v>
                </c:pt>
                <c:pt idx="1843">
                  <c:v>5858671.2804999994</c:v>
                </c:pt>
                <c:pt idx="1844">
                  <c:v>5858671.2804999994</c:v>
                </c:pt>
                <c:pt idx="1845">
                  <c:v>5858671.2804999994</c:v>
                </c:pt>
                <c:pt idx="1846">
                  <c:v>5858671.2804999994</c:v>
                </c:pt>
                <c:pt idx="1847">
                  <c:v>5858671.2804999994</c:v>
                </c:pt>
                <c:pt idx="1848">
                  <c:v>5858671.2804999994</c:v>
                </c:pt>
                <c:pt idx="1849">
                  <c:v>5858671.2804999994</c:v>
                </c:pt>
                <c:pt idx="1850">
                  <c:v>5858671.2804999994</c:v>
                </c:pt>
                <c:pt idx="1851">
                  <c:v>5858671.2804999994</c:v>
                </c:pt>
                <c:pt idx="1852">
                  <c:v>5858096.9779999992</c:v>
                </c:pt>
                <c:pt idx="1853">
                  <c:v>5849256.9779999992</c:v>
                </c:pt>
                <c:pt idx="1854">
                  <c:v>5834704.9779999992</c:v>
                </c:pt>
                <c:pt idx="1855">
                  <c:v>5835605.9779999992</c:v>
                </c:pt>
                <c:pt idx="1856">
                  <c:v>5787614.9779999992</c:v>
                </c:pt>
                <c:pt idx="1857">
                  <c:v>5796182.9779999992</c:v>
                </c:pt>
                <c:pt idx="1858">
                  <c:v>5775833.9779999992</c:v>
                </c:pt>
                <c:pt idx="1859">
                  <c:v>5740320.9779999992</c:v>
                </c:pt>
                <c:pt idx="1860">
                  <c:v>5737124.9779999992</c:v>
                </c:pt>
                <c:pt idx="1861">
                  <c:v>5738297.9779999992</c:v>
                </c:pt>
                <c:pt idx="1862">
                  <c:v>5745454.9779999992</c:v>
                </c:pt>
                <c:pt idx="1863">
                  <c:v>5772314.9779999992</c:v>
                </c:pt>
                <c:pt idx="1864">
                  <c:v>5727757.9779999992</c:v>
                </c:pt>
                <c:pt idx="1865">
                  <c:v>5749058.9779999992</c:v>
                </c:pt>
                <c:pt idx="1866">
                  <c:v>5758527.9779999992</c:v>
                </c:pt>
                <c:pt idx="1867">
                  <c:v>5797542.9779999992</c:v>
                </c:pt>
                <c:pt idx="1868">
                  <c:v>5794465.9779999992</c:v>
                </c:pt>
                <c:pt idx="1869">
                  <c:v>5792323.9779999992</c:v>
                </c:pt>
                <c:pt idx="1870">
                  <c:v>5755739.9779999992</c:v>
                </c:pt>
                <c:pt idx="1871">
                  <c:v>5661491.9779999992</c:v>
                </c:pt>
                <c:pt idx="1872">
                  <c:v>5657632.9779999992</c:v>
                </c:pt>
                <c:pt idx="1873">
                  <c:v>5620912.9779999992</c:v>
                </c:pt>
                <c:pt idx="1874">
                  <c:v>5662375.9779999992</c:v>
                </c:pt>
                <c:pt idx="1875">
                  <c:v>5652651.9779999992</c:v>
                </c:pt>
                <c:pt idx="1876">
                  <c:v>5668359.9779999992</c:v>
                </c:pt>
                <c:pt idx="1877">
                  <c:v>5709975.9779999992</c:v>
                </c:pt>
                <c:pt idx="1878">
                  <c:v>5683710.9779999992</c:v>
                </c:pt>
                <c:pt idx="1879">
                  <c:v>5589547.9779999992</c:v>
                </c:pt>
                <c:pt idx="1880">
                  <c:v>5624346.9779999992</c:v>
                </c:pt>
                <c:pt idx="1881">
                  <c:v>5607584.9779999992</c:v>
                </c:pt>
                <c:pt idx="1882">
                  <c:v>5630534.9779999992</c:v>
                </c:pt>
                <c:pt idx="1883">
                  <c:v>5645647.9779999992</c:v>
                </c:pt>
                <c:pt idx="1884">
                  <c:v>5714650.9779999992</c:v>
                </c:pt>
                <c:pt idx="1885">
                  <c:v>5736223.9779999992</c:v>
                </c:pt>
                <c:pt idx="1886">
                  <c:v>5725088.9779999992</c:v>
                </c:pt>
                <c:pt idx="1887">
                  <c:v>5729576.9779999992</c:v>
                </c:pt>
                <c:pt idx="1888">
                  <c:v>5735016.9779999992</c:v>
                </c:pt>
                <c:pt idx="1889">
                  <c:v>5687467.9779999992</c:v>
                </c:pt>
                <c:pt idx="1890">
                  <c:v>5761332.9779999992</c:v>
                </c:pt>
                <c:pt idx="1891">
                  <c:v>5752679.9779999992</c:v>
                </c:pt>
                <c:pt idx="1892">
                  <c:v>5756691.9779999992</c:v>
                </c:pt>
                <c:pt idx="1893">
                  <c:v>5772229.9779999992</c:v>
                </c:pt>
                <c:pt idx="1894">
                  <c:v>5839957.9779999992</c:v>
                </c:pt>
                <c:pt idx="1895">
                  <c:v>5839736.9779999992</c:v>
                </c:pt>
                <c:pt idx="1896">
                  <c:v>5818231.9779999992</c:v>
                </c:pt>
                <c:pt idx="1897">
                  <c:v>5802761.9779999992</c:v>
                </c:pt>
                <c:pt idx="1898">
                  <c:v>5793292.9779999992</c:v>
                </c:pt>
                <c:pt idx="1899">
                  <c:v>5786747.9779999992</c:v>
                </c:pt>
                <c:pt idx="1900">
                  <c:v>5825456.9779999992</c:v>
                </c:pt>
                <c:pt idx="1901">
                  <c:v>5781766.9779999992</c:v>
                </c:pt>
                <c:pt idx="1902">
                  <c:v>5835724.9779999992</c:v>
                </c:pt>
                <c:pt idx="1903">
                  <c:v>5817160.9779999992</c:v>
                </c:pt>
                <c:pt idx="1904">
                  <c:v>5821274.9779999992</c:v>
                </c:pt>
                <c:pt idx="1905">
                  <c:v>5845975.9779999992</c:v>
                </c:pt>
                <c:pt idx="1906">
                  <c:v>5815256.9779999992</c:v>
                </c:pt>
                <c:pt idx="1907">
                  <c:v>5879108.9779999992</c:v>
                </c:pt>
                <c:pt idx="1908">
                  <c:v>5924345.9779999992</c:v>
                </c:pt>
                <c:pt idx="1909">
                  <c:v>5946496.9779999992</c:v>
                </c:pt>
                <c:pt idx="1910">
                  <c:v>5945850.9779999992</c:v>
                </c:pt>
                <c:pt idx="1911">
                  <c:v>5945374.9779999992</c:v>
                </c:pt>
                <c:pt idx="1912">
                  <c:v>5957189.9779999992</c:v>
                </c:pt>
                <c:pt idx="1913">
                  <c:v>5924753.9779999992</c:v>
                </c:pt>
                <c:pt idx="1914">
                  <c:v>5964958.9779999992</c:v>
                </c:pt>
                <c:pt idx="1915">
                  <c:v>6011283.9779999992</c:v>
                </c:pt>
                <c:pt idx="1916">
                  <c:v>6022112.9779999992</c:v>
                </c:pt>
                <c:pt idx="1917">
                  <c:v>6045929.9779999992</c:v>
                </c:pt>
                <c:pt idx="1918">
                  <c:v>6101281.9779999992</c:v>
                </c:pt>
                <c:pt idx="1919">
                  <c:v>6124707.9779999992</c:v>
                </c:pt>
                <c:pt idx="1920">
                  <c:v>6173939.9779999992</c:v>
                </c:pt>
                <c:pt idx="1921">
                  <c:v>6129671.9779999992</c:v>
                </c:pt>
                <c:pt idx="1922">
                  <c:v>6175639.9779999992</c:v>
                </c:pt>
                <c:pt idx="1923">
                  <c:v>6114286.9779999992</c:v>
                </c:pt>
                <c:pt idx="1924">
                  <c:v>6013068.9779999992</c:v>
                </c:pt>
                <c:pt idx="1925">
                  <c:v>5995626.9779999992</c:v>
                </c:pt>
                <c:pt idx="1926">
                  <c:v>6023846.9779999992</c:v>
                </c:pt>
                <c:pt idx="1927">
                  <c:v>6014309.9779999992</c:v>
                </c:pt>
                <c:pt idx="1928">
                  <c:v>6054361.9779999992</c:v>
                </c:pt>
                <c:pt idx="1929">
                  <c:v>5910677.9779999992</c:v>
                </c:pt>
                <c:pt idx="1930">
                  <c:v>5903639.9779999992</c:v>
                </c:pt>
                <c:pt idx="1931">
                  <c:v>5859286.9779999992</c:v>
                </c:pt>
                <c:pt idx="1932">
                  <c:v>5793802.9779999992</c:v>
                </c:pt>
                <c:pt idx="1933">
                  <c:v>5803322.9779999992</c:v>
                </c:pt>
                <c:pt idx="1934">
                  <c:v>5774337.9779999992</c:v>
                </c:pt>
                <c:pt idx="1935">
                  <c:v>5740473.9779999992</c:v>
                </c:pt>
                <c:pt idx="1936">
                  <c:v>5790589.9779999992</c:v>
                </c:pt>
                <c:pt idx="1937">
                  <c:v>5785710.9779999992</c:v>
                </c:pt>
                <c:pt idx="1938">
                  <c:v>5737991.9779999992</c:v>
                </c:pt>
                <c:pt idx="1939">
                  <c:v>5763151.9779999992</c:v>
                </c:pt>
                <c:pt idx="1940">
                  <c:v>5752934.9779999992</c:v>
                </c:pt>
                <c:pt idx="1941">
                  <c:v>5728284.9779999992</c:v>
                </c:pt>
                <c:pt idx="1942">
                  <c:v>5721263.9779999992</c:v>
                </c:pt>
                <c:pt idx="1943">
                  <c:v>5742207.9779999992</c:v>
                </c:pt>
                <c:pt idx="1944">
                  <c:v>5796862.9779999992</c:v>
                </c:pt>
                <c:pt idx="1945">
                  <c:v>5841198.9779999992</c:v>
                </c:pt>
                <c:pt idx="1946">
                  <c:v>5840314.9779999992</c:v>
                </c:pt>
                <c:pt idx="1947">
                  <c:v>5806110.9779999992</c:v>
                </c:pt>
                <c:pt idx="1948">
                  <c:v>5833701.9779999992</c:v>
                </c:pt>
                <c:pt idx="1949">
                  <c:v>5824130.9779999992</c:v>
                </c:pt>
                <c:pt idx="1950">
                  <c:v>5783721.9779999992</c:v>
                </c:pt>
                <c:pt idx="1951">
                  <c:v>5755025.9779999992</c:v>
                </c:pt>
                <c:pt idx="1952">
                  <c:v>5758918.9779999992</c:v>
                </c:pt>
                <c:pt idx="1953">
                  <c:v>5758136.9779999992</c:v>
                </c:pt>
                <c:pt idx="1954">
                  <c:v>5769883.9779999992</c:v>
                </c:pt>
                <c:pt idx="1955">
                  <c:v>5792000.9779999992</c:v>
                </c:pt>
                <c:pt idx="1956">
                  <c:v>5774864.9779999992</c:v>
                </c:pt>
                <c:pt idx="1957">
                  <c:v>5818384.9779999992</c:v>
                </c:pt>
                <c:pt idx="1958">
                  <c:v>5834007.9779999992</c:v>
                </c:pt>
                <c:pt idx="1959">
                  <c:v>5834636.9779999992</c:v>
                </c:pt>
                <c:pt idx="1960">
                  <c:v>5854101.9779999992</c:v>
                </c:pt>
                <c:pt idx="1961">
                  <c:v>5874603.9779999992</c:v>
                </c:pt>
                <c:pt idx="1962">
                  <c:v>5834133.0146999992</c:v>
                </c:pt>
                <c:pt idx="1963">
                  <c:v>5834133.0146999992</c:v>
                </c:pt>
                <c:pt idx="1964">
                  <c:v>5834133.0146999992</c:v>
                </c:pt>
                <c:pt idx="1965">
                  <c:v>5834133.0146999992</c:v>
                </c:pt>
                <c:pt idx="1966">
                  <c:v>5834133.0146999992</c:v>
                </c:pt>
                <c:pt idx="1967">
                  <c:v>5834133.0146999992</c:v>
                </c:pt>
                <c:pt idx="1968">
                  <c:v>5834133.0146999992</c:v>
                </c:pt>
                <c:pt idx="1969">
                  <c:v>5834133.0146999992</c:v>
                </c:pt>
                <c:pt idx="1970">
                  <c:v>5834133.0146999992</c:v>
                </c:pt>
                <c:pt idx="1971">
                  <c:v>5834133.0146999992</c:v>
                </c:pt>
                <c:pt idx="1972">
                  <c:v>5834133.0146999992</c:v>
                </c:pt>
                <c:pt idx="1973">
                  <c:v>5834133.0146999992</c:v>
                </c:pt>
                <c:pt idx="1974">
                  <c:v>5833575.7634999994</c:v>
                </c:pt>
                <c:pt idx="1975">
                  <c:v>5844679.7634999994</c:v>
                </c:pt>
                <c:pt idx="1976">
                  <c:v>5818375.7634999994</c:v>
                </c:pt>
                <c:pt idx="1977">
                  <c:v>5819223.7634999994</c:v>
                </c:pt>
                <c:pt idx="1978">
                  <c:v>5775015.7634999994</c:v>
                </c:pt>
                <c:pt idx="1979">
                  <c:v>5785559.7634999994</c:v>
                </c:pt>
                <c:pt idx="1980">
                  <c:v>5794567.7634999994</c:v>
                </c:pt>
                <c:pt idx="1981">
                  <c:v>5757223.7634999994</c:v>
                </c:pt>
                <c:pt idx="1982">
                  <c:v>5745639.7634999994</c:v>
                </c:pt>
                <c:pt idx="1983">
                  <c:v>5775431.7634999994</c:v>
                </c:pt>
                <c:pt idx="1984">
                  <c:v>5787399.7634999994</c:v>
                </c:pt>
                <c:pt idx="1985">
                  <c:v>5779031.7634999994</c:v>
                </c:pt>
                <c:pt idx="1986">
                  <c:v>5744167.7634999994</c:v>
                </c:pt>
                <c:pt idx="1987">
                  <c:v>5745687.7634999994</c:v>
                </c:pt>
                <c:pt idx="1988">
                  <c:v>5794023.7634999994</c:v>
                </c:pt>
                <c:pt idx="1989">
                  <c:v>5791767.7634999994</c:v>
                </c:pt>
                <c:pt idx="1990">
                  <c:v>5802887.7634999994</c:v>
                </c:pt>
                <c:pt idx="1991">
                  <c:v>5831479.7634999994</c:v>
                </c:pt>
                <c:pt idx="1992">
                  <c:v>5774359.7634999994</c:v>
                </c:pt>
                <c:pt idx="1993">
                  <c:v>5780439.7634999994</c:v>
                </c:pt>
                <c:pt idx="1994">
                  <c:v>5807223.7634999994</c:v>
                </c:pt>
                <c:pt idx="1995">
                  <c:v>5781143.7634999994</c:v>
                </c:pt>
                <c:pt idx="1996">
                  <c:v>5800231.7634999994</c:v>
                </c:pt>
                <c:pt idx="1997">
                  <c:v>5844423.7634999994</c:v>
                </c:pt>
                <c:pt idx="1998">
                  <c:v>5825927.7634999994</c:v>
                </c:pt>
                <c:pt idx="1999">
                  <c:v>5812759.7634999994</c:v>
                </c:pt>
                <c:pt idx="2000">
                  <c:v>5805367.7634999994</c:v>
                </c:pt>
                <c:pt idx="2001">
                  <c:v>5759879.7634999994</c:v>
                </c:pt>
                <c:pt idx="2002">
                  <c:v>5790743.7634999994</c:v>
                </c:pt>
                <c:pt idx="2003">
                  <c:v>5867287.7634999994</c:v>
                </c:pt>
                <c:pt idx="2004">
                  <c:v>5883543.7634999994</c:v>
                </c:pt>
                <c:pt idx="2005">
                  <c:v>5888999.7634999994</c:v>
                </c:pt>
                <c:pt idx="2006">
                  <c:v>5869287.7634999994</c:v>
                </c:pt>
                <c:pt idx="2007">
                  <c:v>5888791.7634999994</c:v>
                </c:pt>
                <c:pt idx="2008">
                  <c:v>5876167.7634999994</c:v>
                </c:pt>
                <c:pt idx="2009">
                  <c:v>5884375.7634999994</c:v>
                </c:pt>
                <c:pt idx="2010">
                  <c:v>5839463.7634999994</c:v>
                </c:pt>
                <c:pt idx="2011">
                  <c:v>5828967.7634999994</c:v>
                </c:pt>
                <c:pt idx="2012">
                  <c:v>5801447.7634999994</c:v>
                </c:pt>
                <c:pt idx="2013">
                  <c:v>5774471.7634999994</c:v>
                </c:pt>
                <c:pt idx="2014">
                  <c:v>5799543.7634999994</c:v>
                </c:pt>
                <c:pt idx="2015">
                  <c:v>5807927.7634999994</c:v>
                </c:pt>
                <c:pt idx="2016">
                  <c:v>5751079.7634999994</c:v>
                </c:pt>
                <c:pt idx="2017">
                  <c:v>5766615.7634999994</c:v>
                </c:pt>
                <c:pt idx="2018">
                  <c:v>5773351.7634999994</c:v>
                </c:pt>
                <c:pt idx="2019">
                  <c:v>5775815.7634999994</c:v>
                </c:pt>
                <c:pt idx="2020">
                  <c:v>5764663.7634999994</c:v>
                </c:pt>
                <c:pt idx="2021">
                  <c:v>5743591.7634999994</c:v>
                </c:pt>
                <c:pt idx="2022">
                  <c:v>5722071.7634999994</c:v>
                </c:pt>
                <c:pt idx="2023">
                  <c:v>5708087.7634999994</c:v>
                </c:pt>
                <c:pt idx="2024">
                  <c:v>5673143.7634999994</c:v>
                </c:pt>
                <c:pt idx="2025">
                  <c:v>5635159.7634999994</c:v>
                </c:pt>
                <c:pt idx="2026">
                  <c:v>5625111.7634999994</c:v>
                </c:pt>
                <c:pt idx="2027">
                  <c:v>5601383.7634999994</c:v>
                </c:pt>
                <c:pt idx="2028">
                  <c:v>5631703.7634999994</c:v>
                </c:pt>
                <c:pt idx="2029">
                  <c:v>5677671.7634999994</c:v>
                </c:pt>
                <c:pt idx="2030">
                  <c:v>5699767.7634999994</c:v>
                </c:pt>
                <c:pt idx="2031">
                  <c:v>5746903.7634999994</c:v>
                </c:pt>
                <c:pt idx="2032">
                  <c:v>5717015.7634999994</c:v>
                </c:pt>
                <c:pt idx="2033">
                  <c:v>5698039.7634999994</c:v>
                </c:pt>
                <c:pt idx="2034">
                  <c:v>5707223.7634999994</c:v>
                </c:pt>
                <c:pt idx="2035">
                  <c:v>5719047.7634999994</c:v>
                </c:pt>
                <c:pt idx="2036">
                  <c:v>5739767.7634999994</c:v>
                </c:pt>
                <c:pt idx="2037">
                  <c:v>5739735.7634999994</c:v>
                </c:pt>
                <c:pt idx="2038">
                  <c:v>5838119.7634999994</c:v>
                </c:pt>
                <c:pt idx="2039">
                  <c:v>5829751.7634999994</c:v>
                </c:pt>
                <c:pt idx="2040">
                  <c:v>5849671.7634999994</c:v>
                </c:pt>
                <c:pt idx="2041">
                  <c:v>5857447.7634999994</c:v>
                </c:pt>
                <c:pt idx="2042">
                  <c:v>5839479.7634999994</c:v>
                </c:pt>
                <c:pt idx="2043">
                  <c:v>5811063.7634999994</c:v>
                </c:pt>
                <c:pt idx="2044">
                  <c:v>5849671.7634999994</c:v>
                </c:pt>
                <c:pt idx="2045">
                  <c:v>5915255.7634999994</c:v>
                </c:pt>
                <c:pt idx="2046">
                  <c:v>5958631.7634999994</c:v>
                </c:pt>
                <c:pt idx="2047">
                  <c:v>5982935.7634999994</c:v>
                </c:pt>
                <c:pt idx="2048">
                  <c:v>5980087.7634999994</c:v>
                </c:pt>
                <c:pt idx="2049">
                  <c:v>5992695.7634999994</c:v>
                </c:pt>
                <c:pt idx="2050">
                  <c:v>5917543.7634999994</c:v>
                </c:pt>
                <c:pt idx="2051">
                  <c:v>5907127.7634999994</c:v>
                </c:pt>
                <c:pt idx="2052">
                  <c:v>5891079.7634999994</c:v>
                </c:pt>
                <c:pt idx="2053">
                  <c:v>5946935.7634999994</c:v>
                </c:pt>
                <c:pt idx="2054">
                  <c:v>5935447.7634999994</c:v>
                </c:pt>
                <c:pt idx="2055">
                  <c:v>6001799.7634999994</c:v>
                </c:pt>
                <c:pt idx="2056">
                  <c:v>6005607.7634999994</c:v>
                </c:pt>
                <c:pt idx="2057">
                  <c:v>6057671.7634999994</c:v>
                </c:pt>
                <c:pt idx="2058">
                  <c:v>6130007.7634999994</c:v>
                </c:pt>
                <c:pt idx="2059">
                  <c:v>6140615.7634999994</c:v>
                </c:pt>
                <c:pt idx="2060">
                  <c:v>6094935.7634999994</c:v>
                </c:pt>
                <c:pt idx="2061">
                  <c:v>6131191.7634999994</c:v>
                </c:pt>
                <c:pt idx="2062">
                  <c:v>6127943.7634999994</c:v>
                </c:pt>
                <c:pt idx="2063">
                  <c:v>6102423.7634999994</c:v>
                </c:pt>
                <c:pt idx="2064">
                  <c:v>6053031.7634999994</c:v>
                </c:pt>
                <c:pt idx="2065">
                  <c:v>6116551.7634999994</c:v>
                </c:pt>
                <c:pt idx="2066">
                  <c:v>6117223.7634999994</c:v>
                </c:pt>
                <c:pt idx="2067">
                  <c:v>6110551.7634999994</c:v>
                </c:pt>
                <c:pt idx="2068">
                  <c:v>6106967.7634999994</c:v>
                </c:pt>
                <c:pt idx="2069">
                  <c:v>6134359.7634999994</c:v>
                </c:pt>
                <c:pt idx="2070">
                  <c:v>6115175.7634999994</c:v>
                </c:pt>
                <c:pt idx="2071">
                  <c:v>6160135.7634999994</c:v>
                </c:pt>
                <c:pt idx="2072">
                  <c:v>6186007.7634999994</c:v>
                </c:pt>
                <c:pt idx="2073">
                  <c:v>6122759.7634999994</c:v>
                </c:pt>
                <c:pt idx="2074">
                  <c:v>6128551.7634999994</c:v>
                </c:pt>
                <c:pt idx="2075">
                  <c:v>6228663.7634999994</c:v>
                </c:pt>
                <c:pt idx="2076">
                  <c:v>6257671.7634999994</c:v>
                </c:pt>
                <c:pt idx="2077">
                  <c:v>6226823.7634999994</c:v>
                </c:pt>
                <c:pt idx="2078">
                  <c:v>6250615.7634999994</c:v>
                </c:pt>
                <c:pt idx="2079">
                  <c:v>6212359.7634999994</c:v>
                </c:pt>
                <c:pt idx="2080">
                  <c:v>6189687.7634999994</c:v>
                </c:pt>
                <c:pt idx="2081">
                  <c:v>6200567.7634999994</c:v>
                </c:pt>
                <c:pt idx="2082">
                  <c:v>6216087.7634999994</c:v>
                </c:pt>
                <c:pt idx="2083">
                  <c:v>6241655.7634999994</c:v>
                </c:pt>
                <c:pt idx="2084">
                  <c:v>6293671.7634999994</c:v>
                </c:pt>
                <c:pt idx="2085">
                  <c:v>6278423.7634999994</c:v>
                </c:pt>
                <c:pt idx="2086">
                  <c:v>6225591.7634999994</c:v>
                </c:pt>
                <c:pt idx="2087">
                  <c:v>6193191.7634999994</c:v>
                </c:pt>
                <c:pt idx="2088">
                  <c:v>6223927.7634999994</c:v>
                </c:pt>
                <c:pt idx="2089">
                  <c:v>6232599.7634999994</c:v>
                </c:pt>
                <c:pt idx="2090">
                  <c:v>6230130.7970999992</c:v>
                </c:pt>
                <c:pt idx="2091">
                  <c:v>6230130.7970999992</c:v>
                </c:pt>
                <c:pt idx="2092">
                  <c:v>6230130.7970999992</c:v>
                </c:pt>
                <c:pt idx="2093">
                  <c:v>6230130.7970999992</c:v>
                </c:pt>
                <c:pt idx="2094">
                  <c:v>6230130.7970999992</c:v>
                </c:pt>
                <c:pt idx="2095">
                  <c:v>6230130.7970999992</c:v>
                </c:pt>
                <c:pt idx="2096">
                  <c:v>6230130.7970999992</c:v>
                </c:pt>
                <c:pt idx="2097">
                  <c:v>6230130.7970999992</c:v>
                </c:pt>
                <c:pt idx="2098">
                  <c:v>6230130.7970999992</c:v>
                </c:pt>
                <c:pt idx="2099">
                  <c:v>6230130.7970999992</c:v>
                </c:pt>
                <c:pt idx="2100">
                  <c:v>6230130.7970999992</c:v>
                </c:pt>
                <c:pt idx="2101">
                  <c:v>6230130.7970999992</c:v>
                </c:pt>
                <c:pt idx="2102">
                  <c:v>6230130.7970999992</c:v>
                </c:pt>
                <c:pt idx="2103">
                  <c:v>6230130.7970999992</c:v>
                </c:pt>
                <c:pt idx="2104">
                  <c:v>6230130.7970999992</c:v>
                </c:pt>
                <c:pt idx="2105">
                  <c:v>6230130.7970999992</c:v>
                </c:pt>
                <c:pt idx="2106">
                  <c:v>6230130.7970999992</c:v>
                </c:pt>
                <c:pt idx="2107">
                  <c:v>6230130.7970999992</c:v>
                </c:pt>
                <c:pt idx="2108">
                  <c:v>6230130.7970999992</c:v>
                </c:pt>
                <c:pt idx="2109">
                  <c:v>6230130.7970999992</c:v>
                </c:pt>
                <c:pt idx="2110">
                  <c:v>6230130.7970999992</c:v>
                </c:pt>
                <c:pt idx="2111">
                  <c:v>6230130.7970999992</c:v>
                </c:pt>
                <c:pt idx="2112">
                  <c:v>6229518.6386999991</c:v>
                </c:pt>
                <c:pt idx="2113">
                  <c:v>6228974.6386999991</c:v>
                </c:pt>
                <c:pt idx="2114">
                  <c:v>6248622.6386999991</c:v>
                </c:pt>
                <c:pt idx="2115">
                  <c:v>6256110.6386999991</c:v>
                </c:pt>
                <c:pt idx="2116">
                  <c:v>6235870.6386999991</c:v>
                </c:pt>
                <c:pt idx="2117">
                  <c:v>6238014.6386999991</c:v>
                </c:pt>
                <c:pt idx="2118">
                  <c:v>6256958.6386999991</c:v>
                </c:pt>
                <c:pt idx="2119">
                  <c:v>6239326.6386999991</c:v>
                </c:pt>
                <c:pt idx="2120">
                  <c:v>6255223.8482999988</c:v>
                </c:pt>
                <c:pt idx="2121">
                  <c:v>6255223.8482999988</c:v>
                </c:pt>
                <c:pt idx="2122">
                  <c:v>6255223.8482999988</c:v>
                </c:pt>
                <c:pt idx="2123">
                  <c:v>6255223.8482999988</c:v>
                </c:pt>
                <c:pt idx="2124">
                  <c:v>6255223.8482999988</c:v>
                </c:pt>
                <c:pt idx="2125">
                  <c:v>6255223.8482999988</c:v>
                </c:pt>
                <c:pt idx="2126">
                  <c:v>6255223.8482999988</c:v>
                </c:pt>
                <c:pt idx="2127">
                  <c:v>6254610.0082999989</c:v>
                </c:pt>
                <c:pt idx="2128">
                  <c:v>6327746.0082999989</c:v>
                </c:pt>
                <c:pt idx="2129">
                  <c:v>6339986.0082999989</c:v>
                </c:pt>
                <c:pt idx="2130">
                  <c:v>6360514.0082999989</c:v>
                </c:pt>
                <c:pt idx="2131">
                  <c:v>6376930.0082999989</c:v>
                </c:pt>
                <c:pt idx="2132">
                  <c:v>6389810.0082999989</c:v>
                </c:pt>
                <c:pt idx="2133">
                  <c:v>6377730.0082999989</c:v>
                </c:pt>
                <c:pt idx="2134">
                  <c:v>6377122.0082999989</c:v>
                </c:pt>
                <c:pt idx="2135">
                  <c:v>6426866.0082999989</c:v>
                </c:pt>
                <c:pt idx="2136">
                  <c:v>6406210.0082999989</c:v>
                </c:pt>
                <c:pt idx="2137">
                  <c:v>6399170.0082999989</c:v>
                </c:pt>
                <c:pt idx="2138">
                  <c:v>6405490.0082999989</c:v>
                </c:pt>
                <c:pt idx="2139">
                  <c:v>6451250.0082999989</c:v>
                </c:pt>
                <c:pt idx="2140">
                  <c:v>6479330.0082999989</c:v>
                </c:pt>
                <c:pt idx="2141">
                  <c:v>6505938.0082999989</c:v>
                </c:pt>
                <c:pt idx="2142">
                  <c:v>6551362.0082999989</c:v>
                </c:pt>
                <c:pt idx="2143">
                  <c:v>6531762.0082999989</c:v>
                </c:pt>
                <c:pt idx="2144">
                  <c:v>6526962.0082999989</c:v>
                </c:pt>
                <c:pt idx="2145">
                  <c:v>6510802.0082999989</c:v>
                </c:pt>
                <c:pt idx="2146">
                  <c:v>6511618.0082999989</c:v>
                </c:pt>
                <c:pt idx="2147">
                  <c:v>6504530.0082999989</c:v>
                </c:pt>
                <c:pt idx="2148">
                  <c:v>6549634.0082999989</c:v>
                </c:pt>
                <c:pt idx="2149">
                  <c:v>6603010.0082999989</c:v>
                </c:pt>
                <c:pt idx="2150">
                  <c:v>6593026.0082999989</c:v>
                </c:pt>
                <c:pt idx="2151">
                  <c:v>6637650.0082999989</c:v>
                </c:pt>
                <c:pt idx="2152">
                  <c:v>6695266.0082999989</c:v>
                </c:pt>
                <c:pt idx="2153">
                  <c:v>6721122.0082999989</c:v>
                </c:pt>
                <c:pt idx="2154">
                  <c:v>6675170.0082999999</c:v>
                </c:pt>
                <c:pt idx="2155">
                  <c:v>6634082.0082999989</c:v>
                </c:pt>
                <c:pt idx="2156">
                  <c:v>6684226.0082999989</c:v>
                </c:pt>
                <c:pt idx="2157">
                  <c:v>6709570.0082999999</c:v>
                </c:pt>
                <c:pt idx="2158">
                  <c:v>6746338.0082999989</c:v>
                </c:pt>
                <c:pt idx="2159">
                  <c:v>6864530.0082999989</c:v>
                </c:pt>
                <c:pt idx="2160">
                  <c:v>6880322.0082999989</c:v>
                </c:pt>
                <c:pt idx="2161">
                  <c:v>6680050.008299998</c:v>
                </c:pt>
                <c:pt idx="2162">
                  <c:v>6682930.0082999989</c:v>
                </c:pt>
                <c:pt idx="2163">
                  <c:v>6596130.0082999989</c:v>
                </c:pt>
                <c:pt idx="2164">
                  <c:v>6605522.0082999989</c:v>
                </c:pt>
                <c:pt idx="2165">
                  <c:v>6602210.0082999989</c:v>
                </c:pt>
                <c:pt idx="2166">
                  <c:v>6525970.0082999989</c:v>
                </c:pt>
                <c:pt idx="2167">
                  <c:v>6513234.0082999989</c:v>
                </c:pt>
                <c:pt idx="2168">
                  <c:v>6546386.0082999989</c:v>
                </c:pt>
                <c:pt idx="2169">
                  <c:v>6580482.0082999989</c:v>
                </c:pt>
                <c:pt idx="2170">
                  <c:v>6541522.0082999989</c:v>
                </c:pt>
                <c:pt idx="2171">
                  <c:v>6469906.0082999989</c:v>
                </c:pt>
                <c:pt idx="2172">
                  <c:v>6521618.0082999989</c:v>
                </c:pt>
                <c:pt idx="2173">
                  <c:v>6627410.0082999989</c:v>
                </c:pt>
                <c:pt idx="2174">
                  <c:v>6541842.0082999989</c:v>
                </c:pt>
                <c:pt idx="2175">
                  <c:v>6596354.0082999989</c:v>
                </c:pt>
                <c:pt idx="2176">
                  <c:v>6558050.0082999989</c:v>
                </c:pt>
                <c:pt idx="2177">
                  <c:v>6485586.0082999989</c:v>
                </c:pt>
                <c:pt idx="2178">
                  <c:v>6492674.0082999989</c:v>
                </c:pt>
                <c:pt idx="2179">
                  <c:v>6572738.0082999989</c:v>
                </c:pt>
                <c:pt idx="2180">
                  <c:v>6564994.0082999989</c:v>
                </c:pt>
                <c:pt idx="2181">
                  <c:v>6624770.0082999989</c:v>
                </c:pt>
                <c:pt idx="2182">
                  <c:v>6603570.0082999989</c:v>
                </c:pt>
                <c:pt idx="2183">
                  <c:v>6582674.0082999989</c:v>
                </c:pt>
                <c:pt idx="2184">
                  <c:v>6602002.0082999989</c:v>
                </c:pt>
                <c:pt idx="2185">
                  <c:v>6502146.0082999989</c:v>
                </c:pt>
                <c:pt idx="2186">
                  <c:v>6546450.0082999989</c:v>
                </c:pt>
                <c:pt idx="2187">
                  <c:v>6565570.0082999989</c:v>
                </c:pt>
                <c:pt idx="2188">
                  <c:v>6656050.0082999989</c:v>
                </c:pt>
                <c:pt idx="2189">
                  <c:v>6694434.0082999999</c:v>
                </c:pt>
                <c:pt idx="2190">
                  <c:v>6722306.0082999999</c:v>
                </c:pt>
                <c:pt idx="2191">
                  <c:v>6738210.0082999989</c:v>
                </c:pt>
                <c:pt idx="2192">
                  <c:v>6772466.0082999989</c:v>
                </c:pt>
                <c:pt idx="2193">
                  <c:v>6819090.0082999989</c:v>
                </c:pt>
                <c:pt idx="2194">
                  <c:v>6848706.0082999999</c:v>
                </c:pt>
                <c:pt idx="2195">
                  <c:v>6845154.0082999989</c:v>
                </c:pt>
                <c:pt idx="2196">
                  <c:v>6876210.0082999989</c:v>
                </c:pt>
                <c:pt idx="2197">
                  <c:v>6876594.0082999989</c:v>
                </c:pt>
                <c:pt idx="2198">
                  <c:v>6929762.0082999989</c:v>
                </c:pt>
                <c:pt idx="2199">
                  <c:v>6913202.0082999989</c:v>
                </c:pt>
                <c:pt idx="2200">
                  <c:v>6950482.0082999989</c:v>
                </c:pt>
                <c:pt idx="2201">
                  <c:v>6972850.008299998</c:v>
                </c:pt>
                <c:pt idx="2202">
                  <c:v>7054770.0082999999</c:v>
                </c:pt>
                <c:pt idx="2203">
                  <c:v>7128386.008299998</c:v>
                </c:pt>
                <c:pt idx="2204">
                  <c:v>7140034.0082999999</c:v>
                </c:pt>
                <c:pt idx="2205">
                  <c:v>7100338.0082999989</c:v>
                </c:pt>
                <c:pt idx="2206">
                  <c:v>7126290.0082999989</c:v>
                </c:pt>
                <c:pt idx="2207">
                  <c:v>6999442.0082999999</c:v>
                </c:pt>
                <c:pt idx="2208">
                  <c:v>6925970.0082999999</c:v>
                </c:pt>
                <c:pt idx="2209">
                  <c:v>6957650.008299998</c:v>
                </c:pt>
                <c:pt idx="2210">
                  <c:v>6909650.008299998</c:v>
                </c:pt>
                <c:pt idx="2211">
                  <c:v>6950178.008299998</c:v>
                </c:pt>
                <c:pt idx="2212">
                  <c:v>6954850.008299998</c:v>
                </c:pt>
                <c:pt idx="2213">
                  <c:v>6754434.0082999999</c:v>
                </c:pt>
                <c:pt idx="2214">
                  <c:v>6597010.0082999989</c:v>
                </c:pt>
                <c:pt idx="2215">
                  <c:v>6535490.0082999989</c:v>
                </c:pt>
                <c:pt idx="2216">
                  <c:v>6261250.0082999989</c:v>
                </c:pt>
                <c:pt idx="2217">
                  <c:v>6340370.0082999989</c:v>
                </c:pt>
                <c:pt idx="2218">
                  <c:v>6413218.0082999989</c:v>
                </c:pt>
                <c:pt idx="2219">
                  <c:v>6463346.0082999989</c:v>
                </c:pt>
                <c:pt idx="2220">
                  <c:v>6600578.0082999989</c:v>
                </c:pt>
                <c:pt idx="2221">
                  <c:v>6629954.0082999989</c:v>
                </c:pt>
                <c:pt idx="2222">
                  <c:v>6705682.0082999989</c:v>
                </c:pt>
                <c:pt idx="2223">
                  <c:v>6610578.0082999989</c:v>
                </c:pt>
                <c:pt idx="2224">
                  <c:v>6554034.0082999989</c:v>
                </c:pt>
                <c:pt idx="2225">
                  <c:v>6594754.0082999989</c:v>
                </c:pt>
                <c:pt idx="2226">
                  <c:v>6542546.0082999989</c:v>
                </c:pt>
                <c:pt idx="2227">
                  <c:v>6545170.0082999989</c:v>
                </c:pt>
                <c:pt idx="2228">
                  <c:v>6622706.0082999989</c:v>
                </c:pt>
                <c:pt idx="2229">
                  <c:v>6574850.0082999989</c:v>
                </c:pt>
                <c:pt idx="2230">
                  <c:v>6640370.0082999989</c:v>
                </c:pt>
                <c:pt idx="2231">
                  <c:v>6690402.0082999989</c:v>
                </c:pt>
                <c:pt idx="2232">
                  <c:v>6720482.0082999989</c:v>
                </c:pt>
                <c:pt idx="2233">
                  <c:v>6662210.0082999989</c:v>
                </c:pt>
                <c:pt idx="2234">
                  <c:v>6633554.0082999989</c:v>
                </c:pt>
                <c:pt idx="2235">
                  <c:v>6670066.0082999989</c:v>
                </c:pt>
                <c:pt idx="2236">
                  <c:v>6606482.0082999989</c:v>
                </c:pt>
                <c:pt idx="2237">
                  <c:v>6635010.0082999989</c:v>
                </c:pt>
                <c:pt idx="2238">
                  <c:v>6640530.0082999989</c:v>
                </c:pt>
                <c:pt idx="2239">
                  <c:v>6613890.0082999989</c:v>
                </c:pt>
                <c:pt idx="2240">
                  <c:v>6548770.0082999989</c:v>
                </c:pt>
                <c:pt idx="2241">
                  <c:v>6364114.0082999989</c:v>
                </c:pt>
                <c:pt idx="2242">
                  <c:v>6324034.0082999989</c:v>
                </c:pt>
                <c:pt idx="2243">
                  <c:v>6377442.0082999989</c:v>
                </c:pt>
                <c:pt idx="2244">
                  <c:v>6264562.0082999989</c:v>
                </c:pt>
                <c:pt idx="2245">
                  <c:v>6346690.0082999989</c:v>
                </c:pt>
                <c:pt idx="2246">
                  <c:v>6353810.0082999989</c:v>
                </c:pt>
                <c:pt idx="2247">
                  <c:v>6335282.0082999989</c:v>
                </c:pt>
                <c:pt idx="2248">
                  <c:v>6296178.0082999989</c:v>
                </c:pt>
                <c:pt idx="2249">
                  <c:v>6283986.0082999989</c:v>
                </c:pt>
                <c:pt idx="2250">
                  <c:v>6280898.0082999989</c:v>
                </c:pt>
                <c:pt idx="2251">
                  <c:v>6399682.0082999989</c:v>
                </c:pt>
                <c:pt idx="2252">
                  <c:v>6417554.0082999989</c:v>
                </c:pt>
                <c:pt idx="2253">
                  <c:v>6354034.0082999989</c:v>
                </c:pt>
                <c:pt idx="2254">
                  <c:v>6310034.0082999989</c:v>
                </c:pt>
                <c:pt idx="2255">
                  <c:v>6210386.0082999989</c:v>
                </c:pt>
                <c:pt idx="2256">
                  <c:v>6114034.0082999989</c:v>
                </c:pt>
                <c:pt idx="2257">
                  <c:v>6142258.0082999989</c:v>
                </c:pt>
                <c:pt idx="2258">
                  <c:v>6215154.0082999989</c:v>
                </c:pt>
                <c:pt idx="2259">
                  <c:v>6133570.0082999989</c:v>
                </c:pt>
                <c:pt idx="2260">
                  <c:v>6142338.0082999989</c:v>
                </c:pt>
                <c:pt idx="2261">
                  <c:v>6265794.0082999989</c:v>
                </c:pt>
                <c:pt idx="2262">
                  <c:v>6242130.0082999989</c:v>
                </c:pt>
                <c:pt idx="2263">
                  <c:v>6124994.0082999989</c:v>
                </c:pt>
                <c:pt idx="2264">
                  <c:v>6127218.0082999989</c:v>
                </c:pt>
                <c:pt idx="2265">
                  <c:v>6138050.0082999989</c:v>
                </c:pt>
                <c:pt idx="2266">
                  <c:v>6185010.0082999989</c:v>
                </c:pt>
                <c:pt idx="2267">
                  <c:v>6155570.0082999989</c:v>
                </c:pt>
                <c:pt idx="2268">
                  <c:v>6250914.0082999989</c:v>
                </c:pt>
                <c:pt idx="2269">
                  <c:v>6322098.0082999989</c:v>
                </c:pt>
                <c:pt idx="2270">
                  <c:v>6310802.0082999989</c:v>
                </c:pt>
                <c:pt idx="2271">
                  <c:v>6345106.0082999989</c:v>
                </c:pt>
                <c:pt idx="2272">
                  <c:v>6312754.0082999989</c:v>
                </c:pt>
                <c:pt idx="2273">
                  <c:v>6371074.0082999989</c:v>
                </c:pt>
                <c:pt idx="2274">
                  <c:v>6394770.0082999989</c:v>
                </c:pt>
                <c:pt idx="2275">
                  <c:v>6344754.0082999989</c:v>
                </c:pt>
                <c:pt idx="2276">
                  <c:v>6298690.0082999989</c:v>
                </c:pt>
                <c:pt idx="2277">
                  <c:v>6361106.0082999989</c:v>
                </c:pt>
                <c:pt idx="2278">
                  <c:v>6390194.0082999989</c:v>
                </c:pt>
                <c:pt idx="2279">
                  <c:v>6366146.0082999989</c:v>
                </c:pt>
                <c:pt idx="2280">
                  <c:v>6283538.0082999989</c:v>
                </c:pt>
                <c:pt idx="2281">
                  <c:v>6239762.0082999989</c:v>
                </c:pt>
                <c:pt idx="2282">
                  <c:v>6222610.0082999989</c:v>
                </c:pt>
                <c:pt idx="2283">
                  <c:v>6249426.0082999989</c:v>
                </c:pt>
                <c:pt idx="2284">
                  <c:v>6202626.0082999989</c:v>
                </c:pt>
                <c:pt idx="2285">
                  <c:v>6073602.0082999989</c:v>
                </c:pt>
                <c:pt idx="2286">
                  <c:v>6200018.0082999989</c:v>
                </c:pt>
                <c:pt idx="2287">
                  <c:v>6149154.0082999989</c:v>
                </c:pt>
                <c:pt idx="2288">
                  <c:v>6208338.0082999989</c:v>
                </c:pt>
                <c:pt idx="2289">
                  <c:v>6268722.0082999989</c:v>
                </c:pt>
                <c:pt idx="2290">
                  <c:v>6255970.0082999989</c:v>
                </c:pt>
                <c:pt idx="2291">
                  <c:v>6245826.0082999989</c:v>
                </c:pt>
                <c:pt idx="2292">
                  <c:v>6163602.0082999989</c:v>
                </c:pt>
                <c:pt idx="2293">
                  <c:v>6164178.0082999989</c:v>
                </c:pt>
                <c:pt idx="2294">
                  <c:v>6237730.0082999989</c:v>
                </c:pt>
                <c:pt idx="2295">
                  <c:v>6177554.0082999989</c:v>
                </c:pt>
                <c:pt idx="2296">
                  <c:v>6153602.0082999989</c:v>
                </c:pt>
                <c:pt idx="2297">
                  <c:v>6121698.0082999989</c:v>
                </c:pt>
                <c:pt idx="2298">
                  <c:v>5910002.0082999989</c:v>
                </c:pt>
                <c:pt idx="2299">
                  <c:v>5932332.3378999988</c:v>
                </c:pt>
                <c:pt idx="2300">
                  <c:v>5932332.3378999988</c:v>
                </c:pt>
                <c:pt idx="2301">
                  <c:v>5932332.3378999988</c:v>
                </c:pt>
                <c:pt idx="2302">
                  <c:v>5932332.3378999988</c:v>
                </c:pt>
                <c:pt idx="2303">
                  <c:v>5932332.3378999988</c:v>
                </c:pt>
                <c:pt idx="2304">
                  <c:v>5932332.3378999988</c:v>
                </c:pt>
                <c:pt idx="2305">
                  <c:v>5932332.3378999988</c:v>
                </c:pt>
                <c:pt idx="2306">
                  <c:v>5932332.3378999988</c:v>
                </c:pt>
                <c:pt idx="2307">
                  <c:v>5932332.3378999988</c:v>
                </c:pt>
                <c:pt idx="2308">
                  <c:v>5932332.3378999988</c:v>
                </c:pt>
                <c:pt idx="2309">
                  <c:v>5932332.3378999988</c:v>
                </c:pt>
                <c:pt idx="2310">
                  <c:v>5932332.3378999988</c:v>
                </c:pt>
                <c:pt idx="2311">
                  <c:v>5932332.3378999988</c:v>
                </c:pt>
                <c:pt idx="2312">
                  <c:v>5932332.3378999988</c:v>
                </c:pt>
                <c:pt idx="2313">
                  <c:v>5932332.3378999988</c:v>
                </c:pt>
                <c:pt idx="2314">
                  <c:v>5932332.3378999988</c:v>
                </c:pt>
                <c:pt idx="2315">
                  <c:v>5932332.3378999988</c:v>
                </c:pt>
                <c:pt idx="2316">
                  <c:v>5932332.3378999988</c:v>
                </c:pt>
                <c:pt idx="2317">
                  <c:v>5932332.3378999988</c:v>
                </c:pt>
                <c:pt idx="2318">
                  <c:v>5932332.3378999988</c:v>
                </c:pt>
                <c:pt idx="2319">
                  <c:v>5932332.3378999988</c:v>
                </c:pt>
                <c:pt idx="2320">
                  <c:v>5932332.3378999988</c:v>
                </c:pt>
                <c:pt idx="2321">
                  <c:v>5932332.3378999988</c:v>
                </c:pt>
                <c:pt idx="2322">
                  <c:v>5932332.3378999988</c:v>
                </c:pt>
                <c:pt idx="2323">
                  <c:v>5932332.3378999988</c:v>
                </c:pt>
                <c:pt idx="2324">
                  <c:v>5932332.3378999988</c:v>
                </c:pt>
                <c:pt idx="2325">
                  <c:v>5932332.3378999988</c:v>
                </c:pt>
                <c:pt idx="2326">
                  <c:v>5932332.3378999988</c:v>
                </c:pt>
                <c:pt idx="2327">
                  <c:v>5932332.3378999988</c:v>
                </c:pt>
                <c:pt idx="2328">
                  <c:v>5932332.3378999988</c:v>
                </c:pt>
                <c:pt idx="2329">
                  <c:v>5932332.3378999988</c:v>
                </c:pt>
                <c:pt idx="2330">
                  <c:v>5932332.3378999988</c:v>
                </c:pt>
                <c:pt idx="2331">
                  <c:v>5932332.3378999988</c:v>
                </c:pt>
                <c:pt idx="2332">
                  <c:v>5932332.3378999988</c:v>
                </c:pt>
                <c:pt idx="2333">
                  <c:v>5932332.3378999988</c:v>
                </c:pt>
                <c:pt idx="2334">
                  <c:v>5932332.3378999988</c:v>
                </c:pt>
                <c:pt idx="2335">
                  <c:v>5932332.3378999988</c:v>
                </c:pt>
                <c:pt idx="2336">
                  <c:v>5932332.3378999988</c:v>
                </c:pt>
                <c:pt idx="2337">
                  <c:v>5932332.3378999988</c:v>
                </c:pt>
                <c:pt idx="2338">
                  <c:v>5932332.3378999988</c:v>
                </c:pt>
                <c:pt idx="2339">
                  <c:v>5932332.3378999988</c:v>
                </c:pt>
                <c:pt idx="2340">
                  <c:v>5932332.3378999988</c:v>
                </c:pt>
                <c:pt idx="2341">
                  <c:v>5932332.3378999988</c:v>
                </c:pt>
                <c:pt idx="2342">
                  <c:v>5932332.3378999988</c:v>
                </c:pt>
                <c:pt idx="2343">
                  <c:v>5932332.3378999988</c:v>
                </c:pt>
                <c:pt idx="2344">
                  <c:v>5932332.3378999988</c:v>
                </c:pt>
                <c:pt idx="2345">
                  <c:v>5932332.3378999988</c:v>
                </c:pt>
                <c:pt idx="2346">
                  <c:v>5932332.3378999988</c:v>
                </c:pt>
                <c:pt idx="2347">
                  <c:v>5932332.3378999988</c:v>
                </c:pt>
                <c:pt idx="2348">
                  <c:v>5932332.3378999988</c:v>
                </c:pt>
                <c:pt idx="2349">
                  <c:v>5932332.3378999988</c:v>
                </c:pt>
                <c:pt idx="2350">
                  <c:v>5932332.3378999988</c:v>
                </c:pt>
                <c:pt idx="2351">
                  <c:v>5932332.3378999988</c:v>
                </c:pt>
                <c:pt idx="2352">
                  <c:v>5932332.3378999988</c:v>
                </c:pt>
                <c:pt idx="2353">
                  <c:v>5932332.3378999988</c:v>
                </c:pt>
                <c:pt idx="2354">
                  <c:v>5932332.3378999988</c:v>
                </c:pt>
                <c:pt idx="2355">
                  <c:v>5932332.3378999988</c:v>
                </c:pt>
                <c:pt idx="2356">
                  <c:v>5932332.3378999988</c:v>
                </c:pt>
                <c:pt idx="2357">
                  <c:v>5932332.3378999988</c:v>
                </c:pt>
                <c:pt idx="2358">
                  <c:v>5932332.3378999988</c:v>
                </c:pt>
                <c:pt idx="2359">
                  <c:v>5932332.3378999988</c:v>
                </c:pt>
                <c:pt idx="2360">
                  <c:v>5932332.3378999988</c:v>
                </c:pt>
                <c:pt idx="2361">
                  <c:v>5932332.3378999988</c:v>
                </c:pt>
                <c:pt idx="2362">
                  <c:v>5932332.3378999988</c:v>
                </c:pt>
                <c:pt idx="2363">
                  <c:v>5931743.840499999</c:v>
                </c:pt>
                <c:pt idx="2364">
                  <c:v>6009233.840499999</c:v>
                </c:pt>
                <c:pt idx="2365">
                  <c:v>6005003.840499999</c:v>
                </c:pt>
                <c:pt idx="2366">
                  <c:v>6185651.840499999</c:v>
                </c:pt>
                <c:pt idx="2367">
                  <c:v>6130409.840499999</c:v>
                </c:pt>
                <c:pt idx="2368">
                  <c:v>6197801.840499999</c:v>
                </c:pt>
                <c:pt idx="2369">
                  <c:v>6173231.840499999</c:v>
                </c:pt>
                <c:pt idx="2370">
                  <c:v>6236717.840499999</c:v>
                </c:pt>
                <c:pt idx="2371">
                  <c:v>5970389.840499999</c:v>
                </c:pt>
                <c:pt idx="2372">
                  <c:v>5966411.840499999</c:v>
                </c:pt>
                <c:pt idx="2373">
                  <c:v>5953649.840499999</c:v>
                </c:pt>
                <c:pt idx="2374">
                  <c:v>5670167.840499999</c:v>
                </c:pt>
                <c:pt idx="2375">
                  <c:v>5754083.840499999</c:v>
                </c:pt>
                <c:pt idx="2376">
                  <c:v>5674379.840499999</c:v>
                </c:pt>
                <c:pt idx="2377">
                  <c:v>5628515.840499999</c:v>
                </c:pt>
                <c:pt idx="2378">
                  <c:v>5659619.840499999</c:v>
                </c:pt>
                <c:pt idx="2379">
                  <c:v>5526671.840499999</c:v>
                </c:pt>
                <c:pt idx="2380">
                  <c:v>5689679.840499999</c:v>
                </c:pt>
                <c:pt idx="2381">
                  <c:v>5933255.840499999</c:v>
                </c:pt>
                <c:pt idx="2382">
                  <c:v>5776943.840499999</c:v>
                </c:pt>
                <c:pt idx="2383">
                  <c:v>5785529.840499999</c:v>
                </c:pt>
                <c:pt idx="2384">
                  <c:v>5796527.840499999</c:v>
                </c:pt>
                <c:pt idx="2385">
                  <c:v>5759321.840499999</c:v>
                </c:pt>
                <c:pt idx="2386">
                  <c:v>5585171.840499999</c:v>
                </c:pt>
                <c:pt idx="2387">
                  <c:v>5645237.840499999</c:v>
                </c:pt>
                <c:pt idx="2388">
                  <c:v>5723645.840499999</c:v>
                </c:pt>
                <c:pt idx="2389">
                  <c:v>5765423.840499999</c:v>
                </c:pt>
                <c:pt idx="2390">
                  <c:v>5969219.840499999</c:v>
                </c:pt>
                <c:pt idx="2391">
                  <c:v>5919881.840499999</c:v>
                </c:pt>
                <c:pt idx="2392">
                  <c:v>5884439.840499999</c:v>
                </c:pt>
                <c:pt idx="2393">
                  <c:v>5846207.840499999</c:v>
                </c:pt>
                <c:pt idx="2394">
                  <c:v>5829755.840499999</c:v>
                </c:pt>
                <c:pt idx="2395">
                  <c:v>5748161.840499999</c:v>
                </c:pt>
                <c:pt idx="2396">
                  <c:v>5816021.840499999</c:v>
                </c:pt>
                <c:pt idx="2397">
                  <c:v>5874053.840499999</c:v>
                </c:pt>
                <c:pt idx="2398">
                  <c:v>5815661.840499999</c:v>
                </c:pt>
                <c:pt idx="2399">
                  <c:v>5883035.840499999</c:v>
                </c:pt>
                <c:pt idx="2400">
                  <c:v>5910575.840499999</c:v>
                </c:pt>
                <c:pt idx="2401">
                  <c:v>5977049.840499999</c:v>
                </c:pt>
                <c:pt idx="2402">
                  <c:v>5839907.840499999</c:v>
                </c:pt>
                <c:pt idx="2403">
                  <c:v>5854451.840499999</c:v>
                </c:pt>
                <c:pt idx="2404">
                  <c:v>5832743.840499999</c:v>
                </c:pt>
                <c:pt idx="2405">
                  <c:v>5705033.840499999</c:v>
                </c:pt>
                <c:pt idx="2406">
                  <c:v>5701001.840499999</c:v>
                </c:pt>
                <c:pt idx="2407">
                  <c:v>5693801.840499999</c:v>
                </c:pt>
                <c:pt idx="2408">
                  <c:v>5768843.840499999</c:v>
                </c:pt>
                <c:pt idx="2409">
                  <c:v>5694539.840499999</c:v>
                </c:pt>
                <c:pt idx="2410">
                  <c:v>5757611.840499999</c:v>
                </c:pt>
                <c:pt idx="2411">
                  <c:v>5916479.840499999</c:v>
                </c:pt>
                <c:pt idx="2412">
                  <c:v>5928647.840499999</c:v>
                </c:pt>
                <c:pt idx="2413">
                  <c:v>5900369.840499999</c:v>
                </c:pt>
                <c:pt idx="2414">
                  <c:v>5773775.840499999</c:v>
                </c:pt>
                <c:pt idx="2415">
                  <c:v>5773577.840499999</c:v>
                </c:pt>
                <c:pt idx="2416">
                  <c:v>5707337.840499999</c:v>
                </c:pt>
                <c:pt idx="2417">
                  <c:v>5734445.840499999</c:v>
                </c:pt>
                <c:pt idx="2418">
                  <c:v>5753867.840499999</c:v>
                </c:pt>
                <c:pt idx="2419">
                  <c:v>5842211.840499999</c:v>
                </c:pt>
                <c:pt idx="2420">
                  <c:v>5745407.840499999</c:v>
                </c:pt>
                <c:pt idx="2421">
                  <c:v>5736929.840499999</c:v>
                </c:pt>
                <c:pt idx="2422">
                  <c:v>5677943.840499999</c:v>
                </c:pt>
                <c:pt idx="2423">
                  <c:v>5610803.840499999</c:v>
                </c:pt>
                <c:pt idx="2424">
                  <c:v>5568125.840499999</c:v>
                </c:pt>
                <c:pt idx="2425">
                  <c:v>5499689.840499999</c:v>
                </c:pt>
                <c:pt idx="2426">
                  <c:v>5515529.840499999</c:v>
                </c:pt>
                <c:pt idx="2427">
                  <c:v>5477873.840499999</c:v>
                </c:pt>
                <c:pt idx="2428">
                  <c:v>5450423.840499999</c:v>
                </c:pt>
                <c:pt idx="2429">
                  <c:v>5429687.840499999</c:v>
                </c:pt>
                <c:pt idx="2430">
                  <c:v>5465939.840499999</c:v>
                </c:pt>
                <c:pt idx="2431">
                  <c:v>5391941.840499999</c:v>
                </c:pt>
                <c:pt idx="2432">
                  <c:v>5383481.840499999</c:v>
                </c:pt>
                <c:pt idx="2433">
                  <c:v>5511335.840499999</c:v>
                </c:pt>
                <c:pt idx="2434">
                  <c:v>5544509.840499999</c:v>
                </c:pt>
                <c:pt idx="2435">
                  <c:v>5532629.840499999</c:v>
                </c:pt>
                <c:pt idx="2436">
                  <c:v>5588033.840499999</c:v>
                </c:pt>
                <c:pt idx="2437">
                  <c:v>5577611.840499999</c:v>
                </c:pt>
                <c:pt idx="2438">
                  <c:v>5617373.840499999</c:v>
                </c:pt>
                <c:pt idx="2439">
                  <c:v>5568773.840499999</c:v>
                </c:pt>
                <c:pt idx="2440">
                  <c:v>5677151.840499999</c:v>
                </c:pt>
                <c:pt idx="2441">
                  <c:v>5678339.840499999</c:v>
                </c:pt>
                <c:pt idx="2442">
                  <c:v>5647325.840499999</c:v>
                </c:pt>
                <c:pt idx="2443">
                  <c:v>5749475.840499999</c:v>
                </c:pt>
                <c:pt idx="2444">
                  <c:v>5780921.840499999</c:v>
                </c:pt>
                <c:pt idx="2445">
                  <c:v>5704745.840499999</c:v>
                </c:pt>
                <c:pt idx="2446">
                  <c:v>5700659.840499999</c:v>
                </c:pt>
                <c:pt idx="2447">
                  <c:v>5732573.840499999</c:v>
                </c:pt>
                <c:pt idx="2448">
                  <c:v>5778815.840499999</c:v>
                </c:pt>
                <c:pt idx="2449">
                  <c:v>5777573.840499999</c:v>
                </c:pt>
                <c:pt idx="2450">
                  <c:v>5795915.840499999</c:v>
                </c:pt>
                <c:pt idx="2451">
                  <c:v>5750033.840499999</c:v>
                </c:pt>
                <c:pt idx="2452">
                  <c:v>5809703.840499999</c:v>
                </c:pt>
                <c:pt idx="2453">
                  <c:v>5892089.840499999</c:v>
                </c:pt>
                <c:pt idx="2454">
                  <c:v>5998415.840499999</c:v>
                </c:pt>
                <c:pt idx="2455">
                  <c:v>6041381.840499999</c:v>
                </c:pt>
                <c:pt idx="2456">
                  <c:v>6161423.840499999</c:v>
                </c:pt>
                <c:pt idx="2457">
                  <c:v>6170621.840499999</c:v>
                </c:pt>
                <c:pt idx="2458">
                  <c:v>6056429.840499999</c:v>
                </c:pt>
                <c:pt idx="2459">
                  <c:v>6249101.840499999</c:v>
                </c:pt>
                <c:pt idx="2460">
                  <c:v>6238067.840499999</c:v>
                </c:pt>
                <c:pt idx="2461">
                  <c:v>6260243.840499999</c:v>
                </c:pt>
                <c:pt idx="2462">
                  <c:v>6243647.840499999</c:v>
                </c:pt>
                <c:pt idx="2463">
                  <c:v>6382985.840499999</c:v>
                </c:pt>
                <c:pt idx="2464">
                  <c:v>6759833.840499999</c:v>
                </c:pt>
                <c:pt idx="2465">
                  <c:v>6679211.840499999</c:v>
                </c:pt>
                <c:pt idx="2466">
                  <c:v>6667871.840499999</c:v>
                </c:pt>
                <c:pt idx="2467">
                  <c:v>6651635.840499999</c:v>
                </c:pt>
                <c:pt idx="2468">
                  <c:v>6796247.840499999</c:v>
                </c:pt>
                <c:pt idx="2469">
                  <c:v>6876149.840499999</c:v>
                </c:pt>
                <c:pt idx="2470">
                  <c:v>6915587.840499999</c:v>
                </c:pt>
                <c:pt idx="2471">
                  <c:v>6973331.840499999</c:v>
                </c:pt>
                <c:pt idx="2472">
                  <c:v>6902699.840499999</c:v>
                </c:pt>
                <c:pt idx="2473">
                  <c:v>6630413.840499999</c:v>
                </c:pt>
                <c:pt idx="2474">
                  <c:v>6760679.840499999</c:v>
                </c:pt>
                <c:pt idx="2475">
                  <c:v>6806399.840499999</c:v>
                </c:pt>
                <c:pt idx="2476">
                  <c:v>6750311.840499999</c:v>
                </c:pt>
                <c:pt idx="2477">
                  <c:v>6704051.840499999</c:v>
                </c:pt>
                <c:pt idx="2478">
                  <c:v>6787787.840499999</c:v>
                </c:pt>
                <c:pt idx="2479">
                  <c:v>6979919.840499999</c:v>
                </c:pt>
                <c:pt idx="2480">
                  <c:v>6947897.840499999</c:v>
                </c:pt>
                <c:pt idx="2481">
                  <c:v>6950561.840499999</c:v>
                </c:pt>
                <c:pt idx="2482">
                  <c:v>6953171.840499999</c:v>
                </c:pt>
                <c:pt idx="2483">
                  <c:v>6947609.840499999</c:v>
                </c:pt>
                <c:pt idx="2484">
                  <c:v>6783863.840499999</c:v>
                </c:pt>
                <c:pt idx="2485">
                  <c:v>6707561.840499999</c:v>
                </c:pt>
                <c:pt idx="2486">
                  <c:v>6784871.840499999</c:v>
                </c:pt>
                <c:pt idx="2487">
                  <c:v>6757889.840499999</c:v>
                </c:pt>
                <c:pt idx="2488">
                  <c:v>7016981.840499999</c:v>
                </c:pt>
                <c:pt idx="2489">
                  <c:v>7199843.840499999</c:v>
                </c:pt>
                <c:pt idx="2490">
                  <c:v>7195091.840499999</c:v>
                </c:pt>
                <c:pt idx="2491">
                  <c:v>7286657.840499999</c:v>
                </c:pt>
                <c:pt idx="2492">
                  <c:v>7358783.840499999</c:v>
                </c:pt>
                <c:pt idx="2493">
                  <c:v>7349783.840499999</c:v>
                </c:pt>
                <c:pt idx="2494">
                  <c:v>7382543.840499999</c:v>
                </c:pt>
                <c:pt idx="2495">
                  <c:v>7401299.840499999</c:v>
                </c:pt>
                <c:pt idx="2496">
                  <c:v>7242413.840499999</c:v>
                </c:pt>
                <c:pt idx="2497">
                  <c:v>7226285.840499999</c:v>
                </c:pt>
                <c:pt idx="2498">
                  <c:v>7202705.840499999</c:v>
                </c:pt>
                <c:pt idx="2499">
                  <c:v>7401191.840499999</c:v>
                </c:pt>
                <c:pt idx="2500">
                  <c:v>7403801.840499999</c:v>
                </c:pt>
                <c:pt idx="2501">
                  <c:v>7376513.840499999</c:v>
                </c:pt>
                <c:pt idx="2502">
                  <c:v>7463867.8404999981</c:v>
                </c:pt>
                <c:pt idx="2503">
                  <c:v>7292867.840499999</c:v>
                </c:pt>
                <c:pt idx="2504">
                  <c:v>7280987.840499999</c:v>
                </c:pt>
                <c:pt idx="2505">
                  <c:v>7300931.840499999</c:v>
                </c:pt>
                <c:pt idx="2506">
                  <c:v>7142045.840499999</c:v>
                </c:pt>
                <c:pt idx="2507">
                  <c:v>7047455.840499999</c:v>
                </c:pt>
                <c:pt idx="2508">
                  <c:v>7067363.840499999</c:v>
                </c:pt>
                <c:pt idx="2509">
                  <c:v>7090547.840499999</c:v>
                </c:pt>
                <c:pt idx="2510">
                  <c:v>6679085.840499999</c:v>
                </c:pt>
                <c:pt idx="2511">
                  <c:v>6743975.840499999</c:v>
                </c:pt>
                <c:pt idx="2512">
                  <c:v>6648197.840499999</c:v>
                </c:pt>
                <c:pt idx="2513">
                  <c:v>6526229.840499999</c:v>
                </c:pt>
                <c:pt idx="2514">
                  <c:v>6761579.840499999</c:v>
                </c:pt>
                <c:pt idx="2515">
                  <c:v>6650483.840499999</c:v>
                </c:pt>
                <c:pt idx="2516">
                  <c:v>6608039.840499999</c:v>
                </c:pt>
                <c:pt idx="2517">
                  <c:v>6755531.840499999</c:v>
                </c:pt>
                <c:pt idx="2518">
                  <c:v>6785897.840499999</c:v>
                </c:pt>
                <c:pt idx="2519">
                  <c:v>6614537.840499999</c:v>
                </c:pt>
                <c:pt idx="2520">
                  <c:v>6558791.840499999</c:v>
                </c:pt>
                <c:pt idx="2521">
                  <c:v>6646973.840499999</c:v>
                </c:pt>
                <c:pt idx="2522">
                  <c:v>6615653.840499999</c:v>
                </c:pt>
                <c:pt idx="2523">
                  <c:v>6497897.840499999</c:v>
                </c:pt>
                <c:pt idx="2524">
                  <c:v>6515807.840499999</c:v>
                </c:pt>
                <c:pt idx="2525">
                  <c:v>6593729.840499999</c:v>
                </c:pt>
                <c:pt idx="2526">
                  <c:v>6656837.840499999</c:v>
                </c:pt>
                <c:pt idx="2527">
                  <c:v>6641807.840499999</c:v>
                </c:pt>
                <c:pt idx="2528">
                  <c:v>6600893.840499999</c:v>
                </c:pt>
                <c:pt idx="2529">
                  <c:v>6580391.840499999</c:v>
                </c:pt>
                <c:pt idx="2530">
                  <c:v>6584387.840499999</c:v>
                </c:pt>
                <c:pt idx="2531">
                  <c:v>6524015.840499999</c:v>
                </c:pt>
                <c:pt idx="2532">
                  <c:v>6521567.840499999</c:v>
                </c:pt>
                <c:pt idx="2533">
                  <c:v>6463193.840499999</c:v>
                </c:pt>
                <c:pt idx="2534">
                  <c:v>6546101.840499999</c:v>
                </c:pt>
                <c:pt idx="2535">
                  <c:v>6741473.840499999</c:v>
                </c:pt>
                <c:pt idx="2536">
                  <c:v>6690749.840499999</c:v>
                </c:pt>
                <c:pt idx="2537">
                  <c:v>6680471.840499999</c:v>
                </c:pt>
                <c:pt idx="2538">
                  <c:v>6625553.840499999</c:v>
                </c:pt>
                <c:pt idx="2539">
                  <c:v>6625445.840499999</c:v>
                </c:pt>
                <c:pt idx="2540">
                  <c:v>6648485.840499999</c:v>
                </c:pt>
                <c:pt idx="2541">
                  <c:v>6735461.840499999</c:v>
                </c:pt>
                <c:pt idx="2542">
                  <c:v>6938105.840499999</c:v>
                </c:pt>
                <c:pt idx="2543">
                  <c:v>6947861.840499999</c:v>
                </c:pt>
                <c:pt idx="2544">
                  <c:v>6961055.840499999</c:v>
                </c:pt>
                <c:pt idx="2545">
                  <c:v>6889127.840499999</c:v>
                </c:pt>
                <c:pt idx="2546">
                  <c:v>6876563.840499999</c:v>
                </c:pt>
                <c:pt idx="2547">
                  <c:v>6949445.840499999</c:v>
                </c:pt>
                <c:pt idx="2548">
                  <c:v>6932831.840499999</c:v>
                </c:pt>
                <c:pt idx="2549">
                  <c:v>7131227.840499999</c:v>
                </c:pt>
                <c:pt idx="2550">
                  <c:v>7133675.840499999</c:v>
                </c:pt>
                <c:pt idx="2551">
                  <c:v>7055123.840499999</c:v>
                </c:pt>
                <c:pt idx="2552">
                  <c:v>7018349.840499999</c:v>
                </c:pt>
                <c:pt idx="2553">
                  <c:v>7054529.840499999</c:v>
                </c:pt>
                <c:pt idx="2554">
                  <c:v>6891791.840499999</c:v>
                </c:pt>
                <c:pt idx="2555">
                  <c:v>6874403.840499999</c:v>
                </c:pt>
                <c:pt idx="2556">
                  <c:v>6862901.840499999</c:v>
                </c:pt>
                <c:pt idx="2557">
                  <c:v>6860165.840499999</c:v>
                </c:pt>
                <c:pt idx="2558">
                  <c:v>6902483.840499999</c:v>
                </c:pt>
                <c:pt idx="2559">
                  <c:v>6930311.840499999</c:v>
                </c:pt>
                <c:pt idx="2560">
                  <c:v>6899081.840499999</c:v>
                </c:pt>
                <c:pt idx="2561">
                  <c:v>6895121.840499999</c:v>
                </c:pt>
                <c:pt idx="2562">
                  <c:v>6829889.840499999</c:v>
                </c:pt>
                <c:pt idx="2563">
                  <c:v>6901097.840499999</c:v>
                </c:pt>
                <c:pt idx="2564">
                  <c:v>6853793.840499999</c:v>
                </c:pt>
                <c:pt idx="2565">
                  <c:v>6868607.840499999</c:v>
                </c:pt>
                <c:pt idx="2566">
                  <c:v>6922463.840499999</c:v>
                </c:pt>
                <c:pt idx="2567">
                  <c:v>6978695.840499999</c:v>
                </c:pt>
                <c:pt idx="2568">
                  <c:v>6992195.840499999</c:v>
                </c:pt>
                <c:pt idx="2569">
                  <c:v>6984455.840499999</c:v>
                </c:pt>
                <c:pt idx="2570">
                  <c:v>7013345.840499999</c:v>
                </c:pt>
                <c:pt idx="2571">
                  <c:v>6950417.840499999</c:v>
                </c:pt>
                <c:pt idx="2572">
                  <c:v>6893015.840499999</c:v>
                </c:pt>
                <c:pt idx="2573">
                  <c:v>6792161.840499999</c:v>
                </c:pt>
                <c:pt idx="2574">
                  <c:v>6663011.840499999</c:v>
                </c:pt>
                <c:pt idx="2575">
                  <c:v>6592163.840499999</c:v>
                </c:pt>
                <c:pt idx="2576">
                  <c:v>6565343.840499999</c:v>
                </c:pt>
                <c:pt idx="2577">
                  <c:v>6651491.840499999</c:v>
                </c:pt>
                <c:pt idx="2578">
                  <c:v>6587123.840499999</c:v>
                </c:pt>
                <c:pt idx="2579">
                  <c:v>6705149.840499999</c:v>
                </c:pt>
                <c:pt idx="2580">
                  <c:v>6645119.840499999</c:v>
                </c:pt>
                <c:pt idx="2581">
                  <c:v>6675089.840499999</c:v>
                </c:pt>
                <c:pt idx="2582">
                  <c:v>6695969.840499999</c:v>
                </c:pt>
                <c:pt idx="2583">
                  <c:v>6725741.840499999</c:v>
                </c:pt>
                <c:pt idx="2584">
                  <c:v>6870731.840499999</c:v>
                </c:pt>
                <c:pt idx="2585">
                  <c:v>6864683.840499999</c:v>
                </c:pt>
                <c:pt idx="2586">
                  <c:v>6853937.840499999</c:v>
                </c:pt>
                <c:pt idx="2587">
                  <c:v>6875087.840499999</c:v>
                </c:pt>
                <c:pt idx="2588">
                  <c:v>6924317.840499999</c:v>
                </c:pt>
                <c:pt idx="2589">
                  <c:v>6825407.840499999</c:v>
                </c:pt>
                <c:pt idx="2590">
                  <c:v>6917279.840499999</c:v>
                </c:pt>
                <c:pt idx="2591">
                  <c:v>6891413.840499999</c:v>
                </c:pt>
                <c:pt idx="2592">
                  <c:v>6869111.840499999</c:v>
                </c:pt>
                <c:pt idx="2593">
                  <c:v>6886031.840499999</c:v>
                </c:pt>
                <c:pt idx="2594">
                  <c:v>6973745.840499999</c:v>
                </c:pt>
                <c:pt idx="2595">
                  <c:v>6983267.840499999</c:v>
                </c:pt>
                <c:pt idx="2596">
                  <c:v>7041569.840499999</c:v>
                </c:pt>
                <c:pt idx="2597">
                  <c:v>7112345.840499999</c:v>
                </c:pt>
                <c:pt idx="2598">
                  <c:v>7154087.840499999</c:v>
                </c:pt>
                <c:pt idx="2599">
                  <c:v>7198079.840499999</c:v>
                </c:pt>
                <c:pt idx="2600">
                  <c:v>7173455.840499999</c:v>
                </c:pt>
                <c:pt idx="2601">
                  <c:v>7120949.840499999</c:v>
                </c:pt>
                <c:pt idx="2602">
                  <c:v>7197053.840499999</c:v>
                </c:pt>
                <c:pt idx="2603">
                  <c:v>7170665.840499999</c:v>
                </c:pt>
                <c:pt idx="2604">
                  <c:v>7050965.840499999</c:v>
                </c:pt>
                <c:pt idx="2605">
                  <c:v>7084913.840499999</c:v>
                </c:pt>
                <c:pt idx="2606">
                  <c:v>7110653.840499999</c:v>
                </c:pt>
                <c:pt idx="2607">
                  <c:v>7130939.840499999</c:v>
                </c:pt>
                <c:pt idx="2608">
                  <c:v>7049957.840499999</c:v>
                </c:pt>
                <c:pt idx="2609">
                  <c:v>7068713.840499999</c:v>
                </c:pt>
                <c:pt idx="2610">
                  <c:v>7014533.840499999</c:v>
                </c:pt>
                <c:pt idx="2611">
                  <c:v>6960821.840499999</c:v>
                </c:pt>
                <c:pt idx="2612">
                  <c:v>6981539.840499999</c:v>
                </c:pt>
                <c:pt idx="2613">
                  <c:v>6912923.840499999</c:v>
                </c:pt>
                <c:pt idx="2614">
                  <c:v>6954593.840499999</c:v>
                </c:pt>
                <c:pt idx="2615">
                  <c:v>6964601.840499999</c:v>
                </c:pt>
                <c:pt idx="2616">
                  <c:v>7021121.840499999</c:v>
                </c:pt>
                <c:pt idx="2617">
                  <c:v>7087883.840499999</c:v>
                </c:pt>
                <c:pt idx="2618">
                  <c:v>7162601.840499999</c:v>
                </c:pt>
                <c:pt idx="2619">
                  <c:v>7132019.840499999</c:v>
                </c:pt>
                <c:pt idx="2620">
                  <c:v>7107611.840499999</c:v>
                </c:pt>
                <c:pt idx="2621">
                  <c:v>7112165.840499999</c:v>
                </c:pt>
                <c:pt idx="2622">
                  <c:v>7011653.840499999</c:v>
                </c:pt>
                <c:pt idx="2623">
                  <c:v>7032281.840499999</c:v>
                </c:pt>
                <c:pt idx="2624">
                  <c:v>7059353.840499999</c:v>
                </c:pt>
                <c:pt idx="2625">
                  <c:v>7014713.840499999</c:v>
                </c:pt>
                <c:pt idx="2626">
                  <c:v>7013975.840499999</c:v>
                </c:pt>
                <c:pt idx="2627">
                  <c:v>7060991.840499999</c:v>
                </c:pt>
                <c:pt idx="2628">
                  <c:v>7114631.840499999</c:v>
                </c:pt>
                <c:pt idx="2629">
                  <c:v>7085183.840499999</c:v>
                </c:pt>
                <c:pt idx="2630">
                  <c:v>7050983.840499999</c:v>
                </c:pt>
                <c:pt idx="2631">
                  <c:v>7042919.840499999</c:v>
                </c:pt>
                <c:pt idx="2632">
                  <c:v>7161071.840499999</c:v>
                </c:pt>
                <c:pt idx="2633">
                  <c:v>7207385.840499999</c:v>
                </c:pt>
                <c:pt idx="2634">
                  <c:v>7251827.840499999</c:v>
                </c:pt>
                <c:pt idx="2635">
                  <c:v>7219553.840499999</c:v>
                </c:pt>
                <c:pt idx="2636">
                  <c:v>7232135.840499999</c:v>
                </c:pt>
                <c:pt idx="2637">
                  <c:v>7198187.840499999</c:v>
                </c:pt>
                <c:pt idx="2638">
                  <c:v>7072133.840499999</c:v>
                </c:pt>
                <c:pt idx="2639">
                  <c:v>7073411.840499999</c:v>
                </c:pt>
                <c:pt idx="2640">
                  <c:v>7066733.840499999</c:v>
                </c:pt>
                <c:pt idx="2641">
                  <c:v>7077317.840499999</c:v>
                </c:pt>
                <c:pt idx="2642">
                  <c:v>7025531.840499999</c:v>
                </c:pt>
                <c:pt idx="2643">
                  <c:v>7081043.840499999</c:v>
                </c:pt>
                <c:pt idx="2644">
                  <c:v>7151441.840499999</c:v>
                </c:pt>
                <c:pt idx="2645">
                  <c:v>7080917.840499999</c:v>
                </c:pt>
                <c:pt idx="2646">
                  <c:v>7048049.840499999</c:v>
                </c:pt>
                <c:pt idx="2647">
                  <c:v>6976751.840499999</c:v>
                </c:pt>
                <c:pt idx="2648">
                  <c:v>7027547.840499999</c:v>
                </c:pt>
                <c:pt idx="2649">
                  <c:v>7051739.840499999</c:v>
                </c:pt>
                <c:pt idx="2650">
                  <c:v>7022885.840499999</c:v>
                </c:pt>
                <c:pt idx="2651">
                  <c:v>6998909.840499999</c:v>
                </c:pt>
                <c:pt idx="2652">
                  <c:v>6938375.840499999</c:v>
                </c:pt>
                <c:pt idx="2653">
                  <c:v>6951677.840499999</c:v>
                </c:pt>
                <c:pt idx="2654">
                  <c:v>6978731.840499999</c:v>
                </c:pt>
                <c:pt idx="2655">
                  <c:v>6976445.840499999</c:v>
                </c:pt>
                <c:pt idx="2656">
                  <c:v>7029617.840499999</c:v>
                </c:pt>
                <c:pt idx="2657">
                  <c:v>7071071.840499999</c:v>
                </c:pt>
                <c:pt idx="2658">
                  <c:v>7058579.840499999</c:v>
                </c:pt>
                <c:pt idx="2659">
                  <c:v>7067453.840499999</c:v>
                </c:pt>
                <c:pt idx="2660">
                  <c:v>7071719.840499999</c:v>
                </c:pt>
                <c:pt idx="2661">
                  <c:v>7050605.840499999</c:v>
                </c:pt>
                <c:pt idx="2662">
                  <c:v>7189565.840499999</c:v>
                </c:pt>
                <c:pt idx="2663">
                  <c:v>7224359.840499999</c:v>
                </c:pt>
                <c:pt idx="2664">
                  <c:v>7322009.840499999</c:v>
                </c:pt>
                <c:pt idx="2665">
                  <c:v>7305773.840499999</c:v>
                </c:pt>
                <c:pt idx="2666">
                  <c:v>7295639.840499999</c:v>
                </c:pt>
                <c:pt idx="2667">
                  <c:v>7277819.840499999</c:v>
                </c:pt>
                <c:pt idx="2668">
                  <c:v>7187549.840499999</c:v>
                </c:pt>
                <c:pt idx="2669">
                  <c:v>7234097.840499999</c:v>
                </c:pt>
                <c:pt idx="2670">
                  <c:v>7230335.840499999</c:v>
                </c:pt>
                <c:pt idx="2671">
                  <c:v>7293551.840499999</c:v>
                </c:pt>
                <c:pt idx="2672">
                  <c:v>7286423.840499999</c:v>
                </c:pt>
                <c:pt idx="2673">
                  <c:v>7393703.840499999</c:v>
                </c:pt>
                <c:pt idx="2674">
                  <c:v>7420613.840499999</c:v>
                </c:pt>
                <c:pt idx="2675">
                  <c:v>7520801.840499999</c:v>
                </c:pt>
                <c:pt idx="2676">
                  <c:v>7507697.840499999</c:v>
                </c:pt>
                <c:pt idx="2677">
                  <c:v>7479509.840499999</c:v>
                </c:pt>
                <c:pt idx="2678">
                  <c:v>7535183.8404999981</c:v>
                </c:pt>
                <c:pt idx="2679">
                  <c:v>7448945.8404999981</c:v>
                </c:pt>
                <c:pt idx="2680">
                  <c:v>7542635.840499999</c:v>
                </c:pt>
                <c:pt idx="2681">
                  <c:v>7540493.8404999999</c:v>
                </c:pt>
                <c:pt idx="2682">
                  <c:v>7613951.840499999</c:v>
                </c:pt>
                <c:pt idx="2683">
                  <c:v>7588571.8404999999</c:v>
                </c:pt>
                <c:pt idx="2684">
                  <c:v>7546883.8404999981</c:v>
                </c:pt>
                <c:pt idx="2685">
                  <c:v>7515041.840499999</c:v>
                </c:pt>
                <c:pt idx="2686">
                  <c:v>7525499.8404999999</c:v>
                </c:pt>
                <c:pt idx="2687">
                  <c:v>7581263.840499999</c:v>
                </c:pt>
                <c:pt idx="2688">
                  <c:v>7452527.8404999999</c:v>
                </c:pt>
                <c:pt idx="2689">
                  <c:v>7484243.8404999999</c:v>
                </c:pt>
                <c:pt idx="2690">
                  <c:v>7253069.1384999994</c:v>
                </c:pt>
                <c:pt idx="2691">
                  <c:v>7253069.1384999994</c:v>
                </c:pt>
                <c:pt idx="2692">
                  <c:v>7253069.1384999994</c:v>
                </c:pt>
                <c:pt idx="2693">
                  <c:v>7253069.1384999994</c:v>
                </c:pt>
                <c:pt idx="2694">
                  <c:v>7253069.1384999994</c:v>
                </c:pt>
                <c:pt idx="2695">
                  <c:v>7253069.1384999994</c:v>
                </c:pt>
                <c:pt idx="2696">
                  <c:v>7253069.1384999994</c:v>
                </c:pt>
                <c:pt idx="2697">
                  <c:v>7253069.1384999994</c:v>
                </c:pt>
                <c:pt idx="2698">
                  <c:v>7253069.1384999994</c:v>
                </c:pt>
                <c:pt idx="2699">
                  <c:v>7253069.1384999994</c:v>
                </c:pt>
                <c:pt idx="2700">
                  <c:v>7253069.1384999994</c:v>
                </c:pt>
                <c:pt idx="2701">
                  <c:v>7253069.1384999994</c:v>
                </c:pt>
                <c:pt idx="2702">
                  <c:v>7253069.1384999994</c:v>
                </c:pt>
                <c:pt idx="2703">
                  <c:v>7253069.1384999994</c:v>
                </c:pt>
                <c:pt idx="2704">
                  <c:v>7253069.1384999994</c:v>
                </c:pt>
                <c:pt idx="2705">
                  <c:v>7253069.1384999994</c:v>
                </c:pt>
                <c:pt idx="2706">
                  <c:v>7253069.1384999994</c:v>
                </c:pt>
                <c:pt idx="2707">
                  <c:v>7253069.1384999994</c:v>
                </c:pt>
                <c:pt idx="2708">
                  <c:v>7253069.1384999994</c:v>
                </c:pt>
                <c:pt idx="2709">
                  <c:v>7253069.1384999994</c:v>
                </c:pt>
                <c:pt idx="2710">
                  <c:v>7253069.1384999994</c:v>
                </c:pt>
                <c:pt idx="2711">
                  <c:v>7253069.1384999994</c:v>
                </c:pt>
                <c:pt idx="2712">
                  <c:v>7253069.1384999994</c:v>
                </c:pt>
                <c:pt idx="2713">
                  <c:v>7253069.1384999994</c:v>
                </c:pt>
                <c:pt idx="2714">
                  <c:v>7253069.1384999994</c:v>
                </c:pt>
                <c:pt idx="2715">
                  <c:v>7253069.1384999994</c:v>
                </c:pt>
                <c:pt idx="2716">
                  <c:v>7253069.1384999994</c:v>
                </c:pt>
                <c:pt idx="2717">
                  <c:v>7253069.1384999994</c:v>
                </c:pt>
                <c:pt idx="2718">
                  <c:v>7253069.1384999994</c:v>
                </c:pt>
                <c:pt idx="2719">
                  <c:v>7253069.1384999994</c:v>
                </c:pt>
                <c:pt idx="2720">
                  <c:v>7253069.1384999994</c:v>
                </c:pt>
                <c:pt idx="2721">
                  <c:v>7253069.1384999994</c:v>
                </c:pt>
                <c:pt idx="2722">
                  <c:v>7253069.1384999994</c:v>
                </c:pt>
                <c:pt idx="2723">
                  <c:v>7253069.1384999994</c:v>
                </c:pt>
                <c:pt idx="2724">
                  <c:v>7253069.1384999994</c:v>
                </c:pt>
                <c:pt idx="2725">
                  <c:v>7253069.1384999994</c:v>
                </c:pt>
                <c:pt idx="2726">
                  <c:v>7253069.1384999994</c:v>
                </c:pt>
                <c:pt idx="2727">
                  <c:v>7253069.1384999994</c:v>
                </c:pt>
                <c:pt idx="2728">
                  <c:v>7253069.1384999994</c:v>
                </c:pt>
                <c:pt idx="2729">
                  <c:v>7253069.1384999994</c:v>
                </c:pt>
                <c:pt idx="2730">
                  <c:v>7253069.1384999994</c:v>
                </c:pt>
                <c:pt idx="2731">
                  <c:v>7253069.1384999994</c:v>
                </c:pt>
                <c:pt idx="2732">
                  <c:v>7253069.1384999994</c:v>
                </c:pt>
                <c:pt idx="2733">
                  <c:v>7253069.1384999994</c:v>
                </c:pt>
                <c:pt idx="2734">
                  <c:v>7253069.1384999994</c:v>
                </c:pt>
                <c:pt idx="2735">
                  <c:v>7253069.1384999994</c:v>
                </c:pt>
                <c:pt idx="2736">
                  <c:v>7253069.1384999994</c:v>
                </c:pt>
                <c:pt idx="2737">
                  <c:v>7253069.1384999994</c:v>
                </c:pt>
                <c:pt idx="2738">
                  <c:v>7253069.1384999994</c:v>
                </c:pt>
                <c:pt idx="2739">
                  <c:v>7253069.1384999994</c:v>
                </c:pt>
                <c:pt idx="2740">
                  <c:v>7253069.1384999994</c:v>
                </c:pt>
                <c:pt idx="2741">
                  <c:v>7253069.1384999994</c:v>
                </c:pt>
                <c:pt idx="2742">
                  <c:v>7253069.1384999994</c:v>
                </c:pt>
                <c:pt idx="2743">
                  <c:v>7253069.1384999994</c:v>
                </c:pt>
                <c:pt idx="2744">
                  <c:v>7253069.1384999994</c:v>
                </c:pt>
                <c:pt idx="2745">
                  <c:v>7253069.1384999994</c:v>
                </c:pt>
                <c:pt idx="2746">
                  <c:v>7253069.1384999994</c:v>
                </c:pt>
                <c:pt idx="2747">
                  <c:v>7253069.1384999994</c:v>
                </c:pt>
                <c:pt idx="2748">
                  <c:v>7253069.1384999994</c:v>
                </c:pt>
                <c:pt idx="2749">
                  <c:v>7253069.1384999994</c:v>
                </c:pt>
                <c:pt idx="2750">
                  <c:v>7253069.1384999994</c:v>
                </c:pt>
                <c:pt idx="2751">
                  <c:v>7253069.1384999994</c:v>
                </c:pt>
                <c:pt idx="2752">
                  <c:v>7253069.1384999994</c:v>
                </c:pt>
                <c:pt idx="2753">
                  <c:v>7253069.1384999994</c:v>
                </c:pt>
                <c:pt idx="2754">
                  <c:v>7253069.1384999994</c:v>
                </c:pt>
                <c:pt idx="2755">
                  <c:v>7253069.1384999994</c:v>
                </c:pt>
                <c:pt idx="2756">
                  <c:v>7253069.1384999994</c:v>
                </c:pt>
                <c:pt idx="2757">
                  <c:v>7253069.1384999994</c:v>
                </c:pt>
                <c:pt idx="2758">
                  <c:v>7253069.1384999994</c:v>
                </c:pt>
                <c:pt idx="2759">
                  <c:v>7253069.1384999994</c:v>
                </c:pt>
                <c:pt idx="2760">
                  <c:v>7253069.1384999994</c:v>
                </c:pt>
                <c:pt idx="2761">
                  <c:v>7253069.1384999994</c:v>
                </c:pt>
                <c:pt idx="2762">
                  <c:v>7253069.1384999994</c:v>
                </c:pt>
                <c:pt idx="2763">
                  <c:v>7253069.1384999994</c:v>
                </c:pt>
                <c:pt idx="2764">
                  <c:v>7253069.1384999994</c:v>
                </c:pt>
                <c:pt idx="2765">
                  <c:v>7253069.1384999994</c:v>
                </c:pt>
                <c:pt idx="2766">
                  <c:v>7253069.1384999994</c:v>
                </c:pt>
                <c:pt idx="2767">
                  <c:v>7253069.1384999994</c:v>
                </c:pt>
                <c:pt idx="2768">
                  <c:v>7253069.1384999994</c:v>
                </c:pt>
                <c:pt idx="2769">
                  <c:v>7253069.1384999994</c:v>
                </c:pt>
                <c:pt idx="2770">
                  <c:v>7253069.1384999994</c:v>
                </c:pt>
                <c:pt idx="2771">
                  <c:v>7253069.1384999994</c:v>
                </c:pt>
                <c:pt idx="2772">
                  <c:v>7253069.1384999994</c:v>
                </c:pt>
                <c:pt idx="2773">
                  <c:v>7253069.1384999994</c:v>
                </c:pt>
                <c:pt idx="2774">
                  <c:v>7253069.1384999994</c:v>
                </c:pt>
                <c:pt idx="2775">
                  <c:v>7253069.1384999994</c:v>
                </c:pt>
                <c:pt idx="2776">
                  <c:v>7253069.1384999994</c:v>
                </c:pt>
                <c:pt idx="2777">
                  <c:v>7253069.1384999994</c:v>
                </c:pt>
                <c:pt idx="2778">
                  <c:v>7253069.1384999994</c:v>
                </c:pt>
                <c:pt idx="2779">
                  <c:v>7253069.1384999994</c:v>
                </c:pt>
                <c:pt idx="2780">
                  <c:v>7253069.1384999994</c:v>
                </c:pt>
                <c:pt idx="2781">
                  <c:v>7253069.1384999994</c:v>
                </c:pt>
                <c:pt idx="2782">
                  <c:v>7253069.1384999994</c:v>
                </c:pt>
                <c:pt idx="2783">
                  <c:v>7253069.1384999994</c:v>
                </c:pt>
                <c:pt idx="2784">
                  <c:v>7253069.1384999994</c:v>
                </c:pt>
                <c:pt idx="2785">
                  <c:v>7253069.1384999994</c:v>
                </c:pt>
                <c:pt idx="2786">
                  <c:v>7253069.1384999994</c:v>
                </c:pt>
                <c:pt idx="2787">
                  <c:v>7253069.1384999994</c:v>
                </c:pt>
                <c:pt idx="2788">
                  <c:v>7253069.1384999994</c:v>
                </c:pt>
                <c:pt idx="2789">
                  <c:v>7253069.1384999994</c:v>
                </c:pt>
                <c:pt idx="2790">
                  <c:v>7253069.1384999994</c:v>
                </c:pt>
                <c:pt idx="2791">
                  <c:v>7253069.1384999994</c:v>
                </c:pt>
                <c:pt idx="2792">
                  <c:v>7253069.1384999994</c:v>
                </c:pt>
                <c:pt idx="2793">
                  <c:v>7252375.4040999999</c:v>
                </c:pt>
                <c:pt idx="2794">
                  <c:v>7386391.4041000009</c:v>
                </c:pt>
                <c:pt idx="2795">
                  <c:v>7787175.4040999999</c:v>
                </c:pt>
                <c:pt idx="2796">
                  <c:v>7832039.4040999999</c:v>
                </c:pt>
                <c:pt idx="2797">
                  <c:v>7953431.4040999999</c:v>
                </c:pt>
                <c:pt idx="2798">
                  <c:v>8060263.4041000009</c:v>
                </c:pt>
                <c:pt idx="2799">
                  <c:v>7920039.4040999999</c:v>
                </c:pt>
                <c:pt idx="2800">
                  <c:v>8079767.4040999999</c:v>
                </c:pt>
                <c:pt idx="2801">
                  <c:v>8005735.404099999</c:v>
                </c:pt>
                <c:pt idx="2802">
                  <c:v>7906183.4040999999</c:v>
                </c:pt>
                <c:pt idx="2803">
                  <c:v>7541031.4040999999</c:v>
                </c:pt>
                <c:pt idx="2804">
                  <c:v>7586551.4040999999</c:v>
                </c:pt>
                <c:pt idx="2805">
                  <c:v>7803511.4040999999</c:v>
                </c:pt>
                <c:pt idx="2806">
                  <c:v>7820695.4040999999</c:v>
                </c:pt>
                <c:pt idx="2807">
                  <c:v>7858151.4040999999</c:v>
                </c:pt>
                <c:pt idx="2808">
                  <c:v>7854935.404099999</c:v>
                </c:pt>
                <c:pt idx="2809">
                  <c:v>7523975.4040999999</c:v>
                </c:pt>
                <c:pt idx="2810">
                  <c:v>7560551.4040999999</c:v>
                </c:pt>
                <c:pt idx="2811">
                  <c:v>7624247.4040999999</c:v>
                </c:pt>
                <c:pt idx="2812">
                  <c:v>7801447.4040999999</c:v>
                </c:pt>
                <c:pt idx="2813">
                  <c:v>7764871.404099999</c:v>
                </c:pt>
                <c:pt idx="2814">
                  <c:v>7827111.4040999999</c:v>
                </c:pt>
                <c:pt idx="2815">
                  <c:v>7949127.4041000009</c:v>
                </c:pt>
                <c:pt idx="2816">
                  <c:v>7956311.4040999999</c:v>
                </c:pt>
                <c:pt idx="2817">
                  <c:v>7958407.404099999</c:v>
                </c:pt>
                <c:pt idx="2818">
                  <c:v>7935447.4040999999</c:v>
                </c:pt>
                <c:pt idx="2819">
                  <c:v>7847719.4040999999</c:v>
                </c:pt>
                <c:pt idx="2820">
                  <c:v>7874067.4249</c:v>
                </c:pt>
                <c:pt idx="2821">
                  <c:v>7874067.4249</c:v>
                </c:pt>
                <c:pt idx="2822">
                  <c:v>7874067.4249</c:v>
                </c:pt>
                <c:pt idx="2823">
                  <c:v>7874067.4249</c:v>
                </c:pt>
                <c:pt idx="2824">
                  <c:v>7874067.4249</c:v>
                </c:pt>
                <c:pt idx="2825">
                  <c:v>7874067.4249</c:v>
                </c:pt>
                <c:pt idx="2826">
                  <c:v>7874067.4249</c:v>
                </c:pt>
                <c:pt idx="2827">
                  <c:v>7874067.4249</c:v>
                </c:pt>
                <c:pt idx="2828">
                  <c:v>7874067.4249</c:v>
                </c:pt>
                <c:pt idx="2829">
                  <c:v>7874067.4249</c:v>
                </c:pt>
                <c:pt idx="2830">
                  <c:v>7874067.4249</c:v>
                </c:pt>
                <c:pt idx="2831">
                  <c:v>7874067.4249</c:v>
                </c:pt>
                <c:pt idx="2832">
                  <c:v>7874067.4249</c:v>
                </c:pt>
                <c:pt idx="2833">
                  <c:v>7874067.4249</c:v>
                </c:pt>
                <c:pt idx="2834">
                  <c:v>7874067.4249</c:v>
                </c:pt>
                <c:pt idx="2835">
                  <c:v>7874067.4249</c:v>
                </c:pt>
                <c:pt idx="2836">
                  <c:v>7874067.4249</c:v>
                </c:pt>
                <c:pt idx="2837">
                  <c:v>7874067.4249</c:v>
                </c:pt>
                <c:pt idx="2838">
                  <c:v>7874067.4249</c:v>
                </c:pt>
                <c:pt idx="2839">
                  <c:v>7874067.4249</c:v>
                </c:pt>
                <c:pt idx="2840">
                  <c:v>7874067.4249</c:v>
                </c:pt>
                <c:pt idx="2841">
                  <c:v>7874067.4249</c:v>
                </c:pt>
                <c:pt idx="2842">
                  <c:v>7874067.4249</c:v>
                </c:pt>
                <c:pt idx="2843">
                  <c:v>7874067.4249</c:v>
                </c:pt>
                <c:pt idx="2844">
                  <c:v>7874067.4249</c:v>
                </c:pt>
                <c:pt idx="2845">
                  <c:v>7874067.4249</c:v>
                </c:pt>
                <c:pt idx="2846">
                  <c:v>7874067.4249</c:v>
                </c:pt>
                <c:pt idx="2847">
                  <c:v>7874067.4249</c:v>
                </c:pt>
                <c:pt idx="2848">
                  <c:v>7874067.4249</c:v>
                </c:pt>
                <c:pt idx="2849">
                  <c:v>7874067.4249</c:v>
                </c:pt>
                <c:pt idx="2850">
                  <c:v>7874067.4249</c:v>
                </c:pt>
                <c:pt idx="2851">
                  <c:v>7874067.4249</c:v>
                </c:pt>
                <c:pt idx="2852">
                  <c:v>7874067.4249</c:v>
                </c:pt>
                <c:pt idx="2853">
                  <c:v>7874067.4249</c:v>
                </c:pt>
                <c:pt idx="2854">
                  <c:v>7874067.4249</c:v>
                </c:pt>
                <c:pt idx="2855">
                  <c:v>7874067.4249</c:v>
                </c:pt>
                <c:pt idx="2856">
                  <c:v>7873286.8189000003</c:v>
                </c:pt>
                <c:pt idx="2857">
                  <c:v>7865806.8188999994</c:v>
                </c:pt>
                <c:pt idx="2858">
                  <c:v>8025164.8189000012</c:v>
                </c:pt>
                <c:pt idx="2859">
                  <c:v>8266598.8189000003</c:v>
                </c:pt>
                <c:pt idx="2860">
                  <c:v>8293866.8189000003</c:v>
                </c:pt>
                <c:pt idx="2861">
                  <c:v>8239296.8189000012</c:v>
                </c:pt>
                <c:pt idx="2862">
                  <c:v>8225084.8189000003</c:v>
                </c:pt>
                <c:pt idx="2863">
                  <c:v>8213082.8189000012</c:v>
                </c:pt>
                <c:pt idx="2864">
                  <c:v>8151559.8189000003</c:v>
                </c:pt>
                <c:pt idx="2865">
                  <c:v>8216125.8189000003</c:v>
                </c:pt>
                <c:pt idx="2866">
                  <c:v>8215037.8189000003</c:v>
                </c:pt>
                <c:pt idx="2867">
                  <c:v>8189792.8188999994</c:v>
                </c:pt>
                <c:pt idx="2868">
                  <c:v>8088659.8189000003</c:v>
                </c:pt>
                <c:pt idx="2869">
                  <c:v>8042334.8189000003</c:v>
                </c:pt>
                <c:pt idx="2870">
                  <c:v>8056002.8189000003</c:v>
                </c:pt>
                <c:pt idx="2871">
                  <c:v>8120585.8189000012</c:v>
                </c:pt>
                <c:pt idx="2872">
                  <c:v>8181190.8189000003</c:v>
                </c:pt>
                <c:pt idx="2873">
                  <c:v>8049287.8189000003</c:v>
                </c:pt>
                <c:pt idx="2874">
                  <c:v>8092637.8189000003</c:v>
                </c:pt>
                <c:pt idx="2875">
                  <c:v>8189078.8189000012</c:v>
                </c:pt>
                <c:pt idx="2876">
                  <c:v>8250448.8189000003</c:v>
                </c:pt>
                <c:pt idx="2877">
                  <c:v>8371913.8188999994</c:v>
                </c:pt>
                <c:pt idx="2878">
                  <c:v>8372950.8189000003</c:v>
                </c:pt>
                <c:pt idx="2879">
                  <c:v>8535521.8189000003</c:v>
                </c:pt>
                <c:pt idx="2880">
                  <c:v>8488822.8189000003</c:v>
                </c:pt>
                <c:pt idx="2881">
                  <c:v>8405556.8189000003</c:v>
                </c:pt>
                <c:pt idx="2882">
                  <c:v>8411608.8189000003</c:v>
                </c:pt>
                <c:pt idx="2883">
                  <c:v>8323871.8189000012</c:v>
                </c:pt>
                <c:pt idx="2884">
                  <c:v>8404315.8189000003</c:v>
                </c:pt>
                <c:pt idx="2885">
                  <c:v>8388369.8189000003</c:v>
                </c:pt>
                <c:pt idx="2886">
                  <c:v>8383065.8189000003</c:v>
                </c:pt>
                <c:pt idx="2887">
                  <c:v>8444809.8189000003</c:v>
                </c:pt>
                <c:pt idx="2888">
                  <c:v>8470819.8189000003</c:v>
                </c:pt>
                <c:pt idx="2889">
                  <c:v>8575777.8189000003</c:v>
                </c:pt>
                <c:pt idx="2890">
                  <c:v>8523519.8189000003</c:v>
                </c:pt>
                <c:pt idx="2891">
                  <c:v>8415416.8189000003</c:v>
                </c:pt>
                <c:pt idx="2892">
                  <c:v>8430529.8189000003</c:v>
                </c:pt>
                <c:pt idx="2893">
                  <c:v>8534535.8189000003</c:v>
                </c:pt>
                <c:pt idx="2894">
                  <c:v>8499651.8189000003</c:v>
                </c:pt>
                <c:pt idx="2895">
                  <c:v>8681296.8189000003</c:v>
                </c:pt>
                <c:pt idx="2896">
                  <c:v>8681364.8189000003</c:v>
                </c:pt>
                <c:pt idx="2897">
                  <c:v>8664228.8189000003</c:v>
                </c:pt>
                <c:pt idx="2898">
                  <c:v>8679290.8189000003</c:v>
                </c:pt>
                <c:pt idx="2899">
                  <c:v>8605034.8189000003</c:v>
                </c:pt>
                <c:pt idx="2900">
                  <c:v>8584022.8189000003</c:v>
                </c:pt>
                <c:pt idx="2901">
                  <c:v>8469816.8189000003</c:v>
                </c:pt>
                <c:pt idx="2902">
                  <c:v>8466110.8189000003</c:v>
                </c:pt>
                <c:pt idx="2903">
                  <c:v>8379597.8189000003</c:v>
                </c:pt>
                <c:pt idx="2904">
                  <c:v>8456454.8189000003</c:v>
                </c:pt>
                <c:pt idx="2905">
                  <c:v>8473896.8189000003</c:v>
                </c:pt>
                <c:pt idx="2906">
                  <c:v>8488805.8189000003</c:v>
                </c:pt>
                <c:pt idx="2907">
                  <c:v>8596942.8189000003</c:v>
                </c:pt>
                <c:pt idx="2908">
                  <c:v>8567175.8189000003</c:v>
                </c:pt>
                <c:pt idx="2909">
                  <c:v>8646854.8189000003</c:v>
                </c:pt>
                <c:pt idx="2910">
                  <c:v>8507335.8189000003</c:v>
                </c:pt>
                <c:pt idx="2911">
                  <c:v>8579330.8189000003</c:v>
                </c:pt>
                <c:pt idx="2912">
                  <c:v>8567260.8189000003</c:v>
                </c:pt>
                <c:pt idx="2913">
                  <c:v>8638643.8189000003</c:v>
                </c:pt>
                <c:pt idx="2914">
                  <c:v>8676723.8189000003</c:v>
                </c:pt>
                <c:pt idx="2915">
                  <c:v>8640224.8189000003</c:v>
                </c:pt>
                <c:pt idx="2916">
                  <c:v>8760533.8189000003</c:v>
                </c:pt>
                <c:pt idx="2917">
                  <c:v>8926419.8189000003</c:v>
                </c:pt>
                <c:pt idx="2918">
                  <c:v>9022350.8189000003</c:v>
                </c:pt>
                <c:pt idx="2919">
                  <c:v>9193676.8189000003</c:v>
                </c:pt>
                <c:pt idx="2920">
                  <c:v>9277265.8189000003</c:v>
                </c:pt>
                <c:pt idx="2921">
                  <c:v>9440448.8189000003</c:v>
                </c:pt>
                <c:pt idx="2922">
                  <c:v>9409457.8189000003</c:v>
                </c:pt>
                <c:pt idx="2923">
                  <c:v>9317198.8189000003</c:v>
                </c:pt>
                <c:pt idx="2924">
                  <c:v>9581021.8189000003</c:v>
                </c:pt>
                <c:pt idx="2925">
                  <c:v>9549775.8189000003</c:v>
                </c:pt>
                <c:pt idx="2926">
                  <c:v>9367008.8189000003</c:v>
                </c:pt>
                <c:pt idx="2927">
                  <c:v>9345962.8189000003</c:v>
                </c:pt>
                <c:pt idx="2928">
                  <c:v>9448710.8189000003</c:v>
                </c:pt>
                <c:pt idx="2929">
                  <c:v>9311010.8189000003</c:v>
                </c:pt>
                <c:pt idx="2930">
                  <c:v>9377157.8189000003</c:v>
                </c:pt>
                <c:pt idx="2931">
                  <c:v>9527675.8189000003</c:v>
                </c:pt>
                <c:pt idx="2932">
                  <c:v>9535852.8189000003</c:v>
                </c:pt>
                <c:pt idx="2933">
                  <c:v>9631290.8189000003</c:v>
                </c:pt>
                <c:pt idx="2934">
                  <c:v>9439275.8189000003</c:v>
                </c:pt>
                <c:pt idx="2935">
                  <c:v>9464826.8189000003</c:v>
                </c:pt>
                <c:pt idx="2936">
                  <c:v>9208364.8189000003</c:v>
                </c:pt>
                <c:pt idx="2937">
                  <c:v>9165558.8189000003</c:v>
                </c:pt>
                <c:pt idx="2938">
                  <c:v>9277231.8189000003</c:v>
                </c:pt>
                <c:pt idx="2939">
                  <c:v>9419079.8189000003</c:v>
                </c:pt>
                <c:pt idx="2940">
                  <c:v>9392066.8189000003</c:v>
                </c:pt>
                <c:pt idx="2941">
                  <c:v>9372941.8189000003</c:v>
                </c:pt>
                <c:pt idx="2942">
                  <c:v>9389023.8189000003</c:v>
                </c:pt>
                <c:pt idx="2943">
                  <c:v>9526978.8189000003</c:v>
                </c:pt>
                <c:pt idx="2944">
                  <c:v>9733851.8189000003</c:v>
                </c:pt>
                <c:pt idx="2945">
                  <c:v>9940350.8189000003</c:v>
                </c:pt>
                <c:pt idx="2946">
                  <c:v>9873472.8189000003</c:v>
                </c:pt>
                <c:pt idx="2947">
                  <c:v>9891254.8189000003</c:v>
                </c:pt>
                <c:pt idx="2948">
                  <c:v>9582687.8189000003</c:v>
                </c:pt>
                <c:pt idx="2949">
                  <c:v>9552665.8189000003</c:v>
                </c:pt>
                <c:pt idx="2950">
                  <c:v>9311095.8189000003</c:v>
                </c:pt>
                <c:pt idx="2951">
                  <c:v>9365478.8189000003</c:v>
                </c:pt>
                <c:pt idx="2952">
                  <c:v>9139718.8189000003</c:v>
                </c:pt>
                <c:pt idx="2953">
                  <c:v>9279152.8189000003</c:v>
                </c:pt>
                <c:pt idx="2954">
                  <c:v>9161597.8189000003</c:v>
                </c:pt>
                <c:pt idx="2955">
                  <c:v>9335983.8189000003</c:v>
                </c:pt>
                <c:pt idx="2956">
                  <c:v>9044433.8189000003</c:v>
                </c:pt>
                <c:pt idx="2957">
                  <c:v>9013986.8189000003</c:v>
                </c:pt>
                <c:pt idx="2958">
                  <c:v>8703260.8189000003</c:v>
                </c:pt>
                <c:pt idx="2959">
                  <c:v>8517926.8189000003</c:v>
                </c:pt>
                <c:pt idx="2960">
                  <c:v>8573363.8189000003</c:v>
                </c:pt>
                <c:pt idx="2961">
                  <c:v>8785200.8189000003</c:v>
                </c:pt>
                <c:pt idx="2962">
                  <c:v>8816072.8189000003</c:v>
                </c:pt>
                <c:pt idx="2963">
                  <c:v>8627644.8189000003</c:v>
                </c:pt>
                <c:pt idx="2964">
                  <c:v>8702138.8189000003</c:v>
                </c:pt>
                <c:pt idx="2965">
                  <c:v>8738688.8189000003</c:v>
                </c:pt>
                <c:pt idx="2966">
                  <c:v>8808235.8189000003</c:v>
                </c:pt>
                <c:pt idx="2967">
                  <c:v>8579279.8189000003</c:v>
                </c:pt>
                <c:pt idx="2968">
                  <c:v>8664381.8189000003</c:v>
                </c:pt>
                <c:pt idx="2969">
                  <c:v>8582951.8189000003</c:v>
                </c:pt>
                <c:pt idx="2970">
                  <c:v>8445999.8189000003</c:v>
                </c:pt>
                <c:pt idx="2971">
                  <c:v>8442021.8189000003</c:v>
                </c:pt>
                <c:pt idx="2972">
                  <c:v>8631809.8189000003</c:v>
                </c:pt>
                <c:pt idx="2973">
                  <c:v>8646922.8189000003</c:v>
                </c:pt>
                <c:pt idx="2974">
                  <c:v>8728267.8189000003</c:v>
                </c:pt>
                <c:pt idx="2975">
                  <c:v>8649438.8189000003</c:v>
                </c:pt>
                <c:pt idx="2976">
                  <c:v>8755552.8189000003</c:v>
                </c:pt>
                <c:pt idx="2977">
                  <c:v>8841001.3537000008</c:v>
                </c:pt>
                <c:pt idx="2978">
                  <c:v>8841001.3537000008</c:v>
                </c:pt>
                <c:pt idx="2979">
                  <c:v>8841001.3537000008</c:v>
                </c:pt>
                <c:pt idx="2980">
                  <c:v>8841001.3537000008</c:v>
                </c:pt>
                <c:pt idx="2981">
                  <c:v>8841001.3537000008</c:v>
                </c:pt>
                <c:pt idx="2982">
                  <c:v>8841001.3537000008</c:v>
                </c:pt>
                <c:pt idx="2983">
                  <c:v>8841001.3537000008</c:v>
                </c:pt>
                <c:pt idx="2984">
                  <c:v>8841001.3537000008</c:v>
                </c:pt>
                <c:pt idx="2985">
                  <c:v>8841001.3537000008</c:v>
                </c:pt>
                <c:pt idx="2986">
                  <c:v>8841001.3537000008</c:v>
                </c:pt>
                <c:pt idx="2987">
                  <c:v>8841001.3537000008</c:v>
                </c:pt>
                <c:pt idx="2988">
                  <c:v>8841001.3537000008</c:v>
                </c:pt>
                <c:pt idx="2989">
                  <c:v>8841001.3537000008</c:v>
                </c:pt>
                <c:pt idx="2990">
                  <c:v>8841001.3537000008</c:v>
                </c:pt>
                <c:pt idx="2991">
                  <c:v>8841001.3537000008</c:v>
                </c:pt>
                <c:pt idx="2992">
                  <c:v>8841001.3537000008</c:v>
                </c:pt>
                <c:pt idx="2993">
                  <c:v>8841001.3537000008</c:v>
                </c:pt>
                <c:pt idx="2994">
                  <c:v>8841001.3537000008</c:v>
                </c:pt>
                <c:pt idx="2995">
                  <c:v>8841001.3537000008</c:v>
                </c:pt>
                <c:pt idx="2996">
                  <c:v>8841001.3537000008</c:v>
                </c:pt>
                <c:pt idx="2997">
                  <c:v>8841001.3537000008</c:v>
                </c:pt>
                <c:pt idx="2998">
                  <c:v>8841001.3537000008</c:v>
                </c:pt>
                <c:pt idx="2999">
                  <c:v>8841001.3537000008</c:v>
                </c:pt>
                <c:pt idx="3000">
                  <c:v>8841001.3537000008</c:v>
                </c:pt>
                <c:pt idx="3001">
                  <c:v>8841001.3537000008</c:v>
                </c:pt>
                <c:pt idx="3002">
                  <c:v>8841001.3537000008</c:v>
                </c:pt>
                <c:pt idx="3003">
                  <c:v>8841001.3537000008</c:v>
                </c:pt>
                <c:pt idx="3004">
                  <c:v>8841001.3537000008</c:v>
                </c:pt>
                <c:pt idx="3005">
                  <c:v>8841001.3537000008</c:v>
                </c:pt>
                <c:pt idx="3006">
                  <c:v>8841001.3537000008</c:v>
                </c:pt>
                <c:pt idx="3007">
                  <c:v>8841001.3537000008</c:v>
                </c:pt>
                <c:pt idx="3008">
                  <c:v>8841001.3537000008</c:v>
                </c:pt>
                <c:pt idx="3009">
                  <c:v>8841001.3537000008</c:v>
                </c:pt>
                <c:pt idx="3010">
                  <c:v>8841001.3537000008</c:v>
                </c:pt>
                <c:pt idx="3011">
                  <c:v>8841001.3537000008</c:v>
                </c:pt>
                <c:pt idx="3012">
                  <c:v>8841001.3537000008</c:v>
                </c:pt>
                <c:pt idx="3013">
                  <c:v>8841001.3537000008</c:v>
                </c:pt>
                <c:pt idx="3014">
                  <c:v>8841001.3537000008</c:v>
                </c:pt>
                <c:pt idx="3015">
                  <c:v>8841001.3537000008</c:v>
                </c:pt>
                <c:pt idx="3016">
                  <c:v>8841001.3537000008</c:v>
                </c:pt>
                <c:pt idx="3017">
                  <c:v>8841001.3537000008</c:v>
                </c:pt>
                <c:pt idx="3018">
                  <c:v>8841001.3537000008</c:v>
                </c:pt>
                <c:pt idx="3019">
                  <c:v>8841001.3537000008</c:v>
                </c:pt>
                <c:pt idx="3020">
                  <c:v>8841001.3537000008</c:v>
                </c:pt>
                <c:pt idx="3021">
                  <c:v>8841001.3537000008</c:v>
                </c:pt>
                <c:pt idx="3022">
                  <c:v>8841001.3537000008</c:v>
                </c:pt>
                <c:pt idx="3023">
                  <c:v>8841001.3537000008</c:v>
                </c:pt>
                <c:pt idx="3024">
                  <c:v>8841001.3537000008</c:v>
                </c:pt>
                <c:pt idx="3025">
                  <c:v>8841001.3537000008</c:v>
                </c:pt>
                <c:pt idx="3026">
                  <c:v>8841001.3537000008</c:v>
                </c:pt>
                <c:pt idx="3027">
                  <c:v>8841001.3537000008</c:v>
                </c:pt>
                <c:pt idx="3028">
                  <c:v>8841001.3537000008</c:v>
                </c:pt>
                <c:pt idx="3029">
                  <c:v>8841001.3537000008</c:v>
                </c:pt>
                <c:pt idx="3030">
                  <c:v>8840126.2974000014</c:v>
                </c:pt>
                <c:pt idx="3031">
                  <c:v>8854712.2974000014</c:v>
                </c:pt>
                <c:pt idx="3032">
                  <c:v>8997512.2974000014</c:v>
                </c:pt>
                <c:pt idx="3033">
                  <c:v>9017555.2974000014</c:v>
                </c:pt>
                <c:pt idx="3034">
                  <c:v>8913481.2974000014</c:v>
                </c:pt>
                <c:pt idx="3035">
                  <c:v>8970431.2974000014</c:v>
                </c:pt>
                <c:pt idx="3036">
                  <c:v>8979985.2974000014</c:v>
                </c:pt>
                <c:pt idx="3037">
                  <c:v>8727467.2974000014</c:v>
                </c:pt>
                <c:pt idx="3038">
                  <c:v>8735406.2974000014</c:v>
                </c:pt>
                <c:pt idx="3039">
                  <c:v>8730833.2974000014</c:v>
                </c:pt>
                <c:pt idx="3040">
                  <c:v>8828396.2974000014</c:v>
                </c:pt>
                <c:pt idx="3041">
                  <c:v>8739605.2974000014</c:v>
                </c:pt>
                <c:pt idx="3042">
                  <c:v>8707611.2974000014</c:v>
                </c:pt>
                <c:pt idx="3043">
                  <c:v>8815170.2974000014</c:v>
                </c:pt>
                <c:pt idx="3044">
                  <c:v>8831133.2974000014</c:v>
                </c:pt>
                <c:pt idx="3045">
                  <c:v>8730799.2974000014</c:v>
                </c:pt>
                <c:pt idx="3046">
                  <c:v>8847045.2974000014</c:v>
                </c:pt>
                <c:pt idx="3047">
                  <c:v>8750672.2974000014</c:v>
                </c:pt>
                <c:pt idx="3048">
                  <c:v>8782496.2974000014</c:v>
                </c:pt>
                <c:pt idx="3049">
                  <c:v>8774846.2974000014</c:v>
                </c:pt>
                <c:pt idx="3050">
                  <c:v>8834431.2974000014</c:v>
                </c:pt>
                <c:pt idx="3051">
                  <c:v>8847538.2974000014</c:v>
                </c:pt>
                <c:pt idx="3052">
                  <c:v>8741254.2974000014</c:v>
                </c:pt>
                <c:pt idx="3053">
                  <c:v>8462573.2974000014</c:v>
                </c:pt>
                <c:pt idx="3054">
                  <c:v>8165982.5747000026</c:v>
                </c:pt>
                <c:pt idx="3055">
                  <c:v>8165982.5747000026</c:v>
                </c:pt>
                <c:pt idx="3056">
                  <c:v>8165982.5747000026</c:v>
                </c:pt>
                <c:pt idx="3057">
                  <c:v>8165982.5747000026</c:v>
                </c:pt>
                <c:pt idx="3058">
                  <c:v>8165982.5747000026</c:v>
                </c:pt>
                <c:pt idx="3059">
                  <c:v>8165982.5747000026</c:v>
                </c:pt>
                <c:pt idx="3060">
                  <c:v>8165982.5747000026</c:v>
                </c:pt>
                <c:pt idx="3061">
                  <c:v>8165982.5747000026</c:v>
                </c:pt>
                <c:pt idx="3062">
                  <c:v>8165982.5747000026</c:v>
                </c:pt>
                <c:pt idx="3063">
                  <c:v>8165982.5747000026</c:v>
                </c:pt>
                <c:pt idx="3064">
                  <c:v>8165982.5747000026</c:v>
                </c:pt>
                <c:pt idx="3065">
                  <c:v>8165982.5747000026</c:v>
                </c:pt>
                <c:pt idx="3066">
                  <c:v>8165982.5747000026</c:v>
                </c:pt>
                <c:pt idx="3067">
                  <c:v>8165982.5747000026</c:v>
                </c:pt>
                <c:pt idx="3068">
                  <c:v>8165982.5747000026</c:v>
                </c:pt>
                <c:pt idx="3069">
                  <c:v>8165982.5747000026</c:v>
                </c:pt>
                <c:pt idx="3070">
                  <c:v>8165982.5747000026</c:v>
                </c:pt>
                <c:pt idx="3071">
                  <c:v>8165982.5747000026</c:v>
                </c:pt>
                <c:pt idx="3072">
                  <c:v>8165982.5747000026</c:v>
                </c:pt>
                <c:pt idx="3073">
                  <c:v>8165982.5747000026</c:v>
                </c:pt>
                <c:pt idx="3074">
                  <c:v>8165982.5747000026</c:v>
                </c:pt>
                <c:pt idx="3075">
                  <c:v>8165982.5747000026</c:v>
                </c:pt>
                <c:pt idx="3076">
                  <c:v>8165982.5747000026</c:v>
                </c:pt>
                <c:pt idx="3077">
                  <c:v>8165982.5747000026</c:v>
                </c:pt>
                <c:pt idx="3078">
                  <c:v>8165982.5747000026</c:v>
                </c:pt>
                <c:pt idx="3079">
                  <c:v>8165982.5747000026</c:v>
                </c:pt>
                <c:pt idx="3080">
                  <c:v>8165982.5747000026</c:v>
                </c:pt>
                <c:pt idx="3081">
                  <c:v>8165982.5747000026</c:v>
                </c:pt>
                <c:pt idx="3082">
                  <c:v>8165982.5747000026</c:v>
                </c:pt>
                <c:pt idx="3083">
                  <c:v>8165982.5747000026</c:v>
                </c:pt>
                <c:pt idx="3084">
                  <c:v>8165982.5747000026</c:v>
                </c:pt>
                <c:pt idx="3085">
                  <c:v>8165982.5747000026</c:v>
                </c:pt>
                <c:pt idx="3086">
                  <c:v>8165982.5747000026</c:v>
                </c:pt>
                <c:pt idx="3087">
                  <c:v>8165982.5747000026</c:v>
                </c:pt>
                <c:pt idx="3088">
                  <c:v>8165982.5747000026</c:v>
                </c:pt>
                <c:pt idx="3089">
                  <c:v>8165982.5747000026</c:v>
                </c:pt>
                <c:pt idx="3090">
                  <c:v>8165982.5747000026</c:v>
                </c:pt>
                <c:pt idx="3091">
                  <c:v>8165982.5747000026</c:v>
                </c:pt>
                <c:pt idx="3092">
                  <c:v>8165982.5747000026</c:v>
                </c:pt>
                <c:pt idx="3093">
                  <c:v>8165982.5747000026</c:v>
                </c:pt>
                <c:pt idx="3094">
                  <c:v>8165982.5747000026</c:v>
                </c:pt>
                <c:pt idx="3095">
                  <c:v>8165982.5747000026</c:v>
                </c:pt>
                <c:pt idx="3096">
                  <c:v>8165982.5747000026</c:v>
                </c:pt>
                <c:pt idx="3097">
                  <c:v>8165982.5747000026</c:v>
                </c:pt>
                <c:pt idx="3098">
                  <c:v>8165982.5747000026</c:v>
                </c:pt>
                <c:pt idx="3099">
                  <c:v>8165203.9539000029</c:v>
                </c:pt>
                <c:pt idx="3100">
                  <c:v>8266899.9539000019</c:v>
                </c:pt>
                <c:pt idx="3101">
                  <c:v>8276899.9539000019</c:v>
                </c:pt>
                <c:pt idx="3102">
                  <c:v>8193139.9539000029</c:v>
                </c:pt>
                <c:pt idx="3103">
                  <c:v>8283171.9539000019</c:v>
                </c:pt>
                <c:pt idx="3104">
                  <c:v>8240771.9539000019</c:v>
                </c:pt>
                <c:pt idx="3105">
                  <c:v>8270371.9539000019</c:v>
                </c:pt>
                <c:pt idx="3106">
                  <c:v>8178643.9539000029</c:v>
                </c:pt>
                <c:pt idx="3107">
                  <c:v>8255347.9539000029</c:v>
                </c:pt>
                <c:pt idx="3108">
                  <c:v>8235283.9539000029</c:v>
                </c:pt>
                <c:pt idx="3109">
                  <c:v>8263827.9539000038</c:v>
                </c:pt>
                <c:pt idx="3110">
                  <c:v>8314563.9539000019</c:v>
                </c:pt>
                <c:pt idx="3111">
                  <c:v>8346227.9539000038</c:v>
                </c:pt>
                <c:pt idx="3112">
                  <c:v>8319955.9539000038</c:v>
                </c:pt>
                <c:pt idx="3113">
                  <c:v>8216051.9539000029</c:v>
                </c:pt>
                <c:pt idx="3114">
                  <c:v>8161619.9539000038</c:v>
                </c:pt>
                <c:pt idx="3115">
                  <c:v>8233027.9539000038</c:v>
                </c:pt>
                <c:pt idx="3116">
                  <c:v>8204099.9539000019</c:v>
                </c:pt>
                <c:pt idx="3117">
                  <c:v>8122755.9539000038</c:v>
                </c:pt>
                <c:pt idx="3118">
                  <c:v>8092000.5763000017</c:v>
                </c:pt>
                <c:pt idx="3119">
                  <c:v>8092000.5763000017</c:v>
                </c:pt>
                <c:pt idx="3120">
                  <c:v>8092000.5763000017</c:v>
                </c:pt>
                <c:pt idx="3121">
                  <c:v>8092000.5763000017</c:v>
                </c:pt>
                <c:pt idx="3122">
                  <c:v>8092000.5763000017</c:v>
                </c:pt>
                <c:pt idx="3123">
                  <c:v>8092000.5763000017</c:v>
                </c:pt>
                <c:pt idx="3124">
                  <c:v>8092000.5763000017</c:v>
                </c:pt>
                <c:pt idx="3125">
                  <c:v>8092000.5763000017</c:v>
                </c:pt>
                <c:pt idx="3126">
                  <c:v>8092000.5763000017</c:v>
                </c:pt>
                <c:pt idx="3127">
                  <c:v>8092000.5763000017</c:v>
                </c:pt>
                <c:pt idx="3128">
                  <c:v>8092000.5763000017</c:v>
                </c:pt>
                <c:pt idx="3129">
                  <c:v>8092000.5763000017</c:v>
                </c:pt>
                <c:pt idx="3130">
                  <c:v>8092000.5763000017</c:v>
                </c:pt>
                <c:pt idx="3131">
                  <c:v>8092000.5763000017</c:v>
                </c:pt>
                <c:pt idx="3132">
                  <c:v>8092000.5763000017</c:v>
                </c:pt>
                <c:pt idx="3133">
                  <c:v>8092000.5763000017</c:v>
                </c:pt>
                <c:pt idx="3134">
                  <c:v>8092000.5763000017</c:v>
                </c:pt>
                <c:pt idx="3135">
                  <c:v>8092000.5763000017</c:v>
                </c:pt>
                <c:pt idx="3136">
                  <c:v>8092000.5763000017</c:v>
                </c:pt>
                <c:pt idx="3137">
                  <c:v>8092000.5763000017</c:v>
                </c:pt>
                <c:pt idx="3138">
                  <c:v>8092000.5763000017</c:v>
                </c:pt>
                <c:pt idx="3139">
                  <c:v>8092000.5763000017</c:v>
                </c:pt>
                <c:pt idx="3140">
                  <c:v>8092000.5763000017</c:v>
                </c:pt>
                <c:pt idx="3141">
                  <c:v>8092000.5763000017</c:v>
                </c:pt>
                <c:pt idx="3142">
                  <c:v>8092000.5763000017</c:v>
                </c:pt>
                <c:pt idx="3143">
                  <c:v>8092000.5763000017</c:v>
                </c:pt>
                <c:pt idx="3144">
                  <c:v>8092000.5763000017</c:v>
                </c:pt>
                <c:pt idx="3145">
                  <c:v>8091191.7571000019</c:v>
                </c:pt>
                <c:pt idx="3146">
                  <c:v>8137079.7571000019</c:v>
                </c:pt>
                <c:pt idx="3147">
                  <c:v>8082519.7571000019</c:v>
                </c:pt>
                <c:pt idx="3148">
                  <c:v>8012439.757100001</c:v>
                </c:pt>
                <c:pt idx="3149">
                  <c:v>8058567.757100001</c:v>
                </c:pt>
                <c:pt idx="3150">
                  <c:v>7930615.7571000019</c:v>
                </c:pt>
                <c:pt idx="3151">
                  <c:v>7811671.7571000019</c:v>
                </c:pt>
                <c:pt idx="3152">
                  <c:v>7864583.7571000019</c:v>
                </c:pt>
                <c:pt idx="3153">
                  <c:v>7866119.7571000019</c:v>
                </c:pt>
                <c:pt idx="3154">
                  <c:v>7920983.7571000019</c:v>
                </c:pt>
                <c:pt idx="3155">
                  <c:v>7877143.7571000019</c:v>
                </c:pt>
                <c:pt idx="3156">
                  <c:v>7873911.7571000019</c:v>
                </c:pt>
                <c:pt idx="3157">
                  <c:v>7932535.7571000019</c:v>
                </c:pt>
                <c:pt idx="3158">
                  <c:v>7816567.757100001</c:v>
                </c:pt>
                <c:pt idx="3159">
                  <c:v>7877415.7571000019</c:v>
                </c:pt>
                <c:pt idx="3160">
                  <c:v>7907591.7571000019</c:v>
                </c:pt>
                <c:pt idx="3161">
                  <c:v>7871431.7571000028</c:v>
                </c:pt>
                <c:pt idx="3162">
                  <c:v>7791991.7571000019</c:v>
                </c:pt>
                <c:pt idx="3163">
                  <c:v>7712167.757100001</c:v>
                </c:pt>
                <c:pt idx="3164">
                  <c:v>7718791.7571000019</c:v>
                </c:pt>
                <c:pt idx="3165">
                  <c:v>7753479.7571000019</c:v>
                </c:pt>
                <c:pt idx="3166">
                  <c:v>7679431.7571000028</c:v>
                </c:pt>
                <c:pt idx="3167">
                  <c:v>7755927.7571000019</c:v>
                </c:pt>
                <c:pt idx="3168">
                  <c:v>7628471.7571000019</c:v>
                </c:pt>
                <c:pt idx="3169">
                  <c:v>7565767.757100001</c:v>
                </c:pt>
                <c:pt idx="3170">
                  <c:v>7630647.7571000019</c:v>
                </c:pt>
                <c:pt idx="3171">
                  <c:v>7704359.7571000028</c:v>
                </c:pt>
                <c:pt idx="3172">
                  <c:v>7651607.7571000019</c:v>
                </c:pt>
                <c:pt idx="3173">
                  <c:v>7720615.7571000019</c:v>
                </c:pt>
                <c:pt idx="3174">
                  <c:v>7649895.7571000028</c:v>
                </c:pt>
                <c:pt idx="3175">
                  <c:v>7661783.7571000019</c:v>
                </c:pt>
                <c:pt idx="3176">
                  <c:v>7488519.7571000019</c:v>
                </c:pt>
                <c:pt idx="3177">
                  <c:v>7542695.7571000028</c:v>
                </c:pt>
                <c:pt idx="3178">
                  <c:v>7394807.7571000019</c:v>
                </c:pt>
                <c:pt idx="3179">
                  <c:v>7305031.7571000028</c:v>
                </c:pt>
                <c:pt idx="3180">
                  <c:v>7417543.7571000019</c:v>
                </c:pt>
                <c:pt idx="3181">
                  <c:v>7377031.7571000028</c:v>
                </c:pt>
                <c:pt idx="3182">
                  <c:v>7446295.7571000028</c:v>
                </c:pt>
                <c:pt idx="3183">
                  <c:v>7426775.757100001</c:v>
                </c:pt>
                <c:pt idx="3184">
                  <c:v>7365239.757100001</c:v>
                </c:pt>
                <c:pt idx="3185">
                  <c:v>7285703.757100001</c:v>
                </c:pt>
                <c:pt idx="3186">
                  <c:v>7363159.7571000028</c:v>
                </c:pt>
                <c:pt idx="3187">
                  <c:v>7391783.7571000019</c:v>
                </c:pt>
                <c:pt idx="3188">
                  <c:v>7409655.7571000019</c:v>
                </c:pt>
                <c:pt idx="3189">
                  <c:v>7444983.7571000019</c:v>
                </c:pt>
                <c:pt idx="3190">
                  <c:v>7417895.7571000028</c:v>
                </c:pt>
                <c:pt idx="3191">
                  <c:v>7321639.757100001</c:v>
                </c:pt>
                <c:pt idx="3192">
                  <c:v>7399879.7571000019</c:v>
                </c:pt>
                <c:pt idx="3193">
                  <c:v>7249911.7571000019</c:v>
                </c:pt>
                <c:pt idx="3194">
                  <c:v>7320471.7571000019</c:v>
                </c:pt>
                <c:pt idx="3195">
                  <c:v>7332906.6931000007</c:v>
                </c:pt>
                <c:pt idx="3196">
                  <c:v>7332906.6931000007</c:v>
                </c:pt>
                <c:pt idx="3197">
                  <c:v>7332906.6931000007</c:v>
                </c:pt>
                <c:pt idx="3198">
                  <c:v>7332906.6931000007</c:v>
                </c:pt>
                <c:pt idx="3199">
                  <c:v>7332906.6931000007</c:v>
                </c:pt>
                <c:pt idx="3200">
                  <c:v>7332906.6931000007</c:v>
                </c:pt>
                <c:pt idx="3201">
                  <c:v>7332906.6931000007</c:v>
                </c:pt>
                <c:pt idx="3202">
                  <c:v>7332906.6931000007</c:v>
                </c:pt>
                <c:pt idx="3203">
                  <c:v>7332906.6931000007</c:v>
                </c:pt>
                <c:pt idx="3204">
                  <c:v>7332906.6931000007</c:v>
                </c:pt>
                <c:pt idx="3205">
                  <c:v>7332906.6931000007</c:v>
                </c:pt>
                <c:pt idx="3206">
                  <c:v>7332906.6931000007</c:v>
                </c:pt>
                <c:pt idx="3207">
                  <c:v>7332906.6931000007</c:v>
                </c:pt>
                <c:pt idx="3208">
                  <c:v>7332906.6931000007</c:v>
                </c:pt>
                <c:pt idx="3209">
                  <c:v>7332906.6931000007</c:v>
                </c:pt>
                <c:pt idx="3210">
                  <c:v>7332906.6931000007</c:v>
                </c:pt>
                <c:pt idx="3211">
                  <c:v>7332906.6931000007</c:v>
                </c:pt>
                <c:pt idx="3212">
                  <c:v>7332906.6931000007</c:v>
                </c:pt>
                <c:pt idx="3213">
                  <c:v>7332906.6931000007</c:v>
                </c:pt>
                <c:pt idx="3214">
                  <c:v>7332906.6931000007</c:v>
                </c:pt>
                <c:pt idx="3215">
                  <c:v>7332906.6931000007</c:v>
                </c:pt>
                <c:pt idx="3216">
                  <c:v>7332906.6931000007</c:v>
                </c:pt>
                <c:pt idx="3217">
                  <c:v>7332906.6931000007</c:v>
                </c:pt>
                <c:pt idx="3218">
                  <c:v>7332906.6931000007</c:v>
                </c:pt>
                <c:pt idx="3219">
                  <c:v>7332906.6931000007</c:v>
                </c:pt>
                <c:pt idx="3220">
                  <c:v>7332906.6931000007</c:v>
                </c:pt>
                <c:pt idx="3221">
                  <c:v>7332906.6931000007</c:v>
                </c:pt>
                <c:pt idx="3222">
                  <c:v>7332906.6931000007</c:v>
                </c:pt>
              </c:numCache>
            </c:numRef>
          </c:val>
          <c:smooth val="0"/>
          <c:extLst>
            <c:ext xmlns:c16="http://schemas.microsoft.com/office/drawing/2014/chart" uri="{C3380CC4-5D6E-409C-BE32-E72D297353CC}">
              <c16:uniqueId val="{00000001-C197-4006-B924-AB1192166FA7}"/>
            </c:ext>
          </c:extLst>
        </c:ser>
        <c:ser>
          <c:idx val="2"/>
          <c:order val="2"/>
          <c:tx>
            <c:strRef>
              <c:f>Sheet1!$E$1</c:f>
              <c:strCache>
                <c:ptCount val="1"/>
                <c:pt idx="0">
                  <c:v>RSRS+MA(10)</c:v>
                </c:pt>
              </c:strCache>
            </c:strRef>
          </c:tx>
          <c:spPr>
            <a:ln w="28575" cap="rnd">
              <a:solidFill>
                <a:schemeClr val="accent3"/>
              </a:solidFill>
              <a:round/>
            </a:ln>
            <a:effectLst/>
          </c:spPr>
          <c:marker>
            <c:symbol val="none"/>
          </c:marker>
          <c:cat>
            <c:strRef>
              <c:f>Sheet1!$B$2:$B$3224</c:f>
              <c:strCache>
                <c:ptCount val="3223"/>
                <c:pt idx="0">
                  <c:v>2009/1/5</c:v>
                </c:pt>
                <c:pt idx="1">
                  <c:v>2009/1/6</c:v>
                </c:pt>
                <c:pt idx="2">
                  <c:v>2009/1/7</c:v>
                </c:pt>
                <c:pt idx="3">
                  <c:v>2009/1/8</c:v>
                </c:pt>
                <c:pt idx="4">
                  <c:v>2009/1/9</c:v>
                </c:pt>
                <c:pt idx="5">
                  <c:v>2009/1/12</c:v>
                </c:pt>
                <c:pt idx="6">
                  <c:v>2009/1/13</c:v>
                </c:pt>
                <c:pt idx="7">
                  <c:v>2009/1/14</c:v>
                </c:pt>
                <c:pt idx="8">
                  <c:v>2009/1/15</c:v>
                </c:pt>
                <c:pt idx="9">
                  <c:v>2009/1/16</c:v>
                </c:pt>
                <c:pt idx="10">
                  <c:v>2009/1/19</c:v>
                </c:pt>
                <c:pt idx="11">
                  <c:v>2009/1/20</c:v>
                </c:pt>
                <c:pt idx="12">
                  <c:v>2009/1/21</c:v>
                </c:pt>
                <c:pt idx="13">
                  <c:v>2009/1/22</c:v>
                </c:pt>
                <c:pt idx="14">
                  <c:v>2009/1/23</c:v>
                </c:pt>
                <c:pt idx="15">
                  <c:v>2009/2/2</c:v>
                </c:pt>
                <c:pt idx="16">
                  <c:v>2009/2/3</c:v>
                </c:pt>
                <c:pt idx="17">
                  <c:v>2009/2/4</c:v>
                </c:pt>
                <c:pt idx="18">
                  <c:v>2009/2/5</c:v>
                </c:pt>
                <c:pt idx="19">
                  <c:v>2009/2/6</c:v>
                </c:pt>
                <c:pt idx="20">
                  <c:v>2009/2/9</c:v>
                </c:pt>
                <c:pt idx="21">
                  <c:v>2009/2/10</c:v>
                </c:pt>
                <c:pt idx="22">
                  <c:v>2009/2/11</c:v>
                </c:pt>
                <c:pt idx="23">
                  <c:v>2009/2/12</c:v>
                </c:pt>
                <c:pt idx="24">
                  <c:v>2009/2/13</c:v>
                </c:pt>
                <c:pt idx="25">
                  <c:v>2009/2/16</c:v>
                </c:pt>
                <c:pt idx="26">
                  <c:v>2009/2/17</c:v>
                </c:pt>
                <c:pt idx="27">
                  <c:v>2009/2/18</c:v>
                </c:pt>
                <c:pt idx="28">
                  <c:v>2009/2/19</c:v>
                </c:pt>
                <c:pt idx="29">
                  <c:v>2009/2/20</c:v>
                </c:pt>
                <c:pt idx="30">
                  <c:v>2009/2/23</c:v>
                </c:pt>
                <c:pt idx="31">
                  <c:v>2009/2/24</c:v>
                </c:pt>
                <c:pt idx="32">
                  <c:v>2009/2/25</c:v>
                </c:pt>
                <c:pt idx="33">
                  <c:v>2009/2/26</c:v>
                </c:pt>
                <c:pt idx="34">
                  <c:v>2009/2/27</c:v>
                </c:pt>
                <c:pt idx="35">
                  <c:v>2009/3/2</c:v>
                </c:pt>
                <c:pt idx="36">
                  <c:v>2009/3/3</c:v>
                </c:pt>
                <c:pt idx="37">
                  <c:v>2009/3/4</c:v>
                </c:pt>
                <c:pt idx="38">
                  <c:v>2009/3/5</c:v>
                </c:pt>
                <c:pt idx="39">
                  <c:v>2009/3/6</c:v>
                </c:pt>
                <c:pt idx="40">
                  <c:v>2009/3/9</c:v>
                </c:pt>
                <c:pt idx="41">
                  <c:v>2009/3/10</c:v>
                </c:pt>
                <c:pt idx="42">
                  <c:v>2009/3/11</c:v>
                </c:pt>
                <c:pt idx="43">
                  <c:v>2009/3/12</c:v>
                </c:pt>
                <c:pt idx="44">
                  <c:v>2009/3/13</c:v>
                </c:pt>
                <c:pt idx="45">
                  <c:v>2009/3/16</c:v>
                </c:pt>
                <c:pt idx="46">
                  <c:v>2009/3/17</c:v>
                </c:pt>
                <c:pt idx="47">
                  <c:v>2009/3/18</c:v>
                </c:pt>
                <c:pt idx="48">
                  <c:v>2009/3/19</c:v>
                </c:pt>
                <c:pt idx="49">
                  <c:v>2009/3/20</c:v>
                </c:pt>
                <c:pt idx="50">
                  <c:v>2009/3/23</c:v>
                </c:pt>
                <c:pt idx="51">
                  <c:v>2009/3/24</c:v>
                </c:pt>
                <c:pt idx="52">
                  <c:v>2009/3/25</c:v>
                </c:pt>
                <c:pt idx="53">
                  <c:v>2009/3/26</c:v>
                </c:pt>
                <c:pt idx="54">
                  <c:v>2009/3/27</c:v>
                </c:pt>
                <c:pt idx="55">
                  <c:v>2009/3/30</c:v>
                </c:pt>
                <c:pt idx="56">
                  <c:v>2009/3/31</c:v>
                </c:pt>
                <c:pt idx="57">
                  <c:v>2009/4/1</c:v>
                </c:pt>
                <c:pt idx="58">
                  <c:v>2009/4/2</c:v>
                </c:pt>
                <c:pt idx="59">
                  <c:v>2009/4/3</c:v>
                </c:pt>
                <c:pt idx="60">
                  <c:v>2009/4/7</c:v>
                </c:pt>
                <c:pt idx="61">
                  <c:v>2009/4/8</c:v>
                </c:pt>
                <c:pt idx="62">
                  <c:v>2009/4/9</c:v>
                </c:pt>
                <c:pt idx="63">
                  <c:v>2009/4/10</c:v>
                </c:pt>
                <c:pt idx="64">
                  <c:v>2009/4/13</c:v>
                </c:pt>
                <c:pt idx="65">
                  <c:v>2009/4/14</c:v>
                </c:pt>
                <c:pt idx="66">
                  <c:v>2009/4/15</c:v>
                </c:pt>
                <c:pt idx="67">
                  <c:v>2009/4/16</c:v>
                </c:pt>
                <c:pt idx="68">
                  <c:v>2009/4/17</c:v>
                </c:pt>
                <c:pt idx="69">
                  <c:v>2009/4/20</c:v>
                </c:pt>
                <c:pt idx="70">
                  <c:v>2009/4/21</c:v>
                </c:pt>
                <c:pt idx="71">
                  <c:v>2009/4/22</c:v>
                </c:pt>
                <c:pt idx="72">
                  <c:v>2009/4/23</c:v>
                </c:pt>
                <c:pt idx="73">
                  <c:v>2009/4/24</c:v>
                </c:pt>
                <c:pt idx="74">
                  <c:v>2009/4/27</c:v>
                </c:pt>
                <c:pt idx="75">
                  <c:v>2009/4/28</c:v>
                </c:pt>
                <c:pt idx="76">
                  <c:v>2009/4/29</c:v>
                </c:pt>
                <c:pt idx="77">
                  <c:v>2009/4/30</c:v>
                </c:pt>
                <c:pt idx="78">
                  <c:v>2009/5/4</c:v>
                </c:pt>
                <c:pt idx="79">
                  <c:v>2009/5/5</c:v>
                </c:pt>
                <c:pt idx="80">
                  <c:v>2009/5/6</c:v>
                </c:pt>
                <c:pt idx="81">
                  <c:v>2009/5/7</c:v>
                </c:pt>
                <c:pt idx="82">
                  <c:v>2009/5/8</c:v>
                </c:pt>
                <c:pt idx="83">
                  <c:v>2009/5/11</c:v>
                </c:pt>
                <c:pt idx="84">
                  <c:v>2009/5/12</c:v>
                </c:pt>
                <c:pt idx="85">
                  <c:v>2009/5/13</c:v>
                </c:pt>
                <c:pt idx="86">
                  <c:v>2009/5/14</c:v>
                </c:pt>
                <c:pt idx="87">
                  <c:v>2009/5/15</c:v>
                </c:pt>
                <c:pt idx="88">
                  <c:v>2009/5/18</c:v>
                </c:pt>
                <c:pt idx="89">
                  <c:v>2009/5/19</c:v>
                </c:pt>
                <c:pt idx="90">
                  <c:v>2009/5/20</c:v>
                </c:pt>
                <c:pt idx="91">
                  <c:v>2009/5/21</c:v>
                </c:pt>
                <c:pt idx="92">
                  <c:v>2009/5/22</c:v>
                </c:pt>
                <c:pt idx="93">
                  <c:v>2009/5/25</c:v>
                </c:pt>
                <c:pt idx="94">
                  <c:v>2009/5/26</c:v>
                </c:pt>
                <c:pt idx="95">
                  <c:v>2009/5/27</c:v>
                </c:pt>
                <c:pt idx="96">
                  <c:v>2009/6/1</c:v>
                </c:pt>
                <c:pt idx="97">
                  <c:v>2009/6/2</c:v>
                </c:pt>
                <c:pt idx="98">
                  <c:v>2009/6/3</c:v>
                </c:pt>
                <c:pt idx="99">
                  <c:v>2009/6/4</c:v>
                </c:pt>
                <c:pt idx="100">
                  <c:v>2009/6/5</c:v>
                </c:pt>
                <c:pt idx="101">
                  <c:v>2009/6/8</c:v>
                </c:pt>
                <c:pt idx="102">
                  <c:v>2009/6/9</c:v>
                </c:pt>
                <c:pt idx="103">
                  <c:v>2009/6/10</c:v>
                </c:pt>
                <c:pt idx="104">
                  <c:v>2009/6/11</c:v>
                </c:pt>
                <c:pt idx="105">
                  <c:v>2009/6/12</c:v>
                </c:pt>
                <c:pt idx="106">
                  <c:v>2009/6/15</c:v>
                </c:pt>
                <c:pt idx="107">
                  <c:v>2009/6/16</c:v>
                </c:pt>
                <c:pt idx="108">
                  <c:v>2009/6/17</c:v>
                </c:pt>
                <c:pt idx="109">
                  <c:v>2009/6/18</c:v>
                </c:pt>
                <c:pt idx="110">
                  <c:v>2009/6/19</c:v>
                </c:pt>
                <c:pt idx="111">
                  <c:v>2009/6/22</c:v>
                </c:pt>
                <c:pt idx="112">
                  <c:v>2009/6/23</c:v>
                </c:pt>
                <c:pt idx="113">
                  <c:v>2009/6/24</c:v>
                </c:pt>
                <c:pt idx="114">
                  <c:v>2009/6/25</c:v>
                </c:pt>
                <c:pt idx="115">
                  <c:v>2009/6/26</c:v>
                </c:pt>
                <c:pt idx="116">
                  <c:v>2009/6/29</c:v>
                </c:pt>
                <c:pt idx="117">
                  <c:v>2009/6/30</c:v>
                </c:pt>
                <c:pt idx="118">
                  <c:v>2009/7/1</c:v>
                </c:pt>
                <c:pt idx="119">
                  <c:v>2009/7/2</c:v>
                </c:pt>
                <c:pt idx="120">
                  <c:v>2009/7/3</c:v>
                </c:pt>
                <c:pt idx="121">
                  <c:v>2009/7/6</c:v>
                </c:pt>
                <c:pt idx="122">
                  <c:v>2009/7/7</c:v>
                </c:pt>
                <c:pt idx="123">
                  <c:v>2009/7/8</c:v>
                </c:pt>
                <c:pt idx="124">
                  <c:v>2009/7/9</c:v>
                </c:pt>
                <c:pt idx="125">
                  <c:v>2009/7/10</c:v>
                </c:pt>
                <c:pt idx="126">
                  <c:v>2009/7/13</c:v>
                </c:pt>
                <c:pt idx="127">
                  <c:v>2009/7/14</c:v>
                </c:pt>
                <c:pt idx="128">
                  <c:v>2009/7/15</c:v>
                </c:pt>
                <c:pt idx="129">
                  <c:v>2009/7/16</c:v>
                </c:pt>
                <c:pt idx="130">
                  <c:v>2009/7/17</c:v>
                </c:pt>
                <c:pt idx="131">
                  <c:v>2009/7/20</c:v>
                </c:pt>
                <c:pt idx="132">
                  <c:v>2009/7/21</c:v>
                </c:pt>
                <c:pt idx="133">
                  <c:v>2009/7/22</c:v>
                </c:pt>
                <c:pt idx="134">
                  <c:v>2009/7/23</c:v>
                </c:pt>
                <c:pt idx="135">
                  <c:v>2009/7/24</c:v>
                </c:pt>
                <c:pt idx="136">
                  <c:v>2009/7/27</c:v>
                </c:pt>
                <c:pt idx="137">
                  <c:v>2009/7/28</c:v>
                </c:pt>
                <c:pt idx="138">
                  <c:v>2009/7/29</c:v>
                </c:pt>
                <c:pt idx="139">
                  <c:v>2009/7/30</c:v>
                </c:pt>
                <c:pt idx="140">
                  <c:v>2009/7/31</c:v>
                </c:pt>
                <c:pt idx="141">
                  <c:v>2009/8/3</c:v>
                </c:pt>
                <c:pt idx="142">
                  <c:v>2009/8/4</c:v>
                </c:pt>
                <c:pt idx="143">
                  <c:v>2009/8/5</c:v>
                </c:pt>
                <c:pt idx="144">
                  <c:v>2009/8/6</c:v>
                </c:pt>
                <c:pt idx="145">
                  <c:v>2009/8/7</c:v>
                </c:pt>
                <c:pt idx="146">
                  <c:v>2009/8/10</c:v>
                </c:pt>
                <c:pt idx="147">
                  <c:v>2009/8/11</c:v>
                </c:pt>
                <c:pt idx="148">
                  <c:v>2009/8/12</c:v>
                </c:pt>
                <c:pt idx="149">
                  <c:v>2009/8/13</c:v>
                </c:pt>
                <c:pt idx="150">
                  <c:v>2009/8/14</c:v>
                </c:pt>
                <c:pt idx="151">
                  <c:v>2009/8/17</c:v>
                </c:pt>
                <c:pt idx="152">
                  <c:v>2009/8/18</c:v>
                </c:pt>
                <c:pt idx="153">
                  <c:v>2009/8/19</c:v>
                </c:pt>
                <c:pt idx="154">
                  <c:v>2009/8/20</c:v>
                </c:pt>
                <c:pt idx="155">
                  <c:v>2009/8/21</c:v>
                </c:pt>
                <c:pt idx="156">
                  <c:v>2009/8/24</c:v>
                </c:pt>
                <c:pt idx="157">
                  <c:v>2009/8/25</c:v>
                </c:pt>
                <c:pt idx="158">
                  <c:v>2009/8/26</c:v>
                </c:pt>
                <c:pt idx="159">
                  <c:v>2009/8/27</c:v>
                </c:pt>
                <c:pt idx="160">
                  <c:v>2009/8/28</c:v>
                </c:pt>
                <c:pt idx="161">
                  <c:v>2009/8/31</c:v>
                </c:pt>
                <c:pt idx="162">
                  <c:v>2009/9/1</c:v>
                </c:pt>
                <c:pt idx="163">
                  <c:v>2009/9/2</c:v>
                </c:pt>
                <c:pt idx="164">
                  <c:v>2009/9/3</c:v>
                </c:pt>
                <c:pt idx="165">
                  <c:v>2009/9/4</c:v>
                </c:pt>
                <c:pt idx="166">
                  <c:v>2009/9/7</c:v>
                </c:pt>
                <c:pt idx="167">
                  <c:v>2009/9/8</c:v>
                </c:pt>
                <c:pt idx="168">
                  <c:v>2009/9/9</c:v>
                </c:pt>
                <c:pt idx="169">
                  <c:v>2009/9/10</c:v>
                </c:pt>
                <c:pt idx="170">
                  <c:v>2009/9/11</c:v>
                </c:pt>
                <c:pt idx="171">
                  <c:v>2009/9/14</c:v>
                </c:pt>
                <c:pt idx="172">
                  <c:v>2009/9/15</c:v>
                </c:pt>
                <c:pt idx="173">
                  <c:v>2009/9/16</c:v>
                </c:pt>
                <c:pt idx="174">
                  <c:v>2009/9/17</c:v>
                </c:pt>
                <c:pt idx="175">
                  <c:v>2009/9/18</c:v>
                </c:pt>
                <c:pt idx="176">
                  <c:v>2009/9/21</c:v>
                </c:pt>
                <c:pt idx="177">
                  <c:v>2009/9/22</c:v>
                </c:pt>
                <c:pt idx="178">
                  <c:v>2009/9/23</c:v>
                </c:pt>
                <c:pt idx="179">
                  <c:v>2009/9/24</c:v>
                </c:pt>
                <c:pt idx="180">
                  <c:v>2009/9/25</c:v>
                </c:pt>
                <c:pt idx="181">
                  <c:v>2009/9/28</c:v>
                </c:pt>
                <c:pt idx="182">
                  <c:v>2009/9/29</c:v>
                </c:pt>
                <c:pt idx="183">
                  <c:v>2009/9/30</c:v>
                </c:pt>
                <c:pt idx="184">
                  <c:v>2009/10/9</c:v>
                </c:pt>
                <c:pt idx="185">
                  <c:v>2009/10/12</c:v>
                </c:pt>
                <c:pt idx="186">
                  <c:v>2009/10/13</c:v>
                </c:pt>
                <c:pt idx="187">
                  <c:v>2009/10/14</c:v>
                </c:pt>
                <c:pt idx="188">
                  <c:v>2009/10/15</c:v>
                </c:pt>
                <c:pt idx="189">
                  <c:v>2009/10/16</c:v>
                </c:pt>
                <c:pt idx="190">
                  <c:v>2009/10/19</c:v>
                </c:pt>
                <c:pt idx="191">
                  <c:v>2009/10/20</c:v>
                </c:pt>
                <c:pt idx="192">
                  <c:v>2009/10/21</c:v>
                </c:pt>
                <c:pt idx="193">
                  <c:v>2009/10/22</c:v>
                </c:pt>
                <c:pt idx="194">
                  <c:v>2009/10/23</c:v>
                </c:pt>
                <c:pt idx="195">
                  <c:v>2009/10/26</c:v>
                </c:pt>
                <c:pt idx="196">
                  <c:v>2009/10/27</c:v>
                </c:pt>
                <c:pt idx="197">
                  <c:v>2009/10/28</c:v>
                </c:pt>
                <c:pt idx="198">
                  <c:v>2009/10/29</c:v>
                </c:pt>
                <c:pt idx="199">
                  <c:v>2009/10/30</c:v>
                </c:pt>
                <c:pt idx="200">
                  <c:v>2009/11/2</c:v>
                </c:pt>
                <c:pt idx="201">
                  <c:v>2009/11/3</c:v>
                </c:pt>
                <c:pt idx="202">
                  <c:v>2009/11/4</c:v>
                </c:pt>
                <c:pt idx="203">
                  <c:v>2009/11/5</c:v>
                </c:pt>
                <c:pt idx="204">
                  <c:v>2009/11/6</c:v>
                </c:pt>
                <c:pt idx="205">
                  <c:v>2009/11/9</c:v>
                </c:pt>
                <c:pt idx="206">
                  <c:v>2009/11/10</c:v>
                </c:pt>
                <c:pt idx="207">
                  <c:v>2009/11/11</c:v>
                </c:pt>
                <c:pt idx="208">
                  <c:v>2009/11/12</c:v>
                </c:pt>
                <c:pt idx="209">
                  <c:v>2009/11/13</c:v>
                </c:pt>
                <c:pt idx="210">
                  <c:v>2009/11/16</c:v>
                </c:pt>
                <c:pt idx="211">
                  <c:v>2009/11/17</c:v>
                </c:pt>
                <c:pt idx="212">
                  <c:v>2009/11/18</c:v>
                </c:pt>
                <c:pt idx="213">
                  <c:v>2009/11/19</c:v>
                </c:pt>
                <c:pt idx="214">
                  <c:v>2009/11/20</c:v>
                </c:pt>
                <c:pt idx="215">
                  <c:v>2009/11/23</c:v>
                </c:pt>
                <c:pt idx="216">
                  <c:v>2009/11/24</c:v>
                </c:pt>
                <c:pt idx="217">
                  <c:v>2009/11/25</c:v>
                </c:pt>
                <c:pt idx="218">
                  <c:v>2009/11/26</c:v>
                </c:pt>
                <c:pt idx="219">
                  <c:v>2009/11/27</c:v>
                </c:pt>
                <c:pt idx="220">
                  <c:v>2009/11/30</c:v>
                </c:pt>
                <c:pt idx="221">
                  <c:v>2009/12/1</c:v>
                </c:pt>
                <c:pt idx="222">
                  <c:v>2009/12/2</c:v>
                </c:pt>
                <c:pt idx="223">
                  <c:v>2009/12/3</c:v>
                </c:pt>
                <c:pt idx="224">
                  <c:v>2009/12/4</c:v>
                </c:pt>
                <c:pt idx="225">
                  <c:v>2009/12/7</c:v>
                </c:pt>
                <c:pt idx="226">
                  <c:v>2009/12/8</c:v>
                </c:pt>
                <c:pt idx="227">
                  <c:v>2009/12/9</c:v>
                </c:pt>
                <c:pt idx="228">
                  <c:v>2009/12/10</c:v>
                </c:pt>
                <c:pt idx="229">
                  <c:v>2009/12/11</c:v>
                </c:pt>
                <c:pt idx="230">
                  <c:v>2009/12/14</c:v>
                </c:pt>
                <c:pt idx="231">
                  <c:v>2009/12/15</c:v>
                </c:pt>
                <c:pt idx="232">
                  <c:v>2009/12/16</c:v>
                </c:pt>
                <c:pt idx="233">
                  <c:v>2009/12/17</c:v>
                </c:pt>
                <c:pt idx="234">
                  <c:v>2009/12/18</c:v>
                </c:pt>
                <c:pt idx="235">
                  <c:v>2009/12/21</c:v>
                </c:pt>
                <c:pt idx="236">
                  <c:v>2009/12/22</c:v>
                </c:pt>
                <c:pt idx="237">
                  <c:v>2009/12/23</c:v>
                </c:pt>
                <c:pt idx="238">
                  <c:v>2009/12/24</c:v>
                </c:pt>
                <c:pt idx="239">
                  <c:v>2009/12/25</c:v>
                </c:pt>
                <c:pt idx="240">
                  <c:v>2009/12/28</c:v>
                </c:pt>
                <c:pt idx="241">
                  <c:v>2009/12/29</c:v>
                </c:pt>
                <c:pt idx="242">
                  <c:v>2009/12/30</c:v>
                </c:pt>
                <c:pt idx="243">
                  <c:v>2009/12/31</c:v>
                </c:pt>
                <c:pt idx="244">
                  <c:v>2010/1/4</c:v>
                </c:pt>
                <c:pt idx="245">
                  <c:v>2010/1/5</c:v>
                </c:pt>
                <c:pt idx="246">
                  <c:v>2010/1/6</c:v>
                </c:pt>
                <c:pt idx="247">
                  <c:v>2010/1/7</c:v>
                </c:pt>
                <c:pt idx="248">
                  <c:v>2010/1/8</c:v>
                </c:pt>
                <c:pt idx="249">
                  <c:v>2010/1/11</c:v>
                </c:pt>
                <c:pt idx="250">
                  <c:v>2010/1/12</c:v>
                </c:pt>
                <c:pt idx="251">
                  <c:v>2010/1/13</c:v>
                </c:pt>
                <c:pt idx="252">
                  <c:v>2010/1/14</c:v>
                </c:pt>
                <c:pt idx="253">
                  <c:v>2010/1/15</c:v>
                </c:pt>
                <c:pt idx="254">
                  <c:v>2010/1/18</c:v>
                </c:pt>
                <c:pt idx="255">
                  <c:v>2010/1/19</c:v>
                </c:pt>
                <c:pt idx="256">
                  <c:v>2010/1/20</c:v>
                </c:pt>
                <c:pt idx="257">
                  <c:v>2010/1/21</c:v>
                </c:pt>
                <c:pt idx="258">
                  <c:v>2010/1/22</c:v>
                </c:pt>
                <c:pt idx="259">
                  <c:v>2010/1/25</c:v>
                </c:pt>
                <c:pt idx="260">
                  <c:v>2010/1/26</c:v>
                </c:pt>
                <c:pt idx="261">
                  <c:v>2010/1/27</c:v>
                </c:pt>
                <c:pt idx="262">
                  <c:v>2010/1/28</c:v>
                </c:pt>
                <c:pt idx="263">
                  <c:v>2010/1/29</c:v>
                </c:pt>
                <c:pt idx="264">
                  <c:v>2010/2/1</c:v>
                </c:pt>
                <c:pt idx="265">
                  <c:v>2010/2/2</c:v>
                </c:pt>
                <c:pt idx="266">
                  <c:v>2010/2/3</c:v>
                </c:pt>
                <c:pt idx="267">
                  <c:v>2010/2/4</c:v>
                </c:pt>
                <c:pt idx="268">
                  <c:v>2010/2/5</c:v>
                </c:pt>
                <c:pt idx="269">
                  <c:v>2010/2/8</c:v>
                </c:pt>
                <c:pt idx="270">
                  <c:v>2010/2/9</c:v>
                </c:pt>
                <c:pt idx="271">
                  <c:v>2010/2/10</c:v>
                </c:pt>
                <c:pt idx="272">
                  <c:v>2010/2/11</c:v>
                </c:pt>
                <c:pt idx="273">
                  <c:v>2010/2/12</c:v>
                </c:pt>
                <c:pt idx="274">
                  <c:v>2010/2/22</c:v>
                </c:pt>
                <c:pt idx="275">
                  <c:v>2010/2/23</c:v>
                </c:pt>
                <c:pt idx="276">
                  <c:v>2010/2/24</c:v>
                </c:pt>
                <c:pt idx="277">
                  <c:v>2010/2/25</c:v>
                </c:pt>
                <c:pt idx="278">
                  <c:v>2010/2/26</c:v>
                </c:pt>
                <c:pt idx="279">
                  <c:v>2010/3/1</c:v>
                </c:pt>
                <c:pt idx="280">
                  <c:v>2010/3/2</c:v>
                </c:pt>
                <c:pt idx="281">
                  <c:v>2010/3/3</c:v>
                </c:pt>
                <c:pt idx="282">
                  <c:v>2010/3/4</c:v>
                </c:pt>
                <c:pt idx="283">
                  <c:v>2010/3/5</c:v>
                </c:pt>
                <c:pt idx="284">
                  <c:v>2010/3/8</c:v>
                </c:pt>
                <c:pt idx="285">
                  <c:v>2010/3/9</c:v>
                </c:pt>
                <c:pt idx="286">
                  <c:v>2010/3/10</c:v>
                </c:pt>
                <c:pt idx="287">
                  <c:v>2010/3/11</c:v>
                </c:pt>
                <c:pt idx="288">
                  <c:v>2010/3/12</c:v>
                </c:pt>
                <c:pt idx="289">
                  <c:v>2010/3/15</c:v>
                </c:pt>
                <c:pt idx="290">
                  <c:v>2010/3/16</c:v>
                </c:pt>
                <c:pt idx="291">
                  <c:v>2010/3/17</c:v>
                </c:pt>
                <c:pt idx="292">
                  <c:v>2010/3/18</c:v>
                </c:pt>
                <c:pt idx="293">
                  <c:v>2010/3/19</c:v>
                </c:pt>
                <c:pt idx="294">
                  <c:v>2010/3/22</c:v>
                </c:pt>
                <c:pt idx="295">
                  <c:v>2010/3/23</c:v>
                </c:pt>
                <c:pt idx="296">
                  <c:v>2010/3/24</c:v>
                </c:pt>
                <c:pt idx="297">
                  <c:v>2010/3/25</c:v>
                </c:pt>
                <c:pt idx="298">
                  <c:v>2010/3/26</c:v>
                </c:pt>
                <c:pt idx="299">
                  <c:v>2010/3/29</c:v>
                </c:pt>
                <c:pt idx="300">
                  <c:v>2010/3/30</c:v>
                </c:pt>
                <c:pt idx="301">
                  <c:v>2010/3/31</c:v>
                </c:pt>
                <c:pt idx="302">
                  <c:v>2010/4/1</c:v>
                </c:pt>
                <c:pt idx="303">
                  <c:v>2010/4/2</c:v>
                </c:pt>
                <c:pt idx="304">
                  <c:v>2010/4/6</c:v>
                </c:pt>
                <c:pt idx="305">
                  <c:v>2010/4/7</c:v>
                </c:pt>
                <c:pt idx="306">
                  <c:v>2010/4/8</c:v>
                </c:pt>
                <c:pt idx="307">
                  <c:v>2010/4/9</c:v>
                </c:pt>
                <c:pt idx="308">
                  <c:v>2010/4/12</c:v>
                </c:pt>
                <c:pt idx="309">
                  <c:v>2010/4/13</c:v>
                </c:pt>
                <c:pt idx="310">
                  <c:v>2010/4/14</c:v>
                </c:pt>
                <c:pt idx="311">
                  <c:v>2010/4/15</c:v>
                </c:pt>
                <c:pt idx="312">
                  <c:v>2010/4/16</c:v>
                </c:pt>
                <c:pt idx="313">
                  <c:v>2010/4/19</c:v>
                </c:pt>
                <c:pt idx="314">
                  <c:v>2010/4/20</c:v>
                </c:pt>
                <c:pt idx="315">
                  <c:v>2010/4/21</c:v>
                </c:pt>
                <c:pt idx="316">
                  <c:v>2010/4/22</c:v>
                </c:pt>
                <c:pt idx="317">
                  <c:v>2010/4/23</c:v>
                </c:pt>
                <c:pt idx="318">
                  <c:v>2010/4/26</c:v>
                </c:pt>
                <c:pt idx="319">
                  <c:v>2010/4/27</c:v>
                </c:pt>
                <c:pt idx="320">
                  <c:v>2010/4/28</c:v>
                </c:pt>
                <c:pt idx="321">
                  <c:v>2010/4/29</c:v>
                </c:pt>
                <c:pt idx="322">
                  <c:v>2010/4/30</c:v>
                </c:pt>
                <c:pt idx="323">
                  <c:v>2010/5/4</c:v>
                </c:pt>
                <c:pt idx="324">
                  <c:v>2010/5/5</c:v>
                </c:pt>
                <c:pt idx="325">
                  <c:v>2010/5/6</c:v>
                </c:pt>
                <c:pt idx="326">
                  <c:v>2010/5/7</c:v>
                </c:pt>
                <c:pt idx="327">
                  <c:v>2010/5/10</c:v>
                </c:pt>
                <c:pt idx="328">
                  <c:v>2010/5/11</c:v>
                </c:pt>
                <c:pt idx="329">
                  <c:v>2010/5/12</c:v>
                </c:pt>
                <c:pt idx="330">
                  <c:v>2010/5/13</c:v>
                </c:pt>
                <c:pt idx="331">
                  <c:v>2010/5/14</c:v>
                </c:pt>
                <c:pt idx="332">
                  <c:v>2010/5/17</c:v>
                </c:pt>
                <c:pt idx="333">
                  <c:v>2010/5/18</c:v>
                </c:pt>
                <c:pt idx="334">
                  <c:v>2010/5/19</c:v>
                </c:pt>
                <c:pt idx="335">
                  <c:v>2010/5/20</c:v>
                </c:pt>
                <c:pt idx="336">
                  <c:v>2010/5/21</c:v>
                </c:pt>
                <c:pt idx="337">
                  <c:v>2010/5/24</c:v>
                </c:pt>
                <c:pt idx="338">
                  <c:v>2010/5/25</c:v>
                </c:pt>
                <c:pt idx="339">
                  <c:v>2010/5/26</c:v>
                </c:pt>
                <c:pt idx="340">
                  <c:v>2010/5/27</c:v>
                </c:pt>
                <c:pt idx="341">
                  <c:v>2010/5/28</c:v>
                </c:pt>
                <c:pt idx="342">
                  <c:v>2010/5/31</c:v>
                </c:pt>
                <c:pt idx="343">
                  <c:v>2010/6/1</c:v>
                </c:pt>
                <c:pt idx="344">
                  <c:v>2010/6/2</c:v>
                </c:pt>
                <c:pt idx="345">
                  <c:v>2010/6/3</c:v>
                </c:pt>
                <c:pt idx="346">
                  <c:v>2010/6/4</c:v>
                </c:pt>
                <c:pt idx="347">
                  <c:v>2010/6/7</c:v>
                </c:pt>
                <c:pt idx="348">
                  <c:v>2010/6/8</c:v>
                </c:pt>
                <c:pt idx="349">
                  <c:v>2010/6/9</c:v>
                </c:pt>
                <c:pt idx="350">
                  <c:v>2010/6/10</c:v>
                </c:pt>
                <c:pt idx="351">
                  <c:v>2010/6/11</c:v>
                </c:pt>
                <c:pt idx="352">
                  <c:v>2010/6/17</c:v>
                </c:pt>
                <c:pt idx="353">
                  <c:v>2010/6/18</c:v>
                </c:pt>
                <c:pt idx="354">
                  <c:v>2010/6/21</c:v>
                </c:pt>
                <c:pt idx="355">
                  <c:v>2010/6/22</c:v>
                </c:pt>
                <c:pt idx="356">
                  <c:v>2010/6/23</c:v>
                </c:pt>
                <c:pt idx="357">
                  <c:v>2010/6/24</c:v>
                </c:pt>
                <c:pt idx="358">
                  <c:v>2010/6/25</c:v>
                </c:pt>
                <c:pt idx="359">
                  <c:v>2010/6/28</c:v>
                </c:pt>
                <c:pt idx="360">
                  <c:v>2010/6/29</c:v>
                </c:pt>
                <c:pt idx="361">
                  <c:v>2010/6/30</c:v>
                </c:pt>
                <c:pt idx="362">
                  <c:v>2010/7/1</c:v>
                </c:pt>
                <c:pt idx="363">
                  <c:v>2010/7/2</c:v>
                </c:pt>
                <c:pt idx="364">
                  <c:v>2010/7/5</c:v>
                </c:pt>
                <c:pt idx="365">
                  <c:v>2010/7/6</c:v>
                </c:pt>
                <c:pt idx="366">
                  <c:v>2010/7/7</c:v>
                </c:pt>
                <c:pt idx="367">
                  <c:v>2010/7/8</c:v>
                </c:pt>
                <c:pt idx="368">
                  <c:v>2010/7/9</c:v>
                </c:pt>
                <c:pt idx="369">
                  <c:v>2010/7/12</c:v>
                </c:pt>
                <c:pt idx="370">
                  <c:v>2010/7/13</c:v>
                </c:pt>
                <c:pt idx="371">
                  <c:v>2010/7/14</c:v>
                </c:pt>
                <c:pt idx="372">
                  <c:v>2010/7/15</c:v>
                </c:pt>
                <c:pt idx="373">
                  <c:v>2010/7/16</c:v>
                </c:pt>
                <c:pt idx="374">
                  <c:v>2010/7/19</c:v>
                </c:pt>
                <c:pt idx="375">
                  <c:v>2010/7/20</c:v>
                </c:pt>
                <c:pt idx="376">
                  <c:v>2010/7/21</c:v>
                </c:pt>
                <c:pt idx="377">
                  <c:v>2010/7/22</c:v>
                </c:pt>
                <c:pt idx="378">
                  <c:v>2010/7/23</c:v>
                </c:pt>
                <c:pt idx="379">
                  <c:v>2010/7/26</c:v>
                </c:pt>
                <c:pt idx="380">
                  <c:v>2010/7/27</c:v>
                </c:pt>
                <c:pt idx="381">
                  <c:v>2010/7/28</c:v>
                </c:pt>
                <c:pt idx="382">
                  <c:v>2010/7/29</c:v>
                </c:pt>
                <c:pt idx="383">
                  <c:v>2010/7/30</c:v>
                </c:pt>
                <c:pt idx="384">
                  <c:v>2010/8/2</c:v>
                </c:pt>
                <c:pt idx="385">
                  <c:v>2010/8/3</c:v>
                </c:pt>
                <c:pt idx="386">
                  <c:v>2010/8/4</c:v>
                </c:pt>
                <c:pt idx="387">
                  <c:v>2010/8/5</c:v>
                </c:pt>
                <c:pt idx="388">
                  <c:v>2010/8/6</c:v>
                </c:pt>
                <c:pt idx="389">
                  <c:v>2010/8/9</c:v>
                </c:pt>
                <c:pt idx="390">
                  <c:v>2010/8/10</c:v>
                </c:pt>
                <c:pt idx="391">
                  <c:v>2010/8/11</c:v>
                </c:pt>
                <c:pt idx="392">
                  <c:v>2010/8/12</c:v>
                </c:pt>
                <c:pt idx="393">
                  <c:v>2010/8/13</c:v>
                </c:pt>
                <c:pt idx="394">
                  <c:v>2010/8/16</c:v>
                </c:pt>
                <c:pt idx="395">
                  <c:v>2010/8/17</c:v>
                </c:pt>
                <c:pt idx="396">
                  <c:v>2010/8/18</c:v>
                </c:pt>
                <c:pt idx="397">
                  <c:v>2010/8/19</c:v>
                </c:pt>
                <c:pt idx="398">
                  <c:v>2010/8/20</c:v>
                </c:pt>
                <c:pt idx="399">
                  <c:v>2010/8/23</c:v>
                </c:pt>
                <c:pt idx="400">
                  <c:v>2010/8/24</c:v>
                </c:pt>
                <c:pt idx="401">
                  <c:v>2010/8/25</c:v>
                </c:pt>
                <c:pt idx="402">
                  <c:v>2010/8/26</c:v>
                </c:pt>
                <c:pt idx="403">
                  <c:v>2010/8/27</c:v>
                </c:pt>
                <c:pt idx="404">
                  <c:v>2010/8/30</c:v>
                </c:pt>
                <c:pt idx="405">
                  <c:v>2010/8/31</c:v>
                </c:pt>
                <c:pt idx="406">
                  <c:v>2010/9/1</c:v>
                </c:pt>
                <c:pt idx="407">
                  <c:v>2010/9/2</c:v>
                </c:pt>
                <c:pt idx="408">
                  <c:v>2010/9/3</c:v>
                </c:pt>
                <c:pt idx="409">
                  <c:v>2010/9/6</c:v>
                </c:pt>
                <c:pt idx="410">
                  <c:v>2010/9/7</c:v>
                </c:pt>
                <c:pt idx="411">
                  <c:v>2010/9/8</c:v>
                </c:pt>
                <c:pt idx="412">
                  <c:v>2010/9/9</c:v>
                </c:pt>
                <c:pt idx="413">
                  <c:v>2010/9/10</c:v>
                </c:pt>
                <c:pt idx="414">
                  <c:v>2010/9/13</c:v>
                </c:pt>
                <c:pt idx="415">
                  <c:v>2010/9/14</c:v>
                </c:pt>
                <c:pt idx="416">
                  <c:v>2010/9/15</c:v>
                </c:pt>
                <c:pt idx="417">
                  <c:v>2010/9/16</c:v>
                </c:pt>
                <c:pt idx="418">
                  <c:v>2010/9/17</c:v>
                </c:pt>
                <c:pt idx="419">
                  <c:v>2010/9/20</c:v>
                </c:pt>
                <c:pt idx="420">
                  <c:v>2010/9/21</c:v>
                </c:pt>
                <c:pt idx="421">
                  <c:v>2010/9/27</c:v>
                </c:pt>
                <c:pt idx="422">
                  <c:v>2010/9/28</c:v>
                </c:pt>
                <c:pt idx="423">
                  <c:v>2010/9/29</c:v>
                </c:pt>
                <c:pt idx="424">
                  <c:v>2010/9/30</c:v>
                </c:pt>
                <c:pt idx="425">
                  <c:v>2010/10/8</c:v>
                </c:pt>
                <c:pt idx="426">
                  <c:v>2010/10/11</c:v>
                </c:pt>
                <c:pt idx="427">
                  <c:v>2010/10/12</c:v>
                </c:pt>
                <c:pt idx="428">
                  <c:v>2010/10/13</c:v>
                </c:pt>
                <c:pt idx="429">
                  <c:v>2010/10/14</c:v>
                </c:pt>
                <c:pt idx="430">
                  <c:v>2010/10/15</c:v>
                </c:pt>
                <c:pt idx="431">
                  <c:v>2010/10/18</c:v>
                </c:pt>
                <c:pt idx="432">
                  <c:v>2010/10/19</c:v>
                </c:pt>
                <c:pt idx="433">
                  <c:v>2010/10/20</c:v>
                </c:pt>
                <c:pt idx="434">
                  <c:v>2010/10/21</c:v>
                </c:pt>
                <c:pt idx="435">
                  <c:v>2010/10/22</c:v>
                </c:pt>
                <c:pt idx="436">
                  <c:v>2010/10/25</c:v>
                </c:pt>
                <c:pt idx="437">
                  <c:v>2010/10/26</c:v>
                </c:pt>
                <c:pt idx="438">
                  <c:v>2010/10/27</c:v>
                </c:pt>
                <c:pt idx="439">
                  <c:v>2010/10/28</c:v>
                </c:pt>
                <c:pt idx="440">
                  <c:v>2010/10/29</c:v>
                </c:pt>
                <c:pt idx="441">
                  <c:v>2010/11/1</c:v>
                </c:pt>
                <c:pt idx="442">
                  <c:v>2010/11/2</c:v>
                </c:pt>
                <c:pt idx="443">
                  <c:v>2010/11/3</c:v>
                </c:pt>
                <c:pt idx="444">
                  <c:v>2010/11/4</c:v>
                </c:pt>
                <c:pt idx="445">
                  <c:v>2010/11/5</c:v>
                </c:pt>
                <c:pt idx="446">
                  <c:v>2010/11/8</c:v>
                </c:pt>
                <c:pt idx="447">
                  <c:v>2010/11/9</c:v>
                </c:pt>
                <c:pt idx="448">
                  <c:v>2010/11/10</c:v>
                </c:pt>
                <c:pt idx="449">
                  <c:v>2010/11/11</c:v>
                </c:pt>
                <c:pt idx="450">
                  <c:v>2010/11/12</c:v>
                </c:pt>
                <c:pt idx="451">
                  <c:v>2010/11/15</c:v>
                </c:pt>
                <c:pt idx="452">
                  <c:v>2010/11/16</c:v>
                </c:pt>
                <c:pt idx="453">
                  <c:v>2010/11/17</c:v>
                </c:pt>
                <c:pt idx="454">
                  <c:v>2010/11/18</c:v>
                </c:pt>
                <c:pt idx="455">
                  <c:v>2010/11/19</c:v>
                </c:pt>
                <c:pt idx="456">
                  <c:v>2010/11/22</c:v>
                </c:pt>
                <c:pt idx="457">
                  <c:v>2010/11/23</c:v>
                </c:pt>
                <c:pt idx="458">
                  <c:v>2010/11/24</c:v>
                </c:pt>
                <c:pt idx="459">
                  <c:v>2010/11/25</c:v>
                </c:pt>
                <c:pt idx="460">
                  <c:v>2010/11/26</c:v>
                </c:pt>
                <c:pt idx="461">
                  <c:v>2010/11/29</c:v>
                </c:pt>
                <c:pt idx="462">
                  <c:v>2010/11/30</c:v>
                </c:pt>
                <c:pt idx="463">
                  <c:v>2010/12/1</c:v>
                </c:pt>
                <c:pt idx="464">
                  <c:v>2010/12/2</c:v>
                </c:pt>
                <c:pt idx="465">
                  <c:v>2010/12/3</c:v>
                </c:pt>
                <c:pt idx="466">
                  <c:v>2010/12/6</c:v>
                </c:pt>
                <c:pt idx="467">
                  <c:v>2010/12/7</c:v>
                </c:pt>
                <c:pt idx="468">
                  <c:v>2010/12/8</c:v>
                </c:pt>
                <c:pt idx="469">
                  <c:v>2010/12/9</c:v>
                </c:pt>
                <c:pt idx="470">
                  <c:v>2010/12/10</c:v>
                </c:pt>
                <c:pt idx="471">
                  <c:v>2010/12/13</c:v>
                </c:pt>
                <c:pt idx="472">
                  <c:v>2010/12/14</c:v>
                </c:pt>
                <c:pt idx="473">
                  <c:v>2010/12/15</c:v>
                </c:pt>
                <c:pt idx="474">
                  <c:v>2010/12/16</c:v>
                </c:pt>
                <c:pt idx="475">
                  <c:v>2010/12/17</c:v>
                </c:pt>
                <c:pt idx="476">
                  <c:v>2010/12/20</c:v>
                </c:pt>
                <c:pt idx="477">
                  <c:v>2010/12/21</c:v>
                </c:pt>
                <c:pt idx="478">
                  <c:v>2010/12/22</c:v>
                </c:pt>
                <c:pt idx="479">
                  <c:v>2010/12/23</c:v>
                </c:pt>
                <c:pt idx="480">
                  <c:v>2010/12/24</c:v>
                </c:pt>
                <c:pt idx="481">
                  <c:v>2010/12/27</c:v>
                </c:pt>
                <c:pt idx="482">
                  <c:v>2010/12/28</c:v>
                </c:pt>
                <c:pt idx="483">
                  <c:v>2010/12/29</c:v>
                </c:pt>
                <c:pt idx="484">
                  <c:v>2010/12/30</c:v>
                </c:pt>
                <c:pt idx="485">
                  <c:v>2010/12/31</c:v>
                </c:pt>
                <c:pt idx="486">
                  <c:v>2011/1/4</c:v>
                </c:pt>
                <c:pt idx="487">
                  <c:v>2011/1/5</c:v>
                </c:pt>
                <c:pt idx="488">
                  <c:v>2011/1/6</c:v>
                </c:pt>
                <c:pt idx="489">
                  <c:v>2011/1/7</c:v>
                </c:pt>
                <c:pt idx="490">
                  <c:v>2011/1/10</c:v>
                </c:pt>
                <c:pt idx="491">
                  <c:v>2011/1/11</c:v>
                </c:pt>
                <c:pt idx="492">
                  <c:v>2011/1/12</c:v>
                </c:pt>
                <c:pt idx="493">
                  <c:v>2011/1/13</c:v>
                </c:pt>
                <c:pt idx="494">
                  <c:v>2011/1/14</c:v>
                </c:pt>
                <c:pt idx="495">
                  <c:v>2011/1/17</c:v>
                </c:pt>
                <c:pt idx="496">
                  <c:v>2011/1/18</c:v>
                </c:pt>
                <c:pt idx="497">
                  <c:v>2011/1/19</c:v>
                </c:pt>
                <c:pt idx="498">
                  <c:v>2011/1/20</c:v>
                </c:pt>
                <c:pt idx="499">
                  <c:v>2011/1/21</c:v>
                </c:pt>
                <c:pt idx="500">
                  <c:v>2011/1/24</c:v>
                </c:pt>
                <c:pt idx="501">
                  <c:v>2011/1/25</c:v>
                </c:pt>
                <c:pt idx="502">
                  <c:v>2011/1/26</c:v>
                </c:pt>
                <c:pt idx="503">
                  <c:v>2011/1/27</c:v>
                </c:pt>
                <c:pt idx="504">
                  <c:v>2011/1/28</c:v>
                </c:pt>
                <c:pt idx="505">
                  <c:v>2011/1/31</c:v>
                </c:pt>
                <c:pt idx="506">
                  <c:v>2011/2/1</c:v>
                </c:pt>
                <c:pt idx="507">
                  <c:v>2011/2/9</c:v>
                </c:pt>
                <c:pt idx="508">
                  <c:v>2011/2/10</c:v>
                </c:pt>
                <c:pt idx="509">
                  <c:v>2011/2/11</c:v>
                </c:pt>
                <c:pt idx="510">
                  <c:v>2011/2/14</c:v>
                </c:pt>
                <c:pt idx="511">
                  <c:v>2011/2/15</c:v>
                </c:pt>
                <c:pt idx="512">
                  <c:v>2011/2/16</c:v>
                </c:pt>
                <c:pt idx="513">
                  <c:v>2011/2/17</c:v>
                </c:pt>
                <c:pt idx="514">
                  <c:v>2011/2/18</c:v>
                </c:pt>
                <c:pt idx="515">
                  <c:v>2011/2/21</c:v>
                </c:pt>
                <c:pt idx="516">
                  <c:v>2011/2/22</c:v>
                </c:pt>
                <c:pt idx="517">
                  <c:v>2011/2/23</c:v>
                </c:pt>
                <c:pt idx="518">
                  <c:v>2011/2/24</c:v>
                </c:pt>
                <c:pt idx="519">
                  <c:v>2011/2/25</c:v>
                </c:pt>
                <c:pt idx="520">
                  <c:v>2011/2/28</c:v>
                </c:pt>
                <c:pt idx="521">
                  <c:v>2011/3/1</c:v>
                </c:pt>
                <c:pt idx="522">
                  <c:v>2011/3/2</c:v>
                </c:pt>
                <c:pt idx="523">
                  <c:v>2011/3/3</c:v>
                </c:pt>
                <c:pt idx="524">
                  <c:v>2011/3/4</c:v>
                </c:pt>
                <c:pt idx="525">
                  <c:v>2011/3/7</c:v>
                </c:pt>
                <c:pt idx="526">
                  <c:v>2011/3/8</c:v>
                </c:pt>
                <c:pt idx="527">
                  <c:v>2011/3/9</c:v>
                </c:pt>
                <c:pt idx="528">
                  <c:v>2011/3/10</c:v>
                </c:pt>
                <c:pt idx="529">
                  <c:v>2011/3/11</c:v>
                </c:pt>
                <c:pt idx="530">
                  <c:v>2011/3/14</c:v>
                </c:pt>
                <c:pt idx="531">
                  <c:v>2011/3/15</c:v>
                </c:pt>
                <c:pt idx="532">
                  <c:v>2011/3/16</c:v>
                </c:pt>
                <c:pt idx="533">
                  <c:v>2011/3/17</c:v>
                </c:pt>
                <c:pt idx="534">
                  <c:v>2011/3/18</c:v>
                </c:pt>
                <c:pt idx="535">
                  <c:v>2011/3/21</c:v>
                </c:pt>
                <c:pt idx="536">
                  <c:v>2011/3/22</c:v>
                </c:pt>
                <c:pt idx="537">
                  <c:v>2011/3/23</c:v>
                </c:pt>
                <c:pt idx="538">
                  <c:v>2011/3/24</c:v>
                </c:pt>
                <c:pt idx="539">
                  <c:v>2011/3/25</c:v>
                </c:pt>
                <c:pt idx="540">
                  <c:v>2011/3/28</c:v>
                </c:pt>
                <c:pt idx="541">
                  <c:v>2011/3/29</c:v>
                </c:pt>
                <c:pt idx="542">
                  <c:v>2011/3/30</c:v>
                </c:pt>
                <c:pt idx="543">
                  <c:v>2011/3/31</c:v>
                </c:pt>
                <c:pt idx="544">
                  <c:v>2011/4/1</c:v>
                </c:pt>
                <c:pt idx="545">
                  <c:v>2011/4/6</c:v>
                </c:pt>
                <c:pt idx="546">
                  <c:v>2011/4/7</c:v>
                </c:pt>
                <c:pt idx="547">
                  <c:v>2011/4/8</c:v>
                </c:pt>
                <c:pt idx="548">
                  <c:v>2011/4/11</c:v>
                </c:pt>
                <c:pt idx="549">
                  <c:v>2011/4/12</c:v>
                </c:pt>
                <c:pt idx="550">
                  <c:v>2011/4/13</c:v>
                </c:pt>
                <c:pt idx="551">
                  <c:v>2011/4/14</c:v>
                </c:pt>
                <c:pt idx="552">
                  <c:v>2011/4/15</c:v>
                </c:pt>
                <c:pt idx="553">
                  <c:v>2011/4/18</c:v>
                </c:pt>
                <c:pt idx="554">
                  <c:v>2011/4/19</c:v>
                </c:pt>
                <c:pt idx="555">
                  <c:v>2011/4/20</c:v>
                </c:pt>
                <c:pt idx="556">
                  <c:v>2011/4/21</c:v>
                </c:pt>
                <c:pt idx="557">
                  <c:v>2011/4/22</c:v>
                </c:pt>
                <c:pt idx="558">
                  <c:v>2011/4/25</c:v>
                </c:pt>
                <c:pt idx="559">
                  <c:v>2011/4/26</c:v>
                </c:pt>
                <c:pt idx="560">
                  <c:v>2011/4/27</c:v>
                </c:pt>
                <c:pt idx="561">
                  <c:v>2011/4/28</c:v>
                </c:pt>
                <c:pt idx="562">
                  <c:v>2011/4/29</c:v>
                </c:pt>
                <c:pt idx="563">
                  <c:v>2011/5/3</c:v>
                </c:pt>
                <c:pt idx="564">
                  <c:v>2011/5/4</c:v>
                </c:pt>
                <c:pt idx="565">
                  <c:v>2011/5/5</c:v>
                </c:pt>
                <c:pt idx="566">
                  <c:v>2011/5/6</c:v>
                </c:pt>
                <c:pt idx="567">
                  <c:v>2011/5/9</c:v>
                </c:pt>
                <c:pt idx="568">
                  <c:v>2011/5/10</c:v>
                </c:pt>
                <c:pt idx="569">
                  <c:v>2011/5/11</c:v>
                </c:pt>
                <c:pt idx="570">
                  <c:v>2011/5/12</c:v>
                </c:pt>
                <c:pt idx="571">
                  <c:v>2011/5/13</c:v>
                </c:pt>
                <c:pt idx="572">
                  <c:v>2011/5/16</c:v>
                </c:pt>
                <c:pt idx="573">
                  <c:v>2011/5/17</c:v>
                </c:pt>
                <c:pt idx="574">
                  <c:v>2011/5/18</c:v>
                </c:pt>
                <c:pt idx="575">
                  <c:v>2011/5/19</c:v>
                </c:pt>
                <c:pt idx="576">
                  <c:v>2011/5/20</c:v>
                </c:pt>
                <c:pt idx="577">
                  <c:v>2011/5/23</c:v>
                </c:pt>
                <c:pt idx="578">
                  <c:v>2011/5/24</c:v>
                </c:pt>
                <c:pt idx="579">
                  <c:v>2011/5/25</c:v>
                </c:pt>
                <c:pt idx="580">
                  <c:v>2011/5/26</c:v>
                </c:pt>
                <c:pt idx="581">
                  <c:v>2011/5/27</c:v>
                </c:pt>
                <c:pt idx="582">
                  <c:v>2011/5/30</c:v>
                </c:pt>
                <c:pt idx="583">
                  <c:v>2011/5/31</c:v>
                </c:pt>
                <c:pt idx="584">
                  <c:v>2011/6/1</c:v>
                </c:pt>
                <c:pt idx="585">
                  <c:v>2011/6/2</c:v>
                </c:pt>
                <c:pt idx="586">
                  <c:v>2011/6/3</c:v>
                </c:pt>
                <c:pt idx="587">
                  <c:v>2011/6/7</c:v>
                </c:pt>
                <c:pt idx="588">
                  <c:v>2011/6/8</c:v>
                </c:pt>
                <c:pt idx="589">
                  <c:v>2011/6/9</c:v>
                </c:pt>
                <c:pt idx="590">
                  <c:v>2011/6/10</c:v>
                </c:pt>
                <c:pt idx="591">
                  <c:v>2011/6/13</c:v>
                </c:pt>
                <c:pt idx="592">
                  <c:v>2011/6/14</c:v>
                </c:pt>
                <c:pt idx="593">
                  <c:v>2011/6/15</c:v>
                </c:pt>
                <c:pt idx="594">
                  <c:v>2011/6/16</c:v>
                </c:pt>
                <c:pt idx="595">
                  <c:v>2011/6/17</c:v>
                </c:pt>
                <c:pt idx="596">
                  <c:v>2011/6/20</c:v>
                </c:pt>
                <c:pt idx="597">
                  <c:v>2011/6/21</c:v>
                </c:pt>
                <c:pt idx="598">
                  <c:v>2011/6/22</c:v>
                </c:pt>
                <c:pt idx="599">
                  <c:v>2011/6/23</c:v>
                </c:pt>
                <c:pt idx="600">
                  <c:v>2011/6/24</c:v>
                </c:pt>
                <c:pt idx="601">
                  <c:v>2011/6/27</c:v>
                </c:pt>
                <c:pt idx="602">
                  <c:v>2011/6/28</c:v>
                </c:pt>
                <c:pt idx="603">
                  <c:v>2011/6/29</c:v>
                </c:pt>
                <c:pt idx="604">
                  <c:v>2011/6/30</c:v>
                </c:pt>
                <c:pt idx="605">
                  <c:v>2011/7/1</c:v>
                </c:pt>
                <c:pt idx="606">
                  <c:v>2011/7/4</c:v>
                </c:pt>
                <c:pt idx="607">
                  <c:v>2011/7/5</c:v>
                </c:pt>
                <c:pt idx="608">
                  <c:v>2011/7/6</c:v>
                </c:pt>
                <c:pt idx="609">
                  <c:v>2011/7/7</c:v>
                </c:pt>
                <c:pt idx="610">
                  <c:v>2011/7/8</c:v>
                </c:pt>
                <c:pt idx="611">
                  <c:v>2011/7/11</c:v>
                </c:pt>
                <c:pt idx="612">
                  <c:v>2011/7/12</c:v>
                </c:pt>
                <c:pt idx="613">
                  <c:v>2011/7/13</c:v>
                </c:pt>
                <c:pt idx="614">
                  <c:v>2011/7/14</c:v>
                </c:pt>
                <c:pt idx="615">
                  <c:v>2011/7/15</c:v>
                </c:pt>
                <c:pt idx="616">
                  <c:v>2011/7/18</c:v>
                </c:pt>
                <c:pt idx="617">
                  <c:v>2011/7/19</c:v>
                </c:pt>
                <c:pt idx="618">
                  <c:v>2011/7/20</c:v>
                </c:pt>
                <c:pt idx="619">
                  <c:v>2011/7/21</c:v>
                </c:pt>
                <c:pt idx="620">
                  <c:v>2011/7/22</c:v>
                </c:pt>
                <c:pt idx="621">
                  <c:v>2011/7/25</c:v>
                </c:pt>
                <c:pt idx="622">
                  <c:v>2011/7/26</c:v>
                </c:pt>
                <c:pt idx="623">
                  <c:v>2011/7/27</c:v>
                </c:pt>
                <c:pt idx="624">
                  <c:v>2011/7/28</c:v>
                </c:pt>
                <c:pt idx="625">
                  <c:v>2011/7/29</c:v>
                </c:pt>
                <c:pt idx="626">
                  <c:v>2011/8/1</c:v>
                </c:pt>
                <c:pt idx="627">
                  <c:v>2011/8/2</c:v>
                </c:pt>
                <c:pt idx="628">
                  <c:v>2011/8/3</c:v>
                </c:pt>
                <c:pt idx="629">
                  <c:v>2011/8/4</c:v>
                </c:pt>
                <c:pt idx="630">
                  <c:v>2011/8/5</c:v>
                </c:pt>
                <c:pt idx="631">
                  <c:v>2011/8/8</c:v>
                </c:pt>
                <c:pt idx="632">
                  <c:v>2011/8/9</c:v>
                </c:pt>
                <c:pt idx="633">
                  <c:v>2011/8/10</c:v>
                </c:pt>
                <c:pt idx="634">
                  <c:v>2011/8/11</c:v>
                </c:pt>
                <c:pt idx="635">
                  <c:v>2011/8/12</c:v>
                </c:pt>
                <c:pt idx="636">
                  <c:v>2011/8/15</c:v>
                </c:pt>
                <c:pt idx="637">
                  <c:v>2011/8/16</c:v>
                </c:pt>
                <c:pt idx="638">
                  <c:v>2011/8/17</c:v>
                </c:pt>
                <c:pt idx="639">
                  <c:v>2011/8/18</c:v>
                </c:pt>
                <c:pt idx="640">
                  <c:v>2011/8/19</c:v>
                </c:pt>
                <c:pt idx="641">
                  <c:v>2011/8/22</c:v>
                </c:pt>
                <c:pt idx="642">
                  <c:v>2011/8/23</c:v>
                </c:pt>
                <c:pt idx="643">
                  <c:v>2011/8/24</c:v>
                </c:pt>
                <c:pt idx="644">
                  <c:v>2011/8/25</c:v>
                </c:pt>
                <c:pt idx="645">
                  <c:v>2011/8/26</c:v>
                </c:pt>
                <c:pt idx="646">
                  <c:v>2011/8/29</c:v>
                </c:pt>
                <c:pt idx="647">
                  <c:v>2011/8/30</c:v>
                </c:pt>
                <c:pt idx="648">
                  <c:v>2011/8/31</c:v>
                </c:pt>
                <c:pt idx="649">
                  <c:v>2011/9/1</c:v>
                </c:pt>
                <c:pt idx="650">
                  <c:v>2011/9/2</c:v>
                </c:pt>
                <c:pt idx="651">
                  <c:v>2011/9/5</c:v>
                </c:pt>
                <c:pt idx="652">
                  <c:v>2011/9/6</c:v>
                </c:pt>
                <c:pt idx="653">
                  <c:v>2011/9/7</c:v>
                </c:pt>
                <c:pt idx="654">
                  <c:v>2011/9/8</c:v>
                </c:pt>
                <c:pt idx="655">
                  <c:v>2011/9/9</c:v>
                </c:pt>
                <c:pt idx="656">
                  <c:v>2011/9/13</c:v>
                </c:pt>
                <c:pt idx="657">
                  <c:v>2011/9/14</c:v>
                </c:pt>
                <c:pt idx="658">
                  <c:v>2011/9/15</c:v>
                </c:pt>
                <c:pt idx="659">
                  <c:v>2011/9/16</c:v>
                </c:pt>
                <c:pt idx="660">
                  <c:v>2011/9/19</c:v>
                </c:pt>
                <c:pt idx="661">
                  <c:v>2011/9/20</c:v>
                </c:pt>
                <c:pt idx="662">
                  <c:v>2011/9/21</c:v>
                </c:pt>
                <c:pt idx="663">
                  <c:v>2011/9/22</c:v>
                </c:pt>
                <c:pt idx="664">
                  <c:v>2011/9/23</c:v>
                </c:pt>
                <c:pt idx="665">
                  <c:v>2011/9/26</c:v>
                </c:pt>
                <c:pt idx="666">
                  <c:v>2011/9/27</c:v>
                </c:pt>
                <c:pt idx="667">
                  <c:v>2011/9/28</c:v>
                </c:pt>
                <c:pt idx="668">
                  <c:v>2011/9/29</c:v>
                </c:pt>
                <c:pt idx="669">
                  <c:v>2011/9/30</c:v>
                </c:pt>
                <c:pt idx="670">
                  <c:v>2011/10/10</c:v>
                </c:pt>
                <c:pt idx="671">
                  <c:v>2011/10/11</c:v>
                </c:pt>
                <c:pt idx="672">
                  <c:v>2011/10/12</c:v>
                </c:pt>
                <c:pt idx="673">
                  <c:v>2011/10/13</c:v>
                </c:pt>
                <c:pt idx="674">
                  <c:v>2011/10/14</c:v>
                </c:pt>
                <c:pt idx="675">
                  <c:v>2011/10/17</c:v>
                </c:pt>
                <c:pt idx="676">
                  <c:v>2011/10/18</c:v>
                </c:pt>
                <c:pt idx="677">
                  <c:v>2011/10/19</c:v>
                </c:pt>
                <c:pt idx="678">
                  <c:v>2011/10/20</c:v>
                </c:pt>
                <c:pt idx="679">
                  <c:v>2011/10/21</c:v>
                </c:pt>
                <c:pt idx="680">
                  <c:v>2011/10/24</c:v>
                </c:pt>
                <c:pt idx="681">
                  <c:v>2011/10/25</c:v>
                </c:pt>
                <c:pt idx="682">
                  <c:v>2011/10/26</c:v>
                </c:pt>
                <c:pt idx="683">
                  <c:v>2011/10/27</c:v>
                </c:pt>
                <c:pt idx="684">
                  <c:v>2011/10/28</c:v>
                </c:pt>
                <c:pt idx="685">
                  <c:v>2011/10/31</c:v>
                </c:pt>
                <c:pt idx="686">
                  <c:v>2011/11/1</c:v>
                </c:pt>
                <c:pt idx="687">
                  <c:v>2011/11/2</c:v>
                </c:pt>
                <c:pt idx="688">
                  <c:v>2011/11/3</c:v>
                </c:pt>
                <c:pt idx="689">
                  <c:v>2011/11/4</c:v>
                </c:pt>
                <c:pt idx="690">
                  <c:v>2011/11/7</c:v>
                </c:pt>
                <c:pt idx="691">
                  <c:v>2011/11/8</c:v>
                </c:pt>
                <c:pt idx="692">
                  <c:v>2011/11/9</c:v>
                </c:pt>
                <c:pt idx="693">
                  <c:v>2011/11/10</c:v>
                </c:pt>
                <c:pt idx="694">
                  <c:v>2011/11/11</c:v>
                </c:pt>
                <c:pt idx="695">
                  <c:v>2011/11/14</c:v>
                </c:pt>
                <c:pt idx="696">
                  <c:v>2011/11/15</c:v>
                </c:pt>
                <c:pt idx="697">
                  <c:v>2011/11/16</c:v>
                </c:pt>
                <c:pt idx="698">
                  <c:v>2011/11/17</c:v>
                </c:pt>
                <c:pt idx="699">
                  <c:v>2011/11/18</c:v>
                </c:pt>
                <c:pt idx="700">
                  <c:v>2011/11/21</c:v>
                </c:pt>
                <c:pt idx="701">
                  <c:v>2011/11/22</c:v>
                </c:pt>
                <c:pt idx="702">
                  <c:v>2011/11/23</c:v>
                </c:pt>
                <c:pt idx="703">
                  <c:v>2011/11/24</c:v>
                </c:pt>
                <c:pt idx="704">
                  <c:v>2011/11/25</c:v>
                </c:pt>
                <c:pt idx="705">
                  <c:v>2011/11/28</c:v>
                </c:pt>
                <c:pt idx="706">
                  <c:v>2011/11/29</c:v>
                </c:pt>
                <c:pt idx="707">
                  <c:v>2011/11/30</c:v>
                </c:pt>
                <c:pt idx="708">
                  <c:v>2011/12/1</c:v>
                </c:pt>
                <c:pt idx="709">
                  <c:v>2011/12/2</c:v>
                </c:pt>
                <c:pt idx="710">
                  <c:v>2011/12/5</c:v>
                </c:pt>
                <c:pt idx="711">
                  <c:v>2011/12/6</c:v>
                </c:pt>
                <c:pt idx="712">
                  <c:v>2011/12/7</c:v>
                </c:pt>
                <c:pt idx="713">
                  <c:v>2011/12/8</c:v>
                </c:pt>
                <c:pt idx="714">
                  <c:v>2011/12/9</c:v>
                </c:pt>
                <c:pt idx="715">
                  <c:v>2011/12/12</c:v>
                </c:pt>
                <c:pt idx="716">
                  <c:v>2011/12/13</c:v>
                </c:pt>
                <c:pt idx="717">
                  <c:v>2011/12/14</c:v>
                </c:pt>
                <c:pt idx="718">
                  <c:v>2011/12/15</c:v>
                </c:pt>
                <c:pt idx="719">
                  <c:v>2011/12/16</c:v>
                </c:pt>
                <c:pt idx="720">
                  <c:v>2011/12/19</c:v>
                </c:pt>
                <c:pt idx="721">
                  <c:v>2011/12/20</c:v>
                </c:pt>
                <c:pt idx="722">
                  <c:v>2011/12/21</c:v>
                </c:pt>
                <c:pt idx="723">
                  <c:v>2011/12/22</c:v>
                </c:pt>
                <c:pt idx="724">
                  <c:v>2011/12/23</c:v>
                </c:pt>
                <c:pt idx="725">
                  <c:v>2011/12/26</c:v>
                </c:pt>
                <c:pt idx="726">
                  <c:v>2011/12/27</c:v>
                </c:pt>
                <c:pt idx="727">
                  <c:v>2011/12/28</c:v>
                </c:pt>
                <c:pt idx="728">
                  <c:v>2011/12/29</c:v>
                </c:pt>
                <c:pt idx="729">
                  <c:v>2011/12/30</c:v>
                </c:pt>
                <c:pt idx="730">
                  <c:v>2012/1/4</c:v>
                </c:pt>
                <c:pt idx="731">
                  <c:v>2012/1/5</c:v>
                </c:pt>
                <c:pt idx="732">
                  <c:v>2012/1/6</c:v>
                </c:pt>
                <c:pt idx="733">
                  <c:v>2012/1/9</c:v>
                </c:pt>
                <c:pt idx="734">
                  <c:v>2012/1/10</c:v>
                </c:pt>
                <c:pt idx="735">
                  <c:v>2012/1/11</c:v>
                </c:pt>
                <c:pt idx="736">
                  <c:v>2012/1/12</c:v>
                </c:pt>
                <c:pt idx="737">
                  <c:v>2012/1/13</c:v>
                </c:pt>
                <c:pt idx="738">
                  <c:v>2012/1/16</c:v>
                </c:pt>
                <c:pt idx="739">
                  <c:v>2012/1/17</c:v>
                </c:pt>
                <c:pt idx="740">
                  <c:v>2012/1/18</c:v>
                </c:pt>
                <c:pt idx="741">
                  <c:v>2012/1/19</c:v>
                </c:pt>
                <c:pt idx="742">
                  <c:v>2012/1/20</c:v>
                </c:pt>
                <c:pt idx="743">
                  <c:v>2012/1/30</c:v>
                </c:pt>
                <c:pt idx="744">
                  <c:v>2012/1/31</c:v>
                </c:pt>
                <c:pt idx="745">
                  <c:v>2012/2/1</c:v>
                </c:pt>
                <c:pt idx="746">
                  <c:v>2012/2/2</c:v>
                </c:pt>
                <c:pt idx="747">
                  <c:v>2012/2/3</c:v>
                </c:pt>
                <c:pt idx="748">
                  <c:v>2012/2/6</c:v>
                </c:pt>
                <c:pt idx="749">
                  <c:v>2012/2/7</c:v>
                </c:pt>
                <c:pt idx="750">
                  <c:v>2012/2/8</c:v>
                </c:pt>
                <c:pt idx="751">
                  <c:v>2012/2/9</c:v>
                </c:pt>
                <c:pt idx="752">
                  <c:v>2012/2/10</c:v>
                </c:pt>
                <c:pt idx="753">
                  <c:v>2012/2/13</c:v>
                </c:pt>
                <c:pt idx="754">
                  <c:v>2012/2/14</c:v>
                </c:pt>
                <c:pt idx="755">
                  <c:v>2012/2/15</c:v>
                </c:pt>
                <c:pt idx="756">
                  <c:v>2012/2/16</c:v>
                </c:pt>
                <c:pt idx="757">
                  <c:v>2012/2/17</c:v>
                </c:pt>
                <c:pt idx="758">
                  <c:v>2012/2/20</c:v>
                </c:pt>
                <c:pt idx="759">
                  <c:v>2012/2/21</c:v>
                </c:pt>
                <c:pt idx="760">
                  <c:v>2012/2/22</c:v>
                </c:pt>
                <c:pt idx="761">
                  <c:v>2012/2/23</c:v>
                </c:pt>
                <c:pt idx="762">
                  <c:v>2012/2/24</c:v>
                </c:pt>
                <c:pt idx="763">
                  <c:v>2012/2/27</c:v>
                </c:pt>
                <c:pt idx="764">
                  <c:v>2012/2/28</c:v>
                </c:pt>
                <c:pt idx="765">
                  <c:v>2012/2/29</c:v>
                </c:pt>
                <c:pt idx="766">
                  <c:v>2012/3/1</c:v>
                </c:pt>
                <c:pt idx="767">
                  <c:v>2012/3/2</c:v>
                </c:pt>
                <c:pt idx="768">
                  <c:v>2012/3/5</c:v>
                </c:pt>
                <c:pt idx="769">
                  <c:v>2012/3/6</c:v>
                </c:pt>
                <c:pt idx="770">
                  <c:v>2012/3/7</c:v>
                </c:pt>
                <c:pt idx="771">
                  <c:v>2012/3/8</c:v>
                </c:pt>
                <c:pt idx="772">
                  <c:v>2012/3/9</c:v>
                </c:pt>
                <c:pt idx="773">
                  <c:v>2012/3/12</c:v>
                </c:pt>
                <c:pt idx="774">
                  <c:v>2012/3/13</c:v>
                </c:pt>
                <c:pt idx="775">
                  <c:v>2012/3/14</c:v>
                </c:pt>
                <c:pt idx="776">
                  <c:v>2012/3/15</c:v>
                </c:pt>
                <c:pt idx="777">
                  <c:v>2012/3/16</c:v>
                </c:pt>
                <c:pt idx="778">
                  <c:v>2012/3/19</c:v>
                </c:pt>
                <c:pt idx="779">
                  <c:v>2012/3/20</c:v>
                </c:pt>
                <c:pt idx="780">
                  <c:v>2012/3/21</c:v>
                </c:pt>
                <c:pt idx="781">
                  <c:v>2012/3/22</c:v>
                </c:pt>
                <c:pt idx="782">
                  <c:v>2012/3/23</c:v>
                </c:pt>
                <c:pt idx="783">
                  <c:v>2012/3/26</c:v>
                </c:pt>
                <c:pt idx="784">
                  <c:v>2012/3/27</c:v>
                </c:pt>
                <c:pt idx="785">
                  <c:v>2012/3/28</c:v>
                </c:pt>
                <c:pt idx="786">
                  <c:v>2012/3/29</c:v>
                </c:pt>
                <c:pt idx="787">
                  <c:v>2012/3/30</c:v>
                </c:pt>
                <c:pt idx="788">
                  <c:v>2012/4/5</c:v>
                </c:pt>
                <c:pt idx="789">
                  <c:v>2012/4/6</c:v>
                </c:pt>
                <c:pt idx="790">
                  <c:v>2012/4/9</c:v>
                </c:pt>
                <c:pt idx="791">
                  <c:v>2012/4/10</c:v>
                </c:pt>
                <c:pt idx="792">
                  <c:v>2012/4/11</c:v>
                </c:pt>
                <c:pt idx="793">
                  <c:v>2012/4/12</c:v>
                </c:pt>
                <c:pt idx="794">
                  <c:v>2012/4/13</c:v>
                </c:pt>
                <c:pt idx="795">
                  <c:v>2012/4/16</c:v>
                </c:pt>
                <c:pt idx="796">
                  <c:v>2012/4/17</c:v>
                </c:pt>
                <c:pt idx="797">
                  <c:v>2012/4/18</c:v>
                </c:pt>
                <c:pt idx="798">
                  <c:v>2012/4/19</c:v>
                </c:pt>
                <c:pt idx="799">
                  <c:v>2012/4/20</c:v>
                </c:pt>
                <c:pt idx="800">
                  <c:v>2012/4/23</c:v>
                </c:pt>
                <c:pt idx="801">
                  <c:v>2012/4/24</c:v>
                </c:pt>
                <c:pt idx="802">
                  <c:v>2012/4/25</c:v>
                </c:pt>
                <c:pt idx="803">
                  <c:v>2012/4/26</c:v>
                </c:pt>
                <c:pt idx="804">
                  <c:v>2012/4/27</c:v>
                </c:pt>
                <c:pt idx="805">
                  <c:v>2012/5/2</c:v>
                </c:pt>
                <c:pt idx="806">
                  <c:v>2012/5/3</c:v>
                </c:pt>
                <c:pt idx="807">
                  <c:v>2012/5/4</c:v>
                </c:pt>
                <c:pt idx="808">
                  <c:v>2012/5/7</c:v>
                </c:pt>
                <c:pt idx="809">
                  <c:v>2012/5/8</c:v>
                </c:pt>
                <c:pt idx="810">
                  <c:v>2012/5/9</c:v>
                </c:pt>
                <c:pt idx="811">
                  <c:v>2012/5/10</c:v>
                </c:pt>
                <c:pt idx="812">
                  <c:v>2012/5/11</c:v>
                </c:pt>
                <c:pt idx="813">
                  <c:v>2012/5/14</c:v>
                </c:pt>
                <c:pt idx="814">
                  <c:v>2012/5/15</c:v>
                </c:pt>
                <c:pt idx="815">
                  <c:v>2012/5/16</c:v>
                </c:pt>
                <c:pt idx="816">
                  <c:v>2012/5/17</c:v>
                </c:pt>
                <c:pt idx="817">
                  <c:v>2012/5/18</c:v>
                </c:pt>
                <c:pt idx="818">
                  <c:v>2012/5/21</c:v>
                </c:pt>
                <c:pt idx="819">
                  <c:v>2012/5/22</c:v>
                </c:pt>
                <c:pt idx="820">
                  <c:v>2012/5/23</c:v>
                </c:pt>
                <c:pt idx="821">
                  <c:v>2012/5/24</c:v>
                </c:pt>
                <c:pt idx="822">
                  <c:v>2012/5/25</c:v>
                </c:pt>
                <c:pt idx="823">
                  <c:v>2012/5/28</c:v>
                </c:pt>
                <c:pt idx="824">
                  <c:v>2012/5/29</c:v>
                </c:pt>
                <c:pt idx="825">
                  <c:v>2012/5/30</c:v>
                </c:pt>
                <c:pt idx="826">
                  <c:v>2012/5/31</c:v>
                </c:pt>
                <c:pt idx="827">
                  <c:v>2012/6/1</c:v>
                </c:pt>
                <c:pt idx="828">
                  <c:v>2012/6/4</c:v>
                </c:pt>
                <c:pt idx="829">
                  <c:v>2012/6/5</c:v>
                </c:pt>
                <c:pt idx="830">
                  <c:v>2012/6/6</c:v>
                </c:pt>
                <c:pt idx="831">
                  <c:v>2012/6/7</c:v>
                </c:pt>
                <c:pt idx="832">
                  <c:v>2012/6/8</c:v>
                </c:pt>
                <c:pt idx="833">
                  <c:v>2012/6/11</c:v>
                </c:pt>
                <c:pt idx="834">
                  <c:v>2012/6/12</c:v>
                </c:pt>
                <c:pt idx="835">
                  <c:v>2012/6/13</c:v>
                </c:pt>
                <c:pt idx="836">
                  <c:v>2012/6/14</c:v>
                </c:pt>
                <c:pt idx="837">
                  <c:v>2012/6/15</c:v>
                </c:pt>
                <c:pt idx="838">
                  <c:v>2012/6/18</c:v>
                </c:pt>
                <c:pt idx="839">
                  <c:v>2012/6/19</c:v>
                </c:pt>
                <c:pt idx="840">
                  <c:v>2012/6/20</c:v>
                </c:pt>
                <c:pt idx="841">
                  <c:v>2012/6/21</c:v>
                </c:pt>
                <c:pt idx="842">
                  <c:v>2012/6/25</c:v>
                </c:pt>
                <c:pt idx="843">
                  <c:v>2012/6/26</c:v>
                </c:pt>
                <c:pt idx="844">
                  <c:v>2012/6/27</c:v>
                </c:pt>
                <c:pt idx="845">
                  <c:v>2012/6/28</c:v>
                </c:pt>
                <c:pt idx="846">
                  <c:v>2012/6/29</c:v>
                </c:pt>
                <c:pt idx="847">
                  <c:v>2012/7/2</c:v>
                </c:pt>
                <c:pt idx="848">
                  <c:v>2012/7/3</c:v>
                </c:pt>
                <c:pt idx="849">
                  <c:v>2012/7/4</c:v>
                </c:pt>
                <c:pt idx="850">
                  <c:v>2012/7/5</c:v>
                </c:pt>
                <c:pt idx="851">
                  <c:v>2012/7/6</c:v>
                </c:pt>
                <c:pt idx="852">
                  <c:v>2012/7/9</c:v>
                </c:pt>
                <c:pt idx="853">
                  <c:v>2012/7/10</c:v>
                </c:pt>
                <c:pt idx="854">
                  <c:v>2012/7/11</c:v>
                </c:pt>
                <c:pt idx="855">
                  <c:v>2012/7/12</c:v>
                </c:pt>
                <c:pt idx="856">
                  <c:v>2012/7/13</c:v>
                </c:pt>
                <c:pt idx="857">
                  <c:v>2012/7/16</c:v>
                </c:pt>
                <c:pt idx="858">
                  <c:v>2012/7/17</c:v>
                </c:pt>
                <c:pt idx="859">
                  <c:v>2012/7/18</c:v>
                </c:pt>
                <c:pt idx="860">
                  <c:v>2012/7/19</c:v>
                </c:pt>
                <c:pt idx="861">
                  <c:v>2012/7/20</c:v>
                </c:pt>
                <c:pt idx="862">
                  <c:v>2012/7/23</c:v>
                </c:pt>
                <c:pt idx="863">
                  <c:v>2012/7/24</c:v>
                </c:pt>
                <c:pt idx="864">
                  <c:v>2012/7/25</c:v>
                </c:pt>
                <c:pt idx="865">
                  <c:v>2012/7/26</c:v>
                </c:pt>
                <c:pt idx="866">
                  <c:v>2012/7/27</c:v>
                </c:pt>
                <c:pt idx="867">
                  <c:v>2012/7/30</c:v>
                </c:pt>
                <c:pt idx="868">
                  <c:v>2012/7/31</c:v>
                </c:pt>
                <c:pt idx="869">
                  <c:v>2012/8/1</c:v>
                </c:pt>
                <c:pt idx="870">
                  <c:v>2012/8/2</c:v>
                </c:pt>
                <c:pt idx="871">
                  <c:v>2012/8/3</c:v>
                </c:pt>
                <c:pt idx="872">
                  <c:v>2012/8/6</c:v>
                </c:pt>
                <c:pt idx="873">
                  <c:v>2012/8/7</c:v>
                </c:pt>
                <c:pt idx="874">
                  <c:v>2012/8/8</c:v>
                </c:pt>
                <c:pt idx="875">
                  <c:v>2012/8/9</c:v>
                </c:pt>
                <c:pt idx="876">
                  <c:v>2012/8/10</c:v>
                </c:pt>
                <c:pt idx="877">
                  <c:v>2012/8/13</c:v>
                </c:pt>
                <c:pt idx="878">
                  <c:v>2012/8/14</c:v>
                </c:pt>
                <c:pt idx="879">
                  <c:v>2012/8/15</c:v>
                </c:pt>
                <c:pt idx="880">
                  <c:v>2012/8/16</c:v>
                </c:pt>
                <c:pt idx="881">
                  <c:v>2012/8/17</c:v>
                </c:pt>
                <c:pt idx="882">
                  <c:v>2012/8/20</c:v>
                </c:pt>
                <c:pt idx="883">
                  <c:v>2012/8/21</c:v>
                </c:pt>
                <c:pt idx="884">
                  <c:v>2012/8/22</c:v>
                </c:pt>
                <c:pt idx="885">
                  <c:v>2012/8/23</c:v>
                </c:pt>
                <c:pt idx="886">
                  <c:v>2012/8/24</c:v>
                </c:pt>
                <c:pt idx="887">
                  <c:v>2012/8/27</c:v>
                </c:pt>
                <c:pt idx="888">
                  <c:v>2012/8/28</c:v>
                </c:pt>
                <c:pt idx="889">
                  <c:v>2012/8/29</c:v>
                </c:pt>
                <c:pt idx="890">
                  <c:v>2012/8/30</c:v>
                </c:pt>
                <c:pt idx="891">
                  <c:v>2012/8/31</c:v>
                </c:pt>
                <c:pt idx="892">
                  <c:v>2012/9/3</c:v>
                </c:pt>
                <c:pt idx="893">
                  <c:v>2012/9/4</c:v>
                </c:pt>
                <c:pt idx="894">
                  <c:v>2012/9/5</c:v>
                </c:pt>
                <c:pt idx="895">
                  <c:v>2012/9/6</c:v>
                </c:pt>
                <c:pt idx="896">
                  <c:v>2012/9/7</c:v>
                </c:pt>
                <c:pt idx="897">
                  <c:v>2012/9/10</c:v>
                </c:pt>
                <c:pt idx="898">
                  <c:v>2012/9/11</c:v>
                </c:pt>
                <c:pt idx="899">
                  <c:v>2012/9/12</c:v>
                </c:pt>
                <c:pt idx="900">
                  <c:v>2012/9/13</c:v>
                </c:pt>
                <c:pt idx="901">
                  <c:v>2012/9/14</c:v>
                </c:pt>
                <c:pt idx="902">
                  <c:v>2012/9/17</c:v>
                </c:pt>
                <c:pt idx="903">
                  <c:v>2012/9/18</c:v>
                </c:pt>
                <c:pt idx="904">
                  <c:v>2012/9/19</c:v>
                </c:pt>
                <c:pt idx="905">
                  <c:v>2012/9/20</c:v>
                </c:pt>
                <c:pt idx="906">
                  <c:v>2012/9/21</c:v>
                </c:pt>
                <c:pt idx="907">
                  <c:v>2012/9/24</c:v>
                </c:pt>
                <c:pt idx="908">
                  <c:v>2012/9/25</c:v>
                </c:pt>
                <c:pt idx="909">
                  <c:v>2012/9/26</c:v>
                </c:pt>
                <c:pt idx="910">
                  <c:v>2012/9/27</c:v>
                </c:pt>
                <c:pt idx="911">
                  <c:v>2012/9/28</c:v>
                </c:pt>
                <c:pt idx="912">
                  <c:v>2012/10/8</c:v>
                </c:pt>
                <c:pt idx="913">
                  <c:v>2012/10/9</c:v>
                </c:pt>
                <c:pt idx="914">
                  <c:v>2012/10/10</c:v>
                </c:pt>
                <c:pt idx="915">
                  <c:v>2012/10/11</c:v>
                </c:pt>
                <c:pt idx="916">
                  <c:v>2012/10/12</c:v>
                </c:pt>
                <c:pt idx="917">
                  <c:v>2012/10/15</c:v>
                </c:pt>
                <c:pt idx="918">
                  <c:v>2012/10/16</c:v>
                </c:pt>
                <c:pt idx="919">
                  <c:v>2012/10/17</c:v>
                </c:pt>
                <c:pt idx="920">
                  <c:v>2012/10/18</c:v>
                </c:pt>
                <c:pt idx="921">
                  <c:v>2012/10/19</c:v>
                </c:pt>
                <c:pt idx="922">
                  <c:v>2012/10/22</c:v>
                </c:pt>
                <c:pt idx="923">
                  <c:v>2012/10/23</c:v>
                </c:pt>
                <c:pt idx="924">
                  <c:v>2012/10/24</c:v>
                </c:pt>
                <c:pt idx="925">
                  <c:v>2012/10/25</c:v>
                </c:pt>
                <c:pt idx="926">
                  <c:v>2012/10/26</c:v>
                </c:pt>
                <c:pt idx="927">
                  <c:v>2012/10/29</c:v>
                </c:pt>
                <c:pt idx="928">
                  <c:v>2012/10/30</c:v>
                </c:pt>
                <c:pt idx="929">
                  <c:v>2012/10/31</c:v>
                </c:pt>
                <c:pt idx="930">
                  <c:v>2012/11/1</c:v>
                </c:pt>
                <c:pt idx="931">
                  <c:v>2012/11/2</c:v>
                </c:pt>
                <c:pt idx="932">
                  <c:v>2012/11/5</c:v>
                </c:pt>
                <c:pt idx="933">
                  <c:v>2012/11/6</c:v>
                </c:pt>
                <c:pt idx="934">
                  <c:v>2012/11/7</c:v>
                </c:pt>
                <c:pt idx="935">
                  <c:v>2012/11/8</c:v>
                </c:pt>
                <c:pt idx="936">
                  <c:v>2012/11/9</c:v>
                </c:pt>
                <c:pt idx="937">
                  <c:v>2012/11/12</c:v>
                </c:pt>
                <c:pt idx="938">
                  <c:v>2012/11/13</c:v>
                </c:pt>
                <c:pt idx="939">
                  <c:v>2012/11/14</c:v>
                </c:pt>
                <c:pt idx="940">
                  <c:v>2012/11/15</c:v>
                </c:pt>
                <c:pt idx="941">
                  <c:v>2012/11/16</c:v>
                </c:pt>
                <c:pt idx="942">
                  <c:v>2012/11/19</c:v>
                </c:pt>
                <c:pt idx="943">
                  <c:v>2012/11/20</c:v>
                </c:pt>
                <c:pt idx="944">
                  <c:v>2012/11/21</c:v>
                </c:pt>
                <c:pt idx="945">
                  <c:v>2012/11/22</c:v>
                </c:pt>
                <c:pt idx="946">
                  <c:v>2012/11/23</c:v>
                </c:pt>
                <c:pt idx="947">
                  <c:v>2012/11/26</c:v>
                </c:pt>
                <c:pt idx="948">
                  <c:v>2012/11/27</c:v>
                </c:pt>
                <c:pt idx="949">
                  <c:v>2012/11/28</c:v>
                </c:pt>
                <c:pt idx="950">
                  <c:v>2012/11/29</c:v>
                </c:pt>
                <c:pt idx="951">
                  <c:v>2012/11/30</c:v>
                </c:pt>
                <c:pt idx="952">
                  <c:v>2012/12/3</c:v>
                </c:pt>
                <c:pt idx="953">
                  <c:v>2012/12/4</c:v>
                </c:pt>
                <c:pt idx="954">
                  <c:v>2012/12/5</c:v>
                </c:pt>
                <c:pt idx="955">
                  <c:v>2012/12/6</c:v>
                </c:pt>
                <c:pt idx="956">
                  <c:v>2012/12/7</c:v>
                </c:pt>
                <c:pt idx="957">
                  <c:v>2012/12/10</c:v>
                </c:pt>
                <c:pt idx="958">
                  <c:v>2012/12/11</c:v>
                </c:pt>
                <c:pt idx="959">
                  <c:v>2012/12/12</c:v>
                </c:pt>
                <c:pt idx="960">
                  <c:v>2012/12/13</c:v>
                </c:pt>
                <c:pt idx="961">
                  <c:v>2012/12/14</c:v>
                </c:pt>
                <c:pt idx="962">
                  <c:v>2012/12/17</c:v>
                </c:pt>
                <c:pt idx="963">
                  <c:v>2012/12/18</c:v>
                </c:pt>
                <c:pt idx="964">
                  <c:v>2012/12/19</c:v>
                </c:pt>
                <c:pt idx="965">
                  <c:v>2012/12/20</c:v>
                </c:pt>
                <c:pt idx="966">
                  <c:v>2012/12/21</c:v>
                </c:pt>
                <c:pt idx="967">
                  <c:v>2012/12/24</c:v>
                </c:pt>
                <c:pt idx="968">
                  <c:v>2012/12/25</c:v>
                </c:pt>
                <c:pt idx="969">
                  <c:v>2012/12/26</c:v>
                </c:pt>
                <c:pt idx="970">
                  <c:v>2012/12/27</c:v>
                </c:pt>
                <c:pt idx="971">
                  <c:v>2012/12/28</c:v>
                </c:pt>
                <c:pt idx="972">
                  <c:v>2012/12/31</c:v>
                </c:pt>
                <c:pt idx="973">
                  <c:v>2013/1/4</c:v>
                </c:pt>
                <c:pt idx="974">
                  <c:v>2013/1/7</c:v>
                </c:pt>
                <c:pt idx="975">
                  <c:v>2013/1/8</c:v>
                </c:pt>
                <c:pt idx="976">
                  <c:v>2013/1/9</c:v>
                </c:pt>
                <c:pt idx="977">
                  <c:v>2013/1/10</c:v>
                </c:pt>
                <c:pt idx="978">
                  <c:v>2013/1/11</c:v>
                </c:pt>
                <c:pt idx="979">
                  <c:v>2013/1/14</c:v>
                </c:pt>
                <c:pt idx="980">
                  <c:v>2013/1/15</c:v>
                </c:pt>
                <c:pt idx="981">
                  <c:v>2013/1/16</c:v>
                </c:pt>
                <c:pt idx="982">
                  <c:v>2013/1/17</c:v>
                </c:pt>
                <c:pt idx="983">
                  <c:v>2013/1/18</c:v>
                </c:pt>
                <c:pt idx="984">
                  <c:v>2013/1/21</c:v>
                </c:pt>
                <c:pt idx="985">
                  <c:v>2013/1/22</c:v>
                </c:pt>
                <c:pt idx="986">
                  <c:v>2013/1/23</c:v>
                </c:pt>
                <c:pt idx="987">
                  <c:v>2013/1/24</c:v>
                </c:pt>
                <c:pt idx="988">
                  <c:v>2013/1/25</c:v>
                </c:pt>
                <c:pt idx="989">
                  <c:v>2013/1/28</c:v>
                </c:pt>
                <c:pt idx="990">
                  <c:v>2013/1/29</c:v>
                </c:pt>
                <c:pt idx="991">
                  <c:v>2013/1/30</c:v>
                </c:pt>
                <c:pt idx="992">
                  <c:v>2013/1/31</c:v>
                </c:pt>
                <c:pt idx="993">
                  <c:v>2013/2/1</c:v>
                </c:pt>
                <c:pt idx="994">
                  <c:v>2013/2/4</c:v>
                </c:pt>
                <c:pt idx="995">
                  <c:v>2013/2/5</c:v>
                </c:pt>
                <c:pt idx="996">
                  <c:v>2013/2/6</c:v>
                </c:pt>
                <c:pt idx="997">
                  <c:v>2013/2/7</c:v>
                </c:pt>
                <c:pt idx="998">
                  <c:v>2013/2/8</c:v>
                </c:pt>
                <c:pt idx="999">
                  <c:v>2013/2/18</c:v>
                </c:pt>
                <c:pt idx="1000">
                  <c:v>2013/2/19</c:v>
                </c:pt>
                <c:pt idx="1001">
                  <c:v>2013/2/20</c:v>
                </c:pt>
                <c:pt idx="1002">
                  <c:v>2013/2/21</c:v>
                </c:pt>
                <c:pt idx="1003">
                  <c:v>2013/2/22</c:v>
                </c:pt>
                <c:pt idx="1004">
                  <c:v>2013/2/25</c:v>
                </c:pt>
                <c:pt idx="1005">
                  <c:v>2013/2/26</c:v>
                </c:pt>
                <c:pt idx="1006">
                  <c:v>2013/2/27</c:v>
                </c:pt>
                <c:pt idx="1007">
                  <c:v>2013/2/28</c:v>
                </c:pt>
                <c:pt idx="1008">
                  <c:v>2013/3/1</c:v>
                </c:pt>
                <c:pt idx="1009">
                  <c:v>2013/3/4</c:v>
                </c:pt>
                <c:pt idx="1010">
                  <c:v>2013/3/5</c:v>
                </c:pt>
                <c:pt idx="1011">
                  <c:v>2013/3/6</c:v>
                </c:pt>
                <c:pt idx="1012">
                  <c:v>2013/3/7</c:v>
                </c:pt>
                <c:pt idx="1013">
                  <c:v>2013/3/8</c:v>
                </c:pt>
                <c:pt idx="1014">
                  <c:v>2013/3/11</c:v>
                </c:pt>
                <c:pt idx="1015">
                  <c:v>2013/3/12</c:v>
                </c:pt>
                <c:pt idx="1016">
                  <c:v>2013/3/13</c:v>
                </c:pt>
                <c:pt idx="1017">
                  <c:v>2013/3/14</c:v>
                </c:pt>
                <c:pt idx="1018">
                  <c:v>2013/3/15</c:v>
                </c:pt>
                <c:pt idx="1019">
                  <c:v>2013/3/18</c:v>
                </c:pt>
                <c:pt idx="1020">
                  <c:v>2013/3/19</c:v>
                </c:pt>
                <c:pt idx="1021">
                  <c:v>2013/3/20</c:v>
                </c:pt>
                <c:pt idx="1022">
                  <c:v>2013/3/21</c:v>
                </c:pt>
                <c:pt idx="1023">
                  <c:v>2013/3/22</c:v>
                </c:pt>
                <c:pt idx="1024">
                  <c:v>2013/3/25</c:v>
                </c:pt>
                <c:pt idx="1025">
                  <c:v>2013/3/26</c:v>
                </c:pt>
                <c:pt idx="1026">
                  <c:v>2013/3/27</c:v>
                </c:pt>
                <c:pt idx="1027">
                  <c:v>2013/3/28</c:v>
                </c:pt>
                <c:pt idx="1028">
                  <c:v>2013/3/29</c:v>
                </c:pt>
                <c:pt idx="1029">
                  <c:v>2013/4/1</c:v>
                </c:pt>
                <c:pt idx="1030">
                  <c:v>2013/4/2</c:v>
                </c:pt>
                <c:pt idx="1031">
                  <c:v>2013/4/3</c:v>
                </c:pt>
                <c:pt idx="1032">
                  <c:v>2013/4/8</c:v>
                </c:pt>
                <c:pt idx="1033">
                  <c:v>2013/4/9</c:v>
                </c:pt>
                <c:pt idx="1034">
                  <c:v>2013/4/10</c:v>
                </c:pt>
                <c:pt idx="1035">
                  <c:v>2013/4/11</c:v>
                </c:pt>
                <c:pt idx="1036">
                  <c:v>2013/4/12</c:v>
                </c:pt>
                <c:pt idx="1037">
                  <c:v>2013/4/15</c:v>
                </c:pt>
                <c:pt idx="1038">
                  <c:v>2013/4/16</c:v>
                </c:pt>
                <c:pt idx="1039">
                  <c:v>2013/4/17</c:v>
                </c:pt>
                <c:pt idx="1040">
                  <c:v>2013/4/18</c:v>
                </c:pt>
                <c:pt idx="1041">
                  <c:v>2013/4/19</c:v>
                </c:pt>
                <c:pt idx="1042">
                  <c:v>2013/4/22</c:v>
                </c:pt>
                <c:pt idx="1043">
                  <c:v>2013/4/23</c:v>
                </c:pt>
                <c:pt idx="1044">
                  <c:v>2013/4/24</c:v>
                </c:pt>
                <c:pt idx="1045">
                  <c:v>2013/4/25</c:v>
                </c:pt>
                <c:pt idx="1046">
                  <c:v>2013/4/26</c:v>
                </c:pt>
                <c:pt idx="1047">
                  <c:v>2013/5/2</c:v>
                </c:pt>
                <c:pt idx="1048">
                  <c:v>2013/5/3</c:v>
                </c:pt>
                <c:pt idx="1049">
                  <c:v>2013/5/6</c:v>
                </c:pt>
                <c:pt idx="1050">
                  <c:v>2013/5/7</c:v>
                </c:pt>
                <c:pt idx="1051">
                  <c:v>2013/5/8</c:v>
                </c:pt>
                <c:pt idx="1052">
                  <c:v>2013/5/9</c:v>
                </c:pt>
                <c:pt idx="1053">
                  <c:v>2013/5/10</c:v>
                </c:pt>
                <c:pt idx="1054">
                  <c:v>2013/5/13</c:v>
                </c:pt>
                <c:pt idx="1055">
                  <c:v>2013/5/14</c:v>
                </c:pt>
                <c:pt idx="1056">
                  <c:v>2013/5/15</c:v>
                </c:pt>
                <c:pt idx="1057">
                  <c:v>2013/5/16</c:v>
                </c:pt>
                <c:pt idx="1058">
                  <c:v>2013/5/17</c:v>
                </c:pt>
                <c:pt idx="1059">
                  <c:v>2013/5/20</c:v>
                </c:pt>
                <c:pt idx="1060">
                  <c:v>2013/5/21</c:v>
                </c:pt>
                <c:pt idx="1061">
                  <c:v>2013/5/22</c:v>
                </c:pt>
                <c:pt idx="1062">
                  <c:v>2013/5/23</c:v>
                </c:pt>
                <c:pt idx="1063">
                  <c:v>2013/5/24</c:v>
                </c:pt>
                <c:pt idx="1064">
                  <c:v>2013/5/27</c:v>
                </c:pt>
                <c:pt idx="1065">
                  <c:v>2013/5/28</c:v>
                </c:pt>
                <c:pt idx="1066">
                  <c:v>2013/5/29</c:v>
                </c:pt>
                <c:pt idx="1067">
                  <c:v>2013/5/30</c:v>
                </c:pt>
                <c:pt idx="1068">
                  <c:v>2013/5/31</c:v>
                </c:pt>
                <c:pt idx="1069">
                  <c:v>2013/6/3</c:v>
                </c:pt>
                <c:pt idx="1070">
                  <c:v>2013/6/4</c:v>
                </c:pt>
                <c:pt idx="1071">
                  <c:v>2013/6/5</c:v>
                </c:pt>
                <c:pt idx="1072">
                  <c:v>2013/6/6</c:v>
                </c:pt>
                <c:pt idx="1073">
                  <c:v>2013/6/7</c:v>
                </c:pt>
                <c:pt idx="1074">
                  <c:v>2013/6/13</c:v>
                </c:pt>
                <c:pt idx="1075">
                  <c:v>2013/6/14</c:v>
                </c:pt>
                <c:pt idx="1076">
                  <c:v>2013/6/17</c:v>
                </c:pt>
                <c:pt idx="1077">
                  <c:v>2013/6/18</c:v>
                </c:pt>
                <c:pt idx="1078">
                  <c:v>2013/6/19</c:v>
                </c:pt>
                <c:pt idx="1079">
                  <c:v>2013/6/20</c:v>
                </c:pt>
                <c:pt idx="1080">
                  <c:v>2013/6/21</c:v>
                </c:pt>
                <c:pt idx="1081">
                  <c:v>2013/6/24</c:v>
                </c:pt>
                <c:pt idx="1082">
                  <c:v>2013/6/25</c:v>
                </c:pt>
                <c:pt idx="1083">
                  <c:v>2013/6/26</c:v>
                </c:pt>
                <c:pt idx="1084">
                  <c:v>2013/6/27</c:v>
                </c:pt>
                <c:pt idx="1085">
                  <c:v>2013/6/28</c:v>
                </c:pt>
                <c:pt idx="1086">
                  <c:v>2013/7/1</c:v>
                </c:pt>
                <c:pt idx="1087">
                  <c:v>2013/7/2</c:v>
                </c:pt>
                <c:pt idx="1088">
                  <c:v>2013/7/3</c:v>
                </c:pt>
                <c:pt idx="1089">
                  <c:v>2013/7/4</c:v>
                </c:pt>
                <c:pt idx="1090">
                  <c:v>2013/7/5</c:v>
                </c:pt>
                <c:pt idx="1091">
                  <c:v>2013/7/8</c:v>
                </c:pt>
                <c:pt idx="1092">
                  <c:v>2013/7/9</c:v>
                </c:pt>
                <c:pt idx="1093">
                  <c:v>2013/7/10</c:v>
                </c:pt>
                <c:pt idx="1094">
                  <c:v>2013/7/11</c:v>
                </c:pt>
                <c:pt idx="1095">
                  <c:v>2013/7/12</c:v>
                </c:pt>
                <c:pt idx="1096">
                  <c:v>2013/7/15</c:v>
                </c:pt>
                <c:pt idx="1097">
                  <c:v>2013/7/16</c:v>
                </c:pt>
                <c:pt idx="1098">
                  <c:v>2013/7/17</c:v>
                </c:pt>
                <c:pt idx="1099">
                  <c:v>2013/7/18</c:v>
                </c:pt>
                <c:pt idx="1100">
                  <c:v>2013/7/19</c:v>
                </c:pt>
                <c:pt idx="1101">
                  <c:v>2013/7/22</c:v>
                </c:pt>
                <c:pt idx="1102">
                  <c:v>2013/7/23</c:v>
                </c:pt>
                <c:pt idx="1103">
                  <c:v>2013/7/24</c:v>
                </c:pt>
                <c:pt idx="1104">
                  <c:v>2013/7/25</c:v>
                </c:pt>
                <c:pt idx="1105">
                  <c:v>2013/7/26</c:v>
                </c:pt>
                <c:pt idx="1106">
                  <c:v>2013/7/29</c:v>
                </c:pt>
                <c:pt idx="1107">
                  <c:v>2013/7/30</c:v>
                </c:pt>
                <c:pt idx="1108">
                  <c:v>2013/7/31</c:v>
                </c:pt>
                <c:pt idx="1109">
                  <c:v>2013/8/1</c:v>
                </c:pt>
                <c:pt idx="1110">
                  <c:v>2013/8/2</c:v>
                </c:pt>
                <c:pt idx="1111">
                  <c:v>2013/8/5</c:v>
                </c:pt>
                <c:pt idx="1112">
                  <c:v>2013/8/6</c:v>
                </c:pt>
                <c:pt idx="1113">
                  <c:v>2013/8/7</c:v>
                </c:pt>
                <c:pt idx="1114">
                  <c:v>2013/8/8</c:v>
                </c:pt>
                <c:pt idx="1115">
                  <c:v>2013/8/9</c:v>
                </c:pt>
                <c:pt idx="1116">
                  <c:v>2013/8/12</c:v>
                </c:pt>
                <c:pt idx="1117">
                  <c:v>2013/8/13</c:v>
                </c:pt>
                <c:pt idx="1118">
                  <c:v>2013/8/14</c:v>
                </c:pt>
                <c:pt idx="1119">
                  <c:v>2013/8/15</c:v>
                </c:pt>
                <c:pt idx="1120">
                  <c:v>2013/8/16</c:v>
                </c:pt>
                <c:pt idx="1121">
                  <c:v>2013/8/19</c:v>
                </c:pt>
                <c:pt idx="1122">
                  <c:v>2013/8/20</c:v>
                </c:pt>
                <c:pt idx="1123">
                  <c:v>2013/8/21</c:v>
                </c:pt>
                <c:pt idx="1124">
                  <c:v>2013/8/22</c:v>
                </c:pt>
                <c:pt idx="1125">
                  <c:v>2013/8/23</c:v>
                </c:pt>
                <c:pt idx="1126">
                  <c:v>2013/8/26</c:v>
                </c:pt>
                <c:pt idx="1127">
                  <c:v>2013/8/27</c:v>
                </c:pt>
                <c:pt idx="1128">
                  <c:v>2013/8/28</c:v>
                </c:pt>
                <c:pt idx="1129">
                  <c:v>2013/8/29</c:v>
                </c:pt>
                <c:pt idx="1130">
                  <c:v>2013/8/30</c:v>
                </c:pt>
                <c:pt idx="1131">
                  <c:v>2013/9/2</c:v>
                </c:pt>
                <c:pt idx="1132">
                  <c:v>2013/9/3</c:v>
                </c:pt>
                <c:pt idx="1133">
                  <c:v>2013/9/4</c:v>
                </c:pt>
                <c:pt idx="1134">
                  <c:v>2013/9/5</c:v>
                </c:pt>
                <c:pt idx="1135">
                  <c:v>2013/9/6</c:v>
                </c:pt>
                <c:pt idx="1136">
                  <c:v>2013/9/9</c:v>
                </c:pt>
                <c:pt idx="1137">
                  <c:v>2013/9/10</c:v>
                </c:pt>
                <c:pt idx="1138">
                  <c:v>2013/9/11</c:v>
                </c:pt>
                <c:pt idx="1139">
                  <c:v>2013/9/12</c:v>
                </c:pt>
                <c:pt idx="1140">
                  <c:v>2013/9/13</c:v>
                </c:pt>
                <c:pt idx="1141">
                  <c:v>2013/9/16</c:v>
                </c:pt>
                <c:pt idx="1142">
                  <c:v>2013/9/17</c:v>
                </c:pt>
                <c:pt idx="1143">
                  <c:v>2013/9/18</c:v>
                </c:pt>
                <c:pt idx="1144">
                  <c:v>2013/9/23</c:v>
                </c:pt>
                <c:pt idx="1145">
                  <c:v>2013/9/24</c:v>
                </c:pt>
                <c:pt idx="1146">
                  <c:v>2013/9/25</c:v>
                </c:pt>
                <c:pt idx="1147">
                  <c:v>2013/9/26</c:v>
                </c:pt>
                <c:pt idx="1148">
                  <c:v>2013/9/27</c:v>
                </c:pt>
                <c:pt idx="1149">
                  <c:v>2013/9/30</c:v>
                </c:pt>
                <c:pt idx="1150">
                  <c:v>2013/10/8</c:v>
                </c:pt>
                <c:pt idx="1151">
                  <c:v>2013/10/9</c:v>
                </c:pt>
                <c:pt idx="1152">
                  <c:v>2013/10/10</c:v>
                </c:pt>
                <c:pt idx="1153">
                  <c:v>2013/10/11</c:v>
                </c:pt>
                <c:pt idx="1154">
                  <c:v>2013/10/14</c:v>
                </c:pt>
                <c:pt idx="1155">
                  <c:v>2013/10/15</c:v>
                </c:pt>
                <c:pt idx="1156">
                  <c:v>2013/10/16</c:v>
                </c:pt>
                <c:pt idx="1157">
                  <c:v>2013/10/17</c:v>
                </c:pt>
                <c:pt idx="1158">
                  <c:v>2013/10/18</c:v>
                </c:pt>
                <c:pt idx="1159">
                  <c:v>2013/10/21</c:v>
                </c:pt>
                <c:pt idx="1160">
                  <c:v>2013/10/22</c:v>
                </c:pt>
                <c:pt idx="1161">
                  <c:v>2013/10/23</c:v>
                </c:pt>
                <c:pt idx="1162">
                  <c:v>2013/10/24</c:v>
                </c:pt>
                <c:pt idx="1163">
                  <c:v>2013/10/25</c:v>
                </c:pt>
                <c:pt idx="1164">
                  <c:v>2013/10/28</c:v>
                </c:pt>
                <c:pt idx="1165">
                  <c:v>2013/10/29</c:v>
                </c:pt>
                <c:pt idx="1166">
                  <c:v>2013/10/30</c:v>
                </c:pt>
                <c:pt idx="1167">
                  <c:v>2013/10/31</c:v>
                </c:pt>
                <c:pt idx="1168">
                  <c:v>2013/11/1</c:v>
                </c:pt>
                <c:pt idx="1169">
                  <c:v>2013/11/4</c:v>
                </c:pt>
                <c:pt idx="1170">
                  <c:v>2013/11/5</c:v>
                </c:pt>
                <c:pt idx="1171">
                  <c:v>2013/11/6</c:v>
                </c:pt>
                <c:pt idx="1172">
                  <c:v>2013/11/7</c:v>
                </c:pt>
                <c:pt idx="1173">
                  <c:v>2013/11/8</c:v>
                </c:pt>
                <c:pt idx="1174">
                  <c:v>2013/11/11</c:v>
                </c:pt>
                <c:pt idx="1175">
                  <c:v>2013/11/12</c:v>
                </c:pt>
                <c:pt idx="1176">
                  <c:v>2013/11/13</c:v>
                </c:pt>
                <c:pt idx="1177">
                  <c:v>2013/11/14</c:v>
                </c:pt>
                <c:pt idx="1178">
                  <c:v>2013/11/15</c:v>
                </c:pt>
                <c:pt idx="1179">
                  <c:v>2013/11/18</c:v>
                </c:pt>
                <c:pt idx="1180">
                  <c:v>2013/11/19</c:v>
                </c:pt>
                <c:pt idx="1181">
                  <c:v>2013/11/20</c:v>
                </c:pt>
                <c:pt idx="1182">
                  <c:v>2013/11/21</c:v>
                </c:pt>
                <c:pt idx="1183">
                  <c:v>2013/11/22</c:v>
                </c:pt>
                <c:pt idx="1184">
                  <c:v>2013/11/25</c:v>
                </c:pt>
                <c:pt idx="1185">
                  <c:v>2013/11/26</c:v>
                </c:pt>
                <c:pt idx="1186">
                  <c:v>2013/11/27</c:v>
                </c:pt>
                <c:pt idx="1187">
                  <c:v>2013/11/28</c:v>
                </c:pt>
                <c:pt idx="1188">
                  <c:v>2013/11/29</c:v>
                </c:pt>
                <c:pt idx="1189">
                  <c:v>2013/12/2</c:v>
                </c:pt>
                <c:pt idx="1190">
                  <c:v>2013/12/3</c:v>
                </c:pt>
                <c:pt idx="1191">
                  <c:v>2013/12/4</c:v>
                </c:pt>
                <c:pt idx="1192">
                  <c:v>2013/12/5</c:v>
                </c:pt>
                <c:pt idx="1193">
                  <c:v>2013/12/6</c:v>
                </c:pt>
                <c:pt idx="1194">
                  <c:v>2013/12/9</c:v>
                </c:pt>
                <c:pt idx="1195">
                  <c:v>2013/12/10</c:v>
                </c:pt>
                <c:pt idx="1196">
                  <c:v>2013/12/11</c:v>
                </c:pt>
                <c:pt idx="1197">
                  <c:v>2013/12/12</c:v>
                </c:pt>
                <c:pt idx="1198">
                  <c:v>2013/12/13</c:v>
                </c:pt>
                <c:pt idx="1199">
                  <c:v>2013/12/16</c:v>
                </c:pt>
                <c:pt idx="1200">
                  <c:v>2013/12/17</c:v>
                </c:pt>
                <c:pt idx="1201">
                  <c:v>2013/12/18</c:v>
                </c:pt>
                <c:pt idx="1202">
                  <c:v>2013/12/19</c:v>
                </c:pt>
                <c:pt idx="1203">
                  <c:v>2013/12/20</c:v>
                </c:pt>
                <c:pt idx="1204">
                  <c:v>2013/12/23</c:v>
                </c:pt>
                <c:pt idx="1205">
                  <c:v>2013/12/24</c:v>
                </c:pt>
                <c:pt idx="1206">
                  <c:v>2013/12/25</c:v>
                </c:pt>
                <c:pt idx="1207">
                  <c:v>2013/12/26</c:v>
                </c:pt>
                <c:pt idx="1208">
                  <c:v>2013/12/27</c:v>
                </c:pt>
                <c:pt idx="1209">
                  <c:v>2013/12/30</c:v>
                </c:pt>
                <c:pt idx="1210">
                  <c:v>2013/12/31</c:v>
                </c:pt>
                <c:pt idx="1211">
                  <c:v>2014/1/2</c:v>
                </c:pt>
                <c:pt idx="1212">
                  <c:v>2014/1/3</c:v>
                </c:pt>
                <c:pt idx="1213">
                  <c:v>2014/1/6</c:v>
                </c:pt>
                <c:pt idx="1214">
                  <c:v>2014/1/7</c:v>
                </c:pt>
                <c:pt idx="1215">
                  <c:v>2014/1/8</c:v>
                </c:pt>
                <c:pt idx="1216">
                  <c:v>2014/1/9</c:v>
                </c:pt>
                <c:pt idx="1217">
                  <c:v>2014/1/10</c:v>
                </c:pt>
                <c:pt idx="1218">
                  <c:v>2014/1/13</c:v>
                </c:pt>
                <c:pt idx="1219">
                  <c:v>2014/1/14</c:v>
                </c:pt>
                <c:pt idx="1220">
                  <c:v>2014/1/15</c:v>
                </c:pt>
                <c:pt idx="1221">
                  <c:v>2014/1/16</c:v>
                </c:pt>
                <c:pt idx="1222">
                  <c:v>2014/1/17</c:v>
                </c:pt>
                <c:pt idx="1223">
                  <c:v>2014/1/20</c:v>
                </c:pt>
                <c:pt idx="1224">
                  <c:v>2014/1/21</c:v>
                </c:pt>
                <c:pt idx="1225">
                  <c:v>2014/1/22</c:v>
                </c:pt>
                <c:pt idx="1226">
                  <c:v>2014/1/23</c:v>
                </c:pt>
                <c:pt idx="1227">
                  <c:v>2014/1/24</c:v>
                </c:pt>
                <c:pt idx="1228">
                  <c:v>2014/1/27</c:v>
                </c:pt>
                <c:pt idx="1229">
                  <c:v>2014/1/28</c:v>
                </c:pt>
                <c:pt idx="1230">
                  <c:v>2014/1/29</c:v>
                </c:pt>
                <c:pt idx="1231">
                  <c:v>2014/1/30</c:v>
                </c:pt>
                <c:pt idx="1232">
                  <c:v>2014/2/7</c:v>
                </c:pt>
                <c:pt idx="1233">
                  <c:v>2014/2/10</c:v>
                </c:pt>
                <c:pt idx="1234">
                  <c:v>2014/2/11</c:v>
                </c:pt>
                <c:pt idx="1235">
                  <c:v>2014/2/12</c:v>
                </c:pt>
                <c:pt idx="1236">
                  <c:v>2014/2/13</c:v>
                </c:pt>
                <c:pt idx="1237">
                  <c:v>2014/2/14</c:v>
                </c:pt>
                <c:pt idx="1238">
                  <c:v>2014/2/17</c:v>
                </c:pt>
                <c:pt idx="1239">
                  <c:v>2014/2/18</c:v>
                </c:pt>
                <c:pt idx="1240">
                  <c:v>2014/2/19</c:v>
                </c:pt>
                <c:pt idx="1241">
                  <c:v>2014/2/20</c:v>
                </c:pt>
                <c:pt idx="1242">
                  <c:v>2014/2/21</c:v>
                </c:pt>
                <c:pt idx="1243">
                  <c:v>2014/2/24</c:v>
                </c:pt>
                <c:pt idx="1244">
                  <c:v>2014/2/25</c:v>
                </c:pt>
                <c:pt idx="1245">
                  <c:v>2014/2/26</c:v>
                </c:pt>
                <c:pt idx="1246">
                  <c:v>2014/2/27</c:v>
                </c:pt>
                <c:pt idx="1247">
                  <c:v>2014/2/28</c:v>
                </c:pt>
                <c:pt idx="1248">
                  <c:v>2014/3/3</c:v>
                </c:pt>
                <c:pt idx="1249">
                  <c:v>2014/3/4</c:v>
                </c:pt>
                <c:pt idx="1250">
                  <c:v>2014/3/5</c:v>
                </c:pt>
                <c:pt idx="1251">
                  <c:v>2014/3/6</c:v>
                </c:pt>
                <c:pt idx="1252">
                  <c:v>2014/3/7</c:v>
                </c:pt>
                <c:pt idx="1253">
                  <c:v>2014/3/10</c:v>
                </c:pt>
                <c:pt idx="1254">
                  <c:v>2014/3/11</c:v>
                </c:pt>
                <c:pt idx="1255">
                  <c:v>2014/3/12</c:v>
                </c:pt>
                <c:pt idx="1256">
                  <c:v>2014/3/13</c:v>
                </c:pt>
                <c:pt idx="1257">
                  <c:v>2014/3/14</c:v>
                </c:pt>
                <c:pt idx="1258">
                  <c:v>2014/3/17</c:v>
                </c:pt>
                <c:pt idx="1259">
                  <c:v>2014/3/18</c:v>
                </c:pt>
                <c:pt idx="1260">
                  <c:v>2014/3/19</c:v>
                </c:pt>
                <c:pt idx="1261">
                  <c:v>2014/3/20</c:v>
                </c:pt>
                <c:pt idx="1262">
                  <c:v>2014/3/21</c:v>
                </c:pt>
                <c:pt idx="1263">
                  <c:v>2014/3/24</c:v>
                </c:pt>
                <c:pt idx="1264">
                  <c:v>2014/3/25</c:v>
                </c:pt>
                <c:pt idx="1265">
                  <c:v>2014/3/26</c:v>
                </c:pt>
                <c:pt idx="1266">
                  <c:v>2014/3/27</c:v>
                </c:pt>
                <c:pt idx="1267">
                  <c:v>2014/3/28</c:v>
                </c:pt>
                <c:pt idx="1268">
                  <c:v>2014/3/31</c:v>
                </c:pt>
                <c:pt idx="1269">
                  <c:v>2014/4/1</c:v>
                </c:pt>
                <c:pt idx="1270">
                  <c:v>2014/4/2</c:v>
                </c:pt>
                <c:pt idx="1271">
                  <c:v>2014/4/3</c:v>
                </c:pt>
                <c:pt idx="1272">
                  <c:v>2014/4/4</c:v>
                </c:pt>
                <c:pt idx="1273">
                  <c:v>2014/4/8</c:v>
                </c:pt>
                <c:pt idx="1274">
                  <c:v>2014/4/9</c:v>
                </c:pt>
                <c:pt idx="1275">
                  <c:v>2014/4/10</c:v>
                </c:pt>
                <c:pt idx="1276">
                  <c:v>2014/4/11</c:v>
                </c:pt>
                <c:pt idx="1277">
                  <c:v>2014/4/14</c:v>
                </c:pt>
                <c:pt idx="1278">
                  <c:v>2014/4/15</c:v>
                </c:pt>
                <c:pt idx="1279">
                  <c:v>2014/4/16</c:v>
                </c:pt>
                <c:pt idx="1280">
                  <c:v>2014/4/17</c:v>
                </c:pt>
                <c:pt idx="1281">
                  <c:v>2014/4/18</c:v>
                </c:pt>
                <c:pt idx="1282">
                  <c:v>2014/4/21</c:v>
                </c:pt>
                <c:pt idx="1283">
                  <c:v>2014/4/22</c:v>
                </c:pt>
                <c:pt idx="1284">
                  <c:v>2014/4/23</c:v>
                </c:pt>
                <c:pt idx="1285">
                  <c:v>2014/4/24</c:v>
                </c:pt>
                <c:pt idx="1286">
                  <c:v>2014/4/25</c:v>
                </c:pt>
                <c:pt idx="1287">
                  <c:v>2014/4/28</c:v>
                </c:pt>
                <c:pt idx="1288">
                  <c:v>2014/4/29</c:v>
                </c:pt>
                <c:pt idx="1289">
                  <c:v>2014/4/30</c:v>
                </c:pt>
                <c:pt idx="1290">
                  <c:v>2014/5/5</c:v>
                </c:pt>
                <c:pt idx="1291">
                  <c:v>2014/5/6</c:v>
                </c:pt>
                <c:pt idx="1292">
                  <c:v>2014/5/7</c:v>
                </c:pt>
                <c:pt idx="1293">
                  <c:v>2014/5/8</c:v>
                </c:pt>
                <c:pt idx="1294">
                  <c:v>2014/5/9</c:v>
                </c:pt>
                <c:pt idx="1295">
                  <c:v>2014/5/12</c:v>
                </c:pt>
                <c:pt idx="1296">
                  <c:v>2014/5/13</c:v>
                </c:pt>
                <c:pt idx="1297">
                  <c:v>2014/5/14</c:v>
                </c:pt>
                <c:pt idx="1298">
                  <c:v>2014/5/15</c:v>
                </c:pt>
                <c:pt idx="1299">
                  <c:v>2014/5/16</c:v>
                </c:pt>
                <c:pt idx="1300">
                  <c:v>2014/5/19</c:v>
                </c:pt>
                <c:pt idx="1301">
                  <c:v>2014/5/20</c:v>
                </c:pt>
                <c:pt idx="1302">
                  <c:v>2014/5/21</c:v>
                </c:pt>
                <c:pt idx="1303">
                  <c:v>2014/5/22</c:v>
                </c:pt>
                <c:pt idx="1304">
                  <c:v>2014/5/23</c:v>
                </c:pt>
                <c:pt idx="1305">
                  <c:v>2014/5/26</c:v>
                </c:pt>
                <c:pt idx="1306">
                  <c:v>2014/5/27</c:v>
                </c:pt>
                <c:pt idx="1307">
                  <c:v>2014/5/28</c:v>
                </c:pt>
                <c:pt idx="1308">
                  <c:v>2014/5/29</c:v>
                </c:pt>
                <c:pt idx="1309">
                  <c:v>2014/5/30</c:v>
                </c:pt>
                <c:pt idx="1310">
                  <c:v>2014/6/3</c:v>
                </c:pt>
                <c:pt idx="1311">
                  <c:v>2014/6/4</c:v>
                </c:pt>
                <c:pt idx="1312">
                  <c:v>2014/6/5</c:v>
                </c:pt>
                <c:pt idx="1313">
                  <c:v>2014/6/6</c:v>
                </c:pt>
                <c:pt idx="1314">
                  <c:v>2014/6/9</c:v>
                </c:pt>
                <c:pt idx="1315">
                  <c:v>2014/6/10</c:v>
                </c:pt>
                <c:pt idx="1316">
                  <c:v>2014/6/11</c:v>
                </c:pt>
                <c:pt idx="1317">
                  <c:v>2014/6/12</c:v>
                </c:pt>
                <c:pt idx="1318">
                  <c:v>2014/6/13</c:v>
                </c:pt>
                <c:pt idx="1319">
                  <c:v>2014/6/16</c:v>
                </c:pt>
                <c:pt idx="1320">
                  <c:v>2014/6/17</c:v>
                </c:pt>
                <c:pt idx="1321">
                  <c:v>2014/6/18</c:v>
                </c:pt>
                <c:pt idx="1322">
                  <c:v>2014/6/19</c:v>
                </c:pt>
                <c:pt idx="1323">
                  <c:v>2014/6/20</c:v>
                </c:pt>
                <c:pt idx="1324">
                  <c:v>2014/6/23</c:v>
                </c:pt>
                <c:pt idx="1325">
                  <c:v>2014/6/24</c:v>
                </c:pt>
                <c:pt idx="1326">
                  <c:v>2014/6/25</c:v>
                </c:pt>
                <c:pt idx="1327">
                  <c:v>2014/6/26</c:v>
                </c:pt>
                <c:pt idx="1328">
                  <c:v>2014/6/27</c:v>
                </c:pt>
                <c:pt idx="1329">
                  <c:v>2014/6/30</c:v>
                </c:pt>
                <c:pt idx="1330">
                  <c:v>2014/7/1</c:v>
                </c:pt>
                <c:pt idx="1331">
                  <c:v>2014/7/2</c:v>
                </c:pt>
                <c:pt idx="1332">
                  <c:v>2014/7/3</c:v>
                </c:pt>
                <c:pt idx="1333">
                  <c:v>2014/7/4</c:v>
                </c:pt>
                <c:pt idx="1334">
                  <c:v>2014/7/7</c:v>
                </c:pt>
                <c:pt idx="1335">
                  <c:v>2014/7/8</c:v>
                </c:pt>
                <c:pt idx="1336">
                  <c:v>2014/7/9</c:v>
                </c:pt>
                <c:pt idx="1337">
                  <c:v>2014/7/10</c:v>
                </c:pt>
                <c:pt idx="1338">
                  <c:v>2014/7/11</c:v>
                </c:pt>
                <c:pt idx="1339">
                  <c:v>2014/7/14</c:v>
                </c:pt>
                <c:pt idx="1340">
                  <c:v>2014/7/15</c:v>
                </c:pt>
                <c:pt idx="1341">
                  <c:v>2014/7/16</c:v>
                </c:pt>
                <c:pt idx="1342">
                  <c:v>2014/7/17</c:v>
                </c:pt>
                <c:pt idx="1343">
                  <c:v>2014/7/18</c:v>
                </c:pt>
                <c:pt idx="1344">
                  <c:v>2014/7/21</c:v>
                </c:pt>
                <c:pt idx="1345">
                  <c:v>2014/7/22</c:v>
                </c:pt>
                <c:pt idx="1346">
                  <c:v>2014/7/23</c:v>
                </c:pt>
                <c:pt idx="1347">
                  <c:v>2014/7/24</c:v>
                </c:pt>
                <c:pt idx="1348">
                  <c:v>2014/7/25</c:v>
                </c:pt>
                <c:pt idx="1349">
                  <c:v>2014/7/28</c:v>
                </c:pt>
                <c:pt idx="1350">
                  <c:v>2014/7/29</c:v>
                </c:pt>
                <c:pt idx="1351">
                  <c:v>2014/7/30</c:v>
                </c:pt>
                <c:pt idx="1352">
                  <c:v>2014/7/31</c:v>
                </c:pt>
                <c:pt idx="1353">
                  <c:v>2014/8/1</c:v>
                </c:pt>
                <c:pt idx="1354">
                  <c:v>2014/8/4</c:v>
                </c:pt>
                <c:pt idx="1355">
                  <c:v>2014/8/5</c:v>
                </c:pt>
                <c:pt idx="1356">
                  <c:v>2014/8/6</c:v>
                </c:pt>
                <c:pt idx="1357">
                  <c:v>2014/8/7</c:v>
                </c:pt>
                <c:pt idx="1358">
                  <c:v>2014/8/8</c:v>
                </c:pt>
                <c:pt idx="1359">
                  <c:v>2014/8/11</c:v>
                </c:pt>
                <c:pt idx="1360">
                  <c:v>2014/8/12</c:v>
                </c:pt>
                <c:pt idx="1361">
                  <c:v>2014/8/13</c:v>
                </c:pt>
                <c:pt idx="1362">
                  <c:v>2014/8/14</c:v>
                </c:pt>
                <c:pt idx="1363">
                  <c:v>2014/8/15</c:v>
                </c:pt>
                <c:pt idx="1364">
                  <c:v>2014/8/18</c:v>
                </c:pt>
                <c:pt idx="1365">
                  <c:v>2014/8/19</c:v>
                </c:pt>
                <c:pt idx="1366">
                  <c:v>2014/8/20</c:v>
                </c:pt>
                <c:pt idx="1367">
                  <c:v>2014/8/21</c:v>
                </c:pt>
                <c:pt idx="1368">
                  <c:v>2014/8/22</c:v>
                </c:pt>
                <c:pt idx="1369">
                  <c:v>2014/8/25</c:v>
                </c:pt>
                <c:pt idx="1370">
                  <c:v>2014/8/26</c:v>
                </c:pt>
                <c:pt idx="1371">
                  <c:v>2014/8/27</c:v>
                </c:pt>
                <c:pt idx="1372">
                  <c:v>2014/8/28</c:v>
                </c:pt>
                <c:pt idx="1373">
                  <c:v>2014/8/29</c:v>
                </c:pt>
                <c:pt idx="1374">
                  <c:v>2014/9/1</c:v>
                </c:pt>
                <c:pt idx="1375">
                  <c:v>2014/9/2</c:v>
                </c:pt>
                <c:pt idx="1376">
                  <c:v>2014/9/3</c:v>
                </c:pt>
                <c:pt idx="1377">
                  <c:v>2014/9/4</c:v>
                </c:pt>
                <c:pt idx="1378">
                  <c:v>2014/9/5</c:v>
                </c:pt>
                <c:pt idx="1379">
                  <c:v>2014/9/9</c:v>
                </c:pt>
                <c:pt idx="1380">
                  <c:v>2014/9/10</c:v>
                </c:pt>
                <c:pt idx="1381">
                  <c:v>2014/9/11</c:v>
                </c:pt>
                <c:pt idx="1382">
                  <c:v>2014/9/12</c:v>
                </c:pt>
                <c:pt idx="1383">
                  <c:v>2014/9/15</c:v>
                </c:pt>
                <c:pt idx="1384">
                  <c:v>2014/9/16</c:v>
                </c:pt>
                <c:pt idx="1385">
                  <c:v>2014/9/17</c:v>
                </c:pt>
                <c:pt idx="1386">
                  <c:v>2014/9/18</c:v>
                </c:pt>
                <c:pt idx="1387">
                  <c:v>2014/9/19</c:v>
                </c:pt>
                <c:pt idx="1388">
                  <c:v>2014/9/22</c:v>
                </c:pt>
                <c:pt idx="1389">
                  <c:v>2014/9/23</c:v>
                </c:pt>
                <c:pt idx="1390">
                  <c:v>2014/9/24</c:v>
                </c:pt>
                <c:pt idx="1391">
                  <c:v>2014/9/25</c:v>
                </c:pt>
                <c:pt idx="1392">
                  <c:v>2014/9/26</c:v>
                </c:pt>
                <c:pt idx="1393">
                  <c:v>2014/9/29</c:v>
                </c:pt>
                <c:pt idx="1394">
                  <c:v>2014/9/30</c:v>
                </c:pt>
                <c:pt idx="1395">
                  <c:v>2014/10/8</c:v>
                </c:pt>
                <c:pt idx="1396">
                  <c:v>2014/10/9</c:v>
                </c:pt>
                <c:pt idx="1397">
                  <c:v>2014/10/10</c:v>
                </c:pt>
                <c:pt idx="1398">
                  <c:v>2014/10/13</c:v>
                </c:pt>
                <c:pt idx="1399">
                  <c:v>2014/10/14</c:v>
                </c:pt>
                <c:pt idx="1400">
                  <c:v>2014/10/15</c:v>
                </c:pt>
                <c:pt idx="1401">
                  <c:v>2014/10/16</c:v>
                </c:pt>
                <c:pt idx="1402">
                  <c:v>2014/10/17</c:v>
                </c:pt>
                <c:pt idx="1403">
                  <c:v>2014/10/20</c:v>
                </c:pt>
                <c:pt idx="1404">
                  <c:v>2014/10/21</c:v>
                </c:pt>
                <c:pt idx="1405">
                  <c:v>2014/10/22</c:v>
                </c:pt>
                <c:pt idx="1406">
                  <c:v>2014/10/23</c:v>
                </c:pt>
                <c:pt idx="1407">
                  <c:v>2014/10/24</c:v>
                </c:pt>
                <c:pt idx="1408">
                  <c:v>2014/10/27</c:v>
                </c:pt>
                <c:pt idx="1409">
                  <c:v>2014/10/28</c:v>
                </c:pt>
                <c:pt idx="1410">
                  <c:v>2014/10/29</c:v>
                </c:pt>
                <c:pt idx="1411">
                  <c:v>2014/10/30</c:v>
                </c:pt>
                <c:pt idx="1412">
                  <c:v>2014/10/31</c:v>
                </c:pt>
                <c:pt idx="1413">
                  <c:v>2014/11/3</c:v>
                </c:pt>
                <c:pt idx="1414">
                  <c:v>2014/11/4</c:v>
                </c:pt>
                <c:pt idx="1415">
                  <c:v>2014/11/5</c:v>
                </c:pt>
                <c:pt idx="1416">
                  <c:v>2014/11/6</c:v>
                </c:pt>
                <c:pt idx="1417">
                  <c:v>2014/11/7</c:v>
                </c:pt>
                <c:pt idx="1418">
                  <c:v>2014/11/10</c:v>
                </c:pt>
                <c:pt idx="1419">
                  <c:v>2014/11/11</c:v>
                </c:pt>
                <c:pt idx="1420">
                  <c:v>2014/11/12</c:v>
                </c:pt>
                <c:pt idx="1421">
                  <c:v>2014/11/13</c:v>
                </c:pt>
                <c:pt idx="1422">
                  <c:v>2014/11/14</c:v>
                </c:pt>
                <c:pt idx="1423">
                  <c:v>2014/11/17</c:v>
                </c:pt>
                <c:pt idx="1424">
                  <c:v>2014/11/18</c:v>
                </c:pt>
                <c:pt idx="1425">
                  <c:v>2014/11/19</c:v>
                </c:pt>
                <c:pt idx="1426">
                  <c:v>2014/11/20</c:v>
                </c:pt>
                <c:pt idx="1427">
                  <c:v>2014/11/21</c:v>
                </c:pt>
                <c:pt idx="1428">
                  <c:v>2014/11/24</c:v>
                </c:pt>
                <c:pt idx="1429">
                  <c:v>2014/11/25</c:v>
                </c:pt>
                <c:pt idx="1430">
                  <c:v>2014/11/26</c:v>
                </c:pt>
                <c:pt idx="1431">
                  <c:v>2014/11/27</c:v>
                </c:pt>
                <c:pt idx="1432">
                  <c:v>2014/11/28</c:v>
                </c:pt>
                <c:pt idx="1433">
                  <c:v>2014/12/1</c:v>
                </c:pt>
                <c:pt idx="1434">
                  <c:v>2014/12/2</c:v>
                </c:pt>
                <c:pt idx="1435">
                  <c:v>2014/12/3</c:v>
                </c:pt>
                <c:pt idx="1436">
                  <c:v>2014/12/4</c:v>
                </c:pt>
                <c:pt idx="1437">
                  <c:v>2014/12/5</c:v>
                </c:pt>
                <c:pt idx="1438">
                  <c:v>2014/12/8</c:v>
                </c:pt>
                <c:pt idx="1439">
                  <c:v>2014/12/9</c:v>
                </c:pt>
                <c:pt idx="1440">
                  <c:v>2014/12/10</c:v>
                </c:pt>
                <c:pt idx="1441">
                  <c:v>2014/12/11</c:v>
                </c:pt>
                <c:pt idx="1442">
                  <c:v>2014/12/12</c:v>
                </c:pt>
                <c:pt idx="1443">
                  <c:v>2014/12/15</c:v>
                </c:pt>
                <c:pt idx="1444">
                  <c:v>2014/12/16</c:v>
                </c:pt>
                <c:pt idx="1445">
                  <c:v>2014/12/17</c:v>
                </c:pt>
                <c:pt idx="1446">
                  <c:v>2014/12/18</c:v>
                </c:pt>
                <c:pt idx="1447">
                  <c:v>2014/12/19</c:v>
                </c:pt>
                <c:pt idx="1448">
                  <c:v>2014/12/22</c:v>
                </c:pt>
                <c:pt idx="1449">
                  <c:v>2014/12/23</c:v>
                </c:pt>
                <c:pt idx="1450">
                  <c:v>2014/12/24</c:v>
                </c:pt>
                <c:pt idx="1451">
                  <c:v>2014/12/25</c:v>
                </c:pt>
                <c:pt idx="1452">
                  <c:v>2014/12/26</c:v>
                </c:pt>
                <c:pt idx="1453">
                  <c:v>2014/12/29</c:v>
                </c:pt>
                <c:pt idx="1454">
                  <c:v>2014/12/30</c:v>
                </c:pt>
                <c:pt idx="1455">
                  <c:v>2014/12/31</c:v>
                </c:pt>
                <c:pt idx="1456">
                  <c:v>2015/1/5</c:v>
                </c:pt>
                <c:pt idx="1457">
                  <c:v>2015/1/6</c:v>
                </c:pt>
                <c:pt idx="1458">
                  <c:v>2015/1/7</c:v>
                </c:pt>
                <c:pt idx="1459">
                  <c:v>2015/1/8</c:v>
                </c:pt>
                <c:pt idx="1460">
                  <c:v>2015/1/9</c:v>
                </c:pt>
                <c:pt idx="1461">
                  <c:v>2015/1/12</c:v>
                </c:pt>
                <c:pt idx="1462">
                  <c:v>2015/1/13</c:v>
                </c:pt>
                <c:pt idx="1463">
                  <c:v>2015/1/14</c:v>
                </c:pt>
                <c:pt idx="1464">
                  <c:v>2015/1/15</c:v>
                </c:pt>
                <c:pt idx="1465">
                  <c:v>2015/1/16</c:v>
                </c:pt>
                <c:pt idx="1466">
                  <c:v>2015/1/19</c:v>
                </c:pt>
                <c:pt idx="1467">
                  <c:v>2015/1/20</c:v>
                </c:pt>
                <c:pt idx="1468">
                  <c:v>2015/1/21</c:v>
                </c:pt>
                <c:pt idx="1469">
                  <c:v>2015/1/22</c:v>
                </c:pt>
                <c:pt idx="1470">
                  <c:v>2015/1/23</c:v>
                </c:pt>
                <c:pt idx="1471">
                  <c:v>2015/1/26</c:v>
                </c:pt>
                <c:pt idx="1472">
                  <c:v>2015/1/27</c:v>
                </c:pt>
                <c:pt idx="1473">
                  <c:v>2015/1/28</c:v>
                </c:pt>
                <c:pt idx="1474">
                  <c:v>2015/1/29</c:v>
                </c:pt>
                <c:pt idx="1475">
                  <c:v>2015/1/30</c:v>
                </c:pt>
                <c:pt idx="1476">
                  <c:v>2015/2/2</c:v>
                </c:pt>
                <c:pt idx="1477">
                  <c:v>2015/2/3</c:v>
                </c:pt>
                <c:pt idx="1478">
                  <c:v>2015/2/4</c:v>
                </c:pt>
                <c:pt idx="1479">
                  <c:v>2015/2/5</c:v>
                </c:pt>
                <c:pt idx="1480">
                  <c:v>2015/2/6</c:v>
                </c:pt>
                <c:pt idx="1481">
                  <c:v>2015/2/9</c:v>
                </c:pt>
                <c:pt idx="1482">
                  <c:v>2015/2/10</c:v>
                </c:pt>
                <c:pt idx="1483">
                  <c:v>2015/2/11</c:v>
                </c:pt>
                <c:pt idx="1484">
                  <c:v>2015/2/12</c:v>
                </c:pt>
                <c:pt idx="1485">
                  <c:v>2015/2/13</c:v>
                </c:pt>
                <c:pt idx="1486">
                  <c:v>2015/2/16</c:v>
                </c:pt>
                <c:pt idx="1487">
                  <c:v>2015/2/17</c:v>
                </c:pt>
                <c:pt idx="1488">
                  <c:v>2015/2/25</c:v>
                </c:pt>
                <c:pt idx="1489">
                  <c:v>2015/2/26</c:v>
                </c:pt>
                <c:pt idx="1490">
                  <c:v>2015/2/27</c:v>
                </c:pt>
                <c:pt idx="1491">
                  <c:v>2015/3/2</c:v>
                </c:pt>
                <c:pt idx="1492">
                  <c:v>2015/3/3</c:v>
                </c:pt>
                <c:pt idx="1493">
                  <c:v>2015/3/4</c:v>
                </c:pt>
                <c:pt idx="1494">
                  <c:v>2015/3/5</c:v>
                </c:pt>
                <c:pt idx="1495">
                  <c:v>2015/3/6</c:v>
                </c:pt>
                <c:pt idx="1496">
                  <c:v>2015/3/9</c:v>
                </c:pt>
                <c:pt idx="1497">
                  <c:v>2015/3/10</c:v>
                </c:pt>
                <c:pt idx="1498">
                  <c:v>2015/3/11</c:v>
                </c:pt>
                <c:pt idx="1499">
                  <c:v>2015/3/12</c:v>
                </c:pt>
                <c:pt idx="1500">
                  <c:v>2015/3/13</c:v>
                </c:pt>
                <c:pt idx="1501">
                  <c:v>2015/3/16</c:v>
                </c:pt>
                <c:pt idx="1502">
                  <c:v>2015/3/17</c:v>
                </c:pt>
                <c:pt idx="1503">
                  <c:v>2015/3/18</c:v>
                </c:pt>
                <c:pt idx="1504">
                  <c:v>2015/3/19</c:v>
                </c:pt>
                <c:pt idx="1505">
                  <c:v>2015/3/20</c:v>
                </c:pt>
                <c:pt idx="1506">
                  <c:v>2015/3/23</c:v>
                </c:pt>
                <c:pt idx="1507">
                  <c:v>2015/3/24</c:v>
                </c:pt>
                <c:pt idx="1508">
                  <c:v>2015/3/25</c:v>
                </c:pt>
                <c:pt idx="1509">
                  <c:v>2015/3/26</c:v>
                </c:pt>
                <c:pt idx="1510">
                  <c:v>2015/3/27</c:v>
                </c:pt>
                <c:pt idx="1511">
                  <c:v>2015/3/30</c:v>
                </c:pt>
                <c:pt idx="1512">
                  <c:v>2015/3/31</c:v>
                </c:pt>
                <c:pt idx="1513">
                  <c:v>2015/4/1</c:v>
                </c:pt>
                <c:pt idx="1514">
                  <c:v>2015/4/2</c:v>
                </c:pt>
                <c:pt idx="1515">
                  <c:v>2015/4/3</c:v>
                </c:pt>
                <c:pt idx="1516">
                  <c:v>2015/4/7</c:v>
                </c:pt>
                <c:pt idx="1517">
                  <c:v>2015/4/8</c:v>
                </c:pt>
                <c:pt idx="1518">
                  <c:v>2015/4/9</c:v>
                </c:pt>
                <c:pt idx="1519">
                  <c:v>2015/4/10</c:v>
                </c:pt>
                <c:pt idx="1520">
                  <c:v>2015/4/13</c:v>
                </c:pt>
                <c:pt idx="1521">
                  <c:v>2015/4/14</c:v>
                </c:pt>
                <c:pt idx="1522">
                  <c:v>2015/4/15</c:v>
                </c:pt>
                <c:pt idx="1523">
                  <c:v>2015/4/16</c:v>
                </c:pt>
                <c:pt idx="1524">
                  <c:v>2015/4/17</c:v>
                </c:pt>
                <c:pt idx="1525">
                  <c:v>2015/4/20</c:v>
                </c:pt>
                <c:pt idx="1526">
                  <c:v>2015/4/21</c:v>
                </c:pt>
                <c:pt idx="1527">
                  <c:v>2015/4/22</c:v>
                </c:pt>
                <c:pt idx="1528">
                  <c:v>2015/4/23</c:v>
                </c:pt>
                <c:pt idx="1529">
                  <c:v>2015/4/24</c:v>
                </c:pt>
                <c:pt idx="1530">
                  <c:v>2015/4/27</c:v>
                </c:pt>
                <c:pt idx="1531">
                  <c:v>2015/4/28</c:v>
                </c:pt>
                <c:pt idx="1532">
                  <c:v>2015/4/29</c:v>
                </c:pt>
                <c:pt idx="1533">
                  <c:v>2015/4/30</c:v>
                </c:pt>
                <c:pt idx="1534">
                  <c:v>2015/5/4</c:v>
                </c:pt>
                <c:pt idx="1535">
                  <c:v>2015/5/5</c:v>
                </c:pt>
                <c:pt idx="1536">
                  <c:v>2015/5/6</c:v>
                </c:pt>
                <c:pt idx="1537">
                  <c:v>2015/5/7</c:v>
                </c:pt>
                <c:pt idx="1538">
                  <c:v>2015/5/8</c:v>
                </c:pt>
                <c:pt idx="1539">
                  <c:v>2015/5/11</c:v>
                </c:pt>
                <c:pt idx="1540">
                  <c:v>2015/5/12</c:v>
                </c:pt>
                <c:pt idx="1541">
                  <c:v>2015/5/13</c:v>
                </c:pt>
                <c:pt idx="1542">
                  <c:v>2015/5/14</c:v>
                </c:pt>
                <c:pt idx="1543">
                  <c:v>2015/5/15</c:v>
                </c:pt>
                <c:pt idx="1544">
                  <c:v>2015/5/18</c:v>
                </c:pt>
                <c:pt idx="1545">
                  <c:v>2015/5/19</c:v>
                </c:pt>
                <c:pt idx="1546">
                  <c:v>2015/5/20</c:v>
                </c:pt>
                <c:pt idx="1547">
                  <c:v>2015/5/21</c:v>
                </c:pt>
                <c:pt idx="1548">
                  <c:v>2015/5/22</c:v>
                </c:pt>
                <c:pt idx="1549">
                  <c:v>2015/5/25</c:v>
                </c:pt>
                <c:pt idx="1550">
                  <c:v>2015/5/26</c:v>
                </c:pt>
                <c:pt idx="1551">
                  <c:v>2015/5/27</c:v>
                </c:pt>
                <c:pt idx="1552">
                  <c:v>2015/5/28</c:v>
                </c:pt>
                <c:pt idx="1553">
                  <c:v>2015/5/29</c:v>
                </c:pt>
                <c:pt idx="1554">
                  <c:v>2015/6/1</c:v>
                </c:pt>
                <c:pt idx="1555">
                  <c:v>2015/6/2</c:v>
                </c:pt>
                <c:pt idx="1556">
                  <c:v>2015/6/3</c:v>
                </c:pt>
                <c:pt idx="1557">
                  <c:v>2015/6/4</c:v>
                </c:pt>
                <c:pt idx="1558">
                  <c:v>2015/6/5</c:v>
                </c:pt>
                <c:pt idx="1559">
                  <c:v>2015/6/8</c:v>
                </c:pt>
                <c:pt idx="1560">
                  <c:v>2015/6/9</c:v>
                </c:pt>
                <c:pt idx="1561">
                  <c:v>2015/6/10</c:v>
                </c:pt>
                <c:pt idx="1562">
                  <c:v>2015/6/11</c:v>
                </c:pt>
                <c:pt idx="1563">
                  <c:v>2015/6/12</c:v>
                </c:pt>
                <c:pt idx="1564">
                  <c:v>2015/6/15</c:v>
                </c:pt>
                <c:pt idx="1565">
                  <c:v>2015/6/16</c:v>
                </c:pt>
                <c:pt idx="1566">
                  <c:v>2015/6/17</c:v>
                </c:pt>
                <c:pt idx="1567">
                  <c:v>2015/6/18</c:v>
                </c:pt>
                <c:pt idx="1568">
                  <c:v>2015/6/19</c:v>
                </c:pt>
                <c:pt idx="1569">
                  <c:v>2015/6/23</c:v>
                </c:pt>
                <c:pt idx="1570">
                  <c:v>2015/6/24</c:v>
                </c:pt>
                <c:pt idx="1571">
                  <c:v>2015/6/25</c:v>
                </c:pt>
                <c:pt idx="1572">
                  <c:v>2015/6/26</c:v>
                </c:pt>
                <c:pt idx="1573">
                  <c:v>2015/6/29</c:v>
                </c:pt>
                <c:pt idx="1574">
                  <c:v>2015/6/30</c:v>
                </c:pt>
                <c:pt idx="1575">
                  <c:v>2015/7/1</c:v>
                </c:pt>
                <c:pt idx="1576">
                  <c:v>2015/7/2</c:v>
                </c:pt>
                <c:pt idx="1577">
                  <c:v>2015/7/3</c:v>
                </c:pt>
                <c:pt idx="1578">
                  <c:v>2015/7/6</c:v>
                </c:pt>
                <c:pt idx="1579">
                  <c:v>2015/7/7</c:v>
                </c:pt>
                <c:pt idx="1580">
                  <c:v>2015/7/8</c:v>
                </c:pt>
                <c:pt idx="1581">
                  <c:v>2015/7/9</c:v>
                </c:pt>
                <c:pt idx="1582">
                  <c:v>2015/7/10</c:v>
                </c:pt>
                <c:pt idx="1583">
                  <c:v>2015/7/13</c:v>
                </c:pt>
                <c:pt idx="1584">
                  <c:v>2015/7/14</c:v>
                </c:pt>
                <c:pt idx="1585">
                  <c:v>2015/7/15</c:v>
                </c:pt>
                <c:pt idx="1586">
                  <c:v>2015/7/16</c:v>
                </c:pt>
                <c:pt idx="1587">
                  <c:v>2015/7/17</c:v>
                </c:pt>
                <c:pt idx="1588">
                  <c:v>2015/7/20</c:v>
                </c:pt>
                <c:pt idx="1589">
                  <c:v>2015/7/21</c:v>
                </c:pt>
                <c:pt idx="1590">
                  <c:v>2015/7/22</c:v>
                </c:pt>
                <c:pt idx="1591">
                  <c:v>2015/7/23</c:v>
                </c:pt>
                <c:pt idx="1592">
                  <c:v>2015/7/24</c:v>
                </c:pt>
                <c:pt idx="1593">
                  <c:v>2015/7/27</c:v>
                </c:pt>
                <c:pt idx="1594">
                  <c:v>2015/7/28</c:v>
                </c:pt>
                <c:pt idx="1595">
                  <c:v>2015/7/29</c:v>
                </c:pt>
                <c:pt idx="1596">
                  <c:v>2015/7/30</c:v>
                </c:pt>
                <c:pt idx="1597">
                  <c:v>2015/7/31</c:v>
                </c:pt>
                <c:pt idx="1598">
                  <c:v>2015/8/3</c:v>
                </c:pt>
                <c:pt idx="1599">
                  <c:v>2015/8/4</c:v>
                </c:pt>
                <c:pt idx="1600">
                  <c:v>2015/8/5</c:v>
                </c:pt>
                <c:pt idx="1601">
                  <c:v>2015/8/6</c:v>
                </c:pt>
                <c:pt idx="1602">
                  <c:v>2015/8/7</c:v>
                </c:pt>
                <c:pt idx="1603">
                  <c:v>2015/8/10</c:v>
                </c:pt>
                <c:pt idx="1604">
                  <c:v>2015/8/11</c:v>
                </c:pt>
                <c:pt idx="1605">
                  <c:v>2015/8/12</c:v>
                </c:pt>
                <c:pt idx="1606">
                  <c:v>2015/8/13</c:v>
                </c:pt>
                <c:pt idx="1607">
                  <c:v>2015/8/14</c:v>
                </c:pt>
                <c:pt idx="1608">
                  <c:v>2015/8/17</c:v>
                </c:pt>
                <c:pt idx="1609">
                  <c:v>2015/8/18</c:v>
                </c:pt>
                <c:pt idx="1610">
                  <c:v>2015/8/19</c:v>
                </c:pt>
                <c:pt idx="1611">
                  <c:v>2015/8/20</c:v>
                </c:pt>
                <c:pt idx="1612">
                  <c:v>2015/8/21</c:v>
                </c:pt>
                <c:pt idx="1613">
                  <c:v>2015/8/24</c:v>
                </c:pt>
                <c:pt idx="1614">
                  <c:v>2015/8/25</c:v>
                </c:pt>
                <c:pt idx="1615">
                  <c:v>2015/8/26</c:v>
                </c:pt>
                <c:pt idx="1616">
                  <c:v>2015/8/27</c:v>
                </c:pt>
                <c:pt idx="1617">
                  <c:v>2015/8/28</c:v>
                </c:pt>
                <c:pt idx="1618">
                  <c:v>2015/8/31</c:v>
                </c:pt>
                <c:pt idx="1619">
                  <c:v>2015/9/1</c:v>
                </c:pt>
                <c:pt idx="1620">
                  <c:v>2015/9/2</c:v>
                </c:pt>
                <c:pt idx="1621">
                  <c:v>2015/9/7</c:v>
                </c:pt>
                <c:pt idx="1622">
                  <c:v>2015/9/8</c:v>
                </c:pt>
                <c:pt idx="1623">
                  <c:v>2015/9/9</c:v>
                </c:pt>
                <c:pt idx="1624">
                  <c:v>2015/9/10</c:v>
                </c:pt>
                <c:pt idx="1625">
                  <c:v>2015/9/11</c:v>
                </c:pt>
                <c:pt idx="1626">
                  <c:v>2015/9/14</c:v>
                </c:pt>
                <c:pt idx="1627">
                  <c:v>2015/9/15</c:v>
                </c:pt>
                <c:pt idx="1628">
                  <c:v>2015/9/16</c:v>
                </c:pt>
                <c:pt idx="1629">
                  <c:v>2015/9/17</c:v>
                </c:pt>
                <c:pt idx="1630">
                  <c:v>2015/9/18</c:v>
                </c:pt>
                <c:pt idx="1631">
                  <c:v>2015/9/21</c:v>
                </c:pt>
                <c:pt idx="1632">
                  <c:v>2015/9/22</c:v>
                </c:pt>
                <c:pt idx="1633">
                  <c:v>2015/9/23</c:v>
                </c:pt>
                <c:pt idx="1634">
                  <c:v>2015/9/24</c:v>
                </c:pt>
                <c:pt idx="1635">
                  <c:v>2015/9/25</c:v>
                </c:pt>
                <c:pt idx="1636">
                  <c:v>2015/9/28</c:v>
                </c:pt>
                <c:pt idx="1637">
                  <c:v>2015/9/29</c:v>
                </c:pt>
                <c:pt idx="1638">
                  <c:v>2015/9/30</c:v>
                </c:pt>
                <c:pt idx="1639">
                  <c:v>2015/10/8</c:v>
                </c:pt>
                <c:pt idx="1640">
                  <c:v>2015/10/9</c:v>
                </c:pt>
                <c:pt idx="1641">
                  <c:v>2015/10/12</c:v>
                </c:pt>
                <c:pt idx="1642">
                  <c:v>2015/10/13</c:v>
                </c:pt>
                <c:pt idx="1643">
                  <c:v>2015/10/14</c:v>
                </c:pt>
                <c:pt idx="1644">
                  <c:v>2015/10/15</c:v>
                </c:pt>
                <c:pt idx="1645">
                  <c:v>2015/10/16</c:v>
                </c:pt>
                <c:pt idx="1646">
                  <c:v>2015/10/19</c:v>
                </c:pt>
                <c:pt idx="1647">
                  <c:v>2015/10/20</c:v>
                </c:pt>
                <c:pt idx="1648">
                  <c:v>2015/10/21</c:v>
                </c:pt>
                <c:pt idx="1649">
                  <c:v>2015/10/22</c:v>
                </c:pt>
                <c:pt idx="1650">
                  <c:v>2015/10/23</c:v>
                </c:pt>
                <c:pt idx="1651">
                  <c:v>2015/10/26</c:v>
                </c:pt>
                <c:pt idx="1652">
                  <c:v>2015/10/27</c:v>
                </c:pt>
                <c:pt idx="1653">
                  <c:v>2015/10/28</c:v>
                </c:pt>
                <c:pt idx="1654">
                  <c:v>2015/10/29</c:v>
                </c:pt>
                <c:pt idx="1655">
                  <c:v>2015/10/30</c:v>
                </c:pt>
                <c:pt idx="1656">
                  <c:v>2015/11/2</c:v>
                </c:pt>
                <c:pt idx="1657">
                  <c:v>2015/11/3</c:v>
                </c:pt>
                <c:pt idx="1658">
                  <c:v>2015/11/4</c:v>
                </c:pt>
                <c:pt idx="1659">
                  <c:v>2015/11/5</c:v>
                </c:pt>
                <c:pt idx="1660">
                  <c:v>2015/11/6</c:v>
                </c:pt>
                <c:pt idx="1661">
                  <c:v>2015/11/9</c:v>
                </c:pt>
                <c:pt idx="1662">
                  <c:v>2015/11/10</c:v>
                </c:pt>
                <c:pt idx="1663">
                  <c:v>2015/11/11</c:v>
                </c:pt>
                <c:pt idx="1664">
                  <c:v>2015/11/12</c:v>
                </c:pt>
                <c:pt idx="1665">
                  <c:v>2015/11/13</c:v>
                </c:pt>
                <c:pt idx="1666">
                  <c:v>2015/11/16</c:v>
                </c:pt>
                <c:pt idx="1667">
                  <c:v>2015/11/17</c:v>
                </c:pt>
                <c:pt idx="1668">
                  <c:v>2015/11/18</c:v>
                </c:pt>
                <c:pt idx="1669">
                  <c:v>2015/11/19</c:v>
                </c:pt>
                <c:pt idx="1670">
                  <c:v>2015/11/20</c:v>
                </c:pt>
                <c:pt idx="1671">
                  <c:v>2015/11/23</c:v>
                </c:pt>
                <c:pt idx="1672">
                  <c:v>2015/11/24</c:v>
                </c:pt>
                <c:pt idx="1673">
                  <c:v>2015/11/25</c:v>
                </c:pt>
                <c:pt idx="1674">
                  <c:v>2015/11/26</c:v>
                </c:pt>
                <c:pt idx="1675">
                  <c:v>2015/11/27</c:v>
                </c:pt>
                <c:pt idx="1676">
                  <c:v>2015/11/30</c:v>
                </c:pt>
                <c:pt idx="1677">
                  <c:v>2015/12/1</c:v>
                </c:pt>
                <c:pt idx="1678">
                  <c:v>2015/12/2</c:v>
                </c:pt>
                <c:pt idx="1679">
                  <c:v>2015/12/3</c:v>
                </c:pt>
                <c:pt idx="1680">
                  <c:v>2015/12/4</c:v>
                </c:pt>
                <c:pt idx="1681">
                  <c:v>2015/12/7</c:v>
                </c:pt>
                <c:pt idx="1682">
                  <c:v>2015/12/8</c:v>
                </c:pt>
                <c:pt idx="1683">
                  <c:v>2015/12/9</c:v>
                </c:pt>
                <c:pt idx="1684">
                  <c:v>2015/12/10</c:v>
                </c:pt>
                <c:pt idx="1685">
                  <c:v>2015/12/11</c:v>
                </c:pt>
                <c:pt idx="1686">
                  <c:v>2015/12/14</c:v>
                </c:pt>
                <c:pt idx="1687">
                  <c:v>2015/12/15</c:v>
                </c:pt>
                <c:pt idx="1688">
                  <c:v>2015/12/16</c:v>
                </c:pt>
                <c:pt idx="1689">
                  <c:v>2015/12/17</c:v>
                </c:pt>
                <c:pt idx="1690">
                  <c:v>2015/12/18</c:v>
                </c:pt>
                <c:pt idx="1691">
                  <c:v>2015/12/21</c:v>
                </c:pt>
                <c:pt idx="1692">
                  <c:v>2015/12/22</c:v>
                </c:pt>
                <c:pt idx="1693">
                  <c:v>2015/12/23</c:v>
                </c:pt>
                <c:pt idx="1694">
                  <c:v>2015/12/24</c:v>
                </c:pt>
                <c:pt idx="1695">
                  <c:v>2015/12/25</c:v>
                </c:pt>
                <c:pt idx="1696">
                  <c:v>2015/12/28</c:v>
                </c:pt>
                <c:pt idx="1697">
                  <c:v>2015/12/29</c:v>
                </c:pt>
                <c:pt idx="1698">
                  <c:v>2015/12/30</c:v>
                </c:pt>
                <c:pt idx="1699">
                  <c:v>2015/12/31</c:v>
                </c:pt>
                <c:pt idx="1700">
                  <c:v>2016/1/4</c:v>
                </c:pt>
                <c:pt idx="1701">
                  <c:v>2016/1/5</c:v>
                </c:pt>
                <c:pt idx="1702">
                  <c:v>2016/1/6</c:v>
                </c:pt>
                <c:pt idx="1703">
                  <c:v>2016/1/7</c:v>
                </c:pt>
                <c:pt idx="1704">
                  <c:v>2016/1/8</c:v>
                </c:pt>
                <c:pt idx="1705">
                  <c:v>2016/1/11</c:v>
                </c:pt>
                <c:pt idx="1706">
                  <c:v>2016/1/12</c:v>
                </c:pt>
                <c:pt idx="1707">
                  <c:v>2016/1/13</c:v>
                </c:pt>
                <c:pt idx="1708">
                  <c:v>2016/1/14</c:v>
                </c:pt>
                <c:pt idx="1709">
                  <c:v>2016/1/15</c:v>
                </c:pt>
                <c:pt idx="1710">
                  <c:v>2016/1/18</c:v>
                </c:pt>
                <c:pt idx="1711">
                  <c:v>2016/1/19</c:v>
                </c:pt>
                <c:pt idx="1712">
                  <c:v>2016/1/20</c:v>
                </c:pt>
                <c:pt idx="1713">
                  <c:v>2016/1/21</c:v>
                </c:pt>
                <c:pt idx="1714">
                  <c:v>2016/1/22</c:v>
                </c:pt>
                <c:pt idx="1715">
                  <c:v>2016/1/25</c:v>
                </c:pt>
                <c:pt idx="1716">
                  <c:v>2016/1/26</c:v>
                </c:pt>
                <c:pt idx="1717">
                  <c:v>2016/1/27</c:v>
                </c:pt>
                <c:pt idx="1718">
                  <c:v>2016/1/28</c:v>
                </c:pt>
                <c:pt idx="1719">
                  <c:v>2016/1/29</c:v>
                </c:pt>
                <c:pt idx="1720">
                  <c:v>2016/2/1</c:v>
                </c:pt>
                <c:pt idx="1721">
                  <c:v>2016/2/2</c:v>
                </c:pt>
                <c:pt idx="1722">
                  <c:v>2016/2/3</c:v>
                </c:pt>
                <c:pt idx="1723">
                  <c:v>2016/2/4</c:v>
                </c:pt>
                <c:pt idx="1724">
                  <c:v>2016/2/5</c:v>
                </c:pt>
                <c:pt idx="1725">
                  <c:v>2016/2/15</c:v>
                </c:pt>
                <c:pt idx="1726">
                  <c:v>2016/2/16</c:v>
                </c:pt>
                <c:pt idx="1727">
                  <c:v>2016/2/17</c:v>
                </c:pt>
                <c:pt idx="1728">
                  <c:v>2016/2/18</c:v>
                </c:pt>
                <c:pt idx="1729">
                  <c:v>2016/2/19</c:v>
                </c:pt>
                <c:pt idx="1730">
                  <c:v>2016/2/22</c:v>
                </c:pt>
                <c:pt idx="1731">
                  <c:v>2016/2/23</c:v>
                </c:pt>
                <c:pt idx="1732">
                  <c:v>2016/2/24</c:v>
                </c:pt>
                <c:pt idx="1733">
                  <c:v>2016/2/25</c:v>
                </c:pt>
                <c:pt idx="1734">
                  <c:v>2016/2/26</c:v>
                </c:pt>
                <c:pt idx="1735">
                  <c:v>2016/2/29</c:v>
                </c:pt>
                <c:pt idx="1736">
                  <c:v>2016/3/1</c:v>
                </c:pt>
                <c:pt idx="1737">
                  <c:v>2016/3/2</c:v>
                </c:pt>
                <c:pt idx="1738">
                  <c:v>2016/3/3</c:v>
                </c:pt>
                <c:pt idx="1739">
                  <c:v>2016/3/4</c:v>
                </c:pt>
                <c:pt idx="1740">
                  <c:v>2016/3/7</c:v>
                </c:pt>
                <c:pt idx="1741">
                  <c:v>2016/3/8</c:v>
                </c:pt>
                <c:pt idx="1742">
                  <c:v>2016/3/9</c:v>
                </c:pt>
                <c:pt idx="1743">
                  <c:v>2016/3/10</c:v>
                </c:pt>
                <c:pt idx="1744">
                  <c:v>2016/3/11</c:v>
                </c:pt>
                <c:pt idx="1745">
                  <c:v>2016/3/14</c:v>
                </c:pt>
                <c:pt idx="1746">
                  <c:v>2016/3/15</c:v>
                </c:pt>
                <c:pt idx="1747">
                  <c:v>2016/3/16</c:v>
                </c:pt>
                <c:pt idx="1748">
                  <c:v>2016/3/17</c:v>
                </c:pt>
                <c:pt idx="1749">
                  <c:v>2016/3/18</c:v>
                </c:pt>
                <c:pt idx="1750">
                  <c:v>2016/3/21</c:v>
                </c:pt>
                <c:pt idx="1751">
                  <c:v>2016/3/22</c:v>
                </c:pt>
                <c:pt idx="1752">
                  <c:v>2016/3/23</c:v>
                </c:pt>
                <c:pt idx="1753">
                  <c:v>2016/3/24</c:v>
                </c:pt>
                <c:pt idx="1754">
                  <c:v>2016/3/25</c:v>
                </c:pt>
                <c:pt idx="1755">
                  <c:v>2016/3/28</c:v>
                </c:pt>
                <c:pt idx="1756">
                  <c:v>2016/3/29</c:v>
                </c:pt>
                <c:pt idx="1757">
                  <c:v>2016/3/30</c:v>
                </c:pt>
                <c:pt idx="1758">
                  <c:v>2016/3/31</c:v>
                </c:pt>
                <c:pt idx="1759">
                  <c:v>2016/4/1</c:v>
                </c:pt>
                <c:pt idx="1760">
                  <c:v>2016/4/5</c:v>
                </c:pt>
                <c:pt idx="1761">
                  <c:v>2016/4/6</c:v>
                </c:pt>
                <c:pt idx="1762">
                  <c:v>2016/4/7</c:v>
                </c:pt>
                <c:pt idx="1763">
                  <c:v>2016/4/8</c:v>
                </c:pt>
                <c:pt idx="1764">
                  <c:v>2016/4/11</c:v>
                </c:pt>
                <c:pt idx="1765">
                  <c:v>2016/4/12</c:v>
                </c:pt>
                <c:pt idx="1766">
                  <c:v>2016/4/13</c:v>
                </c:pt>
                <c:pt idx="1767">
                  <c:v>2016/4/14</c:v>
                </c:pt>
                <c:pt idx="1768">
                  <c:v>2016/4/15</c:v>
                </c:pt>
                <c:pt idx="1769">
                  <c:v>2016/4/18</c:v>
                </c:pt>
                <c:pt idx="1770">
                  <c:v>2016/4/19</c:v>
                </c:pt>
                <c:pt idx="1771">
                  <c:v>2016/4/20</c:v>
                </c:pt>
                <c:pt idx="1772">
                  <c:v>2016/4/21</c:v>
                </c:pt>
                <c:pt idx="1773">
                  <c:v>2016/4/22</c:v>
                </c:pt>
                <c:pt idx="1774">
                  <c:v>2016/4/25</c:v>
                </c:pt>
                <c:pt idx="1775">
                  <c:v>2016/4/26</c:v>
                </c:pt>
                <c:pt idx="1776">
                  <c:v>2016/4/27</c:v>
                </c:pt>
                <c:pt idx="1777">
                  <c:v>2016/4/28</c:v>
                </c:pt>
                <c:pt idx="1778">
                  <c:v>2016/4/29</c:v>
                </c:pt>
                <c:pt idx="1779">
                  <c:v>2016/5/3</c:v>
                </c:pt>
                <c:pt idx="1780">
                  <c:v>2016/5/4</c:v>
                </c:pt>
                <c:pt idx="1781">
                  <c:v>2016/5/5</c:v>
                </c:pt>
                <c:pt idx="1782">
                  <c:v>2016/5/6</c:v>
                </c:pt>
                <c:pt idx="1783">
                  <c:v>2016/5/9</c:v>
                </c:pt>
                <c:pt idx="1784">
                  <c:v>2016/5/10</c:v>
                </c:pt>
                <c:pt idx="1785">
                  <c:v>2016/5/11</c:v>
                </c:pt>
                <c:pt idx="1786">
                  <c:v>2016/5/12</c:v>
                </c:pt>
                <c:pt idx="1787">
                  <c:v>2016/5/13</c:v>
                </c:pt>
                <c:pt idx="1788">
                  <c:v>2016/5/16</c:v>
                </c:pt>
                <c:pt idx="1789">
                  <c:v>2016/5/17</c:v>
                </c:pt>
                <c:pt idx="1790">
                  <c:v>2016/5/18</c:v>
                </c:pt>
                <c:pt idx="1791">
                  <c:v>2016/5/19</c:v>
                </c:pt>
                <c:pt idx="1792">
                  <c:v>2016/5/20</c:v>
                </c:pt>
                <c:pt idx="1793">
                  <c:v>2016/5/23</c:v>
                </c:pt>
                <c:pt idx="1794">
                  <c:v>2016/5/24</c:v>
                </c:pt>
                <c:pt idx="1795">
                  <c:v>2016/5/25</c:v>
                </c:pt>
                <c:pt idx="1796">
                  <c:v>2016/5/26</c:v>
                </c:pt>
                <c:pt idx="1797">
                  <c:v>2016/5/27</c:v>
                </c:pt>
                <c:pt idx="1798">
                  <c:v>2016/5/30</c:v>
                </c:pt>
                <c:pt idx="1799">
                  <c:v>2016/5/31</c:v>
                </c:pt>
                <c:pt idx="1800">
                  <c:v>2016/6/1</c:v>
                </c:pt>
                <c:pt idx="1801">
                  <c:v>2016/6/2</c:v>
                </c:pt>
                <c:pt idx="1802">
                  <c:v>2016/6/3</c:v>
                </c:pt>
                <c:pt idx="1803">
                  <c:v>2016/6/6</c:v>
                </c:pt>
                <c:pt idx="1804">
                  <c:v>2016/6/7</c:v>
                </c:pt>
                <c:pt idx="1805">
                  <c:v>2016/6/8</c:v>
                </c:pt>
                <c:pt idx="1806">
                  <c:v>2016/6/13</c:v>
                </c:pt>
                <c:pt idx="1807">
                  <c:v>2016/6/14</c:v>
                </c:pt>
                <c:pt idx="1808">
                  <c:v>2016/6/15</c:v>
                </c:pt>
                <c:pt idx="1809">
                  <c:v>2016/6/16</c:v>
                </c:pt>
                <c:pt idx="1810">
                  <c:v>2016/6/17</c:v>
                </c:pt>
                <c:pt idx="1811">
                  <c:v>2016/6/20</c:v>
                </c:pt>
                <c:pt idx="1812">
                  <c:v>2016/6/21</c:v>
                </c:pt>
                <c:pt idx="1813">
                  <c:v>2016/6/22</c:v>
                </c:pt>
                <c:pt idx="1814">
                  <c:v>2016/6/23</c:v>
                </c:pt>
                <c:pt idx="1815">
                  <c:v>2016/6/24</c:v>
                </c:pt>
                <c:pt idx="1816">
                  <c:v>2016/6/27</c:v>
                </c:pt>
                <c:pt idx="1817">
                  <c:v>2016/6/28</c:v>
                </c:pt>
                <c:pt idx="1818">
                  <c:v>2016/6/29</c:v>
                </c:pt>
                <c:pt idx="1819">
                  <c:v>2016/6/30</c:v>
                </c:pt>
                <c:pt idx="1820">
                  <c:v>2016/7/1</c:v>
                </c:pt>
                <c:pt idx="1821">
                  <c:v>2016/7/4</c:v>
                </c:pt>
                <c:pt idx="1822">
                  <c:v>2016/7/5</c:v>
                </c:pt>
                <c:pt idx="1823">
                  <c:v>2016/7/6</c:v>
                </c:pt>
                <c:pt idx="1824">
                  <c:v>2016/7/7</c:v>
                </c:pt>
                <c:pt idx="1825">
                  <c:v>2016/7/8</c:v>
                </c:pt>
                <c:pt idx="1826">
                  <c:v>2016/7/11</c:v>
                </c:pt>
                <c:pt idx="1827">
                  <c:v>2016/7/12</c:v>
                </c:pt>
                <c:pt idx="1828">
                  <c:v>2016/7/13</c:v>
                </c:pt>
                <c:pt idx="1829">
                  <c:v>2016/7/14</c:v>
                </c:pt>
                <c:pt idx="1830">
                  <c:v>2016/7/15</c:v>
                </c:pt>
                <c:pt idx="1831">
                  <c:v>2016/7/18</c:v>
                </c:pt>
                <c:pt idx="1832">
                  <c:v>2016/7/19</c:v>
                </c:pt>
                <c:pt idx="1833">
                  <c:v>2016/7/20</c:v>
                </c:pt>
                <c:pt idx="1834">
                  <c:v>2016/7/21</c:v>
                </c:pt>
                <c:pt idx="1835">
                  <c:v>2016/7/22</c:v>
                </c:pt>
                <c:pt idx="1836">
                  <c:v>2016/7/25</c:v>
                </c:pt>
                <c:pt idx="1837">
                  <c:v>2016/7/26</c:v>
                </c:pt>
                <c:pt idx="1838">
                  <c:v>2016/7/27</c:v>
                </c:pt>
                <c:pt idx="1839">
                  <c:v>2016/7/28</c:v>
                </c:pt>
                <c:pt idx="1840">
                  <c:v>2016/7/29</c:v>
                </c:pt>
                <c:pt idx="1841">
                  <c:v>2016/8/1</c:v>
                </c:pt>
                <c:pt idx="1842">
                  <c:v>2016/8/2</c:v>
                </c:pt>
                <c:pt idx="1843">
                  <c:v>2016/8/3</c:v>
                </c:pt>
                <c:pt idx="1844">
                  <c:v>2016/8/4</c:v>
                </c:pt>
                <c:pt idx="1845">
                  <c:v>2016/8/5</c:v>
                </c:pt>
                <c:pt idx="1846">
                  <c:v>2016/8/8</c:v>
                </c:pt>
                <c:pt idx="1847">
                  <c:v>2016/8/9</c:v>
                </c:pt>
                <c:pt idx="1848">
                  <c:v>2016/8/10</c:v>
                </c:pt>
                <c:pt idx="1849">
                  <c:v>2016/8/11</c:v>
                </c:pt>
                <c:pt idx="1850">
                  <c:v>2016/8/12</c:v>
                </c:pt>
                <c:pt idx="1851">
                  <c:v>2016/8/15</c:v>
                </c:pt>
                <c:pt idx="1852">
                  <c:v>2016/8/16</c:v>
                </c:pt>
                <c:pt idx="1853">
                  <c:v>2016/8/17</c:v>
                </c:pt>
                <c:pt idx="1854">
                  <c:v>2016/8/18</c:v>
                </c:pt>
                <c:pt idx="1855">
                  <c:v>2016/8/19</c:v>
                </c:pt>
                <c:pt idx="1856">
                  <c:v>2016/8/22</c:v>
                </c:pt>
                <c:pt idx="1857">
                  <c:v>2016/8/23</c:v>
                </c:pt>
                <c:pt idx="1858">
                  <c:v>2016/8/24</c:v>
                </c:pt>
                <c:pt idx="1859">
                  <c:v>2016/8/25</c:v>
                </c:pt>
                <c:pt idx="1860">
                  <c:v>2016/8/26</c:v>
                </c:pt>
                <c:pt idx="1861">
                  <c:v>2016/8/29</c:v>
                </c:pt>
                <c:pt idx="1862">
                  <c:v>2016/8/30</c:v>
                </c:pt>
                <c:pt idx="1863">
                  <c:v>2016/8/31</c:v>
                </c:pt>
                <c:pt idx="1864">
                  <c:v>2016/9/1</c:v>
                </c:pt>
                <c:pt idx="1865">
                  <c:v>2016/9/2</c:v>
                </c:pt>
                <c:pt idx="1866">
                  <c:v>2016/9/5</c:v>
                </c:pt>
                <c:pt idx="1867">
                  <c:v>2016/9/6</c:v>
                </c:pt>
                <c:pt idx="1868">
                  <c:v>2016/9/7</c:v>
                </c:pt>
                <c:pt idx="1869">
                  <c:v>2016/9/8</c:v>
                </c:pt>
                <c:pt idx="1870">
                  <c:v>2016/9/9</c:v>
                </c:pt>
                <c:pt idx="1871">
                  <c:v>2016/9/12</c:v>
                </c:pt>
                <c:pt idx="1872">
                  <c:v>2016/9/13</c:v>
                </c:pt>
                <c:pt idx="1873">
                  <c:v>2016/9/14</c:v>
                </c:pt>
                <c:pt idx="1874">
                  <c:v>2016/9/19</c:v>
                </c:pt>
                <c:pt idx="1875">
                  <c:v>2016/9/20</c:v>
                </c:pt>
                <c:pt idx="1876">
                  <c:v>2016/9/21</c:v>
                </c:pt>
                <c:pt idx="1877">
                  <c:v>2016/9/22</c:v>
                </c:pt>
                <c:pt idx="1878">
                  <c:v>2016/9/23</c:v>
                </c:pt>
                <c:pt idx="1879">
                  <c:v>2016/9/26</c:v>
                </c:pt>
                <c:pt idx="1880">
                  <c:v>2016/9/27</c:v>
                </c:pt>
                <c:pt idx="1881">
                  <c:v>2016/9/28</c:v>
                </c:pt>
                <c:pt idx="1882">
                  <c:v>2016/9/29</c:v>
                </c:pt>
                <c:pt idx="1883">
                  <c:v>2016/9/30</c:v>
                </c:pt>
                <c:pt idx="1884">
                  <c:v>2016/10/10</c:v>
                </c:pt>
                <c:pt idx="1885">
                  <c:v>2016/10/11</c:v>
                </c:pt>
                <c:pt idx="1886">
                  <c:v>2016/10/12</c:v>
                </c:pt>
                <c:pt idx="1887">
                  <c:v>2016/10/13</c:v>
                </c:pt>
                <c:pt idx="1888">
                  <c:v>2016/10/14</c:v>
                </c:pt>
                <c:pt idx="1889">
                  <c:v>2016/10/17</c:v>
                </c:pt>
                <c:pt idx="1890">
                  <c:v>2016/10/18</c:v>
                </c:pt>
                <c:pt idx="1891">
                  <c:v>2016/10/19</c:v>
                </c:pt>
                <c:pt idx="1892">
                  <c:v>2016/10/20</c:v>
                </c:pt>
                <c:pt idx="1893">
                  <c:v>2016/10/21</c:v>
                </c:pt>
                <c:pt idx="1894">
                  <c:v>2016/10/24</c:v>
                </c:pt>
                <c:pt idx="1895">
                  <c:v>2016/10/25</c:v>
                </c:pt>
                <c:pt idx="1896">
                  <c:v>2016/10/26</c:v>
                </c:pt>
                <c:pt idx="1897">
                  <c:v>2016/10/27</c:v>
                </c:pt>
                <c:pt idx="1898">
                  <c:v>2016/10/28</c:v>
                </c:pt>
                <c:pt idx="1899">
                  <c:v>2016/10/31</c:v>
                </c:pt>
                <c:pt idx="1900">
                  <c:v>2016/11/1</c:v>
                </c:pt>
                <c:pt idx="1901">
                  <c:v>2016/11/2</c:v>
                </c:pt>
                <c:pt idx="1902">
                  <c:v>2016/11/3</c:v>
                </c:pt>
                <c:pt idx="1903">
                  <c:v>2016/11/4</c:v>
                </c:pt>
                <c:pt idx="1904">
                  <c:v>2016/11/7</c:v>
                </c:pt>
                <c:pt idx="1905">
                  <c:v>2016/11/8</c:v>
                </c:pt>
                <c:pt idx="1906">
                  <c:v>2016/11/9</c:v>
                </c:pt>
                <c:pt idx="1907">
                  <c:v>2016/11/10</c:v>
                </c:pt>
                <c:pt idx="1908">
                  <c:v>2016/11/11</c:v>
                </c:pt>
                <c:pt idx="1909">
                  <c:v>2016/11/14</c:v>
                </c:pt>
                <c:pt idx="1910">
                  <c:v>2016/11/15</c:v>
                </c:pt>
                <c:pt idx="1911">
                  <c:v>2016/11/16</c:v>
                </c:pt>
                <c:pt idx="1912">
                  <c:v>2016/11/17</c:v>
                </c:pt>
                <c:pt idx="1913">
                  <c:v>2016/11/18</c:v>
                </c:pt>
                <c:pt idx="1914">
                  <c:v>2016/11/21</c:v>
                </c:pt>
                <c:pt idx="1915">
                  <c:v>2016/11/22</c:v>
                </c:pt>
                <c:pt idx="1916">
                  <c:v>2016/11/23</c:v>
                </c:pt>
                <c:pt idx="1917">
                  <c:v>2016/11/24</c:v>
                </c:pt>
                <c:pt idx="1918">
                  <c:v>2016/11/25</c:v>
                </c:pt>
                <c:pt idx="1919">
                  <c:v>2016/11/28</c:v>
                </c:pt>
                <c:pt idx="1920">
                  <c:v>2016/11/29</c:v>
                </c:pt>
                <c:pt idx="1921">
                  <c:v>2016/11/30</c:v>
                </c:pt>
                <c:pt idx="1922">
                  <c:v>2016/12/1</c:v>
                </c:pt>
                <c:pt idx="1923">
                  <c:v>2016/12/2</c:v>
                </c:pt>
                <c:pt idx="1924">
                  <c:v>2016/12/5</c:v>
                </c:pt>
                <c:pt idx="1925">
                  <c:v>2016/12/6</c:v>
                </c:pt>
                <c:pt idx="1926">
                  <c:v>2016/12/7</c:v>
                </c:pt>
                <c:pt idx="1927">
                  <c:v>2016/12/8</c:v>
                </c:pt>
                <c:pt idx="1928">
                  <c:v>2016/12/9</c:v>
                </c:pt>
                <c:pt idx="1929">
                  <c:v>2016/12/12</c:v>
                </c:pt>
                <c:pt idx="1930">
                  <c:v>2016/12/13</c:v>
                </c:pt>
                <c:pt idx="1931">
                  <c:v>2016/12/14</c:v>
                </c:pt>
                <c:pt idx="1932">
                  <c:v>2016/12/15</c:v>
                </c:pt>
                <c:pt idx="1933">
                  <c:v>2016/12/16</c:v>
                </c:pt>
                <c:pt idx="1934">
                  <c:v>2016/12/19</c:v>
                </c:pt>
                <c:pt idx="1935">
                  <c:v>2016/12/20</c:v>
                </c:pt>
                <c:pt idx="1936">
                  <c:v>2016/12/21</c:v>
                </c:pt>
                <c:pt idx="1937">
                  <c:v>2016/12/22</c:v>
                </c:pt>
                <c:pt idx="1938">
                  <c:v>2016/12/23</c:v>
                </c:pt>
                <c:pt idx="1939">
                  <c:v>2016/12/26</c:v>
                </c:pt>
                <c:pt idx="1940">
                  <c:v>2016/12/27</c:v>
                </c:pt>
                <c:pt idx="1941">
                  <c:v>2016/12/28</c:v>
                </c:pt>
                <c:pt idx="1942">
                  <c:v>2016/12/29</c:v>
                </c:pt>
                <c:pt idx="1943">
                  <c:v>2016/12/30</c:v>
                </c:pt>
                <c:pt idx="1944">
                  <c:v>2017/1/3</c:v>
                </c:pt>
                <c:pt idx="1945">
                  <c:v>2017/1/4</c:v>
                </c:pt>
                <c:pt idx="1946">
                  <c:v>2017/1/5</c:v>
                </c:pt>
                <c:pt idx="1947">
                  <c:v>2017/1/6</c:v>
                </c:pt>
                <c:pt idx="1948">
                  <c:v>2017/1/9</c:v>
                </c:pt>
                <c:pt idx="1949">
                  <c:v>2017/1/10</c:v>
                </c:pt>
                <c:pt idx="1950">
                  <c:v>2017/1/11</c:v>
                </c:pt>
                <c:pt idx="1951">
                  <c:v>2017/1/12</c:v>
                </c:pt>
                <c:pt idx="1952">
                  <c:v>2017/1/13</c:v>
                </c:pt>
                <c:pt idx="1953">
                  <c:v>2017/1/16</c:v>
                </c:pt>
                <c:pt idx="1954">
                  <c:v>2017/1/17</c:v>
                </c:pt>
                <c:pt idx="1955">
                  <c:v>2017/1/18</c:v>
                </c:pt>
                <c:pt idx="1956">
                  <c:v>2017/1/19</c:v>
                </c:pt>
                <c:pt idx="1957">
                  <c:v>2017/1/20</c:v>
                </c:pt>
                <c:pt idx="1958">
                  <c:v>2017/1/23</c:v>
                </c:pt>
                <c:pt idx="1959">
                  <c:v>2017/1/24</c:v>
                </c:pt>
                <c:pt idx="1960">
                  <c:v>2017/1/25</c:v>
                </c:pt>
                <c:pt idx="1961">
                  <c:v>2017/1/26</c:v>
                </c:pt>
                <c:pt idx="1962">
                  <c:v>2017/2/3</c:v>
                </c:pt>
                <c:pt idx="1963">
                  <c:v>2017/2/6</c:v>
                </c:pt>
                <c:pt idx="1964">
                  <c:v>2017/2/7</c:v>
                </c:pt>
                <c:pt idx="1965">
                  <c:v>2017/2/8</c:v>
                </c:pt>
                <c:pt idx="1966">
                  <c:v>2017/2/9</c:v>
                </c:pt>
                <c:pt idx="1967">
                  <c:v>2017/2/10</c:v>
                </c:pt>
                <c:pt idx="1968">
                  <c:v>2017/2/13</c:v>
                </c:pt>
                <c:pt idx="1969">
                  <c:v>2017/2/14</c:v>
                </c:pt>
                <c:pt idx="1970">
                  <c:v>2017/2/15</c:v>
                </c:pt>
                <c:pt idx="1971">
                  <c:v>2017/2/16</c:v>
                </c:pt>
                <c:pt idx="1972">
                  <c:v>2017/2/17</c:v>
                </c:pt>
                <c:pt idx="1973">
                  <c:v>2017/2/20</c:v>
                </c:pt>
                <c:pt idx="1974">
                  <c:v>2017/2/21</c:v>
                </c:pt>
                <c:pt idx="1975">
                  <c:v>2017/2/22</c:v>
                </c:pt>
                <c:pt idx="1976">
                  <c:v>2017/2/23</c:v>
                </c:pt>
                <c:pt idx="1977">
                  <c:v>2017/2/24</c:v>
                </c:pt>
                <c:pt idx="1978">
                  <c:v>2017/2/27</c:v>
                </c:pt>
                <c:pt idx="1979">
                  <c:v>2017/2/28</c:v>
                </c:pt>
                <c:pt idx="1980">
                  <c:v>2017/3/1</c:v>
                </c:pt>
                <c:pt idx="1981">
                  <c:v>2017/3/2</c:v>
                </c:pt>
                <c:pt idx="1982">
                  <c:v>2017/3/3</c:v>
                </c:pt>
                <c:pt idx="1983">
                  <c:v>2017/3/6</c:v>
                </c:pt>
                <c:pt idx="1984">
                  <c:v>2017/3/7</c:v>
                </c:pt>
                <c:pt idx="1985">
                  <c:v>2017/3/8</c:v>
                </c:pt>
                <c:pt idx="1986">
                  <c:v>2017/3/9</c:v>
                </c:pt>
                <c:pt idx="1987">
                  <c:v>2017/3/10</c:v>
                </c:pt>
                <c:pt idx="1988">
                  <c:v>2017/3/13</c:v>
                </c:pt>
                <c:pt idx="1989">
                  <c:v>2017/3/14</c:v>
                </c:pt>
                <c:pt idx="1990">
                  <c:v>2017/3/15</c:v>
                </c:pt>
                <c:pt idx="1991">
                  <c:v>2017/3/16</c:v>
                </c:pt>
                <c:pt idx="1992">
                  <c:v>2017/3/17</c:v>
                </c:pt>
                <c:pt idx="1993">
                  <c:v>2017/3/20</c:v>
                </c:pt>
                <c:pt idx="1994">
                  <c:v>2017/3/21</c:v>
                </c:pt>
                <c:pt idx="1995">
                  <c:v>2017/3/22</c:v>
                </c:pt>
                <c:pt idx="1996">
                  <c:v>2017/3/23</c:v>
                </c:pt>
                <c:pt idx="1997">
                  <c:v>2017/3/24</c:v>
                </c:pt>
                <c:pt idx="1998">
                  <c:v>2017/3/27</c:v>
                </c:pt>
                <c:pt idx="1999">
                  <c:v>2017/3/28</c:v>
                </c:pt>
                <c:pt idx="2000">
                  <c:v>2017/3/29</c:v>
                </c:pt>
                <c:pt idx="2001">
                  <c:v>2017/3/30</c:v>
                </c:pt>
                <c:pt idx="2002">
                  <c:v>2017/3/31</c:v>
                </c:pt>
                <c:pt idx="2003">
                  <c:v>2017/4/5</c:v>
                </c:pt>
                <c:pt idx="2004">
                  <c:v>2017/4/6</c:v>
                </c:pt>
                <c:pt idx="2005">
                  <c:v>2017/4/7</c:v>
                </c:pt>
                <c:pt idx="2006">
                  <c:v>2017/4/10</c:v>
                </c:pt>
                <c:pt idx="2007">
                  <c:v>2017/4/11</c:v>
                </c:pt>
                <c:pt idx="2008">
                  <c:v>2017/4/12</c:v>
                </c:pt>
                <c:pt idx="2009">
                  <c:v>2017/4/13</c:v>
                </c:pt>
                <c:pt idx="2010">
                  <c:v>2017/4/14</c:v>
                </c:pt>
                <c:pt idx="2011">
                  <c:v>2017/4/17</c:v>
                </c:pt>
                <c:pt idx="2012">
                  <c:v>2017/4/18</c:v>
                </c:pt>
                <c:pt idx="2013">
                  <c:v>2017/4/19</c:v>
                </c:pt>
                <c:pt idx="2014">
                  <c:v>2017/4/20</c:v>
                </c:pt>
                <c:pt idx="2015">
                  <c:v>2017/4/21</c:v>
                </c:pt>
                <c:pt idx="2016">
                  <c:v>2017/4/24</c:v>
                </c:pt>
                <c:pt idx="2017">
                  <c:v>2017/4/25</c:v>
                </c:pt>
                <c:pt idx="2018">
                  <c:v>2017/4/26</c:v>
                </c:pt>
                <c:pt idx="2019">
                  <c:v>2017/4/27</c:v>
                </c:pt>
                <c:pt idx="2020">
                  <c:v>2017/4/28</c:v>
                </c:pt>
                <c:pt idx="2021">
                  <c:v>2017/5/2</c:v>
                </c:pt>
                <c:pt idx="2022">
                  <c:v>2017/5/3</c:v>
                </c:pt>
                <c:pt idx="2023">
                  <c:v>2017/5/4</c:v>
                </c:pt>
                <c:pt idx="2024">
                  <c:v>2017/5/5</c:v>
                </c:pt>
                <c:pt idx="2025">
                  <c:v>2017/5/8</c:v>
                </c:pt>
                <c:pt idx="2026">
                  <c:v>2017/5/9</c:v>
                </c:pt>
                <c:pt idx="2027">
                  <c:v>2017/5/10</c:v>
                </c:pt>
                <c:pt idx="2028">
                  <c:v>2017/5/11</c:v>
                </c:pt>
                <c:pt idx="2029">
                  <c:v>2017/5/12</c:v>
                </c:pt>
                <c:pt idx="2030">
                  <c:v>2017/5/15</c:v>
                </c:pt>
                <c:pt idx="2031">
                  <c:v>2017/5/16</c:v>
                </c:pt>
                <c:pt idx="2032">
                  <c:v>2017/5/17</c:v>
                </c:pt>
                <c:pt idx="2033">
                  <c:v>2017/5/18</c:v>
                </c:pt>
                <c:pt idx="2034">
                  <c:v>2017/5/19</c:v>
                </c:pt>
                <c:pt idx="2035">
                  <c:v>2017/5/22</c:v>
                </c:pt>
                <c:pt idx="2036">
                  <c:v>2017/5/23</c:v>
                </c:pt>
                <c:pt idx="2037">
                  <c:v>2017/5/24</c:v>
                </c:pt>
                <c:pt idx="2038">
                  <c:v>2017/5/25</c:v>
                </c:pt>
                <c:pt idx="2039">
                  <c:v>2017/5/26</c:v>
                </c:pt>
                <c:pt idx="2040">
                  <c:v>2017/5/31</c:v>
                </c:pt>
                <c:pt idx="2041">
                  <c:v>2017/6/1</c:v>
                </c:pt>
                <c:pt idx="2042">
                  <c:v>2017/6/2</c:v>
                </c:pt>
                <c:pt idx="2043">
                  <c:v>2017/6/5</c:v>
                </c:pt>
                <c:pt idx="2044">
                  <c:v>2017/6/6</c:v>
                </c:pt>
                <c:pt idx="2045">
                  <c:v>2017/6/7</c:v>
                </c:pt>
                <c:pt idx="2046">
                  <c:v>2017/6/8</c:v>
                </c:pt>
                <c:pt idx="2047">
                  <c:v>2017/6/9</c:v>
                </c:pt>
                <c:pt idx="2048">
                  <c:v>2017/6/12</c:v>
                </c:pt>
                <c:pt idx="2049">
                  <c:v>2017/6/13</c:v>
                </c:pt>
                <c:pt idx="2050">
                  <c:v>2017/6/14</c:v>
                </c:pt>
                <c:pt idx="2051">
                  <c:v>2017/6/15</c:v>
                </c:pt>
                <c:pt idx="2052">
                  <c:v>2017/6/16</c:v>
                </c:pt>
                <c:pt idx="2053">
                  <c:v>2017/6/19</c:v>
                </c:pt>
                <c:pt idx="2054">
                  <c:v>2017/6/20</c:v>
                </c:pt>
                <c:pt idx="2055">
                  <c:v>2017/6/21</c:v>
                </c:pt>
                <c:pt idx="2056">
                  <c:v>2017/6/22</c:v>
                </c:pt>
                <c:pt idx="2057">
                  <c:v>2017/6/23</c:v>
                </c:pt>
                <c:pt idx="2058">
                  <c:v>2017/6/26</c:v>
                </c:pt>
                <c:pt idx="2059">
                  <c:v>2017/6/27</c:v>
                </c:pt>
                <c:pt idx="2060">
                  <c:v>2017/6/28</c:v>
                </c:pt>
                <c:pt idx="2061">
                  <c:v>2017/6/29</c:v>
                </c:pt>
                <c:pt idx="2062">
                  <c:v>2017/6/30</c:v>
                </c:pt>
                <c:pt idx="2063">
                  <c:v>2017/7/3</c:v>
                </c:pt>
                <c:pt idx="2064">
                  <c:v>2017/7/4</c:v>
                </c:pt>
                <c:pt idx="2065">
                  <c:v>2017/7/5</c:v>
                </c:pt>
                <c:pt idx="2066">
                  <c:v>2017/7/6</c:v>
                </c:pt>
                <c:pt idx="2067">
                  <c:v>2017/7/7</c:v>
                </c:pt>
                <c:pt idx="2068">
                  <c:v>2017/7/10</c:v>
                </c:pt>
                <c:pt idx="2069">
                  <c:v>2017/7/11</c:v>
                </c:pt>
                <c:pt idx="2070">
                  <c:v>2017/7/12</c:v>
                </c:pt>
                <c:pt idx="2071">
                  <c:v>2017/7/13</c:v>
                </c:pt>
                <c:pt idx="2072">
                  <c:v>2017/7/14</c:v>
                </c:pt>
                <c:pt idx="2073">
                  <c:v>2017/7/17</c:v>
                </c:pt>
                <c:pt idx="2074">
                  <c:v>2017/7/18</c:v>
                </c:pt>
                <c:pt idx="2075">
                  <c:v>2017/7/19</c:v>
                </c:pt>
                <c:pt idx="2076">
                  <c:v>2017/7/20</c:v>
                </c:pt>
                <c:pt idx="2077">
                  <c:v>2017/7/21</c:v>
                </c:pt>
                <c:pt idx="2078">
                  <c:v>2017/7/24</c:v>
                </c:pt>
                <c:pt idx="2079">
                  <c:v>2017/7/25</c:v>
                </c:pt>
                <c:pt idx="2080">
                  <c:v>2017/7/26</c:v>
                </c:pt>
                <c:pt idx="2081">
                  <c:v>2017/7/27</c:v>
                </c:pt>
                <c:pt idx="2082">
                  <c:v>2017/7/28</c:v>
                </c:pt>
                <c:pt idx="2083">
                  <c:v>2017/7/31</c:v>
                </c:pt>
                <c:pt idx="2084">
                  <c:v>2017/8/1</c:v>
                </c:pt>
                <c:pt idx="2085">
                  <c:v>2017/8/2</c:v>
                </c:pt>
                <c:pt idx="2086">
                  <c:v>2017/8/3</c:v>
                </c:pt>
                <c:pt idx="2087">
                  <c:v>2017/8/4</c:v>
                </c:pt>
                <c:pt idx="2088">
                  <c:v>2017/8/7</c:v>
                </c:pt>
                <c:pt idx="2089">
                  <c:v>2017/8/8</c:v>
                </c:pt>
                <c:pt idx="2090">
                  <c:v>2017/8/9</c:v>
                </c:pt>
                <c:pt idx="2091">
                  <c:v>2017/8/10</c:v>
                </c:pt>
                <c:pt idx="2092">
                  <c:v>2017/8/11</c:v>
                </c:pt>
                <c:pt idx="2093">
                  <c:v>2017/8/14</c:v>
                </c:pt>
                <c:pt idx="2094">
                  <c:v>2017/8/15</c:v>
                </c:pt>
                <c:pt idx="2095">
                  <c:v>2017/8/16</c:v>
                </c:pt>
                <c:pt idx="2096">
                  <c:v>2017/8/17</c:v>
                </c:pt>
                <c:pt idx="2097">
                  <c:v>2017/8/18</c:v>
                </c:pt>
                <c:pt idx="2098">
                  <c:v>2017/8/21</c:v>
                </c:pt>
                <c:pt idx="2099">
                  <c:v>2017/8/22</c:v>
                </c:pt>
                <c:pt idx="2100">
                  <c:v>2017/8/23</c:v>
                </c:pt>
                <c:pt idx="2101">
                  <c:v>2017/8/24</c:v>
                </c:pt>
                <c:pt idx="2102">
                  <c:v>2017/8/25</c:v>
                </c:pt>
                <c:pt idx="2103">
                  <c:v>2017/8/28</c:v>
                </c:pt>
                <c:pt idx="2104">
                  <c:v>2017/8/29</c:v>
                </c:pt>
                <c:pt idx="2105">
                  <c:v>2017/8/30</c:v>
                </c:pt>
                <c:pt idx="2106">
                  <c:v>2017/8/31</c:v>
                </c:pt>
                <c:pt idx="2107">
                  <c:v>2017/9/1</c:v>
                </c:pt>
                <c:pt idx="2108">
                  <c:v>2017/9/4</c:v>
                </c:pt>
                <c:pt idx="2109">
                  <c:v>2017/9/5</c:v>
                </c:pt>
                <c:pt idx="2110">
                  <c:v>2017/9/6</c:v>
                </c:pt>
                <c:pt idx="2111">
                  <c:v>2017/9/7</c:v>
                </c:pt>
                <c:pt idx="2112">
                  <c:v>2017/9/8</c:v>
                </c:pt>
                <c:pt idx="2113">
                  <c:v>2017/9/11</c:v>
                </c:pt>
                <c:pt idx="2114">
                  <c:v>2017/9/12</c:v>
                </c:pt>
                <c:pt idx="2115">
                  <c:v>2017/9/13</c:v>
                </c:pt>
                <c:pt idx="2116">
                  <c:v>2017/9/14</c:v>
                </c:pt>
                <c:pt idx="2117">
                  <c:v>2017/9/15</c:v>
                </c:pt>
                <c:pt idx="2118">
                  <c:v>2017/9/18</c:v>
                </c:pt>
                <c:pt idx="2119">
                  <c:v>2017/9/19</c:v>
                </c:pt>
                <c:pt idx="2120">
                  <c:v>2017/9/20</c:v>
                </c:pt>
                <c:pt idx="2121">
                  <c:v>2017/9/21</c:v>
                </c:pt>
                <c:pt idx="2122">
                  <c:v>2017/9/22</c:v>
                </c:pt>
                <c:pt idx="2123">
                  <c:v>2017/9/25</c:v>
                </c:pt>
                <c:pt idx="2124">
                  <c:v>2017/9/26</c:v>
                </c:pt>
                <c:pt idx="2125">
                  <c:v>2017/9/27</c:v>
                </c:pt>
                <c:pt idx="2126">
                  <c:v>2017/9/28</c:v>
                </c:pt>
                <c:pt idx="2127">
                  <c:v>2017/9/29</c:v>
                </c:pt>
                <c:pt idx="2128">
                  <c:v>2017/10/9</c:v>
                </c:pt>
                <c:pt idx="2129">
                  <c:v>2017/10/10</c:v>
                </c:pt>
                <c:pt idx="2130">
                  <c:v>2017/10/11</c:v>
                </c:pt>
                <c:pt idx="2131">
                  <c:v>2017/10/12</c:v>
                </c:pt>
                <c:pt idx="2132">
                  <c:v>2017/10/13</c:v>
                </c:pt>
                <c:pt idx="2133">
                  <c:v>2017/10/16</c:v>
                </c:pt>
                <c:pt idx="2134">
                  <c:v>2017/10/17</c:v>
                </c:pt>
                <c:pt idx="2135">
                  <c:v>2017/10/18</c:v>
                </c:pt>
                <c:pt idx="2136">
                  <c:v>2017/10/19</c:v>
                </c:pt>
                <c:pt idx="2137">
                  <c:v>2017/10/20</c:v>
                </c:pt>
                <c:pt idx="2138">
                  <c:v>2017/10/23</c:v>
                </c:pt>
                <c:pt idx="2139">
                  <c:v>2017/10/24</c:v>
                </c:pt>
                <c:pt idx="2140">
                  <c:v>2017/10/25</c:v>
                </c:pt>
                <c:pt idx="2141">
                  <c:v>2017/10/26</c:v>
                </c:pt>
                <c:pt idx="2142">
                  <c:v>2017/10/27</c:v>
                </c:pt>
                <c:pt idx="2143">
                  <c:v>2017/10/30</c:v>
                </c:pt>
                <c:pt idx="2144">
                  <c:v>2017/10/31</c:v>
                </c:pt>
                <c:pt idx="2145">
                  <c:v>2017/11/1</c:v>
                </c:pt>
                <c:pt idx="2146">
                  <c:v>2017/11/2</c:v>
                </c:pt>
                <c:pt idx="2147">
                  <c:v>2017/11/3</c:v>
                </c:pt>
                <c:pt idx="2148">
                  <c:v>2017/11/6</c:v>
                </c:pt>
                <c:pt idx="2149">
                  <c:v>2017/11/7</c:v>
                </c:pt>
                <c:pt idx="2150">
                  <c:v>2017/11/8</c:v>
                </c:pt>
                <c:pt idx="2151">
                  <c:v>2017/11/9</c:v>
                </c:pt>
                <c:pt idx="2152">
                  <c:v>2017/11/10</c:v>
                </c:pt>
                <c:pt idx="2153">
                  <c:v>2017/11/13</c:v>
                </c:pt>
                <c:pt idx="2154">
                  <c:v>2017/11/14</c:v>
                </c:pt>
                <c:pt idx="2155">
                  <c:v>2017/11/15</c:v>
                </c:pt>
                <c:pt idx="2156">
                  <c:v>2017/11/16</c:v>
                </c:pt>
                <c:pt idx="2157">
                  <c:v>2017/11/17</c:v>
                </c:pt>
                <c:pt idx="2158">
                  <c:v>2017/11/20</c:v>
                </c:pt>
                <c:pt idx="2159">
                  <c:v>2017/11/21</c:v>
                </c:pt>
                <c:pt idx="2160">
                  <c:v>2017/11/22</c:v>
                </c:pt>
                <c:pt idx="2161">
                  <c:v>2017/11/23</c:v>
                </c:pt>
                <c:pt idx="2162">
                  <c:v>2017/11/24</c:v>
                </c:pt>
                <c:pt idx="2163">
                  <c:v>2017/11/27</c:v>
                </c:pt>
                <c:pt idx="2164">
                  <c:v>2017/11/28</c:v>
                </c:pt>
                <c:pt idx="2165">
                  <c:v>2017/11/29</c:v>
                </c:pt>
                <c:pt idx="2166">
                  <c:v>2017/11/30</c:v>
                </c:pt>
                <c:pt idx="2167">
                  <c:v>2017/12/1</c:v>
                </c:pt>
                <c:pt idx="2168">
                  <c:v>2017/12/4</c:v>
                </c:pt>
                <c:pt idx="2169">
                  <c:v>2017/12/5</c:v>
                </c:pt>
                <c:pt idx="2170">
                  <c:v>2017/12/6</c:v>
                </c:pt>
                <c:pt idx="2171">
                  <c:v>2017/12/7</c:v>
                </c:pt>
                <c:pt idx="2172">
                  <c:v>2017/12/8</c:v>
                </c:pt>
                <c:pt idx="2173">
                  <c:v>2017/12/11</c:v>
                </c:pt>
                <c:pt idx="2174">
                  <c:v>2017/12/12</c:v>
                </c:pt>
                <c:pt idx="2175">
                  <c:v>2017/12/13</c:v>
                </c:pt>
                <c:pt idx="2176">
                  <c:v>2017/12/14</c:v>
                </c:pt>
                <c:pt idx="2177">
                  <c:v>2017/12/15</c:v>
                </c:pt>
                <c:pt idx="2178">
                  <c:v>2017/12/18</c:v>
                </c:pt>
                <c:pt idx="2179">
                  <c:v>2017/12/19</c:v>
                </c:pt>
                <c:pt idx="2180">
                  <c:v>2017/12/20</c:v>
                </c:pt>
                <c:pt idx="2181">
                  <c:v>2017/12/21</c:v>
                </c:pt>
                <c:pt idx="2182">
                  <c:v>2017/12/22</c:v>
                </c:pt>
                <c:pt idx="2183">
                  <c:v>2017/12/25</c:v>
                </c:pt>
                <c:pt idx="2184">
                  <c:v>2017/12/26</c:v>
                </c:pt>
                <c:pt idx="2185">
                  <c:v>2017/12/27</c:v>
                </c:pt>
                <c:pt idx="2186">
                  <c:v>2017/12/28</c:v>
                </c:pt>
                <c:pt idx="2187">
                  <c:v>2017/12/29</c:v>
                </c:pt>
                <c:pt idx="2188">
                  <c:v>2018/1/2</c:v>
                </c:pt>
                <c:pt idx="2189">
                  <c:v>2018/1/3</c:v>
                </c:pt>
                <c:pt idx="2190">
                  <c:v>2018/1/4</c:v>
                </c:pt>
                <c:pt idx="2191">
                  <c:v>2018/1/5</c:v>
                </c:pt>
                <c:pt idx="2192">
                  <c:v>2018/1/8</c:v>
                </c:pt>
                <c:pt idx="2193">
                  <c:v>2018/1/9</c:v>
                </c:pt>
                <c:pt idx="2194">
                  <c:v>2018/1/10</c:v>
                </c:pt>
                <c:pt idx="2195">
                  <c:v>2018/1/11</c:v>
                </c:pt>
                <c:pt idx="2196">
                  <c:v>2018/1/12</c:v>
                </c:pt>
                <c:pt idx="2197">
                  <c:v>2018/1/15</c:v>
                </c:pt>
                <c:pt idx="2198">
                  <c:v>2018/1/16</c:v>
                </c:pt>
                <c:pt idx="2199">
                  <c:v>2018/1/17</c:v>
                </c:pt>
                <c:pt idx="2200">
                  <c:v>2018/1/18</c:v>
                </c:pt>
                <c:pt idx="2201">
                  <c:v>2018/1/19</c:v>
                </c:pt>
                <c:pt idx="2202">
                  <c:v>2018/1/22</c:v>
                </c:pt>
                <c:pt idx="2203">
                  <c:v>2018/1/23</c:v>
                </c:pt>
                <c:pt idx="2204">
                  <c:v>2018/1/24</c:v>
                </c:pt>
                <c:pt idx="2205">
                  <c:v>2018/1/25</c:v>
                </c:pt>
                <c:pt idx="2206">
                  <c:v>2018/1/26</c:v>
                </c:pt>
                <c:pt idx="2207">
                  <c:v>2018/1/29</c:v>
                </c:pt>
                <c:pt idx="2208">
                  <c:v>2018/1/30</c:v>
                </c:pt>
                <c:pt idx="2209">
                  <c:v>2018/1/31</c:v>
                </c:pt>
                <c:pt idx="2210">
                  <c:v>2018/2/1</c:v>
                </c:pt>
                <c:pt idx="2211">
                  <c:v>2018/2/2</c:v>
                </c:pt>
                <c:pt idx="2212">
                  <c:v>2018/2/5</c:v>
                </c:pt>
                <c:pt idx="2213">
                  <c:v>2018/2/6</c:v>
                </c:pt>
                <c:pt idx="2214">
                  <c:v>2018/2/7</c:v>
                </c:pt>
                <c:pt idx="2215">
                  <c:v>2018/2/8</c:v>
                </c:pt>
                <c:pt idx="2216">
                  <c:v>2018/2/9</c:v>
                </c:pt>
                <c:pt idx="2217">
                  <c:v>2018/2/12</c:v>
                </c:pt>
                <c:pt idx="2218">
                  <c:v>2018/2/13</c:v>
                </c:pt>
                <c:pt idx="2219">
                  <c:v>2018/2/14</c:v>
                </c:pt>
                <c:pt idx="2220">
                  <c:v>2018/2/22</c:v>
                </c:pt>
                <c:pt idx="2221">
                  <c:v>2018/2/23</c:v>
                </c:pt>
                <c:pt idx="2222">
                  <c:v>2018/2/26</c:v>
                </c:pt>
                <c:pt idx="2223">
                  <c:v>2018/2/27</c:v>
                </c:pt>
                <c:pt idx="2224">
                  <c:v>2018/2/28</c:v>
                </c:pt>
                <c:pt idx="2225">
                  <c:v>2018/3/1</c:v>
                </c:pt>
                <c:pt idx="2226">
                  <c:v>2018/3/2</c:v>
                </c:pt>
                <c:pt idx="2227">
                  <c:v>2018/3/5</c:v>
                </c:pt>
                <c:pt idx="2228">
                  <c:v>2018/3/6</c:v>
                </c:pt>
                <c:pt idx="2229">
                  <c:v>2018/3/7</c:v>
                </c:pt>
                <c:pt idx="2230">
                  <c:v>2018/3/8</c:v>
                </c:pt>
                <c:pt idx="2231">
                  <c:v>2018/3/9</c:v>
                </c:pt>
                <c:pt idx="2232">
                  <c:v>2018/3/12</c:v>
                </c:pt>
                <c:pt idx="2233">
                  <c:v>2018/3/13</c:v>
                </c:pt>
                <c:pt idx="2234">
                  <c:v>2018/3/14</c:v>
                </c:pt>
                <c:pt idx="2235">
                  <c:v>2018/3/15</c:v>
                </c:pt>
                <c:pt idx="2236">
                  <c:v>2018/3/16</c:v>
                </c:pt>
                <c:pt idx="2237">
                  <c:v>2018/3/19</c:v>
                </c:pt>
                <c:pt idx="2238">
                  <c:v>2018/3/20</c:v>
                </c:pt>
                <c:pt idx="2239">
                  <c:v>2018/3/21</c:v>
                </c:pt>
                <c:pt idx="2240">
                  <c:v>2018/3/22</c:v>
                </c:pt>
                <c:pt idx="2241">
                  <c:v>2018/3/23</c:v>
                </c:pt>
                <c:pt idx="2242">
                  <c:v>2018/3/26</c:v>
                </c:pt>
                <c:pt idx="2243">
                  <c:v>2018/3/27</c:v>
                </c:pt>
                <c:pt idx="2244">
                  <c:v>2018/3/28</c:v>
                </c:pt>
                <c:pt idx="2245">
                  <c:v>2018/3/29</c:v>
                </c:pt>
                <c:pt idx="2246">
                  <c:v>2018/3/30</c:v>
                </c:pt>
                <c:pt idx="2247">
                  <c:v>2018/4/2</c:v>
                </c:pt>
                <c:pt idx="2248">
                  <c:v>2018/4/3</c:v>
                </c:pt>
                <c:pt idx="2249">
                  <c:v>2018/4/4</c:v>
                </c:pt>
                <c:pt idx="2250">
                  <c:v>2018/4/9</c:v>
                </c:pt>
                <c:pt idx="2251">
                  <c:v>2018/4/10</c:v>
                </c:pt>
                <c:pt idx="2252">
                  <c:v>2018/4/11</c:v>
                </c:pt>
                <c:pt idx="2253">
                  <c:v>2018/4/12</c:v>
                </c:pt>
                <c:pt idx="2254">
                  <c:v>2018/4/13</c:v>
                </c:pt>
                <c:pt idx="2255">
                  <c:v>2018/4/16</c:v>
                </c:pt>
                <c:pt idx="2256">
                  <c:v>2018/4/17</c:v>
                </c:pt>
                <c:pt idx="2257">
                  <c:v>2018/4/18</c:v>
                </c:pt>
                <c:pt idx="2258">
                  <c:v>2018/4/19</c:v>
                </c:pt>
                <c:pt idx="2259">
                  <c:v>2018/4/20</c:v>
                </c:pt>
                <c:pt idx="2260">
                  <c:v>2018/4/23</c:v>
                </c:pt>
                <c:pt idx="2261">
                  <c:v>2018/4/24</c:v>
                </c:pt>
                <c:pt idx="2262">
                  <c:v>2018/4/25</c:v>
                </c:pt>
                <c:pt idx="2263">
                  <c:v>2018/4/26</c:v>
                </c:pt>
                <c:pt idx="2264">
                  <c:v>2018/4/27</c:v>
                </c:pt>
                <c:pt idx="2265">
                  <c:v>2018/5/2</c:v>
                </c:pt>
                <c:pt idx="2266">
                  <c:v>2018/5/3</c:v>
                </c:pt>
                <c:pt idx="2267">
                  <c:v>2018/5/4</c:v>
                </c:pt>
                <c:pt idx="2268">
                  <c:v>2018/5/7</c:v>
                </c:pt>
                <c:pt idx="2269">
                  <c:v>2018/5/8</c:v>
                </c:pt>
                <c:pt idx="2270">
                  <c:v>2018/5/9</c:v>
                </c:pt>
                <c:pt idx="2271">
                  <c:v>2018/5/10</c:v>
                </c:pt>
                <c:pt idx="2272">
                  <c:v>2018/5/11</c:v>
                </c:pt>
                <c:pt idx="2273">
                  <c:v>2018/5/14</c:v>
                </c:pt>
                <c:pt idx="2274">
                  <c:v>2018/5/15</c:v>
                </c:pt>
                <c:pt idx="2275">
                  <c:v>2018/5/16</c:v>
                </c:pt>
                <c:pt idx="2276">
                  <c:v>2018/5/17</c:v>
                </c:pt>
                <c:pt idx="2277">
                  <c:v>2018/5/18</c:v>
                </c:pt>
                <c:pt idx="2278">
                  <c:v>2018/5/21</c:v>
                </c:pt>
                <c:pt idx="2279">
                  <c:v>2018/5/22</c:v>
                </c:pt>
                <c:pt idx="2280">
                  <c:v>2018/5/23</c:v>
                </c:pt>
                <c:pt idx="2281">
                  <c:v>2018/5/24</c:v>
                </c:pt>
                <c:pt idx="2282">
                  <c:v>2018/5/25</c:v>
                </c:pt>
                <c:pt idx="2283">
                  <c:v>2018/5/28</c:v>
                </c:pt>
                <c:pt idx="2284">
                  <c:v>2018/5/29</c:v>
                </c:pt>
                <c:pt idx="2285">
                  <c:v>2018/5/30</c:v>
                </c:pt>
                <c:pt idx="2286">
                  <c:v>2018/5/31</c:v>
                </c:pt>
                <c:pt idx="2287">
                  <c:v>2018/6/1</c:v>
                </c:pt>
                <c:pt idx="2288">
                  <c:v>2018/6/4</c:v>
                </c:pt>
                <c:pt idx="2289">
                  <c:v>2018/6/5</c:v>
                </c:pt>
                <c:pt idx="2290">
                  <c:v>2018/6/6</c:v>
                </c:pt>
                <c:pt idx="2291">
                  <c:v>2018/6/7</c:v>
                </c:pt>
                <c:pt idx="2292">
                  <c:v>2018/6/8</c:v>
                </c:pt>
                <c:pt idx="2293">
                  <c:v>2018/6/11</c:v>
                </c:pt>
                <c:pt idx="2294">
                  <c:v>2018/6/12</c:v>
                </c:pt>
                <c:pt idx="2295">
                  <c:v>2018/6/13</c:v>
                </c:pt>
                <c:pt idx="2296">
                  <c:v>2018/6/14</c:v>
                </c:pt>
                <c:pt idx="2297">
                  <c:v>2018/6/15</c:v>
                </c:pt>
                <c:pt idx="2298">
                  <c:v>2018/6/19</c:v>
                </c:pt>
                <c:pt idx="2299">
                  <c:v>2018/6/20</c:v>
                </c:pt>
                <c:pt idx="2300">
                  <c:v>2018/6/21</c:v>
                </c:pt>
                <c:pt idx="2301">
                  <c:v>2018/6/22</c:v>
                </c:pt>
                <c:pt idx="2302">
                  <c:v>2018/6/25</c:v>
                </c:pt>
                <c:pt idx="2303">
                  <c:v>2018/6/26</c:v>
                </c:pt>
                <c:pt idx="2304">
                  <c:v>2018/6/27</c:v>
                </c:pt>
                <c:pt idx="2305">
                  <c:v>2018/6/28</c:v>
                </c:pt>
                <c:pt idx="2306">
                  <c:v>2018/6/29</c:v>
                </c:pt>
                <c:pt idx="2307">
                  <c:v>2018/7/2</c:v>
                </c:pt>
                <c:pt idx="2308">
                  <c:v>2018/7/3</c:v>
                </c:pt>
                <c:pt idx="2309">
                  <c:v>2018/7/4</c:v>
                </c:pt>
                <c:pt idx="2310">
                  <c:v>2018/7/5</c:v>
                </c:pt>
                <c:pt idx="2311">
                  <c:v>2018/7/6</c:v>
                </c:pt>
                <c:pt idx="2312">
                  <c:v>2018/7/9</c:v>
                </c:pt>
                <c:pt idx="2313">
                  <c:v>2018/7/10</c:v>
                </c:pt>
                <c:pt idx="2314">
                  <c:v>2018/7/11</c:v>
                </c:pt>
                <c:pt idx="2315">
                  <c:v>2018/7/12</c:v>
                </c:pt>
                <c:pt idx="2316">
                  <c:v>2018/7/13</c:v>
                </c:pt>
                <c:pt idx="2317">
                  <c:v>2018/7/16</c:v>
                </c:pt>
                <c:pt idx="2318">
                  <c:v>2018/7/17</c:v>
                </c:pt>
                <c:pt idx="2319">
                  <c:v>2018/7/18</c:v>
                </c:pt>
                <c:pt idx="2320">
                  <c:v>2018/7/19</c:v>
                </c:pt>
                <c:pt idx="2321">
                  <c:v>2018/7/20</c:v>
                </c:pt>
                <c:pt idx="2322">
                  <c:v>2018/7/23</c:v>
                </c:pt>
                <c:pt idx="2323">
                  <c:v>2018/7/24</c:v>
                </c:pt>
                <c:pt idx="2324">
                  <c:v>2018/7/25</c:v>
                </c:pt>
                <c:pt idx="2325">
                  <c:v>2018/7/26</c:v>
                </c:pt>
                <c:pt idx="2326">
                  <c:v>2018/7/27</c:v>
                </c:pt>
                <c:pt idx="2327">
                  <c:v>2018/7/30</c:v>
                </c:pt>
                <c:pt idx="2328">
                  <c:v>2018/7/31</c:v>
                </c:pt>
                <c:pt idx="2329">
                  <c:v>2018/8/1</c:v>
                </c:pt>
                <c:pt idx="2330">
                  <c:v>2018/8/2</c:v>
                </c:pt>
                <c:pt idx="2331">
                  <c:v>2018/8/3</c:v>
                </c:pt>
                <c:pt idx="2332">
                  <c:v>2018/8/6</c:v>
                </c:pt>
                <c:pt idx="2333">
                  <c:v>2018/8/7</c:v>
                </c:pt>
                <c:pt idx="2334">
                  <c:v>2018/8/8</c:v>
                </c:pt>
                <c:pt idx="2335">
                  <c:v>2018/8/9</c:v>
                </c:pt>
                <c:pt idx="2336">
                  <c:v>2018/8/10</c:v>
                </c:pt>
                <c:pt idx="2337">
                  <c:v>2018/8/13</c:v>
                </c:pt>
                <c:pt idx="2338">
                  <c:v>2018/8/14</c:v>
                </c:pt>
                <c:pt idx="2339">
                  <c:v>2018/8/15</c:v>
                </c:pt>
                <c:pt idx="2340">
                  <c:v>2018/8/16</c:v>
                </c:pt>
                <c:pt idx="2341">
                  <c:v>2018/8/17</c:v>
                </c:pt>
                <c:pt idx="2342">
                  <c:v>2018/8/20</c:v>
                </c:pt>
                <c:pt idx="2343">
                  <c:v>2018/8/21</c:v>
                </c:pt>
                <c:pt idx="2344">
                  <c:v>2018/8/22</c:v>
                </c:pt>
                <c:pt idx="2345">
                  <c:v>2018/8/23</c:v>
                </c:pt>
                <c:pt idx="2346">
                  <c:v>2018/8/24</c:v>
                </c:pt>
                <c:pt idx="2347">
                  <c:v>2018/8/27</c:v>
                </c:pt>
                <c:pt idx="2348">
                  <c:v>2018/8/28</c:v>
                </c:pt>
                <c:pt idx="2349">
                  <c:v>2018/8/29</c:v>
                </c:pt>
                <c:pt idx="2350">
                  <c:v>2018/8/30</c:v>
                </c:pt>
                <c:pt idx="2351">
                  <c:v>2018/8/31</c:v>
                </c:pt>
                <c:pt idx="2352">
                  <c:v>2018/9/3</c:v>
                </c:pt>
                <c:pt idx="2353">
                  <c:v>2018/9/4</c:v>
                </c:pt>
                <c:pt idx="2354">
                  <c:v>2018/9/5</c:v>
                </c:pt>
                <c:pt idx="2355">
                  <c:v>2018/9/6</c:v>
                </c:pt>
                <c:pt idx="2356">
                  <c:v>2018/9/7</c:v>
                </c:pt>
                <c:pt idx="2357">
                  <c:v>2018/9/10</c:v>
                </c:pt>
                <c:pt idx="2358">
                  <c:v>2018/9/11</c:v>
                </c:pt>
                <c:pt idx="2359">
                  <c:v>2018/9/12</c:v>
                </c:pt>
                <c:pt idx="2360">
                  <c:v>2018/9/13</c:v>
                </c:pt>
                <c:pt idx="2361">
                  <c:v>2018/9/14</c:v>
                </c:pt>
                <c:pt idx="2362">
                  <c:v>2018/9/17</c:v>
                </c:pt>
                <c:pt idx="2363">
                  <c:v>2018/9/18</c:v>
                </c:pt>
                <c:pt idx="2364">
                  <c:v>2018/9/19</c:v>
                </c:pt>
                <c:pt idx="2365">
                  <c:v>2018/9/20</c:v>
                </c:pt>
                <c:pt idx="2366">
                  <c:v>2018/9/21</c:v>
                </c:pt>
                <c:pt idx="2367">
                  <c:v>2018/9/25</c:v>
                </c:pt>
                <c:pt idx="2368">
                  <c:v>2018/9/26</c:v>
                </c:pt>
                <c:pt idx="2369">
                  <c:v>2018/9/27</c:v>
                </c:pt>
                <c:pt idx="2370">
                  <c:v>2018/9/28</c:v>
                </c:pt>
                <c:pt idx="2371">
                  <c:v>2018/10/8</c:v>
                </c:pt>
                <c:pt idx="2372">
                  <c:v>2018/10/9</c:v>
                </c:pt>
                <c:pt idx="2373">
                  <c:v>2018/10/10</c:v>
                </c:pt>
                <c:pt idx="2374">
                  <c:v>2018/10/11</c:v>
                </c:pt>
                <c:pt idx="2375">
                  <c:v>2018/10/12</c:v>
                </c:pt>
                <c:pt idx="2376">
                  <c:v>2018/10/15</c:v>
                </c:pt>
                <c:pt idx="2377">
                  <c:v>2018/10/16</c:v>
                </c:pt>
                <c:pt idx="2378">
                  <c:v>2018/10/17</c:v>
                </c:pt>
                <c:pt idx="2379">
                  <c:v>2018/10/18</c:v>
                </c:pt>
                <c:pt idx="2380">
                  <c:v>2018/10/19</c:v>
                </c:pt>
                <c:pt idx="2381">
                  <c:v>2018/10/22</c:v>
                </c:pt>
                <c:pt idx="2382">
                  <c:v>2018/10/23</c:v>
                </c:pt>
                <c:pt idx="2383">
                  <c:v>2018/10/24</c:v>
                </c:pt>
                <c:pt idx="2384">
                  <c:v>2018/10/25</c:v>
                </c:pt>
                <c:pt idx="2385">
                  <c:v>2018/10/26</c:v>
                </c:pt>
                <c:pt idx="2386">
                  <c:v>2018/10/29</c:v>
                </c:pt>
                <c:pt idx="2387">
                  <c:v>2018/10/30</c:v>
                </c:pt>
                <c:pt idx="2388">
                  <c:v>2018/10/31</c:v>
                </c:pt>
                <c:pt idx="2389">
                  <c:v>2018/11/1</c:v>
                </c:pt>
                <c:pt idx="2390">
                  <c:v>2018/11/2</c:v>
                </c:pt>
                <c:pt idx="2391">
                  <c:v>2018/11/5</c:v>
                </c:pt>
                <c:pt idx="2392">
                  <c:v>2018/11/6</c:v>
                </c:pt>
                <c:pt idx="2393">
                  <c:v>2018/11/7</c:v>
                </c:pt>
                <c:pt idx="2394">
                  <c:v>2018/11/8</c:v>
                </c:pt>
                <c:pt idx="2395">
                  <c:v>2018/11/9</c:v>
                </c:pt>
                <c:pt idx="2396">
                  <c:v>2018/11/12</c:v>
                </c:pt>
                <c:pt idx="2397">
                  <c:v>2018/11/13</c:v>
                </c:pt>
                <c:pt idx="2398">
                  <c:v>2018/11/14</c:v>
                </c:pt>
                <c:pt idx="2399">
                  <c:v>2018/11/15</c:v>
                </c:pt>
                <c:pt idx="2400">
                  <c:v>2018/11/16</c:v>
                </c:pt>
                <c:pt idx="2401">
                  <c:v>2018/11/19</c:v>
                </c:pt>
                <c:pt idx="2402">
                  <c:v>2018/11/20</c:v>
                </c:pt>
                <c:pt idx="2403">
                  <c:v>2018/11/21</c:v>
                </c:pt>
                <c:pt idx="2404">
                  <c:v>2018/11/22</c:v>
                </c:pt>
                <c:pt idx="2405">
                  <c:v>2018/11/23</c:v>
                </c:pt>
                <c:pt idx="2406">
                  <c:v>2018/11/26</c:v>
                </c:pt>
                <c:pt idx="2407">
                  <c:v>2018/11/27</c:v>
                </c:pt>
                <c:pt idx="2408">
                  <c:v>2018/11/28</c:v>
                </c:pt>
                <c:pt idx="2409">
                  <c:v>2018/11/29</c:v>
                </c:pt>
                <c:pt idx="2410">
                  <c:v>2018/11/30</c:v>
                </c:pt>
                <c:pt idx="2411">
                  <c:v>2018/12/3</c:v>
                </c:pt>
                <c:pt idx="2412">
                  <c:v>2018/12/4</c:v>
                </c:pt>
                <c:pt idx="2413">
                  <c:v>2018/12/5</c:v>
                </c:pt>
                <c:pt idx="2414">
                  <c:v>2018/12/6</c:v>
                </c:pt>
                <c:pt idx="2415">
                  <c:v>2018/12/7</c:v>
                </c:pt>
                <c:pt idx="2416">
                  <c:v>2018/12/10</c:v>
                </c:pt>
                <c:pt idx="2417">
                  <c:v>2018/12/11</c:v>
                </c:pt>
                <c:pt idx="2418">
                  <c:v>2018/12/12</c:v>
                </c:pt>
                <c:pt idx="2419">
                  <c:v>2018/12/13</c:v>
                </c:pt>
                <c:pt idx="2420">
                  <c:v>2018/12/14</c:v>
                </c:pt>
                <c:pt idx="2421">
                  <c:v>2018/12/17</c:v>
                </c:pt>
                <c:pt idx="2422">
                  <c:v>2018/12/18</c:v>
                </c:pt>
                <c:pt idx="2423">
                  <c:v>2018/12/19</c:v>
                </c:pt>
                <c:pt idx="2424">
                  <c:v>2018/12/20</c:v>
                </c:pt>
                <c:pt idx="2425">
                  <c:v>2018/12/21</c:v>
                </c:pt>
                <c:pt idx="2426">
                  <c:v>2018/12/24</c:v>
                </c:pt>
                <c:pt idx="2427">
                  <c:v>2018/12/25</c:v>
                </c:pt>
                <c:pt idx="2428">
                  <c:v>2018/12/26</c:v>
                </c:pt>
                <c:pt idx="2429">
                  <c:v>2018/12/27</c:v>
                </c:pt>
                <c:pt idx="2430">
                  <c:v>2018/12/28</c:v>
                </c:pt>
                <c:pt idx="2431">
                  <c:v>2019/1/2</c:v>
                </c:pt>
                <c:pt idx="2432">
                  <c:v>2019/1/3</c:v>
                </c:pt>
                <c:pt idx="2433">
                  <c:v>2019/1/4</c:v>
                </c:pt>
                <c:pt idx="2434">
                  <c:v>2019/1/7</c:v>
                </c:pt>
                <c:pt idx="2435">
                  <c:v>2019/1/8</c:v>
                </c:pt>
                <c:pt idx="2436">
                  <c:v>2019/1/9</c:v>
                </c:pt>
                <c:pt idx="2437">
                  <c:v>2019/1/10</c:v>
                </c:pt>
                <c:pt idx="2438">
                  <c:v>2019/1/11</c:v>
                </c:pt>
                <c:pt idx="2439">
                  <c:v>2019/1/14</c:v>
                </c:pt>
                <c:pt idx="2440">
                  <c:v>2019/1/15</c:v>
                </c:pt>
                <c:pt idx="2441">
                  <c:v>2019/1/16</c:v>
                </c:pt>
                <c:pt idx="2442">
                  <c:v>2019/1/17</c:v>
                </c:pt>
                <c:pt idx="2443">
                  <c:v>2019/1/18</c:v>
                </c:pt>
                <c:pt idx="2444">
                  <c:v>2019/1/21</c:v>
                </c:pt>
                <c:pt idx="2445">
                  <c:v>2019/1/22</c:v>
                </c:pt>
                <c:pt idx="2446">
                  <c:v>2019/1/23</c:v>
                </c:pt>
                <c:pt idx="2447">
                  <c:v>2019/1/24</c:v>
                </c:pt>
                <c:pt idx="2448">
                  <c:v>2019/1/25</c:v>
                </c:pt>
                <c:pt idx="2449">
                  <c:v>2019/1/28</c:v>
                </c:pt>
                <c:pt idx="2450">
                  <c:v>2019/1/29</c:v>
                </c:pt>
                <c:pt idx="2451">
                  <c:v>2019/1/30</c:v>
                </c:pt>
                <c:pt idx="2452">
                  <c:v>2019/1/31</c:v>
                </c:pt>
                <c:pt idx="2453">
                  <c:v>2019/2/1</c:v>
                </c:pt>
                <c:pt idx="2454">
                  <c:v>2019/2/11</c:v>
                </c:pt>
                <c:pt idx="2455">
                  <c:v>2019/2/12</c:v>
                </c:pt>
                <c:pt idx="2456">
                  <c:v>2019/2/13</c:v>
                </c:pt>
                <c:pt idx="2457">
                  <c:v>2019/2/14</c:v>
                </c:pt>
                <c:pt idx="2458">
                  <c:v>2019/2/15</c:v>
                </c:pt>
                <c:pt idx="2459">
                  <c:v>2019/2/18</c:v>
                </c:pt>
                <c:pt idx="2460">
                  <c:v>2019/2/19</c:v>
                </c:pt>
                <c:pt idx="2461">
                  <c:v>2019/2/20</c:v>
                </c:pt>
                <c:pt idx="2462">
                  <c:v>2019/2/21</c:v>
                </c:pt>
                <c:pt idx="2463">
                  <c:v>2019/2/22</c:v>
                </c:pt>
                <c:pt idx="2464">
                  <c:v>2019/2/25</c:v>
                </c:pt>
                <c:pt idx="2465">
                  <c:v>2019/2/26</c:v>
                </c:pt>
                <c:pt idx="2466">
                  <c:v>2019/2/27</c:v>
                </c:pt>
                <c:pt idx="2467">
                  <c:v>2019/2/28</c:v>
                </c:pt>
                <c:pt idx="2468">
                  <c:v>2019/3/1</c:v>
                </c:pt>
                <c:pt idx="2469">
                  <c:v>2019/3/4</c:v>
                </c:pt>
                <c:pt idx="2470">
                  <c:v>2019/3/5</c:v>
                </c:pt>
                <c:pt idx="2471">
                  <c:v>2019/3/6</c:v>
                </c:pt>
                <c:pt idx="2472">
                  <c:v>2019/3/7</c:v>
                </c:pt>
                <c:pt idx="2473">
                  <c:v>2019/3/8</c:v>
                </c:pt>
                <c:pt idx="2474">
                  <c:v>2019/3/11</c:v>
                </c:pt>
                <c:pt idx="2475">
                  <c:v>2019/3/12</c:v>
                </c:pt>
                <c:pt idx="2476">
                  <c:v>2019/3/13</c:v>
                </c:pt>
                <c:pt idx="2477">
                  <c:v>2019/3/14</c:v>
                </c:pt>
                <c:pt idx="2478">
                  <c:v>2019/3/15</c:v>
                </c:pt>
                <c:pt idx="2479">
                  <c:v>2019/3/18</c:v>
                </c:pt>
                <c:pt idx="2480">
                  <c:v>2019/3/19</c:v>
                </c:pt>
                <c:pt idx="2481">
                  <c:v>2019/3/20</c:v>
                </c:pt>
                <c:pt idx="2482">
                  <c:v>2019/3/21</c:v>
                </c:pt>
                <c:pt idx="2483">
                  <c:v>2019/3/22</c:v>
                </c:pt>
                <c:pt idx="2484">
                  <c:v>2019/3/25</c:v>
                </c:pt>
                <c:pt idx="2485">
                  <c:v>2019/3/26</c:v>
                </c:pt>
                <c:pt idx="2486">
                  <c:v>2019/3/27</c:v>
                </c:pt>
                <c:pt idx="2487">
                  <c:v>2019/3/28</c:v>
                </c:pt>
                <c:pt idx="2488">
                  <c:v>2019/3/29</c:v>
                </c:pt>
                <c:pt idx="2489">
                  <c:v>2019/4/1</c:v>
                </c:pt>
                <c:pt idx="2490">
                  <c:v>2019/4/2</c:v>
                </c:pt>
                <c:pt idx="2491">
                  <c:v>2019/4/3</c:v>
                </c:pt>
                <c:pt idx="2492">
                  <c:v>2019/4/4</c:v>
                </c:pt>
                <c:pt idx="2493">
                  <c:v>2019/4/8</c:v>
                </c:pt>
                <c:pt idx="2494">
                  <c:v>2019/4/9</c:v>
                </c:pt>
                <c:pt idx="2495">
                  <c:v>2019/4/10</c:v>
                </c:pt>
                <c:pt idx="2496">
                  <c:v>2019/4/11</c:v>
                </c:pt>
                <c:pt idx="2497">
                  <c:v>2019/4/12</c:v>
                </c:pt>
                <c:pt idx="2498">
                  <c:v>2019/4/15</c:v>
                </c:pt>
                <c:pt idx="2499">
                  <c:v>2019/4/16</c:v>
                </c:pt>
                <c:pt idx="2500">
                  <c:v>2019/4/17</c:v>
                </c:pt>
                <c:pt idx="2501">
                  <c:v>2019/4/18</c:v>
                </c:pt>
                <c:pt idx="2502">
                  <c:v>2019/4/19</c:v>
                </c:pt>
                <c:pt idx="2503">
                  <c:v>2019/4/22</c:v>
                </c:pt>
                <c:pt idx="2504">
                  <c:v>2019/4/23</c:v>
                </c:pt>
                <c:pt idx="2505">
                  <c:v>2019/4/24</c:v>
                </c:pt>
                <c:pt idx="2506">
                  <c:v>2019/4/25</c:v>
                </c:pt>
                <c:pt idx="2507">
                  <c:v>2019/4/26</c:v>
                </c:pt>
                <c:pt idx="2508">
                  <c:v>2019/4/29</c:v>
                </c:pt>
                <c:pt idx="2509">
                  <c:v>2019/4/30</c:v>
                </c:pt>
                <c:pt idx="2510">
                  <c:v>2019/5/6</c:v>
                </c:pt>
                <c:pt idx="2511">
                  <c:v>2019/5/7</c:v>
                </c:pt>
                <c:pt idx="2512">
                  <c:v>2019/5/8</c:v>
                </c:pt>
                <c:pt idx="2513">
                  <c:v>2019/5/9</c:v>
                </c:pt>
                <c:pt idx="2514">
                  <c:v>2019/5/10</c:v>
                </c:pt>
                <c:pt idx="2515">
                  <c:v>2019/5/13</c:v>
                </c:pt>
                <c:pt idx="2516">
                  <c:v>2019/5/14</c:v>
                </c:pt>
                <c:pt idx="2517">
                  <c:v>2019/5/15</c:v>
                </c:pt>
                <c:pt idx="2518">
                  <c:v>2019/5/16</c:v>
                </c:pt>
                <c:pt idx="2519">
                  <c:v>2019/5/17</c:v>
                </c:pt>
                <c:pt idx="2520">
                  <c:v>2019/5/20</c:v>
                </c:pt>
                <c:pt idx="2521">
                  <c:v>2019/5/21</c:v>
                </c:pt>
                <c:pt idx="2522">
                  <c:v>2019/5/22</c:v>
                </c:pt>
                <c:pt idx="2523">
                  <c:v>2019/5/23</c:v>
                </c:pt>
                <c:pt idx="2524">
                  <c:v>2019/5/24</c:v>
                </c:pt>
                <c:pt idx="2525">
                  <c:v>2019/5/27</c:v>
                </c:pt>
                <c:pt idx="2526">
                  <c:v>2019/5/28</c:v>
                </c:pt>
                <c:pt idx="2527">
                  <c:v>2019/5/29</c:v>
                </c:pt>
                <c:pt idx="2528">
                  <c:v>2019/5/30</c:v>
                </c:pt>
                <c:pt idx="2529">
                  <c:v>2019/5/31</c:v>
                </c:pt>
                <c:pt idx="2530">
                  <c:v>2019/6/3</c:v>
                </c:pt>
                <c:pt idx="2531">
                  <c:v>2019/6/4</c:v>
                </c:pt>
                <c:pt idx="2532">
                  <c:v>2019/6/5</c:v>
                </c:pt>
                <c:pt idx="2533">
                  <c:v>2019/6/6</c:v>
                </c:pt>
                <c:pt idx="2534">
                  <c:v>2019/6/10</c:v>
                </c:pt>
                <c:pt idx="2535">
                  <c:v>2019/6/11</c:v>
                </c:pt>
                <c:pt idx="2536">
                  <c:v>2019/6/12</c:v>
                </c:pt>
                <c:pt idx="2537">
                  <c:v>2019/6/13</c:v>
                </c:pt>
                <c:pt idx="2538">
                  <c:v>2019/6/14</c:v>
                </c:pt>
                <c:pt idx="2539">
                  <c:v>2019/6/17</c:v>
                </c:pt>
                <c:pt idx="2540">
                  <c:v>2019/6/18</c:v>
                </c:pt>
                <c:pt idx="2541">
                  <c:v>2019/6/19</c:v>
                </c:pt>
                <c:pt idx="2542">
                  <c:v>2019/6/20</c:v>
                </c:pt>
                <c:pt idx="2543">
                  <c:v>2019/6/21</c:v>
                </c:pt>
                <c:pt idx="2544">
                  <c:v>2019/6/24</c:v>
                </c:pt>
                <c:pt idx="2545">
                  <c:v>2019/6/25</c:v>
                </c:pt>
                <c:pt idx="2546">
                  <c:v>2019/6/26</c:v>
                </c:pt>
                <c:pt idx="2547">
                  <c:v>2019/6/27</c:v>
                </c:pt>
                <c:pt idx="2548">
                  <c:v>2019/6/28</c:v>
                </c:pt>
                <c:pt idx="2549">
                  <c:v>2019/7/1</c:v>
                </c:pt>
                <c:pt idx="2550">
                  <c:v>2019/7/2</c:v>
                </c:pt>
                <c:pt idx="2551">
                  <c:v>2019/7/3</c:v>
                </c:pt>
                <c:pt idx="2552">
                  <c:v>2019/7/4</c:v>
                </c:pt>
                <c:pt idx="2553">
                  <c:v>2019/7/5</c:v>
                </c:pt>
                <c:pt idx="2554">
                  <c:v>2019/7/8</c:v>
                </c:pt>
                <c:pt idx="2555">
                  <c:v>2019/7/9</c:v>
                </c:pt>
                <c:pt idx="2556">
                  <c:v>2019/7/10</c:v>
                </c:pt>
                <c:pt idx="2557">
                  <c:v>2019/7/11</c:v>
                </c:pt>
                <c:pt idx="2558">
                  <c:v>2019/7/12</c:v>
                </c:pt>
                <c:pt idx="2559">
                  <c:v>2019/7/15</c:v>
                </c:pt>
                <c:pt idx="2560">
                  <c:v>2019/7/16</c:v>
                </c:pt>
                <c:pt idx="2561">
                  <c:v>2019/7/17</c:v>
                </c:pt>
                <c:pt idx="2562">
                  <c:v>2019/7/18</c:v>
                </c:pt>
                <c:pt idx="2563">
                  <c:v>2019/7/19</c:v>
                </c:pt>
                <c:pt idx="2564">
                  <c:v>2019/7/22</c:v>
                </c:pt>
                <c:pt idx="2565">
                  <c:v>2019/7/23</c:v>
                </c:pt>
                <c:pt idx="2566">
                  <c:v>2019/7/24</c:v>
                </c:pt>
                <c:pt idx="2567">
                  <c:v>2019/7/25</c:v>
                </c:pt>
                <c:pt idx="2568">
                  <c:v>2019/7/26</c:v>
                </c:pt>
                <c:pt idx="2569">
                  <c:v>2019/7/29</c:v>
                </c:pt>
                <c:pt idx="2570">
                  <c:v>2019/7/30</c:v>
                </c:pt>
                <c:pt idx="2571">
                  <c:v>2019/7/31</c:v>
                </c:pt>
                <c:pt idx="2572">
                  <c:v>2019/8/1</c:v>
                </c:pt>
                <c:pt idx="2573">
                  <c:v>2019/8/2</c:v>
                </c:pt>
                <c:pt idx="2574">
                  <c:v>2019/8/5</c:v>
                </c:pt>
                <c:pt idx="2575">
                  <c:v>2019/8/6</c:v>
                </c:pt>
                <c:pt idx="2576">
                  <c:v>2019/8/7</c:v>
                </c:pt>
                <c:pt idx="2577">
                  <c:v>2019/8/8</c:v>
                </c:pt>
                <c:pt idx="2578">
                  <c:v>2019/8/9</c:v>
                </c:pt>
                <c:pt idx="2579">
                  <c:v>2019/8/12</c:v>
                </c:pt>
                <c:pt idx="2580">
                  <c:v>2019/8/13</c:v>
                </c:pt>
                <c:pt idx="2581">
                  <c:v>2019/8/14</c:v>
                </c:pt>
                <c:pt idx="2582">
                  <c:v>2019/8/15</c:v>
                </c:pt>
                <c:pt idx="2583">
                  <c:v>2019/8/16</c:v>
                </c:pt>
                <c:pt idx="2584">
                  <c:v>2019/8/19</c:v>
                </c:pt>
                <c:pt idx="2585">
                  <c:v>2019/8/20</c:v>
                </c:pt>
                <c:pt idx="2586">
                  <c:v>2019/8/21</c:v>
                </c:pt>
                <c:pt idx="2587">
                  <c:v>2019/8/22</c:v>
                </c:pt>
                <c:pt idx="2588">
                  <c:v>2019/8/23</c:v>
                </c:pt>
                <c:pt idx="2589">
                  <c:v>2019/8/26</c:v>
                </c:pt>
                <c:pt idx="2590">
                  <c:v>2019/8/27</c:v>
                </c:pt>
                <c:pt idx="2591">
                  <c:v>2019/8/28</c:v>
                </c:pt>
                <c:pt idx="2592">
                  <c:v>2019/8/29</c:v>
                </c:pt>
                <c:pt idx="2593">
                  <c:v>2019/8/30</c:v>
                </c:pt>
                <c:pt idx="2594">
                  <c:v>2019/9/2</c:v>
                </c:pt>
                <c:pt idx="2595">
                  <c:v>2019/9/3</c:v>
                </c:pt>
                <c:pt idx="2596">
                  <c:v>2019/9/4</c:v>
                </c:pt>
                <c:pt idx="2597">
                  <c:v>2019/9/5</c:v>
                </c:pt>
                <c:pt idx="2598">
                  <c:v>2019/9/6</c:v>
                </c:pt>
                <c:pt idx="2599">
                  <c:v>2019/9/9</c:v>
                </c:pt>
                <c:pt idx="2600">
                  <c:v>2019/9/10</c:v>
                </c:pt>
                <c:pt idx="2601">
                  <c:v>2019/9/11</c:v>
                </c:pt>
                <c:pt idx="2602">
                  <c:v>2019/9/12</c:v>
                </c:pt>
                <c:pt idx="2603">
                  <c:v>2019/9/16</c:v>
                </c:pt>
                <c:pt idx="2604">
                  <c:v>2019/9/17</c:v>
                </c:pt>
                <c:pt idx="2605">
                  <c:v>2019/9/18</c:v>
                </c:pt>
                <c:pt idx="2606">
                  <c:v>2019/9/19</c:v>
                </c:pt>
                <c:pt idx="2607">
                  <c:v>2019/9/20</c:v>
                </c:pt>
                <c:pt idx="2608">
                  <c:v>2019/9/23</c:v>
                </c:pt>
                <c:pt idx="2609">
                  <c:v>2019/9/24</c:v>
                </c:pt>
                <c:pt idx="2610">
                  <c:v>2019/9/25</c:v>
                </c:pt>
                <c:pt idx="2611">
                  <c:v>2019/9/26</c:v>
                </c:pt>
                <c:pt idx="2612">
                  <c:v>2019/9/27</c:v>
                </c:pt>
                <c:pt idx="2613">
                  <c:v>2019/9/30</c:v>
                </c:pt>
                <c:pt idx="2614">
                  <c:v>2019/10/8</c:v>
                </c:pt>
                <c:pt idx="2615">
                  <c:v>2019/10/9</c:v>
                </c:pt>
                <c:pt idx="2616">
                  <c:v>2019/10/10</c:v>
                </c:pt>
                <c:pt idx="2617">
                  <c:v>2019/10/11</c:v>
                </c:pt>
                <c:pt idx="2618">
                  <c:v>2019/10/14</c:v>
                </c:pt>
                <c:pt idx="2619">
                  <c:v>2019/10/15</c:v>
                </c:pt>
                <c:pt idx="2620">
                  <c:v>2019/10/16</c:v>
                </c:pt>
                <c:pt idx="2621">
                  <c:v>2019/10/17</c:v>
                </c:pt>
                <c:pt idx="2622">
                  <c:v>2019/10/18</c:v>
                </c:pt>
                <c:pt idx="2623">
                  <c:v>2019/10/21</c:v>
                </c:pt>
                <c:pt idx="2624">
                  <c:v>2019/10/22</c:v>
                </c:pt>
                <c:pt idx="2625">
                  <c:v>2019/10/23</c:v>
                </c:pt>
                <c:pt idx="2626">
                  <c:v>2019/10/24</c:v>
                </c:pt>
                <c:pt idx="2627">
                  <c:v>2019/10/25</c:v>
                </c:pt>
                <c:pt idx="2628">
                  <c:v>2019/10/28</c:v>
                </c:pt>
                <c:pt idx="2629">
                  <c:v>2019/10/29</c:v>
                </c:pt>
                <c:pt idx="2630">
                  <c:v>2019/10/30</c:v>
                </c:pt>
                <c:pt idx="2631">
                  <c:v>2019/10/31</c:v>
                </c:pt>
                <c:pt idx="2632">
                  <c:v>2019/11/1</c:v>
                </c:pt>
                <c:pt idx="2633">
                  <c:v>2019/11/4</c:v>
                </c:pt>
                <c:pt idx="2634">
                  <c:v>2019/11/5</c:v>
                </c:pt>
                <c:pt idx="2635">
                  <c:v>2019/11/6</c:v>
                </c:pt>
                <c:pt idx="2636">
                  <c:v>2019/11/7</c:v>
                </c:pt>
                <c:pt idx="2637">
                  <c:v>2019/11/8</c:v>
                </c:pt>
                <c:pt idx="2638">
                  <c:v>2019/11/11</c:v>
                </c:pt>
                <c:pt idx="2639">
                  <c:v>2019/11/12</c:v>
                </c:pt>
                <c:pt idx="2640">
                  <c:v>2019/11/13</c:v>
                </c:pt>
                <c:pt idx="2641">
                  <c:v>2019/11/14</c:v>
                </c:pt>
                <c:pt idx="2642">
                  <c:v>2019/11/15</c:v>
                </c:pt>
                <c:pt idx="2643">
                  <c:v>2019/11/18</c:v>
                </c:pt>
                <c:pt idx="2644">
                  <c:v>2019/11/19</c:v>
                </c:pt>
                <c:pt idx="2645">
                  <c:v>2019/11/20</c:v>
                </c:pt>
                <c:pt idx="2646">
                  <c:v>2019/11/21</c:v>
                </c:pt>
                <c:pt idx="2647">
                  <c:v>2019/11/22</c:v>
                </c:pt>
                <c:pt idx="2648">
                  <c:v>2019/11/25</c:v>
                </c:pt>
                <c:pt idx="2649">
                  <c:v>2019/11/26</c:v>
                </c:pt>
                <c:pt idx="2650">
                  <c:v>2019/11/27</c:v>
                </c:pt>
                <c:pt idx="2651">
                  <c:v>2019/11/28</c:v>
                </c:pt>
                <c:pt idx="2652">
                  <c:v>2019/11/29</c:v>
                </c:pt>
                <c:pt idx="2653">
                  <c:v>2019/12/2</c:v>
                </c:pt>
                <c:pt idx="2654">
                  <c:v>2019/12/3</c:v>
                </c:pt>
                <c:pt idx="2655">
                  <c:v>2019/12/4</c:v>
                </c:pt>
                <c:pt idx="2656">
                  <c:v>2019/12/5</c:v>
                </c:pt>
                <c:pt idx="2657">
                  <c:v>2019/12/6</c:v>
                </c:pt>
                <c:pt idx="2658">
                  <c:v>2019/12/9</c:v>
                </c:pt>
                <c:pt idx="2659">
                  <c:v>2019/12/10</c:v>
                </c:pt>
                <c:pt idx="2660">
                  <c:v>2019/12/11</c:v>
                </c:pt>
                <c:pt idx="2661">
                  <c:v>2019/12/12</c:v>
                </c:pt>
                <c:pt idx="2662">
                  <c:v>2019/12/13</c:v>
                </c:pt>
                <c:pt idx="2663">
                  <c:v>2019/12/16</c:v>
                </c:pt>
                <c:pt idx="2664">
                  <c:v>2019/12/17</c:v>
                </c:pt>
                <c:pt idx="2665">
                  <c:v>2019/12/18</c:v>
                </c:pt>
                <c:pt idx="2666">
                  <c:v>2019/12/19</c:v>
                </c:pt>
                <c:pt idx="2667">
                  <c:v>2019/12/20</c:v>
                </c:pt>
                <c:pt idx="2668">
                  <c:v>2019/12/23</c:v>
                </c:pt>
                <c:pt idx="2669">
                  <c:v>2019/12/24</c:v>
                </c:pt>
                <c:pt idx="2670">
                  <c:v>2019/12/25</c:v>
                </c:pt>
                <c:pt idx="2671">
                  <c:v>2019/12/26</c:v>
                </c:pt>
                <c:pt idx="2672">
                  <c:v>2019/12/27</c:v>
                </c:pt>
                <c:pt idx="2673">
                  <c:v>2019/12/30</c:v>
                </c:pt>
                <c:pt idx="2674">
                  <c:v>2019/12/31</c:v>
                </c:pt>
                <c:pt idx="2675">
                  <c:v>2020/1/2</c:v>
                </c:pt>
                <c:pt idx="2676">
                  <c:v>2020/1/3</c:v>
                </c:pt>
                <c:pt idx="2677">
                  <c:v>2020/1/6</c:v>
                </c:pt>
                <c:pt idx="2678">
                  <c:v>2020/1/7</c:v>
                </c:pt>
                <c:pt idx="2679">
                  <c:v>2020/1/8</c:v>
                </c:pt>
                <c:pt idx="2680">
                  <c:v>2020/1/9</c:v>
                </c:pt>
                <c:pt idx="2681">
                  <c:v>2020/1/10</c:v>
                </c:pt>
                <c:pt idx="2682">
                  <c:v>2020/1/13</c:v>
                </c:pt>
                <c:pt idx="2683">
                  <c:v>2020/1/14</c:v>
                </c:pt>
                <c:pt idx="2684">
                  <c:v>2020/1/15</c:v>
                </c:pt>
                <c:pt idx="2685">
                  <c:v>2020/1/16</c:v>
                </c:pt>
                <c:pt idx="2686">
                  <c:v>2020/1/17</c:v>
                </c:pt>
                <c:pt idx="2687">
                  <c:v>2020/1/20</c:v>
                </c:pt>
                <c:pt idx="2688">
                  <c:v>2020/1/21</c:v>
                </c:pt>
                <c:pt idx="2689">
                  <c:v>2020/1/22</c:v>
                </c:pt>
                <c:pt idx="2690">
                  <c:v>2020/1/23</c:v>
                </c:pt>
                <c:pt idx="2691">
                  <c:v>2020/2/3</c:v>
                </c:pt>
                <c:pt idx="2692">
                  <c:v>2020/2/4</c:v>
                </c:pt>
                <c:pt idx="2693">
                  <c:v>2020/2/5</c:v>
                </c:pt>
                <c:pt idx="2694">
                  <c:v>2020/2/6</c:v>
                </c:pt>
                <c:pt idx="2695">
                  <c:v>2020/2/7</c:v>
                </c:pt>
                <c:pt idx="2696">
                  <c:v>2020/2/10</c:v>
                </c:pt>
                <c:pt idx="2697">
                  <c:v>2020/2/11</c:v>
                </c:pt>
                <c:pt idx="2698">
                  <c:v>2020/2/12</c:v>
                </c:pt>
                <c:pt idx="2699">
                  <c:v>2020/2/13</c:v>
                </c:pt>
                <c:pt idx="2700">
                  <c:v>2020/2/14</c:v>
                </c:pt>
                <c:pt idx="2701">
                  <c:v>2020/2/17</c:v>
                </c:pt>
                <c:pt idx="2702">
                  <c:v>2020/2/18</c:v>
                </c:pt>
                <c:pt idx="2703">
                  <c:v>2020/2/19</c:v>
                </c:pt>
                <c:pt idx="2704">
                  <c:v>2020/2/20</c:v>
                </c:pt>
                <c:pt idx="2705">
                  <c:v>2020/2/21</c:v>
                </c:pt>
                <c:pt idx="2706">
                  <c:v>2020/2/24</c:v>
                </c:pt>
                <c:pt idx="2707">
                  <c:v>2020/2/25</c:v>
                </c:pt>
                <c:pt idx="2708">
                  <c:v>2020/2/26</c:v>
                </c:pt>
                <c:pt idx="2709">
                  <c:v>2020/2/27</c:v>
                </c:pt>
                <c:pt idx="2710">
                  <c:v>2020/2/28</c:v>
                </c:pt>
                <c:pt idx="2711">
                  <c:v>2020/3/2</c:v>
                </c:pt>
                <c:pt idx="2712">
                  <c:v>2020/3/3</c:v>
                </c:pt>
                <c:pt idx="2713">
                  <c:v>2020/3/4</c:v>
                </c:pt>
                <c:pt idx="2714">
                  <c:v>2020/3/5</c:v>
                </c:pt>
                <c:pt idx="2715">
                  <c:v>2020/3/6</c:v>
                </c:pt>
                <c:pt idx="2716">
                  <c:v>2020/3/9</c:v>
                </c:pt>
                <c:pt idx="2717">
                  <c:v>2020/3/10</c:v>
                </c:pt>
                <c:pt idx="2718">
                  <c:v>2020/3/11</c:v>
                </c:pt>
                <c:pt idx="2719">
                  <c:v>2020/3/12</c:v>
                </c:pt>
                <c:pt idx="2720">
                  <c:v>2020/3/13</c:v>
                </c:pt>
                <c:pt idx="2721">
                  <c:v>2020/3/16</c:v>
                </c:pt>
                <c:pt idx="2722">
                  <c:v>2020/3/17</c:v>
                </c:pt>
                <c:pt idx="2723">
                  <c:v>2020/3/18</c:v>
                </c:pt>
                <c:pt idx="2724">
                  <c:v>2020/3/19</c:v>
                </c:pt>
                <c:pt idx="2725">
                  <c:v>2020/3/20</c:v>
                </c:pt>
                <c:pt idx="2726">
                  <c:v>2020/3/23</c:v>
                </c:pt>
                <c:pt idx="2727">
                  <c:v>2020/3/24</c:v>
                </c:pt>
                <c:pt idx="2728">
                  <c:v>2020/3/25</c:v>
                </c:pt>
                <c:pt idx="2729">
                  <c:v>2020/3/26</c:v>
                </c:pt>
                <c:pt idx="2730">
                  <c:v>2020/3/27</c:v>
                </c:pt>
                <c:pt idx="2731">
                  <c:v>2020/3/30</c:v>
                </c:pt>
                <c:pt idx="2732">
                  <c:v>2020/3/31</c:v>
                </c:pt>
                <c:pt idx="2733">
                  <c:v>2020/4/1</c:v>
                </c:pt>
                <c:pt idx="2734">
                  <c:v>2020/4/2</c:v>
                </c:pt>
                <c:pt idx="2735">
                  <c:v>2020/4/3</c:v>
                </c:pt>
                <c:pt idx="2736">
                  <c:v>2020/4/7</c:v>
                </c:pt>
                <c:pt idx="2737">
                  <c:v>2020/4/8</c:v>
                </c:pt>
                <c:pt idx="2738">
                  <c:v>2020/4/9</c:v>
                </c:pt>
                <c:pt idx="2739">
                  <c:v>2020/4/10</c:v>
                </c:pt>
                <c:pt idx="2740">
                  <c:v>2020/4/13</c:v>
                </c:pt>
                <c:pt idx="2741">
                  <c:v>2020/4/14</c:v>
                </c:pt>
                <c:pt idx="2742">
                  <c:v>2020/4/15</c:v>
                </c:pt>
                <c:pt idx="2743">
                  <c:v>2020/4/16</c:v>
                </c:pt>
                <c:pt idx="2744">
                  <c:v>2020/4/17</c:v>
                </c:pt>
                <c:pt idx="2745">
                  <c:v>2020/4/20</c:v>
                </c:pt>
                <c:pt idx="2746">
                  <c:v>2020/4/21</c:v>
                </c:pt>
                <c:pt idx="2747">
                  <c:v>2020/4/22</c:v>
                </c:pt>
                <c:pt idx="2748">
                  <c:v>2020/4/23</c:v>
                </c:pt>
                <c:pt idx="2749">
                  <c:v>2020/4/24</c:v>
                </c:pt>
                <c:pt idx="2750">
                  <c:v>2020/4/27</c:v>
                </c:pt>
                <c:pt idx="2751">
                  <c:v>2020/4/28</c:v>
                </c:pt>
                <c:pt idx="2752">
                  <c:v>2020/4/29</c:v>
                </c:pt>
                <c:pt idx="2753">
                  <c:v>2020/4/30</c:v>
                </c:pt>
                <c:pt idx="2754">
                  <c:v>2020/5/6</c:v>
                </c:pt>
                <c:pt idx="2755">
                  <c:v>2020/5/7</c:v>
                </c:pt>
                <c:pt idx="2756">
                  <c:v>2020/5/8</c:v>
                </c:pt>
                <c:pt idx="2757">
                  <c:v>2020/5/11</c:v>
                </c:pt>
                <c:pt idx="2758">
                  <c:v>2020/5/12</c:v>
                </c:pt>
                <c:pt idx="2759">
                  <c:v>2020/5/13</c:v>
                </c:pt>
                <c:pt idx="2760">
                  <c:v>2020/5/14</c:v>
                </c:pt>
                <c:pt idx="2761">
                  <c:v>2020/5/15</c:v>
                </c:pt>
                <c:pt idx="2762">
                  <c:v>2020/5/18</c:v>
                </c:pt>
                <c:pt idx="2763">
                  <c:v>2020/5/19</c:v>
                </c:pt>
                <c:pt idx="2764">
                  <c:v>2020/5/20</c:v>
                </c:pt>
                <c:pt idx="2765">
                  <c:v>2020/5/21</c:v>
                </c:pt>
                <c:pt idx="2766">
                  <c:v>2020/5/22</c:v>
                </c:pt>
                <c:pt idx="2767">
                  <c:v>2020/5/25</c:v>
                </c:pt>
                <c:pt idx="2768">
                  <c:v>2020/5/26</c:v>
                </c:pt>
                <c:pt idx="2769">
                  <c:v>2020/5/27</c:v>
                </c:pt>
                <c:pt idx="2770">
                  <c:v>2020/5/28</c:v>
                </c:pt>
                <c:pt idx="2771">
                  <c:v>2020/5/29</c:v>
                </c:pt>
                <c:pt idx="2772">
                  <c:v>2020/6/1</c:v>
                </c:pt>
                <c:pt idx="2773">
                  <c:v>2020/6/2</c:v>
                </c:pt>
                <c:pt idx="2774">
                  <c:v>2020/6/3</c:v>
                </c:pt>
                <c:pt idx="2775">
                  <c:v>2020/6/4</c:v>
                </c:pt>
                <c:pt idx="2776">
                  <c:v>2020/6/5</c:v>
                </c:pt>
                <c:pt idx="2777">
                  <c:v>2020/6/8</c:v>
                </c:pt>
                <c:pt idx="2778">
                  <c:v>2020/6/9</c:v>
                </c:pt>
                <c:pt idx="2779">
                  <c:v>2020/6/10</c:v>
                </c:pt>
                <c:pt idx="2780">
                  <c:v>2020/6/11</c:v>
                </c:pt>
                <c:pt idx="2781">
                  <c:v>2020/6/12</c:v>
                </c:pt>
                <c:pt idx="2782">
                  <c:v>2020/6/15</c:v>
                </c:pt>
                <c:pt idx="2783">
                  <c:v>2020/6/16</c:v>
                </c:pt>
                <c:pt idx="2784">
                  <c:v>2020/6/17</c:v>
                </c:pt>
                <c:pt idx="2785">
                  <c:v>2020/6/18</c:v>
                </c:pt>
                <c:pt idx="2786">
                  <c:v>2020/6/19</c:v>
                </c:pt>
                <c:pt idx="2787">
                  <c:v>2020/6/22</c:v>
                </c:pt>
                <c:pt idx="2788">
                  <c:v>2020/6/23</c:v>
                </c:pt>
                <c:pt idx="2789">
                  <c:v>2020/6/24</c:v>
                </c:pt>
                <c:pt idx="2790">
                  <c:v>2020/6/29</c:v>
                </c:pt>
                <c:pt idx="2791">
                  <c:v>2020/6/30</c:v>
                </c:pt>
                <c:pt idx="2792">
                  <c:v>2020/7/1</c:v>
                </c:pt>
                <c:pt idx="2793">
                  <c:v>2020/7/2</c:v>
                </c:pt>
                <c:pt idx="2794">
                  <c:v>2020/7/3</c:v>
                </c:pt>
                <c:pt idx="2795">
                  <c:v>2020/7/6</c:v>
                </c:pt>
                <c:pt idx="2796">
                  <c:v>2020/7/7</c:v>
                </c:pt>
                <c:pt idx="2797">
                  <c:v>2020/7/8</c:v>
                </c:pt>
                <c:pt idx="2798">
                  <c:v>2020/7/9</c:v>
                </c:pt>
                <c:pt idx="2799">
                  <c:v>2020/7/10</c:v>
                </c:pt>
                <c:pt idx="2800">
                  <c:v>2020/7/13</c:v>
                </c:pt>
                <c:pt idx="2801">
                  <c:v>2020/7/14</c:v>
                </c:pt>
                <c:pt idx="2802">
                  <c:v>2020/7/15</c:v>
                </c:pt>
                <c:pt idx="2803">
                  <c:v>2020/7/16</c:v>
                </c:pt>
                <c:pt idx="2804">
                  <c:v>2020/7/17</c:v>
                </c:pt>
                <c:pt idx="2805">
                  <c:v>2020/7/20</c:v>
                </c:pt>
                <c:pt idx="2806">
                  <c:v>2020/7/21</c:v>
                </c:pt>
                <c:pt idx="2807">
                  <c:v>2020/7/22</c:v>
                </c:pt>
                <c:pt idx="2808">
                  <c:v>2020/7/23</c:v>
                </c:pt>
                <c:pt idx="2809">
                  <c:v>2020/7/24</c:v>
                </c:pt>
                <c:pt idx="2810">
                  <c:v>2020/7/27</c:v>
                </c:pt>
                <c:pt idx="2811">
                  <c:v>2020/7/28</c:v>
                </c:pt>
                <c:pt idx="2812">
                  <c:v>2020/7/29</c:v>
                </c:pt>
                <c:pt idx="2813">
                  <c:v>2020/7/30</c:v>
                </c:pt>
                <c:pt idx="2814">
                  <c:v>2020/7/31</c:v>
                </c:pt>
                <c:pt idx="2815">
                  <c:v>2020/8/3</c:v>
                </c:pt>
                <c:pt idx="2816">
                  <c:v>2020/8/4</c:v>
                </c:pt>
                <c:pt idx="2817">
                  <c:v>2020/8/5</c:v>
                </c:pt>
                <c:pt idx="2818">
                  <c:v>2020/8/6</c:v>
                </c:pt>
                <c:pt idx="2819">
                  <c:v>2020/8/7</c:v>
                </c:pt>
                <c:pt idx="2820">
                  <c:v>2020/8/10</c:v>
                </c:pt>
                <c:pt idx="2821">
                  <c:v>2020/8/11</c:v>
                </c:pt>
                <c:pt idx="2822">
                  <c:v>2020/8/12</c:v>
                </c:pt>
                <c:pt idx="2823">
                  <c:v>2020/8/13</c:v>
                </c:pt>
                <c:pt idx="2824">
                  <c:v>2020/8/14</c:v>
                </c:pt>
                <c:pt idx="2825">
                  <c:v>2020/8/17</c:v>
                </c:pt>
                <c:pt idx="2826">
                  <c:v>2020/8/18</c:v>
                </c:pt>
                <c:pt idx="2827">
                  <c:v>2020/8/19</c:v>
                </c:pt>
                <c:pt idx="2828">
                  <c:v>2020/8/20</c:v>
                </c:pt>
                <c:pt idx="2829">
                  <c:v>2020/8/21</c:v>
                </c:pt>
                <c:pt idx="2830">
                  <c:v>2020/8/24</c:v>
                </c:pt>
                <c:pt idx="2831">
                  <c:v>2020/8/25</c:v>
                </c:pt>
                <c:pt idx="2832">
                  <c:v>2020/8/26</c:v>
                </c:pt>
                <c:pt idx="2833">
                  <c:v>2020/8/27</c:v>
                </c:pt>
                <c:pt idx="2834">
                  <c:v>2020/8/28</c:v>
                </c:pt>
                <c:pt idx="2835">
                  <c:v>2020/8/31</c:v>
                </c:pt>
                <c:pt idx="2836">
                  <c:v>2020/9/1</c:v>
                </c:pt>
                <c:pt idx="2837">
                  <c:v>2020/9/2</c:v>
                </c:pt>
                <c:pt idx="2838">
                  <c:v>2020/9/3</c:v>
                </c:pt>
                <c:pt idx="2839">
                  <c:v>2020/9/4</c:v>
                </c:pt>
                <c:pt idx="2840">
                  <c:v>2020/9/7</c:v>
                </c:pt>
                <c:pt idx="2841">
                  <c:v>2020/9/8</c:v>
                </c:pt>
                <c:pt idx="2842">
                  <c:v>2020/9/9</c:v>
                </c:pt>
                <c:pt idx="2843">
                  <c:v>2020/9/10</c:v>
                </c:pt>
                <c:pt idx="2844">
                  <c:v>2020/9/11</c:v>
                </c:pt>
                <c:pt idx="2845">
                  <c:v>2020/9/14</c:v>
                </c:pt>
                <c:pt idx="2846">
                  <c:v>2020/9/15</c:v>
                </c:pt>
                <c:pt idx="2847">
                  <c:v>2020/9/16</c:v>
                </c:pt>
                <c:pt idx="2848">
                  <c:v>2020/9/17</c:v>
                </c:pt>
                <c:pt idx="2849">
                  <c:v>2020/9/18</c:v>
                </c:pt>
                <c:pt idx="2850">
                  <c:v>2020/9/21</c:v>
                </c:pt>
                <c:pt idx="2851">
                  <c:v>2020/9/22</c:v>
                </c:pt>
                <c:pt idx="2852">
                  <c:v>2020/9/23</c:v>
                </c:pt>
                <c:pt idx="2853">
                  <c:v>2020/9/24</c:v>
                </c:pt>
                <c:pt idx="2854">
                  <c:v>2020/9/25</c:v>
                </c:pt>
                <c:pt idx="2855">
                  <c:v>2020/9/28</c:v>
                </c:pt>
                <c:pt idx="2856">
                  <c:v>2020/9/29</c:v>
                </c:pt>
                <c:pt idx="2857">
                  <c:v>2020/9/30</c:v>
                </c:pt>
                <c:pt idx="2858">
                  <c:v>2020/10/9</c:v>
                </c:pt>
                <c:pt idx="2859">
                  <c:v>2020/10/12</c:v>
                </c:pt>
                <c:pt idx="2860">
                  <c:v>2020/10/13</c:v>
                </c:pt>
                <c:pt idx="2861">
                  <c:v>2020/10/14</c:v>
                </c:pt>
                <c:pt idx="2862">
                  <c:v>2020/10/15</c:v>
                </c:pt>
                <c:pt idx="2863">
                  <c:v>2020/10/16</c:v>
                </c:pt>
                <c:pt idx="2864">
                  <c:v>2020/10/19</c:v>
                </c:pt>
                <c:pt idx="2865">
                  <c:v>2020/10/20</c:v>
                </c:pt>
                <c:pt idx="2866">
                  <c:v>2020/10/21</c:v>
                </c:pt>
                <c:pt idx="2867">
                  <c:v>2020/10/22</c:v>
                </c:pt>
                <c:pt idx="2868">
                  <c:v>2020/10/23</c:v>
                </c:pt>
                <c:pt idx="2869">
                  <c:v>2020/10/26</c:v>
                </c:pt>
                <c:pt idx="2870">
                  <c:v>2020/10/27</c:v>
                </c:pt>
                <c:pt idx="2871">
                  <c:v>2020/10/28</c:v>
                </c:pt>
                <c:pt idx="2872">
                  <c:v>2020/10/29</c:v>
                </c:pt>
                <c:pt idx="2873">
                  <c:v>2020/10/30</c:v>
                </c:pt>
                <c:pt idx="2874">
                  <c:v>2020/11/2</c:v>
                </c:pt>
                <c:pt idx="2875">
                  <c:v>2020/11/3</c:v>
                </c:pt>
                <c:pt idx="2876">
                  <c:v>2020/11/4</c:v>
                </c:pt>
                <c:pt idx="2877">
                  <c:v>2020/11/5</c:v>
                </c:pt>
                <c:pt idx="2878">
                  <c:v>2020/11/6</c:v>
                </c:pt>
                <c:pt idx="2879">
                  <c:v>2020/11/9</c:v>
                </c:pt>
                <c:pt idx="2880">
                  <c:v>2020/11/10</c:v>
                </c:pt>
                <c:pt idx="2881">
                  <c:v>2020/11/11</c:v>
                </c:pt>
                <c:pt idx="2882">
                  <c:v>2020/11/12</c:v>
                </c:pt>
                <c:pt idx="2883">
                  <c:v>2020/11/13</c:v>
                </c:pt>
                <c:pt idx="2884">
                  <c:v>2020/11/16</c:v>
                </c:pt>
                <c:pt idx="2885">
                  <c:v>2020/11/17</c:v>
                </c:pt>
                <c:pt idx="2886">
                  <c:v>2020/11/18</c:v>
                </c:pt>
                <c:pt idx="2887">
                  <c:v>2020/11/19</c:v>
                </c:pt>
                <c:pt idx="2888">
                  <c:v>2020/11/20</c:v>
                </c:pt>
                <c:pt idx="2889">
                  <c:v>2020/11/23</c:v>
                </c:pt>
                <c:pt idx="2890">
                  <c:v>2020/11/24</c:v>
                </c:pt>
                <c:pt idx="2891">
                  <c:v>2020/11/25</c:v>
                </c:pt>
                <c:pt idx="2892">
                  <c:v>2020/11/26</c:v>
                </c:pt>
                <c:pt idx="2893">
                  <c:v>2020/11/27</c:v>
                </c:pt>
                <c:pt idx="2894">
                  <c:v>2020/11/30</c:v>
                </c:pt>
                <c:pt idx="2895">
                  <c:v>2020/12/1</c:v>
                </c:pt>
                <c:pt idx="2896">
                  <c:v>2020/12/2</c:v>
                </c:pt>
                <c:pt idx="2897">
                  <c:v>2020/12/3</c:v>
                </c:pt>
                <c:pt idx="2898">
                  <c:v>2020/12/4</c:v>
                </c:pt>
                <c:pt idx="2899">
                  <c:v>2020/12/7</c:v>
                </c:pt>
                <c:pt idx="2900">
                  <c:v>2020/12/8</c:v>
                </c:pt>
                <c:pt idx="2901">
                  <c:v>2020/12/9</c:v>
                </c:pt>
                <c:pt idx="2902">
                  <c:v>2020/12/10</c:v>
                </c:pt>
                <c:pt idx="2903">
                  <c:v>2020/12/11</c:v>
                </c:pt>
                <c:pt idx="2904">
                  <c:v>2020/12/14</c:v>
                </c:pt>
                <c:pt idx="2905">
                  <c:v>2020/12/15</c:v>
                </c:pt>
                <c:pt idx="2906">
                  <c:v>2020/12/16</c:v>
                </c:pt>
                <c:pt idx="2907">
                  <c:v>2020/12/17</c:v>
                </c:pt>
                <c:pt idx="2908">
                  <c:v>2020/12/18</c:v>
                </c:pt>
                <c:pt idx="2909">
                  <c:v>2020/12/21</c:v>
                </c:pt>
                <c:pt idx="2910">
                  <c:v>2020/12/22</c:v>
                </c:pt>
                <c:pt idx="2911">
                  <c:v>2020/12/23</c:v>
                </c:pt>
                <c:pt idx="2912">
                  <c:v>2020/12/24</c:v>
                </c:pt>
                <c:pt idx="2913">
                  <c:v>2020/12/25</c:v>
                </c:pt>
                <c:pt idx="2914">
                  <c:v>2020/12/28</c:v>
                </c:pt>
                <c:pt idx="2915">
                  <c:v>2020/12/29</c:v>
                </c:pt>
                <c:pt idx="2916">
                  <c:v>2020/12/30</c:v>
                </c:pt>
                <c:pt idx="2917">
                  <c:v>2020/12/31</c:v>
                </c:pt>
                <c:pt idx="2918">
                  <c:v>2021/1/4</c:v>
                </c:pt>
                <c:pt idx="2919">
                  <c:v>2021/1/5</c:v>
                </c:pt>
                <c:pt idx="2920">
                  <c:v>2021/1/6</c:v>
                </c:pt>
                <c:pt idx="2921">
                  <c:v>2021/1/7</c:v>
                </c:pt>
                <c:pt idx="2922">
                  <c:v>2021/1/8</c:v>
                </c:pt>
                <c:pt idx="2923">
                  <c:v>2021/1/11</c:v>
                </c:pt>
                <c:pt idx="2924">
                  <c:v>2021/1/12</c:v>
                </c:pt>
                <c:pt idx="2925">
                  <c:v>2021/1/13</c:v>
                </c:pt>
                <c:pt idx="2926">
                  <c:v>2021/1/14</c:v>
                </c:pt>
                <c:pt idx="2927">
                  <c:v>2021/1/15</c:v>
                </c:pt>
                <c:pt idx="2928">
                  <c:v>2021/1/18</c:v>
                </c:pt>
                <c:pt idx="2929">
                  <c:v>2021/1/19</c:v>
                </c:pt>
                <c:pt idx="2930">
                  <c:v>2021/1/20</c:v>
                </c:pt>
                <c:pt idx="2931">
                  <c:v>2021/1/21</c:v>
                </c:pt>
                <c:pt idx="2932">
                  <c:v>2021/1/22</c:v>
                </c:pt>
                <c:pt idx="2933">
                  <c:v>2021/1/25</c:v>
                </c:pt>
                <c:pt idx="2934">
                  <c:v>2021/1/26</c:v>
                </c:pt>
                <c:pt idx="2935">
                  <c:v>2021/1/27</c:v>
                </c:pt>
                <c:pt idx="2936">
                  <c:v>2021/1/28</c:v>
                </c:pt>
                <c:pt idx="2937">
                  <c:v>2021/1/29</c:v>
                </c:pt>
                <c:pt idx="2938">
                  <c:v>2021/2/1</c:v>
                </c:pt>
                <c:pt idx="2939">
                  <c:v>2021/2/2</c:v>
                </c:pt>
                <c:pt idx="2940">
                  <c:v>2021/2/3</c:v>
                </c:pt>
                <c:pt idx="2941">
                  <c:v>2021/2/4</c:v>
                </c:pt>
                <c:pt idx="2942">
                  <c:v>2021/2/5</c:v>
                </c:pt>
                <c:pt idx="2943">
                  <c:v>2021/2/8</c:v>
                </c:pt>
                <c:pt idx="2944">
                  <c:v>2021/2/9</c:v>
                </c:pt>
                <c:pt idx="2945">
                  <c:v>2021/2/10</c:v>
                </c:pt>
                <c:pt idx="2946">
                  <c:v>2021/2/18</c:v>
                </c:pt>
                <c:pt idx="2947">
                  <c:v>2021/2/19</c:v>
                </c:pt>
                <c:pt idx="2948">
                  <c:v>2021/2/22</c:v>
                </c:pt>
                <c:pt idx="2949">
                  <c:v>2021/2/23</c:v>
                </c:pt>
                <c:pt idx="2950">
                  <c:v>2021/2/24</c:v>
                </c:pt>
                <c:pt idx="2951">
                  <c:v>2021/2/25</c:v>
                </c:pt>
                <c:pt idx="2952">
                  <c:v>2021/2/26</c:v>
                </c:pt>
                <c:pt idx="2953">
                  <c:v>2021/3/1</c:v>
                </c:pt>
                <c:pt idx="2954">
                  <c:v>2021/3/2</c:v>
                </c:pt>
                <c:pt idx="2955">
                  <c:v>2021/3/3</c:v>
                </c:pt>
                <c:pt idx="2956">
                  <c:v>2021/3/4</c:v>
                </c:pt>
                <c:pt idx="2957">
                  <c:v>2021/3/5</c:v>
                </c:pt>
                <c:pt idx="2958">
                  <c:v>2021/3/8</c:v>
                </c:pt>
                <c:pt idx="2959">
                  <c:v>2021/3/9</c:v>
                </c:pt>
                <c:pt idx="2960">
                  <c:v>2021/3/10</c:v>
                </c:pt>
                <c:pt idx="2961">
                  <c:v>2021/3/11</c:v>
                </c:pt>
                <c:pt idx="2962">
                  <c:v>2021/3/12</c:v>
                </c:pt>
                <c:pt idx="2963">
                  <c:v>2021/3/15</c:v>
                </c:pt>
                <c:pt idx="2964">
                  <c:v>2021/3/16</c:v>
                </c:pt>
                <c:pt idx="2965">
                  <c:v>2021/3/17</c:v>
                </c:pt>
                <c:pt idx="2966">
                  <c:v>2021/3/18</c:v>
                </c:pt>
                <c:pt idx="2967">
                  <c:v>2021/3/19</c:v>
                </c:pt>
                <c:pt idx="2968">
                  <c:v>2021/3/22</c:v>
                </c:pt>
                <c:pt idx="2969">
                  <c:v>2021/3/23</c:v>
                </c:pt>
                <c:pt idx="2970">
                  <c:v>2021/3/24</c:v>
                </c:pt>
                <c:pt idx="2971">
                  <c:v>2021/3/25</c:v>
                </c:pt>
                <c:pt idx="2972">
                  <c:v>2021/3/26</c:v>
                </c:pt>
                <c:pt idx="2973">
                  <c:v>2021/3/29</c:v>
                </c:pt>
                <c:pt idx="2974">
                  <c:v>2021/3/30</c:v>
                </c:pt>
                <c:pt idx="2975">
                  <c:v>2021/3/31</c:v>
                </c:pt>
                <c:pt idx="2976">
                  <c:v>2021/4/1</c:v>
                </c:pt>
                <c:pt idx="2977">
                  <c:v>2021/4/2</c:v>
                </c:pt>
                <c:pt idx="2978">
                  <c:v>2021/4/6</c:v>
                </c:pt>
                <c:pt idx="2979">
                  <c:v>2021/4/7</c:v>
                </c:pt>
                <c:pt idx="2980">
                  <c:v>2021/4/8</c:v>
                </c:pt>
                <c:pt idx="2981">
                  <c:v>2021/4/9</c:v>
                </c:pt>
                <c:pt idx="2982">
                  <c:v>2021/4/12</c:v>
                </c:pt>
                <c:pt idx="2983">
                  <c:v>2021/4/13</c:v>
                </c:pt>
                <c:pt idx="2984">
                  <c:v>2021/4/14</c:v>
                </c:pt>
                <c:pt idx="2985">
                  <c:v>2021/4/15</c:v>
                </c:pt>
                <c:pt idx="2986">
                  <c:v>2021/4/16</c:v>
                </c:pt>
                <c:pt idx="2987">
                  <c:v>2021/4/19</c:v>
                </c:pt>
                <c:pt idx="2988">
                  <c:v>2021/4/20</c:v>
                </c:pt>
                <c:pt idx="2989">
                  <c:v>2021/4/21</c:v>
                </c:pt>
                <c:pt idx="2990">
                  <c:v>2021/4/22</c:v>
                </c:pt>
                <c:pt idx="2991">
                  <c:v>2021/4/23</c:v>
                </c:pt>
                <c:pt idx="2992">
                  <c:v>2021/4/26</c:v>
                </c:pt>
                <c:pt idx="2993">
                  <c:v>2021/4/27</c:v>
                </c:pt>
                <c:pt idx="2994">
                  <c:v>2021/4/28</c:v>
                </c:pt>
                <c:pt idx="2995">
                  <c:v>2021/4/29</c:v>
                </c:pt>
                <c:pt idx="2996">
                  <c:v>2021/4/30</c:v>
                </c:pt>
                <c:pt idx="2997">
                  <c:v>2021/5/6</c:v>
                </c:pt>
                <c:pt idx="2998">
                  <c:v>2021/5/7</c:v>
                </c:pt>
                <c:pt idx="2999">
                  <c:v>2021/5/10</c:v>
                </c:pt>
                <c:pt idx="3000">
                  <c:v>2021/5/11</c:v>
                </c:pt>
                <c:pt idx="3001">
                  <c:v>2021/5/12</c:v>
                </c:pt>
                <c:pt idx="3002">
                  <c:v>2021/5/13</c:v>
                </c:pt>
                <c:pt idx="3003">
                  <c:v>2021/5/14</c:v>
                </c:pt>
                <c:pt idx="3004">
                  <c:v>2021/5/17</c:v>
                </c:pt>
                <c:pt idx="3005">
                  <c:v>2021/5/18</c:v>
                </c:pt>
                <c:pt idx="3006">
                  <c:v>2021/5/19</c:v>
                </c:pt>
                <c:pt idx="3007">
                  <c:v>2021/5/20</c:v>
                </c:pt>
                <c:pt idx="3008">
                  <c:v>2021/5/21</c:v>
                </c:pt>
                <c:pt idx="3009">
                  <c:v>2021/5/24</c:v>
                </c:pt>
                <c:pt idx="3010">
                  <c:v>2021/5/25</c:v>
                </c:pt>
                <c:pt idx="3011">
                  <c:v>2021/5/26</c:v>
                </c:pt>
                <c:pt idx="3012">
                  <c:v>2021/5/27</c:v>
                </c:pt>
                <c:pt idx="3013">
                  <c:v>2021/5/28</c:v>
                </c:pt>
                <c:pt idx="3014">
                  <c:v>2021/5/31</c:v>
                </c:pt>
                <c:pt idx="3015">
                  <c:v>2021/6/1</c:v>
                </c:pt>
                <c:pt idx="3016">
                  <c:v>2021/6/2</c:v>
                </c:pt>
                <c:pt idx="3017">
                  <c:v>2021/6/3</c:v>
                </c:pt>
                <c:pt idx="3018">
                  <c:v>2021/6/4</c:v>
                </c:pt>
                <c:pt idx="3019">
                  <c:v>2021/6/7</c:v>
                </c:pt>
                <c:pt idx="3020">
                  <c:v>2021/6/8</c:v>
                </c:pt>
                <c:pt idx="3021">
                  <c:v>2021/6/9</c:v>
                </c:pt>
                <c:pt idx="3022">
                  <c:v>2021/6/10</c:v>
                </c:pt>
                <c:pt idx="3023">
                  <c:v>2021/6/11</c:v>
                </c:pt>
                <c:pt idx="3024">
                  <c:v>2021/6/15</c:v>
                </c:pt>
                <c:pt idx="3025">
                  <c:v>2021/6/16</c:v>
                </c:pt>
                <c:pt idx="3026">
                  <c:v>2021/6/17</c:v>
                </c:pt>
                <c:pt idx="3027">
                  <c:v>2021/6/18</c:v>
                </c:pt>
                <c:pt idx="3028">
                  <c:v>2021/6/21</c:v>
                </c:pt>
                <c:pt idx="3029">
                  <c:v>2021/6/22</c:v>
                </c:pt>
                <c:pt idx="3030">
                  <c:v>2021/6/23</c:v>
                </c:pt>
                <c:pt idx="3031">
                  <c:v>2021/6/24</c:v>
                </c:pt>
                <c:pt idx="3032">
                  <c:v>2021/6/25</c:v>
                </c:pt>
                <c:pt idx="3033">
                  <c:v>2021/6/28</c:v>
                </c:pt>
                <c:pt idx="3034">
                  <c:v>2021/6/29</c:v>
                </c:pt>
                <c:pt idx="3035">
                  <c:v>2021/6/30</c:v>
                </c:pt>
                <c:pt idx="3036">
                  <c:v>2021/7/1</c:v>
                </c:pt>
                <c:pt idx="3037">
                  <c:v>2021/7/2</c:v>
                </c:pt>
                <c:pt idx="3038">
                  <c:v>2021/7/5</c:v>
                </c:pt>
                <c:pt idx="3039">
                  <c:v>2021/7/6</c:v>
                </c:pt>
                <c:pt idx="3040">
                  <c:v>2021/7/7</c:v>
                </c:pt>
                <c:pt idx="3041">
                  <c:v>2021/7/8</c:v>
                </c:pt>
                <c:pt idx="3042">
                  <c:v>2021/7/9</c:v>
                </c:pt>
                <c:pt idx="3043">
                  <c:v>2021/7/12</c:v>
                </c:pt>
                <c:pt idx="3044">
                  <c:v>2021/7/13</c:v>
                </c:pt>
                <c:pt idx="3045">
                  <c:v>2021/7/14</c:v>
                </c:pt>
                <c:pt idx="3046">
                  <c:v>2021/7/15</c:v>
                </c:pt>
                <c:pt idx="3047">
                  <c:v>2021/7/16</c:v>
                </c:pt>
                <c:pt idx="3048">
                  <c:v>2021/7/19</c:v>
                </c:pt>
                <c:pt idx="3049">
                  <c:v>2021/7/20</c:v>
                </c:pt>
                <c:pt idx="3050">
                  <c:v>2021/7/21</c:v>
                </c:pt>
                <c:pt idx="3051">
                  <c:v>2021/7/22</c:v>
                </c:pt>
                <c:pt idx="3052">
                  <c:v>2021/7/23</c:v>
                </c:pt>
                <c:pt idx="3053">
                  <c:v>2021/7/26</c:v>
                </c:pt>
                <c:pt idx="3054">
                  <c:v>2021/7/27</c:v>
                </c:pt>
                <c:pt idx="3055">
                  <c:v>2021/7/28</c:v>
                </c:pt>
                <c:pt idx="3056">
                  <c:v>2021/7/29</c:v>
                </c:pt>
                <c:pt idx="3057">
                  <c:v>2021/7/30</c:v>
                </c:pt>
                <c:pt idx="3058">
                  <c:v>2021/8/2</c:v>
                </c:pt>
                <c:pt idx="3059">
                  <c:v>2021/8/3</c:v>
                </c:pt>
                <c:pt idx="3060">
                  <c:v>2021/8/4</c:v>
                </c:pt>
                <c:pt idx="3061">
                  <c:v>2021/8/5</c:v>
                </c:pt>
                <c:pt idx="3062">
                  <c:v>2021/8/6</c:v>
                </c:pt>
                <c:pt idx="3063">
                  <c:v>2021/8/9</c:v>
                </c:pt>
                <c:pt idx="3064">
                  <c:v>2021/8/10</c:v>
                </c:pt>
                <c:pt idx="3065">
                  <c:v>2021/8/11</c:v>
                </c:pt>
                <c:pt idx="3066">
                  <c:v>2021/8/12</c:v>
                </c:pt>
                <c:pt idx="3067">
                  <c:v>2021/8/13</c:v>
                </c:pt>
                <c:pt idx="3068">
                  <c:v>2021/8/16</c:v>
                </c:pt>
                <c:pt idx="3069">
                  <c:v>2021/8/17</c:v>
                </c:pt>
                <c:pt idx="3070">
                  <c:v>2021/8/18</c:v>
                </c:pt>
                <c:pt idx="3071">
                  <c:v>2021/8/19</c:v>
                </c:pt>
                <c:pt idx="3072">
                  <c:v>2021/8/20</c:v>
                </c:pt>
                <c:pt idx="3073">
                  <c:v>2021/8/23</c:v>
                </c:pt>
                <c:pt idx="3074">
                  <c:v>2021/8/24</c:v>
                </c:pt>
                <c:pt idx="3075">
                  <c:v>2021/8/25</c:v>
                </c:pt>
                <c:pt idx="3076">
                  <c:v>2021/8/26</c:v>
                </c:pt>
                <c:pt idx="3077">
                  <c:v>2021/8/27</c:v>
                </c:pt>
                <c:pt idx="3078">
                  <c:v>2021/8/30</c:v>
                </c:pt>
                <c:pt idx="3079">
                  <c:v>2021/8/31</c:v>
                </c:pt>
                <c:pt idx="3080">
                  <c:v>2021/9/1</c:v>
                </c:pt>
                <c:pt idx="3081">
                  <c:v>2021/9/2</c:v>
                </c:pt>
                <c:pt idx="3082">
                  <c:v>2021/9/3</c:v>
                </c:pt>
                <c:pt idx="3083">
                  <c:v>2021/9/6</c:v>
                </c:pt>
                <c:pt idx="3084">
                  <c:v>2021/9/7</c:v>
                </c:pt>
                <c:pt idx="3085">
                  <c:v>2021/9/8</c:v>
                </c:pt>
                <c:pt idx="3086">
                  <c:v>2021/9/9</c:v>
                </c:pt>
                <c:pt idx="3087">
                  <c:v>2021/9/10</c:v>
                </c:pt>
                <c:pt idx="3088">
                  <c:v>2021/9/13</c:v>
                </c:pt>
                <c:pt idx="3089">
                  <c:v>2021/9/14</c:v>
                </c:pt>
                <c:pt idx="3090">
                  <c:v>2021/9/15</c:v>
                </c:pt>
                <c:pt idx="3091">
                  <c:v>2021/9/16</c:v>
                </c:pt>
                <c:pt idx="3092">
                  <c:v>2021/9/17</c:v>
                </c:pt>
                <c:pt idx="3093">
                  <c:v>2021/9/22</c:v>
                </c:pt>
                <c:pt idx="3094">
                  <c:v>2021/9/23</c:v>
                </c:pt>
                <c:pt idx="3095">
                  <c:v>2021/9/24</c:v>
                </c:pt>
                <c:pt idx="3096">
                  <c:v>2021/9/27</c:v>
                </c:pt>
                <c:pt idx="3097">
                  <c:v>2021/9/28</c:v>
                </c:pt>
                <c:pt idx="3098">
                  <c:v>2021/9/29</c:v>
                </c:pt>
                <c:pt idx="3099">
                  <c:v>2021/9/30</c:v>
                </c:pt>
                <c:pt idx="3100">
                  <c:v>2021/10/8</c:v>
                </c:pt>
                <c:pt idx="3101">
                  <c:v>2021/10/11</c:v>
                </c:pt>
                <c:pt idx="3102">
                  <c:v>2021/10/12</c:v>
                </c:pt>
                <c:pt idx="3103">
                  <c:v>2021/10/13</c:v>
                </c:pt>
                <c:pt idx="3104">
                  <c:v>2021/10/14</c:v>
                </c:pt>
                <c:pt idx="3105">
                  <c:v>2021/10/15</c:v>
                </c:pt>
                <c:pt idx="3106">
                  <c:v>2021/10/18</c:v>
                </c:pt>
                <c:pt idx="3107">
                  <c:v>2021/10/19</c:v>
                </c:pt>
                <c:pt idx="3108">
                  <c:v>2021/10/20</c:v>
                </c:pt>
                <c:pt idx="3109">
                  <c:v>2021/10/21</c:v>
                </c:pt>
                <c:pt idx="3110">
                  <c:v>2021/10/22</c:v>
                </c:pt>
                <c:pt idx="3111">
                  <c:v>2021/10/25</c:v>
                </c:pt>
                <c:pt idx="3112">
                  <c:v>2021/10/26</c:v>
                </c:pt>
                <c:pt idx="3113">
                  <c:v>2021/10/27</c:v>
                </c:pt>
                <c:pt idx="3114">
                  <c:v>2021/10/28</c:v>
                </c:pt>
                <c:pt idx="3115">
                  <c:v>2021/10/29</c:v>
                </c:pt>
                <c:pt idx="3116">
                  <c:v>2021/11/1</c:v>
                </c:pt>
                <c:pt idx="3117">
                  <c:v>2021/11/2</c:v>
                </c:pt>
                <c:pt idx="3118">
                  <c:v>2021/11/3</c:v>
                </c:pt>
                <c:pt idx="3119">
                  <c:v>2021/11/4</c:v>
                </c:pt>
                <c:pt idx="3120">
                  <c:v>2021/11/5</c:v>
                </c:pt>
                <c:pt idx="3121">
                  <c:v>2021/11/8</c:v>
                </c:pt>
                <c:pt idx="3122">
                  <c:v>2021/11/9</c:v>
                </c:pt>
                <c:pt idx="3123">
                  <c:v>2021/11/10</c:v>
                </c:pt>
                <c:pt idx="3124">
                  <c:v>2021/11/11</c:v>
                </c:pt>
                <c:pt idx="3125">
                  <c:v>2021/11/12</c:v>
                </c:pt>
                <c:pt idx="3126">
                  <c:v>2021/11/15</c:v>
                </c:pt>
                <c:pt idx="3127">
                  <c:v>2021/11/16</c:v>
                </c:pt>
                <c:pt idx="3128">
                  <c:v>2021/11/17</c:v>
                </c:pt>
                <c:pt idx="3129">
                  <c:v>2021/11/18</c:v>
                </c:pt>
                <c:pt idx="3130">
                  <c:v>2021/11/19</c:v>
                </c:pt>
                <c:pt idx="3131">
                  <c:v>2021/11/22</c:v>
                </c:pt>
                <c:pt idx="3132">
                  <c:v>2021/11/23</c:v>
                </c:pt>
                <c:pt idx="3133">
                  <c:v>2021/11/24</c:v>
                </c:pt>
                <c:pt idx="3134">
                  <c:v>2021/11/25</c:v>
                </c:pt>
                <c:pt idx="3135">
                  <c:v>2021/11/26</c:v>
                </c:pt>
                <c:pt idx="3136">
                  <c:v>2021/11/29</c:v>
                </c:pt>
                <c:pt idx="3137">
                  <c:v>2021/11/30</c:v>
                </c:pt>
                <c:pt idx="3138">
                  <c:v>2021/12/1</c:v>
                </c:pt>
                <c:pt idx="3139">
                  <c:v>2021/12/2</c:v>
                </c:pt>
                <c:pt idx="3140">
                  <c:v>2021/12/3</c:v>
                </c:pt>
                <c:pt idx="3141">
                  <c:v>2021/12/6</c:v>
                </c:pt>
                <c:pt idx="3142">
                  <c:v>2021/12/7</c:v>
                </c:pt>
                <c:pt idx="3143">
                  <c:v>2021/12/8</c:v>
                </c:pt>
                <c:pt idx="3144">
                  <c:v>2021/12/9</c:v>
                </c:pt>
                <c:pt idx="3145">
                  <c:v>2021/12/10</c:v>
                </c:pt>
                <c:pt idx="3146">
                  <c:v>2021/12/13</c:v>
                </c:pt>
                <c:pt idx="3147">
                  <c:v>2021/12/14</c:v>
                </c:pt>
                <c:pt idx="3148">
                  <c:v>2021/12/15</c:v>
                </c:pt>
                <c:pt idx="3149">
                  <c:v>2021/12/16</c:v>
                </c:pt>
                <c:pt idx="3150">
                  <c:v>2021/12/17</c:v>
                </c:pt>
                <c:pt idx="3151">
                  <c:v>2021/12/20</c:v>
                </c:pt>
                <c:pt idx="3152">
                  <c:v>2021/12/21</c:v>
                </c:pt>
                <c:pt idx="3153">
                  <c:v>2021/12/22</c:v>
                </c:pt>
                <c:pt idx="3154">
                  <c:v>2021/12/23</c:v>
                </c:pt>
                <c:pt idx="3155">
                  <c:v>2021/12/24</c:v>
                </c:pt>
                <c:pt idx="3156">
                  <c:v>2021/12/27</c:v>
                </c:pt>
                <c:pt idx="3157">
                  <c:v>2021/12/28</c:v>
                </c:pt>
                <c:pt idx="3158">
                  <c:v>2021/12/29</c:v>
                </c:pt>
                <c:pt idx="3159">
                  <c:v>2021/12/30</c:v>
                </c:pt>
                <c:pt idx="3160">
                  <c:v>2021/12/31</c:v>
                </c:pt>
                <c:pt idx="3161">
                  <c:v>2022/1/4</c:v>
                </c:pt>
                <c:pt idx="3162">
                  <c:v>2022/1/5</c:v>
                </c:pt>
                <c:pt idx="3163">
                  <c:v>2022/1/6</c:v>
                </c:pt>
                <c:pt idx="3164">
                  <c:v>2022/1/7</c:v>
                </c:pt>
                <c:pt idx="3165">
                  <c:v>2022/1/10</c:v>
                </c:pt>
                <c:pt idx="3166">
                  <c:v>2022/1/11</c:v>
                </c:pt>
                <c:pt idx="3167">
                  <c:v>2022/1/12</c:v>
                </c:pt>
                <c:pt idx="3168">
                  <c:v>2022/1/13</c:v>
                </c:pt>
                <c:pt idx="3169">
                  <c:v>2022/1/14</c:v>
                </c:pt>
                <c:pt idx="3170">
                  <c:v>2022/1/17</c:v>
                </c:pt>
                <c:pt idx="3171">
                  <c:v>2022/1/18</c:v>
                </c:pt>
                <c:pt idx="3172">
                  <c:v>2022/1/19</c:v>
                </c:pt>
                <c:pt idx="3173">
                  <c:v>2022/1/20</c:v>
                </c:pt>
                <c:pt idx="3174">
                  <c:v>2022/1/21</c:v>
                </c:pt>
                <c:pt idx="3175">
                  <c:v>2022/1/24</c:v>
                </c:pt>
                <c:pt idx="3176">
                  <c:v>2022/1/25</c:v>
                </c:pt>
                <c:pt idx="3177">
                  <c:v>2022/1/26</c:v>
                </c:pt>
                <c:pt idx="3178">
                  <c:v>2022/1/27</c:v>
                </c:pt>
                <c:pt idx="3179">
                  <c:v>2022/1/28</c:v>
                </c:pt>
                <c:pt idx="3180">
                  <c:v>2022/2/7</c:v>
                </c:pt>
                <c:pt idx="3181">
                  <c:v>2022/2/8</c:v>
                </c:pt>
                <c:pt idx="3182">
                  <c:v>2022/2/9</c:v>
                </c:pt>
                <c:pt idx="3183">
                  <c:v>2022/2/10</c:v>
                </c:pt>
                <c:pt idx="3184">
                  <c:v>2022/2/11</c:v>
                </c:pt>
                <c:pt idx="3185">
                  <c:v>2022/2/14</c:v>
                </c:pt>
                <c:pt idx="3186">
                  <c:v>2022/2/15</c:v>
                </c:pt>
                <c:pt idx="3187">
                  <c:v>2022/2/16</c:v>
                </c:pt>
                <c:pt idx="3188">
                  <c:v>2022/2/17</c:v>
                </c:pt>
                <c:pt idx="3189">
                  <c:v>2022/2/18</c:v>
                </c:pt>
                <c:pt idx="3190">
                  <c:v>2022/2/21</c:v>
                </c:pt>
                <c:pt idx="3191">
                  <c:v>2022/2/22</c:v>
                </c:pt>
                <c:pt idx="3192">
                  <c:v>2022/2/23</c:v>
                </c:pt>
                <c:pt idx="3193">
                  <c:v>2022/2/24</c:v>
                </c:pt>
                <c:pt idx="3194">
                  <c:v>2022/2/25</c:v>
                </c:pt>
                <c:pt idx="3195">
                  <c:v>2022/2/28</c:v>
                </c:pt>
                <c:pt idx="3196">
                  <c:v>2022/3/1</c:v>
                </c:pt>
                <c:pt idx="3197">
                  <c:v>2022/3/2</c:v>
                </c:pt>
                <c:pt idx="3198">
                  <c:v>2022/3/3</c:v>
                </c:pt>
                <c:pt idx="3199">
                  <c:v>2022/3/4</c:v>
                </c:pt>
                <c:pt idx="3200">
                  <c:v>2022/3/7</c:v>
                </c:pt>
                <c:pt idx="3201">
                  <c:v>2022/3/8</c:v>
                </c:pt>
                <c:pt idx="3202">
                  <c:v>2022/3/9</c:v>
                </c:pt>
                <c:pt idx="3203">
                  <c:v>2022/3/10</c:v>
                </c:pt>
                <c:pt idx="3204">
                  <c:v>2022/3/11</c:v>
                </c:pt>
                <c:pt idx="3205">
                  <c:v>2022/3/14</c:v>
                </c:pt>
                <c:pt idx="3206">
                  <c:v>2022/3/15</c:v>
                </c:pt>
                <c:pt idx="3207">
                  <c:v>2022/3/16</c:v>
                </c:pt>
                <c:pt idx="3208">
                  <c:v>2022/3/17</c:v>
                </c:pt>
                <c:pt idx="3209">
                  <c:v>2022/3/18</c:v>
                </c:pt>
                <c:pt idx="3210">
                  <c:v>2022/3/21</c:v>
                </c:pt>
                <c:pt idx="3211">
                  <c:v>2022/3/22</c:v>
                </c:pt>
                <c:pt idx="3212">
                  <c:v>2022/3/23</c:v>
                </c:pt>
                <c:pt idx="3213">
                  <c:v>2022/3/24</c:v>
                </c:pt>
                <c:pt idx="3214">
                  <c:v>2022/3/25</c:v>
                </c:pt>
                <c:pt idx="3215">
                  <c:v>2022/3/28</c:v>
                </c:pt>
                <c:pt idx="3216">
                  <c:v>2022/3/29</c:v>
                </c:pt>
                <c:pt idx="3217">
                  <c:v>2022/3/30</c:v>
                </c:pt>
                <c:pt idx="3218">
                  <c:v>2022/3/31</c:v>
                </c:pt>
                <c:pt idx="3219">
                  <c:v>2022/4/1</c:v>
                </c:pt>
                <c:pt idx="3220">
                  <c:v>2022/4/6</c:v>
                </c:pt>
                <c:pt idx="3221">
                  <c:v>2022/4/7</c:v>
                </c:pt>
                <c:pt idx="3222">
                  <c:v>2022/4/8</c:v>
                </c:pt>
              </c:strCache>
            </c:strRef>
          </c:cat>
          <c:val>
            <c:numRef>
              <c:f>Sheet1!$E$2:$E$3224</c:f>
              <c:numCache>
                <c:formatCode>General</c:formatCode>
                <c:ptCount val="3223"/>
                <c:pt idx="0">
                  <c:v>1000000</c:v>
                </c:pt>
                <c:pt idx="1">
                  <c:v>1000000</c:v>
                </c:pt>
                <c:pt idx="2">
                  <c:v>1000000</c:v>
                </c:pt>
                <c:pt idx="3">
                  <c:v>1000000</c:v>
                </c:pt>
                <c:pt idx="4">
                  <c:v>1000000</c:v>
                </c:pt>
                <c:pt idx="5">
                  <c:v>1000000</c:v>
                </c:pt>
                <c:pt idx="6">
                  <c:v>1000000</c:v>
                </c:pt>
                <c:pt idx="7">
                  <c:v>1000000</c:v>
                </c:pt>
                <c:pt idx="8">
                  <c:v>1000000</c:v>
                </c:pt>
                <c:pt idx="9">
                  <c:v>1000000</c:v>
                </c:pt>
                <c:pt idx="10">
                  <c:v>1000000</c:v>
                </c:pt>
                <c:pt idx="11">
                  <c:v>1000000</c:v>
                </c:pt>
                <c:pt idx="12">
                  <c:v>1000000</c:v>
                </c:pt>
                <c:pt idx="13">
                  <c:v>1000000</c:v>
                </c:pt>
                <c:pt idx="14">
                  <c:v>1000000</c:v>
                </c:pt>
                <c:pt idx="15">
                  <c:v>1000000</c:v>
                </c:pt>
                <c:pt idx="16">
                  <c:v>1000000</c:v>
                </c:pt>
                <c:pt idx="17">
                  <c:v>1000000</c:v>
                </c:pt>
                <c:pt idx="18">
                  <c:v>1000000</c:v>
                </c:pt>
                <c:pt idx="19">
                  <c:v>1000000</c:v>
                </c:pt>
                <c:pt idx="20">
                  <c:v>999908.13320000004</c:v>
                </c:pt>
                <c:pt idx="21">
                  <c:v>1011944.1332</c:v>
                </c:pt>
                <c:pt idx="22">
                  <c:v>1013696.1332</c:v>
                </c:pt>
                <c:pt idx="23">
                  <c:v>1008576.1332</c:v>
                </c:pt>
                <c:pt idx="24">
                  <c:v>1040868.1332</c:v>
                </c:pt>
                <c:pt idx="25">
                  <c:v>1066140.1332</c:v>
                </c:pt>
                <c:pt idx="26">
                  <c:v>1035356.1332</c:v>
                </c:pt>
                <c:pt idx="27">
                  <c:v>991576.13320000004</c:v>
                </c:pt>
                <c:pt idx="28">
                  <c:v>1000604.1332</c:v>
                </c:pt>
                <c:pt idx="29">
                  <c:v>1018968.1332</c:v>
                </c:pt>
                <c:pt idx="30">
                  <c:v>1045432.1332</c:v>
                </c:pt>
                <c:pt idx="31">
                  <c:v>1001980.1332</c:v>
                </c:pt>
                <c:pt idx="32">
                  <c:v>1002940.1332</c:v>
                </c:pt>
                <c:pt idx="33">
                  <c:v>957316.13320000004</c:v>
                </c:pt>
                <c:pt idx="34">
                  <c:v>937436.13319999992</c:v>
                </c:pt>
                <c:pt idx="35">
                  <c:v>947108.13320000004</c:v>
                </c:pt>
                <c:pt idx="36">
                  <c:v>938100.13320000004</c:v>
                </c:pt>
                <c:pt idx="37">
                  <c:v>995300.13320000004</c:v>
                </c:pt>
                <c:pt idx="38">
                  <c:v>1003208.1332</c:v>
                </c:pt>
                <c:pt idx="39">
                  <c:v>995872.13320000004</c:v>
                </c:pt>
                <c:pt idx="40">
                  <c:v>962252.13320000016</c:v>
                </c:pt>
                <c:pt idx="41">
                  <c:v>977552.13320000016</c:v>
                </c:pt>
                <c:pt idx="42">
                  <c:v>969392.13320000004</c:v>
                </c:pt>
                <c:pt idx="43">
                  <c:v>967520.13319999992</c:v>
                </c:pt>
                <c:pt idx="44">
                  <c:v>963408.13320000004</c:v>
                </c:pt>
                <c:pt idx="45">
                  <c:v>977884.13320000004</c:v>
                </c:pt>
                <c:pt idx="46">
                  <c:v>1010200.1332</c:v>
                </c:pt>
                <c:pt idx="47">
                  <c:v>1014300.1332</c:v>
                </c:pt>
                <c:pt idx="48">
                  <c:v>1034264.1332</c:v>
                </c:pt>
                <c:pt idx="49">
                  <c:v>1033176.1332</c:v>
                </c:pt>
                <c:pt idx="50">
                  <c:v>1057000.1332</c:v>
                </c:pt>
                <c:pt idx="51">
                  <c:v>1061952.1332</c:v>
                </c:pt>
                <c:pt idx="52">
                  <c:v>1041772.1332</c:v>
                </c:pt>
                <c:pt idx="53">
                  <c:v>1073156.1332</c:v>
                </c:pt>
                <c:pt idx="54">
                  <c:v>1080812.1332</c:v>
                </c:pt>
                <c:pt idx="55">
                  <c:v>1075036.1332</c:v>
                </c:pt>
                <c:pt idx="56">
                  <c:v>1084356.1332</c:v>
                </c:pt>
                <c:pt idx="57">
                  <c:v>1100528.1332</c:v>
                </c:pt>
                <c:pt idx="58">
                  <c:v>1111800.1332</c:v>
                </c:pt>
                <c:pt idx="59">
                  <c:v>1109440.1332</c:v>
                </c:pt>
                <c:pt idx="60">
                  <c:v>1112020.1332</c:v>
                </c:pt>
                <c:pt idx="61">
                  <c:v>1072980.1332</c:v>
                </c:pt>
                <c:pt idx="62">
                  <c:v>1088308.1332</c:v>
                </c:pt>
                <c:pt idx="63">
                  <c:v>1119452.1332</c:v>
                </c:pt>
                <c:pt idx="64">
                  <c:v>1143848.1332</c:v>
                </c:pt>
                <c:pt idx="65">
                  <c:v>1151988.1332</c:v>
                </c:pt>
                <c:pt idx="66">
                  <c:v>1156036.1332</c:v>
                </c:pt>
                <c:pt idx="67">
                  <c:v>1156084.1332</c:v>
                </c:pt>
                <c:pt idx="68">
                  <c:v>1141516.1332</c:v>
                </c:pt>
                <c:pt idx="69">
                  <c:v>1164308.1332</c:v>
                </c:pt>
                <c:pt idx="70">
                  <c:v>1151416.1332</c:v>
                </c:pt>
                <c:pt idx="71">
                  <c:v>1111752.1332</c:v>
                </c:pt>
                <c:pt idx="72">
                  <c:v>1118664.1332</c:v>
                </c:pt>
                <c:pt idx="73">
                  <c:v>1110396.1332</c:v>
                </c:pt>
                <c:pt idx="74">
                  <c:v>1086556.1332</c:v>
                </c:pt>
                <c:pt idx="75">
                  <c:v>1088652.1332</c:v>
                </c:pt>
                <c:pt idx="76">
                  <c:v>1123388.1332</c:v>
                </c:pt>
                <c:pt idx="77">
                  <c:v>1130412.1332</c:v>
                </c:pt>
                <c:pt idx="78">
                  <c:v>1166960.1332</c:v>
                </c:pt>
                <c:pt idx="79">
                  <c:v>1172044.1332</c:v>
                </c:pt>
                <c:pt idx="80">
                  <c:v>1187232.1332</c:v>
                </c:pt>
                <c:pt idx="81">
                  <c:v>1188072.1332</c:v>
                </c:pt>
                <c:pt idx="82">
                  <c:v>1196928.1332</c:v>
                </c:pt>
                <c:pt idx="83">
                  <c:v>1171368.1332</c:v>
                </c:pt>
                <c:pt idx="84">
                  <c:v>1196664.1332</c:v>
                </c:pt>
                <c:pt idx="85">
                  <c:v>1206844.1332</c:v>
                </c:pt>
                <c:pt idx="86">
                  <c:v>1198280.1332</c:v>
                </c:pt>
                <c:pt idx="87">
                  <c:v>1199688.1332</c:v>
                </c:pt>
                <c:pt idx="88">
                  <c:v>1205468.1332</c:v>
                </c:pt>
                <c:pt idx="89">
                  <c:v>1217272.1332</c:v>
                </c:pt>
                <c:pt idx="90">
                  <c:v>1206388.1332</c:v>
                </c:pt>
                <c:pt idx="91">
                  <c:v>1181244.1332</c:v>
                </c:pt>
                <c:pt idx="92">
                  <c:v>1177512.1332</c:v>
                </c:pt>
                <c:pt idx="93">
                  <c:v>1182328.1332</c:v>
                </c:pt>
                <c:pt idx="94">
                  <c:v>1169144.1332</c:v>
                </c:pt>
                <c:pt idx="95">
                  <c:v>1185124.1332</c:v>
                </c:pt>
                <c:pt idx="96">
                  <c:v>1224576.1332</c:v>
                </c:pt>
                <c:pt idx="97">
                  <c:v>1227280.1332</c:v>
                </c:pt>
                <c:pt idx="98">
                  <c:v>1256996.1332</c:v>
                </c:pt>
                <c:pt idx="99">
                  <c:v>1262740.1332</c:v>
                </c:pt>
                <c:pt idx="100">
                  <c:v>1256964.1332</c:v>
                </c:pt>
                <c:pt idx="101">
                  <c:v>1260632.1332</c:v>
                </c:pt>
                <c:pt idx="102">
                  <c:v>1265464.1332</c:v>
                </c:pt>
                <c:pt idx="103">
                  <c:v>1277080.1332</c:v>
                </c:pt>
                <c:pt idx="104">
                  <c:v>1265892.1332</c:v>
                </c:pt>
                <c:pt idx="105">
                  <c:v>1243756.1332</c:v>
                </c:pt>
                <c:pt idx="106">
                  <c:v>1267716.1332</c:v>
                </c:pt>
                <c:pt idx="107">
                  <c:v>1265728.1332</c:v>
                </c:pt>
                <c:pt idx="108">
                  <c:v>1285476.1332</c:v>
                </c:pt>
                <c:pt idx="109">
                  <c:v>1304212.1332</c:v>
                </c:pt>
                <c:pt idx="110">
                  <c:v>1313240.1332</c:v>
                </c:pt>
                <c:pt idx="111">
                  <c:v>1314264.1332</c:v>
                </c:pt>
                <c:pt idx="112">
                  <c:v>1314800.1332</c:v>
                </c:pt>
                <c:pt idx="113">
                  <c:v>1329532.1332</c:v>
                </c:pt>
                <c:pt idx="114">
                  <c:v>1328408.1332</c:v>
                </c:pt>
                <c:pt idx="115">
                  <c:v>1332608.1332</c:v>
                </c:pt>
                <c:pt idx="116">
                  <c:v>1353228.1332</c:v>
                </c:pt>
                <c:pt idx="117">
                  <c:v>1347828.1332</c:v>
                </c:pt>
                <c:pt idx="118">
                  <c:v>1376400.1332</c:v>
                </c:pt>
                <c:pt idx="119">
                  <c:v>1394184.1332</c:v>
                </c:pt>
                <c:pt idx="120">
                  <c:v>1412096.1332</c:v>
                </c:pt>
                <c:pt idx="121">
                  <c:v>1431140.1332</c:v>
                </c:pt>
                <c:pt idx="122">
                  <c:v>1417436.1332</c:v>
                </c:pt>
                <c:pt idx="123">
                  <c:v>1422148.1332</c:v>
                </c:pt>
                <c:pt idx="124">
                  <c:v>1439760.1332</c:v>
                </c:pt>
                <c:pt idx="125">
                  <c:v>1440564.1332</c:v>
                </c:pt>
                <c:pt idx="126">
                  <c:v>1425644.1332</c:v>
                </c:pt>
                <c:pt idx="127">
                  <c:v>1463140.1332</c:v>
                </c:pt>
                <c:pt idx="128">
                  <c:v>1478564.1332</c:v>
                </c:pt>
                <c:pt idx="129">
                  <c:v>1481736.1332</c:v>
                </c:pt>
                <c:pt idx="130">
                  <c:v>1489164.1332</c:v>
                </c:pt>
                <c:pt idx="131">
                  <c:v>1517688.1332</c:v>
                </c:pt>
                <c:pt idx="132">
                  <c:v>1497172.1332</c:v>
                </c:pt>
                <c:pt idx="133">
                  <c:v>1524008.1332</c:v>
                </c:pt>
                <c:pt idx="134">
                  <c:v>1542028.1332</c:v>
                </c:pt>
                <c:pt idx="135">
                  <c:v>1548264.1332</c:v>
                </c:pt>
                <c:pt idx="136">
                  <c:v>1578692.1332</c:v>
                </c:pt>
                <c:pt idx="137">
                  <c:v>1583568.1332</c:v>
                </c:pt>
                <c:pt idx="138">
                  <c:v>1504644.1332</c:v>
                </c:pt>
                <c:pt idx="139">
                  <c:v>1535168.1332</c:v>
                </c:pt>
                <c:pt idx="140">
                  <c:v>1575088.1332</c:v>
                </c:pt>
                <c:pt idx="141">
                  <c:v>1596052.1332</c:v>
                </c:pt>
                <c:pt idx="142">
                  <c:v>1595888.1332</c:v>
                </c:pt>
                <c:pt idx="143">
                  <c:v>1577616.1332</c:v>
                </c:pt>
                <c:pt idx="144">
                  <c:v>1546488.1332</c:v>
                </c:pt>
                <c:pt idx="145">
                  <c:v>1503280.1332</c:v>
                </c:pt>
                <c:pt idx="146">
                  <c:v>1499056.1332</c:v>
                </c:pt>
                <c:pt idx="147">
                  <c:v>1503792.1332</c:v>
                </c:pt>
                <c:pt idx="148">
                  <c:v>1440200.1332</c:v>
                </c:pt>
                <c:pt idx="149">
                  <c:v>1457568.1332</c:v>
                </c:pt>
                <c:pt idx="150">
                  <c:v>1419024.1332</c:v>
                </c:pt>
                <c:pt idx="151">
                  <c:v>1337348.1332</c:v>
                </c:pt>
                <c:pt idx="152">
                  <c:v>1350036.1332</c:v>
                </c:pt>
                <c:pt idx="153">
                  <c:v>1287068.1332</c:v>
                </c:pt>
                <c:pt idx="154">
                  <c:v>1338996.1332</c:v>
                </c:pt>
                <c:pt idx="155">
                  <c:v>1362688.1332</c:v>
                </c:pt>
                <c:pt idx="156">
                  <c:v>1373080.1332</c:v>
                </c:pt>
                <c:pt idx="157">
                  <c:v>1325172.1332</c:v>
                </c:pt>
                <c:pt idx="158">
                  <c:v>1350196.1332</c:v>
                </c:pt>
                <c:pt idx="159">
                  <c:v>1343760.1332</c:v>
                </c:pt>
                <c:pt idx="160">
                  <c:v>1299952.1332</c:v>
                </c:pt>
                <c:pt idx="161">
                  <c:v>1213348.1332</c:v>
                </c:pt>
                <c:pt idx="162">
                  <c:v>1218720.1332</c:v>
                </c:pt>
                <c:pt idx="163">
                  <c:v>1237612.1332</c:v>
                </c:pt>
                <c:pt idx="164">
                  <c:v>1302024.1332</c:v>
                </c:pt>
                <c:pt idx="165">
                  <c:v>1312096.1332</c:v>
                </c:pt>
                <c:pt idx="166">
                  <c:v>1322924.1332</c:v>
                </c:pt>
                <c:pt idx="167">
                  <c:v>1349628.1332</c:v>
                </c:pt>
                <c:pt idx="168">
                  <c:v>1359204.1332</c:v>
                </c:pt>
                <c:pt idx="169">
                  <c:v>1346404.1332</c:v>
                </c:pt>
                <c:pt idx="170">
                  <c:v>1376492.1332</c:v>
                </c:pt>
                <c:pt idx="171">
                  <c:v>1398596.1332</c:v>
                </c:pt>
                <c:pt idx="172">
                  <c:v>1402296.1332</c:v>
                </c:pt>
                <c:pt idx="173">
                  <c:v>1384536.1332</c:v>
                </c:pt>
                <c:pt idx="174">
                  <c:v>1409280.1332</c:v>
                </c:pt>
                <c:pt idx="175">
                  <c:v>1361116.1332</c:v>
                </c:pt>
                <c:pt idx="176">
                  <c:v>1364680.1332</c:v>
                </c:pt>
                <c:pt idx="177">
                  <c:v>1333652.1332</c:v>
                </c:pt>
                <c:pt idx="178">
                  <c:v>1305268.1332</c:v>
                </c:pt>
                <c:pt idx="179">
                  <c:v>1313612.1332</c:v>
                </c:pt>
                <c:pt idx="180">
                  <c:v>1304652.1332</c:v>
                </c:pt>
                <c:pt idx="181">
                  <c:v>1270296.1332</c:v>
                </c:pt>
                <c:pt idx="182">
                  <c:v>1270156.1332</c:v>
                </c:pt>
                <c:pt idx="183">
                  <c:v>1283164.1332</c:v>
                </c:pt>
                <c:pt idx="184">
                  <c:v>1346724.1332</c:v>
                </c:pt>
                <c:pt idx="185">
                  <c:v>1341892.1332</c:v>
                </c:pt>
                <c:pt idx="186">
                  <c:v>1360648.1332</c:v>
                </c:pt>
                <c:pt idx="187">
                  <c:v>1372200.1332</c:v>
                </c:pt>
                <c:pt idx="188">
                  <c:v>1377096.1332</c:v>
                </c:pt>
                <c:pt idx="189">
                  <c:v>1377924.1332</c:v>
                </c:pt>
                <c:pt idx="190">
                  <c:v>1412904.1332</c:v>
                </c:pt>
                <c:pt idx="191">
                  <c:v>1432268.1332</c:v>
                </c:pt>
                <c:pt idx="192">
                  <c:v>1428956.1332</c:v>
                </c:pt>
                <c:pt idx="193">
                  <c:v>1420168.1332</c:v>
                </c:pt>
                <c:pt idx="194">
                  <c:v>1446540.1332</c:v>
                </c:pt>
                <c:pt idx="195">
                  <c:v>1446936.1332</c:v>
                </c:pt>
                <c:pt idx="196">
                  <c:v>1407128.1332</c:v>
                </c:pt>
                <c:pt idx="197">
                  <c:v>1412972.1332</c:v>
                </c:pt>
                <c:pt idx="198">
                  <c:v>1380060.1332</c:v>
                </c:pt>
                <c:pt idx="199">
                  <c:v>1393388.1332</c:v>
                </c:pt>
                <c:pt idx="200">
                  <c:v>1438360.1332</c:v>
                </c:pt>
                <c:pt idx="201">
                  <c:v>1455412.1332</c:v>
                </c:pt>
                <c:pt idx="202">
                  <c:v>1462796.1332</c:v>
                </c:pt>
                <c:pt idx="203">
                  <c:v>1466968.1332</c:v>
                </c:pt>
                <c:pt idx="204">
                  <c:v>1474448.1332</c:v>
                </c:pt>
                <c:pt idx="205">
                  <c:v>1479556.1332</c:v>
                </c:pt>
                <c:pt idx="206">
                  <c:v>1482752.1332</c:v>
                </c:pt>
                <c:pt idx="207">
                  <c:v>1479508.1332</c:v>
                </c:pt>
                <c:pt idx="208">
                  <c:v>1481236.1332</c:v>
                </c:pt>
                <c:pt idx="209">
                  <c:v>1488728.1332</c:v>
                </c:pt>
                <c:pt idx="210">
                  <c:v>1531560.1332</c:v>
                </c:pt>
                <c:pt idx="211">
                  <c:v>1532580.1332</c:v>
                </c:pt>
                <c:pt idx="212">
                  <c:v>1533332.1332</c:v>
                </c:pt>
                <c:pt idx="213">
                  <c:v>1538216.1332</c:v>
                </c:pt>
                <c:pt idx="214">
                  <c:v>1533644.1332</c:v>
                </c:pt>
                <c:pt idx="215">
                  <c:v>1547444.1332</c:v>
                </c:pt>
                <c:pt idx="216">
                  <c:v>1500472.1332</c:v>
                </c:pt>
                <c:pt idx="217">
                  <c:v>1533092.1332</c:v>
                </c:pt>
                <c:pt idx="218">
                  <c:v>1475548.1332</c:v>
                </c:pt>
                <c:pt idx="219">
                  <c:v>1434244.1332</c:v>
                </c:pt>
                <c:pt idx="220">
                  <c:v>1485908.1332</c:v>
                </c:pt>
                <c:pt idx="221">
                  <c:v>1505572.1332</c:v>
                </c:pt>
                <c:pt idx="222">
                  <c:v>1520172.1332</c:v>
                </c:pt>
                <c:pt idx="223">
                  <c:v>1517592.1332</c:v>
                </c:pt>
                <c:pt idx="224">
                  <c:v>1538636.1332</c:v>
                </c:pt>
                <c:pt idx="225">
                  <c:v>1548772.1332</c:v>
                </c:pt>
                <c:pt idx="226">
                  <c:v>1530848.1332</c:v>
                </c:pt>
                <c:pt idx="227">
                  <c:v>1503032.1332</c:v>
                </c:pt>
                <c:pt idx="228">
                  <c:v>1512136.1332</c:v>
                </c:pt>
                <c:pt idx="229">
                  <c:v>1511248.1332</c:v>
                </c:pt>
                <c:pt idx="230">
                  <c:v>1526340.1332</c:v>
                </c:pt>
                <c:pt idx="231">
                  <c:v>1514576.1332</c:v>
                </c:pt>
                <c:pt idx="232">
                  <c:v>1505528.1332</c:v>
                </c:pt>
                <c:pt idx="233">
                  <c:v>1473300.1332</c:v>
                </c:pt>
                <c:pt idx="234">
                  <c:v>1437800.4635999999</c:v>
                </c:pt>
                <c:pt idx="235">
                  <c:v>1437800.4635999999</c:v>
                </c:pt>
                <c:pt idx="236">
                  <c:v>1437800.4635999999</c:v>
                </c:pt>
                <c:pt idx="237">
                  <c:v>1437800.4635999999</c:v>
                </c:pt>
                <c:pt idx="238">
                  <c:v>1437800.4635999999</c:v>
                </c:pt>
                <c:pt idx="239">
                  <c:v>1437800.4635999999</c:v>
                </c:pt>
                <c:pt idx="240">
                  <c:v>1437800.4635999999</c:v>
                </c:pt>
                <c:pt idx="241">
                  <c:v>1437800.4635999999</c:v>
                </c:pt>
                <c:pt idx="242">
                  <c:v>1437800.4635999999</c:v>
                </c:pt>
                <c:pt idx="243">
                  <c:v>1437800.4635999999</c:v>
                </c:pt>
                <c:pt idx="244">
                  <c:v>1437800.4635999999</c:v>
                </c:pt>
                <c:pt idx="245">
                  <c:v>1437800.4635999999</c:v>
                </c:pt>
                <c:pt idx="246">
                  <c:v>1437800.4635999999</c:v>
                </c:pt>
                <c:pt idx="247">
                  <c:v>1437800.4635999999</c:v>
                </c:pt>
                <c:pt idx="248">
                  <c:v>1437800.4635999999</c:v>
                </c:pt>
                <c:pt idx="249">
                  <c:v>1437800.4635999999</c:v>
                </c:pt>
                <c:pt idx="250">
                  <c:v>1437800.4635999999</c:v>
                </c:pt>
                <c:pt idx="251">
                  <c:v>1437800.4635999999</c:v>
                </c:pt>
                <c:pt idx="252">
                  <c:v>1437800.4635999999</c:v>
                </c:pt>
                <c:pt idx="253">
                  <c:v>1437800.4635999999</c:v>
                </c:pt>
                <c:pt idx="254">
                  <c:v>1437800.4635999999</c:v>
                </c:pt>
                <c:pt idx="255">
                  <c:v>1437800.4635999999</c:v>
                </c:pt>
                <c:pt idx="256">
                  <c:v>1437800.4635999999</c:v>
                </c:pt>
                <c:pt idx="257">
                  <c:v>1437800.4635999999</c:v>
                </c:pt>
                <c:pt idx="258">
                  <c:v>1437800.4635999999</c:v>
                </c:pt>
                <c:pt idx="259">
                  <c:v>1437800.4635999999</c:v>
                </c:pt>
                <c:pt idx="260">
                  <c:v>1437800.4635999999</c:v>
                </c:pt>
                <c:pt idx="261">
                  <c:v>1437800.4635999999</c:v>
                </c:pt>
                <c:pt idx="262">
                  <c:v>1437800.4635999999</c:v>
                </c:pt>
                <c:pt idx="263">
                  <c:v>1437800.4635999999</c:v>
                </c:pt>
                <c:pt idx="264">
                  <c:v>1437800.4635999999</c:v>
                </c:pt>
                <c:pt idx="265">
                  <c:v>1437800.4635999999</c:v>
                </c:pt>
                <c:pt idx="266">
                  <c:v>1437800.4635999999</c:v>
                </c:pt>
                <c:pt idx="267">
                  <c:v>1437800.4635999999</c:v>
                </c:pt>
                <c:pt idx="268">
                  <c:v>1437800.4635999999</c:v>
                </c:pt>
                <c:pt idx="269">
                  <c:v>1437800.4635999999</c:v>
                </c:pt>
                <c:pt idx="270">
                  <c:v>1437800.4635999999</c:v>
                </c:pt>
                <c:pt idx="271">
                  <c:v>1437800.4635999999</c:v>
                </c:pt>
                <c:pt idx="272">
                  <c:v>1437800.4635999999</c:v>
                </c:pt>
                <c:pt idx="273">
                  <c:v>1437800.4635999999</c:v>
                </c:pt>
                <c:pt idx="274">
                  <c:v>1437800.4635999999</c:v>
                </c:pt>
                <c:pt idx="275">
                  <c:v>1437800.4635999999</c:v>
                </c:pt>
                <c:pt idx="276">
                  <c:v>1437800.4635999999</c:v>
                </c:pt>
                <c:pt idx="277">
                  <c:v>1437800.4635999999</c:v>
                </c:pt>
                <c:pt idx="278">
                  <c:v>1437800.4635999999</c:v>
                </c:pt>
                <c:pt idx="279">
                  <c:v>1437800.4635999999</c:v>
                </c:pt>
                <c:pt idx="280">
                  <c:v>1437800.4635999999</c:v>
                </c:pt>
                <c:pt idx="281">
                  <c:v>1437800.4635999999</c:v>
                </c:pt>
                <c:pt idx="282">
                  <c:v>1437800.4635999999</c:v>
                </c:pt>
                <c:pt idx="283">
                  <c:v>1437800.4635999999</c:v>
                </c:pt>
                <c:pt idx="284">
                  <c:v>1437800.4635999999</c:v>
                </c:pt>
                <c:pt idx="285">
                  <c:v>1437800.4635999999</c:v>
                </c:pt>
                <c:pt idx="286">
                  <c:v>1437800.4635999999</c:v>
                </c:pt>
                <c:pt idx="287">
                  <c:v>1437800.4635999999</c:v>
                </c:pt>
                <c:pt idx="288">
                  <c:v>1437800.4635999999</c:v>
                </c:pt>
                <c:pt idx="289">
                  <c:v>1437800.4635999999</c:v>
                </c:pt>
                <c:pt idx="290">
                  <c:v>1437800.4635999999</c:v>
                </c:pt>
                <c:pt idx="291">
                  <c:v>1437800.4635999999</c:v>
                </c:pt>
                <c:pt idx="292">
                  <c:v>1437800.4635999999</c:v>
                </c:pt>
                <c:pt idx="293">
                  <c:v>1437800.4635999999</c:v>
                </c:pt>
                <c:pt idx="294">
                  <c:v>1437800.4635999999</c:v>
                </c:pt>
                <c:pt idx="295">
                  <c:v>1437800.4635999999</c:v>
                </c:pt>
                <c:pt idx="296">
                  <c:v>1437800.4635999999</c:v>
                </c:pt>
                <c:pt idx="297">
                  <c:v>1437800.4635999999</c:v>
                </c:pt>
                <c:pt idx="298">
                  <c:v>1437800.4635999999</c:v>
                </c:pt>
                <c:pt idx="299">
                  <c:v>1437800.4635999999</c:v>
                </c:pt>
                <c:pt idx="300">
                  <c:v>1437800.4635999999</c:v>
                </c:pt>
                <c:pt idx="301">
                  <c:v>1437800.4635999999</c:v>
                </c:pt>
                <c:pt idx="302">
                  <c:v>1437800.4635999999</c:v>
                </c:pt>
                <c:pt idx="303">
                  <c:v>1437800.4635999999</c:v>
                </c:pt>
                <c:pt idx="304">
                  <c:v>1437800.4635999999</c:v>
                </c:pt>
                <c:pt idx="305">
                  <c:v>1437800.4635999999</c:v>
                </c:pt>
                <c:pt idx="306">
                  <c:v>1437800.4635999999</c:v>
                </c:pt>
                <c:pt idx="307">
                  <c:v>1437800.4635999999</c:v>
                </c:pt>
                <c:pt idx="308">
                  <c:v>1437800.4635999999</c:v>
                </c:pt>
                <c:pt idx="309">
                  <c:v>1437800.4635999999</c:v>
                </c:pt>
                <c:pt idx="310">
                  <c:v>1437800.4635999999</c:v>
                </c:pt>
                <c:pt idx="311">
                  <c:v>1437800.4635999999</c:v>
                </c:pt>
                <c:pt idx="312">
                  <c:v>1437800.4635999999</c:v>
                </c:pt>
                <c:pt idx="313">
                  <c:v>1437800.4635999999</c:v>
                </c:pt>
                <c:pt idx="314">
                  <c:v>1437800.4635999999</c:v>
                </c:pt>
                <c:pt idx="315">
                  <c:v>1437800.4635999999</c:v>
                </c:pt>
                <c:pt idx="316">
                  <c:v>1437800.4635999999</c:v>
                </c:pt>
                <c:pt idx="317">
                  <c:v>1437800.4635999999</c:v>
                </c:pt>
                <c:pt idx="318">
                  <c:v>1437800.4635999999</c:v>
                </c:pt>
                <c:pt idx="319">
                  <c:v>1437800.4635999999</c:v>
                </c:pt>
                <c:pt idx="320">
                  <c:v>1437800.4635999999</c:v>
                </c:pt>
                <c:pt idx="321">
                  <c:v>1437800.4635999999</c:v>
                </c:pt>
                <c:pt idx="322">
                  <c:v>1437800.4635999999</c:v>
                </c:pt>
                <c:pt idx="323">
                  <c:v>1437800.4635999999</c:v>
                </c:pt>
                <c:pt idx="324">
                  <c:v>1437800.4635999999</c:v>
                </c:pt>
                <c:pt idx="325">
                  <c:v>1437800.4635999999</c:v>
                </c:pt>
                <c:pt idx="326">
                  <c:v>1437800.4635999999</c:v>
                </c:pt>
                <c:pt idx="327">
                  <c:v>1437800.4635999999</c:v>
                </c:pt>
                <c:pt idx="328">
                  <c:v>1437800.4635999999</c:v>
                </c:pt>
                <c:pt idx="329">
                  <c:v>1437800.4635999999</c:v>
                </c:pt>
                <c:pt idx="330">
                  <c:v>1437800.4635999999</c:v>
                </c:pt>
                <c:pt idx="331">
                  <c:v>1437800.4635999999</c:v>
                </c:pt>
                <c:pt idx="332">
                  <c:v>1437800.4635999999</c:v>
                </c:pt>
                <c:pt idx="333">
                  <c:v>1437800.4635999999</c:v>
                </c:pt>
                <c:pt idx="334">
                  <c:v>1437800.4635999999</c:v>
                </c:pt>
                <c:pt idx="335">
                  <c:v>1437800.4635999999</c:v>
                </c:pt>
                <c:pt idx="336">
                  <c:v>1437800.4635999999</c:v>
                </c:pt>
                <c:pt idx="337">
                  <c:v>1437800.4635999999</c:v>
                </c:pt>
                <c:pt idx="338">
                  <c:v>1437800.4635999999</c:v>
                </c:pt>
                <c:pt idx="339">
                  <c:v>1437800.4635999999</c:v>
                </c:pt>
                <c:pt idx="340">
                  <c:v>1437800.4635999999</c:v>
                </c:pt>
                <c:pt idx="341">
                  <c:v>1437800.4635999999</c:v>
                </c:pt>
                <c:pt idx="342">
                  <c:v>1437800.4635999999</c:v>
                </c:pt>
                <c:pt idx="343">
                  <c:v>1437800.4635999999</c:v>
                </c:pt>
                <c:pt idx="344">
                  <c:v>1437800.4635999999</c:v>
                </c:pt>
                <c:pt idx="345">
                  <c:v>1437800.4635999999</c:v>
                </c:pt>
                <c:pt idx="346">
                  <c:v>1437800.4635999999</c:v>
                </c:pt>
                <c:pt idx="347">
                  <c:v>1437800.4635999999</c:v>
                </c:pt>
                <c:pt idx="348">
                  <c:v>1437800.4635999999</c:v>
                </c:pt>
                <c:pt idx="349">
                  <c:v>1437800.4635999999</c:v>
                </c:pt>
                <c:pt idx="350">
                  <c:v>1437800.4635999999</c:v>
                </c:pt>
                <c:pt idx="351">
                  <c:v>1437800.4635999999</c:v>
                </c:pt>
                <c:pt idx="352">
                  <c:v>1437800.4635999999</c:v>
                </c:pt>
                <c:pt idx="353">
                  <c:v>1437800.4635999999</c:v>
                </c:pt>
                <c:pt idx="354">
                  <c:v>1437800.4635999999</c:v>
                </c:pt>
                <c:pt idx="355">
                  <c:v>1437800.4635999999</c:v>
                </c:pt>
                <c:pt idx="356">
                  <c:v>1437800.4635999999</c:v>
                </c:pt>
                <c:pt idx="357">
                  <c:v>1437800.4635999999</c:v>
                </c:pt>
                <c:pt idx="358">
                  <c:v>1437800.4635999999</c:v>
                </c:pt>
                <c:pt idx="359">
                  <c:v>1437800.4635999999</c:v>
                </c:pt>
                <c:pt idx="360">
                  <c:v>1437800.4635999999</c:v>
                </c:pt>
                <c:pt idx="361">
                  <c:v>1437800.4635999999</c:v>
                </c:pt>
                <c:pt idx="362">
                  <c:v>1437800.4635999999</c:v>
                </c:pt>
                <c:pt idx="363">
                  <c:v>1437800.4635999999</c:v>
                </c:pt>
                <c:pt idx="364">
                  <c:v>1437800.4635999999</c:v>
                </c:pt>
                <c:pt idx="365">
                  <c:v>1437800.4635999999</c:v>
                </c:pt>
                <c:pt idx="366">
                  <c:v>1437800.4635999999</c:v>
                </c:pt>
                <c:pt idx="367">
                  <c:v>1437800.4635999999</c:v>
                </c:pt>
                <c:pt idx="368">
                  <c:v>1437800.4635999999</c:v>
                </c:pt>
                <c:pt idx="369">
                  <c:v>1437800.4635999999</c:v>
                </c:pt>
                <c:pt idx="370">
                  <c:v>1437800.4635999999</c:v>
                </c:pt>
                <c:pt idx="371">
                  <c:v>1437800.4635999999</c:v>
                </c:pt>
                <c:pt idx="372">
                  <c:v>1437800.4635999999</c:v>
                </c:pt>
                <c:pt idx="373">
                  <c:v>1437800.4635999999</c:v>
                </c:pt>
                <c:pt idx="374">
                  <c:v>1437800.4635999999</c:v>
                </c:pt>
                <c:pt idx="375">
                  <c:v>1437800.4635999999</c:v>
                </c:pt>
                <c:pt idx="376">
                  <c:v>1437800.4635999999</c:v>
                </c:pt>
                <c:pt idx="377">
                  <c:v>1437800.4635999999</c:v>
                </c:pt>
                <c:pt idx="378">
                  <c:v>1437800.4635999999</c:v>
                </c:pt>
                <c:pt idx="379">
                  <c:v>1437800.4635999999</c:v>
                </c:pt>
                <c:pt idx="380">
                  <c:v>1437800.4635999999</c:v>
                </c:pt>
                <c:pt idx="381">
                  <c:v>1437800.4635999999</c:v>
                </c:pt>
                <c:pt idx="382">
                  <c:v>1437800.4635999999</c:v>
                </c:pt>
                <c:pt idx="383">
                  <c:v>1437800.4635999999</c:v>
                </c:pt>
                <c:pt idx="384">
                  <c:v>1437800.4635999999</c:v>
                </c:pt>
                <c:pt idx="385">
                  <c:v>1437800.4635999999</c:v>
                </c:pt>
                <c:pt idx="386">
                  <c:v>1437800.4635999999</c:v>
                </c:pt>
                <c:pt idx="387">
                  <c:v>1437800.4635999999</c:v>
                </c:pt>
                <c:pt idx="388">
                  <c:v>1437800.4635999999</c:v>
                </c:pt>
                <c:pt idx="389">
                  <c:v>1437800.4635999999</c:v>
                </c:pt>
                <c:pt idx="390">
                  <c:v>1437800.4635999999</c:v>
                </c:pt>
                <c:pt idx="391">
                  <c:v>1437800.4635999999</c:v>
                </c:pt>
                <c:pt idx="392">
                  <c:v>1437800.4635999999</c:v>
                </c:pt>
                <c:pt idx="393">
                  <c:v>1437657.6861</c:v>
                </c:pt>
                <c:pt idx="394">
                  <c:v>1470922.6861</c:v>
                </c:pt>
                <c:pt idx="395">
                  <c:v>1481027.6861</c:v>
                </c:pt>
                <c:pt idx="396">
                  <c:v>1478562.6861</c:v>
                </c:pt>
                <c:pt idx="397">
                  <c:v>1487582.6861</c:v>
                </c:pt>
                <c:pt idx="398">
                  <c:v>1459047.6861</c:v>
                </c:pt>
                <c:pt idx="399">
                  <c:v>1457977.6861</c:v>
                </c:pt>
                <c:pt idx="400">
                  <c:v>1465797.6861</c:v>
                </c:pt>
                <c:pt idx="401">
                  <c:v>1431392.6861</c:v>
                </c:pt>
                <c:pt idx="402">
                  <c:v>1434927.6861</c:v>
                </c:pt>
                <c:pt idx="403">
                  <c:v>1439167.6861</c:v>
                </c:pt>
                <c:pt idx="404">
                  <c:v>1467387.6861</c:v>
                </c:pt>
                <c:pt idx="405">
                  <c:v>1461477.6861</c:v>
                </c:pt>
                <c:pt idx="406">
                  <c:v>1451902.6861</c:v>
                </c:pt>
                <c:pt idx="407">
                  <c:v>1470577.6861</c:v>
                </c:pt>
                <c:pt idx="408">
                  <c:v>1469987.6861</c:v>
                </c:pt>
                <c:pt idx="409">
                  <c:v>1497427.6861</c:v>
                </c:pt>
                <c:pt idx="410">
                  <c:v>1501437.6861</c:v>
                </c:pt>
                <c:pt idx="411">
                  <c:v>1500367.6861</c:v>
                </c:pt>
                <c:pt idx="412">
                  <c:v>1473112.6861</c:v>
                </c:pt>
                <c:pt idx="413">
                  <c:v>1476157.6861</c:v>
                </c:pt>
                <c:pt idx="414">
                  <c:v>1491042.6861</c:v>
                </c:pt>
                <c:pt idx="415">
                  <c:v>1492387.6861</c:v>
                </c:pt>
                <c:pt idx="416">
                  <c:v>1466477.6861</c:v>
                </c:pt>
                <c:pt idx="417">
                  <c:v>1438777.6861</c:v>
                </c:pt>
                <c:pt idx="418">
                  <c:v>1440567.6861</c:v>
                </c:pt>
                <c:pt idx="419">
                  <c:v>1434797.6861</c:v>
                </c:pt>
                <c:pt idx="420">
                  <c:v>1438622.6861</c:v>
                </c:pt>
                <c:pt idx="421">
                  <c:v>1462397.6861</c:v>
                </c:pt>
                <c:pt idx="422">
                  <c:v>1450337.6861</c:v>
                </c:pt>
                <c:pt idx="423">
                  <c:v>1447287.6861</c:v>
                </c:pt>
                <c:pt idx="424">
                  <c:v>1477667.6861</c:v>
                </c:pt>
                <c:pt idx="425">
                  <c:v>1531997.6861</c:v>
                </c:pt>
                <c:pt idx="426">
                  <c:v>1576332.6861</c:v>
                </c:pt>
                <c:pt idx="427">
                  <c:v>1596247.6861</c:v>
                </c:pt>
                <c:pt idx="428">
                  <c:v>1618672.6861</c:v>
                </c:pt>
                <c:pt idx="429">
                  <c:v>1621952.6861</c:v>
                </c:pt>
                <c:pt idx="430">
                  <c:v>1673722.6861</c:v>
                </c:pt>
                <c:pt idx="431">
                  <c:v>1662962.6861</c:v>
                </c:pt>
                <c:pt idx="432">
                  <c:v>1697717.6861</c:v>
                </c:pt>
                <c:pt idx="433">
                  <c:v>1708322.6861</c:v>
                </c:pt>
                <c:pt idx="434">
                  <c:v>1697227.6861</c:v>
                </c:pt>
                <c:pt idx="435">
                  <c:v>1699212.6861</c:v>
                </c:pt>
                <c:pt idx="436">
                  <c:v>1750422.6861</c:v>
                </c:pt>
                <c:pt idx="437">
                  <c:v>1742922.6861</c:v>
                </c:pt>
                <c:pt idx="438">
                  <c:v>1711817.6861</c:v>
                </c:pt>
                <c:pt idx="439">
                  <c:v>1708727.6861</c:v>
                </c:pt>
                <c:pt idx="440">
                  <c:v>1699872.6861</c:v>
                </c:pt>
                <c:pt idx="441">
                  <c:v>1746382.6861</c:v>
                </c:pt>
                <c:pt idx="442">
                  <c:v>1741447.6861</c:v>
                </c:pt>
                <c:pt idx="443">
                  <c:v>1720052.6861</c:v>
                </c:pt>
                <c:pt idx="444">
                  <c:v>1750137.6861</c:v>
                </c:pt>
                <c:pt idx="445">
                  <c:v>1770282.6861</c:v>
                </c:pt>
                <c:pt idx="446">
                  <c:v>1784167.6861</c:v>
                </c:pt>
                <c:pt idx="447">
                  <c:v>1771857.6861</c:v>
                </c:pt>
                <c:pt idx="448">
                  <c:v>1759437.6861</c:v>
                </c:pt>
                <c:pt idx="449">
                  <c:v>1764872.6861</c:v>
                </c:pt>
                <c:pt idx="450">
                  <c:v>1655797.6861</c:v>
                </c:pt>
                <c:pt idx="451">
                  <c:v>1667327.6861</c:v>
                </c:pt>
                <c:pt idx="452">
                  <c:v>1594652.6861</c:v>
                </c:pt>
                <c:pt idx="453">
                  <c:v>1561837.6861</c:v>
                </c:pt>
                <c:pt idx="454">
                  <c:v>1583862.6861</c:v>
                </c:pt>
                <c:pt idx="455">
                  <c:v>1599307.6861</c:v>
                </c:pt>
                <c:pt idx="456">
                  <c:v>1595852.6861</c:v>
                </c:pt>
                <c:pt idx="457">
                  <c:v>1563472.6861</c:v>
                </c:pt>
                <c:pt idx="458">
                  <c:v>1598402.6861</c:v>
                </c:pt>
                <c:pt idx="459">
                  <c:v>1621622.6861</c:v>
                </c:pt>
                <c:pt idx="460">
                  <c:v>1607307.6861</c:v>
                </c:pt>
                <c:pt idx="461">
                  <c:v>1604907.6861</c:v>
                </c:pt>
                <c:pt idx="462">
                  <c:v>1578377.6861</c:v>
                </c:pt>
                <c:pt idx="463">
                  <c:v>1577892.6861</c:v>
                </c:pt>
                <c:pt idx="464">
                  <c:v>1587412.6861</c:v>
                </c:pt>
                <c:pt idx="465">
                  <c:v>1588962.6861</c:v>
                </c:pt>
                <c:pt idx="466">
                  <c:v>1592667.6861</c:v>
                </c:pt>
                <c:pt idx="467">
                  <c:v>1610052.6861</c:v>
                </c:pt>
                <c:pt idx="468">
                  <c:v>1595822.6861</c:v>
                </c:pt>
                <c:pt idx="469">
                  <c:v>1571567.6861</c:v>
                </c:pt>
                <c:pt idx="470">
                  <c:v>1590872.6861</c:v>
                </c:pt>
                <c:pt idx="471">
                  <c:v>1640412.6861</c:v>
                </c:pt>
                <c:pt idx="472">
                  <c:v>1644617.6861</c:v>
                </c:pt>
                <c:pt idx="473">
                  <c:v>1633540.3041000001</c:v>
                </c:pt>
                <c:pt idx="474">
                  <c:v>1633540.3041000001</c:v>
                </c:pt>
                <c:pt idx="475">
                  <c:v>1633540.3041000001</c:v>
                </c:pt>
                <c:pt idx="476">
                  <c:v>1633540.3041000001</c:v>
                </c:pt>
                <c:pt idx="477">
                  <c:v>1633540.3041000001</c:v>
                </c:pt>
                <c:pt idx="478">
                  <c:v>1633540.3041000001</c:v>
                </c:pt>
                <c:pt idx="479">
                  <c:v>1633540.3041000001</c:v>
                </c:pt>
                <c:pt idx="480">
                  <c:v>1633540.3041000001</c:v>
                </c:pt>
                <c:pt idx="481">
                  <c:v>1633540.3041000001</c:v>
                </c:pt>
                <c:pt idx="482">
                  <c:v>1633540.3041000001</c:v>
                </c:pt>
                <c:pt idx="483">
                  <c:v>1633540.3041000001</c:v>
                </c:pt>
                <c:pt idx="484">
                  <c:v>1633540.3041000001</c:v>
                </c:pt>
                <c:pt idx="485">
                  <c:v>1633540.3041000001</c:v>
                </c:pt>
                <c:pt idx="486">
                  <c:v>1633540.3041000001</c:v>
                </c:pt>
                <c:pt idx="487">
                  <c:v>1633540.3041000001</c:v>
                </c:pt>
                <c:pt idx="488">
                  <c:v>1633540.3041000001</c:v>
                </c:pt>
                <c:pt idx="489">
                  <c:v>1633540.3041000001</c:v>
                </c:pt>
                <c:pt idx="490">
                  <c:v>1633540.3041000001</c:v>
                </c:pt>
                <c:pt idx="491">
                  <c:v>1633540.3041000001</c:v>
                </c:pt>
                <c:pt idx="492">
                  <c:v>1633540.3041000001</c:v>
                </c:pt>
                <c:pt idx="493">
                  <c:v>1633540.3041000001</c:v>
                </c:pt>
                <c:pt idx="494">
                  <c:v>1633540.3041000001</c:v>
                </c:pt>
                <c:pt idx="495">
                  <c:v>1633540.3041000001</c:v>
                </c:pt>
                <c:pt idx="496">
                  <c:v>1633540.3041000001</c:v>
                </c:pt>
                <c:pt idx="497">
                  <c:v>1633540.3041000001</c:v>
                </c:pt>
                <c:pt idx="498">
                  <c:v>1633540.3041000001</c:v>
                </c:pt>
                <c:pt idx="499">
                  <c:v>1633540.3041000001</c:v>
                </c:pt>
                <c:pt idx="500">
                  <c:v>1633540.3041000001</c:v>
                </c:pt>
                <c:pt idx="501">
                  <c:v>1633540.3041000001</c:v>
                </c:pt>
                <c:pt idx="502">
                  <c:v>1633540.3041000001</c:v>
                </c:pt>
                <c:pt idx="503">
                  <c:v>1633540.3041000001</c:v>
                </c:pt>
                <c:pt idx="504">
                  <c:v>1633540.3041000001</c:v>
                </c:pt>
                <c:pt idx="505">
                  <c:v>1633540.3041000001</c:v>
                </c:pt>
                <c:pt idx="506">
                  <c:v>1633540.3041000001</c:v>
                </c:pt>
                <c:pt idx="507">
                  <c:v>1633540.3041000001</c:v>
                </c:pt>
                <c:pt idx="508">
                  <c:v>1633540.3041000001</c:v>
                </c:pt>
                <c:pt idx="509">
                  <c:v>1633540.3041000001</c:v>
                </c:pt>
                <c:pt idx="510">
                  <c:v>1633540.3041000001</c:v>
                </c:pt>
                <c:pt idx="511">
                  <c:v>1633540.3041000001</c:v>
                </c:pt>
                <c:pt idx="512">
                  <c:v>1633540.3041000001</c:v>
                </c:pt>
                <c:pt idx="513">
                  <c:v>1633540.3041000001</c:v>
                </c:pt>
                <c:pt idx="514">
                  <c:v>1633540.3041000001</c:v>
                </c:pt>
                <c:pt idx="515">
                  <c:v>1633540.3041000001</c:v>
                </c:pt>
                <c:pt idx="516">
                  <c:v>1633540.3041000001</c:v>
                </c:pt>
                <c:pt idx="517">
                  <c:v>1633540.3041000001</c:v>
                </c:pt>
                <c:pt idx="518">
                  <c:v>1633540.3041000001</c:v>
                </c:pt>
                <c:pt idx="519">
                  <c:v>1633540.3041000001</c:v>
                </c:pt>
                <c:pt idx="520">
                  <c:v>1633540.3041000001</c:v>
                </c:pt>
                <c:pt idx="521">
                  <c:v>1633540.3041000001</c:v>
                </c:pt>
                <c:pt idx="522">
                  <c:v>1633540.3041000001</c:v>
                </c:pt>
                <c:pt idx="523">
                  <c:v>1633540.3041000001</c:v>
                </c:pt>
                <c:pt idx="524">
                  <c:v>1633540.3041000001</c:v>
                </c:pt>
                <c:pt idx="525">
                  <c:v>1633540.3041000001</c:v>
                </c:pt>
                <c:pt idx="526">
                  <c:v>1633540.3041000001</c:v>
                </c:pt>
                <c:pt idx="527">
                  <c:v>1633540.3041000001</c:v>
                </c:pt>
                <c:pt idx="528">
                  <c:v>1633540.3041000001</c:v>
                </c:pt>
                <c:pt idx="529">
                  <c:v>1633540.3041000001</c:v>
                </c:pt>
                <c:pt idx="530">
                  <c:v>1633540.3041000001</c:v>
                </c:pt>
                <c:pt idx="531">
                  <c:v>1633540.3041000001</c:v>
                </c:pt>
                <c:pt idx="532">
                  <c:v>1633540.3041000001</c:v>
                </c:pt>
                <c:pt idx="533">
                  <c:v>1633540.3041000001</c:v>
                </c:pt>
                <c:pt idx="534">
                  <c:v>1633540.3041000001</c:v>
                </c:pt>
                <c:pt idx="535">
                  <c:v>1633540.3041000001</c:v>
                </c:pt>
                <c:pt idx="536">
                  <c:v>1633540.3041000001</c:v>
                </c:pt>
                <c:pt idx="537">
                  <c:v>1633540.3041000001</c:v>
                </c:pt>
                <c:pt idx="538">
                  <c:v>1633540.3041000001</c:v>
                </c:pt>
                <c:pt idx="539">
                  <c:v>1633540.3041000001</c:v>
                </c:pt>
                <c:pt idx="540">
                  <c:v>1633540.3041000001</c:v>
                </c:pt>
                <c:pt idx="541">
                  <c:v>1633540.3041000001</c:v>
                </c:pt>
                <c:pt idx="542">
                  <c:v>1633540.3041000001</c:v>
                </c:pt>
                <c:pt idx="543">
                  <c:v>1633540.3041000001</c:v>
                </c:pt>
                <c:pt idx="544">
                  <c:v>1633540.3041000001</c:v>
                </c:pt>
                <c:pt idx="545">
                  <c:v>1633540.3041000001</c:v>
                </c:pt>
                <c:pt idx="546">
                  <c:v>1633540.3041000001</c:v>
                </c:pt>
                <c:pt idx="547">
                  <c:v>1633540.3041000001</c:v>
                </c:pt>
                <c:pt idx="548">
                  <c:v>1633540.3041000001</c:v>
                </c:pt>
                <c:pt idx="549">
                  <c:v>1633540.3041000001</c:v>
                </c:pt>
                <c:pt idx="550">
                  <c:v>1633540.3041000001</c:v>
                </c:pt>
                <c:pt idx="551">
                  <c:v>1633540.3041000001</c:v>
                </c:pt>
                <c:pt idx="552">
                  <c:v>1633540.3041000001</c:v>
                </c:pt>
                <c:pt idx="553">
                  <c:v>1633540.3041000001</c:v>
                </c:pt>
                <c:pt idx="554">
                  <c:v>1633540.3041000001</c:v>
                </c:pt>
                <c:pt idx="555">
                  <c:v>1633540.3041000001</c:v>
                </c:pt>
                <c:pt idx="556">
                  <c:v>1633540.3041000001</c:v>
                </c:pt>
                <c:pt idx="557">
                  <c:v>1633540.3041000001</c:v>
                </c:pt>
                <c:pt idx="558">
                  <c:v>1633540.3041000001</c:v>
                </c:pt>
                <c:pt idx="559">
                  <c:v>1633540.3041000001</c:v>
                </c:pt>
                <c:pt idx="560">
                  <c:v>1633540.3041000001</c:v>
                </c:pt>
                <c:pt idx="561">
                  <c:v>1633540.3041000001</c:v>
                </c:pt>
                <c:pt idx="562">
                  <c:v>1633540.3041000001</c:v>
                </c:pt>
                <c:pt idx="563">
                  <c:v>1633540.3041000001</c:v>
                </c:pt>
                <c:pt idx="564">
                  <c:v>1633540.3041000001</c:v>
                </c:pt>
                <c:pt idx="565">
                  <c:v>1633540.3041000001</c:v>
                </c:pt>
                <c:pt idx="566">
                  <c:v>1633540.3041000001</c:v>
                </c:pt>
                <c:pt idx="567">
                  <c:v>1633540.3041000001</c:v>
                </c:pt>
                <c:pt idx="568">
                  <c:v>1633540.3041000001</c:v>
                </c:pt>
                <c:pt idx="569">
                  <c:v>1633540.3041000001</c:v>
                </c:pt>
                <c:pt idx="570">
                  <c:v>1633540.3041000001</c:v>
                </c:pt>
                <c:pt idx="571">
                  <c:v>1633540.3041000001</c:v>
                </c:pt>
                <c:pt idx="572">
                  <c:v>1633540.3041000001</c:v>
                </c:pt>
                <c:pt idx="573">
                  <c:v>1633540.3041000001</c:v>
                </c:pt>
                <c:pt idx="574">
                  <c:v>1633540.3041000001</c:v>
                </c:pt>
                <c:pt idx="575">
                  <c:v>1633540.3041000001</c:v>
                </c:pt>
                <c:pt idx="576">
                  <c:v>1633540.3041000001</c:v>
                </c:pt>
                <c:pt idx="577">
                  <c:v>1633540.3041000001</c:v>
                </c:pt>
                <c:pt idx="578">
                  <c:v>1633540.3041000001</c:v>
                </c:pt>
                <c:pt idx="579">
                  <c:v>1633540.3041000001</c:v>
                </c:pt>
                <c:pt idx="580">
                  <c:v>1633540.3041000001</c:v>
                </c:pt>
                <c:pt idx="581">
                  <c:v>1633540.3041000001</c:v>
                </c:pt>
                <c:pt idx="582">
                  <c:v>1633540.3041000001</c:v>
                </c:pt>
                <c:pt idx="583">
                  <c:v>1633540.3041000001</c:v>
                </c:pt>
                <c:pt idx="584">
                  <c:v>1633540.3041000001</c:v>
                </c:pt>
                <c:pt idx="585">
                  <c:v>1633540.3041000001</c:v>
                </c:pt>
                <c:pt idx="586">
                  <c:v>1633540.3041000001</c:v>
                </c:pt>
                <c:pt idx="587">
                  <c:v>1633540.3041000001</c:v>
                </c:pt>
                <c:pt idx="588">
                  <c:v>1633540.3041000001</c:v>
                </c:pt>
                <c:pt idx="589">
                  <c:v>1633540.3041000001</c:v>
                </c:pt>
                <c:pt idx="590">
                  <c:v>1633540.3041000001</c:v>
                </c:pt>
                <c:pt idx="591">
                  <c:v>1633540.3041000001</c:v>
                </c:pt>
                <c:pt idx="592">
                  <c:v>1633540.3041000001</c:v>
                </c:pt>
                <c:pt idx="593">
                  <c:v>1633540.3041000001</c:v>
                </c:pt>
                <c:pt idx="594">
                  <c:v>1633540.3041000001</c:v>
                </c:pt>
                <c:pt idx="595">
                  <c:v>1633540.3041000001</c:v>
                </c:pt>
                <c:pt idx="596">
                  <c:v>1633540.3041000001</c:v>
                </c:pt>
                <c:pt idx="597">
                  <c:v>1633540.3041000001</c:v>
                </c:pt>
                <c:pt idx="598">
                  <c:v>1633540.3041000001</c:v>
                </c:pt>
                <c:pt idx="599">
                  <c:v>1633540.3041000001</c:v>
                </c:pt>
                <c:pt idx="600">
                  <c:v>1633540.3041000001</c:v>
                </c:pt>
                <c:pt idx="601">
                  <c:v>1633540.3041000001</c:v>
                </c:pt>
                <c:pt idx="602">
                  <c:v>1633540.3041000001</c:v>
                </c:pt>
                <c:pt idx="603">
                  <c:v>1633540.3041000001</c:v>
                </c:pt>
                <c:pt idx="604">
                  <c:v>1633540.3041000001</c:v>
                </c:pt>
                <c:pt idx="605">
                  <c:v>1633540.3041000001</c:v>
                </c:pt>
                <c:pt idx="606">
                  <c:v>1633540.3041000001</c:v>
                </c:pt>
                <c:pt idx="607">
                  <c:v>1633384.1791000001</c:v>
                </c:pt>
                <c:pt idx="608">
                  <c:v>1628989.1791000001</c:v>
                </c:pt>
                <c:pt idx="609">
                  <c:v>1622974.1791000001</c:v>
                </c:pt>
                <c:pt idx="610">
                  <c:v>1626724.1791000001</c:v>
                </c:pt>
                <c:pt idx="611">
                  <c:v>1628739.1791000001</c:v>
                </c:pt>
                <c:pt idx="612">
                  <c:v>1600589.1791000001</c:v>
                </c:pt>
                <c:pt idx="613">
                  <c:v>1625259.1791000001</c:v>
                </c:pt>
                <c:pt idx="614">
                  <c:v>1630009.1791000001</c:v>
                </c:pt>
                <c:pt idx="615">
                  <c:v>1636579.1791000001</c:v>
                </c:pt>
                <c:pt idx="616">
                  <c:v>1633434.1791000001</c:v>
                </c:pt>
                <c:pt idx="617">
                  <c:v>1619699.1791000001</c:v>
                </c:pt>
                <c:pt idx="618">
                  <c:v>1617919.1791000001</c:v>
                </c:pt>
                <c:pt idx="619">
                  <c:v>1601704.1791000001</c:v>
                </c:pt>
                <c:pt idx="620">
                  <c:v>1606129.1791000001</c:v>
                </c:pt>
                <c:pt idx="621">
                  <c:v>1556279.1791000001</c:v>
                </c:pt>
                <c:pt idx="622">
                  <c:v>1561019.1791000001</c:v>
                </c:pt>
                <c:pt idx="623">
                  <c:v>1572159.1791000001</c:v>
                </c:pt>
                <c:pt idx="624">
                  <c:v>1562634.1791000001</c:v>
                </c:pt>
                <c:pt idx="625">
                  <c:v>1558174.1791000001</c:v>
                </c:pt>
                <c:pt idx="626">
                  <c:v>1560994.1791000001</c:v>
                </c:pt>
                <c:pt idx="627">
                  <c:v>1550324.1791000001</c:v>
                </c:pt>
                <c:pt idx="628">
                  <c:v>1549569.1791000001</c:v>
                </c:pt>
                <c:pt idx="629">
                  <c:v>1552289.1791000001</c:v>
                </c:pt>
                <c:pt idx="630">
                  <c:v>1520844.1791000001</c:v>
                </c:pt>
                <c:pt idx="631">
                  <c:v>1469084.1791000001</c:v>
                </c:pt>
                <c:pt idx="632">
                  <c:v>1471229.1791000001</c:v>
                </c:pt>
                <c:pt idx="633">
                  <c:v>1484052.9731000001</c:v>
                </c:pt>
                <c:pt idx="634">
                  <c:v>1484052.9731000001</c:v>
                </c:pt>
                <c:pt idx="635">
                  <c:v>1484052.9731000001</c:v>
                </c:pt>
                <c:pt idx="636">
                  <c:v>1484052.9731000001</c:v>
                </c:pt>
                <c:pt idx="637">
                  <c:v>1484052.9731000001</c:v>
                </c:pt>
                <c:pt idx="638">
                  <c:v>1484052.9731000001</c:v>
                </c:pt>
                <c:pt idx="639">
                  <c:v>1484052.9731000001</c:v>
                </c:pt>
                <c:pt idx="640">
                  <c:v>1484052.9731000001</c:v>
                </c:pt>
                <c:pt idx="641">
                  <c:v>1484052.9731000001</c:v>
                </c:pt>
                <c:pt idx="642">
                  <c:v>1484052.9731000001</c:v>
                </c:pt>
                <c:pt idx="643">
                  <c:v>1484052.9731000001</c:v>
                </c:pt>
                <c:pt idx="644">
                  <c:v>1484052.9731000001</c:v>
                </c:pt>
                <c:pt idx="645">
                  <c:v>1484052.9731000001</c:v>
                </c:pt>
                <c:pt idx="646">
                  <c:v>1484052.9731000001</c:v>
                </c:pt>
                <c:pt idx="647">
                  <c:v>1484052.9731000001</c:v>
                </c:pt>
                <c:pt idx="648">
                  <c:v>1484052.9731000001</c:v>
                </c:pt>
                <c:pt idx="649">
                  <c:v>1484052.9731000001</c:v>
                </c:pt>
                <c:pt idx="650">
                  <c:v>1484052.9731000001</c:v>
                </c:pt>
                <c:pt idx="651">
                  <c:v>1484052.9731000001</c:v>
                </c:pt>
                <c:pt idx="652">
                  <c:v>1484052.9731000001</c:v>
                </c:pt>
                <c:pt idx="653">
                  <c:v>1484052.9731000001</c:v>
                </c:pt>
                <c:pt idx="654">
                  <c:v>1484052.9731000001</c:v>
                </c:pt>
                <c:pt idx="655">
                  <c:v>1484052.9731000001</c:v>
                </c:pt>
                <c:pt idx="656">
                  <c:v>1484052.9731000001</c:v>
                </c:pt>
                <c:pt idx="657">
                  <c:v>1484052.9731000001</c:v>
                </c:pt>
                <c:pt idx="658">
                  <c:v>1484052.9731000001</c:v>
                </c:pt>
                <c:pt idx="659">
                  <c:v>1484052.9731000001</c:v>
                </c:pt>
                <c:pt idx="660">
                  <c:v>1484052.9731000001</c:v>
                </c:pt>
                <c:pt idx="661">
                  <c:v>1484052.9731000001</c:v>
                </c:pt>
                <c:pt idx="662">
                  <c:v>1484052.9731000001</c:v>
                </c:pt>
                <c:pt idx="663">
                  <c:v>1484052.9731000001</c:v>
                </c:pt>
                <c:pt idx="664">
                  <c:v>1484052.9731000001</c:v>
                </c:pt>
                <c:pt idx="665">
                  <c:v>1484052.9731000001</c:v>
                </c:pt>
                <c:pt idx="666">
                  <c:v>1484052.9731000001</c:v>
                </c:pt>
                <c:pt idx="667">
                  <c:v>1484052.9731000001</c:v>
                </c:pt>
                <c:pt idx="668">
                  <c:v>1484052.9731000001</c:v>
                </c:pt>
                <c:pt idx="669">
                  <c:v>1484052.9731000001</c:v>
                </c:pt>
                <c:pt idx="670">
                  <c:v>1484052.9731000001</c:v>
                </c:pt>
                <c:pt idx="671">
                  <c:v>1484052.9731000001</c:v>
                </c:pt>
                <c:pt idx="672">
                  <c:v>1484052.9731000001</c:v>
                </c:pt>
                <c:pt idx="673">
                  <c:v>1484052.9731000001</c:v>
                </c:pt>
                <c:pt idx="674">
                  <c:v>1484052.9731000001</c:v>
                </c:pt>
                <c:pt idx="675">
                  <c:v>1484052.9731000001</c:v>
                </c:pt>
                <c:pt idx="676">
                  <c:v>1484052.9731000001</c:v>
                </c:pt>
                <c:pt idx="677">
                  <c:v>1484052.9731000001</c:v>
                </c:pt>
                <c:pt idx="678">
                  <c:v>1484052.9731000001</c:v>
                </c:pt>
                <c:pt idx="679">
                  <c:v>1484052.9731000001</c:v>
                </c:pt>
                <c:pt idx="680">
                  <c:v>1484052.9731000001</c:v>
                </c:pt>
                <c:pt idx="681">
                  <c:v>1484052.9731000001</c:v>
                </c:pt>
                <c:pt idx="682">
                  <c:v>1484052.9731000001</c:v>
                </c:pt>
                <c:pt idx="683">
                  <c:v>1484052.9731000001</c:v>
                </c:pt>
                <c:pt idx="684">
                  <c:v>1484052.9731000001</c:v>
                </c:pt>
                <c:pt idx="685">
                  <c:v>1484052.9731000001</c:v>
                </c:pt>
                <c:pt idx="686">
                  <c:v>1484052.9731000001</c:v>
                </c:pt>
                <c:pt idx="687">
                  <c:v>1484052.9731000001</c:v>
                </c:pt>
                <c:pt idx="688">
                  <c:v>1484052.9731000001</c:v>
                </c:pt>
                <c:pt idx="689">
                  <c:v>1484052.9731000001</c:v>
                </c:pt>
                <c:pt idx="690">
                  <c:v>1484052.9731000001</c:v>
                </c:pt>
                <c:pt idx="691">
                  <c:v>1484052.9731000001</c:v>
                </c:pt>
                <c:pt idx="692">
                  <c:v>1484052.9731000001</c:v>
                </c:pt>
                <c:pt idx="693">
                  <c:v>1484052.9731000001</c:v>
                </c:pt>
                <c:pt idx="694">
                  <c:v>1484052.9731000001</c:v>
                </c:pt>
                <c:pt idx="695">
                  <c:v>1484052.9731000001</c:v>
                </c:pt>
                <c:pt idx="696">
                  <c:v>1484052.9731000001</c:v>
                </c:pt>
                <c:pt idx="697">
                  <c:v>1484052.9731000001</c:v>
                </c:pt>
                <c:pt idx="698">
                  <c:v>1484052.9731000001</c:v>
                </c:pt>
                <c:pt idx="699">
                  <c:v>1484052.9731000001</c:v>
                </c:pt>
                <c:pt idx="700">
                  <c:v>1484052.9731000001</c:v>
                </c:pt>
                <c:pt idx="701">
                  <c:v>1484052.9731000001</c:v>
                </c:pt>
                <c:pt idx="702">
                  <c:v>1484052.9731000001</c:v>
                </c:pt>
                <c:pt idx="703">
                  <c:v>1484052.9731000001</c:v>
                </c:pt>
                <c:pt idx="704">
                  <c:v>1484052.9731000001</c:v>
                </c:pt>
                <c:pt idx="705">
                  <c:v>1484052.9731000001</c:v>
                </c:pt>
                <c:pt idx="706">
                  <c:v>1484052.9731000001</c:v>
                </c:pt>
                <c:pt idx="707">
                  <c:v>1484052.9731000001</c:v>
                </c:pt>
                <c:pt idx="708">
                  <c:v>1484052.9731000001</c:v>
                </c:pt>
                <c:pt idx="709">
                  <c:v>1484052.9731000001</c:v>
                </c:pt>
                <c:pt idx="710">
                  <c:v>1484052.9731000001</c:v>
                </c:pt>
                <c:pt idx="711">
                  <c:v>1484052.9731000001</c:v>
                </c:pt>
                <c:pt idx="712">
                  <c:v>1484052.9731000001</c:v>
                </c:pt>
                <c:pt idx="713">
                  <c:v>1484052.9731000001</c:v>
                </c:pt>
                <c:pt idx="714">
                  <c:v>1484052.9731000001</c:v>
                </c:pt>
                <c:pt idx="715">
                  <c:v>1484052.9731000001</c:v>
                </c:pt>
                <c:pt idx="716">
                  <c:v>1484052.9731000001</c:v>
                </c:pt>
                <c:pt idx="717">
                  <c:v>1484052.9731000001</c:v>
                </c:pt>
                <c:pt idx="718">
                  <c:v>1484052.9731000001</c:v>
                </c:pt>
                <c:pt idx="719">
                  <c:v>1484052.9731000001</c:v>
                </c:pt>
                <c:pt idx="720">
                  <c:v>1484052.9731000001</c:v>
                </c:pt>
                <c:pt idx="721">
                  <c:v>1484052.9731000001</c:v>
                </c:pt>
                <c:pt idx="722">
                  <c:v>1484052.9731000001</c:v>
                </c:pt>
                <c:pt idx="723">
                  <c:v>1484052.9731000001</c:v>
                </c:pt>
                <c:pt idx="724">
                  <c:v>1484052.9731000001</c:v>
                </c:pt>
                <c:pt idx="725">
                  <c:v>1484052.9731000001</c:v>
                </c:pt>
                <c:pt idx="726">
                  <c:v>1484052.9731000001</c:v>
                </c:pt>
                <c:pt idx="727">
                  <c:v>1484052.9731000001</c:v>
                </c:pt>
                <c:pt idx="728">
                  <c:v>1484052.9731000001</c:v>
                </c:pt>
                <c:pt idx="729">
                  <c:v>1484052.9731000001</c:v>
                </c:pt>
                <c:pt idx="730">
                  <c:v>1484052.9731000001</c:v>
                </c:pt>
                <c:pt idx="731">
                  <c:v>1484052.9731000001</c:v>
                </c:pt>
                <c:pt idx="732">
                  <c:v>1484052.9731000001</c:v>
                </c:pt>
                <c:pt idx="733">
                  <c:v>1484052.9731000001</c:v>
                </c:pt>
                <c:pt idx="734">
                  <c:v>1484052.9731000001</c:v>
                </c:pt>
                <c:pt idx="735">
                  <c:v>1484052.9731000001</c:v>
                </c:pt>
                <c:pt idx="736">
                  <c:v>1484052.9731000001</c:v>
                </c:pt>
                <c:pt idx="737">
                  <c:v>1484052.9731000001</c:v>
                </c:pt>
                <c:pt idx="738">
                  <c:v>1484052.9731000001</c:v>
                </c:pt>
                <c:pt idx="739">
                  <c:v>1484052.9731000001</c:v>
                </c:pt>
                <c:pt idx="740">
                  <c:v>1484052.9731000001</c:v>
                </c:pt>
                <c:pt idx="741">
                  <c:v>1484052.9731000001</c:v>
                </c:pt>
                <c:pt idx="742">
                  <c:v>1483927.7686000001</c:v>
                </c:pt>
                <c:pt idx="743">
                  <c:v>1462242.7686000001</c:v>
                </c:pt>
                <c:pt idx="744">
                  <c:v>1464012.7686000001</c:v>
                </c:pt>
                <c:pt idx="745">
                  <c:v>1446377.7686000001</c:v>
                </c:pt>
                <c:pt idx="746">
                  <c:v>1475002.7686000001</c:v>
                </c:pt>
                <c:pt idx="747">
                  <c:v>1484927.7686000001</c:v>
                </c:pt>
                <c:pt idx="748">
                  <c:v>1484042.7686000001</c:v>
                </c:pt>
                <c:pt idx="749">
                  <c:v>1460857.7686000001</c:v>
                </c:pt>
                <c:pt idx="750">
                  <c:v>1496002.7686000001</c:v>
                </c:pt>
                <c:pt idx="751">
                  <c:v>1496497.7686000001</c:v>
                </c:pt>
                <c:pt idx="752">
                  <c:v>1498692.7686000001</c:v>
                </c:pt>
                <c:pt idx="753">
                  <c:v>1497872.7686000001</c:v>
                </c:pt>
                <c:pt idx="754">
                  <c:v>1492937.7686000001</c:v>
                </c:pt>
                <c:pt idx="755">
                  <c:v>1506687.7686000001</c:v>
                </c:pt>
                <c:pt idx="756">
                  <c:v>1499917.7686000001</c:v>
                </c:pt>
                <c:pt idx="757">
                  <c:v>1500427.7686000001</c:v>
                </c:pt>
                <c:pt idx="758">
                  <c:v>1502237.7686000001</c:v>
                </c:pt>
                <c:pt idx="759">
                  <c:v>1513107.7686000001</c:v>
                </c:pt>
                <c:pt idx="760">
                  <c:v>1530622.7686000001</c:v>
                </c:pt>
                <c:pt idx="761">
                  <c:v>1535012.7686000001</c:v>
                </c:pt>
                <c:pt idx="762">
                  <c:v>1555892.7686000001</c:v>
                </c:pt>
                <c:pt idx="763">
                  <c:v>1560167.7686000001</c:v>
                </c:pt>
                <c:pt idx="764">
                  <c:v>1563112.7686000001</c:v>
                </c:pt>
                <c:pt idx="765">
                  <c:v>1548952.7686000001</c:v>
                </c:pt>
                <c:pt idx="766">
                  <c:v>1548557.7686000001</c:v>
                </c:pt>
                <c:pt idx="767">
                  <c:v>1571847.7686000001</c:v>
                </c:pt>
                <c:pt idx="768">
                  <c:v>1563232.7686000001</c:v>
                </c:pt>
                <c:pt idx="769">
                  <c:v>1542407.7686000001</c:v>
                </c:pt>
                <c:pt idx="770">
                  <c:v>1533387.7686000001</c:v>
                </c:pt>
                <c:pt idx="771">
                  <c:v>1549777.7686000001</c:v>
                </c:pt>
                <c:pt idx="772">
                  <c:v>1564032.7686000001</c:v>
                </c:pt>
                <c:pt idx="773">
                  <c:v>1559082.7686000001</c:v>
                </c:pt>
                <c:pt idx="774">
                  <c:v>1572417.7686000001</c:v>
                </c:pt>
                <c:pt idx="775">
                  <c:v>1534437.7686000001</c:v>
                </c:pt>
                <c:pt idx="776">
                  <c:v>1524657.7686000001</c:v>
                </c:pt>
                <c:pt idx="777">
                  <c:v>1543642.7686000001</c:v>
                </c:pt>
                <c:pt idx="778">
                  <c:v>1546887.7686000001</c:v>
                </c:pt>
                <c:pt idx="779">
                  <c:v>1524107.7686000001</c:v>
                </c:pt>
                <c:pt idx="780">
                  <c:v>1525777.7686000001</c:v>
                </c:pt>
                <c:pt idx="781">
                  <c:v>1523757.7686000001</c:v>
                </c:pt>
                <c:pt idx="782">
                  <c:v>1508352.7686000001</c:v>
                </c:pt>
                <c:pt idx="783">
                  <c:v>1509602.7686000001</c:v>
                </c:pt>
                <c:pt idx="784">
                  <c:v>1505452.7686000001</c:v>
                </c:pt>
                <c:pt idx="785">
                  <c:v>1469332.7686000001</c:v>
                </c:pt>
                <c:pt idx="786">
                  <c:v>1453442.7686000001</c:v>
                </c:pt>
                <c:pt idx="787">
                  <c:v>1459332.7686000001</c:v>
                </c:pt>
                <c:pt idx="788">
                  <c:v>1488297.7686000001</c:v>
                </c:pt>
                <c:pt idx="789">
                  <c:v>1491797.7686000001</c:v>
                </c:pt>
                <c:pt idx="790">
                  <c:v>1479457.7686000001</c:v>
                </c:pt>
                <c:pt idx="791">
                  <c:v>1491777.7686000001</c:v>
                </c:pt>
                <c:pt idx="792">
                  <c:v>1491902.7686000001</c:v>
                </c:pt>
                <c:pt idx="793">
                  <c:v>1517102.7686000001</c:v>
                </c:pt>
                <c:pt idx="794">
                  <c:v>1522107.7686000001</c:v>
                </c:pt>
                <c:pt idx="795">
                  <c:v>1518902.7686000001</c:v>
                </c:pt>
                <c:pt idx="796">
                  <c:v>1502822.7686000001</c:v>
                </c:pt>
                <c:pt idx="797">
                  <c:v>1531837.7686000001</c:v>
                </c:pt>
                <c:pt idx="798">
                  <c:v>1529912.7686000001</c:v>
                </c:pt>
                <c:pt idx="799">
                  <c:v>1545302.7686000001</c:v>
                </c:pt>
                <c:pt idx="800">
                  <c:v>1534902.7686000001</c:v>
                </c:pt>
                <c:pt idx="801">
                  <c:v>1534317.7686000001</c:v>
                </c:pt>
                <c:pt idx="802">
                  <c:v>1544877.7686000001</c:v>
                </c:pt>
                <c:pt idx="803">
                  <c:v>1547627.7686000001</c:v>
                </c:pt>
                <c:pt idx="804">
                  <c:v>1544962.7686000001</c:v>
                </c:pt>
                <c:pt idx="805">
                  <c:v>1573627.7686000001</c:v>
                </c:pt>
                <c:pt idx="806">
                  <c:v>1577642.7686000001</c:v>
                </c:pt>
                <c:pt idx="807">
                  <c:v>1589822.7686000001</c:v>
                </c:pt>
                <c:pt idx="808">
                  <c:v>1590772.7686000001</c:v>
                </c:pt>
                <c:pt idx="809">
                  <c:v>1586442.7686000001</c:v>
                </c:pt>
                <c:pt idx="810">
                  <c:v>1560637.7686000001</c:v>
                </c:pt>
                <c:pt idx="811">
                  <c:v>1560487.7686000001</c:v>
                </c:pt>
                <c:pt idx="812">
                  <c:v>1550342.7686000001</c:v>
                </c:pt>
                <c:pt idx="813">
                  <c:v>1539647.7686000001</c:v>
                </c:pt>
                <c:pt idx="814">
                  <c:v>1540567.7686000001</c:v>
                </c:pt>
                <c:pt idx="815">
                  <c:v>1519207.7686000001</c:v>
                </c:pt>
                <c:pt idx="816">
                  <c:v>1538852.7686000001</c:v>
                </c:pt>
                <c:pt idx="817">
                  <c:v>1518872.7686000001</c:v>
                </c:pt>
                <c:pt idx="818">
                  <c:v>1525497.7686000001</c:v>
                </c:pt>
                <c:pt idx="819">
                  <c:v>1545647.7686000001</c:v>
                </c:pt>
                <c:pt idx="820">
                  <c:v>1540317.7686000001</c:v>
                </c:pt>
                <c:pt idx="821">
                  <c:v>1529512.7686000001</c:v>
                </c:pt>
                <c:pt idx="822">
                  <c:v>1518432.7686000001</c:v>
                </c:pt>
                <c:pt idx="823">
                  <c:v>1539227.7686000001</c:v>
                </c:pt>
                <c:pt idx="824">
                  <c:v>1557307.7686000001</c:v>
                </c:pt>
                <c:pt idx="825">
                  <c:v>1553012.7686000001</c:v>
                </c:pt>
                <c:pt idx="826">
                  <c:v>1547902.7686000001</c:v>
                </c:pt>
                <c:pt idx="827">
                  <c:v>1548382.7686000001</c:v>
                </c:pt>
                <c:pt idx="828">
                  <c:v>1511269.8171000001</c:v>
                </c:pt>
                <c:pt idx="829">
                  <c:v>1511269.8171000001</c:v>
                </c:pt>
                <c:pt idx="830">
                  <c:v>1511269.8171000001</c:v>
                </c:pt>
                <c:pt idx="831">
                  <c:v>1511269.8171000001</c:v>
                </c:pt>
                <c:pt idx="832">
                  <c:v>1511269.8171000001</c:v>
                </c:pt>
                <c:pt idx="833">
                  <c:v>1511269.8171000001</c:v>
                </c:pt>
                <c:pt idx="834">
                  <c:v>1511269.8171000001</c:v>
                </c:pt>
                <c:pt idx="835">
                  <c:v>1511269.8171000001</c:v>
                </c:pt>
                <c:pt idx="836">
                  <c:v>1511269.8171000001</c:v>
                </c:pt>
                <c:pt idx="837">
                  <c:v>1511269.8171000001</c:v>
                </c:pt>
                <c:pt idx="838">
                  <c:v>1511269.8171000001</c:v>
                </c:pt>
                <c:pt idx="839">
                  <c:v>1511269.8171000001</c:v>
                </c:pt>
                <c:pt idx="840">
                  <c:v>1511269.8171000001</c:v>
                </c:pt>
                <c:pt idx="841">
                  <c:v>1511269.8171000001</c:v>
                </c:pt>
                <c:pt idx="842">
                  <c:v>1511269.8171000001</c:v>
                </c:pt>
                <c:pt idx="843">
                  <c:v>1511269.8171000001</c:v>
                </c:pt>
                <c:pt idx="844">
                  <c:v>1511269.8171000001</c:v>
                </c:pt>
                <c:pt idx="845">
                  <c:v>1511269.8171000001</c:v>
                </c:pt>
                <c:pt idx="846">
                  <c:v>1511269.8171000001</c:v>
                </c:pt>
                <c:pt idx="847">
                  <c:v>1511269.8171000001</c:v>
                </c:pt>
                <c:pt idx="848">
                  <c:v>1511269.8171000001</c:v>
                </c:pt>
                <c:pt idx="849">
                  <c:v>1511269.8171000001</c:v>
                </c:pt>
                <c:pt idx="850">
                  <c:v>1511269.8171000001</c:v>
                </c:pt>
                <c:pt idx="851">
                  <c:v>1511269.8171000001</c:v>
                </c:pt>
                <c:pt idx="852">
                  <c:v>1511269.8171000001</c:v>
                </c:pt>
                <c:pt idx="853">
                  <c:v>1511269.8171000001</c:v>
                </c:pt>
                <c:pt idx="854">
                  <c:v>1511269.8171000001</c:v>
                </c:pt>
                <c:pt idx="855">
                  <c:v>1511269.8171000001</c:v>
                </c:pt>
                <c:pt idx="856">
                  <c:v>1511269.8171000001</c:v>
                </c:pt>
                <c:pt idx="857">
                  <c:v>1511269.8171000001</c:v>
                </c:pt>
                <c:pt idx="858">
                  <c:v>1511269.8171000001</c:v>
                </c:pt>
                <c:pt idx="859">
                  <c:v>1511269.8171000001</c:v>
                </c:pt>
                <c:pt idx="860">
                  <c:v>1511269.8171000001</c:v>
                </c:pt>
                <c:pt idx="861">
                  <c:v>1511269.8171000001</c:v>
                </c:pt>
                <c:pt idx="862">
                  <c:v>1511269.8171000001</c:v>
                </c:pt>
                <c:pt idx="863">
                  <c:v>1511269.8171000001</c:v>
                </c:pt>
                <c:pt idx="864">
                  <c:v>1511269.8171000001</c:v>
                </c:pt>
                <c:pt idx="865">
                  <c:v>1511269.8171000001</c:v>
                </c:pt>
                <c:pt idx="866">
                  <c:v>1511269.8171000001</c:v>
                </c:pt>
                <c:pt idx="867">
                  <c:v>1511269.8171000001</c:v>
                </c:pt>
                <c:pt idx="868">
                  <c:v>1511269.8171000001</c:v>
                </c:pt>
                <c:pt idx="869">
                  <c:v>1511269.8171000001</c:v>
                </c:pt>
                <c:pt idx="870">
                  <c:v>1511269.8171000001</c:v>
                </c:pt>
                <c:pt idx="871">
                  <c:v>1511269.8171000001</c:v>
                </c:pt>
                <c:pt idx="872">
                  <c:v>1511269.8171000001</c:v>
                </c:pt>
                <c:pt idx="873">
                  <c:v>1511269.8171000001</c:v>
                </c:pt>
                <c:pt idx="874">
                  <c:v>1511269.8171000001</c:v>
                </c:pt>
                <c:pt idx="875">
                  <c:v>1511269.8171000001</c:v>
                </c:pt>
                <c:pt idx="876">
                  <c:v>1511269.8171000001</c:v>
                </c:pt>
                <c:pt idx="877">
                  <c:v>1511269.8171000001</c:v>
                </c:pt>
                <c:pt idx="878">
                  <c:v>1511269.8171000001</c:v>
                </c:pt>
                <c:pt idx="879">
                  <c:v>1511269.8171000001</c:v>
                </c:pt>
                <c:pt idx="880">
                  <c:v>1511269.8171000001</c:v>
                </c:pt>
                <c:pt idx="881">
                  <c:v>1511269.8171000001</c:v>
                </c:pt>
                <c:pt idx="882">
                  <c:v>1511269.8171000001</c:v>
                </c:pt>
                <c:pt idx="883">
                  <c:v>1511269.8171000001</c:v>
                </c:pt>
                <c:pt idx="884">
                  <c:v>1511269.8171000001</c:v>
                </c:pt>
                <c:pt idx="885">
                  <c:v>1511269.8171000001</c:v>
                </c:pt>
                <c:pt idx="886">
                  <c:v>1511269.8171000001</c:v>
                </c:pt>
                <c:pt idx="887">
                  <c:v>1511269.8171000001</c:v>
                </c:pt>
                <c:pt idx="888">
                  <c:v>1511269.8171000001</c:v>
                </c:pt>
                <c:pt idx="889">
                  <c:v>1511269.8171000001</c:v>
                </c:pt>
                <c:pt idx="890">
                  <c:v>1511269.8171000001</c:v>
                </c:pt>
                <c:pt idx="891">
                  <c:v>1511269.8171000001</c:v>
                </c:pt>
                <c:pt idx="892">
                  <c:v>1511269.8171000001</c:v>
                </c:pt>
                <c:pt idx="893">
                  <c:v>1511269.8171000001</c:v>
                </c:pt>
                <c:pt idx="894">
                  <c:v>1511269.8171000001</c:v>
                </c:pt>
                <c:pt idx="895">
                  <c:v>1511269.8171000001</c:v>
                </c:pt>
                <c:pt idx="896">
                  <c:v>1511269.8171000001</c:v>
                </c:pt>
                <c:pt idx="897">
                  <c:v>1511269.8171000001</c:v>
                </c:pt>
                <c:pt idx="898">
                  <c:v>1511269.8171000001</c:v>
                </c:pt>
                <c:pt idx="899">
                  <c:v>1511269.8171000001</c:v>
                </c:pt>
                <c:pt idx="900">
                  <c:v>1511269.8171000001</c:v>
                </c:pt>
                <c:pt idx="901">
                  <c:v>1511269.8171000001</c:v>
                </c:pt>
                <c:pt idx="902">
                  <c:v>1511269.8171000001</c:v>
                </c:pt>
                <c:pt idx="903">
                  <c:v>1511269.8171000001</c:v>
                </c:pt>
                <c:pt idx="904">
                  <c:v>1511269.8171000001</c:v>
                </c:pt>
                <c:pt idx="905">
                  <c:v>1511269.8171000001</c:v>
                </c:pt>
                <c:pt idx="906">
                  <c:v>1511269.8171000001</c:v>
                </c:pt>
                <c:pt idx="907">
                  <c:v>1511269.8171000001</c:v>
                </c:pt>
                <c:pt idx="908">
                  <c:v>1511269.8171000001</c:v>
                </c:pt>
                <c:pt idx="909">
                  <c:v>1511269.8171000001</c:v>
                </c:pt>
                <c:pt idx="910">
                  <c:v>1511269.8171000001</c:v>
                </c:pt>
                <c:pt idx="911">
                  <c:v>1511269.8171000001</c:v>
                </c:pt>
                <c:pt idx="912">
                  <c:v>1511269.8171000001</c:v>
                </c:pt>
                <c:pt idx="913">
                  <c:v>1511269.8171000001</c:v>
                </c:pt>
                <c:pt idx="914">
                  <c:v>1511269.8171000001</c:v>
                </c:pt>
                <c:pt idx="915">
                  <c:v>1511269.8171000001</c:v>
                </c:pt>
                <c:pt idx="916">
                  <c:v>1511269.8171000001</c:v>
                </c:pt>
                <c:pt idx="917">
                  <c:v>1511269.8171000001</c:v>
                </c:pt>
                <c:pt idx="918">
                  <c:v>1511269.8171000001</c:v>
                </c:pt>
                <c:pt idx="919">
                  <c:v>1511269.8171000001</c:v>
                </c:pt>
                <c:pt idx="920">
                  <c:v>1511269.8171000001</c:v>
                </c:pt>
                <c:pt idx="921">
                  <c:v>1511269.8171000001</c:v>
                </c:pt>
                <c:pt idx="922">
                  <c:v>1511269.8171000001</c:v>
                </c:pt>
                <c:pt idx="923">
                  <c:v>1511269.8171000001</c:v>
                </c:pt>
                <c:pt idx="924">
                  <c:v>1511269.8171000001</c:v>
                </c:pt>
                <c:pt idx="925">
                  <c:v>1511269.8171000001</c:v>
                </c:pt>
                <c:pt idx="926">
                  <c:v>1511269.8171000001</c:v>
                </c:pt>
                <c:pt idx="927">
                  <c:v>1511269.8171000001</c:v>
                </c:pt>
                <c:pt idx="928">
                  <c:v>1511269.8171000001</c:v>
                </c:pt>
                <c:pt idx="929">
                  <c:v>1511269.8171000001</c:v>
                </c:pt>
                <c:pt idx="930">
                  <c:v>1511269.8171000001</c:v>
                </c:pt>
                <c:pt idx="931">
                  <c:v>1511269.8171000001</c:v>
                </c:pt>
                <c:pt idx="932">
                  <c:v>1511269.8171000001</c:v>
                </c:pt>
                <c:pt idx="933">
                  <c:v>1511269.8171000001</c:v>
                </c:pt>
                <c:pt idx="934">
                  <c:v>1511269.8171000001</c:v>
                </c:pt>
                <c:pt idx="935">
                  <c:v>1511269.8171000001</c:v>
                </c:pt>
                <c:pt idx="936">
                  <c:v>1511269.8171000001</c:v>
                </c:pt>
                <c:pt idx="937">
                  <c:v>1511269.8171000001</c:v>
                </c:pt>
                <c:pt idx="938">
                  <c:v>1511269.8171000001</c:v>
                </c:pt>
                <c:pt idx="939">
                  <c:v>1511269.8171000001</c:v>
                </c:pt>
                <c:pt idx="940">
                  <c:v>1511269.8171000001</c:v>
                </c:pt>
                <c:pt idx="941">
                  <c:v>1511269.8171000001</c:v>
                </c:pt>
                <c:pt idx="942">
                  <c:v>1511269.8171000001</c:v>
                </c:pt>
                <c:pt idx="943">
                  <c:v>1511269.8171000001</c:v>
                </c:pt>
                <c:pt idx="944">
                  <c:v>1511269.8171000001</c:v>
                </c:pt>
                <c:pt idx="945">
                  <c:v>1511269.8171000001</c:v>
                </c:pt>
                <c:pt idx="946">
                  <c:v>1511269.8171000001</c:v>
                </c:pt>
                <c:pt idx="947">
                  <c:v>1511269.8171000001</c:v>
                </c:pt>
                <c:pt idx="948">
                  <c:v>1511269.8171000001</c:v>
                </c:pt>
                <c:pt idx="949">
                  <c:v>1511269.8171000001</c:v>
                </c:pt>
                <c:pt idx="950">
                  <c:v>1511269.8171000001</c:v>
                </c:pt>
                <c:pt idx="951">
                  <c:v>1511269.8171000001</c:v>
                </c:pt>
                <c:pt idx="952">
                  <c:v>1511269.8171000001</c:v>
                </c:pt>
                <c:pt idx="953">
                  <c:v>1511269.8171000001</c:v>
                </c:pt>
                <c:pt idx="954">
                  <c:v>1511269.8171000001</c:v>
                </c:pt>
                <c:pt idx="955">
                  <c:v>1511269.8171000001</c:v>
                </c:pt>
                <c:pt idx="956">
                  <c:v>1511269.8171000001</c:v>
                </c:pt>
                <c:pt idx="957">
                  <c:v>1511269.8171000001</c:v>
                </c:pt>
                <c:pt idx="958">
                  <c:v>1511269.8171000001</c:v>
                </c:pt>
                <c:pt idx="959">
                  <c:v>1511269.8171000001</c:v>
                </c:pt>
                <c:pt idx="960">
                  <c:v>1511269.8171000001</c:v>
                </c:pt>
                <c:pt idx="961">
                  <c:v>1511269.8171000001</c:v>
                </c:pt>
                <c:pt idx="962">
                  <c:v>1511127.8151</c:v>
                </c:pt>
                <c:pt idx="963">
                  <c:v>1511979.8151</c:v>
                </c:pt>
                <c:pt idx="964">
                  <c:v>1513773.8151</c:v>
                </c:pt>
                <c:pt idx="965">
                  <c:v>1521999.8151</c:v>
                </c:pt>
                <c:pt idx="966">
                  <c:v>1514307.8151</c:v>
                </c:pt>
                <c:pt idx="967">
                  <c:v>1519839.8151</c:v>
                </c:pt>
                <c:pt idx="968">
                  <c:v>1560147.8151</c:v>
                </c:pt>
                <c:pt idx="969">
                  <c:v>1565679.8151</c:v>
                </c:pt>
                <c:pt idx="970">
                  <c:v>1557861.8151</c:v>
                </c:pt>
                <c:pt idx="971">
                  <c:v>1579137.8151</c:v>
                </c:pt>
                <c:pt idx="972">
                  <c:v>1604877.8151</c:v>
                </c:pt>
                <c:pt idx="973">
                  <c:v>1605753.8151</c:v>
                </c:pt>
                <c:pt idx="974">
                  <c:v>1612701.8151</c:v>
                </c:pt>
                <c:pt idx="975">
                  <c:v>1606305.8151</c:v>
                </c:pt>
                <c:pt idx="976">
                  <c:v>1606785.8151</c:v>
                </c:pt>
                <c:pt idx="977">
                  <c:v>1609449.8151</c:v>
                </c:pt>
                <c:pt idx="978">
                  <c:v>1581045.8151</c:v>
                </c:pt>
                <c:pt idx="979">
                  <c:v>1637745.8151</c:v>
                </c:pt>
                <c:pt idx="980">
                  <c:v>1648623.8151</c:v>
                </c:pt>
                <c:pt idx="981">
                  <c:v>1637361.8151</c:v>
                </c:pt>
                <c:pt idx="982">
                  <c:v>1622763.8151</c:v>
                </c:pt>
                <c:pt idx="983">
                  <c:v>1648371.8151</c:v>
                </c:pt>
                <c:pt idx="984">
                  <c:v>1657647.8151</c:v>
                </c:pt>
                <c:pt idx="985">
                  <c:v>1649247.8151</c:v>
                </c:pt>
                <c:pt idx="986">
                  <c:v>1655583.8151</c:v>
                </c:pt>
                <c:pt idx="987">
                  <c:v>1640763.8151</c:v>
                </c:pt>
                <c:pt idx="988">
                  <c:v>1634109.8151</c:v>
                </c:pt>
                <c:pt idx="989">
                  <c:v>1682223.8151</c:v>
                </c:pt>
                <c:pt idx="990">
                  <c:v>1696629.8151</c:v>
                </c:pt>
                <c:pt idx="991">
                  <c:v>1704333.8151</c:v>
                </c:pt>
                <c:pt idx="992">
                  <c:v>1703235.8151</c:v>
                </c:pt>
                <c:pt idx="993">
                  <c:v>1737099.8151</c:v>
                </c:pt>
                <c:pt idx="994">
                  <c:v>1739925.8151</c:v>
                </c:pt>
                <c:pt idx="995">
                  <c:v>1754115.8151</c:v>
                </c:pt>
                <c:pt idx="996">
                  <c:v>1756611.8151</c:v>
                </c:pt>
                <c:pt idx="997">
                  <c:v>1747029.8151</c:v>
                </c:pt>
                <c:pt idx="998">
                  <c:v>1754145.8151</c:v>
                </c:pt>
                <c:pt idx="999">
                  <c:v>1733589.8151</c:v>
                </c:pt>
                <c:pt idx="1000">
                  <c:v>1702473.8151</c:v>
                </c:pt>
                <c:pt idx="1001">
                  <c:v>1712691.8151</c:v>
                </c:pt>
                <c:pt idx="1002">
                  <c:v>1657437.8151</c:v>
                </c:pt>
                <c:pt idx="1003">
                  <c:v>1649067.8151</c:v>
                </c:pt>
                <c:pt idx="1004">
                  <c:v>1654083.8151</c:v>
                </c:pt>
                <c:pt idx="1005">
                  <c:v>1631661.8151</c:v>
                </c:pt>
                <c:pt idx="1006">
                  <c:v>1647915.8151</c:v>
                </c:pt>
                <c:pt idx="1007">
                  <c:v>1695105.8151</c:v>
                </c:pt>
                <c:pt idx="1008">
                  <c:v>1692411.8151</c:v>
                </c:pt>
                <c:pt idx="1009">
                  <c:v>1618539.8151</c:v>
                </c:pt>
                <c:pt idx="1010">
                  <c:v>1664793.8151</c:v>
                </c:pt>
                <c:pt idx="1011">
                  <c:v>1681227.8151</c:v>
                </c:pt>
                <c:pt idx="1012">
                  <c:v>1662795.8151</c:v>
                </c:pt>
                <c:pt idx="1013">
                  <c:v>1655265.8151</c:v>
                </c:pt>
                <c:pt idx="1014">
                  <c:v>1646529.8151</c:v>
                </c:pt>
                <c:pt idx="1015">
                  <c:v>1624473.8151</c:v>
                </c:pt>
                <c:pt idx="1016">
                  <c:v>1607601.8151</c:v>
                </c:pt>
                <c:pt idx="1017">
                  <c:v>1611669.8151</c:v>
                </c:pt>
                <c:pt idx="1018">
                  <c:v>1615029.8151</c:v>
                </c:pt>
                <c:pt idx="1019">
                  <c:v>1592601.8151</c:v>
                </c:pt>
                <c:pt idx="1020">
                  <c:v>1606167.8151</c:v>
                </c:pt>
                <c:pt idx="1021">
                  <c:v>1657209.8151</c:v>
                </c:pt>
                <c:pt idx="1022">
                  <c:v>1660101.8151</c:v>
                </c:pt>
                <c:pt idx="1023">
                  <c:v>1662093.8151</c:v>
                </c:pt>
                <c:pt idx="1024">
                  <c:v>1658967.8151</c:v>
                </c:pt>
                <c:pt idx="1025">
                  <c:v>1636137.8151</c:v>
                </c:pt>
                <c:pt idx="1026">
                  <c:v>1641225.8151</c:v>
                </c:pt>
                <c:pt idx="1027">
                  <c:v>1590687.8151</c:v>
                </c:pt>
                <c:pt idx="1028">
                  <c:v>1588155.8151</c:v>
                </c:pt>
                <c:pt idx="1029">
                  <c:v>1587021.8151</c:v>
                </c:pt>
                <c:pt idx="1030">
                  <c:v>1582941.8151</c:v>
                </c:pt>
                <c:pt idx="1031">
                  <c:v>1581237.8151</c:v>
                </c:pt>
                <c:pt idx="1032">
                  <c:v>1574487.8151</c:v>
                </c:pt>
                <c:pt idx="1033">
                  <c:v>1584765.8151</c:v>
                </c:pt>
                <c:pt idx="1034">
                  <c:v>1582293.8151</c:v>
                </c:pt>
                <c:pt idx="1035">
                  <c:v>1577835.8151</c:v>
                </c:pt>
                <c:pt idx="1036">
                  <c:v>1568373.8151</c:v>
                </c:pt>
                <c:pt idx="1037">
                  <c:v>1553199.8151</c:v>
                </c:pt>
                <c:pt idx="1038">
                  <c:v>1566861.8151</c:v>
                </c:pt>
                <c:pt idx="1039">
                  <c:v>1566189.8151</c:v>
                </c:pt>
                <c:pt idx="1040">
                  <c:v>1570017.8151</c:v>
                </c:pt>
                <c:pt idx="1041">
                  <c:v>1611405.8151</c:v>
                </c:pt>
                <c:pt idx="1042">
                  <c:v>1609509.8151</c:v>
                </c:pt>
                <c:pt idx="1043">
                  <c:v>1560789.8151</c:v>
                </c:pt>
                <c:pt idx="1044">
                  <c:v>1588455.8151</c:v>
                </c:pt>
                <c:pt idx="1045">
                  <c:v>1571835.8151</c:v>
                </c:pt>
                <c:pt idx="1046">
                  <c:v>1559493.8151</c:v>
                </c:pt>
                <c:pt idx="1047">
                  <c:v>1560891.8151</c:v>
                </c:pt>
                <c:pt idx="1048">
                  <c:v>1586853.8151</c:v>
                </c:pt>
                <c:pt idx="1049">
                  <c:v>1606695.8151</c:v>
                </c:pt>
                <c:pt idx="1050">
                  <c:v>1609071.8151</c:v>
                </c:pt>
                <c:pt idx="1051">
                  <c:v>1616787.8151</c:v>
                </c:pt>
                <c:pt idx="1052">
                  <c:v>1607781.8151</c:v>
                </c:pt>
                <c:pt idx="1053">
                  <c:v>1615611.8151</c:v>
                </c:pt>
                <c:pt idx="1054">
                  <c:v>1609569.8151</c:v>
                </c:pt>
                <c:pt idx="1055">
                  <c:v>1587111.8151</c:v>
                </c:pt>
                <c:pt idx="1056">
                  <c:v>1595265.8151</c:v>
                </c:pt>
                <c:pt idx="1057">
                  <c:v>1622733.8151</c:v>
                </c:pt>
                <c:pt idx="1058">
                  <c:v>1646337.8151</c:v>
                </c:pt>
                <c:pt idx="1059">
                  <c:v>1656873.8151</c:v>
                </c:pt>
                <c:pt idx="1060">
                  <c:v>1660017.8151</c:v>
                </c:pt>
                <c:pt idx="1061">
                  <c:v>1661925.8151</c:v>
                </c:pt>
                <c:pt idx="1062">
                  <c:v>1640817.8151</c:v>
                </c:pt>
                <c:pt idx="1063">
                  <c:v>1649445.8151</c:v>
                </c:pt>
                <c:pt idx="1064">
                  <c:v>1650861.8151</c:v>
                </c:pt>
                <c:pt idx="1065">
                  <c:v>1677723.8151</c:v>
                </c:pt>
                <c:pt idx="1066">
                  <c:v>1676643.8151</c:v>
                </c:pt>
                <c:pt idx="1067">
                  <c:v>1671699.8151</c:v>
                </c:pt>
                <c:pt idx="1068">
                  <c:v>1654965.8151</c:v>
                </c:pt>
                <c:pt idx="1069">
                  <c:v>1652679.8151</c:v>
                </c:pt>
                <c:pt idx="1070">
                  <c:v>1630509.8151</c:v>
                </c:pt>
                <c:pt idx="1071">
                  <c:v>1627431.8151</c:v>
                </c:pt>
                <c:pt idx="1072">
                  <c:v>1607811.8151</c:v>
                </c:pt>
                <c:pt idx="1073">
                  <c:v>1581603.8151</c:v>
                </c:pt>
                <c:pt idx="1074">
                  <c:v>1531071.8151</c:v>
                </c:pt>
                <c:pt idx="1075">
                  <c:v>1541169.8151</c:v>
                </c:pt>
                <c:pt idx="1076">
                  <c:v>1533411.8151</c:v>
                </c:pt>
                <c:pt idx="1077">
                  <c:v>1542357.8151</c:v>
                </c:pt>
                <c:pt idx="1078">
                  <c:v>1531569.8151</c:v>
                </c:pt>
                <c:pt idx="1079">
                  <c:v>1483989.8151</c:v>
                </c:pt>
                <c:pt idx="1080">
                  <c:v>1481541.8151</c:v>
                </c:pt>
                <c:pt idx="1081">
                  <c:v>1393833.8151</c:v>
                </c:pt>
                <c:pt idx="1082">
                  <c:v>1390359.8151</c:v>
                </c:pt>
                <c:pt idx="1083">
                  <c:v>1392087.8151</c:v>
                </c:pt>
                <c:pt idx="1084">
                  <c:v>1387551.8151</c:v>
                </c:pt>
                <c:pt idx="1085">
                  <c:v>1411491.8151</c:v>
                </c:pt>
                <c:pt idx="1086">
                  <c:v>1419099.8151</c:v>
                </c:pt>
                <c:pt idx="1087">
                  <c:v>1424295.8151</c:v>
                </c:pt>
                <c:pt idx="1088">
                  <c:v>1413405.8151</c:v>
                </c:pt>
                <c:pt idx="1089">
                  <c:v>1424295.8151</c:v>
                </c:pt>
                <c:pt idx="1090">
                  <c:v>1427217.8151</c:v>
                </c:pt>
                <c:pt idx="1091">
                  <c:v>1389279.8151</c:v>
                </c:pt>
                <c:pt idx="1092">
                  <c:v>1388709.8151</c:v>
                </c:pt>
                <c:pt idx="1093">
                  <c:v>1425549.8151</c:v>
                </c:pt>
                <c:pt idx="1094">
                  <c:v>1487121.8151</c:v>
                </c:pt>
                <c:pt idx="1095">
                  <c:v>1456329.8151</c:v>
                </c:pt>
                <c:pt idx="1096">
                  <c:v>1475487.8151</c:v>
                </c:pt>
                <c:pt idx="1097">
                  <c:v>1481817.8151</c:v>
                </c:pt>
                <c:pt idx="1098">
                  <c:v>1460811.8151</c:v>
                </c:pt>
                <c:pt idx="1099">
                  <c:v>1438305.8151</c:v>
                </c:pt>
                <c:pt idx="1100">
                  <c:v>1405395.8151</c:v>
                </c:pt>
                <c:pt idx="1101">
                  <c:v>1412421.8151</c:v>
                </c:pt>
                <c:pt idx="1102">
                  <c:v>1450611.8151</c:v>
                </c:pt>
                <c:pt idx="1103">
                  <c:v>1440597.8151</c:v>
                </c:pt>
                <c:pt idx="1104">
                  <c:v>1433715.8151</c:v>
                </c:pt>
                <c:pt idx="1105">
                  <c:v>1425513.8151</c:v>
                </c:pt>
                <c:pt idx="1106">
                  <c:v>1396689.8151</c:v>
                </c:pt>
                <c:pt idx="1107">
                  <c:v>1404741.8151</c:v>
                </c:pt>
                <c:pt idx="1108">
                  <c:v>1406919.8151</c:v>
                </c:pt>
                <c:pt idx="1109">
                  <c:v>1438323.8151</c:v>
                </c:pt>
                <c:pt idx="1110">
                  <c:v>1439463.8151</c:v>
                </c:pt>
                <c:pt idx="1111">
                  <c:v>1458105.8151</c:v>
                </c:pt>
                <c:pt idx="1112">
                  <c:v>1467291.8151</c:v>
                </c:pt>
                <c:pt idx="1113">
                  <c:v>1459479.8151</c:v>
                </c:pt>
                <c:pt idx="1114">
                  <c:v>1457175.8151</c:v>
                </c:pt>
                <c:pt idx="1115">
                  <c:v>1462713.8151</c:v>
                </c:pt>
                <c:pt idx="1116">
                  <c:v>1502781.8151</c:v>
                </c:pt>
                <c:pt idx="1117">
                  <c:v>1506549.8151</c:v>
                </c:pt>
                <c:pt idx="1118">
                  <c:v>1500555.8151</c:v>
                </c:pt>
                <c:pt idx="1119">
                  <c:v>1484055.8151</c:v>
                </c:pt>
                <c:pt idx="1120">
                  <c:v>1473591.8151</c:v>
                </c:pt>
                <c:pt idx="1121">
                  <c:v>1489965.8151</c:v>
                </c:pt>
                <c:pt idx="1122">
                  <c:v>1478589.8151</c:v>
                </c:pt>
                <c:pt idx="1123">
                  <c:v>1476261.8151</c:v>
                </c:pt>
                <c:pt idx="1124">
                  <c:v>1473465.8151</c:v>
                </c:pt>
                <c:pt idx="1125">
                  <c:v>1463265.8151</c:v>
                </c:pt>
                <c:pt idx="1126">
                  <c:v>1492479.8151</c:v>
                </c:pt>
                <c:pt idx="1127">
                  <c:v>1495635.8151</c:v>
                </c:pt>
                <c:pt idx="1128">
                  <c:v>1487943.8151</c:v>
                </c:pt>
                <c:pt idx="1129">
                  <c:v>1482093.8151</c:v>
                </c:pt>
                <c:pt idx="1130">
                  <c:v>1479453.8151</c:v>
                </c:pt>
                <c:pt idx="1131">
                  <c:v>1483311.8151</c:v>
                </c:pt>
                <c:pt idx="1132">
                  <c:v>1503807.8151</c:v>
                </c:pt>
                <c:pt idx="1133">
                  <c:v>1501527.8151</c:v>
                </c:pt>
                <c:pt idx="1134">
                  <c:v>1496151.8151</c:v>
                </c:pt>
                <c:pt idx="1135">
                  <c:v>1505775.8151</c:v>
                </c:pt>
                <c:pt idx="1136">
                  <c:v>1555473.8151</c:v>
                </c:pt>
                <c:pt idx="1137">
                  <c:v>1576041.8151</c:v>
                </c:pt>
                <c:pt idx="1138">
                  <c:v>1580841.8151</c:v>
                </c:pt>
                <c:pt idx="1139">
                  <c:v>1595583.8151</c:v>
                </c:pt>
                <c:pt idx="1140">
                  <c:v>1584447.8151</c:v>
                </c:pt>
                <c:pt idx="1141">
                  <c:v>1578141.8151</c:v>
                </c:pt>
                <c:pt idx="1142">
                  <c:v>1547499.8151</c:v>
                </c:pt>
                <c:pt idx="1143">
                  <c:v>1550613.8151</c:v>
                </c:pt>
                <c:pt idx="1144">
                  <c:v>1574481.8151</c:v>
                </c:pt>
                <c:pt idx="1145">
                  <c:v>1557441.8151</c:v>
                </c:pt>
                <c:pt idx="1146">
                  <c:v>1548525.8151</c:v>
                </c:pt>
                <c:pt idx="1147">
                  <c:v>1521771.8151</c:v>
                </c:pt>
                <c:pt idx="1148">
                  <c:v>1528089.8151</c:v>
                </c:pt>
                <c:pt idx="1149">
                  <c:v>1536531.8151</c:v>
                </c:pt>
                <c:pt idx="1150">
                  <c:v>1556193.8151</c:v>
                </c:pt>
                <c:pt idx="1151">
                  <c:v>1563255.8151</c:v>
                </c:pt>
                <c:pt idx="1152">
                  <c:v>1548699.8151</c:v>
                </c:pt>
                <c:pt idx="1153">
                  <c:v>1572213.8151</c:v>
                </c:pt>
                <c:pt idx="1154">
                  <c:v>1574631.8151</c:v>
                </c:pt>
                <c:pt idx="1155">
                  <c:v>1571619.8151</c:v>
                </c:pt>
                <c:pt idx="1156">
                  <c:v>1543929.8151</c:v>
                </c:pt>
                <c:pt idx="1157">
                  <c:v>1539105.8151</c:v>
                </c:pt>
                <c:pt idx="1158">
                  <c:v>1546737.8151</c:v>
                </c:pt>
                <c:pt idx="1159">
                  <c:v>1573899.8151</c:v>
                </c:pt>
                <c:pt idx="1160">
                  <c:v>1558641.8151</c:v>
                </c:pt>
                <c:pt idx="1161">
                  <c:v>1542201.8151</c:v>
                </c:pt>
                <c:pt idx="1162">
                  <c:v>1531413.8151</c:v>
                </c:pt>
                <c:pt idx="1163">
                  <c:v>1512243.8151</c:v>
                </c:pt>
                <c:pt idx="1164">
                  <c:v>1510677.8151</c:v>
                </c:pt>
                <c:pt idx="1165">
                  <c:v>1514337.8151</c:v>
                </c:pt>
                <c:pt idx="1166">
                  <c:v>1535589.8151</c:v>
                </c:pt>
                <c:pt idx="1167">
                  <c:v>1515339.8151</c:v>
                </c:pt>
                <c:pt idx="1168">
                  <c:v>1522083.8151</c:v>
                </c:pt>
                <c:pt idx="1169">
                  <c:v>1519377.8151</c:v>
                </c:pt>
                <c:pt idx="1170">
                  <c:v>1521369.8151</c:v>
                </c:pt>
                <c:pt idx="1171">
                  <c:v>1503249.8151</c:v>
                </c:pt>
                <c:pt idx="1172">
                  <c:v>1495437.8151</c:v>
                </c:pt>
                <c:pt idx="1173">
                  <c:v>1475877.8151</c:v>
                </c:pt>
                <c:pt idx="1174">
                  <c:v>1480641.8151</c:v>
                </c:pt>
                <c:pt idx="1175">
                  <c:v>1495107.8151</c:v>
                </c:pt>
                <c:pt idx="1176">
                  <c:v>1463979.8151</c:v>
                </c:pt>
                <c:pt idx="1177">
                  <c:v>1473807.8151</c:v>
                </c:pt>
                <c:pt idx="1178">
                  <c:v>1501545.8151</c:v>
                </c:pt>
                <c:pt idx="1179">
                  <c:v>1548447.8151</c:v>
                </c:pt>
                <c:pt idx="1180">
                  <c:v>1538403.8151</c:v>
                </c:pt>
                <c:pt idx="1181">
                  <c:v>1546017.8151</c:v>
                </c:pt>
                <c:pt idx="1182">
                  <c:v>1537101.8151</c:v>
                </c:pt>
                <c:pt idx="1183">
                  <c:v>1529883.8151</c:v>
                </c:pt>
                <c:pt idx="1184">
                  <c:v>1524285.8151</c:v>
                </c:pt>
                <c:pt idx="1185">
                  <c:v>1523559.8151</c:v>
                </c:pt>
                <c:pt idx="1186">
                  <c:v>1539795.8151</c:v>
                </c:pt>
                <c:pt idx="1187">
                  <c:v>1554825.8151</c:v>
                </c:pt>
                <c:pt idx="1188">
                  <c:v>1554471.8151</c:v>
                </c:pt>
                <c:pt idx="1189">
                  <c:v>1542381.8151</c:v>
                </c:pt>
                <c:pt idx="1190">
                  <c:v>1556775.8151</c:v>
                </c:pt>
                <c:pt idx="1191">
                  <c:v>1576191.8151</c:v>
                </c:pt>
                <c:pt idx="1192">
                  <c:v>1572027.8151</c:v>
                </c:pt>
                <c:pt idx="1193">
                  <c:v>1562481.8151</c:v>
                </c:pt>
                <c:pt idx="1194">
                  <c:v>1561629.8151</c:v>
                </c:pt>
                <c:pt idx="1195">
                  <c:v>1563099.8151</c:v>
                </c:pt>
                <c:pt idx="1196">
                  <c:v>1538763.8151</c:v>
                </c:pt>
                <c:pt idx="1197">
                  <c:v>1537119.8151</c:v>
                </c:pt>
                <c:pt idx="1198">
                  <c:v>1535091.8151</c:v>
                </c:pt>
                <c:pt idx="1199">
                  <c:v>1511859.8151</c:v>
                </c:pt>
                <c:pt idx="1200">
                  <c:v>1504935.8151</c:v>
                </c:pt>
                <c:pt idx="1201">
                  <c:v>1505445.8151</c:v>
                </c:pt>
                <c:pt idx="1202">
                  <c:v>1490553.8151</c:v>
                </c:pt>
                <c:pt idx="1203">
                  <c:v>1457991.8151</c:v>
                </c:pt>
                <c:pt idx="1204">
                  <c:v>1461867.8151</c:v>
                </c:pt>
                <c:pt idx="1205">
                  <c:v>1464057.8151</c:v>
                </c:pt>
                <c:pt idx="1206">
                  <c:v>1474173.8151</c:v>
                </c:pt>
                <c:pt idx="1207">
                  <c:v>1450305.8151</c:v>
                </c:pt>
                <c:pt idx="1208">
                  <c:v>1473195.8151</c:v>
                </c:pt>
                <c:pt idx="1209">
                  <c:v>1470783.8151</c:v>
                </c:pt>
                <c:pt idx="1210">
                  <c:v>1489125.8151</c:v>
                </c:pt>
                <c:pt idx="1211">
                  <c:v>1484295.8151</c:v>
                </c:pt>
                <c:pt idx="1212">
                  <c:v>1465575.8151</c:v>
                </c:pt>
                <c:pt idx="1213">
                  <c:v>1434291.8151</c:v>
                </c:pt>
                <c:pt idx="1214">
                  <c:v>1433907.8151</c:v>
                </c:pt>
                <c:pt idx="1215">
                  <c:v>1436253.8151</c:v>
                </c:pt>
                <c:pt idx="1216">
                  <c:v>1424439.8151</c:v>
                </c:pt>
                <c:pt idx="1217">
                  <c:v>1414017.8151</c:v>
                </c:pt>
                <c:pt idx="1218">
                  <c:v>1407315.8151</c:v>
                </c:pt>
                <c:pt idx="1219">
                  <c:v>1418817.8151</c:v>
                </c:pt>
                <c:pt idx="1220">
                  <c:v>1416471.8151</c:v>
                </c:pt>
                <c:pt idx="1221">
                  <c:v>1418211.8151</c:v>
                </c:pt>
                <c:pt idx="1222">
                  <c:v>1398201.8151</c:v>
                </c:pt>
                <c:pt idx="1223">
                  <c:v>1390701.8151</c:v>
                </c:pt>
                <c:pt idx="1224">
                  <c:v>1403553.8151</c:v>
                </c:pt>
                <c:pt idx="1225">
                  <c:v>1437387.8151</c:v>
                </c:pt>
                <c:pt idx="1226">
                  <c:v>1430241.8151</c:v>
                </c:pt>
                <c:pt idx="1227">
                  <c:v>1438515.8151</c:v>
                </c:pt>
                <c:pt idx="1228">
                  <c:v>1420659.8151</c:v>
                </c:pt>
                <c:pt idx="1229">
                  <c:v>1423023.8151</c:v>
                </c:pt>
                <c:pt idx="1230">
                  <c:v>1427775.8151</c:v>
                </c:pt>
                <c:pt idx="1231">
                  <c:v>1412577.8151</c:v>
                </c:pt>
                <c:pt idx="1232">
                  <c:v>1418595.8151</c:v>
                </c:pt>
                <c:pt idx="1233">
                  <c:v>1451625.8151</c:v>
                </c:pt>
                <c:pt idx="1234">
                  <c:v>1462443.8151</c:v>
                </c:pt>
                <c:pt idx="1235">
                  <c:v>1465857.8151</c:v>
                </c:pt>
                <c:pt idx="1236">
                  <c:v>1458837.8151</c:v>
                </c:pt>
                <c:pt idx="1237">
                  <c:v>1468449.8151</c:v>
                </c:pt>
                <c:pt idx="1238">
                  <c:v>1478097.8151</c:v>
                </c:pt>
                <c:pt idx="1239">
                  <c:v>1460571.8151</c:v>
                </c:pt>
                <c:pt idx="1240">
                  <c:v>1476303.8151</c:v>
                </c:pt>
                <c:pt idx="1241">
                  <c:v>1463571.8151</c:v>
                </c:pt>
                <c:pt idx="1242">
                  <c:v>1449681.8151</c:v>
                </c:pt>
                <c:pt idx="1243">
                  <c:v>1419813.8151</c:v>
                </c:pt>
                <c:pt idx="1244">
                  <c:v>1385853.8151</c:v>
                </c:pt>
                <c:pt idx="1245">
                  <c:v>1389153.8151</c:v>
                </c:pt>
                <c:pt idx="1246">
                  <c:v>1383573.8151</c:v>
                </c:pt>
                <c:pt idx="1247">
                  <c:v>1398489.8151</c:v>
                </c:pt>
                <c:pt idx="1248">
                  <c:v>1405329.8151</c:v>
                </c:pt>
                <c:pt idx="1249">
                  <c:v>1401669.8151</c:v>
                </c:pt>
                <c:pt idx="1250">
                  <c:v>1389495.8151</c:v>
                </c:pt>
                <c:pt idx="1251">
                  <c:v>1395285.8151</c:v>
                </c:pt>
                <c:pt idx="1252">
                  <c:v>1392123.8151</c:v>
                </c:pt>
                <c:pt idx="1253">
                  <c:v>1349781.8151</c:v>
                </c:pt>
                <c:pt idx="1254">
                  <c:v>1356303.8151</c:v>
                </c:pt>
                <c:pt idx="1255">
                  <c:v>1359585.8151</c:v>
                </c:pt>
                <c:pt idx="1256">
                  <c:v>1375305.8151</c:v>
                </c:pt>
                <c:pt idx="1257">
                  <c:v>1364811.8151</c:v>
                </c:pt>
                <c:pt idx="1258">
                  <c:v>1376931.8151</c:v>
                </c:pt>
                <c:pt idx="1259">
                  <c:v>1373985.8151</c:v>
                </c:pt>
                <c:pt idx="1260">
                  <c:v>1363629.8151</c:v>
                </c:pt>
                <c:pt idx="1261">
                  <c:v>1343289.8151</c:v>
                </c:pt>
                <c:pt idx="1262">
                  <c:v>1386387.8151</c:v>
                </c:pt>
                <c:pt idx="1263">
                  <c:v>1396907.2220999999</c:v>
                </c:pt>
                <c:pt idx="1264">
                  <c:v>1396907.2220999999</c:v>
                </c:pt>
                <c:pt idx="1265">
                  <c:v>1396907.2220999999</c:v>
                </c:pt>
                <c:pt idx="1266">
                  <c:v>1396907.2220999999</c:v>
                </c:pt>
                <c:pt idx="1267">
                  <c:v>1396907.2220999999</c:v>
                </c:pt>
                <c:pt idx="1268">
                  <c:v>1396907.2220999999</c:v>
                </c:pt>
                <c:pt idx="1269">
                  <c:v>1396907.2220999999</c:v>
                </c:pt>
                <c:pt idx="1270">
                  <c:v>1396907.2220999999</c:v>
                </c:pt>
                <c:pt idx="1271">
                  <c:v>1396907.2220999999</c:v>
                </c:pt>
                <c:pt idx="1272">
                  <c:v>1396907.2220999999</c:v>
                </c:pt>
                <c:pt idx="1273">
                  <c:v>1396907.2220999999</c:v>
                </c:pt>
                <c:pt idx="1274">
                  <c:v>1396907.2220999999</c:v>
                </c:pt>
                <c:pt idx="1275">
                  <c:v>1396907.2220999999</c:v>
                </c:pt>
                <c:pt idx="1276">
                  <c:v>1396907.2220999999</c:v>
                </c:pt>
                <c:pt idx="1277">
                  <c:v>1396907.2220999999</c:v>
                </c:pt>
                <c:pt idx="1278">
                  <c:v>1396907.2220999999</c:v>
                </c:pt>
                <c:pt idx="1279">
                  <c:v>1396907.2220999999</c:v>
                </c:pt>
                <c:pt idx="1280">
                  <c:v>1396907.2220999999</c:v>
                </c:pt>
                <c:pt idx="1281">
                  <c:v>1396907.2220999999</c:v>
                </c:pt>
                <c:pt idx="1282">
                  <c:v>1396907.2220999999</c:v>
                </c:pt>
                <c:pt idx="1283">
                  <c:v>1396907.2220999999</c:v>
                </c:pt>
                <c:pt idx="1284">
                  <c:v>1396907.2220999999</c:v>
                </c:pt>
                <c:pt idx="1285">
                  <c:v>1396907.2220999999</c:v>
                </c:pt>
                <c:pt idx="1286">
                  <c:v>1396907.2220999999</c:v>
                </c:pt>
                <c:pt idx="1287">
                  <c:v>1396907.2220999999</c:v>
                </c:pt>
                <c:pt idx="1288">
                  <c:v>1396907.2220999999</c:v>
                </c:pt>
                <c:pt idx="1289">
                  <c:v>1396907.2220999999</c:v>
                </c:pt>
                <c:pt idx="1290">
                  <c:v>1396907.2220999999</c:v>
                </c:pt>
                <c:pt idx="1291">
                  <c:v>1396907.2220999999</c:v>
                </c:pt>
                <c:pt idx="1292">
                  <c:v>1396907.2220999999</c:v>
                </c:pt>
                <c:pt idx="1293">
                  <c:v>1396907.2220999999</c:v>
                </c:pt>
                <c:pt idx="1294">
                  <c:v>1396907.2220999999</c:v>
                </c:pt>
                <c:pt idx="1295">
                  <c:v>1396907.2220999999</c:v>
                </c:pt>
                <c:pt idx="1296">
                  <c:v>1396907.2220999999</c:v>
                </c:pt>
                <c:pt idx="1297">
                  <c:v>1396907.2220999999</c:v>
                </c:pt>
                <c:pt idx="1298">
                  <c:v>1396907.2220999999</c:v>
                </c:pt>
                <c:pt idx="1299">
                  <c:v>1396907.2220999999</c:v>
                </c:pt>
                <c:pt idx="1300">
                  <c:v>1396907.2220999999</c:v>
                </c:pt>
                <c:pt idx="1301">
                  <c:v>1396907.2220999999</c:v>
                </c:pt>
                <c:pt idx="1302">
                  <c:v>1396907.2220999999</c:v>
                </c:pt>
                <c:pt idx="1303">
                  <c:v>1396907.2220999999</c:v>
                </c:pt>
                <c:pt idx="1304">
                  <c:v>1396907.2220999999</c:v>
                </c:pt>
                <c:pt idx="1305">
                  <c:v>1396907.2220999999</c:v>
                </c:pt>
                <c:pt idx="1306">
                  <c:v>1396907.2220999999</c:v>
                </c:pt>
                <c:pt idx="1307">
                  <c:v>1396907.2220999999</c:v>
                </c:pt>
                <c:pt idx="1308">
                  <c:v>1396907.2220999999</c:v>
                </c:pt>
                <c:pt idx="1309">
                  <c:v>1396907.2220999999</c:v>
                </c:pt>
                <c:pt idx="1310">
                  <c:v>1396907.2220999999</c:v>
                </c:pt>
                <c:pt idx="1311">
                  <c:v>1396907.2220999999</c:v>
                </c:pt>
                <c:pt idx="1312">
                  <c:v>1396907.2220999999</c:v>
                </c:pt>
                <c:pt idx="1313">
                  <c:v>1396907.2220999999</c:v>
                </c:pt>
                <c:pt idx="1314">
                  <c:v>1396907.2220999999</c:v>
                </c:pt>
                <c:pt idx="1315">
                  <c:v>1396907.2220999999</c:v>
                </c:pt>
                <c:pt idx="1316">
                  <c:v>1396907.2220999999</c:v>
                </c:pt>
                <c:pt idx="1317">
                  <c:v>1396907.2220999999</c:v>
                </c:pt>
                <c:pt idx="1318">
                  <c:v>1396907.2220999999</c:v>
                </c:pt>
                <c:pt idx="1319">
                  <c:v>1396907.2220999999</c:v>
                </c:pt>
                <c:pt idx="1320">
                  <c:v>1396907.2220999999</c:v>
                </c:pt>
                <c:pt idx="1321">
                  <c:v>1396907.2220999999</c:v>
                </c:pt>
                <c:pt idx="1322">
                  <c:v>1396907.2220999999</c:v>
                </c:pt>
                <c:pt idx="1323">
                  <c:v>1396907.2220999999</c:v>
                </c:pt>
                <c:pt idx="1324">
                  <c:v>1396907.2220999999</c:v>
                </c:pt>
                <c:pt idx="1325">
                  <c:v>1396907.2220999999</c:v>
                </c:pt>
                <c:pt idx="1326">
                  <c:v>1396907.2220999999</c:v>
                </c:pt>
                <c:pt idx="1327">
                  <c:v>1396907.2220999999</c:v>
                </c:pt>
                <c:pt idx="1328">
                  <c:v>1396907.2220999999</c:v>
                </c:pt>
                <c:pt idx="1329">
                  <c:v>1396907.2220999999</c:v>
                </c:pt>
                <c:pt idx="1330">
                  <c:v>1396907.2220999999</c:v>
                </c:pt>
                <c:pt idx="1331">
                  <c:v>1396907.2220999999</c:v>
                </c:pt>
                <c:pt idx="1332">
                  <c:v>1396907.2220999999</c:v>
                </c:pt>
                <c:pt idx="1333">
                  <c:v>1396907.2220999999</c:v>
                </c:pt>
                <c:pt idx="1334">
                  <c:v>1396907.2220999999</c:v>
                </c:pt>
                <c:pt idx="1335">
                  <c:v>1396907.2220999999</c:v>
                </c:pt>
                <c:pt idx="1336">
                  <c:v>1396907.2220999999</c:v>
                </c:pt>
                <c:pt idx="1337">
                  <c:v>1396907.2220999999</c:v>
                </c:pt>
                <c:pt idx="1338">
                  <c:v>1396907.2220999999</c:v>
                </c:pt>
                <c:pt idx="1339">
                  <c:v>1396907.2220999999</c:v>
                </c:pt>
                <c:pt idx="1340">
                  <c:v>1396907.2220999999</c:v>
                </c:pt>
                <c:pt idx="1341">
                  <c:v>1396907.2220999999</c:v>
                </c:pt>
                <c:pt idx="1342">
                  <c:v>1396907.2220999999</c:v>
                </c:pt>
                <c:pt idx="1343">
                  <c:v>1396907.2220999999</c:v>
                </c:pt>
                <c:pt idx="1344">
                  <c:v>1396907.2220999999</c:v>
                </c:pt>
                <c:pt idx="1345">
                  <c:v>1396907.2220999999</c:v>
                </c:pt>
                <c:pt idx="1346">
                  <c:v>1396907.2220999999</c:v>
                </c:pt>
                <c:pt idx="1347">
                  <c:v>1396907.2220999999</c:v>
                </c:pt>
                <c:pt idx="1348">
                  <c:v>1396771.5951</c:v>
                </c:pt>
                <c:pt idx="1349">
                  <c:v>1434841.5951</c:v>
                </c:pt>
                <c:pt idx="1350">
                  <c:v>1439323.5951</c:v>
                </c:pt>
                <c:pt idx="1351">
                  <c:v>1433707.5951</c:v>
                </c:pt>
                <c:pt idx="1352">
                  <c:v>1450651.5951</c:v>
                </c:pt>
                <c:pt idx="1353">
                  <c:v>1438141.5951</c:v>
                </c:pt>
                <c:pt idx="1354">
                  <c:v>1465873.5951</c:v>
                </c:pt>
                <c:pt idx="1355">
                  <c:v>1462111.5951</c:v>
                </c:pt>
                <c:pt idx="1356">
                  <c:v>1458433.5951</c:v>
                </c:pt>
                <c:pt idx="1357">
                  <c:v>1436977.5951</c:v>
                </c:pt>
                <c:pt idx="1358">
                  <c:v>1439179.5951</c:v>
                </c:pt>
                <c:pt idx="1359">
                  <c:v>1459711.5951</c:v>
                </c:pt>
                <c:pt idx="1360">
                  <c:v>1454731.5951</c:v>
                </c:pt>
                <c:pt idx="1361">
                  <c:v>1455841.5951</c:v>
                </c:pt>
                <c:pt idx="1362">
                  <c:v>1442071.5951</c:v>
                </c:pt>
                <c:pt idx="1363">
                  <c:v>1456885.5951</c:v>
                </c:pt>
                <c:pt idx="1364">
                  <c:v>1465237.5951</c:v>
                </c:pt>
                <c:pt idx="1365">
                  <c:v>1465363.5951</c:v>
                </c:pt>
                <c:pt idx="1366">
                  <c:v>1460185.5951</c:v>
                </c:pt>
                <c:pt idx="1367">
                  <c:v>1453045.5951</c:v>
                </c:pt>
                <c:pt idx="1368">
                  <c:v>1459717.5951</c:v>
                </c:pt>
                <c:pt idx="1369">
                  <c:v>1446217.5951</c:v>
                </c:pt>
                <c:pt idx="1370">
                  <c:v>1434955.5951</c:v>
                </c:pt>
                <c:pt idx="1371">
                  <c:v>1437055.5951</c:v>
                </c:pt>
                <c:pt idx="1372">
                  <c:v>1427269.5951</c:v>
                </c:pt>
                <c:pt idx="1373">
                  <c:v>1443475.5951</c:v>
                </c:pt>
                <c:pt idx="1374">
                  <c:v>1453693.5951</c:v>
                </c:pt>
                <c:pt idx="1375">
                  <c:v>1472377.5951</c:v>
                </c:pt>
                <c:pt idx="1376">
                  <c:v>1485805.5951</c:v>
                </c:pt>
                <c:pt idx="1377">
                  <c:v>1496233.5951</c:v>
                </c:pt>
                <c:pt idx="1378">
                  <c:v>1510057.5951</c:v>
                </c:pt>
                <c:pt idx="1379">
                  <c:v>1507633.5951</c:v>
                </c:pt>
                <c:pt idx="1380">
                  <c:v>1499959.5951</c:v>
                </c:pt>
                <c:pt idx="1381">
                  <c:v>1494571.5951</c:v>
                </c:pt>
                <c:pt idx="1382">
                  <c:v>1503517.5951</c:v>
                </c:pt>
                <c:pt idx="1383">
                  <c:v>1502815.5951</c:v>
                </c:pt>
                <c:pt idx="1384">
                  <c:v>1473763.5951</c:v>
                </c:pt>
                <c:pt idx="1385">
                  <c:v>1481299.5951</c:v>
                </c:pt>
                <c:pt idx="1386">
                  <c:v>1485697.5951</c:v>
                </c:pt>
                <c:pt idx="1387">
                  <c:v>1495627.5951</c:v>
                </c:pt>
                <c:pt idx="1388">
                  <c:v>1467853.5951</c:v>
                </c:pt>
                <c:pt idx="1389">
                  <c:v>1480177.5951</c:v>
                </c:pt>
                <c:pt idx="1390">
                  <c:v>1505617.5951</c:v>
                </c:pt>
                <c:pt idx="1391">
                  <c:v>1502683.5951</c:v>
                </c:pt>
                <c:pt idx="1392">
                  <c:v>1502821.5951</c:v>
                </c:pt>
                <c:pt idx="1393">
                  <c:v>1509181.5951</c:v>
                </c:pt>
                <c:pt idx="1394">
                  <c:v>1511095.5951</c:v>
                </c:pt>
                <c:pt idx="1395">
                  <c:v>1527529.5951</c:v>
                </c:pt>
                <c:pt idx="1396">
                  <c:v>1529677.5951</c:v>
                </c:pt>
                <c:pt idx="1397">
                  <c:v>1520575.5951</c:v>
                </c:pt>
                <c:pt idx="1398">
                  <c:v>1513471.5951</c:v>
                </c:pt>
                <c:pt idx="1399">
                  <c:v>1508437.5951</c:v>
                </c:pt>
                <c:pt idx="1400">
                  <c:v>1518823.5951</c:v>
                </c:pt>
                <c:pt idx="1401">
                  <c:v>1507141.5951</c:v>
                </c:pt>
                <c:pt idx="1402">
                  <c:v>1505539.5951</c:v>
                </c:pt>
                <c:pt idx="1403">
                  <c:v>1513327.5951</c:v>
                </c:pt>
                <c:pt idx="1404">
                  <c:v>1500535.5951</c:v>
                </c:pt>
                <c:pt idx="1405">
                  <c:v>1491685.5951</c:v>
                </c:pt>
                <c:pt idx="1406">
                  <c:v>1478065.5951</c:v>
                </c:pt>
                <c:pt idx="1407">
                  <c:v>1474927.5951</c:v>
                </c:pt>
                <c:pt idx="1408">
                  <c:v>1461799.5951</c:v>
                </c:pt>
                <c:pt idx="1409">
                  <c:v>1490491.5951</c:v>
                </c:pt>
                <c:pt idx="1410">
                  <c:v>1511329.5951</c:v>
                </c:pt>
                <c:pt idx="1411">
                  <c:v>1521859.5951</c:v>
                </c:pt>
                <c:pt idx="1412">
                  <c:v>1545493.5951</c:v>
                </c:pt>
                <c:pt idx="1413">
                  <c:v>1548031.5951</c:v>
                </c:pt>
                <c:pt idx="1414">
                  <c:v>1548403.5951</c:v>
                </c:pt>
                <c:pt idx="1415">
                  <c:v>1542571.5951</c:v>
                </c:pt>
                <c:pt idx="1416">
                  <c:v>1544143.5951</c:v>
                </c:pt>
                <c:pt idx="1417">
                  <c:v>1541791.5951</c:v>
                </c:pt>
                <c:pt idx="1418">
                  <c:v>1579939.5951</c:v>
                </c:pt>
                <c:pt idx="1419">
                  <c:v>1575667.5951</c:v>
                </c:pt>
                <c:pt idx="1420">
                  <c:v>1597093.5951</c:v>
                </c:pt>
                <c:pt idx="1421">
                  <c:v>1588351.5951</c:v>
                </c:pt>
                <c:pt idx="1422">
                  <c:v>1589155.5951</c:v>
                </c:pt>
                <c:pt idx="1423">
                  <c:v>1580761.5951</c:v>
                </c:pt>
                <c:pt idx="1424">
                  <c:v>1565353.5951</c:v>
                </c:pt>
                <c:pt idx="1425">
                  <c:v>1562833.5951</c:v>
                </c:pt>
                <c:pt idx="1426">
                  <c:v>1562761.5951</c:v>
                </c:pt>
                <c:pt idx="1427">
                  <c:v>1590577.5951</c:v>
                </c:pt>
                <c:pt idx="1428">
                  <c:v>1630057.5951</c:v>
                </c:pt>
                <c:pt idx="1429">
                  <c:v>1651837.5951</c:v>
                </c:pt>
                <c:pt idx="1430">
                  <c:v>1674313.5951</c:v>
                </c:pt>
                <c:pt idx="1431">
                  <c:v>1693195.5951</c:v>
                </c:pt>
                <c:pt idx="1432">
                  <c:v>1725793.5951</c:v>
                </c:pt>
                <c:pt idx="1433">
                  <c:v>1732387.5951</c:v>
                </c:pt>
                <c:pt idx="1434">
                  <c:v>1794865.5951</c:v>
                </c:pt>
                <c:pt idx="1435">
                  <c:v>1821031.5951</c:v>
                </c:pt>
                <c:pt idx="1436">
                  <c:v>1903111.5951</c:v>
                </c:pt>
                <c:pt idx="1437">
                  <c:v>1915435.5951</c:v>
                </c:pt>
                <c:pt idx="1438">
                  <c:v>1992229.5951</c:v>
                </c:pt>
                <c:pt idx="1439">
                  <c:v>1904647.5951</c:v>
                </c:pt>
                <c:pt idx="1440">
                  <c:v>1973431.5951</c:v>
                </c:pt>
                <c:pt idx="1441">
                  <c:v>1950307.5951</c:v>
                </c:pt>
                <c:pt idx="1442">
                  <c:v>1956439.5951</c:v>
                </c:pt>
                <c:pt idx="1443">
                  <c:v>1970839.5951</c:v>
                </c:pt>
                <c:pt idx="1444">
                  <c:v>2022541.5951</c:v>
                </c:pt>
                <c:pt idx="1445">
                  <c:v>2056861.5951</c:v>
                </c:pt>
                <c:pt idx="1446">
                  <c:v>2048059.5951</c:v>
                </c:pt>
                <c:pt idx="1447">
                  <c:v>2070403.5951</c:v>
                </c:pt>
                <c:pt idx="1448">
                  <c:v>2077189.5951</c:v>
                </c:pt>
                <c:pt idx="1449">
                  <c:v>2035453.5951</c:v>
                </c:pt>
                <c:pt idx="1450">
                  <c:v>1978735.5951</c:v>
                </c:pt>
                <c:pt idx="1451">
                  <c:v>2041753.5951</c:v>
                </c:pt>
                <c:pt idx="1452">
                  <c:v>2108005.5951</c:v>
                </c:pt>
                <c:pt idx="1453">
                  <c:v>2113777.5951</c:v>
                </c:pt>
                <c:pt idx="1454">
                  <c:v>2115031.5951</c:v>
                </c:pt>
                <c:pt idx="1455">
                  <c:v>2160727.5951</c:v>
                </c:pt>
                <c:pt idx="1456">
                  <c:v>2225425.5951</c:v>
                </c:pt>
                <c:pt idx="1457">
                  <c:v>2225137.5951</c:v>
                </c:pt>
                <c:pt idx="1458">
                  <c:v>2226775.5951</c:v>
                </c:pt>
                <c:pt idx="1459">
                  <c:v>2176057.5951</c:v>
                </c:pt>
                <c:pt idx="1460">
                  <c:v>2168533.5951</c:v>
                </c:pt>
                <c:pt idx="1461">
                  <c:v>2148649.5951</c:v>
                </c:pt>
                <c:pt idx="1462">
                  <c:v>2148925.5951</c:v>
                </c:pt>
                <c:pt idx="1463">
                  <c:v>2141953.5951</c:v>
                </c:pt>
                <c:pt idx="1464">
                  <c:v>2202973.5951</c:v>
                </c:pt>
                <c:pt idx="1465">
                  <c:v>2221591.5951</c:v>
                </c:pt>
                <c:pt idx="1466">
                  <c:v>2053597.5951</c:v>
                </c:pt>
                <c:pt idx="1467">
                  <c:v>2078233.5951</c:v>
                </c:pt>
                <c:pt idx="1468">
                  <c:v>2169835.5951</c:v>
                </c:pt>
                <c:pt idx="1469">
                  <c:v>2181067.5951</c:v>
                </c:pt>
                <c:pt idx="1470">
                  <c:v>2183539.5951</c:v>
                </c:pt>
                <c:pt idx="1471">
                  <c:v>2205295.5951</c:v>
                </c:pt>
                <c:pt idx="1472">
                  <c:v>2185459.5951</c:v>
                </c:pt>
                <c:pt idx="1473">
                  <c:v>2155693.5951</c:v>
                </c:pt>
                <c:pt idx="1474">
                  <c:v>2129581.5951</c:v>
                </c:pt>
                <c:pt idx="1475">
                  <c:v>2101135.5951</c:v>
                </c:pt>
                <c:pt idx="1476">
                  <c:v>2052877.5951</c:v>
                </c:pt>
                <c:pt idx="1477">
                  <c:v>2102971.5951</c:v>
                </c:pt>
                <c:pt idx="1478">
                  <c:v>2081563.5951</c:v>
                </c:pt>
                <c:pt idx="1479">
                  <c:v>2060671.5951</c:v>
                </c:pt>
                <c:pt idx="1480">
                  <c:v>2027953.5951</c:v>
                </c:pt>
                <c:pt idx="1481">
                  <c:v>2048053.5951</c:v>
                </c:pt>
                <c:pt idx="1482">
                  <c:v>2084665.5951</c:v>
                </c:pt>
                <c:pt idx="1483">
                  <c:v>2100973.5951</c:v>
                </c:pt>
                <c:pt idx="1484">
                  <c:v>2106223.5951</c:v>
                </c:pt>
                <c:pt idx="1485">
                  <c:v>2122399.5951</c:v>
                </c:pt>
                <c:pt idx="1486">
                  <c:v>2140189.5951</c:v>
                </c:pt>
                <c:pt idx="1487">
                  <c:v>2153893.5951</c:v>
                </c:pt>
                <c:pt idx="1488">
                  <c:v>2127739.5951</c:v>
                </c:pt>
                <c:pt idx="1489">
                  <c:v>2180281.5951</c:v>
                </c:pt>
                <c:pt idx="1490">
                  <c:v>2184205.5951</c:v>
                </c:pt>
                <c:pt idx="1491">
                  <c:v>2201263.5951</c:v>
                </c:pt>
                <c:pt idx="1492">
                  <c:v>2145241.5951</c:v>
                </c:pt>
                <c:pt idx="1493">
                  <c:v>2158993.5951</c:v>
                </c:pt>
                <c:pt idx="1494">
                  <c:v>2138305.5951</c:v>
                </c:pt>
                <c:pt idx="1495">
                  <c:v>2127613.5951</c:v>
                </c:pt>
                <c:pt idx="1496">
                  <c:v>2163151.5951</c:v>
                </c:pt>
                <c:pt idx="1497">
                  <c:v>2152867.5951</c:v>
                </c:pt>
                <c:pt idx="1498">
                  <c:v>2155291.5951</c:v>
                </c:pt>
                <c:pt idx="1499">
                  <c:v>2196205.5951</c:v>
                </c:pt>
                <c:pt idx="1500">
                  <c:v>2211097.5951</c:v>
                </c:pt>
                <c:pt idx="1501">
                  <c:v>2263903.5951</c:v>
                </c:pt>
                <c:pt idx="1502">
                  <c:v>2294773.5951</c:v>
                </c:pt>
                <c:pt idx="1503">
                  <c:v>2348137.5951</c:v>
                </c:pt>
                <c:pt idx="1504">
                  <c:v>2344345.5951</c:v>
                </c:pt>
                <c:pt idx="1505">
                  <c:v>2376043.5951</c:v>
                </c:pt>
                <c:pt idx="1506">
                  <c:v>2423737.5951</c:v>
                </c:pt>
                <c:pt idx="1507">
                  <c:v>2424331.5951</c:v>
                </c:pt>
                <c:pt idx="1508">
                  <c:v>2404747.5951</c:v>
                </c:pt>
                <c:pt idx="1509">
                  <c:v>2410501.5951</c:v>
                </c:pt>
                <c:pt idx="1510">
                  <c:v>2423521.5951</c:v>
                </c:pt>
                <c:pt idx="1511">
                  <c:v>2493409.5951</c:v>
                </c:pt>
                <c:pt idx="1512">
                  <c:v>2471221.5951</c:v>
                </c:pt>
                <c:pt idx="1513">
                  <c:v>2514841.5951</c:v>
                </c:pt>
                <c:pt idx="1514">
                  <c:v>2515369.5951</c:v>
                </c:pt>
                <c:pt idx="1515">
                  <c:v>2542825.5951</c:v>
                </c:pt>
                <c:pt idx="1516">
                  <c:v>2596525.5951</c:v>
                </c:pt>
                <c:pt idx="1517">
                  <c:v>2617981.5951</c:v>
                </c:pt>
                <c:pt idx="1518">
                  <c:v>2597785.5951</c:v>
                </c:pt>
                <c:pt idx="1519">
                  <c:v>2647153.5951</c:v>
                </c:pt>
                <c:pt idx="1520">
                  <c:v>2693143.5951</c:v>
                </c:pt>
                <c:pt idx="1521">
                  <c:v>2703409.5951</c:v>
                </c:pt>
                <c:pt idx="1522">
                  <c:v>2668807.5951</c:v>
                </c:pt>
                <c:pt idx="1523">
                  <c:v>2748631.5951</c:v>
                </c:pt>
                <c:pt idx="1524">
                  <c:v>2798185.5951</c:v>
                </c:pt>
                <c:pt idx="1525">
                  <c:v>2753653.5951</c:v>
                </c:pt>
                <c:pt idx="1526">
                  <c:v>2811997.5951</c:v>
                </c:pt>
                <c:pt idx="1527">
                  <c:v>2884387.595100001</c:v>
                </c:pt>
                <c:pt idx="1528">
                  <c:v>2885035.5951</c:v>
                </c:pt>
                <c:pt idx="1529">
                  <c:v>2862085.5951</c:v>
                </c:pt>
                <c:pt idx="1530">
                  <c:v>2925055.5951</c:v>
                </c:pt>
                <c:pt idx="1531">
                  <c:v>2885617.5951</c:v>
                </c:pt>
                <c:pt idx="1532">
                  <c:v>2905099.5951</c:v>
                </c:pt>
                <c:pt idx="1533">
                  <c:v>2890435.5951</c:v>
                </c:pt>
                <c:pt idx="1534">
                  <c:v>2913145.5951</c:v>
                </c:pt>
                <c:pt idx="1535">
                  <c:v>2798605.5951</c:v>
                </c:pt>
                <c:pt idx="1536">
                  <c:v>2772499.5951</c:v>
                </c:pt>
                <c:pt idx="1537">
                  <c:v>2722555.5951</c:v>
                </c:pt>
                <c:pt idx="1538">
                  <c:v>2775541.5951</c:v>
                </c:pt>
                <c:pt idx="1539">
                  <c:v>2854819.5951</c:v>
                </c:pt>
                <c:pt idx="1540">
                  <c:v>2888953.5951</c:v>
                </c:pt>
                <c:pt idx="1541">
                  <c:v>2871565.5951</c:v>
                </c:pt>
                <c:pt idx="1542">
                  <c:v>2860969.5951</c:v>
                </c:pt>
                <c:pt idx="1543">
                  <c:v>2810983.5951</c:v>
                </c:pt>
                <c:pt idx="1544">
                  <c:v>2785585.5951</c:v>
                </c:pt>
                <c:pt idx="1545">
                  <c:v>2879233.5951</c:v>
                </c:pt>
                <c:pt idx="1546">
                  <c:v>2893453.5951</c:v>
                </c:pt>
                <c:pt idx="1547">
                  <c:v>2945089.5951</c:v>
                </c:pt>
                <c:pt idx="1548">
                  <c:v>3011305.5951</c:v>
                </c:pt>
                <c:pt idx="1549">
                  <c:v>3100201.5951</c:v>
                </c:pt>
                <c:pt idx="1550">
                  <c:v>3159853.5951</c:v>
                </c:pt>
                <c:pt idx="1551">
                  <c:v>3149359.5951</c:v>
                </c:pt>
                <c:pt idx="1552">
                  <c:v>2940907.5951</c:v>
                </c:pt>
                <c:pt idx="1553">
                  <c:v>2944999.5951</c:v>
                </c:pt>
                <c:pt idx="1554">
                  <c:v>3086209.5951</c:v>
                </c:pt>
                <c:pt idx="1555">
                  <c:v>3137623.5951</c:v>
                </c:pt>
                <c:pt idx="1556">
                  <c:v>3126655.5951</c:v>
                </c:pt>
                <c:pt idx="1557">
                  <c:v>3149353.5951</c:v>
                </c:pt>
                <c:pt idx="1558">
                  <c:v>3178831.5951</c:v>
                </c:pt>
                <c:pt idx="1559">
                  <c:v>3252751.5951</c:v>
                </c:pt>
                <c:pt idx="1560">
                  <c:v>3230977.5951</c:v>
                </c:pt>
                <c:pt idx="1561">
                  <c:v>3225967.5951</c:v>
                </c:pt>
                <c:pt idx="1562">
                  <c:v>3224455.5951</c:v>
                </c:pt>
                <c:pt idx="1563">
                  <c:v>3241573.5951</c:v>
                </c:pt>
                <c:pt idx="1564">
                  <c:v>3173203.5951</c:v>
                </c:pt>
                <c:pt idx="1565">
                  <c:v>3079393.5951</c:v>
                </c:pt>
                <c:pt idx="1566">
                  <c:v>3123799.5951</c:v>
                </c:pt>
                <c:pt idx="1567">
                  <c:v>2998831.5951</c:v>
                </c:pt>
                <c:pt idx="1568">
                  <c:v>2822731.5951</c:v>
                </c:pt>
                <c:pt idx="1569">
                  <c:v>2912155.5951</c:v>
                </c:pt>
                <c:pt idx="1570">
                  <c:v>2968579.5951</c:v>
                </c:pt>
                <c:pt idx="1571">
                  <c:v>2864413.595100001</c:v>
                </c:pt>
                <c:pt idx="1572">
                  <c:v>2642215.5951</c:v>
                </c:pt>
                <c:pt idx="1573">
                  <c:v>2555180.1020999998</c:v>
                </c:pt>
                <c:pt idx="1574">
                  <c:v>2555180.1020999998</c:v>
                </c:pt>
                <c:pt idx="1575">
                  <c:v>2555180.1020999998</c:v>
                </c:pt>
                <c:pt idx="1576">
                  <c:v>2555180.1020999998</c:v>
                </c:pt>
                <c:pt idx="1577">
                  <c:v>2555180.1020999998</c:v>
                </c:pt>
                <c:pt idx="1578">
                  <c:v>2555180.1020999998</c:v>
                </c:pt>
                <c:pt idx="1579">
                  <c:v>2555180.1020999998</c:v>
                </c:pt>
                <c:pt idx="1580">
                  <c:v>2555180.1020999998</c:v>
                </c:pt>
                <c:pt idx="1581">
                  <c:v>2555180.1020999998</c:v>
                </c:pt>
                <c:pt idx="1582">
                  <c:v>2555180.1020999998</c:v>
                </c:pt>
                <c:pt idx="1583">
                  <c:v>2555180.1020999998</c:v>
                </c:pt>
                <c:pt idx="1584">
                  <c:v>2555180.1020999998</c:v>
                </c:pt>
                <c:pt idx="1585">
                  <c:v>2555180.1020999998</c:v>
                </c:pt>
                <c:pt idx="1586">
                  <c:v>2555180.1020999998</c:v>
                </c:pt>
                <c:pt idx="1587">
                  <c:v>2555180.1020999998</c:v>
                </c:pt>
                <c:pt idx="1588">
                  <c:v>2555180.1020999998</c:v>
                </c:pt>
                <c:pt idx="1589">
                  <c:v>2555180.1020999998</c:v>
                </c:pt>
                <c:pt idx="1590">
                  <c:v>2555180.1020999998</c:v>
                </c:pt>
                <c:pt idx="1591">
                  <c:v>2555180.1020999998</c:v>
                </c:pt>
                <c:pt idx="1592">
                  <c:v>2555180.1020999998</c:v>
                </c:pt>
                <c:pt idx="1593">
                  <c:v>2555180.1020999998</c:v>
                </c:pt>
                <c:pt idx="1594">
                  <c:v>2555180.1020999998</c:v>
                </c:pt>
                <c:pt idx="1595">
                  <c:v>2555180.1020999998</c:v>
                </c:pt>
                <c:pt idx="1596">
                  <c:v>2555180.1020999998</c:v>
                </c:pt>
                <c:pt idx="1597">
                  <c:v>2555180.1020999998</c:v>
                </c:pt>
                <c:pt idx="1598">
                  <c:v>2555180.1020999998</c:v>
                </c:pt>
                <c:pt idx="1599">
                  <c:v>2555180.1020999998</c:v>
                </c:pt>
                <c:pt idx="1600">
                  <c:v>2555180.1020999998</c:v>
                </c:pt>
                <c:pt idx="1601">
                  <c:v>2555180.1020999998</c:v>
                </c:pt>
                <c:pt idx="1602">
                  <c:v>2555180.1020999998</c:v>
                </c:pt>
                <c:pt idx="1603">
                  <c:v>2555180.1020999998</c:v>
                </c:pt>
                <c:pt idx="1604">
                  <c:v>2555180.1020999998</c:v>
                </c:pt>
                <c:pt idx="1605">
                  <c:v>2555180.1020999998</c:v>
                </c:pt>
                <c:pt idx="1606">
                  <c:v>2555180.1020999998</c:v>
                </c:pt>
                <c:pt idx="1607">
                  <c:v>2555180.1020999998</c:v>
                </c:pt>
                <c:pt idx="1608">
                  <c:v>2555180.1020999998</c:v>
                </c:pt>
                <c:pt idx="1609">
                  <c:v>2555180.1020999998</c:v>
                </c:pt>
                <c:pt idx="1610">
                  <c:v>2555180.1020999998</c:v>
                </c:pt>
                <c:pt idx="1611">
                  <c:v>2555180.1020999998</c:v>
                </c:pt>
                <c:pt idx="1612">
                  <c:v>2555180.1020999998</c:v>
                </c:pt>
                <c:pt idx="1613">
                  <c:v>2555180.1020999998</c:v>
                </c:pt>
                <c:pt idx="1614">
                  <c:v>2555180.1020999998</c:v>
                </c:pt>
                <c:pt idx="1615">
                  <c:v>2555180.1020999998</c:v>
                </c:pt>
                <c:pt idx="1616">
                  <c:v>2555180.1020999998</c:v>
                </c:pt>
                <c:pt idx="1617">
                  <c:v>2555180.1020999998</c:v>
                </c:pt>
                <c:pt idx="1618">
                  <c:v>2555180.1020999998</c:v>
                </c:pt>
                <c:pt idx="1619">
                  <c:v>2555180.1020999998</c:v>
                </c:pt>
                <c:pt idx="1620">
                  <c:v>2555180.1020999998</c:v>
                </c:pt>
                <c:pt idx="1621">
                  <c:v>2555180.1020999998</c:v>
                </c:pt>
                <c:pt idx="1622">
                  <c:v>2555180.1020999998</c:v>
                </c:pt>
                <c:pt idx="1623">
                  <c:v>2555180.1020999998</c:v>
                </c:pt>
                <c:pt idx="1624">
                  <c:v>2555180.1020999998</c:v>
                </c:pt>
                <c:pt idx="1625">
                  <c:v>2555180.1020999998</c:v>
                </c:pt>
                <c:pt idx="1626">
                  <c:v>2555180.1020999998</c:v>
                </c:pt>
                <c:pt idx="1627">
                  <c:v>2555180.1020999998</c:v>
                </c:pt>
                <c:pt idx="1628">
                  <c:v>2555180.1020999998</c:v>
                </c:pt>
                <c:pt idx="1629">
                  <c:v>2555180.1020999998</c:v>
                </c:pt>
                <c:pt idx="1630">
                  <c:v>2555180.1020999998</c:v>
                </c:pt>
                <c:pt idx="1631">
                  <c:v>2555180.1020999998</c:v>
                </c:pt>
                <c:pt idx="1632">
                  <c:v>2555180.1020999998</c:v>
                </c:pt>
                <c:pt idx="1633">
                  <c:v>2555180.1020999998</c:v>
                </c:pt>
                <c:pt idx="1634">
                  <c:v>2555180.1020999998</c:v>
                </c:pt>
                <c:pt idx="1635">
                  <c:v>2555180.1020999998</c:v>
                </c:pt>
                <c:pt idx="1636">
                  <c:v>2555180.1020999998</c:v>
                </c:pt>
                <c:pt idx="1637">
                  <c:v>2555180.1020999998</c:v>
                </c:pt>
                <c:pt idx="1638">
                  <c:v>2555180.1020999998</c:v>
                </c:pt>
                <c:pt idx="1639">
                  <c:v>2555180.1020999998</c:v>
                </c:pt>
                <c:pt idx="1640">
                  <c:v>2555180.1020999998</c:v>
                </c:pt>
                <c:pt idx="1641">
                  <c:v>2555180.1020999998</c:v>
                </c:pt>
                <c:pt idx="1642">
                  <c:v>2555180.1020999998</c:v>
                </c:pt>
                <c:pt idx="1643">
                  <c:v>2555180.1020999998</c:v>
                </c:pt>
                <c:pt idx="1644">
                  <c:v>2555180.1020999998</c:v>
                </c:pt>
                <c:pt idx="1645">
                  <c:v>2555180.1020999998</c:v>
                </c:pt>
                <c:pt idx="1646">
                  <c:v>2555180.1020999998</c:v>
                </c:pt>
                <c:pt idx="1647">
                  <c:v>2555180.1020999998</c:v>
                </c:pt>
                <c:pt idx="1648">
                  <c:v>2554936.9745999998</c:v>
                </c:pt>
                <c:pt idx="1649">
                  <c:v>2590832.9745999998</c:v>
                </c:pt>
                <c:pt idx="1650">
                  <c:v>2623529.9745999998</c:v>
                </c:pt>
                <c:pt idx="1651">
                  <c:v>2636143.9745999998</c:v>
                </c:pt>
                <c:pt idx="1652">
                  <c:v>2638677.9745999998</c:v>
                </c:pt>
                <c:pt idx="1653">
                  <c:v>2591105.9745999998</c:v>
                </c:pt>
                <c:pt idx="1654">
                  <c:v>2596978.9745999998</c:v>
                </c:pt>
                <c:pt idx="1655">
                  <c:v>2597517.9745999998</c:v>
                </c:pt>
                <c:pt idx="1656">
                  <c:v>2556833.9745999998</c:v>
                </c:pt>
                <c:pt idx="1657">
                  <c:v>2549504.9745999998</c:v>
                </c:pt>
                <c:pt idx="1658">
                  <c:v>2663639.9745999998</c:v>
                </c:pt>
                <c:pt idx="1659">
                  <c:v>2717840.9745999998</c:v>
                </c:pt>
                <c:pt idx="1660">
                  <c:v>2779020.9745999998</c:v>
                </c:pt>
                <c:pt idx="1661">
                  <c:v>2811906.9745999998</c:v>
                </c:pt>
                <c:pt idx="1662">
                  <c:v>2806929.9745999998</c:v>
                </c:pt>
                <c:pt idx="1663">
                  <c:v>2807216.9745999998</c:v>
                </c:pt>
                <c:pt idx="1664">
                  <c:v>2780385.9745999998</c:v>
                </c:pt>
                <c:pt idx="1665">
                  <c:v>2746029.9745999998</c:v>
                </c:pt>
                <c:pt idx="1666">
                  <c:v>2758552.9745999998</c:v>
                </c:pt>
                <c:pt idx="1667">
                  <c:v>2754534.9745999998</c:v>
                </c:pt>
                <c:pt idx="1668">
                  <c:v>2724567.9745999998</c:v>
                </c:pt>
                <c:pt idx="1669">
                  <c:v>2766140.9745999998</c:v>
                </c:pt>
                <c:pt idx="1670">
                  <c:v>2765727.9745999998</c:v>
                </c:pt>
                <c:pt idx="1671">
                  <c:v>2750999.9745999998</c:v>
                </c:pt>
                <c:pt idx="1672">
                  <c:v>2751384.9745999998</c:v>
                </c:pt>
                <c:pt idx="1673">
                  <c:v>2770788.9745999998</c:v>
                </c:pt>
                <c:pt idx="1674">
                  <c:v>2755262.9745999998</c:v>
                </c:pt>
                <c:pt idx="1675">
                  <c:v>2613554.9745999998</c:v>
                </c:pt>
                <c:pt idx="1676">
                  <c:v>2620148.9745999998</c:v>
                </c:pt>
                <c:pt idx="1677">
                  <c:v>2637851.9745999998</c:v>
                </c:pt>
                <c:pt idx="1678">
                  <c:v>2729026.9745999998</c:v>
                </c:pt>
                <c:pt idx="1679">
                  <c:v>2748171.9745999998</c:v>
                </c:pt>
                <c:pt idx="1680">
                  <c:v>2697974.9745999998</c:v>
                </c:pt>
                <c:pt idx="1681">
                  <c:v>2704988.9745999998</c:v>
                </c:pt>
                <c:pt idx="1682">
                  <c:v>2659775.9745999998</c:v>
                </c:pt>
                <c:pt idx="1683">
                  <c:v>2668565.4588000001</c:v>
                </c:pt>
                <c:pt idx="1684">
                  <c:v>2668565.4588000001</c:v>
                </c:pt>
                <c:pt idx="1685">
                  <c:v>2668565.4588000001</c:v>
                </c:pt>
                <c:pt idx="1686">
                  <c:v>2668565.4588000001</c:v>
                </c:pt>
                <c:pt idx="1687">
                  <c:v>2668565.4588000001</c:v>
                </c:pt>
                <c:pt idx="1688">
                  <c:v>2668565.4588000001</c:v>
                </c:pt>
                <c:pt idx="1689">
                  <c:v>2668565.4588000001</c:v>
                </c:pt>
                <c:pt idx="1690">
                  <c:v>2668565.4588000001</c:v>
                </c:pt>
                <c:pt idx="1691">
                  <c:v>2668565.4588000001</c:v>
                </c:pt>
                <c:pt idx="1692">
                  <c:v>2668565.4588000001</c:v>
                </c:pt>
                <c:pt idx="1693">
                  <c:v>2668565.4588000001</c:v>
                </c:pt>
                <c:pt idx="1694">
                  <c:v>2668565.4588000001</c:v>
                </c:pt>
                <c:pt idx="1695">
                  <c:v>2668565.4588000001</c:v>
                </c:pt>
                <c:pt idx="1696">
                  <c:v>2668565.4588000001</c:v>
                </c:pt>
                <c:pt idx="1697">
                  <c:v>2668565.4588000001</c:v>
                </c:pt>
                <c:pt idx="1698">
                  <c:v>2668565.4588000001</c:v>
                </c:pt>
                <c:pt idx="1699">
                  <c:v>2668565.4588000001</c:v>
                </c:pt>
                <c:pt idx="1700">
                  <c:v>2668565.4588000001</c:v>
                </c:pt>
                <c:pt idx="1701">
                  <c:v>2668565.4588000001</c:v>
                </c:pt>
                <c:pt idx="1702">
                  <c:v>2668565.4588000001</c:v>
                </c:pt>
                <c:pt idx="1703">
                  <c:v>2668565.4588000001</c:v>
                </c:pt>
                <c:pt idx="1704">
                  <c:v>2668565.4588000001</c:v>
                </c:pt>
                <c:pt idx="1705">
                  <c:v>2668565.4588000001</c:v>
                </c:pt>
                <c:pt idx="1706">
                  <c:v>2668565.4588000001</c:v>
                </c:pt>
                <c:pt idx="1707">
                  <c:v>2668565.4588000001</c:v>
                </c:pt>
                <c:pt idx="1708">
                  <c:v>2668565.4588000001</c:v>
                </c:pt>
                <c:pt idx="1709">
                  <c:v>2668565.4588000001</c:v>
                </c:pt>
                <c:pt idx="1710">
                  <c:v>2668565.4588000001</c:v>
                </c:pt>
                <c:pt idx="1711">
                  <c:v>2668565.4588000001</c:v>
                </c:pt>
                <c:pt idx="1712">
                  <c:v>2668565.4588000001</c:v>
                </c:pt>
                <c:pt idx="1713">
                  <c:v>2668565.4588000001</c:v>
                </c:pt>
                <c:pt idx="1714">
                  <c:v>2668565.4588000001</c:v>
                </c:pt>
                <c:pt idx="1715">
                  <c:v>2668565.4588000001</c:v>
                </c:pt>
                <c:pt idx="1716">
                  <c:v>2668565.4588000001</c:v>
                </c:pt>
                <c:pt idx="1717">
                  <c:v>2668565.4588000001</c:v>
                </c:pt>
                <c:pt idx="1718">
                  <c:v>2668565.4588000001</c:v>
                </c:pt>
                <c:pt idx="1719">
                  <c:v>2668565.4588000001</c:v>
                </c:pt>
                <c:pt idx="1720">
                  <c:v>2668565.4588000001</c:v>
                </c:pt>
                <c:pt idx="1721">
                  <c:v>2668565.4588000001</c:v>
                </c:pt>
                <c:pt idx="1722">
                  <c:v>2668565.4588000001</c:v>
                </c:pt>
                <c:pt idx="1723">
                  <c:v>2668565.4588000001</c:v>
                </c:pt>
                <c:pt idx="1724">
                  <c:v>2668565.4588000001</c:v>
                </c:pt>
                <c:pt idx="1725">
                  <c:v>2668565.4588000001</c:v>
                </c:pt>
                <c:pt idx="1726">
                  <c:v>2668565.4588000001</c:v>
                </c:pt>
                <c:pt idx="1727">
                  <c:v>2668565.4588000001</c:v>
                </c:pt>
                <c:pt idx="1728">
                  <c:v>2668565.4588000001</c:v>
                </c:pt>
                <c:pt idx="1729">
                  <c:v>2668565.4588000001</c:v>
                </c:pt>
                <c:pt idx="1730">
                  <c:v>2668565.4588000001</c:v>
                </c:pt>
                <c:pt idx="1731">
                  <c:v>2668565.4588000001</c:v>
                </c:pt>
                <c:pt idx="1732">
                  <c:v>2668565.4588000001</c:v>
                </c:pt>
                <c:pt idx="1733">
                  <c:v>2668565.4588000001</c:v>
                </c:pt>
                <c:pt idx="1734">
                  <c:v>2668565.4588000001</c:v>
                </c:pt>
                <c:pt idx="1735">
                  <c:v>2668565.4588000001</c:v>
                </c:pt>
                <c:pt idx="1736">
                  <c:v>2668565.4588000001</c:v>
                </c:pt>
                <c:pt idx="1737">
                  <c:v>2668565.4588000001</c:v>
                </c:pt>
                <c:pt idx="1738">
                  <c:v>2668565.4588000001</c:v>
                </c:pt>
                <c:pt idx="1739">
                  <c:v>2668565.4588000001</c:v>
                </c:pt>
                <c:pt idx="1740">
                  <c:v>2668565.4588000001</c:v>
                </c:pt>
                <c:pt idx="1741">
                  <c:v>2668565.4588000001</c:v>
                </c:pt>
                <c:pt idx="1742">
                  <c:v>2668565.4588000001</c:v>
                </c:pt>
                <c:pt idx="1743">
                  <c:v>2668565.4588000001</c:v>
                </c:pt>
                <c:pt idx="1744">
                  <c:v>2668565.4588000001</c:v>
                </c:pt>
                <c:pt idx="1745">
                  <c:v>2668565.4588000001</c:v>
                </c:pt>
                <c:pt idx="1746">
                  <c:v>2668565.4588000001</c:v>
                </c:pt>
                <c:pt idx="1747">
                  <c:v>2668565.4588000001</c:v>
                </c:pt>
                <c:pt idx="1748">
                  <c:v>2668565.4588000001</c:v>
                </c:pt>
                <c:pt idx="1749">
                  <c:v>2668565.4588000001</c:v>
                </c:pt>
                <c:pt idx="1750">
                  <c:v>2668565.4588000001</c:v>
                </c:pt>
                <c:pt idx="1751">
                  <c:v>2668565.4588000001</c:v>
                </c:pt>
                <c:pt idx="1752">
                  <c:v>2668565.4588000001</c:v>
                </c:pt>
                <c:pt idx="1753">
                  <c:v>2668565.4588000001</c:v>
                </c:pt>
                <c:pt idx="1754">
                  <c:v>2668565.4588000001</c:v>
                </c:pt>
                <c:pt idx="1755">
                  <c:v>2668565.4588000001</c:v>
                </c:pt>
                <c:pt idx="1756">
                  <c:v>2668565.4588000001</c:v>
                </c:pt>
                <c:pt idx="1757">
                  <c:v>2668565.4588000001</c:v>
                </c:pt>
                <c:pt idx="1758">
                  <c:v>2668565.4588000001</c:v>
                </c:pt>
                <c:pt idx="1759">
                  <c:v>2668565.4588000001</c:v>
                </c:pt>
                <c:pt idx="1760">
                  <c:v>2668565.4588000001</c:v>
                </c:pt>
                <c:pt idx="1761">
                  <c:v>2668565.4588000001</c:v>
                </c:pt>
                <c:pt idx="1762">
                  <c:v>2668565.4588000001</c:v>
                </c:pt>
                <c:pt idx="1763">
                  <c:v>2668565.4588000001</c:v>
                </c:pt>
                <c:pt idx="1764">
                  <c:v>2668565.4588000001</c:v>
                </c:pt>
                <c:pt idx="1765">
                  <c:v>2668565.4588000001</c:v>
                </c:pt>
                <c:pt idx="1766">
                  <c:v>2668565.4588000001</c:v>
                </c:pt>
                <c:pt idx="1767">
                  <c:v>2668565.4588000001</c:v>
                </c:pt>
                <c:pt idx="1768">
                  <c:v>2668565.4588000001</c:v>
                </c:pt>
                <c:pt idx="1769">
                  <c:v>2668565.4588000001</c:v>
                </c:pt>
                <c:pt idx="1770">
                  <c:v>2668565.4588000001</c:v>
                </c:pt>
                <c:pt idx="1771">
                  <c:v>2668565.4588000001</c:v>
                </c:pt>
                <c:pt idx="1772">
                  <c:v>2668565.4588000001</c:v>
                </c:pt>
                <c:pt idx="1773">
                  <c:v>2668565.4588000001</c:v>
                </c:pt>
                <c:pt idx="1774">
                  <c:v>2668565.4588000001</c:v>
                </c:pt>
                <c:pt idx="1775">
                  <c:v>2668565.4588000001</c:v>
                </c:pt>
                <c:pt idx="1776">
                  <c:v>2668565.4588000001</c:v>
                </c:pt>
                <c:pt idx="1777">
                  <c:v>2668565.4588000001</c:v>
                </c:pt>
                <c:pt idx="1778">
                  <c:v>2668565.4588000001</c:v>
                </c:pt>
                <c:pt idx="1779">
                  <c:v>2668565.4588000001</c:v>
                </c:pt>
                <c:pt idx="1780">
                  <c:v>2668565.4588000001</c:v>
                </c:pt>
                <c:pt idx="1781">
                  <c:v>2668565.4588000001</c:v>
                </c:pt>
                <c:pt idx="1782">
                  <c:v>2668565.4588000001</c:v>
                </c:pt>
                <c:pt idx="1783">
                  <c:v>2668565.4588000001</c:v>
                </c:pt>
                <c:pt idx="1784">
                  <c:v>2668565.4588000001</c:v>
                </c:pt>
                <c:pt idx="1785">
                  <c:v>2668565.4588000001</c:v>
                </c:pt>
                <c:pt idx="1786">
                  <c:v>2668565.4588000001</c:v>
                </c:pt>
                <c:pt idx="1787">
                  <c:v>2668565.4588000001</c:v>
                </c:pt>
                <c:pt idx="1788">
                  <c:v>2668565.4588000001</c:v>
                </c:pt>
                <c:pt idx="1789">
                  <c:v>2668565.4588000001</c:v>
                </c:pt>
                <c:pt idx="1790">
                  <c:v>2668565.4588000001</c:v>
                </c:pt>
                <c:pt idx="1791">
                  <c:v>2668565.4588000001</c:v>
                </c:pt>
                <c:pt idx="1792">
                  <c:v>2668565.4588000001</c:v>
                </c:pt>
                <c:pt idx="1793">
                  <c:v>2668565.4588000001</c:v>
                </c:pt>
                <c:pt idx="1794">
                  <c:v>2668565.4588000001</c:v>
                </c:pt>
                <c:pt idx="1795">
                  <c:v>2668565.4588000001</c:v>
                </c:pt>
                <c:pt idx="1796">
                  <c:v>2668565.4588000001</c:v>
                </c:pt>
                <c:pt idx="1797">
                  <c:v>2668565.4588000001</c:v>
                </c:pt>
                <c:pt idx="1798">
                  <c:v>2668565.4588000001</c:v>
                </c:pt>
                <c:pt idx="1799">
                  <c:v>2668565.4588000001</c:v>
                </c:pt>
                <c:pt idx="1800">
                  <c:v>2668565.4588000001</c:v>
                </c:pt>
                <c:pt idx="1801">
                  <c:v>2668565.4588000001</c:v>
                </c:pt>
                <c:pt idx="1802">
                  <c:v>2668565.4588000001</c:v>
                </c:pt>
                <c:pt idx="1803">
                  <c:v>2668565.4588000001</c:v>
                </c:pt>
                <c:pt idx="1804">
                  <c:v>2668565.4588000001</c:v>
                </c:pt>
                <c:pt idx="1805">
                  <c:v>2668565.4588000001</c:v>
                </c:pt>
                <c:pt idx="1806">
                  <c:v>2668565.4588000001</c:v>
                </c:pt>
                <c:pt idx="1807">
                  <c:v>2668565.4588000001</c:v>
                </c:pt>
                <c:pt idx="1808">
                  <c:v>2668565.4588000001</c:v>
                </c:pt>
                <c:pt idx="1809">
                  <c:v>2668565.4588000001</c:v>
                </c:pt>
                <c:pt idx="1810">
                  <c:v>2668565.4588000001</c:v>
                </c:pt>
                <c:pt idx="1811">
                  <c:v>2668565.4588000001</c:v>
                </c:pt>
                <c:pt idx="1812">
                  <c:v>2668565.4588000001</c:v>
                </c:pt>
                <c:pt idx="1813">
                  <c:v>2668565.4588000001</c:v>
                </c:pt>
                <c:pt idx="1814">
                  <c:v>2668565.4588000001</c:v>
                </c:pt>
                <c:pt idx="1815">
                  <c:v>2668565.4588000001</c:v>
                </c:pt>
                <c:pt idx="1816">
                  <c:v>2668565.4588000001</c:v>
                </c:pt>
                <c:pt idx="1817">
                  <c:v>2668565.4588000001</c:v>
                </c:pt>
                <c:pt idx="1818">
                  <c:v>2668565.4588000001</c:v>
                </c:pt>
                <c:pt idx="1819">
                  <c:v>2668565.4588000001</c:v>
                </c:pt>
                <c:pt idx="1820">
                  <c:v>2668565.4588000001</c:v>
                </c:pt>
                <c:pt idx="1821">
                  <c:v>2668565.4588000001</c:v>
                </c:pt>
                <c:pt idx="1822">
                  <c:v>2668565.4588000001</c:v>
                </c:pt>
                <c:pt idx="1823">
                  <c:v>2668565.4588000001</c:v>
                </c:pt>
                <c:pt idx="1824">
                  <c:v>2668565.4588000001</c:v>
                </c:pt>
                <c:pt idx="1825">
                  <c:v>2668565.4588000001</c:v>
                </c:pt>
                <c:pt idx="1826">
                  <c:v>2668565.4588000001</c:v>
                </c:pt>
                <c:pt idx="1827">
                  <c:v>2668565.4588000001</c:v>
                </c:pt>
                <c:pt idx="1828">
                  <c:v>2668565.4588000001</c:v>
                </c:pt>
                <c:pt idx="1829">
                  <c:v>2668565.4588000001</c:v>
                </c:pt>
                <c:pt idx="1830">
                  <c:v>2668565.4588000001</c:v>
                </c:pt>
                <c:pt idx="1831">
                  <c:v>2668565.4588000001</c:v>
                </c:pt>
                <c:pt idx="1832">
                  <c:v>2668565.4588000001</c:v>
                </c:pt>
                <c:pt idx="1833">
                  <c:v>2668565.4588000001</c:v>
                </c:pt>
                <c:pt idx="1834">
                  <c:v>2668565.4588000001</c:v>
                </c:pt>
                <c:pt idx="1835">
                  <c:v>2668565.4588000001</c:v>
                </c:pt>
                <c:pt idx="1836">
                  <c:v>2668565.4588000001</c:v>
                </c:pt>
                <c:pt idx="1837">
                  <c:v>2668565.4588000001</c:v>
                </c:pt>
                <c:pt idx="1838">
                  <c:v>2668565.4588000001</c:v>
                </c:pt>
                <c:pt idx="1839">
                  <c:v>2668565.4588000001</c:v>
                </c:pt>
                <c:pt idx="1840">
                  <c:v>2668565.4588000001</c:v>
                </c:pt>
                <c:pt idx="1841">
                  <c:v>2668565.4588000001</c:v>
                </c:pt>
                <c:pt idx="1842">
                  <c:v>2668565.4588000001</c:v>
                </c:pt>
                <c:pt idx="1843">
                  <c:v>2668565.4588000001</c:v>
                </c:pt>
                <c:pt idx="1844">
                  <c:v>2668565.4588000001</c:v>
                </c:pt>
                <c:pt idx="1845">
                  <c:v>2668565.4588000001</c:v>
                </c:pt>
                <c:pt idx="1846">
                  <c:v>2668565.4588000001</c:v>
                </c:pt>
                <c:pt idx="1847">
                  <c:v>2668565.4588000001</c:v>
                </c:pt>
                <c:pt idx="1848">
                  <c:v>2668565.4588000001</c:v>
                </c:pt>
                <c:pt idx="1849">
                  <c:v>2668565.4588000001</c:v>
                </c:pt>
                <c:pt idx="1850">
                  <c:v>2668565.4588000001</c:v>
                </c:pt>
                <c:pt idx="1851">
                  <c:v>2668565.4588000001</c:v>
                </c:pt>
                <c:pt idx="1852">
                  <c:v>2668328.9813000001</c:v>
                </c:pt>
                <c:pt idx="1853">
                  <c:v>2664688.9813000001</c:v>
                </c:pt>
                <c:pt idx="1854">
                  <c:v>2658696.9813000001</c:v>
                </c:pt>
                <c:pt idx="1855">
                  <c:v>2659067.9813000001</c:v>
                </c:pt>
                <c:pt idx="1856">
                  <c:v>2639306.9813000001</c:v>
                </c:pt>
                <c:pt idx="1857">
                  <c:v>2642834.9813000001</c:v>
                </c:pt>
                <c:pt idx="1858">
                  <c:v>2634455.9813000001</c:v>
                </c:pt>
                <c:pt idx="1859">
                  <c:v>2619832.9813000001</c:v>
                </c:pt>
                <c:pt idx="1860">
                  <c:v>2618516.9813000001</c:v>
                </c:pt>
                <c:pt idx="1861">
                  <c:v>2618999.9813000001</c:v>
                </c:pt>
                <c:pt idx="1862">
                  <c:v>2621946.9813000001</c:v>
                </c:pt>
                <c:pt idx="1863">
                  <c:v>2633006.9813000001</c:v>
                </c:pt>
                <c:pt idx="1864">
                  <c:v>2614659.9813000001</c:v>
                </c:pt>
                <c:pt idx="1865">
                  <c:v>2623430.9813000001</c:v>
                </c:pt>
                <c:pt idx="1866">
                  <c:v>2627329.9813000001</c:v>
                </c:pt>
                <c:pt idx="1867">
                  <c:v>2643394.9813000001</c:v>
                </c:pt>
                <c:pt idx="1868">
                  <c:v>2642127.9813000001</c:v>
                </c:pt>
                <c:pt idx="1869">
                  <c:v>2641245.9813000001</c:v>
                </c:pt>
                <c:pt idx="1870">
                  <c:v>2626181.9813000001</c:v>
                </c:pt>
                <c:pt idx="1871">
                  <c:v>2587373.9813000001</c:v>
                </c:pt>
                <c:pt idx="1872">
                  <c:v>2585784.9813000001</c:v>
                </c:pt>
                <c:pt idx="1873">
                  <c:v>2570664.9813000001</c:v>
                </c:pt>
                <c:pt idx="1874">
                  <c:v>2587737.9813000001</c:v>
                </c:pt>
                <c:pt idx="1875">
                  <c:v>2583733.9813000001</c:v>
                </c:pt>
                <c:pt idx="1876">
                  <c:v>2590201.9813000001</c:v>
                </c:pt>
                <c:pt idx="1877">
                  <c:v>2607337.9813000001</c:v>
                </c:pt>
                <c:pt idx="1878">
                  <c:v>2596522.9813000001</c:v>
                </c:pt>
                <c:pt idx="1879">
                  <c:v>2557749.9813000001</c:v>
                </c:pt>
                <c:pt idx="1880">
                  <c:v>2572078.9813000001</c:v>
                </c:pt>
                <c:pt idx="1881">
                  <c:v>2565176.9813000001</c:v>
                </c:pt>
                <c:pt idx="1882">
                  <c:v>2574626.9813000001</c:v>
                </c:pt>
                <c:pt idx="1883">
                  <c:v>2580849.9813000001</c:v>
                </c:pt>
                <c:pt idx="1884">
                  <c:v>2609262.9813000001</c:v>
                </c:pt>
                <c:pt idx="1885">
                  <c:v>2618145.9813000001</c:v>
                </c:pt>
                <c:pt idx="1886">
                  <c:v>2613560.9813000001</c:v>
                </c:pt>
                <c:pt idx="1887">
                  <c:v>2615408.9813000001</c:v>
                </c:pt>
                <c:pt idx="1888">
                  <c:v>2617648.9813000001</c:v>
                </c:pt>
                <c:pt idx="1889">
                  <c:v>2598069.9813000001</c:v>
                </c:pt>
                <c:pt idx="1890">
                  <c:v>2628484.9813000001</c:v>
                </c:pt>
                <c:pt idx="1891">
                  <c:v>2624921.9813000001</c:v>
                </c:pt>
                <c:pt idx="1892">
                  <c:v>2626573.9813000001</c:v>
                </c:pt>
                <c:pt idx="1893">
                  <c:v>2632971.9813000001</c:v>
                </c:pt>
                <c:pt idx="1894">
                  <c:v>2660859.9813000001</c:v>
                </c:pt>
                <c:pt idx="1895">
                  <c:v>2660768.9813000001</c:v>
                </c:pt>
                <c:pt idx="1896">
                  <c:v>2651913.9813000001</c:v>
                </c:pt>
                <c:pt idx="1897">
                  <c:v>2645543.9813000001</c:v>
                </c:pt>
                <c:pt idx="1898">
                  <c:v>2641644.9813000001</c:v>
                </c:pt>
                <c:pt idx="1899">
                  <c:v>2638949.9813000001</c:v>
                </c:pt>
                <c:pt idx="1900">
                  <c:v>2654888.9813000001</c:v>
                </c:pt>
                <c:pt idx="1901">
                  <c:v>2636898.9813000001</c:v>
                </c:pt>
                <c:pt idx="1902">
                  <c:v>2659116.9813000001</c:v>
                </c:pt>
                <c:pt idx="1903">
                  <c:v>2651472.9813000001</c:v>
                </c:pt>
                <c:pt idx="1904">
                  <c:v>2653166.9813000001</c:v>
                </c:pt>
                <c:pt idx="1905">
                  <c:v>2663337.9813000001</c:v>
                </c:pt>
                <c:pt idx="1906">
                  <c:v>2650688.9813000001</c:v>
                </c:pt>
                <c:pt idx="1907">
                  <c:v>2676980.9813000001</c:v>
                </c:pt>
                <c:pt idx="1908">
                  <c:v>2695607.9813000001</c:v>
                </c:pt>
                <c:pt idx="1909">
                  <c:v>2704728.9813000001</c:v>
                </c:pt>
                <c:pt idx="1910">
                  <c:v>2704462.9813000001</c:v>
                </c:pt>
                <c:pt idx="1911">
                  <c:v>2704266.9813000001</c:v>
                </c:pt>
                <c:pt idx="1912">
                  <c:v>2709131.9813000001</c:v>
                </c:pt>
                <c:pt idx="1913">
                  <c:v>2695775.9813000001</c:v>
                </c:pt>
                <c:pt idx="1914">
                  <c:v>2712330.9813000001</c:v>
                </c:pt>
                <c:pt idx="1915">
                  <c:v>2731405.9813000001</c:v>
                </c:pt>
                <c:pt idx="1916">
                  <c:v>2735864.9813000001</c:v>
                </c:pt>
                <c:pt idx="1917">
                  <c:v>2745671.9813000001</c:v>
                </c:pt>
                <c:pt idx="1918">
                  <c:v>2768463.9813000001</c:v>
                </c:pt>
                <c:pt idx="1919">
                  <c:v>2778109.9813000001</c:v>
                </c:pt>
                <c:pt idx="1920">
                  <c:v>2798381.9813000001</c:v>
                </c:pt>
                <c:pt idx="1921">
                  <c:v>2780153.9813000001</c:v>
                </c:pt>
                <c:pt idx="1922">
                  <c:v>2799081.9813000001</c:v>
                </c:pt>
                <c:pt idx="1923">
                  <c:v>2773818.9813000001</c:v>
                </c:pt>
                <c:pt idx="1924">
                  <c:v>2732140.9813000001</c:v>
                </c:pt>
                <c:pt idx="1925">
                  <c:v>2724958.9813000001</c:v>
                </c:pt>
                <c:pt idx="1926">
                  <c:v>2736578.9813000001</c:v>
                </c:pt>
                <c:pt idx="1927">
                  <c:v>2732651.9813000001</c:v>
                </c:pt>
                <c:pt idx="1928">
                  <c:v>2749143.9813000001</c:v>
                </c:pt>
                <c:pt idx="1929">
                  <c:v>2689979.9813000001</c:v>
                </c:pt>
                <c:pt idx="1930">
                  <c:v>2687081.9813000001</c:v>
                </c:pt>
                <c:pt idx="1931">
                  <c:v>2668818.9813000001</c:v>
                </c:pt>
                <c:pt idx="1932">
                  <c:v>2641854.9813000001</c:v>
                </c:pt>
                <c:pt idx="1933">
                  <c:v>2645774.9813000001</c:v>
                </c:pt>
                <c:pt idx="1934">
                  <c:v>2633839.9813000001</c:v>
                </c:pt>
                <c:pt idx="1935">
                  <c:v>2619895.9813000001</c:v>
                </c:pt>
                <c:pt idx="1936">
                  <c:v>2640531.9813000001</c:v>
                </c:pt>
                <c:pt idx="1937">
                  <c:v>2638522.9813000001</c:v>
                </c:pt>
                <c:pt idx="1938">
                  <c:v>2618873.9813000001</c:v>
                </c:pt>
                <c:pt idx="1939">
                  <c:v>2629233.9813000001</c:v>
                </c:pt>
                <c:pt idx="1940">
                  <c:v>2625026.9813000001</c:v>
                </c:pt>
                <c:pt idx="1941">
                  <c:v>2614876.9813000001</c:v>
                </c:pt>
                <c:pt idx="1942">
                  <c:v>2611985.9813000001</c:v>
                </c:pt>
                <c:pt idx="1943">
                  <c:v>2620609.9813000001</c:v>
                </c:pt>
                <c:pt idx="1944">
                  <c:v>2643114.9813000001</c:v>
                </c:pt>
                <c:pt idx="1945">
                  <c:v>2661370.9813000001</c:v>
                </c:pt>
                <c:pt idx="1946">
                  <c:v>2661006.9813000001</c:v>
                </c:pt>
                <c:pt idx="1947">
                  <c:v>2646922.9813000001</c:v>
                </c:pt>
                <c:pt idx="1948">
                  <c:v>2658283.9813000001</c:v>
                </c:pt>
                <c:pt idx="1949">
                  <c:v>2654342.9813000001</c:v>
                </c:pt>
                <c:pt idx="1950">
                  <c:v>2637703.9813000001</c:v>
                </c:pt>
                <c:pt idx="1951">
                  <c:v>2625887.9813000001</c:v>
                </c:pt>
                <c:pt idx="1952">
                  <c:v>2627490.9813000001</c:v>
                </c:pt>
                <c:pt idx="1953">
                  <c:v>2627168.9813000001</c:v>
                </c:pt>
                <c:pt idx="1954">
                  <c:v>2632005.9813000001</c:v>
                </c:pt>
                <c:pt idx="1955">
                  <c:v>2641112.9813000001</c:v>
                </c:pt>
                <c:pt idx="1956">
                  <c:v>2634056.9813000001</c:v>
                </c:pt>
                <c:pt idx="1957">
                  <c:v>2651976.9813000001</c:v>
                </c:pt>
                <c:pt idx="1958">
                  <c:v>2658409.9813000001</c:v>
                </c:pt>
                <c:pt idx="1959">
                  <c:v>2658668.9813000001</c:v>
                </c:pt>
                <c:pt idx="1960">
                  <c:v>2666683.9813000001</c:v>
                </c:pt>
                <c:pt idx="1961">
                  <c:v>2675125.9813000001</c:v>
                </c:pt>
                <c:pt idx="1962">
                  <c:v>2658696.9813000001</c:v>
                </c:pt>
                <c:pt idx="1963">
                  <c:v>2664800.9813000001</c:v>
                </c:pt>
                <c:pt idx="1964">
                  <c:v>2659529.9813000001</c:v>
                </c:pt>
                <c:pt idx="1965">
                  <c:v>2671856.9813000001</c:v>
                </c:pt>
                <c:pt idx="1966">
                  <c:v>2680956.9813000001</c:v>
                </c:pt>
                <c:pt idx="1967">
                  <c:v>2692996.9813000001</c:v>
                </c:pt>
                <c:pt idx="1968">
                  <c:v>2708949.9813000001</c:v>
                </c:pt>
                <c:pt idx="1969">
                  <c:v>2708613.9813000001</c:v>
                </c:pt>
                <c:pt idx="1970">
                  <c:v>2698750.9813000001</c:v>
                </c:pt>
                <c:pt idx="1971">
                  <c:v>2712204.9813000001</c:v>
                </c:pt>
                <c:pt idx="1972">
                  <c:v>2698561.9813000001</c:v>
                </c:pt>
                <c:pt idx="1973">
                  <c:v>2733526.9813000001</c:v>
                </c:pt>
                <c:pt idx="1974">
                  <c:v>2741527.9813000001</c:v>
                </c:pt>
                <c:pt idx="1975">
                  <c:v>2746385.9813000001</c:v>
                </c:pt>
                <c:pt idx="1976">
                  <c:v>2734877.9813000001</c:v>
                </c:pt>
                <c:pt idx="1977">
                  <c:v>2735248.9813000001</c:v>
                </c:pt>
                <c:pt idx="1978">
                  <c:v>2715907.9813000001</c:v>
                </c:pt>
                <c:pt idx="1979">
                  <c:v>2720520.9813000001</c:v>
                </c:pt>
                <c:pt idx="1980">
                  <c:v>2724461.9813000001</c:v>
                </c:pt>
                <c:pt idx="1981">
                  <c:v>2708123.9813000001</c:v>
                </c:pt>
                <c:pt idx="1982">
                  <c:v>2703055.9813000001</c:v>
                </c:pt>
                <c:pt idx="1983">
                  <c:v>2716089.9813000001</c:v>
                </c:pt>
                <c:pt idx="1984">
                  <c:v>2721325.9813000001</c:v>
                </c:pt>
                <c:pt idx="1985">
                  <c:v>2717664.9813000001</c:v>
                </c:pt>
                <c:pt idx="1986">
                  <c:v>2702411.9813000001</c:v>
                </c:pt>
                <c:pt idx="1987">
                  <c:v>2703076.9813000001</c:v>
                </c:pt>
                <c:pt idx="1988">
                  <c:v>2724223.9813000001</c:v>
                </c:pt>
                <c:pt idx="1989">
                  <c:v>2723236.9813000001</c:v>
                </c:pt>
                <c:pt idx="1990">
                  <c:v>2728101.9813000001</c:v>
                </c:pt>
                <c:pt idx="1991">
                  <c:v>2740610.9813000001</c:v>
                </c:pt>
                <c:pt idx="1992">
                  <c:v>2715620.9813000001</c:v>
                </c:pt>
                <c:pt idx="1993">
                  <c:v>2718280.9813000001</c:v>
                </c:pt>
                <c:pt idx="1994">
                  <c:v>2729998.9813000001</c:v>
                </c:pt>
                <c:pt idx="1995">
                  <c:v>2718588.9813000001</c:v>
                </c:pt>
                <c:pt idx="1996">
                  <c:v>2726939.9813000001</c:v>
                </c:pt>
                <c:pt idx="1997">
                  <c:v>2746273.9813000001</c:v>
                </c:pt>
                <c:pt idx="1998">
                  <c:v>2738181.9813000001</c:v>
                </c:pt>
                <c:pt idx="1999">
                  <c:v>2732420.9813000001</c:v>
                </c:pt>
                <c:pt idx="2000">
                  <c:v>2729186.9813000001</c:v>
                </c:pt>
                <c:pt idx="2001">
                  <c:v>2709285.9813000001</c:v>
                </c:pt>
                <c:pt idx="2002">
                  <c:v>2722788.9813000001</c:v>
                </c:pt>
                <c:pt idx="2003">
                  <c:v>2756276.9813000001</c:v>
                </c:pt>
                <c:pt idx="2004">
                  <c:v>2763388.9813000001</c:v>
                </c:pt>
                <c:pt idx="2005">
                  <c:v>2765775.9813000001</c:v>
                </c:pt>
                <c:pt idx="2006">
                  <c:v>2757151.9813000001</c:v>
                </c:pt>
                <c:pt idx="2007">
                  <c:v>2765684.9813000001</c:v>
                </c:pt>
                <c:pt idx="2008">
                  <c:v>2760161.9813000001</c:v>
                </c:pt>
                <c:pt idx="2009">
                  <c:v>2763752.9813000001</c:v>
                </c:pt>
                <c:pt idx="2010">
                  <c:v>2744103.9813000001</c:v>
                </c:pt>
                <c:pt idx="2011">
                  <c:v>2739511.9813000001</c:v>
                </c:pt>
                <c:pt idx="2012">
                  <c:v>2727471.9813000001</c:v>
                </c:pt>
                <c:pt idx="2013">
                  <c:v>2715669.9813000001</c:v>
                </c:pt>
                <c:pt idx="2014">
                  <c:v>2726638.9813000001</c:v>
                </c:pt>
                <c:pt idx="2015">
                  <c:v>2730306.9813000001</c:v>
                </c:pt>
                <c:pt idx="2016">
                  <c:v>2705435.9813000001</c:v>
                </c:pt>
                <c:pt idx="2017">
                  <c:v>2712232.9813000001</c:v>
                </c:pt>
                <c:pt idx="2018">
                  <c:v>2715179.9813000001</c:v>
                </c:pt>
                <c:pt idx="2019">
                  <c:v>2716257.9813000001</c:v>
                </c:pt>
                <c:pt idx="2020">
                  <c:v>2711378.9813000001</c:v>
                </c:pt>
                <c:pt idx="2021">
                  <c:v>2702159.9813000001</c:v>
                </c:pt>
                <c:pt idx="2022">
                  <c:v>2692744.9813000001</c:v>
                </c:pt>
                <c:pt idx="2023">
                  <c:v>2686626.9813000001</c:v>
                </c:pt>
                <c:pt idx="2024">
                  <c:v>2671338.9813000001</c:v>
                </c:pt>
                <c:pt idx="2025">
                  <c:v>2654720.9813000001</c:v>
                </c:pt>
                <c:pt idx="2026">
                  <c:v>2650324.9813000001</c:v>
                </c:pt>
                <c:pt idx="2027">
                  <c:v>2639943.9813000001</c:v>
                </c:pt>
                <c:pt idx="2028">
                  <c:v>2653208.9813000001</c:v>
                </c:pt>
                <c:pt idx="2029">
                  <c:v>2673319.9813000001</c:v>
                </c:pt>
                <c:pt idx="2030">
                  <c:v>2682986.9813000001</c:v>
                </c:pt>
                <c:pt idx="2031">
                  <c:v>2703608.9813000001</c:v>
                </c:pt>
                <c:pt idx="2032">
                  <c:v>2690532.9813000001</c:v>
                </c:pt>
                <c:pt idx="2033">
                  <c:v>2682230.9813000001</c:v>
                </c:pt>
                <c:pt idx="2034">
                  <c:v>2686248.9813000001</c:v>
                </c:pt>
                <c:pt idx="2035">
                  <c:v>2691421.9813000001</c:v>
                </c:pt>
                <c:pt idx="2036">
                  <c:v>2700486.9813000001</c:v>
                </c:pt>
                <c:pt idx="2037">
                  <c:v>2700472.9813000001</c:v>
                </c:pt>
                <c:pt idx="2038">
                  <c:v>2743515.9813000001</c:v>
                </c:pt>
                <c:pt idx="2039">
                  <c:v>2739854.9813000001</c:v>
                </c:pt>
                <c:pt idx="2040">
                  <c:v>2748569.9813000001</c:v>
                </c:pt>
                <c:pt idx="2041">
                  <c:v>2751971.9813000001</c:v>
                </c:pt>
                <c:pt idx="2042">
                  <c:v>2744110.9813000001</c:v>
                </c:pt>
                <c:pt idx="2043">
                  <c:v>2731678.9813000001</c:v>
                </c:pt>
                <c:pt idx="2044">
                  <c:v>2748569.9813000001</c:v>
                </c:pt>
                <c:pt idx="2045">
                  <c:v>2777262.9813000001</c:v>
                </c:pt>
                <c:pt idx="2046">
                  <c:v>2796239.9813000001</c:v>
                </c:pt>
                <c:pt idx="2047">
                  <c:v>2806872.9813000001</c:v>
                </c:pt>
                <c:pt idx="2048">
                  <c:v>2805626.9813000001</c:v>
                </c:pt>
                <c:pt idx="2049">
                  <c:v>2811142.9813000001</c:v>
                </c:pt>
                <c:pt idx="2050">
                  <c:v>2778263.9813000001</c:v>
                </c:pt>
                <c:pt idx="2051">
                  <c:v>2773706.9813000001</c:v>
                </c:pt>
                <c:pt idx="2052">
                  <c:v>2766685.9813000001</c:v>
                </c:pt>
                <c:pt idx="2053">
                  <c:v>2791122.9813000001</c:v>
                </c:pt>
                <c:pt idx="2054">
                  <c:v>2786096.9813000001</c:v>
                </c:pt>
                <c:pt idx="2055">
                  <c:v>2815125.9813000001</c:v>
                </c:pt>
                <c:pt idx="2056">
                  <c:v>2816791.9813000001</c:v>
                </c:pt>
                <c:pt idx="2057">
                  <c:v>2839569.9813000001</c:v>
                </c:pt>
                <c:pt idx="2058">
                  <c:v>2871216.9813000001</c:v>
                </c:pt>
                <c:pt idx="2059">
                  <c:v>2875857.9813000001</c:v>
                </c:pt>
                <c:pt idx="2060">
                  <c:v>2855872.9813000001</c:v>
                </c:pt>
                <c:pt idx="2061">
                  <c:v>2871734.9813000001</c:v>
                </c:pt>
                <c:pt idx="2062">
                  <c:v>2870313.9813000001</c:v>
                </c:pt>
                <c:pt idx="2063">
                  <c:v>2859148.9813000001</c:v>
                </c:pt>
                <c:pt idx="2064">
                  <c:v>2837539.9813000001</c:v>
                </c:pt>
                <c:pt idx="2065">
                  <c:v>2865329.9813000001</c:v>
                </c:pt>
                <c:pt idx="2066">
                  <c:v>2865623.9813000001</c:v>
                </c:pt>
                <c:pt idx="2067">
                  <c:v>2862704.9813000001</c:v>
                </c:pt>
                <c:pt idx="2068">
                  <c:v>2861136.9813000001</c:v>
                </c:pt>
                <c:pt idx="2069">
                  <c:v>2873120.9813000001</c:v>
                </c:pt>
                <c:pt idx="2070">
                  <c:v>2864727.9813000001</c:v>
                </c:pt>
                <c:pt idx="2071">
                  <c:v>2884397.9813000001</c:v>
                </c:pt>
                <c:pt idx="2072">
                  <c:v>2895716.9813000001</c:v>
                </c:pt>
                <c:pt idx="2073">
                  <c:v>2868045.9813000001</c:v>
                </c:pt>
                <c:pt idx="2074">
                  <c:v>2870579.9813000001</c:v>
                </c:pt>
                <c:pt idx="2075">
                  <c:v>2914378.9813000001</c:v>
                </c:pt>
                <c:pt idx="2076">
                  <c:v>2927069.9813000001</c:v>
                </c:pt>
                <c:pt idx="2077">
                  <c:v>2913573.9813000001</c:v>
                </c:pt>
                <c:pt idx="2078">
                  <c:v>2923982.9813000001</c:v>
                </c:pt>
                <c:pt idx="2079">
                  <c:v>2907245.9813000001</c:v>
                </c:pt>
                <c:pt idx="2080">
                  <c:v>2897326.9813000001</c:v>
                </c:pt>
                <c:pt idx="2081">
                  <c:v>2902086.9813000001</c:v>
                </c:pt>
                <c:pt idx="2082">
                  <c:v>2908876.9813000001</c:v>
                </c:pt>
                <c:pt idx="2083">
                  <c:v>2920062.9813000001</c:v>
                </c:pt>
                <c:pt idx="2084">
                  <c:v>2942819.9813000001</c:v>
                </c:pt>
                <c:pt idx="2085">
                  <c:v>2936148.9813000001</c:v>
                </c:pt>
                <c:pt idx="2086">
                  <c:v>2913034.9813000001</c:v>
                </c:pt>
                <c:pt idx="2087">
                  <c:v>2898859.9813000001</c:v>
                </c:pt>
                <c:pt idx="2088">
                  <c:v>2912306.9813000001</c:v>
                </c:pt>
                <c:pt idx="2089">
                  <c:v>2916100.9813000001</c:v>
                </c:pt>
                <c:pt idx="2090">
                  <c:v>2915281.9813000001</c:v>
                </c:pt>
                <c:pt idx="2091">
                  <c:v>2904697.9813000001</c:v>
                </c:pt>
                <c:pt idx="2092">
                  <c:v>2856698.9813000001</c:v>
                </c:pt>
                <c:pt idx="2093">
                  <c:v>2889829.9813000001</c:v>
                </c:pt>
                <c:pt idx="2094">
                  <c:v>2897795.9813000001</c:v>
                </c:pt>
                <c:pt idx="2095">
                  <c:v>2894547.9813000001</c:v>
                </c:pt>
                <c:pt idx="2096">
                  <c:v>2908449.9813000001</c:v>
                </c:pt>
                <c:pt idx="2097">
                  <c:v>2910822.9813000001</c:v>
                </c:pt>
                <c:pt idx="2098">
                  <c:v>2922246.9813000001</c:v>
                </c:pt>
                <c:pt idx="2099">
                  <c:v>2930163.9813000001</c:v>
                </c:pt>
                <c:pt idx="2100">
                  <c:v>2932816.9813000001</c:v>
                </c:pt>
                <c:pt idx="2101">
                  <c:v>2917808.9813000001</c:v>
                </c:pt>
                <c:pt idx="2102">
                  <c:v>2960578.9813000001</c:v>
                </c:pt>
                <c:pt idx="2103">
                  <c:v>2993450.9813000001</c:v>
                </c:pt>
                <c:pt idx="2104">
                  <c:v>2987731.9813000001</c:v>
                </c:pt>
                <c:pt idx="2105">
                  <c:v>2987563.9813000001</c:v>
                </c:pt>
                <c:pt idx="2106">
                  <c:v>2979016.9813000001</c:v>
                </c:pt>
                <c:pt idx="2107">
                  <c:v>2984931.9813000001</c:v>
                </c:pt>
                <c:pt idx="2108">
                  <c:v>2995487.9813000001</c:v>
                </c:pt>
                <c:pt idx="2109">
                  <c:v>3003488.9813000001</c:v>
                </c:pt>
                <c:pt idx="2110">
                  <c:v>2998168.9813000001</c:v>
                </c:pt>
                <c:pt idx="2111">
                  <c:v>2984462.9813000001</c:v>
                </c:pt>
                <c:pt idx="2112">
                  <c:v>2981746.9813000001</c:v>
                </c:pt>
                <c:pt idx="2113">
                  <c:v>2981508.9813000001</c:v>
                </c:pt>
                <c:pt idx="2114">
                  <c:v>2990104.9813000001</c:v>
                </c:pt>
                <c:pt idx="2115">
                  <c:v>2993380.9813000001</c:v>
                </c:pt>
                <c:pt idx="2116">
                  <c:v>2984525.9813000001</c:v>
                </c:pt>
                <c:pt idx="2117">
                  <c:v>2985463.9813000001</c:v>
                </c:pt>
                <c:pt idx="2118">
                  <c:v>2993751.9813000001</c:v>
                </c:pt>
                <c:pt idx="2119">
                  <c:v>2986037.9813000001</c:v>
                </c:pt>
                <c:pt idx="2120">
                  <c:v>2993261.9813000001</c:v>
                </c:pt>
                <c:pt idx="2121">
                  <c:v>2990027.9813000001</c:v>
                </c:pt>
                <c:pt idx="2122">
                  <c:v>2989964.9813000001</c:v>
                </c:pt>
                <c:pt idx="2123">
                  <c:v>2976006.9813000001</c:v>
                </c:pt>
                <c:pt idx="2124">
                  <c:v>2978099.9813000001</c:v>
                </c:pt>
                <c:pt idx="2125">
                  <c:v>2978393.9813000001</c:v>
                </c:pt>
                <c:pt idx="2126">
                  <c:v>2979331.9813000001</c:v>
                </c:pt>
                <c:pt idx="2127">
                  <c:v>2989103.9813000001</c:v>
                </c:pt>
                <c:pt idx="2128">
                  <c:v>3021100.9813000001</c:v>
                </c:pt>
                <c:pt idx="2129">
                  <c:v>3026455.9813000001</c:v>
                </c:pt>
                <c:pt idx="2130">
                  <c:v>3035436.9813000001</c:v>
                </c:pt>
                <c:pt idx="2131">
                  <c:v>3042618.9813000001</c:v>
                </c:pt>
                <c:pt idx="2132">
                  <c:v>3048253.9813000001</c:v>
                </c:pt>
                <c:pt idx="2133">
                  <c:v>3042968.9813000001</c:v>
                </c:pt>
                <c:pt idx="2134">
                  <c:v>3042702.9813000001</c:v>
                </c:pt>
                <c:pt idx="2135">
                  <c:v>3064465.9813000001</c:v>
                </c:pt>
                <c:pt idx="2136">
                  <c:v>3055428.9813000001</c:v>
                </c:pt>
                <c:pt idx="2137">
                  <c:v>3052348.9813000001</c:v>
                </c:pt>
                <c:pt idx="2138">
                  <c:v>3055113.9813000001</c:v>
                </c:pt>
                <c:pt idx="2139">
                  <c:v>3075133.9813000001</c:v>
                </c:pt>
                <c:pt idx="2140">
                  <c:v>3087418.9813000001</c:v>
                </c:pt>
                <c:pt idx="2141">
                  <c:v>3099059.9813000001</c:v>
                </c:pt>
                <c:pt idx="2142">
                  <c:v>3118932.9813000001</c:v>
                </c:pt>
                <c:pt idx="2143">
                  <c:v>3110357.9813000001</c:v>
                </c:pt>
                <c:pt idx="2144">
                  <c:v>3108257.9813000001</c:v>
                </c:pt>
                <c:pt idx="2145">
                  <c:v>3101187.9813000001</c:v>
                </c:pt>
                <c:pt idx="2146">
                  <c:v>3101544.9813000001</c:v>
                </c:pt>
                <c:pt idx="2147">
                  <c:v>3098443.9813000001</c:v>
                </c:pt>
                <c:pt idx="2148">
                  <c:v>3118176.9813000001</c:v>
                </c:pt>
                <c:pt idx="2149">
                  <c:v>3141528.9813000001</c:v>
                </c:pt>
                <c:pt idx="2150">
                  <c:v>3137160.9813000001</c:v>
                </c:pt>
                <c:pt idx="2151">
                  <c:v>3156683.9813000001</c:v>
                </c:pt>
                <c:pt idx="2152">
                  <c:v>3181890.9813000001</c:v>
                </c:pt>
                <c:pt idx="2153">
                  <c:v>3193202.9813000001</c:v>
                </c:pt>
                <c:pt idx="2154">
                  <c:v>3173098.981300001</c:v>
                </c:pt>
                <c:pt idx="2155">
                  <c:v>3155122.9813000001</c:v>
                </c:pt>
                <c:pt idx="2156">
                  <c:v>3177060.9813000001</c:v>
                </c:pt>
                <c:pt idx="2157">
                  <c:v>3188148.981300001</c:v>
                </c:pt>
                <c:pt idx="2158">
                  <c:v>3204234.9813000001</c:v>
                </c:pt>
                <c:pt idx="2159">
                  <c:v>3255943.9813000001</c:v>
                </c:pt>
                <c:pt idx="2160">
                  <c:v>3262852.9813000001</c:v>
                </c:pt>
                <c:pt idx="2161">
                  <c:v>3175233.9813000001</c:v>
                </c:pt>
                <c:pt idx="2162">
                  <c:v>3176493.9813000001</c:v>
                </c:pt>
                <c:pt idx="2163">
                  <c:v>3138518.9813000001</c:v>
                </c:pt>
                <c:pt idx="2164">
                  <c:v>3142627.9813000001</c:v>
                </c:pt>
                <c:pt idx="2165">
                  <c:v>3141178.9813000001</c:v>
                </c:pt>
                <c:pt idx="2166">
                  <c:v>3107823.9813000001</c:v>
                </c:pt>
                <c:pt idx="2167">
                  <c:v>3102251.9813000001</c:v>
                </c:pt>
                <c:pt idx="2168">
                  <c:v>3116755.9813000001</c:v>
                </c:pt>
                <c:pt idx="2169">
                  <c:v>3131672.9813000001</c:v>
                </c:pt>
                <c:pt idx="2170">
                  <c:v>3114627.9813000001</c:v>
                </c:pt>
                <c:pt idx="2171">
                  <c:v>3083295.9813000001</c:v>
                </c:pt>
                <c:pt idx="2172">
                  <c:v>3105919.9813000001</c:v>
                </c:pt>
                <c:pt idx="2173">
                  <c:v>3152203.9813000001</c:v>
                </c:pt>
                <c:pt idx="2174">
                  <c:v>3114767.9813000001</c:v>
                </c:pt>
                <c:pt idx="2175">
                  <c:v>3138616.9813000001</c:v>
                </c:pt>
                <c:pt idx="2176">
                  <c:v>3121858.9813000001</c:v>
                </c:pt>
                <c:pt idx="2177">
                  <c:v>3090155.9813000001</c:v>
                </c:pt>
                <c:pt idx="2178">
                  <c:v>3093256.9813000001</c:v>
                </c:pt>
                <c:pt idx="2179">
                  <c:v>3128284.9813000001</c:v>
                </c:pt>
                <c:pt idx="2180">
                  <c:v>3124896.9813000001</c:v>
                </c:pt>
                <c:pt idx="2181">
                  <c:v>3151048.9813000001</c:v>
                </c:pt>
                <c:pt idx="2182">
                  <c:v>3141773.9813000001</c:v>
                </c:pt>
                <c:pt idx="2183">
                  <c:v>3132631.9813000001</c:v>
                </c:pt>
                <c:pt idx="2184">
                  <c:v>3141087.9813000001</c:v>
                </c:pt>
                <c:pt idx="2185">
                  <c:v>3097400.9813000001</c:v>
                </c:pt>
                <c:pt idx="2186">
                  <c:v>3116783.9813000001</c:v>
                </c:pt>
                <c:pt idx="2187">
                  <c:v>3125148.9813000001</c:v>
                </c:pt>
                <c:pt idx="2188">
                  <c:v>3164733.9813000001</c:v>
                </c:pt>
                <c:pt idx="2189">
                  <c:v>3181526.9813000001</c:v>
                </c:pt>
                <c:pt idx="2190">
                  <c:v>3193720.981300001</c:v>
                </c:pt>
                <c:pt idx="2191">
                  <c:v>3200678.9813000001</c:v>
                </c:pt>
                <c:pt idx="2192">
                  <c:v>3215665.9813000001</c:v>
                </c:pt>
                <c:pt idx="2193">
                  <c:v>3236063.9813000001</c:v>
                </c:pt>
                <c:pt idx="2194">
                  <c:v>3249020.981300001</c:v>
                </c:pt>
                <c:pt idx="2195">
                  <c:v>3247466.9813000001</c:v>
                </c:pt>
                <c:pt idx="2196">
                  <c:v>3261053.9813000001</c:v>
                </c:pt>
                <c:pt idx="2197">
                  <c:v>3261221.9813000001</c:v>
                </c:pt>
                <c:pt idx="2198">
                  <c:v>3284482.9813000001</c:v>
                </c:pt>
                <c:pt idx="2199">
                  <c:v>3277237.9813000001</c:v>
                </c:pt>
                <c:pt idx="2200">
                  <c:v>3293547.9813000001</c:v>
                </c:pt>
                <c:pt idx="2201">
                  <c:v>3303333.9813000001</c:v>
                </c:pt>
                <c:pt idx="2202">
                  <c:v>3339173.981300001</c:v>
                </c:pt>
                <c:pt idx="2203">
                  <c:v>3371380.9813000001</c:v>
                </c:pt>
                <c:pt idx="2204">
                  <c:v>3376476.9813000001</c:v>
                </c:pt>
                <c:pt idx="2205">
                  <c:v>3359109.9813000001</c:v>
                </c:pt>
                <c:pt idx="2206">
                  <c:v>3370463.9813000001</c:v>
                </c:pt>
                <c:pt idx="2207">
                  <c:v>3314967.981300001</c:v>
                </c:pt>
                <c:pt idx="2208">
                  <c:v>3282823.981300001</c:v>
                </c:pt>
                <c:pt idx="2209">
                  <c:v>3296683.9813000001</c:v>
                </c:pt>
                <c:pt idx="2210">
                  <c:v>3275683.9813000001</c:v>
                </c:pt>
                <c:pt idx="2211">
                  <c:v>3293414.9813000001</c:v>
                </c:pt>
                <c:pt idx="2212">
                  <c:v>3295458.9813000001</c:v>
                </c:pt>
                <c:pt idx="2213">
                  <c:v>3207776.9813000001</c:v>
                </c:pt>
                <c:pt idx="2214">
                  <c:v>3138903.9813000001</c:v>
                </c:pt>
                <c:pt idx="2215">
                  <c:v>3111988.9813000001</c:v>
                </c:pt>
                <c:pt idx="2216">
                  <c:v>2992008.9813000001</c:v>
                </c:pt>
                <c:pt idx="2217">
                  <c:v>3026623.9813000001</c:v>
                </c:pt>
                <c:pt idx="2218">
                  <c:v>3058494.9813000001</c:v>
                </c:pt>
                <c:pt idx="2219">
                  <c:v>3080425.9813000001</c:v>
                </c:pt>
                <c:pt idx="2220">
                  <c:v>3140464.9813000001</c:v>
                </c:pt>
                <c:pt idx="2221">
                  <c:v>3153316.9813000001</c:v>
                </c:pt>
                <c:pt idx="2222">
                  <c:v>3186447.9813000001</c:v>
                </c:pt>
                <c:pt idx="2223">
                  <c:v>3144839.9813000001</c:v>
                </c:pt>
                <c:pt idx="2224">
                  <c:v>3120101.9813000001</c:v>
                </c:pt>
                <c:pt idx="2225">
                  <c:v>3137916.9813000001</c:v>
                </c:pt>
                <c:pt idx="2226">
                  <c:v>3115075.9813000001</c:v>
                </c:pt>
                <c:pt idx="2227">
                  <c:v>3116223.9813000001</c:v>
                </c:pt>
                <c:pt idx="2228">
                  <c:v>3150145.9813000001</c:v>
                </c:pt>
                <c:pt idx="2229">
                  <c:v>3129208.9813000001</c:v>
                </c:pt>
                <c:pt idx="2230">
                  <c:v>3157873.9813000001</c:v>
                </c:pt>
                <c:pt idx="2231">
                  <c:v>3179762.9813000001</c:v>
                </c:pt>
                <c:pt idx="2232">
                  <c:v>3192922.9813000001</c:v>
                </c:pt>
                <c:pt idx="2233">
                  <c:v>3167428.9813000001</c:v>
                </c:pt>
                <c:pt idx="2234">
                  <c:v>3154891.9813000001</c:v>
                </c:pt>
                <c:pt idx="2235">
                  <c:v>3170865.9813000001</c:v>
                </c:pt>
                <c:pt idx="2236">
                  <c:v>3143047.9813000001</c:v>
                </c:pt>
                <c:pt idx="2237">
                  <c:v>3155528.9813000001</c:v>
                </c:pt>
                <c:pt idx="2238">
                  <c:v>3157943.9813000001</c:v>
                </c:pt>
                <c:pt idx="2239">
                  <c:v>3146288.9813000001</c:v>
                </c:pt>
                <c:pt idx="2240">
                  <c:v>3117798.9813000001</c:v>
                </c:pt>
                <c:pt idx="2241">
                  <c:v>3037011.9813000001</c:v>
                </c:pt>
                <c:pt idx="2242">
                  <c:v>3019476.9813000001</c:v>
                </c:pt>
                <c:pt idx="2243">
                  <c:v>3042842.9813000001</c:v>
                </c:pt>
                <c:pt idx="2244">
                  <c:v>2993457.9813000001</c:v>
                </c:pt>
                <c:pt idx="2245">
                  <c:v>3029388.9813000001</c:v>
                </c:pt>
                <c:pt idx="2246">
                  <c:v>3032503.9813000001</c:v>
                </c:pt>
                <c:pt idx="2247">
                  <c:v>3024397.9813000001</c:v>
                </c:pt>
                <c:pt idx="2248">
                  <c:v>3007289.9813000001</c:v>
                </c:pt>
                <c:pt idx="2249">
                  <c:v>3001955.9813000001</c:v>
                </c:pt>
                <c:pt idx="2250">
                  <c:v>3000604.9813000001</c:v>
                </c:pt>
                <c:pt idx="2251">
                  <c:v>3052572.9813000001</c:v>
                </c:pt>
                <c:pt idx="2252">
                  <c:v>3060391.9813000001</c:v>
                </c:pt>
                <c:pt idx="2253">
                  <c:v>3032601.9813000001</c:v>
                </c:pt>
                <c:pt idx="2254">
                  <c:v>3013351.9813000001</c:v>
                </c:pt>
                <c:pt idx="2255">
                  <c:v>2969755.9813000001</c:v>
                </c:pt>
                <c:pt idx="2256">
                  <c:v>2927601.9813000001</c:v>
                </c:pt>
                <c:pt idx="2257">
                  <c:v>2939949.9813000001</c:v>
                </c:pt>
                <c:pt idx="2258">
                  <c:v>2971841.9813000001</c:v>
                </c:pt>
                <c:pt idx="2259">
                  <c:v>2936148.9813000001</c:v>
                </c:pt>
                <c:pt idx="2260">
                  <c:v>2939984.9813000001</c:v>
                </c:pt>
                <c:pt idx="2261">
                  <c:v>2993996.9813000001</c:v>
                </c:pt>
                <c:pt idx="2262">
                  <c:v>2983643.9813000001</c:v>
                </c:pt>
                <c:pt idx="2263">
                  <c:v>2932396.9813000001</c:v>
                </c:pt>
                <c:pt idx="2264">
                  <c:v>2933369.9813000001</c:v>
                </c:pt>
                <c:pt idx="2265">
                  <c:v>2938108.9813000001</c:v>
                </c:pt>
                <c:pt idx="2266">
                  <c:v>2958653.9813000001</c:v>
                </c:pt>
                <c:pt idx="2267">
                  <c:v>2945773.9813000001</c:v>
                </c:pt>
                <c:pt idx="2268">
                  <c:v>2987486.9813000001</c:v>
                </c:pt>
                <c:pt idx="2269">
                  <c:v>3018629.9813000001</c:v>
                </c:pt>
                <c:pt idx="2270">
                  <c:v>3013687.9813000001</c:v>
                </c:pt>
                <c:pt idx="2271">
                  <c:v>3028695.9813000001</c:v>
                </c:pt>
                <c:pt idx="2272">
                  <c:v>3014541.9813000001</c:v>
                </c:pt>
                <c:pt idx="2273">
                  <c:v>3040056.9813000001</c:v>
                </c:pt>
                <c:pt idx="2274">
                  <c:v>3050423.9813000001</c:v>
                </c:pt>
                <c:pt idx="2275">
                  <c:v>3028541.9813000001</c:v>
                </c:pt>
                <c:pt idx="2276">
                  <c:v>3008388.9813000001</c:v>
                </c:pt>
                <c:pt idx="2277">
                  <c:v>3035695.9813000001</c:v>
                </c:pt>
                <c:pt idx="2278">
                  <c:v>3048421.9813000001</c:v>
                </c:pt>
                <c:pt idx="2279">
                  <c:v>3037900.9813000001</c:v>
                </c:pt>
                <c:pt idx="2280">
                  <c:v>3001759.9813000001</c:v>
                </c:pt>
                <c:pt idx="2281">
                  <c:v>2982607.9813000001</c:v>
                </c:pt>
                <c:pt idx="2282">
                  <c:v>2975103.9813000001</c:v>
                </c:pt>
                <c:pt idx="2283">
                  <c:v>2986835.9813000001</c:v>
                </c:pt>
                <c:pt idx="2284">
                  <c:v>2966360.9813000001</c:v>
                </c:pt>
                <c:pt idx="2285">
                  <c:v>2909912.9813000001</c:v>
                </c:pt>
                <c:pt idx="2286">
                  <c:v>2965219.9813000001</c:v>
                </c:pt>
                <c:pt idx="2287">
                  <c:v>2942966.9813000001</c:v>
                </c:pt>
                <c:pt idx="2288">
                  <c:v>2968859.9813000001</c:v>
                </c:pt>
                <c:pt idx="2289">
                  <c:v>2995277.9813000001</c:v>
                </c:pt>
                <c:pt idx="2290">
                  <c:v>2989698.9813000001</c:v>
                </c:pt>
                <c:pt idx="2291">
                  <c:v>2985260.9813000001</c:v>
                </c:pt>
                <c:pt idx="2292">
                  <c:v>2949287.9813000001</c:v>
                </c:pt>
                <c:pt idx="2293">
                  <c:v>2949539.9813000001</c:v>
                </c:pt>
                <c:pt idx="2294">
                  <c:v>2981718.9813000001</c:v>
                </c:pt>
                <c:pt idx="2295">
                  <c:v>2955391.9813000001</c:v>
                </c:pt>
                <c:pt idx="2296">
                  <c:v>2944912.9813000001</c:v>
                </c:pt>
                <c:pt idx="2297">
                  <c:v>2930954.9813000001</c:v>
                </c:pt>
                <c:pt idx="2298">
                  <c:v>2838337.9813000001</c:v>
                </c:pt>
                <c:pt idx="2299">
                  <c:v>2848107.5005000001</c:v>
                </c:pt>
                <c:pt idx="2300">
                  <c:v>2848107.5005000001</c:v>
                </c:pt>
                <c:pt idx="2301">
                  <c:v>2848107.5005000001</c:v>
                </c:pt>
                <c:pt idx="2302">
                  <c:v>2848107.5005000001</c:v>
                </c:pt>
                <c:pt idx="2303">
                  <c:v>2848107.5005000001</c:v>
                </c:pt>
                <c:pt idx="2304">
                  <c:v>2848107.5005000001</c:v>
                </c:pt>
                <c:pt idx="2305">
                  <c:v>2848107.5005000001</c:v>
                </c:pt>
                <c:pt idx="2306">
                  <c:v>2848107.5005000001</c:v>
                </c:pt>
                <c:pt idx="2307">
                  <c:v>2848107.5005000001</c:v>
                </c:pt>
                <c:pt idx="2308">
                  <c:v>2848107.5005000001</c:v>
                </c:pt>
                <c:pt idx="2309">
                  <c:v>2848107.5005000001</c:v>
                </c:pt>
                <c:pt idx="2310">
                  <c:v>2848107.5005000001</c:v>
                </c:pt>
                <c:pt idx="2311">
                  <c:v>2848107.5005000001</c:v>
                </c:pt>
                <c:pt idx="2312">
                  <c:v>2848107.5005000001</c:v>
                </c:pt>
                <c:pt idx="2313">
                  <c:v>2848107.5005000001</c:v>
                </c:pt>
                <c:pt idx="2314">
                  <c:v>2848107.5005000001</c:v>
                </c:pt>
                <c:pt idx="2315">
                  <c:v>2848107.5005000001</c:v>
                </c:pt>
                <c:pt idx="2316">
                  <c:v>2848107.5005000001</c:v>
                </c:pt>
                <c:pt idx="2317">
                  <c:v>2848107.5005000001</c:v>
                </c:pt>
                <c:pt idx="2318">
                  <c:v>2848107.5005000001</c:v>
                </c:pt>
                <c:pt idx="2319">
                  <c:v>2848107.5005000001</c:v>
                </c:pt>
                <c:pt idx="2320">
                  <c:v>2848107.5005000001</c:v>
                </c:pt>
                <c:pt idx="2321">
                  <c:v>2848107.5005000001</c:v>
                </c:pt>
                <c:pt idx="2322">
                  <c:v>2848107.5005000001</c:v>
                </c:pt>
                <c:pt idx="2323">
                  <c:v>2848107.5005000001</c:v>
                </c:pt>
                <c:pt idx="2324">
                  <c:v>2848107.5005000001</c:v>
                </c:pt>
                <c:pt idx="2325">
                  <c:v>2848107.5005000001</c:v>
                </c:pt>
                <c:pt idx="2326">
                  <c:v>2848107.5005000001</c:v>
                </c:pt>
                <c:pt idx="2327">
                  <c:v>2848107.5005000001</c:v>
                </c:pt>
                <c:pt idx="2328">
                  <c:v>2848107.5005000001</c:v>
                </c:pt>
                <c:pt idx="2329">
                  <c:v>2848107.5005000001</c:v>
                </c:pt>
                <c:pt idx="2330">
                  <c:v>2848107.5005000001</c:v>
                </c:pt>
                <c:pt idx="2331">
                  <c:v>2848107.5005000001</c:v>
                </c:pt>
                <c:pt idx="2332">
                  <c:v>2848107.5005000001</c:v>
                </c:pt>
                <c:pt idx="2333">
                  <c:v>2848107.5005000001</c:v>
                </c:pt>
                <c:pt idx="2334">
                  <c:v>2848107.5005000001</c:v>
                </c:pt>
                <c:pt idx="2335">
                  <c:v>2848107.5005000001</c:v>
                </c:pt>
                <c:pt idx="2336">
                  <c:v>2848107.5005000001</c:v>
                </c:pt>
                <c:pt idx="2337">
                  <c:v>2848107.5005000001</c:v>
                </c:pt>
                <c:pt idx="2338">
                  <c:v>2848107.5005000001</c:v>
                </c:pt>
                <c:pt idx="2339">
                  <c:v>2848107.5005000001</c:v>
                </c:pt>
                <c:pt idx="2340">
                  <c:v>2848107.5005000001</c:v>
                </c:pt>
                <c:pt idx="2341">
                  <c:v>2848107.5005000001</c:v>
                </c:pt>
                <c:pt idx="2342">
                  <c:v>2848107.5005000001</c:v>
                </c:pt>
                <c:pt idx="2343">
                  <c:v>2848107.5005000001</c:v>
                </c:pt>
                <c:pt idx="2344">
                  <c:v>2848107.5005000001</c:v>
                </c:pt>
                <c:pt idx="2345">
                  <c:v>2848107.5005000001</c:v>
                </c:pt>
                <c:pt idx="2346">
                  <c:v>2848107.5005000001</c:v>
                </c:pt>
                <c:pt idx="2347">
                  <c:v>2848107.5005000001</c:v>
                </c:pt>
                <c:pt idx="2348">
                  <c:v>2848107.5005000001</c:v>
                </c:pt>
                <c:pt idx="2349">
                  <c:v>2848107.5005000001</c:v>
                </c:pt>
                <c:pt idx="2350">
                  <c:v>2848107.5005000001</c:v>
                </c:pt>
                <c:pt idx="2351">
                  <c:v>2848107.5005000001</c:v>
                </c:pt>
                <c:pt idx="2352">
                  <c:v>2848107.5005000001</c:v>
                </c:pt>
                <c:pt idx="2353">
                  <c:v>2848107.5005000001</c:v>
                </c:pt>
                <c:pt idx="2354">
                  <c:v>2848107.5005000001</c:v>
                </c:pt>
                <c:pt idx="2355">
                  <c:v>2848107.5005000001</c:v>
                </c:pt>
                <c:pt idx="2356">
                  <c:v>2848107.5005000001</c:v>
                </c:pt>
                <c:pt idx="2357">
                  <c:v>2848107.5005000001</c:v>
                </c:pt>
                <c:pt idx="2358">
                  <c:v>2848107.5005000001</c:v>
                </c:pt>
                <c:pt idx="2359">
                  <c:v>2848107.5005000001</c:v>
                </c:pt>
                <c:pt idx="2360">
                  <c:v>2848107.5005000001</c:v>
                </c:pt>
                <c:pt idx="2361">
                  <c:v>2848107.5005000001</c:v>
                </c:pt>
                <c:pt idx="2362">
                  <c:v>2848107.5005000001</c:v>
                </c:pt>
                <c:pt idx="2363">
                  <c:v>2848107.5005000001</c:v>
                </c:pt>
                <c:pt idx="2364">
                  <c:v>2848107.5005000001</c:v>
                </c:pt>
                <c:pt idx="2365">
                  <c:v>2848107.5005000001</c:v>
                </c:pt>
                <c:pt idx="2366">
                  <c:v>2848107.5005000001</c:v>
                </c:pt>
                <c:pt idx="2367">
                  <c:v>2848107.5005000001</c:v>
                </c:pt>
                <c:pt idx="2368">
                  <c:v>2848107.5005000001</c:v>
                </c:pt>
                <c:pt idx="2369">
                  <c:v>2848107.5005000001</c:v>
                </c:pt>
                <c:pt idx="2370">
                  <c:v>2848107.5005000001</c:v>
                </c:pt>
                <c:pt idx="2371">
                  <c:v>2848107.5005000001</c:v>
                </c:pt>
                <c:pt idx="2372">
                  <c:v>2848107.5005000001</c:v>
                </c:pt>
                <c:pt idx="2373">
                  <c:v>2848107.5005000001</c:v>
                </c:pt>
                <c:pt idx="2374">
                  <c:v>2848107.5005000001</c:v>
                </c:pt>
                <c:pt idx="2375">
                  <c:v>2848107.5005000001</c:v>
                </c:pt>
                <c:pt idx="2376">
                  <c:v>2848107.5005000001</c:v>
                </c:pt>
                <c:pt idx="2377">
                  <c:v>2848107.5005000001</c:v>
                </c:pt>
                <c:pt idx="2378">
                  <c:v>2848107.5005000001</c:v>
                </c:pt>
                <c:pt idx="2379">
                  <c:v>2848107.5005000001</c:v>
                </c:pt>
                <c:pt idx="2380">
                  <c:v>2848107.5005000001</c:v>
                </c:pt>
                <c:pt idx="2381">
                  <c:v>2848107.5005000001</c:v>
                </c:pt>
                <c:pt idx="2382">
                  <c:v>2848107.5005000001</c:v>
                </c:pt>
                <c:pt idx="2383">
                  <c:v>2848107.5005000001</c:v>
                </c:pt>
                <c:pt idx="2384">
                  <c:v>2848107.5005000001</c:v>
                </c:pt>
                <c:pt idx="2385">
                  <c:v>2848107.5005000001</c:v>
                </c:pt>
                <c:pt idx="2386">
                  <c:v>2848107.5005000001</c:v>
                </c:pt>
                <c:pt idx="2387">
                  <c:v>2848107.5005000001</c:v>
                </c:pt>
                <c:pt idx="2388">
                  <c:v>2848107.5005000001</c:v>
                </c:pt>
                <c:pt idx="2389">
                  <c:v>2848107.5005000001</c:v>
                </c:pt>
                <c:pt idx="2390">
                  <c:v>2848107.5005000001</c:v>
                </c:pt>
                <c:pt idx="2391">
                  <c:v>2848107.5005000001</c:v>
                </c:pt>
                <c:pt idx="2392">
                  <c:v>2848107.5005000001</c:v>
                </c:pt>
                <c:pt idx="2393">
                  <c:v>2848107.5005000001</c:v>
                </c:pt>
                <c:pt idx="2394">
                  <c:v>2848107.5005000001</c:v>
                </c:pt>
                <c:pt idx="2395">
                  <c:v>2848107.5005000001</c:v>
                </c:pt>
                <c:pt idx="2396">
                  <c:v>2848107.5005000001</c:v>
                </c:pt>
                <c:pt idx="2397">
                  <c:v>2848107.5005000001</c:v>
                </c:pt>
                <c:pt idx="2398">
                  <c:v>2848107.5005000001</c:v>
                </c:pt>
                <c:pt idx="2399">
                  <c:v>2848107.5005000001</c:v>
                </c:pt>
                <c:pt idx="2400">
                  <c:v>2848107.5005000001</c:v>
                </c:pt>
                <c:pt idx="2401">
                  <c:v>2848107.5005000001</c:v>
                </c:pt>
                <c:pt idx="2402">
                  <c:v>2848107.5005000001</c:v>
                </c:pt>
                <c:pt idx="2403">
                  <c:v>2848107.5005000001</c:v>
                </c:pt>
                <c:pt idx="2404">
                  <c:v>2848107.5005000001</c:v>
                </c:pt>
                <c:pt idx="2405">
                  <c:v>2848107.5005000001</c:v>
                </c:pt>
                <c:pt idx="2406">
                  <c:v>2848107.5005000001</c:v>
                </c:pt>
                <c:pt idx="2407">
                  <c:v>2848107.5005000001</c:v>
                </c:pt>
                <c:pt idx="2408">
                  <c:v>2848107.5005000001</c:v>
                </c:pt>
                <c:pt idx="2409">
                  <c:v>2848107.5005000001</c:v>
                </c:pt>
                <c:pt idx="2410">
                  <c:v>2848107.5005000001</c:v>
                </c:pt>
                <c:pt idx="2411">
                  <c:v>2848107.5005000001</c:v>
                </c:pt>
                <c:pt idx="2412">
                  <c:v>2848107.5005000001</c:v>
                </c:pt>
                <c:pt idx="2413">
                  <c:v>2848107.5005000001</c:v>
                </c:pt>
                <c:pt idx="2414">
                  <c:v>2848107.5005000001</c:v>
                </c:pt>
                <c:pt idx="2415">
                  <c:v>2848107.5005000001</c:v>
                </c:pt>
                <c:pt idx="2416">
                  <c:v>2848107.5005000001</c:v>
                </c:pt>
                <c:pt idx="2417">
                  <c:v>2848107.5005000001</c:v>
                </c:pt>
                <c:pt idx="2418">
                  <c:v>2848107.5005000001</c:v>
                </c:pt>
                <c:pt idx="2419">
                  <c:v>2848107.5005000001</c:v>
                </c:pt>
                <c:pt idx="2420">
                  <c:v>2848107.5005000001</c:v>
                </c:pt>
                <c:pt idx="2421">
                  <c:v>2848107.5005000001</c:v>
                </c:pt>
                <c:pt idx="2422">
                  <c:v>2848107.5005000001</c:v>
                </c:pt>
                <c:pt idx="2423">
                  <c:v>2848107.5005000001</c:v>
                </c:pt>
                <c:pt idx="2424">
                  <c:v>2848107.5005000001</c:v>
                </c:pt>
                <c:pt idx="2425">
                  <c:v>2848107.5005000001</c:v>
                </c:pt>
                <c:pt idx="2426">
                  <c:v>2848107.5005000001</c:v>
                </c:pt>
                <c:pt idx="2427">
                  <c:v>2848107.5005000001</c:v>
                </c:pt>
                <c:pt idx="2428">
                  <c:v>2848107.5005000001</c:v>
                </c:pt>
                <c:pt idx="2429">
                  <c:v>2848107.5005000001</c:v>
                </c:pt>
                <c:pt idx="2430">
                  <c:v>2848107.5005000001</c:v>
                </c:pt>
                <c:pt idx="2431">
                  <c:v>2848107.5005000001</c:v>
                </c:pt>
                <c:pt idx="2432">
                  <c:v>2848107.5005000001</c:v>
                </c:pt>
                <c:pt idx="2433">
                  <c:v>2848107.5005000001</c:v>
                </c:pt>
                <c:pt idx="2434">
                  <c:v>2848107.5005000001</c:v>
                </c:pt>
                <c:pt idx="2435">
                  <c:v>2848107.5005000001</c:v>
                </c:pt>
                <c:pt idx="2436">
                  <c:v>2848107.5005000001</c:v>
                </c:pt>
                <c:pt idx="2437">
                  <c:v>2848107.5005000001</c:v>
                </c:pt>
                <c:pt idx="2438">
                  <c:v>2848107.5005000001</c:v>
                </c:pt>
                <c:pt idx="2439">
                  <c:v>2848107.5005000001</c:v>
                </c:pt>
                <c:pt idx="2440">
                  <c:v>2848107.5005000001</c:v>
                </c:pt>
                <c:pt idx="2441">
                  <c:v>2848107.5005000001</c:v>
                </c:pt>
                <c:pt idx="2442">
                  <c:v>2848107.5005000001</c:v>
                </c:pt>
                <c:pt idx="2443">
                  <c:v>2848107.5005000001</c:v>
                </c:pt>
                <c:pt idx="2444">
                  <c:v>2848107.5005000001</c:v>
                </c:pt>
                <c:pt idx="2445">
                  <c:v>2848107.5005000001</c:v>
                </c:pt>
                <c:pt idx="2446">
                  <c:v>2848107.5005000001</c:v>
                </c:pt>
                <c:pt idx="2447">
                  <c:v>2848107.5005000001</c:v>
                </c:pt>
                <c:pt idx="2448">
                  <c:v>2848107.5005000001</c:v>
                </c:pt>
                <c:pt idx="2449">
                  <c:v>2848107.5005000001</c:v>
                </c:pt>
                <c:pt idx="2450">
                  <c:v>2848107.5005000001</c:v>
                </c:pt>
                <c:pt idx="2451">
                  <c:v>2848107.5005000001</c:v>
                </c:pt>
                <c:pt idx="2452">
                  <c:v>2847851.3700999999</c:v>
                </c:pt>
                <c:pt idx="2453">
                  <c:v>2884467.3700999999</c:v>
                </c:pt>
                <c:pt idx="2454">
                  <c:v>2931723.3700999999</c:v>
                </c:pt>
                <c:pt idx="2455">
                  <c:v>2950819.3700999999</c:v>
                </c:pt>
                <c:pt idx="2456">
                  <c:v>3004171.3700999999</c:v>
                </c:pt>
                <c:pt idx="2457">
                  <c:v>3008259.3700999999</c:v>
                </c:pt>
                <c:pt idx="2458">
                  <c:v>2957507.3700999999</c:v>
                </c:pt>
                <c:pt idx="2459">
                  <c:v>3043139.3700999999</c:v>
                </c:pt>
                <c:pt idx="2460">
                  <c:v>3038235.3700999999</c:v>
                </c:pt>
                <c:pt idx="2461">
                  <c:v>3048091.3700999999</c:v>
                </c:pt>
                <c:pt idx="2462">
                  <c:v>3040715.3700999999</c:v>
                </c:pt>
                <c:pt idx="2463">
                  <c:v>3102643.3700999999</c:v>
                </c:pt>
                <c:pt idx="2464">
                  <c:v>3270131.3700999999</c:v>
                </c:pt>
                <c:pt idx="2465">
                  <c:v>3234299.3700999999</c:v>
                </c:pt>
                <c:pt idx="2466">
                  <c:v>3229259.3700999999</c:v>
                </c:pt>
                <c:pt idx="2467">
                  <c:v>3222043.3700999999</c:v>
                </c:pt>
                <c:pt idx="2468">
                  <c:v>3286315.3700999999</c:v>
                </c:pt>
                <c:pt idx="2469">
                  <c:v>3321827.3700999999</c:v>
                </c:pt>
                <c:pt idx="2470">
                  <c:v>3339355.3700999999</c:v>
                </c:pt>
                <c:pt idx="2471">
                  <c:v>3365019.3700999999</c:v>
                </c:pt>
                <c:pt idx="2472">
                  <c:v>3333627.3700999999</c:v>
                </c:pt>
                <c:pt idx="2473">
                  <c:v>3212611.3700999999</c:v>
                </c:pt>
                <c:pt idx="2474">
                  <c:v>3270507.3700999999</c:v>
                </c:pt>
                <c:pt idx="2475">
                  <c:v>3290827.3700999999</c:v>
                </c:pt>
                <c:pt idx="2476">
                  <c:v>3265899.3700999999</c:v>
                </c:pt>
                <c:pt idx="2477">
                  <c:v>3245339.3700999999</c:v>
                </c:pt>
                <c:pt idx="2478">
                  <c:v>3282555.3700999999</c:v>
                </c:pt>
                <c:pt idx="2479">
                  <c:v>3367947.3700999999</c:v>
                </c:pt>
                <c:pt idx="2480">
                  <c:v>3353715.3700999999</c:v>
                </c:pt>
                <c:pt idx="2481">
                  <c:v>3354899.3700999999</c:v>
                </c:pt>
                <c:pt idx="2482">
                  <c:v>3356059.3700999999</c:v>
                </c:pt>
                <c:pt idx="2483">
                  <c:v>3353587.3700999999</c:v>
                </c:pt>
                <c:pt idx="2484">
                  <c:v>3280811.3700999999</c:v>
                </c:pt>
                <c:pt idx="2485">
                  <c:v>3246899.3700999999</c:v>
                </c:pt>
                <c:pt idx="2486">
                  <c:v>3281259.3700999999</c:v>
                </c:pt>
                <c:pt idx="2487">
                  <c:v>3269267.3700999999</c:v>
                </c:pt>
                <c:pt idx="2488">
                  <c:v>3384419.3700999999</c:v>
                </c:pt>
                <c:pt idx="2489">
                  <c:v>3465691.3700999999</c:v>
                </c:pt>
                <c:pt idx="2490">
                  <c:v>3463579.3700999999</c:v>
                </c:pt>
                <c:pt idx="2491">
                  <c:v>3504275.3700999999</c:v>
                </c:pt>
                <c:pt idx="2492">
                  <c:v>3536331.3700999999</c:v>
                </c:pt>
                <c:pt idx="2493">
                  <c:v>3532331.3700999999</c:v>
                </c:pt>
                <c:pt idx="2494">
                  <c:v>3546891.3700999999</c:v>
                </c:pt>
                <c:pt idx="2495">
                  <c:v>3555227.3700999999</c:v>
                </c:pt>
                <c:pt idx="2496">
                  <c:v>3484611.3700999999</c:v>
                </c:pt>
                <c:pt idx="2497">
                  <c:v>3477443.3700999999</c:v>
                </c:pt>
                <c:pt idx="2498">
                  <c:v>3466963.3700999999</c:v>
                </c:pt>
                <c:pt idx="2499">
                  <c:v>3555179.3700999999</c:v>
                </c:pt>
                <c:pt idx="2500">
                  <c:v>3556339.3700999999</c:v>
                </c:pt>
                <c:pt idx="2501">
                  <c:v>3544211.3700999999</c:v>
                </c:pt>
                <c:pt idx="2502">
                  <c:v>3583035.370099999</c:v>
                </c:pt>
                <c:pt idx="2503">
                  <c:v>3507035.3700999999</c:v>
                </c:pt>
                <c:pt idx="2504">
                  <c:v>3501755.3700999999</c:v>
                </c:pt>
                <c:pt idx="2505">
                  <c:v>3510619.3700999999</c:v>
                </c:pt>
                <c:pt idx="2506">
                  <c:v>3440003.3700999999</c:v>
                </c:pt>
                <c:pt idx="2507">
                  <c:v>3397963.3700999999</c:v>
                </c:pt>
                <c:pt idx="2508">
                  <c:v>3406811.3700999999</c:v>
                </c:pt>
                <c:pt idx="2509">
                  <c:v>3417115.3700999999</c:v>
                </c:pt>
                <c:pt idx="2510">
                  <c:v>3234243.3700999999</c:v>
                </c:pt>
                <c:pt idx="2511">
                  <c:v>3263083.3700999999</c:v>
                </c:pt>
                <c:pt idx="2512">
                  <c:v>3220515.3700999999</c:v>
                </c:pt>
                <c:pt idx="2513">
                  <c:v>3166307.3700999999</c:v>
                </c:pt>
                <c:pt idx="2514">
                  <c:v>3270907.3700999999</c:v>
                </c:pt>
                <c:pt idx="2515">
                  <c:v>3221531.3700999999</c:v>
                </c:pt>
                <c:pt idx="2516">
                  <c:v>3202667.3700999999</c:v>
                </c:pt>
                <c:pt idx="2517">
                  <c:v>3268219.3700999999</c:v>
                </c:pt>
                <c:pt idx="2518">
                  <c:v>3281715.3700999999</c:v>
                </c:pt>
                <c:pt idx="2519">
                  <c:v>3205555.3700999999</c:v>
                </c:pt>
                <c:pt idx="2520">
                  <c:v>3180779.3700999999</c:v>
                </c:pt>
                <c:pt idx="2521">
                  <c:v>3219971.3700999999</c:v>
                </c:pt>
                <c:pt idx="2522">
                  <c:v>3206051.3700999999</c:v>
                </c:pt>
                <c:pt idx="2523">
                  <c:v>3153715.3700999999</c:v>
                </c:pt>
                <c:pt idx="2524">
                  <c:v>3161675.3700999999</c:v>
                </c:pt>
                <c:pt idx="2525">
                  <c:v>3196307.3700999999</c:v>
                </c:pt>
                <c:pt idx="2526">
                  <c:v>3224355.3700999999</c:v>
                </c:pt>
                <c:pt idx="2527">
                  <c:v>3217675.3700999999</c:v>
                </c:pt>
                <c:pt idx="2528">
                  <c:v>3199491.3700999999</c:v>
                </c:pt>
                <c:pt idx="2529">
                  <c:v>3190379.3700999999</c:v>
                </c:pt>
                <c:pt idx="2530">
                  <c:v>3192155.3700999999</c:v>
                </c:pt>
                <c:pt idx="2531">
                  <c:v>3165323.3700999999</c:v>
                </c:pt>
                <c:pt idx="2532">
                  <c:v>3164235.3700999999</c:v>
                </c:pt>
                <c:pt idx="2533">
                  <c:v>3138291.3700999999</c:v>
                </c:pt>
                <c:pt idx="2534">
                  <c:v>3175139.3700999999</c:v>
                </c:pt>
                <c:pt idx="2535">
                  <c:v>3261971.3700999999</c:v>
                </c:pt>
                <c:pt idx="2536">
                  <c:v>3239427.3700999999</c:v>
                </c:pt>
                <c:pt idx="2537">
                  <c:v>3234859.3700999999</c:v>
                </c:pt>
                <c:pt idx="2538">
                  <c:v>3210451.3700999999</c:v>
                </c:pt>
                <c:pt idx="2539">
                  <c:v>3210403.3700999999</c:v>
                </c:pt>
                <c:pt idx="2540">
                  <c:v>3220643.3700999999</c:v>
                </c:pt>
                <c:pt idx="2541">
                  <c:v>3259299.3700999999</c:v>
                </c:pt>
                <c:pt idx="2542">
                  <c:v>3349363.3700999999</c:v>
                </c:pt>
                <c:pt idx="2543">
                  <c:v>3353699.3700999999</c:v>
                </c:pt>
                <c:pt idx="2544">
                  <c:v>3359563.3700999999</c:v>
                </c:pt>
                <c:pt idx="2545">
                  <c:v>3327595.3700999999</c:v>
                </c:pt>
                <c:pt idx="2546">
                  <c:v>3322011.3700999999</c:v>
                </c:pt>
                <c:pt idx="2547">
                  <c:v>3354403.3700999999</c:v>
                </c:pt>
                <c:pt idx="2548">
                  <c:v>3347019.3700999999</c:v>
                </c:pt>
                <c:pt idx="2549">
                  <c:v>3435195.3700999999</c:v>
                </c:pt>
                <c:pt idx="2550">
                  <c:v>3436283.3700999999</c:v>
                </c:pt>
                <c:pt idx="2551">
                  <c:v>3401371.3700999999</c:v>
                </c:pt>
                <c:pt idx="2552">
                  <c:v>3385027.3700999999</c:v>
                </c:pt>
                <c:pt idx="2553">
                  <c:v>3401107.3700999999</c:v>
                </c:pt>
                <c:pt idx="2554">
                  <c:v>3328779.3700999999</c:v>
                </c:pt>
                <c:pt idx="2555">
                  <c:v>3321051.3700999999</c:v>
                </c:pt>
                <c:pt idx="2556">
                  <c:v>3315939.3700999999</c:v>
                </c:pt>
                <c:pt idx="2557">
                  <c:v>3314723.3700999999</c:v>
                </c:pt>
                <c:pt idx="2558">
                  <c:v>3333531.3700999999</c:v>
                </c:pt>
                <c:pt idx="2559">
                  <c:v>3345899.3700999999</c:v>
                </c:pt>
                <c:pt idx="2560">
                  <c:v>3332019.3700999999</c:v>
                </c:pt>
                <c:pt idx="2561">
                  <c:v>3330259.3700999999</c:v>
                </c:pt>
                <c:pt idx="2562">
                  <c:v>3301267.3700999999</c:v>
                </c:pt>
                <c:pt idx="2563">
                  <c:v>3332915.3700999999</c:v>
                </c:pt>
                <c:pt idx="2564">
                  <c:v>3311891.3700999999</c:v>
                </c:pt>
                <c:pt idx="2565">
                  <c:v>3318475.3700999999</c:v>
                </c:pt>
                <c:pt idx="2566">
                  <c:v>3342411.3700999999</c:v>
                </c:pt>
                <c:pt idx="2567">
                  <c:v>3367403.3700999999</c:v>
                </c:pt>
                <c:pt idx="2568">
                  <c:v>3373403.3700999999</c:v>
                </c:pt>
                <c:pt idx="2569">
                  <c:v>3369963.3700999999</c:v>
                </c:pt>
                <c:pt idx="2570">
                  <c:v>3382803.3700999999</c:v>
                </c:pt>
                <c:pt idx="2571">
                  <c:v>3354835.3700999999</c:v>
                </c:pt>
                <c:pt idx="2572">
                  <c:v>3329323.3700999999</c:v>
                </c:pt>
                <c:pt idx="2573">
                  <c:v>3284499.3700999999</c:v>
                </c:pt>
                <c:pt idx="2574">
                  <c:v>3227099.3700999999</c:v>
                </c:pt>
                <c:pt idx="2575">
                  <c:v>3195611.3700999999</c:v>
                </c:pt>
                <c:pt idx="2576">
                  <c:v>3183691.3700999999</c:v>
                </c:pt>
                <c:pt idx="2577">
                  <c:v>3221979.3700999999</c:v>
                </c:pt>
                <c:pt idx="2578">
                  <c:v>3193371.3700999999</c:v>
                </c:pt>
                <c:pt idx="2579">
                  <c:v>3245827.3700999999</c:v>
                </c:pt>
                <c:pt idx="2580">
                  <c:v>3219147.3700999999</c:v>
                </c:pt>
                <c:pt idx="2581">
                  <c:v>3232467.3700999999</c:v>
                </c:pt>
                <c:pt idx="2582">
                  <c:v>3241747.3700999999</c:v>
                </c:pt>
                <c:pt idx="2583">
                  <c:v>3254979.3700999999</c:v>
                </c:pt>
                <c:pt idx="2584">
                  <c:v>3319419.3700999999</c:v>
                </c:pt>
                <c:pt idx="2585">
                  <c:v>3316731.3700999999</c:v>
                </c:pt>
                <c:pt idx="2586">
                  <c:v>3311955.3700999999</c:v>
                </c:pt>
                <c:pt idx="2587">
                  <c:v>3321355.3700999999</c:v>
                </c:pt>
                <c:pt idx="2588">
                  <c:v>3343235.3700999999</c:v>
                </c:pt>
                <c:pt idx="2589">
                  <c:v>3299275.3700999999</c:v>
                </c:pt>
                <c:pt idx="2590">
                  <c:v>3340107.3700999999</c:v>
                </c:pt>
                <c:pt idx="2591">
                  <c:v>3328611.3700999999</c:v>
                </c:pt>
                <c:pt idx="2592">
                  <c:v>3318699.3700999999</c:v>
                </c:pt>
                <c:pt idx="2593">
                  <c:v>3326219.3700999999</c:v>
                </c:pt>
                <c:pt idx="2594">
                  <c:v>3365203.3700999999</c:v>
                </c:pt>
                <c:pt idx="2595">
                  <c:v>3369435.3700999999</c:v>
                </c:pt>
                <c:pt idx="2596">
                  <c:v>3395347.3700999999</c:v>
                </c:pt>
                <c:pt idx="2597">
                  <c:v>3426803.3700999999</c:v>
                </c:pt>
                <c:pt idx="2598">
                  <c:v>3445355.3700999999</c:v>
                </c:pt>
                <c:pt idx="2599">
                  <c:v>3464907.3700999999</c:v>
                </c:pt>
                <c:pt idx="2600">
                  <c:v>3453963.3700999999</c:v>
                </c:pt>
                <c:pt idx="2601">
                  <c:v>3430627.3700999999</c:v>
                </c:pt>
                <c:pt idx="2602">
                  <c:v>3464451.3700999999</c:v>
                </c:pt>
                <c:pt idx="2603">
                  <c:v>3452723.3700999999</c:v>
                </c:pt>
                <c:pt idx="2604">
                  <c:v>3399523.3700999999</c:v>
                </c:pt>
                <c:pt idx="2605">
                  <c:v>3414611.3700999999</c:v>
                </c:pt>
                <c:pt idx="2606">
                  <c:v>3426051.3700999999</c:v>
                </c:pt>
                <c:pt idx="2607">
                  <c:v>3435067.3700999999</c:v>
                </c:pt>
                <c:pt idx="2608">
                  <c:v>3399075.3700999999</c:v>
                </c:pt>
                <c:pt idx="2609">
                  <c:v>3407411.3700999999</c:v>
                </c:pt>
                <c:pt idx="2610">
                  <c:v>3383331.3700999999</c:v>
                </c:pt>
                <c:pt idx="2611">
                  <c:v>3359459.3700999999</c:v>
                </c:pt>
                <c:pt idx="2612">
                  <c:v>3368667.3700999999</c:v>
                </c:pt>
                <c:pt idx="2613">
                  <c:v>3338171.3700999999</c:v>
                </c:pt>
                <c:pt idx="2614">
                  <c:v>3356691.3700999999</c:v>
                </c:pt>
                <c:pt idx="2615">
                  <c:v>3361139.3700999999</c:v>
                </c:pt>
                <c:pt idx="2616">
                  <c:v>3386259.3700999999</c:v>
                </c:pt>
                <c:pt idx="2617">
                  <c:v>3415931.3700999999</c:v>
                </c:pt>
                <c:pt idx="2618">
                  <c:v>3449139.3700999999</c:v>
                </c:pt>
                <c:pt idx="2619">
                  <c:v>3435547.3700999999</c:v>
                </c:pt>
                <c:pt idx="2620">
                  <c:v>3424699.3700999999</c:v>
                </c:pt>
                <c:pt idx="2621">
                  <c:v>3426723.3700999999</c:v>
                </c:pt>
                <c:pt idx="2622">
                  <c:v>3382051.3700999999</c:v>
                </c:pt>
                <c:pt idx="2623">
                  <c:v>3391219.3700999999</c:v>
                </c:pt>
                <c:pt idx="2624">
                  <c:v>3403251.3700999999</c:v>
                </c:pt>
                <c:pt idx="2625">
                  <c:v>3383411.3700999999</c:v>
                </c:pt>
                <c:pt idx="2626">
                  <c:v>3383083.3700999999</c:v>
                </c:pt>
                <c:pt idx="2627">
                  <c:v>3403979.3700999999</c:v>
                </c:pt>
                <c:pt idx="2628">
                  <c:v>3427819.3700999999</c:v>
                </c:pt>
                <c:pt idx="2629">
                  <c:v>3414731.3700999999</c:v>
                </c:pt>
                <c:pt idx="2630">
                  <c:v>3399531.3700999999</c:v>
                </c:pt>
                <c:pt idx="2631">
                  <c:v>3395947.3700999999</c:v>
                </c:pt>
                <c:pt idx="2632">
                  <c:v>3448459.3700999999</c:v>
                </c:pt>
                <c:pt idx="2633">
                  <c:v>3469043.3700999999</c:v>
                </c:pt>
                <c:pt idx="2634">
                  <c:v>3488795.3700999999</c:v>
                </c:pt>
                <c:pt idx="2635">
                  <c:v>3474451.3700999999</c:v>
                </c:pt>
                <c:pt idx="2636">
                  <c:v>3480043.3700999999</c:v>
                </c:pt>
                <c:pt idx="2637">
                  <c:v>3464955.3700999999</c:v>
                </c:pt>
                <c:pt idx="2638">
                  <c:v>3408931.3700999999</c:v>
                </c:pt>
                <c:pt idx="2639">
                  <c:v>3409499.3700999999</c:v>
                </c:pt>
                <c:pt idx="2640">
                  <c:v>3406531.3700999999</c:v>
                </c:pt>
                <c:pt idx="2641">
                  <c:v>3411235.3700999999</c:v>
                </c:pt>
                <c:pt idx="2642">
                  <c:v>3388219.3700999999</c:v>
                </c:pt>
                <c:pt idx="2643">
                  <c:v>3412891.3700999999</c:v>
                </c:pt>
                <c:pt idx="2644">
                  <c:v>3444179.3700999999</c:v>
                </c:pt>
                <c:pt idx="2645">
                  <c:v>3412835.3700999999</c:v>
                </c:pt>
                <c:pt idx="2646">
                  <c:v>3398227.3700999999</c:v>
                </c:pt>
                <c:pt idx="2647">
                  <c:v>3366539.3700999999</c:v>
                </c:pt>
                <c:pt idx="2648">
                  <c:v>3389115.3700999999</c:v>
                </c:pt>
                <c:pt idx="2649">
                  <c:v>3399867.3700999999</c:v>
                </c:pt>
                <c:pt idx="2650">
                  <c:v>3387043.3700999999</c:v>
                </c:pt>
                <c:pt idx="2651">
                  <c:v>3376387.3700999999</c:v>
                </c:pt>
                <c:pt idx="2652">
                  <c:v>3349483.3700999999</c:v>
                </c:pt>
                <c:pt idx="2653">
                  <c:v>3355395.3700999999</c:v>
                </c:pt>
                <c:pt idx="2654">
                  <c:v>3367419.3700999999</c:v>
                </c:pt>
                <c:pt idx="2655">
                  <c:v>3366403.3700999999</c:v>
                </c:pt>
                <c:pt idx="2656">
                  <c:v>3390035.3700999999</c:v>
                </c:pt>
                <c:pt idx="2657">
                  <c:v>3408459.3700999999</c:v>
                </c:pt>
                <c:pt idx="2658">
                  <c:v>3402907.3700999999</c:v>
                </c:pt>
                <c:pt idx="2659">
                  <c:v>3406851.3700999999</c:v>
                </c:pt>
                <c:pt idx="2660">
                  <c:v>3408747.3700999999</c:v>
                </c:pt>
                <c:pt idx="2661">
                  <c:v>3399363.3700999999</c:v>
                </c:pt>
                <c:pt idx="2662">
                  <c:v>3461123.3700999999</c:v>
                </c:pt>
                <c:pt idx="2663">
                  <c:v>3476587.3700999999</c:v>
                </c:pt>
                <c:pt idx="2664">
                  <c:v>3519987.3700999999</c:v>
                </c:pt>
                <c:pt idx="2665">
                  <c:v>3512771.3700999999</c:v>
                </c:pt>
                <c:pt idx="2666">
                  <c:v>3508267.3700999999</c:v>
                </c:pt>
                <c:pt idx="2667">
                  <c:v>3500347.3700999999</c:v>
                </c:pt>
                <c:pt idx="2668">
                  <c:v>3460227.3700999999</c:v>
                </c:pt>
                <c:pt idx="2669">
                  <c:v>3480915.3700999999</c:v>
                </c:pt>
                <c:pt idx="2670">
                  <c:v>3479243.3700999999</c:v>
                </c:pt>
                <c:pt idx="2671">
                  <c:v>3507339.3700999999</c:v>
                </c:pt>
                <c:pt idx="2672">
                  <c:v>3504171.3700999999</c:v>
                </c:pt>
                <c:pt idx="2673">
                  <c:v>3551851.3700999999</c:v>
                </c:pt>
                <c:pt idx="2674">
                  <c:v>3563811.3700999999</c:v>
                </c:pt>
                <c:pt idx="2675">
                  <c:v>3608339.3700999999</c:v>
                </c:pt>
                <c:pt idx="2676">
                  <c:v>3602515.3700999999</c:v>
                </c:pt>
                <c:pt idx="2677">
                  <c:v>3589987.3700999999</c:v>
                </c:pt>
                <c:pt idx="2678">
                  <c:v>3614731.370099999</c:v>
                </c:pt>
                <c:pt idx="2679">
                  <c:v>3576403.3700999999</c:v>
                </c:pt>
                <c:pt idx="2680">
                  <c:v>3618043.3700999999</c:v>
                </c:pt>
                <c:pt idx="2681">
                  <c:v>3617091.3700999999</c:v>
                </c:pt>
                <c:pt idx="2682">
                  <c:v>3649739.3700999999</c:v>
                </c:pt>
                <c:pt idx="2683">
                  <c:v>3638459.3700999999</c:v>
                </c:pt>
                <c:pt idx="2684">
                  <c:v>3619931.370099999</c:v>
                </c:pt>
                <c:pt idx="2685">
                  <c:v>3605779.3700999999</c:v>
                </c:pt>
                <c:pt idx="2686">
                  <c:v>3610427.3700999999</c:v>
                </c:pt>
                <c:pt idx="2687">
                  <c:v>3635211.3700999999</c:v>
                </c:pt>
                <c:pt idx="2688">
                  <c:v>3577995.3700999999</c:v>
                </c:pt>
                <c:pt idx="2689">
                  <c:v>3592091.3700999999</c:v>
                </c:pt>
                <c:pt idx="2690">
                  <c:v>3489667.3700999999</c:v>
                </c:pt>
                <c:pt idx="2691">
                  <c:v>3237235.3700999999</c:v>
                </c:pt>
                <c:pt idx="2692">
                  <c:v>3315059.3700999999</c:v>
                </c:pt>
                <c:pt idx="2693">
                  <c:v>3349371.3700999999</c:v>
                </c:pt>
                <c:pt idx="2694">
                  <c:v>3406371.3700999999</c:v>
                </c:pt>
                <c:pt idx="2695">
                  <c:v>3406443.3700999999</c:v>
                </c:pt>
                <c:pt idx="2696">
                  <c:v>3419355.3700999999</c:v>
                </c:pt>
                <c:pt idx="2697">
                  <c:v>3448515.3700999999</c:v>
                </c:pt>
                <c:pt idx="2698">
                  <c:v>3474091.3700999999</c:v>
                </c:pt>
                <c:pt idx="2699">
                  <c:v>3454483.3700999999</c:v>
                </c:pt>
                <c:pt idx="2700">
                  <c:v>3476731.3700999999</c:v>
                </c:pt>
                <c:pt idx="2701">
                  <c:v>3548483.3700999999</c:v>
                </c:pt>
                <c:pt idx="2702">
                  <c:v>3532555.3700999999</c:v>
                </c:pt>
                <c:pt idx="2703">
                  <c:v>3527595.3700999999</c:v>
                </c:pt>
                <c:pt idx="2704">
                  <c:v>3602275.3700999999</c:v>
                </c:pt>
                <c:pt idx="2705">
                  <c:v>3606139.3700999999</c:v>
                </c:pt>
                <c:pt idx="2706">
                  <c:v>3592819.3700999999</c:v>
                </c:pt>
                <c:pt idx="2707">
                  <c:v>3585627.3700999999</c:v>
                </c:pt>
                <c:pt idx="2708">
                  <c:v>3544963.3700999999</c:v>
                </c:pt>
                <c:pt idx="2709">
                  <c:v>3554451.3700999999</c:v>
                </c:pt>
                <c:pt idx="2710">
                  <c:v>3438587.3700999999</c:v>
                </c:pt>
                <c:pt idx="2711">
                  <c:v>3542283.3700999999</c:v>
                </c:pt>
                <c:pt idx="2712">
                  <c:v>3559635.3700999999</c:v>
                </c:pt>
                <c:pt idx="2713">
                  <c:v>3578587.3700999999</c:v>
                </c:pt>
                <c:pt idx="2714">
                  <c:v>3651931.370099999</c:v>
                </c:pt>
                <c:pt idx="2715">
                  <c:v>3597355.3700999999</c:v>
                </c:pt>
                <c:pt idx="2716">
                  <c:v>3484251.3700999999</c:v>
                </c:pt>
                <c:pt idx="2717">
                  <c:v>3552731.3700999999</c:v>
                </c:pt>
                <c:pt idx="2718">
                  <c:v>3509291.3700999999</c:v>
                </c:pt>
                <c:pt idx="2719">
                  <c:v>3447275.3700999999</c:v>
                </c:pt>
                <c:pt idx="2720">
                  <c:v>3402795.3700999999</c:v>
                </c:pt>
                <c:pt idx="2721">
                  <c:v>3268819.3700999999</c:v>
                </c:pt>
                <c:pt idx="2722">
                  <c:v>3254291.3700999999</c:v>
                </c:pt>
                <c:pt idx="2723">
                  <c:v>3195264.4693</c:v>
                </c:pt>
                <c:pt idx="2724">
                  <c:v>3195264.4693</c:v>
                </c:pt>
                <c:pt idx="2725">
                  <c:v>3195264.4693</c:v>
                </c:pt>
                <c:pt idx="2726">
                  <c:v>3195264.4693</c:v>
                </c:pt>
                <c:pt idx="2727">
                  <c:v>3195264.4693</c:v>
                </c:pt>
                <c:pt idx="2728">
                  <c:v>3195264.4693</c:v>
                </c:pt>
                <c:pt idx="2729">
                  <c:v>3195264.4693</c:v>
                </c:pt>
                <c:pt idx="2730">
                  <c:v>3195264.4693</c:v>
                </c:pt>
                <c:pt idx="2731">
                  <c:v>3195264.4693</c:v>
                </c:pt>
                <c:pt idx="2732">
                  <c:v>3195264.4693</c:v>
                </c:pt>
                <c:pt idx="2733">
                  <c:v>3195264.4693</c:v>
                </c:pt>
                <c:pt idx="2734">
                  <c:v>3195264.4693</c:v>
                </c:pt>
                <c:pt idx="2735">
                  <c:v>3195264.4693</c:v>
                </c:pt>
                <c:pt idx="2736">
                  <c:v>3195264.4693</c:v>
                </c:pt>
                <c:pt idx="2737">
                  <c:v>3195264.4693</c:v>
                </c:pt>
                <c:pt idx="2738">
                  <c:v>3195264.4693</c:v>
                </c:pt>
                <c:pt idx="2739">
                  <c:v>3195264.4693</c:v>
                </c:pt>
                <c:pt idx="2740">
                  <c:v>3195264.4693</c:v>
                </c:pt>
                <c:pt idx="2741">
                  <c:v>3195264.4693</c:v>
                </c:pt>
                <c:pt idx="2742">
                  <c:v>3195264.4693</c:v>
                </c:pt>
                <c:pt idx="2743">
                  <c:v>3195264.4693</c:v>
                </c:pt>
                <c:pt idx="2744">
                  <c:v>3195264.4693</c:v>
                </c:pt>
                <c:pt idx="2745">
                  <c:v>3195264.4693</c:v>
                </c:pt>
                <c:pt idx="2746">
                  <c:v>3195264.4693</c:v>
                </c:pt>
                <c:pt idx="2747">
                  <c:v>3195264.4693</c:v>
                </c:pt>
                <c:pt idx="2748">
                  <c:v>3195264.4693</c:v>
                </c:pt>
                <c:pt idx="2749">
                  <c:v>3195264.4693</c:v>
                </c:pt>
                <c:pt idx="2750">
                  <c:v>3195264.4693</c:v>
                </c:pt>
                <c:pt idx="2751">
                  <c:v>3195264.4693</c:v>
                </c:pt>
                <c:pt idx="2752">
                  <c:v>3195264.4693</c:v>
                </c:pt>
                <c:pt idx="2753">
                  <c:v>3195264.4693</c:v>
                </c:pt>
                <c:pt idx="2754">
                  <c:v>3195264.4693</c:v>
                </c:pt>
                <c:pt idx="2755">
                  <c:v>3195264.4693</c:v>
                </c:pt>
                <c:pt idx="2756">
                  <c:v>3195264.4693</c:v>
                </c:pt>
                <c:pt idx="2757">
                  <c:v>3195264.4693</c:v>
                </c:pt>
                <c:pt idx="2758">
                  <c:v>3195264.4693</c:v>
                </c:pt>
                <c:pt idx="2759">
                  <c:v>3195264.4693</c:v>
                </c:pt>
                <c:pt idx="2760">
                  <c:v>3195264.4693</c:v>
                </c:pt>
                <c:pt idx="2761">
                  <c:v>3195264.4693</c:v>
                </c:pt>
                <c:pt idx="2762">
                  <c:v>3195264.4693</c:v>
                </c:pt>
                <c:pt idx="2763">
                  <c:v>3195264.4693</c:v>
                </c:pt>
                <c:pt idx="2764">
                  <c:v>3195264.4693</c:v>
                </c:pt>
                <c:pt idx="2765">
                  <c:v>3195264.4693</c:v>
                </c:pt>
                <c:pt idx="2766">
                  <c:v>3195264.4693</c:v>
                </c:pt>
                <c:pt idx="2767">
                  <c:v>3195264.4693</c:v>
                </c:pt>
                <c:pt idx="2768">
                  <c:v>3195264.4693</c:v>
                </c:pt>
                <c:pt idx="2769">
                  <c:v>3195264.4693</c:v>
                </c:pt>
                <c:pt idx="2770">
                  <c:v>3195264.4693</c:v>
                </c:pt>
                <c:pt idx="2771">
                  <c:v>3195264.4693</c:v>
                </c:pt>
                <c:pt idx="2772">
                  <c:v>3195264.4693</c:v>
                </c:pt>
                <c:pt idx="2773">
                  <c:v>3195264.4693</c:v>
                </c:pt>
                <c:pt idx="2774">
                  <c:v>3195264.4693</c:v>
                </c:pt>
                <c:pt idx="2775">
                  <c:v>3195264.4693</c:v>
                </c:pt>
                <c:pt idx="2776">
                  <c:v>3195264.4693</c:v>
                </c:pt>
                <c:pt idx="2777">
                  <c:v>3195264.4693</c:v>
                </c:pt>
                <c:pt idx="2778">
                  <c:v>3195264.4693</c:v>
                </c:pt>
                <c:pt idx="2779">
                  <c:v>3195264.4693</c:v>
                </c:pt>
                <c:pt idx="2780">
                  <c:v>3195264.4693</c:v>
                </c:pt>
                <c:pt idx="2781">
                  <c:v>3195264.4693</c:v>
                </c:pt>
                <c:pt idx="2782">
                  <c:v>3195264.4693</c:v>
                </c:pt>
                <c:pt idx="2783">
                  <c:v>3195264.4693</c:v>
                </c:pt>
                <c:pt idx="2784">
                  <c:v>3195264.4693</c:v>
                </c:pt>
                <c:pt idx="2785">
                  <c:v>3195264.4693</c:v>
                </c:pt>
                <c:pt idx="2786">
                  <c:v>3195264.4693</c:v>
                </c:pt>
                <c:pt idx="2787">
                  <c:v>3195264.4693</c:v>
                </c:pt>
                <c:pt idx="2788">
                  <c:v>3195264.4693</c:v>
                </c:pt>
                <c:pt idx="2789">
                  <c:v>3195264.4693</c:v>
                </c:pt>
                <c:pt idx="2790">
                  <c:v>3195264.4693</c:v>
                </c:pt>
                <c:pt idx="2791">
                  <c:v>3195264.4693</c:v>
                </c:pt>
                <c:pt idx="2792">
                  <c:v>3195264.4693</c:v>
                </c:pt>
                <c:pt idx="2793">
                  <c:v>3194960.9605</c:v>
                </c:pt>
                <c:pt idx="2794">
                  <c:v>3253592.960500001</c:v>
                </c:pt>
                <c:pt idx="2795">
                  <c:v>3428935.9605</c:v>
                </c:pt>
                <c:pt idx="2796">
                  <c:v>3448563.9605</c:v>
                </c:pt>
                <c:pt idx="2797">
                  <c:v>3501672.9605</c:v>
                </c:pt>
                <c:pt idx="2798">
                  <c:v>3548411.960500001</c:v>
                </c:pt>
                <c:pt idx="2799">
                  <c:v>3487063.9605</c:v>
                </c:pt>
                <c:pt idx="2800">
                  <c:v>3556944.9605</c:v>
                </c:pt>
                <c:pt idx="2801">
                  <c:v>3524555.9605</c:v>
                </c:pt>
                <c:pt idx="2802">
                  <c:v>3481001.9605</c:v>
                </c:pt>
                <c:pt idx="2803">
                  <c:v>3321247.9605</c:v>
                </c:pt>
                <c:pt idx="2804">
                  <c:v>3341162.9605</c:v>
                </c:pt>
                <c:pt idx="2805">
                  <c:v>3436082.9605</c:v>
                </c:pt>
                <c:pt idx="2806">
                  <c:v>3443600.9605</c:v>
                </c:pt>
                <c:pt idx="2807">
                  <c:v>3459987.9605</c:v>
                </c:pt>
                <c:pt idx="2808">
                  <c:v>3458580.9605</c:v>
                </c:pt>
                <c:pt idx="2809">
                  <c:v>3313785.9605</c:v>
                </c:pt>
                <c:pt idx="2810">
                  <c:v>3329787.9605</c:v>
                </c:pt>
                <c:pt idx="2811">
                  <c:v>3357654.9605</c:v>
                </c:pt>
                <c:pt idx="2812">
                  <c:v>3435179.9605</c:v>
                </c:pt>
                <c:pt idx="2813">
                  <c:v>3419177.9605</c:v>
                </c:pt>
                <c:pt idx="2814">
                  <c:v>3446407.9605</c:v>
                </c:pt>
                <c:pt idx="2815">
                  <c:v>3499789.960500001</c:v>
                </c:pt>
                <c:pt idx="2816">
                  <c:v>3502932.9605</c:v>
                </c:pt>
                <c:pt idx="2817">
                  <c:v>3503849.9605</c:v>
                </c:pt>
                <c:pt idx="2818">
                  <c:v>3493804.9605</c:v>
                </c:pt>
                <c:pt idx="2819">
                  <c:v>3455423.9605</c:v>
                </c:pt>
                <c:pt idx="2820">
                  <c:v>3467281.9605</c:v>
                </c:pt>
                <c:pt idx="2821">
                  <c:v>3437118.9605</c:v>
                </c:pt>
                <c:pt idx="2822">
                  <c:v>3413220.9605</c:v>
                </c:pt>
                <c:pt idx="2823">
                  <c:v>3404869.9605</c:v>
                </c:pt>
                <c:pt idx="2824">
                  <c:v>3453113.9605</c:v>
                </c:pt>
                <c:pt idx="2825">
                  <c:v>3530533.9605</c:v>
                </c:pt>
                <c:pt idx="2826">
                  <c:v>3528804.9605</c:v>
                </c:pt>
                <c:pt idx="2827">
                  <c:v>3478348.9605</c:v>
                </c:pt>
                <c:pt idx="2828">
                  <c:v>3435277.9605</c:v>
                </c:pt>
                <c:pt idx="2829">
                  <c:v>3463060.9605</c:v>
                </c:pt>
                <c:pt idx="2830">
                  <c:v>3488967.960500001</c:v>
                </c:pt>
                <c:pt idx="2831">
                  <c:v>3493237.9605</c:v>
                </c:pt>
                <c:pt idx="2832">
                  <c:v>3454163.9605</c:v>
                </c:pt>
                <c:pt idx="2833">
                  <c:v>3471817.960500001</c:v>
                </c:pt>
                <c:pt idx="2834">
                  <c:v>3550861.960500001</c:v>
                </c:pt>
                <c:pt idx="2835">
                  <c:v>3531226.9605</c:v>
                </c:pt>
                <c:pt idx="2836">
                  <c:v>3549356.9605</c:v>
                </c:pt>
                <c:pt idx="2837">
                  <c:v>3550595.9605</c:v>
                </c:pt>
                <c:pt idx="2838">
                  <c:v>3531842.960500001</c:v>
                </c:pt>
                <c:pt idx="2839">
                  <c:v>3499026.9605</c:v>
                </c:pt>
                <c:pt idx="2840">
                  <c:v>3428431.9605</c:v>
                </c:pt>
                <c:pt idx="2841">
                  <c:v>3445945.9605</c:v>
                </c:pt>
                <c:pt idx="2842">
                  <c:v>3369085.9605</c:v>
                </c:pt>
                <c:pt idx="2843">
                  <c:v>3367258.9605</c:v>
                </c:pt>
                <c:pt idx="2844">
                  <c:v>3398968.9605</c:v>
                </c:pt>
                <c:pt idx="2845">
                  <c:v>3415607.9605</c:v>
                </c:pt>
                <c:pt idx="2846">
                  <c:v>3441808.9605</c:v>
                </c:pt>
                <c:pt idx="2847">
                  <c:v>3420024.9605</c:v>
                </c:pt>
                <c:pt idx="2848">
                  <c:v>3402769.9605</c:v>
                </c:pt>
                <c:pt idx="2849">
                  <c:v>3475835.9605</c:v>
                </c:pt>
                <c:pt idx="2850">
                  <c:v>3443873.9605</c:v>
                </c:pt>
                <c:pt idx="2851">
                  <c:v>3404904.9605</c:v>
                </c:pt>
                <c:pt idx="2852">
                  <c:v>3416503.9605</c:v>
                </c:pt>
                <c:pt idx="2853">
                  <c:v>3354021.9605</c:v>
                </c:pt>
                <c:pt idx="2854">
                  <c:v>3358886.960500001</c:v>
                </c:pt>
                <c:pt idx="2855">
                  <c:v>3367209.9605</c:v>
                </c:pt>
                <c:pt idx="2856">
                  <c:v>3374132.9605</c:v>
                </c:pt>
                <c:pt idx="2857">
                  <c:v>3371052.9605</c:v>
                </c:pt>
                <c:pt idx="2858">
                  <c:v>3436670.9605</c:v>
                </c:pt>
                <c:pt idx="2859">
                  <c:v>3536084.9605</c:v>
                </c:pt>
                <c:pt idx="2860">
                  <c:v>3547312.9605</c:v>
                </c:pt>
                <c:pt idx="2861">
                  <c:v>3524842.960500001</c:v>
                </c:pt>
                <c:pt idx="2862">
                  <c:v>3518990.9605</c:v>
                </c:pt>
                <c:pt idx="2863">
                  <c:v>3514048.9605</c:v>
                </c:pt>
                <c:pt idx="2864">
                  <c:v>3488715.9605</c:v>
                </c:pt>
                <c:pt idx="2865">
                  <c:v>3515301.9605</c:v>
                </c:pt>
                <c:pt idx="2866">
                  <c:v>3514853.9605</c:v>
                </c:pt>
                <c:pt idx="2867">
                  <c:v>3504458.9605</c:v>
                </c:pt>
                <c:pt idx="2868">
                  <c:v>3462815.9605</c:v>
                </c:pt>
                <c:pt idx="2869">
                  <c:v>3443740.9605</c:v>
                </c:pt>
                <c:pt idx="2870">
                  <c:v>3449368.9605</c:v>
                </c:pt>
                <c:pt idx="2871">
                  <c:v>3475961.960500001</c:v>
                </c:pt>
                <c:pt idx="2872">
                  <c:v>3500916.9605</c:v>
                </c:pt>
                <c:pt idx="2873">
                  <c:v>3446603.9605</c:v>
                </c:pt>
                <c:pt idx="2874">
                  <c:v>3464453.9605</c:v>
                </c:pt>
                <c:pt idx="2875">
                  <c:v>3504164.960500001</c:v>
                </c:pt>
                <c:pt idx="2876">
                  <c:v>3529434.9605</c:v>
                </c:pt>
                <c:pt idx="2877">
                  <c:v>3579449.9605</c:v>
                </c:pt>
                <c:pt idx="2878">
                  <c:v>3579876.9605</c:v>
                </c:pt>
                <c:pt idx="2879">
                  <c:v>3646817.960500001</c:v>
                </c:pt>
                <c:pt idx="2880">
                  <c:v>3627588.9605</c:v>
                </c:pt>
                <c:pt idx="2881">
                  <c:v>3593302.9605</c:v>
                </c:pt>
                <c:pt idx="2882">
                  <c:v>3595794.9605</c:v>
                </c:pt>
                <c:pt idx="2883">
                  <c:v>3559667.960500001</c:v>
                </c:pt>
                <c:pt idx="2884">
                  <c:v>3592791.9605</c:v>
                </c:pt>
                <c:pt idx="2885">
                  <c:v>3586225.9605</c:v>
                </c:pt>
                <c:pt idx="2886">
                  <c:v>3584041.9605</c:v>
                </c:pt>
                <c:pt idx="2887">
                  <c:v>3609465.9605</c:v>
                </c:pt>
                <c:pt idx="2888">
                  <c:v>3620175.9605</c:v>
                </c:pt>
                <c:pt idx="2889">
                  <c:v>3663393.9605</c:v>
                </c:pt>
                <c:pt idx="2890">
                  <c:v>3641875.9605</c:v>
                </c:pt>
                <c:pt idx="2891">
                  <c:v>3597362.9605</c:v>
                </c:pt>
                <c:pt idx="2892">
                  <c:v>3603585.9605</c:v>
                </c:pt>
                <c:pt idx="2893">
                  <c:v>3646411.960500001</c:v>
                </c:pt>
                <c:pt idx="2894">
                  <c:v>3632047.9605</c:v>
                </c:pt>
                <c:pt idx="2895">
                  <c:v>3706842.960500001</c:v>
                </c:pt>
                <c:pt idx="2896">
                  <c:v>3706870.9605</c:v>
                </c:pt>
                <c:pt idx="2897">
                  <c:v>3699814.960500001</c:v>
                </c:pt>
                <c:pt idx="2898">
                  <c:v>3706016.9605</c:v>
                </c:pt>
                <c:pt idx="2899">
                  <c:v>3675440.9605</c:v>
                </c:pt>
                <c:pt idx="2900">
                  <c:v>3666788.9605</c:v>
                </c:pt>
                <c:pt idx="2901">
                  <c:v>3619762.9605</c:v>
                </c:pt>
                <c:pt idx="2902">
                  <c:v>3618236.960500001</c:v>
                </c:pt>
                <c:pt idx="2903">
                  <c:v>3582613.9605</c:v>
                </c:pt>
                <c:pt idx="2904">
                  <c:v>3614260.9605</c:v>
                </c:pt>
                <c:pt idx="2905">
                  <c:v>3621442.960500001</c:v>
                </c:pt>
                <c:pt idx="2906">
                  <c:v>3627581.9605</c:v>
                </c:pt>
                <c:pt idx="2907">
                  <c:v>3672108.9605</c:v>
                </c:pt>
                <c:pt idx="2908">
                  <c:v>3659851.9605</c:v>
                </c:pt>
                <c:pt idx="2909">
                  <c:v>3692660.9605</c:v>
                </c:pt>
                <c:pt idx="2910">
                  <c:v>3635211.960500001</c:v>
                </c:pt>
                <c:pt idx="2911">
                  <c:v>3664856.9605</c:v>
                </c:pt>
                <c:pt idx="2912">
                  <c:v>3659886.960500001</c:v>
                </c:pt>
                <c:pt idx="2913">
                  <c:v>3689279.9605</c:v>
                </c:pt>
                <c:pt idx="2914">
                  <c:v>3704959.9605</c:v>
                </c:pt>
                <c:pt idx="2915">
                  <c:v>3689930.9605</c:v>
                </c:pt>
                <c:pt idx="2916">
                  <c:v>3739469.9605</c:v>
                </c:pt>
                <c:pt idx="2917">
                  <c:v>3807775.9605</c:v>
                </c:pt>
                <c:pt idx="2918">
                  <c:v>3847276.9605</c:v>
                </c:pt>
                <c:pt idx="2919">
                  <c:v>3917822.9605</c:v>
                </c:pt>
                <c:pt idx="2920">
                  <c:v>3952241.9605</c:v>
                </c:pt>
                <c:pt idx="2921">
                  <c:v>4019434.9605</c:v>
                </c:pt>
                <c:pt idx="2922">
                  <c:v>4006673.9605</c:v>
                </c:pt>
                <c:pt idx="2923">
                  <c:v>3968684.9605</c:v>
                </c:pt>
                <c:pt idx="2924">
                  <c:v>4077317.960500001</c:v>
                </c:pt>
                <c:pt idx="2925">
                  <c:v>4064451.9605</c:v>
                </c:pt>
                <c:pt idx="2926">
                  <c:v>3989194.9605</c:v>
                </c:pt>
                <c:pt idx="2927">
                  <c:v>3980528.9605</c:v>
                </c:pt>
                <c:pt idx="2928">
                  <c:v>4022836.960500001</c:v>
                </c:pt>
                <c:pt idx="2929">
                  <c:v>3966136.960500001</c:v>
                </c:pt>
                <c:pt idx="2930">
                  <c:v>3993373.9605</c:v>
                </c:pt>
                <c:pt idx="2931">
                  <c:v>4055351.9605</c:v>
                </c:pt>
                <c:pt idx="2932">
                  <c:v>4058718.9605</c:v>
                </c:pt>
                <c:pt idx="2933">
                  <c:v>4098016.9605</c:v>
                </c:pt>
                <c:pt idx="2934">
                  <c:v>4018951.9605</c:v>
                </c:pt>
                <c:pt idx="2935">
                  <c:v>4029472.9605</c:v>
                </c:pt>
                <c:pt idx="2936">
                  <c:v>3923870.9605</c:v>
                </c:pt>
                <c:pt idx="2937">
                  <c:v>3906244.9605</c:v>
                </c:pt>
                <c:pt idx="2938">
                  <c:v>3952227.9605</c:v>
                </c:pt>
                <c:pt idx="2939">
                  <c:v>4010635.9605</c:v>
                </c:pt>
                <c:pt idx="2940">
                  <c:v>3999512.9605</c:v>
                </c:pt>
                <c:pt idx="2941">
                  <c:v>3991637.9605</c:v>
                </c:pt>
                <c:pt idx="2942">
                  <c:v>3998259.9605</c:v>
                </c:pt>
                <c:pt idx="2943">
                  <c:v>4055064.960500001</c:v>
                </c:pt>
                <c:pt idx="2944">
                  <c:v>4140247.9605</c:v>
                </c:pt>
                <c:pt idx="2945">
                  <c:v>4225276.9605</c:v>
                </c:pt>
                <c:pt idx="2946">
                  <c:v>4197738.9605</c:v>
                </c:pt>
                <c:pt idx="2947">
                  <c:v>4205060.9605</c:v>
                </c:pt>
                <c:pt idx="2948">
                  <c:v>4078003.9605</c:v>
                </c:pt>
                <c:pt idx="2949">
                  <c:v>4065641.9605</c:v>
                </c:pt>
                <c:pt idx="2950">
                  <c:v>3966171.9605</c:v>
                </c:pt>
                <c:pt idx="2951">
                  <c:v>3988564.960500001</c:v>
                </c:pt>
                <c:pt idx="2952">
                  <c:v>3895604.9605</c:v>
                </c:pt>
                <c:pt idx="2953">
                  <c:v>3953018.9605</c:v>
                </c:pt>
                <c:pt idx="2954">
                  <c:v>3904613.9605</c:v>
                </c:pt>
                <c:pt idx="2955">
                  <c:v>3976419.9605</c:v>
                </c:pt>
                <c:pt idx="2956">
                  <c:v>3856369.9605</c:v>
                </c:pt>
                <c:pt idx="2957">
                  <c:v>3843832.9605</c:v>
                </c:pt>
                <c:pt idx="2958">
                  <c:v>3715886.960500001</c:v>
                </c:pt>
                <c:pt idx="2959">
                  <c:v>3639572.9605</c:v>
                </c:pt>
                <c:pt idx="2960">
                  <c:v>3662399.9605</c:v>
                </c:pt>
                <c:pt idx="2961">
                  <c:v>3749626.9605</c:v>
                </c:pt>
                <c:pt idx="2962">
                  <c:v>3762338.9605</c:v>
                </c:pt>
                <c:pt idx="2963">
                  <c:v>3684750.9605</c:v>
                </c:pt>
                <c:pt idx="2964">
                  <c:v>3715424.9605</c:v>
                </c:pt>
                <c:pt idx="2965">
                  <c:v>3730474.9605</c:v>
                </c:pt>
                <c:pt idx="2966">
                  <c:v>3759111.960500001</c:v>
                </c:pt>
                <c:pt idx="2967">
                  <c:v>3664835.9605</c:v>
                </c:pt>
                <c:pt idx="2968">
                  <c:v>3699877.9605</c:v>
                </c:pt>
                <c:pt idx="2969">
                  <c:v>3666347.9605</c:v>
                </c:pt>
                <c:pt idx="2970">
                  <c:v>3609955.9605</c:v>
                </c:pt>
                <c:pt idx="2971">
                  <c:v>3608317.960500001</c:v>
                </c:pt>
                <c:pt idx="2972">
                  <c:v>3686465.9605</c:v>
                </c:pt>
                <c:pt idx="2973">
                  <c:v>3692688.9605</c:v>
                </c:pt>
                <c:pt idx="2974">
                  <c:v>3726183.9605</c:v>
                </c:pt>
                <c:pt idx="2975">
                  <c:v>3693724.9605</c:v>
                </c:pt>
                <c:pt idx="2976">
                  <c:v>3737418.9605</c:v>
                </c:pt>
                <c:pt idx="2977">
                  <c:v>3772603.6513</c:v>
                </c:pt>
                <c:pt idx="2978">
                  <c:v>3772603.6513</c:v>
                </c:pt>
                <c:pt idx="2979">
                  <c:v>3772603.6513</c:v>
                </c:pt>
                <c:pt idx="2980">
                  <c:v>3772603.6513</c:v>
                </c:pt>
                <c:pt idx="2981">
                  <c:v>3772603.6513</c:v>
                </c:pt>
                <c:pt idx="2982">
                  <c:v>3772603.6513</c:v>
                </c:pt>
                <c:pt idx="2983">
                  <c:v>3772603.6513</c:v>
                </c:pt>
                <c:pt idx="2984">
                  <c:v>3772603.6513</c:v>
                </c:pt>
                <c:pt idx="2985">
                  <c:v>3772603.6513</c:v>
                </c:pt>
                <c:pt idx="2986">
                  <c:v>3772603.6513</c:v>
                </c:pt>
                <c:pt idx="2987">
                  <c:v>3772603.6513</c:v>
                </c:pt>
                <c:pt idx="2988">
                  <c:v>3772603.6513</c:v>
                </c:pt>
                <c:pt idx="2989">
                  <c:v>3772603.6513</c:v>
                </c:pt>
                <c:pt idx="2990">
                  <c:v>3772603.6513</c:v>
                </c:pt>
                <c:pt idx="2991">
                  <c:v>3772603.6513</c:v>
                </c:pt>
                <c:pt idx="2992">
                  <c:v>3772603.6513</c:v>
                </c:pt>
                <c:pt idx="2993">
                  <c:v>3772603.6513</c:v>
                </c:pt>
                <c:pt idx="2994">
                  <c:v>3772603.6513</c:v>
                </c:pt>
                <c:pt idx="2995">
                  <c:v>3772603.6513</c:v>
                </c:pt>
                <c:pt idx="2996">
                  <c:v>3772603.6513</c:v>
                </c:pt>
                <c:pt idx="2997">
                  <c:v>3772603.6513</c:v>
                </c:pt>
                <c:pt idx="2998">
                  <c:v>3772603.6513</c:v>
                </c:pt>
                <c:pt idx="2999">
                  <c:v>3772603.6513</c:v>
                </c:pt>
                <c:pt idx="3000">
                  <c:v>3772603.6513</c:v>
                </c:pt>
                <c:pt idx="3001">
                  <c:v>3772603.6513</c:v>
                </c:pt>
                <c:pt idx="3002">
                  <c:v>3772603.6513</c:v>
                </c:pt>
                <c:pt idx="3003">
                  <c:v>3772603.6513</c:v>
                </c:pt>
                <c:pt idx="3004">
                  <c:v>3772603.6513</c:v>
                </c:pt>
                <c:pt idx="3005">
                  <c:v>3772603.6513</c:v>
                </c:pt>
                <c:pt idx="3006">
                  <c:v>3772603.6513</c:v>
                </c:pt>
                <c:pt idx="3007">
                  <c:v>3772603.6513</c:v>
                </c:pt>
                <c:pt idx="3008">
                  <c:v>3772603.6513</c:v>
                </c:pt>
                <c:pt idx="3009">
                  <c:v>3772603.6513</c:v>
                </c:pt>
                <c:pt idx="3010">
                  <c:v>3772603.6513</c:v>
                </c:pt>
                <c:pt idx="3011">
                  <c:v>3772603.6513</c:v>
                </c:pt>
                <c:pt idx="3012">
                  <c:v>3772603.6513</c:v>
                </c:pt>
                <c:pt idx="3013">
                  <c:v>3772603.6513</c:v>
                </c:pt>
                <c:pt idx="3014">
                  <c:v>3772603.6513</c:v>
                </c:pt>
                <c:pt idx="3015">
                  <c:v>3772603.6513</c:v>
                </c:pt>
                <c:pt idx="3016">
                  <c:v>3772603.6513</c:v>
                </c:pt>
                <c:pt idx="3017">
                  <c:v>3772603.6513</c:v>
                </c:pt>
                <c:pt idx="3018">
                  <c:v>3772603.6513</c:v>
                </c:pt>
                <c:pt idx="3019">
                  <c:v>3772603.6513</c:v>
                </c:pt>
                <c:pt idx="3020">
                  <c:v>3772603.6513</c:v>
                </c:pt>
                <c:pt idx="3021">
                  <c:v>3772603.6513</c:v>
                </c:pt>
                <c:pt idx="3022">
                  <c:v>3772603.6513</c:v>
                </c:pt>
                <c:pt idx="3023">
                  <c:v>3772603.6513</c:v>
                </c:pt>
                <c:pt idx="3024">
                  <c:v>3772603.6513</c:v>
                </c:pt>
                <c:pt idx="3025">
                  <c:v>3772603.6513</c:v>
                </c:pt>
                <c:pt idx="3026">
                  <c:v>3772603.6513</c:v>
                </c:pt>
                <c:pt idx="3027">
                  <c:v>3772603.6513</c:v>
                </c:pt>
                <c:pt idx="3028">
                  <c:v>3772603.6513</c:v>
                </c:pt>
                <c:pt idx="3029">
                  <c:v>3772603.6513</c:v>
                </c:pt>
                <c:pt idx="3030">
                  <c:v>3772243.3340000012</c:v>
                </c:pt>
                <c:pt idx="3031">
                  <c:v>3778249.3340000012</c:v>
                </c:pt>
                <c:pt idx="3032">
                  <c:v>3837049.3340000012</c:v>
                </c:pt>
                <c:pt idx="3033">
                  <c:v>3845302.3340000012</c:v>
                </c:pt>
                <c:pt idx="3034">
                  <c:v>3802448.3340000012</c:v>
                </c:pt>
                <c:pt idx="3035">
                  <c:v>3825898.3340000012</c:v>
                </c:pt>
                <c:pt idx="3036">
                  <c:v>3829832.3340000012</c:v>
                </c:pt>
                <c:pt idx="3037">
                  <c:v>3725854.3340000012</c:v>
                </c:pt>
                <c:pt idx="3038">
                  <c:v>3729123.3340000012</c:v>
                </c:pt>
                <c:pt idx="3039">
                  <c:v>3727240.3340000012</c:v>
                </c:pt>
                <c:pt idx="3040">
                  <c:v>3767413.3340000012</c:v>
                </c:pt>
                <c:pt idx="3041">
                  <c:v>3730852.3340000012</c:v>
                </c:pt>
                <c:pt idx="3042">
                  <c:v>3717678.3339999998</c:v>
                </c:pt>
                <c:pt idx="3043">
                  <c:v>3761967.3340000012</c:v>
                </c:pt>
                <c:pt idx="3044">
                  <c:v>3768540.3340000012</c:v>
                </c:pt>
                <c:pt idx="3045">
                  <c:v>3727226.3340000012</c:v>
                </c:pt>
                <c:pt idx="3046">
                  <c:v>3775092.3340000012</c:v>
                </c:pt>
                <c:pt idx="3047">
                  <c:v>3735409.3340000012</c:v>
                </c:pt>
                <c:pt idx="3048">
                  <c:v>3748513.3340000012</c:v>
                </c:pt>
                <c:pt idx="3049">
                  <c:v>3745363.3340000012</c:v>
                </c:pt>
                <c:pt idx="3050">
                  <c:v>3769898.3340000012</c:v>
                </c:pt>
                <c:pt idx="3051">
                  <c:v>3775295.3340000012</c:v>
                </c:pt>
                <c:pt idx="3052">
                  <c:v>3731531.3339999998</c:v>
                </c:pt>
                <c:pt idx="3053">
                  <c:v>3616780.3340000012</c:v>
                </c:pt>
                <c:pt idx="3054">
                  <c:v>3494654.742300001</c:v>
                </c:pt>
                <c:pt idx="3055">
                  <c:v>3494654.742300001</c:v>
                </c:pt>
                <c:pt idx="3056">
                  <c:v>3494654.742300001</c:v>
                </c:pt>
                <c:pt idx="3057">
                  <c:v>3494654.742300001</c:v>
                </c:pt>
                <c:pt idx="3058">
                  <c:v>3494654.742300001</c:v>
                </c:pt>
                <c:pt idx="3059">
                  <c:v>3494654.742300001</c:v>
                </c:pt>
                <c:pt idx="3060">
                  <c:v>3494654.742300001</c:v>
                </c:pt>
                <c:pt idx="3061">
                  <c:v>3494654.742300001</c:v>
                </c:pt>
                <c:pt idx="3062">
                  <c:v>3494654.742300001</c:v>
                </c:pt>
                <c:pt idx="3063">
                  <c:v>3494654.742300001</c:v>
                </c:pt>
                <c:pt idx="3064">
                  <c:v>3494654.742300001</c:v>
                </c:pt>
                <c:pt idx="3065">
                  <c:v>3494654.742300001</c:v>
                </c:pt>
                <c:pt idx="3066">
                  <c:v>3494654.742300001</c:v>
                </c:pt>
                <c:pt idx="3067">
                  <c:v>3494654.742300001</c:v>
                </c:pt>
                <c:pt idx="3068">
                  <c:v>3494654.742300001</c:v>
                </c:pt>
                <c:pt idx="3069">
                  <c:v>3494654.742300001</c:v>
                </c:pt>
                <c:pt idx="3070">
                  <c:v>3494654.742300001</c:v>
                </c:pt>
                <c:pt idx="3071">
                  <c:v>3494654.742300001</c:v>
                </c:pt>
                <c:pt idx="3072">
                  <c:v>3494654.742300001</c:v>
                </c:pt>
                <c:pt idx="3073">
                  <c:v>3494654.742300001</c:v>
                </c:pt>
                <c:pt idx="3074">
                  <c:v>3494654.742300001</c:v>
                </c:pt>
                <c:pt idx="3075">
                  <c:v>3494654.742300001</c:v>
                </c:pt>
                <c:pt idx="3076">
                  <c:v>3494654.742300001</c:v>
                </c:pt>
                <c:pt idx="3077">
                  <c:v>3494654.742300001</c:v>
                </c:pt>
                <c:pt idx="3078">
                  <c:v>3494654.742300001</c:v>
                </c:pt>
                <c:pt idx="3079">
                  <c:v>3494654.742300001</c:v>
                </c:pt>
                <c:pt idx="3080">
                  <c:v>3494654.742300001</c:v>
                </c:pt>
                <c:pt idx="3081">
                  <c:v>3494654.742300001</c:v>
                </c:pt>
                <c:pt idx="3082">
                  <c:v>3494654.742300001</c:v>
                </c:pt>
                <c:pt idx="3083">
                  <c:v>3494654.742300001</c:v>
                </c:pt>
                <c:pt idx="3084">
                  <c:v>3494654.742300001</c:v>
                </c:pt>
                <c:pt idx="3085">
                  <c:v>3494654.742300001</c:v>
                </c:pt>
                <c:pt idx="3086">
                  <c:v>3494654.742300001</c:v>
                </c:pt>
                <c:pt idx="3087">
                  <c:v>3494654.742300001</c:v>
                </c:pt>
                <c:pt idx="3088">
                  <c:v>3494654.742300001</c:v>
                </c:pt>
                <c:pt idx="3089">
                  <c:v>3494654.742300001</c:v>
                </c:pt>
                <c:pt idx="3090">
                  <c:v>3494654.742300001</c:v>
                </c:pt>
                <c:pt idx="3091">
                  <c:v>3494654.742300001</c:v>
                </c:pt>
                <c:pt idx="3092">
                  <c:v>3494654.742300001</c:v>
                </c:pt>
                <c:pt idx="3093">
                  <c:v>3494654.742300001</c:v>
                </c:pt>
                <c:pt idx="3094">
                  <c:v>3494654.742300001</c:v>
                </c:pt>
                <c:pt idx="3095">
                  <c:v>3494654.742300001</c:v>
                </c:pt>
                <c:pt idx="3096">
                  <c:v>3494654.742300001</c:v>
                </c:pt>
                <c:pt idx="3097">
                  <c:v>3494654.742300001</c:v>
                </c:pt>
                <c:pt idx="3098">
                  <c:v>3494654.742300001</c:v>
                </c:pt>
                <c:pt idx="3099">
                  <c:v>3494314.0957000009</c:v>
                </c:pt>
                <c:pt idx="3100">
                  <c:v>3538806.0957000009</c:v>
                </c:pt>
                <c:pt idx="3101">
                  <c:v>3543181.0957000009</c:v>
                </c:pt>
                <c:pt idx="3102">
                  <c:v>3506536.0957000009</c:v>
                </c:pt>
                <c:pt idx="3103">
                  <c:v>3545925.0957000009</c:v>
                </c:pt>
                <c:pt idx="3104">
                  <c:v>3527375.0957000009</c:v>
                </c:pt>
                <c:pt idx="3105">
                  <c:v>3540325.0957000009</c:v>
                </c:pt>
                <c:pt idx="3106">
                  <c:v>3500194.0957000009</c:v>
                </c:pt>
                <c:pt idx="3107">
                  <c:v>3533752.0957000009</c:v>
                </c:pt>
                <c:pt idx="3108">
                  <c:v>3524974.0957000009</c:v>
                </c:pt>
                <c:pt idx="3109">
                  <c:v>3537462.0957000018</c:v>
                </c:pt>
                <c:pt idx="3110">
                  <c:v>3559659.0957000009</c:v>
                </c:pt>
                <c:pt idx="3111">
                  <c:v>3573512.0957000018</c:v>
                </c:pt>
                <c:pt idx="3112">
                  <c:v>3562018.0957000018</c:v>
                </c:pt>
                <c:pt idx="3113">
                  <c:v>3516560.0957000009</c:v>
                </c:pt>
                <c:pt idx="3114">
                  <c:v>3492746.0957000009</c:v>
                </c:pt>
                <c:pt idx="3115">
                  <c:v>3523987.0957000018</c:v>
                </c:pt>
                <c:pt idx="3116">
                  <c:v>3511331.0957000009</c:v>
                </c:pt>
                <c:pt idx="3117">
                  <c:v>3475743.0957000018</c:v>
                </c:pt>
                <c:pt idx="3118">
                  <c:v>3462625.0957000009</c:v>
                </c:pt>
                <c:pt idx="3119">
                  <c:v>3495966.0957000009</c:v>
                </c:pt>
                <c:pt idx="3120">
                  <c:v>3477493.0957000018</c:v>
                </c:pt>
                <c:pt idx="3121">
                  <c:v>3481574.0957000009</c:v>
                </c:pt>
                <c:pt idx="3122">
                  <c:v>3480566.0957000009</c:v>
                </c:pt>
                <c:pt idx="3123">
                  <c:v>3462681.0957000009</c:v>
                </c:pt>
                <c:pt idx="3124">
                  <c:v>3516903.0957000009</c:v>
                </c:pt>
                <c:pt idx="3125">
                  <c:v>3509707.0957000009</c:v>
                </c:pt>
                <c:pt idx="3126">
                  <c:v>3505514.0957000009</c:v>
                </c:pt>
                <c:pt idx="3127">
                  <c:v>3506172.0957000009</c:v>
                </c:pt>
                <c:pt idx="3128">
                  <c:v>3507873.0957000009</c:v>
                </c:pt>
                <c:pt idx="3129">
                  <c:v>3474182.0957000009</c:v>
                </c:pt>
                <c:pt idx="3130">
                  <c:v>3510890.0957000018</c:v>
                </c:pt>
                <c:pt idx="3131">
                  <c:v>3526184.2277000011</c:v>
                </c:pt>
                <c:pt idx="3132">
                  <c:v>3526184.2277000011</c:v>
                </c:pt>
                <c:pt idx="3133">
                  <c:v>3526184.2277000011</c:v>
                </c:pt>
                <c:pt idx="3134">
                  <c:v>3526184.2277000011</c:v>
                </c:pt>
                <c:pt idx="3135">
                  <c:v>3526184.2277000011</c:v>
                </c:pt>
                <c:pt idx="3136">
                  <c:v>3526184.2277000011</c:v>
                </c:pt>
                <c:pt idx="3137">
                  <c:v>3526184.2277000011</c:v>
                </c:pt>
                <c:pt idx="3138">
                  <c:v>3526184.2277000011</c:v>
                </c:pt>
                <c:pt idx="3139">
                  <c:v>3526184.2277000011</c:v>
                </c:pt>
                <c:pt idx="3140">
                  <c:v>3526184.2277000011</c:v>
                </c:pt>
                <c:pt idx="3141">
                  <c:v>3526184.2277000011</c:v>
                </c:pt>
                <c:pt idx="3142">
                  <c:v>3526184.2277000011</c:v>
                </c:pt>
                <c:pt idx="3143">
                  <c:v>3526184.2277000011</c:v>
                </c:pt>
                <c:pt idx="3144">
                  <c:v>3526184.2277000011</c:v>
                </c:pt>
                <c:pt idx="3145">
                  <c:v>3525880.9205000009</c:v>
                </c:pt>
                <c:pt idx="3146">
                  <c:v>3543088.9205000009</c:v>
                </c:pt>
                <c:pt idx="3147">
                  <c:v>3522628.9205000009</c:v>
                </c:pt>
                <c:pt idx="3148">
                  <c:v>3496348.9205000009</c:v>
                </c:pt>
                <c:pt idx="3149">
                  <c:v>3513646.9205</c:v>
                </c:pt>
                <c:pt idx="3150">
                  <c:v>3465664.9205000009</c:v>
                </c:pt>
                <c:pt idx="3151">
                  <c:v>3421060.9205000009</c:v>
                </c:pt>
                <c:pt idx="3152">
                  <c:v>3440902.9205000009</c:v>
                </c:pt>
                <c:pt idx="3153">
                  <c:v>3441478.9205000009</c:v>
                </c:pt>
                <c:pt idx="3154">
                  <c:v>3462052.9205000009</c:v>
                </c:pt>
                <c:pt idx="3155">
                  <c:v>3445612.9205000009</c:v>
                </c:pt>
                <c:pt idx="3156">
                  <c:v>3444400.9205000009</c:v>
                </c:pt>
                <c:pt idx="3157">
                  <c:v>3466384.9205000009</c:v>
                </c:pt>
                <c:pt idx="3158">
                  <c:v>3422896.9205</c:v>
                </c:pt>
                <c:pt idx="3159">
                  <c:v>3445714.9205000009</c:v>
                </c:pt>
                <c:pt idx="3160">
                  <c:v>3457030.9205000009</c:v>
                </c:pt>
                <c:pt idx="3161">
                  <c:v>3443470.9205000009</c:v>
                </c:pt>
                <c:pt idx="3162">
                  <c:v>3413680.9205000009</c:v>
                </c:pt>
                <c:pt idx="3163">
                  <c:v>3383746.9205</c:v>
                </c:pt>
                <c:pt idx="3164">
                  <c:v>3386230.9205000009</c:v>
                </c:pt>
                <c:pt idx="3165">
                  <c:v>3399238.9205000009</c:v>
                </c:pt>
                <c:pt idx="3166">
                  <c:v>3371470.9205000009</c:v>
                </c:pt>
                <c:pt idx="3167">
                  <c:v>3400156.9205000009</c:v>
                </c:pt>
                <c:pt idx="3168">
                  <c:v>3352360.9205000009</c:v>
                </c:pt>
                <c:pt idx="3169">
                  <c:v>3328846.9205</c:v>
                </c:pt>
                <c:pt idx="3170">
                  <c:v>3353176.9205000009</c:v>
                </c:pt>
                <c:pt idx="3171">
                  <c:v>3380818.9205000009</c:v>
                </c:pt>
                <c:pt idx="3172">
                  <c:v>3361036.9205000009</c:v>
                </c:pt>
                <c:pt idx="3173">
                  <c:v>3386914.9205000009</c:v>
                </c:pt>
                <c:pt idx="3174">
                  <c:v>3360394.9205000009</c:v>
                </c:pt>
                <c:pt idx="3175">
                  <c:v>3364852.9205000009</c:v>
                </c:pt>
                <c:pt idx="3176">
                  <c:v>3299878.9205000009</c:v>
                </c:pt>
                <c:pt idx="3177">
                  <c:v>3320194.9205000009</c:v>
                </c:pt>
                <c:pt idx="3178">
                  <c:v>3264736.9205000009</c:v>
                </c:pt>
                <c:pt idx="3179">
                  <c:v>3231070.9205000009</c:v>
                </c:pt>
                <c:pt idx="3180">
                  <c:v>3273262.9205000009</c:v>
                </c:pt>
                <c:pt idx="3181">
                  <c:v>3258070.9205000009</c:v>
                </c:pt>
                <c:pt idx="3182">
                  <c:v>3284044.9205000009</c:v>
                </c:pt>
                <c:pt idx="3183">
                  <c:v>3276724.9205000009</c:v>
                </c:pt>
                <c:pt idx="3184">
                  <c:v>3253648.9205000009</c:v>
                </c:pt>
                <c:pt idx="3185">
                  <c:v>3223822.9205</c:v>
                </c:pt>
                <c:pt idx="3186">
                  <c:v>3252868.9205000009</c:v>
                </c:pt>
                <c:pt idx="3187">
                  <c:v>3263602.9205000009</c:v>
                </c:pt>
                <c:pt idx="3188">
                  <c:v>3270304.9205000009</c:v>
                </c:pt>
                <c:pt idx="3189">
                  <c:v>3283552.9205000009</c:v>
                </c:pt>
                <c:pt idx="3190">
                  <c:v>3273394.9205000009</c:v>
                </c:pt>
                <c:pt idx="3191">
                  <c:v>3237298.9205000009</c:v>
                </c:pt>
                <c:pt idx="3192">
                  <c:v>3266638.9205000009</c:v>
                </c:pt>
                <c:pt idx="3193">
                  <c:v>3210400.9205000009</c:v>
                </c:pt>
                <c:pt idx="3194">
                  <c:v>3236860.9205000009</c:v>
                </c:pt>
                <c:pt idx="3195">
                  <c:v>3241524.0215000012</c:v>
                </c:pt>
                <c:pt idx="3196">
                  <c:v>3241524.0215000012</c:v>
                </c:pt>
                <c:pt idx="3197">
                  <c:v>3241524.0215000012</c:v>
                </c:pt>
                <c:pt idx="3198">
                  <c:v>3241524.0215000012</c:v>
                </c:pt>
                <c:pt idx="3199">
                  <c:v>3241524.0215000012</c:v>
                </c:pt>
                <c:pt idx="3200">
                  <c:v>3241524.0215000012</c:v>
                </c:pt>
                <c:pt idx="3201">
                  <c:v>3241524.0215000012</c:v>
                </c:pt>
                <c:pt idx="3202">
                  <c:v>3241524.0215000012</c:v>
                </c:pt>
                <c:pt idx="3203">
                  <c:v>3241524.0215000012</c:v>
                </c:pt>
                <c:pt idx="3204">
                  <c:v>3241524.0215000012</c:v>
                </c:pt>
                <c:pt idx="3205">
                  <c:v>3241524.0215000012</c:v>
                </c:pt>
                <c:pt idx="3206">
                  <c:v>3241524.0215000012</c:v>
                </c:pt>
                <c:pt idx="3207">
                  <c:v>3241524.0215000012</c:v>
                </c:pt>
                <c:pt idx="3208">
                  <c:v>3241524.0215000012</c:v>
                </c:pt>
                <c:pt idx="3209">
                  <c:v>3241524.0215000012</c:v>
                </c:pt>
                <c:pt idx="3210">
                  <c:v>3241524.0215000012</c:v>
                </c:pt>
                <c:pt idx="3211">
                  <c:v>3241524.0215000012</c:v>
                </c:pt>
                <c:pt idx="3212">
                  <c:v>3241524.0215000012</c:v>
                </c:pt>
                <c:pt idx="3213">
                  <c:v>3241524.0215000012</c:v>
                </c:pt>
                <c:pt idx="3214">
                  <c:v>3241524.0215000012</c:v>
                </c:pt>
                <c:pt idx="3215">
                  <c:v>3241524.0215000012</c:v>
                </c:pt>
                <c:pt idx="3216">
                  <c:v>3241524.0215000012</c:v>
                </c:pt>
                <c:pt idx="3217">
                  <c:v>3241524.0215000012</c:v>
                </c:pt>
                <c:pt idx="3218">
                  <c:v>3241524.0215000012</c:v>
                </c:pt>
                <c:pt idx="3219">
                  <c:v>3241524.0215000012</c:v>
                </c:pt>
                <c:pt idx="3220">
                  <c:v>3241524.0215000012</c:v>
                </c:pt>
                <c:pt idx="3221">
                  <c:v>3241524.0215000012</c:v>
                </c:pt>
                <c:pt idx="3222">
                  <c:v>3241524.0215000012</c:v>
                </c:pt>
              </c:numCache>
            </c:numRef>
          </c:val>
          <c:smooth val="0"/>
          <c:extLst>
            <c:ext xmlns:c16="http://schemas.microsoft.com/office/drawing/2014/chart" uri="{C3380CC4-5D6E-409C-BE32-E72D297353CC}">
              <c16:uniqueId val="{00000002-C197-4006-B924-AB1192166FA7}"/>
            </c:ext>
          </c:extLst>
        </c:ser>
        <c:ser>
          <c:idx val="3"/>
          <c:order val="3"/>
          <c:tx>
            <c:strRef>
              <c:f>Sheet1!$F$1</c:f>
              <c:strCache>
                <c:ptCount val="1"/>
                <c:pt idx="0">
                  <c:v>RSRS+Market Indicator</c:v>
                </c:pt>
              </c:strCache>
            </c:strRef>
          </c:tx>
          <c:spPr>
            <a:ln w="28575" cap="rnd">
              <a:solidFill>
                <a:schemeClr val="accent4"/>
              </a:solidFill>
              <a:round/>
            </a:ln>
            <a:effectLst/>
          </c:spPr>
          <c:marker>
            <c:symbol val="none"/>
          </c:marker>
          <c:cat>
            <c:strRef>
              <c:f>Sheet1!$B$2:$B$3224</c:f>
              <c:strCache>
                <c:ptCount val="3223"/>
                <c:pt idx="0">
                  <c:v>2009/1/5</c:v>
                </c:pt>
                <c:pt idx="1">
                  <c:v>2009/1/6</c:v>
                </c:pt>
                <c:pt idx="2">
                  <c:v>2009/1/7</c:v>
                </c:pt>
                <c:pt idx="3">
                  <c:v>2009/1/8</c:v>
                </c:pt>
                <c:pt idx="4">
                  <c:v>2009/1/9</c:v>
                </c:pt>
                <c:pt idx="5">
                  <c:v>2009/1/12</c:v>
                </c:pt>
                <c:pt idx="6">
                  <c:v>2009/1/13</c:v>
                </c:pt>
                <c:pt idx="7">
                  <c:v>2009/1/14</c:v>
                </c:pt>
                <c:pt idx="8">
                  <c:v>2009/1/15</c:v>
                </c:pt>
                <c:pt idx="9">
                  <c:v>2009/1/16</c:v>
                </c:pt>
                <c:pt idx="10">
                  <c:v>2009/1/19</c:v>
                </c:pt>
                <c:pt idx="11">
                  <c:v>2009/1/20</c:v>
                </c:pt>
                <c:pt idx="12">
                  <c:v>2009/1/21</c:v>
                </c:pt>
                <c:pt idx="13">
                  <c:v>2009/1/22</c:v>
                </c:pt>
                <c:pt idx="14">
                  <c:v>2009/1/23</c:v>
                </c:pt>
                <c:pt idx="15">
                  <c:v>2009/2/2</c:v>
                </c:pt>
                <c:pt idx="16">
                  <c:v>2009/2/3</c:v>
                </c:pt>
                <c:pt idx="17">
                  <c:v>2009/2/4</c:v>
                </c:pt>
                <c:pt idx="18">
                  <c:v>2009/2/5</c:v>
                </c:pt>
                <c:pt idx="19">
                  <c:v>2009/2/6</c:v>
                </c:pt>
                <c:pt idx="20">
                  <c:v>2009/2/9</c:v>
                </c:pt>
                <c:pt idx="21">
                  <c:v>2009/2/10</c:v>
                </c:pt>
                <c:pt idx="22">
                  <c:v>2009/2/11</c:v>
                </c:pt>
                <c:pt idx="23">
                  <c:v>2009/2/12</c:v>
                </c:pt>
                <c:pt idx="24">
                  <c:v>2009/2/13</c:v>
                </c:pt>
                <c:pt idx="25">
                  <c:v>2009/2/16</c:v>
                </c:pt>
                <c:pt idx="26">
                  <c:v>2009/2/17</c:v>
                </c:pt>
                <c:pt idx="27">
                  <c:v>2009/2/18</c:v>
                </c:pt>
                <c:pt idx="28">
                  <c:v>2009/2/19</c:v>
                </c:pt>
                <c:pt idx="29">
                  <c:v>2009/2/20</c:v>
                </c:pt>
                <c:pt idx="30">
                  <c:v>2009/2/23</c:v>
                </c:pt>
                <c:pt idx="31">
                  <c:v>2009/2/24</c:v>
                </c:pt>
                <c:pt idx="32">
                  <c:v>2009/2/25</c:v>
                </c:pt>
                <c:pt idx="33">
                  <c:v>2009/2/26</c:v>
                </c:pt>
                <c:pt idx="34">
                  <c:v>2009/2/27</c:v>
                </c:pt>
                <c:pt idx="35">
                  <c:v>2009/3/2</c:v>
                </c:pt>
                <c:pt idx="36">
                  <c:v>2009/3/3</c:v>
                </c:pt>
                <c:pt idx="37">
                  <c:v>2009/3/4</c:v>
                </c:pt>
                <c:pt idx="38">
                  <c:v>2009/3/5</c:v>
                </c:pt>
                <c:pt idx="39">
                  <c:v>2009/3/6</c:v>
                </c:pt>
                <c:pt idx="40">
                  <c:v>2009/3/9</c:v>
                </c:pt>
                <c:pt idx="41">
                  <c:v>2009/3/10</c:v>
                </c:pt>
                <c:pt idx="42">
                  <c:v>2009/3/11</c:v>
                </c:pt>
                <c:pt idx="43">
                  <c:v>2009/3/12</c:v>
                </c:pt>
                <c:pt idx="44">
                  <c:v>2009/3/13</c:v>
                </c:pt>
                <c:pt idx="45">
                  <c:v>2009/3/16</c:v>
                </c:pt>
                <c:pt idx="46">
                  <c:v>2009/3/17</c:v>
                </c:pt>
                <c:pt idx="47">
                  <c:v>2009/3/18</c:v>
                </c:pt>
                <c:pt idx="48">
                  <c:v>2009/3/19</c:v>
                </c:pt>
                <c:pt idx="49">
                  <c:v>2009/3/20</c:v>
                </c:pt>
                <c:pt idx="50">
                  <c:v>2009/3/23</c:v>
                </c:pt>
                <c:pt idx="51">
                  <c:v>2009/3/24</c:v>
                </c:pt>
                <c:pt idx="52">
                  <c:v>2009/3/25</c:v>
                </c:pt>
                <c:pt idx="53">
                  <c:v>2009/3/26</c:v>
                </c:pt>
                <c:pt idx="54">
                  <c:v>2009/3/27</c:v>
                </c:pt>
                <c:pt idx="55">
                  <c:v>2009/3/30</c:v>
                </c:pt>
                <c:pt idx="56">
                  <c:v>2009/3/31</c:v>
                </c:pt>
                <c:pt idx="57">
                  <c:v>2009/4/1</c:v>
                </c:pt>
                <c:pt idx="58">
                  <c:v>2009/4/2</c:v>
                </c:pt>
                <c:pt idx="59">
                  <c:v>2009/4/3</c:v>
                </c:pt>
                <c:pt idx="60">
                  <c:v>2009/4/7</c:v>
                </c:pt>
                <c:pt idx="61">
                  <c:v>2009/4/8</c:v>
                </c:pt>
                <c:pt idx="62">
                  <c:v>2009/4/9</c:v>
                </c:pt>
                <c:pt idx="63">
                  <c:v>2009/4/10</c:v>
                </c:pt>
                <c:pt idx="64">
                  <c:v>2009/4/13</c:v>
                </c:pt>
                <c:pt idx="65">
                  <c:v>2009/4/14</c:v>
                </c:pt>
                <c:pt idx="66">
                  <c:v>2009/4/15</c:v>
                </c:pt>
                <c:pt idx="67">
                  <c:v>2009/4/16</c:v>
                </c:pt>
                <c:pt idx="68">
                  <c:v>2009/4/17</c:v>
                </c:pt>
                <c:pt idx="69">
                  <c:v>2009/4/20</c:v>
                </c:pt>
                <c:pt idx="70">
                  <c:v>2009/4/21</c:v>
                </c:pt>
                <c:pt idx="71">
                  <c:v>2009/4/22</c:v>
                </c:pt>
                <c:pt idx="72">
                  <c:v>2009/4/23</c:v>
                </c:pt>
                <c:pt idx="73">
                  <c:v>2009/4/24</c:v>
                </c:pt>
                <c:pt idx="74">
                  <c:v>2009/4/27</c:v>
                </c:pt>
                <c:pt idx="75">
                  <c:v>2009/4/28</c:v>
                </c:pt>
                <c:pt idx="76">
                  <c:v>2009/4/29</c:v>
                </c:pt>
                <c:pt idx="77">
                  <c:v>2009/4/30</c:v>
                </c:pt>
                <c:pt idx="78">
                  <c:v>2009/5/4</c:v>
                </c:pt>
                <c:pt idx="79">
                  <c:v>2009/5/5</c:v>
                </c:pt>
                <c:pt idx="80">
                  <c:v>2009/5/6</c:v>
                </c:pt>
                <c:pt idx="81">
                  <c:v>2009/5/7</c:v>
                </c:pt>
                <c:pt idx="82">
                  <c:v>2009/5/8</c:v>
                </c:pt>
                <c:pt idx="83">
                  <c:v>2009/5/11</c:v>
                </c:pt>
                <c:pt idx="84">
                  <c:v>2009/5/12</c:v>
                </c:pt>
                <c:pt idx="85">
                  <c:v>2009/5/13</c:v>
                </c:pt>
                <c:pt idx="86">
                  <c:v>2009/5/14</c:v>
                </c:pt>
                <c:pt idx="87">
                  <c:v>2009/5/15</c:v>
                </c:pt>
                <c:pt idx="88">
                  <c:v>2009/5/18</c:v>
                </c:pt>
                <c:pt idx="89">
                  <c:v>2009/5/19</c:v>
                </c:pt>
                <c:pt idx="90">
                  <c:v>2009/5/20</c:v>
                </c:pt>
                <c:pt idx="91">
                  <c:v>2009/5/21</c:v>
                </c:pt>
                <c:pt idx="92">
                  <c:v>2009/5/22</c:v>
                </c:pt>
                <c:pt idx="93">
                  <c:v>2009/5/25</c:v>
                </c:pt>
                <c:pt idx="94">
                  <c:v>2009/5/26</c:v>
                </c:pt>
                <c:pt idx="95">
                  <c:v>2009/5/27</c:v>
                </c:pt>
                <c:pt idx="96">
                  <c:v>2009/6/1</c:v>
                </c:pt>
                <c:pt idx="97">
                  <c:v>2009/6/2</c:v>
                </c:pt>
                <c:pt idx="98">
                  <c:v>2009/6/3</c:v>
                </c:pt>
                <c:pt idx="99">
                  <c:v>2009/6/4</c:v>
                </c:pt>
                <c:pt idx="100">
                  <c:v>2009/6/5</c:v>
                </c:pt>
                <c:pt idx="101">
                  <c:v>2009/6/8</c:v>
                </c:pt>
                <c:pt idx="102">
                  <c:v>2009/6/9</c:v>
                </c:pt>
                <c:pt idx="103">
                  <c:v>2009/6/10</c:v>
                </c:pt>
                <c:pt idx="104">
                  <c:v>2009/6/11</c:v>
                </c:pt>
                <c:pt idx="105">
                  <c:v>2009/6/12</c:v>
                </c:pt>
                <c:pt idx="106">
                  <c:v>2009/6/15</c:v>
                </c:pt>
                <c:pt idx="107">
                  <c:v>2009/6/16</c:v>
                </c:pt>
                <c:pt idx="108">
                  <c:v>2009/6/17</c:v>
                </c:pt>
                <c:pt idx="109">
                  <c:v>2009/6/18</c:v>
                </c:pt>
                <c:pt idx="110">
                  <c:v>2009/6/19</c:v>
                </c:pt>
                <c:pt idx="111">
                  <c:v>2009/6/22</c:v>
                </c:pt>
                <c:pt idx="112">
                  <c:v>2009/6/23</c:v>
                </c:pt>
                <c:pt idx="113">
                  <c:v>2009/6/24</c:v>
                </c:pt>
                <c:pt idx="114">
                  <c:v>2009/6/25</c:v>
                </c:pt>
                <c:pt idx="115">
                  <c:v>2009/6/26</c:v>
                </c:pt>
                <c:pt idx="116">
                  <c:v>2009/6/29</c:v>
                </c:pt>
                <c:pt idx="117">
                  <c:v>2009/6/30</c:v>
                </c:pt>
                <c:pt idx="118">
                  <c:v>2009/7/1</c:v>
                </c:pt>
                <c:pt idx="119">
                  <c:v>2009/7/2</c:v>
                </c:pt>
                <c:pt idx="120">
                  <c:v>2009/7/3</c:v>
                </c:pt>
                <c:pt idx="121">
                  <c:v>2009/7/6</c:v>
                </c:pt>
                <c:pt idx="122">
                  <c:v>2009/7/7</c:v>
                </c:pt>
                <c:pt idx="123">
                  <c:v>2009/7/8</c:v>
                </c:pt>
                <c:pt idx="124">
                  <c:v>2009/7/9</c:v>
                </c:pt>
                <c:pt idx="125">
                  <c:v>2009/7/10</c:v>
                </c:pt>
                <c:pt idx="126">
                  <c:v>2009/7/13</c:v>
                </c:pt>
                <c:pt idx="127">
                  <c:v>2009/7/14</c:v>
                </c:pt>
                <c:pt idx="128">
                  <c:v>2009/7/15</c:v>
                </c:pt>
                <c:pt idx="129">
                  <c:v>2009/7/16</c:v>
                </c:pt>
                <c:pt idx="130">
                  <c:v>2009/7/17</c:v>
                </c:pt>
                <c:pt idx="131">
                  <c:v>2009/7/20</c:v>
                </c:pt>
                <c:pt idx="132">
                  <c:v>2009/7/21</c:v>
                </c:pt>
                <c:pt idx="133">
                  <c:v>2009/7/22</c:v>
                </c:pt>
                <c:pt idx="134">
                  <c:v>2009/7/23</c:v>
                </c:pt>
                <c:pt idx="135">
                  <c:v>2009/7/24</c:v>
                </c:pt>
                <c:pt idx="136">
                  <c:v>2009/7/27</c:v>
                </c:pt>
                <c:pt idx="137">
                  <c:v>2009/7/28</c:v>
                </c:pt>
                <c:pt idx="138">
                  <c:v>2009/7/29</c:v>
                </c:pt>
                <c:pt idx="139">
                  <c:v>2009/7/30</c:v>
                </c:pt>
                <c:pt idx="140">
                  <c:v>2009/7/31</c:v>
                </c:pt>
                <c:pt idx="141">
                  <c:v>2009/8/3</c:v>
                </c:pt>
                <c:pt idx="142">
                  <c:v>2009/8/4</c:v>
                </c:pt>
                <c:pt idx="143">
                  <c:v>2009/8/5</c:v>
                </c:pt>
                <c:pt idx="144">
                  <c:v>2009/8/6</c:v>
                </c:pt>
                <c:pt idx="145">
                  <c:v>2009/8/7</c:v>
                </c:pt>
                <c:pt idx="146">
                  <c:v>2009/8/10</c:v>
                </c:pt>
                <c:pt idx="147">
                  <c:v>2009/8/11</c:v>
                </c:pt>
                <c:pt idx="148">
                  <c:v>2009/8/12</c:v>
                </c:pt>
                <c:pt idx="149">
                  <c:v>2009/8/13</c:v>
                </c:pt>
                <c:pt idx="150">
                  <c:v>2009/8/14</c:v>
                </c:pt>
                <c:pt idx="151">
                  <c:v>2009/8/17</c:v>
                </c:pt>
                <c:pt idx="152">
                  <c:v>2009/8/18</c:v>
                </c:pt>
                <c:pt idx="153">
                  <c:v>2009/8/19</c:v>
                </c:pt>
                <c:pt idx="154">
                  <c:v>2009/8/20</c:v>
                </c:pt>
                <c:pt idx="155">
                  <c:v>2009/8/21</c:v>
                </c:pt>
                <c:pt idx="156">
                  <c:v>2009/8/24</c:v>
                </c:pt>
                <c:pt idx="157">
                  <c:v>2009/8/25</c:v>
                </c:pt>
                <c:pt idx="158">
                  <c:v>2009/8/26</c:v>
                </c:pt>
                <c:pt idx="159">
                  <c:v>2009/8/27</c:v>
                </c:pt>
                <c:pt idx="160">
                  <c:v>2009/8/28</c:v>
                </c:pt>
                <c:pt idx="161">
                  <c:v>2009/8/31</c:v>
                </c:pt>
                <c:pt idx="162">
                  <c:v>2009/9/1</c:v>
                </c:pt>
                <c:pt idx="163">
                  <c:v>2009/9/2</c:v>
                </c:pt>
                <c:pt idx="164">
                  <c:v>2009/9/3</c:v>
                </c:pt>
                <c:pt idx="165">
                  <c:v>2009/9/4</c:v>
                </c:pt>
                <c:pt idx="166">
                  <c:v>2009/9/7</c:v>
                </c:pt>
                <c:pt idx="167">
                  <c:v>2009/9/8</c:v>
                </c:pt>
                <c:pt idx="168">
                  <c:v>2009/9/9</c:v>
                </c:pt>
                <c:pt idx="169">
                  <c:v>2009/9/10</c:v>
                </c:pt>
                <c:pt idx="170">
                  <c:v>2009/9/11</c:v>
                </c:pt>
                <c:pt idx="171">
                  <c:v>2009/9/14</c:v>
                </c:pt>
                <c:pt idx="172">
                  <c:v>2009/9/15</c:v>
                </c:pt>
                <c:pt idx="173">
                  <c:v>2009/9/16</c:v>
                </c:pt>
                <c:pt idx="174">
                  <c:v>2009/9/17</c:v>
                </c:pt>
                <c:pt idx="175">
                  <c:v>2009/9/18</c:v>
                </c:pt>
                <c:pt idx="176">
                  <c:v>2009/9/21</c:v>
                </c:pt>
                <c:pt idx="177">
                  <c:v>2009/9/22</c:v>
                </c:pt>
                <c:pt idx="178">
                  <c:v>2009/9/23</c:v>
                </c:pt>
                <c:pt idx="179">
                  <c:v>2009/9/24</c:v>
                </c:pt>
                <c:pt idx="180">
                  <c:v>2009/9/25</c:v>
                </c:pt>
                <c:pt idx="181">
                  <c:v>2009/9/28</c:v>
                </c:pt>
                <c:pt idx="182">
                  <c:v>2009/9/29</c:v>
                </c:pt>
                <c:pt idx="183">
                  <c:v>2009/9/30</c:v>
                </c:pt>
                <c:pt idx="184">
                  <c:v>2009/10/9</c:v>
                </c:pt>
                <c:pt idx="185">
                  <c:v>2009/10/12</c:v>
                </c:pt>
                <c:pt idx="186">
                  <c:v>2009/10/13</c:v>
                </c:pt>
                <c:pt idx="187">
                  <c:v>2009/10/14</c:v>
                </c:pt>
                <c:pt idx="188">
                  <c:v>2009/10/15</c:v>
                </c:pt>
                <c:pt idx="189">
                  <c:v>2009/10/16</c:v>
                </c:pt>
                <c:pt idx="190">
                  <c:v>2009/10/19</c:v>
                </c:pt>
                <c:pt idx="191">
                  <c:v>2009/10/20</c:v>
                </c:pt>
                <c:pt idx="192">
                  <c:v>2009/10/21</c:v>
                </c:pt>
                <c:pt idx="193">
                  <c:v>2009/10/22</c:v>
                </c:pt>
                <c:pt idx="194">
                  <c:v>2009/10/23</c:v>
                </c:pt>
                <c:pt idx="195">
                  <c:v>2009/10/26</c:v>
                </c:pt>
                <c:pt idx="196">
                  <c:v>2009/10/27</c:v>
                </c:pt>
                <c:pt idx="197">
                  <c:v>2009/10/28</c:v>
                </c:pt>
                <c:pt idx="198">
                  <c:v>2009/10/29</c:v>
                </c:pt>
                <c:pt idx="199">
                  <c:v>2009/10/30</c:v>
                </c:pt>
                <c:pt idx="200">
                  <c:v>2009/11/2</c:v>
                </c:pt>
                <c:pt idx="201">
                  <c:v>2009/11/3</c:v>
                </c:pt>
                <c:pt idx="202">
                  <c:v>2009/11/4</c:v>
                </c:pt>
                <c:pt idx="203">
                  <c:v>2009/11/5</c:v>
                </c:pt>
                <c:pt idx="204">
                  <c:v>2009/11/6</c:v>
                </c:pt>
                <c:pt idx="205">
                  <c:v>2009/11/9</c:v>
                </c:pt>
                <c:pt idx="206">
                  <c:v>2009/11/10</c:v>
                </c:pt>
                <c:pt idx="207">
                  <c:v>2009/11/11</c:v>
                </c:pt>
                <c:pt idx="208">
                  <c:v>2009/11/12</c:v>
                </c:pt>
                <c:pt idx="209">
                  <c:v>2009/11/13</c:v>
                </c:pt>
                <c:pt idx="210">
                  <c:v>2009/11/16</c:v>
                </c:pt>
                <c:pt idx="211">
                  <c:v>2009/11/17</c:v>
                </c:pt>
                <c:pt idx="212">
                  <c:v>2009/11/18</c:v>
                </c:pt>
                <c:pt idx="213">
                  <c:v>2009/11/19</c:v>
                </c:pt>
                <c:pt idx="214">
                  <c:v>2009/11/20</c:v>
                </c:pt>
                <c:pt idx="215">
                  <c:v>2009/11/23</c:v>
                </c:pt>
                <c:pt idx="216">
                  <c:v>2009/11/24</c:v>
                </c:pt>
                <c:pt idx="217">
                  <c:v>2009/11/25</c:v>
                </c:pt>
                <c:pt idx="218">
                  <c:v>2009/11/26</c:v>
                </c:pt>
                <c:pt idx="219">
                  <c:v>2009/11/27</c:v>
                </c:pt>
                <c:pt idx="220">
                  <c:v>2009/11/30</c:v>
                </c:pt>
                <c:pt idx="221">
                  <c:v>2009/12/1</c:v>
                </c:pt>
                <c:pt idx="222">
                  <c:v>2009/12/2</c:v>
                </c:pt>
                <c:pt idx="223">
                  <c:v>2009/12/3</c:v>
                </c:pt>
                <c:pt idx="224">
                  <c:v>2009/12/4</c:v>
                </c:pt>
                <c:pt idx="225">
                  <c:v>2009/12/7</c:v>
                </c:pt>
                <c:pt idx="226">
                  <c:v>2009/12/8</c:v>
                </c:pt>
                <c:pt idx="227">
                  <c:v>2009/12/9</c:v>
                </c:pt>
                <c:pt idx="228">
                  <c:v>2009/12/10</c:v>
                </c:pt>
                <c:pt idx="229">
                  <c:v>2009/12/11</c:v>
                </c:pt>
                <c:pt idx="230">
                  <c:v>2009/12/14</c:v>
                </c:pt>
                <c:pt idx="231">
                  <c:v>2009/12/15</c:v>
                </c:pt>
                <c:pt idx="232">
                  <c:v>2009/12/16</c:v>
                </c:pt>
                <c:pt idx="233">
                  <c:v>2009/12/17</c:v>
                </c:pt>
                <c:pt idx="234">
                  <c:v>2009/12/18</c:v>
                </c:pt>
                <c:pt idx="235">
                  <c:v>2009/12/21</c:v>
                </c:pt>
                <c:pt idx="236">
                  <c:v>2009/12/22</c:v>
                </c:pt>
                <c:pt idx="237">
                  <c:v>2009/12/23</c:v>
                </c:pt>
                <c:pt idx="238">
                  <c:v>2009/12/24</c:v>
                </c:pt>
                <c:pt idx="239">
                  <c:v>2009/12/25</c:v>
                </c:pt>
                <c:pt idx="240">
                  <c:v>2009/12/28</c:v>
                </c:pt>
                <c:pt idx="241">
                  <c:v>2009/12/29</c:v>
                </c:pt>
                <c:pt idx="242">
                  <c:v>2009/12/30</c:v>
                </c:pt>
                <c:pt idx="243">
                  <c:v>2009/12/31</c:v>
                </c:pt>
                <c:pt idx="244">
                  <c:v>2010/1/4</c:v>
                </c:pt>
                <c:pt idx="245">
                  <c:v>2010/1/5</c:v>
                </c:pt>
                <c:pt idx="246">
                  <c:v>2010/1/6</c:v>
                </c:pt>
                <c:pt idx="247">
                  <c:v>2010/1/7</c:v>
                </c:pt>
                <c:pt idx="248">
                  <c:v>2010/1/8</c:v>
                </c:pt>
                <c:pt idx="249">
                  <c:v>2010/1/11</c:v>
                </c:pt>
                <c:pt idx="250">
                  <c:v>2010/1/12</c:v>
                </c:pt>
                <c:pt idx="251">
                  <c:v>2010/1/13</c:v>
                </c:pt>
                <c:pt idx="252">
                  <c:v>2010/1/14</c:v>
                </c:pt>
                <c:pt idx="253">
                  <c:v>2010/1/15</c:v>
                </c:pt>
                <c:pt idx="254">
                  <c:v>2010/1/18</c:v>
                </c:pt>
                <c:pt idx="255">
                  <c:v>2010/1/19</c:v>
                </c:pt>
                <c:pt idx="256">
                  <c:v>2010/1/20</c:v>
                </c:pt>
                <c:pt idx="257">
                  <c:v>2010/1/21</c:v>
                </c:pt>
                <c:pt idx="258">
                  <c:v>2010/1/22</c:v>
                </c:pt>
                <c:pt idx="259">
                  <c:v>2010/1/25</c:v>
                </c:pt>
                <c:pt idx="260">
                  <c:v>2010/1/26</c:v>
                </c:pt>
                <c:pt idx="261">
                  <c:v>2010/1/27</c:v>
                </c:pt>
                <c:pt idx="262">
                  <c:v>2010/1/28</c:v>
                </c:pt>
                <c:pt idx="263">
                  <c:v>2010/1/29</c:v>
                </c:pt>
                <c:pt idx="264">
                  <c:v>2010/2/1</c:v>
                </c:pt>
                <c:pt idx="265">
                  <c:v>2010/2/2</c:v>
                </c:pt>
                <c:pt idx="266">
                  <c:v>2010/2/3</c:v>
                </c:pt>
                <c:pt idx="267">
                  <c:v>2010/2/4</c:v>
                </c:pt>
                <c:pt idx="268">
                  <c:v>2010/2/5</c:v>
                </c:pt>
                <c:pt idx="269">
                  <c:v>2010/2/8</c:v>
                </c:pt>
                <c:pt idx="270">
                  <c:v>2010/2/9</c:v>
                </c:pt>
                <c:pt idx="271">
                  <c:v>2010/2/10</c:v>
                </c:pt>
                <c:pt idx="272">
                  <c:v>2010/2/11</c:v>
                </c:pt>
                <c:pt idx="273">
                  <c:v>2010/2/12</c:v>
                </c:pt>
                <c:pt idx="274">
                  <c:v>2010/2/22</c:v>
                </c:pt>
                <c:pt idx="275">
                  <c:v>2010/2/23</c:v>
                </c:pt>
                <c:pt idx="276">
                  <c:v>2010/2/24</c:v>
                </c:pt>
                <c:pt idx="277">
                  <c:v>2010/2/25</c:v>
                </c:pt>
                <c:pt idx="278">
                  <c:v>2010/2/26</c:v>
                </c:pt>
                <c:pt idx="279">
                  <c:v>2010/3/1</c:v>
                </c:pt>
                <c:pt idx="280">
                  <c:v>2010/3/2</c:v>
                </c:pt>
                <c:pt idx="281">
                  <c:v>2010/3/3</c:v>
                </c:pt>
                <c:pt idx="282">
                  <c:v>2010/3/4</c:v>
                </c:pt>
                <c:pt idx="283">
                  <c:v>2010/3/5</c:v>
                </c:pt>
                <c:pt idx="284">
                  <c:v>2010/3/8</c:v>
                </c:pt>
                <c:pt idx="285">
                  <c:v>2010/3/9</c:v>
                </c:pt>
                <c:pt idx="286">
                  <c:v>2010/3/10</c:v>
                </c:pt>
                <c:pt idx="287">
                  <c:v>2010/3/11</c:v>
                </c:pt>
                <c:pt idx="288">
                  <c:v>2010/3/12</c:v>
                </c:pt>
                <c:pt idx="289">
                  <c:v>2010/3/15</c:v>
                </c:pt>
                <c:pt idx="290">
                  <c:v>2010/3/16</c:v>
                </c:pt>
                <c:pt idx="291">
                  <c:v>2010/3/17</c:v>
                </c:pt>
                <c:pt idx="292">
                  <c:v>2010/3/18</c:v>
                </c:pt>
                <c:pt idx="293">
                  <c:v>2010/3/19</c:v>
                </c:pt>
                <c:pt idx="294">
                  <c:v>2010/3/22</c:v>
                </c:pt>
                <c:pt idx="295">
                  <c:v>2010/3/23</c:v>
                </c:pt>
                <c:pt idx="296">
                  <c:v>2010/3/24</c:v>
                </c:pt>
                <c:pt idx="297">
                  <c:v>2010/3/25</c:v>
                </c:pt>
                <c:pt idx="298">
                  <c:v>2010/3/26</c:v>
                </c:pt>
                <c:pt idx="299">
                  <c:v>2010/3/29</c:v>
                </c:pt>
                <c:pt idx="300">
                  <c:v>2010/3/30</c:v>
                </c:pt>
                <c:pt idx="301">
                  <c:v>2010/3/31</c:v>
                </c:pt>
                <c:pt idx="302">
                  <c:v>2010/4/1</c:v>
                </c:pt>
                <c:pt idx="303">
                  <c:v>2010/4/2</c:v>
                </c:pt>
                <c:pt idx="304">
                  <c:v>2010/4/6</c:v>
                </c:pt>
                <c:pt idx="305">
                  <c:v>2010/4/7</c:v>
                </c:pt>
                <c:pt idx="306">
                  <c:v>2010/4/8</c:v>
                </c:pt>
                <c:pt idx="307">
                  <c:v>2010/4/9</c:v>
                </c:pt>
                <c:pt idx="308">
                  <c:v>2010/4/12</c:v>
                </c:pt>
                <c:pt idx="309">
                  <c:v>2010/4/13</c:v>
                </c:pt>
                <c:pt idx="310">
                  <c:v>2010/4/14</c:v>
                </c:pt>
                <c:pt idx="311">
                  <c:v>2010/4/15</c:v>
                </c:pt>
                <c:pt idx="312">
                  <c:v>2010/4/16</c:v>
                </c:pt>
                <c:pt idx="313">
                  <c:v>2010/4/19</c:v>
                </c:pt>
                <c:pt idx="314">
                  <c:v>2010/4/20</c:v>
                </c:pt>
                <c:pt idx="315">
                  <c:v>2010/4/21</c:v>
                </c:pt>
                <c:pt idx="316">
                  <c:v>2010/4/22</c:v>
                </c:pt>
                <c:pt idx="317">
                  <c:v>2010/4/23</c:v>
                </c:pt>
                <c:pt idx="318">
                  <c:v>2010/4/26</c:v>
                </c:pt>
                <c:pt idx="319">
                  <c:v>2010/4/27</c:v>
                </c:pt>
                <c:pt idx="320">
                  <c:v>2010/4/28</c:v>
                </c:pt>
                <c:pt idx="321">
                  <c:v>2010/4/29</c:v>
                </c:pt>
                <c:pt idx="322">
                  <c:v>2010/4/30</c:v>
                </c:pt>
                <c:pt idx="323">
                  <c:v>2010/5/4</c:v>
                </c:pt>
                <c:pt idx="324">
                  <c:v>2010/5/5</c:v>
                </c:pt>
                <c:pt idx="325">
                  <c:v>2010/5/6</c:v>
                </c:pt>
                <c:pt idx="326">
                  <c:v>2010/5/7</c:v>
                </c:pt>
                <c:pt idx="327">
                  <c:v>2010/5/10</c:v>
                </c:pt>
                <c:pt idx="328">
                  <c:v>2010/5/11</c:v>
                </c:pt>
                <c:pt idx="329">
                  <c:v>2010/5/12</c:v>
                </c:pt>
                <c:pt idx="330">
                  <c:v>2010/5/13</c:v>
                </c:pt>
                <c:pt idx="331">
                  <c:v>2010/5/14</c:v>
                </c:pt>
                <c:pt idx="332">
                  <c:v>2010/5/17</c:v>
                </c:pt>
                <c:pt idx="333">
                  <c:v>2010/5/18</c:v>
                </c:pt>
                <c:pt idx="334">
                  <c:v>2010/5/19</c:v>
                </c:pt>
                <c:pt idx="335">
                  <c:v>2010/5/20</c:v>
                </c:pt>
                <c:pt idx="336">
                  <c:v>2010/5/21</c:v>
                </c:pt>
                <c:pt idx="337">
                  <c:v>2010/5/24</c:v>
                </c:pt>
                <c:pt idx="338">
                  <c:v>2010/5/25</c:v>
                </c:pt>
                <c:pt idx="339">
                  <c:v>2010/5/26</c:v>
                </c:pt>
                <c:pt idx="340">
                  <c:v>2010/5/27</c:v>
                </c:pt>
                <c:pt idx="341">
                  <c:v>2010/5/28</c:v>
                </c:pt>
                <c:pt idx="342">
                  <c:v>2010/5/31</c:v>
                </c:pt>
                <c:pt idx="343">
                  <c:v>2010/6/1</c:v>
                </c:pt>
                <c:pt idx="344">
                  <c:v>2010/6/2</c:v>
                </c:pt>
                <c:pt idx="345">
                  <c:v>2010/6/3</c:v>
                </c:pt>
                <c:pt idx="346">
                  <c:v>2010/6/4</c:v>
                </c:pt>
                <c:pt idx="347">
                  <c:v>2010/6/7</c:v>
                </c:pt>
                <c:pt idx="348">
                  <c:v>2010/6/8</c:v>
                </c:pt>
                <c:pt idx="349">
                  <c:v>2010/6/9</c:v>
                </c:pt>
                <c:pt idx="350">
                  <c:v>2010/6/10</c:v>
                </c:pt>
                <c:pt idx="351">
                  <c:v>2010/6/11</c:v>
                </c:pt>
                <c:pt idx="352">
                  <c:v>2010/6/17</c:v>
                </c:pt>
                <c:pt idx="353">
                  <c:v>2010/6/18</c:v>
                </c:pt>
                <c:pt idx="354">
                  <c:v>2010/6/21</c:v>
                </c:pt>
                <c:pt idx="355">
                  <c:v>2010/6/22</c:v>
                </c:pt>
                <c:pt idx="356">
                  <c:v>2010/6/23</c:v>
                </c:pt>
                <c:pt idx="357">
                  <c:v>2010/6/24</c:v>
                </c:pt>
                <c:pt idx="358">
                  <c:v>2010/6/25</c:v>
                </c:pt>
                <c:pt idx="359">
                  <c:v>2010/6/28</c:v>
                </c:pt>
                <c:pt idx="360">
                  <c:v>2010/6/29</c:v>
                </c:pt>
                <c:pt idx="361">
                  <c:v>2010/6/30</c:v>
                </c:pt>
                <c:pt idx="362">
                  <c:v>2010/7/1</c:v>
                </c:pt>
                <c:pt idx="363">
                  <c:v>2010/7/2</c:v>
                </c:pt>
                <c:pt idx="364">
                  <c:v>2010/7/5</c:v>
                </c:pt>
                <c:pt idx="365">
                  <c:v>2010/7/6</c:v>
                </c:pt>
                <c:pt idx="366">
                  <c:v>2010/7/7</c:v>
                </c:pt>
                <c:pt idx="367">
                  <c:v>2010/7/8</c:v>
                </c:pt>
                <c:pt idx="368">
                  <c:v>2010/7/9</c:v>
                </c:pt>
                <c:pt idx="369">
                  <c:v>2010/7/12</c:v>
                </c:pt>
                <c:pt idx="370">
                  <c:v>2010/7/13</c:v>
                </c:pt>
                <c:pt idx="371">
                  <c:v>2010/7/14</c:v>
                </c:pt>
                <c:pt idx="372">
                  <c:v>2010/7/15</c:v>
                </c:pt>
                <c:pt idx="373">
                  <c:v>2010/7/16</c:v>
                </c:pt>
                <c:pt idx="374">
                  <c:v>2010/7/19</c:v>
                </c:pt>
                <c:pt idx="375">
                  <c:v>2010/7/20</c:v>
                </c:pt>
                <c:pt idx="376">
                  <c:v>2010/7/21</c:v>
                </c:pt>
                <c:pt idx="377">
                  <c:v>2010/7/22</c:v>
                </c:pt>
                <c:pt idx="378">
                  <c:v>2010/7/23</c:v>
                </c:pt>
                <c:pt idx="379">
                  <c:v>2010/7/26</c:v>
                </c:pt>
                <c:pt idx="380">
                  <c:v>2010/7/27</c:v>
                </c:pt>
                <c:pt idx="381">
                  <c:v>2010/7/28</c:v>
                </c:pt>
                <c:pt idx="382">
                  <c:v>2010/7/29</c:v>
                </c:pt>
                <c:pt idx="383">
                  <c:v>2010/7/30</c:v>
                </c:pt>
                <c:pt idx="384">
                  <c:v>2010/8/2</c:v>
                </c:pt>
                <c:pt idx="385">
                  <c:v>2010/8/3</c:v>
                </c:pt>
                <c:pt idx="386">
                  <c:v>2010/8/4</c:v>
                </c:pt>
                <c:pt idx="387">
                  <c:v>2010/8/5</c:v>
                </c:pt>
                <c:pt idx="388">
                  <c:v>2010/8/6</c:v>
                </c:pt>
                <c:pt idx="389">
                  <c:v>2010/8/9</c:v>
                </c:pt>
                <c:pt idx="390">
                  <c:v>2010/8/10</c:v>
                </c:pt>
                <c:pt idx="391">
                  <c:v>2010/8/11</c:v>
                </c:pt>
                <c:pt idx="392">
                  <c:v>2010/8/12</c:v>
                </c:pt>
                <c:pt idx="393">
                  <c:v>2010/8/13</c:v>
                </c:pt>
                <c:pt idx="394">
                  <c:v>2010/8/16</c:v>
                </c:pt>
                <c:pt idx="395">
                  <c:v>2010/8/17</c:v>
                </c:pt>
                <c:pt idx="396">
                  <c:v>2010/8/18</c:v>
                </c:pt>
                <c:pt idx="397">
                  <c:v>2010/8/19</c:v>
                </c:pt>
                <c:pt idx="398">
                  <c:v>2010/8/20</c:v>
                </c:pt>
                <c:pt idx="399">
                  <c:v>2010/8/23</c:v>
                </c:pt>
                <c:pt idx="400">
                  <c:v>2010/8/24</c:v>
                </c:pt>
                <c:pt idx="401">
                  <c:v>2010/8/25</c:v>
                </c:pt>
                <c:pt idx="402">
                  <c:v>2010/8/26</c:v>
                </c:pt>
                <c:pt idx="403">
                  <c:v>2010/8/27</c:v>
                </c:pt>
                <c:pt idx="404">
                  <c:v>2010/8/30</c:v>
                </c:pt>
                <c:pt idx="405">
                  <c:v>2010/8/31</c:v>
                </c:pt>
                <c:pt idx="406">
                  <c:v>2010/9/1</c:v>
                </c:pt>
                <c:pt idx="407">
                  <c:v>2010/9/2</c:v>
                </c:pt>
                <c:pt idx="408">
                  <c:v>2010/9/3</c:v>
                </c:pt>
                <c:pt idx="409">
                  <c:v>2010/9/6</c:v>
                </c:pt>
                <c:pt idx="410">
                  <c:v>2010/9/7</c:v>
                </c:pt>
                <c:pt idx="411">
                  <c:v>2010/9/8</c:v>
                </c:pt>
                <c:pt idx="412">
                  <c:v>2010/9/9</c:v>
                </c:pt>
                <c:pt idx="413">
                  <c:v>2010/9/10</c:v>
                </c:pt>
                <c:pt idx="414">
                  <c:v>2010/9/13</c:v>
                </c:pt>
                <c:pt idx="415">
                  <c:v>2010/9/14</c:v>
                </c:pt>
                <c:pt idx="416">
                  <c:v>2010/9/15</c:v>
                </c:pt>
                <c:pt idx="417">
                  <c:v>2010/9/16</c:v>
                </c:pt>
                <c:pt idx="418">
                  <c:v>2010/9/17</c:v>
                </c:pt>
                <c:pt idx="419">
                  <c:v>2010/9/20</c:v>
                </c:pt>
                <c:pt idx="420">
                  <c:v>2010/9/21</c:v>
                </c:pt>
                <c:pt idx="421">
                  <c:v>2010/9/27</c:v>
                </c:pt>
                <c:pt idx="422">
                  <c:v>2010/9/28</c:v>
                </c:pt>
                <c:pt idx="423">
                  <c:v>2010/9/29</c:v>
                </c:pt>
                <c:pt idx="424">
                  <c:v>2010/9/30</c:v>
                </c:pt>
                <c:pt idx="425">
                  <c:v>2010/10/8</c:v>
                </c:pt>
                <c:pt idx="426">
                  <c:v>2010/10/11</c:v>
                </c:pt>
                <c:pt idx="427">
                  <c:v>2010/10/12</c:v>
                </c:pt>
                <c:pt idx="428">
                  <c:v>2010/10/13</c:v>
                </c:pt>
                <c:pt idx="429">
                  <c:v>2010/10/14</c:v>
                </c:pt>
                <c:pt idx="430">
                  <c:v>2010/10/15</c:v>
                </c:pt>
                <c:pt idx="431">
                  <c:v>2010/10/18</c:v>
                </c:pt>
                <c:pt idx="432">
                  <c:v>2010/10/19</c:v>
                </c:pt>
                <c:pt idx="433">
                  <c:v>2010/10/20</c:v>
                </c:pt>
                <c:pt idx="434">
                  <c:v>2010/10/21</c:v>
                </c:pt>
                <c:pt idx="435">
                  <c:v>2010/10/22</c:v>
                </c:pt>
                <c:pt idx="436">
                  <c:v>2010/10/25</c:v>
                </c:pt>
                <c:pt idx="437">
                  <c:v>2010/10/26</c:v>
                </c:pt>
                <c:pt idx="438">
                  <c:v>2010/10/27</c:v>
                </c:pt>
                <c:pt idx="439">
                  <c:v>2010/10/28</c:v>
                </c:pt>
                <c:pt idx="440">
                  <c:v>2010/10/29</c:v>
                </c:pt>
                <c:pt idx="441">
                  <c:v>2010/11/1</c:v>
                </c:pt>
                <c:pt idx="442">
                  <c:v>2010/11/2</c:v>
                </c:pt>
                <c:pt idx="443">
                  <c:v>2010/11/3</c:v>
                </c:pt>
                <c:pt idx="444">
                  <c:v>2010/11/4</c:v>
                </c:pt>
                <c:pt idx="445">
                  <c:v>2010/11/5</c:v>
                </c:pt>
                <c:pt idx="446">
                  <c:v>2010/11/8</c:v>
                </c:pt>
                <c:pt idx="447">
                  <c:v>2010/11/9</c:v>
                </c:pt>
                <c:pt idx="448">
                  <c:v>2010/11/10</c:v>
                </c:pt>
                <c:pt idx="449">
                  <c:v>2010/11/11</c:v>
                </c:pt>
                <c:pt idx="450">
                  <c:v>2010/11/12</c:v>
                </c:pt>
                <c:pt idx="451">
                  <c:v>2010/11/15</c:v>
                </c:pt>
                <c:pt idx="452">
                  <c:v>2010/11/16</c:v>
                </c:pt>
                <c:pt idx="453">
                  <c:v>2010/11/17</c:v>
                </c:pt>
                <c:pt idx="454">
                  <c:v>2010/11/18</c:v>
                </c:pt>
                <c:pt idx="455">
                  <c:v>2010/11/19</c:v>
                </c:pt>
                <c:pt idx="456">
                  <c:v>2010/11/22</c:v>
                </c:pt>
                <c:pt idx="457">
                  <c:v>2010/11/23</c:v>
                </c:pt>
                <c:pt idx="458">
                  <c:v>2010/11/24</c:v>
                </c:pt>
                <c:pt idx="459">
                  <c:v>2010/11/25</c:v>
                </c:pt>
                <c:pt idx="460">
                  <c:v>2010/11/26</c:v>
                </c:pt>
                <c:pt idx="461">
                  <c:v>2010/11/29</c:v>
                </c:pt>
                <c:pt idx="462">
                  <c:v>2010/11/30</c:v>
                </c:pt>
                <c:pt idx="463">
                  <c:v>2010/12/1</c:v>
                </c:pt>
                <c:pt idx="464">
                  <c:v>2010/12/2</c:v>
                </c:pt>
                <c:pt idx="465">
                  <c:v>2010/12/3</c:v>
                </c:pt>
                <c:pt idx="466">
                  <c:v>2010/12/6</c:v>
                </c:pt>
                <c:pt idx="467">
                  <c:v>2010/12/7</c:v>
                </c:pt>
                <c:pt idx="468">
                  <c:v>2010/12/8</c:v>
                </c:pt>
                <c:pt idx="469">
                  <c:v>2010/12/9</c:v>
                </c:pt>
                <c:pt idx="470">
                  <c:v>2010/12/10</c:v>
                </c:pt>
                <c:pt idx="471">
                  <c:v>2010/12/13</c:v>
                </c:pt>
                <c:pt idx="472">
                  <c:v>2010/12/14</c:v>
                </c:pt>
                <c:pt idx="473">
                  <c:v>2010/12/15</c:v>
                </c:pt>
                <c:pt idx="474">
                  <c:v>2010/12/16</c:v>
                </c:pt>
                <c:pt idx="475">
                  <c:v>2010/12/17</c:v>
                </c:pt>
                <c:pt idx="476">
                  <c:v>2010/12/20</c:v>
                </c:pt>
                <c:pt idx="477">
                  <c:v>2010/12/21</c:v>
                </c:pt>
                <c:pt idx="478">
                  <c:v>2010/12/22</c:v>
                </c:pt>
                <c:pt idx="479">
                  <c:v>2010/12/23</c:v>
                </c:pt>
                <c:pt idx="480">
                  <c:v>2010/12/24</c:v>
                </c:pt>
                <c:pt idx="481">
                  <c:v>2010/12/27</c:v>
                </c:pt>
                <c:pt idx="482">
                  <c:v>2010/12/28</c:v>
                </c:pt>
                <c:pt idx="483">
                  <c:v>2010/12/29</c:v>
                </c:pt>
                <c:pt idx="484">
                  <c:v>2010/12/30</c:v>
                </c:pt>
                <c:pt idx="485">
                  <c:v>2010/12/31</c:v>
                </c:pt>
                <c:pt idx="486">
                  <c:v>2011/1/4</c:v>
                </c:pt>
                <c:pt idx="487">
                  <c:v>2011/1/5</c:v>
                </c:pt>
                <c:pt idx="488">
                  <c:v>2011/1/6</c:v>
                </c:pt>
                <c:pt idx="489">
                  <c:v>2011/1/7</c:v>
                </c:pt>
                <c:pt idx="490">
                  <c:v>2011/1/10</c:v>
                </c:pt>
                <c:pt idx="491">
                  <c:v>2011/1/11</c:v>
                </c:pt>
                <c:pt idx="492">
                  <c:v>2011/1/12</c:v>
                </c:pt>
                <c:pt idx="493">
                  <c:v>2011/1/13</c:v>
                </c:pt>
                <c:pt idx="494">
                  <c:v>2011/1/14</c:v>
                </c:pt>
                <c:pt idx="495">
                  <c:v>2011/1/17</c:v>
                </c:pt>
                <c:pt idx="496">
                  <c:v>2011/1/18</c:v>
                </c:pt>
                <c:pt idx="497">
                  <c:v>2011/1/19</c:v>
                </c:pt>
                <c:pt idx="498">
                  <c:v>2011/1/20</c:v>
                </c:pt>
                <c:pt idx="499">
                  <c:v>2011/1/21</c:v>
                </c:pt>
                <c:pt idx="500">
                  <c:v>2011/1/24</c:v>
                </c:pt>
                <c:pt idx="501">
                  <c:v>2011/1/25</c:v>
                </c:pt>
                <c:pt idx="502">
                  <c:v>2011/1/26</c:v>
                </c:pt>
                <c:pt idx="503">
                  <c:v>2011/1/27</c:v>
                </c:pt>
                <c:pt idx="504">
                  <c:v>2011/1/28</c:v>
                </c:pt>
                <c:pt idx="505">
                  <c:v>2011/1/31</c:v>
                </c:pt>
                <c:pt idx="506">
                  <c:v>2011/2/1</c:v>
                </c:pt>
                <c:pt idx="507">
                  <c:v>2011/2/9</c:v>
                </c:pt>
                <c:pt idx="508">
                  <c:v>2011/2/10</c:v>
                </c:pt>
                <c:pt idx="509">
                  <c:v>2011/2/11</c:v>
                </c:pt>
                <c:pt idx="510">
                  <c:v>2011/2/14</c:v>
                </c:pt>
                <c:pt idx="511">
                  <c:v>2011/2/15</c:v>
                </c:pt>
                <c:pt idx="512">
                  <c:v>2011/2/16</c:v>
                </c:pt>
                <c:pt idx="513">
                  <c:v>2011/2/17</c:v>
                </c:pt>
                <c:pt idx="514">
                  <c:v>2011/2/18</c:v>
                </c:pt>
                <c:pt idx="515">
                  <c:v>2011/2/21</c:v>
                </c:pt>
                <c:pt idx="516">
                  <c:v>2011/2/22</c:v>
                </c:pt>
                <c:pt idx="517">
                  <c:v>2011/2/23</c:v>
                </c:pt>
                <c:pt idx="518">
                  <c:v>2011/2/24</c:v>
                </c:pt>
                <c:pt idx="519">
                  <c:v>2011/2/25</c:v>
                </c:pt>
                <c:pt idx="520">
                  <c:v>2011/2/28</c:v>
                </c:pt>
                <c:pt idx="521">
                  <c:v>2011/3/1</c:v>
                </c:pt>
                <c:pt idx="522">
                  <c:v>2011/3/2</c:v>
                </c:pt>
                <c:pt idx="523">
                  <c:v>2011/3/3</c:v>
                </c:pt>
                <c:pt idx="524">
                  <c:v>2011/3/4</c:v>
                </c:pt>
                <c:pt idx="525">
                  <c:v>2011/3/7</c:v>
                </c:pt>
                <c:pt idx="526">
                  <c:v>2011/3/8</c:v>
                </c:pt>
                <c:pt idx="527">
                  <c:v>2011/3/9</c:v>
                </c:pt>
                <c:pt idx="528">
                  <c:v>2011/3/10</c:v>
                </c:pt>
                <c:pt idx="529">
                  <c:v>2011/3/11</c:v>
                </c:pt>
                <c:pt idx="530">
                  <c:v>2011/3/14</c:v>
                </c:pt>
                <c:pt idx="531">
                  <c:v>2011/3/15</c:v>
                </c:pt>
                <c:pt idx="532">
                  <c:v>2011/3/16</c:v>
                </c:pt>
                <c:pt idx="533">
                  <c:v>2011/3/17</c:v>
                </c:pt>
                <c:pt idx="534">
                  <c:v>2011/3/18</c:v>
                </c:pt>
                <c:pt idx="535">
                  <c:v>2011/3/21</c:v>
                </c:pt>
                <c:pt idx="536">
                  <c:v>2011/3/22</c:v>
                </c:pt>
                <c:pt idx="537">
                  <c:v>2011/3/23</c:v>
                </c:pt>
                <c:pt idx="538">
                  <c:v>2011/3/24</c:v>
                </c:pt>
                <c:pt idx="539">
                  <c:v>2011/3/25</c:v>
                </c:pt>
                <c:pt idx="540">
                  <c:v>2011/3/28</c:v>
                </c:pt>
                <c:pt idx="541">
                  <c:v>2011/3/29</c:v>
                </c:pt>
                <c:pt idx="542">
                  <c:v>2011/3/30</c:v>
                </c:pt>
                <c:pt idx="543">
                  <c:v>2011/3/31</c:v>
                </c:pt>
                <c:pt idx="544">
                  <c:v>2011/4/1</c:v>
                </c:pt>
                <c:pt idx="545">
                  <c:v>2011/4/6</c:v>
                </c:pt>
                <c:pt idx="546">
                  <c:v>2011/4/7</c:v>
                </c:pt>
                <c:pt idx="547">
                  <c:v>2011/4/8</c:v>
                </c:pt>
                <c:pt idx="548">
                  <c:v>2011/4/11</c:v>
                </c:pt>
                <c:pt idx="549">
                  <c:v>2011/4/12</c:v>
                </c:pt>
                <c:pt idx="550">
                  <c:v>2011/4/13</c:v>
                </c:pt>
                <c:pt idx="551">
                  <c:v>2011/4/14</c:v>
                </c:pt>
                <c:pt idx="552">
                  <c:v>2011/4/15</c:v>
                </c:pt>
                <c:pt idx="553">
                  <c:v>2011/4/18</c:v>
                </c:pt>
                <c:pt idx="554">
                  <c:v>2011/4/19</c:v>
                </c:pt>
                <c:pt idx="555">
                  <c:v>2011/4/20</c:v>
                </c:pt>
                <c:pt idx="556">
                  <c:v>2011/4/21</c:v>
                </c:pt>
                <c:pt idx="557">
                  <c:v>2011/4/22</c:v>
                </c:pt>
                <c:pt idx="558">
                  <c:v>2011/4/25</c:v>
                </c:pt>
                <c:pt idx="559">
                  <c:v>2011/4/26</c:v>
                </c:pt>
                <c:pt idx="560">
                  <c:v>2011/4/27</c:v>
                </c:pt>
                <c:pt idx="561">
                  <c:v>2011/4/28</c:v>
                </c:pt>
                <c:pt idx="562">
                  <c:v>2011/4/29</c:v>
                </c:pt>
                <c:pt idx="563">
                  <c:v>2011/5/3</c:v>
                </c:pt>
                <c:pt idx="564">
                  <c:v>2011/5/4</c:v>
                </c:pt>
                <c:pt idx="565">
                  <c:v>2011/5/5</c:v>
                </c:pt>
                <c:pt idx="566">
                  <c:v>2011/5/6</c:v>
                </c:pt>
                <c:pt idx="567">
                  <c:v>2011/5/9</c:v>
                </c:pt>
                <c:pt idx="568">
                  <c:v>2011/5/10</c:v>
                </c:pt>
                <c:pt idx="569">
                  <c:v>2011/5/11</c:v>
                </c:pt>
                <c:pt idx="570">
                  <c:v>2011/5/12</c:v>
                </c:pt>
                <c:pt idx="571">
                  <c:v>2011/5/13</c:v>
                </c:pt>
                <c:pt idx="572">
                  <c:v>2011/5/16</c:v>
                </c:pt>
                <c:pt idx="573">
                  <c:v>2011/5/17</c:v>
                </c:pt>
                <c:pt idx="574">
                  <c:v>2011/5/18</c:v>
                </c:pt>
                <c:pt idx="575">
                  <c:v>2011/5/19</c:v>
                </c:pt>
                <c:pt idx="576">
                  <c:v>2011/5/20</c:v>
                </c:pt>
                <c:pt idx="577">
                  <c:v>2011/5/23</c:v>
                </c:pt>
                <c:pt idx="578">
                  <c:v>2011/5/24</c:v>
                </c:pt>
                <c:pt idx="579">
                  <c:v>2011/5/25</c:v>
                </c:pt>
                <c:pt idx="580">
                  <c:v>2011/5/26</c:v>
                </c:pt>
                <c:pt idx="581">
                  <c:v>2011/5/27</c:v>
                </c:pt>
                <c:pt idx="582">
                  <c:v>2011/5/30</c:v>
                </c:pt>
                <c:pt idx="583">
                  <c:v>2011/5/31</c:v>
                </c:pt>
                <c:pt idx="584">
                  <c:v>2011/6/1</c:v>
                </c:pt>
                <c:pt idx="585">
                  <c:v>2011/6/2</c:v>
                </c:pt>
                <c:pt idx="586">
                  <c:v>2011/6/3</c:v>
                </c:pt>
                <c:pt idx="587">
                  <c:v>2011/6/7</c:v>
                </c:pt>
                <c:pt idx="588">
                  <c:v>2011/6/8</c:v>
                </c:pt>
                <c:pt idx="589">
                  <c:v>2011/6/9</c:v>
                </c:pt>
                <c:pt idx="590">
                  <c:v>2011/6/10</c:v>
                </c:pt>
                <c:pt idx="591">
                  <c:v>2011/6/13</c:v>
                </c:pt>
                <c:pt idx="592">
                  <c:v>2011/6/14</c:v>
                </c:pt>
                <c:pt idx="593">
                  <c:v>2011/6/15</c:v>
                </c:pt>
                <c:pt idx="594">
                  <c:v>2011/6/16</c:v>
                </c:pt>
                <c:pt idx="595">
                  <c:v>2011/6/17</c:v>
                </c:pt>
                <c:pt idx="596">
                  <c:v>2011/6/20</c:v>
                </c:pt>
                <c:pt idx="597">
                  <c:v>2011/6/21</c:v>
                </c:pt>
                <c:pt idx="598">
                  <c:v>2011/6/22</c:v>
                </c:pt>
                <c:pt idx="599">
                  <c:v>2011/6/23</c:v>
                </c:pt>
                <c:pt idx="600">
                  <c:v>2011/6/24</c:v>
                </c:pt>
                <c:pt idx="601">
                  <c:v>2011/6/27</c:v>
                </c:pt>
                <c:pt idx="602">
                  <c:v>2011/6/28</c:v>
                </c:pt>
                <c:pt idx="603">
                  <c:v>2011/6/29</c:v>
                </c:pt>
                <c:pt idx="604">
                  <c:v>2011/6/30</c:v>
                </c:pt>
                <c:pt idx="605">
                  <c:v>2011/7/1</c:v>
                </c:pt>
                <c:pt idx="606">
                  <c:v>2011/7/4</c:v>
                </c:pt>
                <c:pt idx="607">
                  <c:v>2011/7/5</c:v>
                </c:pt>
                <c:pt idx="608">
                  <c:v>2011/7/6</c:v>
                </c:pt>
                <c:pt idx="609">
                  <c:v>2011/7/7</c:v>
                </c:pt>
                <c:pt idx="610">
                  <c:v>2011/7/8</c:v>
                </c:pt>
                <c:pt idx="611">
                  <c:v>2011/7/11</c:v>
                </c:pt>
                <c:pt idx="612">
                  <c:v>2011/7/12</c:v>
                </c:pt>
                <c:pt idx="613">
                  <c:v>2011/7/13</c:v>
                </c:pt>
                <c:pt idx="614">
                  <c:v>2011/7/14</c:v>
                </c:pt>
                <c:pt idx="615">
                  <c:v>2011/7/15</c:v>
                </c:pt>
                <c:pt idx="616">
                  <c:v>2011/7/18</c:v>
                </c:pt>
                <c:pt idx="617">
                  <c:v>2011/7/19</c:v>
                </c:pt>
                <c:pt idx="618">
                  <c:v>2011/7/20</c:v>
                </c:pt>
                <c:pt idx="619">
                  <c:v>2011/7/21</c:v>
                </c:pt>
                <c:pt idx="620">
                  <c:v>2011/7/22</c:v>
                </c:pt>
                <c:pt idx="621">
                  <c:v>2011/7/25</c:v>
                </c:pt>
                <c:pt idx="622">
                  <c:v>2011/7/26</c:v>
                </c:pt>
                <c:pt idx="623">
                  <c:v>2011/7/27</c:v>
                </c:pt>
                <c:pt idx="624">
                  <c:v>2011/7/28</c:v>
                </c:pt>
                <c:pt idx="625">
                  <c:v>2011/7/29</c:v>
                </c:pt>
                <c:pt idx="626">
                  <c:v>2011/8/1</c:v>
                </c:pt>
                <c:pt idx="627">
                  <c:v>2011/8/2</c:v>
                </c:pt>
                <c:pt idx="628">
                  <c:v>2011/8/3</c:v>
                </c:pt>
                <c:pt idx="629">
                  <c:v>2011/8/4</c:v>
                </c:pt>
                <c:pt idx="630">
                  <c:v>2011/8/5</c:v>
                </c:pt>
                <c:pt idx="631">
                  <c:v>2011/8/8</c:v>
                </c:pt>
                <c:pt idx="632">
                  <c:v>2011/8/9</c:v>
                </c:pt>
                <c:pt idx="633">
                  <c:v>2011/8/10</c:v>
                </c:pt>
                <c:pt idx="634">
                  <c:v>2011/8/11</c:v>
                </c:pt>
                <c:pt idx="635">
                  <c:v>2011/8/12</c:v>
                </c:pt>
                <c:pt idx="636">
                  <c:v>2011/8/15</c:v>
                </c:pt>
                <c:pt idx="637">
                  <c:v>2011/8/16</c:v>
                </c:pt>
                <c:pt idx="638">
                  <c:v>2011/8/17</c:v>
                </c:pt>
                <c:pt idx="639">
                  <c:v>2011/8/18</c:v>
                </c:pt>
                <c:pt idx="640">
                  <c:v>2011/8/19</c:v>
                </c:pt>
                <c:pt idx="641">
                  <c:v>2011/8/22</c:v>
                </c:pt>
                <c:pt idx="642">
                  <c:v>2011/8/23</c:v>
                </c:pt>
                <c:pt idx="643">
                  <c:v>2011/8/24</c:v>
                </c:pt>
                <c:pt idx="644">
                  <c:v>2011/8/25</c:v>
                </c:pt>
                <c:pt idx="645">
                  <c:v>2011/8/26</c:v>
                </c:pt>
                <c:pt idx="646">
                  <c:v>2011/8/29</c:v>
                </c:pt>
                <c:pt idx="647">
                  <c:v>2011/8/30</c:v>
                </c:pt>
                <c:pt idx="648">
                  <c:v>2011/8/31</c:v>
                </c:pt>
                <c:pt idx="649">
                  <c:v>2011/9/1</c:v>
                </c:pt>
                <c:pt idx="650">
                  <c:v>2011/9/2</c:v>
                </c:pt>
                <c:pt idx="651">
                  <c:v>2011/9/5</c:v>
                </c:pt>
                <c:pt idx="652">
                  <c:v>2011/9/6</c:v>
                </c:pt>
                <c:pt idx="653">
                  <c:v>2011/9/7</c:v>
                </c:pt>
                <c:pt idx="654">
                  <c:v>2011/9/8</c:v>
                </c:pt>
                <c:pt idx="655">
                  <c:v>2011/9/9</c:v>
                </c:pt>
                <c:pt idx="656">
                  <c:v>2011/9/13</c:v>
                </c:pt>
                <c:pt idx="657">
                  <c:v>2011/9/14</c:v>
                </c:pt>
                <c:pt idx="658">
                  <c:v>2011/9/15</c:v>
                </c:pt>
                <c:pt idx="659">
                  <c:v>2011/9/16</c:v>
                </c:pt>
                <c:pt idx="660">
                  <c:v>2011/9/19</c:v>
                </c:pt>
                <c:pt idx="661">
                  <c:v>2011/9/20</c:v>
                </c:pt>
                <c:pt idx="662">
                  <c:v>2011/9/21</c:v>
                </c:pt>
                <c:pt idx="663">
                  <c:v>2011/9/22</c:v>
                </c:pt>
                <c:pt idx="664">
                  <c:v>2011/9/23</c:v>
                </c:pt>
                <c:pt idx="665">
                  <c:v>2011/9/26</c:v>
                </c:pt>
                <c:pt idx="666">
                  <c:v>2011/9/27</c:v>
                </c:pt>
                <c:pt idx="667">
                  <c:v>2011/9/28</c:v>
                </c:pt>
                <c:pt idx="668">
                  <c:v>2011/9/29</c:v>
                </c:pt>
                <c:pt idx="669">
                  <c:v>2011/9/30</c:v>
                </c:pt>
                <c:pt idx="670">
                  <c:v>2011/10/10</c:v>
                </c:pt>
                <c:pt idx="671">
                  <c:v>2011/10/11</c:v>
                </c:pt>
                <c:pt idx="672">
                  <c:v>2011/10/12</c:v>
                </c:pt>
                <c:pt idx="673">
                  <c:v>2011/10/13</c:v>
                </c:pt>
                <c:pt idx="674">
                  <c:v>2011/10/14</c:v>
                </c:pt>
                <c:pt idx="675">
                  <c:v>2011/10/17</c:v>
                </c:pt>
                <c:pt idx="676">
                  <c:v>2011/10/18</c:v>
                </c:pt>
                <c:pt idx="677">
                  <c:v>2011/10/19</c:v>
                </c:pt>
                <c:pt idx="678">
                  <c:v>2011/10/20</c:v>
                </c:pt>
                <c:pt idx="679">
                  <c:v>2011/10/21</c:v>
                </c:pt>
                <c:pt idx="680">
                  <c:v>2011/10/24</c:v>
                </c:pt>
                <c:pt idx="681">
                  <c:v>2011/10/25</c:v>
                </c:pt>
                <c:pt idx="682">
                  <c:v>2011/10/26</c:v>
                </c:pt>
                <c:pt idx="683">
                  <c:v>2011/10/27</c:v>
                </c:pt>
                <c:pt idx="684">
                  <c:v>2011/10/28</c:v>
                </c:pt>
                <c:pt idx="685">
                  <c:v>2011/10/31</c:v>
                </c:pt>
                <c:pt idx="686">
                  <c:v>2011/11/1</c:v>
                </c:pt>
                <c:pt idx="687">
                  <c:v>2011/11/2</c:v>
                </c:pt>
                <c:pt idx="688">
                  <c:v>2011/11/3</c:v>
                </c:pt>
                <c:pt idx="689">
                  <c:v>2011/11/4</c:v>
                </c:pt>
                <c:pt idx="690">
                  <c:v>2011/11/7</c:v>
                </c:pt>
                <c:pt idx="691">
                  <c:v>2011/11/8</c:v>
                </c:pt>
                <c:pt idx="692">
                  <c:v>2011/11/9</c:v>
                </c:pt>
                <c:pt idx="693">
                  <c:v>2011/11/10</c:v>
                </c:pt>
                <c:pt idx="694">
                  <c:v>2011/11/11</c:v>
                </c:pt>
                <c:pt idx="695">
                  <c:v>2011/11/14</c:v>
                </c:pt>
                <c:pt idx="696">
                  <c:v>2011/11/15</c:v>
                </c:pt>
                <c:pt idx="697">
                  <c:v>2011/11/16</c:v>
                </c:pt>
                <c:pt idx="698">
                  <c:v>2011/11/17</c:v>
                </c:pt>
                <c:pt idx="699">
                  <c:v>2011/11/18</c:v>
                </c:pt>
                <c:pt idx="700">
                  <c:v>2011/11/21</c:v>
                </c:pt>
                <c:pt idx="701">
                  <c:v>2011/11/22</c:v>
                </c:pt>
                <c:pt idx="702">
                  <c:v>2011/11/23</c:v>
                </c:pt>
                <c:pt idx="703">
                  <c:v>2011/11/24</c:v>
                </c:pt>
                <c:pt idx="704">
                  <c:v>2011/11/25</c:v>
                </c:pt>
                <c:pt idx="705">
                  <c:v>2011/11/28</c:v>
                </c:pt>
                <c:pt idx="706">
                  <c:v>2011/11/29</c:v>
                </c:pt>
                <c:pt idx="707">
                  <c:v>2011/11/30</c:v>
                </c:pt>
                <c:pt idx="708">
                  <c:v>2011/12/1</c:v>
                </c:pt>
                <c:pt idx="709">
                  <c:v>2011/12/2</c:v>
                </c:pt>
                <c:pt idx="710">
                  <c:v>2011/12/5</c:v>
                </c:pt>
                <c:pt idx="711">
                  <c:v>2011/12/6</c:v>
                </c:pt>
                <c:pt idx="712">
                  <c:v>2011/12/7</c:v>
                </c:pt>
                <c:pt idx="713">
                  <c:v>2011/12/8</c:v>
                </c:pt>
                <c:pt idx="714">
                  <c:v>2011/12/9</c:v>
                </c:pt>
                <c:pt idx="715">
                  <c:v>2011/12/12</c:v>
                </c:pt>
                <c:pt idx="716">
                  <c:v>2011/12/13</c:v>
                </c:pt>
                <c:pt idx="717">
                  <c:v>2011/12/14</c:v>
                </c:pt>
                <c:pt idx="718">
                  <c:v>2011/12/15</c:v>
                </c:pt>
                <c:pt idx="719">
                  <c:v>2011/12/16</c:v>
                </c:pt>
                <c:pt idx="720">
                  <c:v>2011/12/19</c:v>
                </c:pt>
                <c:pt idx="721">
                  <c:v>2011/12/20</c:v>
                </c:pt>
                <c:pt idx="722">
                  <c:v>2011/12/21</c:v>
                </c:pt>
                <c:pt idx="723">
                  <c:v>2011/12/22</c:v>
                </c:pt>
                <c:pt idx="724">
                  <c:v>2011/12/23</c:v>
                </c:pt>
                <c:pt idx="725">
                  <c:v>2011/12/26</c:v>
                </c:pt>
                <c:pt idx="726">
                  <c:v>2011/12/27</c:v>
                </c:pt>
                <c:pt idx="727">
                  <c:v>2011/12/28</c:v>
                </c:pt>
                <c:pt idx="728">
                  <c:v>2011/12/29</c:v>
                </c:pt>
                <c:pt idx="729">
                  <c:v>2011/12/30</c:v>
                </c:pt>
                <c:pt idx="730">
                  <c:v>2012/1/4</c:v>
                </c:pt>
                <c:pt idx="731">
                  <c:v>2012/1/5</c:v>
                </c:pt>
                <c:pt idx="732">
                  <c:v>2012/1/6</c:v>
                </c:pt>
                <c:pt idx="733">
                  <c:v>2012/1/9</c:v>
                </c:pt>
                <c:pt idx="734">
                  <c:v>2012/1/10</c:v>
                </c:pt>
                <c:pt idx="735">
                  <c:v>2012/1/11</c:v>
                </c:pt>
                <c:pt idx="736">
                  <c:v>2012/1/12</c:v>
                </c:pt>
                <c:pt idx="737">
                  <c:v>2012/1/13</c:v>
                </c:pt>
                <c:pt idx="738">
                  <c:v>2012/1/16</c:v>
                </c:pt>
                <c:pt idx="739">
                  <c:v>2012/1/17</c:v>
                </c:pt>
                <c:pt idx="740">
                  <c:v>2012/1/18</c:v>
                </c:pt>
                <c:pt idx="741">
                  <c:v>2012/1/19</c:v>
                </c:pt>
                <c:pt idx="742">
                  <c:v>2012/1/20</c:v>
                </c:pt>
                <c:pt idx="743">
                  <c:v>2012/1/30</c:v>
                </c:pt>
                <c:pt idx="744">
                  <c:v>2012/1/31</c:v>
                </c:pt>
                <c:pt idx="745">
                  <c:v>2012/2/1</c:v>
                </c:pt>
                <c:pt idx="746">
                  <c:v>2012/2/2</c:v>
                </c:pt>
                <c:pt idx="747">
                  <c:v>2012/2/3</c:v>
                </c:pt>
                <c:pt idx="748">
                  <c:v>2012/2/6</c:v>
                </c:pt>
                <c:pt idx="749">
                  <c:v>2012/2/7</c:v>
                </c:pt>
                <c:pt idx="750">
                  <c:v>2012/2/8</c:v>
                </c:pt>
                <c:pt idx="751">
                  <c:v>2012/2/9</c:v>
                </c:pt>
                <c:pt idx="752">
                  <c:v>2012/2/10</c:v>
                </c:pt>
                <c:pt idx="753">
                  <c:v>2012/2/13</c:v>
                </c:pt>
                <c:pt idx="754">
                  <c:v>2012/2/14</c:v>
                </c:pt>
                <c:pt idx="755">
                  <c:v>2012/2/15</c:v>
                </c:pt>
                <c:pt idx="756">
                  <c:v>2012/2/16</c:v>
                </c:pt>
                <c:pt idx="757">
                  <c:v>2012/2/17</c:v>
                </c:pt>
                <c:pt idx="758">
                  <c:v>2012/2/20</c:v>
                </c:pt>
                <c:pt idx="759">
                  <c:v>2012/2/21</c:v>
                </c:pt>
                <c:pt idx="760">
                  <c:v>2012/2/22</c:v>
                </c:pt>
                <c:pt idx="761">
                  <c:v>2012/2/23</c:v>
                </c:pt>
                <c:pt idx="762">
                  <c:v>2012/2/24</c:v>
                </c:pt>
                <c:pt idx="763">
                  <c:v>2012/2/27</c:v>
                </c:pt>
                <c:pt idx="764">
                  <c:v>2012/2/28</c:v>
                </c:pt>
                <c:pt idx="765">
                  <c:v>2012/2/29</c:v>
                </c:pt>
                <c:pt idx="766">
                  <c:v>2012/3/1</c:v>
                </c:pt>
                <c:pt idx="767">
                  <c:v>2012/3/2</c:v>
                </c:pt>
                <c:pt idx="768">
                  <c:v>2012/3/5</c:v>
                </c:pt>
                <c:pt idx="769">
                  <c:v>2012/3/6</c:v>
                </c:pt>
                <c:pt idx="770">
                  <c:v>2012/3/7</c:v>
                </c:pt>
                <c:pt idx="771">
                  <c:v>2012/3/8</c:v>
                </c:pt>
                <c:pt idx="772">
                  <c:v>2012/3/9</c:v>
                </c:pt>
                <c:pt idx="773">
                  <c:v>2012/3/12</c:v>
                </c:pt>
                <c:pt idx="774">
                  <c:v>2012/3/13</c:v>
                </c:pt>
                <c:pt idx="775">
                  <c:v>2012/3/14</c:v>
                </c:pt>
                <c:pt idx="776">
                  <c:v>2012/3/15</c:v>
                </c:pt>
                <c:pt idx="777">
                  <c:v>2012/3/16</c:v>
                </c:pt>
                <c:pt idx="778">
                  <c:v>2012/3/19</c:v>
                </c:pt>
                <c:pt idx="779">
                  <c:v>2012/3/20</c:v>
                </c:pt>
                <c:pt idx="780">
                  <c:v>2012/3/21</c:v>
                </c:pt>
                <c:pt idx="781">
                  <c:v>2012/3/22</c:v>
                </c:pt>
                <c:pt idx="782">
                  <c:v>2012/3/23</c:v>
                </c:pt>
                <c:pt idx="783">
                  <c:v>2012/3/26</c:v>
                </c:pt>
                <c:pt idx="784">
                  <c:v>2012/3/27</c:v>
                </c:pt>
                <c:pt idx="785">
                  <c:v>2012/3/28</c:v>
                </c:pt>
                <c:pt idx="786">
                  <c:v>2012/3/29</c:v>
                </c:pt>
                <c:pt idx="787">
                  <c:v>2012/3/30</c:v>
                </c:pt>
                <c:pt idx="788">
                  <c:v>2012/4/5</c:v>
                </c:pt>
                <c:pt idx="789">
                  <c:v>2012/4/6</c:v>
                </c:pt>
                <c:pt idx="790">
                  <c:v>2012/4/9</c:v>
                </c:pt>
                <c:pt idx="791">
                  <c:v>2012/4/10</c:v>
                </c:pt>
                <c:pt idx="792">
                  <c:v>2012/4/11</c:v>
                </c:pt>
                <c:pt idx="793">
                  <c:v>2012/4/12</c:v>
                </c:pt>
                <c:pt idx="794">
                  <c:v>2012/4/13</c:v>
                </c:pt>
                <c:pt idx="795">
                  <c:v>2012/4/16</c:v>
                </c:pt>
                <c:pt idx="796">
                  <c:v>2012/4/17</c:v>
                </c:pt>
                <c:pt idx="797">
                  <c:v>2012/4/18</c:v>
                </c:pt>
                <c:pt idx="798">
                  <c:v>2012/4/19</c:v>
                </c:pt>
                <c:pt idx="799">
                  <c:v>2012/4/20</c:v>
                </c:pt>
                <c:pt idx="800">
                  <c:v>2012/4/23</c:v>
                </c:pt>
                <c:pt idx="801">
                  <c:v>2012/4/24</c:v>
                </c:pt>
                <c:pt idx="802">
                  <c:v>2012/4/25</c:v>
                </c:pt>
                <c:pt idx="803">
                  <c:v>2012/4/26</c:v>
                </c:pt>
                <c:pt idx="804">
                  <c:v>2012/4/27</c:v>
                </c:pt>
                <c:pt idx="805">
                  <c:v>2012/5/2</c:v>
                </c:pt>
                <c:pt idx="806">
                  <c:v>2012/5/3</c:v>
                </c:pt>
                <c:pt idx="807">
                  <c:v>2012/5/4</c:v>
                </c:pt>
                <c:pt idx="808">
                  <c:v>2012/5/7</c:v>
                </c:pt>
                <c:pt idx="809">
                  <c:v>2012/5/8</c:v>
                </c:pt>
                <c:pt idx="810">
                  <c:v>2012/5/9</c:v>
                </c:pt>
                <c:pt idx="811">
                  <c:v>2012/5/10</c:v>
                </c:pt>
                <c:pt idx="812">
                  <c:v>2012/5/11</c:v>
                </c:pt>
                <c:pt idx="813">
                  <c:v>2012/5/14</c:v>
                </c:pt>
                <c:pt idx="814">
                  <c:v>2012/5/15</c:v>
                </c:pt>
                <c:pt idx="815">
                  <c:v>2012/5/16</c:v>
                </c:pt>
                <c:pt idx="816">
                  <c:v>2012/5/17</c:v>
                </c:pt>
                <c:pt idx="817">
                  <c:v>2012/5/18</c:v>
                </c:pt>
                <c:pt idx="818">
                  <c:v>2012/5/21</c:v>
                </c:pt>
                <c:pt idx="819">
                  <c:v>2012/5/22</c:v>
                </c:pt>
                <c:pt idx="820">
                  <c:v>2012/5/23</c:v>
                </c:pt>
                <c:pt idx="821">
                  <c:v>2012/5/24</c:v>
                </c:pt>
                <c:pt idx="822">
                  <c:v>2012/5/25</c:v>
                </c:pt>
                <c:pt idx="823">
                  <c:v>2012/5/28</c:v>
                </c:pt>
                <c:pt idx="824">
                  <c:v>2012/5/29</c:v>
                </c:pt>
                <c:pt idx="825">
                  <c:v>2012/5/30</c:v>
                </c:pt>
                <c:pt idx="826">
                  <c:v>2012/5/31</c:v>
                </c:pt>
                <c:pt idx="827">
                  <c:v>2012/6/1</c:v>
                </c:pt>
                <c:pt idx="828">
                  <c:v>2012/6/4</c:v>
                </c:pt>
                <c:pt idx="829">
                  <c:v>2012/6/5</c:v>
                </c:pt>
                <c:pt idx="830">
                  <c:v>2012/6/6</c:v>
                </c:pt>
                <c:pt idx="831">
                  <c:v>2012/6/7</c:v>
                </c:pt>
                <c:pt idx="832">
                  <c:v>2012/6/8</c:v>
                </c:pt>
                <c:pt idx="833">
                  <c:v>2012/6/11</c:v>
                </c:pt>
                <c:pt idx="834">
                  <c:v>2012/6/12</c:v>
                </c:pt>
                <c:pt idx="835">
                  <c:v>2012/6/13</c:v>
                </c:pt>
                <c:pt idx="836">
                  <c:v>2012/6/14</c:v>
                </c:pt>
                <c:pt idx="837">
                  <c:v>2012/6/15</c:v>
                </c:pt>
                <c:pt idx="838">
                  <c:v>2012/6/18</c:v>
                </c:pt>
                <c:pt idx="839">
                  <c:v>2012/6/19</c:v>
                </c:pt>
                <c:pt idx="840">
                  <c:v>2012/6/20</c:v>
                </c:pt>
                <c:pt idx="841">
                  <c:v>2012/6/21</c:v>
                </c:pt>
                <c:pt idx="842">
                  <c:v>2012/6/25</c:v>
                </c:pt>
                <c:pt idx="843">
                  <c:v>2012/6/26</c:v>
                </c:pt>
                <c:pt idx="844">
                  <c:v>2012/6/27</c:v>
                </c:pt>
                <c:pt idx="845">
                  <c:v>2012/6/28</c:v>
                </c:pt>
                <c:pt idx="846">
                  <c:v>2012/6/29</c:v>
                </c:pt>
                <c:pt idx="847">
                  <c:v>2012/7/2</c:v>
                </c:pt>
                <c:pt idx="848">
                  <c:v>2012/7/3</c:v>
                </c:pt>
                <c:pt idx="849">
                  <c:v>2012/7/4</c:v>
                </c:pt>
                <c:pt idx="850">
                  <c:v>2012/7/5</c:v>
                </c:pt>
                <c:pt idx="851">
                  <c:v>2012/7/6</c:v>
                </c:pt>
                <c:pt idx="852">
                  <c:v>2012/7/9</c:v>
                </c:pt>
                <c:pt idx="853">
                  <c:v>2012/7/10</c:v>
                </c:pt>
                <c:pt idx="854">
                  <c:v>2012/7/11</c:v>
                </c:pt>
                <c:pt idx="855">
                  <c:v>2012/7/12</c:v>
                </c:pt>
                <c:pt idx="856">
                  <c:v>2012/7/13</c:v>
                </c:pt>
                <c:pt idx="857">
                  <c:v>2012/7/16</c:v>
                </c:pt>
                <c:pt idx="858">
                  <c:v>2012/7/17</c:v>
                </c:pt>
                <c:pt idx="859">
                  <c:v>2012/7/18</c:v>
                </c:pt>
                <c:pt idx="860">
                  <c:v>2012/7/19</c:v>
                </c:pt>
                <c:pt idx="861">
                  <c:v>2012/7/20</c:v>
                </c:pt>
                <c:pt idx="862">
                  <c:v>2012/7/23</c:v>
                </c:pt>
                <c:pt idx="863">
                  <c:v>2012/7/24</c:v>
                </c:pt>
                <c:pt idx="864">
                  <c:v>2012/7/25</c:v>
                </c:pt>
                <c:pt idx="865">
                  <c:v>2012/7/26</c:v>
                </c:pt>
                <c:pt idx="866">
                  <c:v>2012/7/27</c:v>
                </c:pt>
                <c:pt idx="867">
                  <c:v>2012/7/30</c:v>
                </c:pt>
                <c:pt idx="868">
                  <c:v>2012/7/31</c:v>
                </c:pt>
                <c:pt idx="869">
                  <c:v>2012/8/1</c:v>
                </c:pt>
                <c:pt idx="870">
                  <c:v>2012/8/2</c:v>
                </c:pt>
                <c:pt idx="871">
                  <c:v>2012/8/3</c:v>
                </c:pt>
                <c:pt idx="872">
                  <c:v>2012/8/6</c:v>
                </c:pt>
                <c:pt idx="873">
                  <c:v>2012/8/7</c:v>
                </c:pt>
                <c:pt idx="874">
                  <c:v>2012/8/8</c:v>
                </c:pt>
                <c:pt idx="875">
                  <c:v>2012/8/9</c:v>
                </c:pt>
                <c:pt idx="876">
                  <c:v>2012/8/10</c:v>
                </c:pt>
                <c:pt idx="877">
                  <c:v>2012/8/13</c:v>
                </c:pt>
                <c:pt idx="878">
                  <c:v>2012/8/14</c:v>
                </c:pt>
                <c:pt idx="879">
                  <c:v>2012/8/15</c:v>
                </c:pt>
                <c:pt idx="880">
                  <c:v>2012/8/16</c:v>
                </c:pt>
                <c:pt idx="881">
                  <c:v>2012/8/17</c:v>
                </c:pt>
                <c:pt idx="882">
                  <c:v>2012/8/20</c:v>
                </c:pt>
                <c:pt idx="883">
                  <c:v>2012/8/21</c:v>
                </c:pt>
                <c:pt idx="884">
                  <c:v>2012/8/22</c:v>
                </c:pt>
                <c:pt idx="885">
                  <c:v>2012/8/23</c:v>
                </c:pt>
                <c:pt idx="886">
                  <c:v>2012/8/24</c:v>
                </c:pt>
                <c:pt idx="887">
                  <c:v>2012/8/27</c:v>
                </c:pt>
                <c:pt idx="888">
                  <c:v>2012/8/28</c:v>
                </c:pt>
                <c:pt idx="889">
                  <c:v>2012/8/29</c:v>
                </c:pt>
                <c:pt idx="890">
                  <c:v>2012/8/30</c:v>
                </c:pt>
                <c:pt idx="891">
                  <c:v>2012/8/31</c:v>
                </c:pt>
                <c:pt idx="892">
                  <c:v>2012/9/3</c:v>
                </c:pt>
                <c:pt idx="893">
                  <c:v>2012/9/4</c:v>
                </c:pt>
                <c:pt idx="894">
                  <c:v>2012/9/5</c:v>
                </c:pt>
                <c:pt idx="895">
                  <c:v>2012/9/6</c:v>
                </c:pt>
                <c:pt idx="896">
                  <c:v>2012/9/7</c:v>
                </c:pt>
                <c:pt idx="897">
                  <c:v>2012/9/10</c:v>
                </c:pt>
                <c:pt idx="898">
                  <c:v>2012/9/11</c:v>
                </c:pt>
                <c:pt idx="899">
                  <c:v>2012/9/12</c:v>
                </c:pt>
                <c:pt idx="900">
                  <c:v>2012/9/13</c:v>
                </c:pt>
                <c:pt idx="901">
                  <c:v>2012/9/14</c:v>
                </c:pt>
                <c:pt idx="902">
                  <c:v>2012/9/17</c:v>
                </c:pt>
                <c:pt idx="903">
                  <c:v>2012/9/18</c:v>
                </c:pt>
                <c:pt idx="904">
                  <c:v>2012/9/19</c:v>
                </c:pt>
                <c:pt idx="905">
                  <c:v>2012/9/20</c:v>
                </c:pt>
                <c:pt idx="906">
                  <c:v>2012/9/21</c:v>
                </c:pt>
                <c:pt idx="907">
                  <c:v>2012/9/24</c:v>
                </c:pt>
                <c:pt idx="908">
                  <c:v>2012/9/25</c:v>
                </c:pt>
                <c:pt idx="909">
                  <c:v>2012/9/26</c:v>
                </c:pt>
                <c:pt idx="910">
                  <c:v>2012/9/27</c:v>
                </c:pt>
                <c:pt idx="911">
                  <c:v>2012/9/28</c:v>
                </c:pt>
                <c:pt idx="912">
                  <c:v>2012/10/8</c:v>
                </c:pt>
                <c:pt idx="913">
                  <c:v>2012/10/9</c:v>
                </c:pt>
                <c:pt idx="914">
                  <c:v>2012/10/10</c:v>
                </c:pt>
                <c:pt idx="915">
                  <c:v>2012/10/11</c:v>
                </c:pt>
                <c:pt idx="916">
                  <c:v>2012/10/12</c:v>
                </c:pt>
                <c:pt idx="917">
                  <c:v>2012/10/15</c:v>
                </c:pt>
                <c:pt idx="918">
                  <c:v>2012/10/16</c:v>
                </c:pt>
                <c:pt idx="919">
                  <c:v>2012/10/17</c:v>
                </c:pt>
                <c:pt idx="920">
                  <c:v>2012/10/18</c:v>
                </c:pt>
                <c:pt idx="921">
                  <c:v>2012/10/19</c:v>
                </c:pt>
                <c:pt idx="922">
                  <c:v>2012/10/22</c:v>
                </c:pt>
                <c:pt idx="923">
                  <c:v>2012/10/23</c:v>
                </c:pt>
                <c:pt idx="924">
                  <c:v>2012/10/24</c:v>
                </c:pt>
                <c:pt idx="925">
                  <c:v>2012/10/25</c:v>
                </c:pt>
                <c:pt idx="926">
                  <c:v>2012/10/26</c:v>
                </c:pt>
                <c:pt idx="927">
                  <c:v>2012/10/29</c:v>
                </c:pt>
                <c:pt idx="928">
                  <c:v>2012/10/30</c:v>
                </c:pt>
                <c:pt idx="929">
                  <c:v>2012/10/31</c:v>
                </c:pt>
                <c:pt idx="930">
                  <c:v>2012/11/1</c:v>
                </c:pt>
                <c:pt idx="931">
                  <c:v>2012/11/2</c:v>
                </c:pt>
                <c:pt idx="932">
                  <c:v>2012/11/5</c:v>
                </c:pt>
                <c:pt idx="933">
                  <c:v>2012/11/6</c:v>
                </c:pt>
                <c:pt idx="934">
                  <c:v>2012/11/7</c:v>
                </c:pt>
                <c:pt idx="935">
                  <c:v>2012/11/8</c:v>
                </c:pt>
                <c:pt idx="936">
                  <c:v>2012/11/9</c:v>
                </c:pt>
                <c:pt idx="937">
                  <c:v>2012/11/12</c:v>
                </c:pt>
                <c:pt idx="938">
                  <c:v>2012/11/13</c:v>
                </c:pt>
                <c:pt idx="939">
                  <c:v>2012/11/14</c:v>
                </c:pt>
                <c:pt idx="940">
                  <c:v>2012/11/15</c:v>
                </c:pt>
                <c:pt idx="941">
                  <c:v>2012/11/16</c:v>
                </c:pt>
                <c:pt idx="942">
                  <c:v>2012/11/19</c:v>
                </c:pt>
                <c:pt idx="943">
                  <c:v>2012/11/20</c:v>
                </c:pt>
                <c:pt idx="944">
                  <c:v>2012/11/21</c:v>
                </c:pt>
                <c:pt idx="945">
                  <c:v>2012/11/22</c:v>
                </c:pt>
                <c:pt idx="946">
                  <c:v>2012/11/23</c:v>
                </c:pt>
                <c:pt idx="947">
                  <c:v>2012/11/26</c:v>
                </c:pt>
                <c:pt idx="948">
                  <c:v>2012/11/27</c:v>
                </c:pt>
                <c:pt idx="949">
                  <c:v>2012/11/28</c:v>
                </c:pt>
                <c:pt idx="950">
                  <c:v>2012/11/29</c:v>
                </c:pt>
                <c:pt idx="951">
                  <c:v>2012/11/30</c:v>
                </c:pt>
                <c:pt idx="952">
                  <c:v>2012/12/3</c:v>
                </c:pt>
                <c:pt idx="953">
                  <c:v>2012/12/4</c:v>
                </c:pt>
                <c:pt idx="954">
                  <c:v>2012/12/5</c:v>
                </c:pt>
                <c:pt idx="955">
                  <c:v>2012/12/6</c:v>
                </c:pt>
                <c:pt idx="956">
                  <c:v>2012/12/7</c:v>
                </c:pt>
                <c:pt idx="957">
                  <c:v>2012/12/10</c:v>
                </c:pt>
                <c:pt idx="958">
                  <c:v>2012/12/11</c:v>
                </c:pt>
                <c:pt idx="959">
                  <c:v>2012/12/12</c:v>
                </c:pt>
                <c:pt idx="960">
                  <c:v>2012/12/13</c:v>
                </c:pt>
                <c:pt idx="961">
                  <c:v>2012/12/14</c:v>
                </c:pt>
                <c:pt idx="962">
                  <c:v>2012/12/17</c:v>
                </c:pt>
                <c:pt idx="963">
                  <c:v>2012/12/18</c:v>
                </c:pt>
                <c:pt idx="964">
                  <c:v>2012/12/19</c:v>
                </c:pt>
                <c:pt idx="965">
                  <c:v>2012/12/20</c:v>
                </c:pt>
                <c:pt idx="966">
                  <c:v>2012/12/21</c:v>
                </c:pt>
                <c:pt idx="967">
                  <c:v>2012/12/24</c:v>
                </c:pt>
                <c:pt idx="968">
                  <c:v>2012/12/25</c:v>
                </c:pt>
                <c:pt idx="969">
                  <c:v>2012/12/26</c:v>
                </c:pt>
                <c:pt idx="970">
                  <c:v>2012/12/27</c:v>
                </c:pt>
                <c:pt idx="971">
                  <c:v>2012/12/28</c:v>
                </c:pt>
                <c:pt idx="972">
                  <c:v>2012/12/31</c:v>
                </c:pt>
                <c:pt idx="973">
                  <c:v>2013/1/4</c:v>
                </c:pt>
                <c:pt idx="974">
                  <c:v>2013/1/7</c:v>
                </c:pt>
                <c:pt idx="975">
                  <c:v>2013/1/8</c:v>
                </c:pt>
                <c:pt idx="976">
                  <c:v>2013/1/9</c:v>
                </c:pt>
                <c:pt idx="977">
                  <c:v>2013/1/10</c:v>
                </c:pt>
                <c:pt idx="978">
                  <c:v>2013/1/11</c:v>
                </c:pt>
                <c:pt idx="979">
                  <c:v>2013/1/14</c:v>
                </c:pt>
                <c:pt idx="980">
                  <c:v>2013/1/15</c:v>
                </c:pt>
                <c:pt idx="981">
                  <c:v>2013/1/16</c:v>
                </c:pt>
                <c:pt idx="982">
                  <c:v>2013/1/17</c:v>
                </c:pt>
                <c:pt idx="983">
                  <c:v>2013/1/18</c:v>
                </c:pt>
                <c:pt idx="984">
                  <c:v>2013/1/21</c:v>
                </c:pt>
                <c:pt idx="985">
                  <c:v>2013/1/22</c:v>
                </c:pt>
                <c:pt idx="986">
                  <c:v>2013/1/23</c:v>
                </c:pt>
                <c:pt idx="987">
                  <c:v>2013/1/24</c:v>
                </c:pt>
                <c:pt idx="988">
                  <c:v>2013/1/25</c:v>
                </c:pt>
                <c:pt idx="989">
                  <c:v>2013/1/28</c:v>
                </c:pt>
                <c:pt idx="990">
                  <c:v>2013/1/29</c:v>
                </c:pt>
                <c:pt idx="991">
                  <c:v>2013/1/30</c:v>
                </c:pt>
                <c:pt idx="992">
                  <c:v>2013/1/31</c:v>
                </c:pt>
                <c:pt idx="993">
                  <c:v>2013/2/1</c:v>
                </c:pt>
                <c:pt idx="994">
                  <c:v>2013/2/4</c:v>
                </c:pt>
                <c:pt idx="995">
                  <c:v>2013/2/5</c:v>
                </c:pt>
                <c:pt idx="996">
                  <c:v>2013/2/6</c:v>
                </c:pt>
                <c:pt idx="997">
                  <c:v>2013/2/7</c:v>
                </c:pt>
                <c:pt idx="998">
                  <c:v>2013/2/8</c:v>
                </c:pt>
                <c:pt idx="999">
                  <c:v>2013/2/18</c:v>
                </c:pt>
                <c:pt idx="1000">
                  <c:v>2013/2/19</c:v>
                </c:pt>
                <c:pt idx="1001">
                  <c:v>2013/2/20</c:v>
                </c:pt>
                <c:pt idx="1002">
                  <c:v>2013/2/21</c:v>
                </c:pt>
                <c:pt idx="1003">
                  <c:v>2013/2/22</c:v>
                </c:pt>
                <c:pt idx="1004">
                  <c:v>2013/2/25</c:v>
                </c:pt>
                <c:pt idx="1005">
                  <c:v>2013/2/26</c:v>
                </c:pt>
                <c:pt idx="1006">
                  <c:v>2013/2/27</c:v>
                </c:pt>
                <c:pt idx="1007">
                  <c:v>2013/2/28</c:v>
                </c:pt>
                <c:pt idx="1008">
                  <c:v>2013/3/1</c:v>
                </c:pt>
                <c:pt idx="1009">
                  <c:v>2013/3/4</c:v>
                </c:pt>
                <c:pt idx="1010">
                  <c:v>2013/3/5</c:v>
                </c:pt>
                <c:pt idx="1011">
                  <c:v>2013/3/6</c:v>
                </c:pt>
                <c:pt idx="1012">
                  <c:v>2013/3/7</c:v>
                </c:pt>
                <c:pt idx="1013">
                  <c:v>2013/3/8</c:v>
                </c:pt>
                <c:pt idx="1014">
                  <c:v>2013/3/11</c:v>
                </c:pt>
                <c:pt idx="1015">
                  <c:v>2013/3/12</c:v>
                </c:pt>
                <c:pt idx="1016">
                  <c:v>2013/3/13</c:v>
                </c:pt>
                <c:pt idx="1017">
                  <c:v>2013/3/14</c:v>
                </c:pt>
                <c:pt idx="1018">
                  <c:v>2013/3/15</c:v>
                </c:pt>
                <c:pt idx="1019">
                  <c:v>2013/3/18</c:v>
                </c:pt>
                <c:pt idx="1020">
                  <c:v>2013/3/19</c:v>
                </c:pt>
                <c:pt idx="1021">
                  <c:v>2013/3/20</c:v>
                </c:pt>
                <c:pt idx="1022">
                  <c:v>2013/3/21</c:v>
                </c:pt>
                <c:pt idx="1023">
                  <c:v>2013/3/22</c:v>
                </c:pt>
                <c:pt idx="1024">
                  <c:v>2013/3/25</c:v>
                </c:pt>
                <c:pt idx="1025">
                  <c:v>2013/3/26</c:v>
                </c:pt>
                <c:pt idx="1026">
                  <c:v>2013/3/27</c:v>
                </c:pt>
                <c:pt idx="1027">
                  <c:v>2013/3/28</c:v>
                </c:pt>
                <c:pt idx="1028">
                  <c:v>2013/3/29</c:v>
                </c:pt>
                <c:pt idx="1029">
                  <c:v>2013/4/1</c:v>
                </c:pt>
                <c:pt idx="1030">
                  <c:v>2013/4/2</c:v>
                </c:pt>
                <c:pt idx="1031">
                  <c:v>2013/4/3</c:v>
                </c:pt>
                <c:pt idx="1032">
                  <c:v>2013/4/8</c:v>
                </c:pt>
                <c:pt idx="1033">
                  <c:v>2013/4/9</c:v>
                </c:pt>
                <c:pt idx="1034">
                  <c:v>2013/4/10</c:v>
                </c:pt>
                <c:pt idx="1035">
                  <c:v>2013/4/11</c:v>
                </c:pt>
                <c:pt idx="1036">
                  <c:v>2013/4/12</c:v>
                </c:pt>
                <c:pt idx="1037">
                  <c:v>2013/4/15</c:v>
                </c:pt>
                <c:pt idx="1038">
                  <c:v>2013/4/16</c:v>
                </c:pt>
                <c:pt idx="1039">
                  <c:v>2013/4/17</c:v>
                </c:pt>
                <c:pt idx="1040">
                  <c:v>2013/4/18</c:v>
                </c:pt>
                <c:pt idx="1041">
                  <c:v>2013/4/19</c:v>
                </c:pt>
                <c:pt idx="1042">
                  <c:v>2013/4/22</c:v>
                </c:pt>
                <c:pt idx="1043">
                  <c:v>2013/4/23</c:v>
                </c:pt>
                <c:pt idx="1044">
                  <c:v>2013/4/24</c:v>
                </c:pt>
                <c:pt idx="1045">
                  <c:v>2013/4/25</c:v>
                </c:pt>
                <c:pt idx="1046">
                  <c:v>2013/4/26</c:v>
                </c:pt>
                <c:pt idx="1047">
                  <c:v>2013/5/2</c:v>
                </c:pt>
                <c:pt idx="1048">
                  <c:v>2013/5/3</c:v>
                </c:pt>
                <c:pt idx="1049">
                  <c:v>2013/5/6</c:v>
                </c:pt>
                <c:pt idx="1050">
                  <c:v>2013/5/7</c:v>
                </c:pt>
                <c:pt idx="1051">
                  <c:v>2013/5/8</c:v>
                </c:pt>
                <c:pt idx="1052">
                  <c:v>2013/5/9</c:v>
                </c:pt>
                <c:pt idx="1053">
                  <c:v>2013/5/10</c:v>
                </c:pt>
                <c:pt idx="1054">
                  <c:v>2013/5/13</c:v>
                </c:pt>
                <c:pt idx="1055">
                  <c:v>2013/5/14</c:v>
                </c:pt>
                <c:pt idx="1056">
                  <c:v>2013/5/15</c:v>
                </c:pt>
                <c:pt idx="1057">
                  <c:v>2013/5/16</c:v>
                </c:pt>
                <c:pt idx="1058">
                  <c:v>2013/5/17</c:v>
                </c:pt>
                <c:pt idx="1059">
                  <c:v>2013/5/20</c:v>
                </c:pt>
                <c:pt idx="1060">
                  <c:v>2013/5/21</c:v>
                </c:pt>
                <c:pt idx="1061">
                  <c:v>2013/5/22</c:v>
                </c:pt>
                <c:pt idx="1062">
                  <c:v>2013/5/23</c:v>
                </c:pt>
                <c:pt idx="1063">
                  <c:v>2013/5/24</c:v>
                </c:pt>
                <c:pt idx="1064">
                  <c:v>2013/5/27</c:v>
                </c:pt>
                <c:pt idx="1065">
                  <c:v>2013/5/28</c:v>
                </c:pt>
                <c:pt idx="1066">
                  <c:v>2013/5/29</c:v>
                </c:pt>
                <c:pt idx="1067">
                  <c:v>2013/5/30</c:v>
                </c:pt>
                <c:pt idx="1068">
                  <c:v>2013/5/31</c:v>
                </c:pt>
                <c:pt idx="1069">
                  <c:v>2013/6/3</c:v>
                </c:pt>
                <c:pt idx="1070">
                  <c:v>2013/6/4</c:v>
                </c:pt>
                <c:pt idx="1071">
                  <c:v>2013/6/5</c:v>
                </c:pt>
                <c:pt idx="1072">
                  <c:v>2013/6/6</c:v>
                </c:pt>
                <c:pt idx="1073">
                  <c:v>2013/6/7</c:v>
                </c:pt>
                <c:pt idx="1074">
                  <c:v>2013/6/13</c:v>
                </c:pt>
                <c:pt idx="1075">
                  <c:v>2013/6/14</c:v>
                </c:pt>
                <c:pt idx="1076">
                  <c:v>2013/6/17</c:v>
                </c:pt>
                <c:pt idx="1077">
                  <c:v>2013/6/18</c:v>
                </c:pt>
                <c:pt idx="1078">
                  <c:v>2013/6/19</c:v>
                </c:pt>
                <c:pt idx="1079">
                  <c:v>2013/6/20</c:v>
                </c:pt>
                <c:pt idx="1080">
                  <c:v>2013/6/21</c:v>
                </c:pt>
                <c:pt idx="1081">
                  <c:v>2013/6/24</c:v>
                </c:pt>
                <c:pt idx="1082">
                  <c:v>2013/6/25</c:v>
                </c:pt>
                <c:pt idx="1083">
                  <c:v>2013/6/26</c:v>
                </c:pt>
                <c:pt idx="1084">
                  <c:v>2013/6/27</c:v>
                </c:pt>
                <c:pt idx="1085">
                  <c:v>2013/6/28</c:v>
                </c:pt>
                <c:pt idx="1086">
                  <c:v>2013/7/1</c:v>
                </c:pt>
                <c:pt idx="1087">
                  <c:v>2013/7/2</c:v>
                </c:pt>
                <c:pt idx="1088">
                  <c:v>2013/7/3</c:v>
                </c:pt>
                <c:pt idx="1089">
                  <c:v>2013/7/4</c:v>
                </c:pt>
                <c:pt idx="1090">
                  <c:v>2013/7/5</c:v>
                </c:pt>
                <c:pt idx="1091">
                  <c:v>2013/7/8</c:v>
                </c:pt>
                <c:pt idx="1092">
                  <c:v>2013/7/9</c:v>
                </c:pt>
                <c:pt idx="1093">
                  <c:v>2013/7/10</c:v>
                </c:pt>
                <c:pt idx="1094">
                  <c:v>2013/7/11</c:v>
                </c:pt>
                <c:pt idx="1095">
                  <c:v>2013/7/12</c:v>
                </c:pt>
                <c:pt idx="1096">
                  <c:v>2013/7/15</c:v>
                </c:pt>
                <c:pt idx="1097">
                  <c:v>2013/7/16</c:v>
                </c:pt>
                <c:pt idx="1098">
                  <c:v>2013/7/17</c:v>
                </c:pt>
                <c:pt idx="1099">
                  <c:v>2013/7/18</c:v>
                </c:pt>
                <c:pt idx="1100">
                  <c:v>2013/7/19</c:v>
                </c:pt>
                <c:pt idx="1101">
                  <c:v>2013/7/22</c:v>
                </c:pt>
                <c:pt idx="1102">
                  <c:v>2013/7/23</c:v>
                </c:pt>
                <c:pt idx="1103">
                  <c:v>2013/7/24</c:v>
                </c:pt>
                <c:pt idx="1104">
                  <c:v>2013/7/25</c:v>
                </c:pt>
                <c:pt idx="1105">
                  <c:v>2013/7/26</c:v>
                </c:pt>
                <c:pt idx="1106">
                  <c:v>2013/7/29</c:v>
                </c:pt>
                <c:pt idx="1107">
                  <c:v>2013/7/30</c:v>
                </c:pt>
                <c:pt idx="1108">
                  <c:v>2013/7/31</c:v>
                </c:pt>
                <c:pt idx="1109">
                  <c:v>2013/8/1</c:v>
                </c:pt>
                <c:pt idx="1110">
                  <c:v>2013/8/2</c:v>
                </c:pt>
                <c:pt idx="1111">
                  <c:v>2013/8/5</c:v>
                </c:pt>
                <c:pt idx="1112">
                  <c:v>2013/8/6</c:v>
                </c:pt>
                <c:pt idx="1113">
                  <c:v>2013/8/7</c:v>
                </c:pt>
                <c:pt idx="1114">
                  <c:v>2013/8/8</c:v>
                </c:pt>
                <c:pt idx="1115">
                  <c:v>2013/8/9</c:v>
                </c:pt>
                <c:pt idx="1116">
                  <c:v>2013/8/12</c:v>
                </c:pt>
                <c:pt idx="1117">
                  <c:v>2013/8/13</c:v>
                </c:pt>
                <c:pt idx="1118">
                  <c:v>2013/8/14</c:v>
                </c:pt>
                <c:pt idx="1119">
                  <c:v>2013/8/15</c:v>
                </c:pt>
                <c:pt idx="1120">
                  <c:v>2013/8/16</c:v>
                </c:pt>
                <c:pt idx="1121">
                  <c:v>2013/8/19</c:v>
                </c:pt>
                <c:pt idx="1122">
                  <c:v>2013/8/20</c:v>
                </c:pt>
                <c:pt idx="1123">
                  <c:v>2013/8/21</c:v>
                </c:pt>
                <c:pt idx="1124">
                  <c:v>2013/8/22</c:v>
                </c:pt>
                <c:pt idx="1125">
                  <c:v>2013/8/23</c:v>
                </c:pt>
                <c:pt idx="1126">
                  <c:v>2013/8/26</c:v>
                </c:pt>
                <c:pt idx="1127">
                  <c:v>2013/8/27</c:v>
                </c:pt>
                <c:pt idx="1128">
                  <c:v>2013/8/28</c:v>
                </c:pt>
                <c:pt idx="1129">
                  <c:v>2013/8/29</c:v>
                </c:pt>
                <c:pt idx="1130">
                  <c:v>2013/8/30</c:v>
                </c:pt>
                <c:pt idx="1131">
                  <c:v>2013/9/2</c:v>
                </c:pt>
                <c:pt idx="1132">
                  <c:v>2013/9/3</c:v>
                </c:pt>
                <c:pt idx="1133">
                  <c:v>2013/9/4</c:v>
                </c:pt>
                <c:pt idx="1134">
                  <c:v>2013/9/5</c:v>
                </c:pt>
                <c:pt idx="1135">
                  <c:v>2013/9/6</c:v>
                </c:pt>
                <c:pt idx="1136">
                  <c:v>2013/9/9</c:v>
                </c:pt>
                <c:pt idx="1137">
                  <c:v>2013/9/10</c:v>
                </c:pt>
                <c:pt idx="1138">
                  <c:v>2013/9/11</c:v>
                </c:pt>
                <c:pt idx="1139">
                  <c:v>2013/9/12</c:v>
                </c:pt>
                <c:pt idx="1140">
                  <c:v>2013/9/13</c:v>
                </c:pt>
                <c:pt idx="1141">
                  <c:v>2013/9/16</c:v>
                </c:pt>
                <c:pt idx="1142">
                  <c:v>2013/9/17</c:v>
                </c:pt>
                <c:pt idx="1143">
                  <c:v>2013/9/18</c:v>
                </c:pt>
                <c:pt idx="1144">
                  <c:v>2013/9/23</c:v>
                </c:pt>
                <c:pt idx="1145">
                  <c:v>2013/9/24</c:v>
                </c:pt>
                <c:pt idx="1146">
                  <c:v>2013/9/25</c:v>
                </c:pt>
                <c:pt idx="1147">
                  <c:v>2013/9/26</c:v>
                </c:pt>
                <c:pt idx="1148">
                  <c:v>2013/9/27</c:v>
                </c:pt>
                <c:pt idx="1149">
                  <c:v>2013/9/30</c:v>
                </c:pt>
                <c:pt idx="1150">
                  <c:v>2013/10/8</c:v>
                </c:pt>
                <c:pt idx="1151">
                  <c:v>2013/10/9</c:v>
                </c:pt>
                <c:pt idx="1152">
                  <c:v>2013/10/10</c:v>
                </c:pt>
                <c:pt idx="1153">
                  <c:v>2013/10/11</c:v>
                </c:pt>
                <c:pt idx="1154">
                  <c:v>2013/10/14</c:v>
                </c:pt>
                <c:pt idx="1155">
                  <c:v>2013/10/15</c:v>
                </c:pt>
                <c:pt idx="1156">
                  <c:v>2013/10/16</c:v>
                </c:pt>
                <c:pt idx="1157">
                  <c:v>2013/10/17</c:v>
                </c:pt>
                <c:pt idx="1158">
                  <c:v>2013/10/18</c:v>
                </c:pt>
                <c:pt idx="1159">
                  <c:v>2013/10/21</c:v>
                </c:pt>
                <c:pt idx="1160">
                  <c:v>2013/10/22</c:v>
                </c:pt>
                <c:pt idx="1161">
                  <c:v>2013/10/23</c:v>
                </c:pt>
                <c:pt idx="1162">
                  <c:v>2013/10/24</c:v>
                </c:pt>
                <c:pt idx="1163">
                  <c:v>2013/10/25</c:v>
                </c:pt>
                <c:pt idx="1164">
                  <c:v>2013/10/28</c:v>
                </c:pt>
                <c:pt idx="1165">
                  <c:v>2013/10/29</c:v>
                </c:pt>
                <c:pt idx="1166">
                  <c:v>2013/10/30</c:v>
                </c:pt>
                <c:pt idx="1167">
                  <c:v>2013/10/31</c:v>
                </c:pt>
                <c:pt idx="1168">
                  <c:v>2013/11/1</c:v>
                </c:pt>
                <c:pt idx="1169">
                  <c:v>2013/11/4</c:v>
                </c:pt>
                <c:pt idx="1170">
                  <c:v>2013/11/5</c:v>
                </c:pt>
                <c:pt idx="1171">
                  <c:v>2013/11/6</c:v>
                </c:pt>
                <c:pt idx="1172">
                  <c:v>2013/11/7</c:v>
                </c:pt>
                <c:pt idx="1173">
                  <c:v>2013/11/8</c:v>
                </c:pt>
                <c:pt idx="1174">
                  <c:v>2013/11/11</c:v>
                </c:pt>
                <c:pt idx="1175">
                  <c:v>2013/11/12</c:v>
                </c:pt>
                <c:pt idx="1176">
                  <c:v>2013/11/13</c:v>
                </c:pt>
                <c:pt idx="1177">
                  <c:v>2013/11/14</c:v>
                </c:pt>
                <c:pt idx="1178">
                  <c:v>2013/11/15</c:v>
                </c:pt>
                <c:pt idx="1179">
                  <c:v>2013/11/18</c:v>
                </c:pt>
                <c:pt idx="1180">
                  <c:v>2013/11/19</c:v>
                </c:pt>
                <c:pt idx="1181">
                  <c:v>2013/11/20</c:v>
                </c:pt>
                <c:pt idx="1182">
                  <c:v>2013/11/21</c:v>
                </c:pt>
                <c:pt idx="1183">
                  <c:v>2013/11/22</c:v>
                </c:pt>
                <c:pt idx="1184">
                  <c:v>2013/11/25</c:v>
                </c:pt>
                <c:pt idx="1185">
                  <c:v>2013/11/26</c:v>
                </c:pt>
                <c:pt idx="1186">
                  <c:v>2013/11/27</c:v>
                </c:pt>
                <c:pt idx="1187">
                  <c:v>2013/11/28</c:v>
                </c:pt>
                <c:pt idx="1188">
                  <c:v>2013/11/29</c:v>
                </c:pt>
                <c:pt idx="1189">
                  <c:v>2013/12/2</c:v>
                </c:pt>
                <c:pt idx="1190">
                  <c:v>2013/12/3</c:v>
                </c:pt>
                <c:pt idx="1191">
                  <c:v>2013/12/4</c:v>
                </c:pt>
                <c:pt idx="1192">
                  <c:v>2013/12/5</c:v>
                </c:pt>
                <c:pt idx="1193">
                  <c:v>2013/12/6</c:v>
                </c:pt>
                <c:pt idx="1194">
                  <c:v>2013/12/9</c:v>
                </c:pt>
                <c:pt idx="1195">
                  <c:v>2013/12/10</c:v>
                </c:pt>
                <c:pt idx="1196">
                  <c:v>2013/12/11</c:v>
                </c:pt>
                <c:pt idx="1197">
                  <c:v>2013/12/12</c:v>
                </c:pt>
                <c:pt idx="1198">
                  <c:v>2013/12/13</c:v>
                </c:pt>
                <c:pt idx="1199">
                  <c:v>2013/12/16</c:v>
                </c:pt>
                <c:pt idx="1200">
                  <c:v>2013/12/17</c:v>
                </c:pt>
                <c:pt idx="1201">
                  <c:v>2013/12/18</c:v>
                </c:pt>
                <c:pt idx="1202">
                  <c:v>2013/12/19</c:v>
                </c:pt>
                <c:pt idx="1203">
                  <c:v>2013/12/20</c:v>
                </c:pt>
                <c:pt idx="1204">
                  <c:v>2013/12/23</c:v>
                </c:pt>
                <c:pt idx="1205">
                  <c:v>2013/12/24</c:v>
                </c:pt>
                <c:pt idx="1206">
                  <c:v>2013/12/25</c:v>
                </c:pt>
                <c:pt idx="1207">
                  <c:v>2013/12/26</c:v>
                </c:pt>
                <c:pt idx="1208">
                  <c:v>2013/12/27</c:v>
                </c:pt>
                <c:pt idx="1209">
                  <c:v>2013/12/30</c:v>
                </c:pt>
                <c:pt idx="1210">
                  <c:v>2013/12/31</c:v>
                </c:pt>
                <c:pt idx="1211">
                  <c:v>2014/1/2</c:v>
                </c:pt>
                <c:pt idx="1212">
                  <c:v>2014/1/3</c:v>
                </c:pt>
                <c:pt idx="1213">
                  <c:v>2014/1/6</c:v>
                </c:pt>
                <c:pt idx="1214">
                  <c:v>2014/1/7</c:v>
                </c:pt>
                <c:pt idx="1215">
                  <c:v>2014/1/8</c:v>
                </c:pt>
                <c:pt idx="1216">
                  <c:v>2014/1/9</c:v>
                </c:pt>
                <c:pt idx="1217">
                  <c:v>2014/1/10</c:v>
                </c:pt>
                <c:pt idx="1218">
                  <c:v>2014/1/13</c:v>
                </c:pt>
                <c:pt idx="1219">
                  <c:v>2014/1/14</c:v>
                </c:pt>
                <c:pt idx="1220">
                  <c:v>2014/1/15</c:v>
                </c:pt>
                <c:pt idx="1221">
                  <c:v>2014/1/16</c:v>
                </c:pt>
                <c:pt idx="1222">
                  <c:v>2014/1/17</c:v>
                </c:pt>
                <c:pt idx="1223">
                  <c:v>2014/1/20</c:v>
                </c:pt>
                <c:pt idx="1224">
                  <c:v>2014/1/21</c:v>
                </c:pt>
                <c:pt idx="1225">
                  <c:v>2014/1/22</c:v>
                </c:pt>
                <c:pt idx="1226">
                  <c:v>2014/1/23</c:v>
                </c:pt>
                <c:pt idx="1227">
                  <c:v>2014/1/24</c:v>
                </c:pt>
                <c:pt idx="1228">
                  <c:v>2014/1/27</c:v>
                </c:pt>
                <c:pt idx="1229">
                  <c:v>2014/1/28</c:v>
                </c:pt>
                <c:pt idx="1230">
                  <c:v>2014/1/29</c:v>
                </c:pt>
                <c:pt idx="1231">
                  <c:v>2014/1/30</c:v>
                </c:pt>
                <c:pt idx="1232">
                  <c:v>2014/2/7</c:v>
                </c:pt>
                <c:pt idx="1233">
                  <c:v>2014/2/10</c:v>
                </c:pt>
                <c:pt idx="1234">
                  <c:v>2014/2/11</c:v>
                </c:pt>
                <c:pt idx="1235">
                  <c:v>2014/2/12</c:v>
                </c:pt>
                <c:pt idx="1236">
                  <c:v>2014/2/13</c:v>
                </c:pt>
                <c:pt idx="1237">
                  <c:v>2014/2/14</c:v>
                </c:pt>
                <c:pt idx="1238">
                  <c:v>2014/2/17</c:v>
                </c:pt>
                <c:pt idx="1239">
                  <c:v>2014/2/18</c:v>
                </c:pt>
                <c:pt idx="1240">
                  <c:v>2014/2/19</c:v>
                </c:pt>
                <c:pt idx="1241">
                  <c:v>2014/2/20</c:v>
                </c:pt>
                <c:pt idx="1242">
                  <c:v>2014/2/21</c:v>
                </c:pt>
                <c:pt idx="1243">
                  <c:v>2014/2/24</c:v>
                </c:pt>
                <c:pt idx="1244">
                  <c:v>2014/2/25</c:v>
                </c:pt>
                <c:pt idx="1245">
                  <c:v>2014/2/26</c:v>
                </c:pt>
                <c:pt idx="1246">
                  <c:v>2014/2/27</c:v>
                </c:pt>
                <c:pt idx="1247">
                  <c:v>2014/2/28</c:v>
                </c:pt>
                <c:pt idx="1248">
                  <c:v>2014/3/3</c:v>
                </c:pt>
                <c:pt idx="1249">
                  <c:v>2014/3/4</c:v>
                </c:pt>
                <c:pt idx="1250">
                  <c:v>2014/3/5</c:v>
                </c:pt>
                <c:pt idx="1251">
                  <c:v>2014/3/6</c:v>
                </c:pt>
                <c:pt idx="1252">
                  <c:v>2014/3/7</c:v>
                </c:pt>
                <c:pt idx="1253">
                  <c:v>2014/3/10</c:v>
                </c:pt>
                <c:pt idx="1254">
                  <c:v>2014/3/11</c:v>
                </c:pt>
                <c:pt idx="1255">
                  <c:v>2014/3/12</c:v>
                </c:pt>
                <c:pt idx="1256">
                  <c:v>2014/3/13</c:v>
                </c:pt>
                <c:pt idx="1257">
                  <c:v>2014/3/14</c:v>
                </c:pt>
                <c:pt idx="1258">
                  <c:v>2014/3/17</c:v>
                </c:pt>
                <c:pt idx="1259">
                  <c:v>2014/3/18</c:v>
                </c:pt>
                <c:pt idx="1260">
                  <c:v>2014/3/19</c:v>
                </c:pt>
                <c:pt idx="1261">
                  <c:v>2014/3/20</c:v>
                </c:pt>
                <c:pt idx="1262">
                  <c:v>2014/3/21</c:v>
                </c:pt>
                <c:pt idx="1263">
                  <c:v>2014/3/24</c:v>
                </c:pt>
                <c:pt idx="1264">
                  <c:v>2014/3/25</c:v>
                </c:pt>
                <c:pt idx="1265">
                  <c:v>2014/3/26</c:v>
                </c:pt>
                <c:pt idx="1266">
                  <c:v>2014/3/27</c:v>
                </c:pt>
                <c:pt idx="1267">
                  <c:v>2014/3/28</c:v>
                </c:pt>
                <c:pt idx="1268">
                  <c:v>2014/3/31</c:v>
                </c:pt>
                <c:pt idx="1269">
                  <c:v>2014/4/1</c:v>
                </c:pt>
                <c:pt idx="1270">
                  <c:v>2014/4/2</c:v>
                </c:pt>
                <c:pt idx="1271">
                  <c:v>2014/4/3</c:v>
                </c:pt>
                <c:pt idx="1272">
                  <c:v>2014/4/4</c:v>
                </c:pt>
                <c:pt idx="1273">
                  <c:v>2014/4/8</c:v>
                </c:pt>
                <c:pt idx="1274">
                  <c:v>2014/4/9</c:v>
                </c:pt>
                <c:pt idx="1275">
                  <c:v>2014/4/10</c:v>
                </c:pt>
                <c:pt idx="1276">
                  <c:v>2014/4/11</c:v>
                </c:pt>
                <c:pt idx="1277">
                  <c:v>2014/4/14</c:v>
                </c:pt>
                <c:pt idx="1278">
                  <c:v>2014/4/15</c:v>
                </c:pt>
                <c:pt idx="1279">
                  <c:v>2014/4/16</c:v>
                </c:pt>
                <c:pt idx="1280">
                  <c:v>2014/4/17</c:v>
                </c:pt>
                <c:pt idx="1281">
                  <c:v>2014/4/18</c:v>
                </c:pt>
                <c:pt idx="1282">
                  <c:v>2014/4/21</c:v>
                </c:pt>
                <c:pt idx="1283">
                  <c:v>2014/4/22</c:v>
                </c:pt>
                <c:pt idx="1284">
                  <c:v>2014/4/23</c:v>
                </c:pt>
                <c:pt idx="1285">
                  <c:v>2014/4/24</c:v>
                </c:pt>
                <c:pt idx="1286">
                  <c:v>2014/4/25</c:v>
                </c:pt>
                <c:pt idx="1287">
                  <c:v>2014/4/28</c:v>
                </c:pt>
                <c:pt idx="1288">
                  <c:v>2014/4/29</c:v>
                </c:pt>
                <c:pt idx="1289">
                  <c:v>2014/4/30</c:v>
                </c:pt>
                <c:pt idx="1290">
                  <c:v>2014/5/5</c:v>
                </c:pt>
                <c:pt idx="1291">
                  <c:v>2014/5/6</c:v>
                </c:pt>
                <c:pt idx="1292">
                  <c:v>2014/5/7</c:v>
                </c:pt>
                <c:pt idx="1293">
                  <c:v>2014/5/8</c:v>
                </c:pt>
                <c:pt idx="1294">
                  <c:v>2014/5/9</c:v>
                </c:pt>
                <c:pt idx="1295">
                  <c:v>2014/5/12</c:v>
                </c:pt>
                <c:pt idx="1296">
                  <c:v>2014/5/13</c:v>
                </c:pt>
                <c:pt idx="1297">
                  <c:v>2014/5/14</c:v>
                </c:pt>
                <c:pt idx="1298">
                  <c:v>2014/5/15</c:v>
                </c:pt>
                <c:pt idx="1299">
                  <c:v>2014/5/16</c:v>
                </c:pt>
                <c:pt idx="1300">
                  <c:v>2014/5/19</c:v>
                </c:pt>
                <c:pt idx="1301">
                  <c:v>2014/5/20</c:v>
                </c:pt>
                <c:pt idx="1302">
                  <c:v>2014/5/21</c:v>
                </c:pt>
                <c:pt idx="1303">
                  <c:v>2014/5/22</c:v>
                </c:pt>
                <c:pt idx="1304">
                  <c:v>2014/5/23</c:v>
                </c:pt>
                <c:pt idx="1305">
                  <c:v>2014/5/26</c:v>
                </c:pt>
                <c:pt idx="1306">
                  <c:v>2014/5/27</c:v>
                </c:pt>
                <c:pt idx="1307">
                  <c:v>2014/5/28</c:v>
                </c:pt>
                <c:pt idx="1308">
                  <c:v>2014/5/29</c:v>
                </c:pt>
                <c:pt idx="1309">
                  <c:v>2014/5/30</c:v>
                </c:pt>
                <c:pt idx="1310">
                  <c:v>2014/6/3</c:v>
                </c:pt>
                <c:pt idx="1311">
                  <c:v>2014/6/4</c:v>
                </c:pt>
                <c:pt idx="1312">
                  <c:v>2014/6/5</c:v>
                </c:pt>
                <c:pt idx="1313">
                  <c:v>2014/6/6</c:v>
                </c:pt>
                <c:pt idx="1314">
                  <c:v>2014/6/9</c:v>
                </c:pt>
                <c:pt idx="1315">
                  <c:v>2014/6/10</c:v>
                </c:pt>
                <c:pt idx="1316">
                  <c:v>2014/6/11</c:v>
                </c:pt>
                <c:pt idx="1317">
                  <c:v>2014/6/12</c:v>
                </c:pt>
                <c:pt idx="1318">
                  <c:v>2014/6/13</c:v>
                </c:pt>
                <c:pt idx="1319">
                  <c:v>2014/6/16</c:v>
                </c:pt>
                <c:pt idx="1320">
                  <c:v>2014/6/17</c:v>
                </c:pt>
                <c:pt idx="1321">
                  <c:v>2014/6/18</c:v>
                </c:pt>
                <c:pt idx="1322">
                  <c:v>2014/6/19</c:v>
                </c:pt>
                <c:pt idx="1323">
                  <c:v>2014/6/20</c:v>
                </c:pt>
                <c:pt idx="1324">
                  <c:v>2014/6/23</c:v>
                </c:pt>
                <c:pt idx="1325">
                  <c:v>2014/6/24</c:v>
                </c:pt>
                <c:pt idx="1326">
                  <c:v>2014/6/25</c:v>
                </c:pt>
                <c:pt idx="1327">
                  <c:v>2014/6/26</c:v>
                </c:pt>
                <c:pt idx="1328">
                  <c:v>2014/6/27</c:v>
                </c:pt>
                <c:pt idx="1329">
                  <c:v>2014/6/30</c:v>
                </c:pt>
                <c:pt idx="1330">
                  <c:v>2014/7/1</c:v>
                </c:pt>
                <c:pt idx="1331">
                  <c:v>2014/7/2</c:v>
                </c:pt>
                <c:pt idx="1332">
                  <c:v>2014/7/3</c:v>
                </c:pt>
                <c:pt idx="1333">
                  <c:v>2014/7/4</c:v>
                </c:pt>
                <c:pt idx="1334">
                  <c:v>2014/7/7</c:v>
                </c:pt>
                <c:pt idx="1335">
                  <c:v>2014/7/8</c:v>
                </c:pt>
                <c:pt idx="1336">
                  <c:v>2014/7/9</c:v>
                </c:pt>
                <c:pt idx="1337">
                  <c:v>2014/7/10</c:v>
                </c:pt>
                <c:pt idx="1338">
                  <c:v>2014/7/11</c:v>
                </c:pt>
                <c:pt idx="1339">
                  <c:v>2014/7/14</c:v>
                </c:pt>
                <c:pt idx="1340">
                  <c:v>2014/7/15</c:v>
                </c:pt>
                <c:pt idx="1341">
                  <c:v>2014/7/16</c:v>
                </c:pt>
                <c:pt idx="1342">
                  <c:v>2014/7/17</c:v>
                </c:pt>
                <c:pt idx="1343">
                  <c:v>2014/7/18</c:v>
                </c:pt>
                <c:pt idx="1344">
                  <c:v>2014/7/21</c:v>
                </c:pt>
                <c:pt idx="1345">
                  <c:v>2014/7/22</c:v>
                </c:pt>
                <c:pt idx="1346">
                  <c:v>2014/7/23</c:v>
                </c:pt>
                <c:pt idx="1347">
                  <c:v>2014/7/24</c:v>
                </c:pt>
                <c:pt idx="1348">
                  <c:v>2014/7/25</c:v>
                </c:pt>
                <c:pt idx="1349">
                  <c:v>2014/7/28</c:v>
                </c:pt>
                <c:pt idx="1350">
                  <c:v>2014/7/29</c:v>
                </c:pt>
                <c:pt idx="1351">
                  <c:v>2014/7/30</c:v>
                </c:pt>
                <c:pt idx="1352">
                  <c:v>2014/7/31</c:v>
                </c:pt>
                <c:pt idx="1353">
                  <c:v>2014/8/1</c:v>
                </c:pt>
                <c:pt idx="1354">
                  <c:v>2014/8/4</c:v>
                </c:pt>
                <c:pt idx="1355">
                  <c:v>2014/8/5</c:v>
                </c:pt>
                <c:pt idx="1356">
                  <c:v>2014/8/6</c:v>
                </c:pt>
                <c:pt idx="1357">
                  <c:v>2014/8/7</c:v>
                </c:pt>
                <c:pt idx="1358">
                  <c:v>2014/8/8</c:v>
                </c:pt>
                <c:pt idx="1359">
                  <c:v>2014/8/11</c:v>
                </c:pt>
                <c:pt idx="1360">
                  <c:v>2014/8/12</c:v>
                </c:pt>
                <c:pt idx="1361">
                  <c:v>2014/8/13</c:v>
                </c:pt>
                <c:pt idx="1362">
                  <c:v>2014/8/14</c:v>
                </c:pt>
                <c:pt idx="1363">
                  <c:v>2014/8/15</c:v>
                </c:pt>
                <c:pt idx="1364">
                  <c:v>2014/8/18</c:v>
                </c:pt>
                <c:pt idx="1365">
                  <c:v>2014/8/19</c:v>
                </c:pt>
                <c:pt idx="1366">
                  <c:v>2014/8/20</c:v>
                </c:pt>
                <c:pt idx="1367">
                  <c:v>2014/8/21</c:v>
                </c:pt>
                <c:pt idx="1368">
                  <c:v>2014/8/22</c:v>
                </c:pt>
                <c:pt idx="1369">
                  <c:v>2014/8/25</c:v>
                </c:pt>
                <c:pt idx="1370">
                  <c:v>2014/8/26</c:v>
                </c:pt>
                <c:pt idx="1371">
                  <c:v>2014/8/27</c:v>
                </c:pt>
                <c:pt idx="1372">
                  <c:v>2014/8/28</c:v>
                </c:pt>
                <c:pt idx="1373">
                  <c:v>2014/8/29</c:v>
                </c:pt>
                <c:pt idx="1374">
                  <c:v>2014/9/1</c:v>
                </c:pt>
                <c:pt idx="1375">
                  <c:v>2014/9/2</c:v>
                </c:pt>
                <c:pt idx="1376">
                  <c:v>2014/9/3</c:v>
                </c:pt>
                <c:pt idx="1377">
                  <c:v>2014/9/4</c:v>
                </c:pt>
                <c:pt idx="1378">
                  <c:v>2014/9/5</c:v>
                </c:pt>
                <c:pt idx="1379">
                  <c:v>2014/9/9</c:v>
                </c:pt>
                <c:pt idx="1380">
                  <c:v>2014/9/10</c:v>
                </c:pt>
                <c:pt idx="1381">
                  <c:v>2014/9/11</c:v>
                </c:pt>
                <c:pt idx="1382">
                  <c:v>2014/9/12</c:v>
                </c:pt>
                <c:pt idx="1383">
                  <c:v>2014/9/15</c:v>
                </c:pt>
                <c:pt idx="1384">
                  <c:v>2014/9/16</c:v>
                </c:pt>
                <c:pt idx="1385">
                  <c:v>2014/9/17</c:v>
                </c:pt>
                <c:pt idx="1386">
                  <c:v>2014/9/18</c:v>
                </c:pt>
                <c:pt idx="1387">
                  <c:v>2014/9/19</c:v>
                </c:pt>
                <c:pt idx="1388">
                  <c:v>2014/9/22</c:v>
                </c:pt>
                <c:pt idx="1389">
                  <c:v>2014/9/23</c:v>
                </c:pt>
                <c:pt idx="1390">
                  <c:v>2014/9/24</c:v>
                </c:pt>
                <c:pt idx="1391">
                  <c:v>2014/9/25</c:v>
                </c:pt>
                <c:pt idx="1392">
                  <c:v>2014/9/26</c:v>
                </c:pt>
                <c:pt idx="1393">
                  <c:v>2014/9/29</c:v>
                </c:pt>
                <c:pt idx="1394">
                  <c:v>2014/9/30</c:v>
                </c:pt>
                <c:pt idx="1395">
                  <c:v>2014/10/8</c:v>
                </c:pt>
                <c:pt idx="1396">
                  <c:v>2014/10/9</c:v>
                </c:pt>
                <c:pt idx="1397">
                  <c:v>2014/10/10</c:v>
                </c:pt>
                <c:pt idx="1398">
                  <c:v>2014/10/13</c:v>
                </c:pt>
                <c:pt idx="1399">
                  <c:v>2014/10/14</c:v>
                </c:pt>
                <c:pt idx="1400">
                  <c:v>2014/10/15</c:v>
                </c:pt>
                <c:pt idx="1401">
                  <c:v>2014/10/16</c:v>
                </c:pt>
                <c:pt idx="1402">
                  <c:v>2014/10/17</c:v>
                </c:pt>
                <c:pt idx="1403">
                  <c:v>2014/10/20</c:v>
                </c:pt>
                <c:pt idx="1404">
                  <c:v>2014/10/21</c:v>
                </c:pt>
                <c:pt idx="1405">
                  <c:v>2014/10/22</c:v>
                </c:pt>
                <c:pt idx="1406">
                  <c:v>2014/10/23</c:v>
                </c:pt>
                <c:pt idx="1407">
                  <c:v>2014/10/24</c:v>
                </c:pt>
                <c:pt idx="1408">
                  <c:v>2014/10/27</c:v>
                </c:pt>
                <c:pt idx="1409">
                  <c:v>2014/10/28</c:v>
                </c:pt>
                <c:pt idx="1410">
                  <c:v>2014/10/29</c:v>
                </c:pt>
                <c:pt idx="1411">
                  <c:v>2014/10/30</c:v>
                </c:pt>
                <c:pt idx="1412">
                  <c:v>2014/10/31</c:v>
                </c:pt>
                <c:pt idx="1413">
                  <c:v>2014/11/3</c:v>
                </c:pt>
                <c:pt idx="1414">
                  <c:v>2014/11/4</c:v>
                </c:pt>
                <c:pt idx="1415">
                  <c:v>2014/11/5</c:v>
                </c:pt>
                <c:pt idx="1416">
                  <c:v>2014/11/6</c:v>
                </c:pt>
                <c:pt idx="1417">
                  <c:v>2014/11/7</c:v>
                </c:pt>
                <c:pt idx="1418">
                  <c:v>2014/11/10</c:v>
                </c:pt>
                <c:pt idx="1419">
                  <c:v>2014/11/11</c:v>
                </c:pt>
                <c:pt idx="1420">
                  <c:v>2014/11/12</c:v>
                </c:pt>
                <c:pt idx="1421">
                  <c:v>2014/11/13</c:v>
                </c:pt>
                <c:pt idx="1422">
                  <c:v>2014/11/14</c:v>
                </c:pt>
                <c:pt idx="1423">
                  <c:v>2014/11/17</c:v>
                </c:pt>
                <c:pt idx="1424">
                  <c:v>2014/11/18</c:v>
                </c:pt>
                <c:pt idx="1425">
                  <c:v>2014/11/19</c:v>
                </c:pt>
                <c:pt idx="1426">
                  <c:v>2014/11/20</c:v>
                </c:pt>
                <c:pt idx="1427">
                  <c:v>2014/11/21</c:v>
                </c:pt>
                <c:pt idx="1428">
                  <c:v>2014/11/24</c:v>
                </c:pt>
                <c:pt idx="1429">
                  <c:v>2014/11/25</c:v>
                </c:pt>
                <c:pt idx="1430">
                  <c:v>2014/11/26</c:v>
                </c:pt>
                <c:pt idx="1431">
                  <c:v>2014/11/27</c:v>
                </c:pt>
                <c:pt idx="1432">
                  <c:v>2014/11/28</c:v>
                </c:pt>
                <c:pt idx="1433">
                  <c:v>2014/12/1</c:v>
                </c:pt>
                <c:pt idx="1434">
                  <c:v>2014/12/2</c:v>
                </c:pt>
                <c:pt idx="1435">
                  <c:v>2014/12/3</c:v>
                </c:pt>
                <c:pt idx="1436">
                  <c:v>2014/12/4</c:v>
                </c:pt>
                <c:pt idx="1437">
                  <c:v>2014/12/5</c:v>
                </c:pt>
                <c:pt idx="1438">
                  <c:v>2014/12/8</c:v>
                </c:pt>
                <c:pt idx="1439">
                  <c:v>2014/12/9</c:v>
                </c:pt>
                <c:pt idx="1440">
                  <c:v>2014/12/10</c:v>
                </c:pt>
                <c:pt idx="1441">
                  <c:v>2014/12/11</c:v>
                </c:pt>
                <c:pt idx="1442">
                  <c:v>2014/12/12</c:v>
                </c:pt>
                <c:pt idx="1443">
                  <c:v>2014/12/15</c:v>
                </c:pt>
                <c:pt idx="1444">
                  <c:v>2014/12/16</c:v>
                </c:pt>
                <c:pt idx="1445">
                  <c:v>2014/12/17</c:v>
                </c:pt>
                <c:pt idx="1446">
                  <c:v>2014/12/18</c:v>
                </c:pt>
                <c:pt idx="1447">
                  <c:v>2014/12/19</c:v>
                </c:pt>
                <c:pt idx="1448">
                  <c:v>2014/12/22</c:v>
                </c:pt>
                <c:pt idx="1449">
                  <c:v>2014/12/23</c:v>
                </c:pt>
                <c:pt idx="1450">
                  <c:v>2014/12/24</c:v>
                </c:pt>
                <c:pt idx="1451">
                  <c:v>2014/12/25</c:v>
                </c:pt>
                <c:pt idx="1452">
                  <c:v>2014/12/26</c:v>
                </c:pt>
                <c:pt idx="1453">
                  <c:v>2014/12/29</c:v>
                </c:pt>
                <c:pt idx="1454">
                  <c:v>2014/12/30</c:v>
                </c:pt>
                <c:pt idx="1455">
                  <c:v>2014/12/31</c:v>
                </c:pt>
                <c:pt idx="1456">
                  <c:v>2015/1/5</c:v>
                </c:pt>
                <c:pt idx="1457">
                  <c:v>2015/1/6</c:v>
                </c:pt>
                <c:pt idx="1458">
                  <c:v>2015/1/7</c:v>
                </c:pt>
                <c:pt idx="1459">
                  <c:v>2015/1/8</c:v>
                </c:pt>
                <c:pt idx="1460">
                  <c:v>2015/1/9</c:v>
                </c:pt>
                <c:pt idx="1461">
                  <c:v>2015/1/12</c:v>
                </c:pt>
                <c:pt idx="1462">
                  <c:v>2015/1/13</c:v>
                </c:pt>
                <c:pt idx="1463">
                  <c:v>2015/1/14</c:v>
                </c:pt>
                <c:pt idx="1464">
                  <c:v>2015/1/15</c:v>
                </c:pt>
                <c:pt idx="1465">
                  <c:v>2015/1/16</c:v>
                </c:pt>
                <c:pt idx="1466">
                  <c:v>2015/1/19</c:v>
                </c:pt>
                <c:pt idx="1467">
                  <c:v>2015/1/20</c:v>
                </c:pt>
                <c:pt idx="1468">
                  <c:v>2015/1/21</c:v>
                </c:pt>
                <c:pt idx="1469">
                  <c:v>2015/1/22</c:v>
                </c:pt>
                <c:pt idx="1470">
                  <c:v>2015/1/23</c:v>
                </c:pt>
                <c:pt idx="1471">
                  <c:v>2015/1/26</c:v>
                </c:pt>
                <c:pt idx="1472">
                  <c:v>2015/1/27</c:v>
                </c:pt>
                <c:pt idx="1473">
                  <c:v>2015/1/28</c:v>
                </c:pt>
                <c:pt idx="1474">
                  <c:v>2015/1/29</c:v>
                </c:pt>
                <c:pt idx="1475">
                  <c:v>2015/1/30</c:v>
                </c:pt>
                <c:pt idx="1476">
                  <c:v>2015/2/2</c:v>
                </c:pt>
                <c:pt idx="1477">
                  <c:v>2015/2/3</c:v>
                </c:pt>
                <c:pt idx="1478">
                  <c:v>2015/2/4</c:v>
                </c:pt>
                <c:pt idx="1479">
                  <c:v>2015/2/5</c:v>
                </c:pt>
                <c:pt idx="1480">
                  <c:v>2015/2/6</c:v>
                </c:pt>
                <c:pt idx="1481">
                  <c:v>2015/2/9</c:v>
                </c:pt>
                <c:pt idx="1482">
                  <c:v>2015/2/10</c:v>
                </c:pt>
                <c:pt idx="1483">
                  <c:v>2015/2/11</c:v>
                </c:pt>
                <c:pt idx="1484">
                  <c:v>2015/2/12</c:v>
                </c:pt>
                <c:pt idx="1485">
                  <c:v>2015/2/13</c:v>
                </c:pt>
                <c:pt idx="1486">
                  <c:v>2015/2/16</c:v>
                </c:pt>
                <c:pt idx="1487">
                  <c:v>2015/2/17</c:v>
                </c:pt>
                <c:pt idx="1488">
                  <c:v>2015/2/25</c:v>
                </c:pt>
                <c:pt idx="1489">
                  <c:v>2015/2/26</c:v>
                </c:pt>
                <c:pt idx="1490">
                  <c:v>2015/2/27</c:v>
                </c:pt>
                <c:pt idx="1491">
                  <c:v>2015/3/2</c:v>
                </c:pt>
                <c:pt idx="1492">
                  <c:v>2015/3/3</c:v>
                </c:pt>
                <c:pt idx="1493">
                  <c:v>2015/3/4</c:v>
                </c:pt>
                <c:pt idx="1494">
                  <c:v>2015/3/5</c:v>
                </c:pt>
                <c:pt idx="1495">
                  <c:v>2015/3/6</c:v>
                </c:pt>
                <c:pt idx="1496">
                  <c:v>2015/3/9</c:v>
                </c:pt>
                <c:pt idx="1497">
                  <c:v>2015/3/10</c:v>
                </c:pt>
                <c:pt idx="1498">
                  <c:v>2015/3/11</c:v>
                </c:pt>
                <c:pt idx="1499">
                  <c:v>2015/3/12</c:v>
                </c:pt>
                <c:pt idx="1500">
                  <c:v>2015/3/13</c:v>
                </c:pt>
                <c:pt idx="1501">
                  <c:v>2015/3/16</c:v>
                </c:pt>
                <c:pt idx="1502">
                  <c:v>2015/3/17</c:v>
                </c:pt>
                <c:pt idx="1503">
                  <c:v>2015/3/18</c:v>
                </c:pt>
                <c:pt idx="1504">
                  <c:v>2015/3/19</c:v>
                </c:pt>
                <c:pt idx="1505">
                  <c:v>2015/3/20</c:v>
                </c:pt>
                <c:pt idx="1506">
                  <c:v>2015/3/23</c:v>
                </c:pt>
                <c:pt idx="1507">
                  <c:v>2015/3/24</c:v>
                </c:pt>
                <c:pt idx="1508">
                  <c:v>2015/3/25</c:v>
                </c:pt>
                <c:pt idx="1509">
                  <c:v>2015/3/26</c:v>
                </c:pt>
                <c:pt idx="1510">
                  <c:v>2015/3/27</c:v>
                </c:pt>
                <c:pt idx="1511">
                  <c:v>2015/3/30</c:v>
                </c:pt>
                <c:pt idx="1512">
                  <c:v>2015/3/31</c:v>
                </c:pt>
                <c:pt idx="1513">
                  <c:v>2015/4/1</c:v>
                </c:pt>
                <c:pt idx="1514">
                  <c:v>2015/4/2</c:v>
                </c:pt>
                <c:pt idx="1515">
                  <c:v>2015/4/3</c:v>
                </c:pt>
                <c:pt idx="1516">
                  <c:v>2015/4/7</c:v>
                </c:pt>
                <c:pt idx="1517">
                  <c:v>2015/4/8</c:v>
                </c:pt>
                <c:pt idx="1518">
                  <c:v>2015/4/9</c:v>
                </c:pt>
                <c:pt idx="1519">
                  <c:v>2015/4/10</c:v>
                </c:pt>
                <c:pt idx="1520">
                  <c:v>2015/4/13</c:v>
                </c:pt>
                <c:pt idx="1521">
                  <c:v>2015/4/14</c:v>
                </c:pt>
                <c:pt idx="1522">
                  <c:v>2015/4/15</c:v>
                </c:pt>
                <c:pt idx="1523">
                  <c:v>2015/4/16</c:v>
                </c:pt>
                <c:pt idx="1524">
                  <c:v>2015/4/17</c:v>
                </c:pt>
                <c:pt idx="1525">
                  <c:v>2015/4/20</c:v>
                </c:pt>
                <c:pt idx="1526">
                  <c:v>2015/4/21</c:v>
                </c:pt>
                <c:pt idx="1527">
                  <c:v>2015/4/22</c:v>
                </c:pt>
                <c:pt idx="1528">
                  <c:v>2015/4/23</c:v>
                </c:pt>
                <c:pt idx="1529">
                  <c:v>2015/4/24</c:v>
                </c:pt>
                <c:pt idx="1530">
                  <c:v>2015/4/27</c:v>
                </c:pt>
                <c:pt idx="1531">
                  <c:v>2015/4/28</c:v>
                </c:pt>
                <c:pt idx="1532">
                  <c:v>2015/4/29</c:v>
                </c:pt>
                <c:pt idx="1533">
                  <c:v>2015/4/30</c:v>
                </c:pt>
                <c:pt idx="1534">
                  <c:v>2015/5/4</c:v>
                </c:pt>
                <c:pt idx="1535">
                  <c:v>2015/5/5</c:v>
                </c:pt>
                <c:pt idx="1536">
                  <c:v>2015/5/6</c:v>
                </c:pt>
                <c:pt idx="1537">
                  <c:v>2015/5/7</c:v>
                </c:pt>
                <c:pt idx="1538">
                  <c:v>2015/5/8</c:v>
                </c:pt>
                <c:pt idx="1539">
                  <c:v>2015/5/11</c:v>
                </c:pt>
                <c:pt idx="1540">
                  <c:v>2015/5/12</c:v>
                </c:pt>
                <c:pt idx="1541">
                  <c:v>2015/5/13</c:v>
                </c:pt>
                <c:pt idx="1542">
                  <c:v>2015/5/14</c:v>
                </c:pt>
                <c:pt idx="1543">
                  <c:v>2015/5/15</c:v>
                </c:pt>
                <c:pt idx="1544">
                  <c:v>2015/5/18</c:v>
                </c:pt>
                <c:pt idx="1545">
                  <c:v>2015/5/19</c:v>
                </c:pt>
                <c:pt idx="1546">
                  <c:v>2015/5/20</c:v>
                </c:pt>
                <c:pt idx="1547">
                  <c:v>2015/5/21</c:v>
                </c:pt>
                <c:pt idx="1548">
                  <c:v>2015/5/22</c:v>
                </c:pt>
                <c:pt idx="1549">
                  <c:v>2015/5/25</c:v>
                </c:pt>
                <c:pt idx="1550">
                  <c:v>2015/5/26</c:v>
                </c:pt>
                <c:pt idx="1551">
                  <c:v>2015/5/27</c:v>
                </c:pt>
                <c:pt idx="1552">
                  <c:v>2015/5/28</c:v>
                </c:pt>
                <c:pt idx="1553">
                  <c:v>2015/5/29</c:v>
                </c:pt>
                <c:pt idx="1554">
                  <c:v>2015/6/1</c:v>
                </c:pt>
                <c:pt idx="1555">
                  <c:v>2015/6/2</c:v>
                </c:pt>
                <c:pt idx="1556">
                  <c:v>2015/6/3</c:v>
                </c:pt>
                <c:pt idx="1557">
                  <c:v>2015/6/4</c:v>
                </c:pt>
                <c:pt idx="1558">
                  <c:v>2015/6/5</c:v>
                </c:pt>
                <c:pt idx="1559">
                  <c:v>2015/6/8</c:v>
                </c:pt>
                <c:pt idx="1560">
                  <c:v>2015/6/9</c:v>
                </c:pt>
                <c:pt idx="1561">
                  <c:v>2015/6/10</c:v>
                </c:pt>
                <c:pt idx="1562">
                  <c:v>2015/6/11</c:v>
                </c:pt>
                <c:pt idx="1563">
                  <c:v>2015/6/12</c:v>
                </c:pt>
                <c:pt idx="1564">
                  <c:v>2015/6/15</c:v>
                </c:pt>
                <c:pt idx="1565">
                  <c:v>2015/6/16</c:v>
                </c:pt>
                <c:pt idx="1566">
                  <c:v>2015/6/17</c:v>
                </c:pt>
                <c:pt idx="1567">
                  <c:v>2015/6/18</c:v>
                </c:pt>
                <c:pt idx="1568">
                  <c:v>2015/6/19</c:v>
                </c:pt>
                <c:pt idx="1569">
                  <c:v>2015/6/23</c:v>
                </c:pt>
                <c:pt idx="1570">
                  <c:v>2015/6/24</c:v>
                </c:pt>
                <c:pt idx="1571">
                  <c:v>2015/6/25</c:v>
                </c:pt>
                <c:pt idx="1572">
                  <c:v>2015/6/26</c:v>
                </c:pt>
                <c:pt idx="1573">
                  <c:v>2015/6/29</c:v>
                </c:pt>
                <c:pt idx="1574">
                  <c:v>2015/6/30</c:v>
                </c:pt>
                <c:pt idx="1575">
                  <c:v>2015/7/1</c:v>
                </c:pt>
                <c:pt idx="1576">
                  <c:v>2015/7/2</c:v>
                </c:pt>
                <c:pt idx="1577">
                  <c:v>2015/7/3</c:v>
                </c:pt>
                <c:pt idx="1578">
                  <c:v>2015/7/6</c:v>
                </c:pt>
                <c:pt idx="1579">
                  <c:v>2015/7/7</c:v>
                </c:pt>
                <c:pt idx="1580">
                  <c:v>2015/7/8</c:v>
                </c:pt>
                <c:pt idx="1581">
                  <c:v>2015/7/9</c:v>
                </c:pt>
                <c:pt idx="1582">
                  <c:v>2015/7/10</c:v>
                </c:pt>
                <c:pt idx="1583">
                  <c:v>2015/7/13</c:v>
                </c:pt>
                <c:pt idx="1584">
                  <c:v>2015/7/14</c:v>
                </c:pt>
                <c:pt idx="1585">
                  <c:v>2015/7/15</c:v>
                </c:pt>
                <c:pt idx="1586">
                  <c:v>2015/7/16</c:v>
                </c:pt>
                <c:pt idx="1587">
                  <c:v>2015/7/17</c:v>
                </c:pt>
                <c:pt idx="1588">
                  <c:v>2015/7/20</c:v>
                </c:pt>
                <c:pt idx="1589">
                  <c:v>2015/7/21</c:v>
                </c:pt>
                <c:pt idx="1590">
                  <c:v>2015/7/22</c:v>
                </c:pt>
                <c:pt idx="1591">
                  <c:v>2015/7/23</c:v>
                </c:pt>
                <c:pt idx="1592">
                  <c:v>2015/7/24</c:v>
                </c:pt>
                <c:pt idx="1593">
                  <c:v>2015/7/27</c:v>
                </c:pt>
                <c:pt idx="1594">
                  <c:v>2015/7/28</c:v>
                </c:pt>
                <c:pt idx="1595">
                  <c:v>2015/7/29</c:v>
                </c:pt>
                <c:pt idx="1596">
                  <c:v>2015/7/30</c:v>
                </c:pt>
                <c:pt idx="1597">
                  <c:v>2015/7/31</c:v>
                </c:pt>
                <c:pt idx="1598">
                  <c:v>2015/8/3</c:v>
                </c:pt>
                <c:pt idx="1599">
                  <c:v>2015/8/4</c:v>
                </c:pt>
                <c:pt idx="1600">
                  <c:v>2015/8/5</c:v>
                </c:pt>
                <c:pt idx="1601">
                  <c:v>2015/8/6</c:v>
                </c:pt>
                <c:pt idx="1602">
                  <c:v>2015/8/7</c:v>
                </c:pt>
                <c:pt idx="1603">
                  <c:v>2015/8/10</c:v>
                </c:pt>
                <c:pt idx="1604">
                  <c:v>2015/8/11</c:v>
                </c:pt>
                <c:pt idx="1605">
                  <c:v>2015/8/12</c:v>
                </c:pt>
                <c:pt idx="1606">
                  <c:v>2015/8/13</c:v>
                </c:pt>
                <c:pt idx="1607">
                  <c:v>2015/8/14</c:v>
                </c:pt>
                <c:pt idx="1608">
                  <c:v>2015/8/17</c:v>
                </c:pt>
                <c:pt idx="1609">
                  <c:v>2015/8/18</c:v>
                </c:pt>
                <c:pt idx="1610">
                  <c:v>2015/8/19</c:v>
                </c:pt>
                <c:pt idx="1611">
                  <c:v>2015/8/20</c:v>
                </c:pt>
                <c:pt idx="1612">
                  <c:v>2015/8/21</c:v>
                </c:pt>
                <c:pt idx="1613">
                  <c:v>2015/8/24</c:v>
                </c:pt>
                <c:pt idx="1614">
                  <c:v>2015/8/25</c:v>
                </c:pt>
                <c:pt idx="1615">
                  <c:v>2015/8/26</c:v>
                </c:pt>
                <c:pt idx="1616">
                  <c:v>2015/8/27</c:v>
                </c:pt>
                <c:pt idx="1617">
                  <c:v>2015/8/28</c:v>
                </c:pt>
                <c:pt idx="1618">
                  <c:v>2015/8/31</c:v>
                </c:pt>
                <c:pt idx="1619">
                  <c:v>2015/9/1</c:v>
                </c:pt>
                <c:pt idx="1620">
                  <c:v>2015/9/2</c:v>
                </c:pt>
                <c:pt idx="1621">
                  <c:v>2015/9/7</c:v>
                </c:pt>
                <c:pt idx="1622">
                  <c:v>2015/9/8</c:v>
                </c:pt>
                <c:pt idx="1623">
                  <c:v>2015/9/9</c:v>
                </c:pt>
                <c:pt idx="1624">
                  <c:v>2015/9/10</c:v>
                </c:pt>
                <c:pt idx="1625">
                  <c:v>2015/9/11</c:v>
                </c:pt>
                <c:pt idx="1626">
                  <c:v>2015/9/14</c:v>
                </c:pt>
                <c:pt idx="1627">
                  <c:v>2015/9/15</c:v>
                </c:pt>
                <c:pt idx="1628">
                  <c:v>2015/9/16</c:v>
                </c:pt>
                <c:pt idx="1629">
                  <c:v>2015/9/17</c:v>
                </c:pt>
                <c:pt idx="1630">
                  <c:v>2015/9/18</c:v>
                </c:pt>
                <c:pt idx="1631">
                  <c:v>2015/9/21</c:v>
                </c:pt>
                <c:pt idx="1632">
                  <c:v>2015/9/22</c:v>
                </c:pt>
                <c:pt idx="1633">
                  <c:v>2015/9/23</c:v>
                </c:pt>
                <c:pt idx="1634">
                  <c:v>2015/9/24</c:v>
                </c:pt>
                <c:pt idx="1635">
                  <c:v>2015/9/25</c:v>
                </c:pt>
                <c:pt idx="1636">
                  <c:v>2015/9/28</c:v>
                </c:pt>
                <c:pt idx="1637">
                  <c:v>2015/9/29</c:v>
                </c:pt>
                <c:pt idx="1638">
                  <c:v>2015/9/30</c:v>
                </c:pt>
                <c:pt idx="1639">
                  <c:v>2015/10/8</c:v>
                </c:pt>
                <c:pt idx="1640">
                  <c:v>2015/10/9</c:v>
                </c:pt>
                <c:pt idx="1641">
                  <c:v>2015/10/12</c:v>
                </c:pt>
                <c:pt idx="1642">
                  <c:v>2015/10/13</c:v>
                </c:pt>
                <c:pt idx="1643">
                  <c:v>2015/10/14</c:v>
                </c:pt>
                <c:pt idx="1644">
                  <c:v>2015/10/15</c:v>
                </c:pt>
                <c:pt idx="1645">
                  <c:v>2015/10/16</c:v>
                </c:pt>
                <c:pt idx="1646">
                  <c:v>2015/10/19</c:v>
                </c:pt>
                <c:pt idx="1647">
                  <c:v>2015/10/20</c:v>
                </c:pt>
                <c:pt idx="1648">
                  <c:v>2015/10/21</c:v>
                </c:pt>
                <c:pt idx="1649">
                  <c:v>2015/10/22</c:v>
                </c:pt>
                <c:pt idx="1650">
                  <c:v>2015/10/23</c:v>
                </c:pt>
                <c:pt idx="1651">
                  <c:v>2015/10/26</c:v>
                </c:pt>
                <c:pt idx="1652">
                  <c:v>2015/10/27</c:v>
                </c:pt>
                <c:pt idx="1653">
                  <c:v>2015/10/28</c:v>
                </c:pt>
                <c:pt idx="1654">
                  <c:v>2015/10/29</c:v>
                </c:pt>
                <c:pt idx="1655">
                  <c:v>2015/10/30</c:v>
                </c:pt>
                <c:pt idx="1656">
                  <c:v>2015/11/2</c:v>
                </c:pt>
                <c:pt idx="1657">
                  <c:v>2015/11/3</c:v>
                </c:pt>
                <c:pt idx="1658">
                  <c:v>2015/11/4</c:v>
                </c:pt>
                <c:pt idx="1659">
                  <c:v>2015/11/5</c:v>
                </c:pt>
                <c:pt idx="1660">
                  <c:v>2015/11/6</c:v>
                </c:pt>
                <c:pt idx="1661">
                  <c:v>2015/11/9</c:v>
                </c:pt>
                <c:pt idx="1662">
                  <c:v>2015/11/10</c:v>
                </c:pt>
                <c:pt idx="1663">
                  <c:v>2015/11/11</c:v>
                </c:pt>
                <c:pt idx="1664">
                  <c:v>2015/11/12</c:v>
                </c:pt>
                <c:pt idx="1665">
                  <c:v>2015/11/13</c:v>
                </c:pt>
                <c:pt idx="1666">
                  <c:v>2015/11/16</c:v>
                </c:pt>
                <c:pt idx="1667">
                  <c:v>2015/11/17</c:v>
                </c:pt>
                <c:pt idx="1668">
                  <c:v>2015/11/18</c:v>
                </c:pt>
                <c:pt idx="1669">
                  <c:v>2015/11/19</c:v>
                </c:pt>
                <c:pt idx="1670">
                  <c:v>2015/11/20</c:v>
                </c:pt>
                <c:pt idx="1671">
                  <c:v>2015/11/23</c:v>
                </c:pt>
                <c:pt idx="1672">
                  <c:v>2015/11/24</c:v>
                </c:pt>
                <c:pt idx="1673">
                  <c:v>2015/11/25</c:v>
                </c:pt>
                <c:pt idx="1674">
                  <c:v>2015/11/26</c:v>
                </c:pt>
                <c:pt idx="1675">
                  <c:v>2015/11/27</c:v>
                </c:pt>
                <c:pt idx="1676">
                  <c:v>2015/11/30</c:v>
                </c:pt>
                <c:pt idx="1677">
                  <c:v>2015/12/1</c:v>
                </c:pt>
                <c:pt idx="1678">
                  <c:v>2015/12/2</c:v>
                </c:pt>
                <c:pt idx="1679">
                  <c:v>2015/12/3</c:v>
                </c:pt>
                <c:pt idx="1680">
                  <c:v>2015/12/4</c:v>
                </c:pt>
                <c:pt idx="1681">
                  <c:v>2015/12/7</c:v>
                </c:pt>
                <c:pt idx="1682">
                  <c:v>2015/12/8</c:v>
                </c:pt>
                <c:pt idx="1683">
                  <c:v>2015/12/9</c:v>
                </c:pt>
                <c:pt idx="1684">
                  <c:v>2015/12/10</c:v>
                </c:pt>
                <c:pt idx="1685">
                  <c:v>2015/12/11</c:v>
                </c:pt>
                <c:pt idx="1686">
                  <c:v>2015/12/14</c:v>
                </c:pt>
                <c:pt idx="1687">
                  <c:v>2015/12/15</c:v>
                </c:pt>
                <c:pt idx="1688">
                  <c:v>2015/12/16</c:v>
                </c:pt>
                <c:pt idx="1689">
                  <c:v>2015/12/17</c:v>
                </c:pt>
                <c:pt idx="1690">
                  <c:v>2015/12/18</c:v>
                </c:pt>
                <c:pt idx="1691">
                  <c:v>2015/12/21</c:v>
                </c:pt>
                <c:pt idx="1692">
                  <c:v>2015/12/22</c:v>
                </c:pt>
                <c:pt idx="1693">
                  <c:v>2015/12/23</c:v>
                </c:pt>
                <c:pt idx="1694">
                  <c:v>2015/12/24</c:v>
                </c:pt>
                <c:pt idx="1695">
                  <c:v>2015/12/25</c:v>
                </c:pt>
                <c:pt idx="1696">
                  <c:v>2015/12/28</c:v>
                </c:pt>
                <c:pt idx="1697">
                  <c:v>2015/12/29</c:v>
                </c:pt>
                <c:pt idx="1698">
                  <c:v>2015/12/30</c:v>
                </c:pt>
                <c:pt idx="1699">
                  <c:v>2015/12/31</c:v>
                </c:pt>
                <c:pt idx="1700">
                  <c:v>2016/1/4</c:v>
                </c:pt>
                <c:pt idx="1701">
                  <c:v>2016/1/5</c:v>
                </c:pt>
                <c:pt idx="1702">
                  <c:v>2016/1/6</c:v>
                </c:pt>
                <c:pt idx="1703">
                  <c:v>2016/1/7</c:v>
                </c:pt>
                <c:pt idx="1704">
                  <c:v>2016/1/8</c:v>
                </c:pt>
                <c:pt idx="1705">
                  <c:v>2016/1/11</c:v>
                </c:pt>
                <c:pt idx="1706">
                  <c:v>2016/1/12</c:v>
                </c:pt>
                <c:pt idx="1707">
                  <c:v>2016/1/13</c:v>
                </c:pt>
                <c:pt idx="1708">
                  <c:v>2016/1/14</c:v>
                </c:pt>
                <c:pt idx="1709">
                  <c:v>2016/1/15</c:v>
                </c:pt>
                <c:pt idx="1710">
                  <c:v>2016/1/18</c:v>
                </c:pt>
                <c:pt idx="1711">
                  <c:v>2016/1/19</c:v>
                </c:pt>
                <c:pt idx="1712">
                  <c:v>2016/1/20</c:v>
                </c:pt>
                <c:pt idx="1713">
                  <c:v>2016/1/21</c:v>
                </c:pt>
                <c:pt idx="1714">
                  <c:v>2016/1/22</c:v>
                </c:pt>
                <c:pt idx="1715">
                  <c:v>2016/1/25</c:v>
                </c:pt>
                <c:pt idx="1716">
                  <c:v>2016/1/26</c:v>
                </c:pt>
                <c:pt idx="1717">
                  <c:v>2016/1/27</c:v>
                </c:pt>
                <c:pt idx="1718">
                  <c:v>2016/1/28</c:v>
                </c:pt>
                <c:pt idx="1719">
                  <c:v>2016/1/29</c:v>
                </c:pt>
                <c:pt idx="1720">
                  <c:v>2016/2/1</c:v>
                </c:pt>
                <c:pt idx="1721">
                  <c:v>2016/2/2</c:v>
                </c:pt>
                <c:pt idx="1722">
                  <c:v>2016/2/3</c:v>
                </c:pt>
                <c:pt idx="1723">
                  <c:v>2016/2/4</c:v>
                </c:pt>
                <c:pt idx="1724">
                  <c:v>2016/2/5</c:v>
                </c:pt>
                <c:pt idx="1725">
                  <c:v>2016/2/15</c:v>
                </c:pt>
                <c:pt idx="1726">
                  <c:v>2016/2/16</c:v>
                </c:pt>
                <c:pt idx="1727">
                  <c:v>2016/2/17</c:v>
                </c:pt>
                <c:pt idx="1728">
                  <c:v>2016/2/18</c:v>
                </c:pt>
                <c:pt idx="1729">
                  <c:v>2016/2/19</c:v>
                </c:pt>
                <c:pt idx="1730">
                  <c:v>2016/2/22</c:v>
                </c:pt>
                <c:pt idx="1731">
                  <c:v>2016/2/23</c:v>
                </c:pt>
                <c:pt idx="1732">
                  <c:v>2016/2/24</c:v>
                </c:pt>
                <c:pt idx="1733">
                  <c:v>2016/2/25</c:v>
                </c:pt>
                <c:pt idx="1734">
                  <c:v>2016/2/26</c:v>
                </c:pt>
                <c:pt idx="1735">
                  <c:v>2016/2/29</c:v>
                </c:pt>
                <c:pt idx="1736">
                  <c:v>2016/3/1</c:v>
                </c:pt>
                <c:pt idx="1737">
                  <c:v>2016/3/2</c:v>
                </c:pt>
                <c:pt idx="1738">
                  <c:v>2016/3/3</c:v>
                </c:pt>
                <c:pt idx="1739">
                  <c:v>2016/3/4</c:v>
                </c:pt>
                <c:pt idx="1740">
                  <c:v>2016/3/7</c:v>
                </c:pt>
                <c:pt idx="1741">
                  <c:v>2016/3/8</c:v>
                </c:pt>
                <c:pt idx="1742">
                  <c:v>2016/3/9</c:v>
                </c:pt>
                <c:pt idx="1743">
                  <c:v>2016/3/10</c:v>
                </c:pt>
                <c:pt idx="1744">
                  <c:v>2016/3/11</c:v>
                </c:pt>
                <c:pt idx="1745">
                  <c:v>2016/3/14</c:v>
                </c:pt>
                <c:pt idx="1746">
                  <c:v>2016/3/15</c:v>
                </c:pt>
                <c:pt idx="1747">
                  <c:v>2016/3/16</c:v>
                </c:pt>
                <c:pt idx="1748">
                  <c:v>2016/3/17</c:v>
                </c:pt>
                <c:pt idx="1749">
                  <c:v>2016/3/18</c:v>
                </c:pt>
                <c:pt idx="1750">
                  <c:v>2016/3/21</c:v>
                </c:pt>
                <c:pt idx="1751">
                  <c:v>2016/3/22</c:v>
                </c:pt>
                <c:pt idx="1752">
                  <c:v>2016/3/23</c:v>
                </c:pt>
                <c:pt idx="1753">
                  <c:v>2016/3/24</c:v>
                </c:pt>
                <c:pt idx="1754">
                  <c:v>2016/3/25</c:v>
                </c:pt>
                <c:pt idx="1755">
                  <c:v>2016/3/28</c:v>
                </c:pt>
                <c:pt idx="1756">
                  <c:v>2016/3/29</c:v>
                </c:pt>
                <c:pt idx="1757">
                  <c:v>2016/3/30</c:v>
                </c:pt>
                <c:pt idx="1758">
                  <c:v>2016/3/31</c:v>
                </c:pt>
                <c:pt idx="1759">
                  <c:v>2016/4/1</c:v>
                </c:pt>
                <c:pt idx="1760">
                  <c:v>2016/4/5</c:v>
                </c:pt>
                <c:pt idx="1761">
                  <c:v>2016/4/6</c:v>
                </c:pt>
                <c:pt idx="1762">
                  <c:v>2016/4/7</c:v>
                </c:pt>
                <c:pt idx="1763">
                  <c:v>2016/4/8</c:v>
                </c:pt>
                <c:pt idx="1764">
                  <c:v>2016/4/11</c:v>
                </c:pt>
                <c:pt idx="1765">
                  <c:v>2016/4/12</c:v>
                </c:pt>
                <c:pt idx="1766">
                  <c:v>2016/4/13</c:v>
                </c:pt>
                <c:pt idx="1767">
                  <c:v>2016/4/14</c:v>
                </c:pt>
                <c:pt idx="1768">
                  <c:v>2016/4/15</c:v>
                </c:pt>
                <c:pt idx="1769">
                  <c:v>2016/4/18</c:v>
                </c:pt>
                <c:pt idx="1770">
                  <c:v>2016/4/19</c:v>
                </c:pt>
                <c:pt idx="1771">
                  <c:v>2016/4/20</c:v>
                </c:pt>
                <c:pt idx="1772">
                  <c:v>2016/4/21</c:v>
                </c:pt>
                <c:pt idx="1773">
                  <c:v>2016/4/22</c:v>
                </c:pt>
                <c:pt idx="1774">
                  <c:v>2016/4/25</c:v>
                </c:pt>
                <c:pt idx="1775">
                  <c:v>2016/4/26</c:v>
                </c:pt>
                <c:pt idx="1776">
                  <c:v>2016/4/27</c:v>
                </c:pt>
                <c:pt idx="1777">
                  <c:v>2016/4/28</c:v>
                </c:pt>
                <c:pt idx="1778">
                  <c:v>2016/4/29</c:v>
                </c:pt>
                <c:pt idx="1779">
                  <c:v>2016/5/3</c:v>
                </c:pt>
                <c:pt idx="1780">
                  <c:v>2016/5/4</c:v>
                </c:pt>
                <c:pt idx="1781">
                  <c:v>2016/5/5</c:v>
                </c:pt>
                <c:pt idx="1782">
                  <c:v>2016/5/6</c:v>
                </c:pt>
                <c:pt idx="1783">
                  <c:v>2016/5/9</c:v>
                </c:pt>
                <c:pt idx="1784">
                  <c:v>2016/5/10</c:v>
                </c:pt>
                <c:pt idx="1785">
                  <c:v>2016/5/11</c:v>
                </c:pt>
                <c:pt idx="1786">
                  <c:v>2016/5/12</c:v>
                </c:pt>
                <c:pt idx="1787">
                  <c:v>2016/5/13</c:v>
                </c:pt>
                <c:pt idx="1788">
                  <c:v>2016/5/16</c:v>
                </c:pt>
                <c:pt idx="1789">
                  <c:v>2016/5/17</c:v>
                </c:pt>
                <c:pt idx="1790">
                  <c:v>2016/5/18</c:v>
                </c:pt>
                <c:pt idx="1791">
                  <c:v>2016/5/19</c:v>
                </c:pt>
                <c:pt idx="1792">
                  <c:v>2016/5/20</c:v>
                </c:pt>
                <c:pt idx="1793">
                  <c:v>2016/5/23</c:v>
                </c:pt>
                <c:pt idx="1794">
                  <c:v>2016/5/24</c:v>
                </c:pt>
                <c:pt idx="1795">
                  <c:v>2016/5/25</c:v>
                </c:pt>
                <c:pt idx="1796">
                  <c:v>2016/5/26</c:v>
                </c:pt>
                <c:pt idx="1797">
                  <c:v>2016/5/27</c:v>
                </c:pt>
                <c:pt idx="1798">
                  <c:v>2016/5/30</c:v>
                </c:pt>
                <c:pt idx="1799">
                  <c:v>2016/5/31</c:v>
                </c:pt>
                <c:pt idx="1800">
                  <c:v>2016/6/1</c:v>
                </c:pt>
                <c:pt idx="1801">
                  <c:v>2016/6/2</c:v>
                </c:pt>
                <c:pt idx="1802">
                  <c:v>2016/6/3</c:v>
                </c:pt>
                <c:pt idx="1803">
                  <c:v>2016/6/6</c:v>
                </c:pt>
                <c:pt idx="1804">
                  <c:v>2016/6/7</c:v>
                </c:pt>
                <c:pt idx="1805">
                  <c:v>2016/6/8</c:v>
                </c:pt>
                <c:pt idx="1806">
                  <c:v>2016/6/13</c:v>
                </c:pt>
                <c:pt idx="1807">
                  <c:v>2016/6/14</c:v>
                </c:pt>
                <c:pt idx="1808">
                  <c:v>2016/6/15</c:v>
                </c:pt>
                <c:pt idx="1809">
                  <c:v>2016/6/16</c:v>
                </c:pt>
                <c:pt idx="1810">
                  <c:v>2016/6/17</c:v>
                </c:pt>
                <c:pt idx="1811">
                  <c:v>2016/6/20</c:v>
                </c:pt>
                <c:pt idx="1812">
                  <c:v>2016/6/21</c:v>
                </c:pt>
                <c:pt idx="1813">
                  <c:v>2016/6/22</c:v>
                </c:pt>
                <c:pt idx="1814">
                  <c:v>2016/6/23</c:v>
                </c:pt>
                <c:pt idx="1815">
                  <c:v>2016/6/24</c:v>
                </c:pt>
                <c:pt idx="1816">
                  <c:v>2016/6/27</c:v>
                </c:pt>
                <c:pt idx="1817">
                  <c:v>2016/6/28</c:v>
                </c:pt>
                <c:pt idx="1818">
                  <c:v>2016/6/29</c:v>
                </c:pt>
                <c:pt idx="1819">
                  <c:v>2016/6/30</c:v>
                </c:pt>
                <c:pt idx="1820">
                  <c:v>2016/7/1</c:v>
                </c:pt>
                <c:pt idx="1821">
                  <c:v>2016/7/4</c:v>
                </c:pt>
                <c:pt idx="1822">
                  <c:v>2016/7/5</c:v>
                </c:pt>
                <c:pt idx="1823">
                  <c:v>2016/7/6</c:v>
                </c:pt>
                <c:pt idx="1824">
                  <c:v>2016/7/7</c:v>
                </c:pt>
                <c:pt idx="1825">
                  <c:v>2016/7/8</c:v>
                </c:pt>
                <c:pt idx="1826">
                  <c:v>2016/7/11</c:v>
                </c:pt>
                <c:pt idx="1827">
                  <c:v>2016/7/12</c:v>
                </c:pt>
                <c:pt idx="1828">
                  <c:v>2016/7/13</c:v>
                </c:pt>
                <c:pt idx="1829">
                  <c:v>2016/7/14</c:v>
                </c:pt>
                <c:pt idx="1830">
                  <c:v>2016/7/15</c:v>
                </c:pt>
                <c:pt idx="1831">
                  <c:v>2016/7/18</c:v>
                </c:pt>
                <c:pt idx="1832">
                  <c:v>2016/7/19</c:v>
                </c:pt>
                <c:pt idx="1833">
                  <c:v>2016/7/20</c:v>
                </c:pt>
                <c:pt idx="1834">
                  <c:v>2016/7/21</c:v>
                </c:pt>
                <c:pt idx="1835">
                  <c:v>2016/7/22</c:v>
                </c:pt>
                <c:pt idx="1836">
                  <c:v>2016/7/25</c:v>
                </c:pt>
                <c:pt idx="1837">
                  <c:v>2016/7/26</c:v>
                </c:pt>
                <c:pt idx="1838">
                  <c:v>2016/7/27</c:v>
                </c:pt>
                <c:pt idx="1839">
                  <c:v>2016/7/28</c:v>
                </c:pt>
                <c:pt idx="1840">
                  <c:v>2016/7/29</c:v>
                </c:pt>
                <c:pt idx="1841">
                  <c:v>2016/8/1</c:v>
                </c:pt>
                <c:pt idx="1842">
                  <c:v>2016/8/2</c:v>
                </c:pt>
                <c:pt idx="1843">
                  <c:v>2016/8/3</c:v>
                </c:pt>
                <c:pt idx="1844">
                  <c:v>2016/8/4</c:v>
                </c:pt>
                <c:pt idx="1845">
                  <c:v>2016/8/5</c:v>
                </c:pt>
                <c:pt idx="1846">
                  <c:v>2016/8/8</c:v>
                </c:pt>
                <c:pt idx="1847">
                  <c:v>2016/8/9</c:v>
                </c:pt>
                <c:pt idx="1848">
                  <c:v>2016/8/10</c:v>
                </c:pt>
                <c:pt idx="1849">
                  <c:v>2016/8/11</c:v>
                </c:pt>
                <c:pt idx="1850">
                  <c:v>2016/8/12</c:v>
                </c:pt>
                <c:pt idx="1851">
                  <c:v>2016/8/15</c:v>
                </c:pt>
                <c:pt idx="1852">
                  <c:v>2016/8/16</c:v>
                </c:pt>
                <c:pt idx="1853">
                  <c:v>2016/8/17</c:v>
                </c:pt>
                <c:pt idx="1854">
                  <c:v>2016/8/18</c:v>
                </c:pt>
                <c:pt idx="1855">
                  <c:v>2016/8/19</c:v>
                </c:pt>
                <c:pt idx="1856">
                  <c:v>2016/8/22</c:v>
                </c:pt>
                <c:pt idx="1857">
                  <c:v>2016/8/23</c:v>
                </c:pt>
                <c:pt idx="1858">
                  <c:v>2016/8/24</c:v>
                </c:pt>
                <c:pt idx="1859">
                  <c:v>2016/8/25</c:v>
                </c:pt>
                <c:pt idx="1860">
                  <c:v>2016/8/26</c:v>
                </c:pt>
                <c:pt idx="1861">
                  <c:v>2016/8/29</c:v>
                </c:pt>
                <c:pt idx="1862">
                  <c:v>2016/8/30</c:v>
                </c:pt>
                <c:pt idx="1863">
                  <c:v>2016/8/31</c:v>
                </c:pt>
                <c:pt idx="1864">
                  <c:v>2016/9/1</c:v>
                </c:pt>
                <c:pt idx="1865">
                  <c:v>2016/9/2</c:v>
                </c:pt>
                <c:pt idx="1866">
                  <c:v>2016/9/5</c:v>
                </c:pt>
                <c:pt idx="1867">
                  <c:v>2016/9/6</c:v>
                </c:pt>
                <c:pt idx="1868">
                  <c:v>2016/9/7</c:v>
                </c:pt>
                <c:pt idx="1869">
                  <c:v>2016/9/8</c:v>
                </c:pt>
                <c:pt idx="1870">
                  <c:v>2016/9/9</c:v>
                </c:pt>
                <c:pt idx="1871">
                  <c:v>2016/9/12</c:v>
                </c:pt>
                <c:pt idx="1872">
                  <c:v>2016/9/13</c:v>
                </c:pt>
                <c:pt idx="1873">
                  <c:v>2016/9/14</c:v>
                </c:pt>
                <c:pt idx="1874">
                  <c:v>2016/9/19</c:v>
                </c:pt>
                <c:pt idx="1875">
                  <c:v>2016/9/20</c:v>
                </c:pt>
                <c:pt idx="1876">
                  <c:v>2016/9/21</c:v>
                </c:pt>
                <c:pt idx="1877">
                  <c:v>2016/9/22</c:v>
                </c:pt>
                <c:pt idx="1878">
                  <c:v>2016/9/23</c:v>
                </c:pt>
                <c:pt idx="1879">
                  <c:v>2016/9/26</c:v>
                </c:pt>
                <c:pt idx="1880">
                  <c:v>2016/9/27</c:v>
                </c:pt>
                <c:pt idx="1881">
                  <c:v>2016/9/28</c:v>
                </c:pt>
                <c:pt idx="1882">
                  <c:v>2016/9/29</c:v>
                </c:pt>
                <c:pt idx="1883">
                  <c:v>2016/9/30</c:v>
                </c:pt>
                <c:pt idx="1884">
                  <c:v>2016/10/10</c:v>
                </c:pt>
                <c:pt idx="1885">
                  <c:v>2016/10/11</c:v>
                </c:pt>
                <c:pt idx="1886">
                  <c:v>2016/10/12</c:v>
                </c:pt>
                <c:pt idx="1887">
                  <c:v>2016/10/13</c:v>
                </c:pt>
                <c:pt idx="1888">
                  <c:v>2016/10/14</c:v>
                </c:pt>
                <c:pt idx="1889">
                  <c:v>2016/10/17</c:v>
                </c:pt>
                <c:pt idx="1890">
                  <c:v>2016/10/18</c:v>
                </c:pt>
                <c:pt idx="1891">
                  <c:v>2016/10/19</c:v>
                </c:pt>
                <c:pt idx="1892">
                  <c:v>2016/10/20</c:v>
                </c:pt>
                <c:pt idx="1893">
                  <c:v>2016/10/21</c:v>
                </c:pt>
                <c:pt idx="1894">
                  <c:v>2016/10/24</c:v>
                </c:pt>
                <c:pt idx="1895">
                  <c:v>2016/10/25</c:v>
                </c:pt>
                <c:pt idx="1896">
                  <c:v>2016/10/26</c:v>
                </c:pt>
                <c:pt idx="1897">
                  <c:v>2016/10/27</c:v>
                </c:pt>
                <c:pt idx="1898">
                  <c:v>2016/10/28</c:v>
                </c:pt>
                <c:pt idx="1899">
                  <c:v>2016/10/31</c:v>
                </c:pt>
                <c:pt idx="1900">
                  <c:v>2016/11/1</c:v>
                </c:pt>
                <c:pt idx="1901">
                  <c:v>2016/11/2</c:v>
                </c:pt>
                <c:pt idx="1902">
                  <c:v>2016/11/3</c:v>
                </c:pt>
                <c:pt idx="1903">
                  <c:v>2016/11/4</c:v>
                </c:pt>
                <c:pt idx="1904">
                  <c:v>2016/11/7</c:v>
                </c:pt>
                <c:pt idx="1905">
                  <c:v>2016/11/8</c:v>
                </c:pt>
                <c:pt idx="1906">
                  <c:v>2016/11/9</c:v>
                </c:pt>
                <c:pt idx="1907">
                  <c:v>2016/11/10</c:v>
                </c:pt>
                <c:pt idx="1908">
                  <c:v>2016/11/11</c:v>
                </c:pt>
                <c:pt idx="1909">
                  <c:v>2016/11/14</c:v>
                </c:pt>
                <c:pt idx="1910">
                  <c:v>2016/11/15</c:v>
                </c:pt>
                <c:pt idx="1911">
                  <c:v>2016/11/16</c:v>
                </c:pt>
                <c:pt idx="1912">
                  <c:v>2016/11/17</c:v>
                </c:pt>
                <c:pt idx="1913">
                  <c:v>2016/11/18</c:v>
                </c:pt>
                <c:pt idx="1914">
                  <c:v>2016/11/21</c:v>
                </c:pt>
                <c:pt idx="1915">
                  <c:v>2016/11/22</c:v>
                </c:pt>
                <c:pt idx="1916">
                  <c:v>2016/11/23</c:v>
                </c:pt>
                <c:pt idx="1917">
                  <c:v>2016/11/24</c:v>
                </c:pt>
                <c:pt idx="1918">
                  <c:v>2016/11/25</c:v>
                </c:pt>
                <c:pt idx="1919">
                  <c:v>2016/11/28</c:v>
                </c:pt>
                <c:pt idx="1920">
                  <c:v>2016/11/29</c:v>
                </c:pt>
                <c:pt idx="1921">
                  <c:v>2016/11/30</c:v>
                </c:pt>
                <c:pt idx="1922">
                  <c:v>2016/12/1</c:v>
                </c:pt>
                <c:pt idx="1923">
                  <c:v>2016/12/2</c:v>
                </c:pt>
                <c:pt idx="1924">
                  <c:v>2016/12/5</c:v>
                </c:pt>
                <c:pt idx="1925">
                  <c:v>2016/12/6</c:v>
                </c:pt>
                <c:pt idx="1926">
                  <c:v>2016/12/7</c:v>
                </c:pt>
                <c:pt idx="1927">
                  <c:v>2016/12/8</c:v>
                </c:pt>
                <c:pt idx="1928">
                  <c:v>2016/12/9</c:v>
                </c:pt>
                <c:pt idx="1929">
                  <c:v>2016/12/12</c:v>
                </c:pt>
                <c:pt idx="1930">
                  <c:v>2016/12/13</c:v>
                </c:pt>
                <c:pt idx="1931">
                  <c:v>2016/12/14</c:v>
                </c:pt>
                <c:pt idx="1932">
                  <c:v>2016/12/15</c:v>
                </c:pt>
                <c:pt idx="1933">
                  <c:v>2016/12/16</c:v>
                </c:pt>
                <c:pt idx="1934">
                  <c:v>2016/12/19</c:v>
                </c:pt>
                <c:pt idx="1935">
                  <c:v>2016/12/20</c:v>
                </c:pt>
                <c:pt idx="1936">
                  <c:v>2016/12/21</c:v>
                </c:pt>
                <c:pt idx="1937">
                  <c:v>2016/12/22</c:v>
                </c:pt>
                <c:pt idx="1938">
                  <c:v>2016/12/23</c:v>
                </c:pt>
                <c:pt idx="1939">
                  <c:v>2016/12/26</c:v>
                </c:pt>
                <c:pt idx="1940">
                  <c:v>2016/12/27</c:v>
                </c:pt>
                <c:pt idx="1941">
                  <c:v>2016/12/28</c:v>
                </c:pt>
                <c:pt idx="1942">
                  <c:v>2016/12/29</c:v>
                </c:pt>
                <c:pt idx="1943">
                  <c:v>2016/12/30</c:v>
                </c:pt>
                <c:pt idx="1944">
                  <c:v>2017/1/3</c:v>
                </c:pt>
                <c:pt idx="1945">
                  <c:v>2017/1/4</c:v>
                </c:pt>
                <c:pt idx="1946">
                  <c:v>2017/1/5</c:v>
                </c:pt>
                <c:pt idx="1947">
                  <c:v>2017/1/6</c:v>
                </c:pt>
                <c:pt idx="1948">
                  <c:v>2017/1/9</c:v>
                </c:pt>
                <c:pt idx="1949">
                  <c:v>2017/1/10</c:v>
                </c:pt>
                <c:pt idx="1950">
                  <c:v>2017/1/11</c:v>
                </c:pt>
                <c:pt idx="1951">
                  <c:v>2017/1/12</c:v>
                </c:pt>
                <c:pt idx="1952">
                  <c:v>2017/1/13</c:v>
                </c:pt>
                <c:pt idx="1953">
                  <c:v>2017/1/16</c:v>
                </c:pt>
                <c:pt idx="1954">
                  <c:v>2017/1/17</c:v>
                </c:pt>
                <c:pt idx="1955">
                  <c:v>2017/1/18</c:v>
                </c:pt>
                <c:pt idx="1956">
                  <c:v>2017/1/19</c:v>
                </c:pt>
                <c:pt idx="1957">
                  <c:v>2017/1/20</c:v>
                </c:pt>
                <c:pt idx="1958">
                  <c:v>2017/1/23</c:v>
                </c:pt>
                <c:pt idx="1959">
                  <c:v>2017/1/24</c:v>
                </c:pt>
                <c:pt idx="1960">
                  <c:v>2017/1/25</c:v>
                </c:pt>
                <c:pt idx="1961">
                  <c:v>2017/1/26</c:v>
                </c:pt>
                <c:pt idx="1962">
                  <c:v>2017/2/3</c:v>
                </c:pt>
                <c:pt idx="1963">
                  <c:v>2017/2/6</c:v>
                </c:pt>
                <c:pt idx="1964">
                  <c:v>2017/2/7</c:v>
                </c:pt>
                <c:pt idx="1965">
                  <c:v>2017/2/8</c:v>
                </c:pt>
                <c:pt idx="1966">
                  <c:v>2017/2/9</c:v>
                </c:pt>
                <c:pt idx="1967">
                  <c:v>2017/2/10</c:v>
                </c:pt>
                <c:pt idx="1968">
                  <c:v>2017/2/13</c:v>
                </c:pt>
                <c:pt idx="1969">
                  <c:v>2017/2/14</c:v>
                </c:pt>
                <c:pt idx="1970">
                  <c:v>2017/2/15</c:v>
                </c:pt>
                <c:pt idx="1971">
                  <c:v>2017/2/16</c:v>
                </c:pt>
                <c:pt idx="1972">
                  <c:v>2017/2/17</c:v>
                </c:pt>
                <c:pt idx="1973">
                  <c:v>2017/2/20</c:v>
                </c:pt>
                <c:pt idx="1974">
                  <c:v>2017/2/21</c:v>
                </c:pt>
                <c:pt idx="1975">
                  <c:v>2017/2/22</c:v>
                </c:pt>
                <c:pt idx="1976">
                  <c:v>2017/2/23</c:v>
                </c:pt>
                <c:pt idx="1977">
                  <c:v>2017/2/24</c:v>
                </c:pt>
                <c:pt idx="1978">
                  <c:v>2017/2/27</c:v>
                </c:pt>
                <c:pt idx="1979">
                  <c:v>2017/2/28</c:v>
                </c:pt>
                <c:pt idx="1980">
                  <c:v>2017/3/1</c:v>
                </c:pt>
                <c:pt idx="1981">
                  <c:v>2017/3/2</c:v>
                </c:pt>
                <c:pt idx="1982">
                  <c:v>2017/3/3</c:v>
                </c:pt>
                <c:pt idx="1983">
                  <c:v>2017/3/6</c:v>
                </c:pt>
                <c:pt idx="1984">
                  <c:v>2017/3/7</c:v>
                </c:pt>
                <c:pt idx="1985">
                  <c:v>2017/3/8</c:v>
                </c:pt>
                <c:pt idx="1986">
                  <c:v>2017/3/9</c:v>
                </c:pt>
                <c:pt idx="1987">
                  <c:v>2017/3/10</c:v>
                </c:pt>
                <c:pt idx="1988">
                  <c:v>2017/3/13</c:v>
                </c:pt>
                <c:pt idx="1989">
                  <c:v>2017/3/14</c:v>
                </c:pt>
                <c:pt idx="1990">
                  <c:v>2017/3/15</c:v>
                </c:pt>
                <c:pt idx="1991">
                  <c:v>2017/3/16</c:v>
                </c:pt>
                <c:pt idx="1992">
                  <c:v>2017/3/17</c:v>
                </c:pt>
                <c:pt idx="1993">
                  <c:v>2017/3/20</c:v>
                </c:pt>
                <c:pt idx="1994">
                  <c:v>2017/3/21</c:v>
                </c:pt>
                <c:pt idx="1995">
                  <c:v>2017/3/22</c:v>
                </c:pt>
                <c:pt idx="1996">
                  <c:v>2017/3/23</c:v>
                </c:pt>
                <c:pt idx="1997">
                  <c:v>2017/3/24</c:v>
                </c:pt>
                <c:pt idx="1998">
                  <c:v>2017/3/27</c:v>
                </c:pt>
                <c:pt idx="1999">
                  <c:v>2017/3/28</c:v>
                </c:pt>
                <c:pt idx="2000">
                  <c:v>2017/3/29</c:v>
                </c:pt>
                <c:pt idx="2001">
                  <c:v>2017/3/30</c:v>
                </c:pt>
                <c:pt idx="2002">
                  <c:v>2017/3/31</c:v>
                </c:pt>
                <c:pt idx="2003">
                  <c:v>2017/4/5</c:v>
                </c:pt>
                <c:pt idx="2004">
                  <c:v>2017/4/6</c:v>
                </c:pt>
                <c:pt idx="2005">
                  <c:v>2017/4/7</c:v>
                </c:pt>
                <c:pt idx="2006">
                  <c:v>2017/4/10</c:v>
                </c:pt>
                <c:pt idx="2007">
                  <c:v>2017/4/11</c:v>
                </c:pt>
                <c:pt idx="2008">
                  <c:v>2017/4/12</c:v>
                </c:pt>
                <c:pt idx="2009">
                  <c:v>2017/4/13</c:v>
                </c:pt>
                <c:pt idx="2010">
                  <c:v>2017/4/14</c:v>
                </c:pt>
                <c:pt idx="2011">
                  <c:v>2017/4/17</c:v>
                </c:pt>
                <c:pt idx="2012">
                  <c:v>2017/4/18</c:v>
                </c:pt>
                <c:pt idx="2013">
                  <c:v>2017/4/19</c:v>
                </c:pt>
                <c:pt idx="2014">
                  <c:v>2017/4/20</c:v>
                </c:pt>
                <c:pt idx="2015">
                  <c:v>2017/4/21</c:v>
                </c:pt>
                <c:pt idx="2016">
                  <c:v>2017/4/24</c:v>
                </c:pt>
                <c:pt idx="2017">
                  <c:v>2017/4/25</c:v>
                </c:pt>
                <c:pt idx="2018">
                  <c:v>2017/4/26</c:v>
                </c:pt>
                <c:pt idx="2019">
                  <c:v>2017/4/27</c:v>
                </c:pt>
                <c:pt idx="2020">
                  <c:v>2017/4/28</c:v>
                </c:pt>
                <c:pt idx="2021">
                  <c:v>2017/5/2</c:v>
                </c:pt>
                <c:pt idx="2022">
                  <c:v>2017/5/3</c:v>
                </c:pt>
                <c:pt idx="2023">
                  <c:v>2017/5/4</c:v>
                </c:pt>
                <c:pt idx="2024">
                  <c:v>2017/5/5</c:v>
                </c:pt>
                <c:pt idx="2025">
                  <c:v>2017/5/8</c:v>
                </c:pt>
                <c:pt idx="2026">
                  <c:v>2017/5/9</c:v>
                </c:pt>
                <c:pt idx="2027">
                  <c:v>2017/5/10</c:v>
                </c:pt>
                <c:pt idx="2028">
                  <c:v>2017/5/11</c:v>
                </c:pt>
                <c:pt idx="2029">
                  <c:v>2017/5/12</c:v>
                </c:pt>
                <c:pt idx="2030">
                  <c:v>2017/5/15</c:v>
                </c:pt>
                <c:pt idx="2031">
                  <c:v>2017/5/16</c:v>
                </c:pt>
                <c:pt idx="2032">
                  <c:v>2017/5/17</c:v>
                </c:pt>
                <c:pt idx="2033">
                  <c:v>2017/5/18</c:v>
                </c:pt>
                <c:pt idx="2034">
                  <c:v>2017/5/19</c:v>
                </c:pt>
                <c:pt idx="2035">
                  <c:v>2017/5/22</c:v>
                </c:pt>
                <c:pt idx="2036">
                  <c:v>2017/5/23</c:v>
                </c:pt>
                <c:pt idx="2037">
                  <c:v>2017/5/24</c:v>
                </c:pt>
                <c:pt idx="2038">
                  <c:v>2017/5/25</c:v>
                </c:pt>
                <c:pt idx="2039">
                  <c:v>2017/5/26</c:v>
                </c:pt>
                <c:pt idx="2040">
                  <c:v>2017/5/31</c:v>
                </c:pt>
                <c:pt idx="2041">
                  <c:v>2017/6/1</c:v>
                </c:pt>
                <c:pt idx="2042">
                  <c:v>2017/6/2</c:v>
                </c:pt>
                <c:pt idx="2043">
                  <c:v>2017/6/5</c:v>
                </c:pt>
                <c:pt idx="2044">
                  <c:v>2017/6/6</c:v>
                </c:pt>
                <c:pt idx="2045">
                  <c:v>2017/6/7</c:v>
                </c:pt>
                <c:pt idx="2046">
                  <c:v>2017/6/8</c:v>
                </c:pt>
                <c:pt idx="2047">
                  <c:v>2017/6/9</c:v>
                </c:pt>
                <c:pt idx="2048">
                  <c:v>2017/6/12</c:v>
                </c:pt>
                <c:pt idx="2049">
                  <c:v>2017/6/13</c:v>
                </c:pt>
                <c:pt idx="2050">
                  <c:v>2017/6/14</c:v>
                </c:pt>
                <c:pt idx="2051">
                  <c:v>2017/6/15</c:v>
                </c:pt>
                <c:pt idx="2052">
                  <c:v>2017/6/16</c:v>
                </c:pt>
                <c:pt idx="2053">
                  <c:v>2017/6/19</c:v>
                </c:pt>
                <c:pt idx="2054">
                  <c:v>2017/6/20</c:v>
                </c:pt>
                <c:pt idx="2055">
                  <c:v>2017/6/21</c:v>
                </c:pt>
                <c:pt idx="2056">
                  <c:v>2017/6/22</c:v>
                </c:pt>
                <c:pt idx="2057">
                  <c:v>2017/6/23</c:v>
                </c:pt>
                <c:pt idx="2058">
                  <c:v>2017/6/26</c:v>
                </c:pt>
                <c:pt idx="2059">
                  <c:v>2017/6/27</c:v>
                </c:pt>
                <c:pt idx="2060">
                  <c:v>2017/6/28</c:v>
                </c:pt>
                <c:pt idx="2061">
                  <c:v>2017/6/29</c:v>
                </c:pt>
                <c:pt idx="2062">
                  <c:v>2017/6/30</c:v>
                </c:pt>
                <c:pt idx="2063">
                  <c:v>2017/7/3</c:v>
                </c:pt>
                <c:pt idx="2064">
                  <c:v>2017/7/4</c:v>
                </c:pt>
                <c:pt idx="2065">
                  <c:v>2017/7/5</c:v>
                </c:pt>
                <c:pt idx="2066">
                  <c:v>2017/7/6</c:v>
                </c:pt>
                <c:pt idx="2067">
                  <c:v>2017/7/7</c:v>
                </c:pt>
                <c:pt idx="2068">
                  <c:v>2017/7/10</c:v>
                </c:pt>
                <c:pt idx="2069">
                  <c:v>2017/7/11</c:v>
                </c:pt>
                <c:pt idx="2070">
                  <c:v>2017/7/12</c:v>
                </c:pt>
                <c:pt idx="2071">
                  <c:v>2017/7/13</c:v>
                </c:pt>
                <c:pt idx="2072">
                  <c:v>2017/7/14</c:v>
                </c:pt>
                <c:pt idx="2073">
                  <c:v>2017/7/17</c:v>
                </c:pt>
                <c:pt idx="2074">
                  <c:v>2017/7/18</c:v>
                </c:pt>
                <c:pt idx="2075">
                  <c:v>2017/7/19</c:v>
                </c:pt>
                <c:pt idx="2076">
                  <c:v>2017/7/20</c:v>
                </c:pt>
                <c:pt idx="2077">
                  <c:v>2017/7/21</c:v>
                </c:pt>
                <c:pt idx="2078">
                  <c:v>2017/7/24</c:v>
                </c:pt>
                <c:pt idx="2079">
                  <c:v>2017/7/25</c:v>
                </c:pt>
                <c:pt idx="2080">
                  <c:v>2017/7/26</c:v>
                </c:pt>
                <c:pt idx="2081">
                  <c:v>2017/7/27</c:v>
                </c:pt>
                <c:pt idx="2082">
                  <c:v>2017/7/28</c:v>
                </c:pt>
                <c:pt idx="2083">
                  <c:v>2017/7/31</c:v>
                </c:pt>
                <c:pt idx="2084">
                  <c:v>2017/8/1</c:v>
                </c:pt>
                <c:pt idx="2085">
                  <c:v>2017/8/2</c:v>
                </c:pt>
                <c:pt idx="2086">
                  <c:v>2017/8/3</c:v>
                </c:pt>
                <c:pt idx="2087">
                  <c:v>2017/8/4</c:v>
                </c:pt>
                <c:pt idx="2088">
                  <c:v>2017/8/7</c:v>
                </c:pt>
                <c:pt idx="2089">
                  <c:v>2017/8/8</c:v>
                </c:pt>
                <c:pt idx="2090">
                  <c:v>2017/8/9</c:v>
                </c:pt>
                <c:pt idx="2091">
                  <c:v>2017/8/10</c:v>
                </c:pt>
                <c:pt idx="2092">
                  <c:v>2017/8/11</c:v>
                </c:pt>
                <c:pt idx="2093">
                  <c:v>2017/8/14</c:v>
                </c:pt>
                <c:pt idx="2094">
                  <c:v>2017/8/15</c:v>
                </c:pt>
                <c:pt idx="2095">
                  <c:v>2017/8/16</c:v>
                </c:pt>
                <c:pt idx="2096">
                  <c:v>2017/8/17</c:v>
                </c:pt>
                <c:pt idx="2097">
                  <c:v>2017/8/18</c:v>
                </c:pt>
                <c:pt idx="2098">
                  <c:v>2017/8/21</c:v>
                </c:pt>
                <c:pt idx="2099">
                  <c:v>2017/8/22</c:v>
                </c:pt>
                <c:pt idx="2100">
                  <c:v>2017/8/23</c:v>
                </c:pt>
                <c:pt idx="2101">
                  <c:v>2017/8/24</c:v>
                </c:pt>
                <c:pt idx="2102">
                  <c:v>2017/8/25</c:v>
                </c:pt>
                <c:pt idx="2103">
                  <c:v>2017/8/28</c:v>
                </c:pt>
                <c:pt idx="2104">
                  <c:v>2017/8/29</c:v>
                </c:pt>
                <c:pt idx="2105">
                  <c:v>2017/8/30</c:v>
                </c:pt>
                <c:pt idx="2106">
                  <c:v>2017/8/31</c:v>
                </c:pt>
                <c:pt idx="2107">
                  <c:v>2017/9/1</c:v>
                </c:pt>
                <c:pt idx="2108">
                  <c:v>2017/9/4</c:v>
                </c:pt>
                <c:pt idx="2109">
                  <c:v>2017/9/5</c:v>
                </c:pt>
                <c:pt idx="2110">
                  <c:v>2017/9/6</c:v>
                </c:pt>
                <c:pt idx="2111">
                  <c:v>2017/9/7</c:v>
                </c:pt>
                <c:pt idx="2112">
                  <c:v>2017/9/8</c:v>
                </c:pt>
                <c:pt idx="2113">
                  <c:v>2017/9/11</c:v>
                </c:pt>
                <c:pt idx="2114">
                  <c:v>2017/9/12</c:v>
                </c:pt>
                <c:pt idx="2115">
                  <c:v>2017/9/13</c:v>
                </c:pt>
                <c:pt idx="2116">
                  <c:v>2017/9/14</c:v>
                </c:pt>
                <c:pt idx="2117">
                  <c:v>2017/9/15</c:v>
                </c:pt>
                <c:pt idx="2118">
                  <c:v>2017/9/18</c:v>
                </c:pt>
                <c:pt idx="2119">
                  <c:v>2017/9/19</c:v>
                </c:pt>
                <c:pt idx="2120">
                  <c:v>2017/9/20</c:v>
                </c:pt>
                <c:pt idx="2121">
                  <c:v>2017/9/21</c:v>
                </c:pt>
                <c:pt idx="2122">
                  <c:v>2017/9/22</c:v>
                </c:pt>
                <c:pt idx="2123">
                  <c:v>2017/9/25</c:v>
                </c:pt>
                <c:pt idx="2124">
                  <c:v>2017/9/26</c:v>
                </c:pt>
                <c:pt idx="2125">
                  <c:v>2017/9/27</c:v>
                </c:pt>
                <c:pt idx="2126">
                  <c:v>2017/9/28</c:v>
                </c:pt>
                <c:pt idx="2127">
                  <c:v>2017/9/29</c:v>
                </c:pt>
                <c:pt idx="2128">
                  <c:v>2017/10/9</c:v>
                </c:pt>
                <c:pt idx="2129">
                  <c:v>2017/10/10</c:v>
                </c:pt>
                <c:pt idx="2130">
                  <c:v>2017/10/11</c:v>
                </c:pt>
                <c:pt idx="2131">
                  <c:v>2017/10/12</c:v>
                </c:pt>
                <c:pt idx="2132">
                  <c:v>2017/10/13</c:v>
                </c:pt>
                <c:pt idx="2133">
                  <c:v>2017/10/16</c:v>
                </c:pt>
                <c:pt idx="2134">
                  <c:v>2017/10/17</c:v>
                </c:pt>
                <c:pt idx="2135">
                  <c:v>2017/10/18</c:v>
                </c:pt>
                <c:pt idx="2136">
                  <c:v>2017/10/19</c:v>
                </c:pt>
                <c:pt idx="2137">
                  <c:v>2017/10/20</c:v>
                </c:pt>
                <c:pt idx="2138">
                  <c:v>2017/10/23</c:v>
                </c:pt>
                <c:pt idx="2139">
                  <c:v>2017/10/24</c:v>
                </c:pt>
                <c:pt idx="2140">
                  <c:v>2017/10/25</c:v>
                </c:pt>
                <c:pt idx="2141">
                  <c:v>2017/10/26</c:v>
                </c:pt>
                <c:pt idx="2142">
                  <c:v>2017/10/27</c:v>
                </c:pt>
                <c:pt idx="2143">
                  <c:v>2017/10/30</c:v>
                </c:pt>
                <c:pt idx="2144">
                  <c:v>2017/10/31</c:v>
                </c:pt>
                <c:pt idx="2145">
                  <c:v>2017/11/1</c:v>
                </c:pt>
                <c:pt idx="2146">
                  <c:v>2017/11/2</c:v>
                </c:pt>
                <c:pt idx="2147">
                  <c:v>2017/11/3</c:v>
                </c:pt>
                <c:pt idx="2148">
                  <c:v>2017/11/6</c:v>
                </c:pt>
                <c:pt idx="2149">
                  <c:v>2017/11/7</c:v>
                </c:pt>
                <c:pt idx="2150">
                  <c:v>2017/11/8</c:v>
                </c:pt>
                <c:pt idx="2151">
                  <c:v>2017/11/9</c:v>
                </c:pt>
                <c:pt idx="2152">
                  <c:v>2017/11/10</c:v>
                </c:pt>
                <c:pt idx="2153">
                  <c:v>2017/11/13</c:v>
                </c:pt>
                <c:pt idx="2154">
                  <c:v>2017/11/14</c:v>
                </c:pt>
                <c:pt idx="2155">
                  <c:v>2017/11/15</c:v>
                </c:pt>
                <c:pt idx="2156">
                  <c:v>2017/11/16</c:v>
                </c:pt>
                <c:pt idx="2157">
                  <c:v>2017/11/17</c:v>
                </c:pt>
                <c:pt idx="2158">
                  <c:v>2017/11/20</c:v>
                </c:pt>
                <c:pt idx="2159">
                  <c:v>2017/11/21</c:v>
                </c:pt>
                <c:pt idx="2160">
                  <c:v>2017/11/22</c:v>
                </c:pt>
                <c:pt idx="2161">
                  <c:v>2017/11/23</c:v>
                </c:pt>
                <c:pt idx="2162">
                  <c:v>2017/11/24</c:v>
                </c:pt>
                <c:pt idx="2163">
                  <c:v>2017/11/27</c:v>
                </c:pt>
                <c:pt idx="2164">
                  <c:v>2017/11/28</c:v>
                </c:pt>
                <c:pt idx="2165">
                  <c:v>2017/11/29</c:v>
                </c:pt>
                <c:pt idx="2166">
                  <c:v>2017/11/30</c:v>
                </c:pt>
                <c:pt idx="2167">
                  <c:v>2017/12/1</c:v>
                </c:pt>
                <c:pt idx="2168">
                  <c:v>2017/12/4</c:v>
                </c:pt>
                <c:pt idx="2169">
                  <c:v>2017/12/5</c:v>
                </c:pt>
                <c:pt idx="2170">
                  <c:v>2017/12/6</c:v>
                </c:pt>
                <c:pt idx="2171">
                  <c:v>2017/12/7</c:v>
                </c:pt>
                <c:pt idx="2172">
                  <c:v>2017/12/8</c:v>
                </c:pt>
                <c:pt idx="2173">
                  <c:v>2017/12/11</c:v>
                </c:pt>
                <c:pt idx="2174">
                  <c:v>2017/12/12</c:v>
                </c:pt>
                <c:pt idx="2175">
                  <c:v>2017/12/13</c:v>
                </c:pt>
                <c:pt idx="2176">
                  <c:v>2017/12/14</c:v>
                </c:pt>
                <c:pt idx="2177">
                  <c:v>2017/12/15</c:v>
                </c:pt>
                <c:pt idx="2178">
                  <c:v>2017/12/18</c:v>
                </c:pt>
                <c:pt idx="2179">
                  <c:v>2017/12/19</c:v>
                </c:pt>
                <c:pt idx="2180">
                  <c:v>2017/12/20</c:v>
                </c:pt>
                <c:pt idx="2181">
                  <c:v>2017/12/21</c:v>
                </c:pt>
                <c:pt idx="2182">
                  <c:v>2017/12/22</c:v>
                </c:pt>
                <c:pt idx="2183">
                  <c:v>2017/12/25</c:v>
                </c:pt>
                <c:pt idx="2184">
                  <c:v>2017/12/26</c:v>
                </c:pt>
                <c:pt idx="2185">
                  <c:v>2017/12/27</c:v>
                </c:pt>
                <c:pt idx="2186">
                  <c:v>2017/12/28</c:v>
                </c:pt>
                <c:pt idx="2187">
                  <c:v>2017/12/29</c:v>
                </c:pt>
                <c:pt idx="2188">
                  <c:v>2018/1/2</c:v>
                </c:pt>
                <c:pt idx="2189">
                  <c:v>2018/1/3</c:v>
                </c:pt>
                <c:pt idx="2190">
                  <c:v>2018/1/4</c:v>
                </c:pt>
                <c:pt idx="2191">
                  <c:v>2018/1/5</c:v>
                </c:pt>
                <c:pt idx="2192">
                  <c:v>2018/1/8</c:v>
                </c:pt>
                <c:pt idx="2193">
                  <c:v>2018/1/9</c:v>
                </c:pt>
                <c:pt idx="2194">
                  <c:v>2018/1/10</c:v>
                </c:pt>
                <c:pt idx="2195">
                  <c:v>2018/1/11</c:v>
                </c:pt>
                <c:pt idx="2196">
                  <c:v>2018/1/12</c:v>
                </c:pt>
                <c:pt idx="2197">
                  <c:v>2018/1/15</c:v>
                </c:pt>
                <c:pt idx="2198">
                  <c:v>2018/1/16</c:v>
                </c:pt>
                <c:pt idx="2199">
                  <c:v>2018/1/17</c:v>
                </c:pt>
                <c:pt idx="2200">
                  <c:v>2018/1/18</c:v>
                </c:pt>
                <c:pt idx="2201">
                  <c:v>2018/1/19</c:v>
                </c:pt>
                <c:pt idx="2202">
                  <c:v>2018/1/22</c:v>
                </c:pt>
                <c:pt idx="2203">
                  <c:v>2018/1/23</c:v>
                </c:pt>
                <c:pt idx="2204">
                  <c:v>2018/1/24</c:v>
                </c:pt>
                <c:pt idx="2205">
                  <c:v>2018/1/25</c:v>
                </c:pt>
                <c:pt idx="2206">
                  <c:v>2018/1/26</c:v>
                </c:pt>
                <c:pt idx="2207">
                  <c:v>2018/1/29</c:v>
                </c:pt>
                <c:pt idx="2208">
                  <c:v>2018/1/30</c:v>
                </c:pt>
                <c:pt idx="2209">
                  <c:v>2018/1/31</c:v>
                </c:pt>
                <c:pt idx="2210">
                  <c:v>2018/2/1</c:v>
                </c:pt>
                <c:pt idx="2211">
                  <c:v>2018/2/2</c:v>
                </c:pt>
                <c:pt idx="2212">
                  <c:v>2018/2/5</c:v>
                </c:pt>
                <c:pt idx="2213">
                  <c:v>2018/2/6</c:v>
                </c:pt>
                <c:pt idx="2214">
                  <c:v>2018/2/7</c:v>
                </c:pt>
                <c:pt idx="2215">
                  <c:v>2018/2/8</c:v>
                </c:pt>
                <c:pt idx="2216">
                  <c:v>2018/2/9</c:v>
                </c:pt>
                <c:pt idx="2217">
                  <c:v>2018/2/12</c:v>
                </c:pt>
                <c:pt idx="2218">
                  <c:v>2018/2/13</c:v>
                </c:pt>
                <c:pt idx="2219">
                  <c:v>2018/2/14</c:v>
                </c:pt>
                <c:pt idx="2220">
                  <c:v>2018/2/22</c:v>
                </c:pt>
                <c:pt idx="2221">
                  <c:v>2018/2/23</c:v>
                </c:pt>
                <c:pt idx="2222">
                  <c:v>2018/2/26</c:v>
                </c:pt>
                <c:pt idx="2223">
                  <c:v>2018/2/27</c:v>
                </c:pt>
                <c:pt idx="2224">
                  <c:v>2018/2/28</c:v>
                </c:pt>
                <c:pt idx="2225">
                  <c:v>2018/3/1</c:v>
                </c:pt>
                <c:pt idx="2226">
                  <c:v>2018/3/2</c:v>
                </c:pt>
                <c:pt idx="2227">
                  <c:v>2018/3/5</c:v>
                </c:pt>
                <c:pt idx="2228">
                  <c:v>2018/3/6</c:v>
                </c:pt>
                <c:pt idx="2229">
                  <c:v>2018/3/7</c:v>
                </c:pt>
                <c:pt idx="2230">
                  <c:v>2018/3/8</c:v>
                </c:pt>
                <c:pt idx="2231">
                  <c:v>2018/3/9</c:v>
                </c:pt>
                <c:pt idx="2232">
                  <c:v>2018/3/12</c:v>
                </c:pt>
                <c:pt idx="2233">
                  <c:v>2018/3/13</c:v>
                </c:pt>
                <c:pt idx="2234">
                  <c:v>2018/3/14</c:v>
                </c:pt>
                <c:pt idx="2235">
                  <c:v>2018/3/15</c:v>
                </c:pt>
                <c:pt idx="2236">
                  <c:v>2018/3/16</c:v>
                </c:pt>
                <c:pt idx="2237">
                  <c:v>2018/3/19</c:v>
                </c:pt>
                <c:pt idx="2238">
                  <c:v>2018/3/20</c:v>
                </c:pt>
                <c:pt idx="2239">
                  <c:v>2018/3/21</c:v>
                </c:pt>
                <c:pt idx="2240">
                  <c:v>2018/3/22</c:v>
                </c:pt>
                <c:pt idx="2241">
                  <c:v>2018/3/23</c:v>
                </c:pt>
                <c:pt idx="2242">
                  <c:v>2018/3/26</c:v>
                </c:pt>
                <c:pt idx="2243">
                  <c:v>2018/3/27</c:v>
                </c:pt>
                <c:pt idx="2244">
                  <c:v>2018/3/28</c:v>
                </c:pt>
                <c:pt idx="2245">
                  <c:v>2018/3/29</c:v>
                </c:pt>
                <c:pt idx="2246">
                  <c:v>2018/3/30</c:v>
                </c:pt>
                <c:pt idx="2247">
                  <c:v>2018/4/2</c:v>
                </c:pt>
                <c:pt idx="2248">
                  <c:v>2018/4/3</c:v>
                </c:pt>
                <c:pt idx="2249">
                  <c:v>2018/4/4</c:v>
                </c:pt>
                <c:pt idx="2250">
                  <c:v>2018/4/9</c:v>
                </c:pt>
                <c:pt idx="2251">
                  <c:v>2018/4/10</c:v>
                </c:pt>
                <c:pt idx="2252">
                  <c:v>2018/4/11</c:v>
                </c:pt>
                <c:pt idx="2253">
                  <c:v>2018/4/12</c:v>
                </c:pt>
                <c:pt idx="2254">
                  <c:v>2018/4/13</c:v>
                </c:pt>
                <c:pt idx="2255">
                  <c:v>2018/4/16</c:v>
                </c:pt>
                <c:pt idx="2256">
                  <c:v>2018/4/17</c:v>
                </c:pt>
                <c:pt idx="2257">
                  <c:v>2018/4/18</c:v>
                </c:pt>
                <c:pt idx="2258">
                  <c:v>2018/4/19</c:v>
                </c:pt>
                <c:pt idx="2259">
                  <c:v>2018/4/20</c:v>
                </c:pt>
                <c:pt idx="2260">
                  <c:v>2018/4/23</c:v>
                </c:pt>
                <c:pt idx="2261">
                  <c:v>2018/4/24</c:v>
                </c:pt>
                <c:pt idx="2262">
                  <c:v>2018/4/25</c:v>
                </c:pt>
                <c:pt idx="2263">
                  <c:v>2018/4/26</c:v>
                </c:pt>
                <c:pt idx="2264">
                  <c:v>2018/4/27</c:v>
                </c:pt>
                <c:pt idx="2265">
                  <c:v>2018/5/2</c:v>
                </c:pt>
                <c:pt idx="2266">
                  <c:v>2018/5/3</c:v>
                </c:pt>
                <c:pt idx="2267">
                  <c:v>2018/5/4</c:v>
                </c:pt>
                <c:pt idx="2268">
                  <c:v>2018/5/7</c:v>
                </c:pt>
                <c:pt idx="2269">
                  <c:v>2018/5/8</c:v>
                </c:pt>
                <c:pt idx="2270">
                  <c:v>2018/5/9</c:v>
                </c:pt>
                <c:pt idx="2271">
                  <c:v>2018/5/10</c:v>
                </c:pt>
                <c:pt idx="2272">
                  <c:v>2018/5/11</c:v>
                </c:pt>
                <c:pt idx="2273">
                  <c:v>2018/5/14</c:v>
                </c:pt>
                <c:pt idx="2274">
                  <c:v>2018/5/15</c:v>
                </c:pt>
                <c:pt idx="2275">
                  <c:v>2018/5/16</c:v>
                </c:pt>
                <c:pt idx="2276">
                  <c:v>2018/5/17</c:v>
                </c:pt>
                <c:pt idx="2277">
                  <c:v>2018/5/18</c:v>
                </c:pt>
                <c:pt idx="2278">
                  <c:v>2018/5/21</c:v>
                </c:pt>
                <c:pt idx="2279">
                  <c:v>2018/5/22</c:v>
                </c:pt>
                <c:pt idx="2280">
                  <c:v>2018/5/23</c:v>
                </c:pt>
                <c:pt idx="2281">
                  <c:v>2018/5/24</c:v>
                </c:pt>
                <c:pt idx="2282">
                  <c:v>2018/5/25</c:v>
                </c:pt>
                <c:pt idx="2283">
                  <c:v>2018/5/28</c:v>
                </c:pt>
                <c:pt idx="2284">
                  <c:v>2018/5/29</c:v>
                </c:pt>
                <c:pt idx="2285">
                  <c:v>2018/5/30</c:v>
                </c:pt>
                <c:pt idx="2286">
                  <c:v>2018/5/31</c:v>
                </c:pt>
                <c:pt idx="2287">
                  <c:v>2018/6/1</c:v>
                </c:pt>
                <c:pt idx="2288">
                  <c:v>2018/6/4</c:v>
                </c:pt>
                <c:pt idx="2289">
                  <c:v>2018/6/5</c:v>
                </c:pt>
                <c:pt idx="2290">
                  <c:v>2018/6/6</c:v>
                </c:pt>
                <c:pt idx="2291">
                  <c:v>2018/6/7</c:v>
                </c:pt>
                <c:pt idx="2292">
                  <c:v>2018/6/8</c:v>
                </c:pt>
                <c:pt idx="2293">
                  <c:v>2018/6/11</c:v>
                </c:pt>
                <c:pt idx="2294">
                  <c:v>2018/6/12</c:v>
                </c:pt>
                <c:pt idx="2295">
                  <c:v>2018/6/13</c:v>
                </c:pt>
                <c:pt idx="2296">
                  <c:v>2018/6/14</c:v>
                </c:pt>
                <c:pt idx="2297">
                  <c:v>2018/6/15</c:v>
                </c:pt>
                <c:pt idx="2298">
                  <c:v>2018/6/19</c:v>
                </c:pt>
                <c:pt idx="2299">
                  <c:v>2018/6/20</c:v>
                </c:pt>
                <c:pt idx="2300">
                  <c:v>2018/6/21</c:v>
                </c:pt>
                <c:pt idx="2301">
                  <c:v>2018/6/22</c:v>
                </c:pt>
                <c:pt idx="2302">
                  <c:v>2018/6/25</c:v>
                </c:pt>
                <c:pt idx="2303">
                  <c:v>2018/6/26</c:v>
                </c:pt>
                <c:pt idx="2304">
                  <c:v>2018/6/27</c:v>
                </c:pt>
                <c:pt idx="2305">
                  <c:v>2018/6/28</c:v>
                </c:pt>
                <c:pt idx="2306">
                  <c:v>2018/6/29</c:v>
                </c:pt>
                <c:pt idx="2307">
                  <c:v>2018/7/2</c:v>
                </c:pt>
                <c:pt idx="2308">
                  <c:v>2018/7/3</c:v>
                </c:pt>
                <c:pt idx="2309">
                  <c:v>2018/7/4</c:v>
                </c:pt>
                <c:pt idx="2310">
                  <c:v>2018/7/5</c:v>
                </c:pt>
                <c:pt idx="2311">
                  <c:v>2018/7/6</c:v>
                </c:pt>
                <c:pt idx="2312">
                  <c:v>2018/7/9</c:v>
                </c:pt>
                <c:pt idx="2313">
                  <c:v>2018/7/10</c:v>
                </c:pt>
                <c:pt idx="2314">
                  <c:v>2018/7/11</c:v>
                </c:pt>
                <c:pt idx="2315">
                  <c:v>2018/7/12</c:v>
                </c:pt>
                <c:pt idx="2316">
                  <c:v>2018/7/13</c:v>
                </c:pt>
                <c:pt idx="2317">
                  <c:v>2018/7/16</c:v>
                </c:pt>
                <c:pt idx="2318">
                  <c:v>2018/7/17</c:v>
                </c:pt>
                <c:pt idx="2319">
                  <c:v>2018/7/18</c:v>
                </c:pt>
                <c:pt idx="2320">
                  <c:v>2018/7/19</c:v>
                </c:pt>
                <c:pt idx="2321">
                  <c:v>2018/7/20</c:v>
                </c:pt>
                <c:pt idx="2322">
                  <c:v>2018/7/23</c:v>
                </c:pt>
                <c:pt idx="2323">
                  <c:v>2018/7/24</c:v>
                </c:pt>
                <c:pt idx="2324">
                  <c:v>2018/7/25</c:v>
                </c:pt>
                <c:pt idx="2325">
                  <c:v>2018/7/26</c:v>
                </c:pt>
                <c:pt idx="2326">
                  <c:v>2018/7/27</c:v>
                </c:pt>
                <c:pt idx="2327">
                  <c:v>2018/7/30</c:v>
                </c:pt>
                <c:pt idx="2328">
                  <c:v>2018/7/31</c:v>
                </c:pt>
                <c:pt idx="2329">
                  <c:v>2018/8/1</c:v>
                </c:pt>
                <c:pt idx="2330">
                  <c:v>2018/8/2</c:v>
                </c:pt>
                <c:pt idx="2331">
                  <c:v>2018/8/3</c:v>
                </c:pt>
                <c:pt idx="2332">
                  <c:v>2018/8/6</c:v>
                </c:pt>
                <c:pt idx="2333">
                  <c:v>2018/8/7</c:v>
                </c:pt>
                <c:pt idx="2334">
                  <c:v>2018/8/8</c:v>
                </c:pt>
                <c:pt idx="2335">
                  <c:v>2018/8/9</c:v>
                </c:pt>
                <c:pt idx="2336">
                  <c:v>2018/8/10</c:v>
                </c:pt>
                <c:pt idx="2337">
                  <c:v>2018/8/13</c:v>
                </c:pt>
                <c:pt idx="2338">
                  <c:v>2018/8/14</c:v>
                </c:pt>
                <c:pt idx="2339">
                  <c:v>2018/8/15</c:v>
                </c:pt>
                <c:pt idx="2340">
                  <c:v>2018/8/16</c:v>
                </c:pt>
                <c:pt idx="2341">
                  <c:v>2018/8/17</c:v>
                </c:pt>
                <c:pt idx="2342">
                  <c:v>2018/8/20</c:v>
                </c:pt>
                <c:pt idx="2343">
                  <c:v>2018/8/21</c:v>
                </c:pt>
                <c:pt idx="2344">
                  <c:v>2018/8/22</c:v>
                </c:pt>
                <c:pt idx="2345">
                  <c:v>2018/8/23</c:v>
                </c:pt>
                <c:pt idx="2346">
                  <c:v>2018/8/24</c:v>
                </c:pt>
                <c:pt idx="2347">
                  <c:v>2018/8/27</c:v>
                </c:pt>
                <c:pt idx="2348">
                  <c:v>2018/8/28</c:v>
                </c:pt>
                <c:pt idx="2349">
                  <c:v>2018/8/29</c:v>
                </c:pt>
                <c:pt idx="2350">
                  <c:v>2018/8/30</c:v>
                </c:pt>
                <c:pt idx="2351">
                  <c:v>2018/8/31</c:v>
                </c:pt>
                <c:pt idx="2352">
                  <c:v>2018/9/3</c:v>
                </c:pt>
                <c:pt idx="2353">
                  <c:v>2018/9/4</c:v>
                </c:pt>
                <c:pt idx="2354">
                  <c:v>2018/9/5</c:v>
                </c:pt>
                <c:pt idx="2355">
                  <c:v>2018/9/6</c:v>
                </c:pt>
                <c:pt idx="2356">
                  <c:v>2018/9/7</c:v>
                </c:pt>
                <c:pt idx="2357">
                  <c:v>2018/9/10</c:v>
                </c:pt>
                <c:pt idx="2358">
                  <c:v>2018/9/11</c:v>
                </c:pt>
                <c:pt idx="2359">
                  <c:v>2018/9/12</c:v>
                </c:pt>
                <c:pt idx="2360">
                  <c:v>2018/9/13</c:v>
                </c:pt>
                <c:pt idx="2361">
                  <c:v>2018/9/14</c:v>
                </c:pt>
                <c:pt idx="2362">
                  <c:v>2018/9/17</c:v>
                </c:pt>
                <c:pt idx="2363">
                  <c:v>2018/9/18</c:v>
                </c:pt>
                <c:pt idx="2364">
                  <c:v>2018/9/19</c:v>
                </c:pt>
                <c:pt idx="2365">
                  <c:v>2018/9/20</c:v>
                </c:pt>
                <c:pt idx="2366">
                  <c:v>2018/9/21</c:v>
                </c:pt>
                <c:pt idx="2367">
                  <c:v>2018/9/25</c:v>
                </c:pt>
                <c:pt idx="2368">
                  <c:v>2018/9/26</c:v>
                </c:pt>
                <c:pt idx="2369">
                  <c:v>2018/9/27</c:v>
                </c:pt>
                <c:pt idx="2370">
                  <c:v>2018/9/28</c:v>
                </c:pt>
                <c:pt idx="2371">
                  <c:v>2018/10/8</c:v>
                </c:pt>
                <c:pt idx="2372">
                  <c:v>2018/10/9</c:v>
                </c:pt>
                <c:pt idx="2373">
                  <c:v>2018/10/10</c:v>
                </c:pt>
                <c:pt idx="2374">
                  <c:v>2018/10/11</c:v>
                </c:pt>
                <c:pt idx="2375">
                  <c:v>2018/10/12</c:v>
                </c:pt>
                <c:pt idx="2376">
                  <c:v>2018/10/15</c:v>
                </c:pt>
                <c:pt idx="2377">
                  <c:v>2018/10/16</c:v>
                </c:pt>
                <c:pt idx="2378">
                  <c:v>2018/10/17</c:v>
                </c:pt>
                <c:pt idx="2379">
                  <c:v>2018/10/18</c:v>
                </c:pt>
                <c:pt idx="2380">
                  <c:v>2018/10/19</c:v>
                </c:pt>
                <c:pt idx="2381">
                  <c:v>2018/10/22</c:v>
                </c:pt>
                <c:pt idx="2382">
                  <c:v>2018/10/23</c:v>
                </c:pt>
                <c:pt idx="2383">
                  <c:v>2018/10/24</c:v>
                </c:pt>
                <c:pt idx="2384">
                  <c:v>2018/10/25</c:v>
                </c:pt>
                <c:pt idx="2385">
                  <c:v>2018/10/26</c:v>
                </c:pt>
                <c:pt idx="2386">
                  <c:v>2018/10/29</c:v>
                </c:pt>
                <c:pt idx="2387">
                  <c:v>2018/10/30</c:v>
                </c:pt>
                <c:pt idx="2388">
                  <c:v>2018/10/31</c:v>
                </c:pt>
                <c:pt idx="2389">
                  <c:v>2018/11/1</c:v>
                </c:pt>
                <c:pt idx="2390">
                  <c:v>2018/11/2</c:v>
                </c:pt>
                <c:pt idx="2391">
                  <c:v>2018/11/5</c:v>
                </c:pt>
                <c:pt idx="2392">
                  <c:v>2018/11/6</c:v>
                </c:pt>
                <c:pt idx="2393">
                  <c:v>2018/11/7</c:v>
                </c:pt>
                <c:pt idx="2394">
                  <c:v>2018/11/8</c:v>
                </c:pt>
                <c:pt idx="2395">
                  <c:v>2018/11/9</c:v>
                </c:pt>
                <c:pt idx="2396">
                  <c:v>2018/11/12</c:v>
                </c:pt>
                <c:pt idx="2397">
                  <c:v>2018/11/13</c:v>
                </c:pt>
                <c:pt idx="2398">
                  <c:v>2018/11/14</c:v>
                </c:pt>
                <c:pt idx="2399">
                  <c:v>2018/11/15</c:v>
                </c:pt>
                <c:pt idx="2400">
                  <c:v>2018/11/16</c:v>
                </c:pt>
                <c:pt idx="2401">
                  <c:v>2018/11/19</c:v>
                </c:pt>
                <c:pt idx="2402">
                  <c:v>2018/11/20</c:v>
                </c:pt>
                <c:pt idx="2403">
                  <c:v>2018/11/21</c:v>
                </c:pt>
                <c:pt idx="2404">
                  <c:v>2018/11/22</c:v>
                </c:pt>
                <c:pt idx="2405">
                  <c:v>2018/11/23</c:v>
                </c:pt>
                <c:pt idx="2406">
                  <c:v>2018/11/26</c:v>
                </c:pt>
                <c:pt idx="2407">
                  <c:v>2018/11/27</c:v>
                </c:pt>
                <c:pt idx="2408">
                  <c:v>2018/11/28</c:v>
                </c:pt>
                <c:pt idx="2409">
                  <c:v>2018/11/29</c:v>
                </c:pt>
                <c:pt idx="2410">
                  <c:v>2018/11/30</c:v>
                </c:pt>
                <c:pt idx="2411">
                  <c:v>2018/12/3</c:v>
                </c:pt>
                <c:pt idx="2412">
                  <c:v>2018/12/4</c:v>
                </c:pt>
                <c:pt idx="2413">
                  <c:v>2018/12/5</c:v>
                </c:pt>
                <c:pt idx="2414">
                  <c:v>2018/12/6</c:v>
                </c:pt>
                <c:pt idx="2415">
                  <c:v>2018/12/7</c:v>
                </c:pt>
                <c:pt idx="2416">
                  <c:v>2018/12/10</c:v>
                </c:pt>
                <c:pt idx="2417">
                  <c:v>2018/12/11</c:v>
                </c:pt>
                <c:pt idx="2418">
                  <c:v>2018/12/12</c:v>
                </c:pt>
                <c:pt idx="2419">
                  <c:v>2018/12/13</c:v>
                </c:pt>
                <c:pt idx="2420">
                  <c:v>2018/12/14</c:v>
                </c:pt>
                <c:pt idx="2421">
                  <c:v>2018/12/17</c:v>
                </c:pt>
                <c:pt idx="2422">
                  <c:v>2018/12/18</c:v>
                </c:pt>
                <c:pt idx="2423">
                  <c:v>2018/12/19</c:v>
                </c:pt>
                <c:pt idx="2424">
                  <c:v>2018/12/20</c:v>
                </c:pt>
                <c:pt idx="2425">
                  <c:v>2018/12/21</c:v>
                </c:pt>
                <c:pt idx="2426">
                  <c:v>2018/12/24</c:v>
                </c:pt>
                <c:pt idx="2427">
                  <c:v>2018/12/25</c:v>
                </c:pt>
                <c:pt idx="2428">
                  <c:v>2018/12/26</c:v>
                </c:pt>
                <c:pt idx="2429">
                  <c:v>2018/12/27</c:v>
                </c:pt>
                <c:pt idx="2430">
                  <c:v>2018/12/28</c:v>
                </c:pt>
                <c:pt idx="2431">
                  <c:v>2019/1/2</c:v>
                </c:pt>
                <c:pt idx="2432">
                  <c:v>2019/1/3</c:v>
                </c:pt>
                <c:pt idx="2433">
                  <c:v>2019/1/4</c:v>
                </c:pt>
                <c:pt idx="2434">
                  <c:v>2019/1/7</c:v>
                </c:pt>
                <c:pt idx="2435">
                  <c:v>2019/1/8</c:v>
                </c:pt>
                <c:pt idx="2436">
                  <c:v>2019/1/9</c:v>
                </c:pt>
                <c:pt idx="2437">
                  <c:v>2019/1/10</c:v>
                </c:pt>
                <c:pt idx="2438">
                  <c:v>2019/1/11</c:v>
                </c:pt>
                <c:pt idx="2439">
                  <c:v>2019/1/14</c:v>
                </c:pt>
                <c:pt idx="2440">
                  <c:v>2019/1/15</c:v>
                </c:pt>
                <c:pt idx="2441">
                  <c:v>2019/1/16</c:v>
                </c:pt>
                <c:pt idx="2442">
                  <c:v>2019/1/17</c:v>
                </c:pt>
                <c:pt idx="2443">
                  <c:v>2019/1/18</c:v>
                </c:pt>
                <c:pt idx="2444">
                  <c:v>2019/1/21</c:v>
                </c:pt>
                <c:pt idx="2445">
                  <c:v>2019/1/22</c:v>
                </c:pt>
                <c:pt idx="2446">
                  <c:v>2019/1/23</c:v>
                </c:pt>
                <c:pt idx="2447">
                  <c:v>2019/1/24</c:v>
                </c:pt>
                <c:pt idx="2448">
                  <c:v>2019/1/25</c:v>
                </c:pt>
                <c:pt idx="2449">
                  <c:v>2019/1/28</c:v>
                </c:pt>
                <c:pt idx="2450">
                  <c:v>2019/1/29</c:v>
                </c:pt>
                <c:pt idx="2451">
                  <c:v>2019/1/30</c:v>
                </c:pt>
                <c:pt idx="2452">
                  <c:v>2019/1/31</c:v>
                </c:pt>
                <c:pt idx="2453">
                  <c:v>2019/2/1</c:v>
                </c:pt>
                <c:pt idx="2454">
                  <c:v>2019/2/11</c:v>
                </c:pt>
                <c:pt idx="2455">
                  <c:v>2019/2/12</c:v>
                </c:pt>
                <c:pt idx="2456">
                  <c:v>2019/2/13</c:v>
                </c:pt>
                <c:pt idx="2457">
                  <c:v>2019/2/14</c:v>
                </c:pt>
                <c:pt idx="2458">
                  <c:v>2019/2/15</c:v>
                </c:pt>
                <c:pt idx="2459">
                  <c:v>2019/2/18</c:v>
                </c:pt>
                <c:pt idx="2460">
                  <c:v>2019/2/19</c:v>
                </c:pt>
                <c:pt idx="2461">
                  <c:v>2019/2/20</c:v>
                </c:pt>
                <c:pt idx="2462">
                  <c:v>2019/2/21</c:v>
                </c:pt>
                <c:pt idx="2463">
                  <c:v>2019/2/22</c:v>
                </c:pt>
                <c:pt idx="2464">
                  <c:v>2019/2/25</c:v>
                </c:pt>
                <c:pt idx="2465">
                  <c:v>2019/2/26</c:v>
                </c:pt>
                <c:pt idx="2466">
                  <c:v>2019/2/27</c:v>
                </c:pt>
                <c:pt idx="2467">
                  <c:v>2019/2/28</c:v>
                </c:pt>
                <c:pt idx="2468">
                  <c:v>2019/3/1</c:v>
                </c:pt>
                <c:pt idx="2469">
                  <c:v>2019/3/4</c:v>
                </c:pt>
                <c:pt idx="2470">
                  <c:v>2019/3/5</c:v>
                </c:pt>
                <c:pt idx="2471">
                  <c:v>2019/3/6</c:v>
                </c:pt>
                <c:pt idx="2472">
                  <c:v>2019/3/7</c:v>
                </c:pt>
                <c:pt idx="2473">
                  <c:v>2019/3/8</c:v>
                </c:pt>
                <c:pt idx="2474">
                  <c:v>2019/3/11</c:v>
                </c:pt>
                <c:pt idx="2475">
                  <c:v>2019/3/12</c:v>
                </c:pt>
                <c:pt idx="2476">
                  <c:v>2019/3/13</c:v>
                </c:pt>
                <c:pt idx="2477">
                  <c:v>2019/3/14</c:v>
                </c:pt>
                <c:pt idx="2478">
                  <c:v>2019/3/15</c:v>
                </c:pt>
                <c:pt idx="2479">
                  <c:v>2019/3/18</c:v>
                </c:pt>
                <c:pt idx="2480">
                  <c:v>2019/3/19</c:v>
                </c:pt>
                <c:pt idx="2481">
                  <c:v>2019/3/20</c:v>
                </c:pt>
                <c:pt idx="2482">
                  <c:v>2019/3/21</c:v>
                </c:pt>
                <c:pt idx="2483">
                  <c:v>2019/3/22</c:v>
                </c:pt>
                <c:pt idx="2484">
                  <c:v>2019/3/25</c:v>
                </c:pt>
                <c:pt idx="2485">
                  <c:v>2019/3/26</c:v>
                </c:pt>
                <c:pt idx="2486">
                  <c:v>2019/3/27</c:v>
                </c:pt>
                <c:pt idx="2487">
                  <c:v>2019/3/28</c:v>
                </c:pt>
                <c:pt idx="2488">
                  <c:v>2019/3/29</c:v>
                </c:pt>
                <c:pt idx="2489">
                  <c:v>2019/4/1</c:v>
                </c:pt>
                <c:pt idx="2490">
                  <c:v>2019/4/2</c:v>
                </c:pt>
                <c:pt idx="2491">
                  <c:v>2019/4/3</c:v>
                </c:pt>
                <c:pt idx="2492">
                  <c:v>2019/4/4</c:v>
                </c:pt>
                <c:pt idx="2493">
                  <c:v>2019/4/8</c:v>
                </c:pt>
                <c:pt idx="2494">
                  <c:v>2019/4/9</c:v>
                </c:pt>
                <c:pt idx="2495">
                  <c:v>2019/4/10</c:v>
                </c:pt>
                <c:pt idx="2496">
                  <c:v>2019/4/11</c:v>
                </c:pt>
                <c:pt idx="2497">
                  <c:v>2019/4/12</c:v>
                </c:pt>
                <c:pt idx="2498">
                  <c:v>2019/4/15</c:v>
                </c:pt>
                <c:pt idx="2499">
                  <c:v>2019/4/16</c:v>
                </c:pt>
                <c:pt idx="2500">
                  <c:v>2019/4/17</c:v>
                </c:pt>
                <c:pt idx="2501">
                  <c:v>2019/4/18</c:v>
                </c:pt>
                <c:pt idx="2502">
                  <c:v>2019/4/19</c:v>
                </c:pt>
                <c:pt idx="2503">
                  <c:v>2019/4/22</c:v>
                </c:pt>
                <c:pt idx="2504">
                  <c:v>2019/4/23</c:v>
                </c:pt>
                <c:pt idx="2505">
                  <c:v>2019/4/24</c:v>
                </c:pt>
                <c:pt idx="2506">
                  <c:v>2019/4/25</c:v>
                </c:pt>
                <c:pt idx="2507">
                  <c:v>2019/4/26</c:v>
                </c:pt>
                <c:pt idx="2508">
                  <c:v>2019/4/29</c:v>
                </c:pt>
                <c:pt idx="2509">
                  <c:v>2019/4/30</c:v>
                </c:pt>
                <c:pt idx="2510">
                  <c:v>2019/5/6</c:v>
                </c:pt>
                <c:pt idx="2511">
                  <c:v>2019/5/7</c:v>
                </c:pt>
                <c:pt idx="2512">
                  <c:v>2019/5/8</c:v>
                </c:pt>
                <c:pt idx="2513">
                  <c:v>2019/5/9</c:v>
                </c:pt>
                <c:pt idx="2514">
                  <c:v>2019/5/10</c:v>
                </c:pt>
                <c:pt idx="2515">
                  <c:v>2019/5/13</c:v>
                </c:pt>
                <c:pt idx="2516">
                  <c:v>2019/5/14</c:v>
                </c:pt>
                <c:pt idx="2517">
                  <c:v>2019/5/15</c:v>
                </c:pt>
                <c:pt idx="2518">
                  <c:v>2019/5/16</c:v>
                </c:pt>
                <c:pt idx="2519">
                  <c:v>2019/5/17</c:v>
                </c:pt>
                <c:pt idx="2520">
                  <c:v>2019/5/20</c:v>
                </c:pt>
                <c:pt idx="2521">
                  <c:v>2019/5/21</c:v>
                </c:pt>
                <c:pt idx="2522">
                  <c:v>2019/5/22</c:v>
                </c:pt>
                <c:pt idx="2523">
                  <c:v>2019/5/23</c:v>
                </c:pt>
                <c:pt idx="2524">
                  <c:v>2019/5/24</c:v>
                </c:pt>
                <c:pt idx="2525">
                  <c:v>2019/5/27</c:v>
                </c:pt>
                <c:pt idx="2526">
                  <c:v>2019/5/28</c:v>
                </c:pt>
                <c:pt idx="2527">
                  <c:v>2019/5/29</c:v>
                </c:pt>
                <c:pt idx="2528">
                  <c:v>2019/5/30</c:v>
                </c:pt>
                <c:pt idx="2529">
                  <c:v>2019/5/31</c:v>
                </c:pt>
                <c:pt idx="2530">
                  <c:v>2019/6/3</c:v>
                </c:pt>
                <c:pt idx="2531">
                  <c:v>2019/6/4</c:v>
                </c:pt>
                <c:pt idx="2532">
                  <c:v>2019/6/5</c:v>
                </c:pt>
                <c:pt idx="2533">
                  <c:v>2019/6/6</c:v>
                </c:pt>
                <c:pt idx="2534">
                  <c:v>2019/6/10</c:v>
                </c:pt>
                <c:pt idx="2535">
                  <c:v>2019/6/11</c:v>
                </c:pt>
                <c:pt idx="2536">
                  <c:v>2019/6/12</c:v>
                </c:pt>
                <c:pt idx="2537">
                  <c:v>2019/6/13</c:v>
                </c:pt>
                <c:pt idx="2538">
                  <c:v>2019/6/14</c:v>
                </c:pt>
                <c:pt idx="2539">
                  <c:v>2019/6/17</c:v>
                </c:pt>
                <c:pt idx="2540">
                  <c:v>2019/6/18</c:v>
                </c:pt>
                <c:pt idx="2541">
                  <c:v>2019/6/19</c:v>
                </c:pt>
                <c:pt idx="2542">
                  <c:v>2019/6/20</c:v>
                </c:pt>
                <c:pt idx="2543">
                  <c:v>2019/6/21</c:v>
                </c:pt>
                <c:pt idx="2544">
                  <c:v>2019/6/24</c:v>
                </c:pt>
                <c:pt idx="2545">
                  <c:v>2019/6/25</c:v>
                </c:pt>
                <c:pt idx="2546">
                  <c:v>2019/6/26</c:v>
                </c:pt>
                <c:pt idx="2547">
                  <c:v>2019/6/27</c:v>
                </c:pt>
                <c:pt idx="2548">
                  <c:v>2019/6/28</c:v>
                </c:pt>
                <c:pt idx="2549">
                  <c:v>2019/7/1</c:v>
                </c:pt>
                <c:pt idx="2550">
                  <c:v>2019/7/2</c:v>
                </c:pt>
                <c:pt idx="2551">
                  <c:v>2019/7/3</c:v>
                </c:pt>
                <c:pt idx="2552">
                  <c:v>2019/7/4</c:v>
                </c:pt>
                <c:pt idx="2553">
                  <c:v>2019/7/5</c:v>
                </c:pt>
                <c:pt idx="2554">
                  <c:v>2019/7/8</c:v>
                </c:pt>
                <c:pt idx="2555">
                  <c:v>2019/7/9</c:v>
                </c:pt>
                <c:pt idx="2556">
                  <c:v>2019/7/10</c:v>
                </c:pt>
                <c:pt idx="2557">
                  <c:v>2019/7/11</c:v>
                </c:pt>
                <c:pt idx="2558">
                  <c:v>2019/7/12</c:v>
                </c:pt>
                <c:pt idx="2559">
                  <c:v>2019/7/15</c:v>
                </c:pt>
                <c:pt idx="2560">
                  <c:v>2019/7/16</c:v>
                </c:pt>
                <c:pt idx="2561">
                  <c:v>2019/7/17</c:v>
                </c:pt>
                <c:pt idx="2562">
                  <c:v>2019/7/18</c:v>
                </c:pt>
                <c:pt idx="2563">
                  <c:v>2019/7/19</c:v>
                </c:pt>
                <c:pt idx="2564">
                  <c:v>2019/7/22</c:v>
                </c:pt>
                <c:pt idx="2565">
                  <c:v>2019/7/23</c:v>
                </c:pt>
                <c:pt idx="2566">
                  <c:v>2019/7/24</c:v>
                </c:pt>
                <c:pt idx="2567">
                  <c:v>2019/7/25</c:v>
                </c:pt>
                <c:pt idx="2568">
                  <c:v>2019/7/26</c:v>
                </c:pt>
                <c:pt idx="2569">
                  <c:v>2019/7/29</c:v>
                </c:pt>
                <c:pt idx="2570">
                  <c:v>2019/7/30</c:v>
                </c:pt>
                <c:pt idx="2571">
                  <c:v>2019/7/31</c:v>
                </c:pt>
                <c:pt idx="2572">
                  <c:v>2019/8/1</c:v>
                </c:pt>
                <c:pt idx="2573">
                  <c:v>2019/8/2</c:v>
                </c:pt>
                <c:pt idx="2574">
                  <c:v>2019/8/5</c:v>
                </c:pt>
                <c:pt idx="2575">
                  <c:v>2019/8/6</c:v>
                </c:pt>
                <c:pt idx="2576">
                  <c:v>2019/8/7</c:v>
                </c:pt>
                <c:pt idx="2577">
                  <c:v>2019/8/8</c:v>
                </c:pt>
                <c:pt idx="2578">
                  <c:v>2019/8/9</c:v>
                </c:pt>
                <c:pt idx="2579">
                  <c:v>2019/8/12</c:v>
                </c:pt>
                <c:pt idx="2580">
                  <c:v>2019/8/13</c:v>
                </c:pt>
                <c:pt idx="2581">
                  <c:v>2019/8/14</c:v>
                </c:pt>
                <c:pt idx="2582">
                  <c:v>2019/8/15</c:v>
                </c:pt>
                <c:pt idx="2583">
                  <c:v>2019/8/16</c:v>
                </c:pt>
                <c:pt idx="2584">
                  <c:v>2019/8/19</c:v>
                </c:pt>
                <c:pt idx="2585">
                  <c:v>2019/8/20</c:v>
                </c:pt>
                <c:pt idx="2586">
                  <c:v>2019/8/21</c:v>
                </c:pt>
                <c:pt idx="2587">
                  <c:v>2019/8/22</c:v>
                </c:pt>
                <c:pt idx="2588">
                  <c:v>2019/8/23</c:v>
                </c:pt>
                <c:pt idx="2589">
                  <c:v>2019/8/26</c:v>
                </c:pt>
                <c:pt idx="2590">
                  <c:v>2019/8/27</c:v>
                </c:pt>
                <c:pt idx="2591">
                  <c:v>2019/8/28</c:v>
                </c:pt>
                <c:pt idx="2592">
                  <c:v>2019/8/29</c:v>
                </c:pt>
                <c:pt idx="2593">
                  <c:v>2019/8/30</c:v>
                </c:pt>
                <c:pt idx="2594">
                  <c:v>2019/9/2</c:v>
                </c:pt>
                <c:pt idx="2595">
                  <c:v>2019/9/3</c:v>
                </c:pt>
                <c:pt idx="2596">
                  <c:v>2019/9/4</c:v>
                </c:pt>
                <c:pt idx="2597">
                  <c:v>2019/9/5</c:v>
                </c:pt>
                <c:pt idx="2598">
                  <c:v>2019/9/6</c:v>
                </c:pt>
                <c:pt idx="2599">
                  <c:v>2019/9/9</c:v>
                </c:pt>
                <c:pt idx="2600">
                  <c:v>2019/9/10</c:v>
                </c:pt>
                <c:pt idx="2601">
                  <c:v>2019/9/11</c:v>
                </c:pt>
                <c:pt idx="2602">
                  <c:v>2019/9/12</c:v>
                </c:pt>
                <c:pt idx="2603">
                  <c:v>2019/9/16</c:v>
                </c:pt>
                <c:pt idx="2604">
                  <c:v>2019/9/17</c:v>
                </c:pt>
                <c:pt idx="2605">
                  <c:v>2019/9/18</c:v>
                </c:pt>
                <c:pt idx="2606">
                  <c:v>2019/9/19</c:v>
                </c:pt>
                <c:pt idx="2607">
                  <c:v>2019/9/20</c:v>
                </c:pt>
                <c:pt idx="2608">
                  <c:v>2019/9/23</c:v>
                </c:pt>
                <c:pt idx="2609">
                  <c:v>2019/9/24</c:v>
                </c:pt>
                <c:pt idx="2610">
                  <c:v>2019/9/25</c:v>
                </c:pt>
                <c:pt idx="2611">
                  <c:v>2019/9/26</c:v>
                </c:pt>
                <c:pt idx="2612">
                  <c:v>2019/9/27</c:v>
                </c:pt>
                <c:pt idx="2613">
                  <c:v>2019/9/30</c:v>
                </c:pt>
                <c:pt idx="2614">
                  <c:v>2019/10/8</c:v>
                </c:pt>
                <c:pt idx="2615">
                  <c:v>2019/10/9</c:v>
                </c:pt>
                <c:pt idx="2616">
                  <c:v>2019/10/10</c:v>
                </c:pt>
                <c:pt idx="2617">
                  <c:v>2019/10/11</c:v>
                </c:pt>
                <c:pt idx="2618">
                  <c:v>2019/10/14</c:v>
                </c:pt>
                <c:pt idx="2619">
                  <c:v>2019/10/15</c:v>
                </c:pt>
                <c:pt idx="2620">
                  <c:v>2019/10/16</c:v>
                </c:pt>
                <c:pt idx="2621">
                  <c:v>2019/10/17</c:v>
                </c:pt>
                <c:pt idx="2622">
                  <c:v>2019/10/18</c:v>
                </c:pt>
                <c:pt idx="2623">
                  <c:v>2019/10/21</c:v>
                </c:pt>
                <c:pt idx="2624">
                  <c:v>2019/10/22</c:v>
                </c:pt>
                <c:pt idx="2625">
                  <c:v>2019/10/23</c:v>
                </c:pt>
                <c:pt idx="2626">
                  <c:v>2019/10/24</c:v>
                </c:pt>
                <c:pt idx="2627">
                  <c:v>2019/10/25</c:v>
                </c:pt>
                <c:pt idx="2628">
                  <c:v>2019/10/28</c:v>
                </c:pt>
                <c:pt idx="2629">
                  <c:v>2019/10/29</c:v>
                </c:pt>
                <c:pt idx="2630">
                  <c:v>2019/10/30</c:v>
                </c:pt>
                <c:pt idx="2631">
                  <c:v>2019/10/31</c:v>
                </c:pt>
                <c:pt idx="2632">
                  <c:v>2019/11/1</c:v>
                </c:pt>
                <c:pt idx="2633">
                  <c:v>2019/11/4</c:v>
                </c:pt>
                <c:pt idx="2634">
                  <c:v>2019/11/5</c:v>
                </c:pt>
                <c:pt idx="2635">
                  <c:v>2019/11/6</c:v>
                </c:pt>
                <c:pt idx="2636">
                  <c:v>2019/11/7</c:v>
                </c:pt>
                <c:pt idx="2637">
                  <c:v>2019/11/8</c:v>
                </c:pt>
                <c:pt idx="2638">
                  <c:v>2019/11/11</c:v>
                </c:pt>
                <c:pt idx="2639">
                  <c:v>2019/11/12</c:v>
                </c:pt>
                <c:pt idx="2640">
                  <c:v>2019/11/13</c:v>
                </c:pt>
                <c:pt idx="2641">
                  <c:v>2019/11/14</c:v>
                </c:pt>
                <c:pt idx="2642">
                  <c:v>2019/11/15</c:v>
                </c:pt>
                <c:pt idx="2643">
                  <c:v>2019/11/18</c:v>
                </c:pt>
                <c:pt idx="2644">
                  <c:v>2019/11/19</c:v>
                </c:pt>
                <c:pt idx="2645">
                  <c:v>2019/11/20</c:v>
                </c:pt>
                <c:pt idx="2646">
                  <c:v>2019/11/21</c:v>
                </c:pt>
                <c:pt idx="2647">
                  <c:v>2019/11/22</c:v>
                </c:pt>
                <c:pt idx="2648">
                  <c:v>2019/11/25</c:v>
                </c:pt>
                <c:pt idx="2649">
                  <c:v>2019/11/26</c:v>
                </c:pt>
                <c:pt idx="2650">
                  <c:v>2019/11/27</c:v>
                </c:pt>
                <c:pt idx="2651">
                  <c:v>2019/11/28</c:v>
                </c:pt>
                <c:pt idx="2652">
                  <c:v>2019/11/29</c:v>
                </c:pt>
                <c:pt idx="2653">
                  <c:v>2019/12/2</c:v>
                </c:pt>
                <c:pt idx="2654">
                  <c:v>2019/12/3</c:v>
                </c:pt>
                <c:pt idx="2655">
                  <c:v>2019/12/4</c:v>
                </c:pt>
                <c:pt idx="2656">
                  <c:v>2019/12/5</c:v>
                </c:pt>
                <c:pt idx="2657">
                  <c:v>2019/12/6</c:v>
                </c:pt>
                <c:pt idx="2658">
                  <c:v>2019/12/9</c:v>
                </c:pt>
                <c:pt idx="2659">
                  <c:v>2019/12/10</c:v>
                </c:pt>
                <c:pt idx="2660">
                  <c:v>2019/12/11</c:v>
                </c:pt>
                <c:pt idx="2661">
                  <c:v>2019/12/12</c:v>
                </c:pt>
                <c:pt idx="2662">
                  <c:v>2019/12/13</c:v>
                </c:pt>
                <c:pt idx="2663">
                  <c:v>2019/12/16</c:v>
                </c:pt>
                <c:pt idx="2664">
                  <c:v>2019/12/17</c:v>
                </c:pt>
                <c:pt idx="2665">
                  <c:v>2019/12/18</c:v>
                </c:pt>
                <c:pt idx="2666">
                  <c:v>2019/12/19</c:v>
                </c:pt>
                <c:pt idx="2667">
                  <c:v>2019/12/20</c:v>
                </c:pt>
                <c:pt idx="2668">
                  <c:v>2019/12/23</c:v>
                </c:pt>
                <c:pt idx="2669">
                  <c:v>2019/12/24</c:v>
                </c:pt>
                <c:pt idx="2670">
                  <c:v>2019/12/25</c:v>
                </c:pt>
                <c:pt idx="2671">
                  <c:v>2019/12/26</c:v>
                </c:pt>
                <c:pt idx="2672">
                  <c:v>2019/12/27</c:v>
                </c:pt>
                <c:pt idx="2673">
                  <c:v>2019/12/30</c:v>
                </c:pt>
                <c:pt idx="2674">
                  <c:v>2019/12/31</c:v>
                </c:pt>
                <c:pt idx="2675">
                  <c:v>2020/1/2</c:v>
                </c:pt>
                <c:pt idx="2676">
                  <c:v>2020/1/3</c:v>
                </c:pt>
                <c:pt idx="2677">
                  <c:v>2020/1/6</c:v>
                </c:pt>
                <c:pt idx="2678">
                  <c:v>2020/1/7</c:v>
                </c:pt>
                <c:pt idx="2679">
                  <c:v>2020/1/8</c:v>
                </c:pt>
                <c:pt idx="2680">
                  <c:v>2020/1/9</c:v>
                </c:pt>
                <c:pt idx="2681">
                  <c:v>2020/1/10</c:v>
                </c:pt>
                <c:pt idx="2682">
                  <c:v>2020/1/13</c:v>
                </c:pt>
                <c:pt idx="2683">
                  <c:v>2020/1/14</c:v>
                </c:pt>
                <c:pt idx="2684">
                  <c:v>2020/1/15</c:v>
                </c:pt>
                <c:pt idx="2685">
                  <c:v>2020/1/16</c:v>
                </c:pt>
                <c:pt idx="2686">
                  <c:v>2020/1/17</c:v>
                </c:pt>
                <c:pt idx="2687">
                  <c:v>2020/1/20</c:v>
                </c:pt>
                <c:pt idx="2688">
                  <c:v>2020/1/21</c:v>
                </c:pt>
                <c:pt idx="2689">
                  <c:v>2020/1/22</c:v>
                </c:pt>
                <c:pt idx="2690">
                  <c:v>2020/1/23</c:v>
                </c:pt>
                <c:pt idx="2691">
                  <c:v>2020/2/3</c:v>
                </c:pt>
                <c:pt idx="2692">
                  <c:v>2020/2/4</c:v>
                </c:pt>
                <c:pt idx="2693">
                  <c:v>2020/2/5</c:v>
                </c:pt>
                <c:pt idx="2694">
                  <c:v>2020/2/6</c:v>
                </c:pt>
                <c:pt idx="2695">
                  <c:v>2020/2/7</c:v>
                </c:pt>
                <c:pt idx="2696">
                  <c:v>2020/2/10</c:v>
                </c:pt>
                <c:pt idx="2697">
                  <c:v>2020/2/11</c:v>
                </c:pt>
                <c:pt idx="2698">
                  <c:v>2020/2/12</c:v>
                </c:pt>
                <c:pt idx="2699">
                  <c:v>2020/2/13</c:v>
                </c:pt>
                <c:pt idx="2700">
                  <c:v>2020/2/14</c:v>
                </c:pt>
                <c:pt idx="2701">
                  <c:v>2020/2/17</c:v>
                </c:pt>
                <c:pt idx="2702">
                  <c:v>2020/2/18</c:v>
                </c:pt>
                <c:pt idx="2703">
                  <c:v>2020/2/19</c:v>
                </c:pt>
                <c:pt idx="2704">
                  <c:v>2020/2/20</c:v>
                </c:pt>
                <c:pt idx="2705">
                  <c:v>2020/2/21</c:v>
                </c:pt>
                <c:pt idx="2706">
                  <c:v>2020/2/24</c:v>
                </c:pt>
                <c:pt idx="2707">
                  <c:v>2020/2/25</c:v>
                </c:pt>
                <c:pt idx="2708">
                  <c:v>2020/2/26</c:v>
                </c:pt>
                <c:pt idx="2709">
                  <c:v>2020/2/27</c:v>
                </c:pt>
                <c:pt idx="2710">
                  <c:v>2020/2/28</c:v>
                </c:pt>
                <c:pt idx="2711">
                  <c:v>2020/3/2</c:v>
                </c:pt>
                <c:pt idx="2712">
                  <c:v>2020/3/3</c:v>
                </c:pt>
                <c:pt idx="2713">
                  <c:v>2020/3/4</c:v>
                </c:pt>
                <c:pt idx="2714">
                  <c:v>2020/3/5</c:v>
                </c:pt>
                <c:pt idx="2715">
                  <c:v>2020/3/6</c:v>
                </c:pt>
                <c:pt idx="2716">
                  <c:v>2020/3/9</c:v>
                </c:pt>
                <c:pt idx="2717">
                  <c:v>2020/3/10</c:v>
                </c:pt>
                <c:pt idx="2718">
                  <c:v>2020/3/11</c:v>
                </c:pt>
                <c:pt idx="2719">
                  <c:v>2020/3/12</c:v>
                </c:pt>
                <c:pt idx="2720">
                  <c:v>2020/3/13</c:v>
                </c:pt>
                <c:pt idx="2721">
                  <c:v>2020/3/16</c:v>
                </c:pt>
                <c:pt idx="2722">
                  <c:v>2020/3/17</c:v>
                </c:pt>
                <c:pt idx="2723">
                  <c:v>2020/3/18</c:v>
                </c:pt>
                <c:pt idx="2724">
                  <c:v>2020/3/19</c:v>
                </c:pt>
                <c:pt idx="2725">
                  <c:v>2020/3/20</c:v>
                </c:pt>
                <c:pt idx="2726">
                  <c:v>2020/3/23</c:v>
                </c:pt>
                <c:pt idx="2727">
                  <c:v>2020/3/24</c:v>
                </c:pt>
                <c:pt idx="2728">
                  <c:v>2020/3/25</c:v>
                </c:pt>
                <c:pt idx="2729">
                  <c:v>2020/3/26</c:v>
                </c:pt>
                <c:pt idx="2730">
                  <c:v>2020/3/27</c:v>
                </c:pt>
                <c:pt idx="2731">
                  <c:v>2020/3/30</c:v>
                </c:pt>
                <c:pt idx="2732">
                  <c:v>2020/3/31</c:v>
                </c:pt>
                <c:pt idx="2733">
                  <c:v>2020/4/1</c:v>
                </c:pt>
                <c:pt idx="2734">
                  <c:v>2020/4/2</c:v>
                </c:pt>
                <c:pt idx="2735">
                  <c:v>2020/4/3</c:v>
                </c:pt>
                <c:pt idx="2736">
                  <c:v>2020/4/7</c:v>
                </c:pt>
                <c:pt idx="2737">
                  <c:v>2020/4/8</c:v>
                </c:pt>
                <c:pt idx="2738">
                  <c:v>2020/4/9</c:v>
                </c:pt>
                <c:pt idx="2739">
                  <c:v>2020/4/10</c:v>
                </c:pt>
                <c:pt idx="2740">
                  <c:v>2020/4/13</c:v>
                </c:pt>
                <c:pt idx="2741">
                  <c:v>2020/4/14</c:v>
                </c:pt>
                <c:pt idx="2742">
                  <c:v>2020/4/15</c:v>
                </c:pt>
                <c:pt idx="2743">
                  <c:v>2020/4/16</c:v>
                </c:pt>
                <c:pt idx="2744">
                  <c:v>2020/4/17</c:v>
                </c:pt>
                <c:pt idx="2745">
                  <c:v>2020/4/20</c:v>
                </c:pt>
                <c:pt idx="2746">
                  <c:v>2020/4/21</c:v>
                </c:pt>
                <c:pt idx="2747">
                  <c:v>2020/4/22</c:v>
                </c:pt>
                <c:pt idx="2748">
                  <c:v>2020/4/23</c:v>
                </c:pt>
                <c:pt idx="2749">
                  <c:v>2020/4/24</c:v>
                </c:pt>
                <c:pt idx="2750">
                  <c:v>2020/4/27</c:v>
                </c:pt>
                <c:pt idx="2751">
                  <c:v>2020/4/28</c:v>
                </c:pt>
                <c:pt idx="2752">
                  <c:v>2020/4/29</c:v>
                </c:pt>
                <c:pt idx="2753">
                  <c:v>2020/4/30</c:v>
                </c:pt>
                <c:pt idx="2754">
                  <c:v>2020/5/6</c:v>
                </c:pt>
                <c:pt idx="2755">
                  <c:v>2020/5/7</c:v>
                </c:pt>
                <c:pt idx="2756">
                  <c:v>2020/5/8</c:v>
                </c:pt>
                <c:pt idx="2757">
                  <c:v>2020/5/11</c:v>
                </c:pt>
                <c:pt idx="2758">
                  <c:v>2020/5/12</c:v>
                </c:pt>
                <c:pt idx="2759">
                  <c:v>2020/5/13</c:v>
                </c:pt>
                <c:pt idx="2760">
                  <c:v>2020/5/14</c:v>
                </c:pt>
                <c:pt idx="2761">
                  <c:v>2020/5/15</c:v>
                </c:pt>
                <c:pt idx="2762">
                  <c:v>2020/5/18</c:v>
                </c:pt>
                <c:pt idx="2763">
                  <c:v>2020/5/19</c:v>
                </c:pt>
                <c:pt idx="2764">
                  <c:v>2020/5/20</c:v>
                </c:pt>
                <c:pt idx="2765">
                  <c:v>2020/5/21</c:v>
                </c:pt>
                <c:pt idx="2766">
                  <c:v>2020/5/22</c:v>
                </c:pt>
                <c:pt idx="2767">
                  <c:v>2020/5/25</c:v>
                </c:pt>
                <c:pt idx="2768">
                  <c:v>2020/5/26</c:v>
                </c:pt>
                <c:pt idx="2769">
                  <c:v>2020/5/27</c:v>
                </c:pt>
                <c:pt idx="2770">
                  <c:v>2020/5/28</c:v>
                </c:pt>
                <c:pt idx="2771">
                  <c:v>2020/5/29</c:v>
                </c:pt>
                <c:pt idx="2772">
                  <c:v>2020/6/1</c:v>
                </c:pt>
                <c:pt idx="2773">
                  <c:v>2020/6/2</c:v>
                </c:pt>
                <c:pt idx="2774">
                  <c:v>2020/6/3</c:v>
                </c:pt>
                <c:pt idx="2775">
                  <c:v>2020/6/4</c:v>
                </c:pt>
                <c:pt idx="2776">
                  <c:v>2020/6/5</c:v>
                </c:pt>
                <c:pt idx="2777">
                  <c:v>2020/6/8</c:v>
                </c:pt>
                <c:pt idx="2778">
                  <c:v>2020/6/9</c:v>
                </c:pt>
                <c:pt idx="2779">
                  <c:v>2020/6/10</c:v>
                </c:pt>
                <c:pt idx="2780">
                  <c:v>2020/6/11</c:v>
                </c:pt>
                <c:pt idx="2781">
                  <c:v>2020/6/12</c:v>
                </c:pt>
                <c:pt idx="2782">
                  <c:v>2020/6/15</c:v>
                </c:pt>
                <c:pt idx="2783">
                  <c:v>2020/6/16</c:v>
                </c:pt>
                <c:pt idx="2784">
                  <c:v>2020/6/17</c:v>
                </c:pt>
                <c:pt idx="2785">
                  <c:v>2020/6/18</c:v>
                </c:pt>
                <c:pt idx="2786">
                  <c:v>2020/6/19</c:v>
                </c:pt>
                <c:pt idx="2787">
                  <c:v>2020/6/22</c:v>
                </c:pt>
                <c:pt idx="2788">
                  <c:v>2020/6/23</c:v>
                </c:pt>
                <c:pt idx="2789">
                  <c:v>2020/6/24</c:v>
                </c:pt>
                <c:pt idx="2790">
                  <c:v>2020/6/29</c:v>
                </c:pt>
                <c:pt idx="2791">
                  <c:v>2020/6/30</c:v>
                </c:pt>
                <c:pt idx="2792">
                  <c:v>2020/7/1</c:v>
                </c:pt>
                <c:pt idx="2793">
                  <c:v>2020/7/2</c:v>
                </c:pt>
                <c:pt idx="2794">
                  <c:v>2020/7/3</c:v>
                </c:pt>
                <c:pt idx="2795">
                  <c:v>2020/7/6</c:v>
                </c:pt>
                <c:pt idx="2796">
                  <c:v>2020/7/7</c:v>
                </c:pt>
                <c:pt idx="2797">
                  <c:v>2020/7/8</c:v>
                </c:pt>
                <c:pt idx="2798">
                  <c:v>2020/7/9</c:v>
                </c:pt>
                <c:pt idx="2799">
                  <c:v>2020/7/10</c:v>
                </c:pt>
                <c:pt idx="2800">
                  <c:v>2020/7/13</c:v>
                </c:pt>
                <c:pt idx="2801">
                  <c:v>2020/7/14</c:v>
                </c:pt>
                <c:pt idx="2802">
                  <c:v>2020/7/15</c:v>
                </c:pt>
                <c:pt idx="2803">
                  <c:v>2020/7/16</c:v>
                </c:pt>
                <c:pt idx="2804">
                  <c:v>2020/7/17</c:v>
                </c:pt>
                <c:pt idx="2805">
                  <c:v>2020/7/20</c:v>
                </c:pt>
                <c:pt idx="2806">
                  <c:v>2020/7/21</c:v>
                </c:pt>
                <c:pt idx="2807">
                  <c:v>2020/7/22</c:v>
                </c:pt>
                <c:pt idx="2808">
                  <c:v>2020/7/23</c:v>
                </c:pt>
                <c:pt idx="2809">
                  <c:v>2020/7/24</c:v>
                </c:pt>
                <c:pt idx="2810">
                  <c:v>2020/7/27</c:v>
                </c:pt>
                <c:pt idx="2811">
                  <c:v>2020/7/28</c:v>
                </c:pt>
                <c:pt idx="2812">
                  <c:v>2020/7/29</c:v>
                </c:pt>
                <c:pt idx="2813">
                  <c:v>2020/7/30</c:v>
                </c:pt>
                <c:pt idx="2814">
                  <c:v>2020/7/31</c:v>
                </c:pt>
                <c:pt idx="2815">
                  <c:v>2020/8/3</c:v>
                </c:pt>
                <c:pt idx="2816">
                  <c:v>2020/8/4</c:v>
                </c:pt>
                <c:pt idx="2817">
                  <c:v>2020/8/5</c:v>
                </c:pt>
                <c:pt idx="2818">
                  <c:v>2020/8/6</c:v>
                </c:pt>
                <c:pt idx="2819">
                  <c:v>2020/8/7</c:v>
                </c:pt>
                <c:pt idx="2820">
                  <c:v>2020/8/10</c:v>
                </c:pt>
                <c:pt idx="2821">
                  <c:v>2020/8/11</c:v>
                </c:pt>
                <c:pt idx="2822">
                  <c:v>2020/8/12</c:v>
                </c:pt>
                <c:pt idx="2823">
                  <c:v>2020/8/13</c:v>
                </c:pt>
                <c:pt idx="2824">
                  <c:v>2020/8/14</c:v>
                </c:pt>
                <c:pt idx="2825">
                  <c:v>2020/8/17</c:v>
                </c:pt>
                <c:pt idx="2826">
                  <c:v>2020/8/18</c:v>
                </c:pt>
                <c:pt idx="2827">
                  <c:v>2020/8/19</c:v>
                </c:pt>
                <c:pt idx="2828">
                  <c:v>2020/8/20</c:v>
                </c:pt>
                <c:pt idx="2829">
                  <c:v>2020/8/21</c:v>
                </c:pt>
                <c:pt idx="2830">
                  <c:v>2020/8/24</c:v>
                </c:pt>
                <c:pt idx="2831">
                  <c:v>2020/8/25</c:v>
                </c:pt>
                <c:pt idx="2832">
                  <c:v>2020/8/26</c:v>
                </c:pt>
                <c:pt idx="2833">
                  <c:v>2020/8/27</c:v>
                </c:pt>
                <c:pt idx="2834">
                  <c:v>2020/8/28</c:v>
                </c:pt>
                <c:pt idx="2835">
                  <c:v>2020/8/31</c:v>
                </c:pt>
                <c:pt idx="2836">
                  <c:v>2020/9/1</c:v>
                </c:pt>
                <c:pt idx="2837">
                  <c:v>2020/9/2</c:v>
                </c:pt>
                <c:pt idx="2838">
                  <c:v>2020/9/3</c:v>
                </c:pt>
                <c:pt idx="2839">
                  <c:v>2020/9/4</c:v>
                </c:pt>
                <c:pt idx="2840">
                  <c:v>2020/9/7</c:v>
                </c:pt>
                <c:pt idx="2841">
                  <c:v>2020/9/8</c:v>
                </c:pt>
                <c:pt idx="2842">
                  <c:v>2020/9/9</c:v>
                </c:pt>
                <c:pt idx="2843">
                  <c:v>2020/9/10</c:v>
                </c:pt>
                <c:pt idx="2844">
                  <c:v>2020/9/11</c:v>
                </c:pt>
                <c:pt idx="2845">
                  <c:v>2020/9/14</c:v>
                </c:pt>
                <c:pt idx="2846">
                  <c:v>2020/9/15</c:v>
                </c:pt>
                <c:pt idx="2847">
                  <c:v>2020/9/16</c:v>
                </c:pt>
                <c:pt idx="2848">
                  <c:v>2020/9/17</c:v>
                </c:pt>
                <c:pt idx="2849">
                  <c:v>2020/9/18</c:v>
                </c:pt>
                <c:pt idx="2850">
                  <c:v>2020/9/21</c:v>
                </c:pt>
                <c:pt idx="2851">
                  <c:v>2020/9/22</c:v>
                </c:pt>
                <c:pt idx="2852">
                  <c:v>2020/9/23</c:v>
                </c:pt>
                <c:pt idx="2853">
                  <c:v>2020/9/24</c:v>
                </c:pt>
                <c:pt idx="2854">
                  <c:v>2020/9/25</c:v>
                </c:pt>
                <c:pt idx="2855">
                  <c:v>2020/9/28</c:v>
                </c:pt>
                <c:pt idx="2856">
                  <c:v>2020/9/29</c:v>
                </c:pt>
                <c:pt idx="2857">
                  <c:v>2020/9/30</c:v>
                </c:pt>
                <c:pt idx="2858">
                  <c:v>2020/10/9</c:v>
                </c:pt>
                <c:pt idx="2859">
                  <c:v>2020/10/12</c:v>
                </c:pt>
                <c:pt idx="2860">
                  <c:v>2020/10/13</c:v>
                </c:pt>
                <c:pt idx="2861">
                  <c:v>2020/10/14</c:v>
                </c:pt>
                <c:pt idx="2862">
                  <c:v>2020/10/15</c:v>
                </c:pt>
                <c:pt idx="2863">
                  <c:v>2020/10/16</c:v>
                </c:pt>
                <c:pt idx="2864">
                  <c:v>2020/10/19</c:v>
                </c:pt>
                <c:pt idx="2865">
                  <c:v>2020/10/20</c:v>
                </c:pt>
                <c:pt idx="2866">
                  <c:v>2020/10/21</c:v>
                </c:pt>
                <c:pt idx="2867">
                  <c:v>2020/10/22</c:v>
                </c:pt>
                <c:pt idx="2868">
                  <c:v>2020/10/23</c:v>
                </c:pt>
                <c:pt idx="2869">
                  <c:v>2020/10/26</c:v>
                </c:pt>
                <c:pt idx="2870">
                  <c:v>2020/10/27</c:v>
                </c:pt>
                <c:pt idx="2871">
                  <c:v>2020/10/28</c:v>
                </c:pt>
                <c:pt idx="2872">
                  <c:v>2020/10/29</c:v>
                </c:pt>
                <c:pt idx="2873">
                  <c:v>2020/10/30</c:v>
                </c:pt>
                <c:pt idx="2874">
                  <c:v>2020/11/2</c:v>
                </c:pt>
                <c:pt idx="2875">
                  <c:v>2020/11/3</c:v>
                </c:pt>
                <c:pt idx="2876">
                  <c:v>2020/11/4</c:v>
                </c:pt>
                <c:pt idx="2877">
                  <c:v>2020/11/5</c:v>
                </c:pt>
                <c:pt idx="2878">
                  <c:v>2020/11/6</c:v>
                </c:pt>
                <c:pt idx="2879">
                  <c:v>2020/11/9</c:v>
                </c:pt>
                <c:pt idx="2880">
                  <c:v>2020/11/10</c:v>
                </c:pt>
                <c:pt idx="2881">
                  <c:v>2020/11/11</c:v>
                </c:pt>
                <c:pt idx="2882">
                  <c:v>2020/11/12</c:v>
                </c:pt>
                <c:pt idx="2883">
                  <c:v>2020/11/13</c:v>
                </c:pt>
                <c:pt idx="2884">
                  <c:v>2020/11/16</c:v>
                </c:pt>
                <c:pt idx="2885">
                  <c:v>2020/11/17</c:v>
                </c:pt>
                <c:pt idx="2886">
                  <c:v>2020/11/18</c:v>
                </c:pt>
                <c:pt idx="2887">
                  <c:v>2020/11/19</c:v>
                </c:pt>
                <c:pt idx="2888">
                  <c:v>2020/11/20</c:v>
                </c:pt>
                <c:pt idx="2889">
                  <c:v>2020/11/23</c:v>
                </c:pt>
                <c:pt idx="2890">
                  <c:v>2020/11/24</c:v>
                </c:pt>
                <c:pt idx="2891">
                  <c:v>2020/11/25</c:v>
                </c:pt>
                <c:pt idx="2892">
                  <c:v>2020/11/26</c:v>
                </c:pt>
                <c:pt idx="2893">
                  <c:v>2020/11/27</c:v>
                </c:pt>
                <c:pt idx="2894">
                  <c:v>2020/11/30</c:v>
                </c:pt>
                <c:pt idx="2895">
                  <c:v>2020/12/1</c:v>
                </c:pt>
                <c:pt idx="2896">
                  <c:v>2020/12/2</c:v>
                </c:pt>
                <c:pt idx="2897">
                  <c:v>2020/12/3</c:v>
                </c:pt>
                <c:pt idx="2898">
                  <c:v>2020/12/4</c:v>
                </c:pt>
                <c:pt idx="2899">
                  <c:v>2020/12/7</c:v>
                </c:pt>
                <c:pt idx="2900">
                  <c:v>2020/12/8</c:v>
                </c:pt>
                <c:pt idx="2901">
                  <c:v>2020/12/9</c:v>
                </c:pt>
                <c:pt idx="2902">
                  <c:v>2020/12/10</c:v>
                </c:pt>
                <c:pt idx="2903">
                  <c:v>2020/12/11</c:v>
                </c:pt>
                <c:pt idx="2904">
                  <c:v>2020/12/14</c:v>
                </c:pt>
                <c:pt idx="2905">
                  <c:v>2020/12/15</c:v>
                </c:pt>
                <c:pt idx="2906">
                  <c:v>2020/12/16</c:v>
                </c:pt>
                <c:pt idx="2907">
                  <c:v>2020/12/17</c:v>
                </c:pt>
                <c:pt idx="2908">
                  <c:v>2020/12/18</c:v>
                </c:pt>
                <c:pt idx="2909">
                  <c:v>2020/12/21</c:v>
                </c:pt>
                <c:pt idx="2910">
                  <c:v>2020/12/22</c:v>
                </c:pt>
                <c:pt idx="2911">
                  <c:v>2020/12/23</c:v>
                </c:pt>
                <c:pt idx="2912">
                  <c:v>2020/12/24</c:v>
                </c:pt>
                <c:pt idx="2913">
                  <c:v>2020/12/25</c:v>
                </c:pt>
                <c:pt idx="2914">
                  <c:v>2020/12/28</c:v>
                </c:pt>
                <c:pt idx="2915">
                  <c:v>2020/12/29</c:v>
                </c:pt>
                <c:pt idx="2916">
                  <c:v>2020/12/30</c:v>
                </c:pt>
                <c:pt idx="2917">
                  <c:v>2020/12/31</c:v>
                </c:pt>
                <c:pt idx="2918">
                  <c:v>2021/1/4</c:v>
                </c:pt>
                <c:pt idx="2919">
                  <c:v>2021/1/5</c:v>
                </c:pt>
                <c:pt idx="2920">
                  <c:v>2021/1/6</c:v>
                </c:pt>
                <c:pt idx="2921">
                  <c:v>2021/1/7</c:v>
                </c:pt>
                <c:pt idx="2922">
                  <c:v>2021/1/8</c:v>
                </c:pt>
                <c:pt idx="2923">
                  <c:v>2021/1/11</c:v>
                </c:pt>
                <c:pt idx="2924">
                  <c:v>2021/1/12</c:v>
                </c:pt>
                <c:pt idx="2925">
                  <c:v>2021/1/13</c:v>
                </c:pt>
                <c:pt idx="2926">
                  <c:v>2021/1/14</c:v>
                </c:pt>
                <c:pt idx="2927">
                  <c:v>2021/1/15</c:v>
                </c:pt>
                <c:pt idx="2928">
                  <c:v>2021/1/18</c:v>
                </c:pt>
                <c:pt idx="2929">
                  <c:v>2021/1/19</c:v>
                </c:pt>
                <c:pt idx="2930">
                  <c:v>2021/1/20</c:v>
                </c:pt>
                <c:pt idx="2931">
                  <c:v>2021/1/21</c:v>
                </c:pt>
                <c:pt idx="2932">
                  <c:v>2021/1/22</c:v>
                </c:pt>
                <c:pt idx="2933">
                  <c:v>2021/1/25</c:v>
                </c:pt>
                <c:pt idx="2934">
                  <c:v>2021/1/26</c:v>
                </c:pt>
                <c:pt idx="2935">
                  <c:v>2021/1/27</c:v>
                </c:pt>
                <c:pt idx="2936">
                  <c:v>2021/1/28</c:v>
                </c:pt>
                <c:pt idx="2937">
                  <c:v>2021/1/29</c:v>
                </c:pt>
                <c:pt idx="2938">
                  <c:v>2021/2/1</c:v>
                </c:pt>
                <c:pt idx="2939">
                  <c:v>2021/2/2</c:v>
                </c:pt>
                <c:pt idx="2940">
                  <c:v>2021/2/3</c:v>
                </c:pt>
                <c:pt idx="2941">
                  <c:v>2021/2/4</c:v>
                </c:pt>
                <c:pt idx="2942">
                  <c:v>2021/2/5</c:v>
                </c:pt>
                <c:pt idx="2943">
                  <c:v>2021/2/8</c:v>
                </c:pt>
                <c:pt idx="2944">
                  <c:v>2021/2/9</c:v>
                </c:pt>
                <c:pt idx="2945">
                  <c:v>2021/2/10</c:v>
                </c:pt>
                <c:pt idx="2946">
                  <c:v>2021/2/18</c:v>
                </c:pt>
                <c:pt idx="2947">
                  <c:v>2021/2/19</c:v>
                </c:pt>
                <c:pt idx="2948">
                  <c:v>2021/2/22</c:v>
                </c:pt>
                <c:pt idx="2949">
                  <c:v>2021/2/23</c:v>
                </c:pt>
                <c:pt idx="2950">
                  <c:v>2021/2/24</c:v>
                </c:pt>
                <c:pt idx="2951">
                  <c:v>2021/2/25</c:v>
                </c:pt>
                <c:pt idx="2952">
                  <c:v>2021/2/26</c:v>
                </c:pt>
                <c:pt idx="2953">
                  <c:v>2021/3/1</c:v>
                </c:pt>
                <c:pt idx="2954">
                  <c:v>2021/3/2</c:v>
                </c:pt>
                <c:pt idx="2955">
                  <c:v>2021/3/3</c:v>
                </c:pt>
                <c:pt idx="2956">
                  <c:v>2021/3/4</c:v>
                </c:pt>
                <c:pt idx="2957">
                  <c:v>2021/3/5</c:v>
                </c:pt>
                <c:pt idx="2958">
                  <c:v>2021/3/8</c:v>
                </c:pt>
                <c:pt idx="2959">
                  <c:v>2021/3/9</c:v>
                </c:pt>
                <c:pt idx="2960">
                  <c:v>2021/3/10</c:v>
                </c:pt>
                <c:pt idx="2961">
                  <c:v>2021/3/11</c:v>
                </c:pt>
                <c:pt idx="2962">
                  <c:v>2021/3/12</c:v>
                </c:pt>
                <c:pt idx="2963">
                  <c:v>2021/3/15</c:v>
                </c:pt>
                <c:pt idx="2964">
                  <c:v>2021/3/16</c:v>
                </c:pt>
                <c:pt idx="2965">
                  <c:v>2021/3/17</c:v>
                </c:pt>
                <c:pt idx="2966">
                  <c:v>2021/3/18</c:v>
                </c:pt>
                <c:pt idx="2967">
                  <c:v>2021/3/19</c:v>
                </c:pt>
                <c:pt idx="2968">
                  <c:v>2021/3/22</c:v>
                </c:pt>
                <c:pt idx="2969">
                  <c:v>2021/3/23</c:v>
                </c:pt>
                <c:pt idx="2970">
                  <c:v>2021/3/24</c:v>
                </c:pt>
                <c:pt idx="2971">
                  <c:v>2021/3/25</c:v>
                </c:pt>
                <c:pt idx="2972">
                  <c:v>2021/3/26</c:v>
                </c:pt>
                <c:pt idx="2973">
                  <c:v>2021/3/29</c:v>
                </c:pt>
                <c:pt idx="2974">
                  <c:v>2021/3/30</c:v>
                </c:pt>
                <c:pt idx="2975">
                  <c:v>2021/3/31</c:v>
                </c:pt>
                <c:pt idx="2976">
                  <c:v>2021/4/1</c:v>
                </c:pt>
                <c:pt idx="2977">
                  <c:v>2021/4/2</c:v>
                </c:pt>
                <c:pt idx="2978">
                  <c:v>2021/4/6</c:v>
                </c:pt>
                <c:pt idx="2979">
                  <c:v>2021/4/7</c:v>
                </c:pt>
                <c:pt idx="2980">
                  <c:v>2021/4/8</c:v>
                </c:pt>
                <c:pt idx="2981">
                  <c:v>2021/4/9</c:v>
                </c:pt>
                <c:pt idx="2982">
                  <c:v>2021/4/12</c:v>
                </c:pt>
                <c:pt idx="2983">
                  <c:v>2021/4/13</c:v>
                </c:pt>
                <c:pt idx="2984">
                  <c:v>2021/4/14</c:v>
                </c:pt>
                <c:pt idx="2985">
                  <c:v>2021/4/15</c:v>
                </c:pt>
                <c:pt idx="2986">
                  <c:v>2021/4/16</c:v>
                </c:pt>
                <c:pt idx="2987">
                  <c:v>2021/4/19</c:v>
                </c:pt>
                <c:pt idx="2988">
                  <c:v>2021/4/20</c:v>
                </c:pt>
                <c:pt idx="2989">
                  <c:v>2021/4/21</c:v>
                </c:pt>
                <c:pt idx="2990">
                  <c:v>2021/4/22</c:v>
                </c:pt>
                <c:pt idx="2991">
                  <c:v>2021/4/23</c:v>
                </c:pt>
                <c:pt idx="2992">
                  <c:v>2021/4/26</c:v>
                </c:pt>
                <c:pt idx="2993">
                  <c:v>2021/4/27</c:v>
                </c:pt>
                <c:pt idx="2994">
                  <c:v>2021/4/28</c:v>
                </c:pt>
                <c:pt idx="2995">
                  <c:v>2021/4/29</c:v>
                </c:pt>
                <c:pt idx="2996">
                  <c:v>2021/4/30</c:v>
                </c:pt>
                <c:pt idx="2997">
                  <c:v>2021/5/6</c:v>
                </c:pt>
                <c:pt idx="2998">
                  <c:v>2021/5/7</c:v>
                </c:pt>
                <c:pt idx="2999">
                  <c:v>2021/5/10</c:v>
                </c:pt>
                <c:pt idx="3000">
                  <c:v>2021/5/11</c:v>
                </c:pt>
                <c:pt idx="3001">
                  <c:v>2021/5/12</c:v>
                </c:pt>
                <c:pt idx="3002">
                  <c:v>2021/5/13</c:v>
                </c:pt>
                <c:pt idx="3003">
                  <c:v>2021/5/14</c:v>
                </c:pt>
                <c:pt idx="3004">
                  <c:v>2021/5/17</c:v>
                </c:pt>
                <c:pt idx="3005">
                  <c:v>2021/5/18</c:v>
                </c:pt>
                <c:pt idx="3006">
                  <c:v>2021/5/19</c:v>
                </c:pt>
                <c:pt idx="3007">
                  <c:v>2021/5/20</c:v>
                </c:pt>
                <c:pt idx="3008">
                  <c:v>2021/5/21</c:v>
                </c:pt>
                <c:pt idx="3009">
                  <c:v>2021/5/24</c:v>
                </c:pt>
                <c:pt idx="3010">
                  <c:v>2021/5/25</c:v>
                </c:pt>
                <c:pt idx="3011">
                  <c:v>2021/5/26</c:v>
                </c:pt>
                <c:pt idx="3012">
                  <c:v>2021/5/27</c:v>
                </c:pt>
                <c:pt idx="3013">
                  <c:v>2021/5/28</c:v>
                </c:pt>
                <c:pt idx="3014">
                  <c:v>2021/5/31</c:v>
                </c:pt>
                <c:pt idx="3015">
                  <c:v>2021/6/1</c:v>
                </c:pt>
                <c:pt idx="3016">
                  <c:v>2021/6/2</c:v>
                </c:pt>
                <c:pt idx="3017">
                  <c:v>2021/6/3</c:v>
                </c:pt>
                <c:pt idx="3018">
                  <c:v>2021/6/4</c:v>
                </c:pt>
                <c:pt idx="3019">
                  <c:v>2021/6/7</c:v>
                </c:pt>
                <c:pt idx="3020">
                  <c:v>2021/6/8</c:v>
                </c:pt>
                <c:pt idx="3021">
                  <c:v>2021/6/9</c:v>
                </c:pt>
                <c:pt idx="3022">
                  <c:v>2021/6/10</c:v>
                </c:pt>
                <c:pt idx="3023">
                  <c:v>2021/6/11</c:v>
                </c:pt>
                <c:pt idx="3024">
                  <c:v>2021/6/15</c:v>
                </c:pt>
                <c:pt idx="3025">
                  <c:v>2021/6/16</c:v>
                </c:pt>
                <c:pt idx="3026">
                  <c:v>2021/6/17</c:v>
                </c:pt>
                <c:pt idx="3027">
                  <c:v>2021/6/18</c:v>
                </c:pt>
                <c:pt idx="3028">
                  <c:v>2021/6/21</c:v>
                </c:pt>
                <c:pt idx="3029">
                  <c:v>2021/6/22</c:v>
                </c:pt>
                <c:pt idx="3030">
                  <c:v>2021/6/23</c:v>
                </c:pt>
                <c:pt idx="3031">
                  <c:v>2021/6/24</c:v>
                </c:pt>
                <c:pt idx="3032">
                  <c:v>2021/6/25</c:v>
                </c:pt>
                <c:pt idx="3033">
                  <c:v>2021/6/28</c:v>
                </c:pt>
                <c:pt idx="3034">
                  <c:v>2021/6/29</c:v>
                </c:pt>
                <c:pt idx="3035">
                  <c:v>2021/6/30</c:v>
                </c:pt>
                <c:pt idx="3036">
                  <c:v>2021/7/1</c:v>
                </c:pt>
                <c:pt idx="3037">
                  <c:v>2021/7/2</c:v>
                </c:pt>
                <c:pt idx="3038">
                  <c:v>2021/7/5</c:v>
                </c:pt>
                <c:pt idx="3039">
                  <c:v>2021/7/6</c:v>
                </c:pt>
                <c:pt idx="3040">
                  <c:v>2021/7/7</c:v>
                </c:pt>
                <c:pt idx="3041">
                  <c:v>2021/7/8</c:v>
                </c:pt>
                <c:pt idx="3042">
                  <c:v>2021/7/9</c:v>
                </c:pt>
                <c:pt idx="3043">
                  <c:v>2021/7/12</c:v>
                </c:pt>
                <c:pt idx="3044">
                  <c:v>2021/7/13</c:v>
                </c:pt>
                <c:pt idx="3045">
                  <c:v>2021/7/14</c:v>
                </c:pt>
                <c:pt idx="3046">
                  <c:v>2021/7/15</c:v>
                </c:pt>
                <c:pt idx="3047">
                  <c:v>2021/7/16</c:v>
                </c:pt>
                <c:pt idx="3048">
                  <c:v>2021/7/19</c:v>
                </c:pt>
                <c:pt idx="3049">
                  <c:v>2021/7/20</c:v>
                </c:pt>
                <c:pt idx="3050">
                  <c:v>2021/7/21</c:v>
                </c:pt>
                <c:pt idx="3051">
                  <c:v>2021/7/22</c:v>
                </c:pt>
                <c:pt idx="3052">
                  <c:v>2021/7/23</c:v>
                </c:pt>
                <c:pt idx="3053">
                  <c:v>2021/7/26</c:v>
                </c:pt>
                <c:pt idx="3054">
                  <c:v>2021/7/27</c:v>
                </c:pt>
                <c:pt idx="3055">
                  <c:v>2021/7/28</c:v>
                </c:pt>
                <c:pt idx="3056">
                  <c:v>2021/7/29</c:v>
                </c:pt>
                <c:pt idx="3057">
                  <c:v>2021/7/30</c:v>
                </c:pt>
                <c:pt idx="3058">
                  <c:v>2021/8/2</c:v>
                </c:pt>
                <c:pt idx="3059">
                  <c:v>2021/8/3</c:v>
                </c:pt>
                <c:pt idx="3060">
                  <c:v>2021/8/4</c:v>
                </c:pt>
                <c:pt idx="3061">
                  <c:v>2021/8/5</c:v>
                </c:pt>
                <c:pt idx="3062">
                  <c:v>2021/8/6</c:v>
                </c:pt>
                <c:pt idx="3063">
                  <c:v>2021/8/9</c:v>
                </c:pt>
                <c:pt idx="3064">
                  <c:v>2021/8/10</c:v>
                </c:pt>
                <c:pt idx="3065">
                  <c:v>2021/8/11</c:v>
                </c:pt>
                <c:pt idx="3066">
                  <c:v>2021/8/12</c:v>
                </c:pt>
                <c:pt idx="3067">
                  <c:v>2021/8/13</c:v>
                </c:pt>
                <c:pt idx="3068">
                  <c:v>2021/8/16</c:v>
                </c:pt>
                <c:pt idx="3069">
                  <c:v>2021/8/17</c:v>
                </c:pt>
                <c:pt idx="3070">
                  <c:v>2021/8/18</c:v>
                </c:pt>
                <c:pt idx="3071">
                  <c:v>2021/8/19</c:v>
                </c:pt>
                <c:pt idx="3072">
                  <c:v>2021/8/20</c:v>
                </c:pt>
                <c:pt idx="3073">
                  <c:v>2021/8/23</c:v>
                </c:pt>
                <c:pt idx="3074">
                  <c:v>2021/8/24</c:v>
                </c:pt>
                <c:pt idx="3075">
                  <c:v>2021/8/25</c:v>
                </c:pt>
                <c:pt idx="3076">
                  <c:v>2021/8/26</c:v>
                </c:pt>
                <c:pt idx="3077">
                  <c:v>2021/8/27</c:v>
                </c:pt>
                <c:pt idx="3078">
                  <c:v>2021/8/30</c:v>
                </c:pt>
                <c:pt idx="3079">
                  <c:v>2021/8/31</c:v>
                </c:pt>
                <c:pt idx="3080">
                  <c:v>2021/9/1</c:v>
                </c:pt>
                <c:pt idx="3081">
                  <c:v>2021/9/2</c:v>
                </c:pt>
                <c:pt idx="3082">
                  <c:v>2021/9/3</c:v>
                </c:pt>
                <c:pt idx="3083">
                  <c:v>2021/9/6</c:v>
                </c:pt>
                <c:pt idx="3084">
                  <c:v>2021/9/7</c:v>
                </c:pt>
                <c:pt idx="3085">
                  <c:v>2021/9/8</c:v>
                </c:pt>
                <c:pt idx="3086">
                  <c:v>2021/9/9</c:v>
                </c:pt>
                <c:pt idx="3087">
                  <c:v>2021/9/10</c:v>
                </c:pt>
                <c:pt idx="3088">
                  <c:v>2021/9/13</c:v>
                </c:pt>
                <c:pt idx="3089">
                  <c:v>2021/9/14</c:v>
                </c:pt>
                <c:pt idx="3090">
                  <c:v>2021/9/15</c:v>
                </c:pt>
                <c:pt idx="3091">
                  <c:v>2021/9/16</c:v>
                </c:pt>
                <c:pt idx="3092">
                  <c:v>2021/9/17</c:v>
                </c:pt>
                <c:pt idx="3093">
                  <c:v>2021/9/22</c:v>
                </c:pt>
                <c:pt idx="3094">
                  <c:v>2021/9/23</c:v>
                </c:pt>
                <c:pt idx="3095">
                  <c:v>2021/9/24</c:v>
                </c:pt>
                <c:pt idx="3096">
                  <c:v>2021/9/27</c:v>
                </c:pt>
                <c:pt idx="3097">
                  <c:v>2021/9/28</c:v>
                </c:pt>
                <c:pt idx="3098">
                  <c:v>2021/9/29</c:v>
                </c:pt>
                <c:pt idx="3099">
                  <c:v>2021/9/30</c:v>
                </c:pt>
                <c:pt idx="3100">
                  <c:v>2021/10/8</c:v>
                </c:pt>
                <c:pt idx="3101">
                  <c:v>2021/10/11</c:v>
                </c:pt>
                <c:pt idx="3102">
                  <c:v>2021/10/12</c:v>
                </c:pt>
                <c:pt idx="3103">
                  <c:v>2021/10/13</c:v>
                </c:pt>
                <c:pt idx="3104">
                  <c:v>2021/10/14</c:v>
                </c:pt>
                <c:pt idx="3105">
                  <c:v>2021/10/15</c:v>
                </c:pt>
                <c:pt idx="3106">
                  <c:v>2021/10/18</c:v>
                </c:pt>
                <c:pt idx="3107">
                  <c:v>2021/10/19</c:v>
                </c:pt>
                <c:pt idx="3108">
                  <c:v>2021/10/20</c:v>
                </c:pt>
                <c:pt idx="3109">
                  <c:v>2021/10/21</c:v>
                </c:pt>
                <c:pt idx="3110">
                  <c:v>2021/10/22</c:v>
                </c:pt>
                <c:pt idx="3111">
                  <c:v>2021/10/25</c:v>
                </c:pt>
                <c:pt idx="3112">
                  <c:v>2021/10/26</c:v>
                </c:pt>
                <c:pt idx="3113">
                  <c:v>2021/10/27</c:v>
                </c:pt>
                <c:pt idx="3114">
                  <c:v>2021/10/28</c:v>
                </c:pt>
                <c:pt idx="3115">
                  <c:v>2021/10/29</c:v>
                </c:pt>
                <c:pt idx="3116">
                  <c:v>2021/11/1</c:v>
                </c:pt>
                <c:pt idx="3117">
                  <c:v>2021/11/2</c:v>
                </c:pt>
                <c:pt idx="3118">
                  <c:v>2021/11/3</c:v>
                </c:pt>
                <c:pt idx="3119">
                  <c:v>2021/11/4</c:v>
                </c:pt>
                <c:pt idx="3120">
                  <c:v>2021/11/5</c:v>
                </c:pt>
                <c:pt idx="3121">
                  <c:v>2021/11/8</c:v>
                </c:pt>
                <c:pt idx="3122">
                  <c:v>2021/11/9</c:v>
                </c:pt>
                <c:pt idx="3123">
                  <c:v>2021/11/10</c:v>
                </c:pt>
                <c:pt idx="3124">
                  <c:v>2021/11/11</c:v>
                </c:pt>
                <c:pt idx="3125">
                  <c:v>2021/11/12</c:v>
                </c:pt>
                <c:pt idx="3126">
                  <c:v>2021/11/15</c:v>
                </c:pt>
                <c:pt idx="3127">
                  <c:v>2021/11/16</c:v>
                </c:pt>
                <c:pt idx="3128">
                  <c:v>2021/11/17</c:v>
                </c:pt>
                <c:pt idx="3129">
                  <c:v>2021/11/18</c:v>
                </c:pt>
                <c:pt idx="3130">
                  <c:v>2021/11/19</c:v>
                </c:pt>
                <c:pt idx="3131">
                  <c:v>2021/11/22</c:v>
                </c:pt>
                <c:pt idx="3132">
                  <c:v>2021/11/23</c:v>
                </c:pt>
                <c:pt idx="3133">
                  <c:v>2021/11/24</c:v>
                </c:pt>
                <c:pt idx="3134">
                  <c:v>2021/11/25</c:v>
                </c:pt>
                <c:pt idx="3135">
                  <c:v>2021/11/26</c:v>
                </c:pt>
                <c:pt idx="3136">
                  <c:v>2021/11/29</c:v>
                </c:pt>
                <c:pt idx="3137">
                  <c:v>2021/11/30</c:v>
                </c:pt>
                <c:pt idx="3138">
                  <c:v>2021/12/1</c:v>
                </c:pt>
                <c:pt idx="3139">
                  <c:v>2021/12/2</c:v>
                </c:pt>
                <c:pt idx="3140">
                  <c:v>2021/12/3</c:v>
                </c:pt>
                <c:pt idx="3141">
                  <c:v>2021/12/6</c:v>
                </c:pt>
                <c:pt idx="3142">
                  <c:v>2021/12/7</c:v>
                </c:pt>
                <c:pt idx="3143">
                  <c:v>2021/12/8</c:v>
                </c:pt>
                <c:pt idx="3144">
                  <c:v>2021/12/9</c:v>
                </c:pt>
                <c:pt idx="3145">
                  <c:v>2021/12/10</c:v>
                </c:pt>
                <c:pt idx="3146">
                  <c:v>2021/12/13</c:v>
                </c:pt>
                <c:pt idx="3147">
                  <c:v>2021/12/14</c:v>
                </c:pt>
                <c:pt idx="3148">
                  <c:v>2021/12/15</c:v>
                </c:pt>
                <c:pt idx="3149">
                  <c:v>2021/12/16</c:v>
                </c:pt>
                <c:pt idx="3150">
                  <c:v>2021/12/17</c:v>
                </c:pt>
                <c:pt idx="3151">
                  <c:v>2021/12/20</c:v>
                </c:pt>
                <c:pt idx="3152">
                  <c:v>2021/12/21</c:v>
                </c:pt>
                <c:pt idx="3153">
                  <c:v>2021/12/22</c:v>
                </c:pt>
                <c:pt idx="3154">
                  <c:v>2021/12/23</c:v>
                </c:pt>
                <c:pt idx="3155">
                  <c:v>2021/12/24</c:v>
                </c:pt>
                <c:pt idx="3156">
                  <c:v>2021/12/27</c:v>
                </c:pt>
                <c:pt idx="3157">
                  <c:v>2021/12/28</c:v>
                </c:pt>
                <c:pt idx="3158">
                  <c:v>2021/12/29</c:v>
                </c:pt>
                <c:pt idx="3159">
                  <c:v>2021/12/30</c:v>
                </c:pt>
                <c:pt idx="3160">
                  <c:v>2021/12/31</c:v>
                </c:pt>
                <c:pt idx="3161">
                  <c:v>2022/1/4</c:v>
                </c:pt>
                <c:pt idx="3162">
                  <c:v>2022/1/5</c:v>
                </c:pt>
                <c:pt idx="3163">
                  <c:v>2022/1/6</c:v>
                </c:pt>
                <c:pt idx="3164">
                  <c:v>2022/1/7</c:v>
                </c:pt>
                <c:pt idx="3165">
                  <c:v>2022/1/10</c:v>
                </c:pt>
                <c:pt idx="3166">
                  <c:v>2022/1/11</c:v>
                </c:pt>
                <c:pt idx="3167">
                  <c:v>2022/1/12</c:v>
                </c:pt>
                <c:pt idx="3168">
                  <c:v>2022/1/13</c:v>
                </c:pt>
                <c:pt idx="3169">
                  <c:v>2022/1/14</c:v>
                </c:pt>
                <c:pt idx="3170">
                  <c:v>2022/1/17</c:v>
                </c:pt>
                <c:pt idx="3171">
                  <c:v>2022/1/18</c:v>
                </c:pt>
                <c:pt idx="3172">
                  <c:v>2022/1/19</c:v>
                </c:pt>
                <c:pt idx="3173">
                  <c:v>2022/1/20</c:v>
                </c:pt>
                <c:pt idx="3174">
                  <c:v>2022/1/21</c:v>
                </c:pt>
                <c:pt idx="3175">
                  <c:v>2022/1/24</c:v>
                </c:pt>
                <c:pt idx="3176">
                  <c:v>2022/1/25</c:v>
                </c:pt>
                <c:pt idx="3177">
                  <c:v>2022/1/26</c:v>
                </c:pt>
                <c:pt idx="3178">
                  <c:v>2022/1/27</c:v>
                </c:pt>
                <c:pt idx="3179">
                  <c:v>2022/1/28</c:v>
                </c:pt>
                <c:pt idx="3180">
                  <c:v>2022/2/7</c:v>
                </c:pt>
                <c:pt idx="3181">
                  <c:v>2022/2/8</c:v>
                </c:pt>
                <c:pt idx="3182">
                  <c:v>2022/2/9</c:v>
                </c:pt>
                <c:pt idx="3183">
                  <c:v>2022/2/10</c:v>
                </c:pt>
                <c:pt idx="3184">
                  <c:v>2022/2/11</c:v>
                </c:pt>
                <c:pt idx="3185">
                  <c:v>2022/2/14</c:v>
                </c:pt>
                <c:pt idx="3186">
                  <c:v>2022/2/15</c:v>
                </c:pt>
                <c:pt idx="3187">
                  <c:v>2022/2/16</c:v>
                </c:pt>
                <c:pt idx="3188">
                  <c:v>2022/2/17</c:v>
                </c:pt>
                <c:pt idx="3189">
                  <c:v>2022/2/18</c:v>
                </c:pt>
                <c:pt idx="3190">
                  <c:v>2022/2/21</c:v>
                </c:pt>
                <c:pt idx="3191">
                  <c:v>2022/2/22</c:v>
                </c:pt>
                <c:pt idx="3192">
                  <c:v>2022/2/23</c:v>
                </c:pt>
                <c:pt idx="3193">
                  <c:v>2022/2/24</c:v>
                </c:pt>
                <c:pt idx="3194">
                  <c:v>2022/2/25</c:v>
                </c:pt>
                <c:pt idx="3195">
                  <c:v>2022/2/28</c:v>
                </c:pt>
                <c:pt idx="3196">
                  <c:v>2022/3/1</c:v>
                </c:pt>
                <c:pt idx="3197">
                  <c:v>2022/3/2</c:v>
                </c:pt>
                <c:pt idx="3198">
                  <c:v>2022/3/3</c:v>
                </c:pt>
                <c:pt idx="3199">
                  <c:v>2022/3/4</c:v>
                </c:pt>
                <c:pt idx="3200">
                  <c:v>2022/3/7</c:v>
                </c:pt>
                <c:pt idx="3201">
                  <c:v>2022/3/8</c:v>
                </c:pt>
                <c:pt idx="3202">
                  <c:v>2022/3/9</c:v>
                </c:pt>
                <c:pt idx="3203">
                  <c:v>2022/3/10</c:v>
                </c:pt>
                <c:pt idx="3204">
                  <c:v>2022/3/11</c:v>
                </c:pt>
                <c:pt idx="3205">
                  <c:v>2022/3/14</c:v>
                </c:pt>
                <c:pt idx="3206">
                  <c:v>2022/3/15</c:v>
                </c:pt>
                <c:pt idx="3207">
                  <c:v>2022/3/16</c:v>
                </c:pt>
                <c:pt idx="3208">
                  <c:v>2022/3/17</c:v>
                </c:pt>
                <c:pt idx="3209">
                  <c:v>2022/3/18</c:v>
                </c:pt>
                <c:pt idx="3210">
                  <c:v>2022/3/21</c:v>
                </c:pt>
                <c:pt idx="3211">
                  <c:v>2022/3/22</c:v>
                </c:pt>
                <c:pt idx="3212">
                  <c:v>2022/3/23</c:v>
                </c:pt>
                <c:pt idx="3213">
                  <c:v>2022/3/24</c:v>
                </c:pt>
                <c:pt idx="3214">
                  <c:v>2022/3/25</c:v>
                </c:pt>
                <c:pt idx="3215">
                  <c:v>2022/3/28</c:v>
                </c:pt>
                <c:pt idx="3216">
                  <c:v>2022/3/29</c:v>
                </c:pt>
                <c:pt idx="3217">
                  <c:v>2022/3/30</c:v>
                </c:pt>
                <c:pt idx="3218">
                  <c:v>2022/3/31</c:v>
                </c:pt>
                <c:pt idx="3219">
                  <c:v>2022/4/1</c:v>
                </c:pt>
                <c:pt idx="3220">
                  <c:v>2022/4/6</c:v>
                </c:pt>
                <c:pt idx="3221">
                  <c:v>2022/4/7</c:v>
                </c:pt>
                <c:pt idx="3222">
                  <c:v>2022/4/8</c:v>
                </c:pt>
              </c:strCache>
            </c:strRef>
          </c:cat>
          <c:val>
            <c:numRef>
              <c:f>Sheet1!$F$2:$F$3224</c:f>
              <c:numCache>
                <c:formatCode>General</c:formatCode>
                <c:ptCount val="3223"/>
                <c:pt idx="0">
                  <c:v>1000000</c:v>
                </c:pt>
                <c:pt idx="1">
                  <c:v>1000000</c:v>
                </c:pt>
                <c:pt idx="2">
                  <c:v>1000000</c:v>
                </c:pt>
                <c:pt idx="3">
                  <c:v>1000000</c:v>
                </c:pt>
                <c:pt idx="4">
                  <c:v>1000000</c:v>
                </c:pt>
                <c:pt idx="5">
                  <c:v>1000000</c:v>
                </c:pt>
                <c:pt idx="6">
                  <c:v>1000000</c:v>
                </c:pt>
                <c:pt idx="7">
                  <c:v>1000000</c:v>
                </c:pt>
                <c:pt idx="8">
                  <c:v>1000000</c:v>
                </c:pt>
                <c:pt idx="9">
                  <c:v>1000000</c:v>
                </c:pt>
                <c:pt idx="10">
                  <c:v>1000000</c:v>
                </c:pt>
                <c:pt idx="11">
                  <c:v>1000000</c:v>
                </c:pt>
                <c:pt idx="12">
                  <c:v>1000000</c:v>
                </c:pt>
                <c:pt idx="13">
                  <c:v>1000000</c:v>
                </c:pt>
                <c:pt idx="14">
                  <c:v>1000000</c:v>
                </c:pt>
                <c:pt idx="15">
                  <c:v>1000000</c:v>
                </c:pt>
                <c:pt idx="16">
                  <c:v>1000000</c:v>
                </c:pt>
                <c:pt idx="17">
                  <c:v>1000000</c:v>
                </c:pt>
                <c:pt idx="18">
                  <c:v>1000000</c:v>
                </c:pt>
                <c:pt idx="19">
                  <c:v>999910.50879999995</c:v>
                </c:pt>
                <c:pt idx="20">
                  <c:v>1023666.5088</c:v>
                </c:pt>
                <c:pt idx="21">
                  <c:v>1035702.5088</c:v>
                </c:pt>
                <c:pt idx="22">
                  <c:v>1037454.5088</c:v>
                </c:pt>
                <c:pt idx="23">
                  <c:v>1032334.5088</c:v>
                </c:pt>
                <c:pt idx="24">
                  <c:v>1064626.5088</c:v>
                </c:pt>
                <c:pt idx="25">
                  <c:v>1089898.5088</c:v>
                </c:pt>
                <c:pt idx="26">
                  <c:v>1059114.5088</c:v>
                </c:pt>
                <c:pt idx="27">
                  <c:v>1015334.5088</c:v>
                </c:pt>
                <c:pt idx="28">
                  <c:v>1024362.5088</c:v>
                </c:pt>
                <c:pt idx="29">
                  <c:v>1042726.5088</c:v>
                </c:pt>
                <c:pt idx="30">
                  <c:v>1069190.5088</c:v>
                </c:pt>
                <c:pt idx="31">
                  <c:v>1025738.5088</c:v>
                </c:pt>
                <c:pt idx="32">
                  <c:v>1026698.5088</c:v>
                </c:pt>
                <c:pt idx="33">
                  <c:v>981074.50879999984</c:v>
                </c:pt>
                <c:pt idx="34">
                  <c:v>961194.50879999972</c:v>
                </c:pt>
                <c:pt idx="35">
                  <c:v>970866.50879999984</c:v>
                </c:pt>
                <c:pt idx="36">
                  <c:v>961858.50879999984</c:v>
                </c:pt>
                <c:pt idx="37">
                  <c:v>1019058.5088</c:v>
                </c:pt>
                <c:pt idx="38">
                  <c:v>1026966.5088</c:v>
                </c:pt>
                <c:pt idx="39">
                  <c:v>1019630.5088</c:v>
                </c:pt>
                <c:pt idx="40">
                  <c:v>986010.50879999995</c:v>
                </c:pt>
                <c:pt idx="41">
                  <c:v>1001310.5088</c:v>
                </c:pt>
                <c:pt idx="42">
                  <c:v>993150.50879999984</c:v>
                </c:pt>
                <c:pt idx="43">
                  <c:v>991278.50879999972</c:v>
                </c:pt>
                <c:pt idx="44">
                  <c:v>987166.50879999984</c:v>
                </c:pt>
                <c:pt idx="45">
                  <c:v>1001642.5088</c:v>
                </c:pt>
                <c:pt idx="46">
                  <c:v>1033958.5088</c:v>
                </c:pt>
                <c:pt idx="47">
                  <c:v>1038058.5088</c:v>
                </c:pt>
                <c:pt idx="48">
                  <c:v>1058022.5088</c:v>
                </c:pt>
                <c:pt idx="49">
                  <c:v>1056934.5088</c:v>
                </c:pt>
                <c:pt idx="50">
                  <c:v>1080758.5088</c:v>
                </c:pt>
                <c:pt idx="51">
                  <c:v>1085710.5088</c:v>
                </c:pt>
                <c:pt idx="52">
                  <c:v>1065530.5088</c:v>
                </c:pt>
                <c:pt idx="53">
                  <c:v>1096914.5088</c:v>
                </c:pt>
                <c:pt idx="54">
                  <c:v>1104570.5088</c:v>
                </c:pt>
                <c:pt idx="55">
                  <c:v>1098794.5088</c:v>
                </c:pt>
                <c:pt idx="56">
                  <c:v>1108114.5088</c:v>
                </c:pt>
                <c:pt idx="57">
                  <c:v>1124286.5088</c:v>
                </c:pt>
                <c:pt idx="58">
                  <c:v>1135558.5088</c:v>
                </c:pt>
                <c:pt idx="59">
                  <c:v>1133198.5088</c:v>
                </c:pt>
                <c:pt idx="60">
                  <c:v>1135778.5088</c:v>
                </c:pt>
                <c:pt idx="61">
                  <c:v>1096738.5088</c:v>
                </c:pt>
                <c:pt idx="62">
                  <c:v>1112066.5088</c:v>
                </c:pt>
                <c:pt idx="63">
                  <c:v>1143210.5088</c:v>
                </c:pt>
                <c:pt idx="64">
                  <c:v>1167606.5088</c:v>
                </c:pt>
                <c:pt idx="65">
                  <c:v>1175746.5088</c:v>
                </c:pt>
                <c:pt idx="66">
                  <c:v>1179794.5088</c:v>
                </c:pt>
                <c:pt idx="67">
                  <c:v>1179842.5088</c:v>
                </c:pt>
                <c:pt idx="68">
                  <c:v>1165274.5088</c:v>
                </c:pt>
                <c:pt idx="69">
                  <c:v>1188066.5088</c:v>
                </c:pt>
                <c:pt idx="70">
                  <c:v>1175174.5088</c:v>
                </c:pt>
                <c:pt idx="71">
                  <c:v>1135510.5088</c:v>
                </c:pt>
                <c:pt idx="72">
                  <c:v>1142422.5088</c:v>
                </c:pt>
                <c:pt idx="73">
                  <c:v>1134154.5088</c:v>
                </c:pt>
                <c:pt idx="74">
                  <c:v>1110314.5088</c:v>
                </c:pt>
                <c:pt idx="75">
                  <c:v>1112410.5088</c:v>
                </c:pt>
                <c:pt idx="76">
                  <c:v>1147146.5088</c:v>
                </c:pt>
                <c:pt idx="77">
                  <c:v>1154170.5088</c:v>
                </c:pt>
                <c:pt idx="78">
                  <c:v>1190718.5088</c:v>
                </c:pt>
                <c:pt idx="79">
                  <c:v>1195802.5088</c:v>
                </c:pt>
                <c:pt idx="80">
                  <c:v>1210990.5088</c:v>
                </c:pt>
                <c:pt idx="81">
                  <c:v>1211830.5088</c:v>
                </c:pt>
                <c:pt idx="82">
                  <c:v>1220686.5088</c:v>
                </c:pt>
                <c:pt idx="83">
                  <c:v>1195126.5088</c:v>
                </c:pt>
                <c:pt idx="84">
                  <c:v>1220422.5088</c:v>
                </c:pt>
                <c:pt idx="85">
                  <c:v>1230602.5088</c:v>
                </c:pt>
                <c:pt idx="86">
                  <c:v>1222038.5088</c:v>
                </c:pt>
                <c:pt idx="87">
                  <c:v>1223446.5088</c:v>
                </c:pt>
                <c:pt idx="88">
                  <c:v>1229226.5088</c:v>
                </c:pt>
                <c:pt idx="89">
                  <c:v>1241030.5088</c:v>
                </c:pt>
                <c:pt idx="90">
                  <c:v>1230146.5088</c:v>
                </c:pt>
                <c:pt idx="91">
                  <c:v>1205002.5088</c:v>
                </c:pt>
                <c:pt idx="92">
                  <c:v>1201270.5088</c:v>
                </c:pt>
                <c:pt idx="93">
                  <c:v>1206086.5088</c:v>
                </c:pt>
                <c:pt idx="94">
                  <c:v>1192902.5088</c:v>
                </c:pt>
                <c:pt idx="95">
                  <c:v>1208882.5088</c:v>
                </c:pt>
                <c:pt idx="96">
                  <c:v>1248334.5088</c:v>
                </c:pt>
                <c:pt idx="97">
                  <c:v>1251038.5088</c:v>
                </c:pt>
                <c:pt idx="98">
                  <c:v>1280754.5088</c:v>
                </c:pt>
                <c:pt idx="99">
                  <c:v>1286498.5088</c:v>
                </c:pt>
                <c:pt idx="100">
                  <c:v>1280722.5088</c:v>
                </c:pt>
                <c:pt idx="101">
                  <c:v>1284390.5088</c:v>
                </c:pt>
                <c:pt idx="102">
                  <c:v>1289222.5088</c:v>
                </c:pt>
                <c:pt idx="103">
                  <c:v>1300838.5088</c:v>
                </c:pt>
                <c:pt idx="104">
                  <c:v>1289650.5088</c:v>
                </c:pt>
                <c:pt idx="105">
                  <c:v>1267514.5088</c:v>
                </c:pt>
                <c:pt idx="106">
                  <c:v>1291474.5088</c:v>
                </c:pt>
                <c:pt idx="107">
                  <c:v>1289486.5088</c:v>
                </c:pt>
                <c:pt idx="108">
                  <c:v>1309234.5088</c:v>
                </c:pt>
                <c:pt idx="109">
                  <c:v>1327970.5088</c:v>
                </c:pt>
                <c:pt idx="110">
                  <c:v>1336998.5088</c:v>
                </c:pt>
                <c:pt idx="111">
                  <c:v>1338022.5088</c:v>
                </c:pt>
                <c:pt idx="112">
                  <c:v>1338558.5088</c:v>
                </c:pt>
                <c:pt idx="113">
                  <c:v>1353290.5088</c:v>
                </c:pt>
                <c:pt idx="114">
                  <c:v>1352166.5088</c:v>
                </c:pt>
                <c:pt idx="115">
                  <c:v>1356366.5088</c:v>
                </c:pt>
                <c:pt idx="116">
                  <c:v>1376986.5088</c:v>
                </c:pt>
                <c:pt idx="117">
                  <c:v>1371586.5088</c:v>
                </c:pt>
                <c:pt idx="118">
                  <c:v>1400158.5088</c:v>
                </c:pt>
                <c:pt idx="119">
                  <c:v>1417942.5088</c:v>
                </c:pt>
                <c:pt idx="120">
                  <c:v>1435854.5088</c:v>
                </c:pt>
                <c:pt idx="121">
                  <c:v>1454898.5088</c:v>
                </c:pt>
                <c:pt idx="122">
                  <c:v>1441194.5088</c:v>
                </c:pt>
                <c:pt idx="123">
                  <c:v>1445906.5088</c:v>
                </c:pt>
                <c:pt idx="124">
                  <c:v>1463518.5088</c:v>
                </c:pt>
                <c:pt idx="125">
                  <c:v>1464322.5088</c:v>
                </c:pt>
                <c:pt idx="126">
                  <c:v>1449402.5088</c:v>
                </c:pt>
                <c:pt idx="127">
                  <c:v>1486898.5088</c:v>
                </c:pt>
                <c:pt idx="128">
                  <c:v>1502322.5088</c:v>
                </c:pt>
                <c:pt idx="129">
                  <c:v>1505494.5088</c:v>
                </c:pt>
                <c:pt idx="130">
                  <c:v>1512922.5088</c:v>
                </c:pt>
                <c:pt idx="131">
                  <c:v>1541446.5088</c:v>
                </c:pt>
                <c:pt idx="132">
                  <c:v>1520930.5088</c:v>
                </c:pt>
                <c:pt idx="133">
                  <c:v>1547766.5088</c:v>
                </c:pt>
                <c:pt idx="134">
                  <c:v>1565786.5088</c:v>
                </c:pt>
                <c:pt idx="135">
                  <c:v>1572022.5088</c:v>
                </c:pt>
                <c:pt idx="136">
                  <c:v>1602450.5088</c:v>
                </c:pt>
                <c:pt idx="137">
                  <c:v>1607326.5088</c:v>
                </c:pt>
                <c:pt idx="138">
                  <c:v>1528402.5088</c:v>
                </c:pt>
                <c:pt idx="139">
                  <c:v>1558926.5088</c:v>
                </c:pt>
                <c:pt idx="140">
                  <c:v>1598846.5088</c:v>
                </c:pt>
                <c:pt idx="141">
                  <c:v>1619810.5088</c:v>
                </c:pt>
                <c:pt idx="142">
                  <c:v>1619646.5088</c:v>
                </c:pt>
                <c:pt idx="143">
                  <c:v>1601374.5088</c:v>
                </c:pt>
                <c:pt idx="144">
                  <c:v>1570246.5088</c:v>
                </c:pt>
                <c:pt idx="145">
                  <c:v>1527038.5088</c:v>
                </c:pt>
                <c:pt idx="146">
                  <c:v>1522814.5088</c:v>
                </c:pt>
                <c:pt idx="147">
                  <c:v>1527550.5088</c:v>
                </c:pt>
                <c:pt idx="148">
                  <c:v>1463958.5088</c:v>
                </c:pt>
                <c:pt idx="149">
                  <c:v>1481326.5088</c:v>
                </c:pt>
                <c:pt idx="150">
                  <c:v>1442782.5088</c:v>
                </c:pt>
                <c:pt idx="151">
                  <c:v>1361106.5088</c:v>
                </c:pt>
                <c:pt idx="152">
                  <c:v>1373794.5088</c:v>
                </c:pt>
                <c:pt idx="153">
                  <c:v>1310826.5088</c:v>
                </c:pt>
                <c:pt idx="154">
                  <c:v>1362754.5088</c:v>
                </c:pt>
                <c:pt idx="155">
                  <c:v>1386446.5088</c:v>
                </c:pt>
                <c:pt idx="156">
                  <c:v>1396838.5088</c:v>
                </c:pt>
                <c:pt idx="157">
                  <c:v>1348930.5088</c:v>
                </c:pt>
                <c:pt idx="158">
                  <c:v>1373954.5088</c:v>
                </c:pt>
                <c:pt idx="159">
                  <c:v>1367518.5088</c:v>
                </c:pt>
                <c:pt idx="160">
                  <c:v>1323710.5088</c:v>
                </c:pt>
                <c:pt idx="161">
                  <c:v>1237106.5088</c:v>
                </c:pt>
                <c:pt idx="162">
                  <c:v>1242478.5088</c:v>
                </c:pt>
                <c:pt idx="163">
                  <c:v>1261370.5088</c:v>
                </c:pt>
                <c:pt idx="164">
                  <c:v>1325782.5088</c:v>
                </c:pt>
                <c:pt idx="165">
                  <c:v>1335854.5088</c:v>
                </c:pt>
                <c:pt idx="166">
                  <c:v>1346682.5088</c:v>
                </c:pt>
                <c:pt idx="167">
                  <c:v>1373386.5088</c:v>
                </c:pt>
                <c:pt idx="168">
                  <c:v>1382962.5088</c:v>
                </c:pt>
                <c:pt idx="169">
                  <c:v>1370162.5088</c:v>
                </c:pt>
                <c:pt idx="170">
                  <c:v>1400250.5088</c:v>
                </c:pt>
                <c:pt idx="171">
                  <c:v>1422354.5088</c:v>
                </c:pt>
                <c:pt idx="172">
                  <c:v>1426054.5088</c:v>
                </c:pt>
                <c:pt idx="173">
                  <c:v>1408294.5088</c:v>
                </c:pt>
                <c:pt idx="174">
                  <c:v>1433038.5088</c:v>
                </c:pt>
                <c:pt idx="175">
                  <c:v>1384874.5088</c:v>
                </c:pt>
                <c:pt idx="176">
                  <c:v>1388438.5088</c:v>
                </c:pt>
                <c:pt idx="177">
                  <c:v>1357410.5088</c:v>
                </c:pt>
                <c:pt idx="178">
                  <c:v>1329026.5088</c:v>
                </c:pt>
                <c:pt idx="179">
                  <c:v>1337370.5088</c:v>
                </c:pt>
                <c:pt idx="180">
                  <c:v>1328410.5088</c:v>
                </c:pt>
                <c:pt idx="181">
                  <c:v>1294054.5088</c:v>
                </c:pt>
                <c:pt idx="182">
                  <c:v>1293914.5088</c:v>
                </c:pt>
                <c:pt idx="183">
                  <c:v>1306922.5088</c:v>
                </c:pt>
                <c:pt idx="184">
                  <c:v>1370482.5088</c:v>
                </c:pt>
                <c:pt idx="185">
                  <c:v>1365650.5088</c:v>
                </c:pt>
                <c:pt idx="186">
                  <c:v>1384406.5088</c:v>
                </c:pt>
                <c:pt idx="187">
                  <c:v>1395958.5088</c:v>
                </c:pt>
                <c:pt idx="188">
                  <c:v>1400854.5088</c:v>
                </c:pt>
                <c:pt idx="189">
                  <c:v>1401682.5088</c:v>
                </c:pt>
                <c:pt idx="190">
                  <c:v>1436662.5088</c:v>
                </c:pt>
                <c:pt idx="191">
                  <c:v>1456026.5088</c:v>
                </c:pt>
                <c:pt idx="192">
                  <c:v>1452714.5088</c:v>
                </c:pt>
                <c:pt idx="193">
                  <c:v>1443926.5088</c:v>
                </c:pt>
                <c:pt idx="194">
                  <c:v>1470298.5088</c:v>
                </c:pt>
                <c:pt idx="195">
                  <c:v>1470694.5088</c:v>
                </c:pt>
                <c:pt idx="196">
                  <c:v>1430886.5088</c:v>
                </c:pt>
                <c:pt idx="197">
                  <c:v>1436730.5088</c:v>
                </c:pt>
                <c:pt idx="198">
                  <c:v>1403818.5088</c:v>
                </c:pt>
                <c:pt idx="199">
                  <c:v>1417146.5088</c:v>
                </c:pt>
                <c:pt idx="200">
                  <c:v>1462118.5088</c:v>
                </c:pt>
                <c:pt idx="201">
                  <c:v>1479170.5088</c:v>
                </c:pt>
                <c:pt idx="202">
                  <c:v>1486554.5088</c:v>
                </c:pt>
                <c:pt idx="203">
                  <c:v>1490726.5088</c:v>
                </c:pt>
                <c:pt idx="204">
                  <c:v>1498206.5088</c:v>
                </c:pt>
                <c:pt idx="205">
                  <c:v>1503314.5088</c:v>
                </c:pt>
                <c:pt idx="206">
                  <c:v>1506510.5088</c:v>
                </c:pt>
                <c:pt idx="207">
                  <c:v>1503266.5088</c:v>
                </c:pt>
                <c:pt idx="208">
                  <c:v>1504994.5088</c:v>
                </c:pt>
                <c:pt idx="209">
                  <c:v>1512486.5088</c:v>
                </c:pt>
                <c:pt idx="210">
                  <c:v>1555318.5088</c:v>
                </c:pt>
                <c:pt idx="211">
                  <c:v>1556338.5088</c:v>
                </c:pt>
                <c:pt idx="212">
                  <c:v>1557090.5088</c:v>
                </c:pt>
                <c:pt idx="213">
                  <c:v>1561974.5088</c:v>
                </c:pt>
                <c:pt idx="214">
                  <c:v>1557402.5088</c:v>
                </c:pt>
                <c:pt idx="215">
                  <c:v>1571202.5088</c:v>
                </c:pt>
                <c:pt idx="216">
                  <c:v>1524230.5088</c:v>
                </c:pt>
                <c:pt idx="217">
                  <c:v>1556850.5088</c:v>
                </c:pt>
                <c:pt idx="218">
                  <c:v>1499306.5088</c:v>
                </c:pt>
                <c:pt idx="219">
                  <c:v>1458002.5088</c:v>
                </c:pt>
                <c:pt idx="220">
                  <c:v>1509666.5088</c:v>
                </c:pt>
                <c:pt idx="221">
                  <c:v>1529330.5088</c:v>
                </c:pt>
                <c:pt idx="222">
                  <c:v>1543930.5088</c:v>
                </c:pt>
                <c:pt idx="223">
                  <c:v>1541350.5088</c:v>
                </c:pt>
                <c:pt idx="224">
                  <c:v>1562394.5088</c:v>
                </c:pt>
                <c:pt idx="225">
                  <c:v>1572530.5088</c:v>
                </c:pt>
                <c:pt idx="226">
                  <c:v>1554606.5088</c:v>
                </c:pt>
                <c:pt idx="227">
                  <c:v>1526790.5088</c:v>
                </c:pt>
                <c:pt idx="228">
                  <c:v>1535751.4191999999</c:v>
                </c:pt>
                <c:pt idx="229">
                  <c:v>1535751.4191999999</c:v>
                </c:pt>
                <c:pt idx="230">
                  <c:v>1535751.4191999999</c:v>
                </c:pt>
                <c:pt idx="231">
                  <c:v>1535751.4191999999</c:v>
                </c:pt>
                <c:pt idx="232">
                  <c:v>1535751.4191999999</c:v>
                </c:pt>
                <c:pt idx="233">
                  <c:v>1535751.4191999999</c:v>
                </c:pt>
                <c:pt idx="234">
                  <c:v>1535751.4191999999</c:v>
                </c:pt>
                <c:pt idx="235">
                  <c:v>1535751.4191999999</c:v>
                </c:pt>
                <c:pt idx="236">
                  <c:v>1535751.4191999999</c:v>
                </c:pt>
                <c:pt idx="237">
                  <c:v>1535751.4191999999</c:v>
                </c:pt>
                <c:pt idx="238">
                  <c:v>1535751.4191999999</c:v>
                </c:pt>
                <c:pt idx="239">
                  <c:v>1535751.4191999999</c:v>
                </c:pt>
                <c:pt idx="240">
                  <c:v>1535751.4191999999</c:v>
                </c:pt>
                <c:pt idx="241">
                  <c:v>1535751.4191999999</c:v>
                </c:pt>
                <c:pt idx="242">
                  <c:v>1535751.4191999999</c:v>
                </c:pt>
                <c:pt idx="243">
                  <c:v>1535751.4191999999</c:v>
                </c:pt>
                <c:pt idx="244">
                  <c:v>1535751.4191999999</c:v>
                </c:pt>
                <c:pt idx="245">
                  <c:v>1535751.4191999999</c:v>
                </c:pt>
                <c:pt idx="246">
                  <c:v>1535751.4191999999</c:v>
                </c:pt>
                <c:pt idx="247">
                  <c:v>1535751.4191999999</c:v>
                </c:pt>
                <c:pt idx="248">
                  <c:v>1535751.4191999999</c:v>
                </c:pt>
                <c:pt idx="249">
                  <c:v>1535751.4191999999</c:v>
                </c:pt>
                <c:pt idx="250">
                  <c:v>1535751.4191999999</c:v>
                </c:pt>
                <c:pt idx="251">
                  <c:v>1535751.4191999999</c:v>
                </c:pt>
                <c:pt idx="252">
                  <c:v>1535751.4191999999</c:v>
                </c:pt>
                <c:pt idx="253">
                  <c:v>1535751.4191999999</c:v>
                </c:pt>
                <c:pt idx="254">
                  <c:v>1535751.4191999999</c:v>
                </c:pt>
                <c:pt idx="255">
                  <c:v>1535751.4191999999</c:v>
                </c:pt>
                <c:pt idx="256">
                  <c:v>1535751.4191999999</c:v>
                </c:pt>
                <c:pt idx="257">
                  <c:v>1535751.4191999999</c:v>
                </c:pt>
                <c:pt idx="258">
                  <c:v>1535751.4191999999</c:v>
                </c:pt>
                <c:pt idx="259">
                  <c:v>1535751.4191999999</c:v>
                </c:pt>
                <c:pt idx="260">
                  <c:v>1535751.4191999999</c:v>
                </c:pt>
                <c:pt idx="261">
                  <c:v>1535751.4191999999</c:v>
                </c:pt>
                <c:pt idx="262">
                  <c:v>1535751.4191999999</c:v>
                </c:pt>
                <c:pt idx="263">
                  <c:v>1535751.4191999999</c:v>
                </c:pt>
                <c:pt idx="264">
                  <c:v>1535751.4191999999</c:v>
                </c:pt>
                <c:pt idx="265">
                  <c:v>1535751.4191999999</c:v>
                </c:pt>
                <c:pt idx="266">
                  <c:v>1535751.4191999999</c:v>
                </c:pt>
                <c:pt idx="267">
                  <c:v>1535751.4191999999</c:v>
                </c:pt>
                <c:pt idx="268">
                  <c:v>1535751.4191999999</c:v>
                </c:pt>
                <c:pt idx="269">
                  <c:v>1535751.4191999999</c:v>
                </c:pt>
                <c:pt idx="270">
                  <c:v>1535751.4191999999</c:v>
                </c:pt>
                <c:pt idx="271">
                  <c:v>1535751.4191999999</c:v>
                </c:pt>
                <c:pt idx="272">
                  <c:v>1535751.4191999999</c:v>
                </c:pt>
                <c:pt idx="273">
                  <c:v>1535751.4191999999</c:v>
                </c:pt>
                <c:pt idx="274">
                  <c:v>1535751.4191999999</c:v>
                </c:pt>
                <c:pt idx="275">
                  <c:v>1535751.4191999999</c:v>
                </c:pt>
                <c:pt idx="276">
                  <c:v>1535751.4191999999</c:v>
                </c:pt>
                <c:pt idx="277">
                  <c:v>1535751.4191999999</c:v>
                </c:pt>
                <c:pt idx="278">
                  <c:v>1535751.4191999999</c:v>
                </c:pt>
                <c:pt idx="279">
                  <c:v>1535751.4191999999</c:v>
                </c:pt>
                <c:pt idx="280">
                  <c:v>1535751.4191999999</c:v>
                </c:pt>
                <c:pt idx="281">
                  <c:v>1535751.4191999999</c:v>
                </c:pt>
                <c:pt idx="282">
                  <c:v>1535751.4191999999</c:v>
                </c:pt>
                <c:pt idx="283">
                  <c:v>1535751.4191999999</c:v>
                </c:pt>
                <c:pt idx="284">
                  <c:v>1535751.4191999999</c:v>
                </c:pt>
                <c:pt idx="285">
                  <c:v>1535751.4191999999</c:v>
                </c:pt>
                <c:pt idx="286">
                  <c:v>1535751.4191999999</c:v>
                </c:pt>
                <c:pt idx="287">
                  <c:v>1535751.4191999999</c:v>
                </c:pt>
                <c:pt idx="288">
                  <c:v>1535751.4191999999</c:v>
                </c:pt>
                <c:pt idx="289">
                  <c:v>1535751.4191999999</c:v>
                </c:pt>
                <c:pt idx="290">
                  <c:v>1535751.4191999999</c:v>
                </c:pt>
                <c:pt idx="291">
                  <c:v>1535751.4191999999</c:v>
                </c:pt>
                <c:pt idx="292">
                  <c:v>1535751.4191999999</c:v>
                </c:pt>
                <c:pt idx="293">
                  <c:v>1535751.4191999999</c:v>
                </c:pt>
                <c:pt idx="294">
                  <c:v>1535751.4191999999</c:v>
                </c:pt>
                <c:pt idx="295">
                  <c:v>1535751.4191999999</c:v>
                </c:pt>
                <c:pt idx="296">
                  <c:v>1535751.4191999999</c:v>
                </c:pt>
                <c:pt idx="297">
                  <c:v>1535751.4191999999</c:v>
                </c:pt>
                <c:pt idx="298">
                  <c:v>1535751.4191999999</c:v>
                </c:pt>
                <c:pt idx="299">
                  <c:v>1535751.4191999999</c:v>
                </c:pt>
                <c:pt idx="300">
                  <c:v>1535751.4191999999</c:v>
                </c:pt>
                <c:pt idx="301">
                  <c:v>1535751.4191999999</c:v>
                </c:pt>
                <c:pt idx="302">
                  <c:v>1535751.4191999999</c:v>
                </c:pt>
                <c:pt idx="303">
                  <c:v>1535751.4191999999</c:v>
                </c:pt>
                <c:pt idx="304">
                  <c:v>1535751.4191999999</c:v>
                </c:pt>
                <c:pt idx="305">
                  <c:v>1535751.4191999999</c:v>
                </c:pt>
                <c:pt idx="306">
                  <c:v>1535751.4191999999</c:v>
                </c:pt>
                <c:pt idx="307">
                  <c:v>1535751.4191999999</c:v>
                </c:pt>
                <c:pt idx="308">
                  <c:v>1535751.4191999999</c:v>
                </c:pt>
                <c:pt idx="309">
                  <c:v>1535751.4191999999</c:v>
                </c:pt>
                <c:pt idx="310">
                  <c:v>1535751.4191999999</c:v>
                </c:pt>
                <c:pt idx="311">
                  <c:v>1535751.4191999999</c:v>
                </c:pt>
                <c:pt idx="312">
                  <c:v>1535751.4191999999</c:v>
                </c:pt>
                <c:pt idx="313">
                  <c:v>1535751.4191999999</c:v>
                </c:pt>
                <c:pt idx="314">
                  <c:v>1535751.4191999999</c:v>
                </c:pt>
                <c:pt idx="315">
                  <c:v>1535751.4191999999</c:v>
                </c:pt>
                <c:pt idx="316">
                  <c:v>1535751.4191999999</c:v>
                </c:pt>
                <c:pt idx="317">
                  <c:v>1535751.4191999999</c:v>
                </c:pt>
                <c:pt idx="318">
                  <c:v>1535751.4191999999</c:v>
                </c:pt>
                <c:pt idx="319">
                  <c:v>1535751.4191999999</c:v>
                </c:pt>
                <c:pt idx="320">
                  <c:v>1535751.4191999999</c:v>
                </c:pt>
                <c:pt idx="321">
                  <c:v>1535751.4191999999</c:v>
                </c:pt>
                <c:pt idx="322">
                  <c:v>1535751.4191999999</c:v>
                </c:pt>
                <c:pt idx="323">
                  <c:v>1535751.4191999999</c:v>
                </c:pt>
                <c:pt idx="324">
                  <c:v>1535751.4191999999</c:v>
                </c:pt>
                <c:pt idx="325">
                  <c:v>1535751.4191999999</c:v>
                </c:pt>
                <c:pt idx="326">
                  <c:v>1535751.4191999999</c:v>
                </c:pt>
                <c:pt idx="327">
                  <c:v>1535751.4191999999</c:v>
                </c:pt>
                <c:pt idx="328">
                  <c:v>1535751.4191999999</c:v>
                </c:pt>
                <c:pt idx="329">
                  <c:v>1535751.4191999999</c:v>
                </c:pt>
                <c:pt idx="330">
                  <c:v>1535751.4191999999</c:v>
                </c:pt>
                <c:pt idx="331">
                  <c:v>1535751.4191999999</c:v>
                </c:pt>
                <c:pt idx="332">
                  <c:v>1535751.4191999999</c:v>
                </c:pt>
                <c:pt idx="333">
                  <c:v>1535751.4191999999</c:v>
                </c:pt>
                <c:pt idx="334">
                  <c:v>1535751.4191999999</c:v>
                </c:pt>
                <c:pt idx="335">
                  <c:v>1535751.4191999999</c:v>
                </c:pt>
                <c:pt idx="336">
                  <c:v>1535751.4191999999</c:v>
                </c:pt>
                <c:pt idx="337">
                  <c:v>1535751.4191999999</c:v>
                </c:pt>
                <c:pt idx="338">
                  <c:v>1535751.4191999999</c:v>
                </c:pt>
                <c:pt idx="339">
                  <c:v>1535751.4191999999</c:v>
                </c:pt>
                <c:pt idx="340">
                  <c:v>1535751.4191999999</c:v>
                </c:pt>
                <c:pt idx="341">
                  <c:v>1535751.4191999999</c:v>
                </c:pt>
                <c:pt idx="342">
                  <c:v>1535751.4191999999</c:v>
                </c:pt>
                <c:pt idx="343">
                  <c:v>1535751.4191999999</c:v>
                </c:pt>
                <c:pt idx="344">
                  <c:v>1535751.4191999999</c:v>
                </c:pt>
                <c:pt idx="345">
                  <c:v>1535751.4191999999</c:v>
                </c:pt>
                <c:pt idx="346">
                  <c:v>1535751.4191999999</c:v>
                </c:pt>
                <c:pt idx="347">
                  <c:v>1535751.4191999999</c:v>
                </c:pt>
                <c:pt idx="348">
                  <c:v>1535751.4191999999</c:v>
                </c:pt>
                <c:pt idx="349">
                  <c:v>1535751.4191999999</c:v>
                </c:pt>
                <c:pt idx="350">
                  <c:v>1535751.4191999999</c:v>
                </c:pt>
                <c:pt idx="351">
                  <c:v>1535751.4191999999</c:v>
                </c:pt>
                <c:pt idx="352">
                  <c:v>1535751.4191999999</c:v>
                </c:pt>
                <c:pt idx="353">
                  <c:v>1535751.4191999999</c:v>
                </c:pt>
                <c:pt idx="354">
                  <c:v>1535751.4191999999</c:v>
                </c:pt>
                <c:pt idx="355">
                  <c:v>1535751.4191999999</c:v>
                </c:pt>
                <c:pt idx="356">
                  <c:v>1535751.4191999999</c:v>
                </c:pt>
                <c:pt idx="357">
                  <c:v>1535751.4191999999</c:v>
                </c:pt>
                <c:pt idx="358">
                  <c:v>1535751.4191999999</c:v>
                </c:pt>
                <c:pt idx="359">
                  <c:v>1535751.4191999999</c:v>
                </c:pt>
                <c:pt idx="360">
                  <c:v>1535751.4191999999</c:v>
                </c:pt>
                <c:pt idx="361">
                  <c:v>1535751.4191999999</c:v>
                </c:pt>
                <c:pt idx="362">
                  <c:v>1535751.4191999999</c:v>
                </c:pt>
                <c:pt idx="363">
                  <c:v>1535751.4191999999</c:v>
                </c:pt>
                <c:pt idx="364">
                  <c:v>1535751.4191999999</c:v>
                </c:pt>
                <c:pt idx="365">
                  <c:v>1535751.4191999999</c:v>
                </c:pt>
                <c:pt idx="366">
                  <c:v>1535751.4191999999</c:v>
                </c:pt>
                <c:pt idx="367">
                  <c:v>1535751.4191999999</c:v>
                </c:pt>
                <c:pt idx="368">
                  <c:v>1535751.4191999999</c:v>
                </c:pt>
                <c:pt idx="369">
                  <c:v>1535751.4191999999</c:v>
                </c:pt>
                <c:pt idx="370">
                  <c:v>1535751.4191999999</c:v>
                </c:pt>
                <c:pt idx="371">
                  <c:v>1535751.4191999999</c:v>
                </c:pt>
                <c:pt idx="372">
                  <c:v>1535751.4191999999</c:v>
                </c:pt>
                <c:pt idx="373">
                  <c:v>1535751.4191999999</c:v>
                </c:pt>
                <c:pt idx="374">
                  <c:v>1535751.4191999999</c:v>
                </c:pt>
                <c:pt idx="375">
                  <c:v>1535751.4191999999</c:v>
                </c:pt>
                <c:pt idx="376">
                  <c:v>1535751.4191999999</c:v>
                </c:pt>
                <c:pt idx="377">
                  <c:v>1535751.4191999999</c:v>
                </c:pt>
                <c:pt idx="378">
                  <c:v>1535751.4191999999</c:v>
                </c:pt>
                <c:pt idx="379">
                  <c:v>1535751.4191999999</c:v>
                </c:pt>
                <c:pt idx="380">
                  <c:v>1535751.4191999999</c:v>
                </c:pt>
                <c:pt idx="381">
                  <c:v>1535751.4191999999</c:v>
                </c:pt>
                <c:pt idx="382">
                  <c:v>1535751.4191999999</c:v>
                </c:pt>
                <c:pt idx="383">
                  <c:v>1535751.4191999999</c:v>
                </c:pt>
                <c:pt idx="384">
                  <c:v>1535751.4191999999</c:v>
                </c:pt>
                <c:pt idx="385">
                  <c:v>1535751.4191999999</c:v>
                </c:pt>
                <c:pt idx="386">
                  <c:v>1535751.4191999999</c:v>
                </c:pt>
                <c:pt idx="387">
                  <c:v>1535751.4191999999</c:v>
                </c:pt>
                <c:pt idx="388">
                  <c:v>1535751.4191999999</c:v>
                </c:pt>
                <c:pt idx="389">
                  <c:v>1535751.4191999999</c:v>
                </c:pt>
                <c:pt idx="390">
                  <c:v>1535751.4191999999</c:v>
                </c:pt>
                <c:pt idx="391">
                  <c:v>1535751.4191999999</c:v>
                </c:pt>
                <c:pt idx="392">
                  <c:v>1535751.4191999999</c:v>
                </c:pt>
                <c:pt idx="393">
                  <c:v>1535751.4191999999</c:v>
                </c:pt>
                <c:pt idx="394">
                  <c:v>1535751.4191999999</c:v>
                </c:pt>
                <c:pt idx="395">
                  <c:v>1535604.3047</c:v>
                </c:pt>
                <c:pt idx="396">
                  <c:v>1533139.3047</c:v>
                </c:pt>
                <c:pt idx="397">
                  <c:v>1542159.3047</c:v>
                </c:pt>
                <c:pt idx="398">
                  <c:v>1513624.3047</c:v>
                </c:pt>
                <c:pt idx="399">
                  <c:v>1512554.3047</c:v>
                </c:pt>
                <c:pt idx="400">
                  <c:v>1520374.3047</c:v>
                </c:pt>
                <c:pt idx="401">
                  <c:v>1485969.3047</c:v>
                </c:pt>
                <c:pt idx="402">
                  <c:v>1489504.3047</c:v>
                </c:pt>
                <c:pt idx="403">
                  <c:v>1493744.3047</c:v>
                </c:pt>
                <c:pt idx="404">
                  <c:v>1521964.3047</c:v>
                </c:pt>
                <c:pt idx="405">
                  <c:v>1516054.3047</c:v>
                </c:pt>
                <c:pt idx="406">
                  <c:v>1506479.3047</c:v>
                </c:pt>
                <c:pt idx="407">
                  <c:v>1525154.3047</c:v>
                </c:pt>
                <c:pt idx="408">
                  <c:v>1524564.3047</c:v>
                </c:pt>
                <c:pt idx="409">
                  <c:v>1552004.3047</c:v>
                </c:pt>
                <c:pt idx="410">
                  <c:v>1556014.3047</c:v>
                </c:pt>
                <c:pt idx="411">
                  <c:v>1554944.3047</c:v>
                </c:pt>
                <c:pt idx="412">
                  <c:v>1527689.3047</c:v>
                </c:pt>
                <c:pt idx="413">
                  <c:v>1530734.3047</c:v>
                </c:pt>
                <c:pt idx="414">
                  <c:v>1545619.3047</c:v>
                </c:pt>
                <c:pt idx="415">
                  <c:v>1546964.3047</c:v>
                </c:pt>
                <c:pt idx="416">
                  <c:v>1521054.3047</c:v>
                </c:pt>
                <c:pt idx="417">
                  <c:v>1493354.3047</c:v>
                </c:pt>
                <c:pt idx="418">
                  <c:v>1495144.3047</c:v>
                </c:pt>
                <c:pt idx="419">
                  <c:v>1489374.3047</c:v>
                </c:pt>
                <c:pt idx="420">
                  <c:v>1493199.3047</c:v>
                </c:pt>
                <c:pt idx="421">
                  <c:v>1516974.3047</c:v>
                </c:pt>
                <c:pt idx="422">
                  <c:v>1504914.3047</c:v>
                </c:pt>
                <c:pt idx="423">
                  <c:v>1501864.3047</c:v>
                </c:pt>
                <c:pt idx="424">
                  <c:v>1532244.3047</c:v>
                </c:pt>
                <c:pt idx="425">
                  <c:v>1586574.3047</c:v>
                </c:pt>
                <c:pt idx="426">
                  <c:v>1630909.3047</c:v>
                </c:pt>
                <c:pt idx="427">
                  <c:v>1650824.3047</c:v>
                </c:pt>
                <c:pt idx="428">
                  <c:v>1673249.3047</c:v>
                </c:pt>
                <c:pt idx="429">
                  <c:v>1676529.3047</c:v>
                </c:pt>
                <c:pt idx="430">
                  <c:v>1728299.3047</c:v>
                </c:pt>
                <c:pt idx="431">
                  <c:v>1717539.3047</c:v>
                </c:pt>
                <c:pt idx="432">
                  <c:v>1752294.3047</c:v>
                </c:pt>
                <c:pt idx="433">
                  <c:v>1762899.3047</c:v>
                </c:pt>
                <c:pt idx="434">
                  <c:v>1751804.3047</c:v>
                </c:pt>
                <c:pt idx="435">
                  <c:v>1753789.3047</c:v>
                </c:pt>
                <c:pt idx="436">
                  <c:v>1804999.3047</c:v>
                </c:pt>
                <c:pt idx="437">
                  <c:v>1797499.3047</c:v>
                </c:pt>
                <c:pt idx="438">
                  <c:v>1766394.3047</c:v>
                </c:pt>
                <c:pt idx="439">
                  <c:v>1763304.3047</c:v>
                </c:pt>
                <c:pt idx="440">
                  <c:v>1754449.3047</c:v>
                </c:pt>
                <c:pt idx="441">
                  <c:v>1800959.3047</c:v>
                </c:pt>
                <c:pt idx="442">
                  <c:v>1796024.3047</c:v>
                </c:pt>
                <c:pt idx="443">
                  <c:v>1774629.3047</c:v>
                </c:pt>
                <c:pt idx="444">
                  <c:v>1804714.3047</c:v>
                </c:pt>
                <c:pt idx="445">
                  <c:v>1824859.3047</c:v>
                </c:pt>
                <c:pt idx="446">
                  <c:v>1838744.3047</c:v>
                </c:pt>
                <c:pt idx="447">
                  <c:v>1826434.3047</c:v>
                </c:pt>
                <c:pt idx="448">
                  <c:v>1814014.3047</c:v>
                </c:pt>
                <c:pt idx="449">
                  <c:v>1819449.3047</c:v>
                </c:pt>
                <c:pt idx="450">
                  <c:v>1710374.3047</c:v>
                </c:pt>
                <c:pt idx="451">
                  <c:v>1721904.3047</c:v>
                </c:pt>
                <c:pt idx="452">
                  <c:v>1649229.3047</c:v>
                </c:pt>
                <c:pt idx="453">
                  <c:v>1616414.3047</c:v>
                </c:pt>
                <c:pt idx="454">
                  <c:v>1638439.3047</c:v>
                </c:pt>
                <c:pt idx="455">
                  <c:v>1653884.3047</c:v>
                </c:pt>
                <c:pt idx="456">
                  <c:v>1650429.3047</c:v>
                </c:pt>
                <c:pt idx="457">
                  <c:v>1618049.3047</c:v>
                </c:pt>
                <c:pt idx="458">
                  <c:v>1652979.3047</c:v>
                </c:pt>
                <c:pt idx="459">
                  <c:v>1676199.3047</c:v>
                </c:pt>
                <c:pt idx="460">
                  <c:v>1661884.3047</c:v>
                </c:pt>
                <c:pt idx="461">
                  <c:v>1659484.3047</c:v>
                </c:pt>
                <c:pt idx="462">
                  <c:v>1632954.3047</c:v>
                </c:pt>
                <c:pt idx="463">
                  <c:v>1632469.3047</c:v>
                </c:pt>
                <c:pt idx="464">
                  <c:v>1641989.3047</c:v>
                </c:pt>
                <c:pt idx="465">
                  <c:v>1643539.3047</c:v>
                </c:pt>
                <c:pt idx="466">
                  <c:v>1647244.3047</c:v>
                </c:pt>
                <c:pt idx="467">
                  <c:v>1664629.3047</c:v>
                </c:pt>
                <c:pt idx="468">
                  <c:v>1650399.3047</c:v>
                </c:pt>
                <c:pt idx="469">
                  <c:v>1626144.3047</c:v>
                </c:pt>
                <c:pt idx="470">
                  <c:v>1645449.3047</c:v>
                </c:pt>
                <c:pt idx="471">
                  <c:v>1694989.3047</c:v>
                </c:pt>
                <c:pt idx="472">
                  <c:v>1699194.3047</c:v>
                </c:pt>
                <c:pt idx="473">
                  <c:v>1688279.3047</c:v>
                </c:pt>
                <c:pt idx="474">
                  <c:v>1679794.3047</c:v>
                </c:pt>
                <c:pt idx="475">
                  <c:v>1677289.3047</c:v>
                </c:pt>
                <c:pt idx="476">
                  <c:v>1653789.3047</c:v>
                </c:pt>
                <c:pt idx="477">
                  <c:v>1689214.3047</c:v>
                </c:pt>
                <c:pt idx="478">
                  <c:v>1672184.3047</c:v>
                </c:pt>
                <c:pt idx="479">
                  <c:v>1658764.3047</c:v>
                </c:pt>
                <c:pt idx="480">
                  <c:v>1645781.1566999999</c:v>
                </c:pt>
                <c:pt idx="481">
                  <c:v>1645781.1566999999</c:v>
                </c:pt>
                <c:pt idx="482">
                  <c:v>1645781.1566999999</c:v>
                </c:pt>
                <c:pt idx="483">
                  <c:v>1645781.1566999999</c:v>
                </c:pt>
                <c:pt idx="484">
                  <c:v>1645781.1566999999</c:v>
                </c:pt>
                <c:pt idx="485">
                  <c:v>1645781.1566999999</c:v>
                </c:pt>
                <c:pt idx="486">
                  <c:v>1645781.1566999999</c:v>
                </c:pt>
                <c:pt idx="487">
                  <c:v>1645781.1566999999</c:v>
                </c:pt>
                <c:pt idx="488">
                  <c:v>1645781.1566999999</c:v>
                </c:pt>
                <c:pt idx="489">
                  <c:v>1645781.1566999999</c:v>
                </c:pt>
                <c:pt idx="490">
                  <c:v>1645781.1566999999</c:v>
                </c:pt>
                <c:pt idx="491">
                  <c:v>1645781.1566999999</c:v>
                </c:pt>
                <c:pt idx="492">
                  <c:v>1645781.1566999999</c:v>
                </c:pt>
                <c:pt idx="493">
                  <c:v>1645781.1566999999</c:v>
                </c:pt>
                <c:pt idx="494">
                  <c:v>1645781.1566999999</c:v>
                </c:pt>
                <c:pt idx="495">
                  <c:v>1645632.4391999999</c:v>
                </c:pt>
                <c:pt idx="496">
                  <c:v>1647282.4391999999</c:v>
                </c:pt>
                <c:pt idx="497">
                  <c:v>1680882.4391999999</c:v>
                </c:pt>
                <c:pt idx="498">
                  <c:v>1630812.4391999999</c:v>
                </c:pt>
                <c:pt idx="499">
                  <c:v>1650187.4391999999</c:v>
                </c:pt>
                <c:pt idx="500">
                  <c:v>1635572.4391999999</c:v>
                </c:pt>
                <c:pt idx="501">
                  <c:v>1627782.4391999999</c:v>
                </c:pt>
                <c:pt idx="502">
                  <c:v>1647672.4391999999</c:v>
                </c:pt>
                <c:pt idx="503">
                  <c:v>1671692.4391999999</c:v>
                </c:pt>
                <c:pt idx="504">
                  <c:v>1676827.4391999999</c:v>
                </c:pt>
                <c:pt idx="505">
                  <c:v>1696712.4391999999</c:v>
                </c:pt>
                <c:pt idx="506">
                  <c:v>1697097.4391999999</c:v>
                </c:pt>
                <c:pt idx="507">
                  <c:v>1678932.4391999999</c:v>
                </c:pt>
                <c:pt idx="508">
                  <c:v>1710537.4391999999</c:v>
                </c:pt>
                <c:pt idx="509">
                  <c:v>1718937.4391999999</c:v>
                </c:pt>
                <c:pt idx="510">
                  <c:v>1768027.4391999999</c:v>
                </c:pt>
                <c:pt idx="511">
                  <c:v>1767292.4391999999</c:v>
                </c:pt>
                <c:pt idx="512">
                  <c:v>1782722.4391999999</c:v>
                </c:pt>
                <c:pt idx="513">
                  <c:v>1781412.4391999999</c:v>
                </c:pt>
                <c:pt idx="514">
                  <c:v>1764397.4391999999</c:v>
                </c:pt>
                <c:pt idx="515">
                  <c:v>1787412.4391999999</c:v>
                </c:pt>
                <c:pt idx="516">
                  <c:v>1740247.4391999999</c:v>
                </c:pt>
                <c:pt idx="517">
                  <c:v>1745827.4391999999</c:v>
                </c:pt>
                <c:pt idx="518">
                  <c:v>1753927.4391999999</c:v>
                </c:pt>
                <c:pt idx="519">
                  <c:v>1757267.4391999999</c:v>
                </c:pt>
                <c:pt idx="520">
                  <c:v>1778237.4391999999</c:v>
                </c:pt>
                <c:pt idx="521">
                  <c:v>1785902.4391999999</c:v>
                </c:pt>
                <c:pt idx="522">
                  <c:v>1780107.4391999999</c:v>
                </c:pt>
                <c:pt idx="523">
                  <c:v>1769317.4391999999</c:v>
                </c:pt>
                <c:pt idx="524">
                  <c:v>1793792.4391999999</c:v>
                </c:pt>
                <c:pt idx="525">
                  <c:v>1825712.4391999999</c:v>
                </c:pt>
                <c:pt idx="526">
                  <c:v>1827187.4391999999</c:v>
                </c:pt>
                <c:pt idx="527">
                  <c:v>1827887.4391999999</c:v>
                </c:pt>
                <c:pt idx="528">
                  <c:v>1798587.4391999999</c:v>
                </c:pt>
                <c:pt idx="529">
                  <c:v>1782147.4391999999</c:v>
                </c:pt>
                <c:pt idx="530">
                  <c:v>1789917.4391999999</c:v>
                </c:pt>
                <c:pt idx="531">
                  <c:v>1760437.4391999999</c:v>
                </c:pt>
                <c:pt idx="532">
                  <c:v>1782557.4391999999</c:v>
                </c:pt>
                <c:pt idx="533">
                  <c:v>1757007.4391999999</c:v>
                </c:pt>
                <c:pt idx="534">
                  <c:v>1766302.4391999999</c:v>
                </c:pt>
                <c:pt idx="535">
                  <c:v>1762012.4391999999</c:v>
                </c:pt>
                <c:pt idx="536">
                  <c:v>1769937.4391999999</c:v>
                </c:pt>
                <c:pt idx="537">
                  <c:v>1790922.4391999999</c:v>
                </c:pt>
                <c:pt idx="538">
                  <c:v>1784137.4391999999</c:v>
                </c:pt>
                <c:pt idx="539">
                  <c:v>1805697.4391999999</c:v>
                </c:pt>
                <c:pt idx="540">
                  <c:v>1803742.4391999999</c:v>
                </c:pt>
                <c:pt idx="541">
                  <c:v>1787447.4391999999</c:v>
                </c:pt>
                <c:pt idx="542">
                  <c:v>1786497.4391999999</c:v>
                </c:pt>
                <c:pt idx="543">
                  <c:v>1770102.4391999999</c:v>
                </c:pt>
                <c:pt idx="544">
                  <c:v>1794822.4391999999</c:v>
                </c:pt>
                <c:pt idx="545">
                  <c:v>1813992.4391999999</c:v>
                </c:pt>
                <c:pt idx="546">
                  <c:v>1820667.4391999999</c:v>
                </c:pt>
                <c:pt idx="547">
                  <c:v>1835137.4391999999</c:v>
                </c:pt>
                <c:pt idx="548">
                  <c:v>1825172.4391999999</c:v>
                </c:pt>
                <c:pt idx="549">
                  <c:v>1821842.4391999999</c:v>
                </c:pt>
                <c:pt idx="550">
                  <c:v>1844472.4391999999</c:v>
                </c:pt>
                <c:pt idx="551">
                  <c:v>1835237.4391999999</c:v>
                </c:pt>
                <c:pt idx="552">
                  <c:v>1837927.4391999999</c:v>
                </c:pt>
                <c:pt idx="553">
                  <c:v>1838177.4391999999</c:v>
                </c:pt>
                <c:pt idx="554">
                  <c:v>1806362.4391999999</c:v>
                </c:pt>
                <c:pt idx="555">
                  <c:v>1806337.4391999999</c:v>
                </c:pt>
                <c:pt idx="556">
                  <c:v>1817142.4391999999</c:v>
                </c:pt>
                <c:pt idx="557">
                  <c:v>1808427.4391999999</c:v>
                </c:pt>
                <c:pt idx="558">
                  <c:v>1783242.4391999999</c:v>
                </c:pt>
                <c:pt idx="559">
                  <c:v>1773937.4391999999</c:v>
                </c:pt>
                <c:pt idx="560">
                  <c:v>1763207.4391999999</c:v>
                </c:pt>
                <c:pt idx="561">
                  <c:v>1739347.4391999999</c:v>
                </c:pt>
                <c:pt idx="562">
                  <c:v>1754817.4391999999</c:v>
                </c:pt>
                <c:pt idx="563">
                  <c:v>1764022.4391999999</c:v>
                </c:pt>
                <c:pt idx="564">
                  <c:v>1722972.4391999999</c:v>
                </c:pt>
                <c:pt idx="565">
                  <c:v>1721517.4391999999</c:v>
                </c:pt>
                <c:pt idx="566">
                  <c:v>1719157.4391999999</c:v>
                </c:pt>
                <c:pt idx="567">
                  <c:v>1723337.4391999999</c:v>
                </c:pt>
                <c:pt idx="568">
                  <c:v>1735067.4391999999</c:v>
                </c:pt>
                <c:pt idx="569">
                  <c:v>1731002.4391999999</c:v>
                </c:pt>
                <c:pt idx="570">
                  <c:v>1709257.4391999999</c:v>
                </c:pt>
                <c:pt idx="571">
                  <c:v>1722502.4391999999</c:v>
                </c:pt>
                <c:pt idx="572">
                  <c:v>1708687.4391999999</c:v>
                </c:pt>
                <c:pt idx="573">
                  <c:v>1716472.4391999999</c:v>
                </c:pt>
                <c:pt idx="574">
                  <c:v>1728147.4391999999</c:v>
                </c:pt>
                <c:pt idx="575">
                  <c:v>1718777.4391999999</c:v>
                </c:pt>
                <c:pt idx="576">
                  <c:v>1719257.4391999999</c:v>
                </c:pt>
                <c:pt idx="577">
                  <c:v>1669947.4391999999</c:v>
                </c:pt>
                <c:pt idx="578">
                  <c:v>1671567.4391999999</c:v>
                </c:pt>
                <c:pt idx="579">
                  <c:v>1653627.4391999999</c:v>
                </c:pt>
                <c:pt idx="580">
                  <c:v>1647647.4391999999</c:v>
                </c:pt>
                <c:pt idx="581">
                  <c:v>1640112.4391999999</c:v>
                </c:pt>
                <c:pt idx="582">
                  <c:v>1635712.4391999999</c:v>
                </c:pt>
                <c:pt idx="583">
                  <c:v>1659237.4391999999</c:v>
                </c:pt>
                <c:pt idx="584">
                  <c:v>1660542.4391999999</c:v>
                </c:pt>
                <c:pt idx="585">
                  <c:v>1636312.4391999999</c:v>
                </c:pt>
                <c:pt idx="586">
                  <c:v>1651632.4391999999</c:v>
                </c:pt>
                <c:pt idx="587">
                  <c:v>1660587.4391999999</c:v>
                </c:pt>
                <c:pt idx="588">
                  <c:v>1662782.4391999999</c:v>
                </c:pt>
                <c:pt idx="589">
                  <c:v>1634402.4391999999</c:v>
                </c:pt>
                <c:pt idx="590">
                  <c:v>1639422.4391999999</c:v>
                </c:pt>
                <c:pt idx="591">
                  <c:v>1633632.4391999999</c:v>
                </c:pt>
                <c:pt idx="592">
                  <c:v>1655237.4391999999</c:v>
                </c:pt>
                <c:pt idx="593">
                  <c:v>1640017.4391999999</c:v>
                </c:pt>
                <c:pt idx="594">
                  <c:v>1617247.4391999999</c:v>
                </c:pt>
                <c:pt idx="595">
                  <c:v>1604537.4391999999</c:v>
                </c:pt>
                <c:pt idx="596">
                  <c:v>1595907.4391999999</c:v>
                </c:pt>
                <c:pt idx="597">
                  <c:v>1612992.4391999999</c:v>
                </c:pt>
                <c:pt idx="598">
                  <c:v>1612747.4391999999</c:v>
                </c:pt>
                <c:pt idx="599">
                  <c:v>1637272.4391999999</c:v>
                </c:pt>
                <c:pt idx="600">
                  <c:v>1672192.4391999999</c:v>
                </c:pt>
                <c:pt idx="601">
                  <c:v>1676702.4391999999</c:v>
                </c:pt>
                <c:pt idx="602">
                  <c:v>1679322.4391999999</c:v>
                </c:pt>
                <c:pt idx="603">
                  <c:v>1658542.4391999999</c:v>
                </c:pt>
                <c:pt idx="604">
                  <c:v>1680502.4391999999</c:v>
                </c:pt>
                <c:pt idx="605">
                  <c:v>1683332.4391999999</c:v>
                </c:pt>
                <c:pt idx="606">
                  <c:v>1719447.4391999999</c:v>
                </c:pt>
                <c:pt idx="607">
                  <c:v>1719707.4391999999</c:v>
                </c:pt>
                <c:pt idx="608">
                  <c:v>1715312.4391999999</c:v>
                </c:pt>
                <c:pt idx="609">
                  <c:v>1709297.4391999999</c:v>
                </c:pt>
                <c:pt idx="610">
                  <c:v>1713047.4391999999</c:v>
                </c:pt>
                <c:pt idx="611">
                  <c:v>1715062.4391999999</c:v>
                </c:pt>
                <c:pt idx="612">
                  <c:v>1686912.4391999999</c:v>
                </c:pt>
                <c:pt idx="613">
                  <c:v>1711582.4391999999</c:v>
                </c:pt>
                <c:pt idx="614">
                  <c:v>1716332.4391999999</c:v>
                </c:pt>
                <c:pt idx="615">
                  <c:v>1722902.4391999999</c:v>
                </c:pt>
                <c:pt idx="616">
                  <c:v>1719757.4391999999</c:v>
                </c:pt>
                <c:pt idx="617">
                  <c:v>1706022.4391999999</c:v>
                </c:pt>
                <c:pt idx="618">
                  <c:v>1704242.4391999999</c:v>
                </c:pt>
                <c:pt idx="619">
                  <c:v>1688027.4391999999</c:v>
                </c:pt>
                <c:pt idx="620">
                  <c:v>1692452.4391999999</c:v>
                </c:pt>
                <c:pt idx="621">
                  <c:v>1642602.4391999999</c:v>
                </c:pt>
                <c:pt idx="622">
                  <c:v>1647193.5507</c:v>
                </c:pt>
                <c:pt idx="623">
                  <c:v>1647193.5507</c:v>
                </c:pt>
                <c:pt idx="624">
                  <c:v>1647193.5507</c:v>
                </c:pt>
                <c:pt idx="625">
                  <c:v>1647193.5507</c:v>
                </c:pt>
                <c:pt idx="626">
                  <c:v>1647193.5507</c:v>
                </c:pt>
                <c:pt idx="627">
                  <c:v>1647193.5507</c:v>
                </c:pt>
                <c:pt idx="628">
                  <c:v>1647193.5507</c:v>
                </c:pt>
                <c:pt idx="629">
                  <c:v>1647193.5507</c:v>
                </c:pt>
                <c:pt idx="630">
                  <c:v>1647193.5507</c:v>
                </c:pt>
                <c:pt idx="631">
                  <c:v>1647193.5507</c:v>
                </c:pt>
                <c:pt idx="632">
                  <c:v>1647193.5507</c:v>
                </c:pt>
                <c:pt idx="633">
                  <c:v>1647193.5507</c:v>
                </c:pt>
                <c:pt idx="634">
                  <c:v>1647193.5507</c:v>
                </c:pt>
                <c:pt idx="635">
                  <c:v>1647193.5507</c:v>
                </c:pt>
                <c:pt idx="636">
                  <c:v>1647193.5507</c:v>
                </c:pt>
                <c:pt idx="637">
                  <c:v>1647193.5507</c:v>
                </c:pt>
                <c:pt idx="638">
                  <c:v>1647193.5507</c:v>
                </c:pt>
                <c:pt idx="639">
                  <c:v>1647193.5507</c:v>
                </c:pt>
                <c:pt idx="640">
                  <c:v>1647193.5507</c:v>
                </c:pt>
                <c:pt idx="641">
                  <c:v>1647193.5507</c:v>
                </c:pt>
                <c:pt idx="642">
                  <c:v>1647193.5507</c:v>
                </c:pt>
                <c:pt idx="643">
                  <c:v>1647193.5507</c:v>
                </c:pt>
                <c:pt idx="644">
                  <c:v>1647193.5507</c:v>
                </c:pt>
                <c:pt idx="645">
                  <c:v>1647193.5507</c:v>
                </c:pt>
                <c:pt idx="646">
                  <c:v>1647193.5507</c:v>
                </c:pt>
                <c:pt idx="647">
                  <c:v>1647193.5507</c:v>
                </c:pt>
                <c:pt idx="648">
                  <c:v>1647193.5507</c:v>
                </c:pt>
                <c:pt idx="649">
                  <c:v>1647193.5507</c:v>
                </c:pt>
                <c:pt idx="650">
                  <c:v>1647193.5507</c:v>
                </c:pt>
                <c:pt idx="651">
                  <c:v>1647193.5507</c:v>
                </c:pt>
                <c:pt idx="652">
                  <c:v>1647193.5507</c:v>
                </c:pt>
                <c:pt idx="653">
                  <c:v>1647193.5507</c:v>
                </c:pt>
                <c:pt idx="654">
                  <c:v>1647193.5507</c:v>
                </c:pt>
                <c:pt idx="655">
                  <c:v>1647193.5507</c:v>
                </c:pt>
                <c:pt idx="656">
                  <c:v>1647193.5507</c:v>
                </c:pt>
                <c:pt idx="657">
                  <c:v>1647193.5507</c:v>
                </c:pt>
                <c:pt idx="658">
                  <c:v>1647193.5507</c:v>
                </c:pt>
                <c:pt idx="659">
                  <c:v>1647193.5507</c:v>
                </c:pt>
                <c:pt idx="660">
                  <c:v>1647193.5507</c:v>
                </c:pt>
                <c:pt idx="661">
                  <c:v>1647193.5507</c:v>
                </c:pt>
                <c:pt idx="662">
                  <c:v>1647193.5507</c:v>
                </c:pt>
                <c:pt idx="663">
                  <c:v>1647193.5507</c:v>
                </c:pt>
                <c:pt idx="664">
                  <c:v>1647193.5507</c:v>
                </c:pt>
                <c:pt idx="665">
                  <c:v>1647193.5507</c:v>
                </c:pt>
                <c:pt idx="666">
                  <c:v>1647193.5507</c:v>
                </c:pt>
                <c:pt idx="667">
                  <c:v>1647193.5507</c:v>
                </c:pt>
                <c:pt idx="668">
                  <c:v>1647193.5507</c:v>
                </c:pt>
                <c:pt idx="669">
                  <c:v>1647193.5507</c:v>
                </c:pt>
                <c:pt idx="670">
                  <c:v>1647193.5507</c:v>
                </c:pt>
                <c:pt idx="671">
                  <c:v>1647193.5507</c:v>
                </c:pt>
                <c:pt idx="672">
                  <c:v>1647193.5507</c:v>
                </c:pt>
                <c:pt idx="673">
                  <c:v>1647193.5507</c:v>
                </c:pt>
                <c:pt idx="674">
                  <c:v>1647193.5507</c:v>
                </c:pt>
                <c:pt idx="675">
                  <c:v>1647193.5507</c:v>
                </c:pt>
                <c:pt idx="676">
                  <c:v>1647193.5507</c:v>
                </c:pt>
                <c:pt idx="677">
                  <c:v>1647193.5507</c:v>
                </c:pt>
                <c:pt idx="678">
                  <c:v>1647193.5507</c:v>
                </c:pt>
                <c:pt idx="679">
                  <c:v>1647193.5507</c:v>
                </c:pt>
                <c:pt idx="680">
                  <c:v>1647193.5507</c:v>
                </c:pt>
                <c:pt idx="681">
                  <c:v>1647193.5507</c:v>
                </c:pt>
                <c:pt idx="682">
                  <c:v>1647193.5507</c:v>
                </c:pt>
                <c:pt idx="683">
                  <c:v>1647193.5507</c:v>
                </c:pt>
                <c:pt idx="684">
                  <c:v>1647193.5507</c:v>
                </c:pt>
                <c:pt idx="685">
                  <c:v>1647193.5507</c:v>
                </c:pt>
                <c:pt idx="686">
                  <c:v>1647193.5507</c:v>
                </c:pt>
                <c:pt idx="687">
                  <c:v>1647193.5507</c:v>
                </c:pt>
                <c:pt idx="688">
                  <c:v>1647193.5507</c:v>
                </c:pt>
                <c:pt idx="689">
                  <c:v>1647193.5507</c:v>
                </c:pt>
                <c:pt idx="690">
                  <c:v>1647193.5507</c:v>
                </c:pt>
                <c:pt idx="691">
                  <c:v>1647193.5507</c:v>
                </c:pt>
                <c:pt idx="692">
                  <c:v>1647193.5507</c:v>
                </c:pt>
                <c:pt idx="693">
                  <c:v>1647193.5507</c:v>
                </c:pt>
                <c:pt idx="694">
                  <c:v>1647193.5507</c:v>
                </c:pt>
                <c:pt idx="695">
                  <c:v>1647193.5507</c:v>
                </c:pt>
                <c:pt idx="696">
                  <c:v>1647193.5507</c:v>
                </c:pt>
                <c:pt idx="697">
                  <c:v>1647193.5507</c:v>
                </c:pt>
                <c:pt idx="698">
                  <c:v>1647193.5507</c:v>
                </c:pt>
                <c:pt idx="699">
                  <c:v>1647193.5507</c:v>
                </c:pt>
                <c:pt idx="700">
                  <c:v>1647193.5507</c:v>
                </c:pt>
                <c:pt idx="701">
                  <c:v>1647193.5507</c:v>
                </c:pt>
                <c:pt idx="702">
                  <c:v>1647193.5507</c:v>
                </c:pt>
                <c:pt idx="703">
                  <c:v>1647193.5507</c:v>
                </c:pt>
                <c:pt idx="704">
                  <c:v>1647193.5507</c:v>
                </c:pt>
                <c:pt idx="705">
                  <c:v>1647193.5507</c:v>
                </c:pt>
                <c:pt idx="706">
                  <c:v>1647193.5507</c:v>
                </c:pt>
                <c:pt idx="707">
                  <c:v>1647193.5507</c:v>
                </c:pt>
                <c:pt idx="708">
                  <c:v>1647193.5507</c:v>
                </c:pt>
                <c:pt idx="709">
                  <c:v>1647193.5507</c:v>
                </c:pt>
                <c:pt idx="710">
                  <c:v>1647193.5507</c:v>
                </c:pt>
                <c:pt idx="711">
                  <c:v>1647193.5507</c:v>
                </c:pt>
                <c:pt idx="712">
                  <c:v>1647193.5507</c:v>
                </c:pt>
                <c:pt idx="713">
                  <c:v>1647193.5507</c:v>
                </c:pt>
                <c:pt idx="714">
                  <c:v>1647193.5507</c:v>
                </c:pt>
                <c:pt idx="715">
                  <c:v>1647193.5507</c:v>
                </c:pt>
                <c:pt idx="716">
                  <c:v>1647193.5507</c:v>
                </c:pt>
                <c:pt idx="717">
                  <c:v>1647193.5507</c:v>
                </c:pt>
                <c:pt idx="718">
                  <c:v>1647193.5507</c:v>
                </c:pt>
                <c:pt idx="719">
                  <c:v>1647193.5507</c:v>
                </c:pt>
                <c:pt idx="720">
                  <c:v>1647193.5507</c:v>
                </c:pt>
                <c:pt idx="721">
                  <c:v>1647193.5507</c:v>
                </c:pt>
                <c:pt idx="722">
                  <c:v>1647193.5507</c:v>
                </c:pt>
                <c:pt idx="723">
                  <c:v>1647193.5507</c:v>
                </c:pt>
                <c:pt idx="724">
                  <c:v>1647193.5507</c:v>
                </c:pt>
                <c:pt idx="725">
                  <c:v>1647193.5507</c:v>
                </c:pt>
                <c:pt idx="726">
                  <c:v>1647193.5507</c:v>
                </c:pt>
                <c:pt idx="727">
                  <c:v>1647193.5507</c:v>
                </c:pt>
                <c:pt idx="728">
                  <c:v>1647193.5507</c:v>
                </c:pt>
                <c:pt idx="729">
                  <c:v>1647193.5507</c:v>
                </c:pt>
                <c:pt idx="730">
                  <c:v>1647193.5507</c:v>
                </c:pt>
                <c:pt idx="731">
                  <c:v>1647193.5507</c:v>
                </c:pt>
                <c:pt idx="732">
                  <c:v>1647193.5507</c:v>
                </c:pt>
                <c:pt idx="733">
                  <c:v>1647193.5507</c:v>
                </c:pt>
                <c:pt idx="734">
                  <c:v>1647193.5507</c:v>
                </c:pt>
                <c:pt idx="735">
                  <c:v>1647193.5507</c:v>
                </c:pt>
                <c:pt idx="736">
                  <c:v>1647193.5507</c:v>
                </c:pt>
                <c:pt idx="737">
                  <c:v>1647193.5507</c:v>
                </c:pt>
                <c:pt idx="738">
                  <c:v>1647193.5507</c:v>
                </c:pt>
                <c:pt idx="739">
                  <c:v>1647193.5507</c:v>
                </c:pt>
                <c:pt idx="740">
                  <c:v>1647193.5507</c:v>
                </c:pt>
                <c:pt idx="741">
                  <c:v>1647193.5507</c:v>
                </c:pt>
                <c:pt idx="742">
                  <c:v>1647193.5507</c:v>
                </c:pt>
                <c:pt idx="743">
                  <c:v>1647193.5507</c:v>
                </c:pt>
                <c:pt idx="744">
                  <c:v>1647193.5507</c:v>
                </c:pt>
                <c:pt idx="745">
                  <c:v>1647193.5507</c:v>
                </c:pt>
                <c:pt idx="746">
                  <c:v>1647193.5507</c:v>
                </c:pt>
                <c:pt idx="747">
                  <c:v>1647193.5507</c:v>
                </c:pt>
                <c:pt idx="748">
                  <c:v>1647193.5507</c:v>
                </c:pt>
                <c:pt idx="749">
                  <c:v>1647193.5507</c:v>
                </c:pt>
                <c:pt idx="750">
                  <c:v>1647193.5507</c:v>
                </c:pt>
                <c:pt idx="751">
                  <c:v>1647193.5507</c:v>
                </c:pt>
                <c:pt idx="752">
                  <c:v>1647193.5507</c:v>
                </c:pt>
                <c:pt idx="753">
                  <c:v>1647193.5507</c:v>
                </c:pt>
                <c:pt idx="754">
                  <c:v>1647193.5507</c:v>
                </c:pt>
                <c:pt idx="755">
                  <c:v>1647193.5507</c:v>
                </c:pt>
                <c:pt idx="756">
                  <c:v>1647193.5507</c:v>
                </c:pt>
                <c:pt idx="757">
                  <c:v>1647193.5507</c:v>
                </c:pt>
                <c:pt idx="758">
                  <c:v>1647193.5507</c:v>
                </c:pt>
                <c:pt idx="759">
                  <c:v>1647193.5507</c:v>
                </c:pt>
                <c:pt idx="760">
                  <c:v>1647193.5507</c:v>
                </c:pt>
                <c:pt idx="761">
                  <c:v>1647193.5507</c:v>
                </c:pt>
                <c:pt idx="762">
                  <c:v>1647193.5507</c:v>
                </c:pt>
                <c:pt idx="763">
                  <c:v>1647193.5507</c:v>
                </c:pt>
                <c:pt idx="764">
                  <c:v>1647193.5507</c:v>
                </c:pt>
                <c:pt idx="765">
                  <c:v>1647193.5507</c:v>
                </c:pt>
                <c:pt idx="766">
                  <c:v>1647193.5507</c:v>
                </c:pt>
                <c:pt idx="767">
                  <c:v>1647193.5507</c:v>
                </c:pt>
                <c:pt idx="768">
                  <c:v>1647193.5507</c:v>
                </c:pt>
                <c:pt idx="769">
                  <c:v>1647193.5507</c:v>
                </c:pt>
                <c:pt idx="770">
                  <c:v>1647193.5507</c:v>
                </c:pt>
                <c:pt idx="771">
                  <c:v>1647193.5507</c:v>
                </c:pt>
                <c:pt idx="772">
                  <c:v>1647193.5507</c:v>
                </c:pt>
                <c:pt idx="773">
                  <c:v>1647193.5507</c:v>
                </c:pt>
                <c:pt idx="774">
                  <c:v>1647193.5507</c:v>
                </c:pt>
                <c:pt idx="775">
                  <c:v>1647193.5507</c:v>
                </c:pt>
                <c:pt idx="776">
                  <c:v>1647193.5507</c:v>
                </c:pt>
                <c:pt idx="777">
                  <c:v>1647193.5507</c:v>
                </c:pt>
                <c:pt idx="778">
                  <c:v>1647193.5507</c:v>
                </c:pt>
                <c:pt idx="779">
                  <c:v>1647193.5507</c:v>
                </c:pt>
                <c:pt idx="780">
                  <c:v>1647193.5507</c:v>
                </c:pt>
                <c:pt idx="781">
                  <c:v>1647193.5507</c:v>
                </c:pt>
                <c:pt idx="782">
                  <c:v>1647193.5507</c:v>
                </c:pt>
                <c:pt idx="783">
                  <c:v>1647193.5507</c:v>
                </c:pt>
                <c:pt idx="784">
                  <c:v>1647193.5507</c:v>
                </c:pt>
                <c:pt idx="785">
                  <c:v>1647193.5507</c:v>
                </c:pt>
                <c:pt idx="786">
                  <c:v>1647193.5507</c:v>
                </c:pt>
                <c:pt idx="787">
                  <c:v>1647193.5507</c:v>
                </c:pt>
                <c:pt idx="788">
                  <c:v>1647193.5507</c:v>
                </c:pt>
                <c:pt idx="789">
                  <c:v>1647193.5507</c:v>
                </c:pt>
                <c:pt idx="790">
                  <c:v>1647193.5507</c:v>
                </c:pt>
                <c:pt idx="791">
                  <c:v>1647193.5507</c:v>
                </c:pt>
                <c:pt idx="792">
                  <c:v>1647193.5507</c:v>
                </c:pt>
                <c:pt idx="793">
                  <c:v>1647193.5507</c:v>
                </c:pt>
                <c:pt idx="794">
                  <c:v>1647193.5507</c:v>
                </c:pt>
                <c:pt idx="795">
                  <c:v>1647193.5507</c:v>
                </c:pt>
                <c:pt idx="796">
                  <c:v>1647193.5507</c:v>
                </c:pt>
                <c:pt idx="797">
                  <c:v>1647193.5507</c:v>
                </c:pt>
                <c:pt idx="798">
                  <c:v>1647193.5507</c:v>
                </c:pt>
                <c:pt idx="799">
                  <c:v>1647193.5507</c:v>
                </c:pt>
                <c:pt idx="800">
                  <c:v>1647193.5507</c:v>
                </c:pt>
                <c:pt idx="801">
                  <c:v>1647193.5507</c:v>
                </c:pt>
                <c:pt idx="802">
                  <c:v>1647193.5507</c:v>
                </c:pt>
                <c:pt idx="803">
                  <c:v>1647193.5507</c:v>
                </c:pt>
                <c:pt idx="804">
                  <c:v>1647193.5507</c:v>
                </c:pt>
                <c:pt idx="805">
                  <c:v>1647193.5507</c:v>
                </c:pt>
                <c:pt idx="806">
                  <c:v>1647193.5507</c:v>
                </c:pt>
                <c:pt idx="807">
                  <c:v>1647193.5507</c:v>
                </c:pt>
                <c:pt idx="808">
                  <c:v>1647193.5507</c:v>
                </c:pt>
                <c:pt idx="809">
                  <c:v>1647193.5507</c:v>
                </c:pt>
                <c:pt idx="810">
                  <c:v>1647193.5507</c:v>
                </c:pt>
                <c:pt idx="811">
                  <c:v>1647193.5507</c:v>
                </c:pt>
                <c:pt idx="812">
                  <c:v>1647193.5507</c:v>
                </c:pt>
                <c:pt idx="813">
                  <c:v>1647193.5507</c:v>
                </c:pt>
                <c:pt idx="814">
                  <c:v>1647193.5507</c:v>
                </c:pt>
                <c:pt idx="815">
                  <c:v>1647193.5507</c:v>
                </c:pt>
                <c:pt idx="816">
                  <c:v>1647193.5507</c:v>
                </c:pt>
                <c:pt idx="817">
                  <c:v>1647193.5507</c:v>
                </c:pt>
                <c:pt idx="818">
                  <c:v>1647193.5507</c:v>
                </c:pt>
                <c:pt idx="819">
                  <c:v>1647193.5507</c:v>
                </c:pt>
                <c:pt idx="820">
                  <c:v>1647193.5507</c:v>
                </c:pt>
                <c:pt idx="821">
                  <c:v>1647193.5507</c:v>
                </c:pt>
                <c:pt idx="822">
                  <c:v>1647193.5507</c:v>
                </c:pt>
                <c:pt idx="823">
                  <c:v>1647193.5507</c:v>
                </c:pt>
                <c:pt idx="824">
                  <c:v>1647193.5507</c:v>
                </c:pt>
                <c:pt idx="825">
                  <c:v>1647193.5507</c:v>
                </c:pt>
                <c:pt idx="826">
                  <c:v>1647193.5507</c:v>
                </c:pt>
                <c:pt idx="827">
                  <c:v>1647193.5507</c:v>
                </c:pt>
                <c:pt idx="828">
                  <c:v>1647193.5507</c:v>
                </c:pt>
                <c:pt idx="829">
                  <c:v>1647193.5507</c:v>
                </c:pt>
                <c:pt idx="830">
                  <c:v>1647193.5507</c:v>
                </c:pt>
                <c:pt idx="831">
                  <c:v>1647193.5507</c:v>
                </c:pt>
                <c:pt idx="832">
                  <c:v>1647193.5507</c:v>
                </c:pt>
                <c:pt idx="833">
                  <c:v>1647193.5507</c:v>
                </c:pt>
                <c:pt idx="834">
                  <c:v>1647193.5507</c:v>
                </c:pt>
                <c:pt idx="835">
                  <c:v>1647193.5507</c:v>
                </c:pt>
                <c:pt idx="836">
                  <c:v>1647193.5507</c:v>
                </c:pt>
                <c:pt idx="837">
                  <c:v>1647193.5507</c:v>
                </c:pt>
                <c:pt idx="838">
                  <c:v>1647193.5507</c:v>
                </c:pt>
                <c:pt idx="839">
                  <c:v>1647193.5507</c:v>
                </c:pt>
                <c:pt idx="840">
                  <c:v>1647193.5507</c:v>
                </c:pt>
                <c:pt idx="841">
                  <c:v>1647193.5507</c:v>
                </c:pt>
                <c:pt idx="842">
                  <c:v>1647193.5507</c:v>
                </c:pt>
                <c:pt idx="843">
                  <c:v>1647193.5507</c:v>
                </c:pt>
                <c:pt idx="844">
                  <c:v>1647193.5507</c:v>
                </c:pt>
                <c:pt idx="845">
                  <c:v>1647193.5507</c:v>
                </c:pt>
                <c:pt idx="846">
                  <c:v>1647193.5507</c:v>
                </c:pt>
                <c:pt idx="847">
                  <c:v>1647193.5507</c:v>
                </c:pt>
                <c:pt idx="848">
                  <c:v>1647193.5507</c:v>
                </c:pt>
                <c:pt idx="849">
                  <c:v>1647193.5507</c:v>
                </c:pt>
                <c:pt idx="850">
                  <c:v>1647193.5507</c:v>
                </c:pt>
                <c:pt idx="851">
                  <c:v>1647193.5507</c:v>
                </c:pt>
                <c:pt idx="852">
                  <c:v>1647193.5507</c:v>
                </c:pt>
                <c:pt idx="853">
                  <c:v>1647193.5507</c:v>
                </c:pt>
                <c:pt idx="854">
                  <c:v>1647193.5507</c:v>
                </c:pt>
                <c:pt idx="855">
                  <c:v>1647193.5507</c:v>
                </c:pt>
                <c:pt idx="856">
                  <c:v>1647193.5507</c:v>
                </c:pt>
                <c:pt idx="857">
                  <c:v>1647193.5507</c:v>
                </c:pt>
                <c:pt idx="858">
                  <c:v>1647193.5507</c:v>
                </c:pt>
                <c:pt idx="859">
                  <c:v>1647193.5507</c:v>
                </c:pt>
                <c:pt idx="860">
                  <c:v>1647193.5507</c:v>
                </c:pt>
                <c:pt idx="861">
                  <c:v>1647193.5507</c:v>
                </c:pt>
                <c:pt idx="862">
                  <c:v>1647193.5507</c:v>
                </c:pt>
                <c:pt idx="863">
                  <c:v>1647193.5507</c:v>
                </c:pt>
                <c:pt idx="864">
                  <c:v>1647193.5507</c:v>
                </c:pt>
                <c:pt idx="865">
                  <c:v>1647193.5507</c:v>
                </c:pt>
                <c:pt idx="866">
                  <c:v>1647193.5507</c:v>
                </c:pt>
                <c:pt idx="867">
                  <c:v>1647193.5507</c:v>
                </c:pt>
                <c:pt idx="868">
                  <c:v>1647193.5507</c:v>
                </c:pt>
                <c:pt idx="869">
                  <c:v>1647193.5507</c:v>
                </c:pt>
                <c:pt idx="870">
                  <c:v>1647193.5507</c:v>
                </c:pt>
                <c:pt idx="871">
                  <c:v>1647193.5507</c:v>
                </c:pt>
                <c:pt idx="872">
                  <c:v>1647193.5507</c:v>
                </c:pt>
                <c:pt idx="873">
                  <c:v>1647193.5507</c:v>
                </c:pt>
                <c:pt idx="874">
                  <c:v>1647193.5507</c:v>
                </c:pt>
                <c:pt idx="875">
                  <c:v>1647193.5507</c:v>
                </c:pt>
                <c:pt idx="876">
                  <c:v>1647193.5507</c:v>
                </c:pt>
                <c:pt idx="877">
                  <c:v>1647193.5507</c:v>
                </c:pt>
                <c:pt idx="878">
                  <c:v>1647193.5507</c:v>
                </c:pt>
                <c:pt idx="879">
                  <c:v>1647193.5507</c:v>
                </c:pt>
                <c:pt idx="880">
                  <c:v>1647193.5507</c:v>
                </c:pt>
                <c:pt idx="881">
                  <c:v>1647193.5507</c:v>
                </c:pt>
                <c:pt idx="882">
                  <c:v>1647193.5507</c:v>
                </c:pt>
                <c:pt idx="883">
                  <c:v>1647193.5507</c:v>
                </c:pt>
                <c:pt idx="884">
                  <c:v>1647193.5507</c:v>
                </c:pt>
                <c:pt idx="885">
                  <c:v>1647193.5507</c:v>
                </c:pt>
                <c:pt idx="886">
                  <c:v>1647193.5507</c:v>
                </c:pt>
                <c:pt idx="887">
                  <c:v>1647193.5507</c:v>
                </c:pt>
                <c:pt idx="888">
                  <c:v>1647193.5507</c:v>
                </c:pt>
                <c:pt idx="889">
                  <c:v>1647193.5507</c:v>
                </c:pt>
                <c:pt idx="890">
                  <c:v>1647193.5507</c:v>
                </c:pt>
                <c:pt idx="891">
                  <c:v>1647193.5507</c:v>
                </c:pt>
                <c:pt idx="892">
                  <c:v>1647193.5507</c:v>
                </c:pt>
                <c:pt idx="893">
                  <c:v>1647193.5507</c:v>
                </c:pt>
                <c:pt idx="894">
                  <c:v>1647193.5507</c:v>
                </c:pt>
                <c:pt idx="895">
                  <c:v>1647038.3033</c:v>
                </c:pt>
                <c:pt idx="896">
                  <c:v>1716590.3033</c:v>
                </c:pt>
                <c:pt idx="897">
                  <c:v>1723233.3033</c:v>
                </c:pt>
                <c:pt idx="898">
                  <c:v>1712887.3033</c:v>
                </c:pt>
                <c:pt idx="899">
                  <c:v>1718613.3033</c:v>
                </c:pt>
                <c:pt idx="900">
                  <c:v>1703486.3033</c:v>
                </c:pt>
                <c:pt idx="901">
                  <c:v>1715442.3033</c:v>
                </c:pt>
                <c:pt idx="902">
                  <c:v>1675661.3033</c:v>
                </c:pt>
                <c:pt idx="903">
                  <c:v>1659232.3033</c:v>
                </c:pt>
                <c:pt idx="904">
                  <c:v>1666932.3033</c:v>
                </c:pt>
                <c:pt idx="905">
                  <c:v>1631729.3033</c:v>
                </c:pt>
                <c:pt idx="906">
                  <c:v>1633906.3033</c:v>
                </c:pt>
                <c:pt idx="907">
                  <c:v>1645428.3033</c:v>
                </c:pt>
                <c:pt idx="908">
                  <c:v>1641669.3033</c:v>
                </c:pt>
                <c:pt idx="909">
                  <c:v>1623987.3033</c:v>
                </c:pt>
                <c:pt idx="910">
                  <c:v>1670768.3033</c:v>
                </c:pt>
                <c:pt idx="911">
                  <c:v>1699741.3033</c:v>
                </c:pt>
                <c:pt idx="912">
                  <c:v>1683599.3033</c:v>
                </c:pt>
                <c:pt idx="913">
                  <c:v>1718676.3033</c:v>
                </c:pt>
                <c:pt idx="914">
                  <c:v>1721448.3033</c:v>
                </c:pt>
                <c:pt idx="915">
                  <c:v>1706335.3033</c:v>
                </c:pt>
                <c:pt idx="916">
                  <c:v>1707735.3033</c:v>
                </c:pt>
                <c:pt idx="917">
                  <c:v>1700966.3033</c:v>
                </c:pt>
                <c:pt idx="918">
                  <c:v>1703276.3033</c:v>
                </c:pt>
                <c:pt idx="919">
                  <c:v>1705124.3033</c:v>
                </c:pt>
                <c:pt idx="920">
                  <c:v>1729820.3033</c:v>
                </c:pt>
                <c:pt idx="921">
                  <c:v>1727293.3033</c:v>
                </c:pt>
                <c:pt idx="922">
                  <c:v>1733677.3033</c:v>
                </c:pt>
                <c:pt idx="923">
                  <c:v>1713020.3033</c:v>
                </c:pt>
                <c:pt idx="924">
                  <c:v>1710010.3033</c:v>
                </c:pt>
                <c:pt idx="925">
                  <c:v>1698432.3033</c:v>
                </c:pt>
                <c:pt idx="926">
                  <c:v>1668101.3033</c:v>
                </c:pt>
                <c:pt idx="927">
                  <c:v>1659659.3033</c:v>
                </c:pt>
                <c:pt idx="928">
                  <c:v>1662480.3033</c:v>
                </c:pt>
                <c:pt idx="929">
                  <c:v>1672938.3033</c:v>
                </c:pt>
                <c:pt idx="930">
                  <c:v>1703080.3033</c:v>
                </c:pt>
                <c:pt idx="931">
                  <c:v>1709303.3033</c:v>
                </c:pt>
                <c:pt idx="932">
                  <c:v>1705880.3033</c:v>
                </c:pt>
                <c:pt idx="933">
                  <c:v>1699111.3033</c:v>
                </c:pt>
                <c:pt idx="934">
                  <c:v>1695821.3033</c:v>
                </c:pt>
                <c:pt idx="935">
                  <c:v>1666351.3033</c:v>
                </c:pt>
                <c:pt idx="936">
                  <c:v>1663208.3033</c:v>
                </c:pt>
                <c:pt idx="937">
                  <c:v>1670859.3033</c:v>
                </c:pt>
                <c:pt idx="938">
                  <c:v>1643272.3033</c:v>
                </c:pt>
                <c:pt idx="939">
                  <c:v>1650741.3033</c:v>
                </c:pt>
                <c:pt idx="940">
                  <c:v>1630098.3033</c:v>
                </c:pt>
                <c:pt idx="941">
                  <c:v>1618632.3033</c:v>
                </c:pt>
                <c:pt idx="942">
                  <c:v>1617057.3033</c:v>
                </c:pt>
                <c:pt idx="943">
                  <c:v>1609980.3033</c:v>
                </c:pt>
                <c:pt idx="944">
                  <c:v>1630994.3033</c:v>
                </c:pt>
                <c:pt idx="945">
                  <c:v>1618849.3033</c:v>
                </c:pt>
                <c:pt idx="946">
                  <c:v>1629440.3033</c:v>
                </c:pt>
                <c:pt idx="947">
                  <c:v>1617484.3033</c:v>
                </c:pt>
                <c:pt idx="948">
                  <c:v>1600012.3033</c:v>
                </c:pt>
                <c:pt idx="949">
                  <c:v>1584976.3033</c:v>
                </c:pt>
                <c:pt idx="950">
                  <c:v>1575540.3033</c:v>
                </c:pt>
                <c:pt idx="951">
                  <c:v>1592326.3033</c:v>
                </c:pt>
                <c:pt idx="952">
                  <c:v>1570759.3033</c:v>
                </c:pt>
                <c:pt idx="953">
                  <c:v>1586593.3033</c:v>
                </c:pt>
                <c:pt idx="954">
                  <c:v>1640080.3033</c:v>
                </c:pt>
                <c:pt idx="955">
                  <c:v>1637084.3033</c:v>
                </c:pt>
                <c:pt idx="956">
                  <c:v>1667296.3033</c:v>
                </c:pt>
                <c:pt idx="957">
                  <c:v>1684299.3033</c:v>
                </c:pt>
                <c:pt idx="958">
                  <c:v>1675514.3033</c:v>
                </c:pt>
                <c:pt idx="959">
                  <c:v>1682003.3033</c:v>
                </c:pt>
                <c:pt idx="960">
                  <c:v>1664412.3033</c:v>
                </c:pt>
                <c:pt idx="961">
                  <c:v>1743666.3033</c:v>
                </c:pt>
                <c:pt idx="962">
                  <c:v>1751254.3033</c:v>
                </c:pt>
                <c:pt idx="963">
                  <c:v>1752248.3033</c:v>
                </c:pt>
                <c:pt idx="964">
                  <c:v>1754341.3033</c:v>
                </c:pt>
                <c:pt idx="965">
                  <c:v>1763938.3033</c:v>
                </c:pt>
                <c:pt idx="966">
                  <c:v>1754964.3033</c:v>
                </c:pt>
                <c:pt idx="967">
                  <c:v>1761418.3033</c:v>
                </c:pt>
                <c:pt idx="968">
                  <c:v>1808444.3033</c:v>
                </c:pt>
                <c:pt idx="969">
                  <c:v>1814898.3033</c:v>
                </c:pt>
                <c:pt idx="970">
                  <c:v>1805777.3033</c:v>
                </c:pt>
                <c:pt idx="971">
                  <c:v>1830599.3033</c:v>
                </c:pt>
                <c:pt idx="972">
                  <c:v>1860629.3033</c:v>
                </c:pt>
                <c:pt idx="973">
                  <c:v>1861651.3033</c:v>
                </c:pt>
                <c:pt idx="974">
                  <c:v>1869757.3033</c:v>
                </c:pt>
                <c:pt idx="975">
                  <c:v>1862295.3033</c:v>
                </c:pt>
                <c:pt idx="976">
                  <c:v>1862855.3033</c:v>
                </c:pt>
                <c:pt idx="977">
                  <c:v>1865963.3033</c:v>
                </c:pt>
                <c:pt idx="978">
                  <c:v>1832825.3033</c:v>
                </c:pt>
                <c:pt idx="979">
                  <c:v>1898975.3033</c:v>
                </c:pt>
                <c:pt idx="980">
                  <c:v>1911666.3033</c:v>
                </c:pt>
                <c:pt idx="981">
                  <c:v>1898527.3033</c:v>
                </c:pt>
                <c:pt idx="982">
                  <c:v>1881496.3033</c:v>
                </c:pt>
                <c:pt idx="983">
                  <c:v>1911372.3033</c:v>
                </c:pt>
                <c:pt idx="984">
                  <c:v>1922194.3033</c:v>
                </c:pt>
                <c:pt idx="985">
                  <c:v>1912394.3033</c:v>
                </c:pt>
                <c:pt idx="986">
                  <c:v>1919786.3033</c:v>
                </c:pt>
                <c:pt idx="987">
                  <c:v>1902496.3033</c:v>
                </c:pt>
                <c:pt idx="988">
                  <c:v>1894733.3033</c:v>
                </c:pt>
                <c:pt idx="989">
                  <c:v>1950866.3033</c:v>
                </c:pt>
                <c:pt idx="990">
                  <c:v>1967673.3033</c:v>
                </c:pt>
                <c:pt idx="991">
                  <c:v>1976661.3033</c:v>
                </c:pt>
                <c:pt idx="992">
                  <c:v>1975380.3033</c:v>
                </c:pt>
                <c:pt idx="993">
                  <c:v>2014888.3033</c:v>
                </c:pt>
                <c:pt idx="994">
                  <c:v>2018185.3033</c:v>
                </c:pt>
                <c:pt idx="995">
                  <c:v>2034740.3033</c:v>
                </c:pt>
                <c:pt idx="996">
                  <c:v>2037652.3033</c:v>
                </c:pt>
                <c:pt idx="997">
                  <c:v>2026473.3033</c:v>
                </c:pt>
                <c:pt idx="998">
                  <c:v>2034775.3033</c:v>
                </c:pt>
                <c:pt idx="999">
                  <c:v>2010793.3033</c:v>
                </c:pt>
                <c:pt idx="1000">
                  <c:v>1974491.3033</c:v>
                </c:pt>
                <c:pt idx="1001">
                  <c:v>1986412.3033</c:v>
                </c:pt>
                <c:pt idx="1002">
                  <c:v>1921949.3033</c:v>
                </c:pt>
                <c:pt idx="1003">
                  <c:v>1912184.3033</c:v>
                </c:pt>
                <c:pt idx="1004">
                  <c:v>1918036.3033</c:v>
                </c:pt>
                <c:pt idx="1005">
                  <c:v>1891877.3033</c:v>
                </c:pt>
                <c:pt idx="1006">
                  <c:v>1910840.3033</c:v>
                </c:pt>
                <c:pt idx="1007">
                  <c:v>1965895.3033</c:v>
                </c:pt>
                <c:pt idx="1008">
                  <c:v>1962752.3033</c:v>
                </c:pt>
                <c:pt idx="1009">
                  <c:v>1876568.3033</c:v>
                </c:pt>
                <c:pt idx="1010">
                  <c:v>1930531.3033</c:v>
                </c:pt>
                <c:pt idx="1011">
                  <c:v>1949704.3033</c:v>
                </c:pt>
                <c:pt idx="1012">
                  <c:v>1928200.3033</c:v>
                </c:pt>
                <c:pt idx="1013">
                  <c:v>1919415.3033</c:v>
                </c:pt>
                <c:pt idx="1014">
                  <c:v>1909223.3033</c:v>
                </c:pt>
                <c:pt idx="1015">
                  <c:v>1883491.3033</c:v>
                </c:pt>
                <c:pt idx="1016">
                  <c:v>1863807.3033</c:v>
                </c:pt>
                <c:pt idx="1017">
                  <c:v>1868553.3033</c:v>
                </c:pt>
                <c:pt idx="1018">
                  <c:v>1872473.3033</c:v>
                </c:pt>
                <c:pt idx="1019">
                  <c:v>1846307.3033</c:v>
                </c:pt>
                <c:pt idx="1020">
                  <c:v>1862134.3033</c:v>
                </c:pt>
                <c:pt idx="1021">
                  <c:v>1921683.3033</c:v>
                </c:pt>
                <c:pt idx="1022">
                  <c:v>1925057.3033</c:v>
                </c:pt>
                <c:pt idx="1023">
                  <c:v>1927381.3033</c:v>
                </c:pt>
                <c:pt idx="1024">
                  <c:v>1923734.3033</c:v>
                </c:pt>
                <c:pt idx="1025">
                  <c:v>1897099.3033</c:v>
                </c:pt>
                <c:pt idx="1026">
                  <c:v>1903035.3033</c:v>
                </c:pt>
                <c:pt idx="1027">
                  <c:v>1844074.3033</c:v>
                </c:pt>
                <c:pt idx="1028">
                  <c:v>1841120.3033</c:v>
                </c:pt>
                <c:pt idx="1029">
                  <c:v>1839797.3033</c:v>
                </c:pt>
                <c:pt idx="1030">
                  <c:v>1835037.3033</c:v>
                </c:pt>
                <c:pt idx="1031">
                  <c:v>1833049.3033</c:v>
                </c:pt>
                <c:pt idx="1032">
                  <c:v>1825174.3033</c:v>
                </c:pt>
                <c:pt idx="1033">
                  <c:v>1837165.3033</c:v>
                </c:pt>
                <c:pt idx="1034">
                  <c:v>1834281.3033</c:v>
                </c:pt>
                <c:pt idx="1035">
                  <c:v>1829080.3033</c:v>
                </c:pt>
                <c:pt idx="1036">
                  <c:v>1818041.3033</c:v>
                </c:pt>
                <c:pt idx="1037">
                  <c:v>1800338.3033</c:v>
                </c:pt>
                <c:pt idx="1038">
                  <c:v>1816277.3033</c:v>
                </c:pt>
                <c:pt idx="1039">
                  <c:v>1815493.3033</c:v>
                </c:pt>
                <c:pt idx="1040">
                  <c:v>1819959.3033</c:v>
                </c:pt>
                <c:pt idx="1041">
                  <c:v>1868245.3033</c:v>
                </c:pt>
                <c:pt idx="1042">
                  <c:v>1866033.3033</c:v>
                </c:pt>
                <c:pt idx="1043">
                  <c:v>1809193.3033</c:v>
                </c:pt>
                <c:pt idx="1044">
                  <c:v>1841470.3033</c:v>
                </c:pt>
                <c:pt idx="1045">
                  <c:v>1822080.3033</c:v>
                </c:pt>
                <c:pt idx="1046">
                  <c:v>1807681.3033</c:v>
                </c:pt>
                <c:pt idx="1047">
                  <c:v>1809312.3033</c:v>
                </c:pt>
                <c:pt idx="1048">
                  <c:v>1839601.3033</c:v>
                </c:pt>
                <c:pt idx="1049">
                  <c:v>1862750.3033</c:v>
                </c:pt>
                <c:pt idx="1050">
                  <c:v>1865522.3033</c:v>
                </c:pt>
                <c:pt idx="1051">
                  <c:v>1874524.3033</c:v>
                </c:pt>
                <c:pt idx="1052">
                  <c:v>1864017.3033</c:v>
                </c:pt>
                <c:pt idx="1053">
                  <c:v>1873152.3033</c:v>
                </c:pt>
                <c:pt idx="1054">
                  <c:v>1866103.3033</c:v>
                </c:pt>
                <c:pt idx="1055">
                  <c:v>1839902.3033</c:v>
                </c:pt>
                <c:pt idx="1056">
                  <c:v>1849415.3033</c:v>
                </c:pt>
                <c:pt idx="1057">
                  <c:v>1881461.3033</c:v>
                </c:pt>
                <c:pt idx="1058">
                  <c:v>1908817.8598</c:v>
                </c:pt>
                <c:pt idx="1059">
                  <c:v>1908817.8598</c:v>
                </c:pt>
                <c:pt idx="1060">
                  <c:v>1908817.8598</c:v>
                </c:pt>
                <c:pt idx="1061">
                  <c:v>1908817.8598</c:v>
                </c:pt>
                <c:pt idx="1062">
                  <c:v>1908817.8598</c:v>
                </c:pt>
                <c:pt idx="1063">
                  <c:v>1908817.8598</c:v>
                </c:pt>
                <c:pt idx="1064">
                  <c:v>1908817.8598</c:v>
                </c:pt>
                <c:pt idx="1065">
                  <c:v>1908817.8598</c:v>
                </c:pt>
                <c:pt idx="1066">
                  <c:v>1908817.8598</c:v>
                </c:pt>
                <c:pt idx="1067">
                  <c:v>1908817.8598</c:v>
                </c:pt>
                <c:pt idx="1068">
                  <c:v>1908817.8598</c:v>
                </c:pt>
                <c:pt idx="1069">
                  <c:v>1908817.8598</c:v>
                </c:pt>
                <c:pt idx="1070">
                  <c:v>1908817.8598</c:v>
                </c:pt>
                <c:pt idx="1071">
                  <c:v>1908817.8598</c:v>
                </c:pt>
                <c:pt idx="1072">
                  <c:v>1908817.8598</c:v>
                </c:pt>
                <c:pt idx="1073">
                  <c:v>1908817.8598</c:v>
                </c:pt>
                <c:pt idx="1074">
                  <c:v>1908817.8598</c:v>
                </c:pt>
                <c:pt idx="1075">
                  <c:v>1908817.8598</c:v>
                </c:pt>
                <c:pt idx="1076">
                  <c:v>1908817.8598</c:v>
                </c:pt>
                <c:pt idx="1077">
                  <c:v>1908817.8598</c:v>
                </c:pt>
                <c:pt idx="1078">
                  <c:v>1908817.8598</c:v>
                </c:pt>
                <c:pt idx="1079">
                  <c:v>1908817.8598</c:v>
                </c:pt>
                <c:pt idx="1080">
                  <c:v>1908817.8598</c:v>
                </c:pt>
                <c:pt idx="1081">
                  <c:v>1908817.8598</c:v>
                </c:pt>
                <c:pt idx="1082">
                  <c:v>1908817.8598</c:v>
                </c:pt>
                <c:pt idx="1083">
                  <c:v>1908817.8598</c:v>
                </c:pt>
                <c:pt idx="1084">
                  <c:v>1908817.8598</c:v>
                </c:pt>
                <c:pt idx="1085">
                  <c:v>1908817.8598</c:v>
                </c:pt>
                <c:pt idx="1086">
                  <c:v>1908817.8598</c:v>
                </c:pt>
                <c:pt idx="1087">
                  <c:v>1908817.8598</c:v>
                </c:pt>
                <c:pt idx="1088">
                  <c:v>1908817.8598</c:v>
                </c:pt>
                <c:pt idx="1089">
                  <c:v>1908817.8598</c:v>
                </c:pt>
                <c:pt idx="1090">
                  <c:v>1908817.8598</c:v>
                </c:pt>
                <c:pt idx="1091">
                  <c:v>1908817.8598</c:v>
                </c:pt>
                <c:pt idx="1092">
                  <c:v>1908817.8598</c:v>
                </c:pt>
                <c:pt idx="1093">
                  <c:v>1908817.8598</c:v>
                </c:pt>
                <c:pt idx="1094">
                  <c:v>1908817.8598</c:v>
                </c:pt>
                <c:pt idx="1095">
                  <c:v>1908817.8598</c:v>
                </c:pt>
                <c:pt idx="1096">
                  <c:v>1908817.8598</c:v>
                </c:pt>
                <c:pt idx="1097">
                  <c:v>1908817.8598</c:v>
                </c:pt>
                <c:pt idx="1098">
                  <c:v>1908817.8598</c:v>
                </c:pt>
                <c:pt idx="1099">
                  <c:v>1908817.8598</c:v>
                </c:pt>
                <c:pt idx="1100">
                  <c:v>1908817.8598</c:v>
                </c:pt>
                <c:pt idx="1101">
                  <c:v>1908817.8598</c:v>
                </c:pt>
                <c:pt idx="1102">
                  <c:v>1908817.8598</c:v>
                </c:pt>
                <c:pt idx="1103">
                  <c:v>1908817.8598</c:v>
                </c:pt>
                <c:pt idx="1104">
                  <c:v>1908638.8454</c:v>
                </c:pt>
                <c:pt idx="1105">
                  <c:v>1897702.8454000009</c:v>
                </c:pt>
                <c:pt idx="1106">
                  <c:v>1859270.8454</c:v>
                </c:pt>
                <c:pt idx="1107">
                  <c:v>1870006.8454</c:v>
                </c:pt>
                <c:pt idx="1108">
                  <c:v>1872910.8454</c:v>
                </c:pt>
                <c:pt idx="1109">
                  <c:v>1914782.8454</c:v>
                </c:pt>
                <c:pt idx="1110">
                  <c:v>1916302.8454000009</c:v>
                </c:pt>
                <c:pt idx="1111">
                  <c:v>1941158.8454</c:v>
                </c:pt>
                <c:pt idx="1112">
                  <c:v>1953406.8454</c:v>
                </c:pt>
                <c:pt idx="1113">
                  <c:v>1942990.8454</c:v>
                </c:pt>
                <c:pt idx="1114">
                  <c:v>1939918.8454000009</c:v>
                </c:pt>
                <c:pt idx="1115">
                  <c:v>1947302.8454000009</c:v>
                </c:pt>
                <c:pt idx="1116">
                  <c:v>2000726.8454</c:v>
                </c:pt>
                <c:pt idx="1117">
                  <c:v>2005750.8454000009</c:v>
                </c:pt>
                <c:pt idx="1118">
                  <c:v>1997758.8454</c:v>
                </c:pt>
                <c:pt idx="1119">
                  <c:v>1975758.8454</c:v>
                </c:pt>
                <c:pt idx="1120">
                  <c:v>1961806.8454</c:v>
                </c:pt>
                <c:pt idx="1121">
                  <c:v>1983638.8454</c:v>
                </c:pt>
                <c:pt idx="1122">
                  <c:v>1968470.8454</c:v>
                </c:pt>
                <c:pt idx="1123">
                  <c:v>1965366.8454</c:v>
                </c:pt>
                <c:pt idx="1124">
                  <c:v>1961638.8454</c:v>
                </c:pt>
                <c:pt idx="1125">
                  <c:v>1948038.8454</c:v>
                </c:pt>
                <c:pt idx="1126">
                  <c:v>1986990.8454</c:v>
                </c:pt>
                <c:pt idx="1127">
                  <c:v>1991198.8454</c:v>
                </c:pt>
                <c:pt idx="1128">
                  <c:v>1980942.8454</c:v>
                </c:pt>
                <c:pt idx="1129">
                  <c:v>1973142.8454</c:v>
                </c:pt>
                <c:pt idx="1130">
                  <c:v>1969622.8454</c:v>
                </c:pt>
                <c:pt idx="1131">
                  <c:v>1974766.8454</c:v>
                </c:pt>
                <c:pt idx="1132">
                  <c:v>2002094.8454</c:v>
                </c:pt>
                <c:pt idx="1133">
                  <c:v>1999054.8454</c:v>
                </c:pt>
                <c:pt idx="1134">
                  <c:v>1991886.8454</c:v>
                </c:pt>
                <c:pt idx="1135">
                  <c:v>2004718.8454000009</c:v>
                </c:pt>
                <c:pt idx="1136">
                  <c:v>2070982.8454</c:v>
                </c:pt>
                <c:pt idx="1137">
                  <c:v>2098406.8454</c:v>
                </c:pt>
                <c:pt idx="1138">
                  <c:v>2104806.8454</c:v>
                </c:pt>
                <c:pt idx="1139">
                  <c:v>2124462.8454</c:v>
                </c:pt>
                <c:pt idx="1140">
                  <c:v>2109614.8454</c:v>
                </c:pt>
                <c:pt idx="1141">
                  <c:v>2101206.8454</c:v>
                </c:pt>
                <c:pt idx="1142">
                  <c:v>2060350.8454000009</c:v>
                </c:pt>
                <c:pt idx="1143">
                  <c:v>2064502.8454000009</c:v>
                </c:pt>
                <c:pt idx="1144">
                  <c:v>2096326.8454</c:v>
                </c:pt>
                <c:pt idx="1145">
                  <c:v>2073606.8454</c:v>
                </c:pt>
                <c:pt idx="1146">
                  <c:v>2061718.8454000009</c:v>
                </c:pt>
                <c:pt idx="1147">
                  <c:v>2026046.8454</c:v>
                </c:pt>
                <c:pt idx="1148">
                  <c:v>2034470.8454</c:v>
                </c:pt>
                <c:pt idx="1149">
                  <c:v>2045726.8454</c:v>
                </c:pt>
                <c:pt idx="1150">
                  <c:v>2071942.8454</c:v>
                </c:pt>
                <c:pt idx="1151">
                  <c:v>2081358.8454</c:v>
                </c:pt>
                <c:pt idx="1152">
                  <c:v>2061950.8454000009</c:v>
                </c:pt>
                <c:pt idx="1153">
                  <c:v>2093302.8454000009</c:v>
                </c:pt>
                <c:pt idx="1154">
                  <c:v>2096526.8454</c:v>
                </c:pt>
                <c:pt idx="1155">
                  <c:v>2092510.8454</c:v>
                </c:pt>
                <c:pt idx="1156">
                  <c:v>2055590.8454</c:v>
                </c:pt>
                <c:pt idx="1157">
                  <c:v>2049158.8454</c:v>
                </c:pt>
                <c:pt idx="1158">
                  <c:v>2059334.8454000009</c:v>
                </c:pt>
                <c:pt idx="1159">
                  <c:v>2095550.8454000009</c:v>
                </c:pt>
                <c:pt idx="1160">
                  <c:v>2075206.8454</c:v>
                </c:pt>
                <c:pt idx="1161">
                  <c:v>2053286.8454</c:v>
                </c:pt>
                <c:pt idx="1162">
                  <c:v>2038902.8454000009</c:v>
                </c:pt>
                <c:pt idx="1163">
                  <c:v>2013342.8454</c:v>
                </c:pt>
                <c:pt idx="1164">
                  <c:v>2011254.8454</c:v>
                </c:pt>
                <c:pt idx="1165">
                  <c:v>2016134.8454000009</c:v>
                </c:pt>
                <c:pt idx="1166">
                  <c:v>2044470.8454</c:v>
                </c:pt>
                <c:pt idx="1167">
                  <c:v>2017470.8454</c:v>
                </c:pt>
                <c:pt idx="1168">
                  <c:v>2026462.8454</c:v>
                </c:pt>
                <c:pt idx="1169">
                  <c:v>2022854.8454</c:v>
                </c:pt>
                <c:pt idx="1170">
                  <c:v>2025510.8454</c:v>
                </c:pt>
                <c:pt idx="1171">
                  <c:v>2001350.8454000009</c:v>
                </c:pt>
                <c:pt idx="1172">
                  <c:v>1990934.8454000009</c:v>
                </c:pt>
                <c:pt idx="1173">
                  <c:v>1964854.8454</c:v>
                </c:pt>
                <c:pt idx="1174">
                  <c:v>1971206.8454</c:v>
                </c:pt>
                <c:pt idx="1175">
                  <c:v>1990494.8454</c:v>
                </c:pt>
                <c:pt idx="1176">
                  <c:v>1948990.8454</c:v>
                </c:pt>
                <c:pt idx="1177">
                  <c:v>1962094.8454</c:v>
                </c:pt>
                <c:pt idx="1178">
                  <c:v>1999078.8454</c:v>
                </c:pt>
                <c:pt idx="1179">
                  <c:v>2061614.8454</c:v>
                </c:pt>
                <c:pt idx="1180">
                  <c:v>2048222.8454</c:v>
                </c:pt>
                <c:pt idx="1181">
                  <c:v>2058374.8454</c:v>
                </c:pt>
                <c:pt idx="1182">
                  <c:v>2046486.8454</c:v>
                </c:pt>
                <c:pt idx="1183">
                  <c:v>2036862.8454</c:v>
                </c:pt>
                <c:pt idx="1184">
                  <c:v>2029398.8454</c:v>
                </c:pt>
                <c:pt idx="1185">
                  <c:v>2028430.8454</c:v>
                </c:pt>
                <c:pt idx="1186">
                  <c:v>2050078.8454</c:v>
                </c:pt>
                <c:pt idx="1187">
                  <c:v>2070118.8454000009</c:v>
                </c:pt>
                <c:pt idx="1188">
                  <c:v>2069646.8454</c:v>
                </c:pt>
                <c:pt idx="1189">
                  <c:v>2053526.8454</c:v>
                </c:pt>
                <c:pt idx="1190">
                  <c:v>2072718.8454000009</c:v>
                </c:pt>
                <c:pt idx="1191">
                  <c:v>2098606.8454</c:v>
                </c:pt>
                <c:pt idx="1192">
                  <c:v>2093054.8454</c:v>
                </c:pt>
                <c:pt idx="1193">
                  <c:v>2080326.8454</c:v>
                </c:pt>
                <c:pt idx="1194">
                  <c:v>2079190.8454</c:v>
                </c:pt>
                <c:pt idx="1195">
                  <c:v>2081150.8454000009</c:v>
                </c:pt>
                <c:pt idx="1196">
                  <c:v>2048702.8454000009</c:v>
                </c:pt>
                <c:pt idx="1197">
                  <c:v>2046510.8454</c:v>
                </c:pt>
                <c:pt idx="1198">
                  <c:v>2043806.8454</c:v>
                </c:pt>
                <c:pt idx="1199">
                  <c:v>2012830.8454</c:v>
                </c:pt>
                <c:pt idx="1200">
                  <c:v>2003598.8454</c:v>
                </c:pt>
                <c:pt idx="1201">
                  <c:v>2004278.8454</c:v>
                </c:pt>
                <c:pt idx="1202">
                  <c:v>1984422.8454</c:v>
                </c:pt>
                <c:pt idx="1203">
                  <c:v>1941006.8454</c:v>
                </c:pt>
                <c:pt idx="1204">
                  <c:v>1946174.8454</c:v>
                </c:pt>
                <c:pt idx="1205">
                  <c:v>1949094.8454</c:v>
                </c:pt>
                <c:pt idx="1206">
                  <c:v>1962582.8454</c:v>
                </c:pt>
                <c:pt idx="1207">
                  <c:v>1930758.8454</c:v>
                </c:pt>
                <c:pt idx="1208">
                  <c:v>1961278.8454</c:v>
                </c:pt>
                <c:pt idx="1209">
                  <c:v>1958062.8454</c:v>
                </c:pt>
                <c:pt idx="1210">
                  <c:v>1982518.8454000009</c:v>
                </c:pt>
                <c:pt idx="1211">
                  <c:v>1976078.8454</c:v>
                </c:pt>
                <c:pt idx="1212">
                  <c:v>1951118.8454000009</c:v>
                </c:pt>
                <c:pt idx="1213">
                  <c:v>1909406.8454</c:v>
                </c:pt>
                <c:pt idx="1214">
                  <c:v>1908894.8454</c:v>
                </c:pt>
                <c:pt idx="1215">
                  <c:v>1912022.8454</c:v>
                </c:pt>
                <c:pt idx="1216">
                  <c:v>1896270.8454</c:v>
                </c:pt>
                <c:pt idx="1217">
                  <c:v>1882374.8454</c:v>
                </c:pt>
                <c:pt idx="1218">
                  <c:v>1873438.8454</c:v>
                </c:pt>
                <c:pt idx="1219">
                  <c:v>1888774.8454</c:v>
                </c:pt>
                <c:pt idx="1220">
                  <c:v>1885646.8454</c:v>
                </c:pt>
                <c:pt idx="1221">
                  <c:v>1887966.8454</c:v>
                </c:pt>
                <c:pt idx="1222">
                  <c:v>1861286.8454</c:v>
                </c:pt>
                <c:pt idx="1223">
                  <c:v>1851286.8454</c:v>
                </c:pt>
                <c:pt idx="1224">
                  <c:v>1868422.8454</c:v>
                </c:pt>
                <c:pt idx="1225">
                  <c:v>1913534.8454000009</c:v>
                </c:pt>
                <c:pt idx="1226">
                  <c:v>1904006.8454</c:v>
                </c:pt>
                <c:pt idx="1227">
                  <c:v>1915038.8454</c:v>
                </c:pt>
                <c:pt idx="1228">
                  <c:v>1891230.8454</c:v>
                </c:pt>
                <c:pt idx="1229">
                  <c:v>1894382.8454</c:v>
                </c:pt>
                <c:pt idx="1230">
                  <c:v>1900718.8454000009</c:v>
                </c:pt>
                <c:pt idx="1231">
                  <c:v>1880454.8454</c:v>
                </c:pt>
                <c:pt idx="1232">
                  <c:v>1888478.8454</c:v>
                </c:pt>
                <c:pt idx="1233">
                  <c:v>1932518.8454000009</c:v>
                </c:pt>
                <c:pt idx="1234">
                  <c:v>1946942.8454</c:v>
                </c:pt>
                <c:pt idx="1235">
                  <c:v>1951494.8454</c:v>
                </c:pt>
                <c:pt idx="1236">
                  <c:v>1942134.8454000009</c:v>
                </c:pt>
                <c:pt idx="1237">
                  <c:v>1954950.8454000009</c:v>
                </c:pt>
                <c:pt idx="1238">
                  <c:v>1967814.8454</c:v>
                </c:pt>
                <c:pt idx="1239">
                  <c:v>1944446.8454</c:v>
                </c:pt>
                <c:pt idx="1240">
                  <c:v>1965422.8454</c:v>
                </c:pt>
                <c:pt idx="1241">
                  <c:v>1948446.8454</c:v>
                </c:pt>
                <c:pt idx="1242">
                  <c:v>1929926.8454</c:v>
                </c:pt>
                <c:pt idx="1243">
                  <c:v>1890102.8454000009</c:v>
                </c:pt>
                <c:pt idx="1244">
                  <c:v>1844822.8454</c:v>
                </c:pt>
                <c:pt idx="1245">
                  <c:v>1849222.8454</c:v>
                </c:pt>
                <c:pt idx="1246">
                  <c:v>1841782.8454</c:v>
                </c:pt>
                <c:pt idx="1247">
                  <c:v>1861670.8454</c:v>
                </c:pt>
                <c:pt idx="1248">
                  <c:v>1870790.8454</c:v>
                </c:pt>
                <c:pt idx="1249">
                  <c:v>1865910.8454</c:v>
                </c:pt>
                <c:pt idx="1250">
                  <c:v>1849678.8454</c:v>
                </c:pt>
                <c:pt idx="1251">
                  <c:v>1857398.8454</c:v>
                </c:pt>
                <c:pt idx="1252">
                  <c:v>1853182.8454</c:v>
                </c:pt>
                <c:pt idx="1253">
                  <c:v>1796726.8454</c:v>
                </c:pt>
                <c:pt idx="1254">
                  <c:v>1805422.8454</c:v>
                </c:pt>
                <c:pt idx="1255">
                  <c:v>1809798.8454</c:v>
                </c:pt>
                <c:pt idx="1256">
                  <c:v>1830758.8454</c:v>
                </c:pt>
                <c:pt idx="1257">
                  <c:v>1816766.8454</c:v>
                </c:pt>
                <c:pt idx="1258">
                  <c:v>1832926.8454</c:v>
                </c:pt>
                <c:pt idx="1259">
                  <c:v>1828998.8454</c:v>
                </c:pt>
                <c:pt idx="1260">
                  <c:v>1815190.8454</c:v>
                </c:pt>
                <c:pt idx="1261">
                  <c:v>1788070.8454</c:v>
                </c:pt>
                <c:pt idx="1262">
                  <c:v>1845534.8454000009</c:v>
                </c:pt>
                <c:pt idx="1263">
                  <c:v>1859734.8454000009</c:v>
                </c:pt>
                <c:pt idx="1264">
                  <c:v>1858046.8454</c:v>
                </c:pt>
                <c:pt idx="1265">
                  <c:v>1855334.8454000009</c:v>
                </c:pt>
                <c:pt idx="1266">
                  <c:v>1843062.8454</c:v>
                </c:pt>
                <c:pt idx="1267">
                  <c:v>1840070.8454</c:v>
                </c:pt>
                <c:pt idx="1268">
                  <c:v>1835534.8454000009</c:v>
                </c:pt>
                <c:pt idx="1269">
                  <c:v>1848809.7966</c:v>
                </c:pt>
                <c:pt idx="1270">
                  <c:v>1848809.7966</c:v>
                </c:pt>
                <c:pt idx="1271">
                  <c:v>1848809.7966</c:v>
                </c:pt>
                <c:pt idx="1272">
                  <c:v>1848809.7966</c:v>
                </c:pt>
                <c:pt idx="1273">
                  <c:v>1848809.7966</c:v>
                </c:pt>
                <c:pt idx="1274">
                  <c:v>1848809.7966</c:v>
                </c:pt>
                <c:pt idx="1275">
                  <c:v>1848809.7966</c:v>
                </c:pt>
                <c:pt idx="1276">
                  <c:v>1848809.7966</c:v>
                </c:pt>
                <c:pt idx="1277">
                  <c:v>1848809.7966</c:v>
                </c:pt>
                <c:pt idx="1278">
                  <c:v>1848809.7966</c:v>
                </c:pt>
                <c:pt idx="1279">
                  <c:v>1848809.7966</c:v>
                </c:pt>
                <c:pt idx="1280">
                  <c:v>1848809.7966</c:v>
                </c:pt>
                <c:pt idx="1281">
                  <c:v>1848809.7966</c:v>
                </c:pt>
                <c:pt idx="1282">
                  <c:v>1848809.7966</c:v>
                </c:pt>
                <c:pt idx="1283">
                  <c:v>1848809.7966</c:v>
                </c:pt>
                <c:pt idx="1284">
                  <c:v>1848809.7966</c:v>
                </c:pt>
                <c:pt idx="1285">
                  <c:v>1848809.7966</c:v>
                </c:pt>
                <c:pt idx="1286">
                  <c:v>1848809.7966</c:v>
                </c:pt>
                <c:pt idx="1287">
                  <c:v>1848809.7966</c:v>
                </c:pt>
                <c:pt idx="1288">
                  <c:v>1848809.7966</c:v>
                </c:pt>
                <c:pt idx="1289">
                  <c:v>1848809.7966</c:v>
                </c:pt>
                <c:pt idx="1290">
                  <c:v>1848809.7966</c:v>
                </c:pt>
                <c:pt idx="1291">
                  <c:v>1848809.7966</c:v>
                </c:pt>
                <c:pt idx="1292">
                  <c:v>1848809.7966</c:v>
                </c:pt>
                <c:pt idx="1293">
                  <c:v>1848638.9565999999</c:v>
                </c:pt>
                <c:pt idx="1294">
                  <c:v>1847366.9565999999</c:v>
                </c:pt>
                <c:pt idx="1295">
                  <c:v>1884278.9566000011</c:v>
                </c:pt>
                <c:pt idx="1296">
                  <c:v>1880118.9565999999</c:v>
                </c:pt>
                <c:pt idx="1297">
                  <c:v>1878134.9565999999</c:v>
                </c:pt>
                <c:pt idx="1298">
                  <c:v>1855502.9565999999</c:v>
                </c:pt>
                <c:pt idx="1299">
                  <c:v>1856998.9565999999</c:v>
                </c:pt>
                <c:pt idx="1300">
                  <c:v>1832350.9565999999</c:v>
                </c:pt>
                <c:pt idx="1301">
                  <c:v>1832854.9565999999</c:v>
                </c:pt>
                <c:pt idx="1302">
                  <c:v>1848966.9565999999</c:v>
                </c:pt>
                <c:pt idx="1303">
                  <c:v>1844934.9565999999</c:v>
                </c:pt>
                <c:pt idx="1304">
                  <c:v>1858966.9565999999</c:v>
                </c:pt>
                <c:pt idx="1305">
                  <c:v>1864850.4782</c:v>
                </c:pt>
                <c:pt idx="1306">
                  <c:v>1864850.4782</c:v>
                </c:pt>
                <c:pt idx="1307">
                  <c:v>1864850.4782</c:v>
                </c:pt>
                <c:pt idx="1308">
                  <c:v>1864850.4782</c:v>
                </c:pt>
                <c:pt idx="1309">
                  <c:v>1864850.4782</c:v>
                </c:pt>
                <c:pt idx="1310">
                  <c:v>1864850.4782</c:v>
                </c:pt>
                <c:pt idx="1311">
                  <c:v>1864850.4782</c:v>
                </c:pt>
                <c:pt idx="1312">
                  <c:v>1864850.4782</c:v>
                </c:pt>
                <c:pt idx="1313">
                  <c:v>1864850.4782</c:v>
                </c:pt>
                <c:pt idx="1314">
                  <c:v>1864850.4782</c:v>
                </c:pt>
                <c:pt idx="1315">
                  <c:v>1864850.4782</c:v>
                </c:pt>
                <c:pt idx="1316">
                  <c:v>1864850.4782</c:v>
                </c:pt>
                <c:pt idx="1317">
                  <c:v>1864850.4782</c:v>
                </c:pt>
                <c:pt idx="1318">
                  <c:v>1864850.4782</c:v>
                </c:pt>
                <c:pt idx="1319">
                  <c:v>1864850.4782</c:v>
                </c:pt>
                <c:pt idx="1320">
                  <c:v>1864850.4782</c:v>
                </c:pt>
                <c:pt idx="1321">
                  <c:v>1864850.4782</c:v>
                </c:pt>
                <c:pt idx="1322">
                  <c:v>1864850.4782</c:v>
                </c:pt>
                <c:pt idx="1323">
                  <c:v>1864850.4782</c:v>
                </c:pt>
                <c:pt idx="1324">
                  <c:v>1864850.4782</c:v>
                </c:pt>
                <c:pt idx="1325">
                  <c:v>1864850.4782</c:v>
                </c:pt>
                <c:pt idx="1326">
                  <c:v>1864850.4782</c:v>
                </c:pt>
                <c:pt idx="1327">
                  <c:v>1864850.4782</c:v>
                </c:pt>
                <c:pt idx="1328">
                  <c:v>1864850.4782</c:v>
                </c:pt>
                <c:pt idx="1329">
                  <c:v>1864850.4782</c:v>
                </c:pt>
                <c:pt idx="1330">
                  <c:v>1864850.4782</c:v>
                </c:pt>
                <c:pt idx="1331">
                  <c:v>1864850.4782</c:v>
                </c:pt>
                <c:pt idx="1332">
                  <c:v>1864850.4782</c:v>
                </c:pt>
                <c:pt idx="1333">
                  <c:v>1864850.4782</c:v>
                </c:pt>
                <c:pt idx="1334">
                  <c:v>1864850.4782</c:v>
                </c:pt>
                <c:pt idx="1335">
                  <c:v>1864850.4782</c:v>
                </c:pt>
                <c:pt idx="1336">
                  <c:v>1864850.4782</c:v>
                </c:pt>
                <c:pt idx="1337">
                  <c:v>1864850.4782</c:v>
                </c:pt>
                <c:pt idx="1338">
                  <c:v>1864850.4782</c:v>
                </c:pt>
                <c:pt idx="1339">
                  <c:v>1864850.4782</c:v>
                </c:pt>
                <c:pt idx="1340">
                  <c:v>1864850.4782</c:v>
                </c:pt>
                <c:pt idx="1341">
                  <c:v>1864850.4782</c:v>
                </c:pt>
                <c:pt idx="1342">
                  <c:v>1864850.4782</c:v>
                </c:pt>
                <c:pt idx="1343">
                  <c:v>1864850.4782</c:v>
                </c:pt>
                <c:pt idx="1344">
                  <c:v>1864850.4782</c:v>
                </c:pt>
                <c:pt idx="1345">
                  <c:v>1864850.4782</c:v>
                </c:pt>
                <c:pt idx="1346">
                  <c:v>1864850.4782</c:v>
                </c:pt>
                <c:pt idx="1347">
                  <c:v>1864850.4782</c:v>
                </c:pt>
                <c:pt idx="1348">
                  <c:v>1864669.642200001</c:v>
                </c:pt>
                <c:pt idx="1349">
                  <c:v>1915429.642200001</c:v>
                </c:pt>
                <c:pt idx="1350">
                  <c:v>1921405.642200001</c:v>
                </c:pt>
                <c:pt idx="1351">
                  <c:v>1913917.642200001</c:v>
                </c:pt>
                <c:pt idx="1352">
                  <c:v>1936509.642200001</c:v>
                </c:pt>
                <c:pt idx="1353">
                  <c:v>1919829.642200001</c:v>
                </c:pt>
                <c:pt idx="1354">
                  <c:v>1956805.642200001</c:v>
                </c:pt>
                <c:pt idx="1355">
                  <c:v>1951789.642200001</c:v>
                </c:pt>
                <c:pt idx="1356">
                  <c:v>1946885.642200001</c:v>
                </c:pt>
                <c:pt idx="1357">
                  <c:v>1918277.642200001</c:v>
                </c:pt>
                <c:pt idx="1358">
                  <c:v>1921213.642200001</c:v>
                </c:pt>
                <c:pt idx="1359">
                  <c:v>1948589.642200001</c:v>
                </c:pt>
                <c:pt idx="1360">
                  <c:v>1941949.642200001</c:v>
                </c:pt>
                <c:pt idx="1361">
                  <c:v>1943429.642200001</c:v>
                </c:pt>
                <c:pt idx="1362">
                  <c:v>1925069.642200001</c:v>
                </c:pt>
                <c:pt idx="1363">
                  <c:v>1944821.642200001</c:v>
                </c:pt>
                <c:pt idx="1364">
                  <c:v>1955957.642200001</c:v>
                </c:pt>
                <c:pt idx="1365">
                  <c:v>1956125.642200001</c:v>
                </c:pt>
                <c:pt idx="1366">
                  <c:v>1949221.642200001</c:v>
                </c:pt>
                <c:pt idx="1367">
                  <c:v>1939701.642200001</c:v>
                </c:pt>
                <c:pt idx="1368">
                  <c:v>1948597.642200001</c:v>
                </c:pt>
                <c:pt idx="1369">
                  <c:v>1930597.642200001</c:v>
                </c:pt>
                <c:pt idx="1370">
                  <c:v>1915581.642200001</c:v>
                </c:pt>
                <c:pt idx="1371">
                  <c:v>1918381.642200001</c:v>
                </c:pt>
                <c:pt idx="1372">
                  <c:v>1905333.642200001</c:v>
                </c:pt>
                <c:pt idx="1373">
                  <c:v>1926941.642200001</c:v>
                </c:pt>
                <c:pt idx="1374">
                  <c:v>1940565.642200001</c:v>
                </c:pt>
                <c:pt idx="1375">
                  <c:v>1965477.642200001</c:v>
                </c:pt>
                <c:pt idx="1376">
                  <c:v>1983381.642200001</c:v>
                </c:pt>
                <c:pt idx="1377">
                  <c:v>1997285.642200001</c:v>
                </c:pt>
                <c:pt idx="1378">
                  <c:v>2015717.642200001</c:v>
                </c:pt>
                <c:pt idx="1379">
                  <c:v>2012485.642200001</c:v>
                </c:pt>
                <c:pt idx="1380">
                  <c:v>2002253.642200001</c:v>
                </c:pt>
                <c:pt idx="1381">
                  <c:v>1995069.642200001</c:v>
                </c:pt>
                <c:pt idx="1382">
                  <c:v>2006997.642200001</c:v>
                </c:pt>
                <c:pt idx="1383">
                  <c:v>2006061.642200001</c:v>
                </c:pt>
                <c:pt idx="1384">
                  <c:v>1967325.642200001</c:v>
                </c:pt>
                <c:pt idx="1385">
                  <c:v>1977373.642200001</c:v>
                </c:pt>
                <c:pt idx="1386">
                  <c:v>1983237.642200001</c:v>
                </c:pt>
                <c:pt idx="1387">
                  <c:v>1996477.642200001</c:v>
                </c:pt>
                <c:pt idx="1388">
                  <c:v>1959445.642200001</c:v>
                </c:pt>
                <c:pt idx="1389">
                  <c:v>1975877.642200001</c:v>
                </c:pt>
                <c:pt idx="1390">
                  <c:v>2009797.642200001</c:v>
                </c:pt>
                <c:pt idx="1391">
                  <c:v>2005885.642200001</c:v>
                </c:pt>
                <c:pt idx="1392">
                  <c:v>2006069.642200001</c:v>
                </c:pt>
                <c:pt idx="1393">
                  <c:v>2014549.642200001</c:v>
                </c:pt>
                <c:pt idx="1394">
                  <c:v>2017101.642200001</c:v>
                </c:pt>
                <c:pt idx="1395">
                  <c:v>2039013.642200001</c:v>
                </c:pt>
                <c:pt idx="1396">
                  <c:v>2041679.0854000009</c:v>
                </c:pt>
                <c:pt idx="1397">
                  <c:v>2041679.0854000009</c:v>
                </c:pt>
                <c:pt idx="1398">
                  <c:v>2041679.0854000009</c:v>
                </c:pt>
                <c:pt idx="1399">
                  <c:v>2041679.0854000009</c:v>
                </c:pt>
                <c:pt idx="1400">
                  <c:v>2041679.0854000009</c:v>
                </c:pt>
                <c:pt idx="1401">
                  <c:v>2041679.0854000009</c:v>
                </c:pt>
                <c:pt idx="1402">
                  <c:v>2041679.0854000009</c:v>
                </c:pt>
                <c:pt idx="1403">
                  <c:v>2041679.0854000009</c:v>
                </c:pt>
                <c:pt idx="1404">
                  <c:v>2041679.0854000009</c:v>
                </c:pt>
                <c:pt idx="1405">
                  <c:v>2041679.0854000009</c:v>
                </c:pt>
                <c:pt idx="1406">
                  <c:v>2041679.0854000009</c:v>
                </c:pt>
                <c:pt idx="1407">
                  <c:v>2041679.0854000009</c:v>
                </c:pt>
                <c:pt idx="1408">
                  <c:v>2041679.0854000009</c:v>
                </c:pt>
                <c:pt idx="1409">
                  <c:v>2041485.753400001</c:v>
                </c:pt>
                <c:pt idx="1410">
                  <c:v>2069269.753400001</c:v>
                </c:pt>
                <c:pt idx="1411">
                  <c:v>2083309.753400001</c:v>
                </c:pt>
                <c:pt idx="1412">
                  <c:v>2114821.7534000012</c:v>
                </c:pt>
                <c:pt idx="1413">
                  <c:v>2118205.7534000012</c:v>
                </c:pt>
                <c:pt idx="1414">
                  <c:v>2118701.7534000012</c:v>
                </c:pt>
                <c:pt idx="1415">
                  <c:v>2110925.7534000012</c:v>
                </c:pt>
                <c:pt idx="1416">
                  <c:v>2113021.7534000012</c:v>
                </c:pt>
                <c:pt idx="1417">
                  <c:v>2109885.7534000012</c:v>
                </c:pt>
                <c:pt idx="1418">
                  <c:v>2160749.7534000012</c:v>
                </c:pt>
                <c:pt idx="1419">
                  <c:v>2155053.7534000012</c:v>
                </c:pt>
                <c:pt idx="1420">
                  <c:v>2183621.7534000012</c:v>
                </c:pt>
                <c:pt idx="1421">
                  <c:v>2171965.7534000012</c:v>
                </c:pt>
                <c:pt idx="1422">
                  <c:v>2173037.7534000012</c:v>
                </c:pt>
                <c:pt idx="1423">
                  <c:v>2161845.7534000012</c:v>
                </c:pt>
                <c:pt idx="1424">
                  <c:v>2141301.7534000012</c:v>
                </c:pt>
                <c:pt idx="1425">
                  <c:v>2137941.7534000012</c:v>
                </c:pt>
                <c:pt idx="1426">
                  <c:v>2137845.7534000012</c:v>
                </c:pt>
                <c:pt idx="1427">
                  <c:v>2174933.7534000012</c:v>
                </c:pt>
                <c:pt idx="1428">
                  <c:v>2227573.7534000012</c:v>
                </c:pt>
                <c:pt idx="1429">
                  <c:v>2256613.7534000012</c:v>
                </c:pt>
                <c:pt idx="1430">
                  <c:v>2286581.7534000012</c:v>
                </c:pt>
                <c:pt idx="1431">
                  <c:v>2311757.7534000012</c:v>
                </c:pt>
                <c:pt idx="1432">
                  <c:v>2355221.7534000012</c:v>
                </c:pt>
                <c:pt idx="1433">
                  <c:v>2364013.7534000012</c:v>
                </c:pt>
                <c:pt idx="1434">
                  <c:v>2447317.7534000012</c:v>
                </c:pt>
                <c:pt idx="1435">
                  <c:v>2482205.7534000012</c:v>
                </c:pt>
                <c:pt idx="1436">
                  <c:v>2591645.7534000012</c:v>
                </c:pt>
                <c:pt idx="1437">
                  <c:v>2608077.7534000012</c:v>
                </c:pt>
                <c:pt idx="1438">
                  <c:v>2710469.7534000012</c:v>
                </c:pt>
                <c:pt idx="1439">
                  <c:v>2593693.7534000012</c:v>
                </c:pt>
                <c:pt idx="1440">
                  <c:v>2685405.7534000012</c:v>
                </c:pt>
                <c:pt idx="1441">
                  <c:v>2654573.7534000012</c:v>
                </c:pt>
                <c:pt idx="1442">
                  <c:v>2662749.7534000012</c:v>
                </c:pt>
                <c:pt idx="1443">
                  <c:v>2681949.7534000012</c:v>
                </c:pt>
                <c:pt idx="1444">
                  <c:v>2750885.7534000012</c:v>
                </c:pt>
                <c:pt idx="1445">
                  <c:v>2796645.7534000012</c:v>
                </c:pt>
                <c:pt idx="1446">
                  <c:v>2784909.7534000012</c:v>
                </c:pt>
                <c:pt idx="1447">
                  <c:v>2814701.7534000012</c:v>
                </c:pt>
                <c:pt idx="1448">
                  <c:v>2823749.7534000012</c:v>
                </c:pt>
                <c:pt idx="1449">
                  <c:v>2768101.7534000012</c:v>
                </c:pt>
                <c:pt idx="1450">
                  <c:v>2692477.7534000012</c:v>
                </c:pt>
                <c:pt idx="1451">
                  <c:v>2776501.7534000012</c:v>
                </c:pt>
                <c:pt idx="1452">
                  <c:v>2864837.7534000012</c:v>
                </c:pt>
                <c:pt idx="1453">
                  <c:v>2872533.7534000012</c:v>
                </c:pt>
                <c:pt idx="1454">
                  <c:v>2874205.7534000012</c:v>
                </c:pt>
                <c:pt idx="1455">
                  <c:v>2935133.7534000012</c:v>
                </c:pt>
                <c:pt idx="1456">
                  <c:v>3021397.7534000012</c:v>
                </c:pt>
                <c:pt idx="1457">
                  <c:v>3021013.7534000012</c:v>
                </c:pt>
                <c:pt idx="1458">
                  <c:v>3023197.7534000012</c:v>
                </c:pt>
                <c:pt idx="1459">
                  <c:v>2955573.7534000012</c:v>
                </c:pt>
                <c:pt idx="1460">
                  <c:v>2945541.7534000012</c:v>
                </c:pt>
                <c:pt idx="1461">
                  <c:v>2919029.7534000012</c:v>
                </c:pt>
                <c:pt idx="1462">
                  <c:v>2919397.7534000012</c:v>
                </c:pt>
                <c:pt idx="1463">
                  <c:v>2910101.7534000012</c:v>
                </c:pt>
                <c:pt idx="1464">
                  <c:v>2991461.7534000012</c:v>
                </c:pt>
                <c:pt idx="1465">
                  <c:v>3016285.7534000012</c:v>
                </c:pt>
                <c:pt idx="1466">
                  <c:v>2792293.7534000012</c:v>
                </c:pt>
                <c:pt idx="1467">
                  <c:v>2825141.7534000012</c:v>
                </c:pt>
                <c:pt idx="1468">
                  <c:v>2947277.7534000012</c:v>
                </c:pt>
                <c:pt idx="1469">
                  <c:v>2962253.7534000012</c:v>
                </c:pt>
                <c:pt idx="1470">
                  <c:v>2965549.7534000012</c:v>
                </c:pt>
                <c:pt idx="1471">
                  <c:v>2994557.7534000012</c:v>
                </c:pt>
                <c:pt idx="1472">
                  <c:v>2968109.7534000012</c:v>
                </c:pt>
                <c:pt idx="1473">
                  <c:v>2928421.7534000012</c:v>
                </c:pt>
                <c:pt idx="1474">
                  <c:v>2893605.7534000012</c:v>
                </c:pt>
                <c:pt idx="1475">
                  <c:v>2855677.7534000012</c:v>
                </c:pt>
                <c:pt idx="1476">
                  <c:v>2791333.7534000012</c:v>
                </c:pt>
                <c:pt idx="1477">
                  <c:v>2858125.7534000012</c:v>
                </c:pt>
                <c:pt idx="1478">
                  <c:v>2829581.7534000012</c:v>
                </c:pt>
                <c:pt idx="1479">
                  <c:v>2801725.7534000012</c:v>
                </c:pt>
                <c:pt idx="1480">
                  <c:v>2758101.7534000012</c:v>
                </c:pt>
                <c:pt idx="1481">
                  <c:v>2784901.7534000012</c:v>
                </c:pt>
                <c:pt idx="1482">
                  <c:v>2833717.7534000012</c:v>
                </c:pt>
                <c:pt idx="1483">
                  <c:v>2855461.7534000012</c:v>
                </c:pt>
                <c:pt idx="1484">
                  <c:v>2862461.7534000012</c:v>
                </c:pt>
                <c:pt idx="1485">
                  <c:v>2884029.7534000012</c:v>
                </c:pt>
                <c:pt idx="1486">
                  <c:v>2907749.7534000012</c:v>
                </c:pt>
                <c:pt idx="1487">
                  <c:v>2926021.7534000012</c:v>
                </c:pt>
                <c:pt idx="1488">
                  <c:v>2891149.7534000012</c:v>
                </c:pt>
                <c:pt idx="1489">
                  <c:v>2961205.7534000012</c:v>
                </c:pt>
                <c:pt idx="1490">
                  <c:v>2966437.7534000012</c:v>
                </c:pt>
                <c:pt idx="1491">
                  <c:v>2989181.7534000012</c:v>
                </c:pt>
                <c:pt idx="1492">
                  <c:v>2914485.7534000012</c:v>
                </c:pt>
                <c:pt idx="1493">
                  <c:v>2932821.7534000012</c:v>
                </c:pt>
                <c:pt idx="1494">
                  <c:v>2905237.7534000012</c:v>
                </c:pt>
                <c:pt idx="1495">
                  <c:v>2890981.7534000012</c:v>
                </c:pt>
                <c:pt idx="1496">
                  <c:v>2938365.7534000012</c:v>
                </c:pt>
                <c:pt idx="1497">
                  <c:v>2924653.7534000012</c:v>
                </c:pt>
                <c:pt idx="1498">
                  <c:v>2927885.7534000012</c:v>
                </c:pt>
                <c:pt idx="1499">
                  <c:v>2982437.7534000012</c:v>
                </c:pt>
                <c:pt idx="1500">
                  <c:v>3002293.7534000012</c:v>
                </c:pt>
                <c:pt idx="1501">
                  <c:v>3072701.7534000012</c:v>
                </c:pt>
                <c:pt idx="1502">
                  <c:v>3113861.7534000012</c:v>
                </c:pt>
                <c:pt idx="1503">
                  <c:v>3185013.7534000012</c:v>
                </c:pt>
                <c:pt idx="1504">
                  <c:v>3179957.7534000012</c:v>
                </c:pt>
                <c:pt idx="1505">
                  <c:v>3222221.7534000012</c:v>
                </c:pt>
                <c:pt idx="1506">
                  <c:v>3285813.7534000012</c:v>
                </c:pt>
                <c:pt idx="1507">
                  <c:v>3286605.7534000012</c:v>
                </c:pt>
                <c:pt idx="1508">
                  <c:v>3260493.7534000012</c:v>
                </c:pt>
                <c:pt idx="1509">
                  <c:v>3268165.7534000012</c:v>
                </c:pt>
                <c:pt idx="1510">
                  <c:v>3285525.7534000012</c:v>
                </c:pt>
                <c:pt idx="1511">
                  <c:v>3378709.7534000012</c:v>
                </c:pt>
                <c:pt idx="1512">
                  <c:v>3349125.7534000012</c:v>
                </c:pt>
                <c:pt idx="1513">
                  <c:v>3407285.7534000012</c:v>
                </c:pt>
                <c:pt idx="1514">
                  <c:v>3407989.7534000012</c:v>
                </c:pt>
                <c:pt idx="1515">
                  <c:v>3444597.7534000012</c:v>
                </c:pt>
                <c:pt idx="1516">
                  <c:v>3516197.7534000012</c:v>
                </c:pt>
                <c:pt idx="1517">
                  <c:v>3544805.7534000012</c:v>
                </c:pt>
                <c:pt idx="1518">
                  <c:v>3517877.7534000021</c:v>
                </c:pt>
                <c:pt idx="1519">
                  <c:v>3583701.7534000012</c:v>
                </c:pt>
                <c:pt idx="1520">
                  <c:v>3645021.7534000012</c:v>
                </c:pt>
                <c:pt idx="1521">
                  <c:v>3658709.7534000012</c:v>
                </c:pt>
                <c:pt idx="1522">
                  <c:v>3612573.7534000012</c:v>
                </c:pt>
                <c:pt idx="1523">
                  <c:v>3719005.7534000012</c:v>
                </c:pt>
                <c:pt idx="1524">
                  <c:v>3785077.7534000021</c:v>
                </c:pt>
                <c:pt idx="1525">
                  <c:v>3725701.7534000012</c:v>
                </c:pt>
                <c:pt idx="1526">
                  <c:v>3803493.7534000012</c:v>
                </c:pt>
                <c:pt idx="1527">
                  <c:v>3900013.7534000021</c:v>
                </c:pt>
                <c:pt idx="1528">
                  <c:v>3900877.7534000021</c:v>
                </c:pt>
                <c:pt idx="1529">
                  <c:v>3870277.7534000021</c:v>
                </c:pt>
                <c:pt idx="1530">
                  <c:v>3954237.7534000012</c:v>
                </c:pt>
                <c:pt idx="1531">
                  <c:v>3901653.7534000012</c:v>
                </c:pt>
                <c:pt idx="1532">
                  <c:v>3927629.7534000012</c:v>
                </c:pt>
                <c:pt idx="1533">
                  <c:v>3908077.7534000021</c:v>
                </c:pt>
                <c:pt idx="1534">
                  <c:v>3938357.7534000012</c:v>
                </c:pt>
                <c:pt idx="1535">
                  <c:v>3785637.7534000012</c:v>
                </c:pt>
                <c:pt idx="1536">
                  <c:v>3750829.7534000012</c:v>
                </c:pt>
                <c:pt idx="1537">
                  <c:v>3684237.7534000012</c:v>
                </c:pt>
                <c:pt idx="1538">
                  <c:v>3754885.7534000012</c:v>
                </c:pt>
                <c:pt idx="1539">
                  <c:v>3860589.7534000012</c:v>
                </c:pt>
                <c:pt idx="1540">
                  <c:v>3906101.7534000012</c:v>
                </c:pt>
                <c:pt idx="1541">
                  <c:v>3882917.7534000012</c:v>
                </c:pt>
                <c:pt idx="1542">
                  <c:v>3868789.7534000012</c:v>
                </c:pt>
                <c:pt idx="1543">
                  <c:v>3802141.7534000012</c:v>
                </c:pt>
                <c:pt idx="1544">
                  <c:v>3768277.7534000021</c:v>
                </c:pt>
                <c:pt idx="1545">
                  <c:v>3893141.7534000012</c:v>
                </c:pt>
                <c:pt idx="1546">
                  <c:v>3912101.7534000012</c:v>
                </c:pt>
                <c:pt idx="1547">
                  <c:v>3980949.7534000012</c:v>
                </c:pt>
                <c:pt idx="1548">
                  <c:v>4069237.7534000012</c:v>
                </c:pt>
                <c:pt idx="1549">
                  <c:v>4187765.7534000012</c:v>
                </c:pt>
                <c:pt idx="1550">
                  <c:v>4267301.7534000007</c:v>
                </c:pt>
                <c:pt idx="1551">
                  <c:v>4253309.7534000007</c:v>
                </c:pt>
                <c:pt idx="1552">
                  <c:v>3975373.7534000012</c:v>
                </c:pt>
                <c:pt idx="1553">
                  <c:v>3980829.7534000012</c:v>
                </c:pt>
                <c:pt idx="1554">
                  <c:v>4169109.7534000012</c:v>
                </c:pt>
                <c:pt idx="1555">
                  <c:v>4237661.7534000007</c:v>
                </c:pt>
                <c:pt idx="1556">
                  <c:v>4223037.7534000007</c:v>
                </c:pt>
                <c:pt idx="1557">
                  <c:v>4253301.7534000007</c:v>
                </c:pt>
                <c:pt idx="1558">
                  <c:v>4292605.7534000007</c:v>
                </c:pt>
                <c:pt idx="1559">
                  <c:v>4391165.7534000007</c:v>
                </c:pt>
                <c:pt idx="1560">
                  <c:v>4362133.7534000007</c:v>
                </c:pt>
                <c:pt idx="1561">
                  <c:v>4355453.7534000007</c:v>
                </c:pt>
                <c:pt idx="1562">
                  <c:v>4353437.7534000007</c:v>
                </c:pt>
                <c:pt idx="1563">
                  <c:v>4376261.7534000007</c:v>
                </c:pt>
                <c:pt idx="1564">
                  <c:v>4285101.7534000007</c:v>
                </c:pt>
                <c:pt idx="1565">
                  <c:v>4160021.7534000012</c:v>
                </c:pt>
                <c:pt idx="1566">
                  <c:v>4219229.7534000007</c:v>
                </c:pt>
                <c:pt idx="1567">
                  <c:v>4052605.7534000012</c:v>
                </c:pt>
                <c:pt idx="1568">
                  <c:v>3817805.7534000012</c:v>
                </c:pt>
                <c:pt idx="1569">
                  <c:v>3936654.866200001</c:v>
                </c:pt>
                <c:pt idx="1570">
                  <c:v>3936654.866200001</c:v>
                </c:pt>
                <c:pt idx="1571">
                  <c:v>3936654.866200001</c:v>
                </c:pt>
                <c:pt idx="1572">
                  <c:v>3936654.866200001</c:v>
                </c:pt>
                <c:pt idx="1573">
                  <c:v>3936654.866200001</c:v>
                </c:pt>
                <c:pt idx="1574">
                  <c:v>3936654.866200001</c:v>
                </c:pt>
                <c:pt idx="1575">
                  <c:v>3936654.866200001</c:v>
                </c:pt>
                <c:pt idx="1576">
                  <c:v>3936654.866200001</c:v>
                </c:pt>
                <c:pt idx="1577">
                  <c:v>3936654.866200001</c:v>
                </c:pt>
                <c:pt idx="1578">
                  <c:v>3936654.866200001</c:v>
                </c:pt>
                <c:pt idx="1579">
                  <c:v>3936654.866200001</c:v>
                </c:pt>
                <c:pt idx="1580">
                  <c:v>3936654.866200001</c:v>
                </c:pt>
                <c:pt idx="1581">
                  <c:v>3936654.866200001</c:v>
                </c:pt>
                <c:pt idx="1582">
                  <c:v>3936654.866200001</c:v>
                </c:pt>
                <c:pt idx="1583">
                  <c:v>3936654.866200001</c:v>
                </c:pt>
                <c:pt idx="1584">
                  <c:v>3936654.866200001</c:v>
                </c:pt>
                <c:pt idx="1585">
                  <c:v>3936654.866200001</c:v>
                </c:pt>
                <c:pt idx="1586">
                  <c:v>3936654.866200001</c:v>
                </c:pt>
                <c:pt idx="1587">
                  <c:v>3936654.866200001</c:v>
                </c:pt>
                <c:pt idx="1588">
                  <c:v>3936654.866200001</c:v>
                </c:pt>
                <c:pt idx="1589">
                  <c:v>3936654.866200001</c:v>
                </c:pt>
                <c:pt idx="1590">
                  <c:v>3936654.866200001</c:v>
                </c:pt>
                <c:pt idx="1591">
                  <c:v>3936654.866200001</c:v>
                </c:pt>
                <c:pt idx="1592">
                  <c:v>3936654.866200001</c:v>
                </c:pt>
                <c:pt idx="1593">
                  <c:v>3936654.866200001</c:v>
                </c:pt>
                <c:pt idx="1594">
                  <c:v>3936654.866200001</c:v>
                </c:pt>
                <c:pt idx="1595">
                  <c:v>3936654.866200001</c:v>
                </c:pt>
                <c:pt idx="1596">
                  <c:v>3936654.866200001</c:v>
                </c:pt>
                <c:pt idx="1597">
                  <c:v>3936654.866200001</c:v>
                </c:pt>
                <c:pt idx="1598">
                  <c:v>3936654.866200001</c:v>
                </c:pt>
                <c:pt idx="1599">
                  <c:v>3936654.866200001</c:v>
                </c:pt>
                <c:pt idx="1600">
                  <c:v>3936654.866200001</c:v>
                </c:pt>
                <c:pt idx="1601">
                  <c:v>3936654.866200001</c:v>
                </c:pt>
                <c:pt idx="1602">
                  <c:v>3936654.866200001</c:v>
                </c:pt>
                <c:pt idx="1603">
                  <c:v>3936654.866200001</c:v>
                </c:pt>
                <c:pt idx="1604">
                  <c:v>3936654.866200001</c:v>
                </c:pt>
                <c:pt idx="1605">
                  <c:v>3936654.866200001</c:v>
                </c:pt>
                <c:pt idx="1606">
                  <c:v>3936654.866200001</c:v>
                </c:pt>
                <c:pt idx="1607">
                  <c:v>3936654.866200001</c:v>
                </c:pt>
                <c:pt idx="1608">
                  <c:v>3936654.866200001</c:v>
                </c:pt>
                <c:pt idx="1609">
                  <c:v>3936654.866200001</c:v>
                </c:pt>
                <c:pt idx="1610">
                  <c:v>3936654.866200001</c:v>
                </c:pt>
                <c:pt idx="1611">
                  <c:v>3936654.866200001</c:v>
                </c:pt>
                <c:pt idx="1612">
                  <c:v>3936654.866200001</c:v>
                </c:pt>
                <c:pt idx="1613">
                  <c:v>3936654.866200001</c:v>
                </c:pt>
                <c:pt idx="1614">
                  <c:v>3936654.866200001</c:v>
                </c:pt>
                <c:pt idx="1615">
                  <c:v>3936654.866200001</c:v>
                </c:pt>
                <c:pt idx="1616">
                  <c:v>3936654.866200001</c:v>
                </c:pt>
                <c:pt idx="1617">
                  <c:v>3936654.866200001</c:v>
                </c:pt>
                <c:pt idx="1618">
                  <c:v>3936654.866200001</c:v>
                </c:pt>
                <c:pt idx="1619">
                  <c:v>3936654.866200001</c:v>
                </c:pt>
                <c:pt idx="1620">
                  <c:v>3936654.866200001</c:v>
                </c:pt>
                <c:pt idx="1621">
                  <c:v>3936654.866200001</c:v>
                </c:pt>
                <c:pt idx="1622">
                  <c:v>3936654.866200001</c:v>
                </c:pt>
                <c:pt idx="1623">
                  <c:v>3936654.866200001</c:v>
                </c:pt>
                <c:pt idx="1624">
                  <c:v>3936654.866200001</c:v>
                </c:pt>
                <c:pt idx="1625">
                  <c:v>3936654.866200001</c:v>
                </c:pt>
                <c:pt idx="1626">
                  <c:v>3936654.866200001</c:v>
                </c:pt>
                <c:pt idx="1627">
                  <c:v>3936276.5986000011</c:v>
                </c:pt>
                <c:pt idx="1628">
                  <c:v>4124700.5986000011</c:v>
                </c:pt>
                <c:pt idx="1629">
                  <c:v>4038000.5986000011</c:v>
                </c:pt>
                <c:pt idx="1630">
                  <c:v>4055124.5986000011</c:v>
                </c:pt>
                <c:pt idx="1631">
                  <c:v>4123103.6086000009</c:v>
                </c:pt>
                <c:pt idx="1632">
                  <c:v>4123103.6086000009</c:v>
                </c:pt>
                <c:pt idx="1633">
                  <c:v>4123103.6086000009</c:v>
                </c:pt>
                <c:pt idx="1634">
                  <c:v>4123103.6086000009</c:v>
                </c:pt>
                <c:pt idx="1635">
                  <c:v>4123103.6086000009</c:v>
                </c:pt>
                <c:pt idx="1636">
                  <c:v>4123103.6086000009</c:v>
                </c:pt>
                <c:pt idx="1637">
                  <c:v>4123103.6086000009</c:v>
                </c:pt>
                <c:pt idx="1638">
                  <c:v>4123103.6086000009</c:v>
                </c:pt>
                <c:pt idx="1639">
                  <c:v>4123103.6086000009</c:v>
                </c:pt>
                <c:pt idx="1640">
                  <c:v>4123103.6086000009</c:v>
                </c:pt>
                <c:pt idx="1641">
                  <c:v>4123103.6086000009</c:v>
                </c:pt>
                <c:pt idx="1642">
                  <c:v>4123103.6086000009</c:v>
                </c:pt>
                <c:pt idx="1643">
                  <c:v>4123103.6086000009</c:v>
                </c:pt>
                <c:pt idx="1644">
                  <c:v>4123103.6086000009</c:v>
                </c:pt>
                <c:pt idx="1645">
                  <c:v>4123103.6086000009</c:v>
                </c:pt>
                <c:pt idx="1646">
                  <c:v>4123103.6086000009</c:v>
                </c:pt>
                <c:pt idx="1647">
                  <c:v>4123103.6086000009</c:v>
                </c:pt>
                <c:pt idx="1648">
                  <c:v>4123103.6086000009</c:v>
                </c:pt>
                <c:pt idx="1649">
                  <c:v>4123103.6086000009</c:v>
                </c:pt>
                <c:pt idx="1650">
                  <c:v>4123103.6086000009</c:v>
                </c:pt>
                <c:pt idx="1651">
                  <c:v>4123103.6086000009</c:v>
                </c:pt>
                <c:pt idx="1652">
                  <c:v>4123103.6086000009</c:v>
                </c:pt>
                <c:pt idx="1653">
                  <c:v>4123103.6086000009</c:v>
                </c:pt>
                <c:pt idx="1654">
                  <c:v>4123103.6086000009</c:v>
                </c:pt>
                <c:pt idx="1655">
                  <c:v>4123103.6086000009</c:v>
                </c:pt>
                <c:pt idx="1656">
                  <c:v>4123103.6086000009</c:v>
                </c:pt>
                <c:pt idx="1657">
                  <c:v>4123103.6086000009</c:v>
                </c:pt>
                <c:pt idx="1658">
                  <c:v>4123103.6086000009</c:v>
                </c:pt>
                <c:pt idx="1659">
                  <c:v>4123103.6086000009</c:v>
                </c:pt>
                <c:pt idx="1660">
                  <c:v>4123103.6086000009</c:v>
                </c:pt>
                <c:pt idx="1661">
                  <c:v>4123103.6086000009</c:v>
                </c:pt>
                <c:pt idx="1662">
                  <c:v>4123103.6086000009</c:v>
                </c:pt>
                <c:pt idx="1663">
                  <c:v>4123103.6086000009</c:v>
                </c:pt>
                <c:pt idx="1664">
                  <c:v>4123103.6086000009</c:v>
                </c:pt>
                <c:pt idx="1665">
                  <c:v>4123103.6086000009</c:v>
                </c:pt>
                <c:pt idx="1666">
                  <c:v>4123103.6086000009</c:v>
                </c:pt>
                <c:pt idx="1667">
                  <c:v>4123103.6086000009</c:v>
                </c:pt>
                <c:pt idx="1668">
                  <c:v>4123103.6086000009</c:v>
                </c:pt>
                <c:pt idx="1669">
                  <c:v>4123103.6086000009</c:v>
                </c:pt>
                <c:pt idx="1670">
                  <c:v>4123103.6086000009</c:v>
                </c:pt>
                <c:pt idx="1671">
                  <c:v>4123103.6086000009</c:v>
                </c:pt>
                <c:pt idx="1672">
                  <c:v>4123103.6086000009</c:v>
                </c:pt>
                <c:pt idx="1673">
                  <c:v>4123103.6086000009</c:v>
                </c:pt>
                <c:pt idx="1674">
                  <c:v>4123103.6086000009</c:v>
                </c:pt>
                <c:pt idx="1675">
                  <c:v>4123103.6086000009</c:v>
                </c:pt>
                <c:pt idx="1676">
                  <c:v>4123103.6086000009</c:v>
                </c:pt>
                <c:pt idx="1677">
                  <c:v>4123103.6086000009</c:v>
                </c:pt>
                <c:pt idx="1678">
                  <c:v>4123103.6086000009</c:v>
                </c:pt>
                <c:pt idx="1679">
                  <c:v>4123103.6086000009</c:v>
                </c:pt>
                <c:pt idx="1680">
                  <c:v>4123103.6086000009</c:v>
                </c:pt>
                <c:pt idx="1681">
                  <c:v>4123103.6086000009</c:v>
                </c:pt>
                <c:pt idx="1682">
                  <c:v>4123103.6086000009</c:v>
                </c:pt>
                <c:pt idx="1683">
                  <c:v>4123103.6086000009</c:v>
                </c:pt>
                <c:pt idx="1684">
                  <c:v>4123103.6086000009</c:v>
                </c:pt>
                <c:pt idx="1685">
                  <c:v>4123103.6086000009</c:v>
                </c:pt>
                <c:pt idx="1686">
                  <c:v>4123103.6086000009</c:v>
                </c:pt>
                <c:pt idx="1687">
                  <c:v>4123103.6086000009</c:v>
                </c:pt>
                <c:pt idx="1688">
                  <c:v>4123103.6086000009</c:v>
                </c:pt>
                <c:pt idx="1689">
                  <c:v>4123103.6086000009</c:v>
                </c:pt>
                <c:pt idx="1690">
                  <c:v>4123103.6086000009</c:v>
                </c:pt>
                <c:pt idx="1691">
                  <c:v>4123103.6086000009</c:v>
                </c:pt>
                <c:pt idx="1692">
                  <c:v>4123103.6086000009</c:v>
                </c:pt>
                <c:pt idx="1693">
                  <c:v>4123103.6086000009</c:v>
                </c:pt>
                <c:pt idx="1694">
                  <c:v>4123103.6086000009</c:v>
                </c:pt>
                <c:pt idx="1695">
                  <c:v>4123103.6086000009</c:v>
                </c:pt>
                <c:pt idx="1696">
                  <c:v>4123103.6086000009</c:v>
                </c:pt>
                <c:pt idx="1697">
                  <c:v>4123103.6086000009</c:v>
                </c:pt>
                <c:pt idx="1698">
                  <c:v>4123103.6086000009</c:v>
                </c:pt>
                <c:pt idx="1699">
                  <c:v>4123103.6086000009</c:v>
                </c:pt>
                <c:pt idx="1700">
                  <c:v>4123103.6086000009</c:v>
                </c:pt>
                <c:pt idx="1701">
                  <c:v>4123103.6086000009</c:v>
                </c:pt>
                <c:pt idx="1702">
                  <c:v>4123103.6086000009</c:v>
                </c:pt>
                <c:pt idx="1703">
                  <c:v>4123103.6086000009</c:v>
                </c:pt>
                <c:pt idx="1704">
                  <c:v>4123103.6086000009</c:v>
                </c:pt>
                <c:pt idx="1705">
                  <c:v>4123103.6086000009</c:v>
                </c:pt>
                <c:pt idx="1706">
                  <c:v>4123103.6086000009</c:v>
                </c:pt>
                <c:pt idx="1707">
                  <c:v>4123103.6086000009</c:v>
                </c:pt>
                <c:pt idx="1708">
                  <c:v>4123103.6086000009</c:v>
                </c:pt>
                <c:pt idx="1709">
                  <c:v>4123103.6086000009</c:v>
                </c:pt>
                <c:pt idx="1710">
                  <c:v>4123103.6086000009</c:v>
                </c:pt>
                <c:pt idx="1711">
                  <c:v>4123103.6086000009</c:v>
                </c:pt>
                <c:pt idx="1712">
                  <c:v>4123103.6086000009</c:v>
                </c:pt>
                <c:pt idx="1713">
                  <c:v>4123103.6086000009</c:v>
                </c:pt>
                <c:pt idx="1714">
                  <c:v>4123103.6086000009</c:v>
                </c:pt>
                <c:pt idx="1715">
                  <c:v>4123103.6086000009</c:v>
                </c:pt>
                <c:pt idx="1716">
                  <c:v>4123103.6086000009</c:v>
                </c:pt>
                <c:pt idx="1717">
                  <c:v>4123103.6086000009</c:v>
                </c:pt>
                <c:pt idx="1718">
                  <c:v>4123103.6086000009</c:v>
                </c:pt>
                <c:pt idx="1719">
                  <c:v>4123103.6086000009</c:v>
                </c:pt>
                <c:pt idx="1720">
                  <c:v>4123103.6086000009</c:v>
                </c:pt>
                <c:pt idx="1721">
                  <c:v>4123103.6086000009</c:v>
                </c:pt>
                <c:pt idx="1722">
                  <c:v>4123103.6086000009</c:v>
                </c:pt>
                <c:pt idx="1723">
                  <c:v>4123103.6086000009</c:v>
                </c:pt>
                <c:pt idx="1724">
                  <c:v>4123103.6086000009</c:v>
                </c:pt>
                <c:pt idx="1725">
                  <c:v>4123103.6086000009</c:v>
                </c:pt>
                <c:pt idx="1726">
                  <c:v>4123103.6086000009</c:v>
                </c:pt>
                <c:pt idx="1727">
                  <c:v>4123103.6086000009</c:v>
                </c:pt>
                <c:pt idx="1728">
                  <c:v>4123103.6086000009</c:v>
                </c:pt>
                <c:pt idx="1729">
                  <c:v>4123103.6086000009</c:v>
                </c:pt>
                <c:pt idx="1730">
                  <c:v>4123103.6086000009</c:v>
                </c:pt>
                <c:pt idx="1731">
                  <c:v>4123103.6086000009</c:v>
                </c:pt>
                <c:pt idx="1732">
                  <c:v>4123103.6086000009</c:v>
                </c:pt>
                <c:pt idx="1733">
                  <c:v>4123103.6086000009</c:v>
                </c:pt>
                <c:pt idx="1734">
                  <c:v>4123103.6086000009</c:v>
                </c:pt>
                <c:pt idx="1735">
                  <c:v>4123103.6086000009</c:v>
                </c:pt>
                <c:pt idx="1736">
                  <c:v>4123103.6086000009</c:v>
                </c:pt>
                <c:pt idx="1737">
                  <c:v>4123103.6086000009</c:v>
                </c:pt>
                <c:pt idx="1738">
                  <c:v>4123103.6086000009</c:v>
                </c:pt>
                <c:pt idx="1739">
                  <c:v>4123103.6086000009</c:v>
                </c:pt>
                <c:pt idx="1740">
                  <c:v>4123103.6086000009</c:v>
                </c:pt>
                <c:pt idx="1741">
                  <c:v>4123103.6086000009</c:v>
                </c:pt>
                <c:pt idx="1742">
                  <c:v>4123103.6086000009</c:v>
                </c:pt>
                <c:pt idx="1743">
                  <c:v>4123103.6086000009</c:v>
                </c:pt>
                <c:pt idx="1744">
                  <c:v>4123103.6086000009</c:v>
                </c:pt>
                <c:pt idx="1745">
                  <c:v>4123103.6086000009</c:v>
                </c:pt>
                <c:pt idx="1746">
                  <c:v>4123103.6086000009</c:v>
                </c:pt>
                <c:pt idx="1747">
                  <c:v>4123103.6086000009</c:v>
                </c:pt>
                <c:pt idx="1748">
                  <c:v>4123103.6086000009</c:v>
                </c:pt>
                <c:pt idx="1749">
                  <c:v>4123103.6086000009</c:v>
                </c:pt>
                <c:pt idx="1750">
                  <c:v>4123103.6086000009</c:v>
                </c:pt>
                <c:pt idx="1751">
                  <c:v>4123103.6086000009</c:v>
                </c:pt>
                <c:pt idx="1752">
                  <c:v>4123103.6086000009</c:v>
                </c:pt>
                <c:pt idx="1753">
                  <c:v>4123103.6086000009</c:v>
                </c:pt>
                <c:pt idx="1754">
                  <c:v>4123103.6086000009</c:v>
                </c:pt>
                <c:pt idx="1755">
                  <c:v>4123103.6086000009</c:v>
                </c:pt>
                <c:pt idx="1756">
                  <c:v>4123103.6086000009</c:v>
                </c:pt>
                <c:pt idx="1757">
                  <c:v>4123103.6086000009</c:v>
                </c:pt>
                <c:pt idx="1758">
                  <c:v>4123103.6086000009</c:v>
                </c:pt>
                <c:pt idx="1759">
                  <c:v>4123103.6086000009</c:v>
                </c:pt>
                <c:pt idx="1760">
                  <c:v>4123103.6086000009</c:v>
                </c:pt>
                <c:pt idx="1761">
                  <c:v>4123103.6086000009</c:v>
                </c:pt>
                <c:pt idx="1762">
                  <c:v>4123103.6086000009</c:v>
                </c:pt>
                <c:pt idx="1763">
                  <c:v>4123103.6086000009</c:v>
                </c:pt>
                <c:pt idx="1764">
                  <c:v>4123103.6086000009</c:v>
                </c:pt>
                <c:pt idx="1765">
                  <c:v>4123103.6086000009</c:v>
                </c:pt>
                <c:pt idx="1766">
                  <c:v>4123103.6086000009</c:v>
                </c:pt>
                <c:pt idx="1767">
                  <c:v>4123103.6086000009</c:v>
                </c:pt>
                <c:pt idx="1768">
                  <c:v>4123103.6086000009</c:v>
                </c:pt>
                <c:pt idx="1769">
                  <c:v>4123103.6086000009</c:v>
                </c:pt>
                <c:pt idx="1770">
                  <c:v>4123103.6086000009</c:v>
                </c:pt>
                <c:pt idx="1771">
                  <c:v>4123103.6086000009</c:v>
                </c:pt>
                <c:pt idx="1772">
                  <c:v>4123103.6086000009</c:v>
                </c:pt>
                <c:pt idx="1773">
                  <c:v>4123103.6086000009</c:v>
                </c:pt>
                <c:pt idx="1774">
                  <c:v>4123103.6086000009</c:v>
                </c:pt>
                <c:pt idx="1775">
                  <c:v>4123103.6086000009</c:v>
                </c:pt>
                <c:pt idx="1776">
                  <c:v>4123103.6086000009</c:v>
                </c:pt>
                <c:pt idx="1777">
                  <c:v>4123103.6086000009</c:v>
                </c:pt>
                <c:pt idx="1778">
                  <c:v>4123103.6086000009</c:v>
                </c:pt>
                <c:pt idx="1779">
                  <c:v>4123103.6086000009</c:v>
                </c:pt>
                <c:pt idx="1780">
                  <c:v>4123103.6086000009</c:v>
                </c:pt>
                <c:pt idx="1781">
                  <c:v>4123103.6086000009</c:v>
                </c:pt>
                <c:pt idx="1782">
                  <c:v>4123103.6086000009</c:v>
                </c:pt>
                <c:pt idx="1783">
                  <c:v>4123103.6086000009</c:v>
                </c:pt>
                <c:pt idx="1784">
                  <c:v>4123103.6086000009</c:v>
                </c:pt>
                <c:pt idx="1785">
                  <c:v>4123103.6086000009</c:v>
                </c:pt>
                <c:pt idx="1786">
                  <c:v>4123103.6086000009</c:v>
                </c:pt>
                <c:pt idx="1787">
                  <c:v>4123103.6086000009</c:v>
                </c:pt>
                <c:pt idx="1788">
                  <c:v>4123103.6086000009</c:v>
                </c:pt>
                <c:pt idx="1789">
                  <c:v>4123103.6086000009</c:v>
                </c:pt>
                <c:pt idx="1790">
                  <c:v>4123103.6086000009</c:v>
                </c:pt>
                <c:pt idx="1791">
                  <c:v>4123103.6086000009</c:v>
                </c:pt>
                <c:pt idx="1792">
                  <c:v>4123103.6086000009</c:v>
                </c:pt>
                <c:pt idx="1793">
                  <c:v>4123103.6086000009</c:v>
                </c:pt>
                <c:pt idx="1794">
                  <c:v>4123103.6086000009</c:v>
                </c:pt>
                <c:pt idx="1795">
                  <c:v>4123103.6086000009</c:v>
                </c:pt>
                <c:pt idx="1796">
                  <c:v>4123103.6086000009</c:v>
                </c:pt>
                <c:pt idx="1797">
                  <c:v>4123103.6086000009</c:v>
                </c:pt>
                <c:pt idx="1798">
                  <c:v>4123103.6086000009</c:v>
                </c:pt>
                <c:pt idx="1799">
                  <c:v>4123103.6086000009</c:v>
                </c:pt>
                <c:pt idx="1800">
                  <c:v>4123103.6086000009</c:v>
                </c:pt>
                <c:pt idx="1801">
                  <c:v>4123103.6086000009</c:v>
                </c:pt>
                <c:pt idx="1802">
                  <c:v>4123103.6086000009</c:v>
                </c:pt>
                <c:pt idx="1803">
                  <c:v>4123103.6086000009</c:v>
                </c:pt>
                <c:pt idx="1804">
                  <c:v>4123103.6086000009</c:v>
                </c:pt>
                <c:pt idx="1805">
                  <c:v>4123103.6086000009</c:v>
                </c:pt>
                <c:pt idx="1806">
                  <c:v>4123103.6086000009</c:v>
                </c:pt>
                <c:pt idx="1807">
                  <c:v>4123103.6086000009</c:v>
                </c:pt>
                <c:pt idx="1808">
                  <c:v>4123103.6086000009</c:v>
                </c:pt>
                <c:pt idx="1809">
                  <c:v>4123103.6086000009</c:v>
                </c:pt>
                <c:pt idx="1810">
                  <c:v>4123103.6086000009</c:v>
                </c:pt>
                <c:pt idx="1811">
                  <c:v>4123103.6086000009</c:v>
                </c:pt>
                <c:pt idx="1812">
                  <c:v>4123103.6086000009</c:v>
                </c:pt>
                <c:pt idx="1813">
                  <c:v>4123103.6086000009</c:v>
                </c:pt>
                <c:pt idx="1814">
                  <c:v>4123103.6086000009</c:v>
                </c:pt>
                <c:pt idx="1815">
                  <c:v>4123103.6086000009</c:v>
                </c:pt>
                <c:pt idx="1816">
                  <c:v>4123103.6086000009</c:v>
                </c:pt>
                <c:pt idx="1817">
                  <c:v>4123103.6086000009</c:v>
                </c:pt>
                <c:pt idx="1818">
                  <c:v>4123103.6086000009</c:v>
                </c:pt>
                <c:pt idx="1819">
                  <c:v>4123103.6086000009</c:v>
                </c:pt>
                <c:pt idx="1820">
                  <c:v>4123103.6086000009</c:v>
                </c:pt>
                <c:pt idx="1821">
                  <c:v>4123103.6086000009</c:v>
                </c:pt>
                <c:pt idx="1822">
                  <c:v>4123103.6086000009</c:v>
                </c:pt>
                <c:pt idx="1823">
                  <c:v>4123103.6086000009</c:v>
                </c:pt>
                <c:pt idx="1824">
                  <c:v>4123103.6086000009</c:v>
                </c:pt>
                <c:pt idx="1825">
                  <c:v>4123103.6086000009</c:v>
                </c:pt>
                <c:pt idx="1826">
                  <c:v>4123103.6086000009</c:v>
                </c:pt>
                <c:pt idx="1827">
                  <c:v>4123103.6086000009</c:v>
                </c:pt>
                <c:pt idx="1828">
                  <c:v>4123103.6086000009</c:v>
                </c:pt>
                <c:pt idx="1829">
                  <c:v>4123103.6086000009</c:v>
                </c:pt>
                <c:pt idx="1830">
                  <c:v>4123103.6086000009</c:v>
                </c:pt>
                <c:pt idx="1831">
                  <c:v>4123103.6086000009</c:v>
                </c:pt>
                <c:pt idx="1832">
                  <c:v>4123103.6086000009</c:v>
                </c:pt>
                <c:pt idx="1833">
                  <c:v>4123103.6086000009</c:v>
                </c:pt>
                <c:pt idx="1834">
                  <c:v>4123103.6086000009</c:v>
                </c:pt>
                <c:pt idx="1835">
                  <c:v>4123103.6086000009</c:v>
                </c:pt>
                <c:pt idx="1836">
                  <c:v>4123103.6086000009</c:v>
                </c:pt>
                <c:pt idx="1837">
                  <c:v>4123103.6086000009</c:v>
                </c:pt>
                <c:pt idx="1838">
                  <c:v>4123103.6086000009</c:v>
                </c:pt>
                <c:pt idx="1839">
                  <c:v>4123103.6086000009</c:v>
                </c:pt>
                <c:pt idx="1840">
                  <c:v>4123103.6086000009</c:v>
                </c:pt>
                <c:pt idx="1841">
                  <c:v>4123103.6086000009</c:v>
                </c:pt>
                <c:pt idx="1842">
                  <c:v>4123103.6086000009</c:v>
                </c:pt>
                <c:pt idx="1843">
                  <c:v>4123103.6086000009</c:v>
                </c:pt>
                <c:pt idx="1844">
                  <c:v>4123103.6086000009</c:v>
                </c:pt>
                <c:pt idx="1845">
                  <c:v>4123103.6086000009</c:v>
                </c:pt>
                <c:pt idx="1846">
                  <c:v>4123103.6086000009</c:v>
                </c:pt>
                <c:pt idx="1847">
                  <c:v>4123103.6086000009</c:v>
                </c:pt>
                <c:pt idx="1848">
                  <c:v>4123103.6086000009</c:v>
                </c:pt>
                <c:pt idx="1849">
                  <c:v>4123103.6086000009</c:v>
                </c:pt>
                <c:pt idx="1850">
                  <c:v>4123103.6086000009</c:v>
                </c:pt>
                <c:pt idx="1851">
                  <c:v>4123103.6086000009</c:v>
                </c:pt>
                <c:pt idx="1852">
                  <c:v>4122698.2186000012</c:v>
                </c:pt>
                <c:pt idx="1853">
                  <c:v>4116458.2186000012</c:v>
                </c:pt>
                <c:pt idx="1854">
                  <c:v>4106186.2186000012</c:v>
                </c:pt>
                <c:pt idx="1855">
                  <c:v>4106822.2186000012</c:v>
                </c:pt>
                <c:pt idx="1856">
                  <c:v>4072946.2186000012</c:v>
                </c:pt>
                <c:pt idx="1857">
                  <c:v>4078994.2186000012</c:v>
                </c:pt>
                <c:pt idx="1858">
                  <c:v>4064630.2186000012</c:v>
                </c:pt>
                <c:pt idx="1859">
                  <c:v>4039562.2186000012</c:v>
                </c:pt>
                <c:pt idx="1860">
                  <c:v>4037306.2186000012</c:v>
                </c:pt>
                <c:pt idx="1861">
                  <c:v>4038134.2186000021</c:v>
                </c:pt>
                <c:pt idx="1862">
                  <c:v>4043186.2186000012</c:v>
                </c:pt>
                <c:pt idx="1863">
                  <c:v>4062146.2186000012</c:v>
                </c:pt>
                <c:pt idx="1864">
                  <c:v>4030694.2186000012</c:v>
                </c:pt>
                <c:pt idx="1865">
                  <c:v>4045730.2186000012</c:v>
                </c:pt>
                <c:pt idx="1866">
                  <c:v>4052414.2186000012</c:v>
                </c:pt>
                <c:pt idx="1867">
                  <c:v>4079954.2186000012</c:v>
                </c:pt>
                <c:pt idx="1868">
                  <c:v>4077782.2186000012</c:v>
                </c:pt>
                <c:pt idx="1869">
                  <c:v>4076270.2186000012</c:v>
                </c:pt>
                <c:pt idx="1870">
                  <c:v>4050446.2186000012</c:v>
                </c:pt>
                <c:pt idx="1871">
                  <c:v>3983918.2186000012</c:v>
                </c:pt>
                <c:pt idx="1872">
                  <c:v>3981194.2186000012</c:v>
                </c:pt>
                <c:pt idx="1873">
                  <c:v>3955274.2186000012</c:v>
                </c:pt>
                <c:pt idx="1874">
                  <c:v>3984542.2186000012</c:v>
                </c:pt>
                <c:pt idx="1875">
                  <c:v>3977678.2186000012</c:v>
                </c:pt>
                <c:pt idx="1876">
                  <c:v>3988766.2186000012</c:v>
                </c:pt>
                <c:pt idx="1877">
                  <c:v>4018142.2186000012</c:v>
                </c:pt>
                <c:pt idx="1878">
                  <c:v>3999602.2186000012</c:v>
                </c:pt>
                <c:pt idx="1879">
                  <c:v>3933134.2186000021</c:v>
                </c:pt>
                <c:pt idx="1880">
                  <c:v>3957698.2186000012</c:v>
                </c:pt>
                <c:pt idx="1881">
                  <c:v>3945866.2186000012</c:v>
                </c:pt>
                <c:pt idx="1882">
                  <c:v>3962066.2186000012</c:v>
                </c:pt>
                <c:pt idx="1883">
                  <c:v>3972734.2186000021</c:v>
                </c:pt>
                <c:pt idx="1884">
                  <c:v>4021442.2186000012</c:v>
                </c:pt>
                <c:pt idx="1885">
                  <c:v>4036670.2186000012</c:v>
                </c:pt>
                <c:pt idx="1886">
                  <c:v>4028810.2186000021</c:v>
                </c:pt>
                <c:pt idx="1887">
                  <c:v>4031978.2186000012</c:v>
                </c:pt>
                <c:pt idx="1888">
                  <c:v>4035818.2186000012</c:v>
                </c:pt>
                <c:pt idx="1889">
                  <c:v>4002254.2186000012</c:v>
                </c:pt>
                <c:pt idx="1890">
                  <c:v>4054394.2186000012</c:v>
                </c:pt>
                <c:pt idx="1891">
                  <c:v>4048286.2186000012</c:v>
                </c:pt>
                <c:pt idx="1892">
                  <c:v>4051118.2186000012</c:v>
                </c:pt>
                <c:pt idx="1893">
                  <c:v>4062086.2186000012</c:v>
                </c:pt>
                <c:pt idx="1894">
                  <c:v>4109894.2186000012</c:v>
                </c:pt>
                <c:pt idx="1895">
                  <c:v>4109738.2186000012</c:v>
                </c:pt>
                <c:pt idx="1896">
                  <c:v>4094558.2186000012</c:v>
                </c:pt>
                <c:pt idx="1897">
                  <c:v>4083638.2186000012</c:v>
                </c:pt>
                <c:pt idx="1898">
                  <c:v>4076954.2186000012</c:v>
                </c:pt>
                <c:pt idx="1899">
                  <c:v>4072334.2186000021</c:v>
                </c:pt>
                <c:pt idx="1900">
                  <c:v>4099658.2186000012</c:v>
                </c:pt>
                <c:pt idx="1901">
                  <c:v>4068818.2186000012</c:v>
                </c:pt>
                <c:pt idx="1902">
                  <c:v>4106906.2186000012</c:v>
                </c:pt>
                <c:pt idx="1903">
                  <c:v>4093802.2186000012</c:v>
                </c:pt>
                <c:pt idx="1904">
                  <c:v>4096706.2186000012</c:v>
                </c:pt>
                <c:pt idx="1905">
                  <c:v>4114142.2186000012</c:v>
                </c:pt>
                <c:pt idx="1906">
                  <c:v>4092458.2186000012</c:v>
                </c:pt>
                <c:pt idx="1907">
                  <c:v>4137530.2186000012</c:v>
                </c:pt>
                <c:pt idx="1908">
                  <c:v>4169462.2186000012</c:v>
                </c:pt>
                <c:pt idx="1909">
                  <c:v>4185098.2186000012</c:v>
                </c:pt>
                <c:pt idx="1910">
                  <c:v>4184642.2186000012</c:v>
                </c:pt>
                <c:pt idx="1911">
                  <c:v>4184306.2186000012</c:v>
                </c:pt>
                <c:pt idx="1912">
                  <c:v>4192646.2186000012</c:v>
                </c:pt>
                <c:pt idx="1913">
                  <c:v>4169750.2186000012</c:v>
                </c:pt>
                <c:pt idx="1914">
                  <c:v>4198130.2186000012</c:v>
                </c:pt>
                <c:pt idx="1915">
                  <c:v>4230830.2186000012</c:v>
                </c:pt>
                <c:pt idx="1916">
                  <c:v>4238474.2186000012</c:v>
                </c:pt>
                <c:pt idx="1917">
                  <c:v>4255286.2186000012</c:v>
                </c:pt>
                <c:pt idx="1918">
                  <c:v>4294358.2186000012</c:v>
                </c:pt>
                <c:pt idx="1919">
                  <c:v>4310894.2186000012</c:v>
                </c:pt>
                <c:pt idx="1920">
                  <c:v>4345646.2186000012</c:v>
                </c:pt>
                <c:pt idx="1921">
                  <c:v>4314398.2186000012</c:v>
                </c:pt>
                <c:pt idx="1922">
                  <c:v>4346846.2186000012</c:v>
                </c:pt>
                <c:pt idx="1923">
                  <c:v>4303538.2186000012</c:v>
                </c:pt>
                <c:pt idx="1924">
                  <c:v>4232090.2186000012</c:v>
                </c:pt>
                <c:pt idx="1925">
                  <c:v>4219778.2186000012</c:v>
                </c:pt>
                <c:pt idx="1926">
                  <c:v>4239698.2186000012</c:v>
                </c:pt>
                <c:pt idx="1927">
                  <c:v>4232966.2186000012</c:v>
                </c:pt>
                <c:pt idx="1928">
                  <c:v>4261238.2186000012</c:v>
                </c:pt>
                <c:pt idx="1929">
                  <c:v>4159814.2186000012</c:v>
                </c:pt>
                <c:pt idx="1930">
                  <c:v>4154846.2186000012</c:v>
                </c:pt>
                <c:pt idx="1931">
                  <c:v>4123538.2186000012</c:v>
                </c:pt>
                <c:pt idx="1932">
                  <c:v>4077314.2186000012</c:v>
                </c:pt>
                <c:pt idx="1933">
                  <c:v>4084034.2186000021</c:v>
                </c:pt>
                <c:pt idx="1934">
                  <c:v>4063574.2186000012</c:v>
                </c:pt>
                <c:pt idx="1935">
                  <c:v>4039670.2186000012</c:v>
                </c:pt>
                <c:pt idx="1936">
                  <c:v>4075046.2186000012</c:v>
                </c:pt>
                <c:pt idx="1937">
                  <c:v>4071602.2186000012</c:v>
                </c:pt>
                <c:pt idx="1938">
                  <c:v>4037918.2186000012</c:v>
                </c:pt>
                <c:pt idx="1939">
                  <c:v>4055678.2186000012</c:v>
                </c:pt>
                <c:pt idx="1940">
                  <c:v>4048466.2186000012</c:v>
                </c:pt>
                <c:pt idx="1941">
                  <c:v>4031066.2186000012</c:v>
                </c:pt>
                <c:pt idx="1942">
                  <c:v>4026110.2186000021</c:v>
                </c:pt>
                <c:pt idx="1943">
                  <c:v>4040894.2186000012</c:v>
                </c:pt>
                <c:pt idx="1944">
                  <c:v>4079474.2186000012</c:v>
                </c:pt>
                <c:pt idx="1945">
                  <c:v>4110770.2186000012</c:v>
                </c:pt>
                <c:pt idx="1946">
                  <c:v>4110146.2186000012</c:v>
                </c:pt>
                <c:pt idx="1947">
                  <c:v>4086002.2186000012</c:v>
                </c:pt>
                <c:pt idx="1948">
                  <c:v>4105478.2186000012</c:v>
                </c:pt>
                <c:pt idx="1949">
                  <c:v>4098722.2186000012</c:v>
                </c:pt>
                <c:pt idx="1950">
                  <c:v>4070198.2186000012</c:v>
                </c:pt>
                <c:pt idx="1951">
                  <c:v>4049942.2186000012</c:v>
                </c:pt>
                <c:pt idx="1952">
                  <c:v>4052690.2186000012</c:v>
                </c:pt>
                <c:pt idx="1953">
                  <c:v>4052138.2186000012</c:v>
                </c:pt>
                <c:pt idx="1954">
                  <c:v>4060430.2186000012</c:v>
                </c:pt>
                <c:pt idx="1955">
                  <c:v>4076042.2186000012</c:v>
                </c:pt>
                <c:pt idx="1956">
                  <c:v>4063946.2186000012</c:v>
                </c:pt>
                <c:pt idx="1957">
                  <c:v>4094666.2186000012</c:v>
                </c:pt>
                <c:pt idx="1958">
                  <c:v>4105694.2186000012</c:v>
                </c:pt>
                <c:pt idx="1959">
                  <c:v>4106138.2186000012</c:v>
                </c:pt>
                <c:pt idx="1960">
                  <c:v>4119878.2186000012</c:v>
                </c:pt>
                <c:pt idx="1961">
                  <c:v>4134350.2186000012</c:v>
                </c:pt>
                <c:pt idx="1962">
                  <c:v>4106186.2186000012</c:v>
                </c:pt>
                <c:pt idx="1963">
                  <c:v>4116650.2186000012</c:v>
                </c:pt>
                <c:pt idx="1964">
                  <c:v>4107614.2186000012</c:v>
                </c:pt>
                <c:pt idx="1965">
                  <c:v>4128746.2186000012</c:v>
                </c:pt>
                <c:pt idx="1966">
                  <c:v>4144346.2186000012</c:v>
                </c:pt>
                <c:pt idx="1967">
                  <c:v>4164986.2186000012</c:v>
                </c:pt>
                <c:pt idx="1968">
                  <c:v>4192334.2186000021</c:v>
                </c:pt>
                <c:pt idx="1969">
                  <c:v>4191758.2186000012</c:v>
                </c:pt>
                <c:pt idx="1970">
                  <c:v>4174850.2186000012</c:v>
                </c:pt>
                <c:pt idx="1971">
                  <c:v>4197914.2186000012</c:v>
                </c:pt>
                <c:pt idx="1972">
                  <c:v>4174526.2186000012</c:v>
                </c:pt>
                <c:pt idx="1973">
                  <c:v>4234466.2186000012</c:v>
                </c:pt>
                <c:pt idx="1974">
                  <c:v>4248182.2186000012</c:v>
                </c:pt>
                <c:pt idx="1975">
                  <c:v>4256510.2186000012</c:v>
                </c:pt>
                <c:pt idx="1976">
                  <c:v>4236782.2186000012</c:v>
                </c:pt>
                <c:pt idx="1977">
                  <c:v>4237418.2186000012</c:v>
                </c:pt>
                <c:pt idx="1978">
                  <c:v>4204262.2186000012</c:v>
                </c:pt>
                <c:pt idx="1979">
                  <c:v>4212170.2186000012</c:v>
                </c:pt>
                <c:pt idx="1980">
                  <c:v>4218926.2186000012</c:v>
                </c:pt>
                <c:pt idx="1981">
                  <c:v>4190918.2186000012</c:v>
                </c:pt>
                <c:pt idx="1982">
                  <c:v>4182230.2186000012</c:v>
                </c:pt>
                <c:pt idx="1983">
                  <c:v>4204574.2186000012</c:v>
                </c:pt>
                <c:pt idx="1984">
                  <c:v>4213550.2186000012</c:v>
                </c:pt>
                <c:pt idx="1985">
                  <c:v>4207274.2186000012</c:v>
                </c:pt>
                <c:pt idx="1986">
                  <c:v>4181126.2186000012</c:v>
                </c:pt>
                <c:pt idx="1987">
                  <c:v>4182266.2186000012</c:v>
                </c:pt>
                <c:pt idx="1988">
                  <c:v>4218518.2186000012</c:v>
                </c:pt>
                <c:pt idx="1989">
                  <c:v>4216826.2186000012</c:v>
                </c:pt>
                <c:pt idx="1990">
                  <c:v>4225166.2186000012</c:v>
                </c:pt>
                <c:pt idx="1991">
                  <c:v>4246610.2186000012</c:v>
                </c:pt>
                <c:pt idx="1992">
                  <c:v>4203770.2186000012</c:v>
                </c:pt>
                <c:pt idx="1993">
                  <c:v>4208330.2186000012</c:v>
                </c:pt>
                <c:pt idx="1994">
                  <c:v>4228418.2186000012</c:v>
                </c:pt>
                <c:pt idx="1995">
                  <c:v>4208858.2186000012</c:v>
                </c:pt>
                <c:pt idx="1996">
                  <c:v>4223174.2186000012</c:v>
                </c:pt>
                <c:pt idx="1997">
                  <c:v>4256318.2186000012</c:v>
                </c:pt>
                <c:pt idx="1998">
                  <c:v>4242446.2186000012</c:v>
                </c:pt>
                <c:pt idx="1999">
                  <c:v>4232570.2186000012</c:v>
                </c:pt>
                <c:pt idx="2000">
                  <c:v>4227026.2186000012</c:v>
                </c:pt>
                <c:pt idx="2001">
                  <c:v>4192910.2186000021</c:v>
                </c:pt>
                <c:pt idx="2002">
                  <c:v>4216058.2186000012</c:v>
                </c:pt>
                <c:pt idx="2003">
                  <c:v>4273466.2186000012</c:v>
                </c:pt>
                <c:pt idx="2004">
                  <c:v>4285658.2186000012</c:v>
                </c:pt>
                <c:pt idx="2005">
                  <c:v>4289750.2186000012</c:v>
                </c:pt>
                <c:pt idx="2006">
                  <c:v>4274966.2186000012</c:v>
                </c:pt>
                <c:pt idx="2007">
                  <c:v>4289594.2186000012</c:v>
                </c:pt>
                <c:pt idx="2008">
                  <c:v>4280126.2186000012</c:v>
                </c:pt>
                <c:pt idx="2009">
                  <c:v>4286282.2186000012</c:v>
                </c:pt>
                <c:pt idx="2010">
                  <c:v>4252598.2186000012</c:v>
                </c:pt>
                <c:pt idx="2011">
                  <c:v>4244726.2186000012</c:v>
                </c:pt>
                <c:pt idx="2012">
                  <c:v>4224086.2186000012</c:v>
                </c:pt>
                <c:pt idx="2013">
                  <c:v>4203854.2186000012</c:v>
                </c:pt>
                <c:pt idx="2014">
                  <c:v>4222658.2186000012</c:v>
                </c:pt>
                <c:pt idx="2015">
                  <c:v>4228946.2186000012</c:v>
                </c:pt>
                <c:pt idx="2016">
                  <c:v>4186310.2186000021</c:v>
                </c:pt>
                <c:pt idx="2017">
                  <c:v>4197962.2186000012</c:v>
                </c:pt>
                <c:pt idx="2018">
                  <c:v>4203014.2186000012</c:v>
                </c:pt>
                <c:pt idx="2019">
                  <c:v>4204862.2186000012</c:v>
                </c:pt>
                <c:pt idx="2020">
                  <c:v>4196498.2186000012</c:v>
                </c:pt>
                <c:pt idx="2021">
                  <c:v>4180694.2186000012</c:v>
                </c:pt>
                <c:pt idx="2022">
                  <c:v>4164554.2186000012</c:v>
                </c:pt>
                <c:pt idx="2023">
                  <c:v>4154066.2186000012</c:v>
                </c:pt>
                <c:pt idx="2024">
                  <c:v>4127858.2186000012</c:v>
                </c:pt>
                <c:pt idx="2025">
                  <c:v>4099370.2186000012</c:v>
                </c:pt>
                <c:pt idx="2026">
                  <c:v>4091834.2186000021</c:v>
                </c:pt>
                <c:pt idx="2027">
                  <c:v>4074038.2186000012</c:v>
                </c:pt>
                <c:pt idx="2028">
                  <c:v>4096778.2186000012</c:v>
                </c:pt>
                <c:pt idx="2029">
                  <c:v>4131254.2186000012</c:v>
                </c:pt>
                <c:pt idx="2030">
                  <c:v>4147826.2186000012</c:v>
                </c:pt>
                <c:pt idx="2031">
                  <c:v>4183178.2186000012</c:v>
                </c:pt>
                <c:pt idx="2032">
                  <c:v>4160762.2186000012</c:v>
                </c:pt>
                <c:pt idx="2033">
                  <c:v>4146530.2186000012</c:v>
                </c:pt>
                <c:pt idx="2034">
                  <c:v>4153418.2186000012</c:v>
                </c:pt>
                <c:pt idx="2035">
                  <c:v>4162286.2186000012</c:v>
                </c:pt>
                <c:pt idx="2036">
                  <c:v>4177826.2186000012</c:v>
                </c:pt>
                <c:pt idx="2037">
                  <c:v>4177802.2186000012</c:v>
                </c:pt>
                <c:pt idx="2038">
                  <c:v>4251590.2186000012</c:v>
                </c:pt>
                <c:pt idx="2039">
                  <c:v>4245314.2186000012</c:v>
                </c:pt>
                <c:pt idx="2040">
                  <c:v>4260254.2186000012</c:v>
                </c:pt>
                <c:pt idx="2041">
                  <c:v>4266086.2186000012</c:v>
                </c:pt>
                <c:pt idx="2042">
                  <c:v>4252610.2186000012</c:v>
                </c:pt>
                <c:pt idx="2043">
                  <c:v>4231298.2186000012</c:v>
                </c:pt>
                <c:pt idx="2044">
                  <c:v>4260254.2186000012</c:v>
                </c:pt>
                <c:pt idx="2045">
                  <c:v>4309442.2186000012</c:v>
                </c:pt>
                <c:pt idx="2046">
                  <c:v>4341974.2186000012</c:v>
                </c:pt>
                <c:pt idx="2047">
                  <c:v>4360202.2186000012</c:v>
                </c:pt>
                <c:pt idx="2048">
                  <c:v>4358066.2186000012</c:v>
                </c:pt>
                <c:pt idx="2049">
                  <c:v>4367522.2186000012</c:v>
                </c:pt>
                <c:pt idx="2050">
                  <c:v>4311158.2186000012</c:v>
                </c:pt>
                <c:pt idx="2051">
                  <c:v>4303346.2186000012</c:v>
                </c:pt>
                <c:pt idx="2052">
                  <c:v>4291310.2186000012</c:v>
                </c:pt>
                <c:pt idx="2053">
                  <c:v>4333202.2186000012</c:v>
                </c:pt>
                <c:pt idx="2054">
                  <c:v>4324586.2186000012</c:v>
                </c:pt>
                <c:pt idx="2055">
                  <c:v>4374350.2186000012</c:v>
                </c:pt>
                <c:pt idx="2056">
                  <c:v>4377206.2186000012</c:v>
                </c:pt>
                <c:pt idx="2057">
                  <c:v>4416254.2186000012</c:v>
                </c:pt>
                <c:pt idx="2058">
                  <c:v>4470506.2186000012</c:v>
                </c:pt>
                <c:pt idx="2059">
                  <c:v>4478462.2186000012</c:v>
                </c:pt>
                <c:pt idx="2060">
                  <c:v>4444202.2186000012</c:v>
                </c:pt>
                <c:pt idx="2061">
                  <c:v>4471394.2186000012</c:v>
                </c:pt>
                <c:pt idx="2062">
                  <c:v>4468958.2186000012</c:v>
                </c:pt>
                <c:pt idx="2063">
                  <c:v>4449818.2186000012</c:v>
                </c:pt>
                <c:pt idx="2064">
                  <c:v>4412774.2186000012</c:v>
                </c:pt>
                <c:pt idx="2065">
                  <c:v>4460414.2186000012</c:v>
                </c:pt>
                <c:pt idx="2066">
                  <c:v>4460918.2186000012</c:v>
                </c:pt>
                <c:pt idx="2067">
                  <c:v>4455914.2186000012</c:v>
                </c:pt>
                <c:pt idx="2068">
                  <c:v>4453226.2186000012</c:v>
                </c:pt>
                <c:pt idx="2069">
                  <c:v>4473770.2186000012</c:v>
                </c:pt>
                <c:pt idx="2070">
                  <c:v>4459382.2186000012</c:v>
                </c:pt>
                <c:pt idx="2071">
                  <c:v>4493102.2186000012</c:v>
                </c:pt>
                <c:pt idx="2072">
                  <c:v>4512506.2186000012</c:v>
                </c:pt>
                <c:pt idx="2073">
                  <c:v>4465070.2186000012</c:v>
                </c:pt>
                <c:pt idx="2074">
                  <c:v>4469414.2186000012</c:v>
                </c:pt>
                <c:pt idx="2075">
                  <c:v>4544498.2186000012</c:v>
                </c:pt>
                <c:pt idx="2076">
                  <c:v>4566254.2186000012</c:v>
                </c:pt>
                <c:pt idx="2077">
                  <c:v>4543118.2186000012</c:v>
                </c:pt>
                <c:pt idx="2078">
                  <c:v>4560962.2186000012</c:v>
                </c:pt>
                <c:pt idx="2079">
                  <c:v>4532270.2186000012</c:v>
                </c:pt>
                <c:pt idx="2080">
                  <c:v>4515266.2186000012</c:v>
                </c:pt>
                <c:pt idx="2081">
                  <c:v>4523426.2186000012</c:v>
                </c:pt>
                <c:pt idx="2082">
                  <c:v>4535066.2186000012</c:v>
                </c:pt>
                <c:pt idx="2083">
                  <c:v>4554242.2186000012</c:v>
                </c:pt>
                <c:pt idx="2084">
                  <c:v>4593254.2186000012</c:v>
                </c:pt>
                <c:pt idx="2085">
                  <c:v>4581818.2186000012</c:v>
                </c:pt>
                <c:pt idx="2086">
                  <c:v>4542194.2186000012</c:v>
                </c:pt>
                <c:pt idx="2087">
                  <c:v>4517894.2186000012</c:v>
                </c:pt>
                <c:pt idx="2088">
                  <c:v>4540946.2186000012</c:v>
                </c:pt>
                <c:pt idx="2089">
                  <c:v>4547450.2186000012</c:v>
                </c:pt>
                <c:pt idx="2090">
                  <c:v>4546046.2186000012</c:v>
                </c:pt>
                <c:pt idx="2091">
                  <c:v>4527902.2186000012</c:v>
                </c:pt>
                <c:pt idx="2092">
                  <c:v>4445618.2186000012</c:v>
                </c:pt>
                <c:pt idx="2093">
                  <c:v>4502414.2186000012</c:v>
                </c:pt>
                <c:pt idx="2094">
                  <c:v>4516070.2186000012</c:v>
                </c:pt>
                <c:pt idx="2095">
                  <c:v>4510502.2186000012</c:v>
                </c:pt>
                <c:pt idx="2096">
                  <c:v>4534334.2186000012</c:v>
                </c:pt>
                <c:pt idx="2097">
                  <c:v>4538402.2186000012</c:v>
                </c:pt>
                <c:pt idx="2098">
                  <c:v>4557986.2186000012</c:v>
                </c:pt>
                <c:pt idx="2099">
                  <c:v>4571558.2186000012</c:v>
                </c:pt>
                <c:pt idx="2100">
                  <c:v>4576106.2186000012</c:v>
                </c:pt>
                <c:pt idx="2101">
                  <c:v>4550378.2186000012</c:v>
                </c:pt>
                <c:pt idx="2102">
                  <c:v>4623698.2186000012</c:v>
                </c:pt>
                <c:pt idx="2103">
                  <c:v>4680050.2186000012</c:v>
                </c:pt>
                <c:pt idx="2104">
                  <c:v>4670246.2186000012</c:v>
                </c:pt>
                <c:pt idx="2105">
                  <c:v>4669958.2186000012</c:v>
                </c:pt>
                <c:pt idx="2106">
                  <c:v>4655306.2186000012</c:v>
                </c:pt>
                <c:pt idx="2107">
                  <c:v>4665446.2186000012</c:v>
                </c:pt>
                <c:pt idx="2108">
                  <c:v>4683542.2186000012</c:v>
                </c:pt>
                <c:pt idx="2109">
                  <c:v>4697258.2186000012</c:v>
                </c:pt>
                <c:pt idx="2110">
                  <c:v>4688138.2186000012</c:v>
                </c:pt>
                <c:pt idx="2111">
                  <c:v>4664642.2186000012</c:v>
                </c:pt>
                <c:pt idx="2112">
                  <c:v>4659986.2186000012</c:v>
                </c:pt>
                <c:pt idx="2113">
                  <c:v>4659578.2186000012</c:v>
                </c:pt>
                <c:pt idx="2114">
                  <c:v>4674314.2186000012</c:v>
                </c:pt>
                <c:pt idx="2115">
                  <c:v>4679930.2186000012</c:v>
                </c:pt>
                <c:pt idx="2116">
                  <c:v>4664750.2186000012</c:v>
                </c:pt>
                <c:pt idx="2117">
                  <c:v>4666358.2186000012</c:v>
                </c:pt>
                <c:pt idx="2118">
                  <c:v>4680566.2186000012</c:v>
                </c:pt>
                <c:pt idx="2119">
                  <c:v>4667342.2186000012</c:v>
                </c:pt>
                <c:pt idx="2120">
                  <c:v>4679726.2186000012</c:v>
                </c:pt>
                <c:pt idx="2121">
                  <c:v>4674182.2186000012</c:v>
                </c:pt>
                <c:pt idx="2122">
                  <c:v>4674074.2186000012</c:v>
                </c:pt>
                <c:pt idx="2123">
                  <c:v>4650146.2186000012</c:v>
                </c:pt>
                <c:pt idx="2124">
                  <c:v>4653734.2186000012</c:v>
                </c:pt>
                <c:pt idx="2125">
                  <c:v>4654238.2186000012</c:v>
                </c:pt>
                <c:pt idx="2126">
                  <c:v>4655846.2186000012</c:v>
                </c:pt>
                <c:pt idx="2127">
                  <c:v>4672598.2186000012</c:v>
                </c:pt>
                <c:pt idx="2128">
                  <c:v>4727450.2186000012</c:v>
                </c:pt>
                <c:pt idx="2129">
                  <c:v>4736630.2186000012</c:v>
                </c:pt>
                <c:pt idx="2130">
                  <c:v>4752026.2186000012</c:v>
                </c:pt>
                <c:pt idx="2131">
                  <c:v>4764338.2186000012</c:v>
                </c:pt>
                <c:pt idx="2132">
                  <c:v>4773998.2186000012</c:v>
                </c:pt>
                <c:pt idx="2133">
                  <c:v>4764938.2186000012</c:v>
                </c:pt>
                <c:pt idx="2134">
                  <c:v>4764482.2186000012</c:v>
                </c:pt>
                <c:pt idx="2135">
                  <c:v>4801790.2186000012</c:v>
                </c:pt>
                <c:pt idx="2136">
                  <c:v>4786298.2186000012</c:v>
                </c:pt>
                <c:pt idx="2137">
                  <c:v>4781018.2186000012</c:v>
                </c:pt>
                <c:pt idx="2138">
                  <c:v>4785758.2186000012</c:v>
                </c:pt>
                <c:pt idx="2139">
                  <c:v>4820078.2186000012</c:v>
                </c:pt>
                <c:pt idx="2140">
                  <c:v>4841138.2186000012</c:v>
                </c:pt>
                <c:pt idx="2141">
                  <c:v>4861094.2186000012</c:v>
                </c:pt>
                <c:pt idx="2142">
                  <c:v>4895162.2186000012</c:v>
                </c:pt>
                <c:pt idx="2143">
                  <c:v>4880462.2186000012</c:v>
                </c:pt>
                <c:pt idx="2144">
                  <c:v>4876862.2186000012</c:v>
                </c:pt>
                <c:pt idx="2145">
                  <c:v>4864742.2186000012</c:v>
                </c:pt>
                <c:pt idx="2146">
                  <c:v>4865354.2186000012</c:v>
                </c:pt>
                <c:pt idx="2147">
                  <c:v>4860038.2186000012</c:v>
                </c:pt>
                <c:pt idx="2148">
                  <c:v>4893866.2186000012</c:v>
                </c:pt>
                <c:pt idx="2149">
                  <c:v>4933898.2186000012</c:v>
                </c:pt>
                <c:pt idx="2150">
                  <c:v>4926410.2186000012</c:v>
                </c:pt>
                <c:pt idx="2151">
                  <c:v>4959878.2186000012</c:v>
                </c:pt>
                <c:pt idx="2152">
                  <c:v>5003090.2186000012</c:v>
                </c:pt>
                <c:pt idx="2153">
                  <c:v>5022482.2186000012</c:v>
                </c:pt>
                <c:pt idx="2154">
                  <c:v>4988018.2186000012</c:v>
                </c:pt>
                <c:pt idx="2155">
                  <c:v>4957202.2186000012</c:v>
                </c:pt>
                <c:pt idx="2156">
                  <c:v>4994810.2186000012</c:v>
                </c:pt>
                <c:pt idx="2157">
                  <c:v>5013818.2186000012</c:v>
                </c:pt>
                <c:pt idx="2158">
                  <c:v>5041394.2186000012</c:v>
                </c:pt>
                <c:pt idx="2159">
                  <c:v>5130038.2186000012</c:v>
                </c:pt>
                <c:pt idx="2160">
                  <c:v>5141882.2186000012</c:v>
                </c:pt>
                <c:pt idx="2161">
                  <c:v>4991678.2186000012</c:v>
                </c:pt>
                <c:pt idx="2162">
                  <c:v>4993838.2186000012</c:v>
                </c:pt>
                <c:pt idx="2163">
                  <c:v>4928738.2186000012</c:v>
                </c:pt>
                <c:pt idx="2164">
                  <c:v>4935782.2186000012</c:v>
                </c:pt>
                <c:pt idx="2165">
                  <c:v>4933298.2186000012</c:v>
                </c:pt>
                <c:pt idx="2166">
                  <c:v>4876118.2186000012</c:v>
                </c:pt>
                <c:pt idx="2167">
                  <c:v>4866566.2186000012</c:v>
                </c:pt>
                <c:pt idx="2168">
                  <c:v>4891430.2186000012</c:v>
                </c:pt>
                <c:pt idx="2169">
                  <c:v>4917002.2186000012</c:v>
                </c:pt>
                <c:pt idx="2170">
                  <c:v>4887782.2186000012</c:v>
                </c:pt>
                <c:pt idx="2171">
                  <c:v>4834070.2186000012</c:v>
                </c:pt>
                <c:pt idx="2172">
                  <c:v>4872854.2186000012</c:v>
                </c:pt>
                <c:pt idx="2173">
                  <c:v>4952198.2186000012</c:v>
                </c:pt>
                <c:pt idx="2174">
                  <c:v>4888022.2186000012</c:v>
                </c:pt>
                <c:pt idx="2175">
                  <c:v>4928906.2186000012</c:v>
                </c:pt>
                <c:pt idx="2176">
                  <c:v>4900178.2186000012</c:v>
                </c:pt>
                <c:pt idx="2177">
                  <c:v>4845830.2186000012</c:v>
                </c:pt>
                <c:pt idx="2178">
                  <c:v>4851146.2186000012</c:v>
                </c:pt>
                <c:pt idx="2179">
                  <c:v>4911194.2186000012</c:v>
                </c:pt>
                <c:pt idx="2180">
                  <c:v>4905386.2186000012</c:v>
                </c:pt>
                <c:pt idx="2181">
                  <c:v>4950218.2186000012</c:v>
                </c:pt>
                <c:pt idx="2182">
                  <c:v>4934318.2186000012</c:v>
                </c:pt>
                <c:pt idx="2183">
                  <c:v>4918646.2186000012</c:v>
                </c:pt>
                <c:pt idx="2184">
                  <c:v>4933142.2186000012</c:v>
                </c:pt>
                <c:pt idx="2185">
                  <c:v>4858250.2186000012</c:v>
                </c:pt>
                <c:pt idx="2186">
                  <c:v>4891478.2186000012</c:v>
                </c:pt>
                <c:pt idx="2187">
                  <c:v>4905818.2186000012</c:v>
                </c:pt>
                <c:pt idx="2188">
                  <c:v>4973678.2186000012</c:v>
                </c:pt>
                <c:pt idx="2189">
                  <c:v>5002466.2186000012</c:v>
                </c:pt>
                <c:pt idx="2190">
                  <c:v>5023370.2186000021</c:v>
                </c:pt>
                <c:pt idx="2191">
                  <c:v>5035298.2186000012</c:v>
                </c:pt>
                <c:pt idx="2192">
                  <c:v>5060990.2186000012</c:v>
                </c:pt>
                <c:pt idx="2193">
                  <c:v>5095958.2186000012</c:v>
                </c:pt>
                <c:pt idx="2194">
                  <c:v>5118170.2186000021</c:v>
                </c:pt>
                <c:pt idx="2195">
                  <c:v>5115506.2186000012</c:v>
                </c:pt>
                <c:pt idx="2196">
                  <c:v>5138798.2186000012</c:v>
                </c:pt>
                <c:pt idx="2197">
                  <c:v>5139086.2186000012</c:v>
                </c:pt>
                <c:pt idx="2198">
                  <c:v>5178962.2186000012</c:v>
                </c:pt>
                <c:pt idx="2199">
                  <c:v>5166542.2186000012</c:v>
                </c:pt>
                <c:pt idx="2200">
                  <c:v>5194502.2186000012</c:v>
                </c:pt>
                <c:pt idx="2201">
                  <c:v>5211278.2186000012</c:v>
                </c:pt>
                <c:pt idx="2202">
                  <c:v>5272718.2186000012</c:v>
                </c:pt>
                <c:pt idx="2203">
                  <c:v>5327930.2186000012</c:v>
                </c:pt>
                <c:pt idx="2204">
                  <c:v>5336666.2186000012</c:v>
                </c:pt>
                <c:pt idx="2205">
                  <c:v>5306894.2186000012</c:v>
                </c:pt>
                <c:pt idx="2206">
                  <c:v>5326358.2186000012</c:v>
                </c:pt>
                <c:pt idx="2207">
                  <c:v>5231222.2186000021</c:v>
                </c:pt>
                <c:pt idx="2208">
                  <c:v>5176118.2186000012</c:v>
                </c:pt>
                <c:pt idx="2209">
                  <c:v>5199878.2186000012</c:v>
                </c:pt>
                <c:pt idx="2210">
                  <c:v>5163878.2186000012</c:v>
                </c:pt>
                <c:pt idx="2211">
                  <c:v>5194274.2186000003</c:v>
                </c:pt>
                <c:pt idx="2212">
                  <c:v>5197778.2186000012</c:v>
                </c:pt>
                <c:pt idx="2213">
                  <c:v>5047466.2186000012</c:v>
                </c:pt>
                <c:pt idx="2214">
                  <c:v>4929398.2186000012</c:v>
                </c:pt>
                <c:pt idx="2215">
                  <c:v>4883258.2186000012</c:v>
                </c:pt>
                <c:pt idx="2216">
                  <c:v>4677578.2186000012</c:v>
                </c:pt>
                <c:pt idx="2217">
                  <c:v>4736918.2186000012</c:v>
                </c:pt>
                <c:pt idx="2218">
                  <c:v>4791554.2186000012</c:v>
                </c:pt>
                <c:pt idx="2219">
                  <c:v>4829150.2186000012</c:v>
                </c:pt>
                <c:pt idx="2220">
                  <c:v>4932074.2186000012</c:v>
                </c:pt>
                <c:pt idx="2221">
                  <c:v>4954106.2186000012</c:v>
                </c:pt>
                <c:pt idx="2222">
                  <c:v>5010902.2186000012</c:v>
                </c:pt>
                <c:pt idx="2223">
                  <c:v>4939574.2186000012</c:v>
                </c:pt>
                <c:pt idx="2224">
                  <c:v>4897166.2186000012</c:v>
                </c:pt>
                <c:pt idx="2225">
                  <c:v>4927706.2186000012</c:v>
                </c:pt>
                <c:pt idx="2226">
                  <c:v>4888550.2186000012</c:v>
                </c:pt>
                <c:pt idx="2227">
                  <c:v>4890518.2186000012</c:v>
                </c:pt>
                <c:pt idx="2228">
                  <c:v>4948670.2186000012</c:v>
                </c:pt>
                <c:pt idx="2229">
                  <c:v>4912778.2186000012</c:v>
                </c:pt>
                <c:pt idx="2230">
                  <c:v>4961918.2186000012</c:v>
                </c:pt>
                <c:pt idx="2231">
                  <c:v>4999442.2186000012</c:v>
                </c:pt>
                <c:pt idx="2232">
                  <c:v>5022002.2186000012</c:v>
                </c:pt>
                <c:pt idx="2233">
                  <c:v>4978298.2186000012</c:v>
                </c:pt>
                <c:pt idx="2234">
                  <c:v>4956806.2186000012</c:v>
                </c:pt>
                <c:pt idx="2235">
                  <c:v>4984190.2186000012</c:v>
                </c:pt>
                <c:pt idx="2236">
                  <c:v>4936502.2186000012</c:v>
                </c:pt>
                <c:pt idx="2237">
                  <c:v>4957898.2186000012</c:v>
                </c:pt>
                <c:pt idx="2238">
                  <c:v>4962038.2186000012</c:v>
                </c:pt>
                <c:pt idx="2239">
                  <c:v>4942058.2186000012</c:v>
                </c:pt>
                <c:pt idx="2240">
                  <c:v>4893218.2186000012</c:v>
                </c:pt>
                <c:pt idx="2241">
                  <c:v>4754726.2186000012</c:v>
                </c:pt>
                <c:pt idx="2242">
                  <c:v>4724666.2186000012</c:v>
                </c:pt>
                <c:pt idx="2243">
                  <c:v>4764722.2186000012</c:v>
                </c:pt>
                <c:pt idx="2244">
                  <c:v>4680062.2186000012</c:v>
                </c:pt>
                <c:pt idx="2245">
                  <c:v>4741658.2186000012</c:v>
                </c:pt>
                <c:pt idx="2246">
                  <c:v>4746998.2186000012</c:v>
                </c:pt>
                <c:pt idx="2247">
                  <c:v>4733102.2186000012</c:v>
                </c:pt>
                <c:pt idx="2248">
                  <c:v>4703774.2186000012</c:v>
                </c:pt>
                <c:pt idx="2249">
                  <c:v>4694630.2186000012</c:v>
                </c:pt>
                <c:pt idx="2250">
                  <c:v>4692314.2186000012</c:v>
                </c:pt>
                <c:pt idx="2251">
                  <c:v>4781402.2186000012</c:v>
                </c:pt>
                <c:pt idx="2252">
                  <c:v>4794806.2186000012</c:v>
                </c:pt>
                <c:pt idx="2253">
                  <c:v>4747166.2186000012</c:v>
                </c:pt>
                <c:pt idx="2254">
                  <c:v>4714166.2186000012</c:v>
                </c:pt>
                <c:pt idx="2255">
                  <c:v>4639430.2186000012</c:v>
                </c:pt>
                <c:pt idx="2256">
                  <c:v>4567166.2186000012</c:v>
                </c:pt>
                <c:pt idx="2257">
                  <c:v>4588334.2186000012</c:v>
                </c:pt>
                <c:pt idx="2258">
                  <c:v>4643006.2186000012</c:v>
                </c:pt>
                <c:pt idx="2259">
                  <c:v>4581818.2186000012</c:v>
                </c:pt>
                <c:pt idx="2260">
                  <c:v>4588394.2186000012</c:v>
                </c:pt>
                <c:pt idx="2261">
                  <c:v>4680986.2186000012</c:v>
                </c:pt>
                <c:pt idx="2262">
                  <c:v>4663238.2186000012</c:v>
                </c:pt>
                <c:pt idx="2263">
                  <c:v>4575386.2186000012</c:v>
                </c:pt>
                <c:pt idx="2264">
                  <c:v>4577054.2186000012</c:v>
                </c:pt>
                <c:pt idx="2265">
                  <c:v>4585178.2186000012</c:v>
                </c:pt>
                <c:pt idx="2266">
                  <c:v>4620398.2186000012</c:v>
                </c:pt>
                <c:pt idx="2267">
                  <c:v>4598318.2186000012</c:v>
                </c:pt>
                <c:pt idx="2268">
                  <c:v>4669826.2186000012</c:v>
                </c:pt>
                <c:pt idx="2269">
                  <c:v>4723214.2186000012</c:v>
                </c:pt>
                <c:pt idx="2270">
                  <c:v>4714742.2186000012</c:v>
                </c:pt>
                <c:pt idx="2271">
                  <c:v>4740470.2186000012</c:v>
                </c:pt>
                <c:pt idx="2272">
                  <c:v>4716206.2186000012</c:v>
                </c:pt>
                <c:pt idx="2273">
                  <c:v>4759946.2186000012</c:v>
                </c:pt>
                <c:pt idx="2274">
                  <c:v>4777718.2186000012</c:v>
                </c:pt>
                <c:pt idx="2275">
                  <c:v>4740206.2186000012</c:v>
                </c:pt>
                <c:pt idx="2276">
                  <c:v>4705658.2186000012</c:v>
                </c:pt>
                <c:pt idx="2277">
                  <c:v>4752470.2186000012</c:v>
                </c:pt>
                <c:pt idx="2278">
                  <c:v>4774286.2186000012</c:v>
                </c:pt>
                <c:pt idx="2279">
                  <c:v>4756250.2186000012</c:v>
                </c:pt>
                <c:pt idx="2280">
                  <c:v>4694294.2186000012</c:v>
                </c:pt>
                <c:pt idx="2281">
                  <c:v>4661462.2186000012</c:v>
                </c:pt>
                <c:pt idx="2282">
                  <c:v>4648598.2186000012</c:v>
                </c:pt>
                <c:pt idx="2283">
                  <c:v>4668710.2186000012</c:v>
                </c:pt>
                <c:pt idx="2284">
                  <c:v>4633610.2186000012</c:v>
                </c:pt>
                <c:pt idx="2285">
                  <c:v>4536842.2186000012</c:v>
                </c:pt>
                <c:pt idx="2286">
                  <c:v>4631654.2186000012</c:v>
                </c:pt>
                <c:pt idx="2287">
                  <c:v>4593506.2186000012</c:v>
                </c:pt>
                <c:pt idx="2288">
                  <c:v>4637894.2186000012</c:v>
                </c:pt>
                <c:pt idx="2289">
                  <c:v>4683182.2186000012</c:v>
                </c:pt>
                <c:pt idx="2290">
                  <c:v>4673618.2186000012</c:v>
                </c:pt>
                <c:pt idx="2291">
                  <c:v>4666010.2186000012</c:v>
                </c:pt>
                <c:pt idx="2292">
                  <c:v>4604342.2186000012</c:v>
                </c:pt>
                <c:pt idx="2293">
                  <c:v>4604774.2186000012</c:v>
                </c:pt>
                <c:pt idx="2294">
                  <c:v>4659938.2186000012</c:v>
                </c:pt>
                <c:pt idx="2295">
                  <c:v>4614806.2186000012</c:v>
                </c:pt>
                <c:pt idx="2296">
                  <c:v>4596842.2186000012</c:v>
                </c:pt>
                <c:pt idx="2297">
                  <c:v>4572914.2186000012</c:v>
                </c:pt>
                <c:pt idx="2298">
                  <c:v>4414142.2186000012</c:v>
                </c:pt>
                <c:pt idx="2299">
                  <c:v>4430889.9658000013</c:v>
                </c:pt>
                <c:pt idx="2300">
                  <c:v>4430889.9658000013</c:v>
                </c:pt>
                <c:pt idx="2301">
                  <c:v>4430889.9658000013</c:v>
                </c:pt>
                <c:pt idx="2302">
                  <c:v>4430889.9658000013</c:v>
                </c:pt>
                <c:pt idx="2303">
                  <c:v>4430889.9658000013</c:v>
                </c:pt>
                <c:pt idx="2304">
                  <c:v>4430889.9658000013</c:v>
                </c:pt>
                <c:pt idx="2305">
                  <c:v>4430889.9658000013</c:v>
                </c:pt>
                <c:pt idx="2306">
                  <c:v>4430889.9658000013</c:v>
                </c:pt>
                <c:pt idx="2307">
                  <c:v>4430889.9658000013</c:v>
                </c:pt>
                <c:pt idx="2308">
                  <c:v>4430889.9658000013</c:v>
                </c:pt>
                <c:pt idx="2309">
                  <c:v>4430889.9658000013</c:v>
                </c:pt>
                <c:pt idx="2310">
                  <c:v>4430889.9658000013</c:v>
                </c:pt>
                <c:pt idx="2311">
                  <c:v>4430889.9658000013</c:v>
                </c:pt>
                <c:pt idx="2312">
                  <c:v>4430889.9658000013</c:v>
                </c:pt>
                <c:pt idx="2313">
                  <c:v>4430889.9658000013</c:v>
                </c:pt>
                <c:pt idx="2314">
                  <c:v>4430889.9658000013</c:v>
                </c:pt>
                <c:pt idx="2315">
                  <c:v>4430889.9658000013</c:v>
                </c:pt>
                <c:pt idx="2316">
                  <c:v>4430889.9658000013</c:v>
                </c:pt>
                <c:pt idx="2317">
                  <c:v>4430889.9658000013</c:v>
                </c:pt>
                <c:pt idx="2318">
                  <c:v>4430889.9658000013</c:v>
                </c:pt>
                <c:pt idx="2319">
                  <c:v>4430889.9658000013</c:v>
                </c:pt>
                <c:pt idx="2320">
                  <c:v>4430889.9658000013</c:v>
                </c:pt>
                <c:pt idx="2321">
                  <c:v>4430889.9658000013</c:v>
                </c:pt>
                <c:pt idx="2322">
                  <c:v>4430889.9658000013</c:v>
                </c:pt>
                <c:pt idx="2323">
                  <c:v>4430889.9658000013</c:v>
                </c:pt>
                <c:pt idx="2324">
                  <c:v>4430889.9658000013</c:v>
                </c:pt>
                <c:pt idx="2325">
                  <c:v>4430889.9658000013</c:v>
                </c:pt>
                <c:pt idx="2326">
                  <c:v>4430889.9658000013</c:v>
                </c:pt>
                <c:pt idx="2327">
                  <c:v>4430889.9658000013</c:v>
                </c:pt>
                <c:pt idx="2328">
                  <c:v>4430889.9658000013</c:v>
                </c:pt>
                <c:pt idx="2329">
                  <c:v>4430889.9658000013</c:v>
                </c:pt>
                <c:pt idx="2330">
                  <c:v>4430889.9658000013</c:v>
                </c:pt>
                <c:pt idx="2331">
                  <c:v>4430889.9658000013</c:v>
                </c:pt>
                <c:pt idx="2332">
                  <c:v>4430889.9658000013</c:v>
                </c:pt>
                <c:pt idx="2333">
                  <c:v>4430889.9658000013</c:v>
                </c:pt>
                <c:pt idx="2334">
                  <c:v>4430889.9658000013</c:v>
                </c:pt>
                <c:pt idx="2335">
                  <c:v>4430889.9658000013</c:v>
                </c:pt>
                <c:pt idx="2336">
                  <c:v>4430889.9658000013</c:v>
                </c:pt>
                <c:pt idx="2337">
                  <c:v>4430889.9658000013</c:v>
                </c:pt>
                <c:pt idx="2338">
                  <c:v>4430889.9658000013</c:v>
                </c:pt>
                <c:pt idx="2339">
                  <c:v>4430889.9658000013</c:v>
                </c:pt>
                <c:pt idx="2340">
                  <c:v>4430889.9658000013</c:v>
                </c:pt>
                <c:pt idx="2341">
                  <c:v>4430889.9658000013</c:v>
                </c:pt>
                <c:pt idx="2342">
                  <c:v>4430889.9658000013</c:v>
                </c:pt>
                <c:pt idx="2343">
                  <c:v>4430889.9658000013</c:v>
                </c:pt>
                <c:pt idx="2344">
                  <c:v>4430889.9658000013</c:v>
                </c:pt>
                <c:pt idx="2345">
                  <c:v>4430889.9658000013</c:v>
                </c:pt>
                <c:pt idx="2346">
                  <c:v>4430889.9658000013</c:v>
                </c:pt>
                <c:pt idx="2347">
                  <c:v>4430889.9658000013</c:v>
                </c:pt>
                <c:pt idx="2348">
                  <c:v>4430889.9658000013</c:v>
                </c:pt>
                <c:pt idx="2349">
                  <c:v>4430889.9658000013</c:v>
                </c:pt>
                <c:pt idx="2350">
                  <c:v>4430889.9658000013</c:v>
                </c:pt>
                <c:pt idx="2351">
                  <c:v>4430889.9658000013</c:v>
                </c:pt>
                <c:pt idx="2352">
                  <c:v>4430889.9658000013</c:v>
                </c:pt>
                <c:pt idx="2353">
                  <c:v>4430889.9658000013</c:v>
                </c:pt>
                <c:pt idx="2354">
                  <c:v>4430889.9658000013</c:v>
                </c:pt>
                <c:pt idx="2355">
                  <c:v>4430889.9658000013</c:v>
                </c:pt>
                <c:pt idx="2356">
                  <c:v>4430889.9658000013</c:v>
                </c:pt>
                <c:pt idx="2357">
                  <c:v>4430889.9658000013</c:v>
                </c:pt>
                <c:pt idx="2358">
                  <c:v>4430889.9658000013</c:v>
                </c:pt>
                <c:pt idx="2359">
                  <c:v>4430889.9658000013</c:v>
                </c:pt>
                <c:pt idx="2360">
                  <c:v>4430889.9658000013</c:v>
                </c:pt>
                <c:pt idx="2361">
                  <c:v>4430889.9658000013</c:v>
                </c:pt>
                <c:pt idx="2362">
                  <c:v>4430889.9658000013</c:v>
                </c:pt>
                <c:pt idx="2363">
                  <c:v>4430889.9658000013</c:v>
                </c:pt>
                <c:pt idx="2364">
                  <c:v>4430889.9658000013</c:v>
                </c:pt>
                <c:pt idx="2365">
                  <c:v>4430889.9658000013</c:v>
                </c:pt>
                <c:pt idx="2366">
                  <c:v>4430889.9658000013</c:v>
                </c:pt>
                <c:pt idx="2367">
                  <c:v>4430889.9658000013</c:v>
                </c:pt>
                <c:pt idx="2368">
                  <c:v>4430889.9658000013</c:v>
                </c:pt>
                <c:pt idx="2369">
                  <c:v>4430889.9658000013</c:v>
                </c:pt>
                <c:pt idx="2370">
                  <c:v>4430889.9658000013</c:v>
                </c:pt>
                <c:pt idx="2371">
                  <c:v>4430889.9658000013</c:v>
                </c:pt>
                <c:pt idx="2372">
                  <c:v>4430889.9658000013</c:v>
                </c:pt>
                <c:pt idx="2373">
                  <c:v>4430889.9658000013</c:v>
                </c:pt>
                <c:pt idx="2374">
                  <c:v>4430889.9658000013</c:v>
                </c:pt>
                <c:pt idx="2375">
                  <c:v>4430889.9658000013</c:v>
                </c:pt>
                <c:pt idx="2376">
                  <c:v>4430889.9658000013</c:v>
                </c:pt>
                <c:pt idx="2377">
                  <c:v>4430889.9658000013</c:v>
                </c:pt>
                <c:pt idx="2378">
                  <c:v>4430889.9658000013</c:v>
                </c:pt>
                <c:pt idx="2379">
                  <c:v>4430889.9658000013</c:v>
                </c:pt>
                <c:pt idx="2380">
                  <c:v>4430889.9658000013</c:v>
                </c:pt>
                <c:pt idx="2381">
                  <c:v>4430889.9658000013</c:v>
                </c:pt>
                <c:pt idx="2382">
                  <c:v>4430889.9658000013</c:v>
                </c:pt>
                <c:pt idx="2383">
                  <c:v>4430889.9658000013</c:v>
                </c:pt>
                <c:pt idx="2384">
                  <c:v>4430889.9658000013</c:v>
                </c:pt>
                <c:pt idx="2385">
                  <c:v>4430889.9658000013</c:v>
                </c:pt>
                <c:pt idx="2386">
                  <c:v>4430889.9658000013</c:v>
                </c:pt>
                <c:pt idx="2387">
                  <c:v>4430889.9658000013</c:v>
                </c:pt>
                <c:pt idx="2388">
                  <c:v>4430889.9658000013</c:v>
                </c:pt>
                <c:pt idx="2389">
                  <c:v>4430889.9658000013</c:v>
                </c:pt>
                <c:pt idx="2390">
                  <c:v>4430889.9658000013</c:v>
                </c:pt>
                <c:pt idx="2391">
                  <c:v>4430889.9658000013</c:v>
                </c:pt>
                <c:pt idx="2392">
                  <c:v>4430889.9658000013</c:v>
                </c:pt>
                <c:pt idx="2393">
                  <c:v>4430889.9658000013</c:v>
                </c:pt>
                <c:pt idx="2394">
                  <c:v>4430889.9658000013</c:v>
                </c:pt>
                <c:pt idx="2395">
                  <c:v>4430889.9658000013</c:v>
                </c:pt>
                <c:pt idx="2396">
                  <c:v>4430889.9658000013</c:v>
                </c:pt>
                <c:pt idx="2397">
                  <c:v>4430889.9658000013</c:v>
                </c:pt>
                <c:pt idx="2398">
                  <c:v>4430889.9658000013</c:v>
                </c:pt>
                <c:pt idx="2399">
                  <c:v>4430889.9658000013</c:v>
                </c:pt>
                <c:pt idx="2400">
                  <c:v>4430889.9658000013</c:v>
                </c:pt>
                <c:pt idx="2401">
                  <c:v>4430889.9658000013</c:v>
                </c:pt>
                <c:pt idx="2402">
                  <c:v>4430889.9658000013</c:v>
                </c:pt>
                <c:pt idx="2403">
                  <c:v>4430889.9658000013</c:v>
                </c:pt>
                <c:pt idx="2404">
                  <c:v>4430889.9658000013</c:v>
                </c:pt>
                <c:pt idx="2405">
                  <c:v>4430889.9658000013</c:v>
                </c:pt>
                <c:pt idx="2406">
                  <c:v>4430889.9658000013</c:v>
                </c:pt>
                <c:pt idx="2407">
                  <c:v>4430889.9658000013</c:v>
                </c:pt>
                <c:pt idx="2408">
                  <c:v>4430889.9658000013</c:v>
                </c:pt>
                <c:pt idx="2409">
                  <c:v>4430889.9658000013</c:v>
                </c:pt>
                <c:pt idx="2410">
                  <c:v>4430889.9658000013</c:v>
                </c:pt>
                <c:pt idx="2411">
                  <c:v>4430889.9658000013</c:v>
                </c:pt>
                <c:pt idx="2412">
                  <c:v>4430889.9658000013</c:v>
                </c:pt>
                <c:pt idx="2413">
                  <c:v>4430889.9658000013</c:v>
                </c:pt>
                <c:pt idx="2414">
                  <c:v>4430889.9658000013</c:v>
                </c:pt>
                <c:pt idx="2415">
                  <c:v>4430889.9658000013</c:v>
                </c:pt>
                <c:pt idx="2416">
                  <c:v>4430889.9658000013</c:v>
                </c:pt>
                <c:pt idx="2417">
                  <c:v>4430889.9658000013</c:v>
                </c:pt>
                <c:pt idx="2418">
                  <c:v>4430889.9658000013</c:v>
                </c:pt>
                <c:pt idx="2419">
                  <c:v>4430889.9658000013</c:v>
                </c:pt>
                <c:pt idx="2420">
                  <c:v>4430889.9658000013</c:v>
                </c:pt>
                <c:pt idx="2421">
                  <c:v>4430889.9658000013</c:v>
                </c:pt>
                <c:pt idx="2422">
                  <c:v>4430889.9658000013</c:v>
                </c:pt>
                <c:pt idx="2423">
                  <c:v>4430889.9658000013</c:v>
                </c:pt>
                <c:pt idx="2424">
                  <c:v>4430889.9658000013</c:v>
                </c:pt>
                <c:pt idx="2425">
                  <c:v>4430889.9658000013</c:v>
                </c:pt>
                <c:pt idx="2426">
                  <c:v>4430889.9658000013</c:v>
                </c:pt>
                <c:pt idx="2427">
                  <c:v>4430889.9658000013</c:v>
                </c:pt>
                <c:pt idx="2428">
                  <c:v>4430889.9658000013</c:v>
                </c:pt>
                <c:pt idx="2429">
                  <c:v>4430889.9658000013</c:v>
                </c:pt>
                <c:pt idx="2430">
                  <c:v>4430889.9658000013</c:v>
                </c:pt>
                <c:pt idx="2431">
                  <c:v>4430889.9658000013</c:v>
                </c:pt>
                <c:pt idx="2432">
                  <c:v>4430889.9658000013</c:v>
                </c:pt>
                <c:pt idx="2433">
                  <c:v>4430889.9658000013</c:v>
                </c:pt>
                <c:pt idx="2434">
                  <c:v>4430889.9658000013</c:v>
                </c:pt>
                <c:pt idx="2435">
                  <c:v>4430889.9658000013</c:v>
                </c:pt>
                <c:pt idx="2436">
                  <c:v>4430889.9658000013</c:v>
                </c:pt>
                <c:pt idx="2437">
                  <c:v>4430889.9658000013</c:v>
                </c:pt>
                <c:pt idx="2438">
                  <c:v>4430889.9658000013</c:v>
                </c:pt>
                <c:pt idx="2439">
                  <c:v>4430889.9658000013</c:v>
                </c:pt>
                <c:pt idx="2440">
                  <c:v>4430889.9658000013</c:v>
                </c:pt>
                <c:pt idx="2441">
                  <c:v>4430889.9658000013</c:v>
                </c:pt>
                <c:pt idx="2442">
                  <c:v>4430889.9658000013</c:v>
                </c:pt>
                <c:pt idx="2443">
                  <c:v>4430889.9658000013</c:v>
                </c:pt>
                <c:pt idx="2444">
                  <c:v>4430889.9658000013</c:v>
                </c:pt>
                <c:pt idx="2445">
                  <c:v>4430889.9658000013</c:v>
                </c:pt>
                <c:pt idx="2446">
                  <c:v>4430889.9658000013</c:v>
                </c:pt>
                <c:pt idx="2447">
                  <c:v>4430889.9658000013</c:v>
                </c:pt>
                <c:pt idx="2448">
                  <c:v>4430889.9658000013</c:v>
                </c:pt>
                <c:pt idx="2449">
                  <c:v>4430889.9658000013</c:v>
                </c:pt>
                <c:pt idx="2450">
                  <c:v>4430889.9658000013</c:v>
                </c:pt>
                <c:pt idx="2451">
                  <c:v>4430889.9658000013</c:v>
                </c:pt>
                <c:pt idx="2452">
                  <c:v>4430889.9658000013</c:v>
                </c:pt>
                <c:pt idx="2453">
                  <c:v>4430889.9658000013</c:v>
                </c:pt>
                <c:pt idx="2454">
                  <c:v>4430889.9658000013</c:v>
                </c:pt>
                <c:pt idx="2455">
                  <c:v>4430889.9658000013</c:v>
                </c:pt>
                <c:pt idx="2456">
                  <c:v>4430889.9658000013</c:v>
                </c:pt>
                <c:pt idx="2457">
                  <c:v>4430889.9658000013</c:v>
                </c:pt>
                <c:pt idx="2458">
                  <c:v>4430889.9658000013</c:v>
                </c:pt>
                <c:pt idx="2459">
                  <c:v>4430889.9658000013</c:v>
                </c:pt>
                <c:pt idx="2460">
                  <c:v>4430889.9658000013</c:v>
                </c:pt>
                <c:pt idx="2461">
                  <c:v>4430889.9658000013</c:v>
                </c:pt>
                <c:pt idx="2462">
                  <c:v>4430889.9658000013</c:v>
                </c:pt>
                <c:pt idx="2463">
                  <c:v>4430889.9658000013</c:v>
                </c:pt>
                <c:pt idx="2464">
                  <c:v>4430889.9658000013</c:v>
                </c:pt>
                <c:pt idx="2465">
                  <c:v>4430889.9658000013</c:v>
                </c:pt>
                <c:pt idx="2466">
                  <c:v>4430889.9658000013</c:v>
                </c:pt>
                <c:pt idx="2467">
                  <c:v>4430889.9658000013</c:v>
                </c:pt>
                <c:pt idx="2468">
                  <c:v>4430889.9658000013</c:v>
                </c:pt>
                <c:pt idx="2469">
                  <c:v>4430472.6148000006</c:v>
                </c:pt>
                <c:pt idx="2470">
                  <c:v>4454573.6148000006</c:v>
                </c:pt>
                <c:pt idx="2471">
                  <c:v>4489861.6148000006</c:v>
                </c:pt>
                <c:pt idx="2472">
                  <c:v>4446697.6148000006</c:v>
                </c:pt>
                <c:pt idx="2473">
                  <c:v>4280300.6148000006</c:v>
                </c:pt>
                <c:pt idx="2474">
                  <c:v>4359907.6148000006</c:v>
                </c:pt>
                <c:pt idx="2475">
                  <c:v>4387847.6148000006</c:v>
                </c:pt>
                <c:pt idx="2476">
                  <c:v>4353571.6148000006</c:v>
                </c:pt>
                <c:pt idx="2477">
                  <c:v>4325301.6148000006</c:v>
                </c:pt>
                <c:pt idx="2478">
                  <c:v>4376473.6148000024</c:v>
                </c:pt>
                <c:pt idx="2479">
                  <c:v>4493887.6148000006</c:v>
                </c:pt>
                <c:pt idx="2480">
                  <c:v>4474318.6148000006</c:v>
                </c:pt>
                <c:pt idx="2481">
                  <c:v>4475946.6148000006</c:v>
                </c:pt>
                <c:pt idx="2482">
                  <c:v>4477541.6148000006</c:v>
                </c:pt>
                <c:pt idx="2483">
                  <c:v>4474142.6148000006</c:v>
                </c:pt>
                <c:pt idx="2484">
                  <c:v>4374075.6148000006</c:v>
                </c:pt>
                <c:pt idx="2485">
                  <c:v>4327446.6148000006</c:v>
                </c:pt>
                <c:pt idx="2486">
                  <c:v>4374691.6148000006</c:v>
                </c:pt>
                <c:pt idx="2487">
                  <c:v>4358202.6148000006</c:v>
                </c:pt>
                <c:pt idx="2488">
                  <c:v>4516536.6148000006</c:v>
                </c:pt>
                <c:pt idx="2489">
                  <c:v>4628285.6148000006</c:v>
                </c:pt>
                <c:pt idx="2490">
                  <c:v>4625381.6148000006</c:v>
                </c:pt>
                <c:pt idx="2491">
                  <c:v>4681338.6148000006</c:v>
                </c:pt>
                <c:pt idx="2492">
                  <c:v>4725415.6148000006</c:v>
                </c:pt>
                <c:pt idx="2493">
                  <c:v>4719915.6148000006</c:v>
                </c:pt>
                <c:pt idx="2494">
                  <c:v>4739935.6148000006</c:v>
                </c:pt>
                <c:pt idx="2495">
                  <c:v>4751397.6148000006</c:v>
                </c:pt>
                <c:pt idx="2496">
                  <c:v>4654300.6148000006</c:v>
                </c:pt>
                <c:pt idx="2497">
                  <c:v>4644444.6148000006</c:v>
                </c:pt>
                <c:pt idx="2498">
                  <c:v>4630034.6148000006</c:v>
                </c:pt>
                <c:pt idx="2499">
                  <c:v>4751331.6148000006</c:v>
                </c:pt>
                <c:pt idx="2500">
                  <c:v>4752926.6148000006</c:v>
                </c:pt>
                <c:pt idx="2501">
                  <c:v>4736250.6148000006</c:v>
                </c:pt>
                <c:pt idx="2502">
                  <c:v>4789633.6148000006</c:v>
                </c:pt>
                <c:pt idx="2503">
                  <c:v>4685133.6148000006</c:v>
                </c:pt>
                <c:pt idx="2504">
                  <c:v>4677873.6148000006</c:v>
                </c:pt>
                <c:pt idx="2505">
                  <c:v>4690061.6148000006</c:v>
                </c:pt>
                <c:pt idx="2506">
                  <c:v>4592964.6148000006</c:v>
                </c:pt>
                <c:pt idx="2507">
                  <c:v>4535159.6148000006</c:v>
                </c:pt>
                <c:pt idx="2508">
                  <c:v>4547325.6148000006</c:v>
                </c:pt>
                <c:pt idx="2509">
                  <c:v>4561493.6148000006</c:v>
                </c:pt>
                <c:pt idx="2510">
                  <c:v>4310044.6148000006</c:v>
                </c:pt>
                <c:pt idx="2511">
                  <c:v>4349699.6148000006</c:v>
                </c:pt>
                <c:pt idx="2512">
                  <c:v>4291168.6148000006</c:v>
                </c:pt>
                <c:pt idx="2513">
                  <c:v>4216632.6148000006</c:v>
                </c:pt>
                <c:pt idx="2514">
                  <c:v>4360457.6148000006</c:v>
                </c:pt>
                <c:pt idx="2515">
                  <c:v>4292565.6148000006</c:v>
                </c:pt>
                <c:pt idx="2516">
                  <c:v>4266627.6148000006</c:v>
                </c:pt>
                <c:pt idx="2517">
                  <c:v>4356761.6148000006</c:v>
                </c:pt>
                <c:pt idx="2518">
                  <c:v>4375318.6148000006</c:v>
                </c:pt>
                <c:pt idx="2519">
                  <c:v>4270598.6148000024</c:v>
                </c:pt>
                <c:pt idx="2520">
                  <c:v>4236531.6148000006</c:v>
                </c:pt>
                <c:pt idx="2521">
                  <c:v>4290420.6148000006</c:v>
                </c:pt>
                <c:pt idx="2522">
                  <c:v>4271280.6148000006</c:v>
                </c:pt>
                <c:pt idx="2523">
                  <c:v>4199318.6148000006</c:v>
                </c:pt>
                <c:pt idx="2524">
                  <c:v>4210263.6148000006</c:v>
                </c:pt>
                <c:pt idx="2525">
                  <c:v>4257882.6148000006</c:v>
                </c:pt>
                <c:pt idx="2526">
                  <c:v>4296448.6148000024</c:v>
                </c:pt>
                <c:pt idx="2527">
                  <c:v>4287263.6148000006</c:v>
                </c:pt>
                <c:pt idx="2528">
                  <c:v>4262260.6148000006</c:v>
                </c:pt>
                <c:pt idx="2529">
                  <c:v>4249731.6148000006</c:v>
                </c:pt>
                <c:pt idx="2530">
                  <c:v>4252173.6148000024</c:v>
                </c:pt>
                <c:pt idx="2531">
                  <c:v>4215279.6148000006</c:v>
                </c:pt>
                <c:pt idx="2532">
                  <c:v>4213783.6148000006</c:v>
                </c:pt>
                <c:pt idx="2533">
                  <c:v>4178110.614800001</c:v>
                </c:pt>
                <c:pt idx="2534">
                  <c:v>4228776.6148000006</c:v>
                </c:pt>
                <c:pt idx="2535">
                  <c:v>4348170.6148000006</c:v>
                </c:pt>
                <c:pt idx="2536">
                  <c:v>4317172.6148000006</c:v>
                </c:pt>
                <c:pt idx="2537">
                  <c:v>4310891.6148000006</c:v>
                </c:pt>
                <c:pt idx="2538">
                  <c:v>4277330.6148000006</c:v>
                </c:pt>
                <c:pt idx="2539">
                  <c:v>4277264.6148000006</c:v>
                </c:pt>
                <c:pt idx="2540">
                  <c:v>4291344.6148000006</c:v>
                </c:pt>
                <c:pt idx="2541">
                  <c:v>4344496.6148000006</c:v>
                </c:pt>
                <c:pt idx="2542">
                  <c:v>4468334.6148000006</c:v>
                </c:pt>
                <c:pt idx="2543">
                  <c:v>4474296.6148000006</c:v>
                </c:pt>
                <c:pt idx="2544">
                  <c:v>4482359.6148000006</c:v>
                </c:pt>
                <c:pt idx="2545">
                  <c:v>4438403.6148000006</c:v>
                </c:pt>
                <c:pt idx="2546">
                  <c:v>4430725.6148000006</c:v>
                </c:pt>
                <c:pt idx="2547">
                  <c:v>4475264.6148000006</c:v>
                </c:pt>
                <c:pt idx="2548">
                  <c:v>4465111.6148000006</c:v>
                </c:pt>
                <c:pt idx="2549">
                  <c:v>4586353.6148000006</c:v>
                </c:pt>
                <c:pt idx="2550">
                  <c:v>4587849.6148000006</c:v>
                </c:pt>
                <c:pt idx="2551">
                  <c:v>4539845.6148000006</c:v>
                </c:pt>
                <c:pt idx="2552">
                  <c:v>4517372.6148000006</c:v>
                </c:pt>
                <c:pt idx="2553">
                  <c:v>4539482.6148000006</c:v>
                </c:pt>
                <c:pt idx="2554">
                  <c:v>4440031.6148000006</c:v>
                </c:pt>
                <c:pt idx="2555">
                  <c:v>4429405.6148000006</c:v>
                </c:pt>
                <c:pt idx="2556">
                  <c:v>4422376.6148000006</c:v>
                </c:pt>
                <c:pt idx="2557">
                  <c:v>4420704.6148000006</c:v>
                </c:pt>
                <c:pt idx="2558">
                  <c:v>4446565.6148000006</c:v>
                </c:pt>
                <c:pt idx="2559">
                  <c:v>4463571.6148000006</c:v>
                </c:pt>
                <c:pt idx="2560">
                  <c:v>4444486.6148000006</c:v>
                </c:pt>
                <c:pt idx="2561">
                  <c:v>4442066.6148000006</c:v>
                </c:pt>
                <c:pt idx="2562">
                  <c:v>4402202.6148000006</c:v>
                </c:pt>
                <c:pt idx="2563">
                  <c:v>4445718.6148000006</c:v>
                </c:pt>
                <c:pt idx="2564">
                  <c:v>4416810.6148000006</c:v>
                </c:pt>
                <c:pt idx="2565">
                  <c:v>4425863.6148000006</c:v>
                </c:pt>
                <c:pt idx="2566">
                  <c:v>4458775.6148000006</c:v>
                </c:pt>
                <c:pt idx="2567">
                  <c:v>4493139.6148000006</c:v>
                </c:pt>
                <c:pt idx="2568">
                  <c:v>4501389.6148000006</c:v>
                </c:pt>
                <c:pt idx="2569">
                  <c:v>4496659.6148000006</c:v>
                </c:pt>
                <c:pt idx="2570">
                  <c:v>4514314.6148000006</c:v>
                </c:pt>
                <c:pt idx="2571">
                  <c:v>4475858.6148000006</c:v>
                </c:pt>
                <c:pt idx="2572">
                  <c:v>4440779.6148000006</c:v>
                </c:pt>
                <c:pt idx="2573">
                  <c:v>4379146.6148000006</c:v>
                </c:pt>
                <c:pt idx="2574">
                  <c:v>4300221.6148000006</c:v>
                </c:pt>
                <c:pt idx="2575">
                  <c:v>4256925.6148000006</c:v>
                </c:pt>
                <c:pt idx="2576">
                  <c:v>4240535.6148000006</c:v>
                </c:pt>
                <c:pt idx="2577">
                  <c:v>4293181.6148000006</c:v>
                </c:pt>
                <c:pt idx="2578">
                  <c:v>4253845.6148000006</c:v>
                </c:pt>
                <c:pt idx="2579">
                  <c:v>4325972.6148000006</c:v>
                </c:pt>
                <c:pt idx="2580">
                  <c:v>4289287.6148000006</c:v>
                </c:pt>
                <c:pt idx="2581">
                  <c:v>4307602.6148000006</c:v>
                </c:pt>
                <c:pt idx="2582">
                  <c:v>4320362.6148000006</c:v>
                </c:pt>
                <c:pt idx="2583">
                  <c:v>4338556.6148000006</c:v>
                </c:pt>
                <c:pt idx="2584">
                  <c:v>4427161.6148000006</c:v>
                </c:pt>
                <c:pt idx="2585">
                  <c:v>4423465.6148000006</c:v>
                </c:pt>
                <c:pt idx="2586">
                  <c:v>4416898.6148000024</c:v>
                </c:pt>
                <c:pt idx="2587">
                  <c:v>4429823.6148000024</c:v>
                </c:pt>
                <c:pt idx="2588">
                  <c:v>4459908.6148000006</c:v>
                </c:pt>
                <c:pt idx="2589">
                  <c:v>4399463.6148000006</c:v>
                </c:pt>
                <c:pt idx="2590">
                  <c:v>4455607.6148000006</c:v>
                </c:pt>
                <c:pt idx="2591">
                  <c:v>4439800.6148000006</c:v>
                </c:pt>
                <c:pt idx="2592">
                  <c:v>4426171.6148000006</c:v>
                </c:pt>
                <c:pt idx="2593">
                  <c:v>4436511.6148000006</c:v>
                </c:pt>
                <c:pt idx="2594">
                  <c:v>4490114.6148000006</c:v>
                </c:pt>
                <c:pt idx="2595">
                  <c:v>4495933.6148000006</c:v>
                </c:pt>
                <c:pt idx="2596">
                  <c:v>4531562.6148000006</c:v>
                </c:pt>
                <c:pt idx="2597">
                  <c:v>4574814.6148000006</c:v>
                </c:pt>
                <c:pt idx="2598">
                  <c:v>4600323.6148000006</c:v>
                </c:pt>
                <c:pt idx="2599">
                  <c:v>4627207.6148000006</c:v>
                </c:pt>
                <c:pt idx="2600">
                  <c:v>4612159.6148000006</c:v>
                </c:pt>
                <c:pt idx="2601">
                  <c:v>4580072.6148000006</c:v>
                </c:pt>
                <c:pt idx="2602">
                  <c:v>4626580.6148000006</c:v>
                </c:pt>
                <c:pt idx="2603">
                  <c:v>4610454.6148000006</c:v>
                </c:pt>
                <c:pt idx="2604">
                  <c:v>4537304.6148000006</c:v>
                </c:pt>
                <c:pt idx="2605">
                  <c:v>4558050.6148000006</c:v>
                </c:pt>
                <c:pt idx="2606">
                  <c:v>4573780.6148000006</c:v>
                </c:pt>
                <c:pt idx="2607">
                  <c:v>4586177.6148000006</c:v>
                </c:pt>
                <c:pt idx="2608">
                  <c:v>4536688.6148000006</c:v>
                </c:pt>
                <c:pt idx="2609">
                  <c:v>4548150.6148000006</c:v>
                </c:pt>
                <c:pt idx="2610">
                  <c:v>4515040.6148000006</c:v>
                </c:pt>
                <c:pt idx="2611">
                  <c:v>4482216.6148000006</c:v>
                </c:pt>
                <c:pt idx="2612">
                  <c:v>4494877.6148000006</c:v>
                </c:pt>
                <c:pt idx="2613">
                  <c:v>4452945.6148000006</c:v>
                </c:pt>
                <c:pt idx="2614">
                  <c:v>4478410.6148000006</c:v>
                </c:pt>
                <c:pt idx="2615">
                  <c:v>4484526.6148000006</c:v>
                </c:pt>
                <c:pt idx="2616">
                  <c:v>4519066.6148000006</c:v>
                </c:pt>
                <c:pt idx="2617">
                  <c:v>4559865.6148000006</c:v>
                </c:pt>
                <c:pt idx="2618">
                  <c:v>4605526.6148000006</c:v>
                </c:pt>
                <c:pt idx="2619">
                  <c:v>4586837.6148000006</c:v>
                </c:pt>
                <c:pt idx="2620">
                  <c:v>4571921.6148000006</c:v>
                </c:pt>
                <c:pt idx="2621">
                  <c:v>4574704.6148000006</c:v>
                </c:pt>
                <c:pt idx="2622">
                  <c:v>4513280.6148000006</c:v>
                </c:pt>
                <c:pt idx="2623">
                  <c:v>4525886.6148000006</c:v>
                </c:pt>
                <c:pt idx="2624">
                  <c:v>4542430.6148000006</c:v>
                </c:pt>
                <c:pt idx="2625">
                  <c:v>4515150.6148000006</c:v>
                </c:pt>
                <c:pt idx="2626">
                  <c:v>4514699.6148000006</c:v>
                </c:pt>
                <c:pt idx="2627">
                  <c:v>4543431.6148000006</c:v>
                </c:pt>
                <c:pt idx="2628">
                  <c:v>4576211.6148000006</c:v>
                </c:pt>
                <c:pt idx="2629">
                  <c:v>4558215.6148000006</c:v>
                </c:pt>
                <c:pt idx="2630">
                  <c:v>4537315.6148000006</c:v>
                </c:pt>
                <c:pt idx="2631">
                  <c:v>4532387.6148000006</c:v>
                </c:pt>
                <c:pt idx="2632">
                  <c:v>4604591.6148000006</c:v>
                </c:pt>
                <c:pt idx="2633">
                  <c:v>4632894.6148000006</c:v>
                </c:pt>
                <c:pt idx="2634">
                  <c:v>4660053.6148000006</c:v>
                </c:pt>
                <c:pt idx="2635">
                  <c:v>4640330.6148000006</c:v>
                </c:pt>
                <c:pt idx="2636">
                  <c:v>4648019.6148000006</c:v>
                </c:pt>
                <c:pt idx="2637">
                  <c:v>4627273.6148000006</c:v>
                </c:pt>
                <c:pt idx="2638">
                  <c:v>4550240.6148000006</c:v>
                </c:pt>
                <c:pt idx="2639">
                  <c:v>4551021.6148000006</c:v>
                </c:pt>
                <c:pt idx="2640">
                  <c:v>4546940.6148000006</c:v>
                </c:pt>
                <c:pt idx="2641">
                  <c:v>4553408.6148000006</c:v>
                </c:pt>
                <c:pt idx="2642">
                  <c:v>4521761.6148000006</c:v>
                </c:pt>
                <c:pt idx="2643">
                  <c:v>4555685.6148000006</c:v>
                </c:pt>
                <c:pt idx="2644">
                  <c:v>4598706.6148000006</c:v>
                </c:pt>
                <c:pt idx="2645">
                  <c:v>4555608.6148000006</c:v>
                </c:pt>
                <c:pt idx="2646">
                  <c:v>4535522.6148000006</c:v>
                </c:pt>
                <c:pt idx="2647">
                  <c:v>4491951.6148000006</c:v>
                </c:pt>
                <c:pt idx="2648">
                  <c:v>4522993.6148000006</c:v>
                </c:pt>
                <c:pt idx="2649">
                  <c:v>4537777.6148000006</c:v>
                </c:pt>
                <c:pt idx="2650">
                  <c:v>4520144.6148000006</c:v>
                </c:pt>
                <c:pt idx="2651">
                  <c:v>4505492.6148000006</c:v>
                </c:pt>
                <c:pt idx="2652">
                  <c:v>4468499.6148000006</c:v>
                </c:pt>
                <c:pt idx="2653">
                  <c:v>4476628.6148000006</c:v>
                </c:pt>
                <c:pt idx="2654">
                  <c:v>4493161.6148000006</c:v>
                </c:pt>
                <c:pt idx="2655">
                  <c:v>4491764.6148000006</c:v>
                </c:pt>
                <c:pt idx="2656">
                  <c:v>4524258.6148000006</c:v>
                </c:pt>
                <c:pt idx="2657">
                  <c:v>4549591.6148000006</c:v>
                </c:pt>
                <c:pt idx="2658">
                  <c:v>4541957.6148000006</c:v>
                </c:pt>
                <c:pt idx="2659">
                  <c:v>4547380.6148000006</c:v>
                </c:pt>
                <c:pt idx="2660">
                  <c:v>4549987.6148000006</c:v>
                </c:pt>
                <c:pt idx="2661">
                  <c:v>4537084.6148000006</c:v>
                </c:pt>
                <c:pt idx="2662">
                  <c:v>4622004.6148000006</c:v>
                </c:pt>
                <c:pt idx="2663">
                  <c:v>4643267.6148000006</c:v>
                </c:pt>
                <c:pt idx="2664">
                  <c:v>4702942.6148000006</c:v>
                </c:pt>
                <c:pt idx="2665">
                  <c:v>4693020.6148000006</c:v>
                </c:pt>
                <c:pt idx="2666">
                  <c:v>4686827.6148000006</c:v>
                </c:pt>
                <c:pt idx="2667">
                  <c:v>4675937.6148000006</c:v>
                </c:pt>
                <c:pt idx="2668">
                  <c:v>4620772.6148000006</c:v>
                </c:pt>
                <c:pt idx="2669">
                  <c:v>4649218.6148000006</c:v>
                </c:pt>
                <c:pt idx="2670">
                  <c:v>4646919.6148000006</c:v>
                </c:pt>
                <c:pt idx="2671">
                  <c:v>4685551.6148000006</c:v>
                </c:pt>
                <c:pt idx="2672">
                  <c:v>4681195.6148000006</c:v>
                </c:pt>
                <c:pt idx="2673">
                  <c:v>4746755.6148000006</c:v>
                </c:pt>
                <c:pt idx="2674">
                  <c:v>4763200.6148000006</c:v>
                </c:pt>
                <c:pt idx="2675">
                  <c:v>4824426.6148000006</c:v>
                </c:pt>
                <c:pt idx="2676">
                  <c:v>4816418.6148000006</c:v>
                </c:pt>
                <c:pt idx="2677">
                  <c:v>4799192.6148000006</c:v>
                </c:pt>
                <c:pt idx="2678">
                  <c:v>4833215.6148000006</c:v>
                </c:pt>
                <c:pt idx="2679">
                  <c:v>4780514.6148000006</c:v>
                </c:pt>
                <c:pt idx="2680">
                  <c:v>4837769.6148000006</c:v>
                </c:pt>
                <c:pt idx="2681">
                  <c:v>4836460.6148000006</c:v>
                </c:pt>
                <c:pt idx="2682">
                  <c:v>4881351.6148000006</c:v>
                </c:pt>
                <c:pt idx="2683">
                  <c:v>4865841.6148000006</c:v>
                </c:pt>
                <c:pt idx="2684">
                  <c:v>4840365.6148000006</c:v>
                </c:pt>
                <c:pt idx="2685">
                  <c:v>4820906.6148000006</c:v>
                </c:pt>
                <c:pt idx="2686">
                  <c:v>4827297.6148000006</c:v>
                </c:pt>
                <c:pt idx="2687">
                  <c:v>4861375.6148000006</c:v>
                </c:pt>
                <c:pt idx="2688">
                  <c:v>4782703.6148000006</c:v>
                </c:pt>
                <c:pt idx="2689">
                  <c:v>4802085.6148000006</c:v>
                </c:pt>
                <c:pt idx="2690">
                  <c:v>4661252.6148000006</c:v>
                </c:pt>
                <c:pt idx="2691">
                  <c:v>4313752.8952000011</c:v>
                </c:pt>
                <c:pt idx="2692">
                  <c:v>4313752.8952000011</c:v>
                </c:pt>
                <c:pt idx="2693">
                  <c:v>4313752.8952000011</c:v>
                </c:pt>
                <c:pt idx="2694">
                  <c:v>4313752.8952000011</c:v>
                </c:pt>
                <c:pt idx="2695">
                  <c:v>4313752.8952000011</c:v>
                </c:pt>
                <c:pt idx="2696">
                  <c:v>4313752.8952000011</c:v>
                </c:pt>
                <c:pt idx="2697">
                  <c:v>4313752.8952000011</c:v>
                </c:pt>
                <c:pt idx="2698">
                  <c:v>4313752.8952000011</c:v>
                </c:pt>
                <c:pt idx="2699">
                  <c:v>4313752.8952000011</c:v>
                </c:pt>
                <c:pt idx="2700">
                  <c:v>4313752.8952000011</c:v>
                </c:pt>
                <c:pt idx="2701">
                  <c:v>4313752.8952000011</c:v>
                </c:pt>
                <c:pt idx="2702">
                  <c:v>4313752.8952000011</c:v>
                </c:pt>
                <c:pt idx="2703">
                  <c:v>4313752.8952000011</c:v>
                </c:pt>
                <c:pt idx="2704">
                  <c:v>4313752.8952000011</c:v>
                </c:pt>
                <c:pt idx="2705">
                  <c:v>4313752.8952000011</c:v>
                </c:pt>
                <c:pt idx="2706">
                  <c:v>4313752.8952000011</c:v>
                </c:pt>
                <c:pt idx="2707">
                  <c:v>4313752.8952000011</c:v>
                </c:pt>
                <c:pt idx="2708">
                  <c:v>4313752.8952000011</c:v>
                </c:pt>
                <c:pt idx="2709">
                  <c:v>4313752.8952000011</c:v>
                </c:pt>
                <c:pt idx="2710">
                  <c:v>4313752.8952000011</c:v>
                </c:pt>
                <c:pt idx="2711">
                  <c:v>4313752.8952000011</c:v>
                </c:pt>
                <c:pt idx="2712">
                  <c:v>4313752.8952000011</c:v>
                </c:pt>
                <c:pt idx="2713">
                  <c:v>4313752.8952000011</c:v>
                </c:pt>
                <c:pt idx="2714">
                  <c:v>4313752.8952000011</c:v>
                </c:pt>
                <c:pt idx="2715">
                  <c:v>4313752.8952000011</c:v>
                </c:pt>
                <c:pt idx="2716">
                  <c:v>4313752.8952000011</c:v>
                </c:pt>
                <c:pt idx="2717">
                  <c:v>4313752.8952000011</c:v>
                </c:pt>
                <c:pt idx="2718">
                  <c:v>4313752.8952000011</c:v>
                </c:pt>
                <c:pt idx="2719">
                  <c:v>4313752.8952000011</c:v>
                </c:pt>
                <c:pt idx="2720">
                  <c:v>4313752.8952000011</c:v>
                </c:pt>
                <c:pt idx="2721">
                  <c:v>4313752.8952000011</c:v>
                </c:pt>
                <c:pt idx="2722">
                  <c:v>4313752.8952000011</c:v>
                </c:pt>
                <c:pt idx="2723">
                  <c:v>4313752.8952000011</c:v>
                </c:pt>
                <c:pt idx="2724">
                  <c:v>4313752.8952000011</c:v>
                </c:pt>
                <c:pt idx="2725">
                  <c:v>4313752.8952000011</c:v>
                </c:pt>
                <c:pt idx="2726">
                  <c:v>4313752.8952000011</c:v>
                </c:pt>
                <c:pt idx="2727">
                  <c:v>4313752.8952000011</c:v>
                </c:pt>
                <c:pt idx="2728">
                  <c:v>4313752.8952000011</c:v>
                </c:pt>
                <c:pt idx="2729">
                  <c:v>4313752.8952000011</c:v>
                </c:pt>
                <c:pt idx="2730">
                  <c:v>4313752.8952000011</c:v>
                </c:pt>
                <c:pt idx="2731">
                  <c:v>4313752.8952000011</c:v>
                </c:pt>
                <c:pt idx="2732">
                  <c:v>4313752.8952000011</c:v>
                </c:pt>
                <c:pt idx="2733">
                  <c:v>4313752.8952000011</c:v>
                </c:pt>
                <c:pt idx="2734">
                  <c:v>4313752.8952000011</c:v>
                </c:pt>
                <c:pt idx="2735">
                  <c:v>4313752.8952000011</c:v>
                </c:pt>
                <c:pt idx="2736">
                  <c:v>4313752.8952000011</c:v>
                </c:pt>
                <c:pt idx="2737">
                  <c:v>4313752.8952000011</c:v>
                </c:pt>
                <c:pt idx="2738">
                  <c:v>4313752.8952000011</c:v>
                </c:pt>
                <c:pt idx="2739">
                  <c:v>4313752.8952000011</c:v>
                </c:pt>
                <c:pt idx="2740">
                  <c:v>4313752.8952000011</c:v>
                </c:pt>
                <c:pt idx="2741">
                  <c:v>4313752.8952000011</c:v>
                </c:pt>
                <c:pt idx="2742">
                  <c:v>4313752.8952000011</c:v>
                </c:pt>
                <c:pt idx="2743">
                  <c:v>4313752.8952000011</c:v>
                </c:pt>
                <c:pt idx="2744">
                  <c:v>4313752.8952000011</c:v>
                </c:pt>
                <c:pt idx="2745">
                  <c:v>4313752.8952000011</c:v>
                </c:pt>
                <c:pt idx="2746">
                  <c:v>4313752.8952000011</c:v>
                </c:pt>
                <c:pt idx="2747">
                  <c:v>4313752.8952000011</c:v>
                </c:pt>
                <c:pt idx="2748">
                  <c:v>4313752.8952000011</c:v>
                </c:pt>
                <c:pt idx="2749">
                  <c:v>4313752.8952000011</c:v>
                </c:pt>
                <c:pt idx="2750">
                  <c:v>4313752.8952000011</c:v>
                </c:pt>
                <c:pt idx="2751">
                  <c:v>4313752.8952000011</c:v>
                </c:pt>
                <c:pt idx="2752">
                  <c:v>4313752.8952000011</c:v>
                </c:pt>
                <c:pt idx="2753">
                  <c:v>4313752.8952000011</c:v>
                </c:pt>
                <c:pt idx="2754">
                  <c:v>4313752.8952000011</c:v>
                </c:pt>
                <c:pt idx="2755">
                  <c:v>4313752.8952000011</c:v>
                </c:pt>
                <c:pt idx="2756">
                  <c:v>4313752.8952000011</c:v>
                </c:pt>
                <c:pt idx="2757">
                  <c:v>4313752.8952000011</c:v>
                </c:pt>
                <c:pt idx="2758">
                  <c:v>4313752.8952000011</c:v>
                </c:pt>
                <c:pt idx="2759">
                  <c:v>4313752.8952000011</c:v>
                </c:pt>
                <c:pt idx="2760">
                  <c:v>4313752.8952000011</c:v>
                </c:pt>
                <c:pt idx="2761">
                  <c:v>4313752.8952000011</c:v>
                </c:pt>
                <c:pt idx="2762">
                  <c:v>4313752.8952000011</c:v>
                </c:pt>
                <c:pt idx="2763">
                  <c:v>4313752.8952000011</c:v>
                </c:pt>
                <c:pt idx="2764">
                  <c:v>4313752.8952000011</c:v>
                </c:pt>
                <c:pt idx="2765">
                  <c:v>4313752.8952000011</c:v>
                </c:pt>
                <c:pt idx="2766">
                  <c:v>4313752.8952000011</c:v>
                </c:pt>
                <c:pt idx="2767">
                  <c:v>4313752.8952000011</c:v>
                </c:pt>
                <c:pt idx="2768">
                  <c:v>4313752.8952000011</c:v>
                </c:pt>
                <c:pt idx="2769">
                  <c:v>4313752.8952000011</c:v>
                </c:pt>
                <c:pt idx="2770">
                  <c:v>4313752.8952000011</c:v>
                </c:pt>
                <c:pt idx="2771">
                  <c:v>4313752.8952000011</c:v>
                </c:pt>
                <c:pt idx="2772">
                  <c:v>4313752.8952000011</c:v>
                </c:pt>
                <c:pt idx="2773">
                  <c:v>4313752.8952000011</c:v>
                </c:pt>
                <c:pt idx="2774">
                  <c:v>4313752.8952000011</c:v>
                </c:pt>
                <c:pt idx="2775">
                  <c:v>4313752.8952000011</c:v>
                </c:pt>
                <c:pt idx="2776">
                  <c:v>4313752.8952000011</c:v>
                </c:pt>
                <c:pt idx="2777">
                  <c:v>4313752.8952000011</c:v>
                </c:pt>
                <c:pt idx="2778">
                  <c:v>4313752.8952000011</c:v>
                </c:pt>
                <c:pt idx="2779">
                  <c:v>4313752.8952000011</c:v>
                </c:pt>
                <c:pt idx="2780">
                  <c:v>4313752.8952000011</c:v>
                </c:pt>
                <c:pt idx="2781">
                  <c:v>4313752.8952000011</c:v>
                </c:pt>
                <c:pt idx="2782">
                  <c:v>4313752.8952000011</c:v>
                </c:pt>
                <c:pt idx="2783">
                  <c:v>4313752.8952000011</c:v>
                </c:pt>
                <c:pt idx="2784">
                  <c:v>4313752.8952000011</c:v>
                </c:pt>
                <c:pt idx="2785">
                  <c:v>4313752.8952000011</c:v>
                </c:pt>
                <c:pt idx="2786">
                  <c:v>4313752.8952000011</c:v>
                </c:pt>
                <c:pt idx="2787">
                  <c:v>4313752.8952000011</c:v>
                </c:pt>
                <c:pt idx="2788">
                  <c:v>4313752.8952000011</c:v>
                </c:pt>
                <c:pt idx="2789">
                  <c:v>4313752.8952000011</c:v>
                </c:pt>
                <c:pt idx="2790">
                  <c:v>4313752.8952000011</c:v>
                </c:pt>
                <c:pt idx="2791">
                  <c:v>4313752.8952000011</c:v>
                </c:pt>
                <c:pt idx="2792">
                  <c:v>4313752.8952000011</c:v>
                </c:pt>
                <c:pt idx="2793">
                  <c:v>4313362.6696000006</c:v>
                </c:pt>
                <c:pt idx="2794">
                  <c:v>4388746.6696000015</c:v>
                </c:pt>
                <c:pt idx="2795">
                  <c:v>4614187.6696000006</c:v>
                </c:pt>
                <c:pt idx="2796">
                  <c:v>4639423.6696000006</c:v>
                </c:pt>
                <c:pt idx="2797">
                  <c:v>4707706.6696000006</c:v>
                </c:pt>
                <c:pt idx="2798">
                  <c:v>4767799.6696000006</c:v>
                </c:pt>
                <c:pt idx="2799">
                  <c:v>4688923.6696000006</c:v>
                </c:pt>
                <c:pt idx="2800">
                  <c:v>4778770.6696000006</c:v>
                </c:pt>
                <c:pt idx="2801">
                  <c:v>4737127.6696000006</c:v>
                </c:pt>
                <c:pt idx="2802">
                  <c:v>4681129.6696000006</c:v>
                </c:pt>
                <c:pt idx="2803">
                  <c:v>4475731.6696000006</c:v>
                </c:pt>
                <c:pt idx="2804">
                  <c:v>4501336.6696000006</c:v>
                </c:pt>
                <c:pt idx="2805">
                  <c:v>4623376.6696000006</c:v>
                </c:pt>
                <c:pt idx="2806">
                  <c:v>4633042.6696000006</c:v>
                </c:pt>
                <c:pt idx="2807">
                  <c:v>4654111.6696000006</c:v>
                </c:pt>
                <c:pt idx="2808">
                  <c:v>4652302.6696000006</c:v>
                </c:pt>
                <c:pt idx="2809">
                  <c:v>4466137.6696000006</c:v>
                </c:pt>
                <c:pt idx="2810">
                  <c:v>4486711.6696000006</c:v>
                </c:pt>
                <c:pt idx="2811">
                  <c:v>4522540.6696000006</c:v>
                </c:pt>
                <c:pt idx="2812">
                  <c:v>4622215.6696000006</c:v>
                </c:pt>
                <c:pt idx="2813">
                  <c:v>4601641.6696000006</c:v>
                </c:pt>
                <c:pt idx="2814">
                  <c:v>4636651.6696000006</c:v>
                </c:pt>
                <c:pt idx="2815">
                  <c:v>4705285.6696000006</c:v>
                </c:pt>
                <c:pt idx="2816">
                  <c:v>4709326.6696000006</c:v>
                </c:pt>
                <c:pt idx="2817">
                  <c:v>4710505.6696000006</c:v>
                </c:pt>
                <c:pt idx="2818">
                  <c:v>4697590.6696000006</c:v>
                </c:pt>
                <c:pt idx="2819">
                  <c:v>4648243.6696000006</c:v>
                </c:pt>
                <c:pt idx="2820">
                  <c:v>4663489.6696000006</c:v>
                </c:pt>
                <c:pt idx="2821">
                  <c:v>4624708.6696000006</c:v>
                </c:pt>
                <c:pt idx="2822">
                  <c:v>4593982.6696000015</c:v>
                </c:pt>
                <c:pt idx="2823">
                  <c:v>4583245.6696000006</c:v>
                </c:pt>
                <c:pt idx="2824">
                  <c:v>4645273.6696000006</c:v>
                </c:pt>
                <c:pt idx="2825">
                  <c:v>4744813.6696000006</c:v>
                </c:pt>
                <c:pt idx="2826">
                  <c:v>4742590.6696000006</c:v>
                </c:pt>
                <c:pt idx="2827">
                  <c:v>4677718.6696000006</c:v>
                </c:pt>
                <c:pt idx="2828">
                  <c:v>4622341.6696000006</c:v>
                </c:pt>
                <c:pt idx="2829">
                  <c:v>4658062.6696000006</c:v>
                </c:pt>
                <c:pt idx="2830">
                  <c:v>4691371.6696000006</c:v>
                </c:pt>
                <c:pt idx="2831">
                  <c:v>4696861.6696000006</c:v>
                </c:pt>
                <c:pt idx="2832">
                  <c:v>4646623.6696000006</c:v>
                </c:pt>
                <c:pt idx="2833">
                  <c:v>4669321.6696000006</c:v>
                </c:pt>
                <c:pt idx="2834">
                  <c:v>4770949.6696000006</c:v>
                </c:pt>
                <c:pt idx="2835">
                  <c:v>4745704.6696000006</c:v>
                </c:pt>
                <c:pt idx="2836">
                  <c:v>4769014.6696000006</c:v>
                </c:pt>
                <c:pt idx="2837">
                  <c:v>4770607.6696000006</c:v>
                </c:pt>
                <c:pt idx="2838">
                  <c:v>4746496.6696000006</c:v>
                </c:pt>
                <c:pt idx="2839">
                  <c:v>4704304.6696000006</c:v>
                </c:pt>
                <c:pt idx="2840">
                  <c:v>4613539.6696000006</c:v>
                </c:pt>
                <c:pt idx="2841">
                  <c:v>4636057.6696000006</c:v>
                </c:pt>
                <c:pt idx="2842">
                  <c:v>4537237.6696000006</c:v>
                </c:pt>
                <c:pt idx="2843">
                  <c:v>4534888.6696000006</c:v>
                </c:pt>
                <c:pt idx="2844">
                  <c:v>4575658.6696000006</c:v>
                </c:pt>
                <c:pt idx="2845">
                  <c:v>4597051.6696000006</c:v>
                </c:pt>
                <c:pt idx="2846">
                  <c:v>4630738.6696000006</c:v>
                </c:pt>
                <c:pt idx="2847">
                  <c:v>4602730.6696000006</c:v>
                </c:pt>
                <c:pt idx="2848">
                  <c:v>4580545.6696000006</c:v>
                </c:pt>
                <c:pt idx="2849">
                  <c:v>4674487.6696000006</c:v>
                </c:pt>
                <c:pt idx="2850">
                  <c:v>4633393.6696000006</c:v>
                </c:pt>
                <c:pt idx="2851">
                  <c:v>4583290.6696000006</c:v>
                </c:pt>
                <c:pt idx="2852">
                  <c:v>4598203.6696000006</c:v>
                </c:pt>
                <c:pt idx="2853">
                  <c:v>4517869.6696000006</c:v>
                </c:pt>
                <c:pt idx="2854">
                  <c:v>4524124.6696000015</c:v>
                </c:pt>
                <c:pt idx="2855">
                  <c:v>4534825.6696000006</c:v>
                </c:pt>
                <c:pt idx="2856">
                  <c:v>4543726.6696000006</c:v>
                </c:pt>
                <c:pt idx="2857">
                  <c:v>4539766.6696000006</c:v>
                </c:pt>
                <c:pt idx="2858">
                  <c:v>4624132.6696000006</c:v>
                </c:pt>
                <c:pt idx="2859">
                  <c:v>4751950.6696000006</c:v>
                </c:pt>
                <c:pt idx="2860">
                  <c:v>4766386.6696000006</c:v>
                </c:pt>
                <c:pt idx="2861">
                  <c:v>4737496.6696000006</c:v>
                </c:pt>
                <c:pt idx="2862">
                  <c:v>4729972.6696000006</c:v>
                </c:pt>
                <c:pt idx="2863">
                  <c:v>4723618.6696000006</c:v>
                </c:pt>
                <c:pt idx="2864">
                  <c:v>4691047.6696000006</c:v>
                </c:pt>
                <c:pt idx="2865">
                  <c:v>4725229.6696000006</c:v>
                </c:pt>
                <c:pt idx="2866">
                  <c:v>4724653.6696000006</c:v>
                </c:pt>
                <c:pt idx="2867">
                  <c:v>4711288.6696000006</c:v>
                </c:pt>
                <c:pt idx="2868">
                  <c:v>4657747.6696000006</c:v>
                </c:pt>
                <c:pt idx="2869">
                  <c:v>4633222.6696000006</c:v>
                </c:pt>
                <c:pt idx="2870">
                  <c:v>4640458.6696000006</c:v>
                </c:pt>
                <c:pt idx="2871">
                  <c:v>4674649.6696000006</c:v>
                </c:pt>
                <c:pt idx="2872">
                  <c:v>4706734.6696000006</c:v>
                </c:pt>
                <c:pt idx="2873">
                  <c:v>4636903.6696000006</c:v>
                </c:pt>
                <c:pt idx="2874">
                  <c:v>4659853.6696000006</c:v>
                </c:pt>
                <c:pt idx="2875">
                  <c:v>4710910.6696000006</c:v>
                </c:pt>
                <c:pt idx="2876">
                  <c:v>4743400.6696000006</c:v>
                </c:pt>
                <c:pt idx="2877">
                  <c:v>4807705.6696000006</c:v>
                </c:pt>
                <c:pt idx="2878">
                  <c:v>4808254.6696000006</c:v>
                </c:pt>
                <c:pt idx="2879">
                  <c:v>4894321.6696000006</c:v>
                </c:pt>
                <c:pt idx="2880">
                  <c:v>4869598.6696000006</c:v>
                </c:pt>
                <c:pt idx="2881">
                  <c:v>4825516.6696000006</c:v>
                </c:pt>
                <c:pt idx="2882">
                  <c:v>4828720.6696000006</c:v>
                </c:pt>
                <c:pt idx="2883">
                  <c:v>4782271.6696000006</c:v>
                </c:pt>
                <c:pt idx="2884">
                  <c:v>4824859.6696000006</c:v>
                </c:pt>
                <c:pt idx="2885">
                  <c:v>4816417.6696000006</c:v>
                </c:pt>
                <c:pt idx="2886">
                  <c:v>4813609.6696000006</c:v>
                </c:pt>
                <c:pt idx="2887">
                  <c:v>4846297.6696000006</c:v>
                </c:pt>
                <c:pt idx="2888">
                  <c:v>4860067.6696000006</c:v>
                </c:pt>
                <c:pt idx="2889">
                  <c:v>4915633.6696000006</c:v>
                </c:pt>
                <c:pt idx="2890">
                  <c:v>4887967.6696000006</c:v>
                </c:pt>
                <c:pt idx="2891">
                  <c:v>4830736.6696000006</c:v>
                </c:pt>
                <c:pt idx="2892">
                  <c:v>4838737.6696000006</c:v>
                </c:pt>
                <c:pt idx="2893">
                  <c:v>4893799.6696000006</c:v>
                </c:pt>
                <c:pt idx="2894">
                  <c:v>4875331.6696000006</c:v>
                </c:pt>
                <c:pt idx="2895">
                  <c:v>4971496.6696000006</c:v>
                </c:pt>
                <c:pt idx="2896">
                  <c:v>4971532.6696000006</c:v>
                </c:pt>
                <c:pt idx="2897">
                  <c:v>4962460.6696000006</c:v>
                </c:pt>
                <c:pt idx="2898">
                  <c:v>4970434.6696000006</c:v>
                </c:pt>
                <c:pt idx="2899">
                  <c:v>4931122.6696000006</c:v>
                </c:pt>
                <c:pt idx="2900">
                  <c:v>4919998.6696000006</c:v>
                </c:pt>
                <c:pt idx="2901">
                  <c:v>4859536.6696000006</c:v>
                </c:pt>
                <c:pt idx="2902">
                  <c:v>4857574.6696000006</c:v>
                </c:pt>
                <c:pt idx="2903">
                  <c:v>4811773.6696000006</c:v>
                </c:pt>
                <c:pt idx="2904">
                  <c:v>4852462.6696000006</c:v>
                </c:pt>
                <c:pt idx="2905">
                  <c:v>4861696.6696000006</c:v>
                </c:pt>
                <c:pt idx="2906">
                  <c:v>4869589.6696000006</c:v>
                </c:pt>
                <c:pt idx="2907">
                  <c:v>4926838.6696000006</c:v>
                </c:pt>
                <c:pt idx="2908">
                  <c:v>4911079.6696000006</c:v>
                </c:pt>
                <c:pt idx="2909">
                  <c:v>4953262.6696000006</c:v>
                </c:pt>
                <c:pt idx="2910">
                  <c:v>4879399.6696000006</c:v>
                </c:pt>
                <c:pt idx="2911">
                  <c:v>4917514.6696000006</c:v>
                </c:pt>
                <c:pt idx="2912">
                  <c:v>4911124.6696000006</c:v>
                </c:pt>
                <c:pt idx="2913">
                  <c:v>4948915.6696000006</c:v>
                </c:pt>
                <c:pt idx="2914">
                  <c:v>4969075.6696000006</c:v>
                </c:pt>
                <c:pt idx="2915">
                  <c:v>4949752.6696000006</c:v>
                </c:pt>
                <c:pt idx="2916">
                  <c:v>5013445.6696000006</c:v>
                </c:pt>
                <c:pt idx="2917">
                  <c:v>5101267.6696000006</c:v>
                </c:pt>
                <c:pt idx="2918">
                  <c:v>5152054.6696000006</c:v>
                </c:pt>
                <c:pt idx="2919">
                  <c:v>5242756.6696000006</c:v>
                </c:pt>
                <c:pt idx="2920">
                  <c:v>5287009.6696000006</c:v>
                </c:pt>
                <c:pt idx="2921">
                  <c:v>5373400.6696000006</c:v>
                </c:pt>
                <c:pt idx="2922">
                  <c:v>5356993.6696000006</c:v>
                </c:pt>
                <c:pt idx="2923">
                  <c:v>5308150.6696000006</c:v>
                </c:pt>
                <c:pt idx="2924">
                  <c:v>5447821.6696000006</c:v>
                </c:pt>
                <c:pt idx="2925">
                  <c:v>5431279.6696000006</c:v>
                </c:pt>
                <c:pt idx="2926">
                  <c:v>5334520.6696000006</c:v>
                </c:pt>
                <c:pt idx="2927">
                  <c:v>5323378.6696000006</c:v>
                </c:pt>
                <c:pt idx="2928">
                  <c:v>5377774.6696000006</c:v>
                </c:pt>
                <c:pt idx="2929">
                  <c:v>5304874.6696000006</c:v>
                </c:pt>
                <c:pt idx="2930">
                  <c:v>5339893.6696000006</c:v>
                </c:pt>
                <c:pt idx="2931">
                  <c:v>5419579.6696000006</c:v>
                </c:pt>
                <c:pt idx="2932">
                  <c:v>5423908.6696000006</c:v>
                </c:pt>
                <c:pt idx="2933">
                  <c:v>5474434.6696000006</c:v>
                </c:pt>
                <c:pt idx="2934">
                  <c:v>5372779.6696000006</c:v>
                </c:pt>
                <c:pt idx="2935">
                  <c:v>5386306.6696000006</c:v>
                </c:pt>
                <c:pt idx="2936">
                  <c:v>5250532.6696000006</c:v>
                </c:pt>
                <c:pt idx="2937">
                  <c:v>5227870.6696000006</c:v>
                </c:pt>
                <c:pt idx="2938">
                  <c:v>5286991.6696000006</c:v>
                </c:pt>
                <c:pt idx="2939">
                  <c:v>5362087.6696000006</c:v>
                </c:pt>
                <c:pt idx="2940">
                  <c:v>5347786.6696000006</c:v>
                </c:pt>
                <c:pt idx="2941">
                  <c:v>5337661.6696000006</c:v>
                </c:pt>
                <c:pt idx="2942">
                  <c:v>5346175.6696000006</c:v>
                </c:pt>
                <c:pt idx="2943">
                  <c:v>5419210.6696000006</c:v>
                </c:pt>
                <c:pt idx="2944">
                  <c:v>5528731.6696000006</c:v>
                </c:pt>
                <c:pt idx="2945">
                  <c:v>5638054.6696000006</c:v>
                </c:pt>
                <c:pt idx="2946">
                  <c:v>5602648.6696000006</c:v>
                </c:pt>
                <c:pt idx="2947">
                  <c:v>5612062.6696000006</c:v>
                </c:pt>
                <c:pt idx="2948">
                  <c:v>5448703.6696000006</c:v>
                </c:pt>
                <c:pt idx="2949">
                  <c:v>5432809.6696000006</c:v>
                </c:pt>
                <c:pt idx="2950">
                  <c:v>5304919.6696000006</c:v>
                </c:pt>
                <c:pt idx="2951">
                  <c:v>5333710.6696000006</c:v>
                </c:pt>
                <c:pt idx="2952">
                  <c:v>5214190.6696000006</c:v>
                </c:pt>
                <c:pt idx="2953">
                  <c:v>5288008.6696000006</c:v>
                </c:pt>
                <c:pt idx="2954">
                  <c:v>5225773.6696000006</c:v>
                </c:pt>
                <c:pt idx="2955">
                  <c:v>5318095.6696000006</c:v>
                </c:pt>
                <c:pt idx="2956">
                  <c:v>5163745.6696000006</c:v>
                </c:pt>
                <c:pt idx="2957">
                  <c:v>5147626.6696000006</c:v>
                </c:pt>
                <c:pt idx="2958">
                  <c:v>4983124.6696000006</c:v>
                </c:pt>
                <c:pt idx="2959">
                  <c:v>4885006.6696000006</c:v>
                </c:pt>
                <c:pt idx="2960">
                  <c:v>4914355.6696000006</c:v>
                </c:pt>
                <c:pt idx="2961">
                  <c:v>5026504.6696000006</c:v>
                </c:pt>
                <c:pt idx="2962">
                  <c:v>5042848.6696000006</c:v>
                </c:pt>
                <c:pt idx="2963">
                  <c:v>4943092.6696000006</c:v>
                </c:pt>
                <c:pt idx="2964">
                  <c:v>4982530.6696000006</c:v>
                </c:pt>
                <c:pt idx="2965">
                  <c:v>5001880.6696000006</c:v>
                </c:pt>
                <c:pt idx="2966">
                  <c:v>5038699.6696000006</c:v>
                </c:pt>
                <c:pt idx="2967">
                  <c:v>4917487.6696000006</c:v>
                </c:pt>
                <c:pt idx="2968">
                  <c:v>4962541.6696000006</c:v>
                </c:pt>
                <c:pt idx="2969">
                  <c:v>4919431.6696000006</c:v>
                </c:pt>
                <c:pt idx="2970">
                  <c:v>4846927.6696000006</c:v>
                </c:pt>
                <c:pt idx="2971">
                  <c:v>4844821.6696000006</c:v>
                </c:pt>
                <c:pt idx="2972">
                  <c:v>4945297.6696000006</c:v>
                </c:pt>
                <c:pt idx="2973">
                  <c:v>4953298.6696000006</c:v>
                </c:pt>
                <c:pt idx="2974">
                  <c:v>4996363.6696000006</c:v>
                </c:pt>
                <c:pt idx="2975">
                  <c:v>4954630.6696000006</c:v>
                </c:pt>
                <c:pt idx="2976">
                  <c:v>5010808.6696000006</c:v>
                </c:pt>
                <c:pt idx="2977">
                  <c:v>5056510.6696000006</c:v>
                </c:pt>
                <c:pt idx="2978">
                  <c:v>5037412.6696000006</c:v>
                </c:pt>
                <c:pt idx="2979">
                  <c:v>5004472.6696000006</c:v>
                </c:pt>
                <c:pt idx="2980">
                  <c:v>5012095.6696000006</c:v>
                </c:pt>
                <c:pt idx="2981">
                  <c:v>4942912.6696000006</c:v>
                </c:pt>
                <c:pt idx="2982">
                  <c:v>4864081.6696000006</c:v>
                </c:pt>
                <c:pt idx="2983">
                  <c:v>4856782.6696000006</c:v>
                </c:pt>
                <c:pt idx="2984">
                  <c:v>4893673.6696000006</c:v>
                </c:pt>
                <c:pt idx="2985">
                  <c:v>4865179.6696000006</c:v>
                </c:pt>
                <c:pt idx="2986">
                  <c:v>4880668.6696000006</c:v>
                </c:pt>
                <c:pt idx="2987">
                  <c:v>4989424.6696000006</c:v>
                </c:pt>
                <c:pt idx="2988">
                  <c:v>4986139.6696000006</c:v>
                </c:pt>
                <c:pt idx="2989">
                  <c:v>4999972.6696000006</c:v>
                </c:pt>
                <c:pt idx="2990">
                  <c:v>4991422.6696000006</c:v>
                </c:pt>
                <c:pt idx="2991">
                  <c:v>5033011.6696000006</c:v>
                </c:pt>
                <c:pt idx="2992">
                  <c:v>4980622.6696000006</c:v>
                </c:pt>
                <c:pt idx="2993">
                  <c:v>4992574.6696000006</c:v>
                </c:pt>
                <c:pt idx="2994">
                  <c:v>5018422.6696000006</c:v>
                </c:pt>
                <c:pt idx="2995">
                  <c:v>5058859.6696000006</c:v>
                </c:pt>
                <c:pt idx="2996">
                  <c:v>5022247.6696000006</c:v>
                </c:pt>
                <c:pt idx="2997">
                  <c:v>4966114.6696000006</c:v>
                </c:pt>
                <c:pt idx="2998">
                  <c:v>4907551.6696000006</c:v>
                </c:pt>
                <c:pt idx="2999">
                  <c:v>4904284.6696000006</c:v>
                </c:pt>
                <c:pt idx="3000">
                  <c:v>4931860.6696000006</c:v>
                </c:pt>
                <c:pt idx="3001">
                  <c:v>4951201.6696000006</c:v>
                </c:pt>
                <c:pt idx="3002">
                  <c:v>4904779.6696000006</c:v>
                </c:pt>
                <c:pt idx="3003">
                  <c:v>5010637.6696000006</c:v>
                </c:pt>
                <c:pt idx="3004">
                  <c:v>5077597.6696000006</c:v>
                </c:pt>
                <c:pt idx="3005">
                  <c:v>5079946.6696000006</c:v>
                </c:pt>
                <c:pt idx="3006">
                  <c:v>5066149.6696000006</c:v>
                </c:pt>
                <c:pt idx="3007">
                  <c:v>5078875.6696000006</c:v>
                </c:pt>
                <c:pt idx="3008">
                  <c:v>5031841.6696000006</c:v>
                </c:pt>
                <c:pt idx="3009">
                  <c:v>5051137.6696000006</c:v>
                </c:pt>
                <c:pt idx="3010">
                  <c:v>5197738.6696000006</c:v>
                </c:pt>
                <c:pt idx="3011">
                  <c:v>5199637.6696000006</c:v>
                </c:pt>
                <c:pt idx="3012">
                  <c:v>5215513.6696000006</c:v>
                </c:pt>
                <c:pt idx="3013">
                  <c:v>5200087.6696000006</c:v>
                </c:pt>
                <c:pt idx="3014">
                  <c:v>5209519.6696000006</c:v>
                </c:pt>
                <c:pt idx="3015">
                  <c:v>5218618.6696000006</c:v>
                </c:pt>
                <c:pt idx="3016">
                  <c:v>5172079.6696000006</c:v>
                </c:pt>
                <c:pt idx="3017">
                  <c:v>5140867.6696000006</c:v>
                </c:pt>
                <c:pt idx="3018">
                  <c:v>5165158.6696000006</c:v>
                </c:pt>
                <c:pt idx="3019">
                  <c:v>5160973.6696000006</c:v>
                </c:pt>
                <c:pt idx="3020">
                  <c:v>5120014.6696000006</c:v>
                </c:pt>
                <c:pt idx="3021">
                  <c:v>5123911.6696000006</c:v>
                </c:pt>
                <c:pt idx="3022">
                  <c:v>5155429.6696000006</c:v>
                </c:pt>
                <c:pt idx="3023">
                  <c:v>5113336.6696000006</c:v>
                </c:pt>
                <c:pt idx="3024">
                  <c:v>5061010.6696000006</c:v>
                </c:pt>
                <c:pt idx="3025">
                  <c:v>4983547.6696000006</c:v>
                </c:pt>
                <c:pt idx="3026">
                  <c:v>5002807.6696000006</c:v>
                </c:pt>
                <c:pt idx="3027">
                  <c:v>5003329.6696000006</c:v>
                </c:pt>
                <c:pt idx="3028">
                  <c:v>4992457.6696000006</c:v>
                </c:pt>
                <c:pt idx="3029">
                  <c:v>5021050.6696000006</c:v>
                </c:pt>
                <c:pt idx="3030">
                  <c:v>5043757.6696000006</c:v>
                </c:pt>
                <c:pt idx="3031">
                  <c:v>5051479.6696000006</c:v>
                </c:pt>
                <c:pt idx="3032">
                  <c:v>5127079.6696000006</c:v>
                </c:pt>
                <c:pt idx="3033">
                  <c:v>5137690.6696000006</c:v>
                </c:pt>
                <c:pt idx="3034">
                  <c:v>5082592.6696000006</c:v>
                </c:pt>
                <c:pt idx="3035">
                  <c:v>5112742.6696000006</c:v>
                </c:pt>
                <c:pt idx="3036">
                  <c:v>5117800.6696000006</c:v>
                </c:pt>
                <c:pt idx="3037">
                  <c:v>4984114.6696000006</c:v>
                </c:pt>
                <c:pt idx="3038">
                  <c:v>4988317.6696000006</c:v>
                </c:pt>
                <c:pt idx="3039">
                  <c:v>4985896.6696000006</c:v>
                </c:pt>
                <c:pt idx="3040">
                  <c:v>5037547.6696000006</c:v>
                </c:pt>
                <c:pt idx="3041">
                  <c:v>4990540.6696000006</c:v>
                </c:pt>
                <c:pt idx="3042">
                  <c:v>4973602.6696000006</c:v>
                </c:pt>
                <c:pt idx="3043">
                  <c:v>5030545.6696000006</c:v>
                </c:pt>
                <c:pt idx="3044">
                  <c:v>5038996.6696000006</c:v>
                </c:pt>
                <c:pt idx="3045">
                  <c:v>4985878.6696000006</c:v>
                </c:pt>
                <c:pt idx="3046">
                  <c:v>5047420.6696000006</c:v>
                </c:pt>
                <c:pt idx="3047">
                  <c:v>4996399.6696000006</c:v>
                </c:pt>
                <c:pt idx="3048">
                  <c:v>5013247.6696000006</c:v>
                </c:pt>
                <c:pt idx="3049">
                  <c:v>5009197.6696000006</c:v>
                </c:pt>
                <c:pt idx="3050">
                  <c:v>5040742.6696000006</c:v>
                </c:pt>
                <c:pt idx="3051">
                  <c:v>5047681.6696000006</c:v>
                </c:pt>
                <c:pt idx="3052">
                  <c:v>4991413.6696000006</c:v>
                </c:pt>
                <c:pt idx="3053">
                  <c:v>4843876.6696000006</c:v>
                </c:pt>
                <c:pt idx="3054">
                  <c:v>4687285.6696000006</c:v>
                </c:pt>
                <c:pt idx="3055">
                  <c:v>4695110.226400001</c:v>
                </c:pt>
                <c:pt idx="3056">
                  <c:v>4695110.226400001</c:v>
                </c:pt>
                <c:pt idx="3057">
                  <c:v>4695110.226400001</c:v>
                </c:pt>
                <c:pt idx="3058">
                  <c:v>4695110.226400001</c:v>
                </c:pt>
                <c:pt idx="3059">
                  <c:v>4695110.226400001</c:v>
                </c:pt>
                <c:pt idx="3060">
                  <c:v>4695110.226400001</c:v>
                </c:pt>
                <c:pt idx="3061">
                  <c:v>4695110.226400001</c:v>
                </c:pt>
                <c:pt idx="3062">
                  <c:v>4695110.226400001</c:v>
                </c:pt>
                <c:pt idx="3063">
                  <c:v>4695110.226400001</c:v>
                </c:pt>
                <c:pt idx="3064">
                  <c:v>4695110.226400001</c:v>
                </c:pt>
                <c:pt idx="3065">
                  <c:v>4695110.226400001</c:v>
                </c:pt>
                <c:pt idx="3066">
                  <c:v>4695110.226400001</c:v>
                </c:pt>
                <c:pt idx="3067">
                  <c:v>4695110.226400001</c:v>
                </c:pt>
                <c:pt idx="3068">
                  <c:v>4695110.226400001</c:v>
                </c:pt>
                <c:pt idx="3069">
                  <c:v>4695110.226400001</c:v>
                </c:pt>
                <c:pt idx="3070">
                  <c:v>4695110.226400001</c:v>
                </c:pt>
                <c:pt idx="3071">
                  <c:v>4695110.226400001</c:v>
                </c:pt>
                <c:pt idx="3072">
                  <c:v>4695110.226400001</c:v>
                </c:pt>
                <c:pt idx="3073">
                  <c:v>4695110.226400001</c:v>
                </c:pt>
                <c:pt idx="3074">
                  <c:v>4695110.226400001</c:v>
                </c:pt>
                <c:pt idx="3075">
                  <c:v>4695110.226400001</c:v>
                </c:pt>
                <c:pt idx="3076">
                  <c:v>4695110.226400001</c:v>
                </c:pt>
                <c:pt idx="3077">
                  <c:v>4695110.226400001</c:v>
                </c:pt>
                <c:pt idx="3078">
                  <c:v>4695110.226400001</c:v>
                </c:pt>
                <c:pt idx="3079">
                  <c:v>4695110.226400001</c:v>
                </c:pt>
                <c:pt idx="3080">
                  <c:v>4695110.226400001</c:v>
                </c:pt>
                <c:pt idx="3081">
                  <c:v>4695110.226400001</c:v>
                </c:pt>
                <c:pt idx="3082">
                  <c:v>4695110.226400001</c:v>
                </c:pt>
                <c:pt idx="3083">
                  <c:v>4695110.226400001</c:v>
                </c:pt>
                <c:pt idx="3084">
                  <c:v>4695110.226400001</c:v>
                </c:pt>
                <c:pt idx="3085">
                  <c:v>4695110.226400001</c:v>
                </c:pt>
                <c:pt idx="3086">
                  <c:v>4695110.226400001</c:v>
                </c:pt>
                <c:pt idx="3087">
                  <c:v>4695110.226400001</c:v>
                </c:pt>
                <c:pt idx="3088">
                  <c:v>4695110.226400001</c:v>
                </c:pt>
                <c:pt idx="3089">
                  <c:v>4695110.226400001</c:v>
                </c:pt>
                <c:pt idx="3090">
                  <c:v>4695110.226400001</c:v>
                </c:pt>
                <c:pt idx="3091">
                  <c:v>4695110.226400001</c:v>
                </c:pt>
                <c:pt idx="3092">
                  <c:v>4695110.226400001</c:v>
                </c:pt>
                <c:pt idx="3093">
                  <c:v>4695110.226400001</c:v>
                </c:pt>
                <c:pt idx="3094">
                  <c:v>4695110.226400001</c:v>
                </c:pt>
                <c:pt idx="3095">
                  <c:v>4695110.226400001</c:v>
                </c:pt>
                <c:pt idx="3096">
                  <c:v>4695110.226400001</c:v>
                </c:pt>
                <c:pt idx="3097">
                  <c:v>4695110.226400001</c:v>
                </c:pt>
                <c:pt idx="3098">
                  <c:v>4695110.226400001</c:v>
                </c:pt>
                <c:pt idx="3099">
                  <c:v>4694672.2522000009</c:v>
                </c:pt>
                <c:pt idx="3100">
                  <c:v>4751876.2522000009</c:v>
                </c:pt>
                <c:pt idx="3101">
                  <c:v>4757501.2522000009</c:v>
                </c:pt>
                <c:pt idx="3102">
                  <c:v>4710386.2522000009</c:v>
                </c:pt>
                <c:pt idx="3103">
                  <c:v>4761029.2522000009</c:v>
                </c:pt>
                <c:pt idx="3104">
                  <c:v>4737179.2522000009</c:v>
                </c:pt>
                <c:pt idx="3105">
                  <c:v>4753829.2522000009</c:v>
                </c:pt>
                <c:pt idx="3106">
                  <c:v>4702232.2522000009</c:v>
                </c:pt>
                <c:pt idx="3107">
                  <c:v>4745378.2522000009</c:v>
                </c:pt>
                <c:pt idx="3108">
                  <c:v>4734092.2522000009</c:v>
                </c:pt>
                <c:pt idx="3109">
                  <c:v>4750148.2522000009</c:v>
                </c:pt>
                <c:pt idx="3110">
                  <c:v>4778687.2522000009</c:v>
                </c:pt>
                <c:pt idx="3111">
                  <c:v>4796498.2522000009</c:v>
                </c:pt>
                <c:pt idx="3112">
                  <c:v>4781720.2522000009</c:v>
                </c:pt>
                <c:pt idx="3113">
                  <c:v>4723274.2522000009</c:v>
                </c:pt>
                <c:pt idx="3114">
                  <c:v>4692656.2522000009</c:v>
                </c:pt>
                <c:pt idx="3115">
                  <c:v>4732823.2522000009</c:v>
                </c:pt>
                <c:pt idx="3116">
                  <c:v>4716551.2522000009</c:v>
                </c:pt>
                <c:pt idx="3117">
                  <c:v>4670795.2522000009</c:v>
                </c:pt>
                <c:pt idx="3118">
                  <c:v>4653929.2522000009</c:v>
                </c:pt>
                <c:pt idx="3119">
                  <c:v>4696796.2522000009</c:v>
                </c:pt>
                <c:pt idx="3120">
                  <c:v>4673045.2522000009</c:v>
                </c:pt>
                <c:pt idx="3121">
                  <c:v>4678292.2522000009</c:v>
                </c:pt>
                <c:pt idx="3122">
                  <c:v>4676996.2522000009</c:v>
                </c:pt>
                <c:pt idx="3123">
                  <c:v>4654001.2522000009</c:v>
                </c:pt>
                <c:pt idx="3124">
                  <c:v>4723715.2522000009</c:v>
                </c:pt>
                <c:pt idx="3125">
                  <c:v>4714463.2522000009</c:v>
                </c:pt>
                <c:pt idx="3126">
                  <c:v>4709072.2522000009</c:v>
                </c:pt>
                <c:pt idx="3127">
                  <c:v>4709918.2522000009</c:v>
                </c:pt>
                <c:pt idx="3128">
                  <c:v>4712105.2522000009</c:v>
                </c:pt>
                <c:pt idx="3129">
                  <c:v>4668788.2522000009</c:v>
                </c:pt>
                <c:pt idx="3130">
                  <c:v>4715984.2522000009</c:v>
                </c:pt>
                <c:pt idx="3131">
                  <c:v>4736090.2522000009</c:v>
                </c:pt>
                <c:pt idx="3132">
                  <c:v>4736945.2522000009</c:v>
                </c:pt>
                <c:pt idx="3133">
                  <c:v>4739924.2522000009</c:v>
                </c:pt>
                <c:pt idx="3134">
                  <c:v>4721726.2522000009</c:v>
                </c:pt>
                <c:pt idx="3135">
                  <c:v>4689047.2522000009</c:v>
                </c:pt>
                <c:pt idx="3136">
                  <c:v>4681208.2522000009</c:v>
                </c:pt>
                <c:pt idx="3137">
                  <c:v>4663322.369500001</c:v>
                </c:pt>
                <c:pt idx="3138">
                  <c:v>4663322.369500001</c:v>
                </c:pt>
                <c:pt idx="3139">
                  <c:v>4663322.369500001</c:v>
                </c:pt>
                <c:pt idx="3140">
                  <c:v>4663322.369500001</c:v>
                </c:pt>
                <c:pt idx="3141">
                  <c:v>4663322.369500001</c:v>
                </c:pt>
                <c:pt idx="3142">
                  <c:v>4663322.369500001</c:v>
                </c:pt>
                <c:pt idx="3143">
                  <c:v>4663322.369500001</c:v>
                </c:pt>
                <c:pt idx="3144">
                  <c:v>4663322.369500001</c:v>
                </c:pt>
                <c:pt idx="3145">
                  <c:v>4662867.4087000014</c:v>
                </c:pt>
                <c:pt idx="3146">
                  <c:v>4688679.4087000014</c:v>
                </c:pt>
                <c:pt idx="3147">
                  <c:v>4657989.4087000014</c:v>
                </c:pt>
                <c:pt idx="3148">
                  <c:v>4618569.4087000014</c:v>
                </c:pt>
                <c:pt idx="3149">
                  <c:v>4644516.4087000014</c:v>
                </c:pt>
                <c:pt idx="3150">
                  <c:v>4572543.4087000014</c:v>
                </c:pt>
                <c:pt idx="3151">
                  <c:v>4505637.4087000014</c:v>
                </c:pt>
                <c:pt idx="3152">
                  <c:v>4535400.4087000014</c:v>
                </c:pt>
                <c:pt idx="3153">
                  <c:v>4536264.4087000014</c:v>
                </c:pt>
                <c:pt idx="3154">
                  <c:v>4567125.4087000014</c:v>
                </c:pt>
                <c:pt idx="3155">
                  <c:v>4542465.4087000014</c:v>
                </c:pt>
                <c:pt idx="3156">
                  <c:v>4540647.4087000014</c:v>
                </c:pt>
                <c:pt idx="3157">
                  <c:v>4573623.4087000014</c:v>
                </c:pt>
                <c:pt idx="3158">
                  <c:v>4508391.4087000014</c:v>
                </c:pt>
                <c:pt idx="3159">
                  <c:v>4542618.4087000014</c:v>
                </c:pt>
                <c:pt idx="3160">
                  <c:v>4559592.4087000014</c:v>
                </c:pt>
                <c:pt idx="3161">
                  <c:v>4539252.4087000014</c:v>
                </c:pt>
                <c:pt idx="3162">
                  <c:v>4494567.4087000014</c:v>
                </c:pt>
                <c:pt idx="3163">
                  <c:v>4449666.4087000014</c:v>
                </c:pt>
                <c:pt idx="3164">
                  <c:v>4453392.4087000014</c:v>
                </c:pt>
                <c:pt idx="3165">
                  <c:v>4472904.4087000014</c:v>
                </c:pt>
                <c:pt idx="3166">
                  <c:v>4431252.4087000014</c:v>
                </c:pt>
                <c:pt idx="3167">
                  <c:v>4474281.4087000014</c:v>
                </c:pt>
                <c:pt idx="3168">
                  <c:v>4402587.4087000014</c:v>
                </c:pt>
                <c:pt idx="3169">
                  <c:v>4367316.4087000014</c:v>
                </c:pt>
                <c:pt idx="3170">
                  <c:v>4403811.4087000014</c:v>
                </c:pt>
                <c:pt idx="3171">
                  <c:v>4445274.4087000014</c:v>
                </c:pt>
                <c:pt idx="3172">
                  <c:v>4415601.4087000014</c:v>
                </c:pt>
                <c:pt idx="3173">
                  <c:v>4454418.4087000014</c:v>
                </c:pt>
                <c:pt idx="3174">
                  <c:v>4414638.4087000014</c:v>
                </c:pt>
                <c:pt idx="3175">
                  <c:v>4421325.4087000014</c:v>
                </c:pt>
                <c:pt idx="3176">
                  <c:v>4323864.4087000014</c:v>
                </c:pt>
                <c:pt idx="3177">
                  <c:v>4354338.4087000014</c:v>
                </c:pt>
                <c:pt idx="3178">
                  <c:v>4271151.4087000014</c:v>
                </c:pt>
                <c:pt idx="3179">
                  <c:v>4220652.4087000024</c:v>
                </c:pt>
                <c:pt idx="3180">
                  <c:v>4283940.4087000014</c:v>
                </c:pt>
                <c:pt idx="3181">
                  <c:v>4261152.4087000024</c:v>
                </c:pt>
                <c:pt idx="3182">
                  <c:v>4300113.4087000024</c:v>
                </c:pt>
                <c:pt idx="3183">
                  <c:v>4289133.4086999996</c:v>
                </c:pt>
                <c:pt idx="3184">
                  <c:v>4254519.4086999996</c:v>
                </c:pt>
                <c:pt idx="3185">
                  <c:v>4209780.4086999996</c:v>
                </c:pt>
                <c:pt idx="3186">
                  <c:v>4253349.4087000024</c:v>
                </c:pt>
                <c:pt idx="3187">
                  <c:v>4269450.4087000014</c:v>
                </c:pt>
                <c:pt idx="3188">
                  <c:v>4279503.4087000014</c:v>
                </c:pt>
                <c:pt idx="3189">
                  <c:v>4299375.4087000014</c:v>
                </c:pt>
                <c:pt idx="3190">
                  <c:v>4284138.4087000024</c:v>
                </c:pt>
                <c:pt idx="3191">
                  <c:v>4229994.4086999996</c:v>
                </c:pt>
                <c:pt idx="3192">
                  <c:v>4274004.4087000014</c:v>
                </c:pt>
                <c:pt idx="3193">
                  <c:v>4189647.408700001</c:v>
                </c:pt>
                <c:pt idx="3194">
                  <c:v>4229337.4087000014</c:v>
                </c:pt>
                <c:pt idx="3195">
                  <c:v>4236744.4086999996</c:v>
                </c:pt>
                <c:pt idx="3196">
                  <c:v>4270564.6366000008</c:v>
                </c:pt>
                <c:pt idx="3197">
                  <c:v>4270564.6366000008</c:v>
                </c:pt>
                <c:pt idx="3198">
                  <c:v>4270564.6366000008</c:v>
                </c:pt>
                <c:pt idx="3199">
                  <c:v>4270564.6366000008</c:v>
                </c:pt>
                <c:pt idx="3200">
                  <c:v>4270564.6366000008</c:v>
                </c:pt>
                <c:pt idx="3201">
                  <c:v>4270564.6366000008</c:v>
                </c:pt>
                <c:pt idx="3202">
                  <c:v>4270564.6366000008</c:v>
                </c:pt>
                <c:pt idx="3203">
                  <c:v>4270564.6366000008</c:v>
                </c:pt>
                <c:pt idx="3204">
                  <c:v>4270564.6366000008</c:v>
                </c:pt>
                <c:pt idx="3205">
                  <c:v>4270564.6366000008</c:v>
                </c:pt>
                <c:pt idx="3206">
                  <c:v>4270564.6366000008</c:v>
                </c:pt>
                <c:pt idx="3207">
                  <c:v>4270564.6366000008</c:v>
                </c:pt>
                <c:pt idx="3208">
                  <c:v>4270564.6366000008</c:v>
                </c:pt>
                <c:pt idx="3209">
                  <c:v>4270564.6366000008</c:v>
                </c:pt>
                <c:pt idx="3210">
                  <c:v>4270564.6366000008</c:v>
                </c:pt>
                <c:pt idx="3211">
                  <c:v>4270564.6366000008</c:v>
                </c:pt>
                <c:pt idx="3212">
                  <c:v>4270564.6366000008</c:v>
                </c:pt>
                <c:pt idx="3213">
                  <c:v>4270564.6366000008</c:v>
                </c:pt>
                <c:pt idx="3214">
                  <c:v>4270564.6366000008</c:v>
                </c:pt>
                <c:pt idx="3215">
                  <c:v>4270564.6366000008</c:v>
                </c:pt>
                <c:pt idx="3216">
                  <c:v>4270564.6366000008</c:v>
                </c:pt>
                <c:pt idx="3217">
                  <c:v>4270564.6366000008</c:v>
                </c:pt>
                <c:pt idx="3218">
                  <c:v>4270564.6366000008</c:v>
                </c:pt>
                <c:pt idx="3219">
                  <c:v>4270564.6366000008</c:v>
                </c:pt>
                <c:pt idx="3220">
                  <c:v>4270564.6366000008</c:v>
                </c:pt>
                <c:pt idx="3221">
                  <c:v>4270564.6366000008</c:v>
                </c:pt>
                <c:pt idx="3222">
                  <c:v>4270564.6366000008</c:v>
                </c:pt>
              </c:numCache>
            </c:numRef>
          </c:val>
          <c:smooth val="0"/>
          <c:extLst>
            <c:ext xmlns:c16="http://schemas.microsoft.com/office/drawing/2014/chart" uri="{C3380CC4-5D6E-409C-BE32-E72D297353CC}">
              <c16:uniqueId val="{00000003-C197-4006-B924-AB1192166FA7}"/>
            </c:ext>
          </c:extLst>
        </c:ser>
        <c:dLbls>
          <c:showLegendKey val="0"/>
          <c:showVal val="0"/>
          <c:showCatName val="0"/>
          <c:showSerName val="0"/>
          <c:showPercent val="0"/>
          <c:showBubbleSize val="0"/>
        </c:dLbls>
        <c:smooth val="0"/>
        <c:axId val="489440304"/>
        <c:axId val="302977456"/>
      </c:lineChart>
      <c:dateAx>
        <c:axId val="4894403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zh-CN"/>
          </a:p>
        </c:txPr>
        <c:crossAx val="302977456"/>
        <c:crosses val="autoZero"/>
        <c:auto val="0"/>
        <c:lblOffset val="100"/>
        <c:baseTimeUnit val="days"/>
      </c:dateAx>
      <c:valAx>
        <c:axId val="30297745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zh-CN"/>
          </a:p>
        </c:txPr>
        <c:crossAx val="4894403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pPr>
      <a:endParaRPr lang="zh-CN"/>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indicators!$H$2:$H$3224</cx:f>
        <cx:lvl ptCount="3223" formatCode="0.00_ ">
          <cx:pt idx="0">1.0933155417382801</cx:pt>
          <cx:pt idx="1">1.10320650154682</cx:pt>
          <cx:pt idx="2">1.0938841864968101</cx:pt>
          <cx:pt idx="3">1.0726246693132799</cx:pt>
          <cx:pt idx="4">1.08428635739403</cx:pt>
          <cx:pt idx="5">1.0661633496085701</cx:pt>
          <cx:pt idx="6">1.0583950003570299</cx:pt>
          <cx:pt idx="7">1.0545341745362999</cx:pt>
          <cx:pt idx="8">1.07365260827803</cx:pt>
          <cx:pt idx="9">1.05723927255516</cx:pt>
          <cx:pt idx="10">1.12405409838032</cx:pt>
          <cx:pt idx="11">1.1139799027692401</cx:pt>
          <cx:pt idx="12">1.04326577212536</cx:pt>
          <cx:pt idx="13">1.0554691868769599</cx:pt>
          <cx:pt idx="14">1.0359115580768099</cx:pt>
          <cx:pt idx="15">0.99768347560739501</cx:pt>
          <cx:pt idx="16">0.97760850653639497</cx:pt>
          <cx:pt idx="17">0.99468840533487501</cx:pt>
          <cx:pt idx="18">0.98110204868841999</cx:pt>
          <cx:pt idx="19">1.02319827357282</cx:pt>
          <cx:pt idx="20">1.0838276642923299</cx:pt>
          <cx:pt idx="21">1.0519280166632601</cx:pt>
          <cx:pt idx="22">1.0435020893964799</cx:pt>
          <cx:pt idx="23">1.0735047295948399</cx:pt>
          <cx:pt idx="24">1.08743612632205</cx:pt>
          <cx:pt idx="25">1.0924144323316101</cx:pt>
          <cx:pt idx="26">1.10028960089009</cx:pt>
          <cx:pt idx="27">1.10170438526961</cx:pt>
          <cx:pt idx="28">1.11749425646486</cx:pt>
          <cx:pt idx="29">1.12161104061249</cx:pt>
          <cx:pt idx="30">1.1164046588396199</cx:pt>
          <cx:pt idx="31">1.1416191011405801</cx:pt>
          <cx:pt idx="32">1.14632065706387</cx:pt>
          <cx:pt idx="33">1.1245682036768401</cx:pt>
          <cx:pt idx="34">1.0335977131556</cx:pt>
          <cx:pt idx="35">1.0115112421251</cx:pt>
          <cx:pt idx="36">0.99475628529920901</cx:pt>
          <cx:pt idx="37">1.0079273840073799</cx:pt>
          <cx:pt idx="38">0.96397737310734899</cx:pt>
          <cx:pt idx="39">0.96662858021924503</cx:pt>
          <cx:pt idx="40">0.96783368969514305</cx:pt>
          <cx:pt idx="41">0.95019081645275605</cx:pt>
          <cx:pt idx="42">0.96276491408503995</cx:pt>
          <cx:pt idx="43">0.96174073479605604</cx:pt>
          <cx:pt idx="44">1.01624459199675</cx:pt>
          <cx:pt idx="45">1.04148703794008</cx:pt>
          <cx:pt idx="46">1.0444720306739199</cx:pt>
          <cx:pt idx="47">1.0666930223067399</cx:pt>
          <cx:pt idx="48">1.00014368385414</cx:pt>
          <cx:pt idx="49">0.92064068660896203</cx:pt>
          <cx:pt idx="50">0.85527043109642598</cx:pt>
          <cx:pt idx="51">0.87333665248513503</cx:pt>
          <cx:pt idx="52">0.895107475543515</cx:pt>
          <cx:pt idx="53">0.899116048963856</cx:pt>
          <cx:pt idx="54">0.90837080402554005</cx:pt>
          <cx:pt idx="55">0.86526087878318403</cx:pt>
          <cx:pt idx="56">0.89468070454872195</cx:pt>
          <cx:pt idx="57">0.913444459426202</cx:pt>
          <cx:pt idx="58">0.90738578287319405</cx:pt>
          <cx:pt idx="59">0.93474122147403005</cx:pt>
          <cx:pt idx="60">0.94095465701488401</cx:pt>
          <cx:pt idx="61">0.94900637604428795</cx:pt>
          <cx:pt idx="62">0.95464767449030197</cx:pt>
          <cx:pt idx="63">0.93176848204737905</cx:pt>
          <cx:pt idx="64">0.92040221597031702</cx:pt>
          <cx:pt idx="65">0.94532763029788702</cx:pt>
          <cx:pt idx="66">0.91528484788146702</cx:pt>
          <cx:pt idx="67">0.91276534113408403</cx:pt>
          <cx:pt idx="68">0.907006730128598</cx:pt>
          <cx:pt idx="69">0.92104431465903303</cx:pt>
          <cx:pt idx="70">0.91906416006206904</cx:pt>
          <cx:pt idx="71">0.92706151949898896</cx:pt>
          <cx:pt idx="72">0.98745942989952595</cx:pt>
          <cx:pt idx="73">0.96071068979631102</cx:pt>
          <cx:pt idx="74">0.92032551480274605</cx:pt>
          <cx:pt idx="75">0.93210638297233495</cx:pt>
          <cx:pt idx="76">0.94737546800064298</cx:pt>
          <cx:pt idx="77">0.91860793254991302</cx:pt>
          <cx:pt idx="78">0.90106590140199805</cx:pt>
          <cx:pt idx="79">0.91350006818547103</cx:pt>
          <cx:pt idx="80">0.908000007749314</cx:pt>
          <cx:pt idx="81">0.88309427279792396</cx:pt>
          <cx:pt idx="82">0.89806364777358305</cx:pt>
          <cx:pt idx="83">0.91490514684049395</cx:pt>
          <cx:pt idx="84">0.97077524147432004</cx:pt>
          <cx:pt idx="85">0.98415732170567005</cx:pt>
          <cx:pt idx="86">0.96224406270432195</cx:pt>
          <cx:pt idx="87">0.94735526803308101</cx:pt>
          <cx:pt idx="88">0.93221909176145401</cx:pt>
          <cx:pt idx="89">0.93706273855040001</cx:pt>
          <cx:pt idx="90">0.95446057991632005</cx:pt>
          <cx:pt idx="91">0.93719950808164498</cx:pt>
          <cx:pt idx="92">0.92191921781647701</cx:pt>
          <cx:pt idx="93">0.91988574223194597</cx:pt>
          <cx:pt idx="94">0.83009806895587601</cx:pt>
          <cx:pt idx="95">0.85357137650478698</cx:pt>
          <cx:pt idx="96">0.70161778322178303</cx:pt>
          <cx:pt idx="97">0.72255974421566105</cx:pt>
          <cx:pt idx="98">0.72017168503378803</cx:pt>
          <cx:pt idx="99">0.81281507845755097</cx:pt>
          <cx:pt idx="100">0.86774292034813005</cx:pt>
          <cx:pt idx="101">0.86929253291181896</cx:pt>
          <cx:pt idx="102">0.92863666861500205</cx:pt>
          <cx:pt idx="103">0.971507574819789</cx:pt>
          <cx:pt idx="104">0.94419379409606896</cx:pt>
          <cx:pt idx="105">0.94321609851711496</cx:pt>
          <cx:pt idx="106">0.95431110525292995</cx:pt>
          <cx:pt idx="107">0.96937516591898998</cx:pt>
          <cx:pt idx="108">0.96341385584653805</cx:pt>
          <cx:pt idx="109">0.97532378320452895</cx:pt>
          <cx:pt idx="110">0.97424720273597498</cx:pt>
          <cx:pt idx="111">0.94146678283905205</cx:pt>
          <cx:pt idx="112">0.95931913748049502</cx:pt>
          <cx:pt idx="113">0.96797933971882899</cx:pt>
          <cx:pt idx="114">0.93580252360434002</cx:pt>
          <cx:pt idx="115">0.91396979987453197</cx:pt>
          <cx:pt idx="116">0.86182336736116605</cx:pt>
          <cx:pt idx="117">0.89085879891044495</cx:pt>
          <cx:pt idx="118">0.88517922180340003</cx:pt>
          <cx:pt idx="119">0.91787058767441798</cx:pt>
          <cx:pt idx="120">0.91597914569188499</cx:pt>
          <cx:pt idx="121">0.95355088869778204</cx:pt>
          <cx:pt idx="122">0.942217674828562</cx:pt>
          <cx:pt idx="123">0.95203717683542799</cx:pt>
          <cx:pt idx="124">0.99922178951942298</cx:pt>
          <cx:pt idx="125">1.00860217717891</cx:pt>
          <cx:pt idx="126">0.99608878255660804</cx:pt>
          <cx:pt idx="127">1.01351063984997</cx:pt>
          <cx:pt idx="128">1.0206189903602501</cx:pt>
          <cx:pt idx="129">0.98336727419249104</cx:pt>
          <cx:pt idx="130">0.97345845399730802</cx:pt>
          <cx:pt idx="131">0.99619665705990601</cx:pt>
          <cx:pt idx="132">1.00999404991998</cx:pt>
          <cx:pt idx="133">1.0088973126778</cx:pt>
          <cx:pt idx="134">0.99353673034093004</cx:pt>
          <cx:pt idx="135">0.98864218613321697</cx:pt>
          <cx:pt idx="136">0.98891284563038995</cx:pt>
          <cx:pt idx="137">1.01960845001197</cx:pt>
          <cx:pt idx="138">0.98966492990306698</cx:pt>
          <cx:pt idx="139">0.98659165297060303</cx:pt>
          <cx:pt idx="140">0.97586540178936998</cx:pt>
          <cx:pt idx="141">0.97303148138282103</cx:pt>
          <cx:pt idx="142">0.98416529772572903</cx:pt>
          <cx:pt idx="143">0.96907207801587003</cx:pt>
          <cx:pt idx="144">0.94707539773416505</cx:pt>
          <cx:pt idx="145">0.89195983410631097</cx:pt>
          <cx:pt idx="146">0.82468113905445295</cx:pt>
          <cx:pt idx="147">0.74051154738526304</cx:pt>
          <cx:pt idx="148">0.72305042195267999</cx:pt>
          <cx:pt idx="149">0.671125380487407</cx:pt>
          <cx:pt idx="150">0.74342371877024005</cx:pt>
          <cx:pt idx="151">0.782389126918418</cx:pt>
          <cx:pt idx="152">0.80243194279200403</cx:pt>
          <cx:pt idx="153">0.88194074980758497</cx:pt>
          <cx:pt idx="154">0.874083168539461</cx:pt>
          <cx:pt idx="155">0.90493081250242702</cx:pt>
          <cx:pt idx="156">0.935921841568646</cx:pt>
          <cx:pt idx="157">0.94144399499990605</cx:pt>
          <cx:pt idx="158">0.922145829998126</cx:pt>
          <cx:pt idx="159">0.92367880290626503</cx:pt>
          <cx:pt idx="160">0.94002730568899495</cx:pt>
          <cx:pt idx="161">0.94575580519615798</cx:pt>
          <cx:pt idx="162">0.93785066922709004</cx:pt>
          <cx:pt idx="163">0.94563136250727398</cx:pt>
          <cx:pt idx="164">0.94934656403625095</cx:pt>
          <cx:pt idx="165">0.93060403940271497</cx:pt>
          <cx:pt idx="166">0.97004166356783095</cx:pt>
          <cx:pt idx="167">0.93517564916780405</cx:pt>
          <cx:pt idx="168">0.93147593601846201</cx:pt>
          <cx:pt idx="169">0.88224353709889503</cx:pt>
          <cx:pt idx="170">0.81693009165694397</cx:pt>
          <cx:pt idx="171">0.82174332010156903</cx:pt>
          <cx:pt idx="172">0.82426155062023498</cx:pt>
          <cx:pt idx="173">0.82105951789381404</cx:pt>
          <cx:pt idx="174">0.82271339431634105</cx:pt>
          <cx:pt idx="175">0.82285031958422195</cx:pt>
          <cx:pt idx="176">0.85278087861498497</cx:pt>
          <cx:pt idx="177">0.85452045773470597</cx:pt>
          <cx:pt idx="178">0.85640394285005705</cx:pt>
          <cx:pt idx="179">0.85881953526866495</cx:pt>
          <cx:pt idx="180">0.88591695409066096</cx:pt>
          <cx:pt idx="181">0.86913242462162199</cx:pt>
          <cx:pt idx="182">0.79624258505050105</cx:pt>
          <cx:pt idx="183">0.88883547484391501</cx:pt>
          <cx:pt idx="184">0.91163233776778896</cx:pt>
          <cx:pt idx="185">0.90928218267395799</cx:pt>
          <cx:pt idx="186">0.90876935543604798</cx:pt>
          <cx:pt idx="187">0.90838143127013105</cx:pt>
          <cx:pt idx="188">0.91127411324699203</cx:pt>
          <cx:pt idx="189">0.89951721243202898</cx:pt>
          <cx:pt idx="190">0.90948761884790197</cx:pt>
          <cx:pt idx="191">0.93395268876464199</cx:pt>
          <cx:pt idx="192">0.89734355093590901</cx:pt>
          <cx:pt idx="193">0.90152641216423901</cx:pt>
          <cx:pt idx="194">0.87525659114587195</cx:pt>
          <cx:pt idx="195">0.89876125021098296</cx:pt>
          <cx:pt idx="196">0.89780658991350804</cx:pt>
          <cx:pt idx="197">0.91499269207883804</cx:pt>
          <cx:pt idx="198">0.94221979844094805</cx:pt>
          <cx:pt idx="199">0.932460419013459</cx:pt>
          <cx:pt idx="200">0.97092766180446</cx:pt>
          <cx:pt idx="201">0.94748471477770702</cx:pt>
          <cx:pt idx="202">0.86501210212781598</cx:pt>
          <cx:pt idx="203">0.870967659298165</cx:pt>
          <cx:pt idx="204">0.81302188233186601</cx:pt>
          <cx:pt idx="205">0.75848866385907998</cx:pt>
          <cx:pt idx="206">0.74782726109722397</cx:pt>
          <cx:pt idx="207">0.73399402306788297</cx:pt>
          <cx:pt idx="208">0.71590514689665297</cx:pt>
          <cx:pt idx="209">0.73006324686750301</cx:pt>
          <cx:pt idx="210">0.73884316097173097</cx:pt>
          <cx:pt idx="211">0.79794715691497597</cx:pt>
          <cx:pt idx="212">0.80226080862474203</cx:pt>
          <cx:pt idx="213">0.81956754217350603</cx:pt>
          <cx:pt idx="214">0.83096588329490195</cx:pt>
          <cx:pt idx="215">0.84529316662993204</cx:pt>
          <cx:pt idx="216">0.84274688543968801</cx:pt>
          <cx:pt idx="217">0.82783354386858199</cx:pt>
          <cx:pt idx="218">0.77920117308402503</cx:pt>
          <cx:pt idx="219">0.94934634183709599</cx:pt>
          <cx:pt idx="220">0.86983391580591596</cx:pt>
          <cx:pt idx="221">0.83724927360874002</cx:pt>
          <cx:pt idx="222">0.79939872590014704</cx:pt>
          <cx:pt idx="223">0.76496013386130302</cx:pt>
          <cx:pt idx="224">0.72712027554305003</cx:pt>
          <cx:pt idx="225">0.71753500033738704</cx:pt>
          <cx:pt idx="226">0.67818840926783697</cx:pt>
          <cx:pt idx="227">0.662038941298843</cx:pt>
          <cx:pt idx="228">0.62078374555802296</cx:pt>
          <cx:pt idx="229">0.62104763117981998</cx:pt>
          <cx:pt idx="230">0.63225713373425296</cx:pt>
          <cx:pt idx="231">0.62924162573263498</cx:pt>
          <cx:pt idx="232">0.62302636009661305</cx:pt>
          <cx:pt idx="233">0.61788318037680501</cx:pt>
          <cx:pt idx="234">0.62954894537153305</cx:pt>
          <cx:pt idx="235">0.71264965656556101</cx:pt>
          <cx:pt idx="236">0.81833288581635</cx:pt>
          <cx:pt idx="237">0.84296299500803296</cx:pt>
          <cx:pt idx="238">0.92252780105051302</cx:pt>
          <cx:pt idx="239">0.911756558319605</cx:pt>
          <cx:pt idx="240">0.92905874185868598</cx:pt>
          <cx:pt idx="241">0.94478676290128505</cx:pt>
          <cx:pt idx="242">0.95295717157291004</cx:pt>
          <cx:pt idx="243">0.93587876020537797</cx:pt>
          <cx:pt idx="244">0.941374964802561</cx:pt>
          <cx:pt idx="245">0.92343410354876698</cx:pt>
          <cx:pt idx="246">0.92740124350089304</cx:pt>
          <cx:pt idx="247">0.92237362956274305</cx:pt>
          <cx:pt idx="248">0.93239247600307995</cx:pt>
          <cx:pt idx="249">0.91276399978061296</cx:pt>
          <cx:pt idx="250">0.94066729689352901</cx:pt>
          <cx:pt idx="251">0.94550274982785998</cx:pt>
          <cx:pt idx="252">0.92936851051425196</cx:pt>
          <cx:pt idx="253">0.92936062316994805</cx:pt>
          <cx:pt idx="254">0.90383691327820703</cx:pt>
          <cx:pt idx="255">0.95244495441592303</cx:pt>
          <cx:pt idx="256">0.83281520217446603</cx:pt>
          <cx:pt idx="257">0.80206850669299301</cx:pt>
          <cx:pt idx="258">0.80659372407614505</cx:pt>
          <cx:pt idx="259">0.808778797791042</cx:pt>
          <cx:pt idx="260">0.87779367796320096</cx:pt>
          <cx:pt idx="261">0.84350581932598301</cx:pt>
          <cx:pt idx="262">0.91267435419401199</cx:pt>
          <cx:pt idx="263">0.96281715952636004</cx:pt>
          <cx:pt idx="264">0.96656014074543695</cx:pt>
          <cx:pt idx="265">0.98369824416672902</cx:pt>
          <cx:pt idx="266">0.97741224555387696</cx:pt>
          <cx:pt idx="267">0.94498605644951195</cx:pt>
          <cx:pt idx="268">0.92428561841433599</cx:pt>
          <cx:pt idx="269">0.92615893642452196</cx:pt>
          <cx:pt idx="270">0.93847275168097199</cx:pt>
          <cx:pt idx="271">0.95469187970930403</cx:pt>
          <cx:pt idx="272">0.969320191495605</cx:pt>
          <cx:pt idx="273">0.99180149541642804</cx:pt>
          <cx:pt idx="274">1.06193548069931</cx:pt>
          <cx:pt idx="275">0.94000798079076997</cx:pt>
          <cx:pt idx="276">0.90682607789199099</cx:pt>
          <cx:pt idx="277">0.79341567032066995</cx:pt>
          <cx:pt idx="278">0.71218878027503296</cx:pt>
          <cx:pt idx="279">0.61671003051453999</cx:pt>
          <cx:pt idx="280">0.67867025407299497</cx:pt>
          <cx:pt idx="281">0.71864325599977397</cx:pt>
          <cx:pt idx="282">0.74677701699603805</cx:pt>
          <cx:pt idx="283">0.79764443780876504</cx:pt>
          <cx:pt idx="284">0.79789704951589102</cx:pt>
          <cx:pt idx="285">0.93767587941703701</cx:pt>
          <cx:pt idx="286">0.95592965820242404</cx:pt>
          <cx:pt idx="287">0.95868537182179703</cx:pt>
          <cx:pt idx="288">0.93030373187126802</cx:pt>
          <cx:pt idx="289">0.86729673493064396</cx:pt>
          <cx:pt idx="290">0.80964384077322504</cx:pt>
          <cx:pt idx="291">0.843334044782036</cx:pt>
          <cx:pt idx="292">0.82763442362119299</cx:pt>
          <cx:pt idx="293">0.81910278073700205</cx:pt>
          <cx:pt idx="294">0.83159384299952999</cx:pt>
          <cx:pt idx="295">0.85710833426140598</cx:pt>
          <cx:pt idx="296">0.848810952793152</cx:pt>
          <cx:pt idx="297">0.85041940868664201</cx:pt>
          <cx:pt idx="298">0.854368769153942</cx:pt>
          <cx:pt idx="299">0.84099204821701101</cx:pt>
          <cx:pt idx="300">0.91047516415179897</cx:pt>
          <cx:pt idx="301">0.85405039206705402</cx:pt>
          <cx:pt idx="302">0.84468982599971298</cx:pt>
          <cx:pt idx="303">0.86557076110064302</cx:pt>
          <cx:pt idx="304">0.85236837725552195</cx:pt>
          <cx:pt idx="305">0.88667272672749298</cx:pt>
          <cx:pt idx="306">0.89106585114625403</cx:pt>
          <cx:pt idx="307">0.89838324616813903</cx:pt>
          <cx:pt idx="308">0.91317604098651095</cx:pt>
          <cx:pt idx="309">0.88479145661018199</cx:pt>
          <cx:pt idx="310">0.92267699668676595</cx:pt>
          <cx:pt idx="311">0.89809737541344203</cx:pt>
          <cx:pt idx="312">0.89998060912331701</cx:pt>
          <cx:pt idx="313">0.88155169058689198</cx:pt>
          <cx:pt idx="314">0.69741735209117095</cx:pt>
          <cx:pt idx="315">0.75870073315468101</cx:pt>
          <cx:pt idx="316">0.75745240962217997</cx:pt>
          <cx:pt idx="317">0.78365555545022003</cx:pt>
          <cx:pt idx="318">0.81203674747643295</cx:pt>
          <cx:pt idx="319">0.84978138813599102</cx:pt>
          <cx:pt idx="320">0.83738404129870103</cx:pt>
          <cx:pt idx="321">0.86405972031808997</cx:pt>
          <cx:pt idx="322">0.88496668728335204</cx:pt>
          <cx:pt idx="323">0.90533665594148105</cx:pt>
          <cx:pt idx="324">0.92547733979957902</cx:pt>
          <cx:pt idx="325">0.91940292257322298</cx:pt>
          <cx:pt idx="326">0.90418499364745497</cx:pt>
          <cx:pt idx="327">0.91671345471700405</cx:pt>
          <cx:pt idx="328">0.919056352302829</cx:pt>
          <cx:pt idx="329">0.91065504977810996</cx:pt>
          <cx:pt idx="330">0.92677261910129904</cx:pt>
          <cx:pt idx="331">0.94675727947828503</cx:pt>
          <cx:pt idx="332">0.92872987991141598</cx:pt>
          <cx:pt idx="333">0.9136066365369</cx:pt>
          <cx:pt idx="334">0.908435444656299</cx:pt>
          <cx:pt idx="335">0.91562107519968405</cx:pt>
          <cx:pt idx="336">0.92803504759916799</cx:pt>
          <cx:pt idx="337">0.93151139135791405</cx:pt>
          <cx:pt idx="338">0.90458477793405101</cx:pt>
          <cx:pt idx="339">0.91056325534972304</cx:pt>
          <cx:pt idx="340">0.90145869440521897</cx:pt>
          <cx:pt idx="341">0.91339466989591001</cx:pt>
          <cx:pt idx="342">0.915322226111419</cx:pt>
          <cx:pt idx="343">0.85563106288856605</cx:pt>
          <cx:pt idx="344">0.74510886031451096</cx:pt>
          <cx:pt idx="345">0.78353957275258601</cx:pt>
          <cx:pt idx="346">0.79552100248598601</cx:pt>
          <cx:pt idx="347">0.78991985461797398</cx:pt>
          <cx:pt idx="348">0.85094135801837401</cx:pt>
          <cx:pt idx="349">0.87542108912359295</cx:pt>
          <cx:pt idx="350">0.89974798024684799</cx:pt>
          <cx:pt idx="351">0.90452292931769895</cx:pt>
          <cx:pt idx="352">0.90998320511214303</cx:pt>
          <cx:pt idx="353">0.91155119336392099</cx:pt>
          <cx:pt idx="354">0.91241113393788997</cx:pt>
          <cx:pt idx="355">0.98520657361109298</cx:pt>
          <cx:pt idx="356">0.91085842280500695</cx:pt>
          <cx:pt idx="357">0.90144039905922502</cx:pt>
          <cx:pt idx="358">0.91872489994949702</cx:pt>
          <cx:pt idx="359">0.86064684860308005</cx:pt>
          <cx:pt idx="360">0.73880995127485605</cx:pt>
          <cx:pt idx="361">0.45102261072863598</cx:pt>
          <cx:pt idx="362">0.78456680454998196</cx:pt>
          <cx:pt idx="363">0.86986359416191195</cx:pt>
          <cx:pt idx="364">0.87395895151318603</cx:pt>
          <cx:pt idx="365">0.90993758907893496</cx:pt>
          <cx:pt idx="366">0.91945454340498101</cx:pt>
          <cx:pt idx="367">0.93706102569624194</cx:pt>
          <cx:pt idx="368">0.93464983177008198</cx:pt>
          <cx:pt idx="369">0.92703973727904199</cx:pt>
          <cx:pt idx="370">0.94314340709238997</cx:pt>
          <cx:pt idx="371">0.950000596100115</cx:pt>
          <cx:pt idx="372">0.94069308847575095</cx:pt>
          <cx:pt idx="373">0.91680225763713796</cx:pt>
          <cx:pt idx="374">0.93643745682300705</cx:pt>
          <cx:pt idx="375">0.92526510886716795</cx:pt>
          <cx:pt idx="376">0.94184552479244099</cx:pt>
          <cx:pt idx="377">0.92464476947758101</cx:pt>
          <cx:pt idx="378">0.93605516864838101</cx:pt>
          <cx:pt idx="379">0.92593462030190099</cx:pt>
          <cx:pt idx="380">0.90876822084011399</cx:pt>
          <cx:pt idx="381">0.89038717987708604</cx:pt>
          <cx:pt idx="382">0.93679840061490904</cx:pt>
          <cx:pt idx="383">0.92065979942971898</cx:pt>
          <cx:pt idx="384">0.90901803342778698</cx:pt>
          <cx:pt idx="385">0.90184540246999201</cx:pt>
          <cx:pt idx="386">0.90042996402329101</cx:pt>
          <cx:pt idx="387">0.94251695802433999</cx:pt>
          <cx:pt idx="388">0.93915744185672001</cx:pt>
          <cx:pt idx="389">0.92919182691346902</cx:pt>
          <cx:pt idx="390">0.908571931624227</cx:pt>
          <cx:pt idx="391">0.931969743366036</cx:pt>
          <cx:pt idx="392">0.88065043579612401</cx:pt>
          <cx:pt idx="393">1.0111240615963799</cx:pt>
          <cx:pt idx="394">1.0537287341808801</cx:pt>
          <cx:pt idx="395">1.03891986460381</cx:pt>
          <cx:pt idx="396">0.95308464722956099</cx:pt>
          <cx:pt idx="397">0.88687861228065601</cx:pt>
          <cx:pt idx="398">0.85037494786972201</cx:pt>
          <cx:pt idx="399">0.79233997437662795</cx:pt>
          <cx:pt idx="400">0.81369250584708896</cx:pt>
          <cx:pt idx="401">0.81386958070417703</cx:pt>
          <cx:pt idx="402">0.79770594581631804</cx:pt>
          <cx:pt idx="403">0.81765975775046096</cx:pt>
          <cx:pt idx="404">0.83738103160310096</cx:pt>
          <cx:pt idx="405">0.83690233829911598</cx:pt>
          <cx:pt idx="406">0.79768459839626804</cx:pt>
          <cx:pt idx="407">0.82524975132239298</cx:pt>
          <cx:pt idx="408">0.81399919616263505</cx:pt>
          <cx:pt idx="409">0.85865482829009399</cx:pt>
          <cx:pt idx="410">0.85387087255530003</cx:pt>
          <cx:pt idx="411">0.83264118913350205</cx:pt>
          <cx:pt idx="412">0.81129816034051605</cx:pt>
          <cx:pt idx="413">0.90392919143849804</cx:pt>
          <cx:pt idx="414">0.91159908203733397</cx:pt>
          <cx:pt idx="415">0.92878694304241904</cx:pt>
          <cx:pt idx="416">0.90017041332227898</cx:pt>
          <cx:pt idx="417">0.90796132918462402</cx:pt>
          <cx:pt idx="418">0.84072800850376095</cx:pt>
          <cx:pt idx="419">0.88645195936225496</cx:pt>
          <cx:pt idx="420">0.92098012725941103</cx:pt>
          <cx:pt idx="421">0.927221140530054</cx:pt>
          <cx:pt idx="422">0.89165245388897796</cx:pt>
          <cx:pt idx="423">0.90558895450853605</cx:pt>
          <cx:pt idx="424">0.90640836860278395</cx:pt>
          <cx:pt idx="425">0.89884223715629097</cx:pt>
          <cx:pt idx="426">1.0071130446866401</cx:pt>
          <cx:pt idx="427">1.09708561192342</cx:pt>
          <cx:pt idx="428">1.09470728783355</cx:pt>
          <cx:pt idx="429">1.0709589104642101</cx:pt>
          <cx:pt idx="430">1.06949131596602</cx:pt>
          <cx:pt idx="431">1.11527212677065</cx:pt>
          <cx:pt idx="432">1.1182808089623699</cx:pt>
          <cx:pt idx="433">1.1168214359794899</cx:pt>
          <cx:pt idx="434">1.1330621841086901</cx:pt>
          <cx:pt idx="435">1.1149812679359501</cx:pt>
          <cx:pt idx="436">1.1101199881636901</cx:pt>
          <cx:pt idx="437">1.10925088643932</cx:pt>
          <cx:pt idx="438">1.0880879253798801</cx:pt>
          <cx:pt idx="439">1.0743009435428601</cx:pt>
          <cx:pt idx="440">1.0533171555806999</cx:pt>
          <cx:pt idx="441">1.0209102886136401</cx:pt>
          <cx:pt idx="442">0.99227076161539596</cx:pt>
          <cx:pt idx="443">0.97538644846887201</cx:pt>
          <cx:pt idx="444">0.96496847261740504</cx:pt>
          <cx:pt idx="445">0.94888477370417301</cx:pt>
          <cx:pt idx="446">0.892243895877875</cx:pt>
          <cx:pt idx="447">0.80278181127805603</cx:pt>
          <cx:pt idx="448">0.74584178009503999</cx:pt>
          <cx:pt idx="449">0.74212588232941201</cx:pt>
          <cx:pt idx="450">0.766413085110765</cx:pt>
          <cx:pt idx="451">0.5842711812493</cx:pt>
          <cx:pt idx="452">0.71753553156146399</cx:pt>
          <cx:pt idx="453">0.69318455677204305</cx:pt>
          <cx:pt idx="454">0.79961233680489496</cx:pt>
          <cx:pt idx="455">0.86277085396631403</cx:pt>
          <cx:pt idx="456">0.87292842123009695</cx:pt>
          <cx:pt idx="457">0.888933081645637</cx:pt>
          <cx:pt idx="458">0.89791951290720595</cx:pt>
          <cx:pt idx="459">0.90571886883608399</cx:pt>
          <cx:pt idx="460">0.91204676947157504</cx:pt>
          <cx:pt idx="461">0.91666851144266104</cx:pt>
          <cx:pt idx="462">0.92806022196440696</cx:pt>
          <cx:pt idx="463">0.91189444305227996</cx:pt>
          <cx:pt idx="464">0.92712954012391002</cx:pt>
          <cx:pt idx="465">0.94804061878073698</cx:pt>
          <cx:pt idx="466">0.97683321589710304</cx:pt>
          <cx:pt idx="467">1.0482536689009501</cx:pt>
          <cx:pt idx="468">1.1845812461388301</cx:pt>
          <cx:pt idx="469">0.71913278283192295</cx:pt>
          <cx:pt idx="470">0.542603506819887</cx:pt>
          <cx:pt idx="471">0.399826766159745</cx:pt>
          <cx:pt idx="472">0.4944101531442</cx:pt>
          <cx:pt idx="473">0.54354443782184603</cx:pt>
          <cx:pt idx="474">0.60873019132251405</cx:pt>
          <cx:pt idx="475">0.61285655015968998</cx:pt>
          <cx:pt idx="476">0.59430934848976003</cx:pt>
          <cx:pt idx="477">0.54896650841511896</cx:pt>
          <cx:pt idx="478">0.55574515450370798</cx:pt>
          <cx:pt idx="479">0.57458390859435504</cx:pt>
          <cx:pt idx="480">0.57587409413494395</cx:pt>
          <cx:pt idx="481">0.70436786598803203</cx:pt>
          <cx:pt idx="482">0.57300414809816302</cx:pt>
          <cx:pt idx="483">0.69980557402332</cx:pt>
          <cx:pt idx="484">0.808090298962716</cx:pt>
          <cx:pt idx="485">0.85425289255821801</cx:pt>
          <cx:pt idx="486">0.87595970476665797</cx:pt>
          <cx:pt idx="487">0.87832417715212896</cx:pt>
          <cx:pt idx="488">0.87169409889113603</cx:pt>
          <cx:pt idx="489">0.87372876954162504</cx:pt>
          <cx:pt idx="490">0.862161318766417</cx:pt>
          <cx:pt idx="491">0.88143479900993005</cx:pt>
          <cx:pt idx="492">0.90785642984527903</cx:pt>
          <cx:pt idx="493">0.94466119655927605</cx:pt>
          <cx:pt idx="494">1.0138577626512899</cx:pt>
          <cx:pt idx="495">1.0170240901354901</cx:pt>
          <cx:pt idx="496">0.87339993975101204</cx:pt>
          <cx:pt idx="497">0.93044925849037796</cx:pt>
          <cx:pt idx="498">0.90828845167667105</cx:pt>
          <cx:pt idx="499">0.88180300138018297</cx:pt>
          <cx:pt idx="500">0.83601727106328205</cx:pt>
          <cx:pt idx="501">0.85698342227899105</cx:pt>
          <cx:pt idx="502">0.88917032462134604</cx:pt>
          <cx:pt idx="503">0.90906179194635495</cx:pt>
          <cx:pt idx="504">0.88653444980881402</cx:pt>
          <cx:pt idx="505">0.88820440849833604</cx:pt>
          <cx:pt idx="506">0.89956832629848105</cx:pt>
          <cx:pt idx="507">0.88731586959426201</cx:pt>
          <cx:pt idx="508">0.85094427182267496</cx:pt>
          <cx:pt idx="509">0.81222406354904397</cx:pt>
          <cx:pt idx="510">0.80750377845225396</cx:pt>
          <cx:pt idx="511">0.88944765982376195</cx:pt>
          <cx:pt idx="512">0.91863957185397604</cx:pt>
          <cx:pt idx="513">0.93095353313710905</cx:pt>
          <cx:pt idx="514">0.94308540721433498</cx:pt>
          <cx:pt idx="515">0.920764764135654</cx:pt>
          <cx:pt idx="516">0.939002528114942</cx:pt>
          <cx:pt idx="517">0.98047596101428702</cx:pt>
          <cx:pt idx="518">0.997623842287093</cx:pt>
          <cx:pt idx="519">0.98889851562889197</cx:pt>
          <cx:pt idx="520">0.96751520713701</cx:pt>
          <cx:pt idx="521">0.94338271278434405</cx:pt>
          <cx:pt idx="522">1.00097425229499</cx:pt>
          <cx:pt idx="523">0.97149055289519703</cx:pt>
          <cx:pt idx="524">0.944907986798182</cx:pt>
          <cx:pt idx="525">0.89176740514282105</cx:pt>
          <cx:pt idx="526">0.86314435345212204</cx:pt>
          <cx:pt idx="527">0.85420922578076697</cx:pt>
          <cx:pt idx="528">0.78355383592354499</cx:pt>
          <cx:pt idx="529">0.86406977875250202</cx:pt>
          <cx:pt idx="530">0.86501521972560103</cx:pt>
          <cx:pt idx="531">0.86132103023898199</cx:pt>
          <cx:pt idx="532">0.805769802361883</cx:pt>
          <cx:pt idx="533">0.80360966503845899</cx:pt>
          <cx:pt idx="534">0.81103265169170802</cx:pt>
          <cx:pt idx="535">0.86676539865443203</cx:pt>
          <cx:pt idx="536">0.83533077423027302</cx:pt>
          <cx:pt idx="537">0.80770881763302205</cx:pt>
          <cx:pt idx="538">0.79433179730672598</cx:pt>
          <cx:pt idx="539">0.78700508424211602</cx:pt>
          <cx:pt idx="540">0.79303238222500605</cx:pt>
          <cx:pt idx="541">0.79966003350200998</cx:pt>
          <cx:pt idx="542">0.80447242300375199</cx:pt>
          <cx:pt idx="543">0.80768658965750495</cx:pt>
          <cx:pt idx="544">0.78766331966294101</cx:pt>
          <cx:pt idx="545">0.78583804506078303</cx:pt>
          <cx:pt idx="546">0.77909631231043597</cx:pt>
          <cx:pt idx="547">0.74021816888269198</cx:pt>
          <cx:pt idx="548">0.77481240516961902</cx:pt>
          <cx:pt idx="549">0.82708454748887195</cx:pt>
          <cx:pt idx="550">0.93617980281763802</cx:pt>
          <cx:pt idx="551">0.97665328287370201</cx:pt>
          <cx:pt idx="552">0.96370091415928805</cx:pt>
          <cx:pt idx="553">0.96265389486474695</cx:pt>
          <cx:pt idx="554">0.94127382231881096</cx:pt>
          <cx:pt idx="555">0.94242561266297098</cx:pt>
          <cx:pt idx="556">0.94706824531300704</cx:pt>
          <cx:pt idx="557">0.90726823193830697</cx:pt>
          <cx:pt idx="558">0.90912356728080801</cx:pt>
          <cx:pt idx="559">0.91273867447478496</cx:pt>
          <cx:pt idx="560">0.93689538813025997</cx:pt>
          <cx:pt idx="561">0.88567273364885202</cx:pt>
          <cx:pt idx="562">0.84218420860458598</cx:pt>
          <cx:pt idx="563">0.88194942209209504</cx:pt>
          <cx:pt idx="564">0.89837554248290397</cx:pt>
          <cx:pt idx="565">0.88702861505379305</cx:pt>
          <cx:pt idx="566">0.93263785355859197</cx:pt>
          <cx:pt idx="567">0.92773211334908101</cx:pt>
          <cx:pt idx="568">0.94727252720465305</cx:pt>
          <cx:pt idx="569">0.94209003383022605</cx:pt>
          <cx:pt idx="570">0.95689634092825004</cx:pt>
          <cx:pt idx="571">0.946186759840285</cx:pt>
          <cx:pt idx="572">0.94705399630268206</cx:pt>
          <cx:pt idx="573">0.94725969533309096</cx:pt>
          <cx:pt idx="574">0.95168875643973805</cx:pt>
          <cx:pt idx="575">0.98569325156584697</cx:pt>
          <cx:pt idx="576">1.0362513306905099</cx:pt>
          <cx:pt idx="577">1.0826920861410501</cx:pt>
          <cx:pt idx="578">0.91577664029102701</cx:pt>
          <cx:pt idx="579">0.943550409561554</cx:pt>
          <cx:pt idx="580">0.91426171047268801</cx:pt>
          <cx:pt idx="581">0.93114222380382705</cx:pt>
          <cx:pt idx="582">0.95568129531883295</cx:pt>
          <cx:pt idx="583">0.94650087559804497</cx:pt>
          <cx:pt idx="584">0.94219697510993805</cx:pt>
          <cx:pt idx="585">0.95619891142668201</cx:pt>
          <cx:pt idx="586">0.94338905211664503</cx:pt>
          <cx:pt idx="587">0.955061593053814</cx:pt>
          <cx:pt idx="588">0.965709098075068</cx:pt>
          <cx:pt idx="589">0.96397113579458904</cx:pt>
          <cx:pt idx="590">0.95251128174492306</cx:pt>
          <cx:pt idx="591">0.96293847703342395</cx:pt>
          <cx:pt idx="592">0.94938280392603902</cx:pt>
          <cx:pt idx="593">0.93554386869190698</cx:pt>
          <cx:pt idx="594">0.92945278141847298</cx:pt>
          <cx:pt idx="595">1.12192682952366</cx:pt>
          <cx:pt idx="596">0.88130708928271495</cx:pt>
          <cx:pt idx="597">0.97892951326000099</cx:pt>
          <cx:pt idx="598">1.0044894364660599</cx:pt>
          <cx:pt idx="599">1.0259103363378701</cx:pt>
          <cx:pt idx="600">0.96141993310936302</cx:pt>
          <cx:pt idx="601">1.00588221058563</cx:pt>
          <cx:pt idx="602">0.97246724136517004</cx:pt>
          <cx:pt idx="603">0.983750015771786</cx:pt>
          <cx:pt idx="604">0.98951179774019304</cx:pt>
          <cx:pt idx="605">1.00738521478132</cx:pt>
          <cx:pt idx="606">0.99891816895367402</cx:pt>
          <cx:pt idx="607">1.0252039467452301</cx:pt>
          <cx:pt idx="608">0.97876877826283604</cx:pt>
          <cx:pt idx="609">0.96253711384804597</cx:pt>
          <cx:pt idx="610">0.95683484620605597</cx:pt>
          <cx:pt idx="611">0.95317574754465495</cx:pt>
          <cx:pt idx="612">0.94863977256947496</cx:pt>
          <cx:pt idx="613">0.93611341045020302</cx:pt>
          <cx:pt idx="614">0.932402546561093</cx:pt>
          <cx:pt idx="615">0.896769634422799</cx:pt>
          <cx:pt idx="616">0.84281635533544597</cx:pt>
          <cx:pt idx="617">0.74039644404249205</cx:pt>
          <cx:pt idx="618">0.69997109024923898</cx:pt>
          <cx:pt idx="619">0.85656353619712999</cx:pt>
          <cx:pt idx="620">0.83879946182566201</cx:pt>
          <cx:pt idx="621">0.80615792601088199</cx:pt>
          <cx:pt idx="622">0.64373287673735002</cx:pt>
          <cx:pt idx="623">0.81110405898454196</cx:pt>
          <cx:pt idx="624">0.82708878825229104</cx:pt>
          <cx:pt idx="625">0.87486556348905498</cx:pt>
          <cx:pt idx="626">0.88509355435060899</cx:pt>
          <cx:pt idx="627">0.90564830313969902</cx:pt>
          <cx:pt idx="628">0.91339553981496102</cx:pt>
          <cx:pt idx="629">0.92065931532936796</cx:pt>
          <cx:pt idx="630">0.92944965062003804</cx:pt>
          <cx:pt idx="631">0.93046867112665299</cx:pt>
          <cx:pt idx="632">0.79533769862094805</cx:pt>
          <cx:pt idx="633">0.77356657648608496</cx:pt>
          <cx:pt idx="634">0.78874641612567298</cx:pt>
          <cx:pt idx="635">0.77679989248944903</cx:pt>
          <cx:pt idx="636">0.78352777585667199</cx:pt>
          <cx:pt idx="637">0.75784822032543397</cx:pt>
          <cx:pt idx="638">0.72898891477690597</cx:pt>
          <cx:pt idx="639">0.70666927493100296</cx:pt>
          <cx:pt idx="640">0.666281984713467</cx:pt>
          <cx:pt idx="641">0.71118315895317297</cx:pt>
          <cx:pt idx="642">0.70866218589435404</cx:pt>
          <cx:pt idx="643">0.72823821414469503</cx:pt>
          <cx:pt idx="644">0.71396850539142998</cx:pt>
          <cx:pt idx="645">0.68799066006831899</cx:pt>
          <cx:pt idx="646">0.66827837424657099</cx:pt>
          <cx:pt idx="647">0.63306529247221899</cx:pt>
          <cx:pt idx="648">0.57786903863557104</cx:pt>
          <cx:pt idx="649">0.56206671337738501</cx:pt>
          <cx:pt idx="650">0.65963800031744702</cx:pt>
          <cx:pt idx="651">0.79588852234471996</cx:pt>
          <cx:pt idx="652">0.85989070678611401</cx:pt>
          <cx:pt idx="653">0.96678250189959902</cx:pt>
          <cx:pt idx="654">0.98240444169365404</cx:pt>
          <cx:pt idx="655">0.99049661218275498</cx:pt>
          <cx:pt idx="656">0.973048702193824</cx:pt>
          <cx:pt idx="657">1.04352752782231</cx:pt>
          <cx:pt idx="658">0.99296904661395702</cx:pt>
          <cx:pt idx="659">1.0119299385699101</cx:pt>
          <cx:pt idx="660">1.0267949049374201</cx:pt>
          <cx:pt idx="661">1.0273655898395799</cx:pt>
          <cx:pt idx="662">1.0308066082807701</cx:pt>
          <cx:pt idx="663">0.93152973713794596</cx:pt>
          <cx:pt idx="664">0.91925105058655998</cx:pt>
          <cx:pt idx="665">0.94222170058854904</cx:pt>
          <cx:pt idx="666">0.85290484200528205</cx:pt>
          <cx:pt idx="667">0.888631722818087</cx:pt>
          <cx:pt idx="668">0.86612545973291599</cx:pt>
          <cx:pt idx="669">0.89446907112448604</cx:pt>
          <cx:pt idx="670">0.93988915338978396</cx:pt>
          <cx:pt idx="671">0.96649115439389899</cx:pt>
          <cx:pt idx="672">0.875815509495522</cx:pt>
          <cx:pt idx="673">0.80460873341720596</cx:pt>
          <cx:pt idx="674">0.77457903124247895</cx:pt>
          <cx:pt idx="675">0.78793187606820703</cx:pt>
          <cx:pt idx="676">0.769890409763334</cx:pt>
          <cx:pt idx="677">0.78228733005170703</cx:pt>
          <cx:pt idx="678">0.81869156507251795</cx:pt>
          <cx:pt idx="679">0.84353618380165696</cx:pt>
          <cx:pt idx="680">0.92665599793099596</cx:pt>
          <cx:pt idx="681">0.81460928824291301</cx:pt>
          <cx:pt idx="682">0.72386115911162896</cx:pt>
          <cx:pt idx="683">0.73260958572797996</cx:pt>
          <cx:pt idx="684">0.69399738602369798</cx:pt>
          <cx:pt idx="685">0.73445074833539303</cx:pt>
          <cx:pt idx="686">0.73080180375735804</cx:pt>
          <cx:pt idx="687">0.75604029399681905</cx:pt>
          <cx:pt idx="688">0.78844309018407099</cx:pt>
          <cx:pt idx="689">0.79061478520764805</cx:pt>
          <cx:pt idx="690">0.82732177093352299</cx:pt>
          <cx:pt idx="691">0.88339990630815501</cx:pt>
          <cx:pt idx="692">0.87867622386493605</cx:pt>
          <cx:pt idx="693">0.88151213223666403</cx:pt>
          <cx:pt idx="694">0.87782866759827305</cx:pt>
          <cx:pt idx="695">0.87658619758766598</cx:pt>
          <cx:pt idx="696">0.86444341154583004</cx:pt>
          <cx:pt idx="697">0.85720331859433196</cx:pt>
          <cx:pt idx="698">0.76617559916446198</cx:pt>
          <cx:pt idx="699">0.74037231228674905</cx:pt>
          <cx:pt idx="700">0.78590106118201297</cx:pt>
          <cx:pt idx="701">0.91136904130052498</cx:pt>
          <cx:pt idx="702">0.940818650876454</cx:pt>
          <cx:pt idx="703">0.95499202817933104</cx:pt>
          <cx:pt idx="704">0.95624546293128598</cx:pt>
          <cx:pt idx="705">0.96965737538340602</cx:pt>
          <cx:pt idx="706">0.98997343852897601</cx:pt>
          <cx:pt idx="707">0.99519294535198299</cx:pt>
          <cx:pt idx="708">0.91872421337893495</cx:pt>
          <cx:pt idx="709">0.90863521613216003</cx:pt>
          <cx:pt idx="710">0.92295572725777897</cx:pt>
          <cx:pt idx="711">0.91209188019426202</cx:pt>
          <cx:pt idx="712">0.94248046958184895</cx:pt>
          <cx:pt idx="713">0.97089085358318605</cx:pt>
          <cx:pt idx="714">0.95598383634567796</cx:pt>
          <cx:pt idx="715">1.0320250449057899</cx:pt>
          <cx:pt idx="716">0.93653984769985699</cx:pt>
          <cx:pt idx="717">0.92688510269236002</cx:pt>
          <cx:pt idx="718">0.93448251558028095</cx:pt>
          <cx:pt idx="719">0.95964277560778799</cx:pt>
          <cx:pt idx="720">0.948857645082538</cx:pt>
          <cx:pt idx="721">0.92845758823728297</cx:pt>
          <cx:pt idx="722">0.93263346821397197</cx:pt>
          <cx:pt idx="723">0.92100851527712002</cx:pt>
          <cx:pt idx="724">0.92291495629740095</cx:pt>
          <cx:pt idx="725">0.93452267417830504</cx:pt>
          <cx:pt idx="726">0.91562906158232904</cx:pt>
          <cx:pt idx="727">0.89626318732559296</cx:pt>
          <cx:pt idx="728">0.91002664899359298</cx:pt>
          <cx:pt idx="729">0.91526672041460899</cx:pt>
          <cx:pt idx="730">0.93438495542830502</cx:pt>
          <cx:pt idx="731">0.94010341017515298</cx:pt>
          <cx:pt idx="732">0.91405500110580795</cx:pt>
          <cx:pt idx="733">0.95378686615308395</cx:pt>
          <cx:pt idx="734">0.951029818237629</cx:pt>
          <cx:pt idx="735">0.98975147256041196</cx:pt>
          <cx:pt idx="736">0.94042858063567503</cx:pt>
          <cx:pt idx="737">0.93171815851262396</cx:pt>
          <cx:pt idx="738">0.95692533245907696</cx:pt>
          <cx:pt idx="739">0.95726386615673997</cx:pt>
          <cx:pt idx="740">0.980548276530395</cx:pt>
          <cx:pt idx="741">1.00672360354475</cx:pt>
          <cx:pt idx="742">1.02321631395402</cx:pt>
          <cx:pt idx="743">1.00093879834723</cx:pt>
          <cx:pt idx="744">0.98550925892972896</cx:pt>
          <cx:pt idx="745">0.944812470916919</cx:pt>
          <cx:pt idx="746">0.92576585100830999</cx:pt>
          <cx:pt idx="747">0.89571307966825198</cx:pt>
          <cx:pt idx="748">0.86580501014594902</cx:pt>
          <cx:pt idx="749">0.84771124288640398</cx:pt>
          <cx:pt idx="750">0.79127074423195098</cx:pt>
          <cx:pt idx="751">0.66400856731773195</cx:pt>
          <cx:pt idx="752">0.635471164911249</cx:pt>
          <cx:pt idx="753">0.68146383205695404</cx:pt>
          <cx:pt idx="754">0.69904381801597404</cx:pt>
          <cx:pt idx="755">0.68033726162529895</cx:pt>
          <cx:pt idx="756">0.69224739419015502</cx:pt>
          <cx:pt idx="757">0.59704497111989696</cx:pt>
          <cx:pt idx="758">0.76141142254606398</cx:pt>
          <cx:pt idx="759">0.79245139103449003</cx:pt>
          <cx:pt idx="760">0.81889067120206505</cx:pt>
          <cx:pt idx="761">0.83748221210756102</cx:pt>
          <cx:pt idx="762">0.82733855321606398</cx:pt>
          <cx:pt idx="763">0.838412136757964</cx:pt>
          <cx:pt idx="764">0.88397240700932</cx:pt>
          <cx:pt idx="765">0.893395046745597</cx:pt>
          <cx:pt idx="766">0.89615911783505098</cx:pt>
          <cx:pt idx="767">0.87753570393164504</cx:pt>
          <cx:pt idx="768">0.88274886357266302</cx:pt>
          <cx:pt idx="769">0.95160442426263303</cx:pt>
          <cx:pt idx="770">0.94904154181534095</cx:pt>
          <cx:pt idx="771">0.94663278452517596</cx:pt>
          <cx:pt idx="772">0.97307890776941797</cx:pt>
          <cx:pt idx="773">0.94841823023321603</cx:pt>
          <cx:pt idx="774">0.96729444765482997</cx:pt>
          <cx:pt idx="775">0.97103408270539004</cx:pt>
          <cx:pt idx="776">0.91916768060753695</cx:pt>
          <cx:pt idx="777">0.884760737325338</cx:pt>
          <cx:pt idx="778">0.82378066947862305</cx:pt>
          <cx:pt idx="779">0.78679048801024598</cx:pt>
          <cx:pt idx="780">0.76167155855264501</cx:pt>
          <cx:pt idx="781">0.78824933570602895</cx:pt>
          <cx:pt idx="782">0.83062447032782705</cx:pt>
          <cx:pt idx="783">0.89853793360762002</cx:pt>
          <cx:pt idx="784">0.97362739531728903</cx:pt>
          <cx:pt idx="785">1.0178722036885901</cx:pt>
          <cx:pt idx="786">0.90984675108064605</cx:pt>
          <cx:pt idx="787">0.93432163910315402</cx:pt>
          <cx:pt idx="788">0.98277617137672102</cx:pt>
          <cx:pt idx="789">0.93756824718086795</cx:pt>
          <cx:pt idx="790">0.95623514564303003</cx:pt>
          <cx:pt idx="791">0.97540368234401398</cx:pt>
          <cx:pt idx="792">0.97267121792309197</cx:pt>
          <cx:pt idx="793">0.98669080634568795</cx:pt>
          <cx:pt idx="794">0.88925637419615899</cx:pt>
          <cx:pt idx="795">0.86903364908837999</cx:pt>
          <cx:pt idx="796">0.84486881167162897</cx:pt>
          <cx:pt idx="797">0.83523197183222397</cx:pt>
          <cx:pt idx="798">0.83476290514873797</cx:pt>
          <cx:pt idx="799">0.80561599335600897</cx:pt>
          <cx:pt idx="800">0.82750217736097997</cx:pt>
          <cx:pt idx="801">0.840041381793461</cx:pt>
          <cx:pt idx="802">0.883575581712289</cx:pt>
          <cx:pt idx="803">0.89338651127139002</cx:pt>
          <cx:pt idx="804">0.902861025653792</cx:pt>
          <cx:pt idx="805">0.86950366284866798</cx:pt>
          <cx:pt idx="806">0.857003608292219</cx:pt>
          <cx:pt idx="807">0.887671903623798</cx:pt>
          <cx:pt idx="808">0.884545688724243</cx:pt>
          <cx:pt idx="809">0.85266071838438595</cx:pt>
          <cx:pt idx="810">0.87394072605232997</cx:pt>
          <cx:pt idx="811">0.87566134150561103</cx:pt>
          <cx:pt idx="812">0.88134835205941098</cx:pt>
          <cx:pt idx="813">0.862350963653431</cx:pt>
          <cx:pt idx="814">0.83433218480262505</cx:pt>
          <cx:pt idx="815">0.81892512512537596</cx:pt>
          <cx:pt idx="816">0.84888845191455697</cx:pt>
          <cx:pt idx="817">0.81278251125886503</cx:pt>
          <cx:pt idx="818">0.82667353095496299</cx:pt>
          <cx:pt idx="819">0.83123931133768902</cx:pt>
          <cx:pt idx="820">0.91130777300893995</cx:pt>
          <cx:pt idx="821">0.91188998867884197</cx:pt>
          <cx:pt idx="822">0.90397705710006704</cx:pt>
          <cx:pt idx="823">0.91014602344617601</cx:pt>
          <cx:pt idx="824">0.84489984027647003</cx:pt>
          <cx:pt idx="825">0.86024498051717602</cx:pt>
          <cx:pt idx="826">0.82249235714126001</cx:pt>
          <cx:pt idx="827">0.808629992283457</cx:pt>
          <cx:pt idx="828">0.74347632361918603</cx:pt>
          <cx:pt idx="829">0.70740136424397404</cx:pt>
          <cx:pt idx="830">0.79213414217061495</cx:pt>
          <cx:pt idx="831">0.83813553818106501</cx:pt>
          <cx:pt idx="832">0.80727062722213605</cx:pt>
          <cx:pt idx="833">0.84751588272169198</cx:pt>
          <cx:pt idx="834">0.85881123302531803</cx:pt>
          <cx:pt idx="835">0.89704686152222801</cx:pt>
          <cx:pt idx="836">0.89544740476086504</cx:pt>
          <cx:pt idx="837">0.90172125906682299</cx:pt>
          <cx:pt idx="838">0.90469391859174497</cx:pt>
          <cx:pt idx="839">0.89360767414587094</cx:pt>
          <cx:pt idx="840">0.88883004270422405</cx:pt>
          <cx:pt idx="841">0.89741625810403203</cx:pt>
          <cx:pt idx="842">0.90689850665692495</cx:pt>
          <cx:pt idx="843">0.86205201613945104</cx:pt>
          <cx:pt idx="844">0.92334819528114798</cx:pt>
          <cx:pt idx="845">0.95526327597354499</cx:pt>
          <cx:pt idx="846">0.96254363368092999</cx:pt>
          <cx:pt idx="847">0.92783253316011505</cx:pt>
          <cx:pt idx="848">0.95214410174284902</cx:pt>
          <cx:pt idx="849">0.95930297117420504</cx:pt>
          <cx:pt idx="850">0.95472758146588099</cx:pt>
          <cx:pt idx="851">0.95805410830011495</cx:pt>
          <cx:pt idx="852">0.92418562730778697</cx:pt>
          <cx:pt idx="853">0.90978158191591596</cx:pt>
          <cx:pt idx="854">0.91538744771738501</cx:pt>
          <cx:pt idx="855">0.93070112306979302</cx:pt>
          <cx:pt idx="856">0.88992815125770897</cx:pt>
          <cx:pt idx="857">0.89537627926547203</cx:pt>
          <cx:pt idx="858">0.88471903355525205</cx:pt>
          <cx:pt idx="859">0.94069862900131496</cx:pt>
          <cx:pt idx="860">0.81760007051298</cx:pt>
          <cx:pt idx="861">0.76032138223113899</cx:pt>
          <cx:pt idx="862">0.79568553501574701</cx:pt>
          <cx:pt idx="863">0.92751157565096898</cx:pt>
          <cx:pt idx="864">0.93550864979189596</cx:pt>
          <cx:pt idx="865">0.97452076029661305</cx:pt>
          <cx:pt idx="866">1.0353032235544899</cx:pt>
          <cx:pt idx="867">1.0855638607687099</cx:pt>
          <cx:pt idx="868">1.14628018008638</cx:pt>
          <cx:pt idx="869">1.1912175675535099</cx:pt>
          <cx:pt idx="870">1.12903016303292</cx:pt>
          <cx:pt idx="871">1.08308337480633</cx:pt>
          <cx:pt idx="872">1.11589725608562</cx:pt>
          <cx:pt idx="873">1.1328139087334199</cx:pt>
          <cx:pt idx="874">1.0691266233003101</cx:pt>
          <cx:pt idx="875">1.10320434633875</cx:pt>
          <cx:pt idx="876">1.03423654625484</cx:pt>
          <cx:pt idx="877">0.98765197026191298</cx:pt>
          <cx:pt idx="878">0.951879723157946</cx:pt>
          <cx:pt idx="879">0.867494696859618</cx:pt>
          <cx:pt idx="880">0.85641583690411505</cx:pt>
          <cx:pt idx="881">0.91131087204924499</cx:pt>
          <cx:pt idx="882">0.92405066930456303</cx:pt>
          <cx:pt idx="883">0.94677069597510599</cx:pt>
          <cx:pt idx="884">0.94361884859152501</cx:pt>
          <cx:pt idx="885">0.94258842950383004</cx:pt>
          <cx:pt idx="886">0.952050267021193</cx:pt>
          <cx:pt idx="887">0.96498511464273795</cx:pt>
          <cx:pt idx="888">0.93764291680565304</cx:pt>
          <cx:pt idx="889">0.94918740435010096</cx:pt>
          <cx:pt idx="890">0.96356570692397703</cx:pt>
          <cx:pt idx="891">0.950220506173999</cx:pt>
          <cx:pt idx="892">0.98847584220620699</cx:pt>
          <cx:pt idx="893">0.98271527165368799</cx:pt>
          <cx:pt idx="894">0.96586110631308997</cx:pt>
          <cx:pt idx="895">0.99816685420203</cx:pt>
          <cx:pt idx="896">0.977850589567555</cx:pt>
          <cx:pt idx="897">0.93885918147925296</cx:pt>
          <cx:pt idx="898">0.94206847047360298</cx:pt>
          <cx:pt idx="899">0.95131649803338103</cx:pt>
          <cx:pt idx="900">0.96871595727045701</cx:pt>
          <cx:pt idx="901">0.96695934308523301</cx:pt>
          <cx:pt idx="902">0.97107119216495796</cx:pt>
          <cx:pt idx="903">0.98094385552311603</cx:pt>
          <cx:pt idx="904">0.99435363563973</cx:pt>
          <cx:pt idx="905">1.0089169529214901</cx:pt>
          <cx:pt idx="906">1.0000919658340801</cx:pt>
          <cx:pt idx="907">1.0023509666030599</cx:pt>
          <cx:pt idx="908">0.97015326967403803</cx:pt>
          <cx:pt idx="909">0.97812412101587498</cx:pt>
          <cx:pt idx="910">0.96446159577861601</cx:pt>
          <cx:pt idx="911">0.91858714599485003</cx:pt>
          <cx:pt idx="912">0.91446630196449297</cx:pt>
          <cx:pt idx="913">0.89148993205652904</cx:pt>
          <cx:pt idx="914">0.87242613364169896</cx:pt>
          <cx:pt idx="915">0.87090413313567705</cx:pt>
          <cx:pt idx="916">0.87056685730486005</cx:pt>
          <cx:pt idx="917">0.89634915637122003</cx:pt>
          <cx:pt idx="918">0.88311322982456297</cx:pt>
          <cx:pt idx="919">0.88396602009087499</cx:pt>
          <cx:pt idx="920">0.87858429324306997</cx:pt>
          <cx:pt idx="921">0.87822998148334197</cx:pt>
          <cx:pt idx="922">0.84782177983833495</cx:pt>
          <cx:pt idx="923">0.84364232957350005</cx:pt>
          <cx:pt idx="924">0.84214820870400398</cx:pt>
          <cx:pt idx="925">0.79864145250280305</cx:pt>
          <cx:pt idx="926">0.79123827785498402</cx:pt>
          <cx:pt idx="927">0.70606757377987694</cx:pt>
          <cx:pt idx="928">0.64947186395654299</cx:pt>
          <cx:pt idx="929">0.79703841684467402</cx:pt>
          <cx:pt idx="930">0.91303444764191</cx:pt>
          <cx:pt idx="931">0.90862864215036498</cx:pt>
          <cx:pt idx="932">0.90681466467987704</cx:pt>
          <cx:pt idx="933">0.91645525845335196</cx:pt>
          <cx:pt idx="934">0.91612450297667503</cx:pt>
          <cx:pt idx="935">0.90807692866287104</cx:pt>
          <cx:pt idx="936">0.91490602266744703</cx:pt>
          <cx:pt idx="937">0.952108026523107</cx:pt>
          <cx:pt idx="938">0.97056056621867703</cx:pt>
          <cx:pt idx="939">0.93003030559458499</cx:pt>
          <cx:pt idx="940">1.01020750401366</cx:pt>
          <cx:pt idx="941">1.01287395701565</cx:pt>
          <cx:pt idx="942">1.0024671886827701</cx:pt>
          <cx:pt idx="943">1.0367175037783101</cx:pt>
          <cx:pt idx="944">1.04714725326103</cx:pt>
          <cx:pt idx="945">0.99733060293508502</cx:pt>
          <cx:pt idx="946">1.01691546920975</cx:pt>
          <cx:pt idx="947">1.0228694404356999</cx:pt>
          <cx:pt idx="948">1.0345294684555799</cx:pt>
          <cx:pt idx="949">1.0146098925704199</cx:pt>
          <cx:pt idx="950">1.03289660876052</cx:pt>
          <cx:pt idx="951">1.0305081355916801</cx:pt>
          <cx:pt idx="952">0.97998709230126702</cx:pt>
          <cx:pt idx="953">0.94406658222693995</cx:pt>
          <cx:pt idx="954">0.91708098834762097</cx:pt>
          <cx:pt idx="955">0.85292255916322401</cx:pt>
          <cx:pt idx="956">0.84463663144938195</cx:pt>
          <cx:pt idx="957">0.85401193965656397</cx:pt>
          <cx:pt idx="958">0.89370360705396201</cx:pt>
          <cx:pt idx="959">0.89112896727526902</cx:pt>
          <cx:pt idx="960">0.89694689386863802</cx:pt>
          <cx:pt idx="961">0.89481861927617701</cx:pt>
          <cx:pt idx="962">1.0142711596563501</cx:pt>
          <cx:pt idx="963">0.97996445591048398</cx:pt>
          <cx:pt idx="964">1.00273866082133</cx:pt>
          <cx:pt idx="965">0.98971429656864496</cx:pt>
          <cx:pt idx="966">0.99230610508903705</cx:pt>
          <cx:pt idx="967">0.99399557915732095</cx:pt>
          <cx:pt idx="968">0.971260298807472</cx:pt>
          <cx:pt idx="969">0.99334592362451302</cx:pt>
          <cx:pt idx="970">0.95445819955941102</cx:pt>
          <cx:pt idx="971">0.94661867661851495</cx:pt>
          <cx:pt idx="972">0.92006104007137002</cx:pt>
          <cx:pt idx="973">0.97820254562863196</cx:pt>
          <cx:pt idx="974">0.98237091045770097</cx:pt>
          <cx:pt idx="975">0.98534091320093398</cx:pt>
          <cx:pt idx="976">0.96835331862068297</cx:pt>
          <cx:pt idx="977">0.93640156566442001</cx:pt>
          <cx:pt idx="978">0.90706089000441104</cx:pt>
          <cx:pt idx="979">0.86187398728299702</cx:pt>
          <cx:pt idx="980">1.0079954937492099</cx:pt>
          <cx:pt idx="981">0.95521748669859097</cx:pt>
          <cx:pt idx="982">0.97444096390916002</cx:pt>
          <cx:pt idx="983">0.93798735729809002</cx:pt>
          <cx:pt idx="984">0.93430809788873104</cx:pt>
          <cx:pt idx="985">0.90591086393369602</cx:pt>
          <cx:pt idx="986">0.84166944550265099</cx:pt>
          <cx:pt idx="987">0.93720021824330102</cx:pt>
          <cx:pt idx="988">0.93924696419915799</cx:pt>
          <cx:pt idx="989">0.86704993682800002</cx:pt>
          <cx:pt idx="990">0.84798152515125902</cx:pt>
          <cx:pt idx="991">0.83437925737007101</cx:pt>
          <cx:pt idx="992">0.830876124608524</cx:pt>
          <cx:pt idx="993">0.807806838946731</cx:pt>
          <cx:pt idx="994">0.85930049521527896</cx:pt>
          <cx:pt idx="995">0.85013924355845305</cx:pt>
          <cx:pt idx="996">0.86795619288129899</cx:pt>
          <cx:pt idx="997">0.85726392054673095</cx:pt>
          <cx:pt idx="998">0.945475312423814</cx:pt>
          <cx:pt idx="999">0.94010219606250101</cx:pt>
          <cx:pt idx="1000">0.96134436874920304</cx:pt>
          <cx:pt idx="1001">0.948679023091062</cx:pt>
          <cx:pt idx="1002">0.94970529615833499</cx:pt>
          <cx:pt idx="1003">0.89247144759165797</cx:pt>
          <cx:pt idx="1004">0.90097183717245</cx:pt>
          <cx:pt idx="1005">0.89294745851524104</cx:pt>
          <cx:pt idx="1006">0.93355530278038301</cx:pt>
          <cx:pt idx="1007">0.90714851315956002</cx:pt>
          <cx:pt idx="1008">0.90525886576440895</cx:pt>
          <cx:pt idx="1009">0.90248563074840604</cx:pt>
          <cx:pt idx="1010">0.86669163798056004</cx:pt>
          <cx:pt idx="1011">0.85973956321183698</cx:pt>
          <cx:pt idx="1012">0.85921861036844904</cx:pt>
          <cx:pt idx="1013">0.86200751654238095</cx:pt>
          <cx:pt idx="1014">0.85929831301154402</cx:pt>
          <cx:pt idx="1015">0.90343716570060795</cx:pt>
          <cx:pt idx="1016">0.86097309911670705</cx:pt>
          <cx:pt idx="1017">0.88996819988931997</cx:pt>
          <cx:pt idx="1018">0.89762968024408796</cx:pt>
          <cx:pt idx="1019">0.77062577930353604</cx:pt>
          <cx:pt idx="1020">0.83533595886296697</cx:pt>
          <cx:pt idx="1021">0.86804322133004796</cx:pt>
          <cx:pt idx="1022">0.87437741238519595</cx:pt>
          <cx:pt idx="1023">0.85858803559356001</cx:pt>
          <cx:pt idx="1024">0.81781242352876404</cx:pt>
          <cx:pt idx="1025">0.80350483838525799</cx:pt>
          <cx:pt idx="1026">0.77126641832958698</cx:pt>
          <cx:pt idx="1027">0.72990676049798398</cx:pt>
          <cx:pt idx="1028">0.79994097046133195</cx:pt>
          <cx:pt idx="1029">0.87134900722752495</cx:pt>
          <cx:pt idx="1030">0.92232918208760395</cx:pt>
          <cx:pt idx="1031">0.88840280595052001</cx:pt>
          <cx:pt idx="1032">0.93393288175465805</cx:pt>
          <cx:pt idx="1033">0.95849764556105299</cx:pt>
          <cx:pt idx="1034">0.96279817773699505</cx:pt>
          <cx:pt idx="1035">0.97865727008570302</cx:pt>
          <cx:pt idx="1036">0.98712429039927696</cx:pt>
          <cx:pt idx="1037">1.0061455169468401</cx:pt>
          <cx:pt idx="1038">1.0152138359559899</cx:pt>
          <cx:pt idx="1039">1.0042888415069899</cx:pt>
          <cx:pt idx="1040">0.99167635820710198</cx:pt>
          <cx:pt idx="1041">0.99471974490056803</cx:pt>
          <cx:pt idx="1042">1.02147377591123</cx:pt>
          <cx:pt idx="1043">1.0262584513137101</cx:pt>
          <cx:pt idx="1044">0.930305189268127</cx:pt>
          <cx:pt idx="1045">0.78422041844123402</cx:pt>
          <cx:pt idx="1046">0.75697245606877595</cx:pt>
          <cx:pt idx="1047">0.77202141076323005</cx:pt>
          <cx:pt idx="1048">0.85930047573836499</cx:pt>
          <cx:pt idx="1049">0.84719463992661503</cx:pt>
          <cx:pt idx="1050">0.85018980155519797</cx:pt>
          <cx:pt idx="1051">0.83044810034879402</cx:pt>
          <cx:pt idx="1052">0.84129675675910698</cx:pt>
          <cx:pt idx="1053">0.84242438200627201</cx:pt>
          <cx:pt idx="1054">0.83941221745435202</cx:pt>
          <cx:pt idx="1055">0.82605416909659801</cx:pt>
          <cx:pt idx="1056">0.79442017767242901</cx:pt>
          <cx:pt idx="1057">0.74434598452807399</cx:pt>
          <cx:pt idx="1058">0.70091301913318305</cx:pt>
          <cx:pt idx="1059">0.74592461162786405</cx:pt>
          <cx:pt idx="1060">0.82520362933959401</cx:pt>
          <cx:pt idx="1061">0.82996561834750004</cx:pt>
          <cx:pt idx="1062">0.87239865922054205</cx:pt>
          <cx:pt idx="1063">0.91556061467299399</cx:pt>
          <cx:pt idx="1064">0.92478021006106204</cx:pt>
          <cx:pt idx="1065">0.92014382818592999</cx:pt>
          <cx:pt idx="1066">0.91235185080036996</cx:pt>
          <cx:pt idx="1067">0.93430470463795201</cx:pt>
          <cx:pt idx="1068">0.91683012630570504</cx:pt>
          <cx:pt idx="1069">0.91877476291006499</cx:pt>
          <cx:pt idx="1070">0.91153606442127999</cx:pt>
          <cx:pt idx="1071">0.90256544589709897</cx:pt>
          <cx:pt idx="1072">0.89767717761986698</cx:pt>
          <cx:pt idx="1073">0.89264775668799601</cx:pt>
          <cx:pt idx="1074">0.85236340952276302</cx:pt>
          <cx:pt idx="1075">0.79644485592736503</cx:pt>
          <cx:pt idx="1076">0.892715233334898</cx:pt>
          <cx:pt idx="1077">0.92180104965285004</cx:pt>
          <cx:pt idx="1078">0.939013244741292</cx:pt>
          <cx:pt idx="1079">0.94797539288977095</cx:pt>
          <cx:pt idx="1080">0.93330129226161795</cx:pt>
          <cx:pt idx="1081">0.921937662911825</cx:pt>
          <cx:pt idx="1082">0.84843669396626298</cx:pt>
          <cx:pt idx="1083">0.82306310788523795</cx:pt>
          <cx:pt idx="1084">0.84264482767619298</cx:pt>
          <cx:pt idx="1085">0.86049696737334103</cx:pt>
          <cx:pt idx="1086">0.85919952630908603</cx:pt>
          <cx:pt idx="1087">0.86189896413577605</cx:pt>
          <cx:pt idx="1088">0.86838939432565898</cx:pt>
          <cx:pt idx="1089">0.86673015516611496</cx:pt>
          <cx:pt idx="1090">0.86721321725898104</cx:pt>
          <cx:pt idx="1091">0.86542970714698497</cx:pt>
          <cx:pt idx="1092">0.83896703005071604</cx:pt>
          <cx:pt idx="1093">0.82823109387235105</cx:pt>
          <cx:pt idx="1094">0.83170498572289897</cx:pt>
          <cx:pt idx="1095">0.83938705026923</cx:pt>
          <cx:pt idx="1096">0.84766818899946395</cx:pt>
          <cx:pt idx="1097">0.85021675953737397</cx:pt>
          <cx:pt idx="1098">0.79237364034517799</cx:pt>
          <cx:pt idx="1099">0.775128991730199</cx:pt>
          <cx:pt idx="1100">0.793672075872208</cx:pt>
          <cx:pt idx="1101">0.99193809864449101</cx:pt>
          <cx:pt idx="1102">0.99400433618913997</cx:pt>
          <cx:pt idx="1103">0.98660436878329405</cx:pt>
          <cx:pt idx="1104">1.04589360246875</cx:pt>
          <cx:pt idx="1105">1.0364826095117099</cx:pt>
          <cx:pt idx="1106">1.0282598968808601</cx:pt>
          <cx:pt idx="1107">1.03564299044523</cx:pt>
          <cx:pt idx="1108">1.0432437411161699</cx:pt>
          <cx:pt idx="1109">1.05420234678178</cx:pt>
          <cx:pt idx="1110">1.0469797783321599</cx:pt>
          <cx:pt idx="1111">0.973467054115286</cx:pt>
          <cx:pt idx="1112">0.99050840318974898</cx:pt>
          <cx:pt idx="1113">0.96503416452888102</cx:pt>
          <cx:pt idx="1114">0.92805031166809104</cx:pt>
          <cx:pt idx="1115">0.87412443626832803</cx:pt>
          <cx:pt idx="1116">0.88075724486293905</cx:pt>
          <cx:pt idx="1117">0.92478756029831199</cx:pt>
          <cx:pt idx="1118">0.88104692164134601</cx:pt>
          <cx:pt idx="1119">0.93242478791680505</cx:pt>
          <cx:pt idx="1120">0.93249508154157201</cx:pt>
          <cx:pt idx="1121">1.0329136981412499</cx:pt>
          <cx:pt idx="1122">1.0411916188494099</cx:pt>
          <cx:pt idx="1123">1.04005454375551</cx:pt>
          <cx:pt idx="1124">1.01293899972169</cx:pt>
          <cx:pt idx="1125">0.97957851620163305</cx:pt>
          <cx:pt idx="1126">0.99961745229418897</cx:pt>
          <cx:pt idx="1127">1.0041571443384301</cx:pt>
          <cx:pt idx="1128">0.93934102921865703</cx:pt>
          <cx:pt idx="1129">0.87230656425918895</cx:pt>
          <cx:pt idx="1130">0.78619121483254195</cx:pt>
          <cx:pt idx="1131">0.74439172750767102</cx:pt>
          <cx:pt idx="1132">0.71625495559399199</cx:pt>
          <cx:pt idx="1133">0.61950019741861995</cx:pt>
          <cx:pt idx="1134">0.46396347872133398</cx:pt>
          <cx:pt idx="1135">0.44060155469106799</cx:pt>
          <cx:pt idx="1136">0.44945484519291901</cx:pt>
          <cx:pt idx="1137">0.74860657572439304</cx:pt>
          <cx:pt idx="1138">0.86881161410345298</cx:pt>
          <cx:pt idx="1139">0.95068212418134002</cx:pt>
          <cx:pt idx="1140">1.01764402477787</cx:pt>
          <cx:pt idx="1141">1.01409573463384</cx:pt>
          <cx:pt idx="1142">1.00752433685692</cx:pt>
          <cx:pt idx="1143">1.0156551056791201</cx:pt>
          <cx:pt idx="1144">1.0595441141050601</cx:pt>
          <cx:pt idx="1145">1.0727988772970101</cx:pt>
          <cx:pt idx="1146">1.07069058991952</cx:pt>
          <cx:pt idx="1147">1.0749383136636199</cx:pt>
          <cx:pt idx="1148">1.07890963370598</cx:pt>
          <cx:pt idx="1149">1.08551804319251</cx:pt>
          <cx:pt idx="1150">1.1003349094828001</cx:pt>
          <cx:pt idx="1151">1.10557857415459</cx:pt>
          <cx:pt idx="1152">1.0697676939062</cx:pt>
          <cx:pt idx="1153">1.01095544003641</cx:pt>
          <cx:pt idx="1154">0.94245364132110698</cx:pt>
          <cx:pt idx="1155">1.0280722529130799</cx:pt>
          <cx:pt idx="1156">1.0194798274294301</cx:pt>
          <cx:pt idx="1157">1.0139429883117901</cx:pt>
          <cx:pt idx="1158">0.95103989344595896</cx:pt>
          <cx:pt idx="1159">0.95034290238178698</cx:pt>
          <cx:pt idx="1160">0.93620104377801305</cx:pt>
          <cx:pt idx="1161">0.90835810617730595</cx:pt>
          <cx:pt idx="1162">0.884626852141848</cx:pt>
          <cx:pt idx="1163">0.91184190850320901</cx:pt>
          <cx:pt idx="1164">0.813723785534611</cx:pt>
          <cx:pt idx="1165">0.89609396230604599</cx:pt>
          <cx:pt idx="1166">0.76297112003763001</cx:pt>
          <cx:pt idx="1167">0.74745489022413203</cx:pt>
          <cx:pt idx="1168">0.76926381606579997</cx:pt>
          <cx:pt idx="1169">0.80150619424871195</cx:pt>
          <cx:pt idx="1170">0.82003206233446702</cx:pt>
          <cx:pt idx="1171">0.83199180633667402</cx:pt>
          <cx:pt idx="1172">0.85236238493711902</cx:pt>
          <cx:pt idx="1173">0.921389739031932</cx:pt>
          <cx:pt idx="1174">0.95816884632988497</cx:pt>
          <cx:pt idx="1175">0.97365882908996704</cx:pt>
          <cx:pt idx="1176">1.00229917888526</cx:pt>
          <cx:pt idx="1177">1.0240808983057701</cx:pt>
          <cx:pt idx="1178">1.0247140305539399</cx:pt>
          <cx:pt idx="1179">1.01382145578419</cx:pt>
          <cx:pt idx="1180">0.96530709904318202</cx:pt>
          <cx:pt idx="1181">0.94624090001849803</cx:pt>
          <cx:pt idx="1182">0.91698812137568197</cx:pt>
          <cx:pt idx="1183">0.91774778172210003</cx:pt>
          <cx:pt idx="1184">0.93053537210542403</cx:pt>
          <cx:pt idx="1185">0.93130927749356995</cx:pt>
          <cx:pt idx="1186">0.91975231410871205</cx:pt>
          <cx:pt idx="1187">0.92980281388369601</cx:pt>
          <cx:pt idx="1188">0.95814678881489201</cx:pt>
          <cx:pt idx="1189">0.92496047360522504</cx:pt>
          <cx:pt idx="1190">0.95771997027781297</cx:pt>
          <cx:pt idx="1191">0.95747581317047403</cx:pt>
          <cx:pt idx="1192">0.97930718427185404</cx:pt>
          <cx:pt idx="1193">0.93441593930845002</cx:pt>
          <cx:pt idx="1194">0.89876910196076698</cx:pt>
          <cx:pt idx="1195">0.85883769184070102</cx:pt>
          <cx:pt idx="1196">0.70612178612145005</cx:pt>
          <cx:pt idx="1197">0.74580374860159604</cx:pt>
          <cx:pt idx="1198">0.85771098473783802</cx:pt>
          <cx:pt idx="1199">0.86449409654877696</cx:pt>
          <cx:pt idx="1200">0.84237591138323797</cx:pt>
          <cx:pt idx="1201">0.90539144998863996</cx:pt>
          <cx:pt idx="1202">0.95718111458538202</cx:pt>
          <cx:pt idx="1203">0.94865864997294302</cx:pt>
          <cx:pt idx="1204">0.874197899908428</cx:pt>
          <cx:pt idx="1205">0.91118876372907298</cx:pt>
          <cx:pt idx="1206">0.90959744217845495</cx:pt>
          <cx:pt idx="1207">0.94644365799702501</cx:pt>
          <cx:pt idx="1208">0.93791489482776802</cx:pt>
          <cx:pt idx="1209">0.920969044920802</cx:pt>
          <cx:pt idx="1210">0.90896006930835604</cx:pt>
          <cx:pt idx="1211">0.90507223578939699</cx:pt>
          <cx:pt idx="1212">0.90935917933372401</cx:pt>
          <cx:pt idx="1213">0.91182524049197999</cx:pt>
          <cx:pt idx="1214">0.88836332880128599</cx:pt>
          <cx:pt idx="1215">0.890178871554405</cx:pt>
          <cx:pt idx="1216">0.91323144892136798</cx:pt>
          <cx:pt idx="1217">0.91261904166670405</cx:pt>
          <cx:pt idx="1218">0.90793416122718895</cx:pt>
          <cx:pt idx="1219">0.93437232205925203</cx:pt>
          <cx:pt idx="1220">0.98831370920364703</cx:pt>
          <cx:pt idx="1221">1.0057057107276</cx:pt>
          <cx:pt idx="1222">0.98958870483346195</cx:pt>
          <cx:pt idx="1223">0.99641460185139896</cx:pt>
          <cx:pt idx="1224">1.00267429385912</cx:pt>
          <cx:pt idx="1225">1.0196661482296101</cx:pt>
          <cx:pt idx="1226">0.99377462352081802</cx:pt>
          <cx:pt idx="1227">0.96944691650206305</cx:pt>
          <cx:pt idx="1228">0.99387548546036697</cx:pt>
          <cx:pt idx="1229">0.95266286114775001</cx:pt>
          <cx:pt idx="1230">1.0380245557430701</cx:pt>
          <cx:pt idx="1231">1.0082465046346301</cx:pt>
          <cx:pt idx="1232">0.91286119372395602</cx:pt>
          <cx:pt idx="1233">0.90102053389412595</cx:pt>
          <cx:pt idx="1234">0.93816450771753301</cx:pt>
          <cx:pt idx="1235">0.96309088817952304</cx:pt>
          <cx:pt idx="1236">0.92016868233178395</cx:pt>
          <cx:pt idx="1237">0.94542098621355797</cx:pt>
          <cx:pt idx="1238">0.93901242289754605</cx:pt>
          <cx:pt idx="1239">0.92732371356473098</cx:pt>
          <cx:pt idx="1240">0.93979676100489995</cx:pt>
          <cx:pt idx="1241">0.96052984327884605</cx:pt>
          <cx:pt idx="1242">0.97221949312962297</cx:pt>
          <cx:pt idx="1243">0.96423946797590598</cx:pt>
          <cx:pt idx="1244">0.97897799490986104</cx:pt>
          <cx:pt idx="1245">0.85592402049425498</cx:pt>
          <cx:pt idx="1246">0.90567003279046099</cx:pt>
          <cx:pt idx="1247">0.92022415364021104</cx:pt>
          <cx:pt idx="1248">0.90871321605650901</cx:pt>
          <cx:pt idx="1249">0.92123103504313797</cx:pt>
          <cx:pt idx="1250">0.92970623436646505</cx:pt>
          <cx:pt idx="1251">0.93759799491163098</cx:pt>
          <cx:pt idx="1252">0.932032986713205</cx:pt>
          <cx:pt idx="1253">0.93886054921358397</cx:pt>
          <cx:pt idx="1254">0.93597328531039703</cx:pt>
          <cx:pt idx="1255">0.95779256109980604</cx:pt>
          <cx:pt idx="1256">0.97491287264769</cx:pt>
          <cx:pt idx="1257">1.00494935837467</cx:pt>
          <cx:pt idx="1258">1.0228076515625899</cx:pt>
          <cx:pt idx="1259">1.0279785693438901</cx:pt>
          <cx:pt idx="1260">1.0130984552425799</cx:pt>
          <cx:pt idx="1261">1.03061577985556</cx:pt>
          <cx:pt idx="1262">0.91264178692403297</cx:pt>
          <cx:pt idx="1263">0.69794740431966795</cx:pt>
          <cx:pt idx="1264">0.71505614133023998</cx:pt>
          <cx:pt idx="1265">0.71793554149592398</cx:pt>
          <cx:pt idx="1266">0.70358682587460097</cx:pt>
          <cx:pt idx="1267">0.70899109818492401</cx:pt>
          <cx:pt idx="1268">0.70251355285560402</cx:pt>
          <cx:pt idx="1269">0.69121680445878497</cx:pt>
          <cx:pt idx="1270">0.67794613376893198</cx:pt>
          <cx:pt idx="1271">0.65575712192560798</cx:pt>
          <cx:pt idx="1272">0.70703883744347396</cx:pt>
          <cx:pt idx="1273">0.67067970868295101</cx:pt>
          <cx:pt idx="1274">0.78951392778253704</cx:pt>
          <cx:pt idx="1275">0.79137767230137901</cx:pt>
          <cx:pt idx="1276">0.90931976191119601</cx:pt>
          <cx:pt idx="1277">0.87904198587604698</cx:pt>
          <cx:pt idx="1278">0.85939373096294203</cx:pt>
          <cx:pt idx="1279">0.84759841793329405</cx:pt>
          <cx:pt idx="1280">0.84146615793143997</cx:pt>
          <cx:pt idx="1281">0.95557118647299999</cx:pt>
          <cx:pt idx="1282">0.95746086205672298</cx:pt>
          <cx:pt idx="1283">0.95145146907440903</cx:pt>
          <cx:pt idx="1284">0.94194873597825901</cx:pt>
          <cx:pt idx="1285">0.95363085144561599</cx:pt>
          <cx:pt idx="1286">0.94595674412421504</cx:pt>
          <cx:pt idx="1287">0.93431986146159995</cx:pt>
          <cx:pt idx="1288">0.91039534315134396</cx:pt>
          <cx:pt idx="1289">0.91527607306014003</cx:pt>
          <cx:pt idx="1290">0.95425340835824901</cx:pt>
          <cx:pt idx="1291">0.95870473133076395</cx:pt>
          <cx:pt idx="1292">0.98440221614169698</cx:pt>
          <cx:pt idx="1293">1.0173989622749899</cx:pt>
          <cx:pt idx="1294">0.94690222581619099</cx:pt>
          <cx:pt idx="1295">0.97252801704213099</cx:pt>
          <cx:pt idx="1296">0.96971957049882096</cx:pt>
          <cx:pt idx="1297">0.93385569307455196</cx:pt>
          <cx:pt idx="1298">0.92344891238764704</cx:pt>
          <cx:pt idx="1299">0.93809223339570302</cx:pt>
          <cx:pt idx="1300">0.95485993457027596</cx:pt>
          <cx:pt idx="1301">0.84451478645667799</cx:pt>
          <cx:pt idx="1302">0.86529748542017504</cx:pt>
          <cx:pt idx="1303">0.840671403502255</cx:pt>
          <cx:pt idx="1304">0.81332364534915202</cx:pt>
          <cx:pt idx="1305">0.75091519904092696</cx:pt>
          <cx:pt idx="1306">0.743474148171271</cx:pt>
          <cx:pt idx="1307">0.73061823466343601</cx:pt>
          <cx:pt idx="1308">0.76484787076332705</cx:pt>
          <cx:pt idx="1309">0.77399120871976301</cx:pt>
          <cx:pt idx="1310">0.76712971130581298</cx:pt>
          <cx:pt idx="1311">0.76324786852090598</cx:pt>
          <cx:pt idx="1312">0.77095843597845104</cx:pt>
          <cx:pt idx="1313">0.75469295361654298</cx:pt>
          <cx:pt idx="1314">0.74576433198125702</cx:pt>
          <cx:pt idx="1315">0.736827904224298</cx:pt>
          <cx:pt idx="1316">0.73885000549828805</cx:pt>
          <cx:pt idx="1317">0.68674332467617005</cx:pt>
          <cx:pt idx="1318">0.66527802540063796</cx:pt>
          <cx:pt idx="1319">0.72043695047353096</cx:pt>
          <cx:pt idx="1320">0.72821293349843996</cx:pt>
          <cx:pt idx="1321">0.77824888348881405</cx:pt>
          <cx:pt idx="1322">0.78101382423918697</cx:pt>
          <cx:pt idx="1323">0.66166482929965298</cx:pt>
          <cx:pt idx="1324">0.72909304725615198</cx:pt>
          <cx:pt idx="1325">0.75563262853419899</cx:pt>
          <cx:pt idx="1326">0.77605443237027805</cx:pt>
          <cx:pt idx="1327">0.79023048074354996</cx:pt>
          <cx:pt idx="1328">0.79493472539594801</cx:pt>
          <cx:pt idx="1329">0.794789450073212</cx:pt>
          <cx:pt idx="1330">0.81401679486698997</cx:pt>
          <cx:pt idx="1331">0.81338233456459896</cx:pt>
          <cx:pt idx="1332">0.81705326336613104</cx:pt>
          <cx:pt idx="1333">0.85179853630681202</cx:pt>
          <cx:pt idx="1334">0.84637602348781205</cx:pt>
          <cx:pt idx="1335">0.85108359944074896</cx:pt>
          <cx:pt idx="1336">0.85209661161946904</cx:pt>
          <cx:pt idx="1337">0.84715742222952695</cx:pt>
          <cx:pt idx="1338">0.82354737676251999</cx:pt>
          <cx:pt idx="1339">0.81218632635152599</cx:pt>
          <cx:pt idx="1340">0.81802287509300298</cx:pt>
          <cx:pt idx="1341">0.94664653950709798</cx:pt>
          <cx:pt idx="1342">0.93221097072296499</cx:pt>
          <cx:pt idx="1343">0.91228469420652303</cx:pt>
          <cx:pt idx="1344">0.86000395424891596</cx:pt>
          <cx:pt idx="1345">0.78708171469761901</cx:pt>
          <cx:pt idx="1346">0.79579637777488299</cx:pt>
          <cx:pt idx="1347">0.86569883370964995</cx:pt>
          <cx:pt idx="1348">1.07760261257971</cx:pt>
          <cx:pt idx="1349">1.0399885666358699</cx:pt>
          <cx:pt idx="1350">1.1978672970833399</cx:pt>
          <cx:pt idx="1351">1.1126450748512999</cx:pt>
          <cx:pt idx="1352">1.0743237590294401</cx:pt>
          <cx:pt idx="1353">1.07167985239216</cx:pt>
          <cx:pt idx="1354">1.07965455079243</cx:pt>
          <cx:pt idx="1355">1.09277590178308</cx:pt>
          <cx:pt idx="1356">1.0708311311563501</cx:pt>
          <cx:pt idx="1357">1.07031947990363</cx:pt>
          <cx:pt idx="1358">1.0793481595886401</cx:pt>
          <cx:pt idx="1359">1.05894286146895</cx:pt>
          <cx:pt idx="1360">1.0464088088461101</cx:pt>
          <cx:pt idx="1361">1.0239800157775401</cx:pt>
          <cx:pt idx="1362">1.03056728203365</cx:pt>
          <cx:pt idx="1363">0.99393728195701803</cx:pt>
          <cx:pt idx="1364">1.0026626380593999</cx:pt>
          <cx:pt idx="1365">0.92521745319052995</cx:pt>
          <cx:pt idx="1366">0.89712629882033301</cx:pt>
          <cx:pt idx="1367">0.62484619825888299</cx:pt>
          <cx:pt idx="1368">0.71990354029965298</cx:pt>
          <cx:pt idx="1369">0.64203742964323296</cx:pt>
          <cx:pt idx="1370">0.54152715232968995</cx:pt>
          <cx:pt idx="1371">0.54387205420095597</cx:pt>
          <cx:pt idx="1372">0.68028434016626205</cx:pt>
          <cx:pt idx="1373">0.76839463830952703</cx:pt>
          <cx:pt idx="1374">0.78475781437647196</cx:pt>
          <cx:pt idx="1375">0.78046733810881197</cx:pt>
          <cx:pt idx="1376">0.86544988923993704</cx:pt>
          <cx:pt idx="1377">0.89041681844255505</cx:pt>
          <cx:pt idx="1378">0.921036743025612</cx:pt>
          <cx:pt idx="1379">0.93864703795988502</cx:pt>
          <cx:pt idx="1380">0.93802704792085301</cx:pt>
          <cx:pt idx="1381">0.92800048782170996</cx:pt>
          <cx:pt idx="1382">0.980334867373021</cx:pt>
          <cx:pt idx="1383">0.98287067720710297</cx:pt>
          <cx:pt idx="1384">0.97671199051300195</cx:pt>
          <cx:pt idx="1385">0.98741446805087096</cx:pt>
          <cx:pt idx="1386">0.99572456055085101</cx:pt>
          <cx:pt idx="1387">0.98829985888023097</cx:pt>
          <cx:pt idx="1388">0.99158339254414096</cx:pt>
          <cx:pt idx="1389">0.99957236346251499</cx:pt>
          <cx:pt idx="1390">0.96483124359666805</cx:pt>
          <cx:pt idx="1391">0.94115340210999698</cx:pt>
          <cx:pt idx="1392">0.89813708606930198</cx:pt>
          <cx:pt idx="1393">0.75253418897403002</cx:pt>
          <cx:pt idx="1394">0.69791215996928702</cx:pt>
          <cx:pt idx="1395">0.646622000507453</cx:pt>
          <cx:pt idx="1396">0.702332120162244</cx:pt>
          <cx:pt idx="1397">0.756307017937632</cx:pt>
          <cx:pt idx="1398">0.78596105031086905</cx:pt>
          <cx:pt idx="1399">0.79793154715300596</cx:pt>
          <cx:pt idx="1400">0.80491428994227798</cx:pt>
          <cx:pt idx="1401">0.81106553486168598</cx:pt>
          <cx:pt idx="1402">0.83243435474794103</cx:pt>
          <cx:pt idx="1403">0.87076974113877803</cx:pt>
          <cx:pt idx="1404">0.81595602654209298</cx:pt>
          <cx:pt idx="1405">0.779545062352346</cx:pt>
          <cx:pt idx="1406">0.76425814141388804</cx:pt>
          <cx:pt idx="1407">0.80462816186266495</cx:pt>
          <cx:pt idx="1408">0.80543614650852502</cx:pt>
          <cx:pt idx="1409">1.03127872571832</cx:pt>
          <cx:pt idx="1410">0.96075401776065705</cx:pt>
          <cx:pt idx="1411">0.94960173123303204</cx:pt>
          <cx:pt idx="1412">0.96245788075804795</cx:pt>
          <cx:pt idx="1413">1.03364091221259</cx:pt>
          <cx:pt idx="1414">0.98968419857571399</cx:pt>
          <cx:pt idx="1415">0.96240517690828398</cx:pt>
          <cx:pt idx="1416">0.94865638558554299</cx:pt>
          <cx:pt idx="1417">0.94908447229833903</cx:pt>
          <cx:pt idx="1418">0.98680461636901196</cx:pt>
          <cx:pt idx="1419">1.02577097169739</cx:pt>
          <cx:pt idx="1420">1.0905377997857999</cx:pt>
          <cx:pt idx="1421">1.1232165136107</cx:pt>
          <cx:pt idx="1422">1.10396595125385</cx:pt>
          <cx:pt idx="1423">1.0741716106804899</cx:pt>
          <cx:pt idx="1424">1.0785519648742901</cx:pt>
          <cx:pt idx="1425">1.0769553829774601</cx:pt>
          <cx:pt idx="1426">1.0471218425058799</cx:pt>
          <cx:pt idx="1427">0.99411244353316597</cx:pt>
          <cx:pt idx="1428">1.0332032590685301</cx:pt>
          <cx:pt idx="1429">1.15197123246744</cx:pt>
          <cx:pt idx="1430">1.10833057688425</cx:pt>
          <cx:pt idx="1431">1.0602637743461301</cx:pt>
          <cx:pt idx="1432">1.0209837004704201</cx:pt>
          <cx:pt idx="1433">1.0494441645488899</cx:pt>
          <cx:pt idx="1434">1.0270470680813799</cx:pt>
          <cx:pt idx="1435">1.11788656371244</cx:pt>
          <cx:pt idx="1436">1.15989036780731</cx:pt>
          <cx:pt idx="1437">1.19180715728028</cx:pt>
          <cx:pt idx="1438">1.2457957598674001</cx:pt>
          <cx:pt idx="1439">1.2748051261711799</cx:pt>
          <cx:pt idx="1440">1.34801884759465</cx:pt>
          <cx:pt idx="1441">1.3363589657949699</cx:pt>
          <cx:pt idx="1442">1.2835650497422799</cx:pt>
          <cx:pt idx="1443">1.23624184113422</cx:pt>
          <cx:pt idx="1444">1.20248558909882</cx:pt>
          <cx:pt idx="1445">1.1681501247191699</cx:pt>
          <cx:pt idx="1446">1.1406277934142901</cx:pt>
          <cx:pt idx="1447">1.1019839771253099</cx:pt>
          <cx:pt idx="1448">1.0752053816812499</cx:pt>
          <cx:pt idx="1449">1.02602123271696</cx:pt>
          <cx:pt idx="1450">0.97715443756297005</cx:pt>
          <cx:pt idx="1451">0.93357772829312102</cx:pt>
          <cx:pt idx="1452">0.84497285872231798</cx:pt>
          <cx:pt idx="1453">0.80178029967391995</cx:pt>
          <cx:pt idx="1454">0.76042076358939603</cx:pt>
          <cx:pt idx="1455">0.70733507583232802</cx:pt>
          <cx:pt idx="1456">0.72790490026441501</cx:pt>
          <cx:pt idx="1457">0.81752834952037201</cx:pt>
          <cx:pt idx="1458">0.952531492927437</cx:pt>
          <cx:pt idx="1459">0.97880949984888699</cx:pt>
          <cx:pt idx="1460">0.98256547322533605</cx:pt>
          <cx:pt idx="1461">0.98996166675328201</cx:pt>
          <cx:pt idx="1462">0.96996643270786498</cx:pt>
          <cx:pt idx="1463">0.94494612656281995</cx:pt>
          <cx:pt idx="1464">0.930608964134646</cx:pt>
          <cx:pt idx="1465">0.92012422437794505</cx:pt>
          <cx:pt idx="1466">0.90203545101875904</cx:pt>
          <cx:pt idx="1467">0.874489571979157</cx:pt>
          <cx:pt idx="1468">0.88362514103503798</cx:pt>
          <cx:pt idx="1469">0.89836304082978902</cx:pt>
          <cx:pt idx="1470">0.85231594220926699</cx:pt>
          <cx:pt idx="1471">0.84261083230584399</cx:pt>
          <cx:pt idx="1472">0.82875078617014197</cx:pt>
          <cx:pt idx="1473">0.80396769589441597</cx:pt>
          <cx:pt idx="1474">0.79439956062251904</cx:pt>
          <cx:pt idx="1475">0.80079918602029498</cx:pt>
          <cx:pt idx="1476">0.79359094428232602</cx:pt>
          <cx:pt idx="1477">0.86351442156627201</cx:pt>
          <cx:pt idx="1478">0.86604094275113397</cx:pt>
          <cx:pt idx="1479">0.824879566575906</cx:pt>
          <cx:pt idx="1480">0.80969137863780805</cx:pt>
          <cx:pt idx="1481">0.85090032089344603</cx:pt>
          <cx:pt idx="1482">0.87896532840659602</cx:pt>
          <cx:pt idx="1483">0.88067407455055902</cx:pt>
          <cx:pt idx="1484">0.88544495614739505</cx:pt>
          <cx:pt idx="1485">0.93841889571632697</cx:pt>
          <cx:pt idx="1486">0.94265737945138295</cx:pt>
          <cx:pt idx="1487">0.94082708826450501</cx:pt>
          <cx:pt idx="1488">0.91824306914831799</cx:pt>
          <cx:pt idx="1489">0.89178214135115996</cx:pt>
          <cx:pt idx="1490">0.91579331384640195</cx:pt>
          <cx:pt idx="1491">0.83840199849170605</cx:pt>
          <cx:pt idx="1492">0.821543787495573</cx:pt>
          <cx:pt idx="1493">0.84115065248977905</cx:pt>
          <cx:pt idx="1494">0.834322465630712</cx:pt>
          <cx:pt idx="1495">0.81903786109224097</cx:pt>
          <cx:pt idx="1496">0.818631974992442</cx:pt>
          <cx:pt idx="1497">0.80785237363305396</cx:pt>
          <cx:pt idx="1498">0.83439031548726506</cx:pt>
          <cx:pt idx="1499">0.84240401015387301</cx:pt>
          <cx:pt idx="1500">0.84744779450651297</cx:pt>
          <cx:pt idx="1501">0.832663062787249</cx:pt>
          <cx:pt idx="1502">0.88367478161045299</cx:pt>
          <cx:pt idx="1503">0.88271258045647905</cx:pt>
          <cx:pt idx="1504">0.96248538433563102</cx:pt>
          <cx:pt idx="1505">0.95129545240977598</cx:pt>
          <cx:pt idx="1506">0.97834473925258703</cx:pt>
          <cx:pt idx="1507">0.97256833456221004</cx:pt>
          <cx:pt idx="1508">1.02165940484871</cx:pt>
          <cx:pt idx="1509">1.0159663054080801</cx:pt>
          <cx:pt idx="1510">1.02533227915906</cx:pt>
          <cx:pt idx="1511">1.0226406888388999</cx:pt>
          <cx:pt idx="1512">1.02914021196911</cx:pt>
          <cx:pt idx="1513">1.0448731610903299</cx:pt>
          <cx:pt idx="1514">1.0382837953002699</cx:pt>
          <cx:pt idx="1515">1.0806948791859201</cx:pt>
          <cx:pt idx="1516">1.06562140246274</cx:pt>
          <cx:pt idx="1517">1.0459195450216401</cx:pt>
          <cx:pt idx="1518">1.05371911530814</cx:pt>
          <cx:pt idx="1519">1.05546391124358</cx:pt>
          <cx:pt idx="1520">1.08401177071073</cx:pt>
          <cx:pt idx="1521">1.04045813051308</cx:pt>
          <cx:pt idx="1522">1.0355786424615101</cx:pt>
          <cx:pt idx="1523">1.01974155911094</cx:pt>
          <cx:pt idx="1524">1.05407815599683</cx:pt>
          <cx:pt idx="1525">1.0165403221040401</cx:pt>
          <cx:pt idx="1526">1.0570072353234601</cx:pt>
          <cx:pt idx="1527">1.0477468276236199</cx:pt>
          <cx:pt idx="1528">1.04608598030441</cx:pt>
          <cx:pt idx="1529">1.01473708218963</cx:pt>
          <cx:pt idx="1530">1.0163970714549599</cx:pt>
          <cx:pt idx="1531">1.01130470615309</cx:pt>
          <cx:pt idx="1532">1.0190663872939301</cx:pt>
          <cx:pt idx="1533">1.01076969856157</cx:pt>
          <cx:pt idx="1534">0.98098611091994403</cx:pt>
          <cx:pt idx="1535">0.95566243832106801</cx:pt>
          <cx:pt idx="1536">0.95129373121396599</cx:pt>
          <cx:pt idx="1537">0.937351359283076</cx:pt>
          <cx:pt idx="1538">0.93287259273140599</cx:pt>
          <cx:pt idx="1539">0.89671956573304301</cx:pt>
          <cx:pt idx="1540">0.85767283315530196</cx:pt>
          <cx:pt idx="1541">0.80318289334048398</cx:pt>
          <cx:pt idx="1542">0.80529277530429499</cx:pt>
          <cx:pt idx="1543">0.77446809890888102</cx:pt>
          <cx:pt idx="1544">0.80916019780600501</cx:pt>
          <cx:pt idx="1545">0.82098516121780296</cx:pt>
          <cx:pt idx="1546">0.80650734604614804</cx:pt>
          <cx:pt idx="1547">0.81964507097957995</cx:pt>
          <cx:pt idx="1548">0.82463625241452698</cx:pt>
          <cx:pt idx="1549">0.84717295306695595</cx:pt>
          <cx:pt idx="1550">0.92818707908415399</cx:pt>
          <cx:pt idx="1551">0.97500016374959098</cx:pt>
          <cx:pt idx="1552">0.97767534046848403</cx:pt>
          <cx:pt idx="1553">1.0303159581974699</cx:pt>
          <cx:pt idx="1554">1.0397381464456801</cx:pt>
          <cx:pt idx="1555">1.0800486575602199</cx:pt>
          <cx:pt idx="1556">1.04313998711864</cx:pt>
          <cx:pt idx="1557">1.0269083256623599</cx:pt>
          <cx:pt idx="1558">1.05737392204308</cx:pt>
          <cx:pt idx="1559">1.05105848396594</cx:pt>
          <cx:pt idx="1560">1.0316943714279601</cx:pt>
          <cx:pt idx="1561">0.98897401388647199</cx:pt>
          <cx:pt idx="1562">0.96293392416013901</cx:pt>
          <cx:pt idx="1563">0.86938685653553505</cx:pt>
          <cx:pt idx="1564">0.80928839300019095</cx:pt>
          <cx:pt idx="1565">0.76585020581039898</cx:pt>
          <cx:pt idx="1566">0.68832534098462905</cx:pt>
          <cx:pt idx="1567">0.63634653763351801</cx:pt>
          <cx:pt idx="1568">0.63064842063790905</cx:pt>
          <cx:pt idx="1569">0.66567841797562299</cx:pt>
          <cx:pt idx="1570">0.69898427762294701</cx:pt>
          <cx:pt idx="1571">0.75126954024181902</cx:pt>
          <cx:pt idx="1572">0.75324636515397403</cx:pt>
          <cx:pt idx="1573">0.74986037114577797</cx:pt>
          <cx:pt idx="1574">0.74634414321925402</cx:pt>
          <cx:pt idx="1575">0.74281697498002297</cx:pt>
          <cx:pt idx="1576">0.757011518887865</cx:pt>
          <cx:pt idx="1577">0.77588453253330403</cx:pt>
          <cx:pt idx="1578">0.78560502796449805</cx:pt>
          <cx:pt idx="1579">0.79082067653055499</cx:pt>
          <cx:pt idx="1580">0.82041687733508595</cx:pt>
          <cx:pt idx="1581">0.873525496948106</cx:pt>
          <cx:pt idx="1582">0.88964862698315095</cx:pt>
          <cx:pt idx="1583">0.90119796034340605</cx:pt>
          <cx:pt idx="1584">0.91169405372218404</cx:pt>
          <cx:pt idx="1585">0.92012106557264095</cx:pt>
          <cx:pt idx="1586">0.94270042144384802</cx:pt>
          <cx:pt idx="1587">0.94830744610579398</cx:pt>
          <cx:pt idx="1588">0.93295056878462101</cx:pt>
          <cx:pt idx="1589">0.97886770975881698</cx:pt>
          <cx:pt idx="1590">0.96281107252143205</cx:pt>
          <cx:pt idx="1591">0.84598712802780696</cx:pt>
          <cx:pt idx="1592">0.78793883241285101</cx:pt>
          <cx:pt idx="1593">0.74783453951947698</cx:pt>
          <cx:pt idx="1594">0.65651319799778296</cx:pt>
          <cx:pt idx="1595">0.67214918972692295</cx:pt>
          <cx:pt idx="1596">0.71533753327750305</cx:pt>
          <cx:pt idx="1597">0.74376762918077699</cx:pt>
          <cx:pt idx="1598">0.76761783269098505</cx:pt>
          <cx:pt idx="1599">0.75283917607557405</cx:pt>
          <cx:pt idx="1600">0.86590125128311801</cx:pt>
          <cx:pt idx="1601">0.88665826423030203</cx:pt>
          <cx:pt idx="1602">0.88784157817425302</cx:pt>
          <cx:pt idx="1603">0.87619152760215702</cx:pt>
          <cx:pt idx="1604">0.87790262698968102</cx:pt>
          <cx:pt idx="1605">0.86588061113058401</cx:pt>
          <cx:pt idx="1606">0.83895959213305105</cx:pt>
          <cx:pt idx="1607">0.83022478072668404</cx:pt>
          <cx:pt idx="1608">0.80349927081642103</cx:pt>
          <cx:pt idx="1609">0.79235448371612305</cx:pt>
          <cx:pt idx="1610">0.73392992256743095</cx:pt>
          <cx:pt idx="1611">0.62179305954131203</cx:pt>
          <cx:pt idx="1612">0.66091273696359498</cx:pt>
          <cx:pt idx="1613">0.73515569952059301</cx:pt>
          <cx:pt idx="1614">0.807006478496613</cx:pt>
          <cx:pt idx="1615">0.86974910620909596</cx:pt>
          <cx:pt idx="1616">0.86861820213920005</cx:pt>
          <cx:pt idx="1617">0.88435888971634602</cx:pt>
          <cx:pt idx="1618">0.89495239200124299</cx:pt>
          <cx:pt idx="1619">0.90062891680163104</cx:pt>
          <cx:pt idx="1620">0.90414408077962705</cx:pt>
          <cx:pt idx="1621">0.911534345464872</cx:pt>
          <cx:pt idx="1622">0.90452702670526697</cx:pt>
          <cx:pt idx="1623">0.91526655156268699</cx:pt>
          <cx:pt idx="1624">0.93232793865811503</cx:pt>
          <cx:pt idx="1625">0.94113022170337601</cx:pt>
          <cx:pt idx="1626">0.97476214840668596</cx:pt>
          <cx:pt idx="1627">1.0222528168440099</cx:pt>
          <cx:pt idx="1628">0.95671860773330497</cx:pt>
          <cx:pt idx="1629">0.88605719623021495</cx:pt>
          <cx:pt idx="1630">0.84668884743598705</cx:pt>
          <cx:pt idx="1631">0.66463956525563295</cx:pt>
          <cx:pt idx="1632">0.62524403290598995</cx:pt>
          <cx:pt idx="1633">0.57614163976140098</cx:pt>
          <cx:pt idx="1634">0.54855405194412599</cx:pt>
          <cx:pt idx="1635">0.406279004499906</cx:pt>
          <cx:pt idx="1636">0.42881531688070501</cx:pt>
          <cx:pt idx="1637">0.49472857046219498</cx:pt>
          <cx:pt idx="1638">0.61946837568657098</cx:pt>
          <cx:pt idx="1639">0.67779650605720398</cx:pt>
          <cx:pt idx="1640">0.63495704651682106</cx:pt>
          <cx:pt idx="1641">0.67895278212137899</cx:pt>
          <cx:pt idx="1642">0.757100225154133</cx:pt>
          <cx:pt idx="1643">0.74852839458167297</cx:pt>
          <cx:pt idx="1644">0.762267395033282</cx:pt>
          <cx:pt idx="1645">0.84591614835465501</cx:pt>
          <cx:pt idx="1646">0.86259073342834303</cx:pt>
          <cx:pt idx="1647">0.99504422746361998</cx:pt>
          <cx:pt idx="1648">1.01230680230098</cx:pt>
          <cx:pt idx="1649">1.05595070142842</cx:pt>
          <cx:pt idx="1650">1.0794680007128701</cx:pt>
          <cx:pt idx="1651">1.0662309916178401</cx:pt>
          <cx:pt idx="1652">1.04729655073422</cx:pt>
          <cx:pt idx="1653">1.05246237926098</cx:pt>
          <cx:pt idx="1654">1.0683897216363001</cx:pt>
          <cx:pt idx="1655">1.0561865592637301</cx:pt>
          <cx:pt idx="1656">1.03744693576192</cx:pt>
          <cx:pt idx="1657">0.95930881807012902</cx:pt>
          <cx:pt idx="1658">0.87407489748589395</cx:pt>
          <cx:pt idx="1659">0.74636080625617696</cx:pt>
          <cx:pt idx="1660">1.0961276889087701</cx:pt>
          <cx:pt idx="1661">1.0651452941893</cx:pt>
          <cx:pt idx="1662">1.0258311378943701</cx:pt>
          <cx:pt idx="1663">1.0008874043000799</cx:pt>
          <cx:pt idx="1664">0.96660519142523404</cx:pt>
          <cx:pt idx="1665">0.95453293342568102</cx:pt>
          <cx:pt idx="1666">0.94071103701860403</cx:pt>
          <cx:pt idx="1667">0.99189331889634502</cx:pt>
          <cx:pt idx="1668">1.0018885439798499</cx:pt>
          <cx:pt idx="1669">0.98861672269043799</cx:pt>
          <cx:pt idx="1670">0.97495946882053597</cx:pt>
          <cx:pt idx="1671">0.97258878431057805</cx:pt>
          <cx:pt idx="1672">0.96439959577404299</cx:pt>
          <cx:pt idx="1673">0.93865022765273398</cx:pt>
          <cx:pt idx="1674">0.91864811577396199</cx:pt>
          <cx:pt idx="1675">0.87215494814045902</cx:pt>
          <cx:pt idx="1676">0.59691418217426695</cx:pt>
          <cx:pt idx="1677">0.65225331795814001</cx:pt>
          <cx:pt idx="1678">0.73829589210233204</cx:pt>
          <cx:pt idx="1679">0.71201551567115895</cx:pt>
          <cx:pt idx="1680">0.68504575466536399</cx:pt>
          <cx:pt idx="1681">0.66497291628824395</cx:pt>
          <cx:pt idx="1682">0.66037794542260897</cx:pt>
          <cx:pt idx="1683">0.65833877492825799</cx:pt>
          <cx:pt idx="1684">0.67416888101384698</cx:pt>
          <cx:pt idx="1685">0.68095498379185504</cx:pt>
          <cx:pt idx="1686">0.662634063286062</cx:pt>
          <cx:pt idx="1687">0.63418507953950098</cx:pt>
          <cx:pt idx="1688">0.61992172468803097</cx:pt>
          <cx:pt idx="1689">0.60423957935211103</cx:pt>
          <cx:pt idx="1690">0.586083222103577</cx:pt>
          <cx:pt idx="1691">0.61556152659820396</cx:pt>
          <cx:pt idx="1692">0.69905386715888596</cx:pt>
          <cx:pt idx="1693">0.72241095984841697</cx:pt>
          <cx:pt idx="1694">0.84108682503682197</cx:pt>
          <cx:pt idx="1695">0.90446226863788604</cx:pt>
          <cx:pt idx="1696">0.88553666584468604</cx:pt>
          <cx:pt idx="1697">0.969187856869133</cx:pt>
          <cx:pt idx="1698">0.96838804546892499</cx:pt>
          <cx:pt idx="1699">0.96267877680384695</cx:pt>
          <cx:pt idx="1700">0.95074009653518099</cx:pt>
          <cx:pt idx="1701">0.70239596068885701</cx:pt>
          <cx:pt idx="1702">0.72083521403273598</cx:pt>
          <cx:pt idx="1703">0.75797602819759902</cx:pt>
          <cx:pt idx="1704">0.73141170319540105</cx:pt>
          <cx:pt idx="1705">0.74942557771881602</cx:pt>
          <cx:pt idx="1706">0.78144567149247901</cx:pt>
          <cx:pt idx="1707">0.83894380526904699</cx:pt>
          <cx:pt idx="1708">0.86550310040318501</cx:pt>
          <cx:pt idx="1709">0.87258548075361198</cx:pt>
          <cx:pt idx="1710">0.87664547329522302</cx:pt>
          <cx:pt idx="1711">0.89886227303671595</cx:pt>
          <cx:pt idx="1712">0.90735491660309697</cx:pt>
          <cx:pt idx="1713">0.91707718472227595</cx:pt>
          <cx:pt idx="1714">0.93869425019124697</cx:pt>
          <cx:pt idx="1715">0.93667784969290802</cx:pt>
          <cx:pt idx="1716">0.97285007061822504</cx:pt>
          <cx:pt idx="1717">1.0016823466398199</cx:pt>
          <cx:pt idx="1718">1.09430309224157</cx:pt>
          <cx:pt idx="1719">1.0113890340396401</cx:pt>
          <cx:pt idx="1720">0.99920073895573203</cx:pt>
          <cx:pt idx="1721">1.0715976814775801</cx:pt>
          <cx:pt idx="1722">1.0336620552072899</cx:pt>
          <cx:pt idx="1723">1.0061063323818</cx:pt>
          <cx:pt idx="1724">0.98274476595637195</cx:pt>
          <cx:pt idx="1725">1.01370308761663</cx:pt>
          <cx:pt idx="1726">1.01486231976305</cx:pt>
          <cx:pt idx="1727">0.98518376834233501</cx:pt>
          <cx:pt idx="1728">0.949345018487738</cx:pt>
          <cx:pt idx="1729">0.922980767907297</cx:pt>
          <cx:pt idx="1730">0.86747078407044598</cx:pt>
          <cx:pt idx="1731">0.83377211238832105</cx:pt>
          <cx:pt idx="1732">0.77286119023178701</cx:pt>
          <cx:pt idx="1733">0.75635295791026502</cx:pt>
          <cx:pt idx="1734">0.69504763042928497</cx:pt>
          <cx:pt idx="1735">0.719700029089551</cx:pt>
          <cx:pt idx="1736">0.727936823644733</cx:pt>
          <cx:pt idx="1737">0.73326755460961601</cx:pt>
          <cx:pt idx="1738">0.73803426223839397</cx:pt>
          <cx:pt idx="1739">0.71322871254376896</cx:pt>
          <cx:pt idx="1740">0.71409759660042804</cx:pt>
          <cx:pt idx="1741">0.69692644839420104</cx:pt>
          <cx:pt idx="1742">0.69705099609471599</cx:pt>
          <cx:pt idx="1743">0.68299958539363104</cx:pt>
          <cx:pt idx="1744">0.64918155915631404</cx:pt>
          <cx:pt idx="1745">0.65169484809266898</cx:pt>
          <cx:pt idx="1746">0.66453217620266802</cx:pt>
          <cx:pt idx="1747">0.66620979884348097</cx:pt>
          <cx:pt idx="1748">0.66650573439534599</cx:pt>
          <cx:pt idx="1749">0.67935593875635703</cx:pt>
          <cx:pt idx="1750">0.71751405941357405</cx:pt>
          <cx:pt idx="1751">0.78250089187771199</cx:pt>
          <cx:pt idx="1752">0.84972072490766504</cx:pt>
          <cx:pt idx="1753">0.83183635665535505</cx:pt>
          <cx:pt idx="1754">0.85478273475969602</cx:pt>
          <cx:pt idx="1755">0.83819839746785996</cx:pt>
          <cx:pt idx="1756">0.91223019866447697</cx:pt>
          <cx:pt idx="1757">0.90156489689527697</cx:pt>
          <cx:pt idx="1758">0.90936535748288605</cx:pt>
          <cx:pt idx="1759">0.89628054775299704</cx:pt>
          <cx:pt idx="1760">0.94672360260688704</cx:pt>
          <cx:pt idx="1761">0.95686301409521402</cx:pt>
          <cx:pt idx="1762">0.94575929188749897</cx:pt>
          <cx:pt idx="1763">0.92001997470146402</cx:pt>
          <cx:pt idx="1764">0.94552499336934803</cx:pt>
          <cx:pt idx="1765">0.90440391179290702</cx:pt>
          <cx:pt idx="1766">0.79328689285000098</cx:pt>
          <cx:pt idx="1767">0.853068234074008</cx:pt>
          <cx:pt idx="1768">0.87547555517887199</cx:pt>
          <cx:pt idx="1769">0.82792966487865605</cx:pt>
          <cx:pt idx="1770">0.82727431601499501</cx:pt>
          <cx:pt idx="1771">0.81762490566373902</cx:pt>
          <cx:pt idx="1772">0.58338460064498998</cx:pt>
          <cx:pt idx="1773">0.59294155017865702</cx:pt>
          <cx:pt idx="1774">0.65371345489727095</cx:pt>
          <cx:pt idx="1775">0.67252500928732795</cx:pt>
          <cx:pt idx="1776">0.70944397968484596</cx:pt>
          <cx:pt idx="1777">0.73700181315076196</cx:pt>
          <cx:pt idx="1778">0.77037591207558298</cx:pt>
          <cx:pt idx="1779">0.78762650522656197</cx:pt>
          <cx:pt idx="1780">0.77224451725787002</cx:pt>
          <cx:pt idx="1781">0.74513934372051505</cx:pt>
          <cx:pt idx="1782">0.73203729911159798</cx:pt>
          <cx:pt idx="1783">0.68542834110981699</cx:pt>
          <cx:pt idx="1784">0.737635159477251</cx:pt>
          <cx:pt idx="1785">0.77860545256832603</cx:pt>
          <cx:pt idx="1786">0.79731974820051099</cx:pt>
          <cx:pt idx="1787">0.80959623557445504</cx:pt>
          <cx:pt idx="1788">0.83444617419079303</cx:pt>
          <cx:pt idx="1789">0.86281562409463497</cx:pt>
          <cx:pt idx="1790">0.90117251192857095</cx:pt>
          <cx:pt idx="1791">0.91498975008361005</cx:pt>
          <cx:pt idx="1792">0.92980589295609095</cx:pt>
          <cx:pt idx="1793">0.93926084708852697</cx:pt>
          <cx:pt idx="1794">0.95288129537907496</cx:pt>
          <cx:pt idx="1795">0.97575542808064697</cx:pt>
          <cx:pt idx="1796">0.97920473629693805</cx:pt>
          <cx:pt idx="1797">0.99822821658597605</cx:pt>
          <cx:pt idx="1798">0.95943135814358405</cx:pt>
          <cx:pt idx="1799">1.0038147676392899</cx:pt>
          <cx:pt idx="1800">1.3867001457927</cx:pt>
          <cx:pt idx="1801">0.860828682490695</cx:pt>
          <cx:pt idx="1802">0.83260995312557595</cx:pt>
          <cx:pt idx="1803">0.88360015149764304</cx:pt>
          <cx:pt idx="1804">0.88875236111495604</cx:pt>
          <cx:pt idx="1805">0.89229922722758104</cx:pt>
          <cx:pt idx="1806">0.89108259492015096</cx:pt>
          <cx:pt idx="1807">0.87267454988806004</cx:pt>
          <cx:pt idx="1808">0.882501588837867</cx:pt>
          <cx:pt idx="1809">0.83066123361001598</cx:pt>
          <cx:pt idx="1810">0.82053491782811605</cx:pt>
          <cx:pt idx="1811">0.80838119046015799</cx:pt>
          <cx:pt idx="1812">0.80160690997386497</cx:pt>
          <cx:pt idx="1813">0.785375346369653</cx:pt>
          <cx:pt idx="1814">0.76926168917070303</cx:pt>
          <cx:pt idx="1815">0.74393427152877301</cx:pt>
          <cx:pt idx="1816">0.631911480056077</cx:pt>
          <cx:pt idx="1817">0.57743862078861097</cx:pt>
          <cx:pt idx="1818">0.62519532104676401</cx:pt>
          <cx:pt idx="1819">0.61250583945036297</cx:pt>
          <cx:pt idx="1820">0.60826214660979805</cx:pt>
          <cx:pt idx="1821">0.56361091864984503</cx:pt>
          <cx:pt idx="1822">0.58180234914592099</cx:pt>
          <cx:pt idx="1823">0.62390330534724003</cx:pt>
          <cx:pt idx="1824">0.67028795467116997</cx:pt>
          <cx:pt idx="1825">0.72696374442142697</cx:pt>
          <cx:pt idx="1826">0.67837300281847801</cx:pt>
          <cx:pt idx="1827">0.76352967613920797</cx:pt>
          <cx:pt idx="1828">0.81988311650154999</cx:pt>
          <cx:pt idx="1829">0.83968823298089201</cx:pt>
          <cx:pt idx="1830">0.82387826050995705</cx:pt>
          <cx:pt idx="1831">0.83050396900710299</cx:pt>
          <cx:pt idx="1832">0.82741329125761298</cx:pt>
          <cx:pt idx="1833">0.81314611173644802</cx:pt>
          <cx:pt idx="1834">0.895163419169968</cx:pt>
          <cx:pt idx="1835">0.92749676149354998</cx:pt>
          <cx:pt idx="1836">0.92898005917404003</cx:pt>
          <cx:pt idx="1837">0.88321771010563199</cx:pt>
          <cx:pt idx="1838">0.82577307277029399</cx:pt>
          <cx:pt idx="1839">0.577674541558859</cx:pt>
          <cx:pt idx="1840">0.60310384512303405</cx:pt>
          <cx:pt idx="1841">0.59285217390533496</cx:pt>
          <cx:pt idx="1842">0.62192321474568701</cx:pt>
          <cx:pt idx="1843">0.67924681738562998</cx:pt>
          <cx:pt idx="1844">0.69305096126771804</cx:pt>
          <cx:pt idx="1845">0.72608118305958602</cx:pt>
          <cx:pt idx="1846">0.75106831777556304</cx:pt>
          <cx:pt idx="1847">0.71872654578019501</cx:pt>
          <cx:pt idx="1848">0.71316623569799797</cx:pt>
          <cx:pt idx="1849">0.69650915713756401</cx:pt>
          <cx:pt idx="1850">0.69791086155077697</cx:pt>
          <cx:pt idx="1851">0.74724781911921101</cx:pt>
          <cx:pt idx="1852">1.1613544689520201</cx:pt>
          <cx:pt idx="1853">1.09299754383985</cx:pt>
          <cx:pt idx="1854">1.0526730162967199</cx:pt>
          <cx:pt idx="1855">1.0407816703200199</cx:pt>
          <cx:pt idx="1856">1.02100808992117</cx:pt>
          <cx:pt idx="1857">1.0812435869924399</cx:pt>
          <cx:pt idx="1858">1.0744680595599101</cx:pt>
          <cx:pt idx="1859">1.0550131616407801</cx:pt>
          <cx:pt idx="1860">1.06481022805952</cx:pt>
          <cx:pt idx="1861">1.0460524285230199</cx:pt>
          <cx:pt idx="1862">1.0219950176510699</cx:pt>
          <cx:pt idx="1863">1.0030233165807201</cx:pt>
          <cx:pt idx="1864">0.98535034698630497</cx:pt>
          <cx:pt idx="1865">1.0082828191127</cx:pt>
          <cx:pt idx="1866">0.98733015384535305</cx:pt>
          <cx:pt idx="1867">0.928708211386152</cx:pt>
          <cx:pt idx="1868">0.91195666673130504</cx:pt>
          <cx:pt idx="1869">1.0272458995896301</cx:pt>
          <cx:pt idx="1870">1.15158742347404</cx:pt>
          <cx:pt idx="1871">1.0907115275107699</cx:pt>
          <cx:pt idx="1872">0.94493037210508501</cx:pt>
          <cx:pt idx="1873">0.93193544185881805</cx:pt>
          <cx:pt idx="1874">0.95264394359443105</cx:pt>
          <cx:pt idx="1875">0.95041075799745101</cx:pt>
          <cx:pt idx="1876">0.96530752230625705</cx:pt>
          <cx:pt idx="1877">0.98292920331800504</cx:pt>
          <cx:pt idx="1878">0.98608084883329805</cx:pt>
          <cx:pt idx="1879">0.98660763040525501</cx:pt>
          <cx:pt idx="1880">0.93253077908362003</cx:pt>
          <cx:pt idx="1881">0.94638235945917604</cx:pt>
          <cx:pt idx="1882">0.96152504765917401</cx:pt>
          <cx:pt idx="1883">0.96146231598084198</cx:pt>
          <cx:pt idx="1884">0.96495026018369001</cx:pt>
          <cx:pt idx="1885">0.96309068748675997</cx:pt>
          <cx:pt idx="1886">0.91024780253829196</cx:pt>
          <cx:pt idx="1887">0.88387273141108502</cx:pt>
          <cx:pt idx="1888">0.87338281430959797</cx:pt>
          <cx:pt idx="1889">0.81331403437863103</cx:pt>
          <cx:pt idx="1890">0.86684131508205198</cx:pt>
          <cx:pt idx="1891">0.90283235729571498</cx:pt>
          <cx:pt idx="1892">0.90761494402806897</cx:pt>
          <cx:pt idx="1893">0.87998608624786701</cx:pt>
          <cx:pt idx="1894">0.90093566656880597</cx:pt>
          <cx:pt idx="1895">0.98821402456964602</cx:pt>
          <cx:pt idx="1896">0.96260886057360495</cx:pt>
          <cx:pt idx="1897">0.94912405201749195</cx:pt>
          <cx:pt idx="1898">0.97964129782657805</cx:pt>
          <cx:pt idx="1899">0.99599208380884496</cx:pt>
          <cx:pt idx="1900">0.96194254030756499</cx:pt>
          <cx:pt idx="1901">0.94329392976496196</cx:pt>
          <cx:pt idx="1902">0.90562426240585103</cx:pt>
          <cx:pt idx="1903">0.96039422658162499</cx:pt>
          <cx:pt idx="1904">0.94386983983614603</cx:pt>
          <cx:pt idx="1905">0.88851446628282604</cx:pt>
          <cx:pt idx="1906">0.843691712250909</cx:pt>
          <cx:pt idx="1907">0.78346749686403006</cx:pt>
          <cx:pt idx="1908">0.79378589755302298</cx:pt>
          <cx:pt idx="1909">0.97039085190634899</cx:pt>
          <cx:pt idx="1910">1.0476800521363201</cx:pt>
          <cx:pt idx="1911">0.94209233876382503</cx:pt>
          <cx:pt idx="1912">0.90330590926325305</cx:pt>
          <cx:pt idx="1913">0.93265326043571795</cx:pt>
          <cx:pt idx="1914">0.94082550781307195</cx:pt>
          <cx:pt idx="1915">0.97885487636492197</cx:pt>
          <cx:pt idx="1916">0.95270602705077401</cx:pt>
          <cx:pt idx="1917">0.95383917477301206</cx:pt>
          <cx:pt idx="1918">0.96339534521721903</cx:pt>
          <cx:pt idx="1919">0.99791574953274398</cx:pt>
          <cx:pt idx="1920">0.96506302953078305</cx:pt>
          <cx:pt idx="1921">1.0553525719261001</cx:pt>
          <cx:pt idx="1922">1.0533836065573099</cx:pt>
          <cx:pt idx="1923">1.0259692470060799</cx:pt>
          <cx:pt idx="1924">1.02078084577676</cx:pt>
          <cx:pt idx="1925">1.06626915781922</cx:pt>
          <cx:pt idx="1926">1.06143463572749</cx:pt>
          <cx:pt idx="1927">1.08248672507458</cx:pt>
          <cx:pt idx="1928">1.10535300757726</cx:pt>
          <cx:pt idx="1929">1.0867431509548999</cx:pt>
          <cx:pt idx="1930">0.93463141144512796</cx:pt>
          <cx:pt idx="1931">0.91121546606459403</cx:pt>
          <cx:pt idx="1932">0.92146828158064298</cx:pt>
          <cx:pt idx="1933">0.92774893914992496</cx:pt>
          <cx:pt idx="1934">0.965426356331753</cx:pt>
          <cx:pt idx="1935">1.0024922458875001</cx:pt>
          <cx:pt idx="1936">1.0027676778303001</cx:pt>
          <cx:pt idx="1937">1.0078901364736099</cx:pt>
          <cx:pt idx="1938">1.0371508400672</cx:pt>
          <cx:pt idx="1939">1.0175207986469601</cx:pt>
          <cx:pt idx="1940">0.99522078340994102</cx:pt>
          <cx:pt idx="1941">1.0172063308579999</cx:pt>
          <cx:pt idx="1942">1.0113964010151</cx:pt>
          <cx:pt idx="1943">1.01696804403434</cx:pt>
          <cx:pt idx="1944">1.05570451097178</cx:pt>
          <cx:pt idx="1945">1.0766704639306801</cx:pt>
          <cx:pt idx="1946">1.17280288022933</cx:pt>
          <cx:pt idx="1947">1.2009303798931801</cx:pt>
          <cx:pt idx="1948">0.93614931158056103</cx:pt>
          <cx:pt idx="1949">0.85200950463605996</cx:pt>
          <cx:pt idx="1950">0.75296259257200404</cx:pt>
          <cx:pt idx="1951">0.74607044242341203</cx:pt>
          <cx:pt idx="1952">0.74310759133725102</cx:pt>
          <cx:pt idx="1953">0.74618484565701104</cx:pt>
          <cx:pt idx="1954">0.68668915103469597</cx:pt>
          <cx:pt idx="1955">0.68667020210148</cx:pt>
          <cx:pt idx="1956">0.69350960095248004</cx:pt>
          <cx:pt idx="1957">0.69197451851335701</cx:pt>
          <cx:pt idx="1958">0.75333770266783395</cx:pt>
          <cx:pt idx="1959">0.76192657278406895</cx:pt>
          <cx:pt idx="1960">0.73618164927644503</cx:pt>
          <cx:pt idx="1961">0.69768616845726295</cx:pt>
          <cx:pt idx="1962">0.66657645218700901</cx:pt>
          <cx:pt idx="1963">0.69055253592501498</cx:pt>
          <cx:pt idx="1964">0.69518905098550299</cx:pt>
          <cx:pt idx="1965">0.70902701613324004</cx:pt>
          <cx:pt idx="1966">0.72045571747593795</cx:pt>
          <cx:pt idx="1967">0.75270612400854597</cx:pt>
          <cx:pt idx="1968">0.79293427806789096</cx:pt>
          <cx:pt idx="1969">0.82526665013384404</cx:pt>
          <cx:pt idx="1970">0.82521431370296106</cx:pt>
          <cx:pt idx="1971">0.84704109262685801</cx:pt>
          <cx:pt idx="1972">0.93025892463424797</cx:pt>
          <cx:pt idx="1973">0.98727019729468901</cx:pt>
          <cx:pt idx="1974">1.0584693111538099</cx:pt>
          <cx:pt idx="1975">1.0078095162935199</cx:pt>
          <cx:pt idx="1976">0.99448825643819305</cx:pt>
          <cx:pt idx="1977">1.0069656312941899</cx:pt>
          <cx:pt idx="1978">0.97747896172090099</cx:pt>
          <cx:pt idx="1979">0.969348269924446</cx:pt>
          <cx:pt idx="1980">0.95028555021468397</cx:pt>
          <cx:pt idx="1981">0.95011751112507903</cx:pt>
          <cx:pt idx="1982">0.93422368704054304</cx:pt>
          <cx:pt idx="1983">0.90370249532676505</cx:pt>
          <cx:pt idx="1984">0.921390505270411</cx:pt>
          <cx:pt idx="1985">0.89038327716631704</cx:pt>
          <cx:pt idx="1986">0.85349816308034798</cx:pt>
          <cx:pt idx="1987">0.83633263799309598</cx:pt>
          <cx:pt idx="1988">0.84535939302332297</cx:pt>
          <cx:pt idx="1989">0.79270979035776301</cx:pt>
          <cx:pt idx="1990">0.75983607231794503</cx:pt>
          <cx:pt idx="1991">0.78277267075191004</cx:pt>
          <cx:pt idx="1992">0.86795205793877195</cx:pt>
          <cx:pt idx="1993">0.87391181000144802</cx:pt>
          <cx:pt idx="1994">0.90373395912883503</cx:pt>
          <cx:pt idx="1995">0.841275945260473</cx:pt>
          <cx:pt idx="1996">0.84892165159209398</cx:pt>
          <cx:pt idx="1997">0.83710249357501898</cx:pt>
          <cx:pt idx="1998">0.93810120125410601</cx:pt>
          <cx:pt idx="1999">0.99242829598883198</cx:pt>
          <cx:pt idx="2000">0.98199762449185801</cx:pt>
          <cx:pt idx="2001">0.93339273102009801</cx:pt>
          <cx:pt idx="2002">0.85886696503191595</cx:pt>
          <cx:pt idx="2003">0.86150848390404799</cx:pt>
          <cx:pt idx="2004">0.88557585599209798</cx:pt>
          <cx:pt idx="2005">0.86659688974611104</cx:pt>
          <cx:pt idx="2006">0.81374210486109699</cx:pt>
          <cx:pt idx="2007">0.85516201284706095</cx:pt>
          <cx:pt idx="2008">0.86331869262806304</cx:pt>
          <cx:pt idx="2009">0.84924876126355497</cx:pt>
          <cx:pt idx="2010">0.84822583687958597</cx:pt>
          <cx:pt idx="2011">0.88468905921254704</cx:pt>
          <cx:pt idx="2012">0.86001136661164701</cx:pt>
          <cx:pt idx="2013">0.83974046546376002</cx:pt>
          <cx:pt idx="2014">0.81658043757773302</cx:pt>
          <cx:pt idx="2015">0.83555052702848498</cx:pt>
          <cx:pt idx="2016">0.84720659444818203</cx:pt>
          <cx:pt idx="2017">0.78931662338411401</cx:pt>
          <cx:pt idx="2018">0.81548638068602297</cx:pt>
          <cx:pt idx="2019">0.82283652000074903</cx:pt>
          <cx:pt idx="2020">0.81224024805557304</cx:pt>
          <cx:pt idx="2021">0.82935997328564504</cx:pt>
          <cx:pt idx="2022">0.859942173959791</cx:pt>
          <cx:pt idx="2023">0.88247797232288905</cx:pt>
          <cx:pt idx="2024">0.91101161176196799</cx:pt>
          <cx:pt idx="2025">0.95468124575484503</cx:pt>
          <cx:pt idx="2026">0.92902050969910999</cx:pt>
          <cx:pt idx="2027">0.95085239735478999</cx:pt>
          <cx:pt idx="2028">0.96903063369995401</cx:pt>
          <cx:pt idx="2029">0.91632173959457497</cx:pt>
          <cx:pt idx="2030">0.91521660188961595</cx:pt>
          <cx:pt idx="2031">0.91560619513531905</cx:pt>
          <cx:pt idx="2032">0.89327347225435205</cx:pt>
          <cx:pt idx="2033">0.89400900056257404</cx:pt>
          <cx:pt idx="2034">0.89403112163299503</cx:pt>
          <cx:pt idx="2035">0.86187385167806296</cx:pt>
          <cx:pt idx="2036">0.85968191639527003</cx:pt>
          <cx:pt idx="2037">0.85025224227305596</cx:pt>
          <cx:pt idx="2038">0.82574568822670102</cx:pt>
          <cx:pt idx="2039">0.94255166636339305</cx:pt>
          <cx:pt idx="2040">0.95304283576361204</cx:pt>
          <cx:pt idx="2041">0.98468553666146896</cx:pt>
          <cx:pt idx="2042">0.96317193599030804</cx:pt>
          <cx:pt idx="2043">0.95346509186395401</cx:pt>
          <cx:pt idx="2044">0.937998398444439</cx:pt>
          <cx:pt idx="2045">0.92641594161420604</cx:pt>
          <cx:pt idx="2046">0.94643170834696499</cx:pt>
          <cx:pt idx="2047">0.97710516106247602</cx:pt>
          <cx:pt idx="2048">0.98025650704646605</cx:pt>
          <cx:pt idx="2049">0.97470905568936095</cx:pt>
          <cx:pt idx="2050">0.98935610817750796</cx:pt>
          <cx:pt idx="2051">0.99065969378928898</cx:pt>
          <cx:pt idx="2052">0.97797512495895</cx:pt>
          <cx:pt idx="2053">0.93522253968291802</cx:pt>
          <cx:pt idx="2054">0.92178693575803194</cx:pt>
          <cx:pt idx="2055">0.89624199722758202</cx:pt>
          <cx:pt idx="2056">0.89130183588438405</cx:pt>
          <cx:pt idx="2057">1.08966178020515</cx:pt>
          <cx:pt idx="2058">1.1116283430096601</cx:pt>
          <cx:pt idx="2059">1.12270923645772</cx:pt>
          <cx:pt idx="2060">1.0618547847903099</cx:pt>
          <cx:pt idx="2061">1.0309639825831201</cx:pt>
          <cx:pt idx="2062">0.98683367214055695</cx:pt>
          <cx:pt idx="2063">0.95942755777076205</cx:pt>
          <cx:pt idx="2064">0.97680345890708198</cx:pt>
          <cx:pt idx="2065">0.976610441010899</cx:pt>
          <cx:pt idx="2066">0.98471895773882101</cx:pt>
          <cx:pt idx="2067">0.98815060693659595</cx:pt>
          <cx:pt idx="2068">0.97234379293693396</cx:pt>
          <cx:pt idx="2069">0.97067846364584298</cx:pt>
          <cx:pt idx="2070">0.98533050963578594</cx:pt>
          <cx:pt idx="2071">0.95046706475679998</cx:pt>
          <cx:pt idx="2072">0.92260902530719302</cx:pt>
          <cx:pt idx="2073">0.81800654163448505</cx:pt>
          <cx:pt idx="2074">0.687779116085798</cx:pt>
          <cx:pt idx="2075">0.67238755113618698</cx:pt>
          <cx:pt idx="2076">0.74657068590731901</cx:pt>
          <cx:pt idx="2077">0.80070723083955198</cx:pt>
          <cx:pt idx="2078">0.82348674336596095</cx:pt>
          <cx:pt idx="2079">0.842952271327856</cx:pt>
          <cx:pt idx="2080">0.853136167637777</cx:pt>
          <cx:pt idx="2081">0.862029844233691</cx:pt>
          <cx:pt idx="2082">0.85046317197861598</cx:pt>
          <cx:pt idx="2083">0.80279383575494001</cx:pt>
          <cx:pt idx="2084">0.79057800651473198</cx:pt>
          <cx:pt idx="2085">0.77627142780965797</cx:pt>
          <cx:pt idx="2086">0.73230590778799898</cx:pt>
          <cx:pt idx="2087">0.70477987228019601</cx:pt>
          <cx:pt idx="2088">0.70005977132979302</cx:pt>
          <cx:pt idx="2089">0.68644280026040805</cx:pt>
          <cx:pt idx="2090">0.63992125040988701</cx:pt>
          <cx:pt idx="2091">0.61154757382800995</cx:pt>
          <cx:pt idx="2092">0.71970639997235297</cx:pt>
          <cx:pt idx="2093">0.61913192884575796</cx:pt>
          <cx:pt idx="2094">0.71894842731521102</cx:pt>
          <cx:pt idx="2095">0.73684735644122001</cx:pt>
          <cx:pt idx="2096">0.76504019717821203</cx:pt>
          <cx:pt idx="2097">0.75386526202330895</cx:pt>
          <cx:pt idx="2098">0.746719519916071</cx:pt>
          <cx:pt idx="2099">0.73873072314139199</cx:pt>
          <cx:pt idx="2100">0.74209450033139202</cx:pt>
          <cx:pt idx="2101">0.75556667865136595</cx:pt>
          <cx:pt idx="2102">0.76756244975708998</cx:pt>
          <cx:pt idx="2103">0.81580686516921497</cx:pt>
          <cx:pt idx="2104">1.00790696473096</cx:pt>
          <cx:pt idx="2105">0.95896016448124999</cx:pt>
          <cx:pt idx="2106">0.94918018520235403</cx:pt>
          <cx:pt idx="2107">0.96429825793865598</cx:pt>
          <cx:pt idx="2108">0.95084031990906304</cx:pt>
          <cx:pt idx="2109">0.94885368196674702</cx:pt>
          <cx:pt idx="2110">0.95705887730697903</cx:pt>
          <cx:pt idx="2111">0.98423476154762202</cx:pt>
          <cx:pt idx="2112">1.0104876556140301</cx:pt>
          <cx:pt idx="2113">1.00308190463989</cx:pt>
          <cx:pt idx="2114">0.99587979267418703</cx:pt>
          <cx:pt idx="2115">0.96030871869060797</cx:pt>
          <cx:pt idx="2116">0.94638241769678</cx:pt>
          <cx:pt idx="2117">0.89006924886430006</cx:pt>
          <cx:pt idx="2118">0.82635440776597902</cx:pt>
          <cx:pt idx="2119">0.76900626982673104</cx:pt>
          <cx:pt idx="2120">0.615361967286016</cx:pt>
          <cx:pt idx="2121">0.39361079732797399</cx:pt>
          <cx:pt idx="2122">0.65114289032414296</cx:pt>
          <cx:pt idx="2123">0.68148668794880796</cx:pt>
          <cx:pt idx="2124">0.73487600358969796</cx:pt>
          <cx:pt idx="2125">0.99567117186432197</cx:pt>
          <cx:pt idx="2126">1.0246925867830301</cx:pt>
          <cx:pt idx="2127">1.14731525405191</cx:pt>
          <cx:pt idx="2128">1.2470556206957699</cx:pt>
          <cx:pt idx="2129">1.3009643436384599</cx:pt>
          <cx:pt idx="2130">1.3592163377173301</cx:pt>
          <cx:pt idx="2131">1.21980882778204</cx:pt>
          <cx:pt idx="2132">1.113658199541</cx:pt>
          <cx:pt idx="2133">1.0471681646053399</cx:pt>
          <cx:pt idx="2134">1.0612665484286199</cx:pt>
          <cx:pt idx="2135">1.0594697022177799</cx:pt>
          <cx:pt idx="2136">1.0595250827682301</cx:pt>
          <cx:pt idx="2137">1.04236688827102</cx:pt>
          <cx:pt idx="2138">1.04655266437678</cx:pt>
          <cx:pt idx="2139">1.02840674298349</cx:pt>
          <cx:pt idx="2140">1.0446151150727501</cx:pt>
          <cx:pt idx="2141">1.04065560587648</cx:pt>
          <cx:pt idx="2142">1.0688182050232999</cx:pt>
          <cx:pt idx="2143">1.0539230044458501</cx:pt>
          <cx:pt idx="2144">1.0930498522710299</cx:pt>
          <cx:pt idx="2145">1.04450378998094</cx:pt>
          <cx:pt idx="2146">1.0613545284377</cx:pt>
          <cx:pt idx="2147">1.08163064070252</cx:pt>
          <cx:pt idx="2148">1.1668526713516301</cx:pt>
          <cx:pt idx="2149">1.2011305990594101</cx:pt>
          <cx:pt idx="2150">1.1815156784082399</cx:pt>
          <cx:pt idx="2151">1.1675175303885701</cx:pt>
          <cx:pt idx="2152">1.15587516300773</cx:pt>
          <cx:pt idx="2153">1.15033689610479</cx:pt>
          <cx:pt idx="2154">1.0633169218170699</cx:pt>
          <cx:pt idx="2155">1.0567706960596901</cx:pt>
          <cx:pt idx="2156">1.0396545347775401</cx:pt>
          <cx:pt idx="2157">1.00768013404377</cx:pt>
          <cx:pt idx="2158">1.0032221029897199</cx:pt>
          <cx:pt idx="2159">1.01358452302562</cx:pt>
          <cx:pt idx="2160">1.10017033713551</cx:pt>
          <cx:pt idx="2161">1.1080975994646201</cx:pt>
          <cx:pt idx="2162">1.1982097112093899</cx:pt>
          <cx:pt idx="2163">1.18343524684723</cx:pt>
          <cx:pt idx="2164">1.1821124227689399</cx:pt>
          <cx:pt idx="2165">1.1624259521945901</cx:pt>
          <cx:pt idx="2166">1.13041237688647</cx:pt>
          <cx:pt idx="2167">1.0993574334017899</cx:pt>
          <cx:pt idx="2168">1.10207260513148</cx:pt>
          <cx:pt idx="2169">1.09810928022984</cx:pt>
          <cx:pt idx="2170">1.10472951531843</cx:pt>
          <cx:pt idx="2171">1.0811443871258</cx:pt>
          <cx:pt idx="2172">1.1155753899546701</cx:pt>
          <cx:pt idx="2173">1.1219896797334501</cx:pt>
          <cx:pt idx="2174">1.1258286993378599</cx:pt>
          <cx:pt idx="2175">1.13754293583218</cx:pt>
          <cx:pt idx="2176">1.16694726762294</cx:pt>
          <cx:pt idx="2177">1.1606942551147299</cx:pt>
          <cx:pt idx="2178">1.1412960934301599</cx:pt>
          <cx:pt idx="2179">1.2965259857762299</cx:pt>
          <cx:pt idx="2180">0.97620417850428498</cx:pt>
          <cx:pt idx="2181">0.864121255567744</cx:pt>
          <cx:pt idx="2182">0.87893862065123296</cx:pt>
          <cx:pt idx="2183">0.79588173553338504</cx:pt>
          <cx:pt idx="2184">0.82710634729596499</cx:pt>
          <cx:pt idx="2185">0.82714952536314901</cx:pt>
          <cx:pt idx="2186">0.80928213110867697</cx:pt>
          <cx:pt idx="2187">0.80218815805604904</cx:pt>
          <cx:pt idx="2188">0.78644804548555103</cx:pt>
          <cx:pt idx="2189">0.82284748422946596</cx:pt>
          <cx:pt idx="2190">0.91964140490161295</cx:pt>
          <cx:pt idx="2191">0.90109086245478898</cx:pt>
          <cx:pt idx="2192">0.88460121599073205</cx:pt>
          <cx:pt idx="2193">0.90123963059733703</cx:pt>
          <cx:pt idx="2194">0.91418976788970496</cx:pt>
          <cx:pt idx="2195">0.92066282200971705</cx:pt>
          <cx:pt idx="2196">0.91350554776568604</cx:pt>
          <cx:pt idx="2197">0.90005325157996297</cx:pt>
          <cx:pt idx="2198">0.92480096018965796</cx:pt>
          <cx:pt idx="2199">0.92869454837868304</cx:pt>
          <cx:pt idx="2200">0.96270535608051599</cx:pt>
          <cx:pt idx="2201">0.96377482299638495</cx:pt>
          <cx:pt idx="2202">0.98343947640435703</cx:pt>
          <cx:pt idx="2203">1.00145181011788</cx:pt>
          <cx:pt idx="2204">1.0146986285945501</cx:pt>
          <cx:pt idx="2205">1.0437077882294199</cx:pt>
          <cx:pt idx="2206">1.04688800301899</cx:pt>
          <cx:pt idx="2207">1.05955464691041</cx:pt>
          <cx:pt idx="2208">1.11068171790466</cx:pt>
          <cx:pt idx="2209">1.1108129495044801</cx:pt>
          <cx:pt idx="2210">1.0988707185361399</cx:pt>
          <cx:pt idx="2211">1.0864427303192901</cx:pt>
          <cx:pt idx="2212">1.02593188194148</cx:pt>
          <cx:pt idx="2213">0.98359311831072505</cx:pt>
          <cx:pt idx="2214">0.91629541192877695</cx:pt>
          <cx:pt idx="2215">0.73742147965376603</cx:pt>
          <cx:pt idx="2216">0.79445215554640602</cx:pt>
          <cx:pt idx="2217">0.81126668991414597</cx:pt>
          <cx:pt idx="2218">0.85861870116112404</cx:pt>
          <cx:pt idx="2219">0.88329670931119597</cx:pt>
          <cx:pt idx="2220">0.90785819398307699</cx:pt>
          <cx:pt idx="2221">0.91672541396060703</cx:pt>
          <cx:pt idx="2222">0.93059993882217296</cx:pt>
          <cx:pt idx="2223">0.936975243635777</cx:pt>
          <cx:pt idx="2224">0.94247589419553401</cx:pt>
          <cx:pt idx="2225">0.95675320501711802</cx:pt>
          <cx:pt idx="2226">0.93012384743099696</cx:pt>
          <cx:pt idx="2227">0.93934246188757198</cx:pt>
          <cx:pt idx="2228">0.95135579552493099</cx:pt>
          <cx:pt idx="2229">0.94569514902729501</cx:pt>
          <cx:pt idx="2230">0.91785136625545205</cx:pt>
          <cx:pt idx="2231">0.88331375178369398</cx:pt>
          <cx:pt idx="2232">0.82905541887700596</cx:pt>
          <cx:pt idx="2233">0.75577679560800204</cx:pt>
          <cx:pt idx="2234">0.76262937823614196</cx:pt>
          <cx:pt idx="2235">0.86384012422613399</cx:pt>
          <cx:pt idx="2236">0.86502951090750801</cx:pt>
          <cx:pt idx="2237">0.860591815423978</cx:pt>
          <cx:pt idx="2238">0.76822085208616897</cx:pt>
          <cx:pt idx="2239">0.75644017899430405</cx:pt>
          <cx:pt idx="2240">0.76113884463084303</cx:pt>
          <cx:pt idx="2241">0.72981817379647096</cx:pt>
          <cx:pt idx="2242">0.75508322194750399</cx:pt>
          <cx:pt idx="2243">0.84357135865215105</cx:pt>
          <cx:pt idx="2244">0.867175009985239</cx:pt>
          <cx:pt idx="2245">0.86982256020262105</cx:pt>
          <cx:pt idx="2246">0.82589696076454799</cx:pt>
          <cx:pt idx="2247">0.845766710596073</cx:pt>
          <cx:pt idx="2248">0.849037509366802</cx:pt>
          <cx:pt idx="2249">0.86909630946192995</cx:pt>
          <cx:pt idx="2250">0.881890570860551</cx:pt>
          <cx:pt idx="2251">0.90324541213098797</cx:pt>
          <cx:pt idx="2252">0.89560091648405404</cx:pt>
          <cx:pt idx="2253">0.91273699386193496</cx:pt>
          <cx:pt idx="2254">0.91902771455505705</cx:pt>
          <cx:pt idx="2255">0.90486871281005199</cx:pt>
          <cx:pt idx="2256">0.89949378110633704</cx:pt>
          <cx:pt idx="2257">0.90280009098719105</cx:pt>
          <cx:pt idx="2258">0.842147324455917</cx:pt>
          <cx:pt idx="2259">0.76743447686880994</cx:pt>
          <cx:pt idx="2260">0.78630382293177503</cx:pt>
          <cx:pt idx="2261">0.82454942859321101</cx:pt>
          <cx:pt idx="2262">0.80970696168610001</cx:pt>
          <cx:pt idx="2263">0.80571987525282596</cx:pt>
          <cx:pt idx="2264">0.81107616402178495</cx:pt>
          <cx:pt idx="2265">0.83693000691901698</cx:pt>
          <cx:pt idx="2266">0.84656999047014103</cx:pt>
          <cx:pt idx="2267">0.85816858780280203</cx:pt>
          <cx:pt idx="2268">0.87021955746841095</cx:pt>
          <cx:pt idx="2269">0.87719544266415805</cx:pt>
          <cx:pt idx="2270">0.85507874951499996</cx:pt>
          <cx:pt idx="2271">0.82938845344505896</cx:pt>
          <cx:pt idx="2272">0.78720581161395498</cx:pt>
          <cx:pt idx="2273">0.72466214133183204</cx:pt>
          <cx:pt idx="2274">0.73420836415588597</cx:pt>
          <cx:pt idx="2275">0.75597922372250603</cx:pt>
          <cx:pt idx="2276">0.78121123613496601</cx:pt>
          <cx:pt idx="2277">0.78601083287812101</cx:pt>
          <cx:pt idx="2278">0.80204701993637295</cx:pt>
          <cx:pt idx="2279">0.78644284681710996</cx:pt>
          <cx:pt idx="2280">0.81425884916284397</cx:pt>
          <cx:pt idx="2281">0.81237772302432498</cx:pt>
          <cx:pt idx="2282">0.84859201505370296</cx:pt>
          <cx:pt idx="2283">0.86300778095608799</cx:pt>
          <cx:pt idx="2284">0.83722151111714704</cx:pt>
          <cx:pt idx="2285">0.87325898658152901</cx:pt>
          <cx:pt idx="2286">0.86724680594011805</cx:pt>
          <cx:pt idx="2287">0.86131041864069702</cx:pt>
          <cx:pt idx="2288">0.86713570650064098</cx:pt>
          <cx:pt idx="2289">0.88316010777054499</cx:pt>
          <cx:pt idx="2290">0.88866927778694804</cx:pt>
          <cx:pt idx="2291">0.89065749572161201</cx:pt>
          <cx:pt idx="2292">0.89124381359049898</cx:pt>
          <cx:pt idx="2293">0.87718984027299496</cx:pt>
          <cx:pt idx="2294">0.88938671204534803</cx:pt>
          <cx:pt idx="2295">0.86720022363206295</cx:pt>
          <cx:pt idx="2296">0.84828772875929104</cx:pt>
          <cx:pt idx="2297">0.84940014675571796</cx:pt>
          <cx:pt idx="2298">0.83109257917357104</cx:pt>
          <cx:pt idx="2299">0.63001152399404303</cx:pt>
          <cx:pt idx="2300">0.72350945076791295</cx:pt>
          <cx:pt idx="2301">0.74011353850913797</cx:pt>
          <cx:pt idx="2302">0.78647829108137102</cx:pt>
          <cx:pt idx="2303">0.80263277996760996</cx:pt>
          <cx:pt idx="2304">0.84426781868031298</cx:pt>
          <cx:pt idx="2305">0.842648008918085</cx:pt>
          <cx:pt idx="2306">0.87258167348566795</cx:pt>
          <cx:pt idx="2307">0.87695577609361297</cx:pt>
          <cx:pt idx="2308">0.85895386468891899</cx:pt>
          <cx:pt idx="2309">0.87332999175287696</cx:pt>
          <cx:pt idx="2310">0.89916161995484201</cx:pt>
          <cx:pt idx="2311">0.90972605433916098</cx:pt>
          <cx:pt idx="2312">0.91658745850041001</cx:pt>
          <cx:pt idx="2313">0.91267405126691303</cx:pt>
          <cx:pt idx="2314">0.93529920045952597</cx:pt>
          <cx:pt idx="2315">0.95945376529428805</cx:pt>
          <cx:pt idx="2316">1.00072243744954</cx:pt>
          <cx:pt idx="2317">0.92855591299384499</cx:pt>
          <cx:pt idx="2318">0.91163378791455396</cx:pt>
          <cx:pt idx="2319">0.85944564300496595</cx:pt>
          <cx:pt idx="2320">0.828819109442681</cx:pt>
          <cx:pt idx="2321">0.72995943406516695</cx:pt>
          <cx:pt idx="2322">0.70062500396965999</cx:pt>
          <cx:pt idx="2323">0.68080060970108003</cx:pt>
          <cx:pt idx="2324">0.76262329834396503</cx:pt>
          <cx:pt idx="2325">0.74469514127932601</cx:pt>
          <cx:pt idx="2326">0.79692082081708004</cx:pt>
          <cx:pt idx="2327">0.81004633637910195</cx:pt>
          <cx:pt idx="2328">0.80453970778170802</cx:pt>
          <cx:pt idx="2329">0.77650716941269404</cx:pt>
          <cx:pt idx="2330">0.79627427204628698</cx:pt>
          <cx:pt idx="2331">0.74766667278207799</cx:pt>
          <cx:pt idx="2332">0.78969839618047999</cx:pt>
          <cx:pt idx="2333">0.79889035287822097</cx:pt>
          <cx:pt idx="2334">0.79558269228271505</cx:pt>
          <cx:pt idx="2335">0.82881160089942596</cx:pt>
          <cx:pt idx="2336">0.81628153643545098</cx:pt>
          <cx:pt idx="2337">0.82338255482209699</cx:pt>
          <cx:pt idx="2338">0.83468646003684799</cx:pt>
          <cx:pt idx="2339">0.84772476414885201</cx:pt>
          <cx:pt idx="2340">0.848814176809912</cx:pt>
          <cx:pt idx="2341">0.85254102916061403</cx:pt>
          <cx:pt idx="2342">0.84003217073565495</cx:pt>
          <cx:pt idx="2343">0.88359994142798604</cx:pt>
          <cx:pt idx="2344">0.87188166210524198</cx:pt>
          <cx:pt idx="2345">0.90433173038733095</cx:pt>
          <cx:pt idx="2346">0.89756828262698996</cx:pt>
          <cx:pt idx="2347">0.95480331458727996</cx:pt>
          <cx:pt idx="2348">0.81476169840948498</cx:pt>
          <cx:pt idx="2349">0.73677644497502803</cx:pt>
          <cx:pt idx="2350">0.70048795716118895</cx:pt>
          <cx:pt idx="2351">0.71561803246398803</cx:pt>
          <cx:pt idx="2352">0.74555539234698598</cx:pt>
          <cx:pt idx="2353">0.75455763334752202</cx:pt>
          <cx:pt idx="2354">0.76317007361012401</cx:pt>
          <cx:pt idx="2355">0.75030085217873399</cx:pt>
          <cx:pt idx="2356">0.747691411586765</cx:pt>
          <cx:pt idx="2357">0.75715676275931598</cx:pt>
          <cx:pt idx="2358">0.78683394673436402</cx:pt>
          <cx:pt idx="2359">0.86344199688848899</cx:pt>
          <cx:pt idx="2360">0.95344162302979396</cx:pt>
          <cx:pt idx="2361">0.95287682525899797</cx:pt>
          <cx:pt idx="2362">0.97891273212150098</cx:pt>
          <cx:pt idx="2363">1.0052689534700101</cx:pt>
          <cx:pt idx="2364">0.97070448825008404</cx:pt>
          <cx:pt idx="2365">0.96139209176840401</cx:pt>
          <cx:pt idx="2366">0.93002118859884697</cx:pt>
          <cx:pt idx="2367">1.00062392661372</cx:pt>
          <cx:pt idx="2368">1.0176309693777199</cx:pt>
          <cx:pt idx="2369">1.04050557846188</cx:pt>
          <cx:pt idx="2370">0.99751509256547299</cx:pt>
          <cx:pt idx="2371">0.986041624489569</cx:pt>
          <cx:pt idx="2372">0.98466983128596397</cx:pt>
          <cx:pt idx="2373">0.98304034311225497</cx:pt>
          <cx:pt idx="2374">0.98296251574124305</cx:pt>
          <cx:pt idx="2375">0.90387374160317802</cx:pt>
          <cx:pt idx="2376">0.880563733490207</cx:pt>
          <cx:pt idx="2377">0.88131681374981996</cx:pt>
          <cx:pt idx="2378">0.87161456223033096</cx:pt>
          <cx:pt idx="2379">0.866974510012683</cx:pt>
          <cx:pt idx="2380">0.891286087072649</cx:pt>
          <cx:pt idx="2381">0.85958630536831904</cx:pt>
          <cx:pt idx="2382">0.84808923810261305</cx:pt>
          <cx:pt idx="2383">0.84090989459902998</cx:pt>
          <cx:pt idx="2384">0.85098836201081296</cx:pt>
          <cx:pt idx="2385">0.83281227634547805</cx:pt>
          <cx:pt idx="2386">0.848848482078991</cx:pt>
          <cx:pt idx="2387">0.832102585222947</cx:pt>
          <cx:pt idx="2388">0.85077600723059499</cx:pt>
          <cx:pt idx="2389">0.86789155827065601</cx:pt>
          <cx:pt idx="2390">0.81762697639550896</cx:pt>
          <cx:pt idx="2391">0.86978203987225899</cx:pt>
          <cx:pt idx="2392">0.84981513646435503</cx:pt>
          <cx:pt idx="2393">0.82145242426245002</cx:pt>
          <cx:pt idx="2394">0.81018566811716697</cx:pt>
          <cx:pt idx="2395">0.79179537229593799</cx:pt>
          <cx:pt idx="2396">0.77134454874448699</cx:pt>
          <cx:pt idx="2397">0.76335156445795904</cx:pt>
          <cx:pt idx="2398">0.69890935526398201</cx:pt>
          <cx:pt idx="2399">0.71506506727559505</cx:pt>
          <cx:pt idx="2400">0.70896849423887998</cx:pt>
          <cx:pt idx="2401">0.72416211043965295</cx:pt>
          <cx:pt idx="2402">0.73284189096903696</cx:pt>
          <cx:pt idx="2403">0.769683145778153</cx:pt>
          <cx:pt idx="2404">0.76958388299079294</cx:pt>
          <cx:pt idx="2405">0.80306545935020401</cx:pt>
          <cx:pt idx="2406">0.87591722352807</cx:pt>
          <cx:pt idx="2407">0.94782932808721099</cx:pt>
          <cx:pt idx="2408">0.99520204635782505</cx:pt>
          <cx:pt idx="2409">0.96551869420508996</cx:pt>
          <cx:pt idx="2410">0.93575694782762497</cx:pt>
          <cx:pt idx="2411">0.96457091069784195</cx:pt>
          <cx:pt idx="2412">0.95343466655179798</cx:pt>
          <cx:pt idx="2413">0.907781116028195</cx:pt>
          <cx:pt idx="2414">0.89848202994056703</cx:pt>
          <cx:pt idx="2415">0.90008766616056701</cx:pt>
          <cx:pt idx="2416">0.93951560588753602</cx:pt>
          <cx:pt idx="2417">0.96056897280397102</cx:pt>
          <cx:pt idx="2418">0.98965232348281096</cx:pt>
          <cx:pt idx="2419">0.97494739288113397</cx:pt>
          <cx:pt idx="2420">0.96298372292698398</cx:pt>
          <cx:pt idx="2421">0.91461869443910704</cx:pt>
          <cx:pt idx="2422">0.92455056869570296</cx:pt>
          <cx:pt idx="2423">0.91868730219901396</cx:pt>
          <cx:pt idx="2424">0.92988497927712599</cx:pt>
          <cx:pt idx="2425">0.91481527108856597</cx:pt>
          <cx:pt idx="2426">0.92159654795059598</cx:pt>
          <cx:pt idx="2427">0.95682205159766998</cx:pt>
          <cx:pt idx="2428">0.92912419364341003</cx:pt>
          <cx:pt idx="2429">0.94719571738146602</cx:pt>
          <cx:pt idx="2430">0.92852341756342005</cx:pt>
          <cx:pt idx="2431">0.947480818083971</cx:pt>
          <cx:pt idx="2432">0.92200337186716497</cx:pt>
          <cx:pt idx="2433">0.91887341528465005</cx:pt>
          <cx:pt idx="2434">0.89025901583300604</cx:pt>
          <cx:pt idx="2435">0.89493989501402205</cx:pt>
          <cx:pt idx="2436">0.91420302209609305</cx:pt>
          <cx:pt idx="2437">0.93780156813920501</cx:pt>
          <cx:pt idx="2438">0.88358428335329098</cx:pt>
          <cx:pt idx="2439">0.83976424248477499</cx:pt>
          <cx:pt idx="2440">0.82163919057429102</cx:pt>
          <cx:pt idx="2441">0.80015755608580696</cx:pt>
          <cx:pt idx="2442">0.75148252861225995</cx:pt>
          <cx:pt idx="2443">0.76092074981699598</cx:pt>
          <cx:pt idx="2444">0.80922453057645505</cx:pt>
          <cx:pt idx="2445">0.82213862240508795</cx:pt>
          <cx:pt idx="2446">0.85317187891516899</cx:pt>
          <cx:pt idx="2447">0.83557029667510196</cx:pt>
          <cx:pt idx="2448">0.84589316719395702</cx:pt>
          <cx:pt idx="2449">0.844835374591829</cx:pt>
          <cx:pt idx="2450">0.87924644016333198</cx:pt>
          <cx:pt idx="2451">0.87240596882014898</cx:pt>
          <cx:pt idx="2452">1.0553409096262401</cx:pt>
          <cx:pt idx="2453">1.03172104333487</cx:pt>
          <cx:pt idx="2454">0.98263093664877299</cx:pt>
          <cx:pt idx="2455">1.0767164871878001</cx:pt>
          <cx:pt idx="2456">1.03084593670533</cx:pt>
          <cx:pt idx="2457">1.0830366707853001</cx:pt>
          <cx:pt idx="2458">1.03272698521813</cx:pt>
          <cx:pt idx="2459">1.0723926642358399</cx:pt>
          <cx:pt idx="2460">1.08613240944441</cx:pt>
          <cx:pt idx="2461">1.07892491254195</cx:pt>
          <cx:pt idx="2462">1.06693154337713</cx:pt>
          <cx:pt idx="2463">1.0679388501482501</cx:pt>
          <cx:pt idx="2464">1.0980450986588499</cx:pt>
          <cx:pt idx="2465">1.1613305757430601</cx:pt>
          <cx:pt idx="2466">1.1302340953422101</cx:pt>
          <cx:pt idx="2467">1.12717429809908</cx:pt>
          <cx:pt idx="2468">1.09965498869284</cx:pt>
          <cx:pt idx="2469">1.09871706885537</cx:pt>
          <cx:pt idx="2470">1.1067468074355</cx:pt>
          <cx:pt idx="2471">1.0712336053867599</cx:pt>
          <cx:pt idx="2472">1.0507624236825901</cx:pt>
          <cx:pt idx="2473">1.04554588184421</cx:pt>
          <cx:pt idx="2474">1.0394823200358301</cx:pt>
          <cx:pt idx="2475">1.04363683935354</cx:pt>
          <cx:pt idx="2476">1.02345325905342</cx:pt>
          <cx:pt idx="2477">1.0029564133683999</cx:pt>
          <cx:pt idx="2478">1.00134099240014</cx:pt>
          <cx:pt idx="2479">0.98011137796330605</cx:pt>
          <cx:pt idx="2480">0.93687369580542301</cx:pt>
          <cx:pt idx="2481">0.86118232034532205</cx:pt>
          <cx:pt idx="2482">0.77660163622952805</cx:pt>
          <cx:pt idx="2483">0.85017103881679801</cx:pt>
          <cx:pt idx="2484">0.84415530350580004</cx:pt>
          <cx:pt idx="2485">0.86161806791693296</cx:pt>
          <cx:pt idx="2486">0.79169556151470399</cx:pt>
          <cx:pt idx="2487">0.80608712773179003</cx:pt>
          <cx:pt idx="2488">0.79234672819921903</cx:pt>
          <cx:pt idx="2489">0.81200619139507102</cx:pt>
          <cx:pt idx="2490">0.89822677080787605</cx:pt>
          <cx:pt idx="2491">0.86176040168889501</cx:pt>
          <cx:pt idx="2492">0.93952365662774495</cx:pt>
          <cx:pt idx="2493">0.935813916819488</cx:pt>
          <cx:pt idx="2494">0.98712949532650895</cx:pt>
          <cx:pt idx="2495">0.96233378780641199</cx:pt>
          <cx:pt idx="2496">0.97393202724235695</cx:pt>
          <cx:pt idx="2497">0.99037414714773597</cx:pt>
          <cx:pt idx="2498">1.0038712569699999</cx:pt>
          <cx:pt idx="2499">1.01488147847111</cx:pt>
          <cx:pt idx="2500">1.0271099632960901</cx:pt>
          <cx:pt idx="2501">1.0019963679591399</cx:pt>
          <cx:pt idx="2502">0.97692972488385099</cx:pt>
          <cx:pt idx="2503">0.96887215908989799</cx:pt>
          <cx:pt idx="2504">0.97963499012829103</cx:pt>
          <cx:pt idx="2505">0.918670320989453</cx:pt>
          <cx:pt idx="2506">0.76879697347426501</cx:pt>
          <cx:pt idx="2507">0.78563229607488905</cx:pt>
          <cx:pt idx="2508">0.86482452925299302</cx:pt>
          <cx:pt idx="2509">0.86419018136056103</cx:pt>
          <cx:pt idx="2510">0.95516481127855901</cx:pt>
          <cx:pt idx="2511">0.85826904138160198</cx:pt>
          <cx:pt idx="2512">0.91095106383831703</cx:pt>
          <cx:pt idx="2513">0.94151666172736503</cx:pt>
          <cx:pt idx="2514">0.96058858884311304</cx:pt>
          <cx:pt idx="2515">0.92215508672904001</cx:pt>
          <cx:pt idx="2516">0.94883043702908598</cx:pt>
          <cx:pt idx="2517">0.95538643935319001</cx:pt>
          <cx:pt idx="2518">0.945889068070348</cx:pt>
          <cx:pt idx="2519">0.960097907862417</cx:pt>
          <cx:pt idx="2520">0.96654698204760403</cx:pt>
          <cx:pt idx="2521">0.97177427168146502</cx:pt>
          <cx:pt idx="2522">0.94023004506730501</cx:pt>
          <cx:pt idx="2523">0.95236735170577802</cx:pt>
          <cx:pt idx="2524">0.948277985648597</cx:pt>
          <cx:pt idx="2525">0.93067267909721996</cx:pt>
          <cx:pt idx="2526">0.91997522947410904</cx:pt>
          <cx:pt idx="2527">0.86247051841562705</cx:pt>
          <cx:pt idx="2528">0.84978029252534204</cx:pt>
          <cx:pt idx="2529">0.79754991640619699</cx:pt>
          <cx:pt idx="2530">0.77046666643695905</cx:pt>
          <cx:pt idx="2531">0.75250892703967698</cx:pt>
          <cx:pt idx="2532">0.78181925473814895</cx:pt>
          <cx:pt idx="2533">0.90461463596665803</cx:pt>
          <cx:pt idx="2534">0.95996741094230797</cx:pt>
          <cx:pt idx="2535">0.96725352609572102</cx:pt>
          <cx:pt idx="2536">0.95621204949775596</cx:pt>
          <cx:pt idx="2537">0.93561695893540697</cx:pt>
          <cx:pt idx="2538">0.82894417148742405</cx:pt>
          <cx:pt idx="2539">0.85230489747559401</cx:pt>
          <cx:pt idx="2540">0.83736004948726195</cx:pt>
          <cx:pt idx="2541">0.82852532197442097</cx:pt>
          <cx:pt idx="2542">0.88799443784876098</cx:pt>
          <cx:pt idx="2543">1.0761556305016</cx:pt>
          <cx:pt idx="2544">1.04077687996184</cx:pt>
          <cx:pt idx="2545">0.992153040881251</cx:pt>
          <cx:pt idx="2546">1.0212151562152201</cx:pt>
          <cx:pt idx="2547">0.996318184378576</cx:pt>
          <cx:pt idx="2548">0.98500164187415196</cx:pt>
          <cx:pt idx="2549">0.9696875791331</cx:pt>
          <cx:pt idx="2550">0.96864755460281504</cx:pt>
          <cx:pt idx="2551">0.93327681138998397</cx:pt>
          <cx:pt idx="2552">0.91817945332466999</cx:pt>
          <cx:pt idx="2553">0.90993868835228597</cx:pt>
          <cx:pt idx="2554">0.952726560634923</cx:pt>
          <cx:pt idx="2555">0.93533713499085802</cx:pt>
          <cx:pt idx="2556">0.91767741453354801</cx:pt>
          <cx:pt idx="2557">0.913870921171689</cx:pt>
          <cx:pt idx="2558">0.86491408972205497</cx:pt>
          <cx:pt idx="2559">0.75909730914696305</cx:pt>
          <cx:pt idx="2560">0.68803678074394503</cx:pt>
          <cx:pt idx="2561">0.79685383912529795</cx:pt>
          <cx:pt idx="2562">0.80952779700677902</cx:pt>
          <cx:pt idx="2563">0.84118567919037102</cx:pt>
          <cx:pt idx="2564">0.87985353811564704</cx:pt>
          <cx:pt idx="2565">0.86945504157771603</cx:pt>
          <cx:pt idx="2566">0.89307650334306499</cx:pt>
          <cx:pt idx="2567">0.89272611203099295</cx:pt>
          <cx:pt idx="2568">0.86130593273058198</cx:pt>
          <cx:pt idx="2569">0.87538475515859604</cx:pt>
          <cx:pt idx="2570">0.76464066776619499</cx:pt>
          <cx:pt idx="2571">0.69868401661103996</cx:pt>
          <cx:pt idx="2572">0.61433601136549798</cx:pt>
          <cx:pt idx="2573">0.67575500357668306</cx:pt>
          <cx:pt idx="2574">0.76402088353951803</cx:pt>
          <cx:pt idx="2575">0.76859821056003297</cx:pt>
          <cx:pt idx="2576">0.80736239768089002</cx:pt>
          <cx:pt idx="2577">0.855945853734152</cx:pt>
          <cx:pt idx="2578">0.89347288459553298</cx:pt>
          <cx:pt idx="2579">0.88511894766840304</cx:pt>
          <cx:pt idx="2580">0.88222638148752697</cx:pt>
          <cx:pt idx="2581">0.89688705319232898</cx:pt>
          <cx:pt idx="2582">0.89777144454310698</cx:pt>
          <cx:pt idx="2583">0.871685214399324</cx:pt>
          <cx:pt idx="2584">0.87454351254815099</cx:pt>
          <cx:pt idx="2585">0.87334094385788397</cx:pt>
          <cx:pt idx="2586">0.861481078171496</cx:pt>
          <cx:pt idx="2587">0.84818629343545404</cx:pt>
          <cx:pt idx="2588">0.84683718077810799</cx:pt>
          <cx:pt idx="2589">0.84013802564336504</cx:pt>
          <cx:pt idx="2590">0.827607616646998</cx:pt>
          <cx:pt idx="2591">0.84838695712435197</cx:pt>
          <cx:pt idx="2592">0.85160776177771302</cx:pt>
          <cx:pt idx="2593">0.85663239807546199</cx:pt>
          <cx:pt idx="2594">0.89187168749692702</cx:pt>
          <cx:pt idx="2595">0.89358652563818197</cx:pt>
          <cx:pt idx="2596">0.85603027777382301</cx:pt>
          <cx:pt idx="2597">0.87643198939415901</cx:pt>
          <cx:pt idx="2598">0.94397639015685697</cx:pt>
          <cx:pt idx="2599">0.90945207508546499</cx:pt>
          <cx:pt idx="2600">0.90231717270197498</cx:pt>
          <cx:pt idx="2601">0.96515857818793405</cx:pt>
          <cx:pt idx="2602">0.99163181635799003</cx:pt>
          <cx:pt idx="2603">1.0375251819837601</cx:pt>
          <cx:pt idx="2604">1.0250892339300099</cx:pt>
          <cx:pt idx="2605">1.0175118488131401</cx:pt>
          <cx:pt idx="2606">0.99258519024818903</cx:pt>
          <cx:pt idx="2607">0.98743824346956</cx:pt>
          <cx:pt idx="2608">0.94766913456129498</cx:pt>
          <cx:pt idx="2609">0.96362558880402405</cx:pt>
          <cx:pt idx="2610">0.94551525467085196</cx:pt>
          <cx:pt idx="2611">0.92246133560758303</cx:pt>
          <cx:pt idx="2612">0.91777429252913001</cx:pt>
          <cx:pt idx="2613">0.98927491532272605</cx:pt>
          <cx:pt idx="2614">0.944431946520921</cx:pt>
          <cx:pt idx="2615">0.94190991639338195</cx:pt>
          <cx:pt idx="2616">0.93685659107126995</cx:pt>
          <cx:pt idx="2617">0.93904574583496003</cx:pt>
          <cx:pt idx="2618">0.94623619992176999</cx:pt>
          <cx:pt idx="2619">0.96432466185963805</cx:pt>
          <cx:pt idx="2620">0.93140859694951506</cx:pt>
          <cx:pt idx="2621">0.930630577710159</cx:pt>
          <cx:pt idx="2622">0.90214895133461603</cx:pt>
          <cx:pt idx="2623">0.88659851970474302</cx:pt>
          <cx:pt idx="2624">0.909521479403123</cx:pt>
          <cx:pt idx="2625">0.91872605088926595</cx:pt>
          <cx:pt idx="2626">0.95076974176725104</cx:pt>
          <cx:pt idx="2627">0.95041780888416905</cx:pt>
          <cx:pt idx="2628">0.94336138239607303</cx:pt>
          <cx:pt idx="2629">0.93478023104594399</cx:pt>
          <cx:pt idx="2630">0.91938882884663198</cx:pt>
          <cx:pt idx="2631">0.89194008916672696</cx:pt>
          <cx:pt idx="2632">0.88581553971483895</cx:pt>
          <cx:pt idx="2633">0.87811186846375799</cx:pt>
          <cx:pt idx="2634">0.81249982901699402</cx:pt>
          <cx:pt idx="2635">0.92257141858137304</cx:pt>
          <cx:pt idx="2636">0.93502800872967295</cx:pt>
          <cx:pt idx="2637">0.91389157026157197</cx:pt>
          <cx:pt idx="2638">0.95379071138052196</cx:pt>
          <cx:pt idx="2639">0.94916952107694297</cx:pt>
          <cx:pt idx="2640">0.95706676894905296</cx:pt>
          <cx:pt idx="2641">1.0003936896969301</cx:pt>
          <cx:pt idx="2642">0.99223096201105399</cx:pt>
          <cx:pt idx="2643">0.98086920743169304</cx:pt>
          <cx:pt idx="2644">0.97461664297407202</cx:pt>
          <cx:pt idx="2645">0.96986551229263196</cx:pt>
          <cx:pt idx="2646">0.99305530922663299</cx:pt>
          <cx:pt idx="2647">1.0046911391015101</cx:pt>
          <cx:pt idx="2648">0.90287489488273698</cx:pt>
          <cx:pt idx="2649">0.90812327510937196</cx:pt>
          <cx:pt idx="2650">0.91173167593142801</cx:pt>
          <cx:pt idx="2651">0.95400933322109605</cx:pt>
          <cx:pt idx="2652">0.98902569140519203</cx:pt>
          <cx:pt idx="2653">0.90920865646746796</cx:pt>
          <cx:pt idx="2654">0.93413386681716004</cx:pt>
          <cx:pt idx="2655">0.95697092109884596</cx:pt>
          <cx:pt idx="2656">0.89283431276391401</cx:pt>
          <cx:pt idx="2657">0.85016014003902796</cx:pt>
          <cx:pt idx="2658">0.83323738551550397</cx:pt>
          <cx:pt idx="2659">0.83408013967769201</cx:pt>
          <cx:pt idx="2660">0.83365730705015495</cx:pt>
          <cx:pt idx="2661">0.80357400465422102</cx:pt>
          <cx:pt idx="2662">0.78577160124644296</cx:pt>
          <cx:pt idx="2663">0.82718189528461505</cx:pt>
          <cx:pt idx="2664">0.86413830669678904</cx:pt>
          <cx:pt idx="2665">1.0615856861083199</cx:pt>
          <cx:pt idx="2666">1.0704885549887</cx:pt>
          <cx:pt idx="2667">1.0437406256678099</cx:pt>
          <cx:pt idx="2668">1.03464303054762</cx:pt>
          <cx:pt idx="2669">1.0546103543652501</cx:pt>
          <cx:pt idx="2670">1.0526691214209001</cx:pt>
          <cx:pt idx="2671">1.08348808085447</cx:pt>
          <cx:pt idx="2672">1.0781753578206399</cx:pt>
          <cx:pt idx="2673">1.1164148395467099</cx:pt>
          <cx:pt idx="2674">1.15598829341481</cx:pt>
          <cx:pt idx="2675">1.1099842946159599</cx:pt>
          <cx:pt idx="2676">1.0972092134212601</cx:pt>
          <cx:pt idx="2677">1.0577221335662499</cx:pt>
          <cx:pt idx="2678">1.0643144868955401</cx:pt>
          <cx:pt idx="2679">1.00802049160472</cx:pt>
          <cx:pt idx="2680">0.97676214733541999</cx:pt>
          <cx:pt idx="2681">0.94742708996421898</cx:pt>
          <cx:pt idx="2682">0.92554313901757501</cx:pt>
          <cx:pt idx="2683">0.98040782252185299</cx:pt>
          <cx:pt idx="2684">0.97232050207819598</cx:pt>
          <cx:pt idx="2685">0.96349533833437895</cx:pt>
          <cx:pt idx="2686">0.95052616556459102</cx:pt>
          <cx:pt idx="2687">0.97809047346973499</cx:pt>
          <cx:pt idx="2688">0.95095393183715604</cx:pt>
          <cx:pt idx="2689">0.89211234895883396</cx:pt>
          <cx:pt idx="2690">0.75458933109734605</cx:pt>
          <cx:pt idx="2691">0.58459340437544205</cx:pt>
          <cx:pt idx="2692">0.85125723346297399</cx:pt>
          <cx:pt idx="2693">0.83378579899727201</cx:pt>
          <cx:pt idx="2694">0.84386238635986499</cx:pt>
          <cx:pt idx="2695">0.84170475634041597</cx:pt>
          <cx:pt idx="2696">0.85122687946353603</cx:pt>
          <cx:pt idx="2697">0.86157574672836601</cx:pt>
          <cx:pt idx="2698">0.86468998625425697</cx:pt>
          <cx:pt idx="2699">0.87286999342261296</cx:pt>
          <cx:pt idx="2700">0.87744980444518295</cx:pt>
          <cx:pt idx="2701">0.87343082294480701</cx:pt>
          <cx:pt idx="2702">0.87615172979675904</cx:pt>
          <cx:pt idx="2703">0.87415454014000904</cx:pt>
          <cx:pt idx="2704">0.87587805338949398</cx:pt>
          <cx:pt idx="2705">0.894431330184282</cx:pt>
          <cx:pt idx="2706">0.90433904343013904</cx:pt>
          <cx:pt idx="2707">0.90382934184028796</cx:pt>
          <cx:pt idx="2708">0.903732874158793</cx:pt>
          <cx:pt idx="2709">0.900629012737996</cx:pt>
          <cx:pt idx="2710">0.88622523223907201</cx:pt>
          <cx:pt idx="2711">0.93788441176678805</cx:pt>
          <cx:pt idx="2712">0.94197127101608402</cx:pt>
          <cx:pt idx="2713">1.0045407468690499</cx:pt>
          <cx:pt idx="2714">0.96891201421589002</cx:pt>
          <cx:pt idx="2715">0.97759945905728396</cx:pt>
          <cx:pt idx="2716">0.92537155207678701</cx:pt>
          <cx:pt idx="2717">0.882260831655728</cx:pt>
          <cx:pt idx="2718">0.76850261046969304</cx:pt>
          <cx:pt idx="2719">0.70300120483248996</cx:pt>
          <cx:pt idx="2720">0.77417193774162296</cx:pt>
          <cx:pt idx="2721">0.70922958643967504</cx:pt>
          <cx:pt idx="2722">0.702076692767997</cx:pt>
          <cx:pt idx="2723">0.73376911834049996</cx:pt>
          <cx:pt idx="2724">0.76555191147550306</cx:pt>
          <cx:pt idx="2725">0.80912067821367994</cx:pt>
          <cx:pt idx="2726">0.84526593265752303</cx:pt>
          <cx:pt idx="2727">0.88791935829844604</cx:pt>
          <cx:pt idx="2728">0.91616797568666697</cx:pt>
          <cx:pt idx="2729">0.926369919757839</cx:pt>
          <cx:pt idx="2730">0.92815705895793799</cx:pt>
          <cx:pt idx="2731">0.932690011623176</cx:pt>
          <cx:pt idx="2732">0.950266114309673</cx:pt>
          <cx:pt idx="2733">0.94833971400446104</cx:pt>
          <cx:pt idx="2734">0.97597394003671001</cx:pt>
          <cx:pt idx="2735">0.99215881979669096</cx:pt>
          <cx:pt idx="2736">0.94313713083280903</cx:pt>
          <cx:pt idx="2737">0.92171185924381804</cx:pt>
          <cx:pt idx="2738">0.87998885547091299</cx:pt>
          <cx:pt idx="2739">0.72795704984517495</cx:pt>
          <cx:pt idx="2740">0.682921306128214</cx:pt>
          <cx:pt idx="2741">0.70985797871071799</cx:pt>
          <cx:pt idx="2742">0.74985681730817599</cx:pt>
          <cx:pt idx="2743">0.83583790980176798</cx:pt>
          <cx:pt idx="2744">0.84113956635393206</cx:pt>
          <cx:pt idx="2745">0.82200040588777601</cx:pt>
          <cx:pt idx="2746">0.82766000596140399</cx:pt>
          <cx:pt idx="2747">0.83774748026732904</cx:pt>
          <cx:pt idx="2748">0.85160654727227103</cx:pt>
          <cx:pt idx="2749">0.848829782177144</cx:pt>
          <cx:pt idx="2750">0.82967738887902698</cx:pt>
          <cx:pt idx="2751">0.79925314649308898</cx:pt>
          <cx:pt idx="2752">0.78719600336046003</cx:pt>
          <cx:pt idx="2753">0.90698636955338596</cx:pt>
          <cx:pt idx="2754">0.88711522290535505</cx:pt>
          <cx:pt idx="2755">0.97559281250855601</cx:pt>
          <cx:pt idx="2756">0.90214094454448102</cx:pt>
          <cx:pt idx="2757">0.91059026284519595</cx:pt>
          <cx:pt idx="2758">0.95932372165957402</cx:pt>
          <cx:pt idx="2759">0.92726464089927596</cx:pt>
          <cx:pt idx="2760">0.93763726485011401</cx:pt>
          <cx:pt idx="2761">0.91465331818687601</cx:pt>
          <cx:pt idx="2762">0.88895944876025201</cx:pt>
          <cx:pt idx="2763">0.88776005961125304</cx:pt>
          <cx:pt idx="2764">0.85902514145436604</cx:pt>
          <cx:pt idx="2765">0.85404435810442503</cx:pt>
          <cx:pt idx="2766">0.85358059839200195</cx:pt>
          <cx:pt idx="2767">0.79178025511019701</cx:pt>
          <cx:pt idx="2768">0.78839984940588703</cx:pt>
          <cx:pt idx="2769">0.77805949788293804</cx:pt>
          <cx:pt idx="2770">0.87328996432890005</cx:pt>
          <cx:pt idx="2771">0.84091192719451802</cx:pt>
          <cx:pt idx="2772">0.85564039923063495</cx:pt>
          <cx:pt idx="2773">0.87915252784543196</cx:pt>
          <cx:pt idx="2774">0.88304734502501003</cx:pt>
          <cx:pt idx="2775">0.88302072217448802</cx:pt>
          <cx:pt idx="2776">0.86411230787870696</cx:pt>
          <cx:pt idx="2777">0.86364708769770104</cx:pt>
          <cx:pt idx="2778">0.87532477111239504</cx:pt>
          <cx:pt idx="2779">0.887994204146069</cx:pt>
          <cx:pt idx="2780">0.87911812894304497</cx:pt>
          <cx:pt idx="2781">0.89820700417958999</cx:pt>
          <cx:pt idx="2782">0.906569841994885</cx:pt>
          <cx:pt idx="2783">0.91060169413233905</cx:pt>
          <cx:pt idx="2784">0.90148893129534502</cx:pt>
          <cx:pt idx="2785">0.93378141471862997</cx:pt>
          <cx:pt idx="2786">0.91154536970731204</cx:pt>
          <cx:pt idx="2787">0.91609703893609595</cx:pt>
          <cx:pt idx="2788">0.88983354836253203</cx:pt>
          <cx:pt idx="2789">0.92025483241952799</cx:pt>
          <cx:pt idx="2790">0.84974400139735096</cx:pt>
          <cx:pt idx="2791">0.91204118240771803</cx:pt>
          <cx:pt idx="2792">0.92416774664606105</cx:pt>
          <cx:pt idx="2793">1.01013609581089</cx:pt>
          <cx:pt idx="2794">1.09647160271796</cx:pt>
          <cx:pt idx="2795">1.08321407772703</cx:pt>
          <cx:pt idx="2796">1.2241753693009301</cx:pt>
          <cx:pt idx="2797">1.1503235975761701</cx:pt>
          <cx:pt idx="2798">1.1390858537516</cx:pt>
          <cx:pt idx="2799">1.1170372137451201</cx:pt>
          <cx:pt idx="2800">1.11106541472395</cx:pt>
          <cx:pt idx="2801">1.11687103235298</cx:pt>
          <cx:pt idx="2802">1.1143035563465999</cx:pt>
          <cx:pt idx="2803">1.10717152132906</cx:pt>
          <cx:pt idx="2804">1.1188951169541299</cx:pt>
          <cx:pt idx="2805">1.12211761116637</cx:pt>
          <cx:pt idx="2806">1.11716071096375</cx:pt>
          <cx:pt idx="2807">1.09560246691494</cx:pt>
          <cx:pt idx="2808">1.0705959845825901</cx:pt>
          <cx:pt idx="2809">1.0460054504201599</cx:pt>
          <cx:pt idx="2810">0.98590578971600895</cx:pt>
          <cx:pt idx="2811">0.94554737539696199</cx:pt>
          <cx:pt idx="2812">0.90195177754746503</cx:pt>
          <cx:pt idx="2813">0.79319795197732401</cx:pt>
          <cx:pt idx="2814">0.83303995281202903</cx:pt>
          <cx:pt idx="2815">0.83312839573404696</cx:pt>
          <cx:pt idx="2816">0.79789017107178895</cx:pt>
          <cx:pt idx="2817">0.76821883695640103</cx:pt>
          <cx:pt idx="2818">0.75903174983283905</cx:pt>
          <cx:pt idx="2819">0.71931712947341797</cx:pt>
          <cx:pt idx="2820">0.678314079821982</cx:pt>
          <cx:pt idx="2821">0.64686612607920002</cx:pt>
          <cx:pt idx="2822">0.75693589320217602</cx:pt>
          <cx:pt idx="2823">0.73404563665949696</cx:pt>
          <cx:pt idx="2824">0.75528900433971802</cx:pt>
          <cx:pt idx="2825">0.768457008944883</cx:pt>
          <cx:pt idx="2826">0.79156905077801198</cx:pt>
          <cx:pt idx="2827">0.76439511711372399</cx:pt>
          <cx:pt idx="2828">0.89032082793450396</cx:pt>
          <cx:pt idx="2829">0.82888230394967799</cx:pt>
          <cx:pt idx="2830">0.71819521728945002</cx:pt>
          <cx:pt idx="2831">0.73739512151618103</cx:pt>
          <cx:pt idx="2832">0.70989046769168695</cx:pt>
          <cx:pt idx="2833">0.73795929062308596</cx:pt>
          <cx:pt idx="2834">0.75457994816224505</cx:pt>
          <cx:pt idx="2835">0.80445509208144805</cx:pt>
          <cx:pt idx="2836">0.859856581235662</cx:pt>
          <cx:pt idx="2837">0.83635489092153803</cx:pt>
          <cx:pt idx="2838">0.85629842800926903</cx:pt>
          <cx:pt idx="2839">0.88898359224762402</cx:pt>
          <cx:pt idx="2840">0.90411088770765402</cx:pt>
          <cx:pt idx="2841">0.91618288041062601</cx:pt>
          <cx:pt idx="2842">0.87553133706196995</cx:pt>
          <cx:pt idx="2843">0.89597982433753098</cx:pt>
          <cx:pt idx="2844">0.911745194244718</cx:pt>
          <cx:pt idx="2845">0.95776080959643595</cx:pt>
          <cx:pt idx="2846">0.97954904427280198</cx:pt>
          <cx:pt idx="2847">0.98277350151993004</cx:pt>
          <cx:pt idx="2848">0.99127095247300501</cx:pt>
          <cx:pt idx="2849">1.00338139194482</cx:pt>
          <cx:pt idx="2850">1.0020153745532301</cx:pt>
          <cx:pt idx="2851">0.99793027629130204</cx:pt>
          <cx:pt idx="2852">0.99547226641733</cx:pt>
          <cx:pt idx="2853">0.98277337044791402</cx:pt>
          <cx:pt idx="2854">0.95967982407030406</cx:pt>
          <cx:pt idx="2855">1.0089827557483599</cx:pt>
          <cx:pt idx="2856">1.0427271684972601</cx:pt>
          <cx:pt idx="2857">1.06405646318583</cx:pt>
          <cx:pt idx="2858">1.1478336520082399</cx:pt>
          <cx:pt idx="2859">0.97237530549750795</cx:pt>
          <cx:pt idx="2860">1.1280591569910701</cx:pt>
          <cx:pt idx="2861">1.05449276859151</cx:pt>
          <cx:pt idx="2862">0.99762551477476002</cx:pt>
          <cx:pt idx="2863">0.97250603015798298</cx:pt>
          <cx:pt idx="2864">0.97204479400789601</cx:pt>
          <cx:pt idx="2865">1.00262605185041</cx:pt>
          <cx:pt idx="2866">0.99610205398665197</cx:pt>
          <cx:pt idx="2867">0.98504244110260497</cx:pt>
          <cx:pt idx="2868">1.0032230435027201</cx:pt>
          <cx:pt idx="2869">1.0096896507100199</cx:pt>
          <cx:pt idx="2870">1.0161758430014201</cx:pt>
          <cx:pt idx="2871">1.01103422637758</cx:pt>
          <cx:pt idx="2872">1.0242265853033301</cx:pt>
          <cx:pt idx="2873">0.99383581905375795</cx:pt>
          <cx:pt idx="2874">0.94755691665877595</cx:pt>
          <cx:pt idx="2875">0.87048559862140495</cx:pt>
          <cx:pt idx="2876">0.81075074713215001</cx:pt>
          <cx:pt idx="2877">0.73350536038669001</cx:pt>
          <cx:pt idx="2878">0.78344414735977197</cx:pt>
          <cx:pt idx="2879">0.80763499279874396</cx:pt>
          <cx:pt idx="2880">0.92170145636156797</cx:pt>
          <cx:pt idx="2881">0.95429412071171704</cx:pt>
          <cx:pt idx="2882">0.94993802722663201</cx:pt>
          <cx:pt idx="2883">0.93391498616283297</cx:pt>
          <cx:pt idx="2884">0.93213708229440095</cx:pt>
          <cx:pt idx="2885">0.92824112413987703</cx:pt>
          <cx:pt idx="2886">0.92067047209439601</cx:pt>
          <cx:pt idx="2887">0.92113378233662402</cx:pt>
          <cx:pt idx="2888">0.929286828893373</cx:pt>
          <cx:pt idx="2889">0.87187353571349002</cx:pt>
          <cx:pt idx="2890">0.89811434284773495</cx:pt>
          <cx:pt idx="2891">0.96099407117562696</cx:pt>
          <cx:pt idx="2892">1.04958386242081</cx:pt>
          <cx:pt idx="2893">1.03318176706898</cx:pt>
          <cx:pt idx="2894">1.06437379651277</cx:pt>
          <cx:pt idx="2895">1.15918035400089</cx:pt>
          <cx:pt idx="2896">1.23238862725526</cx:pt>
          <cx:pt idx="2897">1.0939751031789899</cx:pt>
          <cx:pt idx="2898">1.0244894879772699</cx:pt>
          <cx:pt idx="2899">1.0125590910623901</cx:pt>
          <cx:pt idx="2900">1.00272534952385</cx:pt>
          <cx:pt idx="2901">0.97650675843983503</cx:pt>
          <cx:pt idx="2902">0.97439671867274902</cx:pt>
          <cx:pt idx="2903">0.96863487064354903</cx:pt>
          <cx:pt idx="2904">0.87328879681211002</cx:pt>
          <cx:pt idx="2905">0.85227627643264303</cx:pt>
          <cx:pt idx="2906">0.85985535983352301</cx:pt>
          <cx:pt idx="2907">0.84597067200739995</cx:pt>
          <cx:pt idx="2908">0.84989376417305496</cx:pt>
          <cx:pt idx="2909">0.84867935625063595</cx:pt>
          <cx:pt idx="2910">0.87368111900766299</cx:pt>
          <cx:pt idx="2911">0.84301288579257305</cx:pt>
          <cx:pt idx="2912">0.83444703737807802</cx:pt>
          <cx:pt idx="2913">0.83275245217484795</cx:pt>
          <cx:pt idx="2914">0.83440233669125397</cx:pt>
          <cx:pt idx="2915">0.84005159586820299</cx:pt>
          <cx:pt idx="2916">0.84765875810817004</cx:pt>
          <cx:pt idx="2917">0.88901142259924903</cx:pt>
          <cx:pt idx="2918">1.00096867532633</cx:pt>
          <cx:pt idx="2919">1.0579902324899799</cx:pt>
          <cx:pt idx="2920">1.1386391022781399</cx:pt>
          <cx:pt idx="2921">1.10357780012502</cx:pt>
          <cx:pt idx="2922">1.1202325598245899</cx:pt>
          <cx:pt idx="2923">1.1091254372447701</cx:pt>
          <cx:pt idx="2924">1.1245592076640001</cx:pt>
          <cx:pt idx="2925">1.14341528163668</cx:pt>
          <cx:pt idx="2926">1.12816160533736</cx:pt>
          <cx:pt idx="2927">1.1167819067857001</cx:pt>
          <cx:pt idx="2928">1.1192598056394401</cx:pt>
          <cx:pt idx="2929">1.1345846612197401</cx:pt>
          <cx:pt idx="2930">1.1337316496571499</cx:pt>
          <cx:pt idx="2931">1.11674423264932</cx:pt>
          <cx:pt idx="2932">1.1122619292873299</cx:pt>
          <cx:pt idx="2933">1.0718300804329199</cx:pt>
          <cx:pt idx="2934">1.03089313870808</cx:pt>
          <cx:pt idx="2935">0.991420814612476</cx:pt>
          <cx:pt idx="2936">0.95053759586173903</cx:pt>
          <cx:pt idx="2937">0.891771724656236</cx:pt>
          <cx:pt idx="2938">0.86851995888376399</cx:pt>
          <cx:pt idx="2939">0.88230610639917195</cx:pt>
          <cx:pt idx="2940">0.88515542535084801</cx:pt>
          <cx:pt idx="2941">0.86459574149954099</cx:pt>
          <cx:pt idx="2942">0.87803366319583198</cx:pt>
          <cx:pt idx="2943">0.88592098932747498</cx:pt>
          <cx:pt idx="2944">0.85626296218472397</cx:pt>
          <cx:pt idx="2945">0.92221821392890402</cx:pt>
          <cx:pt idx="2946">0.99212753477859394</cx:pt>
          <cx:pt idx="2947">1.10820668704508</cx:pt>
          <cx:pt idx="2948">1.1144985733931201</cx:pt>
          <cx:pt idx="2949">1.1356145670259301</cx:pt>
          <cx:pt idx="2950">1.1340659247807201</cx:pt>
          <cx:pt idx="2951">1.0821533723532499</cx:pt>
          <cx:pt idx="2952">1.0886994551531</cx:pt>
          <cx:pt idx="2953">1.0917229242529001</cx:pt>
          <cx:pt idx="2954">1.1006496607393099</cx:pt>
          <cx:pt idx="2955">1.07386483860537</cx:pt>
          <cx:pt idx="2956">1.08128870885233</cx:pt>
          <cx:pt idx="2957">1.0485899027949801</cx:pt>
          <cx:pt idx="2958">1.0279194430487599</cx:pt>
          <cx:pt idx="2959">0.94802824239225203</cx:pt>
          <cx:pt idx="2960">0.93821193173016004</cx:pt>
          <cx:pt idx="2961">0.98066672469827998</cx:pt>
          <cx:pt idx="2962">0.99322750053762598</cx:pt>
          <cx:pt idx="2963">1.01039830734363</cx:pt>
          <cx:pt idx="2964">1.0203190866034899</cx:pt>
          <cx:pt idx="2965">1.01327147976448</cx:pt>
          <cx:pt idx="2966">1.0283577308074701</cx:pt>
          <cx:pt idx="2967">1.0027541805961799</cx:pt>
          <cx:pt idx="2968">1.0217639022459599</cx:pt>
          <cx:pt idx="2969">0.98157778406502305</cx:pt>
          <cx:pt idx="2970">1.01202013014419</cx:pt>
          <cx:pt idx="2971">1.0291639827338199</cx:pt>
          <cx:pt idx="2972">1.1007616821967301</cx:pt>
          <cx:pt idx="2973">1.0900234550033101</cx:pt>
          <cx:pt idx="2974">1.0921435807250499</cx:pt>
          <cx:pt idx="2975">1.0583031873504201</cx:pt>
          <cx:pt idx="2976">0.98963486136331202</cx:pt>
          <cx:pt idx="2977">0.73088490894549596</cx:pt>
          <cx:pt idx="2978">0.81877289325577096</cx:pt>
          <cx:pt idx="2979">0.80284702268350405</cx:pt>
          <cx:pt idx="2980">0.80454511762733405</cx:pt>
          <cx:pt idx="2981">0.80163510504538704</cx:pt>
          <cx:pt idx="2982">0.81792786255405903</cx:pt>
          <cx:pt idx="2983">0.79705829860880895</cx:pt>
          <cx:pt idx="2984">0.820880191784504</cx:pt>
          <cx:pt idx="2985">0.86674318967860298</cx:pt>
          <cx:pt idx="2986">0.89408937352257201</cx:pt>
          <cx:pt idx="2987">0.91114228266303898</cx:pt>
          <cx:pt idx="2988">0.88124354977733999</cx:pt>
          <cx:pt idx="2989">0.89180516746423599</cx:pt>
          <cx:pt idx="2990">0.85934816297747796</cx:pt>
          <cx:pt idx="2991">0.86117979602627104</cx:pt>
          <cx:pt idx="2992">0.86293593370131905</cx:pt>
          <cx:pt idx="2993">0.88836306965743905</cx:pt>
          <cx:pt idx="2994">0.88417347871172702</cx:pt>
          <cx:pt idx="2995">0.88471580999458699</cx:pt>
          <cx:pt idx="2996">0.88812596256116705</cx:pt>
          <cx:pt idx="2997">0.89783823380624295</cx:pt>
          <cx:pt idx="2998">0.89893043898861902</cx:pt>
          <cx:pt idx="2999">0.89574663699526802</cx:pt>
          <cx:pt idx="3000">0.90622001562741294</cx:pt>
          <cx:pt idx="3001">0.90925522553825899</cx:pt>
          <cx:pt idx="3002">0.90011838100214203</cx:pt>
          <cx:pt idx="3003">0.88226264173476798</cx:pt>
          <cx:pt idx="3004">0.81462183145457201</cx:pt>
          <cx:pt idx="3005">0.79164035418094403</cx:pt>
          <cx:pt idx="3006">0.85600963573318201</cx:pt>
          <cx:pt idx="3007">0.83555145962395205</cx:pt>
          <cx:pt idx="3008">0.82810183343167698</cx:pt>
          <cx:pt idx="3009">0.85422051026964896</cx:pt>
          <cx:pt idx="3010">0.85402961206017303</cx:pt>
          <cx:pt idx="3011">0.952786488852715</cx:pt>
          <cx:pt idx="3012">0.90319496077339601</cx:pt>
          <cx:pt idx="3013">0.93688470302907201</cx:pt>
          <cx:pt idx="3014">0.94315896585801895</cx:pt>
          <cx:pt idx="3015">0.93068027757961902</cx:pt>
          <cx:pt idx="3016">0.93867812483497204</cx:pt>
          <cx:pt idx="3017">0.95375520665139502</cx:pt>
          <cx:pt idx="3018">0.93488365816294805</cx:pt>
          <cx:pt idx="3019">0.965885022166447</cx:pt>
          <cx:pt idx="3020">0.92805484243660596</cx:pt>
          <cx:pt idx="3021">0.854187779108187</cx:pt>
          <cx:pt idx="3022">0.912956535351231</cx:pt>
          <cx:pt idx="3023">0.92603072084939098</cx:pt>
          <cx:pt idx="3024">0.89618150457378198</cx:pt>
          <cx:pt idx="3025">0.85061927851102404</cx:pt>
          <cx:pt idx="3026">0.838128520356896</cx:pt>
          <cx:pt idx="3027">0.91309851984882495</cx:pt>
          <cx:pt idx="3028">0.92283077056030405</cx:pt>
          <cx:pt idx="3029">0.97915965673730299</cx:pt>
          <cx:pt idx="3030">1.0389332747330899</cx:pt>
          <cx:pt idx="3031">1.0271751299645699</cx:pt>
          <cx:pt idx="3032">1.04055925514144</cx:pt>
          <cx:pt idx="3033">1.06331482026145</cx:pt>
          <cx:pt idx="3034">1.0388073086554499</cx:pt>
          <cx:pt idx="3035">1.0190421102666301</cx:pt>
          <cx:pt idx="3036">1.0218143919529501</cx:pt>
          <cx:pt idx="3037">0.97423518692151001</cx:pt>
          <cx:pt idx="3038">0.94803851718888699</cx:pt>
          <cx:pt idx="3039">0.92471682435272695</cx:pt>
          <cx:pt idx="3040">0.95662627027384795</cx:pt>
          <cx:pt idx="3041">0.89832613392874905</cx:pt>
          <cx:pt idx="3042">0.88595646209955303</cx:pt>
          <cx:pt idx="3043">0.87727602808199701</cx:pt>
          <cx:pt idx="3044">0.87568956953462596</cx:pt>
          <cx:pt idx="3045">0.86257569838633796</cx:pt>
          <cx:pt idx="3046">0.86400067559258598</cx:pt>
          <cx:pt idx="3047">0.85095788334685796</cx:pt>
          <cx:pt idx="3048">0.84666770011325398</cx:pt>
          <cx:pt idx="3049">0.84906141099237797</cx:pt>
          <cx:pt idx="3050">0.86859534731933896</cx:pt>
          <cx:pt idx="3051">0.82610400789591598</cx:pt>
          <cx:pt idx="3052">0.82413952650430899</cx:pt>
          <cx:pt idx="3053">0.78355457501249604</cx:pt>
          <cx:pt idx="3054">0.52337673631510195</cx:pt>
          <cx:pt idx="3055">0.542427633542228</cx:pt>
          <cx:pt idx="3056">0.69946657612401297</cx:pt>
          <cx:pt idx="3057">0.75857718718332001</cx:pt>
          <cx:pt idx="3058">0.80561538823744305</cx:pt>
          <cx:pt idx="3059">0.77440624685904103</cx:pt>
          <cx:pt idx="3060">0.77851870532464296</cx:pt>
          <cx:pt idx="3061">0.78208016218296905</cx:pt>
          <cx:pt idx="3062">0.77515130164652501</cx:pt>
          <cx:pt idx="3063">0.78436004416737803</cx:pt>
          <cx:pt idx="3064">0.78154079060270398</cx:pt>
          <cx:pt idx="3065">0.77060668379166197</cx:pt>
          <cx:pt idx="3066">0.76523186032336699</cx:pt>
          <cx:pt idx="3067">0.75476742211158998</cx:pt>
          <cx:pt idx="3068">0.756084859768694</cx:pt>
          <cx:pt idx="3069">0.74768743353868194</cx:pt>
          <cx:pt idx="3070">0.728827638288846</cx:pt>
          <cx:pt idx="3071">0.69519701981410598</cx:pt>
          <cx:pt idx="3072">0.70386005797490503</cx:pt>
          <cx:pt idx="3073">0.77313526269352095</cx:pt>
          <cx:pt idx="3074">0.78421044571412601</cx:pt>
          <cx:pt idx="3075">0.76611451182743695</cx:pt>
          <cx:pt idx="3076">0.72105273306776996</cx:pt>
          <cx:pt idx="3077">0.80991621180885398</cx:pt>
          <cx:pt idx="3078">0.828325253705399</cx:pt>
          <cx:pt idx="3079">0.85413691784738599</cx:pt>
          <cx:pt idx="3080">0.86243899060407703</cx:pt>
          <cx:pt idx="3081">0.83126690724209595</cx:pt>
          <cx:pt idx="3082">0.81441614033718701</cx:pt>
          <cx:pt idx="3083">0.77213205806461405</cx:pt>
          <cx:pt idx="3084">0.74036012360860903</cx:pt>
          <cx:pt idx="3085">0.76978991667438201</cx:pt>
          <cx:pt idx="3086">0.76493330302120999</cx:pt>
          <cx:pt idx="3087">0.76192043994522096</cx:pt>
          <cx:pt idx="3088">0.82020475843533003</cx:pt>
          <cx:pt idx="3089">0.83807533134245504</cx:pt>
          <cx:pt idx="3090">0.85425855683676399</cx:pt>
          <cx:pt idx="3091">0.88495278942151201</cx:pt>
          <cx:pt idx="3092">0.88380215816640595</cx:pt>
          <cx:pt idx="3093">0.88977258376848301</cx:pt>
          <cx:pt idx="3094">0.91303515741447505</cx:pt>
          <cx:pt idx="3095">0.92484913601846597</cx:pt>
          <cx:pt idx="3096">0.92250257796623802</cx:pt>
          <cx:pt idx="3097">0.91062441872355204</cx:pt>
          <cx:pt idx="3098">0.91155249191889098</cx:pt>
          <cx:pt idx="3099">1.0163872559013101</cx:pt>
          <cx:pt idx="3100">1.02110918263893</cx:pt>
          <cx:pt idx="3101">1.0084099456259299</cx:pt>
          <cx:pt idx="3102">1.0175660675162299</cx:pt>
          <cx:pt idx="3103">0.98836773198233796</cx:pt>
          <cx:pt idx="3104">0.995916111843834</cx:pt>
          <cx:pt idx="3105">1.0151611103237199</cx:pt>
          <cx:pt idx="3106">0.97642245275297401</cx:pt>
          <cx:pt idx="3107">0.95790667509023697</cx:pt>
          <cx:pt idx="3108">0.88750528276040697</cx:pt>
          <cx:pt idx="3109">0.87157198384858103</cx:pt>
          <cx:pt idx="3110">0.87914504958816198</cx:pt>
          <cx:pt idx="3111">0.90060766646614898</cx:pt>
          <cx:pt idx="3112">0.88731364273302005</cx:pt>
          <cx:pt idx="3113">0.85672037557009195</cx:pt>
          <cx:pt idx="3114">0.84861611050835495</cx:pt>
          <cx:pt idx="3115">0.87096749827358899</cx:pt>
          <cx:pt idx="3116">0.86891960221154896</cx:pt>
          <cx:pt idx="3117">0.88216491979426703</cx:pt>
          <cx:pt idx="3118">0.69153084666671205</cx:pt>
          <cx:pt idx="3119">0.76743111313870005</cx:pt>
          <cx:pt idx="3120">0.79990588841890198</cx:pt>
          <cx:pt idx="3121">0.83708176487907704</cx:pt>
          <cx:pt idx="3122">0.87327461201521395</cx:pt>
          <cx:pt idx="3123">0.88950383523545795</cx:pt>
          <cx:pt idx="3124">0.86381858527796496</cx:pt>
          <cx:pt idx="3125">0.84278309478942504</cx:pt>
          <cx:pt idx="3126">0.83348718319145998</cx:pt>
          <cx:pt idx="3127">0.83501097323941198</cx:pt>
          <cx:pt idx="3128">0.82576833531642202</cx:pt>
          <cx:pt idx="3129">0.78512029324954602</cx:pt>
          <cx:pt idx="3130">0.75270390181200297</cx:pt>
          <cx:pt idx="3131">0.60935417710015305</cx:pt>
          <cx:pt idx="3132">0.52043820846721101</cx:pt>
          <cx:pt idx="3133">0.53590543560658199</cx:pt>
          <cx:pt idx="3134">0.55814128934049501</cx:pt>
          <cx:pt idx="3135">0.556604427972333</cx:pt>
          <cx:pt idx="3136">0.64064571484515498</cx:pt>
          <cx:pt idx="3137">0.64859789058226602</cx:pt>
          <cx:pt idx="3138">0.63870066258254998</cx:pt>
          <cx:pt idx="3139">0.667094550444705</cx:pt>
          <cx:pt idx="3140">0.66655142904322795</cx:pt>
          <cx:pt idx="3141">0.66710808547934397</cx:pt>
          <cx:pt idx="3142">0.74062330980452395</cx:pt>
          <cx:pt idx="3143">0.87082525345704598</cx:pt>
          <cx:pt idx="3144">1.0094260718022701</cx:pt>
          <cx:pt idx="3145">1.2659580448383101</cx:pt>
          <cx:pt idx="3146">1.1007952238458401</cx:pt>
          <cx:pt idx="3147">1.09447894892214</cx:pt>
          <cx:pt idx="3148">1.0653361741706699</cx:pt>
          <cx:pt idx="3149">1.0828226151812701</cx:pt>
          <cx:pt idx="3150">1.07619714836428</cx:pt>
          <cx:pt idx="3151">1.0778422336756599</cx:pt>
          <cx:pt idx="3152">1.0561124561938799</cx:pt>
          <cx:pt idx="3153">1.05351412616619</cx:pt>
          <cx:pt idx="3154">1.0482549889458399</cx:pt>
          <cx:pt idx="3155">1.04150034930599</cx:pt>
          <cx:pt idx="3156">1.0547190202154799</cx:pt>
          <cx:pt idx="3157">1.0228831980958699</cx:pt>
          <cx:pt idx="3158">1.0027770200678201</cx:pt>
          <cx:pt idx="3159">0.97743656406559998</cx:pt>
          <cx:pt idx="3160">0.97268679129344804</cx:pt>
          <cx:pt idx="3161">0.96789995498410297</cx:pt>
          <cx:pt idx="3162">0.95091897168377304</cx:pt>
          <cx:pt idx="3163">0.89641913091164505</cx:pt>
          <cx:pt idx="3164">0.92074615601423004</cx:pt>
          <cx:pt idx="3165">0.90247497933896303</cx:pt>
          <cx:pt idx="3166">0.92548824241691596</cx:pt>
          <cx:pt idx="3167">0.91553282265941605</cx:pt>
          <cx:pt idx="3168">0.94446129032878801</cx:pt>
          <cx:pt idx="3169">0.86021176080875195</cx:pt>
          <cx:pt idx="3170">0.91861395063344398</cx:pt>
          <cx:pt idx="3171">0.94701980769713501</cx:pt>
          <cx:pt idx="3172">0.94365948776778297</cx:pt>
          <cx:pt idx="3173">0.94616789045975302</cx:pt>
          <cx:pt idx="3174">0.938006781929556</cx:pt>
          <cx:pt idx="3175">0.95485988542380396</cx:pt>
          <cx:pt idx="3176">0.98176654951132702</cx:pt>
          <cx:pt idx="3177">0.89050826603357502</cx:pt>
          <cx:pt idx="3178">0.89003571578166596</cx:pt>
          <cx:pt idx="3179">0.91057723297162496</cx:pt>
          <cx:pt idx="3180">0.835123020651104</cx:pt>
          <cx:pt idx="3181">0.85185585678113596</cx:pt>
          <cx:pt idx="3182">0.834972797176051</cx:pt>
          <cx:pt idx="3183">0.86638221405929405</cx:pt>
          <cx:pt idx="3184">0.88510246488015698</cx:pt>
          <cx:pt idx="3185">0.89320156947486595</cx:pt>
          <cx:pt idx="3186">0.93246294833658705</cx:pt>
          <cx:pt idx="3187">0.93418594571835001</cx:pt>
          <cx:pt idx="3188">0.96031143549768205</cx:pt>
          <cx:pt idx="3189">0.97998502371377805</cx:pt>
          <cx:pt idx="3190">0.97207782749831595</cx:pt>
          <cx:pt idx="3191">0.96287860151820104</cx:pt>
          <cx:pt idx="3192">0.95739722726353105</cx:pt>
          <cx:pt idx="3193">0.971853754712382</cx:pt>
          <cx:pt idx="3194">0.84143771963291303</cx:pt>
          <cx:pt idx="3195">0.67886404764948305</cx:pt>
          <cx:pt idx="3196">0.645040328645891</cx:pt>
          <cx:pt idx="3197">0.55164686411298502</cx:pt>
          <cx:pt idx="3198">0.58772138737672996</cx:pt>
          <cx:pt idx="3199">0.561523077159507</cx:pt>
          <cx:pt idx="3200">0.71759222385291099</cx:pt>
          <cx:pt idx="3201">0.68907583712857701</cx:pt>
          <cx:pt idx="3202">0.718871055170623</cx:pt>
          <cx:pt idx="3203">0.65767349569156797</cx:pt>
          <cx:pt idx="3204">0.707352515449167</cx:pt>
          <cx:pt idx="3205">0.72110699585915705</cx:pt>
          <cx:pt idx="3206">0.74723020147642505</cx:pt>
          <cx:pt idx="3207">0.75536979148663597</cx:pt>
          <cx:pt idx="3208">0.739479526694935</cx:pt>
          <cx:pt idx="3209">0.74804917219172595</cx:pt>
          <cx:pt idx="3210">0.75598336094276197</cx:pt>
          <cx:pt idx="3211">0.761605114791291</cx:pt>
          <cx:pt idx="3212">0.75108326452270802</cx:pt>
          <cx:pt idx="3213">0.74713721314822701</cx:pt>
          <cx:pt idx="3214">0.743815322159043</cx:pt>
          <cx:pt idx="3215">0.731801715626616</cx:pt>
          <cx:pt idx="3216">0.73148313370319695</cx:pt>
          <cx:pt idx="3217">0.69492181113623896</cx:pt>
          <cx:pt idx="3218">0.61728129523393405</cx:pt>
          <cx:pt idx="3219">0.49997704170392199</cx:pt>
          <cx:pt idx="3220">0.45367149406941099</cx:pt>
          <cx:pt idx="3221">0.51310847880134303</cx:pt>
          <cx:pt idx="3222">0.496615756119199</cx:pt>
        </cx:lvl>
      </cx:numDim>
    </cx:data>
  </cx:chartData>
  <cx:chart>
    <cx:title pos="t" align="ctr" overlay="0">
      <cx:tx>
        <cx:rich>
          <a:bodyPr spcFirstLastPara="1" vertOverflow="ellipsis" horzOverflow="overflow" wrap="square" lIns="0" tIns="0" rIns="0" bIns="0" anchor="ctr" anchorCtr="1"/>
          <a:lstStyle/>
          <a:p>
            <a:pPr algn="ctr" rtl="0">
              <a:defRPr/>
            </a:pPr>
            <a:r>
              <a:rPr lang="en-US" altLang="zh-CN" sz="1400" b="0" i="0" u="none" strike="noStrike" baseline="0">
                <a:solidFill>
                  <a:sysClr val="windowText" lastClr="000000">
                    <a:lumMod val="65000"/>
                    <a:lumOff val="35000"/>
                  </a:sysClr>
                </a:solidFill>
                <a:latin typeface="Calibri" panose="020F0502020204030204"/>
                <a:ea typeface="等线" panose="02010600030101010101" pitchFamily="2" charset="-122"/>
              </a:rPr>
              <a:t>Distribution of Beta</a:t>
            </a:r>
            <a:endParaRPr lang="zh-CN" altLang="en-US" sz="1400" b="0" i="0" u="none" strike="noStrike" baseline="0">
              <a:solidFill>
                <a:sysClr val="windowText" lastClr="000000">
                  <a:lumMod val="65000"/>
                  <a:lumOff val="35000"/>
                </a:sysClr>
              </a:solidFill>
              <a:latin typeface="Calibri" panose="020F0502020204030204"/>
              <a:ea typeface="等线" panose="02010600030101010101" pitchFamily="2" charset="-122"/>
            </a:endParaRPr>
          </a:p>
        </cx:rich>
      </cx:tx>
    </cx:title>
    <cx:plotArea>
      <cx:plotAreaRegion>
        <cx:series layoutId="clusteredColumn" uniqueId="{837BA6D3-A8A0-46EA-B036-4EF7500E2BF4}">
          <cx:tx>
            <cx:txData>
              <cx:f>indicators!$H$1</cx:f>
              <cx:v>0.9543830466 </cx:v>
            </cx:txData>
          </cx:tx>
          <cx:dataId val="0"/>
          <cx:layoutPr>
            <cx:binning intervalClosed="r"/>
          </cx:layoutPr>
        </cx:series>
      </cx:plotAreaRegion>
      <cx:axis id="0">
        <cx:catScaling gapWidth="0"/>
        <cx:tickLabels/>
      </cx:axis>
      <cx:axis id="1">
        <cx:valScaling/>
        <cx:majorGridlines/>
        <cx:tickLabels/>
      </cx:axis>
    </cx:plotArea>
  </cx:chart>
</cx:chartSpace>
</file>

<file path=ppt/charts/colors1.xml><?xml version="1.0" encoding="utf-8"?>
<cs:colorStyle xmlns:cs="http://schemas.microsoft.com/office/drawing/2012/chartStyle" xmlns:a="http://schemas.openxmlformats.org/drawingml/2006/main" meth="withinLinearReversed" id="25">
  <a:schemeClr val="accent5"/>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8">
  <a:schemeClr val="accent5"/>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69">
  <cs:axisTitle>
    <cs:lnRef idx="0"/>
    <cs:fillRef idx="0"/>
    <cs:effectRef idx="0"/>
    <cs:fontRef idx="minor">
      <a:schemeClr val="tx1">
        <a:lumMod val="50000"/>
        <a:lumOff val="50000"/>
      </a:schemeClr>
    </cs:fontRef>
    <cs:defRPr sz="900"/>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cs:chartArea>
  <cs:dataLabel>
    <cs:lnRef idx="0"/>
    <cs:fillRef idx="0"/>
    <cs:effectRef idx="0"/>
    <cs:fontRef idx="minor">
      <a:schemeClr val="tx1">
        <a:lumMod val="50000"/>
        <a:lumOff val="50000"/>
      </a:schemeClr>
    </cs:fontRef>
    <cs:defRPr sz="900"/>
  </cs:dataLabel>
  <cs:dataLabelCallout>
    <cs:lnRef idx="0"/>
    <cs:fillRef idx="0"/>
    <cs:effectRef idx="0"/>
    <cs:fontRef idx="minor">
      <a:schemeClr val="dk1">
        <a:lumMod val="50000"/>
        <a:lumOff val="50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ln w="9525" cap="flat" cmpd="sng" algn="ctr">
        <a:solidFill>
          <a:schemeClr val="phClr">
            <a:alpha val="50000"/>
          </a:schemeClr>
        </a:solidFill>
        <a:round/>
      </a:ln>
    </cs:spPr>
  </cs:dataPoint>
  <cs:dataPoint3D>
    <cs:lnRef idx="0">
      <cs:styleClr val="auto"/>
    </cs:lnRef>
    <cs:fillRef idx="0">
      <cs:styleClr val="auto"/>
    </cs:fillRef>
    <cs:effectRef idx="0"/>
    <cs:fontRef idx="minor">
      <a:schemeClr val="dk1"/>
    </cs:fontRef>
    <cs:spPr>
      <a:solidFill>
        <a:schemeClr val="phClr"/>
      </a:solidFill>
      <a:ln w="9525" cap="flat" cmpd="sng" algn="ctr">
        <a:solidFill>
          <a:schemeClr val="phClr">
            <a:shade val="95000"/>
          </a:schemeClr>
        </a:solidFill>
        <a:round/>
      </a:ln>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4"/>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15000"/>
            <a:lumOff val="85000"/>
            <a:lumOff val="10000"/>
          </a:schemeClr>
        </a:solidFill>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50000"/>
        <a:lumOff val="50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400" cap="none" spc="2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50000"/>
        <a:lumOff val="50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50000"/>
        <a:lumOff val="50000"/>
      </a:schemeClr>
    </cs:fontRef>
    <cs:defRPr sz="900"/>
  </cs:valueAxis>
  <cs:wall>
    <cs:lnRef idx="0"/>
    <cs:fillRef idx="0"/>
    <cs:effectRef idx="0"/>
    <cs:fontRef idx="minor">
      <a:schemeClr val="dk1"/>
    </cs:fontRef>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HK"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30ADDCA-3BB1-484B-AFFC-05949D711684}" type="datetimeFigureOut">
              <a:rPr lang="zh-HK" altLang="en-US" smtClean="0"/>
              <a:t>26/4/2022</a:t>
            </a:fld>
            <a:endParaRPr lang="zh-HK"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HK"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zh-HK"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HK"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5D84C58-C050-444C-8487-8B202A0D1B8E}" type="slidenum">
              <a:rPr lang="zh-HK" altLang="en-US" smtClean="0"/>
              <a:t>‹#›</a:t>
            </a:fld>
            <a:endParaRPr lang="zh-HK" altLang="en-US"/>
          </a:p>
        </p:txBody>
      </p:sp>
    </p:spTree>
    <p:extLst>
      <p:ext uri="{BB962C8B-B14F-4D97-AF65-F5344CB8AC3E}">
        <p14:creationId xmlns:p14="http://schemas.microsoft.com/office/powerpoint/2010/main" val="30195618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F5D84C58-C050-444C-8487-8B202A0D1B8E}" type="slidenum">
              <a:rPr lang="zh-HK" altLang="en-US" smtClean="0"/>
              <a:t>1</a:t>
            </a:fld>
            <a:endParaRPr lang="zh-HK" altLang="en-US"/>
          </a:p>
        </p:txBody>
      </p:sp>
    </p:spTree>
    <p:extLst>
      <p:ext uri="{BB962C8B-B14F-4D97-AF65-F5344CB8AC3E}">
        <p14:creationId xmlns:p14="http://schemas.microsoft.com/office/powerpoint/2010/main" val="1703929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DCE16D4E-C8E9-4B46-B57C-A3BACBF23865}" type="slidenum">
              <a:rPr lang="zh-CN" altLang="en-US" smtClean="0"/>
              <a:t>11</a:t>
            </a:fld>
            <a:endParaRPr lang="zh-CN" altLang="en-US"/>
          </a:p>
        </p:txBody>
      </p:sp>
    </p:spTree>
    <p:extLst>
      <p:ext uri="{BB962C8B-B14F-4D97-AF65-F5344CB8AC3E}">
        <p14:creationId xmlns:p14="http://schemas.microsoft.com/office/powerpoint/2010/main" val="40091404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DCE16D4E-C8E9-4B46-B57C-A3BACBF23865}" type="slidenum">
              <a:rPr lang="zh-CN" altLang="en-US" smtClean="0"/>
              <a:t>16</a:t>
            </a:fld>
            <a:endParaRPr lang="zh-CN" altLang="en-US"/>
          </a:p>
        </p:txBody>
      </p:sp>
    </p:spTree>
    <p:extLst>
      <p:ext uri="{BB962C8B-B14F-4D97-AF65-F5344CB8AC3E}">
        <p14:creationId xmlns:p14="http://schemas.microsoft.com/office/powerpoint/2010/main" val="40091404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DCE16D4E-C8E9-4B46-B57C-A3BACBF23865}" type="slidenum">
              <a:rPr lang="zh-CN" altLang="en-US" smtClean="0"/>
              <a:t>25</a:t>
            </a:fld>
            <a:endParaRPr lang="zh-CN" altLang="en-US"/>
          </a:p>
        </p:txBody>
      </p:sp>
    </p:spTree>
    <p:extLst>
      <p:ext uri="{BB962C8B-B14F-4D97-AF65-F5344CB8AC3E}">
        <p14:creationId xmlns:p14="http://schemas.microsoft.com/office/powerpoint/2010/main" val="40091404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DCE16D4E-C8E9-4B46-B57C-A3BACBF23865}" type="slidenum">
              <a:rPr lang="zh-CN" altLang="en-US" smtClean="0"/>
              <a:t>26</a:t>
            </a:fld>
            <a:endParaRPr lang="zh-CN" altLang="en-US"/>
          </a:p>
        </p:txBody>
      </p:sp>
    </p:spTree>
    <p:extLst>
      <p:ext uri="{BB962C8B-B14F-4D97-AF65-F5344CB8AC3E}">
        <p14:creationId xmlns:p14="http://schemas.microsoft.com/office/powerpoint/2010/main" val="24952202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4/2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4/2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4/2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4/2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4/2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4/2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4/26/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4/26/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4/26/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4/2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4/2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对象 7" hidden="1">
            <a:extLst>
              <a:ext uri="{FF2B5EF4-FFF2-40B4-BE49-F238E27FC236}">
                <a16:creationId xmlns:a16="http://schemas.microsoft.com/office/drawing/2014/main" id="{B8E89215-4F78-25E1-2018-4882D8466F8D}"/>
              </a:ext>
            </a:extLst>
          </p:cNvPr>
          <p:cNvGraphicFramePr>
            <a:graphicFrameLocks noChangeAspect="1"/>
          </p:cNvGraphicFramePr>
          <p:nvPr userDrawn="1">
            <p:custDataLst>
              <p:tags r:id="rId13"/>
            </p:custDataLst>
            <p:extLst>
              <p:ext uri="{D42A27DB-BD31-4B8C-83A1-F6EECF244321}">
                <p14:modId xmlns:p14="http://schemas.microsoft.com/office/powerpoint/2010/main" val="71414564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14" imgW="7772400" imgH="10058400" progId="TCLayout.ActiveDocument.1">
                  <p:embed/>
                </p:oleObj>
              </mc:Choice>
              <mc:Fallback>
                <p:oleObj name="think-cell 幻灯片" r:id="rId14" imgW="7772400" imgH="10058400" progId="TCLayout.ActiveDocument.1">
                  <p:embed/>
                  <p:pic>
                    <p:nvPicPr>
                      <p:cNvPr id="8" name="对象 7" hidden="1">
                        <a:extLst>
                          <a:ext uri="{FF2B5EF4-FFF2-40B4-BE49-F238E27FC236}">
                            <a16:creationId xmlns:a16="http://schemas.microsoft.com/office/drawing/2014/main" id="{B8E89215-4F78-25E1-2018-4882D8466F8D}"/>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pPr/>
              <a:t>4/26/2022</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6.xml"/><Relationship Id="rId4" Type="http://schemas.openxmlformats.org/officeDocument/2006/relationships/image" Target="../media/image10.png"/></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27.png"/><Relationship Id="rId5" Type="http://schemas.openxmlformats.org/officeDocument/2006/relationships/image" Target="../media/image26.png"/><Relationship Id="rId4" Type="http://schemas.microsoft.com/office/2014/relationships/chartEx" Target="../charts/chartEx1.xml"/></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0.png"/><Relationship Id="rId1" Type="http://schemas.openxmlformats.org/officeDocument/2006/relationships/slideLayout" Target="../slideLayouts/slideLayout6.xml"/><Relationship Id="rId4" Type="http://schemas.openxmlformats.org/officeDocument/2006/relationships/chart" Target="../charts/chart2.xml"/></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9.png"/><Relationship Id="rId1" Type="http://schemas.openxmlformats.org/officeDocument/2006/relationships/slideLayout" Target="../slideLayouts/slideLayout7.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10.png"/></Relationships>
</file>

<file path=ppt/slides/_rels/slide1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7.xml"/><Relationship Id="rId7" Type="http://schemas.openxmlformats.org/officeDocument/2006/relationships/image" Target="../media/image10.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15.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41.svg"/><Relationship Id="rId3" Type="http://schemas.openxmlformats.org/officeDocument/2006/relationships/image" Target="../media/image33.png"/><Relationship Id="rId7" Type="http://schemas.openxmlformats.org/officeDocument/2006/relationships/image" Target="../media/image37.png"/><Relationship Id="rId12" Type="http://schemas.openxmlformats.org/officeDocument/2006/relationships/image" Target="../media/image40.png"/><Relationship Id="rId2" Type="http://schemas.openxmlformats.org/officeDocument/2006/relationships/image" Target="../media/image32.png"/><Relationship Id="rId1" Type="http://schemas.openxmlformats.org/officeDocument/2006/relationships/slideLayout" Target="../slideLayouts/slideLayout7.xml"/><Relationship Id="rId6" Type="http://schemas.openxmlformats.org/officeDocument/2006/relationships/image" Target="../media/image36.png"/><Relationship Id="rId11" Type="http://schemas.openxmlformats.org/officeDocument/2006/relationships/image" Target="../media/image10.png"/><Relationship Id="rId5" Type="http://schemas.openxmlformats.org/officeDocument/2006/relationships/image" Target="../media/image35.png"/><Relationship Id="rId10" Type="http://schemas.openxmlformats.org/officeDocument/2006/relationships/image" Target="../media/image39.png"/><Relationship Id="rId4" Type="http://schemas.openxmlformats.org/officeDocument/2006/relationships/image" Target="../media/image34.png"/><Relationship Id="rId9" Type="http://schemas.openxmlformats.org/officeDocument/2006/relationships/image" Target="../media/image38.png"/></Relationships>
</file>

<file path=ppt/slides/_rels/slide16.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250.png"/><Relationship Id="rId3" Type="http://schemas.openxmlformats.org/officeDocument/2006/relationships/image" Target="../media/image10.png"/><Relationship Id="rId7" Type="http://schemas.openxmlformats.org/officeDocument/2006/relationships/image" Target="../media/image42.png"/><Relationship Id="rId12" Type="http://schemas.openxmlformats.org/officeDocument/2006/relationships/image" Target="../media/image240.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180.png"/><Relationship Id="rId11" Type="http://schemas.openxmlformats.org/officeDocument/2006/relationships/image" Target="../media/image20.png"/><Relationship Id="rId5" Type="http://schemas.openxmlformats.org/officeDocument/2006/relationships/image" Target="../media/image13.png"/><Relationship Id="rId10" Type="http://schemas.openxmlformats.org/officeDocument/2006/relationships/image" Target="../media/image19.png"/><Relationship Id="rId4" Type="http://schemas.openxmlformats.org/officeDocument/2006/relationships/image" Target="../media/image12.png"/><Relationship Id="rId9" Type="http://schemas.openxmlformats.org/officeDocument/2006/relationships/image" Target="../media/image44.png"/><Relationship Id="rId14" Type="http://schemas.openxmlformats.org/officeDocument/2006/relationships/image" Target="../media/image260.png"/></Relationships>
</file>

<file path=ppt/slides/_rels/slide17.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12.png"/><Relationship Id="rId7" Type="http://schemas.openxmlformats.org/officeDocument/2006/relationships/image" Target="../media/image20.png"/><Relationship Id="rId2" Type="http://schemas.openxmlformats.org/officeDocument/2006/relationships/image" Target="../media/image10.png"/><Relationship Id="rId1" Type="http://schemas.openxmlformats.org/officeDocument/2006/relationships/slideLayout" Target="../slideLayouts/slideLayout7.xml"/><Relationship Id="rId6" Type="http://schemas.openxmlformats.org/officeDocument/2006/relationships/image" Target="../media/image19.png"/><Relationship Id="rId5" Type="http://schemas.openxmlformats.org/officeDocument/2006/relationships/image" Target="../media/image42.png"/><Relationship Id="rId10" Type="http://schemas.openxmlformats.org/officeDocument/2006/relationships/image" Target="../media/image290.png"/><Relationship Id="rId4" Type="http://schemas.openxmlformats.org/officeDocument/2006/relationships/image" Target="../media/image13.png"/><Relationship Id="rId9" Type="http://schemas.openxmlformats.org/officeDocument/2006/relationships/image" Target="../media/image46.png"/></Relationships>
</file>

<file path=ppt/slides/_rels/slide18.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image" Target="../media/image47.png"/><Relationship Id="rId1" Type="http://schemas.openxmlformats.org/officeDocument/2006/relationships/slideLayout" Target="../slideLayouts/slideLayout7.xml"/><Relationship Id="rId6" Type="http://schemas.openxmlformats.org/officeDocument/2006/relationships/image" Target="../media/image51.png"/><Relationship Id="rId5" Type="http://schemas.openxmlformats.org/officeDocument/2006/relationships/image" Target="../media/image50.png"/><Relationship Id="rId10" Type="http://schemas.openxmlformats.org/officeDocument/2006/relationships/image" Target="../media/image10.png"/><Relationship Id="rId4" Type="http://schemas.openxmlformats.org/officeDocument/2006/relationships/image" Target="../media/image49.png"/><Relationship Id="rId9" Type="http://schemas.openxmlformats.org/officeDocument/2006/relationships/image" Target="../media/image54.png"/></Relationships>
</file>

<file path=ppt/slides/_rels/slide1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7.xml"/><Relationship Id="rId7" Type="http://schemas.openxmlformats.org/officeDocument/2006/relationships/image" Target="../media/image10.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image" Target="../media/image10.png"/><Relationship Id="rId7" Type="http://schemas.openxmlformats.org/officeDocument/2006/relationships/image" Target="../media/image55.png"/><Relationship Id="rId2" Type="http://schemas.openxmlformats.org/officeDocument/2006/relationships/image" Target="../media/image5.png"/><Relationship Id="rId1" Type="http://schemas.openxmlformats.org/officeDocument/2006/relationships/slideLayout" Target="../slideLayouts/slideLayout7.xml"/><Relationship Id="rId6" Type="http://schemas.openxmlformats.org/officeDocument/2006/relationships/chart" Target="../charts/chart3.xml"/><Relationship Id="rId5" Type="http://schemas.openxmlformats.org/officeDocument/2006/relationships/image" Target="../media/image31.svg"/><Relationship Id="rId10" Type="http://schemas.openxmlformats.org/officeDocument/2006/relationships/image" Target="../media/image58.svg"/><Relationship Id="rId4" Type="http://schemas.openxmlformats.org/officeDocument/2006/relationships/image" Target="../media/image30.png"/><Relationship Id="rId9" Type="http://schemas.openxmlformats.org/officeDocument/2006/relationships/image" Target="../media/image57.png"/></Relationships>
</file>

<file path=ppt/slides/_rels/slide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5.png"/><Relationship Id="rId1" Type="http://schemas.openxmlformats.org/officeDocument/2006/relationships/slideLayout" Target="../slideLayouts/slideLayout7.xml"/><Relationship Id="rId6" Type="http://schemas.openxmlformats.org/officeDocument/2006/relationships/image" Target="../media/image59.png"/><Relationship Id="rId5" Type="http://schemas.openxmlformats.org/officeDocument/2006/relationships/image" Target="../media/image31.svg"/><Relationship Id="rId4" Type="http://schemas.openxmlformats.org/officeDocument/2006/relationships/image" Target="../media/image30.png"/></Relationships>
</file>

<file path=ppt/slides/_rels/slide22.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image" Target="../media/image10.png"/><Relationship Id="rId7" Type="http://schemas.openxmlformats.org/officeDocument/2006/relationships/image" Target="../media/image56.svg"/><Relationship Id="rId2" Type="http://schemas.openxmlformats.org/officeDocument/2006/relationships/image" Target="../media/image5.png"/><Relationship Id="rId1" Type="http://schemas.openxmlformats.org/officeDocument/2006/relationships/slideLayout" Target="../slideLayouts/slideLayout7.xml"/><Relationship Id="rId6" Type="http://schemas.openxmlformats.org/officeDocument/2006/relationships/image" Target="../media/image55.png"/><Relationship Id="rId5" Type="http://schemas.openxmlformats.org/officeDocument/2006/relationships/image" Target="../media/image31.svg"/><Relationship Id="rId10" Type="http://schemas.openxmlformats.org/officeDocument/2006/relationships/image" Target="../media/image58.svg"/><Relationship Id="rId4" Type="http://schemas.openxmlformats.org/officeDocument/2006/relationships/image" Target="../media/image30.png"/><Relationship Id="rId9" Type="http://schemas.openxmlformats.org/officeDocument/2006/relationships/image" Target="../media/image57.png"/></Relationships>
</file>

<file path=ppt/slides/_rels/slide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5.png"/><Relationship Id="rId1" Type="http://schemas.openxmlformats.org/officeDocument/2006/relationships/slideLayout" Target="../slideLayouts/slideLayout7.xml"/><Relationship Id="rId6" Type="http://schemas.openxmlformats.org/officeDocument/2006/relationships/chart" Target="../charts/chart5.xml"/><Relationship Id="rId5" Type="http://schemas.openxmlformats.org/officeDocument/2006/relationships/image" Target="../media/image31.svg"/><Relationship Id="rId4" Type="http://schemas.openxmlformats.org/officeDocument/2006/relationships/image" Target="../media/image30.png"/></Relationships>
</file>

<file path=ppt/slides/_rels/slide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5.png"/><Relationship Id="rId1" Type="http://schemas.openxmlformats.org/officeDocument/2006/relationships/slideLayout" Target="../slideLayouts/slideLayout7.xml"/><Relationship Id="rId6" Type="http://schemas.openxmlformats.org/officeDocument/2006/relationships/chart" Target="../charts/chart6.xml"/><Relationship Id="rId5" Type="http://schemas.openxmlformats.org/officeDocument/2006/relationships/image" Target="../media/image31.svg"/><Relationship Id="rId4" Type="http://schemas.openxmlformats.org/officeDocument/2006/relationships/image" Target="../media/image30.png"/></Relationships>
</file>

<file path=ppt/slides/_rels/slide25.xml.rels><?xml version="1.0" encoding="UTF-8" standalone="yes"?>
<Relationships xmlns="http://schemas.openxmlformats.org/package/2006/relationships"><Relationship Id="rId8" Type="http://schemas.openxmlformats.org/officeDocument/2006/relationships/image" Target="../media/image62.svg"/><Relationship Id="rId3" Type="http://schemas.openxmlformats.org/officeDocument/2006/relationships/image" Target="../media/image10.png"/><Relationship Id="rId7" Type="http://schemas.openxmlformats.org/officeDocument/2006/relationships/image" Target="../media/image61.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chart" Target="../charts/chart7.xml"/><Relationship Id="rId5" Type="http://schemas.openxmlformats.org/officeDocument/2006/relationships/image" Target="../media/image60.png"/><Relationship Id="rId4" Type="http://schemas.openxmlformats.org/officeDocument/2006/relationships/image" Target="../media/image12.png"/></Relationships>
</file>

<file path=ppt/slides/_rels/slide26.xml.rels><?xml version="1.0" encoding="UTF-8" standalone="yes"?>
<Relationships xmlns="http://schemas.openxmlformats.org/package/2006/relationships"><Relationship Id="rId8" Type="http://schemas.openxmlformats.org/officeDocument/2006/relationships/image" Target="../media/image62.svg"/><Relationship Id="rId3" Type="http://schemas.openxmlformats.org/officeDocument/2006/relationships/image" Target="../media/image10.png"/><Relationship Id="rId7" Type="http://schemas.openxmlformats.org/officeDocument/2006/relationships/image" Target="../media/image61.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chart" Target="../charts/chart8.xml"/><Relationship Id="rId5" Type="http://schemas.openxmlformats.org/officeDocument/2006/relationships/image" Target="../media/image60.png"/><Relationship Id="rId10" Type="http://schemas.openxmlformats.org/officeDocument/2006/relationships/image" Target="../media/image64.svg"/><Relationship Id="rId4" Type="http://schemas.openxmlformats.org/officeDocument/2006/relationships/image" Target="../media/image12.png"/><Relationship Id="rId9" Type="http://schemas.openxmlformats.org/officeDocument/2006/relationships/image" Target="../media/image63.png"/></Relationships>
</file>

<file path=ppt/slides/_rels/slide2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7.xml"/><Relationship Id="rId7" Type="http://schemas.openxmlformats.org/officeDocument/2006/relationships/image" Target="../media/image10.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28.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12.png"/><Relationship Id="rId7" Type="http://schemas.openxmlformats.org/officeDocument/2006/relationships/image" Target="../media/image100.png"/><Relationship Id="rId2" Type="http://schemas.openxmlformats.org/officeDocument/2006/relationships/image" Target="../media/image10.png"/><Relationship Id="rId1" Type="http://schemas.openxmlformats.org/officeDocument/2006/relationships/slideLayout" Target="../slideLayouts/slideLayout7.xml"/><Relationship Id="rId6" Type="http://schemas.openxmlformats.org/officeDocument/2006/relationships/image" Target="../media/image66.svg"/><Relationship Id="rId5" Type="http://schemas.openxmlformats.org/officeDocument/2006/relationships/image" Target="../media/image65.png"/><Relationship Id="rId10" Type="http://schemas.openxmlformats.org/officeDocument/2006/relationships/image" Target="../media/image69.svg"/><Relationship Id="rId4" Type="http://schemas.openxmlformats.org/officeDocument/2006/relationships/image" Target="../media/image13.png"/><Relationship Id="rId9" Type="http://schemas.openxmlformats.org/officeDocument/2006/relationships/image" Target="../media/image68.png"/></Relationships>
</file>

<file path=ppt/slides/_rels/slide29.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7.xml"/><Relationship Id="rId7" Type="http://schemas.openxmlformats.org/officeDocument/2006/relationships/image" Target="../media/image10.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3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10.png"/><Relationship Id="rId1" Type="http://schemas.openxmlformats.org/officeDocument/2006/relationships/slideLayout" Target="../slideLayouts/slideLayout7.xml"/><Relationship Id="rId4" Type="http://schemas.openxmlformats.org/officeDocument/2006/relationships/image" Target="../media/image71.svg"/></Relationships>
</file>

<file path=ppt/slides/_rels/slide31.xml.rels><?xml version="1.0" encoding="UTF-8" standalone="yes"?>
<Relationships xmlns="http://schemas.openxmlformats.org/package/2006/relationships"><Relationship Id="rId8" Type="http://schemas.openxmlformats.org/officeDocument/2006/relationships/image" Target="../media/image69.svg"/><Relationship Id="rId3" Type="http://schemas.openxmlformats.org/officeDocument/2006/relationships/image" Target="../media/image12.png"/><Relationship Id="rId7" Type="http://schemas.openxmlformats.org/officeDocument/2006/relationships/image" Target="../media/image68.png"/><Relationship Id="rId2" Type="http://schemas.openxmlformats.org/officeDocument/2006/relationships/image" Target="../media/image10.png"/><Relationship Id="rId1" Type="http://schemas.openxmlformats.org/officeDocument/2006/relationships/slideLayout" Target="../slideLayouts/slideLayout7.xml"/><Relationship Id="rId6" Type="http://schemas.openxmlformats.org/officeDocument/2006/relationships/image" Target="../media/image66.svg"/><Relationship Id="rId5" Type="http://schemas.openxmlformats.org/officeDocument/2006/relationships/image" Target="../media/image65.png"/><Relationship Id="rId10" Type="http://schemas.openxmlformats.org/officeDocument/2006/relationships/image" Target="../media/image72.png"/><Relationship Id="rId4" Type="http://schemas.openxmlformats.org/officeDocument/2006/relationships/image" Target="../media/image13.png"/><Relationship Id="rId9" Type="http://schemas.openxmlformats.org/officeDocument/2006/relationships/image" Target="../media/image160.png"/></Relationships>
</file>

<file path=ppt/slides/_rels/slide32.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10.png"/><Relationship Id="rId1" Type="http://schemas.openxmlformats.org/officeDocument/2006/relationships/slideLayout" Target="../slideLayouts/slideLayout7.xml"/><Relationship Id="rId4" Type="http://schemas.openxmlformats.org/officeDocument/2006/relationships/image" Target="../media/image71.svg"/></Relationships>
</file>

<file path=ppt/slides/_rels/slide3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7.xml"/><Relationship Id="rId5" Type="http://schemas.openxmlformats.org/officeDocument/2006/relationships/image" Target="../media/image23.png"/><Relationship Id="rId4" Type="http://schemas.openxmlformats.org/officeDocument/2006/relationships/image" Target="../media/image10.png"/></Relationships>
</file>

<file path=ppt/slides/_rels/slide3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7.xml"/><Relationship Id="rId7" Type="http://schemas.openxmlformats.org/officeDocument/2006/relationships/image" Target="../media/image10.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12" Type="http://schemas.openxmlformats.org/officeDocument/2006/relationships/image" Target="../media/image10.png"/><Relationship Id="rId2" Type="http://schemas.openxmlformats.org/officeDocument/2006/relationships/image" Target="../media/image12.png"/><Relationship Id="rId1" Type="http://schemas.openxmlformats.org/officeDocument/2006/relationships/slideLayout" Target="../slideLayouts/slideLayout6.xml"/><Relationship Id="rId6" Type="http://schemas.openxmlformats.org/officeDocument/2006/relationships/image" Target="../media/image16.png"/><Relationship Id="rId11" Type="http://schemas.openxmlformats.org/officeDocument/2006/relationships/image" Target="../media/image150.pn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png"/></Relationships>
</file>

<file path=ppt/slides/_rels/slide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7.xml"/><Relationship Id="rId5" Type="http://schemas.openxmlformats.org/officeDocument/2006/relationships/image" Target="../media/image23.png"/><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image" Target="../media/image200.png"/><Relationship Id="rId7" Type="http://schemas.openxmlformats.org/officeDocument/2006/relationships/image" Target="../media/image23.png"/><Relationship Id="rId1" Type="http://schemas.openxmlformats.org/officeDocument/2006/relationships/slideLayout" Target="../slideLayouts/slideLayout6.xml"/><Relationship Id="rId6" Type="http://schemas.openxmlformats.org/officeDocument/2006/relationships/image" Target="../media/image10.png"/><Relationship Id="rId5" Type="http://schemas.openxmlformats.org/officeDocument/2006/relationships/image" Target="../media/image220.png"/><Relationship Id="rId4" Type="http://schemas.openxmlformats.org/officeDocument/2006/relationships/image" Target="../media/image210.png"/></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4.png"/><Relationship Id="rId2" Type="http://schemas.openxmlformats.org/officeDocument/2006/relationships/image" Target="../media/image21.png"/><Relationship Id="rId1" Type="http://schemas.openxmlformats.org/officeDocument/2006/relationships/slideLayout" Target="../slideLayouts/slideLayout7.xml"/><Relationship Id="rId6" Type="http://schemas.openxmlformats.org/officeDocument/2006/relationships/image" Target="../media/image230.png"/><Relationship Id="rId5" Type="http://schemas.openxmlformats.org/officeDocument/2006/relationships/image" Target="../media/image23.png"/><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23.png"/><Relationship Id="rId2"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image" Target="../media/image10.png"/><Relationship Id="rId5" Type="http://schemas.openxmlformats.org/officeDocument/2006/relationships/image" Target="../media/image21.png"/><Relationship Id="rId4" Type="http://schemas.openxmlformats.org/officeDocument/2006/relationships/image" Target="../media/image24.emf"/><Relationship Id="rId9" Type="http://schemas.openxmlformats.org/officeDocument/2006/relationships/image" Target="../media/image25.png"/></Relationships>
</file>

<file path=ppt/slides/_rels/slide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7.xml"/><Relationship Id="rId7" Type="http://schemas.openxmlformats.org/officeDocument/2006/relationships/image" Target="../media/image10.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3"/>
          <a:stretch>
            <a:fillRect/>
          </a:stretch>
        </p:blipFill>
        <p:spPr>
          <a:xfrm>
            <a:off x="0" y="0"/>
            <a:ext cx="16256000" cy="9144000"/>
          </a:xfrm>
          <a:prstGeom prst="rect">
            <a:avLst/>
          </a:prstGeom>
        </p:spPr>
      </p:pic>
      <p:pic>
        <p:nvPicPr>
          <p:cNvPr id="3" name="Picture 3"/>
          <p:cNvPicPr>
            <a:picLocks noChangeAspect="1"/>
          </p:cNvPicPr>
          <p:nvPr/>
        </p:nvPicPr>
        <p:blipFill>
          <a:blip r:embed="rId3"/>
          <a:stretch>
            <a:fillRect/>
          </a:stretch>
        </p:blipFill>
        <p:spPr>
          <a:xfrm>
            <a:off x="0" y="0"/>
            <a:ext cx="16256000" cy="9144000"/>
          </a:xfrm>
          <a:prstGeom prst="rect">
            <a:avLst/>
          </a:prstGeom>
        </p:spPr>
      </p:pic>
      <p:sp>
        <p:nvSpPr>
          <p:cNvPr id="4" name="TextBox 4"/>
          <p:cNvSpPr txBox="1"/>
          <p:nvPr/>
        </p:nvSpPr>
        <p:spPr>
          <a:xfrm>
            <a:off x="1263650" y="3054096"/>
            <a:ext cx="13785850" cy="1768348"/>
          </a:xfrm>
          <a:prstGeom prst="rect">
            <a:avLst/>
          </a:prstGeom>
        </p:spPr>
        <p:txBody>
          <a:bodyPr lIns="0" tIns="0" rIns="0" bIns="0" rtlCol="0" anchor="t"/>
          <a:lstStyle/>
          <a:p>
            <a:pPr algn="ctr">
              <a:lnSpc>
                <a:spcPct val="112500"/>
              </a:lnSpc>
            </a:pPr>
            <a:r>
              <a:rPr lang="en-US" sz="4800" b="1" spc="351" dirty="0">
                <a:latin typeface="Times New Roman" panose="02020603050405020304" pitchFamily="18" charset="0"/>
                <a:cs typeface="Times New Roman" panose="02020603050405020304" pitchFamily="18" charset="0"/>
              </a:rPr>
              <a:t>RSRS</a:t>
            </a:r>
          </a:p>
          <a:p>
            <a:pPr algn="ctr">
              <a:lnSpc>
                <a:spcPct val="112500"/>
              </a:lnSpc>
            </a:pPr>
            <a:r>
              <a:rPr lang="en-US" sz="4800" b="1" spc="351" dirty="0">
                <a:latin typeface="Times New Roman" panose="02020603050405020304" pitchFamily="18" charset="0"/>
                <a:cs typeface="Times New Roman" panose="02020603050405020304" pitchFamily="18" charset="0"/>
              </a:rPr>
              <a:t>(Resistance Support Relative Strength) </a:t>
            </a:r>
          </a:p>
          <a:p>
            <a:pPr algn="ctr">
              <a:lnSpc>
                <a:spcPct val="112500"/>
              </a:lnSpc>
            </a:pPr>
            <a:r>
              <a:rPr lang="en-US" sz="4800" b="1" spc="351" dirty="0">
                <a:latin typeface="Times New Roman" panose="02020603050405020304" pitchFamily="18" charset="0"/>
                <a:cs typeface="Times New Roman" panose="02020603050405020304" pitchFamily="18" charset="0"/>
              </a:rPr>
              <a:t>Trade Strategy And Optimization of Market State Indicators</a:t>
            </a:r>
          </a:p>
        </p:txBody>
      </p:sp>
      <p:pic>
        <p:nvPicPr>
          <p:cNvPr id="6" name="Picture 6"/>
          <p:cNvPicPr>
            <a:picLocks noChangeAspect="1"/>
          </p:cNvPicPr>
          <p:nvPr/>
        </p:nvPicPr>
        <p:blipFill>
          <a:blip r:embed="rId4"/>
          <a:stretch>
            <a:fillRect/>
          </a:stretch>
        </p:blipFill>
        <p:spPr>
          <a:xfrm>
            <a:off x="431800" y="812800"/>
            <a:ext cx="762000" cy="139700"/>
          </a:xfrm>
          <a:prstGeom prst="rect">
            <a:avLst/>
          </a:prstGeom>
        </p:spPr>
      </p:pic>
      <p:pic>
        <p:nvPicPr>
          <p:cNvPr id="7" name="Picture 7"/>
          <p:cNvPicPr>
            <a:picLocks noChangeAspect="1"/>
          </p:cNvPicPr>
          <p:nvPr/>
        </p:nvPicPr>
        <p:blipFill>
          <a:blip r:embed="rId5"/>
          <a:stretch>
            <a:fillRect/>
          </a:stretch>
        </p:blipFill>
        <p:spPr>
          <a:xfrm rot="5400000">
            <a:off x="11684000" y="4572000"/>
            <a:ext cx="7861300" cy="25400"/>
          </a:xfrm>
          <a:prstGeom prst="rect">
            <a:avLst/>
          </a:prstGeom>
        </p:spPr>
      </p:pic>
      <p:pic>
        <p:nvPicPr>
          <p:cNvPr id="8" name="Picture 8"/>
          <p:cNvPicPr>
            <a:picLocks noChangeAspect="1"/>
          </p:cNvPicPr>
          <p:nvPr/>
        </p:nvPicPr>
        <p:blipFill>
          <a:blip r:embed="rId5"/>
          <a:stretch>
            <a:fillRect/>
          </a:stretch>
        </p:blipFill>
        <p:spPr>
          <a:xfrm rot="5400000">
            <a:off x="-3302000" y="4572000"/>
            <a:ext cx="7861300" cy="25400"/>
          </a:xfrm>
          <a:prstGeom prst="rect">
            <a:avLst/>
          </a:prstGeom>
        </p:spPr>
      </p:pic>
      <p:pic>
        <p:nvPicPr>
          <p:cNvPr id="9" name="Picture 9"/>
          <p:cNvPicPr>
            <a:picLocks noChangeAspect="1"/>
          </p:cNvPicPr>
          <p:nvPr/>
        </p:nvPicPr>
        <p:blipFill>
          <a:blip r:embed="rId6"/>
          <a:stretch>
            <a:fillRect/>
          </a:stretch>
        </p:blipFill>
        <p:spPr>
          <a:xfrm>
            <a:off x="15379700" y="8305800"/>
            <a:ext cx="457200" cy="406400"/>
          </a:xfrm>
          <a:prstGeom prst="rect">
            <a:avLst/>
          </a:prstGeom>
        </p:spPr>
      </p:pic>
      <p:sp>
        <p:nvSpPr>
          <p:cNvPr id="5" name="文本框 4">
            <a:extLst>
              <a:ext uri="{FF2B5EF4-FFF2-40B4-BE49-F238E27FC236}">
                <a16:creationId xmlns:a16="http://schemas.microsoft.com/office/drawing/2014/main" id="{F29164A8-04C3-5BD4-3AC2-055D106834B3}"/>
              </a:ext>
            </a:extLst>
          </p:cNvPr>
          <p:cNvSpPr txBox="1"/>
          <p:nvPr/>
        </p:nvSpPr>
        <p:spPr>
          <a:xfrm>
            <a:off x="7672834" y="6612901"/>
            <a:ext cx="2542032" cy="461665"/>
          </a:xfrm>
          <a:prstGeom prst="rect">
            <a:avLst/>
          </a:prstGeom>
          <a:noFill/>
        </p:spPr>
        <p:txBody>
          <a:bodyPr wrap="square" rtlCol="0">
            <a:spAutoFit/>
          </a:bodyPr>
          <a:lstStyle/>
          <a:p>
            <a:r>
              <a:rPr kumimoji="1" lang="en-US" altLang="zh-CN" sz="2400" b="1" dirty="0">
                <a:solidFill>
                  <a:schemeClr val="bg1"/>
                </a:solidFill>
              </a:rPr>
              <a:t>Group</a:t>
            </a:r>
            <a:r>
              <a:rPr kumimoji="1" lang="zh-CN" altLang="en-US" sz="2400" b="1" dirty="0">
                <a:solidFill>
                  <a:schemeClr val="bg1"/>
                </a:solidFill>
              </a:rPr>
              <a:t> </a:t>
            </a:r>
            <a:r>
              <a:rPr kumimoji="1" lang="en-US" altLang="zh-CN" sz="2400" b="1" dirty="0">
                <a:solidFill>
                  <a:schemeClr val="bg1"/>
                </a:solidFill>
              </a:rPr>
              <a:t>6</a:t>
            </a:r>
            <a:endParaRPr kumimoji="1" lang="zh-CN" altLang="en-US" sz="2400" b="1" dirty="0">
              <a:solidFill>
                <a:schemeClr val="bg1"/>
              </a:solidFill>
            </a:endParaRPr>
          </a:p>
        </p:txBody>
      </p:sp>
      <p:sp>
        <p:nvSpPr>
          <p:cNvPr id="10" name="文本框 9">
            <a:extLst>
              <a:ext uri="{FF2B5EF4-FFF2-40B4-BE49-F238E27FC236}">
                <a16:creationId xmlns:a16="http://schemas.microsoft.com/office/drawing/2014/main" id="{C73D3FDF-73A7-4C51-87FD-1BEE5DE2F789}"/>
              </a:ext>
            </a:extLst>
          </p:cNvPr>
          <p:cNvSpPr txBox="1"/>
          <p:nvPr/>
        </p:nvSpPr>
        <p:spPr>
          <a:xfrm>
            <a:off x="12036788" y="7447563"/>
            <a:ext cx="1726252" cy="1477328"/>
          </a:xfrm>
          <a:prstGeom prst="rect">
            <a:avLst/>
          </a:prstGeom>
          <a:noFill/>
        </p:spPr>
        <p:txBody>
          <a:bodyPr wrap="square" rtlCol="0">
            <a:spAutoFit/>
          </a:bodyPr>
          <a:lstStyle/>
          <a:p>
            <a:r>
              <a:rPr lang="en-US" altLang="zh-CN"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1155166336</a:t>
            </a:r>
          </a:p>
          <a:p>
            <a:r>
              <a:rPr lang="en-US" altLang="zh-CN"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1155164917</a:t>
            </a:r>
          </a:p>
          <a:p>
            <a:r>
              <a:rPr lang="en-US" altLang="zh-CN"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1155162320</a:t>
            </a:r>
          </a:p>
          <a:p>
            <a:r>
              <a:rPr lang="en-US" altLang="zh-CN"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1155162325</a:t>
            </a:r>
          </a:p>
          <a:p>
            <a:r>
              <a:rPr lang="en-US" altLang="zh-CN"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1155169203</a:t>
            </a:r>
          </a:p>
        </p:txBody>
      </p:sp>
      <p:sp>
        <p:nvSpPr>
          <p:cNvPr id="11" name="文本框 10">
            <a:extLst>
              <a:ext uri="{FF2B5EF4-FFF2-40B4-BE49-F238E27FC236}">
                <a16:creationId xmlns:a16="http://schemas.microsoft.com/office/drawing/2014/main" id="{CD04465C-5853-4698-BAE1-72D76AE9AFC7}"/>
              </a:ext>
            </a:extLst>
          </p:cNvPr>
          <p:cNvSpPr txBox="1"/>
          <p:nvPr/>
        </p:nvSpPr>
        <p:spPr>
          <a:xfrm>
            <a:off x="13236794" y="7454503"/>
            <a:ext cx="2161227" cy="1477328"/>
          </a:xfrm>
          <a:prstGeom prst="rect">
            <a:avLst/>
          </a:prstGeom>
          <a:noFill/>
        </p:spPr>
        <p:txBody>
          <a:bodyPr wrap="square" rtlCol="0">
            <a:spAutoFit/>
          </a:bodyPr>
          <a:lstStyle/>
          <a:p>
            <a:pPr algn="ctr" fontAlgn="base">
              <a:spcBef>
                <a:spcPct val="0"/>
              </a:spcBef>
              <a:spcAft>
                <a:spcPct val="0"/>
              </a:spcAft>
            </a:pPr>
            <a:r>
              <a:rPr lang="en-US" altLang="zh-CN"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ZHANG </a:t>
            </a:r>
            <a:r>
              <a:rPr lang="en-US" altLang="zh-CN" dirty="0" err="1">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Xincong</a:t>
            </a:r>
            <a:endParaRPr lang="en-US" altLang="zh-CN"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a:p>
            <a:pPr algn="ctr" fontAlgn="base">
              <a:spcBef>
                <a:spcPct val="0"/>
              </a:spcBef>
              <a:spcAft>
                <a:spcPct val="0"/>
              </a:spcAft>
            </a:pPr>
            <a:r>
              <a:rPr lang="en-US" altLang="zh-CN"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HUANG Yijing</a:t>
            </a:r>
          </a:p>
          <a:p>
            <a:pPr algn="ctr" eaLnBrk="1" fontAlgn="base" hangingPunct="1">
              <a:spcBef>
                <a:spcPct val="0"/>
              </a:spcBef>
              <a:spcAft>
                <a:spcPct val="0"/>
              </a:spcAft>
              <a:buFont typeface="Arial" panose="020B0604020202090204" pitchFamily="34" charset="0"/>
              <a:buNone/>
            </a:pPr>
            <a:r>
              <a:rPr lang="en-US" altLang="zh-CN"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GUO </a:t>
            </a:r>
            <a:r>
              <a:rPr lang="en-US" altLang="zh-CN" dirty="0" err="1">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Zhongyuan</a:t>
            </a:r>
            <a:endParaRPr lang="en-US" altLang="zh-CN"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a:p>
            <a:pPr algn="ctr" eaLnBrk="1" fontAlgn="base" hangingPunct="1">
              <a:spcBef>
                <a:spcPct val="0"/>
              </a:spcBef>
              <a:spcAft>
                <a:spcPct val="0"/>
              </a:spcAft>
              <a:buFont typeface="Arial" panose="020B0604020202090204" pitchFamily="34" charset="0"/>
              <a:buNone/>
            </a:pPr>
            <a:r>
              <a:rPr lang="en-US" altLang="zh-CN"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MA </a:t>
            </a:r>
            <a:r>
              <a:rPr lang="en-US" altLang="zh-CN" dirty="0" err="1">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Ziqing</a:t>
            </a:r>
            <a:endParaRPr lang="en-US" altLang="zh-CN"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a:p>
            <a:pPr algn="ctr" eaLnBrk="1" fontAlgn="base" hangingPunct="1">
              <a:spcBef>
                <a:spcPct val="0"/>
              </a:spcBef>
              <a:spcAft>
                <a:spcPct val="0"/>
              </a:spcAft>
              <a:buFont typeface="Arial" panose="020B0604020202090204" pitchFamily="34" charset="0"/>
              <a:buNone/>
            </a:pPr>
            <a:r>
              <a:rPr lang="en-US" altLang="zh-CN"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LIU </a:t>
            </a:r>
            <a:r>
              <a:rPr lang="en-US" altLang="zh-CN" dirty="0" err="1">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Luyao</a:t>
            </a:r>
            <a:endParaRPr lang="en-US" altLang="zh-CN"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a:extLst>
              <a:ext uri="{FF2B5EF4-FFF2-40B4-BE49-F238E27FC236}">
                <a16:creationId xmlns:a16="http://schemas.microsoft.com/office/drawing/2014/main" id="{59A902C3-EE27-4FF9-9B14-325C736BF0A6}"/>
              </a:ext>
            </a:extLst>
          </p:cNvPr>
          <p:cNvGrpSpPr/>
          <p:nvPr/>
        </p:nvGrpSpPr>
        <p:grpSpPr>
          <a:xfrm>
            <a:off x="1876483" y="1870949"/>
            <a:ext cx="2933700" cy="2933700"/>
            <a:chOff x="2273300" y="3111500"/>
            <a:chExt cx="2933700" cy="2933700"/>
          </a:xfrm>
        </p:grpSpPr>
        <p:pic>
          <p:nvPicPr>
            <p:cNvPr id="4" name="Picture 4">
              <a:extLst>
                <a:ext uri="{FF2B5EF4-FFF2-40B4-BE49-F238E27FC236}">
                  <a16:creationId xmlns:a16="http://schemas.microsoft.com/office/drawing/2014/main" id="{4C7F62AC-603F-4B21-8195-E418AAD4E9B9}"/>
                </a:ext>
              </a:extLst>
            </p:cNvPr>
            <p:cNvPicPr>
              <a:picLocks noChangeAspect="1"/>
            </p:cNvPicPr>
            <p:nvPr/>
          </p:nvPicPr>
          <p:blipFill>
            <a:blip r:embed="rId2"/>
            <a:stretch>
              <a:fillRect/>
            </a:stretch>
          </p:blipFill>
          <p:spPr>
            <a:xfrm>
              <a:off x="2273300" y="3111500"/>
              <a:ext cx="2933700" cy="2933700"/>
            </a:xfrm>
            <a:prstGeom prst="rect">
              <a:avLst/>
            </a:prstGeom>
          </p:spPr>
        </p:pic>
        <p:sp>
          <p:nvSpPr>
            <p:cNvPr id="5" name="TextBox 6">
              <a:extLst>
                <a:ext uri="{FF2B5EF4-FFF2-40B4-BE49-F238E27FC236}">
                  <a16:creationId xmlns:a16="http://schemas.microsoft.com/office/drawing/2014/main" id="{DD51B087-BFA6-4E17-B00A-B6933ED1DCC5}"/>
                </a:ext>
              </a:extLst>
            </p:cNvPr>
            <p:cNvSpPr txBox="1"/>
            <p:nvPr/>
          </p:nvSpPr>
          <p:spPr>
            <a:xfrm>
              <a:off x="2546350" y="4362408"/>
              <a:ext cx="2387600" cy="952500"/>
            </a:xfrm>
            <a:prstGeom prst="rect">
              <a:avLst/>
            </a:prstGeom>
          </p:spPr>
          <p:txBody>
            <a:bodyPr lIns="0" tIns="0" rIns="0" bIns="0" rtlCol="0" anchor="t"/>
            <a:lstStyle/>
            <a:p>
              <a:pPr algn="ctr">
                <a:lnSpc>
                  <a:spcPct val="105000"/>
                </a:lnSpc>
              </a:pPr>
              <a:r>
                <a:rPr lang="en-US" altLang="zh-CN" sz="4000" b="1" dirty="0">
                  <a:solidFill>
                    <a:schemeClr val="bg1"/>
                  </a:solidFill>
                  <a:latin typeface="Times New Roman" panose="02020603050405020304" pitchFamily="18" charset="0"/>
                  <a:cs typeface="Times New Roman" panose="02020603050405020304" pitchFamily="18" charset="0"/>
                </a:rPr>
                <a:t>Slope Indicator</a:t>
              </a:r>
            </a:p>
            <a:p>
              <a:pPr algn="ctr">
                <a:lnSpc>
                  <a:spcPct val="105000"/>
                </a:lnSpc>
              </a:pPr>
              <a:endParaRPr lang="en-US" sz="4000" dirty="0">
                <a:solidFill>
                  <a:schemeClr val="bg1"/>
                </a:solidFill>
                <a:latin typeface="Times New Roman" panose="02020603050405020304" pitchFamily="18" charset="0"/>
                <a:cs typeface="Times New Roman" panose="02020603050405020304" pitchFamily="18" charset="0"/>
              </a:endParaRPr>
            </a:p>
            <a:p>
              <a:pPr algn="ctr">
                <a:lnSpc>
                  <a:spcPct val="105000"/>
                </a:lnSpc>
              </a:pPr>
              <a:endParaRPr lang="en-US" sz="4000" dirty="0">
                <a:solidFill>
                  <a:schemeClr val="bg1"/>
                </a:solidFill>
                <a:latin typeface="Times New Roman" panose="02020603050405020304" pitchFamily="18" charset="0"/>
                <a:cs typeface="Times New Roman" panose="02020603050405020304" pitchFamily="18" charset="0"/>
              </a:endParaRPr>
            </a:p>
          </p:txBody>
        </p:sp>
      </p:grpSp>
      <p:grpSp>
        <p:nvGrpSpPr>
          <p:cNvPr id="6" name="组合 5">
            <a:extLst>
              <a:ext uri="{FF2B5EF4-FFF2-40B4-BE49-F238E27FC236}">
                <a16:creationId xmlns:a16="http://schemas.microsoft.com/office/drawing/2014/main" id="{402587A6-4B43-468C-985E-71F8838262EB}"/>
              </a:ext>
            </a:extLst>
          </p:cNvPr>
          <p:cNvGrpSpPr/>
          <p:nvPr/>
        </p:nvGrpSpPr>
        <p:grpSpPr>
          <a:xfrm>
            <a:off x="1934592" y="5279102"/>
            <a:ext cx="2933700" cy="2933700"/>
            <a:chOff x="5207000" y="3111500"/>
            <a:chExt cx="2933700" cy="2933700"/>
          </a:xfrm>
        </p:grpSpPr>
        <p:pic>
          <p:nvPicPr>
            <p:cNvPr id="7" name="Picture 3">
              <a:extLst>
                <a:ext uri="{FF2B5EF4-FFF2-40B4-BE49-F238E27FC236}">
                  <a16:creationId xmlns:a16="http://schemas.microsoft.com/office/drawing/2014/main" id="{7A5DA204-FAB9-43DD-8DDD-388D83842310}"/>
                </a:ext>
              </a:extLst>
            </p:cNvPr>
            <p:cNvPicPr>
              <a:picLocks noChangeAspect="1"/>
            </p:cNvPicPr>
            <p:nvPr/>
          </p:nvPicPr>
          <p:blipFill>
            <a:blip r:embed="rId3"/>
            <a:stretch>
              <a:fillRect/>
            </a:stretch>
          </p:blipFill>
          <p:spPr>
            <a:xfrm>
              <a:off x="5207000" y="3111500"/>
              <a:ext cx="2933700" cy="2933700"/>
            </a:xfrm>
            <a:prstGeom prst="rect">
              <a:avLst/>
            </a:prstGeom>
          </p:spPr>
        </p:pic>
        <p:sp>
          <p:nvSpPr>
            <p:cNvPr id="8" name="TextBox 8">
              <a:extLst>
                <a:ext uri="{FF2B5EF4-FFF2-40B4-BE49-F238E27FC236}">
                  <a16:creationId xmlns:a16="http://schemas.microsoft.com/office/drawing/2014/main" id="{91F7F201-F928-4027-94EC-6DAA5EA31A52}"/>
                </a:ext>
              </a:extLst>
            </p:cNvPr>
            <p:cNvSpPr txBox="1"/>
            <p:nvPr/>
          </p:nvSpPr>
          <p:spPr>
            <a:xfrm>
              <a:off x="5473700" y="4192816"/>
              <a:ext cx="2387600" cy="952500"/>
            </a:xfrm>
            <a:prstGeom prst="rect">
              <a:avLst/>
            </a:prstGeom>
          </p:spPr>
          <p:txBody>
            <a:bodyPr lIns="0" tIns="0" rIns="0" bIns="0" rtlCol="0" anchor="t"/>
            <a:lstStyle/>
            <a:p>
              <a:pPr algn="ctr">
                <a:lnSpc>
                  <a:spcPct val="105000"/>
                </a:lnSpc>
              </a:pPr>
              <a:r>
                <a:rPr lang="en-US" altLang="zh-CN" sz="4000" b="1" dirty="0">
                  <a:solidFill>
                    <a:schemeClr val="bg1"/>
                  </a:solidFill>
                  <a:latin typeface="Times New Roman" panose="02020603050405020304" pitchFamily="18" charset="0"/>
                  <a:cs typeface="Times New Roman" panose="02020603050405020304" pitchFamily="18" charset="0"/>
                </a:rPr>
                <a:t>Standard Score Indicator</a:t>
              </a:r>
              <a:r>
                <a:rPr lang="zh-CN" altLang="zh-CN" sz="4000" b="1" dirty="0">
                  <a:solidFill>
                    <a:schemeClr val="bg1"/>
                  </a:solidFill>
                  <a:latin typeface="Times New Roman" panose="02020603050405020304" pitchFamily="18" charset="0"/>
                  <a:cs typeface="Times New Roman" panose="02020603050405020304" pitchFamily="18" charset="0"/>
                </a:rPr>
                <a:t> </a:t>
              </a:r>
              <a:endParaRPr lang="en-US" altLang="zh-CN" sz="4000" b="1" dirty="0">
                <a:solidFill>
                  <a:schemeClr val="bg1"/>
                </a:solidFill>
                <a:latin typeface="Times New Roman" panose="02020603050405020304" pitchFamily="18" charset="0"/>
                <a:cs typeface="Times New Roman" panose="02020603050405020304" pitchFamily="18" charset="0"/>
              </a:endParaRPr>
            </a:p>
            <a:p>
              <a:pPr algn="ctr">
                <a:lnSpc>
                  <a:spcPct val="105000"/>
                </a:lnSpc>
              </a:pPr>
              <a:endParaRPr lang="en-US" sz="4000" dirty="0">
                <a:solidFill>
                  <a:schemeClr val="bg1"/>
                </a:solidFill>
                <a:latin typeface="Times New Roman" panose="02020603050405020304" pitchFamily="18" charset="0"/>
                <a:cs typeface="Times New Roman" panose="02020603050405020304" pitchFamily="18" charset="0"/>
              </a:endParaRPr>
            </a:p>
            <a:p>
              <a:pPr algn="ctr">
                <a:lnSpc>
                  <a:spcPct val="105000"/>
                </a:lnSpc>
              </a:pPr>
              <a:endParaRPr lang="en-US" sz="4000" dirty="0">
                <a:solidFill>
                  <a:schemeClr val="bg1"/>
                </a:solidFill>
                <a:latin typeface="Times New Roman" panose="02020603050405020304" pitchFamily="18" charset="0"/>
                <a:cs typeface="Times New Roman" panose="02020603050405020304" pitchFamily="18" charset="0"/>
              </a:endParaRPr>
            </a:p>
          </p:txBody>
        </p:sp>
      </p:grpSp>
      <p:cxnSp>
        <p:nvCxnSpPr>
          <p:cNvPr id="9" name="直线连接符 21">
            <a:extLst>
              <a:ext uri="{FF2B5EF4-FFF2-40B4-BE49-F238E27FC236}">
                <a16:creationId xmlns:a16="http://schemas.microsoft.com/office/drawing/2014/main" id="{80520AAC-2EAA-4830-B27A-33EA0B0EE228}"/>
              </a:ext>
            </a:extLst>
          </p:cNvPr>
          <p:cNvCxnSpPr/>
          <p:nvPr/>
        </p:nvCxnSpPr>
        <p:spPr>
          <a:xfrm>
            <a:off x="1104182" y="5102261"/>
            <a:ext cx="14889192"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0" name="文本框 9">
            <a:extLst>
              <a:ext uri="{FF2B5EF4-FFF2-40B4-BE49-F238E27FC236}">
                <a16:creationId xmlns:a16="http://schemas.microsoft.com/office/drawing/2014/main" id="{7C775D10-B404-4E6F-ABB8-52B20735754B}"/>
              </a:ext>
            </a:extLst>
          </p:cNvPr>
          <p:cNvSpPr txBox="1"/>
          <p:nvPr/>
        </p:nvSpPr>
        <p:spPr>
          <a:xfrm>
            <a:off x="5182943" y="1939040"/>
            <a:ext cx="10575985" cy="2831544"/>
          </a:xfrm>
          <a:prstGeom prst="rect">
            <a:avLst/>
          </a:prstGeom>
          <a:noFill/>
          <a:ln>
            <a:solidFill>
              <a:srgbClr val="475B7C"/>
            </a:solidFill>
          </a:ln>
        </p:spPr>
        <p:txBody>
          <a:bodyPr wrap="square" rtlCol="0">
            <a:spAutoFit/>
          </a:bodyPr>
          <a:lstStyle/>
          <a:p>
            <a:pPr marL="285750" indent="-285750" algn="just">
              <a:spcBef>
                <a:spcPts val="600"/>
              </a:spcBef>
              <a:buSzPct val="100000"/>
              <a:buFont typeface="Wingdings" pitchFamily="2" charset="2"/>
              <a:buChar char="Ø"/>
            </a:pPr>
            <a:r>
              <a:rPr lang="en-US" altLang="zh-CN" sz="2800" b="1" dirty="0">
                <a:latin typeface="Times New Roman" panose="02020603050405020304" pitchFamily="18" charset="0"/>
                <a:ea typeface="楷体" panose="02010609060101010101" pitchFamily="49" charset="-122"/>
                <a:cs typeface="Times New Roman" panose="02020603050405020304" pitchFamily="18" charset="0"/>
              </a:rPr>
              <a:t>1. Take the highest and lowest price sequences of the previous N days. </a:t>
            </a:r>
            <a:endParaRPr lang="zh-CN" altLang="zh-CN" sz="2800" b="1" dirty="0">
              <a:latin typeface="Times New Roman" panose="02020603050405020304" pitchFamily="18" charset="0"/>
              <a:ea typeface="楷体" panose="02010609060101010101" pitchFamily="49" charset="-122"/>
              <a:cs typeface="Times New Roman" panose="02020603050405020304" pitchFamily="18" charset="0"/>
            </a:endParaRPr>
          </a:p>
          <a:p>
            <a:pPr marL="285750" indent="-285750" algn="just">
              <a:spcBef>
                <a:spcPts val="600"/>
              </a:spcBef>
              <a:buSzPct val="100000"/>
              <a:buFont typeface="Wingdings" pitchFamily="2" charset="2"/>
              <a:buChar char="Ø"/>
            </a:pPr>
            <a:r>
              <a:rPr lang="en-US" altLang="zh-CN" sz="2800" b="1" dirty="0">
                <a:latin typeface="Times New Roman" panose="02020603050405020304" pitchFamily="18" charset="0"/>
                <a:ea typeface="楷体" panose="02010609060101010101" pitchFamily="49" charset="-122"/>
                <a:cs typeface="Times New Roman" panose="02020603050405020304" pitchFamily="18" charset="0"/>
              </a:rPr>
              <a:t>2. Perform OLS linear regression on the model of equation with two columns of data. </a:t>
            </a:r>
            <a:endParaRPr lang="zh-CN" altLang="zh-CN" sz="2800" b="1" dirty="0">
              <a:latin typeface="Times New Roman" panose="02020603050405020304" pitchFamily="18" charset="0"/>
              <a:ea typeface="楷体" panose="02010609060101010101" pitchFamily="49" charset="-122"/>
              <a:cs typeface="Times New Roman" panose="02020603050405020304" pitchFamily="18" charset="0"/>
            </a:endParaRPr>
          </a:p>
          <a:p>
            <a:pPr marL="285750" indent="-285750" algn="just">
              <a:spcBef>
                <a:spcPts val="600"/>
              </a:spcBef>
              <a:buSzPct val="100000"/>
              <a:buFont typeface="Wingdings" pitchFamily="2" charset="2"/>
              <a:buChar char="Ø"/>
            </a:pPr>
            <a:r>
              <a:rPr lang="en-US" altLang="zh-CN" sz="2800" b="1" dirty="0">
                <a:latin typeface="Times New Roman" panose="02020603050405020304" pitchFamily="18" charset="0"/>
                <a:ea typeface="楷体" panose="02010609060101010101" pitchFamily="49" charset="-122"/>
                <a:cs typeface="Times New Roman" panose="02020603050405020304" pitchFamily="18" charset="0"/>
              </a:rPr>
              <a:t>3. Regard the fitted beta value as the RSRS slope indicator value for that day.</a:t>
            </a:r>
          </a:p>
        </p:txBody>
      </p:sp>
      <p:sp>
        <p:nvSpPr>
          <p:cNvPr id="11" name="文本框 10">
            <a:extLst>
              <a:ext uri="{FF2B5EF4-FFF2-40B4-BE49-F238E27FC236}">
                <a16:creationId xmlns:a16="http://schemas.microsoft.com/office/drawing/2014/main" id="{3374797A-7D76-4AE5-B052-7EE3D228F2AE}"/>
              </a:ext>
            </a:extLst>
          </p:cNvPr>
          <p:cNvSpPr txBox="1"/>
          <p:nvPr/>
        </p:nvSpPr>
        <p:spPr>
          <a:xfrm>
            <a:off x="5262113" y="5171034"/>
            <a:ext cx="10575985" cy="3420000"/>
          </a:xfrm>
          <a:prstGeom prst="rect">
            <a:avLst/>
          </a:prstGeom>
          <a:noFill/>
          <a:ln>
            <a:solidFill>
              <a:srgbClr val="475B7C"/>
            </a:solidFill>
          </a:ln>
        </p:spPr>
        <p:txBody>
          <a:bodyPr wrap="square" rtlCol="0">
            <a:spAutoFit/>
          </a:bodyPr>
          <a:lstStyle/>
          <a:p>
            <a:endParaRPr kumimoji="1" lang="zh-CN" altLang="en-US" dirty="0"/>
          </a:p>
        </p:txBody>
      </p:sp>
      <p:sp>
        <p:nvSpPr>
          <p:cNvPr id="12" name="physics-formula-of-energy-in-a-square_46164">
            <a:extLst>
              <a:ext uri="{FF2B5EF4-FFF2-40B4-BE49-F238E27FC236}">
                <a16:creationId xmlns:a16="http://schemas.microsoft.com/office/drawing/2014/main" id="{4C66FD81-FEF2-40B4-BD57-C6C55C245E83}"/>
              </a:ext>
            </a:extLst>
          </p:cNvPr>
          <p:cNvSpPr>
            <a:spLocks noChangeAspect="1"/>
          </p:cNvSpPr>
          <p:nvPr/>
        </p:nvSpPr>
        <p:spPr>
          <a:xfrm>
            <a:off x="3154391" y="2277016"/>
            <a:ext cx="589113" cy="588404"/>
          </a:xfrm>
          <a:custGeom>
            <a:avLst/>
            <a:gdLst>
              <a:gd name="T0" fmla="*/ 0 w 667"/>
              <a:gd name="T1" fmla="*/ 578 h 667"/>
              <a:gd name="T2" fmla="*/ 667 w 667"/>
              <a:gd name="T3" fmla="*/ 88 h 667"/>
              <a:gd name="T4" fmla="*/ 195 w 667"/>
              <a:gd name="T5" fmla="*/ 393 h 667"/>
              <a:gd name="T6" fmla="*/ 107 w 667"/>
              <a:gd name="T7" fmla="*/ 423 h 667"/>
              <a:gd name="T8" fmla="*/ 78 w 667"/>
              <a:gd name="T9" fmla="*/ 364 h 667"/>
              <a:gd name="T10" fmla="*/ 68 w 667"/>
              <a:gd name="T11" fmla="*/ 327 h 667"/>
              <a:gd name="T12" fmla="*/ 77 w 667"/>
              <a:gd name="T13" fmla="*/ 310 h 667"/>
              <a:gd name="T14" fmla="*/ 68 w 667"/>
              <a:gd name="T15" fmla="*/ 274 h 667"/>
              <a:gd name="T16" fmla="*/ 88 w 667"/>
              <a:gd name="T17" fmla="*/ 250 h 667"/>
              <a:gd name="T18" fmla="*/ 126 w 667"/>
              <a:gd name="T19" fmla="*/ 248 h 667"/>
              <a:gd name="T20" fmla="*/ 175 w 667"/>
              <a:gd name="T21" fmla="*/ 244 h 667"/>
              <a:gd name="T22" fmla="*/ 189 w 667"/>
              <a:gd name="T23" fmla="*/ 254 h 667"/>
              <a:gd name="T24" fmla="*/ 148 w 667"/>
              <a:gd name="T25" fmla="*/ 275 h 667"/>
              <a:gd name="T26" fmla="*/ 113 w 667"/>
              <a:gd name="T27" fmla="*/ 278 h 667"/>
              <a:gd name="T28" fmla="*/ 163 w 667"/>
              <a:gd name="T29" fmla="*/ 300 h 667"/>
              <a:gd name="T30" fmla="*/ 187 w 667"/>
              <a:gd name="T31" fmla="*/ 305 h 667"/>
              <a:gd name="T32" fmla="*/ 180 w 667"/>
              <a:gd name="T33" fmla="*/ 320 h 667"/>
              <a:gd name="T34" fmla="*/ 134 w 667"/>
              <a:gd name="T35" fmla="*/ 328 h 667"/>
              <a:gd name="T36" fmla="*/ 109 w 667"/>
              <a:gd name="T37" fmla="*/ 333 h 667"/>
              <a:gd name="T38" fmla="*/ 106 w 667"/>
              <a:gd name="T39" fmla="*/ 382 h 667"/>
              <a:gd name="T40" fmla="*/ 149 w 667"/>
              <a:gd name="T41" fmla="*/ 381 h 667"/>
              <a:gd name="T42" fmla="*/ 213 w 667"/>
              <a:gd name="T43" fmla="*/ 371 h 667"/>
              <a:gd name="T44" fmla="*/ 317 w 667"/>
              <a:gd name="T45" fmla="*/ 386 h 667"/>
              <a:gd name="T46" fmla="*/ 242 w 667"/>
              <a:gd name="T47" fmla="*/ 399 h 667"/>
              <a:gd name="T48" fmla="*/ 232 w 667"/>
              <a:gd name="T49" fmla="*/ 378 h 667"/>
              <a:gd name="T50" fmla="*/ 317 w 667"/>
              <a:gd name="T51" fmla="*/ 385 h 667"/>
              <a:gd name="T52" fmla="*/ 294 w 667"/>
              <a:gd name="T53" fmla="*/ 362 h 667"/>
              <a:gd name="T54" fmla="*/ 234 w 667"/>
              <a:gd name="T55" fmla="*/ 359 h 667"/>
              <a:gd name="T56" fmla="*/ 242 w 667"/>
              <a:gd name="T57" fmla="*/ 333 h 667"/>
              <a:gd name="T58" fmla="*/ 321 w 667"/>
              <a:gd name="T59" fmla="*/ 350 h 667"/>
              <a:gd name="T60" fmla="*/ 456 w 667"/>
              <a:gd name="T61" fmla="*/ 425 h 667"/>
              <a:gd name="T62" fmla="*/ 421 w 667"/>
              <a:gd name="T63" fmla="*/ 385 h 667"/>
              <a:gd name="T64" fmla="*/ 382 w 667"/>
              <a:gd name="T65" fmla="*/ 397 h 667"/>
              <a:gd name="T66" fmla="*/ 351 w 667"/>
              <a:gd name="T67" fmla="*/ 423 h 667"/>
              <a:gd name="T68" fmla="*/ 335 w 667"/>
              <a:gd name="T69" fmla="*/ 412 h 667"/>
              <a:gd name="T70" fmla="*/ 339 w 667"/>
              <a:gd name="T71" fmla="*/ 355 h 667"/>
              <a:gd name="T72" fmla="*/ 367 w 667"/>
              <a:gd name="T73" fmla="*/ 334 h 667"/>
              <a:gd name="T74" fmla="*/ 400 w 667"/>
              <a:gd name="T75" fmla="*/ 379 h 667"/>
              <a:gd name="T76" fmla="*/ 460 w 667"/>
              <a:gd name="T77" fmla="*/ 394 h 667"/>
              <a:gd name="T78" fmla="*/ 512 w 667"/>
              <a:gd name="T79" fmla="*/ 426 h 667"/>
              <a:gd name="T80" fmla="*/ 483 w 667"/>
              <a:gd name="T81" fmla="*/ 362 h 667"/>
              <a:gd name="T82" fmla="*/ 532 w 667"/>
              <a:gd name="T83" fmla="*/ 340 h 667"/>
              <a:gd name="T84" fmla="*/ 502 w 667"/>
              <a:gd name="T85" fmla="*/ 380 h 667"/>
              <a:gd name="T86" fmla="*/ 547 w 667"/>
              <a:gd name="T87" fmla="*/ 388 h 667"/>
              <a:gd name="T88" fmla="*/ 538 w 667"/>
              <a:gd name="T89" fmla="*/ 421 h 667"/>
              <a:gd name="T90" fmla="*/ 575 w 667"/>
              <a:gd name="T91" fmla="*/ 327 h 667"/>
              <a:gd name="T92" fmla="*/ 550 w 667"/>
              <a:gd name="T93" fmla="*/ 312 h 667"/>
              <a:gd name="T94" fmla="*/ 580 w 667"/>
              <a:gd name="T95" fmla="*/ 277 h 667"/>
              <a:gd name="T96" fmla="*/ 559 w 667"/>
              <a:gd name="T97" fmla="*/ 288 h 667"/>
              <a:gd name="T98" fmla="*/ 552 w 667"/>
              <a:gd name="T99" fmla="*/ 285 h 667"/>
              <a:gd name="T100" fmla="*/ 579 w 667"/>
              <a:gd name="T101" fmla="*/ 264 h 667"/>
              <a:gd name="T102" fmla="*/ 580 w 667"/>
              <a:gd name="T103" fmla="*/ 301 h 667"/>
              <a:gd name="T104" fmla="*/ 589 w 667"/>
              <a:gd name="T105" fmla="*/ 315 h 667"/>
              <a:gd name="T106" fmla="*/ 600 w 667"/>
              <a:gd name="T107" fmla="*/ 319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7" h="667">
                <a:moveTo>
                  <a:pt x="578" y="0"/>
                </a:moveTo>
                <a:lnTo>
                  <a:pt x="88" y="0"/>
                </a:lnTo>
                <a:cubicBezTo>
                  <a:pt x="40" y="0"/>
                  <a:pt x="0" y="40"/>
                  <a:pt x="0" y="88"/>
                </a:cubicBezTo>
                <a:lnTo>
                  <a:pt x="0" y="578"/>
                </a:lnTo>
                <a:cubicBezTo>
                  <a:pt x="0" y="627"/>
                  <a:pt x="40" y="667"/>
                  <a:pt x="88" y="667"/>
                </a:cubicBezTo>
                <a:lnTo>
                  <a:pt x="578" y="667"/>
                </a:lnTo>
                <a:cubicBezTo>
                  <a:pt x="627" y="667"/>
                  <a:pt x="667" y="627"/>
                  <a:pt x="667" y="578"/>
                </a:cubicBezTo>
                <a:lnTo>
                  <a:pt x="667" y="88"/>
                </a:lnTo>
                <a:cubicBezTo>
                  <a:pt x="667" y="40"/>
                  <a:pt x="627" y="0"/>
                  <a:pt x="578" y="0"/>
                </a:cubicBezTo>
                <a:close/>
                <a:moveTo>
                  <a:pt x="220" y="383"/>
                </a:moveTo>
                <a:cubicBezTo>
                  <a:pt x="220" y="385"/>
                  <a:pt x="219" y="386"/>
                  <a:pt x="218" y="387"/>
                </a:cubicBezTo>
                <a:cubicBezTo>
                  <a:pt x="216" y="390"/>
                  <a:pt x="208" y="392"/>
                  <a:pt x="195" y="393"/>
                </a:cubicBezTo>
                <a:cubicBezTo>
                  <a:pt x="191" y="393"/>
                  <a:pt x="188" y="393"/>
                  <a:pt x="187" y="393"/>
                </a:cubicBezTo>
                <a:cubicBezTo>
                  <a:pt x="174" y="396"/>
                  <a:pt x="159" y="402"/>
                  <a:pt x="143" y="411"/>
                </a:cubicBezTo>
                <a:lnTo>
                  <a:pt x="141" y="411"/>
                </a:lnTo>
                <a:cubicBezTo>
                  <a:pt x="127" y="419"/>
                  <a:pt x="115" y="423"/>
                  <a:pt x="107" y="423"/>
                </a:cubicBezTo>
                <a:lnTo>
                  <a:pt x="106" y="423"/>
                </a:lnTo>
                <a:lnTo>
                  <a:pt x="104" y="423"/>
                </a:lnTo>
                <a:cubicBezTo>
                  <a:pt x="91" y="422"/>
                  <a:pt x="83" y="409"/>
                  <a:pt x="80" y="386"/>
                </a:cubicBezTo>
                <a:cubicBezTo>
                  <a:pt x="79" y="379"/>
                  <a:pt x="78" y="372"/>
                  <a:pt x="78" y="364"/>
                </a:cubicBezTo>
                <a:cubicBezTo>
                  <a:pt x="78" y="361"/>
                  <a:pt x="78" y="358"/>
                  <a:pt x="78" y="356"/>
                </a:cubicBezTo>
                <a:cubicBezTo>
                  <a:pt x="79" y="350"/>
                  <a:pt x="79" y="344"/>
                  <a:pt x="79" y="337"/>
                </a:cubicBezTo>
                <a:cubicBezTo>
                  <a:pt x="74" y="337"/>
                  <a:pt x="71" y="335"/>
                  <a:pt x="69" y="332"/>
                </a:cubicBezTo>
                <a:cubicBezTo>
                  <a:pt x="68" y="330"/>
                  <a:pt x="68" y="329"/>
                  <a:pt x="68" y="327"/>
                </a:cubicBezTo>
                <a:cubicBezTo>
                  <a:pt x="68" y="327"/>
                  <a:pt x="68" y="326"/>
                  <a:pt x="68" y="326"/>
                </a:cubicBezTo>
                <a:cubicBezTo>
                  <a:pt x="68" y="325"/>
                  <a:pt x="68" y="324"/>
                  <a:pt x="69" y="322"/>
                </a:cubicBezTo>
                <a:cubicBezTo>
                  <a:pt x="70" y="320"/>
                  <a:pt x="71" y="317"/>
                  <a:pt x="74" y="314"/>
                </a:cubicBezTo>
                <a:cubicBezTo>
                  <a:pt x="76" y="312"/>
                  <a:pt x="77" y="311"/>
                  <a:pt x="77" y="310"/>
                </a:cubicBezTo>
                <a:cubicBezTo>
                  <a:pt x="79" y="306"/>
                  <a:pt x="81" y="300"/>
                  <a:pt x="82" y="291"/>
                </a:cubicBezTo>
                <a:cubicBezTo>
                  <a:pt x="83" y="287"/>
                  <a:pt x="83" y="283"/>
                  <a:pt x="84" y="281"/>
                </a:cubicBezTo>
                <a:cubicBezTo>
                  <a:pt x="82" y="281"/>
                  <a:pt x="81" y="281"/>
                  <a:pt x="80" y="281"/>
                </a:cubicBezTo>
                <a:cubicBezTo>
                  <a:pt x="74" y="280"/>
                  <a:pt x="69" y="278"/>
                  <a:pt x="68" y="274"/>
                </a:cubicBezTo>
                <a:cubicBezTo>
                  <a:pt x="67" y="273"/>
                  <a:pt x="67" y="272"/>
                  <a:pt x="67" y="270"/>
                </a:cubicBezTo>
                <a:cubicBezTo>
                  <a:pt x="67" y="270"/>
                  <a:pt x="67" y="269"/>
                  <a:pt x="67" y="269"/>
                </a:cubicBezTo>
                <a:cubicBezTo>
                  <a:pt x="67" y="267"/>
                  <a:pt x="68" y="264"/>
                  <a:pt x="69" y="262"/>
                </a:cubicBezTo>
                <a:cubicBezTo>
                  <a:pt x="72" y="257"/>
                  <a:pt x="78" y="253"/>
                  <a:pt x="88" y="250"/>
                </a:cubicBezTo>
                <a:cubicBezTo>
                  <a:pt x="93" y="249"/>
                  <a:pt x="97" y="247"/>
                  <a:pt x="99" y="246"/>
                </a:cubicBezTo>
                <a:cubicBezTo>
                  <a:pt x="105" y="242"/>
                  <a:pt x="109" y="240"/>
                  <a:pt x="113" y="240"/>
                </a:cubicBezTo>
                <a:cubicBezTo>
                  <a:pt x="113" y="240"/>
                  <a:pt x="114" y="240"/>
                  <a:pt x="114" y="241"/>
                </a:cubicBezTo>
                <a:cubicBezTo>
                  <a:pt x="117" y="241"/>
                  <a:pt x="122" y="243"/>
                  <a:pt x="126" y="248"/>
                </a:cubicBezTo>
                <a:cubicBezTo>
                  <a:pt x="128" y="249"/>
                  <a:pt x="130" y="250"/>
                  <a:pt x="133" y="250"/>
                </a:cubicBezTo>
                <a:cubicBezTo>
                  <a:pt x="134" y="250"/>
                  <a:pt x="135" y="251"/>
                  <a:pt x="136" y="251"/>
                </a:cubicBezTo>
                <a:cubicBezTo>
                  <a:pt x="142" y="251"/>
                  <a:pt x="148" y="250"/>
                  <a:pt x="156" y="247"/>
                </a:cubicBezTo>
                <a:cubicBezTo>
                  <a:pt x="165" y="245"/>
                  <a:pt x="171" y="244"/>
                  <a:pt x="175" y="244"/>
                </a:cubicBezTo>
                <a:cubicBezTo>
                  <a:pt x="176" y="244"/>
                  <a:pt x="177" y="244"/>
                  <a:pt x="177" y="245"/>
                </a:cubicBezTo>
                <a:lnTo>
                  <a:pt x="178" y="245"/>
                </a:lnTo>
                <a:cubicBezTo>
                  <a:pt x="184" y="245"/>
                  <a:pt x="188" y="248"/>
                  <a:pt x="189" y="252"/>
                </a:cubicBezTo>
                <a:cubicBezTo>
                  <a:pt x="189" y="253"/>
                  <a:pt x="189" y="253"/>
                  <a:pt x="189" y="254"/>
                </a:cubicBezTo>
                <a:cubicBezTo>
                  <a:pt x="189" y="255"/>
                  <a:pt x="189" y="255"/>
                  <a:pt x="189" y="255"/>
                </a:cubicBezTo>
                <a:cubicBezTo>
                  <a:pt x="189" y="257"/>
                  <a:pt x="188" y="258"/>
                  <a:pt x="187" y="260"/>
                </a:cubicBezTo>
                <a:cubicBezTo>
                  <a:pt x="186" y="263"/>
                  <a:pt x="183" y="265"/>
                  <a:pt x="181" y="267"/>
                </a:cubicBezTo>
                <a:cubicBezTo>
                  <a:pt x="173" y="272"/>
                  <a:pt x="163" y="275"/>
                  <a:pt x="148" y="275"/>
                </a:cubicBezTo>
                <a:cubicBezTo>
                  <a:pt x="147" y="275"/>
                  <a:pt x="146" y="275"/>
                  <a:pt x="144" y="275"/>
                </a:cubicBezTo>
                <a:cubicBezTo>
                  <a:pt x="143" y="275"/>
                  <a:pt x="141" y="275"/>
                  <a:pt x="138" y="274"/>
                </a:cubicBezTo>
                <a:cubicBezTo>
                  <a:pt x="134" y="274"/>
                  <a:pt x="131" y="274"/>
                  <a:pt x="128" y="274"/>
                </a:cubicBezTo>
                <a:cubicBezTo>
                  <a:pt x="120" y="274"/>
                  <a:pt x="115" y="275"/>
                  <a:pt x="113" y="278"/>
                </a:cubicBezTo>
                <a:cubicBezTo>
                  <a:pt x="111" y="282"/>
                  <a:pt x="110" y="288"/>
                  <a:pt x="109" y="296"/>
                </a:cubicBezTo>
                <a:cubicBezTo>
                  <a:pt x="109" y="297"/>
                  <a:pt x="109" y="299"/>
                  <a:pt x="108" y="301"/>
                </a:cubicBezTo>
                <a:cubicBezTo>
                  <a:pt x="108" y="302"/>
                  <a:pt x="108" y="303"/>
                  <a:pt x="108" y="304"/>
                </a:cubicBezTo>
                <a:cubicBezTo>
                  <a:pt x="128" y="301"/>
                  <a:pt x="146" y="300"/>
                  <a:pt x="163" y="300"/>
                </a:cubicBezTo>
                <a:cubicBezTo>
                  <a:pt x="163" y="300"/>
                  <a:pt x="164" y="300"/>
                  <a:pt x="166" y="300"/>
                </a:cubicBezTo>
                <a:cubicBezTo>
                  <a:pt x="167" y="300"/>
                  <a:pt x="169" y="300"/>
                  <a:pt x="171" y="300"/>
                </a:cubicBezTo>
                <a:cubicBezTo>
                  <a:pt x="173" y="300"/>
                  <a:pt x="175" y="300"/>
                  <a:pt x="177" y="300"/>
                </a:cubicBezTo>
                <a:cubicBezTo>
                  <a:pt x="182" y="301"/>
                  <a:pt x="185" y="302"/>
                  <a:pt x="187" y="305"/>
                </a:cubicBezTo>
                <a:cubicBezTo>
                  <a:pt x="188" y="306"/>
                  <a:pt x="189" y="308"/>
                  <a:pt x="189" y="309"/>
                </a:cubicBezTo>
                <a:lnTo>
                  <a:pt x="189" y="310"/>
                </a:lnTo>
                <a:cubicBezTo>
                  <a:pt x="189" y="310"/>
                  <a:pt x="189" y="311"/>
                  <a:pt x="188" y="311"/>
                </a:cubicBezTo>
                <a:cubicBezTo>
                  <a:pt x="187" y="315"/>
                  <a:pt x="184" y="318"/>
                  <a:pt x="180" y="320"/>
                </a:cubicBezTo>
                <a:cubicBezTo>
                  <a:pt x="176" y="323"/>
                  <a:pt x="173" y="324"/>
                  <a:pt x="170" y="325"/>
                </a:cubicBezTo>
                <a:cubicBezTo>
                  <a:pt x="163" y="327"/>
                  <a:pt x="153" y="328"/>
                  <a:pt x="139" y="328"/>
                </a:cubicBezTo>
                <a:lnTo>
                  <a:pt x="138" y="328"/>
                </a:lnTo>
                <a:lnTo>
                  <a:pt x="134" y="328"/>
                </a:lnTo>
                <a:cubicBezTo>
                  <a:pt x="133" y="328"/>
                  <a:pt x="131" y="328"/>
                  <a:pt x="129" y="327"/>
                </a:cubicBezTo>
                <a:cubicBezTo>
                  <a:pt x="127" y="327"/>
                  <a:pt x="125" y="327"/>
                  <a:pt x="123" y="327"/>
                </a:cubicBezTo>
                <a:cubicBezTo>
                  <a:pt x="121" y="327"/>
                  <a:pt x="119" y="327"/>
                  <a:pt x="118" y="328"/>
                </a:cubicBezTo>
                <a:cubicBezTo>
                  <a:pt x="113" y="328"/>
                  <a:pt x="110" y="330"/>
                  <a:pt x="109" y="333"/>
                </a:cubicBezTo>
                <a:cubicBezTo>
                  <a:pt x="106" y="337"/>
                  <a:pt x="105" y="344"/>
                  <a:pt x="104" y="353"/>
                </a:cubicBezTo>
                <a:lnTo>
                  <a:pt x="103" y="355"/>
                </a:lnTo>
                <a:cubicBezTo>
                  <a:pt x="103" y="358"/>
                  <a:pt x="103" y="362"/>
                  <a:pt x="103" y="365"/>
                </a:cubicBezTo>
                <a:cubicBezTo>
                  <a:pt x="103" y="372"/>
                  <a:pt x="104" y="377"/>
                  <a:pt x="106" y="382"/>
                </a:cubicBezTo>
                <a:cubicBezTo>
                  <a:pt x="107" y="385"/>
                  <a:pt x="110" y="388"/>
                  <a:pt x="113" y="388"/>
                </a:cubicBezTo>
                <a:cubicBezTo>
                  <a:pt x="113" y="389"/>
                  <a:pt x="114" y="389"/>
                  <a:pt x="115" y="389"/>
                </a:cubicBezTo>
                <a:cubicBezTo>
                  <a:pt x="116" y="389"/>
                  <a:pt x="117" y="389"/>
                  <a:pt x="118" y="389"/>
                </a:cubicBezTo>
                <a:cubicBezTo>
                  <a:pt x="125" y="389"/>
                  <a:pt x="135" y="386"/>
                  <a:pt x="149" y="381"/>
                </a:cubicBezTo>
                <a:cubicBezTo>
                  <a:pt x="153" y="380"/>
                  <a:pt x="156" y="379"/>
                  <a:pt x="158" y="378"/>
                </a:cubicBezTo>
                <a:cubicBezTo>
                  <a:pt x="174" y="372"/>
                  <a:pt x="188" y="370"/>
                  <a:pt x="199" y="370"/>
                </a:cubicBezTo>
                <a:cubicBezTo>
                  <a:pt x="202" y="370"/>
                  <a:pt x="204" y="370"/>
                  <a:pt x="207" y="370"/>
                </a:cubicBezTo>
                <a:cubicBezTo>
                  <a:pt x="209" y="370"/>
                  <a:pt x="211" y="371"/>
                  <a:pt x="213" y="371"/>
                </a:cubicBezTo>
                <a:cubicBezTo>
                  <a:pt x="216" y="372"/>
                  <a:pt x="218" y="374"/>
                  <a:pt x="219" y="378"/>
                </a:cubicBezTo>
                <a:cubicBezTo>
                  <a:pt x="220" y="379"/>
                  <a:pt x="220" y="381"/>
                  <a:pt x="220" y="382"/>
                </a:cubicBezTo>
                <a:cubicBezTo>
                  <a:pt x="220" y="383"/>
                  <a:pt x="220" y="383"/>
                  <a:pt x="220" y="383"/>
                </a:cubicBezTo>
                <a:close/>
                <a:moveTo>
                  <a:pt x="317" y="386"/>
                </a:moveTo>
                <a:cubicBezTo>
                  <a:pt x="316" y="389"/>
                  <a:pt x="313" y="393"/>
                  <a:pt x="307" y="396"/>
                </a:cubicBezTo>
                <a:cubicBezTo>
                  <a:pt x="302" y="399"/>
                  <a:pt x="297" y="401"/>
                  <a:pt x="292" y="401"/>
                </a:cubicBezTo>
                <a:lnTo>
                  <a:pt x="291" y="401"/>
                </a:lnTo>
                <a:cubicBezTo>
                  <a:pt x="280" y="400"/>
                  <a:pt x="264" y="399"/>
                  <a:pt x="242" y="399"/>
                </a:cubicBezTo>
                <a:cubicBezTo>
                  <a:pt x="235" y="399"/>
                  <a:pt x="231" y="398"/>
                  <a:pt x="228" y="395"/>
                </a:cubicBezTo>
                <a:cubicBezTo>
                  <a:pt x="226" y="394"/>
                  <a:pt x="225" y="391"/>
                  <a:pt x="225" y="389"/>
                </a:cubicBezTo>
                <a:lnTo>
                  <a:pt x="225" y="389"/>
                </a:lnTo>
                <a:cubicBezTo>
                  <a:pt x="225" y="385"/>
                  <a:pt x="227" y="381"/>
                  <a:pt x="232" y="378"/>
                </a:cubicBezTo>
                <a:cubicBezTo>
                  <a:pt x="236" y="374"/>
                  <a:pt x="242" y="372"/>
                  <a:pt x="249" y="372"/>
                </a:cubicBezTo>
                <a:lnTo>
                  <a:pt x="264" y="372"/>
                </a:lnTo>
                <a:cubicBezTo>
                  <a:pt x="283" y="372"/>
                  <a:pt x="298" y="373"/>
                  <a:pt x="308" y="376"/>
                </a:cubicBezTo>
                <a:cubicBezTo>
                  <a:pt x="314" y="378"/>
                  <a:pt x="317" y="381"/>
                  <a:pt x="317" y="385"/>
                </a:cubicBezTo>
                <a:cubicBezTo>
                  <a:pt x="317" y="385"/>
                  <a:pt x="317" y="385"/>
                  <a:pt x="317" y="386"/>
                </a:cubicBezTo>
                <a:close/>
                <a:moveTo>
                  <a:pt x="321" y="351"/>
                </a:moveTo>
                <a:cubicBezTo>
                  <a:pt x="321" y="355"/>
                  <a:pt x="318" y="358"/>
                  <a:pt x="310" y="360"/>
                </a:cubicBezTo>
                <a:cubicBezTo>
                  <a:pt x="306" y="361"/>
                  <a:pt x="300" y="362"/>
                  <a:pt x="294" y="362"/>
                </a:cubicBezTo>
                <a:cubicBezTo>
                  <a:pt x="289" y="362"/>
                  <a:pt x="281" y="361"/>
                  <a:pt x="271" y="360"/>
                </a:cubicBezTo>
                <a:cubicBezTo>
                  <a:pt x="262" y="359"/>
                  <a:pt x="255" y="359"/>
                  <a:pt x="251" y="359"/>
                </a:cubicBezTo>
                <a:cubicBezTo>
                  <a:pt x="250" y="359"/>
                  <a:pt x="248" y="359"/>
                  <a:pt x="245" y="359"/>
                </a:cubicBezTo>
                <a:cubicBezTo>
                  <a:pt x="240" y="359"/>
                  <a:pt x="237" y="359"/>
                  <a:pt x="234" y="359"/>
                </a:cubicBezTo>
                <a:cubicBezTo>
                  <a:pt x="226" y="359"/>
                  <a:pt x="220" y="358"/>
                  <a:pt x="218" y="354"/>
                </a:cubicBezTo>
                <a:cubicBezTo>
                  <a:pt x="217" y="353"/>
                  <a:pt x="216" y="351"/>
                  <a:pt x="216" y="349"/>
                </a:cubicBezTo>
                <a:cubicBezTo>
                  <a:pt x="216" y="348"/>
                  <a:pt x="217" y="346"/>
                  <a:pt x="218" y="344"/>
                </a:cubicBezTo>
                <a:cubicBezTo>
                  <a:pt x="221" y="337"/>
                  <a:pt x="229" y="333"/>
                  <a:pt x="242" y="333"/>
                </a:cubicBezTo>
                <a:lnTo>
                  <a:pt x="258" y="333"/>
                </a:lnTo>
                <a:cubicBezTo>
                  <a:pt x="275" y="333"/>
                  <a:pt x="288" y="334"/>
                  <a:pt x="297" y="335"/>
                </a:cubicBezTo>
                <a:cubicBezTo>
                  <a:pt x="302" y="335"/>
                  <a:pt x="306" y="337"/>
                  <a:pt x="312" y="340"/>
                </a:cubicBezTo>
                <a:cubicBezTo>
                  <a:pt x="318" y="343"/>
                  <a:pt x="321" y="347"/>
                  <a:pt x="321" y="350"/>
                </a:cubicBezTo>
                <a:lnTo>
                  <a:pt x="321" y="351"/>
                </a:lnTo>
                <a:lnTo>
                  <a:pt x="321" y="351"/>
                </a:lnTo>
                <a:close/>
                <a:moveTo>
                  <a:pt x="461" y="426"/>
                </a:moveTo>
                <a:cubicBezTo>
                  <a:pt x="459" y="426"/>
                  <a:pt x="458" y="425"/>
                  <a:pt x="456" y="425"/>
                </a:cubicBezTo>
                <a:cubicBezTo>
                  <a:pt x="449" y="423"/>
                  <a:pt x="444" y="420"/>
                  <a:pt x="442" y="416"/>
                </a:cubicBezTo>
                <a:cubicBezTo>
                  <a:pt x="438" y="412"/>
                  <a:pt x="435" y="404"/>
                  <a:pt x="433" y="394"/>
                </a:cubicBezTo>
                <a:cubicBezTo>
                  <a:pt x="430" y="383"/>
                  <a:pt x="427" y="375"/>
                  <a:pt x="425" y="371"/>
                </a:cubicBezTo>
                <a:cubicBezTo>
                  <a:pt x="425" y="371"/>
                  <a:pt x="423" y="376"/>
                  <a:pt x="421" y="385"/>
                </a:cubicBezTo>
                <a:cubicBezTo>
                  <a:pt x="419" y="393"/>
                  <a:pt x="417" y="399"/>
                  <a:pt x="415" y="403"/>
                </a:cubicBezTo>
                <a:cubicBezTo>
                  <a:pt x="409" y="418"/>
                  <a:pt x="402" y="426"/>
                  <a:pt x="395" y="426"/>
                </a:cubicBezTo>
                <a:lnTo>
                  <a:pt x="395" y="426"/>
                </a:lnTo>
                <a:cubicBezTo>
                  <a:pt x="389" y="426"/>
                  <a:pt x="385" y="417"/>
                  <a:pt x="382" y="397"/>
                </a:cubicBezTo>
                <a:cubicBezTo>
                  <a:pt x="379" y="384"/>
                  <a:pt x="378" y="377"/>
                  <a:pt x="378" y="377"/>
                </a:cubicBezTo>
                <a:cubicBezTo>
                  <a:pt x="377" y="371"/>
                  <a:pt x="376" y="368"/>
                  <a:pt x="374" y="368"/>
                </a:cubicBezTo>
                <a:cubicBezTo>
                  <a:pt x="374" y="368"/>
                  <a:pt x="369" y="381"/>
                  <a:pt x="360" y="407"/>
                </a:cubicBezTo>
                <a:cubicBezTo>
                  <a:pt x="357" y="415"/>
                  <a:pt x="354" y="420"/>
                  <a:pt x="351" y="423"/>
                </a:cubicBezTo>
                <a:cubicBezTo>
                  <a:pt x="349" y="424"/>
                  <a:pt x="347" y="425"/>
                  <a:pt x="345" y="425"/>
                </a:cubicBezTo>
                <a:cubicBezTo>
                  <a:pt x="342" y="425"/>
                  <a:pt x="338" y="424"/>
                  <a:pt x="335" y="421"/>
                </a:cubicBezTo>
                <a:lnTo>
                  <a:pt x="335" y="421"/>
                </a:lnTo>
                <a:cubicBezTo>
                  <a:pt x="335" y="421"/>
                  <a:pt x="335" y="418"/>
                  <a:pt x="335" y="412"/>
                </a:cubicBezTo>
                <a:cubicBezTo>
                  <a:pt x="335" y="404"/>
                  <a:pt x="335" y="390"/>
                  <a:pt x="334" y="371"/>
                </a:cubicBezTo>
                <a:lnTo>
                  <a:pt x="334" y="371"/>
                </a:lnTo>
                <a:cubicBezTo>
                  <a:pt x="334" y="368"/>
                  <a:pt x="335" y="366"/>
                  <a:pt x="337" y="363"/>
                </a:cubicBezTo>
                <a:cubicBezTo>
                  <a:pt x="338" y="360"/>
                  <a:pt x="339" y="357"/>
                  <a:pt x="339" y="355"/>
                </a:cubicBezTo>
                <a:cubicBezTo>
                  <a:pt x="339" y="351"/>
                  <a:pt x="341" y="349"/>
                  <a:pt x="346" y="349"/>
                </a:cubicBezTo>
                <a:cubicBezTo>
                  <a:pt x="351" y="349"/>
                  <a:pt x="354" y="349"/>
                  <a:pt x="354" y="349"/>
                </a:cubicBezTo>
                <a:cubicBezTo>
                  <a:pt x="355" y="347"/>
                  <a:pt x="358" y="345"/>
                  <a:pt x="360" y="341"/>
                </a:cubicBezTo>
                <a:cubicBezTo>
                  <a:pt x="363" y="338"/>
                  <a:pt x="365" y="336"/>
                  <a:pt x="367" y="334"/>
                </a:cubicBezTo>
                <a:cubicBezTo>
                  <a:pt x="369" y="332"/>
                  <a:pt x="372" y="331"/>
                  <a:pt x="375" y="331"/>
                </a:cubicBezTo>
                <a:cubicBezTo>
                  <a:pt x="377" y="331"/>
                  <a:pt x="380" y="332"/>
                  <a:pt x="383" y="333"/>
                </a:cubicBezTo>
                <a:cubicBezTo>
                  <a:pt x="387" y="336"/>
                  <a:pt x="390" y="343"/>
                  <a:pt x="394" y="355"/>
                </a:cubicBezTo>
                <a:cubicBezTo>
                  <a:pt x="398" y="371"/>
                  <a:pt x="400" y="379"/>
                  <a:pt x="400" y="379"/>
                </a:cubicBezTo>
                <a:cubicBezTo>
                  <a:pt x="401" y="378"/>
                  <a:pt x="404" y="368"/>
                  <a:pt x="409" y="350"/>
                </a:cubicBezTo>
                <a:cubicBezTo>
                  <a:pt x="413" y="337"/>
                  <a:pt x="417" y="330"/>
                  <a:pt x="423" y="327"/>
                </a:cubicBezTo>
                <a:cubicBezTo>
                  <a:pt x="435" y="329"/>
                  <a:pt x="444" y="342"/>
                  <a:pt x="452" y="365"/>
                </a:cubicBezTo>
                <a:cubicBezTo>
                  <a:pt x="454" y="371"/>
                  <a:pt x="457" y="381"/>
                  <a:pt x="460" y="394"/>
                </a:cubicBezTo>
                <a:cubicBezTo>
                  <a:pt x="463" y="406"/>
                  <a:pt x="466" y="413"/>
                  <a:pt x="467" y="418"/>
                </a:cubicBezTo>
                <a:cubicBezTo>
                  <a:pt x="467" y="423"/>
                  <a:pt x="465" y="426"/>
                  <a:pt x="461" y="426"/>
                </a:cubicBezTo>
                <a:close/>
                <a:moveTo>
                  <a:pt x="538" y="421"/>
                </a:moveTo>
                <a:cubicBezTo>
                  <a:pt x="528" y="424"/>
                  <a:pt x="520" y="426"/>
                  <a:pt x="512" y="426"/>
                </a:cubicBezTo>
                <a:cubicBezTo>
                  <a:pt x="501" y="426"/>
                  <a:pt x="491" y="422"/>
                  <a:pt x="485" y="413"/>
                </a:cubicBezTo>
                <a:cubicBezTo>
                  <a:pt x="480" y="407"/>
                  <a:pt x="478" y="398"/>
                  <a:pt x="478" y="389"/>
                </a:cubicBezTo>
                <a:lnTo>
                  <a:pt x="478" y="387"/>
                </a:lnTo>
                <a:cubicBezTo>
                  <a:pt x="478" y="378"/>
                  <a:pt x="479" y="370"/>
                  <a:pt x="483" y="362"/>
                </a:cubicBezTo>
                <a:cubicBezTo>
                  <a:pt x="486" y="353"/>
                  <a:pt x="491" y="345"/>
                  <a:pt x="497" y="340"/>
                </a:cubicBezTo>
                <a:cubicBezTo>
                  <a:pt x="504" y="334"/>
                  <a:pt x="511" y="331"/>
                  <a:pt x="518" y="331"/>
                </a:cubicBezTo>
                <a:lnTo>
                  <a:pt x="519" y="331"/>
                </a:lnTo>
                <a:cubicBezTo>
                  <a:pt x="526" y="331"/>
                  <a:pt x="530" y="334"/>
                  <a:pt x="532" y="340"/>
                </a:cubicBezTo>
                <a:cubicBezTo>
                  <a:pt x="533" y="341"/>
                  <a:pt x="533" y="343"/>
                  <a:pt x="533" y="344"/>
                </a:cubicBezTo>
                <a:cubicBezTo>
                  <a:pt x="533" y="348"/>
                  <a:pt x="531" y="351"/>
                  <a:pt x="526" y="354"/>
                </a:cubicBezTo>
                <a:cubicBezTo>
                  <a:pt x="516" y="360"/>
                  <a:pt x="510" y="364"/>
                  <a:pt x="508" y="367"/>
                </a:cubicBezTo>
                <a:cubicBezTo>
                  <a:pt x="504" y="371"/>
                  <a:pt x="502" y="375"/>
                  <a:pt x="502" y="380"/>
                </a:cubicBezTo>
                <a:cubicBezTo>
                  <a:pt x="502" y="383"/>
                  <a:pt x="502" y="386"/>
                  <a:pt x="503" y="388"/>
                </a:cubicBezTo>
                <a:cubicBezTo>
                  <a:pt x="505" y="395"/>
                  <a:pt x="510" y="398"/>
                  <a:pt x="517" y="398"/>
                </a:cubicBezTo>
                <a:cubicBezTo>
                  <a:pt x="518" y="398"/>
                  <a:pt x="519" y="398"/>
                  <a:pt x="520" y="398"/>
                </a:cubicBezTo>
                <a:cubicBezTo>
                  <a:pt x="526" y="397"/>
                  <a:pt x="535" y="394"/>
                  <a:pt x="547" y="388"/>
                </a:cubicBezTo>
                <a:cubicBezTo>
                  <a:pt x="560" y="382"/>
                  <a:pt x="568" y="379"/>
                  <a:pt x="572" y="378"/>
                </a:cubicBezTo>
                <a:cubicBezTo>
                  <a:pt x="574" y="378"/>
                  <a:pt x="575" y="378"/>
                  <a:pt x="576" y="378"/>
                </a:cubicBezTo>
                <a:cubicBezTo>
                  <a:pt x="581" y="378"/>
                  <a:pt x="584" y="381"/>
                  <a:pt x="584" y="387"/>
                </a:cubicBezTo>
                <a:cubicBezTo>
                  <a:pt x="582" y="398"/>
                  <a:pt x="567" y="410"/>
                  <a:pt x="538" y="421"/>
                </a:cubicBezTo>
                <a:close/>
                <a:moveTo>
                  <a:pt x="600" y="322"/>
                </a:moveTo>
                <a:cubicBezTo>
                  <a:pt x="599" y="324"/>
                  <a:pt x="597" y="325"/>
                  <a:pt x="594" y="326"/>
                </a:cubicBezTo>
                <a:cubicBezTo>
                  <a:pt x="592" y="326"/>
                  <a:pt x="590" y="326"/>
                  <a:pt x="587" y="327"/>
                </a:cubicBezTo>
                <a:cubicBezTo>
                  <a:pt x="583" y="327"/>
                  <a:pt x="579" y="327"/>
                  <a:pt x="575" y="327"/>
                </a:cubicBezTo>
                <a:cubicBezTo>
                  <a:pt x="569" y="327"/>
                  <a:pt x="562" y="327"/>
                  <a:pt x="554" y="326"/>
                </a:cubicBezTo>
                <a:cubicBezTo>
                  <a:pt x="549" y="325"/>
                  <a:pt x="547" y="323"/>
                  <a:pt x="546" y="321"/>
                </a:cubicBezTo>
                <a:cubicBezTo>
                  <a:pt x="546" y="320"/>
                  <a:pt x="546" y="319"/>
                  <a:pt x="546" y="319"/>
                </a:cubicBezTo>
                <a:cubicBezTo>
                  <a:pt x="546" y="316"/>
                  <a:pt x="547" y="314"/>
                  <a:pt x="550" y="312"/>
                </a:cubicBezTo>
                <a:cubicBezTo>
                  <a:pt x="563" y="303"/>
                  <a:pt x="573" y="294"/>
                  <a:pt x="580" y="284"/>
                </a:cubicBezTo>
                <a:cubicBezTo>
                  <a:pt x="581" y="283"/>
                  <a:pt x="581" y="281"/>
                  <a:pt x="582" y="280"/>
                </a:cubicBezTo>
                <a:lnTo>
                  <a:pt x="582" y="280"/>
                </a:lnTo>
                <a:cubicBezTo>
                  <a:pt x="582" y="278"/>
                  <a:pt x="581" y="277"/>
                  <a:pt x="580" y="277"/>
                </a:cubicBezTo>
                <a:cubicBezTo>
                  <a:pt x="579" y="276"/>
                  <a:pt x="578" y="275"/>
                  <a:pt x="576" y="275"/>
                </a:cubicBezTo>
                <a:cubicBezTo>
                  <a:pt x="575" y="275"/>
                  <a:pt x="573" y="275"/>
                  <a:pt x="572" y="276"/>
                </a:cubicBezTo>
                <a:cubicBezTo>
                  <a:pt x="568" y="277"/>
                  <a:pt x="564" y="281"/>
                  <a:pt x="561" y="286"/>
                </a:cubicBezTo>
                <a:cubicBezTo>
                  <a:pt x="561" y="287"/>
                  <a:pt x="560" y="288"/>
                  <a:pt x="559" y="288"/>
                </a:cubicBezTo>
                <a:cubicBezTo>
                  <a:pt x="558" y="289"/>
                  <a:pt x="557" y="289"/>
                  <a:pt x="556" y="289"/>
                </a:cubicBezTo>
                <a:cubicBezTo>
                  <a:pt x="556" y="289"/>
                  <a:pt x="556" y="289"/>
                  <a:pt x="556" y="289"/>
                </a:cubicBezTo>
                <a:cubicBezTo>
                  <a:pt x="554" y="289"/>
                  <a:pt x="553" y="288"/>
                  <a:pt x="553" y="287"/>
                </a:cubicBezTo>
                <a:cubicBezTo>
                  <a:pt x="552" y="287"/>
                  <a:pt x="552" y="286"/>
                  <a:pt x="552" y="285"/>
                </a:cubicBezTo>
                <a:cubicBezTo>
                  <a:pt x="552" y="285"/>
                  <a:pt x="552" y="285"/>
                  <a:pt x="552" y="284"/>
                </a:cubicBezTo>
                <a:cubicBezTo>
                  <a:pt x="553" y="278"/>
                  <a:pt x="556" y="274"/>
                  <a:pt x="562" y="270"/>
                </a:cubicBezTo>
                <a:cubicBezTo>
                  <a:pt x="567" y="266"/>
                  <a:pt x="573" y="264"/>
                  <a:pt x="579" y="264"/>
                </a:cubicBezTo>
                <a:lnTo>
                  <a:pt x="579" y="264"/>
                </a:lnTo>
                <a:cubicBezTo>
                  <a:pt x="585" y="264"/>
                  <a:pt x="589" y="266"/>
                  <a:pt x="592" y="271"/>
                </a:cubicBezTo>
                <a:cubicBezTo>
                  <a:pt x="593" y="273"/>
                  <a:pt x="594" y="276"/>
                  <a:pt x="594" y="278"/>
                </a:cubicBezTo>
                <a:cubicBezTo>
                  <a:pt x="594" y="280"/>
                  <a:pt x="593" y="283"/>
                  <a:pt x="593" y="285"/>
                </a:cubicBezTo>
                <a:cubicBezTo>
                  <a:pt x="590" y="290"/>
                  <a:pt x="586" y="296"/>
                  <a:pt x="580" y="301"/>
                </a:cubicBezTo>
                <a:cubicBezTo>
                  <a:pt x="572" y="308"/>
                  <a:pt x="567" y="313"/>
                  <a:pt x="565" y="314"/>
                </a:cubicBezTo>
                <a:cubicBezTo>
                  <a:pt x="572" y="315"/>
                  <a:pt x="578" y="316"/>
                  <a:pt x="582" y="316"/>
                </a:cubicBezTo>
                <a:lnTo>
                  <a:pt x="582" y="316"/>
                </a:lnTo>
                <a:cubicBezTo>
                  <a:pt x="583" y="316"/>
                  <a:pt x="585" y="316"/>
                  <a:pt x="589" y="315"/>
                </a:cubicBezTo>
                <a:cubicBezTo>
                  <a:pt x="591" y="315"/>
                  <a:pt x="592" y="315"/>
                  <a:pt x="594" y="315"/>
                </a:cubicBezTo>
                <a:cubicBezTo>
                  <a:pt x="594" y="315"/>
                  <a:pt x="595" y="315"/>
                  <a:pt x="596" y="315"/>
                </a:cubicBezTo>
                <a:cubicBezTo>
                  <a:pt x="598" y="315"/>
                  <a:pt x="599" y="316"/>
                  <a:pt x="600" y="317"/>
                </a:cubicBezTo>
                <a:cubicBezTo>
                  <a:pt x="600" y="318"/>
                  <a:pt x="600" y="318"/>
                  <a:pt x="600" y="319"/>
                </a:cubicBezTo>
                <a:cubicBezTo>
                  <a:pt x="600" y="320"/>
                  <a:pt x="600" y="321"/>
                  <a:pt x="600" y="322"/>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programmer_376186">
            <a:extLst>
              <a:ext uri="{FF2B5EF4-FFF2-40B4-BE49-F238E27FC236}">
                <a16:creationId xmlns:a16="http://schemas.microsoft.com/office/drawing/2014/main" id="{9C780BED-4857-4A0C-A514-D0D1179276F7}"/>
              </a:ext>
            </a:extLst>
          </p:cNvPr>
          <p:cNvSpPr>
            <a:spLocks noChangeAspect="1"/>
          </p:cNvSpPr>
          <p:nvPr/>
        </p:nvSpPr>
        <p:spPr>
          <a:xfrm>
            <a:off x="3193532" y="5679164"/>
            <a:ext cx="499560" cy="609685"/>
          </a:xfrm>
          <a:custGeom>
            <a:avLst/>
            <a:gdLst>
              <a:gd name="connsiteX0" fmla="*/ 262319 w 497133"/>
              <a:gd name="connsiteY0" fmla="*/ 331311 h 606722"/>
              <a:gd name="connsiteX1" fmla="*/ 230542 w 497133"/>
              <a:gd name="connsiteY1" fmla="*/ 353973 h 606722"/>
              <a:gd name="connsiteX2" fmla="*/ 212116 w 497133"/>
              <a:gd name="connsiteY2" fmla="*/ 464262 h 606722"/>
              <a:gd name="connsiteX3" fmla="*/ 234814 w 497133"/>
              <a:gd name="connsiteY3" fmla="*/ 495989 h 606722"/>
              <a:gd name="connsiteX4" fmla="*/ 239354 w 497133"/>
              <a:gd name="connsiteY4" fmla="*/ 496433 h 606722"/>
              <a:gd name="connsiteX5" fmla="*/ 266591 w 497133"/>
              <a:gd name="connsiteY5" fmla="*/ 473327 h 606722"/>
              <a:gd name="connsiteX6" fmla="*/ 285017 w 497133"/>
              <a:gd name="connsiteY6" fmla="*/ 363038 h 606722"/>
              <a:gd name="connsiteX7" fmla="*/ 262319 w 497133"/>
              <a:gd name="connsiteY7" fmla="*/ 331311 h 606722"/>
              <a:gd name="connsiteX8" fmla="*/ 331437 w 497133"/>
              <a:gd name="connsiteY8" fmla="*/ 330911 h 606722"/>
              <a:gd name="connsiteX9" fmla="*/ 311899 w 497133"/>
              <a:gd name="connsiteY9" fmla="*/ 339043 h 606722"/>
              <a:gd name="connsiteX10" fmla="*/ 311899 w 497133"/>
              <a:gd name="connsiteY10" fmla="*/ 377968 h 606722"/>
              <a:gd name="connsiteX11" fmla="*/ 347593 w 497133"/>
              <a:gd name="connsiteY11" fmla="*/ 413695 h 606722"/>
              <a:gd name="connsiteX12" fmla="*/ 311899 w 497133"/>
              <a:gd name="connsiteY12" fmla="*/ 449332 h 606722"/>
              <a:gd name="connsiteX13" fmla="*/ 311899 w 497133"/>
              <a:gd name="connsiteY13" fmla="*/ 488346 h 606722"/>
              <a:gd name="connsiteX14" fmla="*/ 331392 w 497133"/>
              <a:gd name="connsiteY14" fmla="*/ 496345 h 606722"/>
              <a:gd name="connsiteX15" fmla="*/ 350975 w 497133"/>
              <a:gd name="connsiteY15" fmla="*/ 488346 h 606722"/>
              <a:gd name="connsiteX16" fmla="*/ 406163 w 497133"/>
              <a:gd name="connsiteY16" fmla="*/ 433157 h 606722"/>
              <a:gd name="connsiteX17" fmla="*/ 406163 w 497133"/>
              <a:gd name="connsiteY17" fmla="*/ 394143 h 606722"/>
              <a:gd name="connsiteX18" fmla="*/ 350975 w 497133"/>
              <a:gd name="connsiteY18" fmla="*/ 339043 h 606722"/>
              <a:gd name="connsiteX19" fmla="*/ 331437 w 497133"/>
              <a:gd name="connsiteY19" fmla="*/ 330911 h 606722"/>
              <a:gd name="connsiteX20" fmla="*/ 165696 w 497133"/>
              <a:gd name="connsiteY20" fmla="*/ 330911 h 606722"/>
              <a:gd name="connsiteX21" fmla="*/ 146158 w 497133"/>
              <a:gd name="connsiteY21" fmla="*/ 339043 h 606722"/>
              <a:gd name="connsiteX22" fmla="*/ 90881 w 497133"/>
              <a:gd name="connsiteY22" fmla="*/ 394143 h 606722"/>
              <a:gd name="connsiteX23" fmla="*/ 90881 w 497133"/>
              <a:gd name="connsiteY23" fmla="*/ 433157 h 606722"/>
              <a:gd name="connsiteX24" fmla="*/ 146158 w 497133"/>
              <a:gd name="connsiteY24" fmla="*/ 488346 h 606722"/>
              <a:gd name="connsiteX25" fmla="*/ 165652 w 497133"/>
              <a:gd name="connsiteY25" fmla="*/ 496345 h 606722"/>
              <a:gd name="connsiteX26" fmla="*/ 185234 w 497133"/>
              <a:gd name="connsiteY26" fmla="*/ 488346 h 606722"/>
              <a:gd name="connsiteX27" fmla="*/ 185234 w 497133"/>
              <a:gd name="connsiteY27" fmla="*/ 449332 h 606722"/>
              <a:gd name="connsiteX28" fmla="*/ 149540 w 497133"/>
              <a:gd name="connsiteY28" fmla="*/ 413695 h 606722"/>
              <a:gd name="connsiteX29" fmla="*/ 185234 w 497133"/>
              <a:gd name="connsiteY29" fmla="*/ 377968 h 606722"/>
              <a:gd name="connsiteX30" fmla="*/ 185234 w 497133"/>
              <a:gd name="connsiteY30" fmla="*/ 339043 h 606722"/>
              <a:gd name="connsiteX31" fmla="*/ 165696 w 497133"/>
              <a:gd name="connsiteY31" fmla="*/ 330911 h 606722"/>
              <a:gd name="connsiteX32" fmla="*/ 312957 w 497133"/>
              <a:gd name="connsiteY32" fmla="*/ 16159 h 606722"/>
              <a:gd name="connsiteX33" fmla="*/ 480903 w 497133"/>
              <a:gd name="connsiteY33" fmla="*/ 183893 h 606722"/>
              <a:gd name="connsiteX34" fmla="*/ 441831 w 497133"/>
              <a:gd name="connsiteY34" fmla="*/ 183893 h 606722"/>
              <a:gd name="connsiteX35" fmla="*/ 402849 w 497133"/>
              <a:gd name="connsiteY35" fmla="*/ 183893 h 606722"/>
              <a:gd name="connsiteX36" fmla="*/ 312957 w 497133"/>
              <a:gd name="connsiteY36" fmla="*/ 183893 h 606722"/>
              <a:gd name="connsiteX37" fmla="*/ 312957 w 497133"/>
              <a:gd name="connsiteY37" fmla="*/ 94115 h 606722"/>
              <a:gd name="connsiteX38" fmla="*/ 312957 w 497133"/>
              <a:gd name="connsiteY38" fmla="*/ 55182 h 606722"/>
              <a:gd name="connsiteX39" fmla="*/ 27594 w 497133"/>
              <a:gd name="connsiteY39" fmla="*/ 0 h 606722"/>
              <a:gd name="connsiteX40" fmla="*/ 257779 w 497133"/>
              <a:gd name="connsiteY40" fmla="*/ 0 h 606722"/>
              <a:gd name="connsiteX41" fmla="*/ 257779 w 497133"/>
              <a:gd name="connsiteY41" fmla="*/ 27550 h 606722"/>
              <a:gd name="connsiteX42" fmla="*/ 257779 w 497133"/>
              <a:gd name="connsiteY42" fmla="*/ 55189 h 606722"/>
              <a:gd name="connsiteX43" fmla="*/ 257779 w 497133"/>
              <a:gd name="connsiteY43" fmla="*/ 211424 h 606722"/>
              <a:gd name="connsiteX44" fmla="*/ 285373 w 497133"/>
              <a:gd name="connsiteY44" fmla="*/ 238974 h 606722"/>
              <a:gd name="connsiteX45" fmla="*/ 441856 w 497133"/>
              <a:gd name="connsiteY45" fmla="*/ 238974 h 606722"/>
              <a:gd name="connsiteX46" fmla="*/ 469539 w 497133"/>
              <a:gd name="connsiteY46" fmla="*/ 238974 h 606722"/>
              <a:gd name="connsiteX47" fmla="*/ 497133 w 497133"/>
              <a:gd name="connsiteY47" fmla="*/ 238974 h 606722"/>
              <a:gd name="connsiteX48" fmla="*/ 497133 w 497133"/>
              <a:gd name="connsiteY48" fmla="*/ 579083 h 606722"/>
              <a:gd name="connsiteX49" fmla="*/ 469539 w 497133"/>
              <a:gd name="connsiteY49" fmla="*/ 606722 h 606722"/>
              <a:gd name="connsiteX50" fmla="*/ 27594 w 497133"/>
              <a:gd name="connsiteY50" fmla="*/ 606722 h 606722"/>
              <a:gd name="connsiteX51" fmla="*/ 0 w 497133"/>
              <a:gd name="connsiteY51" fmla="*/ 579083 h 606722"/>
              <a:gd name="connsiteX52" fmla="*/ 0 w 497133"/>
              <a:gd name="connsiteY52" fmla="*/ 27550 h 606722"/>
              <a:gd name="connsiteX53" fmla="*/ 27594 w 497133"/>
              <a:gd name="connsiteY53"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497133" h="606722">
                <a:moveTo>
                  <a:pt x="262319" y="331311"/>
                </a:moveTo>
                <a:cubicBezTo>
                  <a:pt x="247276" y="328823"/>
                  <a:pt x="233034" y="338954"/>
                  <a:pt x="230542" y="353973"/>
                </a:cubicBezTo>
                <a:lnTo>
                  <a:pt x="212116" y="464262"/>
                </a:lnTo>
                <a:cubicBezTo>
                  <a:pt x="209624" y="479281"/>
                  <a:pt x="219771" y="493501"/>
                  <a:pt x="234814" y="495989"/>
                </a:cubicBezTo>
                <a:cubicBezTo>
                  <a:pt x="236327" y="496256"/>
                  <a:pt x="237841" y="496433"/>
                  <a:pt x="239354" y="496433"/>
                </a:cubicBezTo>
                <a:cubicBezTo>
                  <a:pt x="252617" y="496433"/>
                  <a:pt x="264366" y="486835"/>
                  <a:pt x="266591" y="473327"/>
                </a:cubicBezTo>
                <a:lnTo>
                  <a:pt x="285017" y="363038"/>
                </a:lnTo>
                <a:cubicBezTo>
                  <a:pt x="287509" y="348019"/>
                  <a:pt x="277362" y="333800"/>
                  <a:pt x="262319" y="331311"/>
                </a:cubicBezTo>
                <a:close/>
                <a:moveTo>
                  <a:pt x="331437" y="330911"/>
                </a:moveTo>
                <a:cubicBezTo>
                  <a:pt x="324361" y="330911"/>
                  <a:pt x="317284" y="333622"/>
                  <a:pt x="311899" y="339043"/>
                </a:cubicBezTo>
                <a:cubicBezTo>
                  <a:pt x="301128" y="349796"/>
                  <a:pt x="301128" y="367215"/>
                  <a:pt x="311899" y="377968"/>
                </a:cubicBezTo>
                <a:lnTo>
                  <a:pt x="347593" y="413695"/>
                </a:lnTo>
                <a:lnTo>
                  <a:pt x="311899" y="449332"/>
                </a:lnTo>
                <a:cubicBezTo>
                  <a:pt x="301128" y="460085"/>
                  <a:pt x="301128" y="477504"/>
                  <a:pt x="311899" y="488346"/>
                </a:cubicBezTo>
                <a:cubicBezTo>
                  <a:pt x="317239" y="493678"/>
                  <a:pt x="324360" y="496345"/>
                  <a:pt x="331392" y="496345"/>
                </a:cubicBezTo>
                <a:cubicBezTo>
                  <a:pt x="338513" y="496345"/>
                  <a:pt x="345545" y="493678"/>
                  <a:pt x="350975" y="488346"/>
                </a:cubicBezTo>
                <a:lnTo>
                  <a:pt x="406163" y="433157"/>
                </a:lnTo>
                <a:cubicBezTo>
                  <a:pt x="416933" y="422404"/>
                  <a:pt x="416933" y="404896"/>
                  <a:pt x="406163" y="394143"/>
                </a:cubicBezTo>
                <a:lnTo>
                  <a:pt x="350975" y="339043"/>
                </a:lnTo>
                <a:cubicBezTo>
                  <a:pt x="345590" y="333622"/>
                  <a:pt x="338514" y="330911"/>
                  <a:pt x="331437" y="330911"/>
                </a:cubicBezTo>
                <a:close/>
                <a:moveTo>
                  <a:pt x="165696" y="330911"/>
                </a:moveTo>
                <a:cubicBezTo>
                  <a:pt x="158620" y="330911"/>
                  <a:pt x="151543" y="333622"/>
                  <a:pt x="146158" y="339043"/>
                </a:cubicBezTo>
                <a:lnTo>
                  <a:pt x="90881" y="394143"/>
                </a:lnTo>
                <a:cubicBezTo>
                  <a:pt x="80111" y="404896"/>
                  <a:pt x="80111" y="422404"/>
                  <a:pt x="90881" y="433157"/>
                </a:cubicBezTo>
                <a:lnTo>
                  <a:pt x="146158" y="488346"/>
                </a:lnTo>
                <a:cubicBezTo>
                  <a:pt x="151588" y="493678"/>
                  <a:pt x="158620" y="496345"/>
                  <a:pt x="165652" y="496345"/>
                </a:cubicBezTo>
                <a:cubicBezTo>
                  <a:pt x="172773" y="496345"/>
                  <a:pt x="179805" y="493678"/>
                  <a:pt x="185234" y="488346"/>
                </a:cubicBezTo>
                <a:cubicBezTo>
                  <a:pt x="196005" y="477504"/>
                  <a:pt x="196005" y="460085"/>
                  <a:pt x="185234" y="449332"/>
                </a:cubicBezTo>
                <a:lnTo>
                  <a:pt x="149540" y="413695"/>
                </a:lnTo>
                <a:lnTo>
                  <a:pt x="185234" y="377968"/>
                </a:lnTo>
                <a:cubicBezTo>
                  <a:pt x="196005" y="367215"/>
                  <a:pt x="196005" y="349796"/>
                  <a:pt x="185234" y="339043"/>
                </a:cubicBezTo>
                <a:cubicBezTo>
                  <a:pt x="179849" y="333622"/>
                  <a:pt x="172773" y="330911"/>
                  <a:pt x="165696" y="330911"/>
                </a:cubicBezTo>
                <a:close/>
                <a:moveTo>
                  <a:pt x="312957" y="16159"/>
                </a:moveTo>
                <a:lnTo>
                  <a:pt x="480903" y="183893"/>
                </a:lnTo>
                <a:lnTo>
                  <a:pt x="441831" y="183893"/>
                </a:lnTo>
                <a:lnTo>
                  <a:pt x="402849" y="183893"/>
                </a:lnTo>
                <a:lnTo>
                  <a:pt x="312957" y="183893"/>
                </a:lnTo>
                <a:lnTo>
                  <a:pt x="312957" y="94115"/>
                </a:lnTo>
                <a:lnTo>
                  <a:pt x="312957" y="55182"/>
                </a:lnTo>
                <a:close/>
                <a:moveTo>
                  <a:pt x="27594" y="0"/>
                </a:moveTo>
                <a:lnTo>
                  <a:pt x="257779" y="0"/>
                </a:lnTo>
                <a:lnTo>
                  <a:pt x="257779" y="27550"/>
                </a:lnTo>
                <a:lnTo>
                  <a:pt x="257779" y="55189"/>
                </a:lnTo>
                <a:lnTo>
                  <a:pt x="257779" y="211424"/>
                </a:lnTo>
                <a:cubicBezTo>
                  <a:pt x="257779" y="226621"/>
                  <a:pt x="270152" y="238974"/>
                  <a:pt x="285373" y="238974"/>
                </a:cubicBezTo>
                <a:lnTo>
                  <a:pt x="441856" y="238974"/>
                </a:lnTo>
                <a:lnTo>
                  <a:pt x="469539" y="238974"/>
                </a:lnTo>
                <a:lnTo>
                  <a:pt x="497133" y="238974"/>
                </a:lnTo>
                <a:lnTo>
                  <a:pt x="497133" y="579083"/>
                </a:lnTo>
                <a:cubicBezTo>
                  <a:pt x="497133" y="594369"/>
                  <a:pt x="484760" y="606722"/>
                  <a:pt x="469539" y="606722"/>
                </a:cubicBezTo>
                <a:lnTo>
                  <a:pt x="27594" y="606722"/>
                </a:lnTo>
                <a:cubicBezTo>
                  <a:pt x="12373" y="606722"/>
                  <a:pt x="0" y="594369"/>
                  <a:pt x="0" y="579083"/>
                </a:cubicBezTo>
                <a:lnTo>
                  <a:pt x="0" y="27550"/>
                </a:lnTo>
                <a:cubicBezTo>
                  <a:pt x="0" y="12353"/>
                  <a:pt x="12373" y="0"/>
                  <a:pt x="2759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圆角矩形 35">
            <a:extLst>
              <a:ext uri="{FF2B5EF4-FFF2-40B4-BE49-F238E27FC236}">
                <a16:creationId xmlns:a16="http://schemas.microsoft.com/office/drawing/2014/main" id="{F06D0161-12DA-4AD7-9C4D-6AB6A54144DA}"/>
              </a:ext>
            </a:extLst>
          </p:cNvPr>
          <p:cNvSpPr/>
          <p:nvPr/>
        </p:nvSpPr>
        <p:spPr>
          <a:xfrm>
            <a:off x="1104182" y="1607362"/>
            <a:ext cx="310550" cy="3494899"/>
          </a:xfrm>
          <a:prstGeom prst="roundRect">
            <a:avLst/>
          </a:prstGeom>
          <a:solidFill>
            <a:srgbClr val="BA996A"/>
          </a:solidFill>
          <a:ln>
            <a:solidFill>
              <a:srgbClr val="BA99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 name="圆角矩形 36">
            <a:extLst>
              <a:ext uri="{FF2B5EF4-FFF2-40B4-BE49-F238E27FC236}">
                <a16:creationId xmlns:a16="http://schemas.microsoft.com/office/drawing/2014/main" id="{2E548547-456E-46CF-A258-A06F866D6C3F}"/>
              </a:ext>
            </a:extLst>
          </p:cNvPr>
          <p:cNvSpPr/>
          <p:nvPr/>
        </p:nvSpPr>
        <p:spPr>
          <a:xfrm>
            <a:off x="1104182" y="5122151"/>
            <a:ext cx="310550" cy="3494899"/>
          </a:xfrm>
          <a:prstGeom prst="roundRect">
            <a:avLst/>
          </a:prstGeom>
          <a:solidFill>
            <a:srgbClr val="475B7C"/>
          </a:solidFill>
          <a:ln>
            <a:solidFill>
              <a:srgbClr val="BA99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7" name="直线连接符 38">
            <a:extLst>
              <a:ext uri="{FF2B5EF4-FFF2-40B4-BE49-F238E27FC236}">
                <a16:creationId xmlns:a16="http://schemas.microsoft.com/office/drawing/2014/main" id="{9E1D1416-69C0-4C27-90F4-0392AA4C7295}"/>
              </a:ext>
            </a:extLst>
          </p:cNvPr>
          <p:cNvCxnSpPr/>
          <p:nvPr/>
        </p:nvCxnSpPr>
        <p:spPr>
          <a:xfrm>
            <a:off x="5037826" y="1779208"/>
            <a:ext cx="0" cy="6796141"/>
          </a:xfrm>
          <a:prstGeom prst="line">
            <a:avLst/>
          </a:prstGeom>
          <a:ln w="15875">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文本框 19">
            <a:extLst>
              <a:ext uri="{FF2B5EF4-FFF2-40B4-BE49-F238E27FC236}">
                <a16:creationId xmlns:a16="http://schemas.microsoft.com/office/drawing/2014/main" id="{A21AF438-1D1F-4870-ADD9-A295F9051EFC}"/>
              </a:ext>
            </a:extLst>
          </p:cNvPr>
          <p:cNvSpPr txBox="1"/>
          <p:nvPr/>
        </p:nvSpPr>
        <p:spPr>
          <a:xfrm>
            <a:off x="5266917" y="5864826"/>
            <a:ext cx="10528366" cy="2400657"/>
          </a:xfrm>
          <a:prstGeom prst="rect">
            <a:avLst/>
          </a:prstGeom>
          <a:noFill/>
        </p:spPr>
        <p:txBody>
          <a:bodyPr wrap="square" rtlCol="0">
            <a:spAutoFit/>
          </a:bodyPr>
          <a:lstStyle/>
          <a:p>
            <a:pPr marL="285750" indent="-285750" algn="just">
              <a:spcBef>
                <a:spcPts val="600"/>
              </a:spcBef>
              <a:buSzPct val="100000"/>
              <a:buFont typeface="Wingdings" pitchFamily="2" charset="2"/>
              <a:buChar char="Ø"/>
              <a:tabLst>
                <a:tab pos="1266190" algn="l"/>
              </a:tabLst>
            </a:pPr>
            <a:r>
              <a:rPr lang="en-US" altLang="zh-CN" sz="2800" b="1" dirty="0">
                <a:latin typeface="Times New Roman" panose="02020603050405020304" pitchFamily="18" charset="0"/>
                <a:ea typeface="楷体" panose="02010609060101010101" pitchFamily="49" charset="-122"/>
                <a:cs typeface="Times New Roman" panose="02020603050405020304" pitchFamily="18" charset="0"/>
              </a:rPr>
              <a:t>1. Take the slope time series of the previous M day. </a:t>
            </a:r>
            <a:endParaRPr lang="zh-CN" altLang="zh-CN" sz="2800" b="1" dirty="0">
              <a:latin typeface="Times New Roman" panose="02020603050405020304" pitchFamily="18" charset="0"/>
              <a:ea typeface="楷体" panose="02010609060101010101" pitchFamily="49" charset="-122"/>
              <a:cs typeface="Times New Roman" panose="02020603050405020304" pitchFamily="18" charset="0"/>
            </a:endParaRPr>
          </a:p>
          <a:p>
            <a:pPr marL="285750" indent="-285750" algn="just">
              <a:spcBef>
                <a:spcPts val="600"/>
              </a:spcBef>
              <a:buSzPct val="100000"/>
              <a:buFont typeface="Wingdings" pitchFamily="2" charset="2"/>
              <a:buChar char="Ø"/>
              <a:tabLst>
                <a:tab pos="1266190" algn="l"/>
              </a:tabLst>
            </a:pPr>
            <a:r>
              <a:rPr lang="en-US" altLang="zh-CN" sz="2800" b="1" dirty="0">
                <a:latin typeface="Times New Roman" panose="02020603050405020304" pitchFamily="18" charset="0"/>
                <a:ea typeface="楷体" panose="02010609060101010101" pitchFamily="49" charset="-122"/>
                <a:cs typeface="Times New Roman" panose="02020603050405020304" pitchFamily="18" charset="0"/>
              </a:rPr>
              <a:t>2. Calculate the standard score of that day by using this sample.</a:t>
            </a:r>
            <a:endParaRPr lang="zh-CN" altLang="zh-CN" sz="2800" b="1" dirty="0">
              <a:latin typeface="Times New Roman" panose="02020603050405020304" pitchFamily="18" charset="0"/>
              <a:ea typeface="楷体" panose="02010609060101010101" pitchFamily="49" charset="-122"/>
              <a:cs typeface="Times New Roman" panose="02020603050405020304" pitchFamily="18" charset="0"/>
            </a:endParaRPr>
          </a:p>
          <a:p>
            <a:pPr marL="285750" indent="-285750" algn="just">
              <a:spcBef>
                <a:spcPts val="600"/>
              </a:spcBef>
              <a:buSzPct val="100000"/>
              <a:buFont typeface="Wingdings" pitchFamily="2" charset="2"/>
              <a:buChar char="Ø"/>
              <a:tabLst>
                <a:tab pos="5274310" algn="r"/>
              </a:tabLst>
            </a:pPr>
            <a:r>
              <a:rPr lang="en-US" altLang="zh-CN" sz="2800" b="1" dirty="0">
                <a:latin typeface="Times New Roman" panose="02020603050405020304" pitchFamily="18" charset="0"/>
                <a:ea typeface="楷体" panose="02010609060101010101" pitchFamily="49" charset="-122"/>
                <a:cs typeface="Times New Roman" panose="02020603050405020304" pitchFamily="18" charset="0"/>
              </a:rPr>
              <a:t>3. Use the calculated standard score z as the standard score of RSRS on that day.</a:t>
            </a:r>
          </a:p>
          <a:p>
            <a:endParaRPr lang="en-US" altLang="zh-CN" sz="2800" dirty="0"/>
          </a:p>
        </p:txBody>
      </p:sp>
      <p:pic>
        <p:nvPicPr>
          <p:cNvPr id="22" name="Picture 17">
            <a:extLst>
              <a:ext uri="{FF2B5EF4-FFF2-40B4-BE49-F238E27FC236}">
                <a16:creationId xmlns:a16="http://schemas.microsoft.com/office/drawing/2014/main" id="{77287CCB-2E08-4811-B134-22ABFFF8ADA2}"/>
              </a:ext>
            </a:extLst>
          </p:cNvPr>
          <p:cNvPicPr>
            <a:picLocks noChangeAspect="1"/>
          </p:cNvPicPr>
          <p:nvPr/>
        </p:nvPicPr>
        <p:blipFill>
          <a:blip r:embed="rId4"/>
          <a:stretch>
            <a:fillRect/>
          </a:stretch>
        </p:blipFill>
        <p:spPr>
          <a:xfrm>
            <a:off x="13119100" y="533400"/>
            <a:ext cx="2540000" cy="101600"/>
          </a:xfrm>
          <a:prstGeom prst="rect">
            <a:avLst/>
          </a:prstGeom>
        </p:spPr>
      </p:pic>
      <p:sp>
        <p:nvSpPr>
          <p:cNvPr id="23" name="TextBox 7">
            <a:extLst>
              <a:ext uri="{FF2B5EF4-FFF2-40B4-BE49-F238E27FC236}">
                <a16:creationId xmlns:a16="http://schemas.microsoft.com/office/drawing/2014/main" id="{6DF63EBB-679C-439C-827E-F3D700EEAEE7}"/>
              </a:ext>
            </a:extLst>
          </p:cNvPr>
          <p:cNvSpPr txBox="1"/>
          <p:nvPr/>
        </p:nvSpPr>
        <p:spPr>
          <a:xfrm>
            <a:off x="10222058" y="731093"/>
            <a:ext cx="5784228" cy="726511"/>
          </a:xfrm>
          <a:prstGeom prst="rect">
            <a:avLst/>
          </a:prstGeom>
        </p:spPr>
        <p:txBody>
          <a:bodyPr lIns="0" tIns="0" rIns="0" bIns="0" rtlCol="0" anchor="t"/>
          <a:lstStyle/>
          <a:p>
            <a:pPr algn="r">
              <a:lnSpc>
                <a:spcPct val="90000"/>
              </a:lnSpc>
            </a:pPr>
            <a:r>
              <a:rPr lang="en-US" altLang="zh-CN" sz="4000" b="1" dirty="0">
                <a:solidFill>
                  <a:srgbClr val="232F47"/>
                </a:solidFill>
                <a:latin typeface="Times New Roman" panose="02020603050405020304" pitchFamily="18" charset="0"/>
                <a:cs typeface="Times New Roman" panose="02020603050405020304" pitchFamily="18" charset="0"/>
              </a:rPr>
              <a:t>Construct</a:t>
            </a:r>
            <a:r>
              <a:rPr lang="en-US" altLang="zh-CN" sz="4000" b="1" dirty="0">
                <a:solidFill>
                  <a:srgbClr val="475B7C"/>
                </a:solidFill>
                <a:latin typeface="Times New Roman" panose="02020603050405020304" pitchFamily="18" charset="0"/>
                <a:cs typeface="Times New Roman" panose="02020603050405020304" pitchFamily="18" charset="0"/>
              </a:rPr>
              <a:t> </a:t>
            </a:r>
            <a:r>
              <a:rPr lang="en-US" altLang="zh-CN" sz="4000" b="1" dirty="0">
                <a:solidFill>
                  <a:srgbClr val="232F47"/>
                </a:solidFill>
                <a:latin typeface="Times New Roman" panose="02020603050405020304" pitchFamily="18" charset="0"/>
                <a:cs typeface="Times New Roman" panose="02020603050405020304" pitchFamily="18" charset="0"/>
              </a:rPr>
              <a:t>RSRS indicator</a:t>
            </a:r>
            <a:endParaRPr lang="zh-CN" altLang="zh-CN" sz="4000" b="1" dirty="0">
              <a:solidFill>
                <a:srgbClr val="232F47"/>
              </a:solidFill>
              <a:latin typeface="Times New Roman" panose="02020603050405020304" pitchFamily="18" charset="0"/>
              <a:cs typeface="Times New Roman" panose="02020603050405020304" pitchFamily="18" charset="0"/>
            </a:endParaRPr>
          </a:p>
          <a:p>
            <a:pPr algn="r">
              <a:lnSpc>
                <a:spcPct val="90000"/>
              </a:lnSpc>
            </a:pPr>
            <a:endParaRPr lang="en-US" sz="4000" b="1" dirty="0">
              <a:solidFill>
                <a:srgbClr val="475B7C"/>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2389762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17">
            <a:extLst>
              <a:ext uri="{FF2B5EF4-FFF2-40B4-BE49-F238E27FC236}">
                <a16:creationId xmlns:a16="http://schemas.microsoft.com/office/drawing/2014/main" id="{0C9D2680-2E89-4BBB-BA76-20AB5A2D2A6C}"/>
              </a:ext>
            </a:extLst>
          </p:cNvPr>
          <p:cNvPicPr>
            <a:picLocks noChangeAspect="1"/>
          </p:cNvPicPr>
          <p:nvPr/>
        </p:nvPicPr>
        <p:blipFill>
          <a:blip r:embed="rId3"/>
          <a:stretch>
            <a:fillRect/>
          </a:stretch>
        </p:blipFill>
        <p:spPr>
          <a:xfrm>
            <a:off x="13119100" y="533400"/>
            <a:ext cx="2540000" cy="101600"/>
          </a:xfrm>
          <a:prstGeom prst="rect">
            <a:avLst/>
          </a:prstGeom>
        </p:spPr>
      </p:pic>
      <p:sp>
        <p:nvSpPr>
          <p:cNvPr id="36" name="TextBox 7">
            <a:extLst>
              <a:ext uri="{FF2B5EF4-FFF2-40B4-BE49-F238E27FC236}">
                <a16:creationId xmlns:a16="http://schemas.microsoft.com/office/drawing/2014/main" id="{50285076-E123-47EB-B4C1-B0C6CCB74280}"/>
              </a:ext>
            </a:extLst>
          </p:cNvPr>
          <p:cNvSpPr txBox="1"/>
          <p:nvPr/>
        </p:nvSpPr>
        <p:spPr>
          <a:xfrm>
            <a:off x="10222058" y="731093"/>
            <a:ext cx="5784228" cy="726511"/>
          </a:xfrm>
          <a:prstGeom prst="rect">
            <a:avLst/>
          </a:prstGeom>
        </p:spPr>
        <p:txBody>
          <a:bodyPr lIns="0" tIns="0" rIns="0" bIns="0" rtlCol="0" anchor="t"/>
          <a:lstStyle/>
          <a:p>
            <a:pPr algn="r">
              <a:lnSpc>
                <a:spcPct val="90000"/>
              </a:lnSpc>
            </a:pPr>
            <a:r>
              <a:rPr lang="en-US" altLang="zh-CN" sz="4000" b="1" dirty="0">
                <a:solidFill>
                  <a:srgbClr val="232F47"/>
                </a:solidFill>
                <a:latin typeface="Times New Roman" panose="02020603050405020304" pitchFamily="18" charset="0"/>
                <a:cs typeface="Times New Roman" panose="02020603050405020304" pitchFamily="18" charset="0"/>
              </a:rPr>
              <a:t>RSRS Threshold</a:t>
            </a:r>
            <a:endParaRPr lang="zh-CN" altLang="zh-CN" sz="4000" b="1" dirty="0">
              <a:solidFill>
                <a:srgbClr val="232F47"/>
              </a:solidFill>
              <a:latin typeface="Times New Roman" panose="02020603050405020304" pitchFamily="18" charset="0"/>
              <a:cs typeface="Times New Roman" panose="02020603050405020304" pitchFamily="18" charset="0"/>
            </a:endParaRPr>
          </a:p>
        </p:txBody>
      </p:sp>
      <mc:AlternateContent xmlns:mc="http://schemas.openxmlformats.org/markup-compatibility/2006" xmlns:cx1="http://schemas.microsoft.com/office/drawing/2015/9/8/chartex">
        <mc:Choice Requires="cx1">
          <p:graphicFrame>
            <p:nvGraphicFramePr>
              <p:cNvPr id="50" name="图表 49">
                <a:extLst>
                  <a:ext uri="{FF2B5EF4-FFF2-40B4-BE49-F238E27FC236}">
                    <a16:creationId xmlns:a16="http://schemas.microsoft.com/office/drawing/2014/main" id="{80FA62A3-CC0D-4210-A3D2-4A790A1DBC0D}"/>
                  </a:ext>
                </a:extLst>
              </p:cNvPr>
              <p:cNvGraphicFramePr/>
              <p:nvPr>
                <p:extLst>
                  <p:ext uri="{D42A27DB-BD31-4B8C-83A1-F6EECF244321}">
                    <p14:modId xmlns:p14="http://schemas.microsoft.com/office/powerpoint/2010/main" val="2700842430"/>
                  </p:ext>
                </p:extLst>
              </p:nvPr>
            </p:nvGraphicFramePr>
            <p:xfrm>
              <a:off x="478367" y="5071304"/>
              <a:ext cx="7305584" cy="3704103"/>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50" name="图表 49">
                <a:extLst>
                  <a:ext uri="{FF2B5EF4-FFF2-40B4-BE49-F238E27FC236}">
                    <a16:creationId xmlns:a16="http://schemas.microsoft.com/office/drawing/2014/main" id="{80FA62A3-CC0D-4210-A3D2-4A790A1DBC0D}"/>
                  </a:ext>
                </a:extLst>
              </p:cNvPr>
              <p:cNvPicPr>
                <a:picLocks noGrp="1" noRot="1" noChangeAspect="1" noMove="1" noResize="1" noEditPoints="1" noAdjustHandles="1" noChangeArrowheads="1" noChangeShapeType="1"/>
              </p:cNvPicPr>
              <p:nvPr/>
            </p:nvPicPr>
            <p:blipFill>
              <a:blip r:embed="rId5"/>
              <a:stretch>
                <a:fillRect/>
              </a:stretch>
            </p:blipFill>
            <p:spPr>
              <a:xfrm>
                <a:off x="478367" y="5071304"/>
                <a:ext cx="7305584" cy="3704103"/>
              </a:xfrm>
              <a:prstGeom prst="rect">
                <a:avLst/>
              </a:prstGeom>
            </p:spPr>
          </p:pic>
        </mc:Fallback>
      </mc:AlternateContent>
      <p:graphicFrame>
        <p:nvGraphicFramePr>
          <p:cNvPr id="54" name="表格 53">
            <a:extLst>
              <a:ext uri="{FF2B5EF4-FFF2-40B4-BE49-F238E27FC236}">
                <a16:creationId xmlns:a16="http://schemas.microsoft.com/office/drawing/2014/main" id="{C8240AA0-FC74-4571-834A-AC316C09D0B8}"/>
              </a:ext>
            </a:extLst>
          </p:cNvPr>
          <p:cNvGraphicFramePr>
            <a:graphicFrameLocks noGrp="1"/>
          </p:cNvGraphicFramePr>
          <p:nvPr>
            <p:extLst>
              <p:ext uri="{D42A27DB-BD31-4B8C-83A1-F6EECF244321}">
                <p14:modId xmlns:p14="http://schemas.microsoft.com/office/powerpoint/2010/main" val="525052055"/>
              </p:ext>
            </p:extLst>
          </p:nvPr>
        </p:nvGraphicFramePr>
        <p:xfrm>
          <a:off x="294282" y="2586177"/>
          <a:ext cx="4389875" cy="2457667"/>
        </p:xfrm>
        <a:graphic>
          <a:graphicData uri="http://schemas.openxmlformats.org/drawingml/2006/table">
            <a:tbl>
              <a:tblPr firstRow="1" firstCol="1" bandRow="1">
                <a:tableStyleId>{AF606853-7671-496A-8E4F-DF71F8EC918B}</a:tableStyleId>
              </a:tblPr>
              <a:tblGrid>
                <a:gridCol w="1660843">
                  <a:extLst>
                    <a:ext uri="{9D8B030D-6E8A-4147-A177-3AD203B41FA5}">
                      <a16:colId xmlns:a16="http://schemas.microsoft.com/office/drawing/2014/main" val="2876696525"/>
                    </a:ext>
                  </a:extLst>
                </a:gridCol>
                <a:gridCol w="2729032">
                  <a:extLst>
                    <a:ext uri="{9D8B030D-6E8A-4147-A177-3AD203B41FA5}">
                      <a16:colId xmlns:a16="http://schemas.microsoft.com/office/drawing/2014/main" val="2960131134"/>
                    </a:ext>
                  </a:extLst>
                </a:gridCol>
              </a:tblGrid>
              <a:tr h="393977">
                <a:tc>
                  <a:txBody>
                    <a:bodyPr/>
                    <a:lstStyle/>
                    <a:p>
                      <a:pPr algn="ctr"/>
                      <a:r>
                        <a:rPr lang="en-US" sz="2000" kern="100" dirty="0">
                          <a:effectLst/>
                        </a:rPr>
                        <a:t>Statistics</a:t>
                      </a:r>
                      <a:endParaRPr lang="zh-CN" sz="20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tc>
                  <a:txBody>
                    <a:bodyPr/>
                    <a:lstStyle/>
                    <a:p>
                      <a:pPr algn="ctr"/>
                      <a:r>
                        <a:rPr lang="en-US" sz="2000" kern="100" dirty="0">
                          <a:effectLst/>
                        </a:rPr>
                        <a:t>Statistical value</a:t>
                      </a:r>
                      <a:endParaRPr lang="zh-CN" sz="20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1019618769"/>
                  </a:ext>
                </a:extLst>
              </a:tr>
              <a:tr h="412738">
                <a:tc>
                  <a:txBody>
                    <a:bodyPr/>
                    <a:lstStyle/>
                    <a:p>
                      <a:pPr algn="ctr"/>
                      <a:r>
                        <a:rPr lang="en-US" sz="2000" kern="100" dirty="0">
                          <a:effectLst/>
                        </a:rPr>
                        <a:t>mean</a:t>
                      </a:r>
                      <a:endParaRPr lang="zh-CN" sz="20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tc>
                  <a:txBody>
                    <a:bodyPr/>
                    <a:lstStyle/>
                    <a:p>
                      <a:pPr algn="ctr"/>
                      <a:r>
                        <a:rPr lang="en-US" sz="2400" kern="100" dirty="0">
                          <a:effectLst/>
                        </a:rPr>
                        <a:t>0.8971181742</a:t>
                      </a:r>
                      <a:endParaRPr lang="zh-CN" sz="20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875111701"/>
                  </a:ext>
                </a:extLst>
              </a:tr>
              <a:tr h="412738">
                <a:tc>
                  <a:txBody>
                    <a:bodyPr/>
                    <a:lstStyle/>
                    <a:p>
                      <a:pPr algn="ctr"/>
                      <a:r>
                        <a:rPr lang="en-US" sz="2000" kern="100" dirty="0">
                          <a:effectLst/>
                        </a:rPr>
                        <a:t>std</a:t>
                      </a:r>
                      <a:endParaRPr lang="zh-CN" sz="20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tc>
                  <a:txBody>
                    <a:bodyPr/>
                    <a:lstStyle/>
                    <a:p>
                      <a:pPr algn="ctr"/>
                      <a:r>
                        <a:rPr lang="en-US" sz="2400" kern="100" dirty="0">
                          <a:effectLst/>
                        </a:rPr>
                        <a:t>0.1204043879</a:t>
                      </a:r>
                      <a:endParaRPr lang="zh-CN" sz="20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086435168"/>
                  </a:ext>
                </a:extLst>
              </a:tr>
              <a:tr h="412738">
                <a:tc>
                  <a:txBody>
                    <a:bodyPr/>
                    <a:lstStyle/>
                    <a:p>
                      <a:pPr algn="ctr"/>
                      <a:r>
                        <a:rPr lang="en-US" sz="2000" kern="100">
                          <a:effectLst/>
                        </a:rPr>
                        <a:t>min</a:t>
                      </a:r>
                      <a:endParaRPr lang="zh-CN" sz="20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tc>
                  <a:txBody>
                    <a:bodyPr/>
                    <a:lstStyle/>
                    <a:p>
                      <a:pPr algn="ctr"/>
                      <a:r>
                        <a:rPr lang="en-US" sz="2400" kern="100" dirty="0">
                          <a:effectLst/>
                        </a:rPr>
                        <a:t>0.3936107973</a:t>
                      </a:r>
                      <a:endParaRPr lang="zh-CN" sz="20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940003061"/>
                  </a:ext>
                </a:extLst>
              </a:tr>
              <a:tr h="412738">
                <a:tc>
                  <a:txBody>
                    <a:bodyPr/>
                    <a:lstStyle/>
                    <a:p>
                      <a:pPr algn="ctr"/>
                      <a:r>
                        <a:rPr lang="en-US" sz="2000" kern="100">
                          <a:effectLst/>
                        </a:rPr>
                        <a:t>Skewness</a:t>
                      </a:r>
                      <a:endParaRPr lang="zh-CN" sz="20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tc>
                  <a:txBody>
                    <a:bodyPr/>
                    <a:lstStyle/>
                    <a:p>
                      <a:pPr algn="ctr"/>
                      <a:r>
                        <a:rPr lang="en-US" sz="2400" kern="100" dirty="0">
                          <a:effectLst/>
                        </a:rPr>
                        <a:t>-0.321778843</a:t>
                      </a:r>
                      <a:endParaRPr lang="zh-CN" sz="20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1610039143"/>
                  </a:ext>
                </a:extLst>
              </a:tr>
              <a:tr h="412738">
                <a:tc>
                  <a:txBody>
                    <a:bodyPr/>
                    <a:lstStyle/>
                    <a:p>
                      <a:pPr algn="ctr"/>
                      <a:r>
                        <a:rPr lang="en-US" sz="2000" kern="100" dirty="0">
                          <a:effectLst/>
                        </a:rPr>
                        <a:t>Kurtosis</a:t>
                      </a:r>
                      <a:endParaRPr lang="zh-CN" sz="20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tc>
                  <a:txBody>
                    <a:bodyPr/>
                    <a:lstStyle/>
                    <a:p>
                      <a:pPr algn="ctr"/>
                      <a:r>
                        <a:rPr lang="en-US" sz="2400" kern="100" dirty="0">
                          <a:effectLst/>
                        </a:rPr>
                        <a:t>0.9543830466</a:t>
                      </a:r>
                      <a:endParaRPr lang="zh-CN" sz="20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371115284"/>
                  </a:ext>
                </a:extLst>
              </a:tr>
            </a:tbl>
          </a:graphicData>
        </a:graphic>
      </p:graphicFrame>
      <p:pic>
        <p:nvPicPr>
          <p:cNvPr id="14" name="Picture 5">
            <a:extLst>
              <a:ext uri="{FF2B5EF4-FFF2-40B4-BE49-F238E27FC236}">
                <a16:creationId xmlns:a16="http://schemas.microsoft.com/office/drawing/2014/main" id="{29DF10C3-503B-4B3F-AB3E-DEE3DA3400A0}"/>
              </a:ext>
            </a:extLst>
          </p:cNvPr>
          <p:cNvPicPr>
            <a:picLocks noChangeAspect="1"/>
          </p:cNvPicPr>
          <p:nvPr/>
        </p:nvPicPr>
        <p:blipFill>
          <a:blip r:embed="rId6"/>
          <a:stretch>
            <a:fillRect/>
          </a:stretch>
        </p:blipFill>
        <p:spPr>
          <a:xfrm>
            <a:off x="2108567" y="1211325"/>
            <a:ext cx="4424264" cy="774292"/>
          </a:xfrm>
          <a:prstGeom prst="rect">
            <a:avLst/>
          </a:prstGeom>
        </p:spPr>
      </p:pic>
      <p:sp>
        <p:nvSpPr>
          <p:cNvPr id="2" name="文本框 1">
            <a:extLst>
              <a:ext uri="{FF2B5EF4-FFF2-40B4-BE49-F238E27FC236}">
                <a16:creationId xmlns:a16="http://schemas.microsoft.com/office/drawing/2014/main" id="{395391EA-E8BF-4DEA-A1A4-4AAC53AEBC74}"/>
              </a:ext>
            </a:extLst>
          </p:cNvPr>
          <p:cNvSpPr txBox="1"/>
          <p:nvPr/>
        </p:nvSpPr>
        <p:spPr>
          <a:xfrm>
            <a:off x="3003785" y="1339809"/>
            <a:ext cx="2633828" cy="584775"/>
          </a:xfrm>
          <a:prstGeom prst="rect">
            <a:avLst/>
          </a:prstGeom>
          <a:noFill/>
        </p:spPr>
        <p:txBody>
          <a:bodyPr wrap="square" rtlCol="0">
            <a:spAutoFit/>
          </a:bodyPr>
          <a:lstStyle/>
          <a:p>
            <a:r>
              <a:rPr lang="en-US" altLang="zh-CN" sz="3200" dirty="0"/>
              <a:t>S1=1.0</a:t>
            </a:r>
            <a:r>
              <a:rPr lang="zh-CN" altLang="en-US" sz="3200" dirty="0"/>
              <a:t> </a:t>
            </a:r>
            <a:r>
              <a:rPr lang="en-US" altLang="zh-CN" sz="3200" dirty="0"/>
              <a:t>S2=0.8</a:t>
            </a:r>
            <a:endParaRPr lang="zh-CN" altLang="en-US" sz="3200" dirty="0"/>
          </a:p>
        </p:txBody>
      </p:sp>
      <p:sp>
        <p:nvSpPr>
          <p:cNvPr id="17" name="文本框 16">
            <a:extLst>
              <a:ext uri="{FF2B5EF4-FFF2-40B4-BE49-F238E27FC236}">
                <a16:creationId xmlns:a16="http://schemas.microsoft.com/office/drawing/2014/main" id="{D96F2653-5250-4E93-9796-5136E5B57A0B}"/>
              </a:ext>
            </a:extLst>
          </p:cNvPr>
          <p:cNvSpPr txBox="1"/>
          <p:nvPr/>
        </p:nvSpPr>
        <p:spPr>
          <a:xfrm>
            <a:off x="2022184" y="172957"/>
            <a:ext cx="4597029" cy="1989968"/>
          </a:xfrm>
          <a:prstGeom prst="rect">
            <a:avLst/>
          </a:prstGeom>
          <a:noFill/>
        </p:spPr>
        <p:txBody>
          <a:bodyPr wrap="square">
            <a:spAutoFit/>
          </a:bodyPr>
          <a:lstStyle/>
          <a:p>
            <a:pPr algn="ctr">
              <a:lnSpc>
                <a:spcPct val="105000"/>
              </a:lnSpc>
            </a:pPr>
            <a:r>
              <a:rPr lang="en-US" altLang="zh-CN" sz="4000" b="1" dirty="0">
                <a:solidFill>
                  <a:srgbClr val="232F47"/>
                </a:solidFill>
                <a:latin typeface="Times New Roman" panose="02020603050405020304" pitchFamily="18" charset="0"/>
                <a:cs typeface="Times New Roman" panose="02020603050405020304" pitchFamily="18" charset="0"/>
              </a:rPr>
              <a:t>Slope</a:t>
            </a:r>
            <a:r>
              <a:rPr lang="en-US" altLang="zh-CN" sz="4000" b="1" dirty="0">
                <a:latin typeface="Times New Roman" panose="02020603050405020304" pitchFamily="18" charset="0"/>
                <a:cs typeface="Times New Roman" panose="02020603050405020304" pitchFamily="18" charset="0"/>
              </a:rPr>
              <a:t> </a:t>
            </a:r>
            <a:r>
              <a:rPr lang="en-US" altLang="zh-CN" sz="4000" b="1" dirty="0">
                <a:solidFill>
                  <a:srgbClr val="232F47"/>
                </a:solidFill>
                <a:latin typeface="Times New Roman" panose="02020603050405020304" pitchFamily="18" charset="0"/>
                <a:cs typeface="Times New Roman" panose="02020603050405020304" pitchFamily="18" charset="0"/>
              </a:rPr>
              <a:t>Indicator</a:t>
            </a:r>
          </a:p>
          <a:p>
            <a:pPr algn="ctr">
              <a:lnSpc>
                <a:spcPct val="105000"/>
              </a:lnSpc>
            </a:pPr>
            <a:endParaRPr lang="en-US" altLang="zh-CN" sz="4000" dirty="0">
              <a:latin typeface="Times New Roman" panose="02020603050405020304" pitchFamily="18" charset="0"/>
              <a:cs typeface="Times New Roman" panose="02020603050405020304" pitchFamily="18" charset="0"/>
            </a:endParaRPr>
          </a:p>
          <a:p>
            <a:pPr algn="ctr">
              <a:lnSpc>
                <a:spcPct val="105000"/>
              </a:lnSpc>
            </a:pPr>
            <a:endParaRPr lang="en-US" altLang="zh-CN" sz="4000" dirty="0">
              <a:latin typeface="Times New Roman" panose="02020603050405020304" pitchFamily="18" charset="0"/>
              <a:cs typeface="Times New Roman" panose="02020603050405020304" pitchFamily="18" charset="0"/>
            </a:endParaRPr>
          </a:p>
        </p:txBody>
      </p:sp>
      <p:sp>
        <p:nvSpPr>
          <p:cNvPr id="18" name="矩形 17">
            <a:extLst>
              <a:ext uri="{FF2B5EF4-FFF2-40B4-BE49-F238E27FC236}">
                <a16:creationId xmlns:a16="http://schemas.microsoft.com/office/drawing/2014/main" id="{775A50DD-EA00-4878-B9AA-0930F340E58C}"/>
              </a:ext>
            </a:extLst>
          </p:cNvPr>
          <p:cNvSpPr/>
          <p:nvPr/>
        </p:nvSpPr>
        <p:spPr bwMode="auto">
          <a:xfrm>
            <a:off x="4776060" y="2586176"/>
            <a:ext cx="3007891" cy="2485127"/>
          </a:xfrm>
          <a:prstGeom prst="rect">
            <a:avLst/>
          </a:prstGeom>
          <a:solidFill>
            <a:schemeClr val="bg1"/>
          </a:solidFill>
          <a:ln w="3175" cmpd="sng">
            <a:solidFill>
              <a:srgbClr val="475B7C"/>
            </a:solidFill>
            <a:prstDash val="dash"/>
            <a:miter lim="800000"/>
          </a:ln>
        </p:spPr>
        <p:txBody>
          <a:bodyPr rot="0" spcFirstLastPara="0" vertOverflow="overflow" horzOverflow="overflow" vert="horz" wrap="square" lIns="72000" tIns="36000" rIns="72000" bIns="36000" numCol="1" spcCol="0" rtlCol="0" fromWordArt="0" anchor="ctr" anchorCtr="0" forceAA="0" compatLnSpc="1">
            <a:noAutofit/>
          </a:bodyPr>
          <a:lstStyle/>
          <a:p>
            <a:pPr algn="ctr" fontAlgn="base">
              <a:spcBef>
                <a:spcPts val="100"/>
              </a:spcBef>
              <a:spcAft>
                <a:spcPct val="0"/>
              </a:spcAft>
              <a:buSzPct val="100000"/>
            </a:pPr>
            <a:endParaRPr lang="en-US" sz="1600" b="1" dirty="0">
              <a:solidFill>
                <a:schemeClr val="bg1"/>
              </a:solidFill>
              <a:latin typeface="楷体" panose="02010609060101010101" pitchFamily="49" charset="-122"/>
              <a:ea typeface="楷体" panose="02010609060101010101" pitchFamily="49" charset="-122"/>
            </a:endParaRPr>
          </a:p>
        </p:txBody>
      </p:sp>
      <p:sp>
        <p:nvSpPr>
          <p:cNvPr id="20" name="文本框 19">
            <a:extLst>
              <a:ext uri="{FF2B5EF4-FFF2-40B4-BE49-F238E27FC236}">
                <a16:creationId xmlns:a16="http://schemas.microsoft.com/office/drawing/2014/main" id="{4F32DB83-308D-4FE6-9DC4-D7BA6A1D92F7}"/>
              </a:ext>
            </a:extLst>
          </p:cNvPr>
          <p:cNvSpPr txBox="1"/>
          <p:nvPr/>
        </p:nvSpPr>
        <p:spPr>
          <a:xfrm>
            <a:off x="4890776" y="2710784"/>
            <a:ext cx="2893175" cy="2723823"/>
          </a:xfrm>
          <a:prstGeom prst="rect">
            <a:avLst/>
          </a:prstGeom>
          <a:noFill/>
        </p:spPr>
        <p:txBody>
          <a:bodyPr wrap="square" lIns="0" tIns="0" rIns="0" bIns="0" rtlCol="0">
            <a:spAutoFit/>
          </a:bodyPr>
          <a:lstStyle/>
          <a:p>
            <a:pPr marL="285750" indent="-285750">
              <a:spcBef>
                <a:spcPts val="600"/>
              </a:spcBef>
              <a:buSzPct val="100000"/>
              <a:buFont typeface="Wingdings" pitchFamily="2" charset="2"/>
              <a:buChar char="Ø"/>
            </a:pPr>
            <a:r>
              <a:rPr lang="en-US" altLang="zh-CN" b="1" dirty="0">
                <a:latin typeface="Times New Roman" panose="02020603050405020304" pitchFamily="18" charset="0"/>
                <a:ea typeface="楷体" panose="02010609060101010101" pitchFamily="49" charset="-122"/>
                <a:cs typeface="Times New Roman" panose="02020603050405020304" pitchFamily="18" charset="0"/>
              </a:rPr>
              <a:t>1. Calculate the RSRS slope. </a:t>
            </a:r>
            <a:endParaRPr lang="zh-CN" altLang="zh-CN" b="1" dirty="0">
              <a:latin typeface="Times New Roman" panose="02020603050405020304" pitchFamily="18" charset="0"/>
              <a:ea typeface="楷体" panose="02010609060101010101" pitchFamily="49" charset="-122"/>
              <a:cs typeface="Times New Roman" panose="02020603050405020304" pitchFamily="18" charset="0"/>
            </a:endParaRPr>
          </a:p>
          <a:p>
            <a:pPr marL="285750" indent="-285750">
              <a:spcBef>
                <a:spcPts val="600"/>
              </a:spcBef>
              <a:buSzPct val="100000"/>
              <a:buFont typeface="Wingdings" pitchFamily="2" charset="2"/>
              <a:buChar char="Ø"/>
            </a:pPr>
            <a:r>
              <a:rPr lang="en-US" altLang="zh-CN" b="1" dirty="0">
                <a:latin typeface="Times New Roman" panose="02020603050405020304" pitchFamily="18" charset="0"/>
                <a:ea typeface="楷体" panose="02010609060101010101" pitchFamily="49" charset="-122"/>
                <a:cs typeface="Times New Roman" panose="02020603050405020304" pitchFamily="18" charset="0"/>
              </a:rPr>
              <a:t>2. If the slope is greater than 1, we take a long position. </a:t>
            </a:r>
            <a:endParaRPr lang="zh-CN" altLang="zh-CN" b="1" dirty="0">
              <a:latin typeface="Times New Roman" panose="02020603050405020304" pitchFamily="18" charset="0"/>
              <a:ea typeface="楷体" panose="02010609060101010101" pitchFamily="49" charset="-122"/>
              <a:cs typeface="Times New Roman" panose="02020603050405020304" pitchFamily="18" charset="0"/>
            </a:endParaRPr>
          </a:p>
          <a:p>
            <a:pPr marL="285750" indent="-285750">
              <a:spcBef>
                <a:spcPts val="600"/>
              </a:spcBef>
              <a:buSzPct val="100000"/>
              <a:buFont typeface="Wingdings" pitchFamily="2" charset="2"/>
              <a:buChar char="Ø"/>
            </a:pPr>
            <a:r>
              <a:rPr lang="en-US" altLang="zh-CN" b="1" dirty="0">
                <a:latin typeface="Times New Roman" panose="02020603050405020304" pitchFamily="18" charset="0"/>
                <a:ea typeface="楷体" panose="02010609060101010101" pitchFamily="49" charset="-122"/>
                <a:cs typeface="Times New Roman" panose="02020603050405020304" pitchFamily="18" charset="0"/>
              </a:rPr>
              <a:t>3. If the slope is less than 0.8, we take a short position.</a:t>
            </a:r>
            <a:endParaRPr lang="zh-CN" altLang="zh-CN" b="1" dirty="0">
              <a:latin typeface="Times New Roman" panose="02020603050405020304" pitchFamily="18" charset="0"/>
              <a:ea typeface="楷体" panose="02010609060101010101" pitchFamily="49" charset="-122"/>
              <a:cs typeface="Times New Roman" panose="02020603050405020304" pitchFamily="18" charset="0"/>
            </a:endParaRPr>
          </a:p>
          <a:p>
            <a:pPr marL="285750" indent="-285750">
              <a:spcBef>
                <a:spcPts val="600"/>
              </a:spcBef>
              <a:buSzPct val="100000"/>
              <a:buFont typeface="Wingdings" pitchFamily="2" charset="2"/>
              <a:buChar char="Ø"/>
            </a:pPr>
            <a:endParaRPr lang="en-US" b="1" dirty="0">
              <a:latin typeface="Times New Roman" panose="02020603050405020304" pitchFamily="18" charset="0"/>
              <a:ea typeface="楷体" panose="02010609060101010101" pitchFamily="49" charset="-122"/>
              <a:cs typeface="Times New Roman" panose="02020603050405020304" pitchFamily="18" charset="0"/>
            </a:endParaRPr>
          </a:p>
        </p:txBody>
      </p:sp>
      <p:graphicFrame>
        <p:nvGraphicFramePr>
          <p:cNvPr id="21" name="图表 20">
            <a:extLst>
              <a:ext uri="{FF2B5EF4-FFF2-40B4-BE49-F238E27FC236}">
                <a16:creationId xmlns:a16="http://schemas.microsoft.com/office/drawing/2014/main" id="{AAAB69C0-3685-4323-9795-EB7929EF1931}"/>
              </a:ext>
            </a:extLst>
          </p:cNvPr>
          <p:cNvGraphicFramePr/>
          <p:nvPr>
            <p:extLst>
              <p:ext uri="{D42A27DB-BD31-4B8C-83A1-F6EECF244321}">
                <p14:modId xmlns:p14="http://schemas.microsoft.com/office/powerpoint/2010/main" val="1574703758"/>
              </p:ext>
            </p:extLst>
          </p:nvPr>
        </p:nvGraphicFramePr>
        <p:xfrm>
          <a:off x="9264040" y="1117405"/>
          <a:ext cx="5635208" cy="2976035"/>
        </p:xfrm>
        <a:graphic>
          <a:graphicData uri="http://schemas.openxmlformats.org/drawingml/2006/chart">
            <c:chart xmlns:c="http://schemas.openxmlformats.org/drawingml/2006/chart" xmlns:r="http://schemas.openxmlformats.org/officeDocument/2006/relationships" r:id="rId7"/>
          </a:graphicData>
        </a:graphic>
      </p:graphicFrame>
      <p:sp>
        <p:nvSpPr>
          <p:cNvPr id="22" name="矩形 21">
            <a:extLst>
              <a:ext uri="{FF2B5EF4-FFF2-40B4-BE49-F238E27FC236}">
                <a16:creationId xmlns:a16="http://schemas.microsoft.com/office/drawing/2014/main" id="{99DA98EF-715E-422E-927B-C931FF2684A2}"/>
              </a:ext>
            </a:extLst>
          </p:cNvPr>
          <p:cNvSpPr/>
          <p:nvPr/>
        </p:nvSpPr>
        <p:spPr bwMode="auto">
          <a:xfrm>
            <a:off x="9715645" y="6053571"/>
            <a:ext cx="5426116" cy="2523768"/>
          </a:xfrm>
          <a:prstGeom prst="rect">
            <a:avLst/>
          </a:prstGeom>
          <a:solidFill>
            <a:schemeClr val="bg1"/>
          </a:solidFill>
          <a:ln w="3175" cmpd="sng">
            <a:solidFill>
              <a:srgbClr val="475B7C"/>
            </a:solidFill>
            <a:prstDash val="dash"/>
            <a:miter lim="800000"/>
          </a:ln>
        </p:spPr>
        <p:txBody>
          <a:bodyPr rot="0" spcFirstLastPara="0" vertOverflow="overflow" horzOverflow="overflow" vert="horz" wrap="square" lIns="72000" tIns="36000" rIns="72000" bIns="36000" numCol="1" spcCol="0" rtlCol="0" fromWordArt="0" anchor="ctr" anchorCtr="0" forceAA="0" compatLnSpc="1">
            <a:noAutofit/>
          </a:bodyPr>
          <a:lstStyle/>
          <a:p>
            <a:pPr algn="ctr" fontAlgn="base">
              <a:spcBef>
                <a:spcPts val="100"/>
              </a:spcBef>
              <a:spcAft>
                <a:spcPct val="0"/>
              </a:spcAft>
              <a:buSzPct val="100000"/>
            </a:pPr>
            <a:endParaRPr lang="en-US" sz="1600" b="1" dirty="0">
              <a:solidFill>
                <a:schemeClr val="bg1"/>
              </a:solidFill>
              <a:latin typeface="楷体" panose="02010609060101010101" pitchFamily="49" charset="-122"/>
              <a:ea typeface="楷体" panose="02010609060101010101" pitchFamily="49" charset="-122"/>
            </a:endParaRPr>
          </a:p>
        </p:txBody>
      </p:sp>
      <p:sp>
        <p:nvSpPr>
          <p:cNvPr id="24" name="文本框 23">
            <a:extLst>
              <a:ext uri="{FF2B5EF4-FFF2-40B4-BE49-F238E27FC236}">
                <a16:creationId xmlns:a16="http://schemas.microsoft.com/office/drawing/2014/main" id="{191806C9-41CD-4D88-82C2-D26EE5B62C2B}"/>
              </a:ext>
            </a:extLst>
          </p:cNvPr>
          <p:cNvSpPr txBox="1"/>
          <p:nvPr/>
        </p:nvSpPr>
        <p:spPr>
          <a:xfrm>
            <a:off x="10222058" y="6315129"/>
            <a:ext cx="4635621" cy="2523768"/>
          </a:xfrm>
          <a:prstGeom prst="rect">
            <a:avLst/>
          </a:prstGeom>
          <a:noFill/>
        </p:spPr>
        <p:txBody>
          <a:bodyPr wrap="square" lIns="0" tIns="0" rIns="0" bIns="0" rtlCol="0">
            <a:spAutoFit/>
          </a:bodyPr>
          <a:lstStyle/>
          <a:p>
            <a:pPr marL="285750" indent="-285750">
              <a:spcBef>
                <a:spcPts val="600"/>
              </a:spcBef>
              <a:buSzPct val="100000"/>
              <a:buFont typeface="Wingdings" pitchFamily="2" charset="2"/>
              <a:buChar char="Ø"/>
            </a:pPr>
            <a:r>
              <a:rPr lang="en-US" altLang="zh-CN" b="1" dirty="0">
                <a:latin typeface="Times New Roman" panose="02020603050405020304" pitchFamily="18" charset="0"/>
                <a:ea typeface="楷体" panose="02010609060101010101" pitchFamily="49" charset="-122"/>
                <a:cs typeface="Times New Roman" panose="02020603050405020304" pitchFamily="18" charset="0"/>
              </a:rPr>
              <a:t>1. Calculate the standard score based on the slope (parameters N=18, M=800). </a:t>
            </a:r>
            <a:endParaRPr lang="zh-CN" altLang="zh-CN" b="1" dirty="0">
              <a:latin typeface="Times New Roman" panose="02020603050405020304" pitchFamily="18" charset="0"/>
              <a:ea typeface="楷体" panose="02010609060101010101" pitchFamily="49" charset="-122"/>
              <a:cs typeface="Times New Roman" panose="02020603050405020304" pitchFamily="18" charset="0"/>
            </a:endParaRPr>
          </a:p>
          <a:p>
            <a:pPr marL="285750" indent="-285750">
              <a:spcBef>
                <a:spcPts val="600"/>
              </a:spcBef>
              <a:buSzPct val="100000"/>
              <a:buFont typeface="Wingdings" pitchFamily="2" charset="2"/>
              <a:buChar char="Ø"/>
              <a:tabLst>
                <a:tab pos="3270250" algn="l"/>
              </a:tabLst>
            </a:pPr>
            <a:r>
              <a:rPr lang="en-US" altLang="zh-CN" b="1" dirty="0">
                <a:latin typeface="Times New Roman" panose="02020603050405020304" pitchFamily="18" charset="0"/>
                <a:ea typeface="楷体" panose="02010609060101010101" pitchFamily="49" charset="-122"/>
                <a:cs typeface="Times New Roman" panose="02020603050405020304" pitchFamily="18" charset="0"/>
              </a:rPr>
              <a:t>2. If the standard score is greater than S (parameter S=0.85), we take a long position. </a:t>
            </a:r>
            <a:endParaRPr lang="zh-CN" altLang="zh-CN" b="1" dirty="0">
              <a:latin typeface="Times New Roman" panose="02020603050405020304" pitchFamily="18" charset="0"/>
              <a:ea typeface="楷体" panose="02010609060101010101" pitchFamily="49" charset="-122"/>
              <a:cs typeface="Times New Roman" panose="02020603050405020304" pitchFamily="18" charset="0"/>
            </a:endParaRPr>
          </a:p>
          <a:p>
            <a:pPr marL="285750" indent="-285750">
              <a:spcBef>
                <a:spcPts val="600"/>
              </a:spcBef>
              <a:buSzPct val="100000"/>
              <a:buFont typeface="Wingdings" pitchFamily="2" charset="2"/>
              <a:buChar char="Ø"/>
              <a:tabLst>
                <a:tab pos="3270250" algn="l"/>
              </a:tabLst>
            </a:pPr>
            <a:r>
              <a:rPr lang="en-US" altLang="zh-CN" b="1" dirty="0">
                <a:latin typeface="Times New Roman" panose="02020603050405020304" pitchFamily="18" charset="0"/>
                <a:ea typeface="楷体" panose="02010609060101010101" pitchFamily="49" charset="-122"/>
                <a:cs typeface="Times New Roman" panose="02020603050405020304" pitchFamily="18" charset="0"/>
              </a:rPr>
              <a:t>3. If the standard score is less than -S, we take a short position.</a:t>
            </a:r>
            <a:endParaRPr lang="zh-CN" altLang="zh-CN" b="1" dirty="0">
              <a:latin typeface="Times New Roman" panose="02020603050405020304" pitchFamily="18" charset="0"/>
              <a:ea typeface="楷体" panose="02010609060101010101" pitchFamily="49" charset="-122"/>
              <a:cs typeface="Times New Roman" panose="02020603050405020304" pitchFamily="18" charset="0"/>
            </a:endParaRPr>
          </a:p>
          <a:p>
            <a:pPr marL="285750" indent="-285750">
              <a:spcBef>
                <a:spcPts val="600"/>
              </a:spcBef>
              <a:buSzPct val="100000"/>
              <a:buFont typeface="Wingdings" pitchFamily="2" charset="2"/>
              <a:buChar char="Ø"/>
            </a:pPr>
            <a:endParaRPr lang="zh-CN" altLang="zh-CN" b="1" dirty="0">
              <a:latin typeface="Times New Roman" panose="02020603050405020304" pitchFamily="18" charset="0"/>
              <a:ea typeface="楷体" panose="02010609060101010101" pitchFamily="49" charset="-122"/>
              <a:cs typeface="Times New Roman" panose="02020603050405020304" pitchFamily="18" charset="0"/>
            </a:endParaRPr>
          </a:p>
          <a:p>
            <a:pPr marL="285750" indent="-285750">
              <a:spcBef>
                <a:spcPts val="600"/>
              </a:spcBef>
              <a:buSzPct val="100000"/>
              <a:buFont typeface="Wingdings" pitchFamily="2" charset="2"/>
              <a:buChar char="Ø"/>
            </a:pPr>
            <a:endParaRPr lang="en-US" b="1" dirty="0">
              <a:latin typeface="Times New Roman" panose="02020603050405020304" pitchFamily="18" charset="0"/>
              <a:ea typeface="楷体" panose="02010609060101010101" pitchFamily="49" charset="-122"/>
              <a:cs typeface="Times New Roman" panose="02020603050405020304" pitchFamily="18" charset="0"/>
            </a:endParaRPr>
          </a:p>
        </p:txBody>
      </p:sp>
      <p:sp>
        <p:nvSpPr>
          <p:cNvPr id="25" name="文本框 24">
            <a:extLst>
              <a:ext uri="{FF2B5EF4-FFF2-40B4-BE49-F238E27FC236}">
                <a16:creationId xmlns:a16="http://schemas.microsoft.com/office/drawing/2014/main" id="{17B3E2D2-4F3E-45FD-A425-B4E99F89FC25}"/>
              </a:ext>
            </a:extLst>
          </p:cNvPr>
          <p:cNvSpPr txBox="1"/>
          <p:nvPr/>
        </p:nvSpPr>
        <p:spPr>
          <a:xfrm>
            <a:off x="8990733" y="4091690"/>
            <a:ext cx="6411254" cy="707886"/>
          </a:xfrm>
          <a:prstGeom prst="rect">
            <a:avLst/>
          </a:prstGeom>
          <a:noFill/>
        </p:spPr>
        <p:txBody>
          <a:bodyPr wrap="square">
            <a:spAutoFit/>
          </a:bodyPr>
          <a:lstStyle/>
          <a:p>
            <a:pPr algn="ctr" fontAlgn="base">
              <a:spcBef>
                <a:spcPts val="100"/>
              </a:spcBef>
              <a:spcAft>
                <a:spcPct val="0"/>
              </a:spcAft>
              <a:buSzPct val="100000"/>
            </a:pPr>
            <a:r>
              <a:rPr lang="en-US" altLang="zh-CN" sz="4000" b="1" dirty="0">
                <a:solidFill>
                  <a:srgbClr val="232F47"/>
                </a:solidFill>
                <a:latin typeface="Times New Roman" panose="02020603050405020304" pitchFamily="18" charset="0"/>
                <a:cs typeface="Times New Roman" panose="02020603050405020304" pitchFamily="18" charset="0"/>
              </a:rPr>
              <a:t>Standard Score Indicator</a:t>
            </a:r>
            <a:r>
              <a:rPr lang="zh-CN" altLang="zh-CN" sz="4000" b="1" dirty="0">
                <a:solidFill>
                  <a:srgbClr val="232F47"/>
                </a:solidFill>
                <a:latin typeface="Times New Roman" panose="02020603050405020304" pitchFamily="18" charset="0"/>
                <a:cs typeface="Times New Roman" panose="02020603050405020304" pitchFamily="18" charset="0"/>
              </a:rPr>
              <a:t> </a:t>
            </a:r>
            <a:endParaRPr lang="en-US" altLang="zh-CN" sz="4000" b="1" dirty="0">
              <a:solidFill>
                <a:srgbClr val="232F47"/>
              </a:solidFill>
              <a:latin typeface="Times New Roman" panose="02020603050405020304" pitchFamily="18" charset="0"/>
              <a:cs typeface="Times New Roman" panose="02020603050405020304" pitchFamily="18" charset="0"/>
            </a:endParaRPr>
          </a:p>
        </p:txBody>
      </p:sp>
      <p:pic>
        <p:nvPicPr>
          <p:cNvPr id="30" name="Picture 5">
            <a:extLst>
              <a:ext uri="{FF2B5EF4-FFF2-40B4-BE49-F238E27FC236}">
                <a16:creationId xmlns:a16="http://schemas.microsoft.com/office/drawing/2014/main" id="{F94DC11D-39B6-4594-967A-01C438D47A76}"/>
              </a:ext>
            </a:extLst>
          </p:cNvPr>
          <p:cNvPicPr>
            <a:picLocks noChangeAspect="1"/>
          </p:cNvPicPr>
          <p:nvPr/>
        </p:nvPicPr>
        <p:blipFill>
          <a:blip r:embed="rId6"/>
          <a:stretch>
            <a:fillRect/>
          </a:stretch>
        </p:blipFill>
        <p:spPr>
          <a:xfrm>
            <a:off x="10146191" y="5099956"/>
            <a:ext cx="4424264" cy="774292"/>
          </a:xfrm>
          <a:prstGeom prst="rect">
            <a:avLst/>
          </a:prstGeom>
        </p:spPr>
      </p:pic>
      <p:sp>
        <p:nvSpPr>
          <p:cNvPr id="5" name="文本框 4">
            <a:extLst>
              <a:ext uri="{FF2B5EF4-FFF2-40B4-BE49-F238E27FC236}">
                <a16:creationId xmlns:a16="http://schemas.microsoft.com/office/drawing/2014/main" id="{02FF5560-F519-4444-8F82-BDF7FFAA98E2}"/>
              </a:ext>
            </a:extLst>
          </p:cNvPr>
          <p:cNvSpPr txBox="1"/>
          <p:nvPr/>
        </p:nvSpPr>
        <p:spPr>
          <a:xfrm>
            <a:off x="10776266" y="5207082"/>
            <a:ext cx="4231506" cy="584775"/>
          </a:xfrm>
          <a:prstGeom prst="rect">
            <a:avLst/>
          </a:prstGeom>
          <a:noFill/>
        </p:spPr>
        <p:txBody>
          <a:bodyPr wrap="square" rtlCol="0">
            <a:spAutoFit/>
          </a:bodyPr>
          <a:lstStyle/>
          <a:p>
            <a:r>
              <a:rPr lang="en-US" altLang="zh-CN" sz="3200" dirty="0"/>
              <a:t>N=18 M=800 S=0.85</a:t>
            </a:r>
            <a:endParaRPr lang="zh-CN" altLang="en-US" sz="3200" dirty="0"/>
          </a:p>
        </p:txBody>
      </p:sp>
    </p:spTree>
    <p:extLst>
      <p:ext uri="{BB962C8B-B14F-4D97-AF65-F5344CB8AC3E}">
        <p14:creationId xmlns:p14="http://schemas.microsoft.com/office/powerpoint/2010/main" val="18602339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8" name="TextBox 7">
            <a:extLst>
              <a:ext uri="{FF2B5EF4-FFF2-40B4-BE49-F238E27FC236}">
                <a16:creationId xmlns:a16="http://schemas.microsoft.com/office/drawing/2014/main" id="{2FAEC557-E34E-0F49-8288-B383D71B0DC3}"/>
              </a:ext>
            </a:extLst>
          </p:cNvPr>
          <p:cNvSpPr txBox="1"/>
          <p:nvPr/>
        </p:nvSpPr>
        <p:spPr>
          <a:xfrm>
            <a:off x="10354204" y="297133"/>
            <a:ext cx="5784228" cy="726511"/>
          </a:xfrm>
          <a:prstGeom prst="rect">
            <a:avLst/>
          </a:prstGeom>
        </p:spPr>
        <p:txBody>
          <a:bodyPr lIns="0" tIns="0" rIns="0" bIns="0" rtlCol="0" anchor="t"/>
          <a:lstStyle/>
          <a:p>
            <a:pPr algn="r">
              <a:lnSpc>
                <a:spcPct val="90000"/>
              </a:lnSpc>
            </a:pPr>
            <a:r>
              <a:rPr lang="en-US" altLang="zh-CN" sz="4000" b="1" dirty="0">
                <a:solidFill>
                  <a:srgbClr val="232F47"/>
                </a:solidFill>
                <a:latin typeface="Times New Roman" panose="02020603050405020304" pitchFamily="18" charset="0"/>
                <a:cs typeface="Times New Roman" panose="02020603050405020304" pitchFamily="18" charset="0"/>
              </a:rPr>
              <a:t>Performance on HS300</a:t>
            </a:r>
            <a:endParaRPr lang="zh-CN" altLang="zh-CN" sz="4000" b="1" dirty="0">
              <a:solidFill>
                <a:srgbClr val="232F47"/>
              </a:solidFill>
              <a:latin typeface="Times New Roman" panose="02020603050405020304" pitchFamily="18" charset="0"/>
              <a:cs typeface="Times New Roman" panose="02020603050405020304" pitchFamily="18" charset="0"/>
            </a:endParaRPr>
          </a:p>
        </p:txBody>
      </p:sp>
      <p:pic>
        <p:nvPicPr>
          <p:cNvPr id="19" name="Picture 9">
            <a:extLst>
              <a:ext uri="{FF2B5EF4-FFF2-40B4-BE49-F238E27FC236}">
                <a16:creationId xmlns:a16="http://schemas.microsoft.com/office/drawing/2014/main" id="{1DB0E204-06B3-4B71-8F3B-A2F441CC7AE1}"/>
              </a:ext>
            </a:extLst>
          </p:cNvPr>
          <p:cNvPicPr>
            <a:picLocks noChangeAspect="1"/>
          </p:cNvPicPr>
          <p:nvPr/>
        </p:nvPicPr>
        <p:blipFill>
          <a:blip r:embed="rId2"/>
          <a:stretch>
            <a:fillRect/>
          </a:stretch>
        </p:blipFill>
        <p:spPr>
          <a:xfrm>
            <a:off x="13055600" y="76200"/>
            <a:ext cx="2540000" cy="101600"/>
          </a:xfrm>
          <a:prstGeom prst="rect">
            <a:avLst/>
          </a:prstGeom>
        </p:spPr>
      </p:pic>
      <p:sp>
        <p:nvSpPr>
          <p:cNvPr id="21" name="AutoShape 5">
            <a:extLst>
              <a:ext uri="{FF2B5EF4-FFF2-40B4-BE49-F238E27FC236}">
                <a16:creationId xmlns:a16="http://schemas.microsoft.com/office/drawing/2014/main" id="{553AF153-9AC8-4688-80C3-E382F6A49E6B}"/>
              </a:ext>
            </a:extLst>
          </p:cNvPr>
          <p:cNvSpPr/>
          <p:nvPr/>
        </p:nvSpPr>
        <p:spPr>
          <a:xfrm>
            <a:off x="6051550" y="8383814"/>
            <a:ext cx="4152900" cy="749300"/>
          </a:xfrm>
          <a:prstGeom prst="rect">
            <a:avLst/>
          </a:prstGeom>
          <a:blipFill>
            <a:blip r:embed="rId3" cstate="print">
              <a:alphaModFix amt="30000"/>
            </a:blip>
            <a:srcRect/>
            <a:stretch>
              <a:fillRect/>
            </a:stretch>
          </a:blipFill>
        </p:spPr>
        <p:txBody>
          <a:bodyPr/>
          <a:lstStyle/>
          <a:p>
            <a:endParaRPr lang="zh-CN" altLang="en-US"/>
          </a:p>
        </p:txBody>
      </p:sp>
      <p:sp>
        <p:nvSpPr>
          <p:cNvPr id="22" name="AutoShape 5">
            <a:extLst>
              <a:ext uri="{FF2B5EF4-FFF2-40B4-BE49-F238E27FC236}">
                <a16:creationId xmlns:a16="http://schemas.microsoft.com/office/drawing/2014/main" id="{E19A1C14-391C-4A1F-8A5B-230475ECDC72}"/>
              </a:ext>
            </a:extLst>
          </p:cNvPr>
          <p:cNvSpPr/>
          <p:nvPr/>
        </p:nvSpPr>
        <p:spPr>
          <a:xfrm rot="10800000">
            <a:off x="5753722" y="10886"/>
            <a:ext cx="4152900" cy="749300"/>
          </a:xfrm>
          <a:prstGeom prst="rect">
            <a:avLst/>
          </a:prstGeom>
          <a:blipFill>
            <a:blip r:embed="rId3" cstate="print">
              <a:alphaModFix amt="30000"/>
            </a:blip>
            <a:srcRect/>
            <a:stretch>
              <a:fillRect/>
            </a:stretch>
          </a:blipFill>
        </p:spPr>
        <p:txBody>
          <a:bodyPr/>
          <a:lstStyle/>
          <a:p>
            <a:endParaRPr lang="zh-CN" altLang="en-US"/>
          </a:p>
        </p:txBody>
      </p:sp>
      <p:graphicFrame>
        <p:nvGraphicFramePr>
          <p:cNvPr id="2" name="表格 1">
            <a:extLst>
              <a:ext uri="{FF2B5EF4-FFF2-40B4-BE49-F238E27FC236}">
                <a16:creationId xmlns:a16="http://schemas.microsoft.com/office/drawing/2014/main" id="{33F7A2B5-49DD-4183-B08C-AF5465A39544}"/>
              </a:ext>
            </a:extLst>
          </p:cNvPr>
          <p:cNvGraphicFramePr>
            <a:graphicFrameLocks noGrp="1"/>
          </p:cNvGraphicFramePr>
          <p:nvPr>
            <p:extLst>
              <p:ext uri="{D42A27DB-BD31-4B8C-83A1-F6EECF244321}">
                <p14:modId xmlns:p14="http://schemas.microsoft.com/office/powerpoint/2010/main" val="3777177664"/>
              </p:ext>
            </p:extLst>
          </p:nvPr>
        </p:nvGraphicFramePr>
        <p:xfrm>
          <a:off x="9478736" y="1995910"/>
          <a:ext cx="6167664" cy="5152181"/>
        </p:xfrm>
        <a:graphic>
          <a:graphicData uri="http://schemas.openxmlformats.org/drawingml/2006/table">
            <a:tbl>
              <a:tblPr firstRow="1" firstCol="1" bandRow="1">
                <a:tableStyleId>{5C22544A-7EE6-4342-B048-85BDC9FD1C3A}</a:tableStyleId>
              </a:tblPr>
              <a:tblGrid>
                <a:gridCol w="2195409">
                  <a:extLst>
                    <a:ext uri="{9D8B030D-6E8A-4147-A177-3AD203B41FA5}">
                      <a16:colId xmlns:a16="http://schemas.microsoft.com/office/drawing/2014/main" val="1905404583"/>
                    </a:ext>
                  </a:extLst>
                </a:gridCol>
                <a:gridCol w="1860113">
                  <a:extLst>
                    <a:ext uri="{9D8B030D-6E8A-4147-A177-3AD203B41FA5}">
                      <a16:colId xmlns:a16="http://schemas.microsoft.com/office/drawing/2014/main" val="378909133"/>
                    </a:ext>
                  </a:extLst>
                </a:gridCol>
                <a:gridCol w="2112142">
                  <a:extLst>
                    <a:ext uri="{9D8B030D-6E8A-4147-A177-3AD203B41FA5}">
                      <a16:colId xmlns:a16="http://schemas.microsoft.com/office/drawing/2014/main" val="3975113728"/>
                    </a:ext>
                  </a:extLst>
                </a:gridCol>
              </a:tblGrid>
              <a:tr h="468380">
                <a:tc>
                  <a:txBody>
                    <a:bodyPr/>
                    <a:lstStyle/>
                    <a:p>
                      <a:pPr algn="ctr">
                        <a:tabLst>
                          <a:tab pos="3270250" algn="l"/>
                        </a:tabLst>
                      </a:pPr>
                      <a:r>
                        <a:rPr lang="en-US" sz="1400" kern="100">
                          <a:effectLst/>
                        </a:rPr>
                        <a:t>Statistics</a:t>
                      </a:r>
                      <a:endParaRPr lang="zh-CN" sz="14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tc>
                <a:tc>
                  <a:txBody>
                    <a:bodyPr/>
                    <a:lstStyle/>
                    <a:p>
                      <a:pPr algn="ctr">
                        <a:tabLst>
                          <a:tab pos="3270250" algn="l"/>
                        </a:tabLst>
                      </a:pPr>
                      <a:r>
                        <a:rPr lang="en-US" sz="1400" kern="100">
                          <a:effectLst/>
                        </a:rPr>
                        <a:t>Slope Strategy</a:t>
                      </a:r>
                      <a:endParaRPr lang="zh-CN" sz="14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tc>
                <a:tc>
                  <a:txBody>
                    <a:bodyPr/>
                    <a:lstStyle/>
                    <a:p>
                      <a:pPr algn="just">
                        <a:tabLst>
                          <a:tab pos="3270250" algn="l"/>
                        </a:tabLst>
                      </a:pPr>
                      <a:r>
                        <a:rPr lang="en-US" sz="1400" kern="100">
                          <a:effectLst/>
                        </a:rPr>
                        <a:t> Standard Score Strategy</a:t>
                      </a:r>
                      <a:endParaRPr lang="zh-CN" sz="14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205266068"/>
                  </a:ext>
                </a:extLst>
              </a:tr>
              <a:tr h="468380">
                <a:tc>
                  <a:txBody>
                    <a:bodyPr/>
                    <a:lstStyle/>
                    <a:p>
                      <a:pPr algn="ctr">
                        <a:tabLst>
                          <a:tab pos="3270250" algn="l"/>
                        </a:tabLst>
                      </a:pPr>
                      <a:r>
                        <a:rPr lang="en-US" sz="1400" kern="100">
                          <a:effectLst/>
                        </a:rPr>
                        <a:t>Annualized rate of return</a:t>
                      </a:r>
                      <a:endParaRPr lang="zh-CN" sz="14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tc>
                <a:tc>
                  <a:txBody>
                    <a:bodyPr/>
                    <a:lstStyle/>
                    <a:p>
                      <a:pPr algn="ctr">
                        <a:tabLst>
                          <a:tab pos="3270250" algn="l"/>
                        </a:tabLst>
                      </a:pPr>
                      <a:r>
                        <a:rPr lang="en-US" sz="1400" kern="100">
                          <a:effectLst/>
                        </a:rPr>
                        <a:t>18.70%</a:t>
                      </a:r>
                      <a:endParaRPr lang="zh-CN" sz="14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tc>
                <a:tc>
                  <a:txBody>
                    <a:bodyPr/>
                    <a:lstStyle/>
                    <a:p>
                      <a:pPr algn="ctr">
                        <a:tabLst>
                          <a:tab pos="3270250" algn="l"/>
                        </a:tabLst>
                      </a:pPr>
                      <a:r>
                        <a:rPr lang="en-US" sz="1400" kern="100">
                          <a:effectLst/>
                        </a:rPr>
                        <a:t>25.31%</a:t>
                      </a:r>
                      <a:endParaRPr lang="zh-CN" sz="14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729186367"/>
                  </a:ext>
                </a:extLst>
              </a:tr>
              <a:tr h="468380">
                <a:tc>
                  <a:txBody>
                    <a:bodyPr/>
                    <a:lstStyle/>
                    <a:p>
                      <a:pPr algn="ctr">
                        <a:tabLst>
                          <a:tab pos="3270250" algn="l"/>
                        </a:tabLst>
                      </a:pPr>
                      <a:r>
                        <a:rPr lang="en-US" sz="1400" kern="100">
                          <a:effectLst/>
                        </a:rPr>
                        <a:t>Maximum drawdown</a:t>
                      </a:r>
                      <a:endParaRPr lang="zh-CN" sz="14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tc>
                <a:tc>
                  <a:txBody>
                    <a:bodyPr/>
                    <a:lstStyle/>
                    <a:p>
                      <a:pPr algn="ctr">
                        <a:tabLst>
                          <a:tab pos="3270250" algn="l"/>
                        </a:tabLst>
                      </a:pPr>
                      <a:r>
                        <a:rPr lang="en-US" sz="1400" kern="100">
                          <a:effectLst/>
                        </a:rPr>
                        <a:t>23.87%</a:t>
                      </a:r>
                      <a:endParaRPr lang="zh-CN" sz="14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tc>
                <a:tc>
                  <a:txBody>
                    <a:bodyPr/>
                    <a:lstStyle/>
                    <a:p>
                      <a:pPr algn="ctr">
                        <a:tabLst>
                          <a:tab pos="3270250" algn="l"/>
                        </a:tabLst>
                      </a:pPr>
                      <a:r>
                        <a:rPr lang="en-US" sz="1400" kern="100">
                          <a:effectLst/>
                        </a:rPr>
                        <a:t>27.06%</a:t>
                      </a:r>
                      <a:endParaRPr lang="zh-CN" sz="14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522752707"/>
                  </a:ext>
                </a:extLst>
              </a:tr>
              <a:tr h="936761">
                <a:tc>
                  <a:txBody>
                    <a:bodyPr/>
                    <a:lstStyle/>
                    <a:p>
                      <a:pPr algn="ctr">
                        <a:tabLst>
                          <a:tab pos="3270250" algn="l"/>
                        </a:tabLst>
                      </a:pPr>
                      <a:r>
                        <a:rPr lang="en-US" sz="1400" kern="100">
                          <a:effectLst/>
                        </a:rPr>
                        <a:t>The total number of days of open positions</a:t>
                      </a:r>
                      <a:endParaRPr lang="zh-CN" sz="14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tc>
                <a:tc>
                  <a:txBody>
                    <a:bodyPr/>
                    <a:lstStyle/>
                    <a:p>
                      <a:pPr algn="ctr">
                        <a:tabLst>
                          <a:tab pos="3270250" algn="l"/>
                        </a:tabLst>
                      </a:pPr>
                      <a:r>
                        <a:rPr lang="en-US" sz="1400" kern="100">
                          <a:effectLst/>
                        </a:rPr>
                        <a:t>1381</a:t>
                      </a:r>
                      <a:endParaRPr lang="zh-CN" sz="14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tc>
                <a:tc>
                  <a:txBody>
                    <a:bodyPr/>
                    <a:lstStyle/>
                    <a:p>
                      <a:pPr algn="ctr">
                        <a:tabLst>
                          <a:tab pos="3270250" algn="l"/>
                        </a:tabLst>
                      </a:pPr>
                      <a:r>
                        <a:rPr lang="en-US" sz="1400" kern="100">
                          <a:effectLst/>
                        </a:rPr>
                        <a:t>1867</a:t>
                      </a:r>
                      <a:endParaRPr lang="zh-CN" sz="14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294682083"/>
                  </a:ext>
                </a:extLst>
              </a:tr>
              <a:tr h="468380">
                <a:tc>
                  <a:txBody>
                    <a:bodyPr/>
                    <a:lstStyle/>
                    <a:p>
                      <a:pPr algn="ctr">
                        <a:tabLst>
                          <a:tab pos="3270250" algn="l"/>
                        </a:tabLst>
                      </a:pPr>
                      <a:r>
                        <a:rPr lang="en-US" sz="1400" kern="100">
                          <a:effectLst/>
                        </a:rPr>
                        <a:t>Number of transactions</a:t>
                      </a:r>
                      <a:endParaRPr lang="zh-CN" sz="14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tc>
                <a:tc>
                  <a:txBody>
                    <a:bodyPr/>
                    <a:lstStyle/>
                    <a:p>
                      <a:pPr algn="ctr">
                        <a:tabLst>
                          <a:tab pos="3270250" algn="l"/>
                        </a:tabLst>
                      </a:pPr>
                      <a:r>
                        <a:rPr lang="en-US" sz="1400" kern="100" dirty="0">
                          <a:effectLst/>
                        </a:rPr>
                        <a:t>49</a:t>
                      </a:r>
                      <a:endParaRPr lang="zh-CN" sz="14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tc>
                <a:tc>
                  <a:txBody>
                    <a:bodyPr/>
                    <a:lstStyle/>
                    <a:p>
                      <a:pPr algn="ctr">
                        <a:tabLst>
                          <a:tab pos="3270250" algn="l"/>
                        </a:tabLst>
                      </a:pPr>
                      <a:r>
                        <a:rPr lang="en-US" sz="1400" kern="100">
                          <a:effectLst/>
                        </a:rPr>
                        <a:t>32</a:t>
                      </a:r>
                      <a:endParaRPr lang="zh-CN" sz="14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881117523"/>
                  </a:ext>
                </a:extLst>
              </a:tr>
              <a:tr h="468380">
                <a:tc>
                  <a:txBody>
                    <a:bodyPr/>
                    <a:lstStyle/>
                    <a:p>
                      <a:pPr algn="ctr">
                        <a:tabLst>
                          <a:tab pos="3270250" algn="l"/>
                        </a:tabLst>
                      </a:pPr>
                      <a:r>
                        <a:rPr lang="en-US" sz="1400" kern="100">
                          <a:effectLst/>
                        </a:rPr>
                        <a:t>Number of days of profit</a:t>
                      </a:r>
                      <a:endParaRPr lang="zh-CN" sz="14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tc>
                <a:tc>
                  <a:txBody>
                    <a:bodyPr/>
                    <a:lstStyle/>
                    <a:p>
                      <a:pPr algn="ctr">
                        <a:tabLst>
                          <a:tab pos="3270250" algn="l"/>
                        </a:tabLst>
                      </a:pPr>
                      <a:r>
                        <a:rPr lang="en-US" sz="1400" kern="100">
                          <a:effectLst/>
                        </a:rPr>
                        <a:t>737</a:t>
                      </a:r>
                      <a:endParaRPr lang="zh-CN" sz="14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tc>
                <a:tc>
                  <a:txBody>
                    <a:bodyPr/>
                    <a:lstStyle/>
                    <a:p>
                      <a:pPr algn="ctr">
                        <a:tabLst>
                          <a:tab pos="3270250" algn="l"/>
                        </a:tabLst>
                      </a:pPr>
                      <a:r>
                        <a:rPr lang="en-US" sz="1400" kern="100">
                          <a:effectLst/>
                        </a:rPr>
                        <a:t>1005</a:t>
                      </a:r>
                      <a:endParaRPr lang="zh-CN" sz="14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332716801"/>
                  </a:ext>
                </a:extLst>
              </a:tr>
              <a:tr h="468380">
                <a:tc>
                  <a:txBody>
                    <a:bodyPr/>
                    <a:lstStyle/>
                    <a:p>
                      <a:pPr algn="ctr">
                        <a:tabLst>
                          <a:tab pos="3270250" algn="l"/>
                        </a:tabLst>
                      </a:pPr>
                      <a:r>
                        <a:rPr lang="en-US" sz="1400" kern="100">
                          <a:effectLst/>
                        </a:rPr>
                        <a:t>Number of days of loss</a:t>
                      </a:r>
                      <a:endParaRPr lang="zh-CN" sz="14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tc>
                <a:tc>
                  <a:txBody>
                    <a:bodyPr/>
                    <a:lstStyle/>
                    <a:p>
                      <a:pPr algn="ctr">
                        <a:tabLst>
                          <a:tab pos="3270250" algn="l"/>
                        </a:tabLst>
                      </a:pPr>
                      <a:r>
                        <a:rPr lang="en-US" sz="1400" kern="100">
                          <a:effectLst/>
                        </a:rPr>
                        <a:t>692</a:t>
                      </a:r>
                      <a:endParaRPr lang="zh-CN" sz="14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tc>
                <a:tc>
                  <a:txBody>
                    <a:bodyPr/>
                    <a:lstStyle/>
                    <a:p>
                      <a:pPr algn="ctr">
                        <a:tabLst>
                          <a:tab pos="3270250" algn="l"/>
                        </a:tabLst>
                      </a:pPr>
                      <a:r>
                        <a:rPr lang="en-US" sz="1400" kern="100">
                          <a:effectLst/>
                        </a:rPr>
                        <a:t>893</a:t>
                      </a:r>
                      <a:endParaRPr lang="zh-CN" sz="14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272840477"/>
                  </a:ext>
                </a:extLst>
              </a:tr>
              <a:tr h="468380">
                <a:tc>
                  <a:txBody>
                    <a:bodyPr/>
                    <a:lstStyle/>
                    <a:p>
                      <a:pPr algn="ctr">
                        <a:tabLst>
                          <a:tab pos="3270250" algn="l"/>
                        </a:tabLst>
                      </a:pPr>
                      <a:r>
                        <a:rPr lang="en-US" sz="1400" kern="100">
                          <a:effectLst/>
                        </a:rPr>
                        <a:t>Average yield (per trade)</a:t>
                      </a:r>
                      <a:endParaRPr lang="zh-CN" sz="14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tc>
                <a:tc>
                  <a:txBody>
                    <a:bodyPr/>
                    <a:lstStyle/>
                    <a:p>
                      <a:pPr algn="ctr">
                        <a:tabLst>
                          <a:tab pos="3270250" algn="l"/>
                        </a:tabLst>
                      </a:pPr>
                      <a:r>
                        <a:rPr lang="en-US" sz="1400" kern="100">
                          <a:effectLst/>
                        </a:rPr>
                        <a:t>2.62%</a:t>
                      </a:r>
                      <a:endParaRPr lang="zh-CN" sz="14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tc>
                <a:tc>
                  <a:txBody>
                    <a:bodyPr/>
                    <a:lstStyle/>
                    <a:p>
                      <a:pPr algn="ctr">
                        <a:tabLst>
                          <a:tab pos="3270250" algn="l"/>
                        </a:tabLst>
                      </a:pPr>
                      <a:r>
                        <a:rPr lang="en-US" sz="1400" kern="100">
                          <a:effectLst/>
                        </a:rPr>
                        <a:t>5.81%</a:t>
                      </a:r>
                      <a:endParaRPr lang="zh-CN" sz="14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2300115865"/>
                  </a:ext>
                </a:extLst>
              </a:tr>
              <a:tr h="468380">
                <a:tc>
                  <a:txBody>
                    <a:bodyPr/>
                    <a:lstStyle/>
                    <a:p>
                      <a:pPr algn="ctr">
                        <a:tabLst>
                          <a:tab pos="3270250" algn="l"/>
                        </a:tabLst>
                      </a:pPr>
                      <a:r>
                        <a:rPr lang="en-US" sz="1400" kern="100">
                          <a:effectLst/>
                        </a:rPr>
                        <a:t>Profitability (per trade)</a:t>
                      </a:r>
                      <a:endParaRPr lang="zh-CN" sz="14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tc>
                <a:tc>
                  <a:txBody>
                    <a:bodyPr/>
                    <a:lstStyle/>
                    <a:p>
                      <a:pPr algn="ctr">
                        <a:tabLst>
                          <a:tab pos="3270250" algn="l"/>
                        </a:tabLst>
                      </a:pPr>
                      <a:r>
                        <a:rPr lang="en-US" sz="1400" kern="100">
                          <a:effectLst/>
                        </a:rPr>
                        <a:t>6.58%</a:t>
                      </a:r>
                      <a:endParaRPr lang="zh-CN" sz="14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tc>
                <a:tc>
                  <a:txBody>
                    <a:bodyPr/>
                    <a:lstStyle/>
                    <a:p>
                      <a:pPr algn="ctr">
                        <a:tabLst>
                          <a:tab pos="3270250" algn="l"/>
                        </a:tabLst>
                      </a:pPr>
                      <a:r>
                        <a:rPr lang="en-US" sz="1400" kern="100">
                          <a:effectLst/>
                        </a:rPr>
                        <a:t>10.08%</a:t>
                      </a:r>
                      <a:endParaRPr lang="zh-CN" sz="14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616721421"/>
                  </a:ext>
                </a:extLst>
              </a:tr>
              <a:tr h="468380">
                <a:tc>
                  <a:txBody>
                    <a:bodyPr/>
                    <a:lstStyle/>
                    <a:p>
                      <a:pPr algn="ctr">
                        <a:tabLst>
                          <a:tab pos="3270250" algn="l"/>
                        </a:tabLst>
                      </a:pPr>
                      <a:r>
                        <a:rPr lang="en-US" sz="1400" kern="100" dirty="0">
                          <a:effectLst/>
                        </a:rPr>
                        <a:t>Loss ratio (per trade)</a:t>
                      </a:r>
                      <a:endParaRPr lang="zh-CN" sz="14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tc>
                <a:tc>
                  <a:txBody>
                    <a:bodyPr/>
                    <a:lstStyle/>
                    <a:p>
                      <a:pPr algn="ctr">
                        <a:tabLst>
                          <a:tab pos="3270250" algn="l"/>
                        </a:tabLst>
                      </a:pPr>
                      <a:r>
                        <a:rPr lang="en-US" sz="1400" kern="100">
                          <a:effectLst/>
                        </a:rPr>
                        <a:t>2.47%</a:t>
                      </a:r>
                      <a:endParaRPr lang="zh-CN" sz="14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tc>
                <a:tc>
                  <a:txBody>
                    <a:bodyPr/>
                    <a:lstStyle/>
                    <a:p>
                      <a:pPr algn="ctr">
                        <a:tabLst>
                          <a:tab pos="3270250" algn="l"/>
                        </a:tabLst>
                      </a:pPr>
                      <a:r>
                        <a:rPr lang="en-US" sz="1400" kern="100" dirty="0">
                          <a:effectLst/>
                        </a:rPr>
                        <a:t>3.16%</a:t>
                      </a:r>
                      <a:endParaRPr lang="zh-CN" sz="14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465951692"/>
                  </a:ext>
                </a:extLst>
              </a:tr>
            </a:tbl>
          </a:graphicData>
        </a:graphic>
      </p:graphicFrame>
      <p:graphicFrame>
        <p:nvGraphicFramePr>
          <p:cNvPr id="8" name="图表 7">
            <a:extLst>
              <a:ext uri="{FF2B5EF4-FFF2-40B4-BE49-F238E27FC236}">
                <a16:creationId xmlns:a16="http://schemas.microsoft.com/office/drawing/2014/main" id="{A284529F-E2DE-4AB6-844E-A2622191CDAB}"/>
              </a:ext>
            </a:extLst>
          </p:cNvPr>
          <p:cNvGraphicFramePr>
            <a:graphicFrameLocks/>
          </p:cNvGraphicFramePr>
          <p:nvPr>
            <p:extLst>
              <p:ext uri="{D42A27DB-BD31-4B8C-83A1-F6EECF244321}">
                <p14:modId xmlns:p14="http://schemas.microsoft.com/office/powerpoint/2010/main" val="1486618919"/>
              </p:ext>
            </p:extLst>
          </p:nvPr>
        </p:nvGraphicFramePr>
        <p:xfrm>
          <a:off x="174171" y="1995910"/>
          <a:ext cx="8897258" cy="515218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0672625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2" name="图片 21" descr="图表&#10;&#10;描述已自动生成">
            <a:extLst>
              <a:ext uri="{FF2B5EF4-FFF2-40B4-BE49-F238E27FC236}">
                <a16:creationId xmlns:a16="http://schemas.microsoft.com/office/drawing/2014/main" id="{90BF2D62-280A-4FD0-B827-0AB62ECB944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32000" y="3352800"/>
            <a:ext cx="9736763" cy="4789254"/>
          </a:xfrm>
          <a:prstGeom prst="rect">
            <a:avLst/>
          </a:prstGeom>
        </p:spPr>
      </p:pic>
      <p:pic>
        <p:nvPicPr>
          <p:cNvPr id="17" name="Picture 17"/>
          <p:cNvPicPr>
            <a:picLocks noChangeAspect="1"/>
          </p:cNvPicPr>
          <p:nvPr/>
        </p:nvPicPr>
        <p:blipFill>
          <a:blip r:embed="rId3"/>
          <a:stretch>
            <a:fillRect/>
          </a:stretch>
        </p:blipFill>
        <p:spPr>
          <a:xfrm>
            <a:off x="444500" y="8255000"/>
            <a:ext cx="457200" cy="406400"/>
          </a:xfrm>
          <a:prstGeom prst="rect">
            <a:avLst/>
          </a:prstGeom>
        </p:spPr>
      </p:pic>
      <p:sp>
        <p:nvSpPr>
          <p:cNvPr id="18" name="TextBox 18"/>
          <p:cNvSpPr txBox="1"/>
          <p:nvPr/>
        </p:nvSpPr>
        <p:spPr>
          <a:xfrm>
            <a:off x="10782300" y="743712"/>
            <a:ext cx="4876800" cy="609600"/>
          </a:xfrm>
          <a:prstGeom prst="rect">
            <a:avLst/>
          </a:prstGeom>
        </p:spPr>
        <p:txBody>
          <a:bodyPr lIns="0" tIns="0" rIns="0" bIns="0" rtlCol="0" anchor="t"/>
          <a:lstStyle/>
          <a:p>
            <a:pPr algn="r">
              <a:lnSpc>
                <a:spcPct val="90000"/>
              </a:lnSpc>
            </a:pPr>
            <a:r>
              <a:rPr lang="en-US" sz="4000" b="1" dirty="0">
                <a:solidFill>
                  <a:srgbClr val="232F47"/>
                </a:solidFill>
                <a:latin typeface="Times New Roman" panose="02020603050405020304" pitchFamily="18" charset="0"/>
                <a:cs typeface="Times New Roman" panose="02020603050405020304" pitchFamily="18" charset="0"/>
              </a:rPr>
              <a:t>Perform of norm</a:t>
            </a:r>
          </a:p>
        </p:txBody>
      </p:sp>
      <p:graphicFrame>
        <p:nvGraphicFramePr>
          <p:cNvPr id="3" name="表格 3">
            <a:extLst>
              <a:ext uri="{FF2B5EF4-FFF2-40B4-BE49-F238E27FC236}">
                <a16:creationId xmlns:a16="http://schemas.microsoft.com/office/drawing/2014/main" id="{DC4E3BF8-2ED2-4E93-933C-3BD71FAA1522}"/>
              </a:ext>
            </a:extLst>
          </p:cNvPr>
          <p:cNvGraphicFramePr>
            <a:graphicFrameLocks noGrp="1"/>
          </p:cNvGraphicFramePr>
          <p:nvPr/>
        </p:nvGraphicFramePr>
        <p:xfrm>
          <a:off x="2350288" y="1245839"/>
          <a:ext cx="7924800" cy="1708910"/>
        </p:xfrm>
        <a:graphic>
          <a:graphicData uri="http://schemas.openxmlformats.org/drawingml/2006/table">
            <a:tbl>
              <a:tblPr firstRow="1" bandRow="1">
                <a:tableStyleId>{5C22544A-7EE6-4342-B048-85BDC9FD1C3A}</a:tableStyleId>
              </a:tblPr>
              <a:tblGrid>
                <a:gridCol w="1320800">
                  <a:extLst>
                    <a:ext uri="{9D8B030D-6E8A-4147-A177-3AD203B41FA5}">
                      <a16:colId xmlns:a16="http://schemas.microsoft.com/office/drawing/2014/main" val="738747575"/>
                    </a:ext>
                  </a:extLst>
                </a:gridCol>
                <a:gridCol w="1320800">
                  <a:extLst>
                    <a:ext uri="{9D8B030D-6E8A-4147-A177-3AD203B41FA5}">
                      <a16:colId xmlns:a16="http://schemas.microsoft.com/office/drawing/2014/main" val="1680645884"/>
                    </a:ext>
                  </a:extLst>
                </a:gridCol>
                <a:gridCol w="1320800">
                  <a:extLst>
                    <a:ext uri="{9D8B030D-6E8A-4147-A177-3AD203B41FA5}">
                      <a16:colId xmlns:a16="http://schemas.microsoft.com/office/drawing/2014/main" val="1224130827"/>
                    </a:ext>
                  </a:extLst>
                </a:gridCol>
                <a:gridCol w="1320800">
                  <a:extLst>
                    <a:ext uri="{9D8B030D-6E8A-4147-A177-3AD203B41FA5}">
                      <a16:colId xmlns:a16="http://schemas.microsoft.com/office/drawing/2014/main" val="1280525913"/>
                    </a:ext>
                  </a:extLst>
                </a:gridCol>
                <a:gridCol w="1320800">
                  <a:extLst>
                    <a:ext uri="{9D8B030D-6E8A-4147-A177-3AD203B41FA5}">
                      <a16:colId xmlns:a16="http://schemas.microsoft.com/office/drawing/2014/main" val="1796826830"/>
                    </a:ext>
                  </a:extLst>
                </a:gridCol>
                <a:gridCol w="1320800">
                  <a:extLst>
                    <a:ext uri="{9D8B030D-6E8A-4147-A177-3AD203B41FA5}">
                      <a16:colId xmlns:a16="http://schemas.microsoft.com/office/drawing/2014/main" val="560226946"/>
                    </a:ext>
                  </a:extLst>
                </a:gridCol>
              </a:tblGrid>
              <a:tr h="341782">
                <a:tc>
                  <a:txBody>
                    <a:bodyPr/>
                    <a:lstStyle/>
                    <a:p>
                      <a:r>
                        <a:rPr lang="en-US" altLang="zh-CN" sz="1600">
                          <a:latin typeface="Times New Roman" panose="02020603050405020304" pitchFamily="18" charset="0"/>
                          <a:cs typeface="Times New Roman" panose="02020603050405020304" pitchFamily="18" charset="0"/>
                        </a:rPr>
                        <a:t>method</a:t>
                      </a:r>
                      <a:endParaRPr lang="zh-CN" altLang="en-US" sz="1600">
                        <a:latin typeface="Times New Roman" panose="02020603050405020304" pitchFamily="18" charset="0"/>
                        <a:cs typeface="Times New Roman" panose="02020603050405020304" pitchFamily="18" charset="0"/>
                      </a:endParaRPr>
                    </a:p>
                  </a:txBody>
                  <a:tcPr/>
                </a:tc>
                <a:tc>
                  <a:txBody>
                    <a:bodyPr/>
                    <a:lstStyle/>
                    <a:p>
                      <a:r>
                        <a:rPr lang="en-US" altLang="zh-CN" sz="1600">
                          <a:latin typeface="Times New Roman" panose="02020603050405020304" pitchFamily="18" charset="0"/>
                          <a:cs typeface="Times New Roman" panose="02020603050405020304" pitchFamily="18" charset="0"/>
                        </a:rPr>
                        <a:t>N</a:t>
                      </a:r>
                      <a:endParaRPr lang="zh-CN" altLang="en-US" sz="1600">
                        <a:latin typeface="Times New Roman" panose="02020603050405020304" pitchFamily="18" charset="0"/>
                        <a:cs typeface="Times New Roman" panose="02020603050405020304" pitchFamily="18" charset="0"/>
                      </a:endParaRPr>
                    </a:p>
                  </a:txBody>
                  <a:tcPr/>
                </a:tc>
                <a:tc>
                  <a:txBody>
                    <a:bodyPr/>
                    <a:lstStyle/>
                    <a:p>
                      <a:r>
                        <a:rPr lang="en-US" altLang="zh-CN" sz="1600">
                          <a:latin typeface="Times New Roman" panose="02020603050405020304" pitchFamily="18" charset="0"/>
                          <a:cs typeface="Times New Roman" panose="02020603050405020304" pitchFamily="18" charset="0"/>
                        </a:rPr>
                        <a:t>M</a:t>
                      </a:r>
                      <a:endParaRPr lang="zh-CN" altLang="en-US" sz="1600">
                        <a:latin typeface="Times New Roman" panose="02020603050405020304" pitchFamily="18" charset="0"/>
                        <a:cs typeface="Times New Roman" panose="02020603050405020304" pitchFamily="18" charset="0"/>
                      </a:endParaRPr>
                    </a:p>
                  </a:txBody>
                  <a:tcPr/>
                </a:tc>
                <a:tc>
                  <a:txBody>
                    <a:bodyPr/>
                    <a:lstStyle/>
                    <a:p>
                      <a:r>
                        <a:rPr lang="en-US" altLang="zh-CN" sz="1600" dirty="0">
                          <a:latin typeface="Times New Roman" panose="02020603050405020304" pitchFamily="18" charset="0"/>
                          <a:cs typeface="Times New Roman" panose="02020603050405020304" pitchFamily="18" charset="0"/>
                        </a:rPr>
                        <a:t>threshold</a:t>
                      </a:r>
                      <a:endParaRPr lang="zh-CN" altLang="en-US" sz="1600" dirty="0">
                        <a:latin typeface="Times New Roman" panose="02020603050405020304" pitchFamily="18" charset="0"/>
                        <a:cs typeface="Times New Roman" panose="02020603050405020304" pitchFamily="18" charset="0"/>
                      </a:endParaRPr>
                    </a:p>
                  </a:txBody>
                  <a:tcPr/>
                </a:tc>
                <a:tc>
                  <a:txBody>
                    <a:bodyPr/>
                    <a:lstStyle/>
                    <a:p>
                      <a:r>
                        <a:rPr lang="en-US" altLang="zh-CN" sz="1600">
                          <a:latin typeface="Times New Roman" panose="02020603050405020304" pitchFamily="18" charset="0"/>
                          <a:cs typeface="Times New Roman" panose="02020603050405020304" pitchFamily="18" charset="0"/>
                        </a:rPr>
                        <a:t>rtn</a:t>
                      </a:r>
                      <a:endParaRPr lang="zh-CN" altLang="en-US" sz="1600">
                        <a:latin typeface="Times New Roman" panose="02020603050405020304" pitchFamily="18" charset="0"/>
                        <a:cs typeface="Times New Roman" panose="02020603050405020304" pitchFamily="18" charset="0"/>
                      </a:endParaRPr>
                    </a:p>
                  </a:txBody>
                  <a:tcPr/>
                </a:tc>
                <a:tc>
                  <a:txBody>
                    <a:bodyPr/>
                    <a:lstStyle/>
                    <a:p>
                      <a:r>
                        <a:rPr lang="en-US" altLang="zh-CN" sz="1600">
                          <a:latin typeface="Times New Roman" panose="02020603050405020304" pitchFamily="18" charset="0"/>
                          <a:cs typeface="Times New Roman" panose="02020603050405020304" pitchFamily="18" charset="0"/>
                        </a:rPr>
                        <a:t>drawdown</a:t>
                      </a:r>
                      <a:endParaRPr lang="zh-CN" altLang="en-US" sz="160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2558803232"/>
                  </a:ext>
                </a:extLst>
              </a:tr>
              <a:tr h="341782">
                <a:tc rowSpan="4">
                  <a:txBody>
                    <a:bodyPr/>
                    <a:lstStyle/>
                    <a:p>
                      <a:pPr algn="ctr"/>
                      <a:r>
                        <a:rPr lang="en-US" altLang="zh-CN" sz="1600">
                          <a:latin typeface="Times New Roman" panose="02020603050405020304" pitchFamily="18" charset="0"/>
                          <a:cs typeface="Times New Roman" panose="02020603050405020304" pitchFamily="18" charset="0"/>
                        </a:rPr>
                        <a:t>norm</a:t>
                      </a:r>
                      <a:endParaRPr lang="zh-CN" altLang="en-US" sz="1600">
                        <a:latin typeface="Times New Roman" panose="02020603050405020304" pitchFamily="18" charset="0"/>
                        <a:cs typeface="Times New Roman" panose="02020603050405020304" pitchFamily="18" charset="0"/>
                      </a:endParaRPr>
                    </a:p>
                  </a:txBody>
                  <a:tcPr anchor="ctr"/>
                </a:tc>
                <a:tc>
                  <a:txBody>
                    <a:bodyPr/>
                    <a:lstStyle/>
                    <a:p>
                      <a:r>
                        <a:rPr lang="en-US" altLang="zh-CN" sz="1600">
                          <a:latin typeface="Times New Roman" panose="02020603050405020304" pitchFamily="18" charset="0"/>
                          <a:cs typeface="Times New Roman" panose="02020603050405020304" pitchFamily="18" charset="0"/>
                        </a:rPr>
                        <a:t>18</a:t>
                      </a:r>
                      <a:endParaRPr lang="zh-CN" altLang="en-US" sz="1600">
                        <a:latin typeface="Times New Roman" panose="02020603050405020304" pitchFamily="18" charset="0"/>
                        <a:cs typeface="Times New Roman" panose="02020603050405020304" pitchFamily="18" charset="0"/>
                      </a:endParaRPr>
                    </a:p>
                  </a:txBody>
                  <a:tcPr/>
                </a:tc>
                <a:tc>
                  <a:txBody>
                    <a:bodyPr/>
                    <a:lstStyle/>
                    <a:p>
                      <a:r>
                        <a:rPr lang="en-US" altLang="zh-CN" sz="1600">
                          <a:latin typeface="Times New Roman" panose="02020603050405020304" pitchFamily="18" charset="0"/>
                          <a:cs typeface="Times New Roman" panose="02020603050405020304" pitchFamily="18" charset="0"/>
                        </a:rPr>
                        <a:t>900</a:t>
                      </a:r>
                      <a:endParaRPr lang="zh-CN" altLang="en-US" sz="1600">
                        <a:latin typeface="Times New Roman" panose="02020603050405020304" pitchFamily="18" charset="0"/>
                        <a:cs typeface="Times New Roman" panose="02020603050405020304" pitchFamily="18" charset="0"/>
                      </a:endParaRPr>
                    </a:p>
                  </a:txBody>
                  <a:tcPr/>
                </a:tc>
                <a:tc>
                  <a:txBody>
                    <a:bodyPr/>
                    <a:lstStyle/>
                    <a:p>
                      <a:r>
                        <a:rPr lang="en-US" altLang="zh-CN" sz="1600">
                          <a:latin typeface="Times New Roman" panose="02020603050405020304" pitchFamily="18" charset="0"/>
                          <a:cs typeface="Times New Roman" panose="02020603050405020304" pitchFamily="18" charset="0"/>
                        </a:rPr>
                        <a:t>0.85</a:t>
                      </a:r>
                      <a:endParaRPr lang="zh-CN" altLang="en-US" sz="1600">
                        <a:latin typeface="Times New Roman" panose="02020603050405020304" pitchFamily="18" charset="0"/>
                        <a:cs typeface="Times New Roman" panose="02020603050405020304" pitchFamily="18" charset="0"/>
                      </a:endParaRPr>
                    </a:p>
                  </a:txBody>
                  <a:tcPr/>
                </a:tc>
                <a:tc>
                  <a:txBody>
                    <a:bodyPr/>
                    <a:lstStyle/>
                    <a:p>
                      <a:r>
                        <a:rPr lang="en-US" altLang="zh-CN" sz="1600">
                          <a:solidFill>
                            <a:srgbClr val="FF0000"/>
                          </a:solidFill>
                          <a:latin typeface="Times New Roman" panose="02020603050405020304" pitchFamily="18" charset="0"/>
                          <a:cs typeface="Times New Roman" panose="02020603050405020304" pitchFamily="18" charset="0"/>
                        </a:rPr>
                        <a:t>5.35</a:t>
                      </a:r>
                      <a:endParaRPr lang="zh-CN" altLang="en-US" sz="1600">
                        <a:solidFill>
                          <a:srgbClr val="FF0000"/>
                        </a:solidFill>
                        <a:latin typeface="Times New Roman" panose="02020603050405020304" pitchFamily="18" charset="0"/>
                        <a:cs typeface="Times New Roman" panose="02020603050405020304" pitchFamily="18" charset="0"/>
                      </a:endParaRPr>
                    </a:p>
                  </a:txBody>
                  <a:tcPr/>
                </a:tc>
                <a:tc>
                  <a:txBody>
                    <a:bodyPr/>
                    <a:lstStyle/>
                    <a:p>
                      <a:r>
                        <a:rPr lang="en-US" altLang="zh-CN" sz="1600">
                          <a:latin typeface="Times New Roman" panose="02020603050405020304" pitchFamily="18" charset="0"/>
                          <a:cs typeface="Times New Roman" panose="02020603050405020304" pitchFamily="18" charset="0"/>
                        </a:rPr>
                        <a:t>0.1168</a:t>
                      </a:r>
                      <a:endParaRPr lang="zh-CN" altLang="en-US" sz="160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04622995"/>
                  </a:ext>
                </a:extLst>
              </a:tr>
              <a:tr h="341782">
                <a:tc vMerge="1">
                  <a:txBody>
                    <a:bodyPr/>
                    <a:lstStyle/>
                    <a:p>
                      <a:endParaRPr lang="zh-CN" altLang="en-US"/>
                    </a:p>
                  </a:txBody>
                  <a:tcPr/>
                </a:tc>
                <a:tc>
                  <a:txBody>
                    <a:bodyPr/>
                    <a:lstStyle/>
                    <a:p>
                      <a:r>
                        <a:rPr lang="en-US" altLang="zh-CN" sz="1600">
                          <a:latin typeface="Times New Roman" panose="02020603050405020304" pitchFamily="18" charset="0"/>
                          <a:cs typeface="Times New Roman" panose="02020603050405020304" pitchFamily="18" charset="0"/>
                        </a:rPr>
                        <a:t>18</a:t>
                      </a:r>
                      <a:endParaRPr lang="zh-CN" altLang="en-US" sz="1600">
                        <a:latin typeface="Times New Roman" panose="02020603050405020304" pitchFamily="18" charset="0"/>
                        <a:cs typeface="Times New Roman" panose="02020603050405020304" pitchFamily="18" charset="0"/>
                      </a:endParaRPr>
                    </a:p>
                  </a:txBody>
                  <a:tcPr/>
                </a:tc>
                <a:tc>
                  <a:txBody>
                    <a:bodyPr/>
                    <a:lstStyle/>
                    <a:p>
                      <a:r>
                        <a:rPr lang="en-US" altLang="zh-CN" sz="1600">
                          <a:latin typeface="Times New Roman" panose="02020603050405020304" pitchFamily="18" charset="0"/>
                          <a:cs typeface="Times New Roman" panose="02020603050405020304" pitchFamily="18" charset="0"/>
                        </a:rPr>
                        <a:t>900</a:t>
                      </a:r>
                      <a:endParaRPr lang="zh-CN" altLang="en-US" sz="1600">
                        <a:latin typeface="Times New Roman" panose="02020603050405020304" pitchFamily="18" charset="0"/>
                        <a:cs typeface="Times New Roman" panose="02020603050405020304" pitchFamily="18" charset="0"/>
                      </a:endParaRPr>
                    </a:p>
                  </a:txBody>
                  <a:tcPr/>
                </a:tc>
                <a:tc>
                  <a:txBody>
                    <a:bodyPr/>
                    <a:lstStyle/>
                    <a:p>
                      <a:r>
                        <a:rPr lang="en-US" altLang="zh-CN" sz="1600">
                          <a:latin typeface="Times New Roman" panose="02020603050405020304" pitchFamily="18" charset="0"/>
                          <a:cs typeface="Times New Roman" panose="02020603050405020304" pitchFamily="18" charset="0"/>
                        </a:rPr>
                        <a:t>0.80</a:t>
                      </a:r>
                      <a:endParaRPr lang="zh-CN" altLang="en-US" sz="1600">
                        <a:latin typeface="Times New Roman" panose="02020603050405020304" pitchFamily="18" charset="0"/>
                        <a:cs typeface="Times New Roman" panose="02020603050405020304" pitchFamily="18" charset="0"/>
                      </a:endParaRPr>
                    </a:p>
                  </a:txBody>
                  <a:tcPr/>
                </a:tc>
                <a:tc>
                  <a:txBody>
                    <a:bodyPr/>
                    <a:lstStyle/>
                    <a:p>
                      <a:r>
                        <a:rPr lang="en-US" altLang="zh-CN" sz="1600">
                          <a:latin typeface="Times New Roman" panose="02020603050405020304" pitchFamily="18" charset="0"/>
                          <a:cs typeface="Times New Roman" panose="02020603050405020304" pitchFamily="18" charset="0"/>
                        </a:rPr>
                        <a:t>5.04</a:t>
                      </a:r>
                      <a:endParaRPr lang="zh-CN" altLang="en-US" sz="1600">
                        <a:latin typeface="Times New Roman" panose="02020603050405020304" pitchFamily="18" charset="0"/>
                        <a:cs typeface="Times New Roman" panose="02020603050405020304" pitchFamily="18" charset="0"/>
                      </a:endParaRPr>
                    </a:p>
                  </a:txBody>
                  <a:tcPr/>
                </a:tc>
                <a:tc>
                  <a:txBody>
                    <a:bodyPr/>
                    <a:lstStyle/>
                    <a:p>
                      <a:r>
                        <a:rPr lang="en-US" altLang="zh-CN" sz="1600">
                          <a:latin typeface="Times New Roman" panose="02020603050405020304" pitchFamily="18" charset="0"/>
                          <a:cs typeface="Times New Roman" panose="02020603050405020304" pitchFamily="18" charset="0"/>
                        </a:rPr>
                        <a:t>0.1066</a:t>
                      </a:r>
                      <a:endParaRPr lang="zh-CN" altLang="en-US" sz="160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157233254"/>
                  </a:ext>
                </a:extLst>
              </a:tr>
              <a:tr h="341782">
                <a:tc vMerge="1">
                  <a:txBody>
                    <a:bodyPr/>
                    <a:lstStyle/>
                    <a:p>
                      <a:endParaRPr lang="zh-CN" altLang="en-US"/>
                    </a:p>
                  </a:txBody>
                  <a:tcPr/>
                </a:tc>
                <a:tc>
                  <a:txBody>
                    <a:bodyPr/>
                    <a:lstStyle/>
                    <a:p>
                      <a:r>
                        <a:rPr lang="en-US" altLang="zh-CN" sz="1600">
                          <a:latin typeface="Times New Roman" panose="02020603050405020304" pitchFamily="18" charset="0"/>
                          <a:cs typeface="Times New Roman" panose="02020603050405020304" pitchFamily="18" charset="0"/>
                        </a:rPr>
                        <a:t>18</a:t>
                      </a:r>
                      <a:endParaRPr lang="zh-CN" altLang="en-US" sz="1600">
                        <a:latin typeface="Times New Roman" panose="02020603050405020304" pitchFamily="18" charset="0"/>
                        <a:cs typeface="Times New Roman" panose="02020603050405020304" pitchFamily="18" charset="0"/>
                      </a:endParaRPr>
                    </a:p>
                  </a:txBody>
                  <a:tcPr/>
                </a:tc>
                <a:tc>
                  <a:txBody>
                    <a:bodyPr/>
                    <a:lstStyle/>
                    <a:p>
                      <a:r>
                        <a:rPr lang="en-US" altLang="zh-CN" sz="1600">
                          <a:latin typeface="Times New Roman" panose="02020603050405020304" pitchFamily="18" charset="0"/>
                          <a:cs typeface="Times New Roman" panose="02020603050405020304" pitchFamily="18" charset="0"/>
                        </a:rPr>
                        <a:t>900</a:t>
                      </a:r>
                      <a:endParaRPr lang="zh-CN" altLang="en-US" sz="1600">
                        <a:latin typeface="Times New Roman" panose="02020603050405020304" pitchFamily="18" charset="0"/>
                        <a:cs typeface="Times New Roman" panose="02020603050405020304" pitchFamily="18" charset="0"/>
                      </a:endParaRPr>
                    </a:p>
                  </a:txBody>
                  <a:tcPr/>
                </a:tc>
                <a:tc>
                  <a:txBody>
                    <a:bodyPr/>
                    <a:lstStyle/>
                    <a:p>
                      <a:r>
                        <a:rPr lang="en-US" altLang="zh-CN" sz="1600">
                          <a:latin typeface="Times New Roman" panose="02020603050405020304" pitchFamily="18" charset="0"/>
                          <a:cs typeface="Times New Roman" panose="02020603050405020304" pitchFamily="18" charset="0"/>
                        </a:rPr>
                        <a:t>0.95</a:t>
                      </a:r>
                      <a:endParaRPr lang="zh-CN" altLang="en-US" sz="1600">
                        <a:latin typeface="Times New Roman" panose="02020603050405020304" pitchFamily="18" charset="0"/>
                        <a:cs typeface="Times New Roman" panose="02020603050405020304" pitchFamily="18" charset="0"/>
                      </a:endParaRPr>
                    </a:p>
                  </a:txBody>
                  <a:tcPr/>
                </a:tc>
                <a:tc>
                  <a:txBody>
                    <a:bodyPr/>
                    <a:lstStyle/>
                    <a:p>
                      <a:r>
                        <a:rPr lang="en-US" altLang="zh-CN" sz="1600">
                          <a:latin typeface="Times New Roman" panose="02020603050405020304" pitchFamily="18" charset="0"/>
                          <a:cs typeface="Times New Roman" panose="02020603050405020304" pitchFamily="18" charset="0"/>
                        </a:rPr>
                        <a:t>4.84</a:t>
                      </a:r>
                      <a:endParaRPr lang="zh-CN" altLang="en-US" sz="1600">
                        <a:latin typeface="Times New Roman" panose="02020603050405020304" pitchFamily="18" charset="0"/>
                        <a:cs typeface="Times New Roman" panose="02020603050405020304" pitchFamily="18" charset="0"/>
                      </a:endParaRPr>
                    </a:p>
                  </a:txBody>
                  <a:tcPr/>
                </a:tc>
                <a:tc>
                  <a:txBody>
                    <a:bodyPr/>
                    <a:lstStyle/>
                    <a:p>
                      <a:r>
                        <a:rPr lang="en-US" altLang="zh-CN" sz="1600">
                          <a:latin typeface="Times New Roman" panose="02020603050405020304" pitchFamily="18" charset="0"/>
                          <a:cs typeface="Times New Roman" panose="02020603050405020304" pitchFamily="18" charset="0"/>
                        </a:rPr>
                        <a:t>0.1453</a:t>
                      </a:r>
                      <a:endParaRPr lang="zh-CN" altLang="en-US" sz="160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4221043737"/>
                  </a:ext>
                </a:extLst>
              </a:tr>
              <a:tr h="341782">
                <a:tc vMerge="1">
                  <a:txBody>
                    <a:bodyPr/>
                    <a:lstStyle/>
                    <a:p>
                      <a:endParaRPr lang="zh-CN" altLang="en-US"/>
                    </a:p>
                  </a:txBody>
                  <a:tcPr/>
                </a:tc>
                <a:tc>
                  <a:txBody>
                    <a:bodyPr/>
                    <a:lstStyle/>
                    <a:p>
                      <a:r>
                        <a:rPr lang="en-US" altLang="zh-CN" sz="1600">
                          <a:latin typeface="Times New Roman" panose="02020603050405020304" pitchFamily="18" charset="0"/>
                          <a:cs typeface="Times New Roman" panose="02020603050405020304" pitchFamily="18" charset="0"/>
                        </a:rPr>
                        <a:t>18</a:t>
                      </a:r>
                      <a:endParaRPr lang="zh-CN" altLang="en-US" sz="1600">
                        <a:latin typeface="Times New Roman" panose="02020603050405020304" pitchFamily="18" charset="0"/>
                        <a:cs typeface="Times New Roman" panose="02020603050405020304" pitchFamily="18" charset="0"/>
                      </a:endParaRPr>
                    </a:p>
                  </a:txBody>
                  <a:tcPr/>
                </a:tc>
                <a:tc>
                  <a:txBody>
                    <a:bodyPr/>
                    <a:lstStyle/>
                    <a:p>
                      <a:r>
                        <a:rPr lang="en-US" altLang="zh-CN" sz="1600">
                          <a:latin typeface="Times New Roman" panose="02020603050405020304" pitchFamily="18" charset="0"/>
                          <a:cs typeface="Times New Roman" panose="02020603050405020304" pitchFamily="18" charset="0"/>
                        </a:rPr>
                        <a:t>900</a:t>
                      </a:r>
                      <a:endParaRPr lang="zh-CN" altLang="en-US" sz="1600">
                        <a:latin typeface="Times New Roman" panose="02020603050405020304" pitchFamily="18" charset="0"/>
                        <a:cs typeface="Times New Roman" panose="02020603050405020304" pitchFamily="18" charset="0"/>
                      </a:endParaRPr>
                    </a:p>
                  </a:txBody>
                  <a:tcPr/>
                </a:tc>
                <a:tc>
                  <a:txBody>
                    <a:bodyPr/>
                    <a:lstStyle/>
                    <a:p>
                      <a:r>
                        <a:rPr lang="en-US" altLang="zh-CN" sz="1600">
                          <a:latin typeface="Times New Roman" panose="02020603050405020304" pitchFamily="18" charset="0"/>
                          <a:cs typeface="Times New Roman" panose="02020603050405020304" pitchFamily="18" charset="0"/>
                        </a:rPr>
                        <a:t>0.90</a:t>
                      </a:r>
                      <a:endParaRPr lang="zh-CN" altLang="en-US" sz="1600">
                        <a:latin typeface="Times New Roman" panose="02020603050405020304" pitchFamily="18" charset="0"/>
                        <a:cs typeface="Times New Roman" panose="02020603050405020304" pitchFamily="18" charset="0"/>
                      </a:endParaRPr>
                    </a:p>
                  </a:txBody>
                  <a:tcPr/>
                </a:tc>
                <a:tc>
                  <a:txBody>
                    <a:bodyPr/>
                    <a:lstStyle/>
                    <a:p>
                      <a:r>
                        <a:rPr lang="en-US" altLang="zh-CN" sz="1600">
                          <a:latin typeface="Times New Roman" panose="02020603050405020304" pitchFamily="18" charset="0"/>
                          <a:cs typeface="Times New Roman" panose="02020603050405020304" pitchFamily="18" charset="0"/>
                        </a:rPr>
                        <a:t>4.75</a:t>
                      </a:r>
                      <a:endParaRPr lang="zh-CN" altLang="en-US" sz="1600">
                        <a:latin typeface="Times New Roman" panose="02020603050405020304" pitchFamily="18" charset="0"/>
                        <a:cs typeface="Times New Roman" panose="02020603050405020304" pitchFamily="18" charset="0"/>
                      </a:endParaRPr>
                    </a:p>
                  </a:txBody>
                  <a:tcPr/>
                </a:tc>
                <a:tc>
                  <a:txBody>
                    <a:bodyPr/>
                    <a:lstStyle/>
                    <a:p>
                      <a:r>
                        <a:rPr lang="en-US" altLang="zh-CN" sz="1600" dirty="0">
                          <a:latin typeface="Times New Roman" panose="02020603050405020304" pitchFamily="18" charset="0"/>
                          <a:cs typeface="Times New Roman" panose="02020603050405020304" pitchFamily="18" charset="0"/>
                        </a:rPr>
                        <a:t>0.1454</a:t>
                      </a:r>
                      <a:endParaRPr lang="zh-CN" altLang="en-US" sz="16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16231365"/>
                  </a:ext>
                </a:extLst>
              </a:tr>
            </a:tbl>
          </a:graphicData>
        </a:graphic>
      </p:graphicFrame>
      <p:pic>
        <p:nvPicPr>
          <p:cNvPr id="9" name="Picture 17">
            <a:extLst>
              <a:ext uri="{FF2B5EF4-FFF2-40B4-BE49-F238E27FC236}">
                <a16:creationId xmlns:a16="http://schemas.microsoft.com/office/drawing/2014/main" id="{B4C4579D-BC98-4E93-A2EF-80D55D4B7828}"/>
              </a:ext>
            </a:extLst>
          </p:cNvPr>
          <p:cNvPicPr>
            <a:picLocks noChangeAspect="1"/>
          </p:cNvPicPr>
          <p:nvPr/>
        </p:nvPicPr>
        <p:blipFill>
          <a:blip r:embed="rId4"/>
          <a:stretch>
            <a:fillRect/>
          </a:stretch>
        </p:blipFill>
        <p:spPr>
          <a:xfrm>
            <a:off x="13119100" y="533400"/>
            <a:ext cx="2540000" cy="101600"/>
          </a:xfrm>
          <a:prstGeom prst="rect">
            <a:avLst/>
          </a:prstGeom>
        </p:spPr>
      </p:pic>
      <p:pic>
        <p:nvPicPr>
          <p:cNvPr id="5" name="图形 4" descr="研究">
            <a:extLst>
              <a:ext uri="{FF2B5EF4-FFF2-40B4-BE49-F238E27FC236}">
                <a16:creationId xmlns:a16="http://schemas.microsoft.com/office/drawing/2014/main" id="{3FD22F4C-9437-4704-A73E-C96BA4BCC82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14770" y="533400"/>
            <a:ext cx="709307" cy="709307"/>
          </a:xfrm>
          <a:prstGeom prst="rect">
            <a:avLst/>
          </a:prstGeom>
        </p:spPr>
      </p:pic>
      <p:sp>
        <p:nvSpPr>
          <p:cNvPr id="11" name="文本框 10">
            <a:extLst>
              <a:ext uri="{FF2B5EF4-FFF2-40B4-BE49-F238E27FC236}">
                <a16:creationId xmlns:a16="http://schemas.microsoft.com/office/drawing/2014/main" id="{311A6E35-5B7B-4D7E-8895-181D479B81C9}"/>
              </a:ext>
            </a:extLst>
          </p:cNvPr>
          <p:cNvSpPr txBox="1"/>
          <p:nvPr/>
        </p:nvSpPr>
        <p:spPr>
          <a:xfrm>
            <a:off x="2350288" y="615726"/>
            <a:ext cx="8305800" cy="523220"/>
          </a:xfrm>
          <a:prstGeom prst="rect">
            <a:avLst/>
          </a:prstGeom>
          <a:noFill/>
        </p:spPr>
        <p:txBody>
          <a:bodyPr wrap="square">
            <a:spAutoFit/>
          </a:bodyPr>
          <a:lstStyle/>
          <a:p>
            <a:r>
              <a:rPr lang="en-US" altLang="zh-CN" sz="2800" b="1" u="sng" dirty="0">
                <a:solidFill>
                  <a:schemeClr val="accent3">
                    <a:lumMod val="50000"/>
                  </a:schemeClr>
                </a:solidFill>
                <a:latin typeface="Times New Roman" panose="02020603050405020304" pitchFamily="18" charset="0"/>
                <a:cs typeface="Times New Roman" panose="02020603050405020304" pitchFamily="18" charset="0"/>
              </a:rPr>
              <a:t>Optimal </a:t>
            </a:r>
            <a:r>
              <a:rPr lang="en-US" altLang="zh-CN" sz="2800" b="1" u="sng" dirty="0" err="1">
                <a:solidFill>
                  <a:schemeClr val="accent3">
                    <a:lumMod val="50000"/>
                  </a:schemeClr>
                </a:solidFill>
                <a:latin typeface="Times New Roman" panose="02020603050405020304" pitchFamily="18" charset="0"/>
                <a:cs typeface="Times New Roman" panose="02020603050405020304" pitchFamily="18" charset="0"/>
              </a:rPr>
              <a:t>Factor:M</a:t>
            </a:r>
            <a:r>
              <a:rPr lang="en-US" altLang="zh-CN" sz="2800" b="1" u="sng" dirty="0">
                <a:solidFill>
                  <a:schemeClr val="accent3">
                    <a:lumMod val="50000"/>
                  </a:schemeClr>
                </a:solidFill>
                <a:latin typeface="Times New Roman" panose="02020603050405020304" pitchFamily="18" charset="0"/>
                <a:cs typeface="Times New Roman" panose="02020603050405020304" pitchFamily="18" charset="0"/>
              </a:rPr>
              <a:t>=900  N=18  threshold=0.95</a:t>
            </a:r>
            <a:endParaRPr lang="zh-CN" altLang="en-US" sz="2800" b="1" u="sng" dirty="0">
              <a:solidFill>
                <a:schemeClr val="accent3">
                  <a:lumMod val="50000"/>
                </a:schemeClr>
              </a:solidFill>
              <a:latin typeface="Times New Roman" panose="02020603050405020304" pitchFamily="18" charset="0"/>
              <a:cs typeface="Times New Roman" panose="02020603050405020304" pitchFamily="18" charset="0"/>
            </a:endParaRPr>
          </a:p>
        </p:txBody>
      </p:sp>
      <p:sp>
        <p:nvSpPr>
          <p:cNvPr id="10" name="文本框 9">
            <a:extLst>
              <a:ext uri="{FF2B5EF4-FFF2-40B4-BE49-F238E27FC236}">
                <a16:creationId xmlns:a16="http://schemas.microsoft.com/office/drawing/2014/main" id="{0E07B922-D0BB-4707-94B4-80BF75543262}"/>
              </a:ext>
            </a:extLst>
          </p:cNvPr>
          <p:cNvSpPr txBox="1"/>
          <p:nvPr/>
        </p:nvSpPr>
        <p:spPr>
          <a:xfrm>
            <a:off x="3629852" y="3079762"/>
            <a:ext cx="7681045" cy="338554"/>
          </a:xfrm>
          <a:prstGeom prst="rect">
            <a:avLst/>
          </a:prstGeom>
          <a:noFill/>
        </p:spPr>
        <p:txBody>
          <a:bodyPr wrap="square">
            <a:spAutoFit/>
          </a:bodyPr>
          <a:lstStyle/>
          <a:p>
            <a:r>
              <a:rPr lang="en-US" altLang="zh-CN" sz="1600" dirty="0">
                <a:latin typeface="华文中宋" panose="02010600040101010101" pitchFamily="2" charset="-122"/>
                <a:ea typeface="华文中宋" panose="02010600040101010101" pitchFamily="2" charset="-122"/>
              </a:rPr>
              <a:t>Figure 4. Comparison of trading with “norm” method and hs300 itself</a:t>
            </a:r>
            <a:endParaRPr lang="zh-CN" altLang="en-US" sz="1600" dirty="0">
              <a:latin typeface="华文中宋" panose="02010600040101010101" pitchFamily="2" charset="-122"/>
              <a:ea typeface="华文中宋" panose="02010600040101010101" pitchFamily="2" charset="-122"/>
            </a:endParaRPr>
          </a:p>
        </p:txBody>
      </p:sp>
    </p:spTree>
    <p:extLst>
      <p:ext uri="{BB962C8B-B14F-4D97-AF65-F5344CB8AC3E}">
        <p14:creationId xmlns:p14="http://schemas.microsoft.com/office/powerpoint/2010/main" val="17136570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4"/>
          <a:stretch>
            <a:fillRect/>
          </a:stretch>
        </p:blipFill>
        <p:spPr>
          <a:xfrm>
            <a:off x="0" y="6426200"/>
            <a:ext cx="16256000" cy="2730500"/>
          </a:xfrm>
          <a:prstGeom prst="rect">
            <a:avLst/>
          </a:prstGeom>
        </p:spPr>
      </p:pic>
      <p:pic>
        <p:nvPicPr>
          <p:cNvPr id="3" name="Picture 3"/>
          <p:cNvPicPr>
            <a:picLocks noChangeAspect="1"/>
          </p:cNvPicPr>
          <p:nvPr/>
        </p:nvPicPr>
        <p:blipFill>
          <a:blip r:embed="rId5"/>
          <a:stretch>
            <a:fillRect/>
          </a:stretch>
        </p:blipFill>
        <p:spPr>
          <a:xfrm>
            <a:off x="0" y="5702300"/>
            <a:ext cx="16256000" cy="444500"/>
          </a:xfrm>
          <a:prstGeom prst="rect">
            <a:avLst/>
          </a:prstGeom>
        </p:spPr>
      </p:pic>
      <p:pic>
        <p:nvPicPr>
          <p:cNvPr id="4" name="Picture 4"/>
          <p:cNvPicPr>
            <a:picLocks noChangeAspect="1"/>
          </p:cNvPicPr>
          <p:nvPr/>
        </p:nvPicPr>
        <p:blipFill>
          <a:blip r:embed="rId6"/>
          <a:stretch>
            <a:fillRect/>
          </a:stretch>
        </p:blipFill>
        <p:spPr>
          <a:xfrm>
            <a:off x="1600200" y="2425700"/>
            <a:ext cx="6350000" cy="5435600"/>
          </a:xfrm>
          <a:prstGeom prst="rect">
            <a:avLst/>
          </a:prstGeom>
        </p:spPr>
      </p:pic>
      <p:sp>
        <p:nvSpPr>
          <p:cNvPr id="5" name="TextBox 5"/>
          <p:cNvSpPr txBox="1"/>
          <p:nvPr/>
        </p:nvSpPr>
        <p:spPr>
          <a:xfrm>
            <a:off x="8815614" y="3893457"/>
            <a:ext cx="6553199" cy="1103538"/>
          </a:xfrm>
          <a:prstGeom prst="rect">
            <a:avLst/>
          </a:prstGeom>
        </p:spPr>
        <p:txBody>
          <a:bodyPr lIns="0" tIns="0" rIns="0" bIns="0" rtlCol="0" anchor="t"/>
          <a:lstStyle/>
          <a:p>
            <a:pPr algn="ctr">
              <a:lnSpc>
                <a:spcPct val="105000"/>
              </a:lnSpc>
            </a:pPr>
            <a:r>
              <a:rPr lang="en-US" altLang="zh-CN" sz="6600" b="1" dirty="0">
                <a:solidFill>
                  <a:srgbClr val="BA996A"/>
                </a:solidFill>
                <a:latin typeface="Times New Roman" panose="02020603050405020304" pitchFamily="18" charset="0"/>
                <a:cs typeface="Times New Roman" panose="02020603050405020304" pitchFamily="18" charset="0"/>
              </a:rPr>
              <a:t>4  Optimization</a:t>
            </a:r>
          </a:p>
          <a:p>
            <a:pPr algn="ctr">
              <a:lnSpc>
                <a:spcPct val="105000"/>
              </a:lnSpc>
            </a:pPr>
            <a:r>
              <a:rPr lang="en-US" altLang="zh-CN" sz="4000" b="1" dirty="0">
                <a:solidFill>
                  <a:srgbClr val="BA996A"/>
                </a:solidFill>
                <a:latin typeface="Times New Roman" panose="02020603050405020304" pitchFamily="18" charset="0"/>
                <a:cs typeface="Times New Roman" panose="02020603050405020304" pitchFamily="18" charset="0"/>
              </a:rPr>
              <a:t>Modify</a:t>
            </a:r>
            <a:r>
              <a:rPr lang="zh-CN" altLang="en-US" sz="4000" b="1" dirty="0">
                <a:solidFill>
                  <a:srgbClr val="BA996A"/>
                </a:solidFill>
                <a:latin typeface="Times New Roman" panose="02020603050405020304" pitchFamily="18" charset="0"/>
                <a:cs typeface="Times New Roman" panose="02020603050405020304" pitchFamily="18" charset="0"/>
              </a:rPr>
              <a:t> </a:t>
            </a:r>
            <a:r>
              <a:rPr lang="en-US" altLang="zh-CN" sz="4000" b="1" dirty="0">
                <a:solidFill>
                  <a:srgbClr val="BA996A"/>
                </a:solidFill>
                <a:latin typeface="Times New Roman" panose="02020603050405020304" pitchFamily="18" charset="0"/>
                <a:cs typeface="Times New Roman" panose="02020603050405020304" pitchFamily="18" charset="0"/>
              </a:rPr>
              <a:t>&amp; Right method</a:t>
            </a:r>
            <a:r>
              <a:rPr lang="zh-CN" altLang="en-US" sz="4000" b="1" dirty="0">
                <a:solidFill>
                  <a:srgbClr val="BA996A"/>
                </a:solidFill>
                <a:latin typeface="Times New Roman" panose="02020603050405020304" pitchFamily="18" charset="0"/>
                <a:cs typeface="Times New Roman" panose="02020603050405020304" pitchFamily="18" charset="0"/>
              </a:rPr>
              <a:t> </a:t>
            </a:r>
            <a:endParaRPr lang="en-US" altLang="zh-CN" sz="4000" b="1" dirty="0">
              <a:solidFill>
                <a:srgbClr val="BA996A"/>
              </a:solidFill>
              <a:latin typeface="Times New Roman" panose="02020603050405020304" pitchFamily="18" charset="0"/>
              <a:cs typeface="Times New Roman" panose="02020603050405020304" pitchFamily="18" charset="0"/>
            </a:endParaRPr>
          </a:p>
          <a:p>
            <a:pPr algn="l">
              <a:lnSpc>
                <a:spcPct val="105000"/>
              </a:lnSpc>
            </a:pPr>
            <a:endParaRPr lang="en-US" sz="6600" b="1" dirty="0">
              <a:solidFill>
                <a:srgbClr val="BA996A"/>
              </a:solidFill>
              <a:latin typeface="Times New Roman" panose="02020603050405020304" pitchFamily="18" charset="0"/>
              <a:cs typeface="Times New Roman" panose="02020603050405020304" pitchFamily="18" charset="0"/>
            </a:endParaRPr>
          </a:p>
        </p:txBody>
      </p:sp>
      <p:pic>
        <p:nvPicPr>
          <p:cNvPr id="8" name="Picture 8"/>
          <p:cNvPicPr>
            <a:picLocks noChangeAspect="1"/>
          </p:cNvPicPr>
          <p:nvPr/>
        </p:nvPicPr>
        <p:blipFill>
          <a:blip r:embed="rId7"/>
          <a:stretch>
            <a:fillRect/>
          </a:stretch>
        </p:blipFill>
        <p:spPr>
          <a:xfrm>
            <a:off x="13119100" y="533400"/>
            <a:ext cx="2540000" cy="101600"/>
          </a:xfrm>
          <a:prstGeom prst="rect">
            <a:avLst/>
          </a:prstGeom>
        </p:spPr>
      </p:pic>
      <p:pic>
        <p:nvPicPr>
          <p:cNvPr id="9" name="股票股市背景视频 (1)_Trim">
            <a:hlinkClick r:id="" action="ppaction://media"/>
            <a:extLst>
              <a:ext uri="{FF2B5EF4-FFF2-40B4-BE49-F238E27FC236}">
                <a16:creationId xmlns:a16="http://schemas.microsoft.com/office/drawing/2014/main" id="{6A60C710-823C-4FC2-AFDB-17A6979F2E11}"/>
              </a:ext>
            </a:extLst>
          </p:cNvPr>
          <p:cNvPicPr>
            <a:picLocks noChangeAspect="1"/>
          </p:cNvPicPr>
          <p:nvPr>
            <a:videoFile r:link="rId2"/>
            <p:extLst>
              <p:ext uri="{DAA4B4D4-6D71-4841-9C94-3DE7FCFB9230}">
                <p14:media xmlns:p14="http://schemas.microsoft.com/office/powerpoint/2010/main" r:embed="rId1"/>
              </p:ext>
            </p:extLst>
          </p:nvPr>
        </p:nvPicPr>
        <p:blipFill>
          <a:blip r:embed="rId8"/>
          <a:stretch>
            <a:fillRect/>
          </a:stretch>
        </p:blipFill>
        <p:spPr>
          <a:xfrm>
            <a:off x="1727200" y="2590800"/>
            <a:ext cx="6096000" cy="3530600"/>
          </a:xfrm>
          <a:prstGeom prst="rect">
            <a:avLst/>
          </a:prstGeom>
        </p:spPr>
      </p:pic>
      <p:sp>
        <p:nvSpPr>
          <p:cNvPr id="10" name="文本框 9">
            <a:extLst>
              <a:ext uri="{FF2B5EF4-FFF2-40B4-BE49-F238E27FC236}">
                <a16:creationId xmlns:a16="http://schemas.microsoft.com/office/drawing/2014/main" id="{AB0AE2FE-474F-D00F-1621-BB4CAABCED5D}"/>
              </a:ext>
            </a:extLst>
          </p:cNvPr>
          <p:cNvSpPr txBox="1"/>
          <p:nvPr/>
        </p:nvSpPr>
        <p:spPr>
          <a:xfrm>
            <a:off x="12386564" y="8350721"/>
            <a:ext cx="4005072" cy="400110"/>
          </a:xfrm>
          <a:prstGeom prst="rect">
            <a:avLst/>
          </a:prstGeom>
          <a:noFill/>
        </p:spPr>
        <p:txBody>
          <a:bodyPr wrap="square" rtlCol="0">
            <a:spAutoFit/>
          </a:bodyPr>
          <a:lstStyle/>
          <a:p>
            <a:r>
              <a:rPr kumimoji="1" lang="en-US" altLang="zh-CN" sz="2000" dirty="0">
                <a:solidFill>
                  <a:schemeClr val="bg1"/>
                </a:solidFill>
              </a:rPr>
              <a:t>Speaker : </a:t>
            </a:r>
            <a:r>
              <a:rPr kumimoji="1" lang="en-US" altLang="zh-CN" sz="2000" dirty="0" err="1">
                <a:solidFill>
                  <a:schemeClr val="bg1"/>
                </a:solidFill>
              </a:rPr>
              <a:t>GUO,Zhongyuan</a:t>
            </a:r>
            <a:endParaRPr kumimoji="1" lang="zh-CN" altLang="en-US" sz="2000" dirty="0">
              <a:solidFill>
                <a:schemeClr val="bg1"/>
              </a:solidFill>
            </a:endParaRPr>
          </a:p>
        </p:txBody>
      </p:sp>
    </p:spTree>
    <p:extLst>
      <p:ext uri="{BB962C8B-B14F-4D97-AF65-F5344CB8AC3E}">
        <p14:creationId xmlns:p14="http://schemas.microsoft.com/office/powerpoint/2010/main" val="22067188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200"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9"/>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9"/>
                                        </p:tgtEl>
                                      </p:cBhvr>
                                    </p:cmd>
                                  </p:childTnLst>
                                </p:cTn>
                              </p:par>
                            </p:childTnLst>
                          </p:cTn>
                        </p:par>
                      </p:childTnLst>
                    </p:cTn>
                  </p:par>
                </p:childTnLst>
              </p:cTn>
              <p:nextCondLst>
                <p:cond evt="onClick" delay="0">
                  <p:tgtEl>
                    <p:spTgt spid="9"/>
                  </p:tgtEl>
                </p:cond>
              </p:nextCondLst>
            </p:seq>
            <p:video>
              <p:cMediaNode vol="80000">
                <p:cTn id="12" repeatCount="indefinite" fill="hold" display="0">
                  <p:stCondLst>
                    <p:cond delay="indefinite"/>
                  </p:stCondLst>
                </p:cTn>
                <p:tgtEl>
                  <p:spTgt spid="9"/>
                </p:tgtEl>
              </p:cMediaNode>
            </p:vide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2"/>
          <a:stretch>
            <a:fillRect/>
          </a:stretch>
        </p:blipFill>
        <p:spPr>
          <a:xfrm>
            <a:off x="10824764" y="2293655"/>
            <a:ext cx="2387600" cy="2387600"/>
          </a:xfrm>
          <a:prstGeom prst="rect">
            <a:avLst/>
          </a:prstGeom>
        </p:spPr>
      </p:pic>
      <p:sp>
        <p:nvSpPr>
          <p:cNvPr id="3" name="TextBox 3"/>
          <p:cNvSpPr txBox="1"/>
          <p:nvPr/>
        </p:nvSpPr>
        <p:spPr>
          <a:xfrm>
            <a:off x="698500" y="2032000"/>
            <a:ext cx="3467100" cy="520700"/>
          </a:xfrm>
          <a:prstGeom prst="rect">
            <a:avLst/>
          </a:prstGeom>
        </p:spPr>
        <p:txBody>
          <a:bodyPr lIns="0" tIns="0" rIns="0" bIns="0" rtlCol="0" anchor="t"/>
          <a:lstStyle/>
          <a:p>
            <a:pPr algn="r">
              <a:lnSpc>
                <a:spcPct val="112500"/>
              </a:lnSpc>
            </a:pPr>
            <a:endParaRPr lang="en-US" sz="2800" b="1">
              <a:solidFill>
                <a:srgbClr val="333333"/>
              </a:solidFill>
              <a:latin typeface="黑体"/>
            </a:endParaRPr>
          </a:p>
        </p:txBody>
      </p:sp>
      <p:sp>
        <p:nvSpPr>
          <p:cNvPr id="4" name="TextBox 4"/>
          <p:cNvSpPr txBox="1"/>
          <p:nvPr/>
        </p:nvSpPr>
        <p:spPr>
          <a:xfrm>
            <a:off x="1563404" y="1986331"/>
            <a:ext cx="6793196" cy="1763001"/>
          </a:xfrm>
          <a:prstGeom prst="rect">
            <a:avLst/>
          </a:prstGeom>
        </p:spPr>
        <p:txBody>
          <a:bodyPr lIns="0" tIns="0" rIns="0" bIns="0" rtlCol="0" anchor="t"/>
          <a:lstStyle/>
          <a:p>
            <a:pPr>
              <a:lnSpc>
                <a:spcPct val="150000"/>
              </a:lnSpc>
            </a:pPr>
            <a:r>
              <a:rPr lang="en-US" sz="2400" b="1" dirty="0">
                <a:solidFill>
                  <a:srgbClr val="333333"/>
                </a:solidFill>
                <a:latin typeface="Times New Roman" panose="02020603050405020304" pitchFamily="18" charset="0"/>
                <a:cs typeface="Times New Roman" panose="02020603050405020304" pitchFamily="18" charset="0"/>
              </a:rPr>
              <a:t>Issue</a:t>
            </a:r>
          </a:p>
          <a:p>
            <a:pPr>
              <a:lnSpc>
                <a:spcPct val="150000"/>
              </a:lnSpc>
            </a:pPr>
            <a:r>
              <a:rPr lang="en-US" sz="2000" dirty="0">
                <a:solidFill>
                  <a:srgbClr val="333333"/>
                </a:solidFill>
                <a:latin typeface="Times New Roman" panose="02020603050405020304" pitchFamily="18" charset="0"/>
                <a:cs typeface="Times New Roman" panose="02020603050405020304" pitchFamily="18" charset="0"/>
              </a:rPr>
              <a:t>current strategy did not perform well in a bear market</a:t>
            </a:r>
          </a:p>
        </p:txBody>
      </p:sp>
      <p:pic>
        <p:nvPicPr>
          <p:cNvPr id="5" name="Picture 5"/>
          <p:cNvPicPr>
            <a:picLocks noChangeAspect="1"/>
          </p:cNvPicPr>
          <p:nvPr/>
        </p:nvPicPr>
        <p:blipFill>
          <a:blip r:embed="rId3"/>
          <a:stretch>
            <a:fillRect/>
          </a:stretch>
        </p:blipFill>
        <p:spPr>
          <a:xfrm>
            <a:off x="12348764" y="3843055"/>
            <a:ext cx="2387600" cy="2387600"/>
          </a:xfrm>
          <a:prstGeom prst="rect">
            <a:avLst/>
          </a:prstGeom>
        </p:spPr>
      </p:pic>
      <p:pic>
        <p:nvPicPr>
          <p:cNvPr id="6" name="Picture 6"/>
          <p:cNvPicPr>
            <a:picLocks noChangeAspect="1"/>
          </p:cNvPicPr>
          <p:nvPr/>
        </p:nvPicPr>
        <p:blipFill>
          <a:blip r:embed="rId4"/>
          <a:stretch>
            <a:fillRect/>
          </a:stretch>
        </p:blipFill>
        <p:spPr>
          <a:xfrm>
            <a:off x="11383564" y="3042955"/>
            <a:ext cx="2819400" cy="2832100"/>
          </a:xfrm>
          <a:prstGeom prst="rect">
            <a:avLst/>
          </a:prstGeom>
        </p:spPr>
      </p:pic>
      <p:pic>
        <p:nvPicPr>
          <p:cNvPr id="7" name="Picture 7"/>
          <p:cNvPicPr>
            <a:picLocks noChangeAspect="1"/>
          </p:cNvPicPr>
          <p:nvPr/>
        </p:nvPicPr>
        <p:blipFill>
          <a:blip r:embed="rId5"/>
          <a:stretch>
            <a:fillRect/>
          </a:stretch>
        </p:blipFill>
        <p:spPr>
          <a:xfrm>
            <a:off x="10659664" y="4376455"/>
            <a:ext cx="2387600" cy="2387600"/>
          </a:xfrm>
          <a:prstGeom prst="rect">
            <a:avLst/>
          </a:prstGeom>
        </p:spPr>
      </p:pic>
      <p:pic>
        <p:nvPicPr>
          <p:cNvPr id="8" name="Picture 8"/>
          <p:cNvPicPr>
            <a:picLocks noChangeAspect="1"/>
          </p:cNvPicPr>
          <p:nvPr/>
        </p:nvPicPr>
        <p:blipFill>
          <a:blip r:embed="rId6"/>
          <a:stretch>
            <a:fillRect/>
          </a:stretch>
        </p:blipFill>
        <p:spPr>
          <a:xfrm>
            <a:off x="11510564" y="5227355"/>
            <a:ext cx="660400" cy="660400"/>
          </a:xfrm>
          <a:prstGeom prst="rect">
            <a:avLst/>
          </a:prstGeom>
        </p:spPr>
      </p:pic>
      <p:pic>
        <p:nvPicPr>
          <p:cNvPr id="9" name="Picture 9"/>
          <p:cNvPicPr>
            <a:picLocks noChangeAspect="1"/>
          </p:cNvPicPr>
          <p:nvPr/>
        </p:nvPicPr>
        <p:blipFill>
          <a:blip r:embed="rId7"/>
          <a:stretch>
            <a:fillRect/>
          </a:stretch>
        </p:blipFill>
        <p:spPr>
          <a:xfrm>
            <a:off x="12513864" y="4122455"/>
            <a:ext cx="736600" cy="647700"/>
          </a:xfrm>
          <a:prstGeom prst="rect">
            <a:avLst/>
          </a:prstGeom>
        </p:spPr>
      </p:pic>
      <p:pic>
        <p:nvPicPr>
          <p:cNvPr id="17" name="Picture 17"/>
          <p:cNvPicPr>
            <a:picLocks noChangeAspect="1"/>
          </p:cNvPicPr>
          <p:nvPr/>
        </p:nvPicPr>
        <p:blipFill>
          <a:blip r:embed="rId8"/>
          <a:stretch>
            <a:fillRect/>
          </a:stretch>
        </p:blipFill>
        <p:spPr>
          <a:xfrm>
            <a:off x="444500" y="8255000"/>
            <a:ext cx="457200" cy="406400"/>
          </a:xfrm>
          <a:prstGeom prst="rect">
            <a:avLst/>
          </a:prstGeom>
        </p:spPr>
      </p:pic>
      <p:sp>
        <p:nvSpPr>
          <p:cNvPr id="18" name="TextBox 18"/>
          <p:cNvSpPr txBox="1"/>
          <p:nvPr/>
        </p:nvSpPr>
        <p:spPr>
          <a:xfrm>
            <a:off x="10718800" y="749300"/>
            <a:ext cx="4876800" cy="609600"/>
          </a:xfrm>
          <a:prstGeom prst="rect">
            <a:avLst/>
          </a:prstGeom>
        </p:spPr>
        <p:txBody>
          <a:bodyPr lIns="0" tIns="0" rIns="0" bIns="0" rtlCol="0" anchor="t"/>
          <a:lstStyle/>
          <a:p>
            <a:pPr algn="r">
              <a:lnSpc>
                <a:spcPct val="90000"/>
              </a:lnSpc>
            </a:pPr>
            <a:r>
              <a:rPr lang="en-US" sz="4000" b="1" dirty="0">
                <a:solidFill>
                  <a:srgbClr val="232F47"/>
                </a:solidFill>
                <a:latin typeface="Times New Roman" panose="02020603050405020304" pitchFamily="18" charset="0"/>
                <a:cs typeface="Times New Roman" panose="02020603050405020304" pitchFamily="18" charset="0"/>
              </a:rPr>
              <a:t>RSRS Optimization</a:t>
            </a:r>
          </a:p>
        </p:txBody>
      </p:sp>
      <p:sp>
        <p:nvSpPr>
          <p:cNvPr id="22" name="文本框 21">
            <a:extLst>
              <a:ext uri="{FF2B5EF4-FFF2-40B4-BE49-F238E27FC236}">
                <a16:creationId xmlns:a16="http://schemas.microsoft.com/office/drawing/2014/main" id="{98638850-24B5-4C26-9E71-3EA00C59BB4D}"/>
              </a:ext>
            </a:extLst>
          </p:cNvPr>
          <p:cNvSpPr txBox="1"/>
          <p:nvPr/>
        </p:nvSpPr>
        <p:spPr>
          <a:xfrm>
            <a:off x="1458746" y="3024653"/>
            <a:ext cx="9107653" cy="1052660"/>
          </a:xfrm>
          <a:prstGeom prst="rect">
            <a:avLst/>
          </a:prstGeom>
          <a:noFill/>
        </p:spPr>
        <p:txBody>
          <a:bodyPr wrap="square">
            <a:spAutoFit/>
          </a:bodyPr>
          <a:lstStyle/>
          <a:p>
            <a:pPr>
              <a:lnSpc>
                <a:spcPct val="150000"/>
              </a:lnSpc>
            </a:pPr>
            <a:r>
              <a:rPr lang="en-US" altLang="zh-CN" sz="2400" b="1" i="0" dirty="0">
                <a:solidFill>
                  <a:srgbClr val="000000"/>
                </a:solidFill>
                <a:effectLst/>
                <a:latin typeface="Times New Roman" panose="02020603050405020304" pitchFamily="18" charset="0"/>
                <a:cs typeface="Times New Roman" panose="02020603050405020304" pitchFamily="18" charset="0"/>
              </a:rPr>
              <a:t>Details</a:t>
            </a:r>
          </a:p>
          <a:p>
            <a:pPr>
              <a:lnSpc>
                <a:spcPct val="150000"/>
              </a:lnSpc>
            </a:pPr>
            <a:r>
              <a:rPr lang="en-US" altLang="zh-CN" sz="2000" b="0" i="0" dirty="0">
                <a:solidFill>
                  <a:srgbClr val="000000"/>
                </a:solidFill>
                <a:effectLst/>
                <a:latin typeface="Times New Roman" panose="02020603050405020304" pitchFamily="18" charset="0"/>
                <a:cs typeface="Times New Roman" panose="02020603050405020304" pitchFamily="18" charset="0"/>
              </a:rPr>
              <a:t>mistakenly judge that the decline is about to stop, and so try to buy at the bottom</a:t>
            </a:r>
            <a:endParaRPr lang="zh-CN" altLang="en-US" sz="2000" dirty="0">
              <a:latin typeface="Times New Roman" panose="02020603050405020304" pitchFamily="18" charset="0"/>
              <a:cs typeface="Times New Roman" panose="02020603050405020304" pitchFamily="18" charset="0"/>
            </a:endParaRPr>
          </a:p>
        </p:txBody>
      </p:sp>
      <p:sp>
        <p:nvSpPr>
          <p:cNvPr id="26" name="文本框 25">
            <a:extLst>
              <a:ext uri="{FF2B5EF4-FFF2-40B4-BE49-F238E27FC236}">
                <a16:creationId xmlns:a16="http://schemas.microsoft.com/office/drawing/2014/main" id="{841FFA0B-3864-4724-901C-1714490DC6B7}"/>
              </a:ext>
            </a:extLst>
          </p:cNvPr>
          <p:cNvSpPr txBox="1"/>
          <p:nvPr/>
        </p:nvSpPr>
        <p:spPr>
          <a:xfrm>
            <a:off x="1483740" y="4198035"/>
            <a:ext cx="1543757" cy="579967"/>
          </a:xfrm>
          <a:prstGeom prst="rect">
            <a:avLst/>
          </a:prstGeom>
          <a:noFill/>
        </p:spPr>
        <p:txBody>
          <a:bodyPr wrap="square">
            <a:spAutoFit/>
          </a:bodyPr>
          <a:lstStyle/>
          <a:p>
            <a:pPr>
              <a:lnSpc>
                <a:spcPct val="150000"/>
              </a:lnSpc>
            </a:pPr>
            <a:r>
              <a:rPr lang="en-US" altLang="zh-CN" sz="2400" b="1" i="0" dirty="0">
                <a:solidFill>
                  <a:srgbClr val="000000"/>
                </a:solidFill>
                <a:effectLst/>
                <a:latin typeface="Times New Roman" panose="02020603050405020304" pitchFamily="18" charset="0"/>
                <a:cs typeface="Times New Roman" panose="02020603050405020304" pitchFamily="18" charset="0"/>
              </a:rPr>
              <a:t>Example</a:t>
            </a:r>
          </a:p>
        </p:txBody>
      </p:sp>
      <p:sp>
        <p:nvSpPr>
          <p:cNvPr id="27" name="文本框 26">
            <a:extLst>
              <a:ext uri="{FF2B5EF4-FFF2-40B4-BE49-F238E27FC236}">
                <a16:creationId xmlns:a16="http://schemas.microsoft.com/office/drawing/2014/main" id="{8DD85DA5-A636-427B-82C1-4E4594389C8C}"/>
              </a:ext>
            </a:extLst>
          </p:cNvPr>
          <p:cNvSpPr txBox="1"/>
          <p:nvPr/>
        </p:nvSpPr>
        <p:spPr>
          <a:xfrm>
            <a:off x="5685028" y="4147201"/>
            <a:ext cx="1543757" cy="579967"/>
          </a:xfrm>
          <a:prstGeom prst="rect">
            <a:avLst/>
          </a:prstGeom>
          <a:noFill/>
        </p:spPr>
        <p:txBody>
          <a:bodyPr wrap="square">
            <a:spAutoFit/>
          </a:bodyPr>
          <a:lstStyle/>
          <a:p>
            <a:pPr>
              <a:lnSpc>
                <a:spcPct val="150000"/>
              </a:lnSpc>
            </a:pPr>
            <a:r>
              <a:rPr lang="en-US" altLang="zh-CN" sz="2400" b="1" i="0" dirty="0">
                <a:solidFill>
                  <a:srgbClr val="000000"/>
                </a:solidFill>
                <a:effectLst/>
                <a:latin typeface="Times New Roman" panose="02020603050405020304" pitchFamily="18" charset="0"/>
                <a:cs typeface="Times New Roman" panose="02020603050405020304" pitchFamily="18" charset="0"/>
              </a:rPr>
              <a:t>Example</a:t>
            </a:r>
          </a:p>
        </p:txBody>
      </p:sp>
      <p:grpSp>
        <p:nvGrpSpPr>
          <p:cNvPr id="29" name="组合 28">
            <a:extLst>
              <a:ext uri="{FF2B5EF4-FFF2-40B4-BE49-F238E27FC236}">
                <a16:creationId xmlns:a16="http://schemas.microsoft.com/office/drawing/2014/main" id="{43DE8884-6037-479E-B42B-AA65D933FB8A}"/>
              </a:ext>
            </a:extLst>
          </p:cNvPr>
          <p:cNvGrpSpPr/>
          <p:nvPr/>
        </p:nvGrpSpPr>
        <p:grpSpPr>
          <a:xfrm>
            <a:off x="1379210" y="5260109"/>
            <a:ext cx="3467100" cy="2994891"/>
            <a:chOff x="4193306" y="227024"/>
            <a:chExt cx="3592948" cy="3420438"/>
          </a:xfrm>
        </p:grpSpPr>
        <p:pic>
          <p:nvPicPr>
            <p:cNvPr id="30" name="图片 29" descr="图示&#10;&#10;描述已自动生成">
              <a:extLst>
                <a:ext uri="{FF2B5EF4-FFF2-40B4-BE49-F238E27FC236}">
                  <a16:creationId xmlns:a16="http://schemas.microsoft.com/office/drawing/2014/main" id="{84F24104-2A8C-4266-9B3D-1298F55B8D6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193306" y="227024"/>
              <a:ext cx="3592948" cy="3420438"/>
            </a:xfrm>
            <a:prstGeom prst="rect">
              <a:avLst/>
            </a:prstGeom>
          </p:spPr>
        </p:pic>
        <p:cxnSp>
          <p:nvCxnSpPr>
            <p:cNvPr id="31" name="直接箭头连接符 30">
              <a:extLst>
                <a:ext uri="{FF2B5EF4-FFF2-40B4-BE49-F238E27FC236}">
                  <a16:creationId xmlns:a16="http://schemas.microsoft.com/office/drawing/2014/main" id="{BE098697-A3DA-4DCE-BF92-FE1583C5FBD4}"/>
                </a:ext>
              </a:extLst>
            </p:cNvPr>
            <p:cNvCxnSpPr/>
            <p:nvPr/>
          </p:nvCxnSpPr>
          <p:spPr>
            <a:xfrm flipV="1">
              <a:off x="5560290" y="2328377"/>
              <a:ext cx="0" cy="29556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2" name="直接箭头连接符 31">
              <a:extLst>
                <a:ext uri="{FF2B5EF4-FFF2-40B4-BE49-F238E27FC236}">
                  <a16:creationId xmlns:a16="http://schemas.microsoft.com/office/drawing/2014/main" id="{5CC8678E-CA37-4372-966A-57F6350D886D}"/>
                </a:ext>
              </a:extLst>
            </p:cNvPr>
            <p:cNvCxnSpPr/>
            <p:nvPr/>
          </p:nvCxnSpPr>
          <p:spPr>
            <a:xfrm flipV="1">
              <a:off x="5721927" y="2332995"/>
              <a:ext cx="0" cy="29556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grpSp>
      <p:grpSp>
        <p:nvGrpSpPr>
          <p:cNvPr id="35" name="组合 34">
            <a:extLst>
              <a:ext uri="{FF2B5EF4-FFF2-40B4-BE49-F238E27FC236}">
                <a16:creationId xmlns:a16="http://schemas.microsoft.com/office/drawing/2014/main" id="{0F10DEF0-5513-4D13-901C-43ABEA936287}"/>
              </a:ext>
            </a:extLst>
          </p:cNvPr>
          <p:cNvGrpSpPr/>
          <p:nvPr/>
        </p:nvGrpSpPr>
        <p:grpSpPr>
          <a:xfrm>
            <a:off x="5511579" y="5260108"/>
            <a:ext cx="3145939" cy="2994892"/>
            <a:chOff x="3556000" y="3696857"/>
            <a:chExt cx="3145939" cy="2994892"/>
          </a:xfrm>
        </p:grpSpPr>
        <p:pic>
          <p:nvPicPr>
            <p:cNvPr id="28" name="图片 27" descr="图表&#10;&#10;描述已自动生成">
              <a:extLst>
                <a:ext uri="{FF2B5EF4-FFF2-40B4-BE49-F238E27FC236}">
                  <a16:creationId xmlns:a16="http://schemas.microsoft.com/office/drawing/2014/main" id="{4ABE8906-1603-454B-B0B9-A6DAB08AA07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556000" y="3696857"/>
              <a:ext cx="3145939" cy="2994892"/>
            </a:xfrm>
            <a:prstGeom prst="rect">
              <a:avLst/>
            </a:prstGeom>
          </p:spPr>
        </p:pic>
        <p:cxnSp>
          <p:nvCxnSpPr>
            <p:cNvPr id="33" name="直接箭头连接符 32">
              <a:extLst>
                <a:ext uri="{FF2B5EF4-FFF2-40B4-BE49-F238E27FC236}">
                  <a16:creationId xmlns:a16="http://schemas.microsoft.com/office/drawing/2014/main" id="{D798C757-1507-4C61-8E18-866AAB09F909}"/>
                </a:ext>
              </a:extLst>
            </p:cNvPr>
            <p:cNvCxnSpPr/>
            <p:nvPr/>
          </p:nvCxnSpPr>
          <p:spPr>
            <a:xfrm flipV="1">
              <a:off x="5561088" y="5509066"/>
              <a:ext cx="0" cy="258791"/>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4" name="直接箭头连接符 33">
              <a:extLst>
                <a:ext uri="{FF2B5EF4-FFF2-40B4-BE49-F238E27FC236}">
                  <a16:creationId xmlns:a16="http://schemas.microsoft.com/office/drawing/2014/main" id="{3CDF2C82-7C3C-4C04-91FF-E612DF796DC3}"/>
                </a:ext>
              </a:extLst>
            </p:cNvPr>
            <p:cNvCxnSpPr/>
            <p:nvPr/>
          </p:nvCxnSpPr>
          <p:spPr>
            <a:xfrm flipV="1">
              <a:off x="6041378" y="5499488"/>
              <a:ext cx="0" cy="258791"/>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grpSp>
      <p:pic>
        <p:nvPicPr>
          <p:cNvPr id="24" name="Picture 17">
            <a:extLst>
              <a:ext uri="{FF2B5EF4-FFF2-40B4-BE49-F238E27FC236}">
                <a16:creationId xmlns:a16="http://schemas.microsoft.com/office/drawing/2014/main" id="{093A89AC-F161-46C2-A02D-2CA3A524D9FE}"/>
              </a:ext>
            </a:extLst>
          </p:cNvPr>
          <p:cNvPicPr>
            <a:picLocks noChangeAspect="1"/>
          </p:cNvPicPr>
          <p:nvPr/>
        </p:nvPicPr>
        <p:blipFill>
          <a:blip r:embed="rId11"/>
          <a:stretch>
            <a:fillRect/>
          </a:stretch>
        </p:blipFill>
        <p:spPr>
          <a:xfrm>
            <a:off x="13119100" y="533400"/>
            <a:ext cx="2540000" cy="101600"/>
          </a:xfrm>
          <a:prstGeom prst="rect">
            <a:avLst/>
          </a:prstGeom>
        </p:spPr>
      </p:pic>
      <p:sp>
        <p:nvSpPr>
          <p:cNvPr id="10" name="文本框 9">
            <a:extLst>
              <a:ext uri="{FF2B5EF4-FFF2-40B4-BE49-F238E27FC236}">
                <a16:creationId xmlns:a16="http://schemas.microsoft.com/office/drawing/2014/main" id="{20A45354-1069-45E0-BD3E-EFF3E899F269}"/>
              </a:ext>
            </a:extLst>
          </p:cNvPr>
          <p:cNvSpPr txBox="1"/>
          <p:nvPr/>
        </p:nvSpPr>
        <p:spPr>
          <a:xfrm>
            <a:off x="1396026" y="1419880"/>
            <a:ext cx="5791200" cy="523220"/>
          </a:xfrm>
          <a:prstGeom prst="rect">
            <a:avLst/>
          </a:prstGeom>
          <a:noFill/>
        </p:spPr>
        <p:txBody>
          <a:bodyPr wrap="square">
            <a:spAutoFit/>
          </a:bodyPr>
          <a:lstStyle>
            <a:defPPr>
              <a:defRPr lang="en-US"/>
            </a:defPPr>
            <a:lvl1pPr>
              <a:defRPr sz="2800" b="1" u="sng">
                <a:solidFill>
                  <a:schemeClr val="accent3">
                    <a:lumMod val="50000"/>
                  </a:schemeClr>
                </a:solidFill>
                <a:latin typeface="Times New Roman" panose="02020603050405020304" pitchFamily="18" charset="0"/>
                <a:cs typeface="Times New Roman" panose="02020603050405020304" pitchFamily="18" charset="0"/>
              </a:defRPr>
            </a:lvl1pPr>
          </a:lstStyle>
          <a:p>
            <a:r>
              <a:rPr lang="en-US" altLang="zh-HK" dirty="0"/>
              <a:t>There still </a:t>
            </a:r>
            <a:r>
              <a:rPr lang="en-US" altLang="zh-CN" dirty="0"/>
              <a:t>exist some issues… </a:t>
            </a:r>
            <a:endParaRPr lang="zh-HK" altLang="en-US" dirty="0"/>
          </a:p>
        </p:txBody>
      </p:sp>
      <p:pic>
        <p:nvPicPr>
          <p:cNvPr id="12" name="图形 11" descr="放大镜下的虫子">
            <a:extLst>
              <a:ext uri="{FF2B5EF4-FFF2-40B4-BE49-F238E27FC236}">
                <a16:creationId xmlns:a16="http://schemas.microsoft.com/office/drawing/2014/main" id="{A1CAB71C-402F-4D43-927B-5511C3F96CB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60400" y="1330079"/>
            <a:ext cx="718810" cy="718810"/>
          </a:xfrm>
          <a:prstGeom prst="rect">
            <a:avLst/>
          </a:prstGeom>
        </p:spPr>
      </p:pic>
      <p:sp>
        <p:nvSpPr>
          <p:cNvPr id="36" name="文本框 35">
            <a:extLst>
              <a:ext uri="{FF2B5EF4-FFF2-40B4-BE49-F238E27FC236}">
                <a16:creationId xmlns:a16="http://schemas.microsoft.com/office/drawing/2014/main" id="{0737E530-883C-44FB-898C-337800E35764}"/>
              </a:ext>
            </a:extLst>
          </p:cNvPr>
          <p:cNvSpPr txBox="1"/>
          <p:nvPr/>
        </p:nvSpPr>
        <p:spPr>
          <a:xfrm>
            <a:off x="1178199" y="4947665"/>
            <a:ext cx="4309207" cy="261610"/>
          </a:xfrm>
          <a:prstGeom prst="rect">
            <a:avLst/>
          </a:prstGeom>
          <a:noFill/>
        </p:spPr>
        <p:txBody>
          <a:bodyPr wrap="square">
            <a:spAutoFit/>
          </a:bodyPr>
          <a:lstStyle/>
          <a:p>
            <a:r>
              <a:rPr lang="en-US" altLang="zh-CN" sz="1100" dirty="0">
                <a:latin typeface="华文中宋" panose="02010600040101010101" pitchFamily="2" charset="-122"/>
                <a:ea typeface="华文中宋" panose="02010600040101010101" pitchFamily="2" charset="-122"/>
              </a:rPr>
              <a:t>Figure 5. Continued losses when hs300 fluctuates and rises</a:t>
            </a:r>
            <a:endParaRPr lang="zh-CN" altLang="en-US" sz="1100" dirty="0">
              <a:latin typeface="华文中宋" panose="02010600040101010101" pitchFamily="2" charset="-122"/>
              <a:ea typeface="华文中宋" panose="02010600040101010101" pitchFamily="2" charset="-122"/>
            </a:endParaRPr>
          </a:p>
        </p:txBody>
      </p:sp>
      <p:sp>
        <p:nvSpPr>
          <p:cNvPr id="37" name="文本框 36">
            <a:extLst>
              <a:ext uri="{FF2B5EF4-FFF2-40B4-BE49-F238E27FC236}">
                <a16:creationId xmlns:a16="http://schemas.microsoft.com/office/drawing/2014/main" id="{3AFCE0D0-6F52-4326-A9F4-58F7BBFF813F}"/>
              </a:ext>
            </a:extLst>
          </p:cNvPr>
          <p:cNvSpPr txBox="1"/>
          <p:nvPr/>
        </p:nvSpPr>
        <p:spPr>
          <a:xfrm>
            <a:off x="5444349" y="4935883"/>
            <a:ext cx="4144636" cy="261610"/>
          </a:xfrm>
          <a:prstGeom prst="rect">
            <a:avLst/>
          </a:prstGeom>
          <a:noFill/>
        </p:spPr>
        <p:txBody>
          <a:bodyPr wrap="square">
            <a:spAutoFit/>
          </a:bodyPr>
          <a:lstStyle/>
          <a:p>
            <a:r>
              <a:rPr lang="en-US" altLang="zh-CN" sz="1100" dirty="0">
                <a:latin typeface="华文中宋" panose="02010600040101010101" pitchFamily="2" charset="-122"/>
                <a:ea typeface="华文中宋" panose="02010600040101010101" pitchFamily="2" charset="-122"/>
              </a:rPr>
              <a:t>Figure 6. Continued losses when hs300 continues to fall</a:t>
            </a:r>
            <a:endParaRPr lang="zh-CN" altLang="en-US" sz="1100" dirty="0">
              <a:latin typeface="华文中宋" panose="02010600040101010101" pitchFamily="2" charset="-122"/>
              <a:ea typeface="华文中宋" panose="02010600040101010101" pitchFamily="2" charset="-122"/>
            </a:endParaRPr>
          </a:p>
        </p:txBody>
      </p:sp>
    </p:spTree>
    <p:extLst>
      <p:ext uri="{BB962C8B-B14F-4D97-AF65-F5344CB8AC3E}">
        <p14:creationId xmlns:p14="http://schemas.microsoft.com/office/powerpoint/2010/main" val="2962292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Box 18">
            <a:extLst>
              <a:ext uri="{FF2B5EF4-FFF2-40B4-BE49-F238E27FC236}">
                <a16:creationId xmlns:a16="http://schemas.microsoft.com/office/drawing/2014/main" id="{AA817B9D-327B-4AD4-B954-CE0BE9CFBEFD}"/>
              </a:ext>
            </a:extLst>
          </p:cNvPr>
          <p:cNvSpPr txBox="1"/>
          <p:nvPr/>
        </p:nvSpPr>
        <p:spPr>
          <a:xfrm>
            <a:off x="10718800" y="368300"/>
            <a:ext cx="4876800" cy="609600"/>
          </a:xfrm>
          <a:prstGeom prst="rect">
            <a:avLst/>
          </a:prstGeom>
        </p:spPr>
        <p:txBody>
          <a:bodyPr lIns="0" tIns="0" rIns="0" bIns="0" rtlCol="0" anchor="t"/>
          <a:lstStyle/>
          <a:p>
            <a:pPr algn="r">
              <a:lnSpc>
                <a:spcPct val="90000"/>
              </a:lnSpc>
            </a:pPr>
            <a:r>
              <a:rPr lang="en-US" sz="4000" b="1" dirty="0">
                <a:solidFill>
                  <a:srgbClr val="232F47"/>
                </a:solidFill>
                <a:latin typeface="Times New Roman" panose="02020603050405020304" pitchFamily="18" charset="0"/>
                <a:cs typeface="Times New Roman" panose="02020603050405020304" pitchFamily="18" charset="0"/>
              </a:rPr>
              <a:t>Optimization: modify</a:t>
            </a:r>
          </a:p>
        </p:txBody>
      </p:sp>
      <p:pic>
        <p:nvPicPr>
          <p:cNvPr id="26" name="Picture 17">
            <a:extLst>
              <a:ext uri="{FF2B5EF4-FFF2-40B4-BE49-F238E27FC236}">
                <a16:creationId xmlns:a16="http://schemas.microsoft.com/office/drawing/2014/main" id="{0C9D2680-2E89-4BBB-BA76-20AB5A2D2A6C}"/>
              </a:ext>
            </a:extLst>
          </p:cNvPr>
          <p:cNvPicPr>
            <a:picLocks noChangeAspect="1"/>
          </p:cNvPicPr>
          <p:nvPr/>
        </p:nvPicPr>
        <p:blipFill>
          <a:blip r:embed="rId3"/>
          <a:stretch>
            <a:fillRect/>
          </a:stretch>
        </p:blipFill>
        <p:spPr>
          <a:xfrm>
            <a:off x="13119100" y="152400"/>
            <a:ext cx="2540000" cy="101600"/>
          </a:xfrm>
          <a:prstGeom prst="rect">
            <a:avLst/>
          </a:prstGeom>
        </p:spPr>
      </p:pic>
      <p:pic>
        <p:nvPicPr>
          <p:cNvPr id="27" name="Picture 3">
            <a:extLst>
              <a:ext uri="{FF2B5EF4-FFF2-40B4-BE49-F238E27FC236}">
                <a16:creationId xmlns:a16="http://schemas.microsoft.com/office/drawing/2014/main" id="{5CD733A3-D3CC-4414-81A0-333BEF215053}"/>
              </a:ext>
            </a:extLst>
          </p:cNvPr>
          <p:cNvPicPr preferRelativeResize="0">
            <a:picLocks/>
          </p:cNvPicPr>
          <p:nvPr/>
        </p:nvPicPr>
        <p:blipFill>
          <a:blip r:embed="rId4"/>
          <a:stretch>
            <a:fillRect/>
          </a:stretch>
        </p:blipFill>
        <p:spPr>
          <a:xfrm>
            <a:off x="473207" y="685800"/>
            <a:ext cx="7584985" cy="1579853"/>
          </a:xfrm>
          <a:prstGeom prst="rect">
            <a:avLst/>
          </a:prstGeom>
        </p:spPr>
      </p:pic>
      <p:pic>
        <p:nvPicPr>
          <p:cNvPr id="29" name="Picture 5">
            <a:extLst>
              <a:ext uri="{FF2B5EF4-FFF2-40B4-BE49-F238E27FC236}">
                <a16:creationId xmlns:a16="http://schemas.microsoft.com/office/drawing/2014/main" id="{291555BE-74B1-41A1-A3A0-BF0084FA44AA}"/>
              </a:ext>
            </a:extLst>
          </p:cNvPr>
          <p:cNvPicPr preferRelativeResize="0">
            <a:picLocks/>
          </p:cNvPicPr>
          <p:nvPr/>
        </p:nvPicPr>
        <p:blipFill>
          <a:blip r:embed="rId5"/>
          <a:stretch>
            <a:fillRect/>
          </a:stretch>
        </p:blipFill>
        <p:spPr>
          <a:xfrm>
            <a:off x="473205" y="2245690"/>
            <a:ext cx="7584987" cy="1721669"/>
          </a:xfrm>
          <a:prstGeom prst="rect">
            <a:avLst/>
          </a:prstGeom>
        </p:spPr>
      </p:pic>
      <p:pic>
        <p:nvPicPr>
          <p:cNvPr id="33" name="Picture 3">
            <a:extLst>
              <a:ext uri="{FF2B5EF4-FFF2-40B4-BE49-F238E27FC236}">
                <a16:creationId xmlns:a16="http://schemas.microsoft.com/office/drawing/2014/main" id="{09C3B063-20A3-4AE2-92E4-04CDBAA31784}"/>
              </a:ext>
            </a:extLst>
          </p:cNvPr>
          <p:cNvPicPr preferRelativeResize="0">
            <a:picLocks/>
          </p:cNvPicPr>
          <p:nvPr/>
        </p:nvPicPr>
        <p:blipFill>
          <a:blip r:embed="rId4"/>
          <a:stretch>
            <a:fillRect/>
          </a:stretch>
        </p:blipFill>
        <p:spPr>
          <a:xfrm>
            <a:off x="473207" y="3962400"/>
            <a:ext cx="7584985" cy="1579853"/>
          </a:xfrm>
          <a:prstGeom prst="rect">
            <a:avLst/>
          </a:prstGeom>
        </p:spPr>
      </p:pic>
      <p:pic>
        <p:nvPicPr>
          <p:cNvPr id="34" name="Picture 5">
            <a:extLst>
              <a:ext uri="{FF2B5EF4-FFF2-40B4-BE49-F238E27FC236}">
                <a16:creationId xmlns:a16="http://schemas.microsoft.com/office/drawing/2014/main" id="{A40A0589-F1AE-46F7-ADBB-6A23FEC1F51D}"/>
              </a:ext>
            </a:extLst>
          </p:cNvPr>
          <p:cNvPicPr preferRelativeResize="0">
            <a:picLocks/>
          </p:cNvPicPr>
          <p:nvPr/>
        </p:nvPicPr>
        <p:blipFill>
          <a:blip r:embed="rId5"/>
          <a:stretch>
            <a:fillRect/>
          </a:stretch>
        </p:blipFill>
        <p:spPr>
          <a:xfrm>
            <a:off x="473205" y="5522290"/>
            <a:ext cx="7584987" cy="1721669"/>
          </a:xfrm>
          <a:prstGeom prst="rect">
            <a:avLst/>
          </a:prstGeom>
        </p:spPr>
      </p:pic>
      <p:pic>
        <p:nvPicPr>
          <p:cNvPr id="37" name="Picture 3">
            <a:extLst>
              <a:ext uri="{FF2B5EF4-FFF2-40B4-BE49-F238E27FC236}">
                <a16:creationId xmlns:a16="http://schemas.microsoft.com/office/drawing/2014/main" id="{DF9C3EF9-9B21-48FA-A973-AB123FB38544}"/>
              </a:ext>
            </a:extLst>
          </p:cNvPr>
          <p:cNvPicPr preferRelativeResize="0">
            <a:picLocks/>
          </p:cNvPicPr>
          <p:nvPr/>
        </p:nvPicPr>
        <p:blipFill>
          <a:blip r:embed="rId4"/>
          <a:stretch>
            <a:fillRect/>
          </a:stretch>
        </p:blipFill>
        <p:spPr>
          <a:xfrm>
            <a:off x="473207" y="7239000"/>
            <a:ext cx="7584985" cy="1579853"/>
          </a:xfrm>
          <a:prstGeom prst="rect">
            <a:avLst/>
          </a:prstGeom>
        </p:spPr>
      </p:pic>
      <mc:AlternateContent xmlns:mc="http://schemas.openxmlformats.org/markup-compatibility/2006" xmlns:a14="http://schemas.microsoft.com/office/drawing/2010/main">
        <mc:Choice Requires="a14">
          <p:sp>
            <p:nvSpPr>
              <p:cNvPr id="38" name="文本框 1147">
                <a:extLst>
                  <a:ext uri="{FF2B5EF4-FFF2-40B4-BE49-F238E27FC236}">
                    <a16:creationId xmlns:a16="http://schemas.microsoft.com/office/drawing/2014/main" id="{EFCC509A-DC56-464F-A27F-CA5694205DF2}"/>
                  </a:ext>
                </a:extLst>
              </p:cNvPr>
              <p:cNvSpPr txBox="1"/>
              <p:nvPr/>
            </p:nvSpPr>
            <p:spPr>
              <a:xfrm>
                <a:off x="984584" y="2735955"/>
                <a:ext cx="6786358" cy="505972"/>
              </a:xfrm>
              <a:prstGeom prst="rect">
                <a:avLst/>
              </a:prstGeom>
              <a:noFill/>
            </p:spPr>
            <p:txBody>
              <a:bodyPr wrap="square" rtlCol="0">
                <a:spAutoFit/>
              </a:bodyPr>
              <a:lstStyle/>
              <a:p>
                <a:pPr>
                  <a:lnSpc>
                    <a:spcPct val="150000"/>
                  </a:lnSpc>
                </a:pPr>
                <a:r>
                  <a:rPr kumimoji="1" lang="en-US" sz="2000" b="1">
                    <a:solidFill>
                      <a:schemeClr val="bg1"/>
                    </a:solidFill>
                    <a:latin typeface="Times New Roman" panose="02020603050405020304" pitchFamily="18" charset="0"/>
                    <a:cs typeface="Times New Roman" panose="02020603050405020304" pitchFamily="18" charset="0"/>
                  </a:rPr>
                  <a:t>In linear regression, </a:t>
                </a:r>
                <a14:m>
                  <m:oMath xmlns:m="http://schemas.openxmlformats.org/officeDocument/2006/math">
                    <m:sSup>
                      <m:sSupPr>
                        <m:ctrlPr>
                          <a:rPr kumimoji="1" lang="en-US" altLang="zh-CN" sz="2000" b="1" i="1" smtClean="0">
                            <a:solidFill>
                              <a:schemeClr val="bg1"/>
                            </a:solidFill>
                            <a:latin typeface="Cambria Math" panose="02040503050406030204" pitchFamily="18" charset="0"/>
                            <a:cs typeface="Times New Roman" panose="02020603050405020304" pitchFamily="18" charset="0"/>
                          </a:rPr>
                        </m:ctrlPr>
                      </m:sSupPr>
                      <m:e>
                        <m:r>
                          <a:rPr kumimoji="1" lang="en-US" altLang="zh-CN" sz="2000" b="1" i="1" smtClean="0">
                            <a:solidFill>
                              <a:schemeClr val="bg1"/>
                            </a:solidFill>
                            <a:latin typeface="Cambria Math" panose="02040503050406030204" pitchFamily="18" charset="0"/>
                            <a:cs typeface="Times New Roman" panose="02020603050405020304" pitchFamily="18" charset="0"/>
                          </a:rPr>
                          <m:t>𝑹</m:t>
                        </m:r>
                      </m:e>
                      <m:sup>
                        <m:r>
                          <a:rPr kumimoji="1" lang="en-US" altLang="zh-CN" sz="2000" b="1" i="1" smtClean="0">
                            <a:solidFill>
                              <a:schemeClr val="bg1"/>
                            </a:solidFill>
                            <a:latin typeface="Cambria Math" panose="02040503050406030204" pitchFamily="18" charset="0"/>
                            <a:cs typeface="Times New Roman" panose="02020603050405020304" pitchFamily="18" charset="0"/>
                          </a:rPr>
                          <m:t>𝟐</m:t>
                        </m:r>
                      </m:sup>
                    </m:sSup>
                    <m:r>
                      <a:rPr kumimoji="1" lang="en-US" altLang="zh-CN" sz="2000" b="1" i="1">
                        <a:solidFill>
                          <a:schemeClr val="bg1"/>
                        </a:solidFill>
                        <a:latin typeface="Cambria Math" panose="02040503050406030204" pitchFamily="18" charset="0"/>
                        <a:cs typeface="Times New Roman" panose="02020603050405020304" pitchFamily="18" charset="0"/>
                      </a:rPr>
                      <m:t> </m:t>
                    </m:r>
                  </m:oMath>
                </a14:m>
                <a:r>
                  <a:rPr kumimoji="1" lang="en-US" sz="2000" b="1">
                    <a:solidFill>
                      <a:schemeClr val="bg1"/>
                    </a:solidFill>
                    <a:latin typeface="Times New Roman" panose="02020603050405020304" pitchFamily="18" charset="0"/>
                    <a:cs typeface="Times New Roman" panose="02020603050405020304" pitchFamily="18" charset="0"/>
                  </a:rPr>
                  <a:t>indicates whether the result is good</a:t>
                </a:r>
                <a:endParaRPr kumimoji="1" lang="en-US" sz="2800" b="1" dirty="0">
                  <a:solidFill>
                    <a:schemeClr val="bg1"/>
                  </a:solidFill>
                  <a:latin typeface="Times New Roman" panose="02020603050405020304" pitchFamily="18" charset="0"/>
                  <a:cs typeface="Times New Roman" panose="02020603050405020304" pitchFamily="18" charset="0"/>
                </a:endParaRPr>
              </a:p>
            </p:txBody>
          </p:sp>
        </mc:Choice>
        <mc:Fallback xmlns="">
          <p:sp>
            <p:nvSpPr>
              <p:cNvPr id="38" name="文本框 1147">
                <a:extLst>
                  <a:ext uri="{FF2B5EF4-FFF2-40B4-BE49-F238E27FC236}">
                    <a16:creationId xmlns:a16="http://schemas.microsoft.com/office/drawing/2014/main" id="{EFCC509A-DC56-464F-A27F-CA5694205DF2}"/>
                  </a:ext>
                </a:extLst>
              </p:cNvPr>
              <p:cNvSpPr txBox="1">
                <a:spLocks noRot="1" noChangeAspect="1" noMove="1" noResize="1" noEditPoints="1" noAdjustHandles="1" noChangeArrowheads="1" noChangeShapeType="1" noTextEdit="1"/>
              </p:cNvSpPr>
              <p:nvPr/>
            </p:nvSpPr>
            <p:spPr>
              <a:xfrm>
                <a:off x="984584" y="2735955"/>
                <a:ext cx="6786358" cy="505972"/>
              </a:xfrm>
              <a:prstGeom prst="rect">
                <a:avLst/>
              </a:prstGeom>
              <a:blipFill>
                <a:blip r:embed="rId6"/>
                <a:stretch>
                  <a:fillRect l="-988" b="-21687"/>
                </a:stretch>
              </a:blipFill>
            </p:spPr>
            <p:txBody>
              <a:bodyPr/>
              <a:lstStyle/>
              <a:p>
                <a:r>
                  <a:rPr lang="zh-CN" altLang="en-US">
                    <a:noFill/>
                  </a:rPr>
                  <a:t> </a:t>
                </a:r>
              </a:p>
            </p:txBody>
          </p:sp>
        </mc:Fallback>
      </mc:AlternateContent>
      <p:sp>
        <p:nvSpPr>
          <p:cNvPr id="39" name="文本框 1146">
            <a:extLst>
              <a:ext uri="{FF2B5EF4-FFF2-40B4-BE49-F238E27FC236}">
                <a16:creationId xmlns:a16="http://schemas.microsoft.com/office/drawing/2014/main" id="{085E5DF9-C829-4DBE-A479-6D5D07BB1AF8}"/>
              </a:ext>
            </a:extLst>
          </p:cNvPr>
          <p:cNvSpPr txBox="1"/>
          <p:nvPr/>
        </p:nvSpPr>
        <p:spPr>
          <a:xfrm>
            <a:off x="1631123" y="954995"/>
            <a:ext cx="6266986" cy="960328"/>
          </a:xfrm>
          <a:prstGeom prst="rect">
            <a:avLst/>
          </a:prstGeom>
          <a:noFill/>
        </p:spPr>
        <p:txBody>
          <a:bodyPr wrap="square" rtlCol="0">
            <a:spAutoFit/>
          </a:bodyPr>
          <a:lstStyle/>
          <a:p>
            <a:pPr>
              <a:lnSpc>
                <a:spcPct val="150000"/>
              </a:lnSpc>
            </a:pPr>
            <a:r>
              <a:rPr kumimoji="1" lang="en-US" sz="2000" b="1">
                <a:solidFill>
                  <a:schemeClr val="bg1"/>
                </a:solidFill>
                <a:latin typeface="Times New Roman" panose="02020603050405020304" pitchFamily="18" charset="0"/>
                <a:cs typeface="Times New Roman" panose="02020603050405020304" pitchFamily="18" charset="0"/>
              </a:rPr>
              <a:t>We use linear regression, when the fitting is not good, it will give an inaccurate signal</a:t>
            </a:r>
          </a:p>
        </p:txBody>
      </p:sp>
      <p:pic>
        <p:nvPicPr>
          <p:cNvPr id="40" name="Picture 16">
            <a:extLst>
              <a:ext uri="{FF2B5EF4-FFF2-40B4-BE49-F238E27FC236}">
                <a16:creationId xmlns:a16="http://schemas.microsoft.com/office/drawing/2014/main" id="{722EF15A-3C22-4A67-9D85-BD3FF2D5B753}"/>
              </a:ext>
            </a:extLst>
          </p:cNvPr>
          <p:cNvPicPr>
            <a:picLocks noChangeAspect="1"/>
          </p:cNvPicPr>
          <p:nvPr/>
        </p:nvPicPr>
        <p:blipFill>
          <a:blip r:embed="rId7"/>
          <a:stretch>
            <a:fillRect/>
          </a:stretch>
        </p:blipFill>
        <p:spPr>
          <a:xfrm>
            <a:off x="193805" y="8538275"/>
            <a:ext cx="558800" cy="558800"/>
          </a:xfrm>
          <a:prstGeom prst="rect">
            <a:avLst/>
          </a:prstGeom>
        </p:spPr>
      </p:pic>
      <p:pic>
        <p:nvPicPr>
          <p:cNvPr id="41" name="图片 40" descr="徽标&#10;&#10;描述已自动生成">
            <a:extLst>
              <a:ext uri="{FF2B5EF4-FFF2-40B4-BE49-F238E27FC236}">
                <a16:creationId xmlns:a16="http://schemas.microsoft.com/office/drawing/2014/main" id="{3563903A-DBB6-4D7D-BB35-81B2EC7A275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389923" y="1141048"/>
            <a:ext cx="5487743" cy="2823437"/>
          </a:xfrm>
          <a:prstGeom prst="rect">
            <a:avLst/>
          </a:prstGeom>
        </p:spPr>
      </p:pic>
      <p:graphicFrame>
        <p:nvGraphicFramePr>
          <p:cNvPr id="42" name="表格 6">
            <a:extLst>
              <a:ext uri="{FF2B5EF4-FFF2-40B4-BE49-F238E27FC236}">
                <a16:creationId xmlns:a16="http://schemas.microsoft.com/office/drawing/2014/main" id="{D64C4F18-527F-4DC4-8712-46BA6D848B6F}"/>
              </a:ext>
            </a:extLst>
          </p:cNvPr>
          <p:cNvGraphicFramePr>
            <a:graphicFrameLocks noGrp="1"/>
          </p:cNvGraphicFramePr>
          <p:nvPr/>
        </p:nvGraphicFramePr>
        <p:xfrm>
          <a:off x="9728200" y="4114585"/>
          <a:ext cx="4975035" cy="914829"/>
        </p:xfrm>
        <a:graphic>
          <a:graphicData uri="http://schemas.openxmlformats.org/drawingml/2006/table">
            <a:tbl>
              <a:tblPr firstRow="1" bandRow="1">
                <a:tableStyleId>{5C22544A-7EE6-4342-B048-85BDC9FD1C3A}</a:tableStyleId>
              </a:tblPr>
              <a:tblGrid>
                <a:gridCol w="995007">
                  <a:extLst>
                    <a:ext uri="{9D8B030D-6E8A-4147-A177-3AD203B41FA5}">
                      <a16:colId xmlns:a16="http://schemas.microsoft.com/office/drawing/2014/main" val="2571315256"/>
                    </a:ext>
                  </a:extLst>
                </a:gridCol>
                <a:gridCol w="995007">
                  <a:extLst>
                    <a:ext uri="{9D8B030D-6E8A-4147-A177-3AD203B41FA5}">
                      <a16:colId xmlns:a16="http://schemas.microsoft.com/office/drawing/2014/main" val="2391174257"/>
                    </a:ext>
                  </a:extLst>
                </a:gridCol>
                <a:gridCol w="995007">
                  <a:extLst>
                    <a:ext uri="{9D8B030D-6E8A-4147-A177-3AD203B41FA5}">
                      <a16:colId xmlns:a16="http://schemas.microsoft.com/office/drawing/2014/main" val="1629716326"/>
                    </a:ext>
                  </a:extLst>
                </a:gridCol>
                <a:gridCol w="995007">
                  <a:extLst>
                    <a:ext uri="{9D8B030D-6E8A-4147-A177-3AD203B41FA5}">
                      <a16:colId xmlns:a16="http://schemas.microsoft.com/office/drawing/2014/main" val="2801532221"/>
                    </a:ext>
                  </a:extLst>
                </a:gridCol>
                <a:gridCol w="995007">
                  <a:extLst>
                    <a:ext uri="{9D8B030D-6E8A-4147-A177-3AD203B41FA5}">
                      <a16:colId xmlns:a16="http://schemas.microsoft.com/office/drawing/2014/main" val="2519731254"/>
                    </a:ext>
                  </a:extLst>
                </a:gridCol>
              </a:tblGrid>
              <a:tr h="304943">
                <a:tc>
                  <a:txBody>
                    <a:bodyPr/>
                    <a:lstStyle/>
                    <a:p>
                      <a:r>
                        <a:rPr lang="en-US" altLang="zh-CN" sz="1400">
                          <a:latin typeface="Times New Roman" panose="02020603050405020304" pitchFamily="18" charset="0"/>
                          <a:cs typeface="Times New Roman" panose="02020603050405020304" pitchFamily="18" charset="0"/>
                        </a:rPr>
                        <a:t>name</a:t>
                      </a:r>
                      <a:endParaRPr lang="zh-CN" altLang="en-US" sz="1400">
                        <a:latin typeface="Times New Roman" panose="02020603050405020304" pitchFamily="18" charset="0"/>
                        <a:cs typeface="Times New Roman" panose="02020603050405020304" pitchFamily="18" charset="0"/>
                      </a:endParaRPr>
                    </a:p>
                  </a:txBody>
                  <a:tcPr/>
                </a:tc>
                <a:tc>
                  <a:txBody>
                    <a:bodyPr/>
                    <a:lstStyle/>
                    <a:p>
                      <a:r>
                        <a:rPr lang="en-US" altLang="zh-CN" sz="1400">
                          <a:latin typeface="Times New Roman" panose="02020603050405020304" pitchFamily="18" charset="0"/>
                          <a:cs typeface="Times New Roman" panose="02020603050405020304" pitchFamily="18" charset="0"/>
                        </a:rPr>
                        <a:t>mean</a:t>
                      </a:r>
                      <a:endParaRPr lang="zh-CN" altLang="en-US" sz="1400">
                        <a:latin typeface="Times New Roman" panose="02020603050405020304" pitchFamily="18" charset="0"/>
                        <a:cs typeface="Times New Roman" panose="02020603050405020304" pitchFamily="18" charset="0"/>
                      </a:endParaRPr>
                    </a:p>
                  </a:txBody>
                  <a:tcPr/>
                </a:tc>
                <a:tc>
                  <a:txBody>
                    <a:bodyPr/>
                    <a:lstStyle/>
                    <a:p>
                      <a:r>
                        <a:rPr lang="en-US" altLang="zh-CN" sz="1400">
                          <a:latin typeface="Times New Roman" panose="02020603050405020304" pitchFamily="18" charset="0"/>
                          <a:cs typeface="Times New Roman" panose="02020603050405020304" pitchFamily="18" charset="0"/>
                        </a:rPr>
                        <a:t>std</a:t>
                      </a:r>
                      <a:endParaRPr lang="zh-CN" altLang="en-US" sz="1400">
                        <a:latin typeface="Times New Roman" panose="02020603050405020304" pitchFamily="18" charset="0"/>
                        <a:cs typeface="Times New Roman" panose="02020603050405020304" pitchFamily="18" charset="0"/>
                      </a:endParaRPr>
                    </a:p>
                  </a:txBody>
                  <a:tcPr/>
                </a:tc>
                <a:tc>
                  <a:txBody>
                    <a:bodyPr/>
                    <a:lstStyle/>
                    <a:p>
                      <a:r>
                        <a:rPr lang="en-US" altLang="zh-CN" sz="1400">
                          <a:latin typeface="Times New Roman" panose="02020603050405020304" pitchFamily="18" charset="0"/>
                          <a:cs typeface="Times New Roman" panose="02020603050405020304" pitchFamily="18" charset="0"/>
                        </a:rPr>
                        <a:t>skewness</a:t>
                      </a:r>
                      <a:endParaRPr lang="zh-CN" altLang="en-US" sz="1400">
                        <a:latin typeface="Times New Roman" panose="02020603050405020304" pitchFamily="18" charset="0"/>
                        <a:cs typeface="Times New Roman" panose="02020603050405020304" pitchFamily="18" charset="0"/>
                      </a:endParaRPr>
                    </a:p>
                  </a:txBody>
                  <a:tcPr/>
                </a:tc>
                <a:tc>
                  <a:txBody>
                    <a:bodyPr/>
                    <a:lstStyle/>
                    <a:p>
                      <a:r>
                        <a:rPr lang="en-US" altLang="zh-CN" sz="1400">
                          <a:latin typeface="Times New Roman" panose="02020603050405020304" pitchFamily="18" charset="0"/>
                          <a:cs typeface="Times New Roman" panose="02020603050405020304" pitchFamily="18" charset="0"/>
                        </a:rPr>
                        <a:t>kurtosis</a:t>
                      </a:r>
                      <a:endParaRPr lang="zh-CN" altLang="en-US" sz="140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2518908108"/>
                  </a:ext>
                </a:extLst>
              </a:tr>
              <a:tr h="304943">
                <a:tc>
                  <a:txBody>
                    <a:bodyPr/>
                    <a:lstStyle/>
                    <a:p>
                      <a:r>
                        <a:rPr lang="en-US" altLang="zh-CN" sz="1400" b="0" kern="1200">
                          <a:solidFill>
                            <a:schemeClr val="dk1"/>
                          </a:solidFill>
                          <a:effectLst/>
                          <a:latin typeface="Times New Roman" panose="02020603050405020304" pitchFamily="18" charset="0"/>
                          <a:ea typeface="+mn-ea"/>
                          <a:cs typeface="Times New Roman" panose="02020603050405020304" pitchFamily="18" charset="0"/>
                        </a:rPr>
                        <a:t>norm</a:t>
                      </a:r>
                    </a:p>
                  </a:txBody>
                  <a:tcPr/>
                </a:tc>
                <a:tc>
                  <a:txBody>
                    <a:bodyPr/>
                    <a:lstStyle/>
                    <a:p>
                      <a:r>
                        <a:rPr lang="en-US" altLang="zh-CN" sz="1400" b="0" i="0" kern="1200">
                          <a:solidFill>
                            <a:schemeClr val="dk1"/>
                          </a:solidFill>
                          <a:effectLst/>
                          <a:latin typeface="Times New Roman" panose="02020603050405020304" pitchFamily="18" charset="0"/>
                          <a:ea typeface="+mn-ea"/>
                          <a:cs typeface="Times New Roman" panose="02020603050405020304" pitchFamily="18" charset="0"/>
                        </a:rPr>
                        <a:t>-0.0205</a:t>
                      </a:r>
                      <a:endParaRPr lang="zh-CN" altLang="en-US" sz="1400">
                        <a:latin typeface="Times New Roman" panose="02020603050405020304" pitchFamily="18" charset="0"/>
                        <a:cs typeface="Times New Roman" panose="02020603050405020304" pitchFamily="18" charset="0"/>
                      </a:endParaRPr>
                    </a:p>
                  </a:txBody>
                  <a:tcPr/>
                </a:tc>
                <a:tc>
                  <a:txBody>
                    <a:bodyPr/>
                    <a:lstStyle/>
                    <a:p>
                      <a:r>
                        <a:rPr lang="en-US" altLang="zh-CN" sz="1400" b="0" i="0" kern="1200">
                          <a:solidFill>
                            <a:schemeClr val="dk1"/>
                          </a:solidFill>
                          <a:effectLst/>
                          <a:latin typeface="Times New Roman" panose="02020603050405020304" pitchFamily="18" charset="0"/>
                          <a:ea typeface="+mn-ea"/>
                          <a:cs typeface="Times New Roman" panose="02020603050405020304" pitchFamily="18" charset="0"/>
                        </a:rPr>
                        <a:t>1.0496</a:t>
                      </a:r>
                      <a:endParaRPr lang="zh-CN" altLang="en-US" sz="1400">
                        <a:latin typeface="Times New Roman" panose="02020603050405020304" pitchFamily="18" charset="0"/>
                        <a:cs typeface="Times New Roman" panose="02020603050405020304" pitchFamily="18" charset="0"/>
                      </a:endParaRPr>
                    </a:p>
                  </a:txBody>
                  <a:tcPr/>
                </a:tc>
                <a:tc>
                  <a:txBody>
                    <a:bodyPr/>
                    <a:lstStyle/>
                    <a:p>
                      <a:r>
                        <a:rPr lang="en-US" altLang="zh-CN" sz="1400" b="0" i="0" kern="1200">
                          <a:solidFill>
                            <a:schemeClr val="dk1"/>
                          </a:solidFill>
                          <a:effectLst/>
                          <a:latin typeface="Times New Roman" panose="02020603050405020304" pitchFamily="18" charset="0"/>
                          <a:ea typeface="+mn-ea"/>
                          <a:cs typeface="Times New Roman" panose="02020603050405020304" pitchFamily="18" charset="0"/>
                        </a:rPr>
                        <a:t>-0.4153</a:t>
                      </a:r>
                      <a:endParaRPr lang="zh-CN" altLang="en-US" sz="1400">
                        <a:latin typeface="Times New Roman" panose="02020603050405020304" pitchFamily="18" charset="0"/>
                        <a:cs typeface="Times New Roman" panose="02020603050405020304" pitchFamily="18" charset="0"/>
                      </a:endParaRPr>
                    </a:p>
                  </a:txBody>
                  <a:tcPr/>
                </a:tc>
                <a:tc>
                  <a:txBody>
                    <a:bodyPr/>
                    <a:lstStyle/>
                    <a:p>
                      <a:r>
                        <a:rPr lang="en-US" altLang="zh-CN" sz="1400" b="0" i="0" kern="1200">
                          <a:solidFill>
                            <a:schemeClr val="dk1"/>
                          </a:solidFill>
                          <a:effectLst/>
                          <a:latin typeface="Times New Roman" panose="02020603050405020304" pitchFamily="18" charset="0"/>
                          <a:ea typeface="+mn-ea"/>
                          <a:cs typeface="Times New Roman" panose="02020603050405020304" pitchFamily="18" charset="0"/>
                        </a:rPr>
                        <a:t>1.1750</a:t>
                      </a:r>
                      <a:endParaRPr lang="zh-CN" altLang="en-US" sz="140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497365596"/>
                  </a:ext>
                </a:extLst>
              </a:tr>
              <a:tr h="304943">
                <a:tc>
                  <a:txBody>
                    <a:bodyPr/>
                    <a:lstStyle/>
                    <a:p>
                      <a:r>
                        <a:rPr lang="en-US" altLang="zh-CN" sz="1400">
                          <a:latin typeface="Times New Roman" panose="02020603050405020304" pitchFamily="18" charset="0"/>
                          <a:cs typeface="Times New Roman" panose="02020603050405020304" pitchFamily="18" charset="0"/>
                        </a:rPr>
                        <a:t>modify</a:t>
                      </a:r>
                      <a:endParaRPr lang="zh-CN" altLang="en-US" sz="1400">
                        <a:latin typeface="Times New Roman" panose="02020603050405020304" pitchFamily="18" charset="0"/>
                        <a:cs typeface="Times New Roman" panose="02020603050405020304" pitchFamily="18" charset="0"/>
                      </a:endParaRPr>
                    </a:p>
                  </a:txBody>
                  <a:tcPr/>
                </a:tc>
                <a:tc>
                  <a:txBody>
                    <a:bodyPr/>
                    <a:lstStyle/>
                    <a:p>
                      <a:r>
                        <a:rPr lang="en-US" altLang="zh-CN" sz="1400" b="0" i="0" kern="1200">
                          <a:solidFill>
                            <a:schemeClr val="dk1"/>
                          </a:solidFill>
                          <a:effectLst/>
                          <a:latin typeface="Times New Roman" panose="02020603050405020304" pitchFamily="18" charset="0"/>
                          <a:ea typeface="+mn-ea"/>
                          <a:cs typeface="Times New Roman" panose="02020603050405020304" pitchFamily="18" charset="0"/>
                        </a:rPr>
                        <a:t>0.0477</a:t>
                      </a:r>
                      <a:endParaRPr lang="zh-CN" altLang="en-US" sz="1400">
                        <a:latin typeface="Times New Roman" panose="02020603050405020304" pitchFamily="18" charset="0"/>
                        <a:cs typeface="Times New Roman" panose="02020603050405020304" pitchFamily="18" charset="0"/>
                      </a:endParaRPr>
                    </a:p>
                  </a:txBody>
                  <a:tcPr/>
                </a:tc>
                <a:tc>
                  <a:txBody>
                    <a:bodyPr/>
                    <a:lstStyle/>
                    <a:p>
                      <a:r>
                        <a:rPr lang="en-US" altLang="zh-CN" sz="1400" b="0" i="0" kern="1200">
                          <a:solidFill>
                            <a:schemeClr val="dk1"/>
                          </a:solidFill>
                          <a:effectLst/>
                          <a:latin typeface="Times New Roman" panose="02020603050405020304" pitchFamily="18" charset="0"/>
                          <a:ea typeface="+mn-ea"/>
                          <a:cs typeface="Times New Roman" panose="02020603050405020304" pitchFamily="18" charset="0"/>
                        </a:rPr>
                        <a:t>0.8515</a:t>
                      </a:r>
                      <a:endParaRPr lang="zh-CN" altLang="en-US" sz="1400">
                        <a:latin typeface="Times New Roman" panose="02020603050405020304" pitchFamily="18" charset="0"/>
                        <a:cs typeface="Times New Roman" panose="02020603050405020304" pitchFamily="18" charset="0"/>
                      </a:endParaRPr>
                    </a:p>
                  </a:txBody>
                  <a:tcPr/>
                </a:tc>
                <a:tc>
                  <a:txBody>
                    <a:bodyPr/>
                    <a:lstStyle/>
                    <a:p>
                      <a:r>
                        <a:rPr lang="en-US" altLang="zh-CN" sz="1400" b="0" i="0" kern="1200">
                          <a:solidFill>
                            <a:schemeClr val="dk1"/>
                          </a:solidFill>
                          <a:effectLst/>
                          <a:latin typeface="Times New Roman" panose="02020603050405020304" pitchFamily="18" charset="0"/>
                          <a:ea typeface="+mn-ea"/>
                          <a:cs typeface="Times New Roman" panose="02020603050405020304" pitchFamily="18" charset="0"/>
                        </a:rPr>
                        <a:t>0.1683</a:t>
                      </a:r>
                      <a:endParaRPr lang="zh-CN" altLang="en-US" sz="1400">
                        <a:latin typeface="Times New Roman" panose="02020603050405020304" pitchFamily="18" charset="0"/>
                        <a:cs typeface="Times New Roman" panose="02020603050405020304" pitchFamily="18" charset="0"/>
                      </a:endParaRPr>
                    </a:p>
                  </a:txBody>
                  <a:tcPr/>
                </a:tc>
                <a:tc>
                  <a:txBody>
                    <a:bodyPr/>
                    <a:lstStyle/>
                    <a:p>
                      <a:r>
                        <a:rPr lang="en-US" altLang="zh-CN" sz="1400" b="0" i="0" kern="1200" dirty="0">
                          <a:solidFill>
                            <a:schemeClr val="dk1"/>
                          </a:solidFill>
                          <a:effectLst/>
                          <a:latin typeface="Times New Roman" panose="02020603050405020304" pitchFamily="18" charset="0"/>
                          <a:ea typeface="+mn-ea"/>
                          <a:cs typeface="Times New Roman" panose="02020603050405020304" pitchFamily="18" charset="0"/>
                        </a:rPr>
                        <a:t>0.4513</a:t>
                      </a:r>
                      <a:endParaRPr lang="zh-CN" altLang="en-US" sz="14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2648733823"/>
                  </a:ext>
                </a:extLst>
              </a:tr>
            </a:tbl>
          </a:graphicData>
        </a:graphic>
      </p:graphicFrame>
      <p:pic>
        <p:nvPicPr>
          <p:cNvPr id="43" name="图片 42" descr="图表, 直方图&#10;&#10;描述已自动生成">
            <a:extLst>
              <a:ext uri="{FF2B5EF4-FFF2-40B4-BE49-F238E27FC236}">
                <a16:creationId xmlns:a16="http://schemas.microsoft.com/office/drawing/2014/main" id="{5DA0B95C-E130-4DA7-BEAF-7DBADBAE351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861803" y="5589178"/>
            <a:ext cx="7200392" cy="3554000"/>
          </a:xfrm>
          <a:prstGeom prst="rect">
            <a:avLst/>
          </a:prstGeom>
        </p:spPr>
      </p:pic>
      <p:pic>
        <p:nvPicPr>
          <p:cNvPr id="44" name="Picture 16">
            <a:extLst>
              <a:ext uri="{FF2B5EF4-FFF2-40B4-BE49-F238E27FC236}">
                <a16:creationId xmlns:a16="http://schemas.microsoft.com/office/drawing/2014/main" id="{986E87AA-3786-4FEB-AFB5-5FB90F7D0076}"/>
              </a:ext>
            </a:extLst>
          </p:cNvPr>
          <p:cNvPicPr>
            <a:picLocks noChangeAspect="1"/>
          </p:cNvPicPr>
          <p:nvPr/>
        </p:nvPicPr>
        <p:blipFill>
          <a:blip r:embed="rId7"/>
          <a:stretch>
            <a:fillRect/>
          </a:stretch>
        </p:blipFill>
        <p:spPr>
          <a:xfrm rot="10800000">
            <a:off x="7770942" y="382177"/>
            <a:ext cx="558800" cy="558800"/>
          </a:xfrm>
          <a:prstGeom prst="rect">
            <a:avLst/>
          </a:prstGeom>
        </p:spPr>
      </p:pic>
      <p:grpSp>
        <p:nvGrpSpPr>
          <p:cNvPr id="45" name="组合 44">
            <a:extLst>
              <a:ext uri="{FF2B5EF4-FFF2-40B4-BE49-F238E27FC236}">
                <a16:creationId xmlns:a16="http://schemas.microsoft.com/office/drawing/2014/main" id="{1E39B288-6FBA-48E1-ACEB-C2EC829A1511}"/>
              </a:ext>
            </a:extLst>
          </p:cNvPr>
          <p:cNvGrpSpPr/>
          <p:nvPr/>
        </p:nvGrpSpPr>
        <p:grpSpPr>
          <a:xfrm>
            <a:off x="709807" y="1116276"/>
            <a:ext cx="761233" cy="731547"/>
            <a:chOff x="9060688" y="2667000"/>
            <a:chExt cx="1244600" cy="1244600"/>
          </a:xfrm>
        </p:grpSpPr>
        <p:pic>
          <p:nvPicPr>
            <p:cNvPr id="46" name="Picture 14">
              <a:extLst>
                <a:ext uri="{FF2B5EF4-FFF2-40B4-BE49-F238E27FC236}">
                  <a16:creationId xmlns:a16="http://schemas.microsoft.com/office/drawing/2014/main" id="{36EDB240-E4EF-479B-96C4-71026206192A}"/>
                </a:ext>
              </a:extLst>
            </p:cNvPr>
            <p:cNvPicPr>
              <a:picLocks noChangeAspect="1"/>
            </p:cNvPicPr>
            <p:nvPr/>
          </p:nvPicPr>
          <p:blipFill>
            <a:blip r:embed="rId10"/>
            <a:stretch>
              <a:fillRect/>
            </a:stretch>
          </p:blipFill>
          <p:spPr>
            <a:xfrm>
              <a:off x="9060688" y="2667000"/>
              <a:ext cx="1244600" cy="1244600"/>
            </a:xfrm>
            <a:prstGeom prst="rect">
              <a:avLst/>
            </a:prstGeom>
          </p:spPr>
        </p:pic>
        <p:pic>
          <p:nvPicPr>
            <p:cNvPr id="47" name="Picture 15">
              <a:extLst>
                <a:ext uri="{FF2B5EF4-FFF2-40B4-BE49-F238E27FC236}">
                  <a16:creationId xmlns:a16="http://schemas.microsoft.com/office/drawing/2014/main" id="{9F65FFCE-0335-417F-8376-746F725285C2}"/>
                </a:ext>
              </a:extLst>
            </p:cNvPr>
            <p:cNvPicPr>
              <a:picLocks noChangeAspect="1"/>
            </p:cNvPicPr>
            <p:nvPr/>
          </p:nvPicPr>
          <p:blipFill>
            <a:blip r:embed="rId11"/>
            <a:stretch>
              <a:fillRect/>
            </a:stretch>
          </p:blipFill>
          <p:spPr>
            <a:xfrm>
              <a:off x="9365488" y="2997200"/>
              <a:ext cx="660400" cy="571500"/>
            </a:xfrm>
            <a:prstGeom prst="rect">
              <a:avLst/>
            </a:prstGeom>
          </p:spPr>
        </p:pic>
      </p:grpSp>
      <mc:AlternateContent xmlns:mc="http://schemas.openxmlformats.org/markup-compatibility/2006" xmlns:a14="http://schemas.microsoft.com/office/drawing/2010/main">
        <mc:Choice Requires="a14">
          <p:sp>
            <p:nvSpPr>
              <p:cNvPr id="48" name="文本框 47">
                <a:extLst>
                  <a:ext uri="{FF2B5EF4-FFF2-40B4-BE49-F238E27FC236}">
                    <a16:creationId xmlns:a16="http://schemas.microsoft.com/office/drawing/2014/main" id="{04A88E78-306A-455A-801C-282F527267E7}"/>
                  </a:ext>
                </a:extLst>
              </p:cNvPr>
              <p:cNvSpPr txBox="1"/>
              <p:nvPr/>
            </p:nvSpPr>
            <p:spPr>
              <a:xfrm>
                <a:off x="1300151" y="4317152"/>
                <a:ext cx="5474782" cy="79374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p>
                        <m:sSupPr>
                          <m:ctrlPr>
                            <a:rPr kumimoji="1" lang="en-US" altLang="zh-CN" sz="2400" b="1" i="1">
                              <a:solidFill>
                                <a:schemeClr val="bg1"/>
                              </a:solidFill>
                              <a:latin typeface="Cambria Math" panose="02040503050406030204" pitchFamily="18" charset="0"/>
                              <a:cs typeface="Times New Roman" panose="02020603050405020304" pitchFamily="18" charset="0"/>
                            </a:rPr>
                          </m:ctrlPr>
                        </m:sSupPr>
                        <m:e>
                          <m:r>
                            <a:rPr kumimoji="1" lang="en-US" altLang="zh-CN" sz="2400" b="1" i="1">
                              <a:solidFill>
                                <a:schemeClr val="bg1"/>
                              </a:solidFill>
                              <a:latin typeface="Cambria Math" panose="02040503050406030204" pitchFamily="18" charset="0"/>
                              <a:cs typeface="Times New Roman" panose="02020603050405020304" pitchFamily="18" charset="0"/>
                            </a:rPr>
                            <m:t>𝑅</m:t>
                          </m:r>
                        </m:e>
                        <m:sup>
                          <m:r>
                            <a:rPr kumimoji="1" lang="en-US" altLang="zh-CN" sz="2400" b="1" i="1">
                              <a:solidFill>
                                <a:schemeClr val="bg1"/>
                              </a:solidFill>
                              <a:latin typeface="Cambria Math" panose="02040503050406030204" pitchFamily="18" charset="0"/>
                              <a:cs typeface="Times New Roman" panose="02020603050405020304" pitchFamily="18" charset="0"/>
                            </a:rPr>
                            <m:t>2</m:t>
                          </m:r>
                        </m:sup>
                      </m:sSup>
                      <m:r>
                        <a:rPr kumimoji="1" lang="en-US" altLang="zh-CN" sz="2400" b="1" i="1">
                          <a:solidFill>
                            <a:schemeClr val="bg1"/>
                          </a:solidFill>
                          <a:latin typeface="Cambria Math" panose="02040503050406030204" pitchFamily="18" charset="0"/>
                          <a:cs typeface="Times New Roman" panose="02020603050405020304" pitchFamily="18" charset="0"/>
                        </a:rPr>
                        <m:t>=1− </m:t>
                      </m:r>
                      <m:f>
                        <m:fPr>
                          <m:ctrlPr>
                            <a:rPr kumimoji="1" lang="en-US" altLang="zh-CN" sz="2400" b="1" i="1">
                              <a:solidFill>
                                <a:schemeClr val="bg1"/>
                              </a:solidFill>
                              <a:latin typeface="Cambria Math" panose="02040503050406030204" pitchFamily="18" charset="0"/>
                              <a:cs typeface="Times New Roman" panose="02020603050405020304" pitchFamily="18" charset="0"/>
                            </a:rPr>
                          </m:ctrlPr>
                        </m:fPr>
                        <m:num>
                          <m:r>
                            <a:rPr kumimoji="1" lang="en-US" altLang="zh-CN" sz="2400" b="1" i="1">
                              <a:solidFill>
                                <a:schemeClr val="bg1"/>
                              </a:solidFill>
                              <a:latin typeface="Cambria Math" panose="02040503050406030204" pitchFamily="18" charset="0"/>
                              <a:cs typeface="Times New Roman" panose="02020603050405020304" pitchFamily="18" charset="0"/>
                            </a:rPr>
                            <m:t>𝑟𝑒𝑠𝑖𝑑𝑢𝑎𝑙</m:t>
                          </m:r>
                          <m:r>
                            <a:rPr kumimoji="1" lang="en-US" altLang="zh-CN" sz="2400" b="1" i="1">
                              <a:solidFill>
                                <a:schemeClr val="bg1"/>
                              </a:solidFill>
                              <a:latin typeface="Cambria Math" panose="02040503050406030204" pitchFamily="18" charset="0"/>
                              <a:cs typeface="Times New Roman" panose="02020603050405020304" pitchFamily="18" charset="0"/>
                            </a:rPr>
                            <m:t> </m:t>
                          </m:r>
                          <m:r>
                            <a:rPr kumimoji="1" lang="en-US" altLang="zh-CN" sz="2400" b="1" i="1">
                              <a:solidFill>
                                <a:schemeClr val="bg1"/>
                              </a:solidFill>
                              <a:latin typeface="Cambria Math" panose="02040503050406030204" pitchFamily="18" charset="0"/>
                              <a:cs typeface="Times New Roman" panose="02020603050405020304" pitchFamily="18" charset="0"/>
                            </a:rPr>
                            <m:t>𝑆𝑆</m:t>
                          </m:r>
                        </m:num>
                        <m:den>
                          <m:r>
                            <a:rPr kumimoji="1" lang="en-US" altLang="zh-CN" sz="2400" b="1" i="1">
                              <a:solidFill>
                                <a:schemeClr val="bg1"/>
                              </a:solidFill>
                              <a:latin typeface="Cambria Math" panose="02040503050406030204" pitchFamily="18" charset="0"/>
                              <a:cs typeface="Times New Roman" panose="02020603050405020304" pitchFamily="18" charset="0"/>
                            </a:rPr>
                            <m:t>𝑡𝑜𝑡𝑎𝑙</m:t>
                          </m:r>
                          <m:r>
                            <a:rPr kumimoji="1" lang="en-US" altLang="zh-CN" sz="2400" b="1" i="1">
                              <a:solidFill>
                                <a:schemeClr val="bg1"/>
                              </a:solidFill>
                              <a:latin typeface="Cambria Math" panose="02040503050406030204" pitchFamily="18" charset="0"/>
                              <a:cs typeface="Times New Roman" panose="02020603050405020304" pitchFamily="18" charset="0"/>
                            </a:rPr>
                            <m:t> </m:t>
                          </m:r>
                          <m:r>
                            <a:rPr kumimoji="1" lang="en-US" altLang="zh-CN" sz="2400" b="1" i="1">
                              <a:solidFill>
                                <a:schemeClr val="bg1"/>
                              </a:solidFill>
                              <a:latin typeface="Cambria Math" panose="02040503050406030204" pitchFamily="18" charset="0"/>
                              <a:cs typeface="Times New Roman" panose="02020603050405020304" pitchFamily="18" charset="0"/>
                            </a:rPr>
                            <m:t>𝑆𝑆</m:t>
                          </m:r>
                        </m:den>
                      </m:f>
                    </m:oMath>
                  </m:oMathPara>
                </a14:m>
                <a:endParaRPr kumimoji="1" lang="zh-CN" altLang="en-US" sz="2000" b="1" i="1">
                  <a:solidFill>
                    <a:schemeClr val="bg1"/>
                  </a:solidFill>
                  <a:latin typeface="Cambria Math" panose="02040503050406030204" pitchFamily="18" charset="0"/>
                  <a:cs typeface="Times New Roman" panose="02020603050405020304" pitchFamily="18" charset="0"/>
                </a:endParaRPr>
              </a:p>
            </p:txBody>
          </p:sp>
        </mc:Choice>
        <mc:Fallback xmlns="">
          <p:sp>
            <p:nvSpPr>
              <p:cNvPr id="48" name="文本框 47">
                <a:extLst>
                  <a:ext uri="{FF2B5EF4-FFF2-40B4-BE49-F238E27FC236}">
                    <a16:creationId xmlns:a16="http://schemas.microsoft.com/office/drawing/2014/main" id="{04A88E78-306A-455A-801C-282F527267E7}"/>
                  </a:ext>
                </a:extLst>
              </p:cNvPr>
              <p:cNvSpPr txBox="1">
                <a:spLocks noRot="1" noChangeAspect="1" noMove="1" noResize="1" noEditPoints="1" noAdjustHandles="1" noChangeArrowheads="1" noChangeShapeType="1" noTextEdit="1"/>
              </p:cNvSpPr>
              <p:nvPr/>
            </p:nvSpPr>
            <p:spPr>
              <a:xfrm>
                <a:off x="1300151" y="4317152"/>
                <a:ext cx="5474782" cy="793743"/>
              </a:xfrm>
              <a:prstGeom prst="rect">
                <a:avLst/>
              </a:prstGeom>
              <a:blipFill>
                <a:blip r:embed="rId12"/>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49" name="文本框 1147">
                <a:extLst>
                  <a:ext uri="{FF2B5EF4-FFF2-40B4-BE49-F238E27FC236}">
                    <a16:creationId xmlns:a16="http://schemas.microsoft.com/office/drawing/2014/main" id="{3071756F-E2BF-4D84-B39E-582156641A95}"/>
                  </a:ext>
                </a:extLst>
              </p:cNvPr>
              <p:cNvSpPr txBox="1"/>
              <p:nvPr/>
            </p:nvSpPr>
            <p:spPr>
              <a:xfrm>
                <a:off x="1090423" y="5877152"/>
                <a:ext cx="6786358" cy="970843"/>
              </a:xfrm>
              <a:prstGeom prst="rect">
                <a:avLst/>
              </a:prstGeom>
              <a:noFill/>
            </p:spPr>
            <p:txBody>
              <a:bodyPr wrap="square" rtlCol="0">
                <a:spAutoFit/>
              </a:bodyPr>
              <a:lstStyle/>
              <a:p>
                <a:pPr>
                  <a:lnSpc>
                    <a:spcPct val="150000"/>
                  </a:lnSpc>
                </a:pPr>
                <a:r>
                  <a:rPr kumimoji="1" lang="en-US" sz="2000" b="1">
                    <a:solidFill>
                      <a:schemeClr val="bg1"/>
                    </a:solidFill>
                    <a:latin typeface="Times New Roman" panose="02020603050405020304" pitchFamily="18" charset="0"/>
                    <a:cs typeface="Times New Roman" panose="02020603050405020304" pitchFamily="18" charset="0"/>
                  </a:rPr>
                  <a:t>We use the squared value of </a:t>
                </a:r>
                <a14:m>
                  <m:oMath xmlns:m="http://schemas.openxmlformats.org/officeDocument/2006/math">
                    <m:sSup>
                      <m:sSupPr>
                        <m:ctrlPr>
                          <a:rPr kumimoji="1" lang="en-US" altLang="zh-CN" sz="2000" b="1" i="1" smtClean="0">
                            <a:solidFill>
                              <a:schemeClr val="bg1"/>
                            </a:solidFill>
                            <a:latin typeface="Cambria Math" panose="02040503050406030204" pitchFamily="18" charset="0"/>
                            <a:cs typeface="Times New Roman" panose="02020603050405020304" pitchFamily="18" charset="0"/>
                          </a:rPr>
                        </m:ctrlPr>
                      </m:sSupPr>
                      <m:e>
                        <m:r>
                          <a:rPr kumimoji="1" lang="en-US" altLang="zh-CN" sz="2000" b="1" i="1" smtClean="0">
                            <a:solidFill>
                              <a:schemeClr val="bg1"/>
                            </a:solidFill>
                            <a:latin typeface="Cambria Math" panose="02040503050406030204" pitchFamily="18" charset="0"/>
                            <a:cs typeface="Times New Roman" panose="02020603050405020304" pitchFamily="18" charset="0"/>
                          </a:rPr>
                          <m:t>𝑹</m:t>
                        </m:r>
                      </m:e>
                      <m:sup>
                        <m:r>
                          <a:rPr kumimoji="1" lang="en-US" altLang="zh-CN" sz="2000" b="1" i="1" smtClean="0">
                            <a:solidFill>
                              <a:schemeClr val="bg1"/>
                            </a:solidFill>
                            <a:latin typeface="Cambria Math" panose="02040503050406030204" pitchFamily="18" charset="0"/>
                            <a:cs typeface="Times New Roman" panose="02020603050405020304" pitchFamily="18" charset="0"/>
                          </a:rPr>
                          <m:t>𝟐</m:t>
                        </m:r>
                      </m:sup>
                    </m:sSup>
                  </m:oMath>
                </a14:m>
                <a:r>
                  <a:rPr kumimoji="1" lang="en-US" sz="2000" b="1">
                    <a:solidFill>
                      <a:schemeClr val="bg1"/>
                    </a:solidFill>
                    <a:latin typeface="Times New Roman" panose="02020603050405020304" pitchFamily="18" charset="0"/>
                    <a:cs typeface="Times New Roman" panose="02020603050405020304" pitchFamily="18" charset="0"/>
                  </a:rPr>
                  <a:t> and the standard score to get the modify standard score</a:t>
                </a:r>
              </a:p>
            </p:txBody>
          </p:sp>
        </mc:Choice>
        <mc:Fallback xmlns="">
          <p:sp>
            <p:nvSpPr>
              <p:cNvPr id="49" name="文本框 1147">
                <a:extLst>
                  <a:ext uri="{FF2B5EF4-FFF2-40B4-BE49-F238E27FC236}">
                    <a16:creationId xmlns:a16="http://schemas.microsoft.com/office/drawing/2014/main" id="{3071756F-E2BF-4D84-B39E-582156641A95}"/>
                  </a:ext>
                </a:extLst>
              </p:cNvPr>
              <p:cNvSpPr txBox="1">
                <a:spLocks noRot="1" noChangeAspect="1" noMove="1" noResize="1" noEditPoints="1" noAdjustHandles="1" noChangeArrowheads="1" noChangeShapeType="1" noTextEdit="1"/>
              </p:cNvSpPr>
              <p:nvPr/>
            </p:nvSpPr>
            <p:spPr>
              <a:xfrm>
                <a:off x="1090423" y="5877152"/>
                <a:ext cx="6786358" cy="970843"/>
              </a:xfrm>
              <a:prstGeom prst="rect">
                <a:avLst/>
              </a:prstGeom>
              <a:blipFill>
                <a:blip r:embed="rId13"/>
                <a:stretch>
                  <a:fillRect l="-988" r="-1438" b="-10692"/>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51" name="文本框 50">
                <a:extLst>
                  <a:ext uri="{FF2B5EF4-FFF2-40B4-BE49-F238E27FC236}">
                    <a16:creationId xmlns:a16="http://schemas.microsoft.com/office/drawing/2014/main" id="{C0876759-3D4C-4004-91BA-9BB5ABC691E5}"/>
                  </a:ext>
                </a:extLst>
              </p:cNvPr>
              <p:cNvSpPr txBox="1"/>
              <p:nvPr/>
            </p:nvSpPr>
            <p:spPr>
              <a:xfrm>
                <a:off x="2391243" y="7825729"/>
                <a:ext cx="3748910" cy="40639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kumimoji="1" lang="en-US" altLang="zh-CN" sz="2400" b="1" i="1">
                          <a:solidFill>
                            <a:schemeClr val="bg1"/>
                          </a:solidFill>
                          <a:latin typeface="Cambria Math" panose="02040503050406030204" pitchFamily="18" charset="0"/>
                          <a:cs typeface="Times New Roman" panose="02020603050405020304" pitchFamily="18" charset="0"/>
                        </a:rPr>
                        <m:t>𝑏𝑒𝑡</m:t>
                      </m:r>
                      <m:sSub>
                        <m:sSubPr>
                          <m:ctrlPr>
                            <a:rPr kumimoji="1" lang="en-US" altLang="zh-CN" sz="2400" b="1" i="1">
                              <a:solidFill>
                                <a:schemeClr val="bg1"/>
                              </a:solidFill>
                              <a:latin typeface="Cambria Math" panose="02040503050406030204" pitchFamily="18" charset="0"/>
                              <a:cs typeface="Times New Roman" panose="02020603050405020304" pitchFamily="18" charset="0"/>
                            </a:rPr>
                          </m:ctrlPr>
                        </m:sSubPr>
                        <m:e>
                          <m:r>
                            <a:rPr kumimoji="1" lang="en-US" altLang="zh-CN" sz="2400" b="1" i="1">
                              <a:solidFill>
                                <a:schemeClr val="bg1"/>
                              </a:solidFill>
                              <a:latin typeface="Cambria Math" panose="02040503050406030204" pitchFamily="18" charset="0"/>
                              <a:cs typeface="Times New Roman" panose="02020603050405020304" pitchFamily="18" charset="0"/>
                            </a:rPr>
                            <m:t>𝑎</m:t>
                          </m:r>
                        </m:e>
                        <m:sub>
                          <m:r>
                            <a:rPr kumimoji="1" lang="en-US" altLang="zh-CN" sz="2400" b="1" i="1">
                              <a:solidFill>
                                <a:schemeClr val="bg1"/>
                              </a:solidFill>
                              <a:latin typeface="Cambria Math" panose="02040503050406030204" pitchFamily="18" charset="0"/>
                              <a:cs typeface="Times New Roman" panose="02020603050405020304" pitchFamily="18" charset="0"/>
                            </a:rPr>
                            <m:t>𝑚𝑜𝑑𝑓𝑦</m:t>
                          </m:r>
                        </m:sub>
                      </m:sSub>
                      <m:r>
                        <a:rPr kumimoji="1" lang="en-US" altLang="zh-CN" sz="2400" b="1" i="1">
                          <a:solidFill>
                            <a:schemeClr val="bg1"/>
                          </a:solidFill>
                          <a:latin typeface="Cambria Math" panose="02040503050406030204" pitchFamily="18" charset="0"/>
                          <a:cs typeface="Times New Roman" panose="02020603050405020304" pitchFamily="18" charset="0"/>
                        </a:rPr>
                        <m:t>=</m:t>
                      </m:r>
                      <m:r>
                        <a:rPr kumimoji="1" lang="en-US" altLang="zh-CN" sz="2400" b="1" i="1">
                          <a:solidFill>
                            <a:schemeClr val="bg1"/>
                          </a:solidFill>
                          <a:latin typeface="Cambria Math" panose="02040503050406030204" pitchFamily="18" charset="0"/>
                          <a:cs typeface="Times New Roman" panose="02020603050405020304" pitchFamily="18" charset="0"/>
                        </a:rPr>
                        <m:t>𝑏𝑒𝑡</m:t>
                      </m:r>
                      <m:sSub>
                        <m:sSubPr>
                          <m:ctrlPr>
                            <a:rPr kumimoji="1" lang="en-US" altLang="zh-CN" sz="2400" b="1" i="1">
                              <a:solidFill>
                                <a:schemeClr val="bg1"/>
                              </a:solidFill>
                              <a:latin typeface="Cambria Math" panose="02040503050406030204" pitchFamily="18" charset="0"/>
                              <a:cs typeface="Times New Roman" panose="02020603050405020304" pitchFamily="18" charset="0"/>
                            </a:rPr>
                          </m:ctrlPr>
                        </m:sSubPr>
                        <m:e>
                          <m:r>
                            <a:rPr kumimoji="1" lang="en-US" altLang="zh-CN" sz="2400" b="1" i="1">
                              <a:solidFill>
                                <a:schemeClr val="bg1"/>
                              </a:solidFill>
                              <a:latin typeface="Cambria Math" panose="02040503050406030204" pitchFamily="18" charset="0"/>
                              <a:cs typeface="Times New Roman" panose="02020603050405020304" pitchFamily="18" charset="0"/>
                            </a:rPr>
                            <m:t>𝑎</m:t>
                          </m:r>
                        </m:e>
                        <m:sub>
                          <m:r>
                            <a:rPr kumimoji="1" lang="en-US" altLang="zh-CN" sz="2400" b="1" i="1">
                              <a:solidFill>
                                <a:schemeClr val="bg1"/>
                              </a:solidFill>
                              <a:latin typeface="Cambria Math" panose="02040503050406030204" pitchFamily="18" charset="0"/>
                              <a:cs typeface="Times New Roman" panose="02020603050405020304" pitchFamily="18" charset="0"/>
                            </a:rPr>
                            <m:t>𝑛𝑜𝑟𝑚</m:t>
                          </m:r>
                        </m:sub>
                      </m:sSub>
                      <m:r>
                        <a:rPr kumimoji="1" lang="en-US" altLang="zh-CN" sz="2400" b="1" i="1">
                          <a:solidFill>
                            <a:schemeClr val="bg1"/>
                          </a:solidFill>
                          <a:latin typeface="Cambria Math" panose="02040503050406030204" pitchFamily="18" charset="0"/>
                          <a:cs typeface="Times New Roman" panose="02020603050405020304" pitchFamily="18" charset="0"/>
                        </a:rPr>
                        <m:t>∗</m:t>
                      </m:r>
                      <m:sSup>
                        <m:sSupPr>
                          <m:ctrlPr>
                            <a:rPr kumimoji="1" lang="en-US" altLang="zh-CN" sz="2400" b="1" i="1">
                              <a:solidFill>
                                <a:schemeClr val="bg1"/>
                              </a:solidFill>
                              <a:latin typeface="Cambria Math" panose="02040503050406030204" pitchFamily="18" charset="0"/>
                              <a:cs typeface="Times New Roman" panose="02020603050405020304" pitchFamily="18" charset="0"/>
                            </a:rPr>
                          </m:ctrlPr>
                        </m:sSupPr>
                        <m:e>
                          <m:r>
                            <a:rPr kumimoji="1" lang="en-US" altLang="zh-CN" sz="2400" b="1" i="1">
                              <a:solidFill>
                                <a:schemeClr val="bg1"/>
                              </a:solidFill>
                              <a:latin typeface="Cambria Math" panose="02040503050406030204" pitchFamily="18" charset="0"/>
                              <a:cs typeface="Times New Roman" panose="02020603050405020304" pitchFamily="18" charset="0"/>
                            </a:rPr>
                            <m:t>𝑅</m:t>
                          </m:r>
                        </m:e>
                        <m:sup>
                          <m:r>
                            <a:rPr kumimoji="1" lang="en-US" altLang="zh-CN" sz="2400" b="1" i="1">
                              <a:solidFill>
                                <a:schemeClr val="bg1"/>
                              </a:solidFill>
                              <a:latin typeface="Cambria Math" panose="02040503050406030204" pitchFamily="18" charset="0"/>
                              <a:cs typeface="Times New Roman" panose="02020603050405020304" pitchFamily="18" charset="0"/>
                            </a:rPr>
                            <m:t>2</m:t>
                          </m:r>
                        </m:sup>
                      </m:sSup>
                    </m:oMath>
                  </m:oMathPara>
                </a14:m>
                <a:endParaRPr kumimoji="1" lang="zh-CN" altLang="en-US" sz="2400" b="1" i="1">
                  <a:solidFill>
                    <a:schemeClr val="bg1"/>
                  </a:solidFill>
                  <a:latin typeface="Cambria Math" panose="02040503050406030204" pitchFamily="18" charset="0"/>
                  <a:cs typeface="Times New Roman" panose="02020603050405020304" pitchFamily="18" charset="0"/>
                </a:endParaRPr>
              </a:p>
            </p:txBody>
          </p:sp>
        </mc:Choice>
        <mc:Fallback xmlns="">
          <p:sp>
            <p:nvSpPr>
              <p:cNvPr id="51" name="文本框 50">
                <a:extLst>
                  <a:ext uri="{FF2B5EF4-FFF2-40B4-BE49-F238E27FC236}">
                    <a16:creationId xmlns:a16="http://schemas.microsoft.com/office/drawing/2014/main" id="{C0876759-3D4C-4004-91BA-9BB5ABC691E5}"/>
                  </a:ext>
                </a:extLst>
              </p:cNvPr>
              <p:cNvSpPr txBox="1">
                <a:spLocks noRot="1" noChangeAspect="1" noMove="1" noResize="1" noEditPoints="1" noAdjustHandles="1" noChangeArrowheads="1" noChangeShapeType="1" noTextEdit="1"/>
              </p:cNvSpPr>
              <p:nvPr/>
            </p:nvSpPr>
            <p:spPr>
              <a:xfrm>
                <a:off x="2391243" y="7825729"/>
                <a:ext cx="3748910" cy="406393"/>
              </a:xfrm>
              <a:prstGeom prst="rect">
                <a:avLst/>
              </a:prstGeom>
              <a:blipFill>
                <a:blip r:embed="rId14"/>
                <a:stretch>
                  <a:fillRect l="-1463" r="-163" b="-27273"/>
                </a:stretch>
              </a:blipFill>
            </p:spPr>
            <p:txBody>
              <a:bodyPr/>
              <a:lstStyle/>
              <a:p>
                <a:r>
                  <a:rPr lang="zh-CN" altLang="en-US">
                    <a:noFill/>
                  </a:rPr>
                  <a:t> </a:t>
                </a:r>
              </a:p>
            </p:txBody>
          </p:sp>
        </mc:Fallback>
      </mc:AlternateContent>
      <p:sp>
        <p:nvSpPr>
          <p:cNvPr id="22" name="文本框 21">
            <a:extLst>
              <a:ext uri="{FF2B5EF4-FFF2-40B4-BE49-F238E27FC236}">
                <a16:creationId xmlns:a16="http://schemas.microsoft.com/office/drawing/2014/main" id="{165CBA45-887B-499A-92BF-1B566B8C323E}"/>
              </a:ext>
            </a:extLst>
          </p:cNvPr>
          <p:cNvSpPr txBox="1"/>
          <p:nvPr/>
        </p:nvSpPr>
        <p:spPr>
          <a:xfrm>
            <a:off x="9728200" y="902849"/>
            <a:ext cx="4283113" cy="307777"/>
          </a:xfrm>
          <a:prstGeom prst="rect">
            <a:avLst/>
          </a:prstGeom>
          <a:noFill/>
        </p:spPr>
        <p:txBody>
          <a:bodyPr wrap="square">
            <a:spAutoFit/>
          </a:bodyPr>
          <a:lstStyle/>
          <a:p>
            <a:r>
              <a:rPr lang="en-US" altLang="zh-CN" sz="1400" dirty="0">
                <a:latin typeface="华文中宋" panose="02010600040101010101" pitchFamily="2" charset="-122"/>
                <a:ea typeface="华文中宋" panose="02010600040101010101" pitchFamily="2" charset="-122"/>
              </a:rPr>
              <a:t>Figure 7. Distribution of norm and modify</a:t>
            </a:r>
            <a:endParaRPr lang="zh-CN" altLang="en-US" sz="1400" dirty="0">
              <a:latin typeface="华文中宋" panose="02010600040101010101" pitchFamily="2" charset="-122"/>
              <a:ea typeface="华文中宋" panose="02010600040101010101" pitchFamily="2" charset="-122"/>
            </a:endParaRPr>
          </a:p>
        </p:txBody>
      </p:sp>
      <p:sp>
        <p:nvSpPr>
          <p:cNvPr id="23" name="文本框 22">
            <a:extLst>
              <a:ext uri="{FF2B5EF4-FFF2-40B4-BE49-F238E27FC236}">
                <a16:creationId xmlns:a16="http://schemas.microsoft.com/office/drawing/2014/main" id="{F35EF638-B886-415F-8B54-A96D122166B6}"/>
              </a:ext>
            </a:extLst>
          </p:cNvPr>
          <p:cNvSpPr txBox="1"/>
          <p:nvPr/>
        </p:nvSpPr>
        <p:spPr>
          <a:xfrm>
            <a:off x="9118600" y="5281401"/>
            <a:ext cx="7200392" cy="307777"/>
          </a:xfrm>
          <a:prstGeom prst="rect">
            <a:avLst/>
          </a:prstGeom>
          <a:noFill/>
        </p:spPr>
        <p:txBody>
          <a:bodyPr wrap="square">
            <a:spAutoFit/>
          </a:bodyPr>
          <a:lstStyle/>
          <a:p>
            <a:r>
              <a:rPr lang="en-US" altLang="zh-CN" sz="1400" dirty="0">
                <a:latin typeface="华文中宋" panose="02010600040101010101" pitchFamily="2" charset="-122"/>
                <a:ea typeface="华文中宋" panose="02010600040101010101" pitchFamily="2" charset="-122"/>
              </a:rPr>
              <a:t>Figure 8. Comparison of trading with “</a:t>
            </a:r>
            <a:r>
              <a:rPr lang="en-US" altLang="zh-CN" sz="1400" dirty="0" err="1">
                <a:latin typeface="华文中宋" panose="02010600040101010101" pitchFamily="2" charset="-122"/>
                <a:ea typeface="华文中宋" panose="02010600040101010101" pitchFamily="2" charset="-122"/>
              </a:rPr>
              <a:t>norm”“modify</a:t>
            </a:r>
            <a:r>
              <a:rPr lang="en-US" altLang="zh-CN" sz="1400" dirty="0">
                <a:latin typeface="华文中宋" panose="02010600040101010101" pitchFamily="2" charset="-122"/>
                <a:ea typeface="华文中宋" panose="02010600040101010101" pitchFamily="2" charset="-122"/>
              </a:rPr>
              <a:t>” and hs300 itself</a:t>
            </a:r>
          </a:p>
        </p:txBody>
      </p:sp>
      <p:sp>
        <p:nvSpPr>
          <p:cNvPr id="28" name="文本框 27">
            <a:extLst>
              <a:ext uri="{FF2B5EF4-FFF2-40B4-BE49-F238E27FC236}">
                <a16:creationId xmlns:a16="http://schemas.microsoft.com/office/drawing/2014/main" id="{1902CCED-056C-4D6C-BB85-4127EA367AF4}"/>
              </a:ext>
            </a:extLst>
          </p:cNvPr>
          <p:cNvSpPr txBox="1"/>
          <p:nvPr/>
        </p:nvSpPr>
        <p:spPr>
          <a:xfrm>
            <a:off x="9652000" y="3844002"/>
            <a:ext cx="5487743" cy="276999"/>
          </a:xfrm>
          <a:prstGeom prst="rect">
            <a:avLst/>
          </a:prstGeom>
          <a:noFill/>
        </p:spPr>
        <p:txBody>
          <a:bodyPr wrap="square">
            <a:spAutoFit/>
          </a:bodyPr>
          <a:lstStyle/>
          <a:p>
            <a:r>
              <a:rPr lang="en-US" altLang="zh-CN" sz="1200">
                <a:latin typeface="华文中宋" panose="02010600040101010101" pitchFamily="2" charset="-122"/>
                <a:ea typeface="华文中宋" panose="02010600040101010101" pitchFamily="2" charset="-122"/>
              </a:rPr>
              <a:t>Statistics</a:t>
            </a:r>
            <a:endParaRPr lang="zh-CN" altLang="en-US" sz="1200"/>
          </a:p>
        </p:txBody>
      </p:sp>
    </p:spTree>
    <p:extLst>
      <p:ext uri="{BB962C8B-B14F-4D97-AF65-F5344CB8AC3E}">
        <p14:creationId xmlns:p14="http://schemas.microsoft.com/office/powerpoint/2010/main" val="37201220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Box 18">
            <a:extLst>
              <a:ext uri="{FF2B5EF4-FFF2-40B4-BE49-F238E27FC236}">
                <a16:creationId xmlns:a16="http://schemas.microsoft.com/office/drawing/2014/main" id="{AA817B9D-327B-4AD4-B954-CE0BE9CFBEFD}"/>
              </a:ext>
            </a:extLst>
          </p:cNvPr>
          <p:cNvSpPr txBox="1"/>
          <p:nvPr/>
        </p:nvSpPr>
        <p:spPr>
          <a:xfrm>
            <a:off x="10832333" y="404132"/>
            <a:ext cx="4876800" cy="609600"/>
          </a:xfrm>
          <a:prstGeom prst="rect">
            <a:avLst/>
          </a:prstGeom>
        </p:spPr>
        <p:txBody>
          <a:bodyPr lIns="0" tIns="0" rIns="0" bIns="0" rtlCol="0" anchor="t"/>
          <a:lstStyle/>
          <a:p>
            <a:pPr algn="r">
              <a:lnSpc>
                <a:spcPct val="90000"/>
              </a:lnSpc>
            </a:pPr>
            <a:r>
              <a:rPr lang="en-US" sz="4000" b="1">
                <a:solidFill>
                  <a:srgbClr val="232F47"/>
                </a:solidFill>
                <a:latin typeface="Times New Roman" panose="02020603050405020304" pitchFamily="18" charset="0"/>
                <a:cs typeface="Times New Roman" panose="02020603050405020304" pitchFamily="18" charset="0"/>
              </a:rPr>
              <a:t>Optimization: right</a:t>
            </a:r>
          </a:p>
        </p:txBody>
      </p:sp>
      <p:pic>
        <p:nvPicPr>
          <p:cNvPr id="27" name="Picture 17">
            <a:extLst>
              <a:ext uri="{FF2B5EF4-FFF2-40B4-BE49-F238E27FC236}">
                <a16:creationId xmlns:a16="http://schemas.microsoft.com/office/drawing/2014/main" id="{E9860B0E-7031-4F8B-B278-849EEBABCA36}"/>
              </a:ext>
            </a:extLst>
          </p:cNvPr>
          <p:cNvPicPr>
            <a:picLocks noChangeAspect="1"/>
          </p:cNvPicPr>
          <p:nvPr/>
        </p:nvPicPr>
        <p:blipFill>
          <a:blip r:embed="rId2"/>
          <a:stretch>
            <a:fillRect/>
          </a:stretch>
        </p:blipFill>
        <p:spPr>
          <a:xfrm>
            <a:off x="13232633" y="188232"/>
            <a:ext cx="2540000" cy="101600"/>
          </a:xfrm>
          <a:prstGeom prst="rect">
            <a:avLst/>
          </a:prstGeom>
        </p:spPr>
      </p:pic>
      <p:pic>
        <p:nvPicPr>
          <p:cNvPr id="29" name="Picture 3">
            <a:extLst>
              <a:ext uri="{FF2B5EF4-FFF2-40B4-BE49-F238E27FC236}">
                <a16:creationId xmlns:a16="http://schemas.microsoft.com/office/drawing/2014/main" id="{FEB7FD28-F871-4BE5-871B-FE225C9C36B6}"/>
              </a:ext>
            </a:extLst>
          </p:cNvPr>
          <p:cNvPicPr preferRelativeResize="0">
            <a:picLocks/>
          </p:cNvPicPr>
          <p:nvPr/>
        </p:nvPicPr>
        <p:blipFill>
          <a:blip r:embed="rId3"/>
          <a:stretch>
            <a:fillRect/>
          </a:stretch>
        </p:blipFill>
        <p:spPr>
          <a:xfrm>
            <a:off x="473207" y="1599023"/>
            <a:ext cx="7584985" cy="1579853"/>
          </a:xfrm>
          <a:prstGeom prst="rect">
            <a:avLst/>
          </a:prstGeom>
        </p:spPr>
      </p:pic>
      <p:pic>
        <p:nvPicPr>
          <p:cNvPr id="30" name="Picture 5">
            <a:extLst>
              <a:ext uri="{FF2B5EF4-FFF2-40B4-BE49-F238E27FC236}">
                <a16:creationId xmlns:a16="http://schemas.microsoft.com/office/drawing/2014/main" id="{7E48FDB0-5FDD-4122-B3FE-9D756F5D2F1B}"/>
              </a:ext>
            </a:extLst>
          </p:cNvPr>
          <p:cNvPicPr preferRelativeResize="0">
            <a:picLocks/>
          </p:cNvPicPr>
          <p:nvPr/>
        </p:nvPicPr>
        <p:blipFill>
          <a:blip r:embed="rId4"/>
          <a:stretch>
            <a:fillRect/>
          </a:stretch>
        </p:blipFill>
        <p:spPr>
          <a:xfrm>
            <a:off x="473205" y="3158913"/>
            <a:ext cx="7584987" cy="1721669"/>
          </a:xfrm>
          <a:prstGeom prst="rect">
            <a:avLst/>
          </a:prstGeom>
        </p:spPr>
      </p:pic>
      <p:pic>
        <p:nvPicPr>
          <p:cNvPr id="31" name="Picture 3">
            <a:extLst>
              <a:ext uri="{FF2B5EF4-FFF2-40B4-BE49-F238E27FC236}">
                <a16:creationId xmlns:a16="http://schemas.microsoft.com/office/drawing/2014/main" id="{6DF4F946-A31C-40BD-8767-9A81F047D1A3}"/>
              </a:ext>
            </a:extLst>
          </p:cNvPr>
          <p:cNvPicPr preferRelativeResize="0">
            <a:picLocks/>
          </p:cNvPicPr>
          <p:nvPr/>
        </p:nvPicPr>
        <p:blipFill>
          <a:blip r:embed="rId3"/>
          <a:stretch>
            <a:fillRect/>
          </a:stretch>
        </p:blipFill>
        <p:spPr>
          <a:xfrm>
            <a:off x="473207" y="4875623"/>
            <a:ext cx="7584985" cy="1579853"/>
          </a:xfrm>
          <a:prstGeom prst="rect">
            <a:avLst/>
          </a:prstGeom>
        </p:spPr>
      </p:pic>
      <p:pic>
        <p:nvPicPr>
          <p:cNvPr id="32" name="Picture 5">
            <a:extLst>
              <a:ext uri="{FF2B5EF4-FFF2-40B4-BE49-F238E27FC236}">
                <a16:creationId xmlns:a16="http://schemas.microsoft.com/office/drawing/2014/main" id="{8066BAFE-0A2E-4E6B-9ED7-5FBC6B97CFFB}"/>
              </a:ext>
            </a:extLst>
          </p:cNvPr>
          <p:cNvPicPr preferRelativeResize="0">
            <a:picLocks/>
          </p:cNvPicPr>
          <p:nvPr/>
        </p:nvPicPr>
        <p:blipFill>
          <a:blip r:embed="rId4"/>
          <a:stretch>
            <a:fillRect/>
          </a:stretch>
        </p:blipFill>
        <p:spPr>
          <a:xfrm>
            <a:off x="473205" y="6435513"/>
            <a:ext cx="7584987" cy="1721669"/>
          </a:xfrm>
          <a:prstGeom prst="rect">
            <a:avLst/>
          </a:prstGeom>
        </p:spPr>
      </p:pic>
      <p:sp>
        <p:nvSpPr>
          <p:cNvPr id="34" name="文本框 1147">
            <a:extLst>
              <a:ext uri="{FF2B5EF4-FFF2-40B4-BE49-F238E27FC236}">
                <a16:creationId xmlns:a16="http://schemas.microsoft.com/office/drawing/2014/main" id="{50B83297-A1A8-46FD-A3AF-7F65CD9EB39C}"/>
              </a:ext>
            </a:extLst>
          </p:cNvPr>
          <p:cNvSpPr txBox="1"/>
          <p:nvPr/>
        </p:nvSpPr>
        <p:spPr>
          <a:xfrm>
            <a:off x="1878584" y="3733800"/>
            <a:ext cx="4877816" cy="505972"/>
          </a:xfrm>
          <a:prstGeom prst="rect">
            <a:avLst/>
          </a:prstGeom>
          <a:noFill/>
        </p:spPr>
        <p:txBody>
          <a:bodyPr wrap="square" rtlCol="0">
            <a:spAutoFit/>
          </a:bodyPr>
          <a:lstStyle/>
          <a:p>
            <a:pPr>
              <a:lnSpc>
                <a:spcPct val="150000"/>
              </a:lnSpc>
            </a:pPr>
            <a:r>
              <a:rPr kumimoji="1" lang="en-US" sz="2000" b="1">
                <a:solidFill>
                  <a:schemeClr val="bg1"/>
                </a:solidFill>
                <a:latin typeface="Times New Roman" panose="02020603050405020304" pitchFamily="18" charset="0"/>
                <a:cs typeface="Times New Roman" panose="02020603050405020304" pitchFamily="18" charset="0"/>
              </a:rPr>
              <a:t>What if we shorten the left tail again</a:t>
            </a:r>
          </a:p>
        </p:txBody>
      </p:sp>
      <p:sp>
        <p:nvSpPr>
          <p:cNvPr id="35" name="文本框 1146">
            <a:extLst>
              <a:ext uri="{FF2B5EF4-FFF2-40B4-BE49-F238E27FC236}">
                <a16:creationId xmlns:a16="http://schemas.microsoft.com/office/drawing/2014/main" id="{DCD0BC96-8333-4765-806F-3777D8101B32}"/>
              </a:ext>
            </a:extLst>
          </p:cNvPr>
          <p:cNvSpPr txBox="1"/>
          <p:nvPr/>
        </p:nvSpPr>
        <p:spPr>
          <a:xfrm>
            <a:off x="1650892" y="1886083"/>
            <a:ext cx="6266986" cy="960328"/>
          </a:xfrm>
          <a:prstGeom prst="rect">
            <a:avLst/>
          </a:prstGeom>
          <a:noFill/>
        </p:spPr>
        <p:txBody>
          <a:bodyPr wrap="square" rtlCol="0">
            <a:spAutoFit/>
          </a:bodyPr>
          <a:lstStyle/>
          <a:p>
            <a:pPr>
              <a:lnSpc>
                <a:spcPct val="150000"/>
              </a:lnSpc>
            </a:pPr>
            <a:r>
              <a:rPr kumimoji="1" lang="en-US" sz="2000" b="1">
                <a:solidFill>
                  <a:schemeClr val="bg1"/>
                </a:solidFill>
                <a:latin typeface="Times New Roman" panose="02020603050405020304" pitchFamily="18" charset="0"/>
                <a:cs typeface="Times New Roman" panose="02020603050405020304" pitchFamily="18" charset="0"/>
              </a:rPr>
              <a:t>(*𝑹^𝟐) performs better, see that he left tail of the distribution decreases</a:t>
            </a:r>
          </a:p>
        </p:txBody>
      </p:sp>
      <p:pic>
        <p:nvPicPr>
          <p:cNvPr id="36" name="Picture 16">
            <a:extLst>
              <a:ext uri="{FF2B5EF4-FFF2-40B4-BE49-F238E27FC236}">
                <a16:creationId xmlns:a16="http://schemas.microsoft.com/office/drawing/2014/main" id="{07434DB4-56FB-4CCC-A19D-D54141A0A48F}"/>
              </a:ext>
            </a:extLst>
          </p:cNvPr>
          <p:cNvPicPr>
            <a:picLocks noChangeAspect="1"/>
          </p:cNvPicPr>
          <p:nvPr/>
        </p:nvPicPr>
        <p:blipFill>
          <a:blip r:embed="rId5"/>
          <a:stretch>
            <a:fillRect/>
          </a:stretch>
        </p:blipFill>
        <p:spPr>
          <a:xfrm>
            <a:off x="193805" y="7941286"/>
            <a:ext cx="558800" cy="558800"/>
          </a:xfrm>
          <a:prstGeom prst="rect">
            <a:avLst/>
          </a:prstGeom>
        </p:spPr>
      </p:pic>
      <p:pic>
        <p:nvPicPr>
          <p:cNvPr id="37" name="Picture 16">
            <a:extLst>
              <a:ext uri="{FF2B5EF4-FFF2-40B4-BE49-F238E27FC236}">
                <a16:creationId xmlns:a16="http://schemas.microsoft.com/office/drawing/2014/main" id="{5DFF5B74-E2ED-43D8-B6DC-0D481305A0EA}"/>
              </a:ext>
            </a:extLst>
          </p:cNvPr>
          <p:cNvPicPr>
            <a:picLocks noChangeAspect="1"/>
          </p:cNvPicPr>
          <p:nvPr/>
        </p:nvPicPr>
        <p:blipFill>
          <a:blip r:embed="rId5"/>
          <a:stretch>
            <a:fillRect/>
          </a:stretch>
        </p:blipFill>
        <p:spPr>
          <a:xfrm rot="10800000">
            <a:off x="7770942" y="1295400"/>
            <a:ext cx="558800" cy="558800"/>
          </a:xfrm>
          <a:prstGeom prst="rect">
            <a:avLst/>
          </a:prstGeom>
        </p:spPr>
      </p:pic>
      <p:grpSp>
        <p:nvGrpSpPr>
          <p:cNvPr id="38" name="组合 37">
            <a:extLst>
              <a:ext uri="{FF2B5EF4-FFF2-40B4-BE49-F238E27FC236}">
                <a16:creationId xmlns:a16="http://schemas.microsoft.com/office/drawing/2014/main" id="{9BBFBDC6-0F4C-4B86-8F3E-9AD1B0DD1D2E}"/>
              </a:ext>
            </a:extLst>
          </p:cNvPr>
          <p:cNvGrpSpPr/>
          <p:nvPr/>
        </p:nvGrpSpPr>
        <p:grpSpPr>
          <a:xfrm>
            <a:off x="709807" y="2029499"/>
            <a:ext cx="761233" cy="731547"/>
            <a:chOff x="9060688" y="2667000"/>
            <a:chExt cx="1244600" cy="1244600"/>
          </a:xfrm>
        </p:grpSpPr>
        <p:pic>
          <p:nvPicPr>
            <p:cNvPr id="39" name="Picture 14">
              <a:extLst>
                <a:ext uri="{FF2B5EF4-FFF2-40B4-BE49-F238E27FC236}">
                  <a16:creationId xmlns:a16="http://schemas.microsoft.com/office/drawing/2014/main" id="{2FF7E90B-0AE5-418F-B78C-E39B53E39CE5}"/>
                </a:ext>
              </a:extLst>
            </p:cNvPr>
            <p:cNvPicPr>
              <a:picLocks noChangeAspect="1"/>
            </p:cNvPicPr>
            <p:nvPr/>
          </p:nvPicPr>
          <p:blipFill>
            <a:blip r:embed="rId6"/>
            <a:stretch>
              <a:fillRect/>
            </a:stretch>
          </p:blipFill>
          <p:spPr>
            <a:xfrm>
              <a:off x="9060688" y="2667000"/>
              <a:ext cx="1244600" cy="1244600"/>
            </a:xfrm>
            <a:prstGeom prst="rect">
              <a:avLst/>
            </a:prstGeom>
          </p:spPr>
        </p:pic>
        <p:pic>
          <p:nvPicPr>
            <p:cNvPr id="40" name="Picture 15">
              <a:extLst>
                <a:ext uri="{FF2B5EF4-FFF2-40B4-BE49-F238E27FC236}">
                  <a16:creationId xmlns:a16="http://schemas.microsoft.com/office/drawing/2014/main" id="{CFAFC146-0F98-4556-87C1-934A4480BD81}"/>
                </a:ext>
              </a:extLst>
            </p:cNvPr>
            <p:cNvPicPr>
              <a:picLocks noChangeAspect="1"/>
            </p:cNvPicPr>
            <p:nvPr/>
          </p:nvPicPr>
          <p:blipFill>
            <a:blip r:embed="rId7"/>
            <a:stretch>
              <a:fillRect/>
            </a:stretch>
          </p:blipFill>
          <p:spPr>
            <a:xfrm>
              <a:off x="9365488" y="2997200"/>
              <a:ext cx="660400" cy="571500"/>
            </a:xfrm>
            <a:prstGeom prst="rect">
              <a:avLst/>
            </a:prstGeom>
          </p:spPr>
        </p:pic>
      </p:grpSp>
      <p:sp>
        <p:nvSpPr>
          <p:cNvPr id="42" name="文本框 1147">
            <a:extLst>
              <a:ext uri="{FF2B5EF4-FFF2-40B4-BE49-F238E27FC236}">
                <a16:creationId xmlns:a16="http://schemas.microsoft.com/office/drawing/2014/main" id="{053F68F1-2301-4A47-B013-F294ACAACD24}"/>
              </a:ext>
            </a:extLst>
          </p:cNvPr>
          <p:cNvSpPr txBox="1"/>
          <p:nvPr/>
        </p:nvSpPr>
        <p:spPr>
          <a:xfrm>
            <a:off x="1814155" y="7041666"/>
            <a:ext cx="5399445" cy="498663"/>
          </a:xfrm>
          <a:prstGeom prst="rect">
            <a:avLst/>
          </a:prstGeom>
          <a:noFill/>
        </p:spPr>
        <p:txBody>
          <a:bodyPr wrap="square" rtlCol="0">
            <a:spAutoFit/>
          </a:bodyPr>
          <a:lstStyle/>
          <a:p>
            <a:pPr>
              <a:lnSpc>
                <a:spcPct val="150000"/>
              </a:lnSpc>
            </a:pPr>
            <a:r>
              <a:rPr kumimoji="1" lang="en-US" sz="2000" b="1">
                <a:solidFill>
                  <a:schemeClr val="bg1"/>
                </a:solidFill>
                <a:latin typeface="Times New Roman" panose="02020603050405020304" pitchFamily="18" charset="0"/>
                <a:cs typeface="Times New Roman" panose="02020603050405020304" pitchFamily="18" charset="0"/>
              </a:rPr>
              <a:t>We get a right-skewed beta distribution</a:t>
            </a:r>
          </a:p>
        </p:txBody>
      </p:sp>
      <p:pic>
        <p:nvPicPr>
          <p:cNvPr id="44" name="图片 43" descr="徽标&#10;&#10;描述已自动生成">
            <a:extLst>
              <a:ext uri="{FF2B5EF4-FFF2-40B4-BE49-F238E27FC236}">
                <a16:creationId xmlns:a16="http://schemas.microsoft.com/office/drawing/2014/main" id="{E69DBB06-B443-4133-A04B-4C3024FAB170}"/>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752963" y="1255008"/>
            <a:ext cx="4876800" cy="2509107"/>
          </a:xfrm>
          <a:prstGeom prst="rect">
            <a:avLst/>
          </a:prstGeom>
        </p:spPr>
      </p:pic>
      <p:graphicFrame>
        <p:nvGraphicFramePr>
          <p:cNvPr id="45" name="表格 6">
            <a:extLst>
              <a:ext uri="{FF2B5EF4-FFF2-40B4-BE49-F238E27FC236}">
                <a16:creationId xmlns:a16="http://schemas.microsoft.com/office/drawing/2014/main" id="{3DAD9D66-1CA0-4EFE-A978-5E77737A2E7F}"/>
              </a:ext>
            </a:extLst>
          </p:cNvPr>
          <p:cNvGraphicFramePr>
            <a:graphicFrameLocks noGrp="1"/>
          </p:cNvGraphicFramePr>
          <p:nvPr/>
        </p:nvGraphicFramePr>
        <p:xfrm>
          <a:off x="10075474" y="3861464"/>
          <a:ext cx="4480440" cy="1100756"/>
        </p:xfrm>
        <a:graphic>
          <a:graphicData uri="http://schemas.openxmlformats.org/drawingml/2006/table">
            <a:tbl>
              <a:tblPr firstRow="1" bandRow="1">
                <a:tableStyleId>{5C22544A-7EE6-4342-B048-85BDC9FD1C3A}</a:tableStyleId>
              </a:tblPr>
              <a:tblGrid>
                <a:gridCol w="896088">
                  <a:extLst>
                    <a:ext uri="{9D8B030D-6E8A-4147-A177-3AD203B41FA5}">
                      <a16:colId xmlns:a16="http://schemas.microsoft.com/office/drawing/2014/main" val="2571315256"/>
                    </a:ext>
                  </a:extLst>
                </a:gridCol>
                <a:gridCol w="896088">
                  <a:extLst>
                    <a:ext uri="{9D8B030D-6E8A-4147-A177-3AD203B41FA5}">
                      <a16:colId xmlns:a16="http://schemas.microsoft.com/office/drawing/2014/main" val="2391174257"/>
                    </a:ext>
                  </a:extLst>
                </a:gridCol>
                <a:gridCol w="896088">
                  <a:extLst>
                    <a:ext uri="{9D8B030D-6E8A-4147-A177-3AD203B41FA5}">
                      <a16:colId xmlns:a16="http://schemas.microsoft.com/office/drawing/2014/main" val="1629716326"/>
                    </a:ext>
                  </a:extLst>
                </a:gridCol>
                <a:gridCol w="896088">
                  <a:extLst>
                    <a:ext uri="{9D8B030D-6E8A-4147-A177-3AD203B41FA5}">
                      <a16:colId xmlns:a16="http://schemas.microsoft.com/office/drawing/2014/main" val="2801532221"/>
                    </a:ext>
                  </a:extLst>
                </a:gridCol>
                <a:gridCol w="896088">
                  <a:extLst>
                    <a:ext uri="{9D8B030D-6E8A-4147-A177-3AD203B41FA5}">
                      <a16:colId xmlns:a16="http://schemas.microsoft.com/office/drawing/2014/main" val="2519731254"/>
                    </a:ext>
                  </a:extLst>
                </a:gridCol>
              </a:tblGrid>
              <a:tr h="275189">
                <a:tc>
                  <a:txBody>
                    <a:bodyPr/>
                    <a:lstStyle/>
                    <a:p>
                      <a:r>
                        <a:rPr lang="en-US" altLang="zh-CN" sz="1100">
                          <a:latin typeface="Times New Roman" panose="02020603050405020304" pitchFamily="18" charset="0"/>
                          <a:cs typeface="Times New Roman" panose="02020603050405020304" pitchFamily="18" charset="0"/>
                        </a:rPr>
                        <a:t>beta</a:t>
                      </a:r>
                      <a:endParaRPr lang="zh-CN" altLang="en-US" sz="1100">
                        <a:latin typeface="Times New Roman" panose="02020603050405020304" pitchFamily="18" charset="0"/>
                        <a:cs typeface="Times New Roman" panose="02020603050405020304" pitchFamily="18" charset="0"/>
                      </a:endParaRPr>
                    </a:p>
                  </a:txBody>
                  <a:tcPr/>
                </a:tc>
                <a:tc>
                  <a:txBody>
                    <a:bodyPr/>
                    <a:lstStyle/>
                    <a:p>
                      <a:r>
                        <a:rPr lang="en-US" altLang="zh-CN" sz="1100">
                          <a:latin typeface="Times New Roman" panose="02020603050405020304" pitchFamily="18" charset="0"/>
                          <a:cs typeface="Times New Roman" panose="02020603050405020304" pitchFamily="18" charset="0"/>
                        </a:rPr>
                        <a:t>mean</a:t>
                      </a:r>
                      <a:endParaRPr lang="zh-CN" altLang="en-US" sz="1100">
                        <a:latin typeface="Times New Roman" panose="02020603050405020304" pitchFamily="18" charset="0"/>
                        <a:cs typeface="Times New Roman" panose="02020603050405020304" pitchFamily="18" charset="0"/>
                      </a:endParaRPr>
                    </a:p>
                  </a:txBody>
                  <a:tcPr/>
                </a:tc>
                <a:tc>
                  <a:txBody>
                    <a:bodyPr/>
                    <a:lstStyle/>
                    <a:p>
                      <a:r>
                        <a:rPr lang="en-US" altLang="zh-CN" sz="1100">
                          <a:latin typeface="Times New Roman" panose="02020603050405020304" pitchFamily="18" charset="0"/>
                          <a:cs typeface="Times New Roman" panose="02020603050405020304" pitchFamily="18" charset="0"/>
                        </a:rPr>
                        <a:t>std</a:t>
                      </a:r>
                      <a:endParaRPr lang="zh-CN" altLang="en-US" sz="1100">
                        <a:latin typeface="Times New Roman" panose="02020603050405020304" pitchFamily="18" charset="0"/>
                        <a:cs typeface="Times New Roman" panose="02020603050405020304" pitchFamily="18" charset="0"/>
                      </a:endParaRPr>
                    </a:p>
                  </a:txBody>
                  <a:tcPr/>
                </a:tc>
                <a:tc>
                  <a:txBody>
                    <a:bodyPr/>
                    <a:lstStyle/>
                    <a:p>
                      <a:r>
                        <a:rPr lang="en-US" altLang="zh-CN" sz="1100">
                          <a:latin typeface="Times New Roman" panose="02020603050405020304" pitchFamily="18" charset="0"/>
                          <a:cs typeface="Times New Roman" panose="02020603050405020304" pitchFamily="18" charset="0"/>
                        </a:rPr>
                        <a:t>skewness</a:t>
                      </a:r>
                      <a:endParaRPr lang="zh-CN" altLang="en-US" sz="1100">
                        <a:latin typeface="Times New Roman" panose="02020603050405020304" pitchFamily="18" charset="0"/>
                        <a:cs typeface="Times New Roman" panose="02020603050405020304" pitchFamily="18" charset="0"/>
                      </a:endParaRPr>
                    </a:p>
                  </a:txBody>
                  <a:tcPr/>
                </a:tc>
                <a:tc>
                  <a:txBody>
                    <a:bodyPr/>
                    <a:lstStyle/>
                    <a:p>
                      <a:r>
                        <a:rPr lang="en-US" altLang="zh-CN" sz="1100">
                          <a:latin typeface="Times New Roman" panose="02020603050405020304" pitchFamily="18" charset="0"/>
                          <a:cs typeface="Times New Roman" panose="02020603050405020304" pitchFamily="18" charset="0"/>
                        </a:rPr>
                        <a:t>kurtosis</a:t>
                      </a:r>
                      <a:endParaRPr lang="zh-CN" altLang="en-US" sz="110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2518908108"/>
                  </a:ext>
                </a:extLst>
              </a:tr>
              <a:tr h="275189">
                <a:tc>
                  <a:txBody>
                    <a:bodyPr/>
                    <a:lstStyle/>
                    <a:p>
                      <a:r>
                        <a:rPr lang="en-US" altLang="zh-CN" sz="1100" b="0" kern="1200">
                          <a:solidFill>
                            <a:schemeClr val="dk1"/>
                          </a:solidFill>
                          <a:effectLst/>
                          <a:latin typeface="Times New Roman" panose="02020603050405020304" pitchFamily="18" charset="0"/>
                          <a:ea typeface="+mn-ea"/>
                          <a:cs typeface="Times New Roman" panose="02020603050405020304" pitchFamily="18" charset="0"/>
                        </a:rPr>
                        <a:t>norm</a:t>
                      </a:r>
                    </a:p>
                  </a:txBody>
                  <a:tcPr/>
                </a:tc>
                <a:tc>
                  <a:txBody>
                    <a:bodyPr/>
                    <a:lstStyle/>
                    <a:p>
                      <a:r>
                        <a:rPr lang="en-US" altLang="zh-CN" sz="1100" b="0" i="0" kern="1200">
                          <a:solidFill>
                            <a:schemeClr val="dk1"/>
                          </a:solidFill>
                          <a:effectLst/>
                          <a:latin typeface="Times New Roman" panose="02020603050405020304" pitchFamily="18" charset="0"/>
                          <a:ea typeface="+mn-ea"/>
                          <a:cs typeface="Times New Roman" panose="02020603050405020304" pitchFamily="18" charset="0"/>
                        </a:rPr>
                        <a:t>-0.0205</a:t>
                      </a:r>
                      <a:endParaRPr lang="zh-CN" altLang="en-US" sz="1100">
                        <a:latin typeface="Times New Roman" panose="02020603050405020304" pitchFamily="18" charset="0"/>
                        <a:cs typeface="Times New Roman" panose="02020603050405020304" pitchFamily="18" charset="0"/>
                      </a:endParaRPr>
                    </a:p>
                  </a:txBody>
                  <a:tcPr/>
                </a:tc>
                <a:tc>
                  <a:txBody>
                    <a:bodyPr/>
                    <a:lstStyle/>
                    <a:p>
                      <a:r>
                        <a:rPr lang="en-US" altLang="zh-CN" sz="1100" b="0" i="0" kern="1200">
                          <a:solidFill>
                            <a:schemeClr val="dk1"/>
                          </a:solidFill>
                          <a:effectLst/>
                          <a:latin typeface="Times New Roman" panose="02020603050405020304" pitchFamily="18" charset="0"/>
                          <a:ea typeface="+mn-ea"/>
                          <a:cs typeface="Times New Roman" panose="02020603050405020304" pitchFamily="18" charset="0"/>
                        </a:rPr>
                        <a:t>1.0496</a:t>
                      </a:r>
                      <a:endParaRPr lang="zh-CN" altLang="en-US" sz="1100">
                        <a:latin typeface="Times New Roman" panose="02020603050405020304" pitchFamily="18" charset="0"/>
                        <a:cs typeface="Times New Roman" panose="02020603050405020304" pitchFamily="18" charset="0"/>
                      </a:endParaRPr>
                    </a:p>
                  </a:txBody>
                  <a:tcPr/>
                </a:tc>
                <a:tc>
                  <a:txBody>
                    <a:bodyPr/>
                    <a:lstStyle/>
                    <a:p>
                      <a:r>
                        <a:rPr lang="en-US" altLang="zh-CN" sz="1100" b="0" i="0" kern="1200">
                          <a:solidFill>
                            <a:schemeClr val="dk1"/>
                          </a:solidFill>
                          <a:effectLst/>
                          <a:latin typeface="Times New Roman" panose="02020603050405020304" pitchFamily="18" charset="0"/>
                          <a:ea typeface="+mn-ea"/>
                          <a:cs typeface="Times New Roman" panose="02020603050405020304" pitchFamily="18" charset="0"/>
                        </a:rPr>
                        <a:t>-0.4153</a:t>
                      </a:r>
                      <a:endParaRPr lang="zh-CN" altLang="en-US" sz="1100">
                        <a:latin typeface="Times New Roman" panose="02020603050405020304" pitchFamily="18" charset="0"/>
                        <a:cs typeface="Times New Roman" panose="02020603050405020304" pitchFamily="18" charset="0"/>
                      </a:endParaRPr>
                    </a:p>
                  </a:txBody>
                  <a:tcPr/>
                </a:tc>
                <a:tc>
                  <a:txBody>
                    <a:bodyPr/>
                    <a:lstStyle/>
                    <a:p>
                      <a:r>
                        <a:rPr lang="en-US" altLang="zh-CN" sz="1100" b="0" i="0" kern="1200">
                          <a:solidFill>
                            <a:schemeClr val="dk1"/>
                          </a:solidFill>
                          <a:effectLst/>
                          <a:latin typeface="Times New Roman" panose="02020603050405020304" pitchFamily="18" charset="0"/>
                          <a:ea typeface="+mn-ea"/>
                          <a:cs typeface="Times New Roman" panose="02020603050405020304" pitchFamily="18" charset="0"/>
                        </a:rPr>
                        <a:t>1.1750</a:t>
                      </a:r>
                      <a:endParaRPr lang="zh-CN" altLang="en-US" sz="110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497365596"/>
                  </a:ext>
                </a:extLst>
              </a:tr>
              <a:tr h="275189">
                <a:tc>
                  <a:txBody>
                    <a:bodyPr/>
                    <a:lstStyle/>
                    <a:p>
                      <a:r>
                        <a:rPr lang="en-US" altLang="zh-CN" sz="1100">
                          <a:latin typeface="Times New Roman" panose="02020603050405020304" pitchFamily="18" charset="0"/>
                          <a:cs typeface="Times New Roman" panose="02020603050405020304" pitchFamily="18" charset="0"/>
                        </a:rPr>
                        <a:t>modify</a:t>
                      </a:r>
                      <a:endParaRPr lang="zh-CN" altLang="en-US" sz="1100">
                        <a:latin typeface="Times New Roman" panose="02020603050405020304" pitchFamily="18" charset="0"/>
                        <a:cs typeface="Times New Roman" panose="02020603050405020304" pitchFamily="18" charset="0"/>
                      </a:endParaRPr>
                    </a:p>
                  </a:txBody>
                  <a:tcPr/>
                </a:tc>
                <a:tc>
                  <a:txBody>
                    <a:bodyPr/>
                    <a:lstStyle/>
                    <a:p>
                      <a:r>
                        <a:rPr lang="en-US" altLang="zh-CN" sz="1100" b="0" i="0" kern="1200">
                          <a:solidFill>
                            <a:schemeClr val="dk1"/>
                          </a:solidFill>
                          <a:effectLst/>
                          <a:latin typeface="Times New Roman" panose="02020603050405020304" pitchFamily="18" charset="0"/>
                          <a:ea typeface="+mn-ea"/>
                          <a:cs typeface="Times New Roman" panose="02020603050405020304" pitchFamily="18" charset="0"/>
                        </a:rPr>
                        <a:t>0.0477</a:t>
                      </a:r>
                      <a:endParaRPr lang="zh-CN" altLang="en-US" sz="1100">
                        <a:latin typeface="Times New Roman" panose="02020603050405020304" pitchFamily="18" charset="0"/>
                        <a:cs typeface="Times New Roman" panose="02020603050405020304" pitchFamily="18" charset="0"/>
                      </a:endParaRPr>
                    </a:p>
                  </a:txBody>
                  <a:tcPr/>
                </a:tc>
                <a:tc>
                  <a:txBody>
                    <a:bodyPr/>
                    <a:lstStyle/>
                    <a:p>
                      <a:r>
                        <a:rPr lang="en-US" altLang="zh-CN" sz="1100" b="0" i="0" kern="1200" dirty="0">
                          <a:solidFill>
                            <a:schemeClr val="dk1"/>
                          </a:solidFill>
                          <a:effectLst/>
                          <a:latin typeface="Times New Roman" panose="02020603050405020304" pitchFamily="18" charset="0"/>
                          <a:ea typeface="+mn-ea"/>
                          <a:cs typeface="Times New Roman" panose="02020603050405020304" pitchFamily="18" charset="0"/>
                        </a:rPr>
                        <a:t>0.8515</a:t>
                      </a:r>
                      <a:endParaRPr lang="zh-CN" altLang="en-US" sz="1100" dirty="0">
                        <a:latin typeface="Times New Roman" panose="02020603050405020304" pitchFamily="18" charset="0"/>
                        <a:cs typeface="Times New Roman" panose="02020603050405020304" pitchFamily="18" charset="0"/>
                      </a:endParaRPr>
                    </a:p>
                  </a:txBody>
                  <a:tcPr/>
                </a:tc>
                <a:tc>
                  <a:txBody>
                    <a:bodyPr/>
                    <a:lstStyle/>
                    <a:p>
                      <a:r>
                        <a:rPr lang="en-US" altLang="zh-CN" sz="1100" b="0" i="0" kern="1200">
                          <a:solidFill>
                            <a:schemeClr val="dk1"/>
                          </a:solidFill>
                          <a:effectLst/>
                          <a:latin typeface="Times New Roman" panose="02020603050405020304" pitchFamily="18" charset="0"/>
                          <a:ea typeface="+mn-ea"/>
                          <a:cs typeface="Times New Roman" panose="02020603050405020304" pitchFamily="18" charset="0"/>
                        </a:rPr>
                        <a:t>0.1683</a:t>
                      </a:r>
                      <a:endParaRPr lang="zh-CN" altLang="en-US" sz="1100">
                        <a:latin typeface="Times New Roman" panose="02020603050405020304" pitchFamily="18" charset="0"/>
                        <a:cs typeface="Times New Roman" panose="02020603050405020304" pitchFamily="18" charset="0"/>
                      </a:endParaRPr>
                    </a:p>
                  </a:txBody>
                  <a:tcPr/>
                </a:tc>
                <a:tc>
                  <a:txBody>
                    <a:bodyPr/>
                    <a:lstStyle/>
                    <a:p>
                      <a:r>
                        <a:rPr lang="en-US" altLang="zh-CN" sz="1100" b="0" i="0" kern="1200">
                          <a:solidFill>
                            <a:schemeClr val="dk1"/>
                          </a:solidFill>
                          <a:effectLst/>
                          <a:latin typeface="Times New Roman" panose="02020603050405020304" pitchFamily="18" charset="0"/>
                          <a:ea typeface="+mn-ea"/>
                          <a:cs typeface="Times New Roman" panose="02020603050405020304" pitchFamily="18" charset="0"/>
                        </a:rPr>
                        <a:t>0.4513</a:t>
                      </a:r>
                      <a:endParaRPr lang="zh-CN" altLang="en-US" sz="110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2648733823"/>
                  </a:ext>
                </a:extLst>
              </a:tr>
              <a:tr h="275189">
                <a:tc>
                  <a:txBody>
                    <a:bodyPr/>
                    <a:lstStyle/>
                    <a:p>
                      <a:r>
                        <a:rPr lang="en-US" altLang="zh-CN" sz="1100">
                          <a:latin typeface="Times New Roman" panose="02020603050405020304" pitchFamily="18" charset="0"/>
                          <a:cs typeface="Times New Roman" panose="02020603050405020304" pitchFamily="18" charset="0"/>
                        </a:rPr>
                        <a:t>right</a:t>
                      </a:r>
                      <a:endParaRPr lang="zh-CN" altLang="en-US" sz="1100">
                        <a:latin typeface="Times New Roman" panose="02020603050405020304" pitchFamily="18" charset="0"/>
                        <a:cs typeface="Times New Roman" panose="02020603050405020304" pitchFamily="18" charset="0"/>
                      </a:endParaRPr>
                    </a:p>
                  </a:txBody>
                  <a:tcPr/>
                </a:tc>
                <a:tc>
                  <a:txBody>
                    <a:bodyPr/>
                    <a:lstStyle/>
                    <a:p>
                      <a:pPr marL="0" algn="l" defTabSz="914400" rtl="0" eaLnBrk="1" latinLnBrk="0" hangingPunct="1"/>
                      <a:r>
                        <a:rPr lang="en-US" altLang="zh-CN" sz="1100" b="0" i="0" kern="1200">
                          <a:solidFill>
                            <a:schemeClr val="dk1"/>
                          </a:solidFill>
                          <a:effectLst/>
                          <a:latin typeface="Times New Roman" panose="02020603050405020304" pitchFamily="18" charset="0"/>
                          <a:ea typeface="+mn-ea"/>
                          <a:cs typeface="Times New Roman" panose="02020603050405020304" pitchFamily="18" charset="0"/>
                        </a:rPr>
                        <a:t>0.1424</a:t>
                      </a:r>
                      <a:endParaRPr lang="zh-CN" altLang="en-US" sz="1100" b="0" i="0" kern="1200">
                        <a:solidFill>
                          <a:schemeClr val="dk1"/>
                        </a:solidFill>
                        <a:effectLst/>
                        <a:latin typeface="Times New Roman" panose="02020603050405020304" pitchFamily="18" charset="0"/>
                        <a:ea typeface="+mn-ea"/>
                        <a:cs typeface="Times New Roman" panose="02020603050405020304" pitchFamily="18" charset="0"/>
                      </a:endParaRPr>
                    </a:p>
                  </a:txBody>
                  <a:tcPr/>
                </a:tc>
                <a:tc>
                  <a:txBody>
                    <a:bodyPr/>
                    <a:lstStyle/>
                    <a:p>
                      <a:pPr marL="0" algn="l" defTabSz="914400" rtl="0" eaLnBrk="1" latinLnBrk="0" hangingPunct="1"/>
                      <a:r>
                        <a:rPr lang="en-US" altLang="zh-CN" sz="1100" b="0" i="0" kern="1200">
                          <a:solidFill>
                            <a:schemeClr val="dk1"/>
                          </a:solidFill>
                          <a:effectLst/>
                          <a:latin typeface="Times New Roman" panose="02020603050405020304" pitchFamily="18" charset="0"/>
                          <a:ea typeface="+mn-ea"/>
                          <a:cs typeface="Times New Roman" panose="02020603050405020304" pitchFamily="18" charset="0"/>
                        </a:rPr>
                        <a:t>0.7921</a:t>
                      </a:r>
                      <a:endParaRPr lang="zh-CN" altLang="en-US" sz="1100" b="0" i="0" kern="1200">
                        <a:solidFill>
                          <a:schemeClr val="dk1"/>
                        </a:solidFill>
                        <a:effectLst/>
                        <a:latin typeface="Times New Roman" panose="02020603050405020304" pitchFamily="18" charset="0"/>
                        <a:ea typeface="+mn-ea"/>
                        <a:cs typeface="Times New Roman" panose="02020603050405020304" pitchFamily="18" charset="0"/>
                      </a:endParaRPr>
                    </a:p>
                  </a:txBody>
                  <a:tcPr/>
                </a:tc>
                <a:tc>
                  <a:txBody>
                    <a:bodyPr/>
                    <a:lstStyle/>
                    <a:p>
                      <a:pPr marL="0" algn="l" defTabSz="914400" rtl="0" eaLnBrk="1" latinLnBrk="0" hangingPunct="1"/>
                      <a:r>
                        <a:rPr lang="en-US" altLang="zh-CN" sz="1100" b="0" i="0" kern="1200">
                          <a:solidFill>
                            <a:schemeClr val="dk1"/>
                          </a:solidFill>
                          <a:effectLst/>
                          <a:latin typeface="Times New Roman" panose="02020603050405020304" pitchFamily="18" charset="0"/>
                          <a:ea typeface="+mn-ea"/>
                          <a:cs typeface="Times New Roman" panose="02020603050405020304" pitchFamily="18" charset="0"/>
                        </a:rPr>
                        <a:t>1.0800</a:t>
                      </a:r>
                      <a:endParaRPr lang="zh-CN" altLang="en-US" sz="1100" b="0" i="0" kern="1200">
                        <a:solidFill>
                          <a:schemeClr val="dk1"/>
                        </a:solidFill>
                        <a:effectLst/>
                        <a:latin typeface="Times New Roman" panose="02020603050405020304" pitchFamily="18" charset="0"/>
                        <a:ea typeface="+mn-ea"/>
                        <a:cs typeface="Times New Roman" panose="02020603050405020304" pitchFamily="18" charset="0"/>
                      </a:endParaRPr>
                    </a:p>
                  </a:txBody>
                  <a:tcPr/>
                </a:tc>
                <a:tc>
                  <a:txBody>
                    <a:bodyPr/>
                    <a:lstStyle/>
                    <a:p>
                      <a:pPr marL="0" algn="l" defTabSz="914400" rtl="0" eaLnBrk="1" latinLnBrk="0" hangingPunct="1"/>
                      <a:r>
                        <a:rPr lang="en-US" altLang="zh-CN" sz="1100" b="0" i="0" kern="1200" dirty="0">
                          <a:solidFill>
                            <a:schemeClr val="dk1"/>
                          </a:solidFill>
                          <a:effectLst/>
                          <a:latin typeface="Times New Roman" panose="02020603050405020304" pitchFamily="18" charset="0"/>
                          <a:ea typeface="+mn-ea"/>
                          <a:cs typeface="Times New Roman" panose="02020603050405020304" pitchFamily="18" charset="0"/>
                        </a:rPr>
                        <a:t>2.5948</a:t>
                      </a:r>
                      <a:endParaRPr lang="zh-CN" altLang="en-US" sz="1100" b="0" i="0" kern="1200" dirty="0">
                        <a:solidFill>
                          <a:schemeClr val="dk1"/>
                        </a:solidFill>
                        <a:effectLst/>
                        <a:latin typeface="Times New Roman" panose="02020603050405020304" pitchFamily="18" charset="0"/>
                        <a:ea typeface="+mn-ea"/>
                        <a:cs typeface="Times New Roman" panose="02020603050405020304" pitchFamily="18" charset="0"/>
                      </a:endParaRPr>
                    </a:p>
                  </a:txBody>
                  <a:tcPr/>
                </a:tc>
                <a:extLst>
                  <a:ext uri="{0D108BD9-81ED-4DB2-BD59-A6C34878D82A}">
                    <a16:rowId xmlns:a16="http://schemas.microsoft.com/office/drawing/2014/main" val="1135459745"/>
                  </a:ext>
                </a:extLst>
              </a:tr>
            </a:tbl>
          </a:graphicData>
        </a:graphic>
      </p:graphicFrame>
      <p:pic>
        <p:nvPicPr>
          <p:cNvPr id="46" name="图片 45" descr="图表&#10;&#10;描述已自动生成">
            <a:extLst>
              <a:ext uri="{FF2B5EF4-FFF2-40B4-BE49-F238E27FC236}">
                <a16:creationId xmlns:a16="http://schemas.microsoft.com/office/drawing/2014/main" id="{F0476171-3E9F-4652-B6C7-D3AECF02139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514331" y="5443519"/>
            <a:ext cx="7543800" cy="3710594"/>
          </a:xfrm>
          <a:prstGeom prst="rect">
            <a:avLst/>
          </a:prstGeom>
        </p:spPr>
      </p:pic>
      <mc:AlternateContent xmlns:mc="http://schemas.openxmlformats.org/markup-compatibility/2006" xmlns:a14="http://schemas.microsoft.com/office/drawing/2010/main">
        <mc:Choice Requires="a14">
          <p:sp>
            <p:nvSpPr>
              <p:cNvPr id="47" name="文本框 46">
                <a:extLst>
                  <a:ext uri="{FF2B5EF4-FFF2-40B4-BE49-F238E27FC236}">
                    <a16:creationId xmlns:a16="http://schemas.microsoft.com/office/drawing/2014/main" id="{F43D9B02-B4AA-4F5F-8180-713F03851FDF}"/>
                  </a:ext>
                </a:extLst>
              </p:cNvPr>
              <p:cNvSpPr txBox="1"/>
              <p:nvPr/>
            </p:nvSpPr>
            <p:spPr>
              <a:xfrm>
                <a:off x="1878584" y="5443519"/>
                <a:ext cx="4079835" cy="399405"/>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kumimoji="1" lang="en-US" altLang="zh-CN" sz="2400" b="1" i="1">
                          <a:solidFill>
                            <a:schemeClr val="bg1"/>
                          </a:solidFill>
                          <a:latin typeface="Cambria Math" panose="02040503050406030204" pitchFamily="18" charset="0"/>
                          <a:cs typeface="Times New Roman" panose="02020603050405020304" pitchFamily="18" charset="0"/>
                        </a:rPr>
                        <m:t>𝑏𝑒𝑡</m:t>
                      </m:r>
                      <m:sSub>
                        <m:sSubPr>
                          <m:ctrlPr>
                            <a:rPr kumimoji="1" lang="en-US" altLang="zh-CN" sz="2400" b="1" i="1">
                              <a:solidFill>
                                <a:schemeClr val="bg1"/>
                              </a:solidFill>
                              <a:latin typeface="Cambria Math" panose="02040503050406030204" pitchFamily="18" charset="0"/>
                              <a:cs typeface="Times New Roman" panose="02020603050405020304" pitchFamily="18" charset="0"/>
                            </a:rPr>
                          </m:ctrlPr>
                        </m:sSubPr>
                        <m:e>
                          <m:r>
                            <a:rPr kumimoji="1" lang="en-US" altLang="zh-CN" sz="2400" b="1" i="1">
                              <a:solidFill>
                                <a:schemeClr val="bg1"/>
                              </a:solidFill>
                              <a:latin typeface="Cambria Math" panose="02040503050406030204" pitchFamily="18" charset="0"/>
                              <a:cs typeface="Times New Roman" panose="02020603050405020304" pitchFamily="18" charset="0"/>
                            </a:rPr>
                            <m:t>𝑎</m:t>
                          </m:r>
                        </m:e>
                        <m:sub>
                          <m:r>
                            <a:rPr kumimoji="1" lang="en-US" altLang="zh-CN" sz="2400" b="1" i="1">
                              <a:solidFill>
                                <a:schemeClr val="bg1"/>
                              </a:solidFill>
                              <a:latin typeface="Cambria Math" panose="02040503050406030204" pitchFamily="18" charset="0"/>
                              <a:cs typeface="Times New Roman" panose="02020603050405020304" pitchFamily="18" charset="0"/>
                            </a:rPr>
                            <m:t>𝑟𝑖𝑔h𝑡</m:t>
                          </m:r>
                        </m:sub>
                      </m:sSub>
                      <m:r>
                        <a:rPr kumimoji="1" lang="en-US" altLang="zh-CN" sz="2400" b="1" i="1">
                          <a:solidFill>
                            <a:schemeClr val="bg1"/>
                          </a:solidFill>
                          <a:latin typeface="Cambria Math" panose="02040503050406030204" pitchFamily="18" charset="0"/>
                          <a:cs typeface="Times New Roman" panose="02020603050405020304" pitchFamily="18" charset="0"/>
                        </a:rPr>
                        <m:t>=</m:t>
                      </m:r>
                      <m:r>
                        <a:rPr kumimoji="1" lang="en-US" altLang="zh-CN" sz="2400" b="1" i="1">
                          <a:solidFill>
                            <a:schemeClr val="bg1"/>
                          </a:solidFill>
                          <a:latin typeface="Cambria Math" panose="02040503050406030204" pitchFamily="18" charset="0"/>
                          <a:cs typeface="Times New Roman" panose="02020603050405020304" pitchFamily="18" charset="0"/>
                        </a:rPr>
                        <m:t>𝑏𝑒𝑡</m:t>
                      </m:r>
                      <m:sSub>
                        <m:sSubPr>
                          <m:ctrlPr>
                            <a:rPr kumimoji="1" lang="en-US" altLang="zh-CN" sz="2400" b="1" i="1">
                              <a:solidFill>
                                <a:schemeClr val="bg1"/>
                              </a:solidFill>
                              <a:latin typeface="Cambria Math" panose="02040503050406030204" pitchFamily="18" charset="0"/>
                              <a:cs typeface="Times New Roman" panose="02020603050405020304" pitchFamily="18" charset="0"/>
                            </a:rPr>
                          </m:ctrlPr>
                        </m:sSubPr>
                        <m:e>
                          <m:r>
                            <a:rPr kumimoji="1" lang="en-US" altLang="zh-CN" sz="2400" b="1" i="1">
                              <a:solidFill>
                                <a:schemeClr val="bg1"/>
                              </a:solidFill>
                              <a:latin typeface="Cambria Math" panose="02040503050406030204" pitchFamily="18" charset="0"/>
                              <a:cs typeface="Times New Roman" panose="02020603050405020304" pitchFamily="18" charset="0"/>
                            </a:rPr>
                            <m:t>𝑎</m:t>
                          </m:r>
                        </m:e>
                        <m:sub>
                          <m:r>
                            <a:rPr kumimoji="1" lang="en-US" altLang="zh-CN" sz="2400" b="1" i="1">
                              <a:solidFill>
                                <a:schemeClr val="bg1"/>
                              </a:solidFill>
                              <a:latin typeface="Cambria Math" panose="02040503050406030204" pitchFamily="18" charset="0"/>
                              <a:cs typeface="Times New Roman" panose="02020603050405020304" pitchFamily="18" charset="0"/>
                            </a:rPr>
                            <m:t>𝑚𝑜𝑑𝑖𝑓𝑦</m:t>
                          </m:r>
                        </m:sub>
                      </m:sSub>
                      <m:r>
                        <a:rPr kumimoji="1" lang="en-US" altLang="zh-CN" sz="2400" b="1" i="1">
                          <a:solidFill>
                            <a:schemeClr val="bg1"/>
                          </a:solidFill>
                          <a:latin typeface="Cambria Math" panose="02040503050406030204" pitchFamily="18" charset="0"/>
                          <a:cs typeface="Times New Roman" panose="02020603050405020304" pitchFamily="18" charset="0"/>
                        </a:rPr>
                        <m:t>∗</m:t>
                      </m:r>
                      <m:r>
                        <a:rPr kumimoji="1" lang="en-US" altLang="zh-CN" sz="2400" b="1" i="1">
                          <a:solidFill>
                            <a:schemeClr val="bg1"/>
                          </a:solidFill>
                          <a:latin typeface="Cambria Math" panose="02040503050406030204" pitchFamily="18" charset="0"/>
                          <a:cs typeface="Times New Roman" panose="02020603050405020304" pitchFamily="18" charset="0"/>
                        </a:rPr>
                        <m:t>𝑏𝑒𝑡𝑎</m:t>
                      </m:r>
                    </m:oMath>
                  </m:oMathPara>
                </a14:m>
                <a:endParaRPr kumimoji="1" lang="zh-CN" altLang="en-US" sz="2400" b="1" i="1">
                  <a:solidFill>
                    <a:schemeClr val="bg1"/>
                  </a:solidFill>
                  <a:latin typeface="Cambria Math" panose="02040503050406030204" pitchFamily="18" charset="0"/>
                  <a:cs typeface="Times New Roman" panose="02020603050405020304" pitchFamily="18" charset="0"/>
                </a:endParaRPr>
              </a:p>
            </p:txBody>
          </p:sp>
        </mc:Choice>
        <mc:Fallback xmlns="">
          <p:sp>
            <p:nvSpPr>
              <p:cNvPr id="47" name="文本框 46">
                <a:extLst>
                  <a:ext uri="{FF2B5EF4-FFF2-40B4-BE49-F238E27FC236}">
                    <a16:creationId xmlns:a16="http://schemas.microsoft.com/office/drawing/2014/main" id="{F43D9B02-B4AA-4F5F-8180-713F03851FDF}"/>
                  </a:ext>
                </a:extLst>
              </p:cNvPr>
              <p:cNvSpPr txBox="1">
                <a:spLocks noRot="1" noChangeAspect="1" noMove="1" noResize="1" noEditPoints="1" noAdjustHandles="1" noChangeArrowheads="1" noChangeShapeType="1" noTextEdit="1"/>
              </p:cNvSpPr>
              <p:nvPr/>
            </p:nvSpPr>
            <p:spPr>
              <a:xfrm>
                <a:off x="1878584" y="5443519"/>
                <a:ext cx="4079835" cy="399405"/>
              </a:xfrm>
              <a:prstGeom prst="rect">
                <a:avLst/>
              </a:prstGeom>
              <a:blipFill>
                <a:blip r:embed="rId10"/>
                <a:stretch>
                  <a:fillRect l="-1345" r="-1345" b="-27692"/>
                </a:stretch>
              </a:blipFill>
            </p:spPr>
            <p:txBody>
              <a:bodyPr/>
              <a:lstStyle/>
              <a:p>
                <a:r>
                  <a:rPr lang="zh-CN" altLang="en-US">
                    <a:noFill/>
                  </a:rPr>
                  <a:t> </a:t>
                </a:r>
              </a:p>
            </p:txBody>
          </p:sp>
        </mc:Fallback>
      </mc:AlternateContent>
      <p:sp>
        <p:nvSpPr>
          <p:cNvPr id="20" name="文本框 19">
            <a:extLst>
              <a:ext uri="{FF2B5EF4-FFF2-40B4-BE49-F238E27FC236}">
                <a16:creationId xmlns:a16="http://schemas.microsoft.com/office/drawing/2014/main" id="{1F0F6854-949A-4E8A-B133-FF765AA2C41E}"/>
              </a:ext>
            </a:extLst>
          </p:cNvPr>
          <p:cNvSpPr txBox="1"/>
          <p:nvPr/>
        </p:nvSpPr>
        <p:spPr>
          <a:xfrm>
            <a:off x="8715498" y="5135742"/>
            <a:ext cx="7689914" cy="307777"/>
          </a:xfrm>
          <a:prstGeom prst="rect">
            <a:avLst/>
          </a:prstGeom>
          <a:noFill/>
        </p:spPr>
        <p:txBody>
          <a:bodyPr wrap="square">
            <a:spAutoFit/>
          </a:bodyPr>
          <a:lstStyle/>
          <a:p>
            <a:r>
              <a:rPr lang="en-US" altLang="zh-CN" sz="1400" dirty="0">
                <a:latin typeface="华文中宋" panose="02010600040101010101" pitchFamily="2" charset="-122"/>
                <a:ea typeface="华文中宋" panose="02010600040101010101" pitchFamily="2" charset="-122"/>
              </a:rPr>
              <a:t>Figure 10. Comparison of trading with “</a:t>
            </a:r>
            <a:r>
              <a:rPr lang="en-US" altLang="zh-CN" sz="1400" dirty="0" err="1">
                <a:latin typeface="华文中宋" panose="02010600040101010101" pitchFamily="2" charset="-122"/>
                <a:ea typeface="华文中宋" panose="02010600040101010101" pitchFamily="2" charset="-122"/>
              </a:rPr>
              <a:t>norm”“modify”“right</a:t>
            </a:r>
            <a:r>
              <a:rPr lang="en-US" altLang="zh-CN" sz="1400" dirty="0">
                <a:latin typeface="华文中宋" panose="02010600040101010101" pitchFamily="2" charset="-122"/>
                <a:ea typeface="华文中宋" panose="02010600040101010101" pitchFamily="2" charset="-122"/>
              </a:rPr>
              <a:t>” and hs300 itself</a:t>
            </a:r>
          </a:p>
        </p:txBody>
      </p:sp>
      <p:sp>
        <p:nvSpPr>
          <p:cNvPr id="21" name="文本框 20">
            <a:extLst>
              <a:ext uri="{FF2B5EF4-FFF2-40B4-BE49-F238E27FC236}">
                <a16:creationId xmlns:a16="http://schemas.microsoft.com/office/drawing/2014/main" id="{8CC9F4E2-581D-4B4C-A549-98654ABE51CA}"/>
              </a:ext>
            </a:extLst>
          </p:cNvPr>
          <p:cNvSpPr txBox="1"/>
          <p:nvPr/>
        </p:nvSpPr>
        <p:spPr>
          <a:xfrm>
            <a:off x="9972162" y="936480"/>
            <a:ext cx="4283113" cy="523220"/>
          </a:xfrm>
          <a:prstGeom prst="rect">
            <a:avLst/>
          </a:prstGeom>
          <a:noFill/>
        </p:spPr>
        <p:txBody>
          <a:bodyPr wrap="square">
            <a:spAutoFit/>
          </a:bodyPr>
          <a:lstStyle/>
          <a:p>
            <a:r>
              <a:rPr lang="en-US" altLang="zh-CN" sz="1400" dirty="0">
                <a:latin typeface="华文中宋" panose="02010600040101010101" pitchFamily="2" charset="-122"/>
                <a:ea typeface="华文中宋" panose="02010600040101010101" pitchFamily="2" charset="-122"/>
              </a:rPr>
              <a:t>Figure 9. Distribution of norm, modify and right</a:t>
            </a:r>
            <a:endParaRPr lang="zh-CN" altLang="en-US" sz="1400" dirty="0">
              <a:latin typeface="华文中宋" panose="02010600040101010101" pitchFamily="2" charset="-122"/>
              <a:ea typeface="华文中宋" panose="02010600040101010101" pitchFamily="2" charset="-122"/>
            </a:endParaRPr>
          </a:p>
        </p:txBody>
      </p:sp>
    </p:spTree>
    <p:extLst>
      <p:ext uri="{BB962C8B-B14F-4D97-AF65-F5344CB8AC3E}">
        <p14:creationId xmlns:p14="http://schemas.microsoft.com/office/powerpoint/2010/main" val="15493944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文本框 8">
            <a:extLst>
              <a:ext uri="{FF2B5EF4-FFF2-40B4-BE49-F238E27FC236}">
                <a16:creationId xmlns:a16="http://schemas.microsoft.com/office/drawing/2014/main" id="{12C2D0AB-3192-4A91-BFE2-79A56D0244B0}"/>
              </a:ext>
            </a:extLst>
          </p:cNvPr>
          <p:cNvSpPr txBox="1"/>
          <p:nvPr/>
        </p:nvSpPr>
        <p:spPr>
          <a:xfrm>
            <a:off x="4165600" y="8488954"/>
            <a:ext cx="9699438" cy="579967"/>
          </a:xfrm>
          <a:prstGeom prst="rect">
            <a:avLst/>
          </a:prstGeom>
          <a:noFill/>
        </p:spPr>
        <p:txBody>
          <a:bodyPr wrap="square">
            <a:spAutoFit/>
          </a:bodyPr>
          <a:lstStyle/>
          <a:p>
            <a:pPr>
              <a:lnSpc>
                <a:spcPct val="150000"/>
              </a:lnSpc>
            </a:pPr>
            <a:r>
              <a:rPr lang="en-US" altLang="zh-CN" sz="2400" dirty="0">
                <a:solidFill>
                  <a:srgbClr val="000000"/>
                </a:solidFill>
                <a:latin typeface="Times New Roman" panose="02020603050405020304" pitchFamily="18" charset="0"/>
                <a:cs typeface="Times New Roman" panose="02020603050405020304" pitchFamily="18" charset="0"/>
              </a:rPr>
              <a:t>T</a:t>
            </a:r>
            <a:r>
              <a:rPr lang="en-US" altLang="zh-CN" sz="2400" b="0" i="0" dirty="0">
                <a:solidFill>
                  <a:srgbClr val="000000"/>
                </a:solidFill>
                <a:effectLst/>
                <a:latin typeface="Times New Roman" panose="02020603050405020304" pitchFamily="18" charset="0"/>
                <a:cs typeface="Times New Roman" panose="02020603050405020304" pitchFamily="18" charset="0"/>
              </a:rPr>
              <a:t>he optimization has improved the predictability and income</a:t>
            </a:r>
          </a:p>
        </p:txBody>
      </p:sp>
      <p:pic>
        <p:nvPicPr>
          <p:cNvPr id="10" name="Picture 2">
            <a:extLst>
              <a:ext uri="{FF2B5EF4-FFF2-40B4-BE49-F238E27FC236}">
                <a16:creationId xmlns:a16="http://schemas.microsoft.com/office/drawing/2014/main" id="{6C1C8F4C-60BB-439A-858A-C10A8A927FD0}"/>
              </a:ext>
            </a:extLst>
          </p:cNvPr>
          <p:cNvPicPr>
            <a:picLocks noChangeAspect="1"/>
          </p:cNvPicPr>
          <p:nvPr/>
        </p:nvPicPr>
        <p:blipFill>
          <a:blip r:embed="rId2"/>
          <a:stretch>
            <a:fillRect/>
          </a:stretch>
        </p:blipFill>
        <p:spPr>
          <a:xfrm>
            <a:off x="890415" y="916129"/>
            <a:ext cx="4682694" cy="2348687"/>
          </a:xfrm>
          <a:prstGeom prst="rect">
            <a:avLst/>
          </a:prstGeom>
        </p:spPr>
      </p:pic>
      <p:pic>
        <p:nvPicPr>
          <p:cNvPr id="11" name="Picture 3">
            <a:extLst>
              <a:ext uri="{FF2B5EF4-FFF2-40B4-BE49-F238E27FC236}">
                <a16:creationId xmlns:a16="http://schemas.microsoft.com/office/drawing/2014/main" id="{E6872001-9B59-41F7-B647-C8561F94DF1A}"/>
              </a:ext>
            </a:extLst>
          </p:cNvPr>
          <p:cNvPicPr>
            <a:picLocks noChangeAspect="1"/>
          </p:cNvPicPr>
          <p:nvPr/>
        </p:nvPicPr>
        <p:blipFill>
          <a:blip r:embed="rId3"/>
          <a:stretch>
            <a:fillRect/>
          </a:stretch>
        </p:blipFill>
        <p:spPr>
          <a:xfrm rot="-10800000" flipV="1">
            <a:off x="5580502" y="903189"/>
            <a:ext cx="4521305" cy="2347814"/>
          </a:xfrm>
          <a:prstGeom prst="rect">
            <a:avLst/>
          </a:prstGeom>
        </p:spPr>
      </p:pic>
      <p:pic>
        <p:nvPicPr>
          <p:cNvPr id="12" name="Picture 4">
            <a:extLst>
              <a:ext uri="{FF2B5EF4-FFF2-40B4-BE49-F238E27FC236}">
                <a16:creationId xmlns:a16="http://schemas.microsoft.com/office/drawing/2014/main" id="{A831C3AD-481B-4890-9EAF-C16D8DA32A47}"/>
              </a:ext>
            </a:extLst>
          </p:cNvPr>
          <p:cNvPicPr>
            <a:picLocks noChangeAspect="1"/>
          </p:cNvPicPr>
          <p:nvPr/>
        </p:nvPicPr>
        <p:blipFill>
          <a:blip r:embed="rId2"/>
          <a:stretch>
            <a:fillRect/>
          </a:stretch>
        </p:blipFill>
        <p:spPr>
          <a:xfrm>
            <a:off x="10109200" y="916129"/>
            <a:ext cx="4655151" cy="2334873"/>
          </a:xfrm>
          <a:prstGeom prst="rect">
            <a:avLst/>
          </a:prstGeom>
        </p:spPr>
      </p:pic>
      <p:sp>
        <p:nvSpPr>
          <p:cNvPr id="14" name="TextBox 6">
            <a:extLst>
              <a:ext uri="{FF2B5EF4-FFF2-40B4-BE49-F238E27FC236}">
                <a16:creationId xmlns:a16="http://schemas.microsoft.com/office/drawing/2014/main" id="{427930F1-510F-4CBE-90FF-B927FE05EB4E}"/>
              </a:ext>
            </a:extLst>
          </p:cNvPr>
          <p:cNvSpPr txBox="1"/>
          <p:nvPr/>
        </p:nvSpPr>
        <p:spPr>
          <a:xfrm>
            <a:off x="1777183" y="2546921"/>
            <a:ext cx="2938820" cy="416243"/>
          </a:xfrm>
          <a:prstGeom prst="rect">
            <a:avLst/>
          </a:prstGeom>
        </p:spPr>
        <p:txBody>
          <a:bodyPr lIns="0" tIns="0" rIns="0" bIns="0" rtlCol="0" anchor="t"/>
          <a:lstStyle/>
          <a:p>
            <a:pPr algn="ctr">
              <a:lnSpc>
                <a:spcPct val="105000"/>
              </a:lnSpc>
            </a:pPr>
            <a:r>
              <a:rPr lang="en-US" sz="2800" b="1" dirty="0">
                <a:solidFill>
                  <a:srgbClr val="DCB66B"/>
                </a:solidFill>
                <a:latin typeface="Times New Roman" panose="02020603050405020304" pitchFamily="18" charset="0"/>
                <a:cs typeface="Times New Roman" panose="02020603050405020304" pitchFamily="18" charset="0"/>
              </a:rPr>
              <a:t>norm</a:t>
            </a:r>
          </a:p>
          <a:p>
            <a:pPr algn="ctr">
              <a:lnSpc>
                <a:spcPct val="105000"/>
              </a:lnSpc>
            </a:pPr>
            <a:endParaRPr lang="en-US" sz="2800" b="1" dirty="0">
              <a:solidFill>
                <a:srgbClr val="DCB66B"/>
              </a:solidFill>
              <a:latin typeface="Times New Roman" panose="02020603050405020304" pitchFamily="18" charset="0"/>
              <a:cs typeface="Times New Roman" panose="02020603050405020304" pitchFamily="18" charset="0"/>
            </a:endParaRPr>
          </a:p>
        </p:txBody>
      </p:sp>
      <p:pic>
        <p:nvPicPr>
          <p:cNvPr id="15" name="Picture 7">
            <a:extLst>
              <a:ext uri="{FF2B5EF4-FFF2-40B4-BE49-F238E27FC236}">
                <a16:creationId xmlns:a16="http://schemas.microsoft.com/office/drawing/2014/main" id="{1E941F77-8226-4794-8A61-14D7CF2074EB}"/>
              </a:ext>
            </a:extLst>
          </p:cNvPr>
          <p:cNvPicPr>
            <a:picLocks noChangeAspect="1"/>
          </p:cNvPicPr>
          <p:nvPr/>
        </p:nvPicPr>
        <p:blipFill>
          <a:blip r:embed="rId4"/>
          <a:stretch>
            <a:fillRect/>
          </a:stretch>
        </p:blipFill>
        <p:spPr>
          <a:xfrm>
            <a:off x="2932617" y="1850666"/>
            <a:ext cx="627953" cy="602835"/>
          </a:xfrm>
          <a:prstGeom prst="rect">
            <a:avLst/>
          </a:prstGeom>
        </p:spPr>
      </p:pic>
      <p:sp>
        <p:nvSpPr>
          <p:cNvPr id="17" name="TextBox 9">
            <a:extLst>
              <a:ext uri="{FF2B5EF4-FFF2-40B4-BE49-F238E27FC236}">
                <a16:creationId xmlns:a16="http://schemas.microsoft.com/office/drawing/2014/main" id="{01258FD1-D336-4B19-9D36-AE8440965DBA}"/>
              </a:ext>
            </a:extLst>
          </p:cNvPr>
          <p:cNvSpPr txBox="1"/>
          <p:nvPr/>
        </p:nvSpPr>
        <p:spPr>
          <a:xfrm>
            <a:off x="6383457" y="2546921"/>
            <a:ext cx="2938820" cy="416243"/>
          </a:xfrm>
          <a:prstGeom prst="rect">
            <a:avLst/>
          </a:prstGeom>
        </p:spPr>
        <p:txBody>
          <a:bodyPr lIns="0" tIns="0" rIns="0" bIns="0" rtlCol="0" anchor="t"/>
          <a:lstStyle/>
          <a:p>
            <a:pPr algn="ctr">
              <a:lnSpc>
                <a:spcPct val="105000"/>
              </a:lnSpc>
            </a:pPr>
            <a:r>
              <a:rPr lang="en-US" sz="2800" b="1" dirty="0">
                <a:solidFill>
                  <a:srgbClr val="333333"/>
                </a:solidFill>
                <a:latin typeface="Times New Roman" panose="02020603050405020304" pitchFamily="18" charset="0"/>
                <a:cs typeface="Times New Roman" panose="02020603050405020304" pitchFamily="18" charset="0"/>
              </a:rPr>
              <a:t>modify</a:t>
            </a:r>
          </a:p>
          <a:p>
            <a:pPr algn="ctr">
              <a:lnSpc>
                <a:spcPct val="105000"/>
              </a:lnSpc>
            </a:pPr>
            <a:endParaRPr lang="en-US" sz="2800" b="1" dirty="0">
              <a:solidFill>
                <a:srgbClr val="333333"/>
              </a:solidFill>
              <a:latin typeface="Times New Roman" panose="02020603050405020304" pitchFamily="18" charset="0"/>
              <a:cs typeface="Times New Roman" panose="02020603050405020304" pitchFamily="18" charset="0"/>
            </a:endParaRPr>
          </a:p>
        </p:txBody>
      </p:sp>
      <p:pic>
        <p:nvPicPr>
          <p:cNvPr id="18" name="Picture 10">
            <a:extLst>
              <a:ext uri="{FF2B5EF4-FFF2-40B4-BE49-F238E27FC236}">
                <a16:creationId xmlns:a16="http://schemas.microsoft.com/office/drawing/2014/main" id="{2EBCEC48-3AB7-4232-8497-3BA0E0350483}"/>
              </a:ext>
            </a:extLst>
          </p:cNvPr>
          <p:cNvPicPr>
            <a:picLocks noChangeAspect="1"/>
          </p:cNvPicPr>
          <p:nvPr/>
        </p:nvPicPr>
        <p:blipFill>
          <a:blip r:embed="rId5"/>
          <a:stretch>
            <a:fillRect/>
          </a:stretch>
        </p:blipFill>
        <p:spPr>
          <a:xfrm>
            <a:off x="7461146" y="1820313"/>
            <a:ext cx="653071" cy="602835"/>
          </a:xfrm>
          <a:prstGeom prst="rect">
            <a:avLst/>
          </a:prstGeom>
        </p:spPr>
      </p:pic>
      <p:sp>
        <p:nvSpPr>
          <p:cNvPr id="19" name="TextBox 11">
            <a:extLst>
              <a:ext uri="{FF2B5EF4-FFF2-40B4-BE49-F238E27FC236}">
                <a16:creationId xmlns:a16="http://schemas.microsoft.com/office/drawing/2014/main" id="{71A993B6-36F9-46C0-82BD-B7BA7BE8EFAA}"/>
              </a:ext>
            </a:extLst>
          </p:cNvPr>
          <p:cNvSpPr txBox="1"/>
          <p:nvPr/>
        </p:nvSpPr>
        <p:spPr>
          <a:xfrm>
            <a:off x="11086142" y="2569706"/>
            <a:ext cx="2938820" cy="416243"/>
          </a:xfrm>
          <a:prstGeom prst="rect">
            <a:avLst/>
          </a:prstGeom>
        </p:spPr>
        <p:txBody>
          <a:bodyPr lIns="0" tIns="0" rIns="0" bIns="0" rtlCol="0" anchor="t"/>
          <a:lstStyle/>
          <a:p>
            <a:pPr algn="ctr">
              <a:lnSpc>
                <a:spcPct val="105000"/>
              </a:lnSpc>
            </a:pPr>
            <a:r>
              <a:rPr lang="en-US" sz="2800" b="1" dirty="0">
                <a:solidFill>
                  <a:srgbClr val="DCB66B"/>
                </a:solidFill>
                <a:latin typeface="Times New Roman" panose="02020603050405020304" pitchFamily="18" charset="0"/>
                <a:cs typeface="Times New Roman" panose="02020603050405020304" pitchFamily="18" charset="0"/>
              </a:rPr>
              <a:t>right</a:t>
            </a:r>
          </a:p>
          <a:p>
            <a:pPr algn="ctr">
              <a:lnSpc>
                <a:spcPct val="105000"/>
              </a:lnSpc>
            </a:pPr>
            <a:endParaRPr lang="en-US" sz="2800" b="1" dirty="0">
              <a:solidFill>
                <a:srgbClr val="DCB66B"/>
              </a:solidFill>
              <a:latin typeface="Times New Roman" panose="02020603050405020304" pitchFamily="18" charset="0"/>
              <a:cs typeface="Times New Roman" panose="02020603050405020304" pitchFamily="18" charset="0"/>
            </a:endParaRPr>
          </a:p>
        </p:txBody>
      </p:sp>
      <p:pic>
        <p:nvPicPr>
          <p:cNvPr id="21" name="Picture 13">
            <a:extLst>
              <a:ext uri="{FF2B5EF4-FFF2-40B4-BE49-F238E27FC236}">
                <a16:creationId xmlns:a16="http://schemas.microsoft.com/office/drawing/2014/main" id="{EB1FA10B-A343-4E0D-A4F6-661B199EDFBD}"/>
              </a:ext>
            </a:extLst>
          </p:cNvPr>
          <p:cNvPicPr>
            <a:picLocks noChangeAspect="1"/>
          </p:cNvPicPr>
          <p:nvPr/>
        </p:nvPicPr>
        <p:blipFill>
          <a:blip r:embed="rId6"/>
          <a:stretch>
            <a:fillRect/>
          </a:stretch>
        </p:blipFill>
        <p:spPr>
          <a:xfrm>
            <a:off x="12229017" y="1800941"/>
            <a:ext cx="653071" cy="590276"/>
          </a:xfrm>
          <a:prstGeom prst="rect">
            <a:avLst/>
          </a:prstGeom>
        </p:spPr>
      </p:pic>
      <p:pic>
        <p:nvPicPr>
          <p:cNvPr id="22" name="图片 21" descr="图表, 折线图&#10;&#10;描述已自动生成">
            <a:extLst>
              <a:ext uri="{FF2B5EF4-FFF2-40B4-BE49-F238E27FC236}">
                <a16:creationId xmlns:a16="http://schemas.microsoft.com/office/drawing/2014/main" id="{780F1364-7E18-4B7A-AFF5-2A8FC3467F7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573109" y="3399028"/>
            <a:ext cx="4352636" cy="2969768"/>
          </a:xfrm>
          <a:prstGeom prst="rect">
            <a:avLst/>
          </a:prstGeom>
        </p:spPr>
      </p:pic>
      <p:pic>
        <p:nvPicPr>
          <p:cNvPr id="23" name="图片 22" descr="图表, 折线图&#10;&#10;描述已自动生成">
            <a:extLst>
              <a:ext uri="{FF2B5EF4-FFF2-40B4-BE49-F238E27FC236}">
                <a16:creationId xmlns:a16="http://schemas.microsoft.com/office/drawing/2014/main" id="{9A9E66FE-A207-4865-AEF3-4D181FB4D33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90415" y="3399028"/>
            <a:ext cx="4352636" cy="2969768"/>
          </a:xfrm>
          <a:prstGeom prst="rect">
            <a:avLst/>
          </a:prstGeom>
        </p:spPr>
      </p:pic>
      <p:pic>
        <p:nvPicPr>
          <p:cNvPr id="24" name="图片 23">
            <a:extLst>
              <a:ext uri="{FF2B5EF4-FFF2-40B4-BE49-F238E27FC236}">
                <a16:creationId xmlns:a16="http://schemas.microsoft.com/office/drawing/2014/main" id="{2F6BE249-29C4-4B8E-AAB1-D96E7C8AF4D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101807" y="3361188"/>
            <a:ext cx="4352636" cy="2969768"/>
          </a:xfrm>
          <a:prstGeom prst="rect">
            <a:avLst/>
          </a:prstGeom>
        </p:spPr>
      </p:pic>
      <p:sp>
        <p:nvSpPr>
          <p:cNvPr id="25" name="TextBox 14">
            <a:extLst>
              <a:ext uri="{FF2B5EF4-FFF2-40B4-BE49-F238E27FC236}">
                <a16:creationId xmlns:a16="http://schemas.microsoft.com/office/drawing/2014/main" id="{27DA2999-D6F1-427C-A10E-11B8A2206FFB}"/>
              </a:ext>
            </a:extLst>
          </p:cNvPr>
          <p:cNvSpPr txBox="1"/>
          <p:nvPr/>
        </p:nvSpPr>
        <p:spPr>
          <a:xfrm>
            <a:off x="11404600" y="365062"/>
            <a:ext cx="4293108" cy="590276"/>
          </a:xfrm>
          <a:prstGeom prst="rect">
            <a:avLst/>
          </a:prstGeom>
        </p:spPr>
        <p:txBody>
          <a:bodyPr lIns="0" tIns="0" rIns="0" bIns="0" rtlCol="0" anchor="t"/>
          <a:lstStyle/>
          <a:p>
            <a:pPr algn="r">
              <a:lnSpc>
                <a:spcPct val="90000"/>
              </a:lnSpc>
            </a:pPr>
            <a:r>
              <a:rPr lang="en-US" altLang="zh-CN" sz="4000" b="1">
                <a:solidFill>
                  <a:srgbClr val="232F47"/>
                </a:solidFill>
                <a:latin typeface="Times New Roman" panose="02020603050405020304" pitchFamily="18" charset="0"/>
                <a:cs typeface="Times New Roman" panose="02020603050405020304" pitchFamily="18" charset="0"/>
              </a:rPr>
              <a:t>Optimize </a:t>
            </a:r>
            <a:r>
              <a:rPr lang="en-US" sz="4000" b="1">
                <a:solidFill>
                  <a:srgbClr val="232F47"/>
                </a:solidFill>
                <a:latin typeface="Times New Roman" panose="02020603050405020304" pitchFamily="18" charset="0"/>
                <a:cs typeface="Times New Roman" panose="02020603050405020304" pitchFamily="18" charset="0"/>
              </a:rPr>
              <a:t>Summary</a:t>
            </a:r>
          </a:p>
        </p:txBody>
      </p:sp>
      <p:pic>
        <p:nvPicPr>
          <p:cNvPr id="20" name="Picture 17">
            <a:extLst>
              <a:ext uri="{FF2B5EF4-FFF2-40B4-BE49-F238E27FC236}">
                <a16:creationId xmlns:a16="http://schemas.microsoft.com/office/drawing/2014/main" id="{9724100A-06C8-4278-9431-063FDDEAE2E9}"/>
              </a:ext>
            </a:extLst>
          </p:cNvPr>
          <p:cNvPicPr>
            <a:picLocks noChangeAspect="1"/>
          </p:cNvPicPr>
          <p:nvPr/>
        </p:nvPicPr>
        <p:blipFill>
          <a:blip r:embed="rId10"/>
          <a:stretch>
            <a:fillRect/>
          </a:stretch>
        </p:blipFill>
        <p:spPr>
          <a:xfrm>
            <a:off x="13157708" y="142938"/>
            <a:ext cx="2540000" cy="101600"/>
          </a:xfrm>
          <a:prstGeom prst="rect">
            <a:avLst/>
          </a:prstGeom>
        </p:spPr>
      </p:pic>
      <p:graphicFrame>
        <p:nvGraphicFramePr>
          <p:cNvPr id="26" name="表格 25">
            <a:extLst>
              <a:ext uri="{FF2B5EF4-FFF2-40B4-BE49-F238E27FC236}">
                <a16:creationId xmlns:a16="http://schemas.microsoft.com/office/drawing/2014/main" id="{E05E7936-428D-4BD4-A9F2-E9A78B25D932}"/>
              </a:ext>
            </a:extLst>
          </p:cNvPr>
          <p:cNvGraphicFramePr>
            <a:graphicFrameLocks noGrp="1"/>
          </p:cNvGraphicFramePr>
          <p:nvPr/>
        </p:nvGraphicFramePr>
        <p:xfrm>
          <a:off x="225552" y="7015299"/>
          <a:ext cx="15995904" cy="1604756"/>
        </p:xfrm>
        <a:graphic>
          <a:graphicData uri="http://schemas.openxmlformats.org/drawingml/2006/table">
            <a:tbl>
              <a:tblPr firstRow="1" bandRow="1">
                <a:tableStyleId>{5C22544A-7EE6-4342-B048-85BDC9FD1C3A}</a:tableStyleId>
              </a:tblPr>
              <a:tblGrid>
                <a:gridCol w="755904">
                  <a:extLst>
                    <a:ext uri="{9D8B030D-6E8A-4147-A177-3AD203B41FA5}">
                      <a16:colId xmlns:a16="http://schemas.microsoft.com/office/drawing/2014/main" val="558946785"/>
                    </a:ext>
                  </a:extLst>
                </a:gridCol>
                <a:gridCol w="1219200">
                  <a:extLst>
                    <a:ext uri="{9D8B030D-6E8A-4147-A177-3AD203B41FA5}">
                      <a16:colId xmlns:a16="http://schemas.microsoft.com/office/drawing/2014/main" val="1470424899"/>
                    </a:ext>
                  </a:extLst>
                </a:gridCol>
                <a:gridCol w="914400">
                  <a:extLst>
                    <a:ext uri="{9D8B030D-6E8A-4147-A177-3AD203B41FA5}">
                      <a16:colId xmlns:a16="http://schemas.microsoft.com/office/drawing/2014/main" val="905316091"/>
                    </a:ext>
                  </a:extLst>
                </a:gridCol>
                <a:gridCol w="838200">
                  <a:extLst>
                    <a:ext uri="{9D8B030D-6E8A-4147-A177-3AD203B41FA5}">
                      <a16:colId xmlns:a16="http://schemas.microsoft.com/office/drawing/2014/main" val="3619325372"/>
                    </a:ext>
                  </a:extLst>
                </a:gridCol>
                <a:gridCol w="762000">
                  <a:extLst>
                    <a:ext uri="{9D8B030D-6E8A-4147-A177-3AD203B41FA5}">
                      <a16:colId xmlns:a16="http://schemas.microsoft.com/office/drawing/2014/main" val="1679454600"/>
                    </a:ext>
                  </a:extLst>
                </a:gridCol>
                <a:gridCol w="762000">
                  <a:extLst>
                    <a:ext uri="{9D8B030D-6E8A-4147-A177-3AD203B41FA5}">
                      <a16:colId xmlns:a16="http://schemas.microsoft.com/office/drawing/2014/main" val="3823035186"/>
                    </a:ext>
                  </a:extLst>
                </a:gridCol>
                <a:gridCol w="990600">
                  <a:extLst>
                    <a:ext uri="{9D8B030D-6E8A-4147-A177-3AD203B41FA5}">
                      <a16:colId xmlns:a16="http://schemas.microsoft.com/office/drawing/2014/main" val="1913001041"/>
                    </a:ext>
                  </a:extLst>
                </a:gridCol>
                <a:gridCol w="762000">
                  <a:extLst>
                    <a:ext uri="{9D8B030D-6E8A-4147-A177-3AD203B41FA5}">
                      <a16:colId xmlns:a16="http://schemas.microsoft.com/office/drawing/2014/main" val="3293753500"/>
                    </a:ext>
                  </a:extLst>
                </a:gridCol>
                <a:gridCol w="762000">
                  <a:extLst>
                    <a:ext uri="{9D8B030D-6E8A-4147-A177-3AD203B41FA5}">
                      <a16:colId xmlns:a16="http://schemas.microsoft.com/office/drawing/2014/main" val="1355690906"/>
                    </a:ext>
                  </a:extLst>
                </a:gridCol>
                <a:gridCol w="685800">
                  <a:extLst>
                    <a:ext uri="{9D8B030D-6E8A-4147-A177-3AD203B41FA5}">
                      <a16:colId xmlns:a16="http://schemas.microsoft.com/office/drawing/2014/main" val="686550237"/>
                    </a:ext>
                  </a:extLst>
                </a:gridCol>
                <a:gridCol w="762000">
                  <a:extLst>
                    <a:ext uri="{9D8B030D-6E8A-4147-A177-3AD203B41FA5}">
                      <a16:colId xmlns:a16="http://schemas.microsoft.com/office/drawing/2014/main" val="3027516757"/>
                    </a:ext>
                  </a:extLst>
                </a:gridCol>
                <a:gridCol w="685800">
                  <a:extLst>
                    <a:ext uri="{9D8B030D-6E8A-4147-A177-3AD203B41FA5}">
                      <a16:colId xmlns:a16="http://schemas.microsoft.com/office/drawing/2014/main" val="2617362014"/>
                    </a:ext>
                  </a:extLst>
                </a:gridCol>
                <a:gridCol w="685800">
                  <a:extLst>
                    <a:ext uri="{9D8B030D-6E8A-4147-A177-3AD203B41FA5}">
                      <a16:colId xmlns:a16="http://schemas.microsoft.com/office/drawing/2014/main" val="3477720898"/>
                    </a:ext>
                  </a:extLst>
                </a:gridCol>
                <a:gridCol w="762000">
                  <a:extLst>
                    <a:ext uri="{9D8B030D-6E8A-4147-A177-3AD203B41FA5}">
                      <a16:colId xmlns:a16="http://schemas.microsoft.com/office/drawing/2014/main" val="4251675934"/>
                    </a:ext>
                  </a:extLst>
                </a:gridCol>
                <a:gridCol w="685800">
                  <a:extLst>
                    <a:ext uri="{9D8B030D-6E8A-4147-A177-3AD203B41FA5}">
                      <a16:colId xmlns:a16="http://schemas.microsoft.com/office/drawing/2014/main" val="616816901"/>
                    </a:ext>
                  </a:extLst>
                </a:gridCol>
                <a:gridCol w="838200">
                  <a:extLst>
                    <a:ext uri="{9D8B030D-6E8A-4147-A177-3AD203B41FA5}">
                      <a16:colId xmlns:a16="http://schemas.microsoft.com/office/drawing/2014/main" val="3104086165"/>
                    </a:ext>
                  </a:extLst>
                </a:gridCol>
                <a:gridCol w="838200">
                  <a:extLst>
                    <a:ext uri="{9D8B030D-6E8A-4147-A177-3AD203B41FA5}">
                      <a16:colId xmlns:a16="http://schemas.microsoft.com/office/drawing/2014/main" val="325964032"/>
                    </a:ext>
                  </a:extLst>
                </a:gridCol>
                <a:gridCol w="838200">
                  <a:extLst>
                    <a:ext uri="{9D8B030D-6E8A-4147-A177-3AD203B41FA5}">
                      <a16:colId xmlns:a16="http://schemas.microsoft.com/office/drawing/2014/main" val="2705672481"/>
                    </a:ext>
                  </a:extLst>
                </a:gridCol>
                <a:gridCol w="685800">
                  <a:extLst>
                    <a:ext uri="{9D8B030D-6E8A-4147-A177-3AD203B41FA5}">
                      <a16:colId xmlns:a16="http://schemas.microsoft.com/office/drawing/2014/main" val="873061771"/>
                    </a:ext>
                  </a:extLst>
                </a:gridCol>
                <a:gridCol w="762000">
                  <a:extLst>
                    <a:ext uri="{9D8B030D-6E8A-4147-A177-3AD203B41FA5}">
                      <a16:colId xmlns:a16="http://schemas.microsoft.com/office/drawing/2014/main" val="3839242407"/>
                    </a:ext>
                  </a:extLst>
                </a:gridCol>
              </a:tblGrid>
              <a:tr h="401189">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method</a:t>
                      </a:r>
                      <a:endParaRPr lang="zh-CN" altLang="en-US" sz="100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N</a:t>
                      </a:r>
                      <a:r>
                        <a:rPr lang="zh-CN" altLang="en-US" sz="1000">
                          <a:latin typeface="华文中宋" panose="02010600040101010101" pitchFamily="2" charset="-122"/>
                          <a:ea typeface="华文中宋" panose="02010600040101010101" pitchFamily="2" charset="-122"/>
                          <a:cs typeface="Times New Roman" panose="02020603050405020304" pitchFamily="18" charset="0"/>
                        </a:rPr>
                        <a:t> </a:t>
                      </a:r>
                      <a:r>
                        <a:rPr lang="en-US" altLang="zh-CN" sz="1000">
                          <a:latin typeface="华文中宋" panose="02010600040101010101" pitchFamily="2" charset="-122"/>
                          <a:ea typeface="华文中宋" panose="02010600040101010101" pitchFamily="2" charset="-122"/>
                          <a:cs typeface="Times New Roman" panose="02020603050405020304" pitchFamily="18" charset="0"/>
                        </a:rPr>
                        <a:t>M</a:t>
                      </a:r>
                      <a:r>
                        <a:rPr lang="zh-CN" altLang="en-US" sz="1000">
                          <a:latin typeface="华文中宋" panose="02010600040101010101" pitchFamily="2" charset="-122"/>
                          <a:ea typeface="华文中宋" panose="02010600040101010101" pitchFamily="2" charset="-122"/>
                          <a:cs typeface="Times New Roman" panose="02020603050405020304" pitchFamily="18" charset="0"/>
                        </a:rPr>
                        <a:t> </a:t>
                      </a:r>
                      <a:r>
                        <a:rPr lang="en-US" altLang="zh-CN" sz="1000">
                          <a:latin typeface="华文中宋" panose="02010600040101010101" pitchFamily="2" charset="-122"/>
                          <a:ea typeface="华文中宋" panose="02010600040101010101" pitchFamily="2" charset="-122"/>
                          <a:cs typeface="Times New Roman" panose="02020603050405020304" pitchFamily="18" charset="0"/>
                        </a:rPr>
                        <a:t>th</a:t>
                      </a:r>
                      <a:endParaRPr lang="zh-CN" altLang="en-US" sz="100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AR</a:t>
                      </a:r>
                      <a:endParaRPr lang="zh-CN" altLang="en-US" sz="100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CAR</a:t>
                      </a:r>
                      <a:endParaRPr lang="zh-CN" altLang="en-US" sz="100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Base AR</a:t>
                      </a:r>
                      <a:endParaRPr lang="zh-CN" altLang="en-US" sz="100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Base CAR</a:t>
                      </a:r>
                      <a:endParaRPr lang="zh-CN" altLang="en-US" sz="100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Rtn/trade</a:t>
                      </a:r>
                      <a:endParaRPr lang="zh-CN" altLang="en-US" sz="100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alpha</a:t>
                      </a:r>
                      <a:endParaRPr lang="zh-CN" altLang="en-US" sz="1000" dirty="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beta</a:t>
                      </a:r>
                      <a:endParaRPr lang="zh-CN" altLang="en-US" sz="1000" dirty="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Trades</a:t>
                      </a:r>
                      <a:endParaRPr lang="zh-CN" altLang="en-US" sz="1000" dirty="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Win rate</a:t>
                      </a:r>
                      <a:endParaRPr lang="zh-CN" altLang="en-US" sz="1000" dirty="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Hold days</a:t>
                      </a:r>
                      <a:endParaRPr lang="zh-CN" altLang="en-US" sz="1000" dirty="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Profit days</a:t>
                      </a:r>
                      <a:endParaRPr lang="zh-CN" altLang="en-US" sz="1000" dirty="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Profit</a:t>
                      </a:r>
                      <a:r>
                        <a:rPr lang="zh-CN" altLang="en-US" sz="1000">
                          <a:latin typeface="华文中宋" panose="02010600040101010101" pitchFamily="2" charset="-122"/>
                          <a:ea typeface="华文中宋" panose="02010600040101010101" pitchFamily="2" charset="-122"/>
                          <a:cs typeface="Times New Roman" panose="02020603050405020304" pitchFamily="18" charset="0"/>
                        </a:rPr>
                        <a:t> </a:t>
                      </a:r>
                      <a:r>
                        <a:rPr lang="en-US" altLang="zh-CN" sz="1000">
                          <a:latin typeface="华文中宋" panose="02010600040101010101" pitchFamily="2" charset="-122"/>
                          <a:ea typeface="华文中宋" panose="02010600040101010101" pitchFamily="2" charset="-122"/>
                          <a:cs typeface="Times New Roman" panose="02020603050405020304" pitchFamily="18" charset="0"/>
                        </a:rPr>
                        <a:t>rate</a:t>
                      </a:r>
                      <a:endParaRPr lang="zh-CN" altLang="en-US" sz="1000" dirty="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Loss rate</a:t>
                      </a:r>
                      <a:endParaRPr lang="zh-CN" altLang="en-US" sz="1000" dirty="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Profit/loss</a:t>
                      </a:r>
                      <a:endParaRPr lang="zh-CN" altLang="en-US" sz="1000" dirty="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Volatility</a:t>
                      </a:r>
                      <a:endParaRPr lang="zh-CN" altLang="en-US" sz="1000" dirty="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dirty="0">
                          <a:latin typeface="华文中宋" panose="02010600040101010101" pitchFamily="2" charset="-122"/>
                          <a:ea typeface="华文中宋" panose="02010600040101010101" pitchFamily="2" charset="-122"/>
                          <a:cs typeface="Times New Roman" panose="02020603050405020304" pitchFamily="18" charset="0"/>
                        </a:rPr>
                        <a:t>drawdown</a:t>
                      </a:r>
                      <a:endParaRPr lang="zh-CN" altLang="en-US" sz="1000" dirty="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Sharp</a:t>
                      </a:r>
                      <a:r>
                        <a:rPr lang="zh-CN" altLang="en-US" sz="1000">
                          <a:latin typeface="华文中宋" panose="02010600040101010101" pitchFamily="2" charset="-122"/>
                          <a:ea typeface="华文中宋" panose="02010600040101010101" pitchFamily="2" charset="-122"/>
                          <a:cs typeface="Times New Roman" panose="02020603050405020304" pitchFamily="18" charset="0"/>
                        </a:rPr>
                        <a:t> </a:t>
                      </a:r>
                      <a:r>
                        <a:rPr lang="en-US" altLang="zh-CN" sz="1000">
                          <a:latin typeface="华文中宋" panose="02010600040101010101" pitchFamily="2" charset="-122"/>
                          <a:ea typeface="华文中宋" panose="02010600040101010101" pitchFamily="2" charset="-122"/>
                          <a:cs typeface="Times New Roman" panose="02020603050405020304" pitchFamily="18" charset="0"/>
                        </a:rPr>
                        <a:t>ratio</a:t>
                      </a:r>
                      <a:endParaRPr lang="zh-CN" altLang="en-US" sz="1000" dirty="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Information ratio</a:t>
                      </a:r>
                      <a:endParaRPr lang="zh-CN" altLang="en-US" sz="1000" dirty="0">
                        <a:latin typeface="华文中宋" panose="02010600040101010101" pitchFamily="2" charset="-122"/>
                        <a:ea typeface="华文中宋" panose="02010600040101010101" pitchFamily="2" charset="-122"/>
                        <a:cs typeface="Times New Roman" panose="02020603050405020304" pitchFamily="18" charset="0"/>
                      </a:endParaRPr>
                    </a:p>
                  </a:txBody>
                  <a:tcPr/>
                </a:tc>
                <a:extLst>
                  <a:ext uri="{0D108BD9-81ED-4DB2-BD59-A6C34878D82A}">
                    <a16:rowId xmlns:a16="http://schemas.microsoft.com/office/drawing/2014/main" val="4181602344"/>
                  </a:ext>
                </a:extLst>
              </a:tr>
              <a:tr h="401189">
                <a:tc>
                  <a:txBody>
                    <a:bodyPr/>
                    <a:lstStyle/>
                    <a:p>
                      <a:r>
                        <a:rPr lang="en-US" altLang="zh-CN" sz="1000" dirty="0">
                          <a:latin typeface="华文中宋" panose="02010600040101010101" pitchFamily="2" charset="-122"/>
                          <a:ea typeface="华文中宋" panose="02010600040101010101" pitchFamily="2" charset="-122"/>
                          <a:cs typeface="Times New Roman" panose="02020603050405020304" pitchFamily="18" charset="0"/>
                        </a:rPr>
                        <a:t>Norm</a:t>
                      </a:r>
                      <a:endParaRPr lang="zh-CN" altLang="en-US" sz="1000" dirty="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000">
                          <a:latin typeface="华文中宋" panose="02010600040101010101" pitchFamily="2" charset="-122"/>
                          <a:ea typeface="华文中宋" panose="02010600040101010101" pitchFamily="2" charset="-122"/>
                          <a:cs typeface="Times New Roman" panose="02020603050405020304" pitchFamily="18" charset="0"/>
                        </a:rPr>
                        <a:t>16,900, 0.95</a:t>
                      </a:r>
                      <a:endParaRPr lang="zh-CN" altLang="en-US" sz="100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000">
                          <a:latin typeface="华文中宋" panose="02010600040101010101" pitchFamily="2" charset="-122"/>
                          <a:ea typeface="华文中宋" panose="02010600040101010101" pitchFamily="2" charset="-122"/>
                          <a:cs typeface="Times New Roman" panose="02020603050405020304" pitchFamily="18" charset="0"/>
                        </a:rPr>
                        <a:t>0.2164</a:t>
                      </a:r>
                      <a:endParaRPr lang="zh-CN" altLang="en-US" sz="100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4.6412</a:t>
                      </a:r>
                      <a:endParaRPr lang="zh-CN" altLang="en-US" sz="1000" dirty="0">
                        <a:latin typeface="华文中宋" panose="02010600040101010101" pitchFamily="2" charset="-122"/>
                        <a:ea typeface="华文中宋" panose="02010600040101010101" pitchFamily="2" charset="-122"/>
                        <a:cs typeface="Times New Roman" panose="02020603050405020304" pitchFamily="18" charset="0"/>
                      </a:endParaRPr>
                    </a:p>
                  </a:txBody>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000">
                          <a:latin typeface="华文中宋" panose="02010600040101010101" pitchFamily="2" charset="-122"/>
                          <a:ea typeface="华文中宋" panose="02010600040101010101" pitchFamily="2" charset="-122"/>
                          <a:cs typeface="Times New Roman" panose="02020603050405020304" pitchFamily="18" charset="0"/>
                        </a:rPr>
                        <a:t>0.0921</a:t>
                      </a:r>
                      <a:endParaRPr lang="zh-CN" altLang="en-US" sz="1000">
                        <a:latin typeface="华文中宋" panose="02010600040101010101" pitchFamily="2" charset="-122"/>
                        <a:ea typeface="华文中宋" panose="02010600040101010101" pitchFamily="2" charset="-122"/>
                        <a:cs typeface="Times New Roman" panose="02020603050405020304" pitchFamily="18" charset="0"/>
                      </a:endParaRPr>
                    </a:p>
                  </a:txBody>
                  <a:tcPr anchor="ct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000">
                          <a:latin typeface="华文中宋" panose="02010600040101010101" pitchFamily="2" charset="-122"/>
                          <a:ea typeface="华文中宋" panose="02010600040101010101" pitchFamily="2" charset="-122"/>
                          <a:cs typeface="Times New Roman" panose="02020603050405020304" pitchFamily="18" charset="0"/>
                        </a:rPr>
                        <a:t>1.1776</a:t>
                      </a:r>
                      <a:endParaRPr lang="zh-CN" altLang="en-US" sz="1000">
                        <a:latin typeface="华文中宋" panose="02010600040101010101" pitchFamily="2" charset="-122"/>
                        <a:ea typeface="华文中宋" panose="02010600040101010101" pitchFamily="2" charset="-122"/>
                        <a:cs typeface="Times New Roman" panose="02020603050405020304" pitchFamily="18"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000">
                          <a:latin typeface="华文中宋" panose="02010600040101010101" pitchFamily="2" charset="-122"/>
                          <a:ea typeface="华文中宋" panose="02010600040101010101" pitchFamily="2" charset="-122"/>
                          <a:cs typeface="Times New Roman" panose="02020603050405020304" pitchFamily="18" charset="0"/>
                        </a:rPr>
                        <a:t>0.0348</a:t>
                      </a:r>
                      <a:endParaRPr lang="zh-CN" altLang="en-US" sz="100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0.1243</a:t>
                      </a:r>
                      <a:endParaRPr lang="zh-CN" altLang="en-US" sz="100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0.3646</a:t>
                      </a:r>
                      <a:endParaRPr lang="zh-CN" altLang="en-US" sz="100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46</a:t>
                      </a:r>
                      <a:endParaRPr lang="zh-CN" altLang="en-US" sz="100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0.6304</a:t>
                      </a:r>
                      <a:endParaRPr lang="zh-CN" altLang="en-US" sz="100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1417</a:t>
                      </a:r>
                      <a:endParaRPr lang="zh-CN" altLang="en-US" sz="100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764</a:t>
                      </a:r>
                      <a:endParaRPr lang="zh-CN" altLang="en-US" sz="100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0.0698</a:t>
                      </a:r>
                      <a:endParaRPr lang="zh-CN" altLang="en-US" sz="100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0.0286</a:t>
                      </a:r>
                      <a:endParaRPr lang="zh-CN" altLang="en-US" sz="100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2.4380</a:t>
                      </a:r>
                      <a:endParaRPr lang="zh-CN" altLang="en-US" sz="100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0.1390</a:t>
                      </a:r>
                      <a:endParaRPr lang="zh-CN" altLang="en-US" sz="100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0.2264</a:t>
                      </a:r>
                      <a:endParaRPr lang="zh-CN" altLang="en-US" sz="100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0.2884</a:t>
                      </a:r>
                      <a:endParaRPr lang="zh-CN" altLang="en-US" sz="100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10.6272</a:t>
                      </a:r>
                      <a:endParaRPr lang="zh-CN" altLang="en-US" sz="1000">
                        <a:latin typeface="华文中宋" panose="02010600040101010101" pitchFamily="2" charset="-122"/>
                        <a:ea typeface="华文中宋" panose="02010600040101010101" pitchFamily="2" charset="-122"/>
                        <a:cs typeface="Times New Roman" panose="02020603050405020304" pitchFamily="18" charset="0"/>
                      </a:endParaRPr>
                    </a:p>
                  </a:txBody>
                  <a:tcPr/>
                </a:tc>
                <a:extLst>
                  <a:ext uri="{0D108BD9-81ED-4DB2-BD59-A6C34878D82A}">
                    <a16:rowId xmlns:a16="http://schemas.microsoft.com/office/drawing/2014/main" val="803455614"/>
                  </a:ext>
                </a:extLst>
              </a:tr>
              <a:tr h="401189">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Modify</a:t>
                      </a:r>
                      <a:endParaRPr lang="zh-CN" altLang="en-US" sz="100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16, 900, 0.90</a:t>
                      </a:r>
                      <a:endParaRPr lang="zh-CN" altLang="en-US" sz="100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0.2339</a:t>
                      </a:r>
                      <a:endParaRPr lang="zh-CN" altLang="en-US" sz="100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5.4001</a:t>
                      </a:r>
                      <a:endParaRPr lang="zh-CN" altLang="en-US" sz="1000">
                        <a:latin typeface="华文中宋" panose="02010600040101010101" pitchFamily="2" charset="-122"/>
                        <a:ea typeface="华文中宋" panose="02010600040101010101" pitchFamily="2" charset="-122"/>
                        <a:cs typeface="Times New Roman" panose="02020603050405020304" pitchFamily="18" charset="0"/>
                      </a:endParaRPr>
                    </a:p>
                  </a:txBody>
                  <a:tcPr/>
                </a:tc>
                <a:tc vMerge="1">
                  <a:txBody>
                    <a:bodyPr/>
                    <a:lstStyle/>
                    <a:p>
                      <a:endParaRPr lang="zh-CN" altLang="en-US" sz="1200">
                        <a:latin typeface="华文中宋" panose="02010600040101010101" pitchFamily="2" charset="-122"/>
                        <a:ea typeface="华文中宋" panose="02010600040101010101" pitchFamily="2" charset="-122"/>
                        <a:cs typeface="Times New Roman" panose="02020603050405020304" pitchFamily="18" charset="0"/>
                      </a:endParaRPr>
                    </a:p>
                  </a:txBody>
                  <a:tcPr/>
                </a:tc>
                <a:tc vMerge="1">
                  <a:txBody>
                    <a:bodyPr/>
                    <a:lstStyle/>
                    <a:p>
                      <a:endParaRPr lang="zh-CN" altLang="en-US" sz="120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0.0411</a:t>
                      </a:r>
                      <a:endParaRPr lang="zh-CN" altLang="en-US" sz="100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0.1418</a:t>
                      </a:r>
                      <a:endParaRPr lang="zh-CN" altLang="en-US" sz="100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0.4264</a:t>
                      </a:r>
                      <a:endParaRPr lang="zh-CN" altLang="en-US" sz="100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42</a:t>
                      </a:r>
                      <a:endParaRPr lang="zh-CN" altLang="en-US" sz="100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solidFill>
                            <a:schemeClr val="tx1"/>
                          </a:solidFill>
                          <a:latin typeface="华文中宋" panose="02010600040101010101" pitchFamily="2" charset="-122"/>
                          <a:ea typeface="华文中宋" panose="02010600040101010101" pitchFamily="2" charset="-122"/>
                          <a:cs typeface="Times New Roman" panose="02020603050405020304" pitchFamily="18" charset="0"/>
                        </a:rPr>
                        <a:t>0.6666</a:t>
                      </a:r>
                      <a:endParaRPr lang="zh-CN" altLang="en-US" sz="1000">
                        <a:solidFill>
                          <a:schemeClr val="tx1"/>
                        </a:solidFill>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1643</a:t>
                      </a:r>
                      <a:endParaRPr lang="zh-CN" altLang="en-US" sz="100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884</a:t>
                      </a:r>
                      <a:endParaRPr lang="zh-CN" altLang="en-US" sz="100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0.0741</a:t>
                      </a:r>
                      <a:endParaRPr lang="zh-CN" altLang="en-US" sz="100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0.0298</a:t>
                      </a:r>
                      <a:endParaRPr lang="zh-CN" altLang="en-US" sz="100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2.4809</a:t>
                      </a:r>
                      <a:endParaRPr lang="zh-CN" altLang="en-US" sz="100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0.1503</a:t>
                      </a:r>
                      <a:endParaRPr lang="zh-CN" altLang="en-US" sz="100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0.2475</a:t>
                      </a:r>
                      <a:endParaRPr lang="zh-CN" altLang="en-US" sz="100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0.3705</a:t>
                      </a:r>
                      <a:endParaRPr lang="zh-CN" altLang="en-US" sz="100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12.8201</a:t>
                      </a:r>
                      <a:endParaRPr lang="zh-CN" altLang="en-US" sz="1000">
                        <a:latin typeface="华文中宋" panose="02010600040101010101" pitchFamily="2" charset="-122"/>
                        <a:ea typeface="华文中宋" panose="02010600040101010101" pitchFamily="2" charset="-122"/>
                        <a:cs typeface="Times New Roman" panose="02020603050405020304" pitchFamily="18" charset="0"/>
                      </a:endParaRPr>
                    </a:p>
                  </a:txBody>
                  <a:tcPr/>
                </a:tc>
                <a:extLst>
                  <a:ext uri="{0D108BD9-81ED-4DB2-BD59-A6C34878D82A}">
                    <a16:rowId xmlns:a16="http://schemas.microsoft.com/office/drawing/2014/main" val="2711314742"/>
                  </a:ext>
                </a:extLst>
              </a:tr>
              <a:tr h="401189">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Right</a:t>
                      </a:r>
                      <a:endParaRPr lang="zh-CN" altLang="en-US" sz="100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latin typeface="华文中宋" panose="02010600040101010101" pitchFamily="2" charset="-122"/>
                          <a:ea typeface="华文中宋" panose="02010600040101010101" pitchFamily="2" charset="-122"/>
                          <a:cs typeface="Times New Roman" panose="02020603050405020304" pitchFamily="18" charset="0"/>
                        </a:rPr>
                        <a:t>18, 800, 0.85</a:t>
                      </a:r>
                      <a:endParaRPr lang="zh-CN" altLang="en-US" sz="100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solidFill>
                            <a:srgbClr val="FF0000"/>
                          </a:solidFill>
                          <a:latin typeface="华文中宋" panose="02010600040101010101" pitchFamily="2" charset="-122"/>
                          <a:ea typeface="华文中宋" panose="02010600040101010101" pitchFamily="2" charset="-122"/>
                          <a:cs typeface="Times New Roman" panose="02020603050405020304" pitchFamily="18" charset="0"/>
                        </a:rPr>
                        <a:t>0.2531</a:t>
                      </a:r>
                      <a:endParaRPr lang="zh-CN" altLang="en-US" sz="1000">
                        <a:solidFill>
                          <a:srgbClr val="FF0000"/>
                        </a:solidFill>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solidFill>
                            <a:srgbClr val="FF0000"/>
                          </a:solidFill>
                          <a:latin typeface="华文中宋" panose="02010600040101010101" pitchFamily="2" charset="-122"/>
                          <a:ea typeface="华文中宋" panose="02010600040101010101" pitchFamily="2" charset="-122"/>
                          <a:cs typeface="Times New Roman" panose="02020603050405020304" pitchFamily="18" charset="0"/>
                        </a:rPr>
                        <a:t>6.3329</a:t>
                      </a:r>
                      <a:endParaRPr lang="zh-CN" altLang="en-US" sz="1000">
                        <a:solidFill>
                          <a:srgbClr val="FF0000"/>
                        </a:solidFill>
                        <a:latin typeface="华文中宋" panose="02010600040101010101" pitchFamily="2" charset="-122"/>
                        <a:ea typeface="华文中宋" panose="02010600040101010101" pitchFamily="2" charset="-122"/>
                        <a:cs typeface="Times New Roman" panose="02020603050405020304" pitchFamily="18" charset="0"/>
                      </a:endParaRPr>
                    </a:p>
                  </a:txBody>
                  <a:tcPr/>
                </a:tc>
                <a:tc vMerge="1">
                  <a:txBody>
                    <a:bodyPr/>
                    <a:lstStyle/>
                    <a:p>
                      <a:endParaRPr lang="zh-CN" altLang="en-US" sz="1200">
                        <a:latin typeface="华文中宋" panose="02010600040101010101" pitchFamily="2" charset="-122"/>
                        <a:ea typeface="华文中宋" panose="02010600040101010101" pitchFamily="2" charset="-122"/>
                        <a:cs typeface="Times New Roman" panose="02020603050405020304" pitchFamily="18" charset="0"/>
                      </a:endParaRPr>
                    </a:p>
                  </a:txBody>
                  <a:tcPr/>
                </a:tc>
                <a:tc vMerge="1">
                  <a:txBody>
                    <a:bodyPr/>
                    <a:lstStyle/>
                    <a:p>
                      <a:endParaRPr lang="zh-CN" altLang="en-US" sz="1200">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solidFill>
                            <a:srgbClr val="FF0000"/>
                          </a:solidFill>
                          <a:latin typeface="华文中宋" panose="02010600040101010101" pitchFamily="2" charset="-122"/>
                          <a:ea typeface="华文中宋" panose="02010600040101010101" pitchFamily="2" charset="-122"/>
                          <a:cs typeface="Times New Roman" panose="02020603050405020304" pitchFamily="18" charset="0"/>
                        </a:rPr>
                        <a:t>0.0581</a:t>
                      </a:r>
                      <a:endParaRPr lang="zh-CN" altLang="en-US" sz="1000">
                        <a:solidFill>
                          <a:srgbClr val="FF0000"/>
                        </a:solidFill>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solidFill>
                            <a:schemeClr val="tx1"/>
                          </a:solidFill>
                          <a:latin typeface="华文中宋" panose="02010600040101010101" pitchFamily="2" charset="-122"/>
                          <a:ea typeface="华文中宋" panose="02010600040101010101" pitchFamily="2" charset="-122"/>
                          <a:cs typeface="Times New Roman" panose="02020603050405020304" pitchFamily="18" charset="0"/>
                        </a:rPr>
                        <a:t>0.1609</a:t>
                      </a:r>
                      <a:endParaRPr lang="zh-CN" altLang="en-US" sz="1000" dirty="0">
                        <a:solidFill>
                          <a:schemeClr val="tx1"/>
                        </a:solidFill>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solidFill>
                            <a:schemeClr val="tx1"/>
                          </a:solidFill>
                          <a:latin typeface="华文中宋" panose="02010600040101010101" pitchFamily="2" charset="-122"/>
                          <a:ea typeface="华文中宋" panose="02010600040101010101" pitchFamily="2" charset="-122"/>
                          <a:cs typeface="Times New Roman" panose="02020603050405020304" pitchFamily="18" charset="0"/>
                        </a:rPr>
                        <a:t>0.4680</a:t>
                      </a:r>
                      <a:endParaRPr lang="zh-CN" altLang="en-US" sz="1000" dirty="0">
                        <a:solidFill>
                          <a:schemeClr val="tx1"/>
                        </a:solidFill>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solidFill>
                            <a:schemeClr val="tx1"/>
                          </a:solidFill>
                          <a:latin typeface="华文中宋" panose="02010600040101010101" pitchFamily="2" charset="-122"/>
                          <a:ea typeface="华文中宋" panose="02010600040101010101" pitchFamily="2" charset="-122"/>
                          <a:cs typeface="Times New Roman" panose="02020603050405020304" pitchFamily="18" charset="0"/>
                        </a:rPr>
                        <a:t>32</a:t>
                      </a:r>
                      <a:endParaRPr lang="zh-CN" altLang="en-US" sz="1000" dirty="0">
                        <a:solidFill>
                          <a:schemeClr val="tx1"/>
                        </a:solidFill>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solidFill>
                            <a:schemeClr val="tx1"/>
                          </a:solidFill>
                          <a:latin typeface="华文中宋" panose="02010600040101010101" pitchFamily="2" charset="-122"/>
                          <a:ea typeface="华文中宋" panose="02010600040101010101" pitchFamily="2" charset="-122"/>
                          <a:cs typeface="Times New Roman" panose="02020603050405020304" pitchFamily="18" charset="0"/>
                        </a:rPr>
                        <a:t>0.6562</a:t>
                      </a:r>
                      <a:endParaRPr lang="zh-CN" altLang="en-US" sz="1000" dirty="0">
                        <a:solidFill>
                          <a:schemeClr val="tx1"/>
                        </a:solidFill>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solidFill>
                            <a:schemeClr val="tx1"/>
                          </a:solidFill>
                          <a:latin typeface="华文中宋" panose="02010600040101010101" pitchFamily="2" charset="-122"/>
                          <a:ea typeface="华文中宋" panose="02010600040101010101" pitchFamily="2" charset="-122"/>
                          <a:cs typeface="Times New Roman" panose="02020603050405020304" pitchFamily="18" charset="0"/>
                        </a:rPr>
                        <a:t>1867</a:t>
                      </a:r>
                      <a:endParaRPr lang="zh-CN" altLang="en-US" sz="1000" dirty="0">
                        <a:solidFill>
                          <a:schemeClr val="tx1"/>
                        </a:solidFill>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solidFill>
                            <a:schemeClr val="tx1"/>
                          </a:solidFill>
                          <a:latin typeface="华文中宋" panose="02010600040101010101" pitchFamily="2" charset="-122"/>
                          <a:ea typeface="华文中宋" panose="02010600040101010101" pitchFamily="2" charset="-122"/>
                          <a:cs typeface="Times New Roman" panose="02020603050405020304" pitchFamily="18" charset="0"/>
                        </a:rPr>
                        <a:t>1005</a:t>
                      </a:r>
                      <a:endParaRPr lang="zh-CN" altLang="en-US" sz="1000" dirty="0">
                        <a:solidFill>
                          <a:schemeClr val="tx1"/>
                        </a:solidFill>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solidFill>
                            <a:srgbClr val="FF0000"/>
                          </a:solidFill>
                          <a:latin typeface="华文中宋" panose="02010600040101010101" pitchFamily="2" charset="-122"/>
                          <a:ea typeface="华文中宋" panose="02010600040101010101" pitchFamily="2" charset="-122"/>
                          <a:cs typeface="Times New Roman" panose="02020603050405020304" pitchFamily="18" charset="0"/>
                        </a:rPr>
                        <a:t>0.1008</a:t>
                      </a:r>
                      <a:endParaRPr lang="zh-CN" altLang="en-US" sz="1000" dirty="0">
                        <a:solidFill>
                          <a:srgbClr val="FF0000"/>
                        </a:solidFill>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solidFill>
                            <a:schemeClr val="tx1"/>
                          </a:solidFill>
                          <a:latin typeface="华文中宋" panose="02010600040101010101" pitchFamily="2" charset="-122"/>
                          <a:ea typeface="华文中宋" panose="02010600040101010101" pitchFamily="2" charset="-122"/>
                          <a:cs typeface="Times New Roman" panose="02020603050405020304" pitchFamily="18" charset="0"/>
                        </a:rPr>
                        <a:t>0.0316</a:t>
                      </a:r>
                      <a:endParaRPr lang="zh-CN" altLang="en-US" sz="1000" dirty="0">
                        <a:solidFill>
                          <a:schemeClr val="tx1"/>
                        </a:solidFill>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solidFill>
                            <a:srgbClr val="FF0000"/>
                          </a:solidFill>
                          <a:latin typeface="华文中宋" panose="02010600040101010101" pitchFamily="2" charset="-122"/>
                          <a:ea typeface="华文中宋" panose="02010600040101010101" pitchFamily="2" charset="-122"/>
                          <a:cs typeface="Times New Roman" panose="02020603050405020304" pitchFamily="18" charset="0"/>
                        </a:rPr>
                        <a:t>3.1885</a:t>
                      </a:r>
                      <a:endParaRPr lang="zh-CN" altLang="en-US" sz="1000" dirty="0">
                        <a:solidFill>
                          <a:srgbClr val="FF0000"/>
                        </a:solidFill>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solidFill>
                            <a:schemeClr val="tx1"/>
                          </a:solidFill>
                          <a:latin typeface="华文中宋" panose="02010600040101010101" pitchFamily="2" charset="-122"/>
                          <a:ea typeface="华文中宋" panose="02010600040101010101" pitchFamily="2" charset="-122"/>
                          <a:cs typeface="Times New Roman" panose="02020603050405020304" pitchFamily="18" charset="0"/>
                        </a:rPr>
                        <a:t>0.1589</a:t>
                      </a:r>
                      <a:endParaRPr lang="zh-CN" altLang="en-US" sz="1000" dirty="0">
                        <a:solidFill>
                          <a:schemeClr val="tx1"/>
                        </a:solidFill>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solidFill>
                            <a:schemeClr val="tx1"/>
                          </a:solidFill>
                          <a:latin typeface="华文中宋" panose="02010600040101010101" pitchFamily="2" charset="-122"/>
                          <a:ea typeface="华文中宋" panose="02010600040101010101" pitchFamily="2" charset="-122"/>
                          <a:cs typeface="Times New Roman" panose="02020603050405020304" pitchFamily="18" charset="0"/>
                        </a:rPr>
                        <a:t>0.2706</a:t>
                      </a:r>
                      <a:endParaRPr lang="zh-CN" altLang="en-US" sz="1000" dirty="0">
                        <a:solidFill>
                          <a:schemeClr val="tx1"/>
                        </a:solidFill>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solidFill>
                            <a:schemeClr val="tx1"/>
                          </a:solidFill>
                          <a:latin typeface="华文中宋" panose="02010600040101010101" pitchFamily="2" charset="-122"/>
                          <a:ea typeface="华文中宋" panose="02010600040101010101" pitchFamily="2" charset="-122"/>
                          <a:cs typeface="Times New Roman" panose="02020603050405020304" pitchFamily="18" charset="0"/>
                        </a:rPr>
                        <a:t>0.4536</a:t>
                      </a:r>
                      <a:endParaRPr lang="zh-CN" altLang="en-US" sz="1000" dirty="0">
                        <a:solidFill>
                          <a:schemeClr val="tx1"/>
                        </a:solidFill>
                        <a:latin typeface="华文中宋" panose="02010600040101010101" pitchFamily="2" charset="-122"/>
                        <a:ea typeface="华文中宋" panose="02010600040101010101" pitchFamily="2" charset="-122"/>
                        <a:cs typeface="Times New Roman" panose="02020603050405020304" pitchFamily="18" charset="0"/>
                      </a:endParaRPr>
                    </a:p>
                  </a:txBody>
                  <a:tcPr/>
                </a:tc>
                <a:tc>
                  <a:txBody>
                    <a:bodyPr/>
                    <a:lstStyle/>
                    <a:p>
                      <a:r>
                        <a:rPr lang="en-US" altLang="zh-CN" sz="1000">
                          <a:solidFill>
                            <a:schemeClr val="tx1"/>
                          </a:solidFill>
                          <a:latin typeface="华文中宋" panose="02010600040101010101" pitchFamily="2" charset="-122"/>
                          <a:ea typeface="华文中宋" panose="02010600040101010101" pitchFamily="2" charset="-122"/>
                          <a:cs typeface="Times New Roman" panose="02020603050405020304" pitchFamily="18" charset="0"/>
                        </a:rPr>
                        <a:t>15.0433</a:t>
                      </a:r>
                      <a:endParaRPr lang="zh-CN" altLang="en-US" sz="1000" dirty="0">
                        <a:solidFill>
                          <a:schemeClr val="tx1"/>
                        </a:solidFill>
                        <a:latin typeface="华文中宋" panose="02010600040101010101" pitchFamily="2" charset="-122"/>
                        <a:ea typeface="华文中宋" panose="02010600040101010101" pitchFamily="2" charset="-122"/>
                        <a:cs typeface="Times New Roman" panose="02020603050405020304" pitchFamily="18" charset="0"/>
                      </a:endParaRPr>
                    </a:p>
                  </a:txBody>
                  <a:tcPr/>
                </a:tc>
                <a:extLst>
                  <a:ext uri="{0D108BD9-81ED-4DB2-BD59-A6C34878D82A}">
                    <a16:rowId xmlns:a16="http://schemas.microsoft.com/office/drawing/2014/main" val="500845363"/>
                  </a:ext>
                </a:extLst>
              </a:tr>
            </a:tbl>
          </a:graphicData>
        </a:graphic>
      </p:graphicFrame>
      <p:sp>
        <p:nvSpPr>
          <p:cNvPr id="27" name="文本框 26">
            <a:extLst>
              <a:ext uri="{FF2B5EF4-FFF2-40B4-BE49-F238E27FC236}">
                <a16:creationId xmlns:a16="http://schemas.microsoft.com/office/drawing/2014/main" id="{79910FE3-B2E8-4503-BDB3-C4C71E20023D}"/>
              </a:ext>
            </a:extLst>
          </p:cNvPr>
          <p:cNvSpPr txBox="1"/>
          <p:nvPr/>
        </p:nvSpPr>
        <p:spPr>
          <a:xfrm>
            <a:off x="4622799" y="6583747"/>
            <a:ext cx="8125968" cy="338554"/>
          </a:xfrm>
          <a:prstGeom prst="rect">
            <a:avLst/>
          </a:prstGeom>
          <a:noFill/>
        </p:spPr>
        <p:txBody>
          <a:bodyPr wrap="square">
            <a:spAutoFit/>
          </a:bodyPr>
          <a:lstStyle/>
          <a:p>
            <a:r>
              <a:rPr lang="en-US" altLang="zh-CN" sz="1600" dirty="0">
                <a:latin typeface="华文中宋" panose="02010600040101010101" pitchFamily="2" charset="-122"/>
                <a:ea typeface="华文中宋" panose="02010600040101010101" pitchFamily="2" charset="-122"/>
              </a:rPr>
              <a:t>Grid search for [N M threshold], best performance of all methods</a:t>
            </a:r>
            <a:endParaRPr lang="zh-CN" altLang="en-US" sz="1600" dirty="0">
              <a:latin typeface="华文中宋" panose="02010600040101010101" pitchFamily="2" charset="-122"/>
              <a:ea typeface="华文中宋" panose="02010600040101010101" pitchFamily="2" charset="-122"/>
            </a:endParaRPr>
          </a:p>
        </p:txBody>
      </p:sp>
      <p:sp>
        <p:nvSpPr>
          <p:cNvPr id="28" name="文本框 27">
            <a:extLst>
              <a:ext uri="{FF2B5EF4-FFF2-40B4-BE49-F238E27FC236}">
                <a16:creationId xmlns:a16="http://schemas.microsoft.com/office/drawing/2014/main" id="{F751E285-0EDA-42AD-80A2-BB5B7B2CC20A}"/>
              </a:ext>
            </a:extLst>
          </p:cNvPr>
          <p:cNvSpPr txBox="1"/>
          <p:nvPr/>
        </p:nvSpPr>
        <p:spPr>
          <a:xfrm>
            <a:off x="4986867" y="6239288"/>
            <a:ext cx="6654444" cy="369332"/>
          </a:xfrm>
          <a:prstGeom prst="rect">
            <a:avLst/>
          </a:prstGeom>
          <a:noFill/>
        </p:spPr>
        <p:txBody>
          <a:bodyPr wrap="square">
            <a:spAutoFit/>
          </a:bodyPr>
          <a:lstStyle/>
          <a:p>
            <a:r>
              <a:rPr lang="en-US" altLang="zh-CN" sz="1800" dirty="0">
                <a:latin typeface="华文中宋" panose="02010600040101010101" pitchFamily="2" charset="-122"/>
                <a:ea typeface="华文中宋" panose="02010600040101010101" pitchFamily="2" charset="-122"/>
              </a:rPr>
              <a:t>Figure 11. </a:t>
            </a:r>
            <a:r>
              <a:rPr lang="en-US" altLang="zh-CN" sz="1800" dirty="0" err="1">
                <a:latin typeface="华文中宋" panose="02010600040101010101" pitchFamily="2" charset="-122"/>
                <a:ea typeface="华文中宋" panose="02010600040101010101" pitchFamily="2" charset="-122"/>
              </a:rPr>
              <a:t>QQplot</a:t>
            </a:r>
            <a:r>
              <a:rPr lang="en-US" altLang="zh-CN" sz="1800" dirty="0">
                <a:latin typeface="华文中宋" panose="02010600040101010101" pitchFamily="2" charset="-122"/>
                <a:ea typeface="华文中宋" panose="02010600040101010101" pitchFamily="2" charset="-122"/>
              </a:rPr>
              <a:t> of norm</a:t>
            </a:r>
            <a:r>
              <a:rPr lang="en-US" altLang="zh-CN" dirty="0">
                <a:latin typeface="华文中宋" panose="02010600040101010101" pitchFamily="2" charset="-122"/>
                <a:ea typeface="华文中宋" panose="02010600040101010101" pitchFamily="2" charset="-122"/>
              </a:rPr>
              <a:t>,</a:t>
            </a:r>
            <a:r>
              <a:rPr lang="zh-CN" altLang="en-US" dirty="0">
                <a:latin typeface="华文中宋" panose="02010600040101010101" pitchFamily="2" charset="-122"/>
                <a:ea typeface="华文中宋" panose="02010600040101010101" pitchFamily="2" charset="-122"/>
              </a:rPr>
              <a:t> </a:t>
            </a:r>
            <a:r>
              <a:rPr lang="en-US" altLang="zh-CN" dirty="0">
                <a:latin typeface="华文中宋" panose="02010600040101010101" pitchFamily="2" charset="-122"/>
                <a:ea typeface="华文中宋" panose="02010600040101010101" pitchFamily="2" charset="-122"/>
              </a:rPr>
              <a:t>modify</a:t>
            </a:r>
            <a:r>
              <a:rPr lang="zh-CN" altLang="en-US" dirty="0">
                <a:latin typeface="华文中宋" panose="02010600040101010101" pitchFamily="2" charset="-122"/>
                <a:ea typeface="华文中宋" panose="02010600040101010101" pitchFamily="2" charset="-122"/>
              </a:rPr>
              <a:t> </a:t>
            </a:r>
            <a:r>
              <a:rPr lang="en-US" altLang="zh-CN" dirty="0">
                <a:latin typeface="华文中宋" panose="02010600040101010101" pitchFamily="2" charset="-122"/>
                <a:ea typeface="华文中宋" panose="02010600040101010101" pitchFamily="2" charset="-122"/>
              </a:rPr>
              <a:t>and</a:t>
            </a:r>
            <a:r>
              <a:rPr lang="zh-CN" altLang="en-US" dirty="0">
                <a:latin typeface="华文中宋" panose="02010600040101010101" pitchFamily="2" charset="-122"/>
                <a:ea typeface="华文中宋" panose="02010600040101010101" pitchFamily="2" charset="-122"/>
              </a:rPr>
              <a:t> </a:t>
            </a:r>
            <a:r>
              <a:rPr lang="en-US" altLang="zh-CN" dirty="0">
                <a:latin typeface="华文中宋" panose="02010600040101010101" pitchFamily="2" charset="-122"/>
                <a:ea typeface="华文中宋" panose="02010600040101010101" pitchFamily="2" charset="-122"/>
              </a:rPr>
              <a:t>right</a:t>
            </a:r>
            <a:r>
              <a:rPr lang="zh-CN" altLang="en-US" dirty="0">
                <a:latin typeface="华文中宋" panose="02010600040101010101" pitchFamily="2" charset="-122"/>
                <a:ea typeface="华文中宋" panose="02010600040101010101" pitchFamily="2" charset="-122"/>
              </a:rPr>
              <a:t> </a:t>
            </a:r>
            <a:r>
              <a:rPr lang="en-US" altLang="zh-CN" dirty="0">
                <a:latin typeface="华文中宋" panose="02010600040101010101" pitchFamily="2" charset="-122"/>
                <a:ea typeface="华文中宋" panose="02010600040101010101" pitchFamily="2" charset="-122"/>
              </a:rPr>
              <a:t>method</a:t>
            </a:r>
            <a:endParaRPr lang="zh-CN" altLang="en-US"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4"/>
          <a:stretch>
            <a:fillRect/>
          </a:stretch>
        </p:blipFill>
        <p:spPr>
          <a:xfrm>
            <a:off x="0" y="6426200"/>
            <a:ext cx="16256000" cy="2730500"/>
          </a:xfrm>
          <a:prstGeom prst="rect">
            <a:avLst/>
          </a:prstGeom>
        </p:spPr>
      </p:pic>
      <p:pic>
        <p:nvPicPr>
          <p:cNvPr id="3" name="Picture 3"/>
          <p:cNvPicPr>
            <a:picLocks noChangeAspect="1"/>
          </p:cNvPicPr>
          <p:nvPr/>
        </p:nvPicPr>
        <p:blipFill>
          <a:blip r:embed="rId5"/>
          <a:stretch>
            <a:fillRect/>
          </a:stretch>
        </p:blipFill>
        <p:spPr>
          <a:xfrm>
            <a:off x="0" y="5702300"/>
            <a:ext cx="16256000" cy="444500"/>
          </a:xfrm>
          <a:prstGeom prst="rect">
            <a:avLst/>
          </a:prstGeom>
        </p:spPr>
      </p:pic>
      <p:pic>
        <p:nvPicPr>
          <p:cNvPr id="4" name="Picture 4"/>
          <p:cNvPicPr>
            <a:picLocks noChangeAspect="1"/>
          </p:cNvPicPr>
          <p:nvPr/>
        </p:nvPicPr>
        <p:blipFill>
          <a:blip r:embed="rId6"/>
          <a:stretch>
            <a:fillRect/>
          </a:stretch>
        </p:blipFill>
        <p:spPr>
          <a:xfrm>
            <a:off x="1600200" y="2425700"/>
            <a:ext cx="6350000" cy="5435600"/>
          </a:xfrm>
          <a:prstGeom prst="rect">
            <a:avLst/>
          </a:prstGeom>
        </p:spPr>
      </p:pic>
      <p:sp>
        <p:nvSpPr>
          <p:cNvPr id="5" name="TextBox 5"/>
          <p:cNvSpPr txBox="1"/>
          <p:nvPr/>
        </p:nvSpPr>
        <p:spPr>
          <a:xfrm>
            <a:off x="8128000" y="4020231"/>
            <a:ext cx="7736113" cy="1103538"/>
          </a:xfrm>
          <a:prstGeom prst="rect">
            <a:avLst/>
          </a:prstGeom>
        </p:spPr>
        <p:txBody>
          <a:bodyPr lIns="0" tIns="0" rIns="0" bIns="0" rtlCol="0" anchor="t"/>
          <a:lstStyle/>
          <a:p>
            <a:pPr algn="ctr">
              <a:lnSpc>
                <a:spcPct val="105000"/>
              </a:lnSpc>
            </a:pPr>
            <a:r>
              <a:rPr lang="en-US" altLang="zh-CN" sz="5400" b="1" dirty="0">
                <a:solidFill>
                  <a:srgbClr val="BA996A"/>
                </a:solidFill>
                <a:latin typeface="Times New Roman" panose="02020603050405020304" pitchFamily="18" charset="0"/>
                <a:cs typeface="Times New Roman" panose="02020603050405020304" pitchFamily="18" charset="0"/>
              </a:rPr>
              <a:t>5  Introduction to Market State Indicator</a:t>
            </a:r>
          </a:p>
          <a:p>
            <a:pPr algn="l">
              <a:lnSpc>
                <a:spcPct val="105000"/>
              </a:lnSpc>
            </a:pPr>
            <a:endParaRPr lang="en-US" sz="5400" b="1" dirty="0">
              <a:solidFill>
                <a:srgbClr val="BA996A"/>
              </a:solidFill>
              <a:latin typeface="Times New Roman" panose="02020603050405020304" pitchFamily="18" charset="0"/>
              <a:cs typeface="Times New Roman" panose="02020603050405020304" pitchFamily="18" charset="0"/>
            </a:endParaRPr>
          </a:p>
        </p:txBody>
      </p:sp>
      <p:pic>
        <p:nvPicPr>
          <p:cNvPr id="8" name="Picture 8"/>
          <p:cNvPicPr>
            <a:picLocks noChangeAspect="1"/>
          </p:cNvPicPr>
          <p:nvPr/>
        </p:nvPicPr>
        <p:blipFill>
          <a:blip r:embed="rId7"/>
          <a:stretch>
            <a:fillRect/>
          </a:stretch>
        </p:blipFill>
        <p:spPr>
          <a:xfrm>
            <a:off x="13119100" y="533400"/>
            <a:ext cx="2540000" cy="101600"/>
          </a:xfrm>
          <a:prstGeom prst="rect">
            <a:avLst/>
          </a:prstGeom>
        </p:spPr>
      </p:pic>
      <p:pic>
        <p:nvPicPr>
          <p:cNvPr id="9" name="股票股市背景视频 (1)_Trim">
            <a:hlinkClick r:id="" action="ppaction://media"/>
            <a:extLst>
              <a:ext uri="{FF2B5EF4-FFF2-40B4-BE49-F238E27FC236}">
                <a16:creationId xmlns:a16="http://schemas.microsoft.com/office/drawing/2014/main" id="{DFB714B6-2C6D-46DE-A4A0-C97928A948BF}"/>
              </a:ext>
            </a:extLst>
          </p:cNvPr>
          <p:cNvPicPr>
            <a:picLocks noChangeAspect="1"/>
          </p:cNvPicPr>
          <p:nvPr>
            <a:videoFile r:link="rId2"/>
            <p:extLst>
              <p:ext uri="{DAA4B4D4-6D71-4841-9C94-3DE7FCFB9230}">
                <p14:media xmlns:p14="http://schemas.microsoft.com/office/powerpoint/2010/main" r:embed="rId1"/>
              </p:ext>
            </p:extLst>
          </p:nvPr>
        </p:nvPicPr>
        <p:blipFill>
          <a:blip r:embed="rId8"/>
          <a:stretch>
            <a:fillRect/>
          </a:stretch>
        </p:blipFill>
        <p:spPr>
          <a:xfrm>
            <a:off x="1727200" y="2590800"/>
            <a:ext cx="6096000" cy="3530600"/>
          </a:xfrm>
          <a:prstGeom prst="rect">
            <a:avLst/>
          </a:prstGeom>
        </p:spPr>
      </p:pic>
      <p:sp>
        <p:nvSpPr>
          <p:cNvPr id="10" name="文本框 9">
            <a:extLst>
              <a:ext uri="{FF2B5EF4-FFF2-40B4-BE49-F238E27FC236}">
                <a16:creationId xmlns:a16="http://schemas.microsoft.com/office/drawing/2014/main" id="{C6A90C79-1B23-D9DE-93E6-CB36A166AAC6}"/>
              </a:ext>
            </a:extLst>
          </p:cNvPr>
          <p:cNvSpPr txBox="1"/>
          <p:nvPr/>
        </p:nvSpPr>
        <p:spPr>
          <a:xfrm>
            <a:off x="12573941" y="8308945"/>
            <a:ext cx="4005072" cy="400110"/>
          </a:xfrm>
          <a:prstGeom prst="rect">
            <a:avLst/>
          </a:prstGeom>
          <a:noFill/>
        </p:spPr>
        <p:txBody>
          <a:bodyPr wrap="square" rtlCol="0">
            <a:spAutoFit/>
          </a:bodyPr>
          <a:lstStyle/>
          <a:p>
            <a:r>
              <a:rPr kumimoji="1" lang="en-US" altLang="zh-CN" sz="2000" dirty="0">
                <a:solidFill>
                  <a:schemeClr val="bg1"/>
                </a:solidFill>
              </a:rPr>
              <a:t>Speaker : ZHANG, Xincong</a:t>
            </a:r>
            <a:endParaRPr kumimoji="1" lang="zh-CN" altLang="en-US" sz="2000" dirty="0">
              <a:solidFill>
                <a:schemeClr val="bg1"/>
              </a:solidFill>
            </a:endParaRPr>
          </a:p>
        </p:txBody>
      </p:sp>
    </p:spTree>
    <p:extLst>
      <p:ext uri="{BB962C8B-B14F-4D97-AF65-F5344CB8AC3E}">
        <p14:creationId xmlns:p14="http://schemas.microsoft.com/office/powerpoint/2010/main" val="6761338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200"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9"/>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9"/>
                                        </p:tgtEl>
                                      </p:cBhvr>
                                    </p:cmd>
                                  </p:childTnLst>
                                </p:cTn>
                              </p:par>
                            </p:childTnLst>
                          </p:cTn>
                        </p:par>
                      </p:childTnLst>
                    </p:cTn>
                  </p:par>
                </p:childTnLst>
              </p:cTn>
              <p:nextCondLst>
                <p:cond evt="onClick" delay="0">
                  <p:tgtEl>
                    <p:spTgt spid="9"/>
                  </p:tgtEl>
                </p:cond>
              </p:nextCondLst>
            </p:seq>
            <p:video>
              <p:cMediaNode vol="80000">
                <p:cTn id="12" repeatCount="indefinite" fill="hold" display="0">
                  <p:stCondLst>
                    <p:cond delay="indefinite"/>
                  </p:stCondLst>
                </p:cTn>
                <p:tgtEl>
                  <p:spTgt spid="9"/>
                </p:tgtEl>
              </p:cMediaNode>
            </p:vide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55" name="文本框 54">
            <a:extLst>
              <a:ext uri="{FF2B5EF4-FFF2-40B4-BE49-F238E27FC236}">
                <a16:creationId xmlns:a16="http://schemas.microsoft.com/office/drawing/2014/main" id="{7988D16B-9A50-264D-A930-AE29B10F06C6}"/>
              </a:ext>
            </a:extLst>
          </p:cNvPr>
          <p:cNvSpPr txBox="1"/>
          <p:nvPr/>
        </p:nvSpPr>
        <p:spPr>
          <a:xfrm>
            <a:off x="10125310" y="1819079"/>
            <a:ext cx="4945085" cy="707886"/>
          </a:xfrm>
          <a:prstGeom prst="rect">
            <a:avLst/>
          </a:prstGeom>
          <a:noFill/>
        </p:spPr>
        <p:txBody>
          <a:bodyPr wrap="square" rtlCol="0">
            <a:spAutoFit/>
          </a:bodyPr>
          <a:lstStyle/>
          <a:p>
            <a:r>
              <a:rPr kumimoji="1" lang="en-US" altLang="zh-CN" sz="4000" b="1" dirty="0">
                <a:solidFill>
                  <a:srgbClr val="C00000"/>
                </a:solidFill>
                <a:latin typeface="Times New Roman" panose="02020603050405020304" pitchFamily="18" charset="0"/>
                <a:cs typeface="Times New Roman" panose="02020603050405020304" pitchFamily="18" charset="0"/>
              </a:rPr>
              <a:t>Expectations!</a:t>
            </a:r>
            <a:endParaRPr kumimoji="1" lang="zh-CN" altLang="en-US" sz="4000" b="1" dirty="0">
              <a:solidFill>
                <a:srgbClr val="C00000"/>
              </a:solidFill>
              <a:latin typeface="Times New Roman" panose="02020603050405020304" pitchFamily="18" charset="0"/>
              <a:cs typeface="Times New Roman" panose="02020603050405020304" pitchFamily="18" charset="0"/>
            </a:endParaRPr>
          </a:p>
        </p:txBody>
      </p:sp>
      <p:sp>
        <p:nvSpPr>
          <p:cNvPr id="56" name="文本框 55">
            <a:extLst>
              <a:ext uri="{FF2B5EF4-FFF2-40B4-BE49-F238E27FC236}">
                <a16:creationId xmlns:a16="http://schemas.microsoft.com/office/drawing/2014/main" id="{014D3F8A-C441-4C49-B37E-1053B2D1B42B}"/>
              </a:ext>
            </a:extLst>
          </p:cNvPr>
          <p:cNvSpPr txBox="1"/>
          <p:nvPr/>
        </p:nvSpPr>
        <p:spPr>
          <a:xfrm>
            <a:off x="10125310" y="3042317"/>
            <a:ext cx="4945085" cy="707886"/>
          </a:xfrm>
          <a:prstGeom prst="rect">
            <a:avLst/>
          </a:prstGeom>
          <a:noFill/>
        </p:spPr>
        <p:txBody>
          <a:bodyPr wrap="square" rtlCol="0">
            <a:spAutoFit/>
          </a:bodyPr>
          <a:lstStyle/>
          <a:p>
            <a:r>
              <a:rPr kumimoji="1" lang="en-US" altLang="zh-CN" sz="4000" b="1" dirty="0">
                <a:solidFill>
                  <a:srgbClr val="C00000"/>
                </a:solidFill>
                <a:latin typeface="Times New Roman" panose="02020603050405020304" pitchFamily="18" charset="0"/>
                <a:cs typeface="Times New Roman" panose="02020603050405020304" pitchFamily="18" charset="0"/>
              </a:rPr>
              <a:t>Returns!</a:t>
            </a:r>
            <a:endParaRPr kumimoji="1" lang="zh-CN" altLang="en-US" sz="4000" b="1" dirty="0">
              <a:solidFill>
                <a:srgbClr val="C00000"/>
              </a:solidFill>
              <a:latin typeface="Times New Roman" panose="02020603050405020304" pitchFamily="18" charset="0"/>
              <a:cs typeface="Times New Roman" panose="02020603050405020304" pitchFamily="18" charset="0"/>
            </a:endParaRPr>
          </a:p>
        </p:txBody>
      </p:sp>
      <p:sp>
        <p:nvSpPr>
          <p:cNvPr id="57" name="文本框 56">
            <a:extLst>
              <a:ext uri="{FF2B5EF4-FFF2-40B4-BE49-F238E27FC236}">
                <a16:creationId xmlns:a16="http://schemas.microsoft.com/office/drawing/2014/main" id="{B4CFD955-01DD-1E42-9148-4BBA1D469D8B}"/>
              </a:ext>
            </a:extLst>
          </p:cNvPr>
          <p:cNvSpPr txBox="1"/>
          <p:nvPr/>
        </p:nvSpPr>
        <p:spPr>
          <a:xfrm>
            <a:off x="10125311" y="4265554"/>
            <a:ext cx="5553304" cy="707886"/>
          </a:xfrm>
          <a:prstGeom prst="rect">
            <a:avLst/>
          </a:prstGeom>
          <a:noFill/>
        </p:spPr>
        <p:txBody>
          <a:bodyPr wrap="square" rtlCol="0">
            <a:spAutoFit/>
          </a:bodyPr>
          <a:lstStyle/>
          <a:p>
            <a:r>
              <a:rPr kumimoji="1" lang="en-US" altLang="zh-CN" sz="4000" b="1" dirty="0">
                <a:solidFill>
                  <a:srgbClr val="C00000"/>
                </a:solidFill>
                <a:latin typeface="Times New Roman" panose="02020603050405020304" pitchFamily="18" charset="0"/>
                <a:cs typeface="Times New Roman" panose="02020603050405020304" pitchFamily="18" charset="0"/>
              </a:rPr>
              <a:t>What’s</a:t>
            </a:r>
            <a:r>
              <a:rPr kumimoji="1" lang="zh-CN" altLang="en-US" sz="4000" b="1" dirty="0">
                <a:solidFill>
                  <a:srgbClr val="C00000"/>
                </a:solidFill>
                <a:latin typeface="Times New Roman" panose="02020603050405020304" pitchFamily="18" charset="0"/>
                <a:cs typeface="Times New Roman" panose="02020603050405020304" pitchFamily="18" charset="0"/>
              </a:rPr>
              <a:t> </a:t>
            </a:r>
            <a:r>
              <a:rPr kumimoji="1" lang="en-US" altLang="zh-CN" sz="4000" b="1" dirty="0">
                <a:solidFill>
                  <a:srgbClr val="C00000"/>
                </a:solidFill>
                <a:latin typeface="Times New Roman" panose="02020603050405020304" pitchFamily="18" charset="0"/>
                <a:cs typeface="Times New Roman" panose="02020603050405020304" pitchFamily="18" charset="0"/>
              </a:rPr>
              <a:t>the</a:t>
            </a:r>
            <a:r>
              <a:rPr kumimoji="1" lang="zh-CN" altLang="en-US" sz="4000" b="1" dirty="0">
                <a:solidFill>
                  <a:srgbClr val="C00000"/>
                </a:solidFill>
                <a:latin typeface="Times New Roman" panose="02020603050405020304" pitchFamily="18" charset="0"/>
                <a:cs typeface="Times New Roman" panose="02020603050405020304" pitchFamily="18" charset="0"/>
              </a:rPr>
              <a:t> </a:t>
            </a:r>
            <a:r>
              <a:rPr kumimoji="1" lang="en-US" altLang="zh-CN" sz="4000" b="1" dirty="0">
                <a:solidFill>
                  <a:srgbClr val="C00000"/>
                </a:solidFill>
                <a:latin typeface="Times New Roman" panose="02020603050405020304" pitchFamily="18" charset="0"/>
                <a:cs typeface="Times New Roman" panose="02020603050405020304" pitchFamily="18" charset="0"/>
              </a:rPr>
              <a:t>future</a:t>
            </a:r>
            <a:r>
              <a:rPr kumimoji="1" lang="zh-CN" altLang="en-US" sz="4000" b="1" dirty="0">
                <a:solidFill>
                  <a:srgbClr val="C00000"/>
                </a:solidFill>
                <a:latin typeface="Times New Roman" panose="02020603050405020304" pitchFamily="18" charset="0"/>
                <a:cs typeface="Times New Roman" panose="02020603050405020304" pitchFamily="18" charset="0"/>
              </a:rPr>
              <a:t> </a:t>
            </a:r>
            <a:r>
              <a:rPr kumimoji="1" lang="en-US" altLang="zh-CN" sz="4000" b="1" dirty="0">
                <a:solidFill>
                  <a:srgbClr val="C00000"/>
                </a:solidFill>
                <a:latin typeface="Times New Roman" panose="02020603050405020304" pitchFamily="18" charset="0"/>
                <a:cs typeface="Times New Roman" panose="02020603050405020304" pitchFamily="18" charset="0"/>
              </a:rPr>
              <a:t>trend</a:t>
            </a:r>
            <a:r>
              <a:rPr kumimoji="1" lang="zh-CN" altLang="en-US" sz="4000" b="1" dirty="0">
                <a:solidFill>
                  <a:srgbClr val="C00000"/>
                </a:solidFill>
                <a:latin typeface="Times New Roman" panose="02020603050405020304" pitchFamily="18" charset="0"/>
                <a:cs typeface="Times New Roman" panose="02020603050405020304" pitchFamily="18" charset="0"/>
              </a:rPr>
              <a:t>？</a:t>
            </a:r>
          </a:p>
        </p:txBody>
      </p:sp>
    </p:spTree>
    <p:extLst>
      <p:ext uri="{BB962C8B-B14F-4D97-AF65-F5344CB8AC3E}">
        <p14:creationId xmlns:p14="http://schemas.microsoft.com/office/powerpoint/2010/main" val="17052488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7"/>
          <p:cNvPicPr>
            <a:picLocks noChangeAspect="1"/>
          </p:cNvPicPr>
          <p:nvPr/>
        </p:nvPicPr>
        <p:blipFill>
          <a:blip r:embed="rId2"/>
          <a:stretch>
            <a:fillRect/>
          </a:stretch>
        </p:blipFill>
        <p:spPr>
          <a:xfrm>
            <a:off x="444500" y="8255000"/>
            <a:ext cx="457200" cy="406400"/>
          </a:xfrm>
          <a:prstGeom prst="rect">
            <a:avLst/>
          </a:prstGeom>
        </p:spPr>
      </p:pic>
      <p:sp>
        <p:nvSpPr>
          <p:cNvPr id="18" name="TextBox 18"/>
          <p:cNvSpPr txBox="1"/>
          <p:nvPr/>
        </p:nvSpPr>
        <p:spPr>
          <a:xfrm>
            <a:off x="7975600" y="743712"/>
            <a:ext cx="7683500" cy="609600"/>
          </a:xfrm>
          <a:prstGeom prst="rect">
            <a:avLst/>
          </a:prstGeom>
        </p:spPr>
        <p:txBody>
          <a:bodyPr lIns="0" tIns="0" rIns="0" bIns="0" rtlCol="0" anchor="t"/>
          <a:lstStyle/>
          <a:p>
            <a:pPr algn="r">
              <a:lnSpc>
                <a:spcPct val="90000"/>
              </a:lnSpc>
            </a:pPr>
            <a:r>
              <a:rPr lang="en-US" sz="4000" b="1" dirty="0">
                <a:solidFill>
                  <a:srgbClr val="232F47"/>
                </a:solidFill>
                <a:latin typeface="Times New Roman" panose="02020603050405020304" pitchFamily="18" charset="0"/>
                <a:cs typeface="Times New Roman" panose="02020603050405020304" pitchFamily="18" charset="0"/>
              </a:rPr>
              <a:t>Common Market Trend Indicators</a:t>
            </a:r>
          </a:p>
        </p:txBody>
      </p:sp>
      <p:pic>
        <p:nvPicPr>
          <p:cNvPr id="9" name="Picture 17">
            <a:extLst>
              <a:ext uri="{FF2B5EF4-FFF2-40B4-BE49-F238E27FC236}">
                <a16:creationId xmlns:a16="http://schemas.microsoft.com/office/drawing/2014/main" id="{B4C4579D-BC98-4E93-A2EF-80D55D4B7828}"/>
              </a:ext>
            </a:extLst>
          </p:cNvPr>
          <p:cNvPicPr>
            <a:picLocks noChangeAspect="1"/>
          </p:cNvPicPr>
          <p:nvPr/>
        </p:nvPicPr>
        <p:blipFill>
          <a:blip r:embed="rId3"/>
          <a:stretch>
            <a:fillRect/>
          </a:stretch>
        </p:blipFill>
        <p:spPr>
          <a:xfrm>
            <a:off x="13119100" y="533400"/>
            <a:ext cx="2540000" cy="101600"/>
          </a:xfrm>
          <a:prstGeom prst="rect">
            <a:avLst/>
          </a:prstGeom>
        </p:spPr>
      </p:pic>
      <p:pic>
        <p:nvPicPr>
          <p:cNvPr id="5" name="图形 4" descr="研究">
            <a:extLst>
              <a:ext uri="{FF2B5EF4-FFF2-40B4-BE49-F238E27FC236}">
                <a16:creationId xmlns:a16="http://schemas.microsoft.com/office/drawing/2014/main" id="{3FD22F4C-9437-4704-A73E-C96BA4BCC82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96900" y="1191332"/>
            <a:ext cx="709307" cy="709307"/>
          </a:xfrm>
          <a:prstGeom prst="rect">
            <a:avLst/>
          </a:prstGeom>
        </p:spPr>
      </p:pic>
      <p:sp>
        <p:nvSpPr>
          <p:cNvPr id="11" name="文本框 10">
            <a:extLst>
              <a:ext uri="{FF2B5EF4-FFF2-40B4-BE49-F238E27FC236}">
                <a16:creationId xmlns:a16="http://schemas.microsoft.com/office/drawing/2014/main" id="{311A6E35-5B7B-4D7E-8895-181D479B81C9}"/>
              </a:ext>
            </a:extLst>
          </p:cNvPr>
          <p:cNvSpPr txBox="1"/>
          <p:nvPr/>
        </p:nvSpPr>
        <p:spPr>
          <a:xfrm>
            <a:off x="1243988" y="1261091"/>
            <a:ext cx="14574769" cy="1261884"/>
          </a:xfrm>
          <a:prstGeom prst="rect">
            <a:avLst/>
          </a:prstGeom>
          <a:noFill/>
        </p:spPr>
        <p:txBody>
          <a:bodyPr wrap="square">
            <a:spAutoFit/>
          </a:bodyPr>
          <a:lstStyle/>
          <a:p>
            <a:pPr marL="514350" indent="-514350">
              <a:buAutoNum type="arabicPeriod"/>
            </a:pPr>
            <a:r>
              <a:rPr lang="en-US" altLang="zh-CN" sz="2800" b="1" u="sng" dirty="0">
                <a:solidFill>
                  <a:schemeClr val="accent3">
                    <a:lumMod val="50000"/>
                  </a:schemeClr>
                </a:solidFill>
                <a:latin typeface="Times New Roman" panose="02020603050405020304" pitchFamily="18" charset="0"/>
                <a:cs typeface="Times New Roman" panose="02020603050405020304" pitchFamily="18" charset="0"/>
              </a:rPr>
              <a:t>Volatility</a:t>
            </a:r>
          </a:p>
          <a:p>
            <a:r>
              <a:rPr lang="en-US" altLang="zh-CN" sz="2400" dirty="0">
                <a:solidFill>
                  <a:srgbClr val="232F47"/>
                </a:solidFill>
                <a:latin typeface="Times New Roman" panose="02020603050405020304" pitchFamily="18" charset="0"/>
                <a:cs typeface="Times New Roman" panose="02020603050405020304" pitchFamily="18" charset="0"/>
              </a:rPr>
              <a:t>Volatility is the standard deviation of market return rate, which measures the fluctuation of return rate and is the most commonly used risk measure. </a:t>
            </a:r>
            <a:endParaRPr lang="zh-CN" altLang="en-US" sz="2400" dirty="0">
              <a:solidFill>
                <a:srgbClr val="232F47"/>
              </a:solidFill>
              <a:latin typeface="Times New Roman" panose="02020603050405020304" pitchFamily="18" charset="0"/>
              <a:cs typeface="Times New Roman" panose="02020603050405020304" pitchFamily="18" charset="0"/>
            </a:endParaRPr>
          </a:p>
        </p:txBody>
      </p:sp>
      <p:graphicFrame>
        <p:nvGraphicFramePr>
          <p:cNvPr id="10" name="图表 9">
            <a:extLst>
              <a:ext uri="{FF2B5EF4-FFF2-40B4-BE49-F238E27FC236}">
                <a16:creationId xmlns:a16="http://schemas.microsoft.com/office/drawing/2014/main" id="{3AC94283-32E7-4F7B-9698-1F95FFB4D864}"/>
              </a:ext>
            </a:extLst>
          </p:cNvPr>
          <p:cNvGraphicFramePr/>
          <p:nvPr/>
        </p:nvGraphicFramePr>
        <p:xfrm>
          <a:off x="1574800" y="3610731"/>
          <a:ext cx="13639800" cy="5613400"/>
        </p:xfrm>
        <a:graphic>
          <a:graphicData uri="http://schemas.openxmlformats.org/drawingml/2006/chart">
            <c:chart xmlns:c="http://schemas.openxmlformats.org/drawingml/2006/chart" xmlns:r="http://schemas.openxmlformats.org/officeDocument/2006/relationships" r:id="rId6"/>
          </a:graphicData>
        </a:graphic>
      </p:graphicFrame>
      <p:sp>
        <p:nvSpPr>
          <p:cNvPr id="2" name="文本框 1">
            <a:extLst>
              <a:ext uri="{FF2B5EF4-FFF2-40B4-BE49-F238E27FC236}">
                <a16:creationId xmlns:a16="http://schemas.microsoft.com/office/drawing/2014/main" id="{5DD727FC-3AF8-4B73-9DB1-7985FD6856D9}"/>
              </a:ext>
            </a:extLst>
          </p:cNvPr>
          <p:cNvSpPr txBox="1"/>
          <p:nvPr/>
        </p:nvSpPr>
        <p:spPr>
          <a:xfrm>
            <a:off x="5842000" y="3170217"/>
            <a:ext cx="5858654" cy="461665"/>
          </a:xfrm>
          <a:prstGeom prst="rect">
            <a:avLst/>
          </a:prstGeom>
          <a:noFill/>
        </p:spPr>
        <p:txBody>
          <a:bodyPr wrap="square" rtlCol="0">
            <a:spAutoFit/>
          </a:bodyPr>
          <a:lstStyle/>
          <a:p>
            <a:r>
              <a:rPr lang="en-US" altLang="zh-CN" sz="2400" dirty="0">
                <a:latin typeface="Times New Roman" panose="02020603050405020304" pitchFamily="18" charset="0"/>
                <a:cs typeface="Times New Roman" panose="02020603050405020304" pitchFamily="18" charset="0"/>
              </a:rPr>
              <a:t>Figure 12. CSI300 Close Price and Volatility</a:t>
            </a:r>
            <a:endParaRPr lang="zh-HK" altLang="en-US" sz="2400" dirty="0">
              <a:latin typeface="Times New Roman" panose="02020603050405020304" pitchFamily="18" charset="0"/>
              <a:cs typeface="Times New Roman" panose="02020603050405020304" pitchFamily="18" charset="0"/>
            </a:endParaRPr>
          </a:p>
        </p:txBody>
      </p:sp>
      <p:pic>
        <p:nvPicPr>
          <p:cNvPr id="6" name="图形 5" descr="目标">
            <a:extLst>
              <a:ext uri="{FF2B5EF4-FFF2-40B4-BE49-F238E27FC236}">
                <a16:creationId xmlns:a16="http://schemas.microsoft.com/office/drawing/2014/main" id="{50691A98-CC4C-4DA3-AC1A-142974B7020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727200" y="2457916"/>
            <a:ext cx="685800" cy="685800"/>
          </a:xfrm>
          <a:prstGeom prst="rect">
            <a:avLst/>
          </a:prstGeom>
        </p:spPr>
      </p:pic>
      <p:sp>
        <p:nvSpPr>
          <p:cNvPr id="7" name="文本框 6">
            <a:extLst>
              <a:ext uri="{FF2B5EF4-FFF2-40B4-BE49-F238E27FC236}">
                <a16:creationId xmlns:a16="http://schemas.microsoft.com/office/drawing/2014/main" id="{06A6B812-2213-49AF-9145-6C5782F23B28}"/>
              </a:ext>
            </a:extLst>
          </p:cNvPr>
          <p:cNvSpPr txBox="1"/>
          <p:nvPr/>
        </p:nvSpPr>
        <p:spPr>
          <a:xfrm>
            <a:off x="2451100" y="2578689"/>
            <a:ext cx="9486900" cy="461665"/>
          </a:xfrm>
          <a:prstGeom prst="rect">
            <a:avLst/>
          </a:prstGeom>
          <a:noFill/>
        </p:spPr>
        <p:txBody>
          <a:bodyPr wrap="square" rtlCol="0">
            <a:spAutoFit/>
          </a:bodyPr>
          <a:lstStyle/>
          <a:p>
            <a:r>
              <a:rPr lang="en-US" altLang="zh-HK" sz="2400" dirty="0">
                <a:solidFill>
                  <a:srgbClr val="232F47"/>
                </a:solidFill>
                <a:effectLst/>
                <a:latin typeface="Times New Roman" panose="02020603050405020304" pitchFamily="18" charset="0"/>
                <a:cs typeface="Times New Roman" panose="02020603050405020304" pitchFamily="18" charset="0"/>
              </a:rPr>
              <a:t>For the stock market, volatility tends to be higher when market goes down. </a:t>
            </a:r>
            <a:endParaRPr lang="zh-HK" altLang="en-US" sz="2400" dirty="0">
              <a:solidFill>
                <a:srgbClr val="232F47"/>
              </a:solidFill>
              <a:latin typeface="Times New Roman" panose="02020603050405020304" pitchFamily="18" charset="0"/>
              <a:cs typeface="Times New Roman" panose="02020603050405020304" pitchFamily="18" charset="0"/>
            </a:endParaRPr>
          </a:p>
        </p:txBody>
      </p:sp>
      <p:pic>
        <p:nvPicPr>
          <p:cNvPr id="13" name="图形 12" descr="线箭头平直">
            <a:extLst>
              <a:ext uri="{FF2B5EF4-FFF2-40B4-BE49-F238E27FC236}">
                <a16:creationId xmlns:a16="http://schemas.microsoft.com/office/drawing/2014/main" id="{B59EEE32-12AB-49DE-9031-2AFF35222F8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8555109">
            <a:off x="6485327" y="4103199"/>
            <a:ext cx="914400" cy="914400"/>
          </a:xfrm>
          <a:prstGeom prst="rect">
            <a:avLst/>
          </a:prstGeom>
        </p:spPr>
      </p:pic>
      <p:pic>
        <p:nvPicPr>
          <p:cNvPr id="19" name="图形 18" descr="线箭头平直">
            <a:extLst>
              <a:ext uri="{FF2B5EF4-FFF2-40B4-BE49-F238E27FC236}">
                <a16:creationId xmlns:a16="http://schemas.microsoft.com/office/drawing/2014/main" id="{0CA7B7AC-5CDB-434D-B81C-B5B0C36740A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8555109">
            <a:off x="10600126" y="4529527"/>
            <a:ext cx="914400" cy="914400"/>
          </a:xfrm>
          <a:prstGeom prst="rect">
            <a:avLst/>
          </a:prstGeom>
        </p:spPr>
      </p:pic>
      <p:pic>
        <p:nvPicPr>
          <p:cNvPr id="20" name="图形 19" descr="线箭头平直">
            <a:extLst>
              <a:ext uri="{FF2B5EF4-FFF2-40B4-BE49-F238E27FC236}">
                <a16:creationId xmlns:a16="http://schemas.microsoft.com/office/drawing/2014/main" id="{DBBE4061-BC33-40CB-AE38-22EE35DFD72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3081345">
            <a:off x="11208191" y="5717859"/>
            <a:ext cx="914400" cy="914400"/>
          </a:xfrm>
          <a:prstGeom prst="rect">
            <a:avLst/>
          </a:prstGeom>
        </p:spPr>
      </p:pic>
    </p:spTree>
    <p:extLst>
      <p:ext uri="{BB962C8B-B14F-4D97-AF65-F5344CB8AC3E}">
        <p14:creationId xmlns:p14="http://schemas.microsoft.com/office/powerpoint/2010/main" val="23350665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7"/>
          <p:cNvPicPr>
            <a:picLocks noChangeAspect="1"/>
          </p:cNvPicPr>
          <p:nvPr/>
        </p:nvPicPr>
        <p:blipFill>
          <a:blip r:embed="rId2"/>
          <a:stretch>
            <a:fillRect/>
          </a:stretch>
        </p:blipFill>
        <p:spPr>
          <a:xfrm>
            <a:off x="444500" y="8255000"/>
            <a:ext cx="457200" cy="406400"/>
          </a:xfrm>
          <a:prstGeom prst="rect">
            <a:avLst/>
          </a:prstGeom>
        </p:spPr>
      </p:pic>
      <p:pic>
        <p:nvPicPr>
          <p:cNvPr id="9" name="Picture 17">
            <a:extLst>
              <a:ext uri="{FF2B5EF4-FFF2-40B4-BE49-F238E27FC236}">
                <a16:creationId xmlns:a16="http://schemas.microsoft.com/office/drawing/2014/main" id="{B4C4579D-BC98-4E93-A2EF-80D55D4B7828}"/>
              </a:ext>
            </a:extLst>
          </p:cNvPr>
          <p:cNvPicPr>
            <a:picLocks noChangeAspect="1"/>
          </p:cNvPicPr>
          <p:nvPr/>
        </p:nvPicPr>
        <p:blipFill>
          <a:blip r:embed="rId3"/>
          <a:stretch>
            <a:fillRect/>
          </a:stretch>
        </p:blipFill>
        <p:spPr>
          <a:xfrm>
            <a:off x="13119100" y="533400"/>
            <a:ext cx="2540000" cy="101600"/>
          </a:xfrm>
          <a:prstGeom prst="rect">
            <a:avLst/>
          </a:prstGeom>
        </p:spPr>
      </p:pic>
      <p:pic>
        <p:nvPicPr>
          <p:cNvPr id="5" name="图形 4" descr="研究">
            <a:extLst>
              <a:ext uri="{FF2B5EF4-FFF2-40B4-BE49-F238E27FC236}">
                <a16:creationId xmlns:a16="http://schemas.microsoft.com/office/drawing/2014/main" id="{3FD22F4C-9437-4704-A73E-C96BA4BCC82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96900" y="1191332"/>
            <a:ext cx="709307" cy="709307"/>
          </a:xfrm>
          <a:prstGeom prst="rect">
            <a:avLst/>
          </a:prstGeom>
        </p:spPr>
      </p:pic>
      <p:sp>
        <p:nvSpPr>
          <p:cNvPr id="11" name="文本框 10">
            <a:extLst>
              <a:ext uri="{FF2B5EF4-FFF2-40B4-BE49-F238E27FC236}">
                <a16:creationId xmlns:a16="http://schemas.microsoft.com/office/drawing/2014/main" id="{311A6E35-5B7B-4D7E-8895-181D479B81C9}"/>
              </a:ext>
            </a:extLst>
          </p:cNvPr>
          <p:cNvSpPr txBox="1"/>
          <p:nvPr/>
        </p:nvSpPr>
        <p:spPr>
          <a:xfrm>
            <a:off x="1243988" y="1261091"/>
            <a:ext cx="14574769" cy="523220"/>
          </a:xfrm>
          <a:prstGeom prst="rect">
            <a:avLst/>
          </a:prstGeom>
          <a:noFill/>
        </p:spPr>
        <p:txBody>
          <a:bodyPr wrap="square">
            <a:spAutoFit/>
          </a:bodyPr>
          <a:lstStyle/>
          <a:p>
            <a:pPr marL="514350" indent="-514350">
              <a:buAutoNum type="arabicPeriod"/>
            </a:pPr>
            <a:r>
              <a:rPr lang="en-US" altLang="zh-CN" sz="2800" b="1" u="sng" dirty="0">
                <a:solidFill>
                  <a:schemeClr val="accent3">
                    <a:lumMod val="50000"/>
                  </a:schemeClr>
                </a:solidFill>
                <a:latin typeface="Times New Roman" panose="02020603050405020304" pitchFamily="18" charset="0"/>
                <a:cs typeface="Times New Roman" panose="02020603050405020304" pitchFamily="18" charset="0"/>
              </a:rPr>
              <a:t>Volatility</a:t>
            </a:r>
          </a:p>
        </p:txBody>
      </p:sp>
      <p:sp>
        <p:nvSpPr>
          <p:cNvPr id="2" name="文本框 1">
            <a:extLst>
              <a:ext uri="{FF2B5EF4-FFF2-40B4-BE49-F238E27FC236}">
                <a16:creationId xmlns:a16="http://schemas.microsoft.com/office/drawing/2014/main" id="{5DD727FC-3AF8-4B73-9DB1-7985FD6856D9}"/>
              </a:ext>
            </a:extLst>
          </p:cNvPr>
          <p:cNvSpPr txBox="1"/>
          <p:nvPr/>
        </p:nvSpPr>
        <p:spPr>
          <a:xfrm>
            <a:off x="2016272" y="3166796"/>
            <a:ext cx="13566948" cy="461665"/>
          </a:xfrm>
          <a:prstGeom prst="rect">
            <a:avLst/>
          </a:prstGeom>
          <a:noFill/>
        </p:spPr>
        <p:txBody>
          <a:bodyPr wrap="square" rtlCol="0">
            <a:spAutoFit/>
          </a:bodyPr>
          <a:lstStyle/>
          <a:p>
            <a:r>
              <a:rPr lang="en-US" altLang="zh-CN" sz="2400" dirty="0">
                <a:latin typeface="Times New Roman" panose="02020603050405020304" pitchFamily="18" charset="0"/>
                <a:cs typeface="Times New Roman" panose="02020603050405020304" pitchFamily="18" charset="0"/>
              </a:rPr>
              <a:t>Figure 13. correlation coefficient between the one-year lag volatility and the daily closing price of CSI 300</a:t>
            </a:r>
            <a:endParaRPr lang="zh-HK" altLang="en-US" sz="2400" dirty="0">
              <a:latin typeface="Times New Roman" panose="02020603050405020304" pitchFamily="18" charset="0"/>
              <a:cs typeface="Times New Roman" panose="02020603050405020304" pitchFamily="18" charset="0"/>
            </a:endParaRPr>
          </a:p>
        </p:txBody>
      </p:sp>
      <p:sp>
        <p:nvSpPr>
          <p:cNvPr id="7" name="文本框 6">
            <a:extLst>
              <a:ext uri="{FF2B5EF4-FFF2-40B4-BE49-F238E27FC236}">
                <a16:creationId xmlns:a16="http://schemas.microsoft.com/office/drawing/2014/main" id="{06A6B812-2213-49AF-9145-6C5782F23B28}"/>
              </a:ext>
            </a:extLst>
          </p:cNvPr>
          <p:cNvSpPr txBox="1"/>
          <p:nvPr/>
        </p:nvSpPr>
        <p:spPr>
          <a:xfrm>
            <a:off x="1346200" y="2106166"/>
            <a:ext cx="13839877" cy="830997"/>
          </a:xfrm>
          <a:prstGeom prst="rect">
            <a:avLst/>
          </a:prstGeom>
          <a:noFill/>
        </p:spPr>
        <p:txBody>
          <a:bodyPr wrap="square" rtlCol="0">
            <a:spAutoFit/>
          </a:bodyPr>
          <a:lstStyle/>
          <a:p>
            <a:r>
              <a:rPr lang="en-US" altLang="zh-HK" sz="2400" dirty="0">
                <a:solidFill>
                  <a:srgbClr val="232F47"/>
                </a:solidFill>
                <a:effectLst/>
                <a:latin typeface="Times New Roman" panose="02020603050405020304" pitchFamily="18" charset="0"/>
                <a:cs typeface="Times New Roman" panose="02020603050405020304" pitchFamily="18" charset="0"/>
              </a:rPr>
              <a:t>There is an obvious correlation and very similar volatility between the one-year lag volatility and the </a:t>
            </a:r>
            <a:r>
              <a:rPr lang="en-US" altLang="zh-CN" sz="2400" dirty="0">
                <a:solidFill>
                  <a:srgbClr val="232F47"/>
                </a:solidFill>
                <a:effectLst/>
                <a:latin typeface="Times New Roman" panose="02020603050405020304" pitchFamily="18" charset="0"/>
                <a:cs typeface="Times New Roman" panose="02020603050405020304" pitchFamily="18" charset="0"/>
              </a:rPr>
              <a:t>close</a:t>
            </a:r>
            <a:r>
              <a:rPr lang="en-US" altLang="zh-HK" sz="2400" dirty="0">
                <a:solidFill>
                  <a:srgbClr val="232F47"/>
                </a:solidFill>
                <a:effectLst/>
                <a:latin typeface="Times New Roman" panose="02020603050405020304" pitchFamily="18" charset="0"/>
                <a:cs typeface="Times New Roman" panose="02020603050405020304" pitchFamily="18" charset="0"/>
              </a:rPr>
              <a:t> price of </a:t>
            </a:r>
            <a:r>
              <a:rPr lang="en-US" altLang="zh-CN" sz="2400" dirty="0">
                <a:solidFill>
                  <a:srgbClr val="232F47"/>
                </a:solidFill>
                <a:effectLst/>
                <a:latin typeface="Times New Roman" panose="02020603050405020304" pitchFamily="18" charset="0"/>
                <a:cs typeface="Times New Roman" panose="02020603050405020304" pitchFamily="18" charset="0"/>
              </a:rPr>
              <a:t>CSI</a:t>
            </a:r>
            <a:r>
              <a:rPr lang="en-US" altLang="zh-HK" sz="2400" dirty="0">
                <a:solidFill>
                  <a:srgbClr val="232F47"/>
                </a:solidFill>
                <a:effectLst/>
                <a:latin typeface="Times New Roman" panose="02020603050405020304" pitchFamily="18" charset="0"/>
                <a:cs typeface="Times New Roman" panose="02020603050405020304" pitchFamily="18" charset="0"/>
              </a:rPr>
              <a:t> 300.</a:t>
            </a:r>
            <a:endParaRPr lang="zh-HK" altLang="en-US" sz="2400" dirty="0">
              <a:solidFill>
                <a:srgbClr val="232F47"/>
              </a:solidFill>
              <a:latin typeface="Times New Roman" panose="02020603050405020304" pitchFamily="18" charset="0"/>
              <a:cs typeface="Times New Roman" panose="02020603050405020304" pitchFamily="18" charset="0"/>
            </a:endParaRPr>
          </a:p>
        </p:txBody>
      </p:sp>
      <p:grpSp>
        <p:nvGrpSpPr>
          <p:cNvPr id="4" name="组合 3">
            <a:extLst>
              <a:ext uri="{FF2B5EF4-FFF2-40B4-BE49-F238E27FC236}">
                <a16:creationId xmlns:a16="http://schemas.microsoft.com/office/drawing/2014/main" id="{0FFADD1B-7D7F-46D5-83B4-EC38A3A2630B}"/>
              </a:ext>
            </a:extLst>
          </p:cNvPr>
          <p:cNvGrpSpPr/>
          <p:nvPr/>
        </p:nvGrpSpPr>
        <p:grpSpPr>
          <a:xfrm>
            <a:off x="3668067" y="3429000"/>
            <a:ext cx="8615065" cy="5435273"/>
            <a:chOff x="2489200" y="3489850"/>
            <a:chExt cx="8615065" cy="5435273"/>
          </a:xfrm>
        </p:grpSpPr>
        <p:pic>
          <p:nvPicPr>
            <p:cNvPr id="12" name="图片 11">
              <a:extLst>
                <a:ext uri="{FF2B5EF4-FFF2-40B4-BE49-F238E27FC236}">
                  <a16:creationId xmlns:a16="http://schemas.microsoft.com/office/drawing/2014/main" id="{BEE8E191-D951-4809-8FA2-5C7EFD9E2C48}"/>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2489200" y="3489850"/>
              <a:ext cx="8153400" cy="5435273"/>
            </a:xfrm>
            <a:prstGeom prst="rect">
              <a:avLst/>
            </a:prstGeom>
            <a:noFill/>
            <a:ln>
              <a:noFill/>
            </a:ln>
          </p:spPr>
        </p:pic>
        <p:sp>
          <p:nvSpPr>
            <p:cNvPr id="3" name="文本框 2">
              <a:extLst>
                <a:ext uri="{FF2B5EF4-FFF2-40B4-BE49-F238E27FC236}">
                  <a16:creationId xmlns:a16="http://schemas.microsoft.com/office/drawing/2014/main" id="{A8D149D1-BB0D-4A9E-8DF7-02F421C55D1C}"/>
                </a:ext>
              </a:extLst>
            </p:cNvPr>
            <p:cNvSpPr txBox="1"/>
            <p:nvPr/>
          </p:nvSpPr>
          <p:spPr>
            <a:xfrm>
              <a:off x="10642600" y="5334000"/>
              <a:ext cx="461665" cy="2438400"/>
            </a:xfrm>
            <a:prstGeom prst="rect">
              <a:avLst/>
            </a:prstGeom>
            <a:noFill/>
          </p:spPr>
          <p:txBody>
            <a:bodyPr vert="eaVert" wrap="square" rtlCol="0">
              <a:spAutoFit/>
            </a:bodyPr>
            <a:lstStyle/>
            <a:p>
              <a:r>
                <a:rPr lang="en-US" altLang="zh-CN" dirty="0"/>
                <a:t>Volatility</a:t>
              </a:r>
              <a:endParaRPr lang="zh-HK" altLang="en-US" dirty="0"/>
            </a:p>
          </p:txBody>
        </p:sp>
      </p:grpSp>
      <p:sp>
        <p:nvSpPr>
          <p:cNvPr id="14" name="TextBox 18">
            <a:extLst>
              <a:ext uri="{FF2B5EF4-FFF2-40B4-BE49-F238E27FC236}">
                <a16:creationId xmlns:a16="http://schemas.microsoft.com/office/drawing/2014/main" id="{8F49E122-D3AD-416C-81D0-505E87F81350}"/>
              </a:ext>
            </a:extLst>
          </p:cNvPr>
          <p:cNvSpPr txBox="1"/>
          <p:nvPr/>
        </p:nvSpPr>
        <p:spPr>
          <a:xfrm>
            <a:off x="7975600" y="743712"/>
            <a:ext cx="7683500" cy="609600"/>
          </a:xfrm>
          <a:prstGeom prst="rect">
            <a:avLst/>
          </a:prstGeom>
        </p:spPr>
        <p:txBody>
          <a:bodyPr lIns="0" tIns="0" rIns="0" bIns="0" rtlCol="0" anchor="t"/>
          <a:lstStyle/>
          <a:p>
            <a:pPr algn="r">
              <a:lnSpc>
                <a:spcPct val="90000"/>
              </a:lnSpc>
            </a:pPr>
            <a:r>
              <a:rPr lang="en-US" sz="4000" b="1" dirty="0">
                <a:solidFill>
                  <a:srgbClr val="232F47"/>
                </a:solidFill>
                <a:latin typeface="Times New Roman" panose="02020603050405020304" pitchFamily="18" charset="0"/>
                <a:cs typeface="Times New Roman" panose="02020603050405020304" pitchFamily="18" charset="0"/>
              </a:rPr>
              <a:t>Common Market Trend Indicators</a:t>
            </a:r>
          </a:p>
        </p:txBody>
      </p:sp>
    </p:spTree>
    <p:extLst>
      <p:ext uri="{BB962C8B-B14F-4D97-AF65-F5344CB8AC3E}">
        <p14:creationId xmlns:p14="http://schemas.microsoft.com/office/powerpoint/2010/main" val="6057806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7"/>
          <p:cNvPicPr>
            <a:picLocks noChangeAspect="1"/>
          </p:cNvPicPr>
          <p:nvPr/>
        </p:nvPicPr>
        <p:blipFill>
          <a:blip r:embed="rId2"/>
          <a:stretch>
            <a:fillRect/>
          </a:stretch>
        </p:blipFill>
        <p:spPr>
          <a:xfrm>
            <a:off x="444500" y="8255000"/>
            <a:ext cx="457200" cy="406400"/>
          </a:xfrm>
          <a:prstGeom prst="rect">
            <a:avLst/>
          </a:prstGeom>
        </p:spPr>
      </p:pic>
      <p:pic>
        <p:nvPicPr>
          <p:cNvPr id="9" name="Picture 17">
            <a:extLst>
              <a:ext uri="{FF2B5EF4-FFF2-40B4-BE49-F238E27FC236}">
                <a16:creationId xmlns:a16="http://schemas.microsoft.com/office/drawing/2014/main" id="{B4C4579D-BC98-4E93-A2EF-80D55D4B7828}"/>
              </a:ext>
            </a:extLst>
          </p:cNvPr>
          <p:cNvPicPr>
            <a:picLocks noChangeAspect="1"/>
          </p:cNvPicPr>
          <p:nvPr/>
        </p:nvPicPr>
        <p:blipFill>
          <a:blip r:embed="rId3"/>
          <a:stretch>
            <a:fillRect/>
          </a:stretch>
        </p:blipFill>
        <p:spPr>
          <a:xfrm>
            <a:off x="13119100" y="533400"/>
            <a:ext cx="2540000" cy="101600"/>
          </a:xfrm>
          <a:prstGeom prst="rect">
            <a:avLst/>
          </a:prstGeom>
        </p:spPr>
      </p:pic>
      <p:pic>
        <p:nvPicPr>
          <p:cNvPr id="5" name="图形 4" descr="研究">
            <a:extLst>
              <a:ext uri="{FF2B5EF4-FFF2-40B4-BE49-F238E27FC236}">
                <a16:creationId xmlns:a16="http://schemas.microsoft.com/office/drawing/2014/main" id="{3FD22F4C-9437-4704-A73E-C96BA4BCC82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96900" y="1191332"/>
            <a:ext cx="709307" cy="709307"/>
          </a:xfrm>
          <a:prstGeom prst="rect">
            <a:avLst/>
          </a:prstGeom>
        </p:spPr>
      </p:pic>
      <p:sp>
        <p:nvSpPr>
          <p:cNvPr id="11" name="文本框 10">
            <a:extLst>
              <a:ext uri="{FF2B5EF4-FFF2-40B4-BE49-F238E27FC236}">
                <a16:creationId xmlns:a16="http://schemas.microsoft.com/office/drawing/2014/main" id="{311A6E35-5B7B-4D7E-8895-181D479B81C9}"/>
              </a:ext>
            </a:extLst>
          </p:cNvPr>
          <p:cNvSpPr txBox="1"/>
          <p:nvPr/>
        </p:nvSpPr>
        <p:spPr>
          <a:xfrm>
            <a:off x="1243988" y="1261091"/>
            <a:ext cx="14574769" cy="1261884"/>
          </a:xfrm>
          <a:prstGeom prst="rect">
            <a:avLst/>
          </a:prstGeom>
          <a:noFill/>
        </p:spPr>
        <p:txBody>
          <a:bodyPr wrap="square">
            <a:spAutoFit/>
          </a:bodyPr>
          <a:lstStyle/>
          <a:p>
            <a:r>
              <a:rPr lang="en-US" altLang="zh-CN" sz="2800" b="1" u="sng" dirty="0">
                <a:solidFill>
                  <a:schemeClr val="accent3">
                    <a:lumMod val="50000"/>
                  </a:schemeClr>
                </a:solidFill>
                <a:latin typeface="Times New Roman" panose="02020603050405020304" pitchFamily="18" charset="0"/>
                <a:cs typeface="Times New Roman" panose="02020603050405020304" pitchFamily="18" charset="0"/>
              </a:rPr>
              <a:t>2.  Turnover Rate</a:t>
            </a:r>
          </a:p>
          <a:p>
            <a:r>
              <a:rPr lang="en-US" altLang="zh-CN" sz="2400" dirty="0">
                <a:solidFill>
                  <a:srgbClr val="232F47"/>
                </a:solidFill>
                <a:latin typeface="Times New Roman" panose="02020603050405020304" pitchFamily="18" charset="0"/>
                <a:cs typeface="Times New Roman" panose="02020603050405020304" pitchFamily="18" charset="0"/>
              </a:rPr>
              <a:t>Turnover rate is the frequency of stock turnover in the market within a certain period of time, which is one of the indicators reflecting the strength of stock liquidity and trading activity. </a:t>
            </a:r>
            <a:endParaRPr lang="zh-CN" altLang="en-US" sz="2400" dirty="0">
              <a:solidFill>
                <a:srgbClr val="232F47"/>
              </a:solidFill>
              <a:latin typeface="Times New Roman" panose="02020603050405020304" pitchFamily="18" charset="0"/>
              <a:cs typeface="Times New Roman" panose="02020603050405020304" pitchFamily="18" charset="0"/>
            </a:endParaRPr>
          </a:p>
        </p:txBody>
      </p:sp>
      <p:sp>
        <p:nvSpPr>
          <p:cNvPr id="2" name="文本框 1">
            <a:extLst>
              <a:ext uri="{FF2B5EF4-FFF2-40B4-BE49-F238E27FC236}">
                <a16:creationId xmlns:a16="http://schemas.microsoft.com/office/drawing/2014/main" id="{5DD727FC-3AF8-4B73-9DB1-7985FD6856D9}"/>
              </a:ext>
            </a:extLst>
          </p:cNvPr>
          <p:cNvSpPr txBox="1"/>
          <p:nvPr/>
        </p:nvSpPr>
        <p:spPr>
          <a:xfrm>
            <a:off x="6178871" y="3239690"/>
            <a:ext cx="6248400" cy="461665"/>
          </a:xfrm>
          <a:prstGeom prst="rect">
            <a:avLst/>
          </a:prstGeom>
          <a:noFill/>
        </p:spPr>
        <p:txBody>
          <a:bodyPr wrap="square" rtlCol="0">
            <a:spAutoFit/>
          </a:bodyPr>
          <a:lstStyle/>
          <a:p>
            <a:r>
              <a:rPr lang="en-US" altLang="zh-CN" sz="2400" dirty="0">
                <a:latin typeface="Times New Roman" panose="02020603050405020304" pitchFamily="18" charset="0"/>
                <a:cs typeface="Times New Roman" panose="02020603050405020304" pitchFamily="18" charset="0"/>
              </a:rPr>
              <a:t>Figure 14. Close Price and Turnover Rate</a:t>
            </a:r>
            <a:endParaRPr lang="zh-HK" altLang="en-US" sz="2400" dirty="0">
              <a:latin typeface="Times New Roman" panose="02020603050405020304" pitchFamily="18" charset="0"/>
              <a:cs typeface="Times New Roman" panose="02020603050405020304" pitchFamily="18" charset="0"/>
            </a:endParaRPr>
          </a:p>
        </p:txBody>
      </p:sp>
      <p:pic>
        <p:nvPicPr>
          <p:cNvPr id="6" name="图形 5" descr="目标">
            <a:extLst>
              <a:ext uri="{FF2B5EF4-FFF2-40B4-BE49-F238E27FC236}">
                <a16:creationId xmlns:a16="http://schemas.microsoft.com/office/drawing/2014/main" id="{50691A98-CC4C-4DA3-AC1A-142974B7020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727200" y="2457916"/>
            <a:ext cx="685800" cy="685800"/>
          </a:xfrm>
          <a:prstGeom prst="rect">
            <a:avLst/>
          </a:prstGeom>
        </p:spPr>
      </p:pic>
      <p:sp>
        <p:nvSpPr>
          <p:cNvPr id="7" name="文本框 6">
            <a:extLst>
              <a:ext uri="{FF2B5EF4-FFF2-40B4-BE49-F238E27FC236}">
                <a16:creationId xmlns:a16="http://schemas.microsoft.com/office/drawing/2014/main" id="{06A6B812-2213-49AF-9145-6C5782F23B28}"/>
              </a:ext>
            </a:extLst>
          </p:cNvPr>
          <p:cNvSpPr txBox="1"/>
          <p:nvPr/>
        </p:nvSpPr>
        <p:spPr>
          <a:xfrm>
            <a:off x="2413000" y="2466688"/>
            <a:ext cx="12801600" cy="830997"/>
          </a:xfrm>
          <a:prstGeom prst="rect">
            <a:avLst/>
          </a:prstGeom>
          <a:noFill/>
        </p:spPr>
        <p:txBody>
          <a:bodyPr wrap="square" rtlCol="0">
            <a:spAutoFit/>
          </a:bodyPr>
          <a:lstStyle/>
          <a:p>
            <a:r>
              <a:rPr lang="en-US" altLang="zh-HK" sz="2400" dirty="0">
                <a:solidFill>
                  <a:srgbClr val="232F47"/>
                </a:solidFill>
                <a:effectLst/>
                <a:latin typeface="Times New Roman" panose="02020603050405020304" pitchFamily="18" charset="0"/>
                <a:cs typeface="Times New Roman" panose="02020603050405020304" pitchFamily="18" charset="0"/>
              </a:rPr>
              <a:t>The rise and fall in turnover rates tend to have a strong correlation with the stock market itself, as investors become more enthusiastic about trading </a:t>
            </a:r>
            <a:r>
              <a:rPr lang="en-US" altLang="zh-CN" sz="2400" dirty="0">
                <a:solidFill>
                  <a:srgbClr val="232F47"/>
                </a:solidFill>
                <a:effectLst/>
                <a:latin typeface="Times New Roman" panose="02020603050405020304" pitchFamily="18" charset="0"/>
                <a:cs typeface="Times New Roman" panose="02020603050405020304" pitchFamily="18" charset="0"/>
              </a:rPr>
              <a:t>when market begins to go up.</a:t>
            </a:r>
            <a:endParaRPr lang="zh-HK" altLang="en-US" sz="2400" dirty="0">
              <a:solidFill>
                <a:srgbClr val="232F47"/>
              </a:solidFill>
              <a:latin typeface="Times New Roman" panose="02020603050405020304" pitchFamily="18" charset="0"/>
              <a:cs typeface="Times New Roman" panose="02020603050405020304" pitchFamily="18" charset="0"/>
            </a:endParaRPr>
          </a:p>
        </p:txBody>
      </p:sp>
      <p:graphicFrame>
        <p:nvGraphicFramePr>
          <p:cNvPr id="16" name="图表 15">
            <a:extLst>
              <a:ext uri="{FF2B5EF4-FFF2-40B4-BE49-F238E27FC236}">
                <a16:creationId xmlns:a16="http://schemas.microsoft.com/office/drawing/2014/main" id="{999424F2-1942-4EC5-A0E5-6D4F4310B900}"/>
              </a:ext>
            </a:extLst>
          </p:cNvPr>
          <p:cNvGraphicFramePr/>
          <p:nvPr/>
        </p:nvGraphicFramePr>
        <p:xfrm>
          <a:off x="1243988" y="3505200"/>
          <a:ext cx="13944600" cy="5415428"/>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Box 18">
            <a:extLst>
              <a:ext uri="{FF2B5EF4-FFF2-40B4-BE49-F238E27FC236}">
                <a16:creationId xmlns:a16="http://schemas.microsoft.com/office/drawing/2014/main" id="{0516FE89-50CE-4DDD-B22B-B687061C2D49}"/>
              </a:ext>
            </a:extLst>
          </p:cNvPr>
          <p:cNvSpPr txBox="1"/>
          <p:nvPr/>
        </p:nvSpPr>
        <p:spPr>
          <a:xfrm>
            <a:off x="7975600" y="743712"/>
            <a:ext cx="7683500" cy="609600"/>
          </a:xfrm>
          <a:prstGeom prst="rect">
            <a:avLst/>
          </a:prstGeom>
        </p:spPr>
        <p:txBody>
          <a:bodyPr lIns="0" tIns="0" rIns="0" bIns="0" rtlCol="0" anchor="t"/>
          <a:lstStyle/>
          <a:p>
            <a:pPr algn="r">
              <a:lnSpc>
                <a:spcPct val="90000"/>
              </a:lnSpc>
            </a:pPr>
            <a:r>
              <a:rPr lang="en-US" sz="4000" b="1" dirty="0">
                <a:solidFill>
                  <a:srgbClr val="232F47"/>
                </a:solidFill>
                <a:latin typeface="Times New Roman" panose="02020603050405020304" pitchFamily="18" charset="0"/>
                <a:cs typeface="Times New Roman" panose="02020603050405020304" pitchFamily="18" charset="0"/>
              </a:rPr>
              <a:t>Common Market Trend Indicators</a:t>
            </a:r>
          </a:p>
        </p:txBody>
      </p:sp>
      <p:pic>
        <p:nvPicPr>
          <p:cNvPr id="20" name="图形 19" descr="线箭头平直">
            <a:extLst>
              <a:ext uri="{FF2B5EF4-FFF2-40B4-BE49-F238E27FC236}">
                <a16:creationId xmlns:a16="http://schemas.microsoft.com/office/drawing/2014/main" id="{01E2AE9B-FDC2-42E0-A943-11EF1996942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2947738">
            <a:off x="2060653" y="5117461"/>
            <a:ext cx="914400" cy="914400"/>
          </a:xfrm>
          <a:prstGeom prst="rect">
            <a:avLst/>
          </a:prstGeom>
        </p:spPr>
      </p:pic>
      <p:pic>
        <p:nvPicPr>
          <p:cNvPr id="21" name="图形 20" descr="线箭头平直">
            <a:extLst>
              <a:ext uri="{FF2B5EF4-FFF2-40B4-BE49-F238E27FC236}">
                <a16:creationId xmlns:a16="http://schemas.microsoft.com/office/drawing/2014/main" id="{19C1E3AD-6599-482C-A8E1-98BB44DF479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4767503">
            <a:off x="8153116" y="5327526"/>
            <a:ext cx="914400" cy="914400"/>
          </a:xfrm>
          <a:prstGeom prst="rect">
            <a:avLst/>
          </a:prstGeom>
        </p:spPr>
      </p:pic>
    </p:spTree>
    <p:extLst>
      <p:ext uri="{BB962C8B-B14F-4D97-AF65-F5344CB8AC3E}">
        <p14:creationId xmlns:p14="http://schemas.microsoft.com/office/powerpoint/2010/main" val="11415655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7"/>
          <p:cNvPicPr>
            <a:picLocks noChangeAspect="1"/>
          </p:cNvPicPr>
          <p:nvPr/>
        </p:nvPicPr>
        <p:blipFill>
          <a:blip r:embed="rId2"/>
          <a:stretch>
            <a:fillRect/>
          </a:stretch>
        </p:blipFill>
        <p:spPr>
          <a:xfrm>
            <a:off x="444500" y="8255000"/>
            <a:ext cx="457200" cy="406400"/>
          </a:xfrm>
          <a:prstGeom prst="rect">
            <a:avLst/>
          </a:prstGeom>
        </p:spPr>
      </p:pic>
      <p:pic>
        <p:nvPicPr>
          <p:cNvPr id="9" name="Picture 17">
            <a:extLst>
              <a:ext uri="{FF2B5EF4-FFF2-40B4-BE49-F238E27FC236}">
                <a16:creationId xmlns:a16="http://schemas.microsoft.com/office/drawing/2014/main" id="{B4C4579D-BC98-4E93-A2EF-80D55D4B7828}"/>
              </a:ext>
            </a:extLst>
          </p:cNvPr>
          <p:cNvPicPr>
            <a:picLocks noChangeAspect="1"/>
          </p:cNvPicPr>
          <p:nvPr/>
        </p:nvPicPr>
        <p:blipFill>
          <a:blip r:embed="rId3"/>
          <a:stretch>
            <a:fillRect/>
          </a:stretch>
        </p:blipFill>
        <p:spPr>
          <a:xfrm>
            <a:off x="13119100" y="533400"/>
            <a:ext cx="2540000" cy="101600"/>
          </a:xfrm>
          <a:prstGeom prst="rect">
            <a:avLst/>
          </a:prstGeom>
        </p:spPr>
      </p:pic>
      <p:pic>
        <p:nvPicPr>
          <p:cNvPr id="5" name="图形 4" descr="研究">
            <a:extLst>
              <a:ext uri="{FF2B5EF4-FFF2-40B4-BE49-F238E27FC236}">
                <a16:creationId xmlns:a16="http://schemas.microsoft.com/office/drawing/2014/main" id="{3FD22F4C-9437-4704-A73E-C96BA4BCC82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96900" y="1191332"/>
            <a:ext cx="709307" cy="709307"/>
          </a:xfrm>
          <a:prstGeom prst="rect">
            <a:avLst/>
          </a:prstGeom>
        </p:spPr>
      </p:pic>
      <p:sp>
        <p:nvSpPr>
          <p:cNvPr id="11" name="文本框 10">
            <a:extLst>
              <a:ext uri="{FF2B5EF4-FFF2-40B4-BE49-F238E27FC236}">
                <a16:creationId xmlns:a16="http://schemas.microsoft.com/office/drawing/2014/main" id="{311A6E35-5B7B-4D7E-8895-181D479B81C9}"/>
              </a:ext>
            </a:extLst>
          </p:cNvPr>
          <p:cNvSpPr txBox="1"/>
          <p:nvPr/>
        </p:nvSpPr>
        <p:spPr>
          <a:xfrm>
            <a:off x="1243988" y="1261091"/>
            <a:ext cx="14574769" cy="892552"/>
          </a:xfrm>
          <a:prstGeom prst="rect">
            <a:avLst/>
          </a:prstGeom>
          <a:noFill/>
        </p:spPr>
        <p:txBody>
          <a:bodyPr wrap="square">
            <a:spAutoFit/>
          </a:bodyPr>
          <a:lstStyle/>
          <a:p>
            <a:r>
              <a:rPr lang="en-US" altLang="zh-CN" sz="2800" b="1" u="sng" dirty="0">
                <a:solidFill>
                  <a:schemeClr val="accent3">
                    <a:lumMod val="50000"/>
                  </a:schemeClr>
                </a:solidFill>
                <a:latin typeface="Times New Roman" panose="02020603050405020304" pitchFamily="18" charset="0"/>
                <a:cs typeface="Times New Roman" panose="02020603050405020304" pitchFamily="18" charset="0"/>
              </a:rPr>
              <a:t>2.  Turnover Rate</a:t>
            </a:r>
          </a:p>
          <a:p>
            <a:r>
              <a:rPr lang="en-US" altLang="zh-CN" sz="2400" dirty="0">
                <a:solidFill>
                  <a:srgbClr val="232F47"/>
                </a:solidFill>
                <a:latin typeface="Times New Roman" panose="02020603050405020304" pitchFamily="18" charset="0"/>
                <a:cs typeface="Times New Roman" panose="02020603050405020304" pitchFamily="18" charset="0"/>
              </a:rPr>
              <a:t>We use the method of moving average to investigate the trend change of turnover rate over a period of time. </a:t>
            </a:r>
            <a:endParaRPr lang="zh-CN" altLang="en-US" sz="2400" dirty="0">
              <a:solidFill>
                <a:srgbClr val="232F47"/>
              </a:solidFill>
              <a:latin typeface="Times New Roman" panose="02020603050405020304" pitchFamily="18" charset="0"/>
              <a:cs typeface="Times New Roman" panose="02020603050405020304" pitchFamily="18" charset="0"/>
            </a:endParaRPr>
          </a:p>
        </p:txBody>
      </p:sp>
      <p:sp>
        <p:nvSpPr>
          <p:cNvPr id="13" name="TextBox 18">
            <a:extLst>
              <a:ext uri="{FF2B5EF4-FFF2-40B4-BE49-F238E27FC236}">
                <a16:creationId xmlns:a16="http://schemas.microsoft.com/office/drawing/2014/main" id="{7E1A0A35-0855-4C26-935C-C8C272C59857}"/>
              </a:ext>
            </a:extLst>
          </p:cNvPr>
          <p:cNvSpPr txBox="1"/>
          <p:nvPr/>
        </p:nvSpPr>
        <p:spPr>
          <a:xfrm>
            <a:off x="7975600" y="651491"/>
            <a:ext cx="7683500" cy="609600"/>
          </a:xfrm>
          <a:prstGeom prst="rect">
            <a:avLst/>
          </a:prstGeom>
        </p:spPr>
        <p:txBody>
          <a:bodyPr lIns="0" tIns="0" rIns="0" bIns="0" rtlCol="0" anchor="t"/>
          <a:lstStyle/>
          <a:p>
            <a:pPr algn="r">
              <a:lnSpc>
                <a:spcPct val="90000"/>
              </a:lnSpc>
            </a:pPr>
            <a:r>
              <a:rPr lang="en-US" sz="4000" b="1" dirty="0">
                <a:solidFill>
                  <a:srgbClr val="232F47"/>
                </a:solidFill>
                <a:latin typeface="Times New Roman" panose="02020603050405020304" pitchFamily="18" charset="0"/>
                <a:cs typeface="Times New Roman" panose="02020603050405020304" pitchFamily="18" charset="0"/>
              </a:rPr>
              <a:t>Common Market Trend Indicators</a:t>
            </a:r>
          </a:p>
        </p:txBody>
      </p:sp>
      <p:graphicFrame>
        <p:nvGraphicFramePr>
          <p:cNvPr id="14" name="图表 13">
            <a:extLst>
              <a:ext uri="{FF2B5EF4-FFF2-40B4-BE49-F238E27FC236}">
                <a16:creationId xmlns:a16="http://schemas.microsoft.com/office/drawing/2014/main" id="{5509A9C5-DFB1-4DBD-9F99-F16B26721F4A}"/>
              </a:ext>
            </a:extLst>
          </p:cNvPr>
          <p:cNvGraphicFramePr/>
          <p:nvPr/>
        </p:nvGraphicFramePr>
        <p:xfrm>
          <a:off x="1586888" y="3302000"/>
          <a:ext cx="12916367" cy="5308600"/>
        </p:xfrm>
        <a:graphic>
          <a:graphicData uri="http://schemas.openxmlformats.org/drawingml/2006/chart">
            <c:chart xmlns:c="http://schemas.openxmlformats.org/drawingml/2006/chart" xmlns:r="http://schemas.openxmlformats.org/officeDocument/2006/relationships" r:id="rId6"/>
          </a:graphicData>
        </a:graphic>
      </p:graphicFrame>
      <p:sp>
        <p:nvSpPr>
          <p:cNvPr id="15" name="文本框 14">
            <a:extLst>
              <a:ext uri="{FF2B5EF4-FFF2-40B4-BE49-F238E27FC236}">
                <a16:creationId xmlns:a16="http://schemas.microsoft.com/office/drawing/2014/main" id="{017EDB3C-F84B-41C5-B7D2-D4FB04CD28BE}"/>
              </a:ext>
            </a:extLst>
          </p:cNvPr>
          <p:cNvSpPr txBox="1"/>
          <p:nvPr/>
        </p:nvSpPr>
        <p:spPr>
          <a:xfrm>
            <a:off x="5568950" y="2466211"/>
            <a:ext cx="6248400" cy="461665"/>
          </a:xfrm>
          <a:prstGeom prst="rect">
            <a:avLst/>
          </a:prstGeom>
          <a:noFill/>
        </p:spPr>
        <p:txBody>
          <a:bodyPr wrap="square" rtlCol="0">
            <a:spAutoFit/>
          </a:bodyPr>
          <a:lstStyle/>
          <a:p>
            <a:r>
              <a:rPr lang="en-US" altLang="zh-CN" sz="2400" dirty="0">
                <a:latin typeface="Times New Roman" panose="02020603050405020304" pitchFamily="18" charset="0"/>
                <a:cs typeface="Times New Roman" panose="02020603050405020304" pitchFamily="18" charset="0"/>
              </a:rPr>
              <a:t>Figure 15. Close Price and Turnover Rate</a:t>
            </a:r>
            <a:endParaRPr lang="zh-HK" altLang="en-US" sz="24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2007775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7"/>
          <p:cNvPicPr>
            <a:picLocks noChangeAspect="1"/>
          </p:cNvPicPr>
          <p:nvPr/>
        </p:nvPicPr>
        <p:blipFill>
          <a:blip r:embed="rId2"/>
          <a:stretch>
            <a:fillRect/>
          </a:stretch>
        </p:blipFill>
        <p:spPr>
          <a:xfrm>
            <a:off x="444500" y="8255000"/>
            <a:ext cx="457200" cy="406400"/>
          </a:xfrm>
          <a:prstGeom prst="rect">
            <a:avLst/>
          </a:prstGeom>
        </p:spPr>
      </p:pic>
      <p:sp>
        <p:nvSpPr>
          <p:cNvPr id="18" name="TextBox 18"/>
          <p:cNvSpPr txBox="1"/>
          <p:nvPr/>
        </p:nvSpPr>
        <p:spPr>
          <a:xfrm>
            <a:off x="10718800" y="749300"/>
            <a:ext cx="4876800" cy="609600"/>
          </a:xfrm>
          <a:prstGeom prst="rect">
            <a:avLst/>
          </a:prstGeom>
        </p:spPr>
        <p:txBody>
          <a:bodyPr lIns="0" tIns="0" rIns="0" bIns="0" rtlCol="0" anchor="t"/>
          <a:lstStyle/>
          <a:p>
            <a:pPr algn="r">
              <a:lnSpc>
                <a:spcPct val="90000"/>
              </a:lnSpc>
            </a:pPr>
            <a:r>
              <a:rPr lang="en-US" sz="4000" b="1" dirty="0">
                <a:solidFill>
                  <a:srgbClr val="232F47"/>
                </a:solidFill>
                <a:latin typeface="Times New Roman" panose="02020603050405020304" pitchFamily="18" charset="0"/>
                <a:cs typeface="Times New Roman" panose="02020603050405020304" pitchFamily="18" charset="0"/>
              </a:rPr>
              <a:t>Summary</a:t>
            </a:r>
          </a:p>
        </p:txBody>
      </p:sp>
      <p:pic>
        <p:nvPicPr>
          <p:cNvPr id="24" name="Picture 17">
            <a:extLst>
              <a:ext uri="{FF2B5EF4-FFF2-40B4-BE49-F238E27FC236}">
                <a16:creationId xmlns:a16="http://schemas.microsoft.com/office/drawing/2014/main" id="{093A89AC-F161-46C2-A02D-2CA3A524D9FE}"/>
              </a:ext>
            </a:extLst>
          </p:cNvPr>
          <p:cNvPicPr>
            <a:picLocks noChangeAspect="1"/>
          </p:cNvPicPr>
          <p:nvPr/>
        </p:nvPicPr>
        <p:blipFill>
          <a:blip r:embed="rId3"/>
          <a:stretch>
            <a:fillRect/>
          </a:stretch>
        </p:blipFill>
        <p:spPr>
          <a:xfrm>
            <a:off x="13119100" y="533400"/>
            <a:ext cx="2540000" cy="101600"/>
          </a:xfrm>
          <a:prstGeom prst="rect">
            <a:avLst/>
          </a:prstGeom>
        </p:spPr>
      </p:pic>
      <p:pic>
        <p:nvPicPr>
          <p:cNvPr id="13" name="图形 12" descr="研究">
            <a:extLst>
              <a:ext uri="{FF2B5EF4-FFF2-40B4-BE49-F238E27FC236}">
                <a16:creationId xmlns:a16="http://schemas.microsoft.com/office/drawing/2014/main" id="{D8F029D5-0239-403E-9C42-9E59D3BB48A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861800" y="2522019"/>
            <a:ext cx="715520" cy="715520"/>
          </a:xfrm>
          <a:prstGeom prst="rect">
            <a:avLst/>
          </a:prstGeom>
        </p:spPr>
      </p:pic>
      <p:sp>
        <p:nvSpPr>
          <p:cNvPr id="14" name="文本框 13">
            <a:extLst>
              <a:ext uri="{FF2B5EF4-FFF2-40B4-BE49-F238E27FC236}">
                <a16:creationId xmlns:a16="http://schemas.microsoft.com/office/drawing/2014/main" id="{34E07E29-1106-4113-8842-2A8CC4AC4A9F}"/>
              </a:ext>
            </a:extLst>
          </p:cNvPr>
          <p:cNvSpPr txBox="1"/>
          <p:nvPr/>
        </p:nvSpPr>
        <p:spPr>
          <a:xfrm>
            <a:off x="11861800" y="3200400"/>
            <a:ext cx="3962400" cy="3046988"/>
          </a:xfrm>
          <a:prstGeom prst="rect">
            <a:avLst/>
          </a:prstGeom>
          <a:noFill/>
        </p:spPr>
        <p:txBody>
          <a:bodyPr wrap="square" rtlCol="0">
            <a:spAutoFit/>
          </a:bodyPr>
          <a:lstStyle/>
          <a:p>
            <a:r>
              <a:rPr lang="en-US" altLang="zh-HK" sz="2400" kern="100" dirty="0">
                <a:solidFill>
                  <a:srgbClr val="232F47"/>
                </a:solidFill>
                <a:effectLst/>
                <a:latin typeface="Times New Roman" panose="02020603050405020304" pitchFamily="18" charset="0"/>
                <a:ea typeface="PMingLiU" panose="02020500000000000000" pitchFamily="18" charset="-120"/>
                <a:cs typeface="Times New Roman" panose="02020603050405020304" pitchFamily="18" charset="0"/>
              </a:rPr>
              <a:t>In the research, we find that the market can be well classified by means of volatility and turnover rate, and both bull and bear markets have clear combination characteristics corresponding to them.</a:t>
            </a:r>
            <a:endParaRPr lang="zh-TW" altLang="zh-HK" sz="2400" kern="100" dirty="0">
              <a:solidFill>
                <a:srgbClr val="232F47"/>
              </a:solidFill>
              <a:effectLst/>
              <a:latin typeface="Times New Roman" panose="02020603050405020304" pitchFamily="18" charset="0"/>
              <a:ea typeface="PMingLiU" panose="02020500000000000000" pitchFamily="18" charset="-120"/>
              <a:cs typeface="Times New Roman" panose="02020603050405020304" pitchFamily="18" charset="0"/>
            </a:endParaRPr>
          </a:p>
        </p:txBody>
      </p:sp>
      <p:graphicFrame>
        <p:nvGraphicFramePr>
          <p:cNvPr id="15" name="表格 14">
            <a:extLst>
              <a:ext uri="{FF2B5EF4-FFF2-40B4-BE49-F238E27FC236}">
                <a16:creationId xmlns:a16="http://schemas.microsoft.com/office/drawing/2014/main" id="{D5A739A7-D732-406A-9424-6B1758D49C42}"/>
              </a:ext>
            </a:extLst>
          </p:cNvPr>
          <p:cNvGraphicFramePr>
            <a:graphicFrameLocks noGrp="1"/>
          </p:cNvGraphicFramePr>
          <p:nvPr/>
        </p:nvGraphicFramePr>
        <p:xfrm>
          <a:off x="1250950" y="1014816"/>
          <a:ext cx="9220200" cy="2133600"/>
        </p:xfrm>
        <a:graphic>
          <a:graphicData uri="http://schemas.openxmlformats.org/drawingml/2006/table">
            <a:tbl>
              <a:tblPr firstRow="1" firstCol="1" bandRow="1">
                <a:tableStyleId>{5C22544A-7EE6-4342-B048-85BDC9FD1C3A}</a:tableStyleId>
              </a:tblPr>
              <a:tblGrid>
                <a:gridCol w="1694180">
                  <a:extLst>
                    <a:ext uri="{9D8B030D-6E8A-4147-A177-3AD203B41FA5}">
                      <a16:colId xmlns:a16="http://schemas.microsoft.com/office/drawing/2014/main" val="1087359997"/>
                    </a:ext>
                  </a:extLst>
                </a:gridCol>
                <a:gridCol w="2877820">
                  <a:extLst>
                    <a:ext uri="{9D8B030D-6E8A-4147-A177-3AD203B41FA5}">
                      <a16:colId xmlns:a16="http://schemas.microsoft.com/office/drawing/2014/main" val="1335348325"/>
                    </a:ext>
                  </a:extLst>
                </a:gridCol>
                <a:gridCol w="4648200">
                  <a:extLst>
                    <a:ext uri="{9D8B030D-6E8A-4147-A177-3AD203B41FA5}">
                      <a16:colId xmlns:a16="http://schemas.microsoft.com/office/drawing/2014/main" val="280624265"/>
                    </a:ext>
                  </a:extLst>
                </a:gridCol>
              </a:tblGrid>
              <a:tr h="0">
                <a:tc>
                  <a:txBody>
                    <a:bodyPr/>
                    <a:lstStyle/>
                    <a:p>
                      <a:r>
                        <a:rPr lang="en-US" sz="2800" kern="100">
                          <a:effectLst/>
                        </a:rPr>
                        <a:t>Volatility</a:t>
                      </a:r>
                      <a:endParaRPr lang="zh-TW" sz="28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800" kern="100" dirty="0">
                          <a:effectLst/>
                        </a:rPr>
                        <a:t>Turnover Rate</a:t>
                      </a:r>
                      <a:endParaRPr lang="zh-TW" sz="2800" kern="100" dirty="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800" kern="100" dirty="0">
                          <a:effectLst/>
                        </a:rPr>
                        <a:t>Market State</a:t>
                      </a:r>
                      <a:endParaRPr lang="zh-TW" sz="2800" kern="100" dirty="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1818111531"/>
                  </a:ext>
                </a:extLst>
              </a:tr>
              <a:tr h="0">
                <a:tc>
                  <a:txBody>
                    <a:bodyPr/>
                    <a:lstStyle/>
                    <a:p>
                      <a:r>
                        <a:rPr lang="en-US" sz="2800" kern="100">
                          <a:effectLst/>
                        </a:rPr>
                        <a:t>rise</a:t>
                      </a:r>
                      <a:endParaRPr lang="zh-TW" sz="28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800" kern="100">
                          <a:effectLst/>
                        </a:rPr>
                        <a:t>fall</a:t>
                      </a:r>
                      <a:endParaRPr lang="zh-TW" sz="28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800" kern="100" dirty="0">
                          <a:effectLst/>
                        </a:rPr>
                        <a:t>Bear</a:t>
                      </a:r>
                      <a:endParaRPr lang="zh-TW" sz="2800" kern="100" dirty="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solidFill>
                      <a:schemeClr val="accent2"/>
                    </a:solidFill>
                  </a:tcPr>
                </a:tc>
                <a:extLst>
                  <a:ext uri="{0D108BD9-81ED-4DB2-BD59-A6C34878D82A}">
                    <a16:rowId xmlns:a16="http://schemas.microsoft.com/office/drawing/2014/main" val="1752779163"/>
                  </a:ext>
                </a:extLst>
              </a:tr>
              <a:tr h="0">
                <a:tc>
                  <a:txBody>
                    <a:bodyPr/>
                    <a:lstStyle/>
                    <a:p>
                      <a:r>
                        <a:rPr lang="en-US" sz="2800" kern="100">
                          <a:effectLst/>
                        </a:rPr>
                        <a:t>rise</a:t>
                      </a:r>
                      <a:endParaRPr lang="zh-TW" sz="28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800" kern="100">
                          <a:effectLst/>
                        </a:rPr>
                        <a:t>rise</a:t>
                      </a:r>
                      <a:endParaRPr lang="zh-TW" sz="28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800" kern="100" dirty="0">
                          <a:effectLst/>
                        </a:rPr>
                        <a:t>Bull</a:t>
                      </a:r>
                      <a:endParaRPr lang="zh-TW" sz="2800" kern="100" dirty="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solidFill>
                      <a:schemeClr val="accent3"/>
                    </a:solidFill>
                  </a:tcPr>
                </a:tc>
                <a:extLst>
                  <a:ext uri="{0D108BD9-81ED-4DB2-BD59-A6C34878D82A}">
                    <a16:rowId xmlns:a16="http://schemas.microsoft.com/office/drawing/2014/main" val="3826989941"/>
                  </a:ext>
                </a:extLst>
              </a:tr>
              <a:tr h="0">
                <a:tc>
                  <a:txBody>
                    <a:bodyPr/>
                    <a:lstStyle/>
                    <a:p>
                      <a:r>
                        <a:rPr lang="en-US" sz="2800" kern="100">
                          <a:effectLst/>
                        </a:rPr>
                        <a:t>fall</a:t>
                      </a:r>
                      <a:endParaRPr lang="zh-TW" sz="28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800" kern="100">
                          <a:effectLst/>
                        </a:rPr>
                        <a:t>rise</a:t>
                      </a:r>
                      <a:endParaRPr lang="zh-TW" sz="28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800" kern="100" dirty="0">
                          <a:effectLst/>
                        </a:rPr>
                        <a:t>Bull Beginning or After Bear</a:t>
                      </a:r>
                      <a:endParaRPr lang="zh-TW" sz="2800" kern="100" dirty="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solidFill>
                      <a:schemeClr val="accent4">
                        <a:lumMod val="40000"/>
                        <a:lumOff val="60000"/>
                      </a:schemeClr>
                    </a:solidFill>
                  </a:tcPr>
                </a:tc>
                <a:extLst>
                  <a:ext uri="{0D108BD9-81ED-4DB2-BD59-A6C34878D82A}">
                    <a16:rowId xmlns:a16="http://schemas.microsoft.com/office/drawing/2014/main" val="59088742"/>
                  </a:ext>
                </a:extLst>
              </a:tr>
              <a:tr h="0">
                <a:tc>
                  <a:txBody>
                    <a:bodyPr/>
                    <a:lstStyle/>
                    <a:p>
                      <a:r>
                        <a:rPr lang="en-US" sz="2800" kern="100">
                          <a:effectLst/>
                        </a:rPr>
                        <a:t>fall</a:t>
                      </a:r>
                      <a:endParaRPr lang="zh-TW" sz="28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800" kern="100">
                          <a:effectLst/>
                        </a:rPr>
                        <a:t>fall</a:t>
                      </a:r>
                      <a:endParaRPr lang="zh-TW" sz="28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800" kern="100" dirty="0">
                          <a:effectLst/>
                        </a:rPr>
                        <a:t>Volatile Market</a:t>
                      </a:r>
                      <a:endParaRPr lang="zh-TW" sz="2800" kern="100" dirty="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solidFill>
                      <a:srgbClr val="EFF347"/>
                    </a:solidFill>
                  </a:tcPr>
                </a:tc>
                <a:extLst>
                  <a:ext uri="{0D108BD9-81ED-4DB2-BD59-A6C34878D82A}">
                    <a16:rowId xmlns:a16="http://schemas.microsoft.com/office/drawing/2014/main" val="2972447518"/>
                  </a:ext>
                </a:extLst>
              </a:tr>
            </a:tbl>
          </a:graphicData>
        </a:graphic>
      </p:graphicFrame>
      <p:graphicFrame>
        <p:nvGraphicFramePr>
          <p:cNvPr id="36" name="图表 35">
            <a:extLst>
              <a:ext uri="{FF2B5EF4-FFF2-40B4-BE49-F238E27FC236}">
                <a16:creationId xmlns:a16="http://schemas.microsoft.com/office/drawing/2014/main" id="{07704A10-A4C2-4AFF-AE7E-F04531FF55C5}"/>
              </a:ext>
            </a:extLst>
          </p:cNvPr>
          <p:cNvGraphicFramePr/>
          <p:nvPr/>
        </p:nvGraphicFramePr>
        <p:xfrm>
          <a:off x="355600" y="3605468"/>
          <a:ext cx="10820400" cy="5106035"/>
        </p:xfrm>
        <a:graphic>
          <a:graphicData uri="http://schemas.openxmlformats.org/drawingml/2006/chart">
            <c:chart xmlns:c="http://schemas.openxmlformats.org/drawingml/2006/chart" xmlns:r="http://schemas.openxmlformats.org/officeDocument/2006/relationships" r:id="rId6"/>
          </a:graphicData>
        </a:graphic>
      </p:graphicFrame>
      <p:sp>
        <p:nvSpPr>
          <p:cNvPr id="16" name="矩形 15">
            <a:extLst>
              <a:ext uri="{FF2B5EF4-FFF2-40B4-BE49-F238E27FC236}">
                <a16:creationId xmlns:a16="http://schemas.microsoft.com/office/drawing/2014/main" id="{7038B230-7BA5-43C9-ABFE-41F75FE1B237}"/>
              </a:ext>
            </a:extLst>
          </p:cNvPr>
          <p:cNvSpPr/>
          <p:nvPr/>
        </p:nvSpPr>
        <p:spPr>
          <a:xfrm>
            <a:off x="3695807" y="3615713"/>
            <a:ext cx="533400" cy="3557332"/>
          </a:xfrm>
          <a:prstGeom prst="rect">
            <a:avLst/>
          </a:prstGeom>
          <a:solidFill>
            <a:schemeClr val="accent2">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37" name="矩形 36">
            <a:extLst>
              <a:ext uri="{FF2B5EF4-FFF2-40B4-BE49-F238E27FC236}">
                <a16:creationId xmlns:a16="http://schemas.microsoft.com/office/drawing/2014/main" id="{A88CDA87-B9AF-4AC7-A3E0-EF795216688B}"/>
              </a:ext>
            </a:extLst>
          </p:cNvPr>
          <p:cNvSpPr/>
          <p:nvPr/>
        </p:nvSpPr>
        <p:spPr>
          <a:xfrm>
            <a:off x="7366000" y="3605468"/>
            <a:ext cx="762000" cy="3557332"/>
          </a:xfrm>
          <a:prstGeom prst="rect">
            <a:avLst/>
          </a:prstGeom>
          <a:solidFill>
            <a:schemeClr val="accent4">
              <a:lumMod val="75000"/>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38" name="矩形 37">
            <a:extLst>
              <a:ext uri="{FF2B5EF4-FFF2-40B4-BE49-F238E27FC236}">
                <a16:creationId xmlns:a16="http://schemas.microsoft.com/office/drawing/2014/main" id="{F16C5ED7-45EA-4882-91E1-2C6008E04980}"/>
              </a:ext>
            </a:extLst>
          </p:cNvPr>
          <p:cNvSpPr/>
          <p:nvPr/>
        </p:nvSpPr>
        <p:spPr>
          <a:xfrm>
            <a:off x="2946400" y="3615713"/>
            <a:ext cx="762000" cy="3557332"/>
          </a:xfrm>
          <a:prstGeom prst="rect">
            <a:avLst/>
          </a:prstGeom>
          <a:solidFill>
            <a:schemeClr val="accent3">
              <a:lumMod val="50000"/>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39" name="矩形 38">
            <a:extLst>
              <a:ext uri="{FF2B5EF4-FFF2-40B4-BE49-F238E27FC236}">
                <a16:creationId xmlns:a16="http://schemas.microsoft.com/office/drawing/2014/main" id="{5D8517BB-759D-48F6-8099-4EF7C6B909F7}"/>
              </a:ext>
            </a:extLst>
          </p:cNvPr>
          <p:cNvSpPr/>
          <p:nvPr/>
        </p:nvSpPr>
        <p:spPr>
          <a:xfrm>
            <a:off x="4590676" y="3615713"/>
            <a:ext cx="381000" cy="3557332"/>
          </a:xfrm>
          <a:prstGeom prst="rect">
            <a:avLst/>
          </a:prstGeom>
          <a:solidFill>
            <a:srgbClr val="EFF347">
              <a:alpha val="5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40" name="矩形 39">
            <a:extLst>
              <a:ext uri="{FF2B5EF4-FFF2-40B4-BE49-F238E27FC236}">
                <a16:creationId xmlns:a16="http://schemas.microsoft.com/office/drawing/2014/main" id="{0B7D3655-7DEE-49CC-8D75-ED9E22778A28}"/>
              </a:ext>
            </a:extLst>
          </p:cNvPr>
          <p:cNvSpPr/>
          <p:nvPr/>
        </p:nvSpPr>
        <p:spPr>
          <a:xfrm>
            <a:off x="6820648" y="3605468"/>
            <a:ext cx="381000" cy="3557332"/>
          </a:xfrm>
          <a:prstGeom prst="rect">
            <a:avLst/>
          </a:prstGeom>
          <a:solidFill>
            <a:schemeClr val="accent3">
              <a:lumMod val="50000"/>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41" name="矩形 40">
            <a:extLst>
              <a:ext uri="{FF2B5EF4-FFF2-40B4-BE49-F238E27FC236}">
                <a16:creationId xmlns:a16="http://schemas.microsoft.com/office/drawing/2014/main" id="{D2F8B9FD-5E41-48BF-A850-D900EEDBBA13}"/>
              </a:ext>
            </a:extLst>
          </p:cNvPr>
          <p:cNvSpPr/>
          <p:nvPr/>
        </p:nvSpPr>
        <p:spPr>
          <a:xfrm>
            <a:off x="4221150" y="3615713"/>
            <a:ext cx="381000" cy="3557332"/>
          </a:xfrm>
          <a:prstGeom prst="rect">
            <a:avLst/>
          </a:prstGeom>
          <a:solidFill>
            <a:schemeClr val="accent4">
              <a:lumMod val="50000"/>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42" name="矩形 41">
            <a:extLst>
              <a:ext uri="{FF2B5EF4-FFF2-40B4-BE49-F238E27FC236}">
                <a16:creationId xmlns:a16="http://schemas.microsoft.com/office/drawing/2014/main" id="{E2307A13-77CC-4578-BB8E-E5B1A3D241C6}"/>
              </a:ext>
            </a:extLst>
          </p:cNvPr>
          <p:cNvSpPr/>
          <p:nvPr/>
        </p:nvSpPr>
        <p:spPr>
          <a:xfrm>
            <a:off x="8335950" y="3605468"/>
            <a:ext cx="477850" cy="3557332"/>
          </a:xfrm>
          <a:prstGeom prst="rect">
            <a:avLst/>
          </a:prstGeom>
          <a:solidFill>
            <a:schemeClr val="accent2">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19" name="文本框 18">
            <a:extLst>
              <a:ext uri="{FF2B5EF4-FFF2-40B4-BE49-F238E27FC236}">
                <a16:creationId xmlns:a16="http://schemas.microsoft.com/office/drawing/2014/main" id="{7FD011DF-687B-409B-8305-F46EF8EC2E0C}"/>
              </a:ext>
            </a:extLst>
          </p:cNvPr>
          <p:cNvSpPr txBox="1"/>
          <p:nvPr/>
        </p:nvSpPr>
        <p:spPr>
          <a:xfrm>
            <a:off x="3795699" y="601529"/>
            <a:ext cx="6934200" cy="400110"/>
          </a:xfrm>
          <a:prstGeom prst="rect">
            <a:avLst/>
          </a:prstGeom>
          <a:noFill/>
        </p:spPr>
        <p:txBody>
          <a:bodyPr wrap="square" rtlCol="0">
            <a:spAutoFit/>
          </a:bodyPr>
          <a:lstStyle/>
          <a:p>
            <a:r>
              <a:rPr lang="en-US" altLang="zh-HK" sz="2000" dirty="0">
                <a:latin typeface="Times New Roman" panose="02020603050405020304" pitchFamily="18" charset="0"/>
                <a:cs typeface="Times New Roman" panose="02020603050405020304" pitchFamily="18" charset="0"/>
              </a:rPr>
              <a:t>Table Market State Summary</a:t>
            </a:r>
            <a:endParaRPr lang="zh-HK" altLang="en-US" sz="2000" dirty="0">
              <a:latin typeface="Times New Roman" panose="02020603050405020304" pitchFamily="18" charset="0"/>
              <a:cs typeface="Times New Roman" panose="02020603050405020304" pitchFamily="18" charset="0"/>
            </a:endParaRPr>
          </a:p>
        </p:txBody>
      </p:sp>
      <p:sp>
        <p:nvSpPr>
          <p:cNvPr id="43" name="文本框 42">
            <a:extLst>
              <a:ext uri="{FF2B5EF4-FFF2-40B4-BE49-F238E27FC236}">
                <a16:creationId xmlns:a16="http://schemas.microsoft.com/office/drawing/2014/main" id="{AE324881-2746-40AB-A602-48C005C7B745}"/>
              </a:ext>
            </a:extLst>
          </p:cNvPr>
          <p:cNvSpPr txBox="1"/>
          <p:nvPr/>
        </p:nvSpPr>
        <p:spPr>
          <a:xfrm>
            <a:off x="2032000" y="3215603"/>
            <a:ext cx="8041767" cy="400110"/>
          </a:xfrm>
          <a:prstGeom prst="rect">
            <a:avLst/>
          </a:prstGeom>
          <a:noFill/>
        </p:spPr>
        <p:txBody>
          <a:bodyPr wrap="square" rtlCol="0">
            <a:spAutoFit/>
          </a:bodyPr>
          <a:lstStyle/>
          <a:p>
            <a:r>
              <a:rPr lang="en-US" altLang="zh-HK" sz="2000" dirty="0">
                <a:latin typeface="Times New Roman" panose="02020603050405020304" pitchFamily="18" charset="0"/>
                <a:cs typeface="Times New Roman" panose="02020603050405020304" pitchFamily="18" charset="0"/>
              </a:rPr>
              <a:t>Figure 16. Close Price, 120-day Volatility and  250-day Turnover Rate chart</a:t>
            </a:r>
            <a:endParaRPr lang="zh-HK" altLang="en-US" sz="2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4363985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Box 18">
            <a:extLst>
              <a:ext uri="{FF2B5EF4-FFF2-40B4-BE49-F238E27FC236}">
                <a16:creationId xmlns:a16="http://schemas.microsoft.com/office/drawing/2014/main" id="{AA817B9D-327B-4AD4-B954-CE0BE9CFBEFD}"/>
              </a:ext>
            </a:extLst>
          </p:cNvPr>
          <p:cNvSpPr txBox="1"/>
          <p:nvPr/>
        </p:nvSpPr>
        <p:spPr>
          <a:xfrm>
            <a:off x="9575800" y="749300"/>
            <a:ext cx="6019800" cy="609600"/>
          </a:xfrm>
          <a:prstGeom prst="rect">
            <a:avLst/>
          </a:prstGeom>
        </p:spPr>
        <p:txBody>
          <a:bodyPr lIns="0" tIns="0" rIns="0" bIns="0" rtlCol="0" anchor="t"/>
          <a:lstStyle/>
          <a:p>
            <a:pPr algn="r">
              <a:lnSpc>
                <a:spcPct val="90000"/>
              </a:lnSpc>
            </a:pPr>
            <a:r>
              <a:rPr lang="en-US" sz="4000" b="1" dirty="0">
                <a:solidFill>
                  <a:srgbClr val="232F47"/>
                </a:solidFill>
                <a:latin typeface="Times New Roman" panose="02020603050405020304" pitchFamily="18" charset="0"/>
                <a:cs typeface="Times New Roman" panose="02020603050405020304" pitchFamily="18" charset="0"/>
              </a:rPr>
              <a:t>Market State Indicator</a:t>
            </a:r>
          </a:p>
        </p:txBody>
      </p:sp>
      <p:pic>
        <p:nvPicPr>
          <p:cNvPr id="26" name="Picture 17">
            <a:extLst>
              <a:ext uri="{FF2B5EF4-FFF2-40B4-BE49-F238E27FC236}">
                <a16:creationId xmlns:a16="http://schemas.microsoft.com/office/drawing/2014/main" id="{0C9D2680-2E89-4BBB-BA76-20AB5A2D2A6C}"/>
              </a:ext>
            </a:extLst>
          </p:cNvPr>
          <p:cNvPicPr>
            <a:picLocks noChangeAspect="1"/>
          </p:cNvPicPr>
          <p:nvPr/>
        </p:nvPicPr>
        <p:blipFill>
          <a:blip r:embed="rId3"/>
          <a:stretch>
            <a:fillRect/>
          </a:stretch>
        </p:blipFill>
        <p:spPr>
          <a:xfrm>
            <a:off x="13119100" y="533400"/>
            <a:ext cx="2540000" cy="101600"/>
          </a:xfrm>
          <a:prstGeom prst="rect">
            <a:avLst/>
          </a:prstGeom>
        </p:spPr>
      </p:pic>
      <p:grpSp>
        <p:nvGrpSpPr>
          <p:cNvPr id="4" name="组合 3">
            <a:extLst>
              <a:ext uri="{FF2B5EF4-FFF2-40B4-BE49-F238E27FC236}">
                <a16:creationId xmlns:a16="http://schemas.microsoft.com/office/drawing/2014/main" id="{5F1C4748-A506-4173-AAEE-C4C5B5AD770E}"/>
              </a:ext>
            </a:extLst>
          </p:cNvPr>
          <p:cNvGrpSpPr/>
          <p:nvPr/>
        </p:nvGrpSpPr>
        <p:grpSpPr>
          <a:xfrm>
            <a:off x="4470400" y="1931982"/>
            <a:ext cx="7584985" cy="1579853"/>
            <a:chOff x="573965" y="1905000"/>
            <a:chExt cx="7584985" cy="1579853"/>
          </a:xfrm>
        </p:grpSpPr>
        <p:pic>
          <p:nvPicPr>
            <p:cNvPr id="24" name="Picture 3">
              <a:extLst>
                <a:ext uri="{FF2B5EF4-FFF2-40B4-BE49-F238E27FC236}">
                  <a16:creationId xmlns:a16="http://schemas.microsoft.com/office/drawing/2014/main" id="{2F239EDF-5EDB-416E-AC42-B3DBE2908B82}"/>
                </a:ext>
              </a:extLst>
            </p:cNvPr>
            <p:cNvPicPr preferRelativeResize="0">
              <a:picLocks/>
            </p:cNvPicPr>
            <p:nvPr/>
          </p:nvPicPr>
          <p:blipFill>
            <a:blip r:embed="rId4"/>
            <a:stretch>
              <a:fillRect/>
            </a:stretch>
          </p:blipFill>
          <p:spPr>
            <a:xfrm>
              <a:off x="573965" y="1905000"/>
              <a:ext cx="7584985" cy="1579853"/>
            </a:xfrm>
            <a:prstGeom prst="rect">
              <a:avLst/>
            </a:prstGeom>
          </p:spPr>
        </p:pic>
        <mc:AlternateContent xmlns:mc="http://schemas.openxmlformats.org/markup-compatibility/2006" xmlns:a14="http://schemas.microsoft.com/office/drawing/2010/main">
          <mc:Choice Requires="a14">
            <p:sp>
              <p:nvSpPr>
                <p:cNvPr id="23" name="文本框 22">
                  <a:extLst>
                    <a:ext uri="{FF2B5EF4-FFF2-40B4-BE49-F238E27FC236}">
                      <a16:creationId xmlns:a16="http://schemas.microsoft.com/office/drawing/2014/main" id="{B2BA6BC9-3EBF-4CA4-92DD-99A228607F4A}"/>
                    </a:ext>
                  </a:extLst>
                </p:cNvPr>
                <p:cNvSpPr txBox="1"/>
                <p:nvPr/>
              </p:nvSpPr>
              <p:spPr>
                <a:xfrm>
                  <a:off x="2021765" y="2298054"/>
                  <a:ext cx="4419600" cy="79374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zh-HK" altLang="en-US" sz="2400" i="1" smtClean="0">
                            <a:solidFill>
                              <a:schemeClr val="bg1"/>
                            </a:solidFill>
                            <a:latin typeface="Cambria Math" panose="02040503050406030204" pitchFamily="18" charset="0"/>
                          </a:rPr>
                          <m:t>𝑖𝑛𝑑𝑖𝑐𝑎𝑡𝑜𝑟</m:t>
                        </m:r>
                        <m:r>
                          <a:rPr lang="zh-HK" altLang="en-US" sz="2400" i="0">
                            <a:solidFill>
                              <a:schemeClr val="bg1"/>
                            </a:solidFill>
                            <a:latin typeface="Cambria Math" panose="02040503050406030204" pitchFamily="18" charset="0"/>
                          </a:rPr>
                          <m:t>= </m:t>
                        </m:r>
                        <m:f>
                          <m:fPr>
                            <m:ctrlPr>
                              <a:rPr lang="zh-HK" altLang="en-US" sz="2400" i="1">
                                <a:solidFill>
                                  <a:schemeClr val="bg1"/>
                                </a:solidFill>
                                <a:latin typeface="Cambria Math" panose="02040503050406030204" pitchFamily="18" charset="0"/>
                              </a:rPr>
                            </m:ctrlPr>
                          </m:fPr>
                          <m:num>
                            <m:r>
                              <a:rPr lang="zh-HK" altLang="en-US" sz="2400" i="1">
                                <a:solidFill>
                                  <a:schemeClr val="bg1"/>
                                </a:solidFill>
                                <a:latin typeface="Cambria Math" panose="02040503050406030204" pitchFamily="18" charset="0"/>
                              </a:rPr>
                              <m:t>𝑉𝑜𝑙𝑎𝑡𝑖𝑙𝑖𝑡𝑦</m:t>
                            </m:r>
                          </m:num>
                          <m:den>
                            <m:r>
                              <a:rPr lang="zh-HK" altLang="en-US" sz="2400" i="1">
                                <a:solidFill>
                                  <a:schemeClr val="bg1"/>
                                </a:solidFill>
                                <a:latin typeface="Cambria Math" panose="02040503050406030204" pitchFamily="18" charset="0"/>
                              </a:rPr>
                              <m:t>𝑇𝑢𝑟𝑛𝑜𝑣𝑒𝑟</m:t>
                            </m:r>
                            <m:r>
                              <a:rPr lang="zh-HK" altLang="en-US" sz="2400" i="0">
                                <a:solidFill>
                                  <a:schemeClr val="bg1"/>
                                </a:solidFill>
                                <a:latin typeface="Cambria Math" panose="02040503050406030204" pitchFamily="18" charset="0"/>
                              </a:rPr>
                              <m:t> </m:t>
                            </m:r>
                            <m:r>
                              <a:rPr lang="zh-HK" altLang="en-US" sz="2400" i="1">
                                <a:solidFill>
                                  <a:schemeClr val="bg1"/>
                                </a:solidFill>
                                <a:latin typeface="Cambria Math" panose="02040503050406030204" pitchFamily="18" charset="0"/>
                              </a:rPr>
                              <m:t>𝑅𝑎𝑡𝑒</m:t>
                            </m:r>
                          </m:den>
                        </m:f>
                      </m:oMath>
                    </m:oMathPara>
                  </a14:m>
                  <a:endParaRPr lang="zh-HK" altLang="en-US" sz="2400" dirty="0">
                    <a:solidFill>
                      <a:schemeClr val="bg1"/>
                    </a:solidFill>
                    <a:latin typeface="Times New Roman" panose="02020603050405020304" pitchFamily="18" charset="0"/>
                    <a:cs typeface="Times New Roman" panose="02020603050405020304" pitchFamily="18" charset="0"/>
                  </a:endParaRPr>
                </a:p>
              </p:txBody>
            </p:sp>
          </mc:Choice>
          <mc:Fallback xmlns="">
            <p:sp>
              <p:nvSpPr>
                <p:cNvPr id="23" name="文本框 22">
                  <a:extLst>
                    <a:ext uri="{FF2B5EF4-FFF2-40B4-BE49-F238E27FC236}">
                      <a16:creationId xmlns:a16="http://schemas.microsoft.com/office/drawing/2014/main" id="{B2BA6BC9-3EBF-4CA4-92DD-99A228607F4A}"/>
                    </a:ext>
                  </a:extLst>
                </p:cNvPr>
                <p:cNvSpPr txBox="1">
                  <a:spLocks noRot="1" noChangeAspect="1" noMove="1" noResize="1" noEditPoints="1" noAdjustHandles="1" noChangeArrowheads="1" noChangeShapeType="1" noTextEdit="1"/>
                </p:cNvSpPr>
                <p:nvPr/>
              </p:nvSpPr>
              <p:spPr>
                <a:xfrm>
                  <a:off x="2021765" y="2298054"/>
                  <a:ext cx="4419600" cy="793743"/>
                </a:xfrm>
                <a:prstGeom prst="rect">
                  <a:avLst/>
                </a:prstGeom>
                <a:blipFill>
                  <a:blip r:embed="rId5"/>
                  <a:stretch>
                    <a:fillRect/>
                  </a:stretch>
                </a:blipFill>
              </p:spPr>
              <p:txBody>
                <a:bodyPr/>
                <a:lstStyle/>
                <a:p>
                  <a:r>
                    <a:rPr lang="zh-HK" altLang="en-US">
                      <a:noFill/>
                    </a:rPr>
                    <a:t> </a:t>
                  </a:r>
                </a:p>
              </p:txBody>
            </p:sp>
          </mc:Fallback>
        </mc:AlternateContent>
      </p:grpSp>
      <p:sp>
        <p:nvSpPr>
          <p:cNvPr id="3" name="文本框 2">
            <a:extLst>
              <a:ext uri="{FF2B5EF4-FFF2-40B4-BE49-F238E27FC236}">
                <a16:creationId xmlns:a16="http://schemas.microsoft.com/office/drawing/2014/main" id="{DCEF5D11-1B32-4BE9-9C07-5CF67E7928AC}"/>
              </a:ext>
            </a:extLst>
          </p:cNvPr>
          <p:cNvSpPr txBox="1"/>
          <p:nvPr/>
        </p:nvSpPr>
        <p:spPr>
          <a:xfrm>
            <a:off x="1478323" y="1287164"/>
            <a:ext cx="14473304" cy="523220"/>
          </a:xfrm>
          <a:prstGeom prst="rect">
            <a:avLst/>
          </a:prstGeom>
          <a:noFill/>
        </p:spPr>
        <p:txBody>
          <a:bodyPr wrap="square" rtlCol="0">
            <a:spAutoFit/>
          </a:bodyPr>
          <a:lstStyle/>
          <a:p>
            <a:r>
              <a:rPr lang="en-US" altLang="zh-CN" sz="2800" b="1" u="sng" kern="100" dirty="0">
                <a:solidFill>
                  <a:srgbClr val="232F47"/>
                </a:solidFill>
                <a:effectLst/>
                <a:latin typeface="Times New Roman" panose="02020603050405020304" pitchFamily="18" charset="0"/>
                <a:ea typeface="PMingLiU" panose="02020500000000000000" pitchFamily="18" charset="-120"/>
                <a:cs typeface="Times New Roman" panose="02020603050405020304" pitchFamily="18" charset="0"/>
              </a:rPr>
              <a:t>What if </a:t>
            </a:r>
            <a:r>
              <a:rPr lang="en-US" altLang="zh-CN" sz="2800" b="1" u="sng" kern="100" dirty="0">
                <a:solidFill>
                  <a:srgbClr val="232F47"/>
                </a:solidFill>
                <a:latin typeface="Times New Roman" panose="02020603050405020304" pitchFamily="18" charset="0"/>
                <a:ea typeface="PMingLiU" panose="02020500000000000000" pitchFamily="18" charset="-120"/>
                <a:cs typeface="Times New Roman" panose="02020603050405020304" pitchFamily="18" charset="0"/>
              </a:rPr>
              <a:t>we combine volatility and turnover rate…</a:t>
            </a:r>
          </a:p>
        </p:txBody>
      </p:sp>
      <p:graphicFrame>
        <p:nvGraphicFramePr>
          <p:cNvPr id="28" name="图表 27">
            <a:extLst>
              <a:ext uri="{FF2B5EF4-FFF2-40B4-BE49-F238E27FC236}">
                <a16:creationId xmlns:a16="http://schemas.microsoft.com/office/drawing/2014/main" id="{628D647F-A467-48C4-8AA1-1C1B613B7532}"/>
              </a:ext>
            </a:extLst>
          </p:cNvPr>
          <p:cNvGraphicFramePr/>
          <p:nvPr/>
        </p:nvGraphicFramePr>
        <p:xfrm>
          <a:off x="1346200" y="3810000"/>
          <a:ext cx="13716000" cy="5105400"/>
        </p:xfrm>
        <a:graphic>
          <a:graphicData uri="http://schemas.openxmlformats.org/drawingml/2006/chart">
            <c:chart xmlns:c="http://schemas.openxmlformats.org/drawingml/2006/chart" xmlns:r="http://schemas.openxmlformats.org/officeDocument/2006/relationships" r:id="rId6"/>
          </a:graphicData>
        </a:graphic>
      </p:graphicFrame>
      <p:pic>
        <p:nvPicPr>
          <p:cNvPr id="6" name="图形 5" descr="灯泡">
            <a:extLst>
              <a:ext uri="{FF2B5EF4-FFF2-40B4-BE49-F238E27FC236}">
                <a16:creationId xmlns:a16="http://schemas.microsoft.com/office/drawing/2014/main" id="{0D1E050D-3551-49BC-8772-772A199BA0A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84200" y="992673"/>
            <a:ext cx="914400" cy="914400"/>
          </a:xfrm>
          <a:prstGeom prst="rect">
            <a:avLst/>
          </a:prstGeom>
        </p:spPr>
      </p:pic>
      <p:sp>
        <p:nvSpPr>
          <p:cNvPr id="30" name="文本框 29">
            <a:extLst>
              <a:ext uri="{FF2B5EF4-FFF2-40B4-BE49-F238E27FC236}">
                <a16:creationId xmlns:a16="http://schemas.microsoft.com/office/drawing/2014/main" id="{E86D3CC3-C923-449D-A510-921550404E6A}"/>
              </a:ext>
            </a:extLst>
          </p:cNvPr>
          <p:cNvSpPr txBox="1"/>
          <p:nvPr/>
        </p:nvSpPr>
        <p:spPr>
          <a:xfrm>
            <a:off x="4927600" y="3633433"/>
            <a:ext cx="7924800" cy="461665"/>
          </a:xfrm>
          <a:prstGeom prst="rect">
            <a:avLst/>
          </a:prstGeom>
          <a:noFill/>
        </p:spPr>
        <p:txBody>
          <a:bodyPr wrap="square" rtlCol="0">
            <a:spAutoFit/>
          </a:bodyPr>
          <a:lstStyle/>
          <a:p>
            <a:r>
              <a:rPr lang="en-US" altLang="zh-CN" sz="2400" dirty="0">
                <a:latin typeface="Times New Roman" panose="02020603050405020304" pitchFamily="18" charset="0"/>
                <a:cs typeface="Times New Roman" panose="02020603050405020304" pitchFamily="18" charset="0"/>
              </a:rPr>
              <a:t>Figure 17. CSI300 Close Price and Market State Indicator</a:t>
            </a:r>
            <a:endParaRPr lang="zh-HK" altLang="en-US" sz="24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0002999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Box 18">
            <a:extLst>
              <a:ext uri="{FF2B5EF4-FFF2-40B4-BE49-F238E27FC236}">
                <a16:creationId xmlns:a16="http://schemas.microsoft.com/office/drawing/2014/main" id="{AA817B9D-327B-4AD4-B954-CE0BE9CFBEFD}"/>
              </a:ext>
            </a:extLst>
          </p:cNvPr>
          <p:cNvSpPr txBox="1"/>
          <p:nvPr/>
        </p:nvSpPr>
        <p:spPr>
          <a:xfrm>
            <a:off x="9575800" y="749300"/>
            <a:ext cx="6019800" cy="609600"/>
          </a:xfrm>
          <a:prstGeom prst="rect">
            <a:avLst/>
          </a:prstGeom>
        </p:spPr>
        <p:txBody>
          <a:bodyPr lIns="0" tIns="0" rIns="0" bIns="0" rtlCol="0" anchor="t"/>
          <a:lstStyle/>
          <a:p>
            <a:pPr algn="r">
              <a:lnSpc>
                <a:spcPct val="90000"/>
              </a:lnSpc>
            </a:pPr>
            <a:r>
              <a:rPr lang="en-US" sz="4000" b="1" dirty="0">
                <a:solidFill>
                  <a:srgbClr val="232F47"/>
                </a:solidFill>
                <a:latin typeface="Times New Roman" panose="02020603050405020304" pitchFamily="18" charset="0"/>
                <a:cs typeface="Times New Roman" panose="02020603050405020304" pitchFamily="18" charset="0"/>
              </a:rPr>
              <a:t>Market State Indicator</a:t>
            </a:r>
          </a:p>
        </p:txBody>
      </p:sp>
      <p:pic>
        <p:nvPicPr>
          <p:cNvPr id="26" name="Picture 17">
            <a:extLst>
              <a:ext uri="{FF2B5EF4-FFF2-40B4-BE49-F238E27FC236}">
                <a16:creationId xmlns:a16="http://schemas.microsoft.com/office/drawing/2014/main" id="{0C9D2680-2E89-4BBB-BA76-20AB5A2D2A6C}"/>
              </a:ext>
            </a:extLst>
          </p:cNvPr>
          <p:cNvPicPr>
            <a:picLocks noChangeAspect="1"/>
          </p:cNvPicPr>
          <p:nvPr/>
        </p:nvPicPr>
        <p:blipFill>
          <a:blip r:embed="rId3"/>
          <a:stretch>
            <a:fillRect/>
          </a:stretch>
        </p:blipFill>
        <p:spPr>
          <a:xfrm>
            <a:off x="13119100" y="533400"/>
            <a:ext cx="2540000" cy="101600"/>
          </a:xfrm>
          <a:prstGeom prst="rect">
            <a:avLst/>
          </a:prstGeom>
        </p:spPr>
      </p:pic>
      <p:grpSp>
        <p:nvGrpSpPr>
          <p:cNvPr id="4" name="组合 3">
            <a:extLst>
              <a:ext uri="{FF2B5EF4-FFF2-40B4-BE49-F238E27FC236}">
                <a16:creationId xmlns:a16="http://schemas.microsoft.com/office/drawing/2014/main" id="{5F1C4748-A506-4173-AAEE-C4C5B5AD770E}"/>
              </a:ext>
            </a:extLst>
          </p:cNvPr>
          <p:cNvGrpSpPr/>
          <p:nvPr/>
        </p:nvGrpSpPr>
        <p:grpSpPr>
          <a:xfrm>
            <a:off x="4470400" y="1931982"/>
            <a:ext cx="7584985" cy="1579853"/>
            <a:chOff x="573965" y="1905000"/>
            <a:chExt cx="7584985" cy="1579853"/>
          </a:xfrm>
        </p:grpSpPr>
        <p:pic>
          <p:nvPicPr>
            <p:cNvPr id="24" name="Picture 3">
              <a:extLst>
                <a:ext uri="{FF2B5EF4-FFF2-40B4-BE49-F238E27FC236}">
                  <a16:creationId xmlns:a16="http://schemas.microsoft.com/office/drawing/2014/main" id="{2F239EDF-5EDB-416E-AC42-B3DBE2908B82}"/>
                </a:ext>
              </a:extLst>
            </p:cNvPr>
            <p:cNvPicPr preferRelativeResize="0">
              <a:picLocks/>
            </p:cNvPicPr>
            <p:nvPr/>
          </p:nvPicPr>
          <p:blipFill>
            <a:blip r:embed="rId4"/>
            <a:stretch>
              <a:fillRect/>
            </a:stretch>
          </p:blipFill>
          <p:spPr>
            <a:xfrm>
              <a:off x="573965" y="1905000"/>
              <a:ext cx="7584985" cy="1579853"/>
            </a:xfrm>
            <a:prstGeom prst="rect">
              <a:avLst/>
            </a:prstGeom>
          </p:spPr>
        </p:pic>
        <mc:AlternateContent xmlns:mc="http://schemas.openxmlformats.org/markup-compatibility/2006" xmlns:a14="http://schemas.microsoft.com/office/drawing/2010/main">
          <mc:Choice Requires="a14">
            <p:sp>
              <p:nvSpPr>
                <p:cNvPr id="23" name="文本框 22">
                  <a:extLst>
                    <a:ext uri="{FF2B5EF4-FFF2-40B4-BE49-F238E27FC236}">
                      <a16:creationId xmlns:a16="http://schemas.microsoft.com/office/drawing/2014/main" id="{B2BA6BC9-3EBF-4CA4-92DD-99A228607F4A}"/>
                    </a:ext>
                  </a:extLst>
                </p:cNvPr>
                <p:cNvSpPr txBox="1"/>
                <p:nvPr/>
              </p:nvSpPr>
              <p:spPr>
                <a:xfrm>
                  <a:off x="2021765" y="2298054"/>
                  <a:ext cx="4419600" cy="79374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zh-HK" altLang="en-US" sz="2400" i="1" smtClean="0">
                            <a:solidFill>
                              <a:schemeClr val="bg1"/>
                            </a:solidFill>
                            <a:latin typeface="Cambria Math" panose="02040503050406030204" pitchFamily="18" charset="0"/>
                          </a:rPr>
                          <m:t>𝑖𝑛𝑑𝑖𝑐𝑎𝑡𝑜𝑟</m:t>
                        </m:r>
                        <m:r>
                          <a:rPr lang="zh-HK" altLang="en-US" sz="2400" i="0">
                            <a:solidFill>
                              <a:schemeClr val="bg1"/>
                            </a:solidFill>
                            <a:latin typeface="Cambria Math" panose="02040503050406030204" pitchFamily="18" charset="0"/>
                          </a:rPr>
                          <m:t>= </m:t>
                        </m:r>
                        <m:f>
                          <m:fPr>
                            <m:ctrlPr>
                              <a:rPr lang="zh-HK" altLang="en-US" sz="2400" i="1">
                                <a:solidFill>
                                  <a:schemeClr val="bg1"/>
                                </a:solidFill>
                                <a:latin typeface="Cambria Math" panose="02040503050406030204" pitchFamily="18" charset="0"/>
                              </a:rPr>
                            </m:ctrlPr>
                          </m:fPr>
                          <m:num>
                            <m:r>
                              <a:rPr lang="zh-HK" altLang="en-US" sz="2400" i="1">
                                <a:solidFill>
                                  <a:schemeClr val="bg1"/>
                                </a:solidFill>
                                <a:latin typeface="Cambria Math" panose="02040503050406030204" pitchFamily="18" charset="0"/>
                              </a:rPr>
                              <m:t>𝑉𝑜𝑙𝑎𝑡𝑖𝑙𝑖𝑡𝑦</m:t>
                            </m:r>
                          </m:num>
                          <m:den>
                            <m:r>
                              <a:rPr lang="zh-HK" altLang="en-US" sz="2400" i="1">
                                <a:solidFill>
                                  <a:schemeClr val="bg1"/>
                                </a:solidFill>
                                <a:latin typeface="Cambria Math" panose="02040503050406030204" pitchFamily="18" charset="0"/>
                              </a:rPr>
                              <m:t>𝑇𝑢𝑟𝑛𝑜𝑣𝑒𝑟</m:t>
                            </m:r>
                            <m:r>
                              <a:rPr lang="zh-HK" altLang="en-US" sz="2400" i="0">
                                <a:solidFill>
                                  <a:schemeClr val="bg1"/>
                                </a:solidFill>
                                <a:latin typeface="Cambria Math" panose="02040503050406030204" pitchFamily="18" charset="0"/>
                              </a:rPr>
                              <m:t> </m:t>
                            </m:r>
                            <m:r>
                              <a:rPr lang="zh-HK" altLang="en-US" sz="2400" i="1">
                                <a:solidFill>
                                  <a:schemeClr val="bg1"/>
                                </a:solidFill>
                                <a:latin typeface="Cambria Math" panose="02040503050406030204" pitchFamily="18" charset="0"/>
                              </a:rPr>
                              <m:t>𝑅𝑎𝑡𝑒</m:t>
                            </m:r>
                          </m:den>
                        </m:f>
                      </m:oMath>
                    </m:oMathPara>
                  </a14:m>
                  <a:endParaRPr lang="zh-HK" altLang="en-US" sz="2400" dirty="0">
                    <a:solidFill>
                      <a:schemeClr val="bg1"/>
                    </a:solidFill>
                    <a:latin typeface="Times New Roman" panose="02020603050405020304" pitchFamily="18" charset="0"/>
                    <a:cs typeface="Times New Roman" panose="02020603050405020304" pitchFamily="18" charset="0"/>
                  </a:endParaRPr>
                </a:p>
              </p:txBody>
            </p:sp>
          </mc:Choice>
          <mc:Fallback xmlns="">
            <p:sp>
              <p:nvSpPr>
                <p:cNvPr id="23" name="文本框 22">
                  <a:extLst>
                    <a:ext uri="{FF2B5EF4-FFF2-40B4-BE49-F238E27FC236}">
                      <a16:creationId xmlns:a16="http://schemas.microsoft.com/office/drawing/2014/main" id="{B2BA6BC9-3EBF-4CA4-92DD-99A228607F4A}"/>
                    </a:ext>
                  </a:extLst>
                </p:cNvPr>
                <p:cNvSpPr txBox="1">
                  <a:spLocks noRot="1" noChangeAspect="1" noMove="1" noResize="1" noEditPoints="1" noAdjustHandles="1" noChangeArrowheads="1" noChangeShapeType="1" noTextEdit="1"/>
                </p:cNvSpPr>
                <p:nvPr/>
              </p:nvSpPr>
              <p:spPr>
                <a:xfrm>
                  <a:off x="2021765" y="2298054"/>
                  <a:ext cx="4419600" cy="793743"/>
                </a:xfrm>
                <a:prstGeom prst="rect">
                  <a:avLst/>
                </a:prstGeom>
                <a:blipFill>
                  <a:blip r:embed="rId5"/>
                  <a:stretch>
                    <a:fillRect/>
                  </a:stretch>
                </a:blipFill>
              </p:spPr>
              <p:txBody>
                <a:bodyPr/>
                <a:lstStyle/>
                <a:p>
                  <a:r>
                    <a:rPr lang="zh-HK" altLang="en-US">
                      <a:noFill/>
                    </a:rPr>
                    <a:t> </a:t>
                  </a:r>
                </a:p>
              </p:txBody>
            </p:sp>
          </mc:Fallback>
        </mc:AlternateContent>
      </p:grpSp>
      <p:sp>
        <p:nvSpPr>
          <p:cNvPr id="3" name="文本框 2">
            <a:extLst>
              <a:ext uri="{FF2B5EF4-FFF2-40B4-BE49-F238E27FC236}">
                <a16:creationId xmlns:a16="http://schemas.microsoft.com/office/drawing/2014/main" id="{DCEF5D11-1B32-4BE9-9C07-5CF67E7928AC}"/>
              </a:ext>
            </a:extLst>
          </p:cNvPr>
          <p:cNvSpPr txBox="1"/>
          <p:nvPr/>
        </p:nvSpPr>
        <p:spPr>
          <a:xfrm>
            <a:off x="1478323" y="1287164"/>
            <a:ext cx="14473304" cy="523220"/>
          </a:xfrm>
          <a:prstGeom prst="rect">
            <a:avLst/>
          </a:prstGeom>
          <a:noFill/>
        </p:spPr>
        <p:txBody>
          <a:bodyPr wrap="square" rtlCol="0">
            <a:spAutoFit/>
          </a:bodyPr>
          <a:lstStyle/>
          <a:p>
            <a:r>
              <a:rPr lang="en-US" altLang="zh-CN" sz="2800" b="1" u="sng" kern="100" dirty="0">
                <a:solidFill>
                  <a:srgbClr val="232F47"/>
                </a:solidFill>
                <a:effectLst/>
                <a:latin typeface="Times New Roman" panose="02020603050405020304" pitchFamily="18" charset="0"/>
                <a:ea typeface="PMingLiU" panose="02020500000000000000" pitchFamily="18" charset="-120"/>
                <a:cs typeface="Times New Roman" panose="02020603050405020304" pitchFamily="18" charset="0"/>
              </a:rPr>
              <a:t>What if </a:t>
            </a:r>
            <a:r>
              <a:rPr lang="en-US" altLang="zh-CN" sz="2800" b="1" u="sng" kern="100" dirty="0">
                <a:solidFill>
                  <a:srgbClr val="232F47"/>
                </a:solidFill>
                <a:latin typeface="Times New Roman" panose="02020603050405020304" pitchFamily="18" charset="0"/>
                <a:ea typeface="PMingLiU" panose="02020500000000000000" pitchFamily="18" charset="-120"/>
                <a:cs typeface="Times New Roman" panose="02020603050405020304" pitchFamily="18" charset="0"/>
              </a:rPr>
              <a:t>we combine volatility and turnover rate…</a:t>
            </a:r>
          </a:p>
        </p:txBody>
      </p:sp>
      <p:graphicFrame>
        <p:nvGraphicFramePr>
          <p:cNvPr id="28" name="图表 27">
            <a:extLst>
              <a:ext uri="{FF2B5EF4-FFF2-40B4-BE49-F238E27FC236}">
                <a16:creationId xmlns:a16="http://schemas.microsoft.com/office/drawing/2014/main" id="{628D647F-A467-48C4-8AA1-1C1B613B7532}"/>
              </a:ext>
            </a:extLst>
          </p:cNvPr>
          <p:cNvGraphicFramePr/>
          <p:nvPr/>
        </p:nvGraphicFramePr>
        <p:xfrm>
          <a:off x="1346200" y="3810000"/>
          <a:ext cx="13716000" cy="5105400"/>
        </p:xfrm>
        <a:graphic>
          <a:graphicData uri="http://schemas.openxmlformats.org/drawingml/2006/chart">
            <c:chart xmlns:c="http://schemas.openxmlformats.org/drawingml/2006/chart" xmlns:r="http://schemas.openxmlformats.org/officeDocument/2006/relationships" r:id="rId6"/>
          </a:graphicData>
        </a:graphic>
      </p:graphicFrame>
      <p:pic>
        <p:nvPicPr>
          <p:cNvPr id="6" name="图形 5" descr="灯泡">
            <a:extLst>
              <a:ext uri="{FF2B5EF4-FFF2-40B4-BE49-F238E27FC236}">
                <a16:creationId xmlns:a16="http://schemas.microsoft.com/office/drawing/2014/main" id="{0D1E050D-3551-49BC-8772-772A199BA0A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84200" y="992673"/>
            <a:ext cx="914400" cy="914400"/>
          </a:xfrm>
          <a:prstGeom prst="rect">
            <a:avLst/>
          </a:prstGeom>
        </p:spPr>
      </p:pic>
      <p:sp>
        <p:nvSpPr>
          <p:cNvPr id="30" name="文本框 29">
            <a:extLst>
              <a:ext uri="{FF2B5EF4-FFF2-40B4-BE49-F238E27FC236}">
                <a16:creationId xmlns:a16="http://schemas.microsoft.com/office/drawing/2014/main" id="{E86D3CC3-C923-449D-A510-921550404E6A}"/>
              </a:ext>
            </a:extLst>
          </p:cNvPr>
          <p:cNvSpPr txBox="1"/>
          <p:nvPr/>
        </p:nvSpPr>
        <p:spPr>
          <a:xfrm>
            <a:off x="4927600" y="3633433"/>
            <a:ext cx="7924800" cy="461665"/>
          </a:xfrm>
          <a:prstGeom prst="rect">
            <a:avLst/>
          </a:prstGeom>
          <a:noFill/>
        </p:spPr>
        <p:txBody>
          <a:bodyPr wrap="square" rtlCol="0">
            <a:spAutoFit/>
          </a:bodyPr>
          <a:lstStyle/>
          <a:p>
            <a:r>
              <a:rPr lang="en-US" altLang="zh-CN" sz="2400" dirty="0">
                <a:latin typeface="Times New Roman" panose="02020603050405020304" pitchFamily="18" charset="0"/>
                <a:cs typeface="Times New Roman" panose="02020603050405020304" pitchFamily="18" charset="0"/>
              </a:rPr>
              <a:t>Figure 17. CSI300 Close Price and Market State Indicator</a:t>
            </a:r>
            <a:endParaRPr lang="zh-HK" altLang="en-US" sz="2400" dirty="0">
              <a:latin typeface="Times New Roman" panose="02020603050405020304" pitchFamily="18" charset="0"/>
              <a:cs typeface="Times New Roman" panose="02020603050405020304" pitchFamily="18" charset="0"/>
            </a:endParaRPr>
          </a:p>
        </p:txBody>
      </p:sp>
      <p:sp>
        <p:nvSpPr>
          <p:cNvPr id="2" name="矩形 1">
            <a:extLst>
              <a:ext uri="{FF2B5EF4-FFF2-40B4-BE49-F238E27FC236}">
                <a16:creationId xmlns:a16="http://schemas.microsoft.com/office/drawing/2014/main" id="{62720F8A-9687-4E7F-AF65-AE4B47112B7B}"/>
              </a:ext>
            </a:extLst>
          </p:cNvPr>
          <p:cNvSpPr/>
          <p:nvPr/>
        </p:nvSpPr>
        <p:spPr>
          <a:xfrm>
            <a:off x="10658929" y="4116869"/>
            <a:ext cx="5029200" cy="4343400"/>
          </a:xfrm>
          <a:prstGeom prst="rect">
            <a:avLst/>
          </a:prstGeom>
          <a:solidFill>
            <a:srgbClr val="BA9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pic>
        <p:nvPicPr>
          <p:cNvPr id="7" name="图形 6" descr="竖起的大拇指手势 ">
            <a:extLst>
              <a:ext uri="{FF2B5EF4-FFF2-40B4-BE49-F238E27FC236}">
                <a16:creationId xmlns:a16="http://schemas.microsoft.com/office/drawing/2014/main" id="{55E34302-CA0B-4B00-831E-8779BDF6373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947400" y="4216696"/>
            <a:ext cx="762000" cy="762000"/>
          </a:xfrm>
          <a:prstGeom prst="rect">
            <a:avLst/>
          </a:prstGeom>
        </p:spPr>
      </p:pic>
      <p:sp>
        <p:nvSpPr>
          <p:cNvPr id="8" name="文本框 7">
            <a:extLst>
              <a:ext uri="{FF2B5EF4-FFF2-40B4-BE49-F238E27FC236}">
                <a16:creationId xmlns:a16="http://schemas.microsoft.com/office/drawing/2014/main" id="{A0ABDE79-90FB-43C3-A0C4-2007E150ADB5}"/>
              </a:ext>
            </a:extLst>
          </p:cNvPr>
          <p:cNvSpPr txBox="1"/>
          <p:nvPr/>
        </p:nvSpPr>
        <p:spPr>
          <a:xfrm>
            <a:off x="10925629" y="4946739"/>
            <a:ext cx="4495800" cy="3108543"/>
          </a:xfrm>
          <a:prstGeom prst="rect">
            <a:avLst/>
          </a:prstGeom>
          <a:noFill/>
        </p:spPr>
        <p:txBody>
          <a:bodyPr wrap="square" rtlCol="0">
            <a:spAutoFit/>
          </a:bodyPr>
          <a:lstStyle/>
          <a:p>
            <a:r>
              <a:rPr lang="en-US" altLang="zh-HK" sz="2800" dirty="0">
                <a:solidFill>
                  <a:srgbClr val="232F47"/>
                </a:solidFill>
                <a:effectLst/>
                <a:latin typeface="Times New Roman" panose="02020603050405020304" pitchFamily="18" charset="0"/>
                <a:cs typeface="Times New Roman" panose="02020603050405020304" pitchFamily="18" charset="0"/>
              </a:rPr>
              <a:t>Market state Indicator </a:t>
            </a:r>
          </a:p>
          <a:p>
            <a:pPr marL="457200" indent="-457200">
              <a:buFont typeface="Arial" panose="020B0604020202020204" pitchFamily="34" charset="0"/>
              <a:buChar char="•"/>
            </a:pPr>
            <a:r>
              <a:rPr lang="en-US" altLang="zh-HK" sz="2800" dirty="0">
                <a:solidFill>
                  <a:srgbClr val="232F47"/>
                </a:solidFill>
                <a:effectLst/>
                <a:latin typeface="Times New Roman" panose="02020603050405020304" pitchFamily="18" charset="0"/>
                <a:cs typeface="Times New Roman" panose="02020603050405020304" pitchFamily="18" charset="0"/>
              </a:rPr>
              <a:t>has a relatively obvious negative correlation with the market status</a:t>
            </a:r>
          </a:p>
          <a:p>
            <a:pPr marL="457200" indent="-457200">
              <a:buFont typeface="Arial" panose="020B0604020202020204" pitchFamily="34" charset="0"/>
              <a:buChar char="•"/>
            </a:pPr>
            <a:r>
              <a:rPr lang="en-US" altLang="zh-HK" sz="2800" dirty="0">
                <a:solidFill>
                  <a:srgbClr val="232F47"/>
                </a:solidFill>
                <a:effectLst/>
                <a:latin typeface="Times New Roman" panose="02020603050405020304" pitchFamily="18" charset="0"/>
                <a:cs typeface="Times New Roman" panose="02020603050405020304" pitchFamily="18" charset="0"/>
              </a:rPr>
              <a:t>has smalle</a:t>
            </a:r>
            <a:r>
              <a:rPr lang="en-US" altLang="zh-HK" sz="2800" dirty="0">
                <a:solidFill>
                  <a:srgbClr val="232F47"/>
                </a:solidFill>
                <a:latin typeface="Times New Roman" panose="02020603050405020304" pitchFamily="18" charset="0"/>
                <a:cs typeface="Times New Roman" panose="02020603050405020304" pitchFamily="18" charset="0"/>
              </a:rPr>
              <a:t>r </a:t>
            </a:r>
            <a:r>
              <a:rPr lang="en-US" altLang="zh-HK" sz="2800" dirty="0">
                <a:solidFill>
                  <a:srgbClr val="232F47"/>
                </a:solidFill>
                <a:effectLst/>
                <a:latin typeface="Times New Roman" panose="02020603050405020304" pitchFamily="18" charset="0"/>
                <a:cs typeface="Times New Roman" panose="02020603050405020304" pitchFamily="18" charset="0"/>
              </a:rPr>
              <a:t>fluctuation</a:t>
            </a:r>
          </a:p>
          <a:p>
            <a:pPr marL="457200" indent="-457200">
              <a:buFont typeface="Arial" panose="020B0604020202020204" pitchFamily="34" charset="0"/>
              <a:buChar char="•"/>
            </a:pPr>
            <a:r>
              <a:rPr lang="en-US" altLang="zh-HK" sz="2800" dirty="0">
                <a:solidFill>
                  <a:srgbClr val="232F47"/>
                </a:solidFill>
                <a:effectLst/>
                <a:latin typeface="Times New Roman" panose="02020603050405020304" pitchFamily="18" charset="0"/>
                <a:cs typeface="Times New Roman" panose="02020603050405020304" pitchFamily="18" charset="0"/>
              </a:rPr>
              <a:t>gets rid of the lag of the moving average strategy.</a:t>
            </a:r>
            <a:endParaRPr lang="zh-HK" altLang="en-US" sz="2800" dirty="0">
              <a:solidFill>
                <a:srgbClr val="232F47"/>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4532184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4"/>
          <a:stretch>
            <a:fillRect/>
          </a:stretch>
        </p:blipFill>
        <p:spPr>
          <a:xfrm>
            <a:off x="0" y="6426200"/>
            <a:ext cx="16256000" cy="2730500"/>
          </a:xfrm>
          <a:prstGeom prst="rect">
            <a:avLst/>
          </a:prstGeom>
        </p:spPr>
      </p:pic>
      <p:pic>
        <p:nvPicPr>
          <p:cNvPr id="3" name="Picture 3"/>
          <p:cNvPicPr>
            <a:picLocks noChangeAspect="1"/>
          </p:cNvPicPr>
          <p:nvPr/>
        </p:nvPicPr>
        <p:blipFill>
          <a:blip r:embed="rId5"/>
          <a:stretch>
            <a:fillRect/>
          </a:stretch>
        </p:blipFill>
        <p:spPr>
          <a:xfrm>
            <a:off x="0" y="5702300"/>
            <a:ext cx="16256000" cy="444500"/>
          </a:xfrm>
          <a:prstGeom prst="rect">
            <a:avLst/>
          </a:prstGeom>
        </p:spPr>
      </p:pic>
      <p:pic>
        <p:nvPicPr>
          <p:cNvPr id="4" name="Picture 4"/>
          <p:cNvPicPr>
            <a:picLocks noChangeAspect="1"/>
          </p:cNvPicPr>
          <p:nvPr/>
        </p:nvPicPr>
        <p:blipFill>
          <a:blip r:embed="rId6"/>
          <a:stretch>
            <a:fillRect/>
          </a:stretch>
        </p:blipFill>
        <p:spPr>
          <a:xfrm>
            <a:off x="1600200" y="2425700"/>
            <a:ext cx="6350000" cy="5435600"/>
          </a:xfrm>
          <a:prstGeom prst="rect">
            <a:avLst/>
          </a:prstGeom>
        </p:spPr>
      </p:pic>
      <p:sp>
        <p:nvSpPr>
          <p:cNvPr id="5" name="TextBox 5"/>
          <p:cNvSpPr txBox="1"/>
          <p:nvPr/>
        </p:nvSpPr>
        <p:spPr>
          <a:xfrm>
            <a:off x="7608474" y="4687329"/>
            <a:ext cx="8915400" cy="1103538"/>
          </a:xfrm>
          <a:prstGeom prst="rect">
            <a:avLst/>
          </a:prstGeom>
        </p:spPr>
        <p:txBody>
          <a:bodyPr lIns="0" tIns="0" rIns="0" bIns="0" rtlCol="0" anchor="t"/>
          <a:lstStyle/>
          <a:p>
            <a:pPr algn="ctr">
              <a:lnSpc>
                <a:spcPct val="105000"/>
              </a:lnSpc>
            </a:pPr>
            <a:r>
              <a:rPr lang="en-US" altLang="zh-CN" sz="5400" b="1" dirty="0">
                <a:solidFill>
                  <a:srgbClr val="BA996A"/>
                </a:solidFill>
                <a:latin typeface="Times New Roman" panose="02020603050405020304" pitchFamily="18" charset="0"/>
                <a:cs typeface="Times New Roman" panose="02020603050405020304" pitchFamily="18" charset="0"/>
              </a:rPr>
              <a:t>5  Optimization and Result</a:t>
            </a:r>
          </a:p>
          <a:p>
            <a:pPr algn="l">
              <a:lnSpc>
                <a:spcPct val="105000"/>
              </a:lnSpc>
            </a:pPr>
            <a:endParaRPr lang="en-US" sz="5400" b="1" dirty="0">
              <a:solidFill>
                <a:srgbClr val="BA996A"/>
              </a:solidFill>
              <a:latin typeface="Times New Roman" panose="02020603050405020304" pitchFamily="18" charset="0"/>
              <a:cs typeface="Times New Roman" panose="02020603050405020304" pitchFamily="18" charset="0"/>
            </a:endParaRPr>
          </a:p>
        </p:txBody>
      </p:sp>
      <p:pic>
        <p:nvPicPr>
          <p:cNvPr id="8" name="Picture 8"/>
          <p:cNvPicPr>
            <a:picLocks noChangeAspect="1"/>
          </p:cNvPicPr>
          <p:nvPr/>
        </p:nvPicPr>
        <p:blipFill>
          <a:blip r:embed="rId7"/>
          <a:stretch>
            <a:fillRect/>
          </a:stretch>
        </p:blipFill>
        <p:spPr>
          <a:xfrm>
            <a:off x="13119100" y="533400"/>
            <a:ext cx="2540000" cy="101600"/>
          </a:xfrm>
          <a:prstGeom prst="rect">
            <a:avLst/>
          </a:prstGeom>
        </p:spPr>
      </p:pic>
      <p:pic>
        <p:nvPicPr>
          <p:cNvPr id="9" name="股票股市背景视频 (1)_Trim">
            <a:hlinkClick r:id="" action="ppaction://media"/>
            <a:extLst>
              <a:ext uri="{FF2B5EF4-FFF2-40B4-BE49-F238E27FC236}">
                <a16:creationId xmlns:a16="http://schemas.microsoft.com/office/drawing/2014/main" id="{D22DC644-8FCB-4789-98EA-7D3339A7313F}"/>
              </a:ext>
            </a:extLst>
          </p:cNvPr>
          <p:cNvPicPr>
            <a:picLocks noChangeAspect="1"/>
          </p:cNvPicPr>
          <p:nvPr>
            <a:videoFile r:link="rId2"/>
            <p:extLst>
              <p:ext uri="{DAA4B4D4-6D71-4841-9C94-3DE7FCFB9230}">
                <p14:media xmlns:p14="http://schemas.microsoft.com/office/powerpoint/2010/main" r:embed="rId1"/>
              </p:ext>
            </p:extLst>
          </p:nvPr>
        </p:nvPicPr>
        <p:blipFill>
          <a:blip r:embed="rId8"/>
          <a:stretch>
            <a:fillRect/>
          </a:stretch>
        </p:blipFill>
        <p:spPr>
          <a:xfrm>
            <a:off x="1727200" y="2590800"/>
            <a:ext cx="6096000" cy="3530600"/>
          </a:xfrm>
          <a:prstGeom prst="rect">
            <a:avLst/>
          </a:prstGeom>
        </p:spPr>
      </p:pic>
      <p:sp>
        <p:nvSpPr>
          <p:cNvPr id="10" name="文本框 9">
            <a:extLst>
              <a:ext uri="{FF2B5EF4-FFF2-40B4-BE49-F238E27FC236}">
                <a16:creationId xmlns:a16="http://schemas.microsoft.com/office/drawing/2014/main" id="{03A85A61-1AC0-4EC4-B599-F47C2E9C0F5F}"/>
              </a:ext>
            </a:extLst>
          </p:cNvPr>
          <p:cNvSpPr txBox="1"/>
          <p:nvPr/>
        </p:nvSpPr>
        <p:spPr>
          <a:xfrm>
            <a:off x="12573941" y="8308945"/>
            <a:ext cx="4005072" cy="400110"/>
          </a:xfrm>
          <a:prstGeom prst="rect">
            <a:avLst/>
          </a:prstGeom>
          <a:noFill/>
        </p:spPr>
        <p:txBody>
          <a:bodyPr wrap="square" rtlCol="0">
            <a:spAutoFit/>
          </a:bodyPr>
          <a:lstStyle/>
          <a:p>
            <a:r>
              <a:rPr kumimoji="1" lang="en-US" altLang="zh-CN" sz="2000" dirty="0">
                <a:solidFill>
                  <a:schemeClr val="bg1"/>
                </a:solidFill>
              </a:rPr>
              <a:t>Speaker : HUANG, </a:t>
            </a:r>
            <a:r>
              <a:rPr kumimoji="1" lang="en-US" altLang="zh-CN" sz="2000" dirty="0" err="1">
                <a:solidFill>
                  <a:schemeClr val="bg1"/>
                </a:solidFill>
              </a:rPr>
              <a:t>Yijing</a:t>
            </a:r>
            <a:endParaRPr kumimoji="1" lang="zh-CN" altLang="en-US" sz="2000" dirty="0">
              <a:solidFill>
                <a:schemeClr val="bg1"/>
              </a:solidFill>
            </a:endParaRPr>
          </a:p>
        </p:txBody>
      </p:sp>
    </p:spTree>
    <p:extLst>
      <p:ext uri="{BB962C8B-B14F-4D97-AF65-F5344CB8AC3E}">
        <p14:creationId xmlns:p14="http://schemas.microsoft.com/office/powerpoint/2010/main" val="39107900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200"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9"/>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9"/>
                                        </p:tgtEl>
                                      </p:cBhvr>
                                    </p:cmd>
                                  </p:childTnLst>
                                </p:cTn>
                              </p:par>
                            </p:childTnLst>
                          </p:cTn>
                        </p:par>
                      </p:childTnLst>
                    </p:cTn>
                  </p:par>
                </p:childTnLst>
              </p:cTn>
              <p:nextCondLst>
                <p:cond evt="onClick" delay="0">
                  <p:tgtEl>
                    <p:spTgt spid="9"/>
                  </p:tgtEl>
                </p:cond>
              </p:nextCondLst>
            </p:seq>
            <p:video>
              <p:cMediaNode vol="80000">
                <p:cTn id="12" repeatCount="indefinite" fill="hold" display="0">
                  <p:stCondLst>
                    <p:cond delay="indefinite"/>
                  </p:stCondLst>
                </p:cTn>
                <p:tgtEl>
                  <p:spTgt spid="9"/>
                </p:tgtEl>
              </p:cMediaNode>
            </p:video>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8"/>
          <p:cNvSpPr txBox="1"/>
          <p:nvPr/>
        </p:nvSpPr>
        <p:spPr>
          <a:xfrm>
            <a:off x="4394200" y="743712"/>
            <a:ext cx="11264900" cy="609600"/>
          </a:xfrm>
          <a:prstGeom prst="rect">
            <a:avLst/>
          </a:prstGeom>
        </p:spPr>
        <p:txBody>
          <a:bodyPr lIns="0" tIns="0" rIns="0" bIns="0" rtlCol="0" anchor="t"/>
          <a:lstStyle/>
          <a:p>
            <a:pPr algn="r">
              <a:lnSpc>
                <a:spcPct val="90000"/>
              </a:lnSpc>
            </a:pPr>
            <a:r>
              <a:rPr lang="en-US" sz="4000" b="1" dirty="0">
                <a:solidFill>
                  <a:srgbClr val="232F47"/>
                </a:solidFill>
                <a:latin typeface="Times New Roman" panose="02020603050405020304" pitchFamily="18" charset="0"/>
                <a:cs typeface="Times New Roman" panose="02020603050405020304" pitchFamily="18" charset="0"/>
              </a:rPr>
              <a:t>Optimization </a:t>
            </a:r>
            <a:r>
              <a:rPr lang="en-US" altLang="zh-CN" sz="4000" b="1" dirty="0">
                <a:solidFill>
                  <a:srgbClr val="232F47"/>
                </a:solidFill>
                <a:latin typeface="Times New Roman" panose="02020603050405020304" pitchFamily="18" charset="0"/>
                <a:cs typeface="Times New Roman" panose="02020603050405020304" pitchFamily="18" charset="0"/>
              </a:rPr>
              <a:t>B</a:t>
            </a:r>
            <a:r>
              <a:rPr lang="en-US" sz="4000" b="1" dirty="0">
                <a:solidFill>
                  <a:srgbClr val="232F47"/>
                </a:solidFill>
                <a:latin typeface="Times New Roman" panose="02020603050405020304" pitchFamily="18" charset="0"/>
                <a:cs typeface="Times New Roman" panose="02020603050405020304" pitchFamily="18" charset="0"/>
              </a:rPr>
              <a:t>ased on </a:t>
            </a:r>
            <a:r>
              <a:rPr lang="en-US" altLang="zh-CN" sz="4000" b="1" dirty="0">
                <a:solidFill>
                  <a:srgbClr val="232F47"/>
                </a:solidFill>
                <a:latin typeface="Times New Roman" panose="02020603050405020304" pitchFamily="18" charset="0"/>
                <a:cs typeface="Times New Roman" panose="02020603050405020304" pitchFamily="18" charset="0"/>
              </a:rPr>
              <a:t>Close</a:t>
            </a:r>
            <a:r>
              <a:rPr lang="en-US" sz="4000" b="1" dirty="0">
                <a:solidFill>
                  <a:srgbClr val="232F47"/>
                </a:solidFill>
                <a:latin typeface="Times New Roman" panose="02020603050405020304" pitchFamily="18" charset="0"/>
                <a:cs typeface="Times New Roman" panose="02020603050405020304" pitchFamily="18" charset="0"/>
              </a:rPr>
              <a:t> </a:t>
            </a:r>
            <a:r>
              <a:rPr lang="en-US" altLang="zh-CN" sz="4000" b="1" dirty="0">
                <a:solidFill>
                  <a:srgbClr val="232F47"/>
                </a:solidFill>
                <a:latin typeface="Times New Roman" panose="02020603050405020304" pitchFamily="18" charset="0"/>
                <a:cs typeface="Times New Roman" panose="02020603050405020304" pitchFamily="18" charset="0"/>
              </a:rPr>
              <a:t>P</a:t>
            </a:r>
            <a:r>
              <a:rPr lang="en-US" sz="4000" b="1" dirty="0">
                <a:solidFill>
                  <a:srgbClr val="232F47"/>
                </a:solidFill>
                <a:latin typeface="Times New Roman" panose="02020603050405020304" pitchFamily="18" charset="0"/>
                <a:cs typeface="Times New Roman" panose="02020603050405020304" pitchFamily="18" charset="0"/>
              </a:rPr>
              <a:t>rice </a:t>
            </a:r>
            <a:r>
              <a:rPr lang="en-US" altLang="zh-CN" sz="4000" b="1" dirty="0">
                <a:solidFill>
                  <a:srgbClr val="232F47"/>
                </a:solidFill>
                <a:latin typeface="Times New Roman" panose="02020603050405020304" pitchFamily="18" charset="0"/>
                <a:cs typeface="Times New Roman" panose="02020603050405020304" pitchFamily="18" charset="0"/>
              </a:rPr>
              <a:t>T</a:t>
            </a:r>
            <a:r>
              <a:rPr lang="en-US" sz="4000" b="1" dirty="0">
                <a:solidFill>
                  <a:srgbClr val="232F47"/>
                </a:solidFill>
                <a:latin typeface="Times New Roman" panose="02020603050405020304" pitchFamily="18" charset="0"/>
                <a:cs typeface="Times New Roman" panose="02020603050405020304" pitchFamily="18" charset="0"/>
              </a:rPr>
              <a:t>rends</a:t>
            </a:r>
          </a:p>
        </p:txBody>
      </p:sp>
      <p:pic>
        <p:nvPicPr>
          <p:cNvPr id="9" name="Picture 17">
            <a:extLst>
              <a:ext uri="{FF2B5EF4-FFF2-40B4-BE49-F238E27FC236}">
                <a16:creationId xmlns:a16="http://schemas.microsoft.com/office/drawing/2014/main" id="{B4C4579D-BC98-4E93-A2EF-80D55D4B7828}"/>
              </a:ext>
            </a:extLst>
          </p:cNvPr>
          <p:cNvPicPr>
            <a:picLocks noChangeAspect="1"/>
          </p:cNvPicPr>
          <p:nvPr/>
        </p:nvPicPr>
        <p:blipFill>
          <a:blip r:embed="rId2"/>
          <a:stretch>
            <a:fillRect/>
          </a:stretch>
        </p:blipFill>
        <p:spPr>
          <a:xfrm>
            <a:off x="13119100" y="533400"/>
            <a:ext cx="2540000" cy="101600"/>
          </a:xfrm>
          <a:prstGeom prst="rect">
            <a:avLst/>
          </a:prstGeom>
        </p:spPr>
      </p:pic>
      <p:sp>
        <p:nvSpPr>
          <p:cNvPr id="2" name="文本框 1">
            <a:extLst>
              <a:ext uri="{FF2B5EF4-FFF2-40B4-BE49-F238E27FC236}">
                <a16:creationId xmlns:a16="http://schemas.microsoft.com/office/drawing/2014/main" id="{F112A98F-D9CF-4272-9599-2B6F7571DA90}"/>
              </a:ext>
            </a:extLst>
          </p:cNvPr>
          <p:cNvSpPr txBox="1"/>
          <p:nvPr/>
        </p:nvSpPr>
        <p:spPr>
          <a:xfrm>
            <a:off x="1727200" y="1290447"/>
            <a:ext cx="14097000" cy="1204976"/>
          </a:xfrm>
          <a:prstGeom prst="rect">
            <a:avLst/>
          </a:prstGeom>
        </p:spPr>
        <p:txBody>
          <a:bodyPr lIns="0" tIns="0" rIns="0" bIns="0" rtlCol="0" anchor="t"/>
          <a:lstStyle>
            <a:defPPr>
              <a:defRPr lang="en-US"/>
            </a:defPPr>
            <a:lvl1pPr algn="r">
              <a:lnSpc>
                <a:spcPct val="90000"/>
              </a:lnSpc>
              <a:defRPr sz="4000" b="1">
                <a:solidFill>
                  <a:srgbClr val="232F47"/>
                </a:solidFill>
                <a:latin typeface="Times New Roman" panose="02020603050405020304" pitchFamily="18" charset="0"/>
                <a:cs typeface="Times New Roman" panose="02020603050405020304" pitchFamily="18" charset="0"/>
              </a:defRPr>
            </a:lvl1pPr>
          </a:lstStyle>
          <a:p>
            <a:pPr algn="l"/>
            <a:r>
              <a:rPr lang="en-US" altLang="zh-HK" sz="2800" b="0" dirty="0"/>
              <a:t>In the back test, we found that several large losses occurred in the bear market, in order to avoid the wrong open signal in the bear market, we added the </a:t>
            </a:r>
            <a:r>
              <a:rPr lang="en-US" altLang="zh-CN" sz="2800" b="0" dirty="0"/>
              <a:t>2</a:t>
            </a:r>
            <a:r>
              <a:rPr lang="en-US" altLang="zh-HK" sz="2800" b="0" dirty="0"/>
              <a:t>0-day closing price MA as another signal.</a:t>
            </a:r>
          </a:p>
          <a:p>
            <a:pPr algn="l"/>
            <a:r>
              <a:rPr lang="en-US" altLang="zh-CN" sz="2800" b="0" dirty="0"/>
              <a:t>Market state indicator is the optimization method.</a:t>
            </a:r>
            <a:endParaRPr lang="zh-HK" altLang="en-US" sz="2400" b="0" dirty="0"/>
          </a:p>
        </p:txBody>
      </p:sp>
      <p:pic>
        <p:nvPicPr>
          <p:cNvPr id="19" name="Picture 3">
            <a:extLst>
              <a:ext uri="{FF2B5EF4-FFF2-40B4-BE49-F238E27FC236}">
                <a16:creationId xmlns:a16="http://schemas.microsoft.com/office/drawing/2014/main" id="{0891A6F2-237F-4770-8FAE-F32F796DE921}"/>
              </a:ext>
            </a:extLst>
          </p:cNvPr>
          <p:cNvPicPr preferRelativeResize="0">
            <a:picLocks/>
          </p:cNvPicPr>
          <p:nvPr/>
        </p:nvPicPr>
        <p:blipFill>
          <a:blip r:embed="rId3"/>
          <a:stretch>
            <a:fillRect/>
          </a:stretch>
        </p:blipFill>
        <p:spPr>
          <a:xfrm>
            <a:off x="199472" y="2611719"/>
            <a:ext cx="7584985" cy="1365605"/>
          </a:xfrm>
          <a:prstGeom prst="rect">
            <a:avLst/>
          </a:prstGeom>
        </p:spPr>
      </p:pic>
      <p:pic>
        <p:nvPicPr>
          <p:cNvPr id="20" name="Picture 5">
            <a:extLst>
              <a:ext uri="{FF2B5EF4-FFF2-40B4-BE49-F238E27FC236}">
                <a16:creationId xmlns:a16="http://schemas.microsoft.com/office/drawing/2014/main" id="{CBED3D65-F391-4ED1-9E2F-0F4A57699E4E}"/>
              </a:ext>
            </a:extLst>
          </p:cNvPr>
          <p:cNvPicPr preferRelativeResize="0">
            <a:picLocks/>
          </p:cNvPicPr>
          <p:nvPr/>
        </p:nvPicPr>
        <p:blipFill>
          <a:blip r:embed="rId4"/>
          <a:stretch>
            <a:fillRect/>
          </a:stretch>
        </p:blipFill>
        <p:spPr>
          <a:xfrm>
            <a:off x="199470" y="3951474"/>
            <a:ext cx="7584987" cy="1721669"/>
          </a:xfrm>
          <a:prstGeom prst="rect">
            <a:avLst/>
          </a:prstGeom>
        </p:spPr>
      </p:pic>
      <p:pic>
        <p:nvPicPr>
          <p:cNvPr id="21" name="Picture 3">
            <a:extLst>
              <a:ext uri="{FF2B5EF4-FFF2-40B4-BE49-F238E27FC236}">
                <a16:creationId xmlns:a16="http://schemas.microsoft.com/office/drawing/2014/main" id="{7A53E7B5-A14B-4FB2-B2F0-A58C69C7EBAE}"/>
              </a:ext>
            </a:extLst>
          </p:cNvPr>
          <p:cNvPicPr preferRelativeResize="0">
            <a:picLocks/>
          </p:cNvPicPr>
          <p:nvPr/>
        </p:nvPicPr>
        <p:blipFill>
          <a:blip r:embed="rId3"/>
          <a:stretch>
            <a:fillRect/>
          </a:stretch>
        </p:blipFill>
        <p:spPr>
          <a:xfrm>
            <a:off x="206375" y="5654124"/>
            <a:ext cx="7584985" cy="1266230"/>
          </a:xfrm>
          <a:prstGeom prst="rect">
            <a:avLst/>
          </a:prstGeom>
        </p:spPr>
      </p:pic>
      <p:sp>
        <p:nvSpPr>
          <p:cNvPr id="25" name="文本框 1147">
            <a:extLst>
              <a:ext uri="{FF2B5EF4-FFF2-40B4-BE49-F238E27FC236}">
                <a16:creationId xmlns:a16="http://schemas.microsoft.com/office/drawing/2014/main" id="{D98277AF-C1F0-4C7F-BA68-6B9334877535}"/>
              </a:ext>
            </a:extLst>
          </p:cNvPr>
          <p:cNvSpPr txBox="1"/>
          <p:nvPr/>
        </p:nvSpPr>
        <p:spPr>
          <a:xfrm>
            <a:off x="432705" y="3977324"/>
            <a:ext cx="7297737" cy="1687963"/>
          </a:xfrm>
          <a:prstGeom prst="rect">
            <a:avLst/>
          </a:prstGeom>
          <a:noFill/>
        </p:spPr>
        <p:txBody>
          <a:bodyPr wrap="square" rtlCol="0">
            <a:spAutoFit/>
          </a:bodyPr>
          <a:lstStyle/>
          <a:p>
            <a:pPr algn="ctr">
              <a:lnSpc>
                <a:spcPct val="150000"/>
              </a:lnSpc>
            </a:pPr>
            <a:r>
              <a:rPr kumimoji="1" lang="en-US" sz="2400" b="1" dirty="0">
                <a:solidFill>
                  <a:schemeClr val="bg1"/>
                </a:solidFill>
                <a:latin typeface="Times New Roman" panose="02020603050405020304" pitchFamily="18" charset="0"/>
                <a:cs typeface="Times New Roman" panose="02020603050405020304" pitchFamily="18" charset="0"/>
              </a:rPr>
              <a:t>2. If the indicator sends a buy signal and meets the requirement that </a:t>
            </a:r>
            <a:r>
              <a:rPr kumimoji="1" lang="en-US" sz="2400" b="1" dirty="0">
                <a:solidFill>
                  <a:srgbClr val="FF0000"/>
                </a:solidFill>
                <a:latin typeface="Times New Roman" panose="02020603050405020304" pitchFamily="18" charset="0"/>
                <a:cs typeface="Times New Roman" panose="02020603050405020304" pitchFamily="18" charset="0"/>
              </a:rPr>
              <a:t>MA(20) </a:t>
            </a:r>
            <a:r>
              <a:rPr kumimoji="1" lang="en-US" sz="2400" b="1" dirty="0">
                <a:solidFill>
                  <a:schemeClr val="bg1"/>
                </a:solidFill>
                <a:latin typeface="Times New Roman" panose="02020603050405020304" pitchFamily="18" charset="0"/>
                <a:cs typeface="Times New Roman" panose="02020603050405020304" pitchFamily="18" charset="0"/>
              </a:rPr>
              <a:t>of the previous day is greater than </a:t>
            </a:r>
            <a:r>
              <a:rPr kumimoji="1" lang="en-US" sz="2400" b="1" dirty="0">
                <a:solidFill>
                  <a:srgbClr val="FF0000"/>
                </a:solidFill>
                <a:latin typeface="Times New Roman" panose="02020603050405020304" pitchFamily="18" charset="0"/>
                <a:cs typeface="Times New Roman" panose="02020603050405020304" pitchFamily="18" charset="0"/>
              </a:rPr>
              <a:t>MA(20) </a:t>
            </a:r>
            <a:r>
              <a:rPr kumimoji="1" lang="en-US" sz="2400" b="1" dirty="0">
                <a:solidFill>
                  <a:schemeClr val="bg1"/>
                </a:solidFill>
                <a:latin typeface="Times New Roman" panose="02020603050405020304" pitchFamily="18" charset="0"/>
                <a:cs typeface="Times New Roman" panose="02020603050405020304" pitchFamily="18" charset="0"/>
              </a:rPr>
              <a:t>10 days ago, buy.</a:t>
            </a:r>
          </a:p>
        </p:txBody>
      </p:sp>
      <p:sp>
        <p:nvSpPr>
          <p:cNvPr id="26" name="文本框 1146">
            <a:extLst>
              <a:ext uri="{FF2B5EF4-FFF2-40B4-BE49-F238E27FC236}">
                <a16:creationId xmlns:a16="http://schemas.microsoft.com/office/drawing/2014/main" id="{A8AB6705-CADF-4A6D-A0BC-F0F23A026A31}"/>
              </a:ext>
            </a:extLst>
          </p:cNvPr>
          <p:cNvSpPr txBox="1"/>
          <p:nvPr/>
        </p:nvSpPr>
        <p:spPr>
          <a:xfrm>
            <a:off x="1062200" y="2939141"/>
            <a:ext cx="6266986" cy="579967"/>
          </a:xfrm>
          <a:prstGeom prst="rect">
            <a:avLst/>
          </a:prstGeom>
          <a:noFill/>
        </p:spPr>
        <p:txBody>
          <a:bodyPr wrap="square" rtlCol="0">
            <a:spAutoFit/>
          </a:bodyPr>
          <a:lstStyle/>
          <a:p>
            <a:pPr>
              <a:lnSpc>
                <a:spcPct val="150000"/>
              </a:lnSpc>
            </a:pPr>
            <a:r>
              <a:rPr kumimoji="1" lang="en-US" sz="2400" b="1" dirty="0">
                <a:solidFill>
                  <a:schemeClr val="bg1"/>
                </a:solidFill>
                <a:latin typeface="Times New Roman" panose="02020603050405020304" pitchFamily="18" charset="0"/>
                <a:cs typeface="Times New Roman" panose="02020603050405020304" pitchFamily="18" charset="0"/>
              </a:rPr>
              <a:t>1. Calculate RSRS index buy and sell signals.</a:t>
            </a:r>
          </a:p>
        </p:txBody>
      </p:sp>
      <p:grpSp>
        <p:nvGrpSpPr>
          <p:cNvPr id="39" name="组合 38">
            <a:extLst>
              <a:ext uri="{FF2B5EF4-FFF2-40B4-BE49-F238E27FC236}">
                <a16:creationId xmlns:a16="http://schemas.microsoft.com/office/drawing/2014/main" id="{931EB73C-373B-4831-B6DD-2FA36B4D9F4F}"/>
              </a:ext>
            </a:extLst>
          </p:cNvPr>
          <p:cNvGrpSpPr/>
          <p:nvPr/>
        </p:nvGrpSpPr>
        <p:grpSpPr>
          <a:xfrm>
            <a:off x="836383" y="1300489"/>
            <a:ext cx="725717" cy="720692"/>
            <a:chOff x="862141" y="1296826"/>
            <a:chExt cx="820300" cy="838200"/>
          </a:xfrm>
        </p:grpSpPr>
        <p:sp>
          <p:nvSpPr>
            <p:cNvPr id="12" name="椭圆 11">
              <a:extLst>
                <a:ext uri="{FF2B5EF4-FFF2-40B4-BE49-F238E27FC236}">
                  <a16:creationId xmlns:a16="http://schemas.microsoft.com/office/drawing/2014/main" id="{69F5498D-C674-47BA-BF2D-480B1087BDFB}"/>
                </a:ext>
              </a:extLst>
            </p:cNvPr>
            <p:cNvSpPr/>
            <p:nvPr/>
          </p:nvSpPr>
          <p:spPr>
            <a:xfrm>
              <a:off x="862141" y="1296826"/>
              <a:ext cx="820300" cy="838200"/>
            </a:xfrm>
            <a:prstGeom prst="ellipse">
              <a:avLst/>
            </a:prstGeom>
            <a:solidFill>
              <a:srgbClr val="BA9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pic>
          <p:nvPicPr>
            <p:cNvPr id="15" name="图形 14" descr="叹号">
              <a:extLst>
                <a:ext uri="{FF2B5EF4-FFF2-40B4-BE49-F238E27FC236}">
                  <a16:creationId xmlns:a16="http://schemas.microsoft.com/office/drawing/2014/main" id="{5A91E4DE-539F-4F97-B4E0-31C748FE6E8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40655" y="1373739"/>
              <a:ext cx="684374" cy="684374"/>
            </a:xfrm>
            <a:prstGeom prst="rect">
              <a:avLst/>
            </a:prstGeom>
          </p:spPr>
        </p:pic>
      </p:grpSp>
      <p:sp>
        <p:nvSpPr>
          <p:cNvPr id="41" name="文本框 40">
            <a:extLst>
              <a:ext uri="{FF2B5EF4-FFF2-40B4-BE49-F238E27FC236}">
                <a16:creationId xmlns:a16="http://schemas.microsoft.com/office/drawing/2014/main" id="{78183423-933E-4DCB-A898-A99CC712DBEC}"/>
              </a:ext>
            </a:extLst>
          </p:cNvPr>
          <p:cNvSpPr txBox="1"/>
          <p:nvPr/>
        </p:nvSpPr>
        <p:spPr>
          <a:xfrm>
            <a:off x="508000" y="5970806"/>
            <a:ext cx="6680200" cy="587148"/>
          </a:xfrm>
          <a:prstGeom prst="rect">
            <a:avLst/>
          </a:prstGeom>
          <a:noFill/>
        </p:spPr>
        <p:txBody>
          <a:bodyPr wrap="square" rtlCol="0">
            <a:spAutoFit/>
          </a:bodyPr>
          <a:lstStyle>
            <a:defPPr>
              <a:defRPr lang="en-US"/>
            </a:defPPr>
            <a:lvl1pPr algn="ctr">
              <a:lnSpc>
                <a:spcPct val="150000"/>
              </a:lnSpc>
              <a:defRPr kumimoji="1" sz="2400" b="1">
                <a:solidFill>
                  <a:schemeClr val="bg1"/>
                </a:solidFill>
                <a:latin typeface="Times New Roman" panose="02020603050405020304" pitchFamily="18" charset="0"/>
                <a:cs typeface="Times New Roman" panose="02020603050405020304" pitchFamily="18" charset="0"/>
              </a:defRPr>
            </a:lvl1pPr>
          </a:lstStyle>
          <a:p>
            <a:r>
              <a:rPr lang="en-US" altLang="zh-HK" dirty="0"/>
              <a:t>3. If the indicator sends a sell signal, sell.</a:t>
            </a:r>
            <a:endParaRPr lang="zh-TW" altLang="zh-HK" dirty="0"/>
          </a:p>
        </p:txBody>
      </p:sp>
      <p:pic>
        <p:nvPicPr>
          <p:cNvPr id="43" name="Picture 5">
            <a:extLst>
              <a:ext uri="{FF2B5EF4-FFF2-40B4-BE49-F238E27FC236}">
                <a16:creationId xmlns:a16="http://schemas.microsoft.com/office/drawing/2014/main" id="{0498F1A0-0AD7-40C7-9CAE-19FE0D9C62DD}"/>
              </a:ext>
            </a:extLst>
          </p:cNvPr>
          <p:cNvPicPr preferRelativeResize="0">
            <a:picLocks/>
          </p:cNvPicPr>
          <p:nvPr/>
        </p:nvPicPr>
        <p:blipFill>
          <a:blip r:embed="rId4"/>
          <a:stretch>
            <a:fillRect/>
          </a:stretch>
        </p:blipFill>
        <p:spPr>
          <a:xfrm>
            <a:off x="214618" y="6900017"/>
            <a:ext cx="7584987" cy="1429173"/>
          </a:xfrm>
          <a:prstGeom prst="rect">
            <a:avLst/>
          </a:prstGeom>
        </p:spPr>
      </p:pic>
      <mc:AlternateContent xmlns:mc="http://schemas.openxmlformats.org/markup-compatibility/2006" xmlns:a14="http://schemas.microsoft.com/office/drawing/2010/main">
        <mc:Choice Requires="a14">
          <p:sp>
            <p:nvSpPr>
              <p:cNvPr id="45" name="文本框 44">
                <a:extLst>
                  <a:ext uri="{FF2B5EF4-FFF2-40B4-BE49-F238E27FC236}">
                    <a16:creationId xmlns:a16="http://schemas.microsoft.com/office/drawing/2014/main" id="{FB139E6F-553D-4B11-A9A0-77AB44F29652}"/>
                  </a:ext>
                </a:extLst>
              </p:cNvPr>
              <p:cNvSpPr txBox="1"/>
              <p:nvPr/>
            </p:nvSpPr>
            <p:spPr>
              <a:xfrm>
                <a:off x="0" y="7185628"/>
                <a:ext cx="8129706" cy="778868"/>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zh-HK" altLang="en-US" sz="2000" b="1" i="1" smtClean="0">
                          <a:solidFill>
                            <a:schemeClr val="bg1"/>
                          </a:solidFill>
                          <a:latin typeface="Cambria Math" panose="02040503050406030204" pitchFamily="18" charset="0"/>
                        </a:rPr>
                        <m:t>𝒔𝒊𝒈𝒏𝒂𝒍</m:t>
                      </m:r>
                      <m:r>
                        <a:rPr lang="zh-HK" altLang="en-US" sz="2000" b="1" i="0">
                          <a:solidFill>
                            <a:schemeClr val="bg1"/>
                          </a:solidFill>
                          <a:latin typeface="Cambria Math" panose="02040503050406030204" pitchFamily="18" charset="0"/>
                        </a:rPr>
                        <m:t>= </m:t>
                      </m:r>
                      <m:d>
                        <m:dPr>
                          <m:begChr m:val="{"/>
                          <m:endChr m:val=""/>
                          <m:ctrlPr>
                            <a:rPr lang="zh-HK" altLang="en-US" sz="2000" b="1" i="1">
                              <a:solidFill>
                                <a:schemeClr val="bg1"/>
                              </a:solidFill>
                              <a:latin typeface="Cambria Math" panose="02040503050406030204" pitchFamily="18" charset="0"/>
                            </a:rPr>
                          </m:ctrlPr>
                        </m:dPr>
                        <m:e>
                          <m:eqArr>
                            <m:eqArrPr>
                              <m:ctrlPr>
                                <a:rPr lang="zh-HK" altLang="en-US" sz="2000" b="1" i="1">
                                  <a:solidFill>
                                    <a:schemeClr val="bg1"/>
                                  </a:solidFill>
                                  <a:latin typeface="Cambria Math" panose="02040503050406030204" pitchFamily="18" charset="0"/>
                                </a:rPr>
                              </m:ctrlPr>
                            </m:eqArrPr>
                            <m:e>
                              <m:r>
                                <a:rPr lang="zh-HK" altLang="en-US" sz="2000" b="1" i="0">
                                  <a:solidFill>
                                    <a:schemeClr val="bg1"/>
                                  </a:solidFill>
                                  <a:latin typeface="Cambria Math" panose="02040503050406030204" pitchFamily="18" charset="0"/>
                                </a:rPr>
                                <m:t>&amp;</m:t>
                              </m:r>
                              <m:r>
                                <a:rPr lang="zh-HK" altLang="en-US" sz="2000" b="1" i="0">
                                  <a:solidFill>
                                    <a:schemeClr val="bg1"/>
                                  </a:solidFill>
                                  <a:latin typeface="Cambria Math" panose="02040503050406030204" pitchFamily="18" charset="0"/>
                                </a:rPr>
                                <m:t>𝟏</m:t>
                              </m:r>
                              <m:r>
                                <a:rPr lang="zh-HK" altLang="en-US" sz="2000" b="1" i="0">
                                  <a:solidFill>
                                    <a:schemeClr val="bg1"/>
                                  </a:solidFill>
                                  <a:latin typeface="Cambria Math" panose="02040503050406030204" pitchFamily="18" charset="0"/>
                                </a:rPr>
                                <m:t>, </m:t>
                              </m:r>
                              <m:r>
                                <a:rPr lang="zh-HK" altLang="en-US" sz="2000" b="1" i="1">
                                  <a:solidFill>
                                    <a:schemeClr val="bg1"/>
                                  </a:solidFill>
                                  <a:latin typeface="Cambria Math" panose="02040503050406030204" pitchFamily="18" charset="0"/>
                                </a:rPr>
                                <m:t>𝑹𝑺𝑹𝑺</m:t>
                              </m:r>
                              <m:r>
                                <a:rPr lang="zh-HK" altLang="en-US" sz="2000" b="1" i="0">
                                  <a:solidFill>
                                    <a:schemeClr val="bg1"/>
                                  </a:solidFill>
                                  <a:latin typeface="Cambria Math" panose="02040503050406030204" pitchFamily="18" charset="0"/>
                                </a:rPr>
                                <m:t>&gt;</m:t>
                              </m:r>
                              <m:r>
                                <a:rPr lang="zh-HK" altLang="en-US" sz="2000" b="1" i="1">
                                  <a:solidFill>
                                    <a:schemeClr val="bg1"/>
                                  </a:solidFill>
                                  <a:latin typeface="Cambria Math" panose="02040503050406030204" pitchFamily="18" charset="0"/>
                                </a:rPr>
                                <m:t>𝒕𝒉𝒓𝒆𝒔𝒉𝒐𝒍𝒅</m:t>
                              </m:r>
                              <m:r>
                                <a:rPr lang="zh-HK" altLang="en-US" sz="2000" b="1" i="0">
                                  <a:solidFill>
                                    <a:schemeClr val="bg1"/>
                                  </a:solidFill>
                                  <a:latin typeface="Cambria Math" panose="02040503050406030204" pitchFamily="18" charset="0"/>
                                </a:rPr>
                                <m:t> </m:t>
                              </m:r>
                              <m:r>
                                <a:rPr lang="zh-HK" altLang="en-US" sz="2000" b="1" i="1">
                                  <a:solidFill>
                                    <a:schemeClr val="bg1"/>
                                  </a:solidFill>
                                  <a:latin typeface="Cambria Math" panose="02040503050406030204" pitchFamily="18" charset="0"/>
                                </a:rPr>
                                <m:t>𝒂𝒏𝒅</m:t>
                              </m:r>
                              <m:r>
                                <a:rPr lang="zh-HK" altLang="en-US" sz="2000" b="1" i="0">
                                  <a:solidFill>
                                    <a:schemeClr val="bg1"/>
                                  </a:solidFill>
                                  <a:latin typeface="Cambria Math" panose="02040503050406030204" pitchFamily="18" charset="0"/>
                                </a:rPr>
                                <m:t> </m:t>
                              </m:r>
                              <m:sSub>
                                <m:sSubPr>
                                  <m:ctrlPr>
                                    <a:rPr lang="zh-HK" altLang="en-US" sz="2000" b="1" i="1">
                                      <a:solidFill>
                                        <a:schemeClr val="bg1"/>
                                      </a:solidFill>
                                      <a:latin typeface="Cambria Math" panose="02040503050406030204" pitchFamily="18" charset="0"/>
                                    </a:rPr>
                                  </m:ctrlPr>
                                </m:sSubPr>
                                <m:e>
                                  <m:r>
                                    <a:rPr lang="zh-HK" altLang="en-US" sz="2000" b="1" i="1">
                                      <a:solidFill>
                                        <a:schemeClr val="bg1"/>
                                      </a:solidFill>
                                      <a:latin typeface="Cambria Math" panose="02040503050406030204" pitchFamily="18" charset="0"/>
                                    </a:rPr>
                                    <m:t>𝑴𝑨</m:t>
                                  </m:r>
                                </m:e>
                                <m:sub>
                                  <m:r>
                                    <a:rPr lang="zh-HK" altLang="en-US" sz="2000" b="1" i="1">
                                      <a:solidFill>
                                        <a:schemeClr val="bg1"/>
                                      </a:solidFill>
                                      <a:latin typeface="Cambria Math" panose="02040503050406030204" pitchFamily="18" charset="0"/>
                                    </a:rPr>
                                    <m:t>𝒕</m:t>
                                  </m:r>
                                </m:sub>
                              </m:sSub>
                              <m:d>
                                <m:dPr>
                                  <m:ctrlPr>
                                    <a:rPr lang="zh-HK" altLang="en-US" sz="2000" b="1" i="1">
                                      <a:solidFill>
                                        <a:schemeClr val="bg1"/>
                                      </a:solidFill>
                                      <a:latin typeface="Cambria Math" panose="02040503050406030204" pitchFamily="18" charset="0"/>
                                    </a:rPr>
                                  </m:ctrlPr>
                                </m:dPr>
                                <m:e>
                                  <m:r>
                                    <a:rPr lang="zh-HK" altLang="en-US" sz="2000" b="1" i="0">
                                      <a:solidFill>
                                        <a:schemeClr val="bg1"/>
                                      </a:solidFill>
                                      <a:latin typeface="Cambria Math" panose="02040503050406030204" pitchFamily="18" charset="0"/>
                                    </a:rPr>
                                    <m:t>𝟐𝟎</m:t>
                                  </m:r>
                                </m:e>
                              </m:d>
                              <m:r>
                                <a:rPr lang="zh-HK" altLang="en-US" sz="2000" b="1" i="0">
                                  <a:solidFill>
                                    <a:schemeClr val="bg1"/>
                                  </a:solidFill>
                                  <a:latin typeface="Cambria Math" panose="02040503050406030204" pitchFamily="18" charset="0"/>
                                </a:rPr>
                                <m:t>&gt;</m:t>
                              </m:r>
                              <m:sSub>
                                <m:sSubPr>
                                  <m:ctrlPr>
                                    <a:rPr lang="zh-HK" altLang="en-US" sz="2000" b="1" i="1">
                                      <a:solidFill>
                                        <a:schemeClr val="bg1"/>
                                      </a:solidFill>
                                      <a:latin typeface="Cambria Math" panose="02040503050406030204" pitchFamily="18" charset="0"/>
                                    </a:rPr>
                                  </m:ctrlPr>
                                </m:sSubPr>
                                <m:e>
                                  <m:r>
                                    <a:rPr lang="zh-HK" altLang="en-US" sz="2000" b="1" i="1">
                                      <a:solidFill>
                                        <a:schemeClr val="bg1"/>
                                      </a:solidFill>
                                      <a:latin typeface="Cambria Math" panose="02040503050406030204" pitchFamily="18" charset="0"/>
                                    </a:rPr>
                                    <m:t>𝑴𝑨</m:t>
                                  </m:r>
                                </m:e>
                                <m:sub>
                                  <m:r>
                                    <a:rPr lang="zh-HK" altLang="en-US" sz="2000" b="1" i="1">
                                      <a:solidFill>
                                        <a:schemeClr val="bg1"/>
                                      </a:solidFill>
                                      <a:latin typeface="Cambria Math" panose="02040503050406030204" pitchFamily="18" charset="0"/>
                                    </a:rPr>
                                    <m:t>𝒕</m:t>
                                  </m:r>
                                  <m:r>
                                    <a:rPr lang="zh-HK" altLang="en-US" sz="2000" b="1" i="0">
                                      <a:solidFill>
                                        <a:schemeClr val="bg1"/>
                                      </a:solidFill>
                                      <a:latin typeface="Cambria Math" panose="02040503050406030204" pitchFamily="18" charset="0"/>
                                    </a:rPr>
                                    <m:t>−</m:t>
                                  </m:r>
                                  <m:r>
                                    <a:rPr lang="zh-HK" altLang="en-US" sz="2000" b="1" i="0">
                                      <a:solidFill>
                                        <a:schemeClr val="bg1"/>
                                      </a:solidFill>
                                      <a:latin typeface="Cambria Math" panose="02040503050406030204" pitchFamily="18" charset="0"/>
                                    </a:rPr>
                                    <m:t>𝟏𝟎</m:t>
                                  </m:r>
                                </m:sub>
                              </m:sSub>
                              <m:d>
                                <m:dPr>
                                  <m:ctrlPr>
                                    <a:rPr lang="zh-HK" altLang="en-US" sz="2000" b="1" i="1">
                                      <a:solidFill>
                                        <a:schemeClr val="bg1"/>
                                      </a:solidFill>
                                      <a:latin typeface="Cambria Math" panose="02040503050406030204" pitchFamily="18" charset="0"/>
                                    </a:rPr>
                                  </m:ctrlPr>
                                </m:dPr>
                                <m:e>
                                  <m:r>
                                    <a:rPr lang="zh-HK" altLang="en-US" sz="2000" b="1" i="0">
                                      <a:solidFill>
                                        <a:schemeClr val="bg1"/>
                                      </a:solidFill>
                                      <a:latin typeface="Cambria Math" panose="02040503050406030204" pitchFamily="18" charset="0"/>
                                    </a:rPr>
                                    <m:t>𝟐𝟎</m:t>
                                  </m:r>
                                </m:e>
                              </m:d>
                              <m:r>
                                <a:rPr lang="zh-HK" altLang="en-US" sz="2000" b="1" i="0">
                                  <a:solidFill>
                                    <a:schemeClr val="bg1"/>
                                  </a:solidFill>
                                  <a:latin typeface="Cambria Math" panose="02040503050406030204" pitchFamily="18" charset="0"/>
                                </a:rPr>
                                <m:t> </m:t>
                              </m:r>
                            </m:e>
                            <m:e>
                              <m:r>
                                <a:rPr lang="zh-HK" altLang="en-US" sz="2000" b="1" i="0">
                                  <a:solidFill>
                                    <a:schemeClr val="bg1"/>
                                  </a:solidFill>
                                  <a:latin typeface="Cambria Math" panose="02040503050406030204" pitchFamily="18" charset="0"/>
                                </a:rPr>
                                <m:t>&amp;</m:t>
                              </m:r>
                              <m:r>
                                <a:rPr lang="zh-HK" altLang="en-US" sz="2000" b="1" i="0">
                                  <a:solidFill>
                                    <a:schemeClr val="bg1"/>
                                  </a:solidFill>
                                  <a:latin typeface="Cambria Math" panose="02040503050406030204" pitchFamily="18" charset="0"/>
                                </a:rPr>
                                <m:t>𝟎</m:t>
                              </m:r>
                              <m:r>
                                <a:rPr lang="zh-HK" altLang="en-US" sz="2000" b="1" i="0">
                                  <a:solidFill>
                                    <a:schemeClr val="bg1"/>
                                  </a:solidFill>
                                  <a:latin typeface="Cambria Math" panose="02040503050406030204" pitchFamily="18" charset="0"/>
                                </a:rPr>
                                <m:t>,</m:t>
                              </m:r>
                              <m:r>
                                <a:rPr lang="zh-HK" altLang="en-US" sz="2000" b="1" i="1">
                                  <a:solidFill>
                                    <a:schemeClr val="bg1"/>
                                  </a:solidFill>
                                  <a:latin typeface="Cambria Math" panose="02040503050406030204" pitchFamily="18" charset="0"/>
                                </a:rPr>
                                <m:t>𝑹𝑺𝑹𝑺</m:t>
                              </m:r>
                              <m:r>
                                <a:rPr lang="zh-HK" altLang="en-US" sz="2000" b="1" i="0">
                                  <a:solidFill>
                                    <a:schemeClr val="bg1"/>
                                  </a:solidFill>
                                  <a:latin typeface="Cambria Math" panose="02040503050406030204" pitchFamily="18" charset="0"/>
                                </a:rPr>
                                <m:t>&lt;</m:t>
                              </m:r>
                              <m:r>
                                <a:rPr lang="zh-HK" altLang="en-US" sz="2000" b="1" i="1">
                                  <a:solidFill>
                                    <a:schemeClr val="bg1"/>
                                  </a:solidFill>
                                  <a:latin typeface="Cambria Math" panose="02040503050406030204" pitchFamily="18" charset="0"/>
                                </a:rPr>
                                <m:t>𝒕𝒉𝒓𝒆𝒔𝒉𝒐𝒍𝒅</m:t>
                              </m:r>
                            </m:e>
                          </m:eqArr>
                        </m:e>
                      </m:d>
                    </m:oMath>
                  </m:oMathPara>
                </a14:m>
                <a:endParaRPr lang="zh-HK" altLang="en-US" sz="2000" b="1" dirty="0">
                  <a:solidFill>
                    <a:schemeClr val="bg1"/>
                  </a:solidFill>
                </a:endParaRPr>
              </a:p>
            </p:txBody>
          </p:sp>
        </mc:Choice>
        <mc:Fallback xmlns="">
          <p:sp>
            <p:nvSpPr>
              <p:cNvPr id="45" name="文本框 44">
                <a:extLst>
                  <a:ext uri="{FF2B5EF4-FFF2-40B4-BE49-F238E27FC236}">
                    <a16:creationId xmlns:a16="http://schemas.microsoft.com/office/drawing/2014/main" id="{FB139E6F-553D-4B11-A9A0-77AB44F29652}"/>
                  </a:ext>
                </a:extLst>
              </p:cNvPr>
              <p:cNvSpPr txBox="1">
                <a:spLocks noRot="1" noChangeAspect="1" noMove="1" noResize="1" noEditPoints="1" noAdjustHandles="1" noChangeArrowheads="1" noChangeShapeType="1" noTextEdit="1"/>
              </p:cNvSpPr>
              <p:nvPr/>
            </p:nvSpPr>
            <p:spPr>
              <a:xfrm>
                <a:off x="0" y="7185628"/>
                <a:ext cx="8129706" cy="778868"/>
              </a:xfrm>
              <a:prstGeom prst="rect">
                <a:avLst/>
              </a:prstGeom>
              <a:blipFill>
                <a:blip r:embed="rId7"/>
                <a:stretch>
                  <a:fillRect/>
                </a:stretch>
              </a:blipFill>
            </p:spPr>
            <p:txBody>
              <a:bodyPr/>
              <a:lstStyle/>
              <a:p>
                <a:r>
                  <a:rPr lang="zh-HK" altLang="en-US">
                    <a:noFill/>
                  </a:rPr>
                  <a:t> </a:t>
                </a:r>
              </a:p>
            </p:txBody>
          </p:sp>
        </mc:Fallback>
      </mc:AlternateContent>
      <p:pic>
        <p:nvPicPr>
          <p:cNvPr id="50" name="Picture 3">
            <a:extLst>
              <a:ext uri="{FF2B5EF4-FFF2-40B4-BE49-F238E27FC236}">
                <a16:creationId xmlns:a16="http://schemas.microsoft.com/office/drawing/2014/main" id="{71429EA2-F0D4-4034-A12D-D879261F0CEF}"/>
              </a:ext>
            </a:extLst>
          </p:cNvPr>
          <p:cNvPicPr preferRelativeResize="0">
            <a:picLocks/>
          </p:cNvPicPr>
          <p:nvPr/>
        </p:nvPicPr>
        <p:blipFill>
          <a:blip r:embed="rId3"/>
          <a:stretch>
            <a:fillRect/>
          </a:stretch>
        </p:blipFill>
        <p:spPr>
          <a:xfrm>
            <a:off x="8422154" y="2585869"/>
            <a:ext cx="7584985" cy="1365605"/>
          </a:xfrm>
          <a:prstGeom prst="rect">
            <a:avLst/>
          </a:prstGeom>
        </p:spPr>
      </p:pic>
      <p:pic>
        <p:nvPicPr>
          <p:cNvPr id="51" name="Picture 5">
            <a:extLst>
              <a:ext uri="{FF2B5EF4-FFF2-40B4-BE49-F238E27FC236}">
                <a16:creationId xmlns:a16="http://schemas.microsoft.com/office/drawing/2014/main" id="{08491528-7190-4882-921C-A25878174C04}"/>
              </a:ext>
            </a:extLst>
          </p:cNvPr>
          <p:cNvPicPr preferRelativeResize="0">
            <a:picLocks/>
          </p:cNvPicPr>
          <p:nvPr/>
        </p:nvPicPr>
        <p:blipFill>
          <a:blip r:embed="rId4"/>
          <a:stretch>
            <a:fillRect/>
          </a:stretch>
        </p:blipFill>
        <p:spPr>
          <a:xfrm>
            <a:off x="8422152" y="3925624"/>
            <a:ext cx="7584987" cy="1721669"/>
          </a:xfrm>
          <a:prstGeom prst="rect">
            <a:avLst/>
          </a:prstGeom>
        </p:spPr>
      </p:pic>
      <p:pic>
        <p:nvPicPr>
          <p:cNvPr id="52" name="Picture 3">
            <a:extLst>
              <a:ext uri="{FF2B5EF4-FFF2-40B4-BE49-F238E27FC236}">
                <a16:creationId xmlns:a16="http://schemas.microsoft.com/office/drawing/2014/main" id="{19BA7BC5-49BC-46FB-BF5B-369D2A62C19F}"/>
              </a:ext>
            </a:extLst>
          </p:cNvPr>
          <p:cNvPicPr preferRelativeResize="0">
            <a:picLocks/>
          </p:cNvPicPr>
          <p:nvPr/>
        </p:nvPicPr>
        <p:blipFill>
          <a:blip r:embed="rId3"/>
          <a:stretch>
            <a:fillRect/>
          </a:stretch>
        </p:blipFill>
        <p:spPr>
          <a:xfrm>
            <a:off x="8405664" y="5633787"/>
            <a:ext cx="7584985" cy="1266230"/>
          </a:xfrm>
          <a:prstGeom prst="rect">
            <a:avLst/>
          </a:prstGeom>
        </p:spPr>
      </p:pic>
      <p:sp>
        <p:nvSpPr>
          <p:cNvPr id="53" name="文本框 1147">
            <a:extLst>
              <a:ext uri="{FF2B5EF4-FFF2-40B4-BE49-F238E27FC236}">
                <a16:creationId xmlns:a16="http://schemas.microsoft.com/office/drawing/2014/main" id="{8FF52AF5-C9E9-4031-B34F-7493088F9304}"/>
              </a:ext>
            </a:extLst>
          </p:cNvPr>
          <p:cNvSpPr txBox="1"/>
          <p:nvPr/>
        </p:nvSpPr>
        <p:spPr>
          <a:xfrm>
            <a:off x="8560872" y="3940140"/>
            <a:ext cx="7539705" cy="1555041"/>
          </a:xfrm>
          <a:prstGeom prst="rect">
            <a:avLst/>
          </a:prstGeom>
          <a:noFill/>
        </p:spPr>
        <p:txBody>
          <a:bodyPr wrap="square" rtlCol="0">
            <a:spAutoFit/>
          </a:bodyPr>
          <a:lstStyle/>
          <a:p>
            <a:pPr>
              <a:lnSpc>
                <a:spcPct val="150000"/>
              </a:lnSpc>
            </a:pPr>
            <a:r>
              <a:rPr kumimoji="1" lang="en-US" sz="2200" b="1" dirty="0">
                <a:solidFill>
                  <a:schemeClr val="bg1"/>
                </a:solidFill>
                <a:latin typeface="Times New Roman" panose="02020603050405020304" pitchFamily="18" charset="0"/>
                <a:cs typeface="Times New Roman" panose="02020603050405020304" pitchFamily="18" charset="0"/>
              </a:rPr>
              <a:t>2. If the indicator sends a buy signal and meets the requirement that the </a:t>
            </a:r>
            <a:r>
              <a:rPr kumimoji="1" lang="en-US" sz="2200" b="1" dirty="0">
                <a:solidFill>
                  <a:srgbClr val="FF0000"/>
                </a:solidFill>
                <a:latin typeface="Times New Roman" panose="02020603050405020304" pitchFamily="18" charset="0"/>
                <a:cs typeface="Times New Roman" panose="02020603050405020304" pitchFamily="18" charset="0"/>
              </a:rPr>
              <a:t>market state indicator </a:t>
            </a:r>
            <a:r>
              <a:rPr kumimoji="1" lang="en-US" sz="2200" b="1" dirty="0">
                <a:solidFill>
                  <a:schemeClr val="bg1"/>
                </a:solidFill>
                <a:latin typeface="Times New Roman" panose="02020603050405020304" pitchFamily="18" charset="0"/>
                <a:cs typeface="Times New Roman" panose="02020603050405020304" pitchFamily="18" charset="0"/>
              </a:rPr>
              <a:t>the previous day is less than the </a:t>
            </a:r>
            <a:r>
              <a:rPr kumimoji="1" lang="en-US" sz="2200" b="1" dirty="0">
                <a:solidFill>
                  <a:srgbClr val="FF0000"/>
                </a:solidFill>
                <a:latin typeface="Times New Roman" panose="02020603050405020304" pitchFamily="18" charset="0"/>
                <a:cs typeface="Times New Roman" panose="02020603050405020304" pitchFamily="18" charset="0"/>
              </a:rPr>
              <a:t>market state indicator </a:t>
            </a:r>
            <a:r>
              <a:rPr kumimoji="1" lang="en-US" altLang="zh-CN" sz="2200" b="1" dirty="0">
                <a:solidFill>
                  <a:schemeClr val="bg1"/>
                </a:solidFill>
                <a:latin typeface="Times New Roman" panose="02020603050405020304" pitchFamily="18" charset="0"/>
                <a:cs typeface="Times New Roman" panose="02020603050405020304" pitchFamily="18" charset="0"/>
              </a:rPr>
              <a:t>10</a:t>
            </a:r>
            <a:r>
              <a:rPr kumimoji="1" lang="en-US" sz="2200" b="1" dirty="0">
                <a:solidFill>
                  <a:schemeClr val="bg1"/>
                </a:solidFill>
                <a:latin typeface="Times New Roman" panose="02020603050405020304" pitchFamily="18" charset="0"/>
                <a:cs typeface="Times New Roman" panose="02020603050405020304" pitchFamily="18" charset="0"/>
              </a:rPr>
              <a:t> days ago, buy.</a:t>
            </a:r>
          </a:p>
        </p:txBody>
      </p:sp>
      <p:sp>
        <p:nvSpPr>
          <p:cNvPr id="54" name="文本框 1146">
            <a:extLst>
              <a:ext uri="{FF2B5EF4-FFF2-40B4-BE49-F238E27FC236}">
                <a16:creationId xmlns:a16="http://schemas.microsoft.com/office/drawing/2014/main" id="{4CB5746F-C6AC-4002-92A1-ABBA2BCF6A79}"/>
              </a:ext>
            </a:extLst>
          </p:cNvPr>
          <p:cNvSpPr txBox="1"/>
          <p:nvPr/>
        </p:nvSpPr>
        <p:spPr>
          <a:xfrm>
            <a:off x="9284882" y="2913291"/>
            <a:ext cx="6266986" cy="579967"/>
          </a:xfrm>
          <a:prstGeom prst="rect">
            <a:avLst/>
          </a:prstGeom>
          <a:noFill/>
        </p:spPr>
        <p:txBody>
          <a:bodyPr wrap="square" rtlCol="0">
            <a:spAutoFit/>
          </a:bodyPr>
          <a:lstStyle/>
          <a:p>
            <a:pPr>
              <a:lnSpc>
                <a:spcPct val="150000"/>
              </a:lnSpc>
            </a:pPr>
            <a:r>
              <a:rPr kumimoji="1" lang="en-US" sz="2400" b="1" dirty="0">
                <a:solidFill>
                  <a:schemeClr val="bg1"/>
                </a:solidFill>
                <a:latin typeface="Times New Roman" panose="02020603050405020304" pitchFamily="18" charset="0"/>
                <a:cs typeface="Times New Roman" panose="02020603050405020304" pitchFamily="18" charset="0"/>
              </a:rPr>
              <a:t>1. Calculate RSRS index buy and sell signals.</a:t>
            </a:r>
          </a:p>
        </p:txBody>
      </p:sp>
      <p:sp>
        <p:nvSpPr>
          <p:cNvPr id="57" name="文本框 56">
            <a:extLst>
              <a:ext uri="{FF2B5EF4-FFF2-40B4-BE49-F238E27FC236}">
                <a16:creationId xmlns:a16="http://schemas.microsoft.com/office/drawing/2014/main" id="{76F6B6D0-A2A3-45BB-A595-C67BEAF527A8}"/>
              </a:ext>
            </a:extLst>
          </p:cNvPr>
          <p:cNvSpPr txBox="1"/>
          <p:nvPr/>
        </p:nvSpPr>
        <p:spPr>
          <a:xfrm>
            <a:off x="9069015" y="5889499"/>
            <a:ext cx="6356888" cy="587148"/>
          </a:xfrm>
          <a:prstGeom prst="rect">
            <a:avLst/>
          </a:prstGeom>
          <a:noFill/>
        </p:spPr>
        <p:txBody>
          <a:bodyPr wrap="square" rtlCol="0">
            <a:spAutoFit/>
          </a:bodyPr>
          <a:lstStyle>
            <a:defPPr>
              <a:defRPr lang="en-US"/>
            </a:defPPr>
            <a:lvl1pPr algn="ctr">
              <a:lnSpc>
                <a:spcPct val="150000"/>
              </a:lnSpc>
              <a:defRPr kumimoji="1" sz="2400" b="1">
                <a:solidFill>
                  <a:schemeClr val="bg1"/>
                </a:solidFill>
                <a:latin typeface="Times New Roman" panose="02020603050405020304" pitchFamily="18" charset="0"/>
                <a:cs typeface="Times New Roman" panose="02020603050405020304" pitchFamily="18" charset="0"/>
              </a:defRPr>
            </a:lvl1pPr>
          </a:lstStyle>
          <a:p>
            <a:r>
              <a:rPr lang="en-US" altLang="zh-HK" dirty="0"/>
              <a:t>3. If the indicator sends a sell signal, sell.</a:t>
            </a:r>
            <a:endParaRPr lang="zh-TW" altLang="zh-HK" dirty="0"/>
          </a:p>
        </p:txBody>
      </p:sp>
      <p:pic>
        <p:nvPicPr>
          <p:cNvPr id="58" name="Picture 5">
            <a:extLst>
              <a:ext uri="{FF2B5EF4-FFF2-40B4-BE49-F238E27FC236}">
                <a16:creationId xmlns:a16="http://schemas.microsoft.com/office/drawing/2014/main" id="{E806FE3E-397C-4902-A63E-2D269F733586}"/>
              </a:ext>
            </a:extLst>
          </p:cNvPr>
          <p:cNvPicPr preferRelativeResize="0">
            <a:picLocks/>
          </p:cNvPicPr>
          <p:nvPr/>
        </p:nvPicPr>
        <p:blipFill>
          <a:blip r:embed="rId4"/>
          <a:stretch>
            <a:fillRect/>
          </a:stretch>
        </p:blipFill>
        <p:spPr>
          <a:xfrm>
            <a:off x="8400092" y="6871696"/>
            <a:ext cx="7584987" cy="1429173"/>
          </a:xfrm>
          <a:prstGeom prst="rect">
            <a:avLst/>
          </a:prstGeom>
        </p:spPr>
      </p:pic>
      <mc:AlternateContent xmlns:mc="http://schemas.openxmlformats.org/markup-compatibility/2006" xmlns:a14="http://schemas.microsoft.com/office/drawing/2010/main">
        <mc:Choice Requires="a14">
          <p:sp>
            <p:nvSpPr>
              <p:cNvPr id="59" name="文本框 58">
                <a:extLst>
                  <a:ext uri="{FF2B5EF4-FFF2-40B4-BE49-F238E27FC236}">
                    <a16:creationId xmlns:a16="http://schemas.microsoft.com/office/drawing/2014/main" id="{76A28AE5-E229-437A-B7E6-3019B66EDED4}"/>
                  </a:ext>
                </a:extLst>
              </p:cNvPr>
              <p:cNvSpPr txBox="1"/>
              <p:nvPr/>
            </p:nvSpPr>
            <p:spPr>
              <a:xfrm>
                <a:off x="8063771" y="7231501"/>
                <a:ext cx="8257628" cy="710194"/>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zh-HK" altLang="en-US" b="1" i="1" smtClean="0">
                          <a:solidFill>
                            <a:schemeClr val="bg1"/>
                          </a:solidFill>
                          <a:latin typeface="Cambria Math" panose="02040503050406030204" pitchFamily="18" charset="0"/>
                        </a:rPr>
                        <m:t>𝒔𝒊𝒈𝒏𝒂𝒍</m:t>
                      </m:r>
                      <m:r>
                        <a:rPr lang="zh-HK" altLang="en-US" b="1" i="1">
                          <a:solidFill>
                            <a:schemeClr val="bg1"/>
                          </a:solidFill>
                          <a:latin typeface="Cambria Math" panose="02040503050406030204" pitchFamily="18" charset="0"/>
                        </a:rPr>
                        <m:t>= </m:t>
                      </m:r>
                      <m:d>
                        <m:dPr>
                          <m:begChr m:val="{"/>
                          <m:endChr m:val=""/>
                          <m:ctrlPr>
                            <a:rPr lang="zh-HK" altLang="en-US" b="1" i="1">
                              <a:solidFill>
                                <a:schemeClr val="bg1"/>
                              </a:solidFill>
                              <a:latin typeface="Cambria Math" panose="02040503050406030204" pitchFamily="18" charset="0"/>
                            </a:rPr>
                          </m:ctrlPr>
                        </m:dPr>
                        <m:e>
                          <m:eqArr>
                            <m:eqArrPr>
                              <m:ctrlPr>
                                <a:rPr lang="zh-HK" altLang="en-US" b="1" i="1">
                                  <a:solidFill>
                                    <a:schemeClr val="bg1"/>
                                  </a:solidFill>
                                  <a:latin typeface="Cambria Math" panose="02040503050406030204" pitchFamily="18" charset="0"/>
                                </a:rPr>
                              </m:ctrlPr>
                            </m:eqArrPr>
                            <m:e>
                              <m:r>
                                <a:rPr lang="zh-HK" altLang="en-US" b="1" i="1">
                                  <a:solidFill>
                                    <a:schemeClr val="bg1"/>
                                  </a:solidFill>
                                  <a:latin typeface="Cambria Math" panose="02040503050406030204" pitchFamily="18" charset="0"/>
                                </a:rPr>
                                <m:t>&amp;</m:t>
                              </m:r>
                              <m:r>
                                <a:rPr lang="zh-HK" altLang="en-US" b="1" i="1">
                                  <a:solidFill>
                                    <a:schemeClr val="bg1"/>
                                  </a:solidFill>
                                  <a:latin typeface="Cambria Math" panose="02040503050406030204" pitchFamily="18" charset="0"/>
                                </a:rPr>
                                <m:t>𝟏</m:t>
                              </m:r>
                              <m:r>
                                <a:rPr lang="zh-HK" altLang="en-US" b="1" i="1">
                                  <a:solidFill>
                                    <a:schemeClr val="bg1"/>
                                  </a:solidFill>
                                  <a:latin typeface="Cambria Math" panose="02040503050406030204" pitchFamily="18" charset="0"/>
                                </a:rPr>
                                <m:t>, </m:t>
                              </m:r>
                              <m:r>
                                <a:rPr lang="zh-HK" altLang="en-US" b="1" i="1">
                                  <a:solidFill>
                                    <a:schemeClr val="bg1"/>
                                  </a:solidFill>
                                  <a:latin typeface="Cambria Math" panose="02040503050406030204" pitchFamily="18" charset="0"/>
                                </a:rPr>
                                <m:t>𝑹𝑺𝑹𝑺</m:t>
                              </m:r>
                              <m:r>
                                <a:rPr lang="zh-HK" altLang="en-US" b="1" i="1">
                                  <a:solidFill>
                                    <a:schemeClr val="bg1"/>
                                  </a:solidFill>
                                  <a:latin typeface="Cambria Math" panose="02040503050406030204" pitchFamily="18" charset="0"/>
                                </a:rPr>
                                <m:t>&gt;</m:t>
                              </m:r>
                              <m:r>
                                <a:rPr lang="zh-HK" altLang="en-US" b="1" i="1">
                                  <a:solidFill>
                                    <a:schemeClr val="bg1"/>
                                  </a:solidFill>
                                  <a:latin typeface="Cambria Math" panose="02040503050406030204" pitchFamily="18" charset="0"/>
                                </a:rPr>
                                <m:t>𝒕𝒉𝒓𝒆𝒔𝒉𝒐𝒍𝒅</m:t>
                              </m:r>
                              <m:r>
                                <a:rPr lang="en-US" altLang="zh-HK" b="1" i="1" smtClean="0">
                                  <a:solidFill>
                                    <a:schemeClr val="bg1"/>
                                  </a:solidFill>
                                  <a:latin typeface="Cambria Math" panose="02040503050406030204" pitchFamily="18" charset="0"/>
                                </a:rPr>
                                <m:t> </m:t>
                              </m:r>
                              <m:r>
                                <a:rPr lang="en-US" altLang="zh-CN" b="1" i="1">
                                  <a:solidFill>
                                    <a:schemeClr val="bg1"/>
                                  </a:solidFill>
                                  <a:latin typeface="Cambria Math" panose="02040503050406030204" pitchFamily="18" charset="0"/>
                                </a:rPr>
                                <m:t>𝒂𝒏𝒅</m:t>
                              </m:r>
                              <m:r>
                                <a:rPr lang="en-US" altLang="zh-CN" b="1" i="1">
                                  <a:solidFill>
                                    <a:schemeClr val="bg1"/>
                                  </a:solidFill>
                                  <a:latin typeface="Cambria Math" panose="02040503050406030204" pitchFamily="18" charset="0"/>
                                </a:rPr>
                                <m:t> </m:t>
                              </m:r>
                              <m:sSub>
                                <m:sSubPr>
                                  <m:ctrlPr>
                                    <a:rPr lang="zh-CN" altLang="en-US" b="1" i="1">
                                      <a:solidFill>
                                        <a:schemeClr val="bg1"/>
                                      </a:solidFill>
                                      <a:latin typeface="Cambria Math" panose="02040503050406030204" pitchFamily="18" charset="0"/>
                                    </a:rPr>
                                  </m:ctrlPr>
                                </m:sSubPr>
                                <m:e>
                                  <m:r>
                                    <a:rPr lang="en-US" altLang="zh-CN" b="1" i="1">
                                      <a:solidFill>
                                        <a:schemeClr val="bg1"/>
                                      </a:solidFill>
                                      <a:latin typeface="Cambria Math" panose="02040503050406030204" pitchFamily="18" charset="0"/>
                                    </a:rPr>
                                    <m:t>𝒊𝒏𝒅𝒊𝒄𝒂𝒕𝒐𝒓</m:t>
                                  </m:r>
                                </m:e>
                                <m:sub>
                                  <m:r>
                                    <a:rPr lang="en-US" altLang="zh-CN" b="1" i="1">
                                      <a:solidFill>
                                        <a:schemeClr val="bg1"/>
                                      </a:solidFill>
                                      <a:latin typeface="Cambria Math" panose="02040503050406030204" pitchFamily="18" charset="0"/>
                                    </a:rPr>
                                    <m:t>𝒕</m:t>
                                  </m:r>
                                </m:sub>
                              </m:sSub>
                              <m:r>
                                <a:rPr lang="en-US" altLang="zh-CN" b="1" i="1">
                                  <a:solidFill>
                                    <a:schemeClr val="bg1"/>
                                  </a:solidFill>
                                  <a:latin typeface="Cambria Math" panose="02040503050406030204" pitchFamily="18" charset="0"/>
                                </a:rPr>
                                <m:t>&lt;</m:t>
                              </m:r>
                              <m:sSub>
                                <m:sSubPr>
                                  <m:ctrlPr>
                                    <a:rPr lang="zh-CN" altLang="en-US" b="1" i="1">
                                      <a:solidFill>
                                        <a:schemeClr val="bg1"/>
                                      </a:solidFill>
                                      <a:latin typeface="Cambria Math" panose="02040503050406030204" pitchFamily="18" charset="0"/>
                                    </a:rPr>
                                  </m:ctrlPr>
                                </m:sSubPr>
                                <m:e>
                                  <m:r>
                                    <a:rPr lang="en-US" altLang="zh-CN" b="1" i="1">
                                      <a:solidFill>
                                        <a:schemeClr val="bg1"/>
                                      </a:solidFill>
                                      <a:latin typeface="Cambria Math" panose="02040503050406030204" pitchFamily="18" charset="0"/>
                                    </a:rPr>
                                    <m:t>𝒊𝒏𝒅𝒊𝒄𝒂𝒕𝒐𝒓</m:t>
                                  </m:r>
                                </m:e>
                                <m:sub>
                                  <m:r>
                                    <a:rPr lang="en-US" altLang="zh-CN" b="1" i="1">
                                      <a:solidFill>
                                        <a:schemeClr val="bg1"/>
                                      </a:solidFill>
                                      <a:latin typeface="Cambria Math" panose="02040503050406030204" pitchFamily="18" charset="0"/>
                                    </a:rPr>
                                    <m:t>𝒕</m:t>
                                  </m:r>
                                  <m:r>
                                    <a:rPr lang="en-US" altLang="zh-CN" b="1" i="1">
                                      <a:solidFill>
                                        <a:schemeClr val="bg1"/>
                                      </a:solidFill>
                                      <a:latin typeface="Cambria Math" panose="02040503050406030204" pitchFamily="18" charset="0"/>
                                    </a:rPr>
                                    <m:t>−</m:t>
                                  </m:r>
                                  <m:r>
                                    <a:rPr lang="en-US" altLang="zh-CN" b="1" i="1" smtClean="0">
                                      <a:solidFill>
                                        <a:schemeClr val="bg1"/>
                                      </a:solidFill>
                                      <a:latin typeface="Cambria Math" panose="02040503050406030204" pitchFamily="18" charset="0"/>
                                    </a:rPr>
                                    <m:t>𝟏𝟎</m:t>
                                  </m:r>
                                </m:sub>
                              </m:sSub>
                            </m:e>
                            <m:e>
                              <m:r>
                                <a:rPr lang="zh-HK" altLang="en-US" b="1" i="1">
                                  <a:solidFill>
                                    <a:schemeClr val="bg1"/>
                                  </a:solidFill>
                                  <a:latin typeface="Cambria Math" panose="02040503050406030204" pitchFamily="18" charset="0"/>
                                </a:rPr>
                                <m:t>&amp;</m:t>
                              </m:r>
                              <m:r>
                                <a:rPr lang="zh-HK" altLang="en-US" b="1" i="1">
                                  <a:solidFill>
                                    <a:schemeClr val="bg1"/>
                                  </a:solidFill>
                                  <a:latin typeface="Cambria Math" panose="02040503050406030204" pitchFamily="18" charset="0"/>
                                </a:rPr>
                                <m:t>𝟎</m:t>
                              </m:r>
                              <m:r>
                                <a:rPr lang="zh-HK" altLang="en-US" b="1" i="1">
                                  <a:solidFill>
                                    <a:schemeClr val="bg1"/>
                                  </a:solidFill>
                                  <a:latin typeface="Cambria Math" panose="02040503050406030204" pitchFamily="18" charset="0"/>
                                </a:rPr>
                                <m:t>,</m:t>
                              </m:r>
                              <m:r>
                                <a:rPr lang="zh-HK" altLang="en-US" b="1" i="1">
                                  <a:solidFill>
                                    <a:schemeClr val="bg1"/>
                                  </a:solidFill>
                                  <a:latin typeface="Cambria Math" panose="02040503050406030204" pitchFamily="18" charset="0"/>
                                </a:rPr>
                                <m:t>𝑹𝑺𝑹𝑺</m:t>
                              </m:r>
                              <m:r>
                                <a:rPr lang="zh-HK" altLang="en-US" b="1" i="1">
                                  <a:solidFill>
                                    <a:schemeClr val="bg1"/>
                                  </a:solidFill>
                                  <a:latin typeface="Cambria Math" panose="02040503050406030204" pitchFamily="18" charset="0"/>
                                </a:rPr>
                                <m:t>&lt;</m:t>
                              </m:r>
                              <m:r>
                                <a:rPr lang="zh-HK" altLang="en-US" b="1" i="1">
                                  <a:solidFill>
                                    <a:schemeClr val="bg1"/>
                                  </a:solidFill>
                                  <a:latin typeface="Cambria Math" panose="02040503050406030204" pitchFamily="18" charset="0"/>
                                </a:rPr>
                                <m:t>𝒕𝒉𝒓𝒆𝒔𝒉𝒐𝒍𝒅</m:t>
                              </m:r>
                            </m:e>
                          </m:eqArr>
                        </m:e>
                      </m:d>
                    </m:oMath>
                  </m:oMathPara>
                </a14:m>
                <a:endParaRPr lang="zh-HK" altLang="en-US" b="1" i="1" dirty="0">
                  <a:solidFill>
                    <a:schemeClr val="bg1"/>
                  </a:solidFill>
                  <a:latin typeface="Cambria Math" panose="02040503050406030204" pitchFamily="18" charset="0"/>
                </a:endParaRPr>
              </a:p>
            </p:txBody>
          </p:sp>
        </mc:Choice>
        <mc:Fallback xmlns="">
          <p:sp>
            <p:nvSpPr>
              <p:cNvPr id="59" name="文本框 58">
                <a:extLst>
                  <a:ext uri="{FF2B5EF4-FFF2-40B4-BE49-F238E27FC236}">
                    <a16:creationId xmlns:a16="http://schemas.microsoft.com/office/drawing/2014/main" id="{76A28AE5-E229-437A-B7E6-3019B66EDED4}"/>
                  </a:ext>
                </a:extLst>
              </p:cNvPr>
              <p:cNvSpPr txBox="1">
                <a:spLocks noRot="1" noChangeAspect="1" noMove="1" noResize="1" noEditPoints="1" noAdjustHandles="1" noChangeArrowheads="1" noChangeShapeType="1" noTextEdit="1"/>
              </p:cNvSpPr>
              <p:nvPr/>
            </p:nvSpPr>
            <p:spPr>
              <a:xfrm>
                <a:off x="8063771" y="7231501"/>
                <a:ext cx="8257628" cy="710194"/>
              </a:xfrm>
              <a:prstGeom prst="rect">
                <a:avLst/>
              </a:prstGeom>
              <a:blipFill>
                <a:blip r:embed="rId8"/>
                <a:stretch>
                  <a:fillRect/>
                </a:stretch>
              </a:blipFill>
            </p:spPr>
            <p:txBody>
              <a:bodyPr/>
              <a:lstStyle/>
              <a:p>
                <a:r>
                  <a:rPr lang="zh-CN" altLang="en-US">
                    <a:noFill/>
                  </a:rPr>
                  <a:t> </a:t>
                </a:r>
              </a:p>
            </p:txBody>
          </p:sp>
        </mc:Fallback>
      </mc:AlternateContent>
      <p:pic>
        <p:nvPicPr>
          <p:cNvPr id="63" name="图形 62" descr="指向右边的反手食指">
            <a:extLst>
              <a:ext uri="{FF2B5EF4-FFF2-40B4-BE49-F238E27FC236}">
                <a16:creationId xmlns:a16="http://schemas.microsoft.com/office/drawing/2014/main" id="{A1DAD56F-0D1E-42D4-852D-63BFD945FA7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809152" y="5097653"/>
            <a:ext cx="637695" cy="637695"/>
          </a:xfrm>
          <a:prstGeom prst="rect">
            <a:avLst/>
          </a:prstGeom>
        </p:spPr>
      </p:pic>
    </p:spTree>
    <p:extLst>
      <p:ext uri="{BB962C8B-B14F-4D97-AF65-F5344CB8AC3E}">
        <p14:creationId xmlns:p14="http://schemas.microsoft.com/office/powerpoint/2010/main" val="39273456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8"/>
          <p:cNvSpPr txBox="1"/>
          <p:nvPr/>
        </p:nvSpPr>
        <p:spPr>
          <a:xfrm>
            <a:off x="4394200" y="743712"/>
            <a:ext cx="11264900" cy="609600"/>
          </a:xfrm>
          <a:prstGeom prst="rect">
            <a:avLst/>
          </a:prstGeom>
        </p:spPr>
        <p:txBody>
          <a:bodyPr lIns="0" tIns="0" rIns="0" bIns="0" rtlCol="0" anchor="t"/>
          <a:lstStyle/>
          <a:p>
            <a:pPr algn="r">
              <a:lnSpc>
                <a:spcPct val="90000"/>
              </a:lnSpc>
            </a:pPr>
            <a:r>
              <a:rPr lang="en-US" sz="4000" b="1" dirty="0">
                <a:solidFill>
                  <a:srgbClr val="232F47"/>
                </a:solidFill>
                <a:latin typeface="Times New Roman" panose="02020603050405020304" pitchFamily="18" charset="0"/>
                <a:cs typeface="Times New Roman" panose="02020603050405020304" pitchFamily="18" charset="0"/>
              </a:rPr>
              <a:t>Optimization </a:t>
            </a:r>
            <a:r>
              <a:rPr lang="en-US" altLang="zh-CN" sz="4000" b="1" dirty="0">
                <a:solidFill>
                  <a:srgbClr val="232F47"/>
                </a:solidFill>
                <a:latin typeface="Times New Roman" panose="02020603050405020304" pitchFamily="18" charset="0"/>
                <a:cs typeface="Times New Roman" panose="02020603050405020304" pitchFamily="18" charset="0"/>
              </a:rPr>
              <a:t>B</a:t>
            </a:r>
            <a:r>
              <a:rPr lang="en-US" sz="4000" b="1" dirty="0">
                <a:solidFill>
                  <a:srgbClr val="232F47"/>
                </a:solidFill>
                <a:latin typeface="Times New Roman" panose="02020603050405020304" pitchFamily="18" charset="0"/>
                <a:cs typeface="Times New Roman" panose="02020603050405020304" pitchFamily="18" charset="0"/>
              </a:rPr>
              <a:t>ased on </a:t>
            </a:r>
            <a:r>
              <a:rPr lang="en-US" altLang="zh-CN" sz="4000" b="1" dirty="0">
                <a:solidFill>
                  <a:srgbClr val="232F47"/>
                </a:solidFill>
                <a:latin typeface="Times New Roman" panose="02020603050405020304" pitchFamily="18" charset="0"/>
                <a:cs typeface="Times New Roman" panose="02020603050405020304" pitchFamily="18" charset="0"/>
              </a:rPr>
              <a:t>Close</a:t>
            </a:r>
            <a:r>
              <a:rPr lang="en-US" sz="4000" b="1" dirty="0">
                <a:solidFill>
                  <a:srgbClr val="232F47"/>
                </a:solidFill>
                <a:latin typeface="Times New Roman" panose="02020603050405020304" pitchFamily="18" charset="0"/>
                <a:cs typeface="Times New Roman" panose="02020603050405020304" pitchFamily="18" charset="0"/>
              </a:rPr>
              <a:t> </a:t>
            </a:r>
            <a:r>
              <a:rPr lang="en-US" altLang="zh-CN" sz="4000" b="1" dirty="0">
                <a:solidFill>
                  <a:srgbClr val="232F47"/>
                </a:solidFill>
                <a:latin typeface="Times New Roman" panose="02020603050405020304" pitchFamily="18" charset="0"/>
                <a:cs typeface="Times New Roman" panose="02020603050405020304" pitchFamily="18" charset="0"/>
              </a:rPr>
              <a:t>P</a:t>
            </a:r>
            <a:r>
              <a:rPr lang="en-US" sz="4000" b="1" dirty="0">
                <a:solidFill>
                  <a:srgbClr val="232F47"/>
                </a:solidFill>
                <a:latin typeface="Times New Roman" panose="02020603050405020304" pitchFamily="18" charset="0"/>
                <a:cs typeface="Times New Roman" panose="02020603050405020304" pitchFamily="18" charset="0"/>
              </a:rPr>
              <a:t>rice </a:t>
            </a:r>
            <a:r>
              <a:rPr lang="en-US" altLang="zh-CN" sz="4000" b="1" dirty="0">
                <a:solidFill>
                  <a:srgbClr val="232F47"/>
                </a:solidFill>
                <a:latin typeface="Times New Roman" panose="02020603050405020304" pitchFamily="18" charset="0"/>
                <a:cs typeface="Times New Roman" panose="02020603050405020304" pitchFamily="18" charset="0"/>
              </a:rPr>
              <a:t>T</a:t>
            </a:r>
            <a:r>
              <a:rPr lang="en-US" sz="4000" b="1" dirty="0">
                <a:solidFill>
                  <a:srgbClr val="232F47"/>
                </a:solidFill>
                <a:latin typeface="Times New Roman" panose="02020603050405020304" pitchFamily="18" charset="0"/>
                <a:cs typeface="Times New Roman" panose="02020603050405020304" pitchFamily="18" charset="0"/>
              </a:rPr>
              <a:t>rends</a:t>
            </a:r>
          </a:p>
        </p:txBody>
      </p:sp>
      <p:pic>
        <p:nvPicPr>
          <p:cNvPr id="9" name="Picture 17">
            <a:extLst>
              <a:ext uri="{FF2B5EF4-FFF2-40B4-BE49-F238E27FC236}">
                <a16:creationId xmlns:a16="http://schemas.microsoft.com/office/drawing/2014/main" id="{B4C4579D-BC98-4E93-A2EF-80D55D4B7828}"/>
              </a:ext>
            </a:extLst>
          </p:cNvPr>
          <p:cNvPicPr>
            <a:picLocks noChangeAspect="1"/>
          </p:cNvPicPr>
          <p:nvPr/>
        </p:nvPicPr>
        <p:blipFill>
          <a:blip r:embed="rId2"/>
          <a:stretch>
            <a:fillRect/>
          </a:stretch>
        </p:blipFill>
        <p:spPr>
          <a:xfrm>
            <a:off x="13119100" y="533400"/>
            <a:ext cx="2540000" cy="101600"/>
          </a:xfrm>
          <a:prstGeom prst="rect">
            <a:avLst/>
          </a:prstGeom>
        </p:spPr>
      </p:pic>
      <p:graphicFrame>
        <p:nvGraphicFramePr>
          <p:cNvPr id="27" name="图表 26">
            <a:extLst>
              <a:ext uri="{FF2B5EF4-FFF2-40B4-BE49-F238E27FC236}">
                <a16:creationId xmlns:a16="http://schemas.microsoft.com/office/drawing/2014/main" id="{F5CDF6D2-B355-4A9E-B7D3-233F665EB7B1}"/>
              </a:ext>
            </a:extLst>
          </p:cNvPr>
          <p:cNvGraphicFramePr/>
          <p:nvPr/>
        </p:nvGraphicFramePr>
        <p:xfrm>
          <a:off x="965200" y="1981200"/>
          <a:ext cx="13944600" cy="6477000"/>
        </p:xfrm>
        <a:graphic>
          <a:graphicData uri="http://schemas.openxmlformats.org/drawingml/2006/chart">
            <c:chart xmlns:c="http://schemas.openxmlformats.org/drawingml/2006/chart" xmlns:r="http://schemas.openxmlformats.org/officeDocument/2006/relationships" r:id="rId3"/>
          </a:graphicData>
        </a:graphic>
      </p:graphicFrame>
      <p:sp>
        <p:nvSpPr>
          <p:cNvPr id="3" name="文本框 2">
            <a:extLst>
              <a:ext uri="{FF2B5EF4-FFF2-40B4-BE49-F238E27FC236}">
                <a16:creationId xmlns:a16="http://schemas.microsoft.com/office/drawing/2014/main" id="{946E9309-CB35-4A05-82F0-97E106CFDE9B}"/>
              </a:ext>
            </a:extLst>
          </p:cNvPr>
          <p:cNvSpPr txBox="1"/>
          <p:nvPr/>
        </p:nvSpPr>
        <p:spPr>
          <a:xfrm>
            <a:off x="3556000" y="1405646"/>
            <a:ext cx="10363200" cy="523220"/>
          </a:xfrm>
          <a:prstGeom prst="rect">
            <a:avLst/>
          </a:prstGeom>
          <a:noFill/>
        </p:spPr>
        <p:txBody>
          <a:bodyPr wrap="square" rtlCol="0">
            <a:spAutoFit/>
          </a:bodyPr>
          <a:lstStyle/>
          <a:p>
            <a:r>
              <a:rPr lang="en-US" altLang="zh-CN" sz="2800" dirty="0">
                <a:latin typeface="Times New Roman" panose="02020603050405020304" pitchFamily="18" charset="0"/>
                <a:cs typeface="Times New Roman" panose="02020603050405020304" pitchFamily="18" charset="0"/>
              </a:rPr>
              <a:t>Figure 18. Trading Strategy Optimization and Result - Close Price </a:t>
            </a:r>
            <a:endParaRPr lang="zh-HK" altLang="en-US" sz="28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0609199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4"/>
          <a:stretch>
            <a:fillRect/>
          </a:stretch>
        </p:blipFill>
        <p:spPr>
          <a:xfrm>
            <a:off x="0" y="6426200"/>
            <a:ext cx="16256000" cy="2730500"/>
          </a:xfrm>
          <a:prstGeom prst="rect">
            <a:avLst/>
          </a:prstGeom>
        </p:spPr>
      </p:pic>
      <p:pic>
        <p:nvPicPr>
          <p:cNvPr id="3" name="Picture 3"/>
          <p:cNvPicPr>
            <a:picLocks noChangeAspect="1"/>
          </p:cNvPicPr>
          <p:nvPr/>
        </p:nvPicPr>
        <p:blipFill>
          <a:blip r:embed="rId5"/>
          <a:stretch>
            <a:fillRect/>
          </a:stretch>
        </p:blipFill>
        <p:spPr>
          <a:xfrm>
            <a:off x="0" y="5702300"/>
            <a:ext cx="16256000" cy="444500"/>
          </a:xfrm>
          <a:prstGeom prst="rect">
            <a:avLst/>
          </a:prstGeom>
        </p:spPr>
      </p:pic>
      <p:pic>
        <p:nvPicPr>
          <p:cNvPr id="4" name="Picture 4"/>
          <p:cNvPicPr>
            <a:picLocks noChangeAspect="1"/>
          </p:cNvPicPr>
          <p:nvPr/>
        </p:nvPicPr>
        <p:blipFill>
          <a:blip r:embed="rId6"/>
          <a:stretch>
            <a:fillRect/>
          </a:stretch>
        </p:blipFill>
        <p:spPr>
          <a:xfrm>
            <a:off x="1600200" y="2425700"/>
            <a:ext cx="6350000" cy="5435600"/>
          </a:xfrm>
          <a:prstGeom prst="rect">
            <a:avLst/>
          </a:prstGeom>
        </p:spPr>
      </p:pic>
      <p:sp>
        <p:nvSpPr>
          <p:cNvPr id="10" name="文本框 9">
            <a:extLst>
              <a:ext uri="{FF2B5EF4-FFF2-40B4-BE49-F238E27FC236}">
                <a16:creationId xmlns:a16="http://schemas.microsoft.com/office/drawing/2014/main" id="{43B22D8D-1EEF-4AB3-9462-429D015EA867}"/>
              </a:ext>
            </a:extLst>
          </p:cNvPr>
          <p:cNvSpPr txBox="1"/>
          <p:nvPr/>
        </p:nvSpPr>
        <p:spPr>
          <a:xfrm>
            <a:off x="7632700" y="2369978"/>
            <a:ext cx="8940800" cy="3145092"/>
          </a:xfrm>
          <a:prstGeom prst="rect">
            <a:avLst/>
          </a:prstGeom>
          <a:noFill/>
        </p:spPr>
        <p:txBody>
          <a:bodyPr wrap="square">
            <a:spAutoFit/>
          </a:bodyPr>
          <a:lstStyle/>
          <a:p>
            <a:pPr algn="ctr">
              <a:lnSpc>
                <a:spcPct val="105000"/>
              </a:lnSpc>
            </a:pPr>
            <a:r>
              <a:rPr lang="en-US" altLang="zh-CN" sz="4800" b="1" dirty="0">
                <a:solidFill>
                  <a:srgbClr val="BA996A"/>
                </a:solidFill>
                <a:latin typeface="Times New Roman" panose="02020603050405020304" pitchFamily="18" charset="0"/>
                <a:cs typeface="Times New Roman" panose="02020603050405020304" pitchFamily="18" charset="0"/>
              </a:rPr>
              <a:t>1&amp;2 </a:t>
            </a:r>
          </a:p>
          <a:p>
            <a:pPr algn="ctr">
              <a:lnSpc>
                <a:spcPct val="105000"/>
              </a:lnSpc>
            </a:pPr>
            <a:r>
              <a:rPr lang="en-US" altLang="zh-CN" sz="4800" b="1" dirty="0">
                <a:solidFill>
                  <a:srgbClr val="BA996A"/>
                </a:solidFill>
                <a:latin typeface="Times New Roman" panose="02020603050405020304" pitchFamily="18" charset="0"/>
                <a:cs typeface="Times New Roman" panose="02020603050405020304" pitchFamily="18" charset="0"/>
              </a:rPr>
              <a:t>Background</a:t>
            </a:r>
            <a:r>
              <a:rPr lang="zh-CN" altLang="en-US" sz="4800" b="1" dirty="0">
                <a:solidFill>
                  <a:srgbClr val="BA996A"/>
                </a:solidFill>
                <a:latin typeface="Times New Roman" panose="02020603050405020304" pitchFamily="18" charset="0"/>
                <a:cs typeface="Times New Roman" panose="02020603050405020304" pitchFamily="18" charset="0"/>
              </a:rPr>
              <a:t>、</a:t>
            </a:r>
            <a:r>
              <a:rPr lang="en-US" altLang="zh-CN" sz="4800" b="1" dirty="0">
                <a:solidFill>
                  <a:srgbClr val="BA996A"/>
                </a:solidFill>
                <a:latin typeface="Times New Roman" panose="02020603050405020304" pitchFamily="18" charset="0"/>
                <a:cs typeface="Times New Roman" panose="02020603050405020304" pitchFamily="18" charset="0"/>
              </a:rPr>
              <a:t>Research</a:t>
            </a:r>
          </a:p>
          <a:p>
            <a:pPr algn="ctr">
              <a:lnSpc>
                <a:spcPct val="105000"/>
              </a:lnSpc>
            </a:pPr>
            <a:r>
              <a:rPr lang="en-US" altLang="zh-CN" sz="4800" b="1" dirty="0">
                <a:solidFill>
                  <a:srgbClr val="BA996A"/>
                </a:solidFill>
                <a:latin typeface="Times New Roman" panose="02020603050405020304" pitchFamily="18" charset="0"/>
                <a:cs typeface="Times New Roman" panose="02020603050405020304" pitchFamily="18" charset="0"/>
              </a:rPr>
              <a:t>&amp; </a:t>
            </a:r>
          </a:p>
          <a:p>
            <a:pPr algn="ctr">
              <a:lnSpc>
                <a:spcPct val="105000"/>
              </a:lnSpc>
            </a:pPr>
            <a:r>
              <a:rPr lang="en-US" altLang="zh-CN" sz="4800" b="1" dirty="0">
                <a:solidFill>
                  <a:srgbClr val="BA996A"/>
                </a:solidFill>
                <a:latin typeface="Times New Roman" panose="02020603050405020304" pitchFamily="18" charset="0"/>
                <a:cs typeface="Times New Roman" panose="02020603050405020304" pitchFamily="18" charset="0"/>
              </a:rPr>
              <a:t>Timing</a:t>
            </a:r>
            <a:r>
              <a:rPr lang="zh-CN" altLang="en-US" sz="4800" b="1" dirty="0">
                <a:solidFill>
                  <a:srgbClr val="BA996A"/>
                </a:solidFill>
                <a:latin typeface="Times New Roman" panose="02020603050405020304" pitchFamily="18" charset="0"/>
                <a:cs typeface="Times New Roman" panose="02020603050405020304" pitchFamily="18" charset="0"/>
              </a:rPr>
              <a:t> </a:t>
            </a:r>
            <a:r>
              <a:rPr lang="en-US" altLang="zh-CN" sz="4800" b="1" dirty="0">
                <a:solidFill>
                  <a:srgbClr val="BA996A"/>
                </a:solidFill>
                <a:latin typeface="Times New Roman" panose="02020603050405020304" pitchFamily="18" charset="0"/>
                <a:cs typeface="Times New Roman" panose="02020603050405020304" pitchFamily="18" charset="0"/>
              </a:rPr>
              <a:t>Logic</a:t>
            </a:r>
            <a:r>
              <a:rPr lang="zh-CN" altLang="en-US" sz="4800" b="1" dirty="0">
                <a:solidFill>
                  <a:srgbClr val="BA996A"/>
                </a:solidFill>
                <a:latin typeface="Times New Roman" panose="02020603050405020304" pitchFamily="18" charset="0"/>
                <a:cs typeface="Times New Roman" panose="02020603050405020304" pitchFamily="18" charset="0"/>
              </a:rPr>
              <a:t> </a:t>
            </a:r>
            <a:r>
              <a:rPr lang="en-US" altLang="zh-CN" sz="4800" b="1" dirty="0">
                <a:solidFill>
                  <a:srgbClr val="BA996A"/>
                </a:solidFill>
                <a:latin typeface="Times New Roman" panose="02020603050405020304" pitchFamily="18" charset="0"/>
                <a:cs typeface="Times New Roman" panose="02020603050405020304" pitchFamily="18" charset="0"/>
              </a:rPr>
              <a:t>Implementation</a:t>
            </a:r>
          </a:p>
        </p:txBody>
      </p:sp>
      <p:pic>
        <p:nvPicPr>
          <p:cNvPr id="12" name="Picture 8">
            <a:extLst>
              <a:ext uri="{FF2B5EF4-FFF2-40B4-BE49-F238E27FC236}">
                <a16:creationId xmlns:a16="http://schemas.microsoft.com/office/drawing/2014/main" id="{4789FB7A-BD9A-47E7-8D4E-0877FE18C06B}"/>
              </a:ext>
            </a:extLst>
          </p:cNvPr>
          <p:cNvPicPr>
            <a:picLocks noChangeAspect="1"/>
          </p:cNvPicPr>
          <p:nvPr/>
        </p:nvPicPr>
        <p:blipFill>
          <a:blip r:embed="rId7"/>
          <a:stretch>
            <a:fillRect/>
          </a:stretch>
        </p:blipFill>
        <p:spPr>
          <a:xfrm>
            <a:off x="13119100" y="446315"/>
            <a:ext cx="2540000" cy="101600"/>
          </a:xfrm>
          <a:prstGeom prst="rect">
            <a:avLst/>
          </a:prstGeom>
        </p:spPr>
      </p:pic>
      <p:pic>
        <p:nvPicPr>
          <p:cNvPr id="5" name="股票股市背景视频 (1)_Trim">
            <a:hlinkClick r:id="" action="ppaction://media"/>
            <a:extLst>
              <a:ext uri="{FF2B5EF4-FFF2-40B4-BE49-F238E27FC236}">
                <a16:creationId xmlns:a16="http://schemas.microsoft.com/office/drawing/2014/main" id="{7376FFD0-D70D-4EB0-9377-5134B6422D1D}"/>
              </a:ext>
            </a:extLst>
          </p:cNvPr>
          <p:cNvPicPr>
            <a:picLocks noChangeAspect="1"/>
          </p:cNvPicPr>
          <p:nvPr>
            <a:videoFile r:link="rId2"/>
            <p:extLst>
              <p:ext uri="{DAA4B4D4-6D71-4841-9C94-3DE7FCFB9230}">
                <p14:media xmlns:p14="http://schemas.microsoft.com/office/powerpoint/2010/main" r:embed="rId1"/>
              </p:ext>
            </p:extLst>
          </p:nvPr>
        </p:nvPicPr>
        <p:blipFill>
          <a:blip r:embed="rId8"/>
          <a:stretch>
            <a:fillRect/>
          </a:stretch>
        </p:blipFill>
        <p:spPr>
          <a:xfrm>
            <a:off x="1727200" y="2590800"/>
            <a:ext cx="6096000" cy="3530600"/>
          </a:xfrm>
          <a:prstGeom prst="rect">
            <a:avLst/>
          </a:prstGeom>
        </p:spPr>
      </p:pic>
      <p:sp>
        <p:nvSpPr>
          <p:cNvPr id="6" name="文本框 5">
            <a:extLst>
              <a:ext uri="{FF2B5EF4-FFF2-40B4-BE49-F238E27FC236}">
                <a16:creationId xmlns:a16="http://schemas.microsoft.com/office/drawing/2014/main" id="{BF495B5E-95D5-DEFE-3E37-7B4C7DBB8114}"/>
              </a:ext>
            </a:extLst>
          </p:cNvPr>
          <p:cNvSpPr txBox="1"/>
          <p:nvPr/>
        </p:nvSpPr>
        <p:spPr>
          <a:xfrm>
            <a:off x="12386564" y="8028432"/>
            <a:ext cx="4005072" cy="400110"/>
          </a:xfrm>
          <a:prstGeom prst="rect">
            <a:avLst/>
          </a:prstGeom>
          <a:noFill/>
        </p:spPr>
        <p:txBody>
          <a:bodyPr wrap="square" rtlCol="0">
            <a:spAutoFit/>
          </a:bodyPr>
          <a:lstStyle/>
          <a:p>
            <a:r>
              <a:rPr kumimoji="1" lang="en-US" altLang="zh-CN" sz="2000" dirty="0">
                <a:solidFill>
                  <a:schemeClr val="bg1"/>
                </a:solidFill>
              </a:rPr>
              <a:t>Speaker : </a:t>
            </a:r>
            <a:r>
              <a:rPr kumimoji="1" lang="en-US" altLang="zh-CN" sz="2000" dirty="0" err="1">
                <a:solidFill>
                  <a:schemeClr val="bg1"/>
                </a:solidFill>
              </a:rPr>
              <a:t>MA,Ziqing</a:t>
            </a:r>
            <a:endParaRPr kumimoji="1" lang="zh-CN" altLang="en-US" sz="2000" dirty="0">
              <a:solidFill>
                <a:schemeClr val="bg1"/>
              </a:solidFill>
            </a:endParaRPr>
          </a:p>
        </p:txBody>
      </p:sp>
    </p:spTree>
    <p:extLst>
      <p:ext uri="{BB962C8B-B14F-4D97-AF65-F5344CB8AC3E}">
        <p14:creationId xmlns:p14="http://schemas.microsoft.com/office/powerpoint/2010/main" val="34763474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200"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8"/>
          <p:cNvSpPr txBox="1"/>
          <p:nvPr/>
        </p:nvSpPr>
        <p:spPr>
          <a:xfrm>
            <a:off x="4394200" y="743712"/>
            <a:ext cx="11264900" cy="609600"/>
          </a:xfrm>
          <a:prstGeom prst="rect">
            <a:avLst/>
          </a:prstGeom>
        </p:spPr>
        <p:txBody>
          <a:bodyPr lIns="0" tIns="0" rIns="0" bIns="0" rtlCol="0" anchor="t"/>
          <a:lstStyle/>
          <a:p>
            <a:pPr algn="r">
              <a:lnSpc>
                <a:spcPct val="90000"/>
              </a:lnSpc>
            </a:pPr>
            <a:r>
              <a:rPr lang="en-US" sz="4000" b="1" dirty="0">
                <a:solidFill>
                  <a:srgbClr val="232F47"/>
                </a:solidFill>
                <a:latin typeface="Times New Roman" panose="02020603050405020304" pitchFamily="18" charset="0"/>
                <a:cs typeface="Times New Roman" panose="02020603050405020304" pitchFamily="18" charset="0"/>
              </a:rPr>
              <a:t>Optimization </a:t>
            </a:r>
            <a:r>
              <a:rPr lang="en-US" altLang="zh-CN" sz="4000" b="1" dirty="0">
                <a:solidFill>
                  <a:srgbClr val="232F47"/>
                </a:solidFill>
                <a:latin typeface="Times New Roman" panose="02020603050405020304" pitchFamily="18" charset="0"/>
                <a:cs typeface="Times New Roman" panose="02020603050405020304" pitchFamily="18" charset="0"/>
              </a:rPr>
              <a:t>B</a:t>
            </a:r>
            <a:r>
              <a:rPr lang="en-US" sz="4000" b="1" dirty="0">
                <a:solidFill>
                  <a:srgbClr val="232F47"/>
                </a:solidFill>
                <a:latin typeface="Times New Roman" panose="02020603050405020304" pitchFamily="18" charset="0"/>
                <a:cs typeface="Times New Roman" panose="02020603050405020304" pitchFamily="18" charset="0"/>
              </a:rPr>
              <a:t>ased on </a:t>
            </a:r>
            <a:r>
              <a:rPr lang="en-US" altLang="zh-CN" sz="4000" b="1" dirty="0">
                <a:solidFill>
                  <a:srgbClr val="232F47"/>
                </a:solidFill>
                <a:latin typeface="Times New Roman" panose="02020603050405020304" pitchFamily="18" charset="0"/>
                <a:cs typeface="Times New Roman" panose="02020603050405020304" pitchFamily="18" charset="0"/>
              </a:rPr>
              <a:t>Close</a:t>
            </a:r>
            <a:r>
              <a:rPr lang="en-US" sz="4000" b="1" dirty="0">
                <a:solidFill>
                  <a:srgbClr val="232F47"/>
                </a:solidFill>
                <a:latin typeface="Times New Roman" panose="02020603050405020304" pitchFamily="18" charset="0"/>
                <a:cs typeface="Times New Roman" panose="02020603050405020304" pitchFamily="18" charset="0"/>
              </a:rPr>
              <a:t> </a:t>
            </a:r>
            <a:r>
              <a:rPr lang="en-US" altLang="zh-CN" sz="4000" b="1" dirty="0">
                <a:solidFill>
                  <a:srgbClr val="232F47"/>
                </a:solidFill>
                <a:latin typeface="Times New Roman" panose="02020603050405020304" pitchFamily="18" charset="0"/>
                <a:cs typeface="Times New Roman" panose="02020603050405020304" pitchFamily="18" charset="0"/>
              </a:rPr>
              <a:t>P</a:t>
            </a:r>
            <a:r>
              <a:rPr lang="en-US" sz="4000" b="1" dirty="0">
                <a:solidFill>
                  <a:srgbClr val="232F47"/>
                </a:solidFill>
                <a:latin typeface="Times New Roman" panose="02020603050405020304" pitchFamily="18" charset="0"/>
                <a:cs typeface="Times New Roman" panose="02020603050405020304" pitchFamily="18" charset="0"/>
              </a:rPr>
              <a:t>rice </a:t>
            </a:r>
            <a:r>
              <a:rPr lang="en-US" altLang="zh-CN" sz="4000" b="1" dirty="0">
                <a:solidFill>
                  <a:srgbClr val="232F47"/>
                </a:solidFill>
                <a:latin typeface="Times New Roman" panose="02020603050405020304" pitchFamily="18" charset="0"/>
                <a:cs typeface="Times New Roman" panose="02020603050405020304" pitchFamily="18" charset="0"/>
              </a:rPr>
              <a:t>T</a:t>
            </a:r>
            <a:r>
              <a:rPr lang="en-US" sz="4000" b="1" dirty="0">
                <a:solidFill>
                  <a:srgbClr val="232F47"/>
                </a:solidFill>
                <a:latin typeface="Times New Roman" panose="02020603050405020304" pitchFamily="18" charset="0"/>
                <a:cs typeface="Times New Roman" panose="02020603050405020304" pitchFamily="18" charset="0"/>
              </a:rPr>
              <a:t>rends</a:t>
            </a:r>
          </a:p>
        </p:txBody>
      </p:sp>
      <p:pic>
        <p:nvPicPr>
          <p:cNvPr id="9" name="Picture 17">
            <a:extLst>
              <a:ext uri="{FF2B5EF4-FFF2-40B4-BE49-F238E27FC236}">
                <a16:creationId xmlns:a16="http://schemas.microsoft.com/office/drawing/2014/main" id="{B4C4579D-BC98-4E93-A2EF-80D55D4B7828}"/>
              </a:ext>
            </a:extLst>
          </p:cNvPr>
          <p:cNvPicPr>
            <a:picLocks noChangeAspect="1"/>
          </p:cNvPicPr>
          <p:nvPr/>
        </p:nvPicPr>
        <p:blipFill>
          <a:blip r:embed="rId2"/>
          <a:stretch>
            <a:fillRect/>
          </a:stretch>
        </p:blipFill>
        <p:spPr>
          <a:xfrm>
            <a:off x="13119100" y="533400"/>
            <a:ext cx="2540000" cy="101600"/>
          </a:xfrm>
          <a:prstGeom prst="rect">
            <a:avLst/>
          </a:prstGeom>
        </p:spPr>
      </p:pic>
      <p:sp>
        <p:nvSpPr>
          <p:cNvPr id="3" name="文本框 2">
            <a:extLst>
              <a:ext uri="{FF2B5EF4-FFF2-40B4-BE49-F238E27FC236}">
                <a16:creationId xmlns:a16="http://schemas.microsoft.com/office/drawing/2014/main" id="{946E9309-CB35-4A05-82F0-97E106CFDE9B}"/>
              </a:ext>
            </a:extLst>
          </p:cNvPr>
          <p:cNvSpPr txBox="1"/>
          <p:nvPr/>
        </p:nvSpPr>
        <p:spPr>
          <a:xfrm>
            <a:off x="1651000" y="1462024"/>
            <a:ext cx="7924800" cy="461665"/>
          </a:xfrm>
          <a:prstGeom prst="rect">
            <a:avLst/>
          </a:prstGeom>
          <a:noFill/>
        </p:spPr>
        <p:txBody>
          <a:bodyPr wrap="square" rtlCol="0">
            <a:spAutoFit/>
          </a:bodyPr>
          <a:lstStyle/>
          <a:p>
            <a:r>
              <a:rPr lang="en-US" altLang="zh-CN" sz="2400" dirty="0">
                <a:latin typeface="Times New Roman" panose="02020603050405020304" pitchFamily="18" charset="0"/>
                <a:cs typeface="Times New Roman" panose="02020603050405020304" pitchFamily="18" charset="0"/>
              </a:rPr>
              <a:t>Table Trading Strategy Optimization and Result - Close Price </a:t>
            </a:r>
            <a:endParaRPr lang="zh-HK" altLang="en-US" sz="2400" dirty="0">
              <a:latin typeface="Times New Roman" panose="02020603050405020304" pitchFamily="18" charset="0"/>
              <a:cs typeface="Times New Roman" panose="02020603050405020304" pitchFamily="18" charset="0"/>
            </a:endParaRPr>
          </a:p>
        </p:txBody>
      </p:sp>
      <p:graphicFrame>
        <p:nvGraphicFramePr>
          <p:cNvPr id="2" name="表格 1">
            <a:extLst>
              <a:ext uri="{FF2B5EF4-FFF2-40B4-BE49-F238E27FC236}">
                <a16:creationId xmlns:a16="http://schemas.microsoft.com/office/drawing/2014/main" id="{580E92B7-A2F1-4351-BA5B-9732C61AB1B8}"/>
              </a:ext>
            </a:extLst>
          </p:cNvPr>
          <p:cNvGraphicFramePr>
            <a:graphicFrameLocks noGrp="1"/>
          </p:cNvGraphicFramePr>
          <p:nvPr/>
        </p:nvGraphicFramePr>
        <p:xfrm>
          <a:off x="279400" y="1923689"/>
          <a:ext cx="10058400" cy="5791200"/>
        </p:xfrm>
        <a:graphic>
          <a:graphicData uri="http://schemas.openxmlformats.org/drawingml/2006/table">
            <a:tbl>
              <a:tblPr firstRow="1" firstCol="1" bandRow="1">
                <a:tableStyleId>{5C22544A-7EE6-4342-B048-85BDC9FD1C3A}</a:tableStyleId>
              </a:tblPr>
              <a:tblGrid>
                <a:gridCol w="3962400">
                  <a:extLst>
                    <a:ext uri="{9D8B030D-6E8A-4147-A177-3AD203B41FA5}">
                      <a16:colId xmlns:a16="http://schemas.microsoft.com/office/drawing/2014/main" val="3845361708"/>
                    </a:ext>
                  </a:extLst>
                </a:gridCol>
                <a:gridCol w="1524000">
                  <a:extLst>
                    <a:ext uri="{9D8B030D-6E8A-4147-A177-3AD203B41FA5}">
                      <a16:colId xmlns:a16="http://schemas.microsoft.com/office/drawing/2014/main" val="347887840"/>
                    </a:ext>
                  </a:extLst>
                </a:gridCol>
                <a:gridCol w="1752600">
                  <a:extLst>
                    <a:ext uri="{9D8B030D-6E8A-4147-A177-3AD203B41FA5}">
                      <a16:colId xmlns:a16="http://schemas.microsoft.com/office/drawing/2014/main" val="839385686"/>
                    </a:ext>
                  </a:extLst>
                </a:gridCol>
                <a:gridCol w="2819400">
                  <a:extLst>
                    <a:ext uri="{9D8B030D-6E8A-4147-A177-3AD203B41FA5}">
                      <a16:colId xmlns:a16="http://schemas.microsoft.com/office/drawing/2014/main" val="2909211565"/>
                    </a:ext>
                  </a:extLst>
                </a:gridCol>
              </a:tblGrid>
              <a:tr h="0">
                <a:tc>
                  <a:txBody>
                    <a:bodyPr/>
                    <a:lstStyle/>
                    <a:p>
                      <a:r>
                        <a:rPr lang="en-US" sz="2000" kern="100">
                          <a:effectLst/>
                        </a:rPr>
                        <a:t>Indicators</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RSRS</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RSRS+MA (10)</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RSRS + Market indicator</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4292391470"/>
                  </a:ext>
                </a:extLst>
              </a:tr>
              <a:tr h="0">
                <a:tc>
                  <a:txBody>
                    <a:bodyPr/>
                    <a:lstStyle/>
                    <a:p>
                      <a:r>
                        <a:rPr lang="en-US" sz="2000" kern="100">
                          <a:effectLst/>
                        </a:rPr>
                        <a:t>Annualized rate of return</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25.31%</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14.25%</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17.87%</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3463815556"/>
                  </a:ext>
                </a:extLst>
              </a:tr>
              <a:tr h="0">
                <a:tc>
                  <a:txBody>
                    <a:bodyPr/>
                    <a:lstStyle/>
                    <a:p>
                      <a:r>
                        <a:rPr lang="en-US" sz="2000" kern="100">
                          <a:effectLst/>
                        </a:rPr>
                        <a:t>HS300 annualized rate of return</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9.21%</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9.21%</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9.21%</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1414638008"/>
                  </a:ext>
                </a:extLst>
              </a:tr>
              <a:tr h="0">
                <a:tc>
                  <a:txBody>
                    <a:bodyPr/>
                    <a:lstStyle/>
                    <a:p>
                      <a:r>
                        <a:rPr lang="en-US" sz="2000" kern="100">
                          <a:effectLst/>
                        </a:rPr>
                        <a:t>Accumulated rate of return </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633.29%</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224.15%</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327.06%</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3059197573"/>
                  </a:ext>
                </a:extLst>
              </a:tr>
              <a:tr h="0">
                <a:tc>
                  <a:txBody>
                    <a:bodyPr/>
                    <a:lstStyle/>
                    <a:p>
                      <a:r>
                        <a:rPr lang="en-US" sz="2000" kern="100">
                          <a:effectLst/>
                        </a:rPr>
                        <a:t>HS300 accumulated rate of return</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117.77%</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117.77%</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117.77%</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3004122558"/>
                  </a:ext>
                </a:extLst>
              </a:tr>
              <a:tr h="0">
                <a:tc>
                  <a:txBody>
                    <a:bodyPr/>
                    <a:lstStyle/>
                    <a:p>
                      <a:r>
                        <a:rPr lang="en-US" sz="2000" b="1" kern="100" dirty="0">
                          <a:solidFill>
                            <a:srgbClr val="FF0000"/>
                          </a:solidFill>
                          <a:effectLst/>
                        </a:rPr>
                        <a:t>Rate of return (per trade)</a:t>
                      </a:r>
                      <a:endParaRPr lang="zh-TW" sz="2000" b="1" kern="100" dirty="0">
                        <a:solidFill>
                          <a:srgbClr val="FF0000"/>
                        </a:solidFill>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b="1" kern="100">
                          <a:solidFill>
                            <a:srgbClr val="FF0000"/>
                          </a:solidFill>
                          <a:effectLst/>
                        </a:rPr>
                        <a:t>5.81%</a:t>
                      </a:r>
                      <a:endParaRPr lang="zh-TW" sz="2000" b="1" kern="100">
                        <a:solidFill>
                          <a:srgbClr val="FF0000"/>
                        </a:solidFill>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b="1" kern="100">
                          <a:solidFill>
                            <a:srgbClr val="FF0000"/>
                          </a:solidFill>
                          <a:effectLst/>
                        </a:rPr>
                        <a:t>9.04%</a:t>
                      </a:r>
                      <a:endParaRPr lang="zh-TW" sz="2000" b="1" kern="100">
                        <a:solidFill>
                          <a:srgbClr val="FF0000"/>
                        </a:solidFill>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b="1" kern="100" dirty="0">
                          <a:solidFill>
                            <a:srgbClr val="FF0000"/>
                          </a:solidFill>
                          <a:effectLst/>
                        </a:rPr>
                        <a:t>10.19%</a:t>
                      </a:r>
                      <a:endParaRPr lang="zh-TW" sz="2000" b="1" kern="100" dirty="0">
                        <a:solidFill>
                          <a:srgbClr val="FF0000"/>
                        </a:solidFill>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3728661068"/>
                  </a:ext>
                </a:extLst>
              </a:tr>
              <a:tr h="0">
                <a:tc>
                  <a:txBody>
                    <a:bodyPr/>
                    <a:lstStyle/>
                    <a:p>
                      <a:r>
                        <a:rPr lang="en-US" sz="2000" kern="100">
                          <a:effectLst/>
                        </a:rPr>
                        <a:t>alpha</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0.16</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0.05</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0.087</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3085027165"/>
                  </a:ext>
                </a:extLst>
              </a:tr>
              <a:tr h="133711">
                <a:tc>
                  <a:txBody>
                    <a:bodyPr/>
                    <a:lstStyle/>
                    <a:p>
                      <a:r>
                        <a:rPr lang="en-US" sz="2000" kern="100">
                          <a:effectLst/>
                        </a:rPr>
                        <a:t>beta</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0.47</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0.54</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0.50</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259104342"/>
                  </a:ext>
                </a:extLst>
              </a:tr>
              <a:tr h="0">
                <a:tc>
                  <a:txBody>
                    <a:bodyPr/>
                    <a:lstStyle/>
                    <a:p>
                      <a:r>
                        <a:rPr lang="en-US" sz="2000" b="1" kern="100" dirty="0">
                          <a:solidFill>
                            <a:srgbClr val="FF0000"/>
                          </a:solidFill>
                          <a:effectLst/>
                        </a:rPr>
                        <a:t>Trade times</a:t>
                      </a:r>
                      <a:endParaRPr lang="zh-TW" sz="2000" b="1" kern="100" dirty="0">
                        <a:solidFill>
                          <a:srgbClr val="FF0000"/>
                        </a:solidFill>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b="1" kern="100">
                          <a:solidFill>
                            <a:srgbClr val="FF0000"/>
                          </a:solidFill>
                          <a:effectLst/>
                        </a:rPr>
                        <a:t>32</a:t>
                      </a:r>
                      <a:endParaRPr lang="zh-TW" sz="2000" b="1" kern="100">
                        <a:solidFill>
                          <a:srgbClr val="FF0000"/>
                        </a:solidFill>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b="1" kern="100">
                          <a:solidFill>
                            <a:srgbClr val="FF0000"/>
                          </a:solidFill>
                          <a:effectLst/>
                        </a:rPr>
                        <a:t>13</a:t>
                      </a:r>
                      <a:endParaRPr lang="zh-TW" sz="2000" b="1" kern="100">
                        <a:solidFill>
                          <a:srgbClr val="FF0000"/>
                        </a:solidFill>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b="1" kern="100" dirty="0">
                          <a:solidFill>
                            <a:srgbClr val="FF0000"/>
                          </a:solidFill>
                          <a:effectLst/>
                        </a:rPr>
                        <a:t>14</a:t>
                      </a:r>
                      <a:endParaRPr lang="zh-TW" sz="2000" b="1" kern="100" dirty="0">
                        <a:solidFill>
                          <a:srgbClr val="FF0000"/>
                        </a:solidFill>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283795092"/>
                  </a:ext>
                </a:extLst>
              </a:tr>
              <a:tr h="0">
                <a:tc>
                  <a:txBody>
                    <a:bodyPr/>
                    <a:lstStyle/>
                    <a:p>
                      <a:r>
                        <a:rPr lang="en-US" sz="2000" kern="100">
                          <a:effectLst/>
                        </a:rPr>
                        <a:t>Win rate</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65.63%</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61.54%</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dirty="0">
                          <a:effectLst/>
                        </a:rPr>
                        <a:t>64.29%</a:t>
                      </a:r>
                      <a:endParaRPr lang="zh-TW" sz="2000" kern="100" dirty="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2990540376"/>
                  </a:ext>
                </a:extLst>
              </a:tr>
              <a:tr h="0">
                <a:tc>
                  <a:txBody>
                    <a:bodyPr/>
                    <a:lstStyle/>
                    <a:p>
                      <a:r>
                        <a:rPr lang="en-US" sz="2000" kern="100">
                          <a:effectLst/>
                        </a:rPr>
                        <a:t>Position day</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1867</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1975</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1993</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4132817772"/>
                  </a:ext>
                </a:extLst>
              </a:tr>
              <a:tr h="0">
                <a:tc>
                  <a:txBody>
                    <a:bodyPr/>
                    <a:lstStyle/>
                    <a:p>
                      <a:r>
                        <a:rPr lang="en-US" sz="2000" kern="100">
                          <a:effectLst/>
                        </a:rPr>
                        <a:t>Win day</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1005</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1077</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1088</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4116562026"/>
                  </a:ext>
                </a:extLst>
              </a:tr>
              <a:tr h="0">
                <a:tc>
                  <a:txBody>
                    <a:bodyPr/>
                    <a:lstStyle/>
                    <a:p>
                      <a:r>
                        <a:rPr lang="en-US" sz="2000" kern="100">
                          <a:effectLst/>
                        </a:rPr>
                        <a:t>Loss day</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893</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911</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919</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1980521956"/>
                  </a:ext>
                </a:extLst>
              </a:tr>
              <a:tr h="0">
                <a:tc>
                  <a:txBody>
                    <a:bodyPr/>
                    <a:lstStyle/>
                    <a:p>
                      <a:r>
                        <a:rPr lang="en-US" sz="2000" b="1" kern="100">
                          <a:solidFill>
                            <a:srgbClr val="FF0000"/>
                          </a:solidFill>
                          <a:effectLst/>
                        </a:rPr>
                        <a:t>Yield rate (per trade)</a:t>
                      </a:r>
                      <a:endParaRPr lang="zh-TW" sz="2000" b="1" kern="100">
                        <a:solidFill>
                          <a:srgbClr val="FF0000"/>
                        </a:solidFill>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b="1" kern="100">
                          <a:solidFill>
                            <a:srgbClr val="FF0000"/>
                          </a:solidFill>
                          <a:effectLst/>
                        </a:rPr>
                        <a:t>10.09%</a:t>
                      </a:r>
                      <a:endParaRPr lang="zh-TW" sz="2000" b="1" kern="100">
                        <a:solidFill>
                          <a:srgbClr val="FF0000"/>
                        </a:solidFill>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b="1" kern="100">
                          <a:solidFill>
                            <a:srgbClr val="FF0000"/>
                          </a:solidFill>
                          <a:effectLst/>
                        </a:rPr>
                        <a:t>17.59%</a:t>
                      </a:r>
                      <a:endParaRPr lang="zh-TW" sz="2000" b="1" kern="100">
                        <a:solidFill>
                          <a:srgbClr val="FF0000"/>
                        </a:solidFill>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b="1" kern="100" dirty="0">
                          <a:solidFill>
                            <a:srgbClr val="FF0000"/>
                          </a:solidFill>
                          <a:effectLst/>
                        </a:rPr>
                        <a:t>16.37%</a:t>
                      </a:r>
                      <a:endParaRPr lang="zh-TW" sz="2000" b="1" kern="100" dirty="0">
                        <a:solidFill>
                          <a:srgbClr val="FF0000"/>
                        </a:solidFill>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1482938730"/>
                  </a:ext>
                </a:extLst>
              </a:tr>
              <a:tr h="0">
                <a:tc>
                  <a:txBody>
                    <a:bodyPr/>
                    <a:lstStyle/>
                    <a:p>
                      <a:r>
                        <a:rPr lang="en-US" sz="2000" kern="100">
                          <a:effectLst/>
                        </a:rPr>
                        <a:t>Loss rate (per trade)</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3.16%</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8.04%</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dirty="0">
                          <a:effectLst/>
                        </a:rPr>
                        <a:t>3.72%</a:t>
                      </a:r>
                      <a:endParaRPr lang="zh-TW" sz="2000" kern="100" dirty="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2123538417"/>
                  </a:ext>
                </a:extLst>
              </a:tr>
              <a:tr h="0">
                <a:tc>
                  <a:txBody>
                    <a:bodyPr/>
                    <a:lstStyle/>
                    <a:p>
                      <a:r>
                        <a:rPr lang="en-US" sz="2000" kern="100">
                          <a:effectLst/>
                        </a:rPr>
                        <a:t>Profit and loss ratio</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3.19</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2.19%</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4.40</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3687708584"/>
                  </a:ext>
                </a:extLst>
              </a:tr>
              <a:tr h="0">
                <a:tc>
                  <a:txBody>
                    <a:bodyPr/>
                    <a:lstStyle/>
                    <a:p>
                      <a:r>
                        <a:rPr lang="en-US" sz="2000" kern="100">
                          <a:effectLst/>
                        </a:rPr>
                        <a:t>Volatility</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15.90%</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16.89%</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16.20%</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3556982808"/>
                  </a:ext>
                </a:extLst>
              </a:tr>
              <a:tr h="0">
                <a:tc>
                  <a:txBody>
                    <a:bodyPr/>
                    <a:lstStyle/>
                    <a:p>
                      <a:r>
                        <a:rPr lang="en-US" sz="2000" kern="100">
                          <a:effectLst/>
                        </a:rPr>
                        <a:t>Max drawback</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27.07%</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24.71%</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25.69%</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3728631985"/>
                  </a:ext>
                </a:extLst>
              </a:tr>
              <a:tr h="0">
                <a:tc>
                  <a:txBody>
                    <a:bodyPr/>
                    <a:lstStyle/>
                    <a:p>
                      <a:r>
                        <a:rPr lang="en-US" sz="2000" kern="100">
                          <a:effectLst/>
                        </a:rPr>
                        <a:t>Information rate</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15.04</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5.13</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dirty="0">
                          <a:effectLst/>
                        </a:rPr>
                        <a:t>8.46</a:t>
                      </a:r>
                      <a:endParaRPr lang="zh-TW" sz="2000" kern="100" dirty="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514911566"/>
                  </a:ext>
                </a:extLst>
              </a:tr>
            </a:tbl>
          </a:graphicData>
        </a:graphic>
      </p:graphicFrame>
      <p:sp>
        <p:nvSpPr>
          <p:cNvPr id="4" name="文本框 3">
            <a:extLst>
              <a:ext uri="{FF2B5EF4-FFF2-40B4-BE49-F238E27FC236}">
                <a16:creationId xmlns:a16="http://schemas.microsoft.com/office/drawing/2014/main" id="{E38DB986-C0B5-4946-99B7-5C263772D852}"/>
              </a:ext>
            </a:extLst>
          </p:cNvPr>
          <p:cNvSpPr txBox="1"/>
          <p:nvPr/>
        </p:nvSpPr>
        <p:spPr>
          <a:xfrm>
            <a:off x="10718800" y="3276600"/>
            <a:ext cx="5265057" cy="1815882"/>
          </a:xfrm>
          <a:prstGeom prst="rect">
            <a:avLst/>
          </a:prstGeom>
          <a:noFill/>
        </p:spPr>
        <p:txBody>
          <a:bodyPr wrap="square" rtlCol="0">
            <a:spAutoFit/>
          </a:bodyPr>
          <a:lstStyle/>
          <a:p>
            <a:r>
              <a:rPr lang="en-US" altLang="zh-HK" sz="2800" dirty="0">
                <a:solidFill>
                  <a:srgbClr val="232F47"/>
                </a:solidFill>
                <a:latin typeface="Times New Roman" panose="02020603050405020304" pitchFamily="18" charset="0"/>
                <a:cs typeface="Times New Roman" panose="02020603050405020304" pitchFamily="18" charset="0"/>
              </a:rPr>
              <a:t>T</a:t>
            </a:r>
            <a:r>
              <a:rPr lang="en-US" altLang="zh-HK" sz="2800" dirty="0">
                <a:solidFill>
                  <a:srgbClr val="232F47"/>
                </a:solidFill>
                <a:effectLst/>
                <a:latin typeface="Times New Roman" panose="02020603050405020304" pitchFamily="18" charset="0"/>
                <a:cs typeface="Times New Roman" panose="02020603050405020304" pitchFamily="18" charset="0"/>
              </a:rPr>
              <a:t>he number of transactions and costs brought by transactions are reduced, and the rate of return (per trade) is significantly increased.</a:t>
            </a:r>
            <a:endParaRPr lang="zh-HK" altLang="en-US" sz="2800" dirty="0">
              <a:solidFill>
                <a:srgbClr val="232F47"/>
              </a:solidFill>
              <a:latin typeface="Times New Roman" panose="02020603050405020304" pitchFamily="18" charset="0"/>
              <a:cs typeface="Times New Roman" panose="02020603050405020304" pitchFamily="18" charset="0"/>
            </a:endParaRPr>
          </a:p>
        </p:txBody>
      </p:sp>
      <p:pic>
        <p:nvPicPr>
          <p:cNvPr id="6" name="图形 5" descr="竖起的大拇指手势 ">
            <a:extLst>
              <a:ext uri="{FF2B5EF4-FFF2-40B4-BE49-F238E27FC236}">
                <a16:creationId xmlns:a16="http://schemas.microsoft.com/office/drawing/2014/main" id="{65F43782-FB98-4C91-BFFD-12B4300D5C2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95000" y="2438400"/>
            <a:ext cx="914400" cy="914400"/>
          </a:xfrm>
          <a:prstGeom prst="rect">
            <a:avLst/>
          </a:prstGeom>
        </p:spPr>
      </p:pic>
    </p:spTree>
    <p:extLst>
      <p:ext uri="{BB962C8B-B14F-4D97-AF65-F5344CB8AC3E}">
        <p14:creationId xmlns:p14="http://schemas.microsoft.com/office/powerpoint/2010/main" val="313905419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8"/>
          <p:cNvSpPr txBox="1"/>
          <p:nvPr/>
        </p:nvSpPr>
        <p:spPr>
          <a:xfrm>
            <a:off x="4394200" y="743712"/>
            <a:ext cx="11264900" cy="609600"/>
          </a:xfrm>
          <a:prstGeom prst="rect">
            <a:avLst/>
          </a:prstGeom>
        </p:spPr>
        <p:txBody>
          <a:bodyPr lIns="0" tIns="0" rIns="0" bIns="0" rtlCol="0" anchor="t"/>
          <a:lstStyle/>
          <a:p>
            <a:pPr algn="r">
              <a:lnSpc>
                <a:spcPct val="90000"/>
              </a:lnSpc>
            </a:pPr>
            <a:r>
              <a:rPr lang="en-US" sz="4000" b="1" dirty="0">
                <a:solidFill>
                  <a:srgbClr val="232F47"/>
                </a:solidFill>
                <a:latin typeface="Times New Roman" panose="02020603050405020304" pitchFamily="18" charset="0"/>
                <a:cs typeface="Times New Roman" panose="02020603050405020304" pitchFamily="18" charset="0"/>
              </a:rPr>
              <a:t>Optimization </a:t>
            </a:r>
            <a:r>
              <a:rPr lang="en-US" altLang="zh-CN" sz="4000" b="1" dirty="0">
                <a:solidFill>
                  <a:srgbClr val="232F47"/>
                </a:solidFill>
                <a:latin typeface="Times New Roman" panose="02020603050405020304" pitchFamily="18" charset="0"/>
                <a:cs typeface="Times New Roman" panose="02020603050405020304" pitchFamily="18" charset="0"/>
              </a:rPr>
              <a:t>B</a:t>
            </a:r>
            <a:r>
              <a:rPr lang="en-US" sz="4000" b="1" dirty="0">
                <a:solidFill>
                  <a:srgbClr val="232F47"/>
                </a:solidFill>
                <a:latin typeface="Times New Roman" panose="02020603050405020304" pitchFamily="18" charset="0"/>
                <a:cs typeface="Times New Roman" panose="02020603050405020304" pitchFamily="18" charset="0"/>
              </a:rPr>
              <a:t>ased on </a:t>
            </a:r>
            <a:r>
              <a:rPr lang="en-US" altLang="zh-CN" sz="4000" b="1" dirty="0">
                <a:solidFill>
                  <a:srgbClr val="232F47"/>
                </a:solidFill>
                <a:latin typeface="Times New Roman" panose="02020603050405020304" pitchFamily="18" charset="0"/>
                <a:cs typeface="Times New Roman" panose="02020603050405020304" pitchFamily="18" charset="0"/>
              </a:rPr>
              <a:t>Turnover Rate T</a:t>
            </a:r>
            <a:r>
              <a:rPr lang="en-US" sz="4000" b="1" dirty="0">
                <a:solidFill>
                  <a:srgbClr val="232F47"/>
                </a:solidFill>
                <a:latin typeface="Times New Roman" panose="02020603050405020304" pitchFamily="18" charset="0"/>
                <a:cs typeface="Times New Roman" panose="02020603050405020304" pitchFamily="18" charset="0"/>
              </a:rPr>
              <a:t>rends</a:t>
            </a:r>
          </a:p>
        </p:txBody>
      </p:sp>
      <p:pic>
        <p:nvPicPr>
          <p:cNvPr id="9" name="Picture 17">
            <a:extLst>
              <a:ext uri="{FF2B5EF4-FFF2-40B4-BE49-F238E27FC236}">
                <a16:creationId xmlns:a16="http://schemas.microsoft.com/office/drawing/2014/main" id="{B4C4579D-BC98-4E93-A2EF-80D55D4B7828}"/>
              </a:ext>
            </a:extLst>
          </p:cNvPr>
          <p:cNvPicPr>
            <a:picLocks noChangeAspect="1"/>
          </p:cNvPicPr>
          <p:nvPr/>
        </p:nvPicPr>
        <p:blipFill>
          <a:blip r:embed="rId2"/>
          <a:stretch>
            <a:fillRect/>
          </a:stretch>
        </p:blipFill>
        <p:spPr>
          <a:xfrm>
            <a:off x="13119100" y="533400"/>
            <a:ext cx="2540000" cy="101600"/>
          </a:xfrm>
          <a:prstGeom prst="rect">
            <a:avLst/>
          </a:prstGeom>
        </p:spPr>
      </p:pic>
      <p:sp>
        <p:nvSpPr>
          <p:cNvPr id="2" name="文本框 1">
            <a:extLst>
              <a:ext uri="{FF2B5EF4-FFF2-40B4-BE49-F238E27FC236}">
                <a16:creationId xmlns:a16="http://schemas.microsoft.com/office/drawing/2014/main" id="{F112A98F-D9CF-4272-9599-2B6F7571DA90}"/>
              </a:ext>
            </a:extLst>
          </p:cNvPr>
          <p:cNvSpPr txBox="1"/>
          <p:nvPr/>
        </p:nvSpPr>
        <p:spPr>
          <a:xfrm>
            <a:off x="1727200" y="1290447"/>
            <a:ext cx="14097000" cy="1204976"/>
          </a:xfrm>
          <a:prstGeom prst="rect">
            <a:avLst/>
          </a:prstGeom>
        </p:spPr>
        <p:txBody>
          <a:bodyPr lIns="0" tIns="0" rIns="0" bIns="0" rtlCol="0" anchor="t"/>
          <a:lstStyle>
            <a:defPPr>
              <a:defRPr lang="en-US"/>
            </a:defPPr>
            <a:lvl1pPr algn="r">
              <a:lnSpc>
                <a:spcPct val="90000"/>
              </a:lnSpc>
              <a:defRPr sz="4000" b="1">
                <a:solidFill>
                  <a:srgbClr val="232F47"/>
                </a:solidFill>
                <a:latin typeface="Times New Roman" panose="02020603050405020304" pitchFamily="18" charset="0"/>
                <a:cs typeface="Times New Roman" panose="02020603050405020304" pitchFamily="18" charset="0"/>
              </a:defRPr>
            </a:lvl1pPr>
          </a:lstStyle>
          <a:p>
            <a:pPr algn="l"/>
            <a:r>
              <a:rPr lang="en-US" altLang="zh-HK" sz="2800" b="0" dirty="0"/>
              <a:t>In addition to the daily closing price, the state of the market can also be inferred from the turnover rate. According to the previous analysis, when the turnover rate rises, it is generally a bull market, and when the turnover rate falls, it is generally a bear market.</a:t>
            </a:r>
            <a:endParaRPr lang="zh-HK" altLang="en-US" sz="2400" b="0" dirty="0"/>
          </a:p>
        </p:txBody>
      </p:sp>
      <p:pic>
        <p:nvPicPr>
          <p:cNvPr id="19" name="Picture 3">
            <a:extLst>
              <a:ext uri="{FF2B5EF4-FFF2-40B4-BE49-F238E27FC236}">
                <a16:creationId xmlns:a16="http://schemas.microsoft.com/office/drawing/2014/main" id="{0891A6F2-237F-4770-8FAE-F32F796DE921}"/>
              </a:ext>
            </a:extLst>
          </p:cNvPr>
          <p:cNvPicPr preferRelativeResize="0">
            <a:picLocks/>
          </p:cNvPicPr>
          <p:nvPr/>
        </p:nvPicPr>
        <p:blipFill>
          <a:blip r:embed="rId3"/>
          <a:stretch>
            <a:fillRect/>
          </a:stretch>
        </p:blipFill>
        <p:spPr>
          <a:xfrm>
            <a:off x="199472" y="2611719"/>
            <a:ext cx="7584985" cy="1365605"/>
          </a:xfrm>
          <a:prstGeom prst="rect">
            <a:avLst/>
          </a:prstGeom>
        </p:spPr>
      </p:pic>
      <p:pic>
        <p:nvPicPr>
          <p:cNvPr id="20" name="Picture 5">
            <a:extLst>
              <a:ext uri="{FF2B5EF4-FFF2-40B4-BE49-F238E27FC236}">
                <a16:creationId xmlns:a16="http://schemas.microsoft.com/office/drawing/2014/main" id="{CBED3D65-F391-4ED1-9E2F-0F4A57699E4E}"/>
              </a:ext>
            </a:extLst>
          </p:cNvPr>
          <p:cNvPicPr preferRelativeResize="0">
            <a:picLocks/>
          </p:cNvPicPr>
          <p:nvPr/>
        </p:nvPicPr>
        <p:blipFill>
          <a:blip r:embed="rId4"/>
          <a:stretch>
            <a:fillRect/>
          </a:stretch>
        </p:blipFill>
        <p:spPr>
          <a:xfrm>
            <a:off x="199470" y="3951474"/>
            <a:ext cx="7584987" cy="1721669"/>
          </a:xfrm>
          <a:prstGeom prst="rect">
            <a:avLst/>
          </a:prstGeom>
        </p:spPr>
      </p:pic>
      <p:pic>
        <p:nvPicPr>
          <p:cNvPr id="21" name="Picture 3">
            <a:extLst>
              <a:ext uri="{FF2B5EF4-FFF2-40B4-BE49-F238E27FC236}">
                <a16:creationId xmlns:a16="http://schemas.microsoft.com/office/drawing/2014/main" id="{7A53E7B5-A14B-4FB2-B2F0-A58C69C7EBAE}"/>
              </a:ext>
            </a:extLst>
          </p:cNvPr>
          <p:cNvPicPr preferRelativeResize="0">
            <a:picLocks/>
          </p:cNvPicPr>
          <p:nvPr/>
        </p:nvPicPr>
        <p:blipFill>
          <a:blip r:embed="rId3"/>
          <a:stretch>
            <a:fillRect/>
          </a:stretch>
        </p:blipFill>
        <p:spPr>
          <a:xfrm>
            <a:off x="206375" y="5654124"/>
            <a:ext cx="7584985" cy="1266230"/>
          </a:xfrm>
          <a:prstGeom prst="rect">
            <a:avLst/>
          </a:prstGeom>
        </p:spPr>
      </p:pic>
      <p:sp>
        <p:nvSpPr>
          <p:cNvPr id="25" name="文本框 1147">
            <a:extLst>
              <a:ext uri="{FF2B5EF4-FFF2-40B4-BE49-F238E27FC236}">
                <a16:creationId xmlns:a16="http://schemas.microsoft.com/office/drawing/2014/main" id="{D98277AF-C1F0-4C7F-BA68-6B9334877535}"/>
              </a:ext>
            </a:extLst>
          </p:cNvPr>
          <p:cNvSpPr txBox="1"/>
          <p:nvPr/>
        </p:nvSpPr>
        <p:spPr>
          <a:xfrm>
            <a:off x="280975" y="3992011"/>
            <a:ext cx="7624410" cy="1687963"/>
          </a:xfrm>
          <a:prstGeom prst="rect">
            <a:avLst/>
          </a:prstGeom>
          <a:noFill/>
        </p:spPr>
        <p:txBody>
          <a:bodyPr wrap="square" rtlCol="0">
            <a:spAutoFit/>
          </a:bodyPr>
          <a:lstStyle/>
          <a:p>
            <a:pPr algn="ctr">
              <a:lnSpc>
                <a:spcPct val="150000"/>
              </a:lnSpc>
            </a:pPr>
            <a:r>
              <a:rPr kumimoji="1" lang="en-US" sz="2400" b="1" dirty="0">
                <a:solidFill>
                  <a:schemeClr val="bg1"/>
                </a:solidFill>
                <a:latin typeface="Times New Roman" panose="02020603050405020304" pitchFamily="18" charset="0"/>
                <a:cs typeface="Times New Roman" panose="02020603050405020304" pitchFamily="18" charset="0"/>
              </a:rPr>
              <a:t>2. If the indicator sends a buy signal and the correlation between the </a:t>
            </a:r>
            <a:r>
              <a:rPr kumimoji="1" lang="en-US" sz="2400" b="1" dirty="0">
                <a:solidFill>
                  <a:srgbClr val="C00000"/>
                </a:solidFill>
                <a:latin typeface="Times New Roman" panose="02020603050405020304" pitchFamily="18" charset="0"/>
                <a:cs typeface="Times New Roman" panose="02020603050405020304" pitchFamily="18" charset="0"/>
              </a:rPr>
              <a:t>turnover rate </a:t>
            </a:r>
            <a:r>
              <a:rPr kumimoji="1" lang="en-US" sz="2400" b="1" dirty="0">
                <a:solidFill>
                  <a:schemeClr val="bg1"/>
                </a:solidFill>
                <a:latin typeface="Times New Roman" panose="02020603050405020304" pitchFamily="18" charset="0"/>
                <a:cs typeface="Times New Roman" panose="02020603050405020304" pitchFamily="18" charset="0"/>
              </a:rPr>
              <a:t>and the corrected standard score of the previous 10 days is positive, buy.</a:t>
            </a:r>
          </a:p>
        </p:txBody>
      </p:sp>
      <p:sp>
        <p:nvSpPr>
          <p:cNvPr id="26" name="文本框 1146">
            <a:extLst>
              <a:ext uri="{FF2B5EF4-FFF2-40B4-BE49-F238E27FC236}">
                <a16:creationId xmlns:a16="http://schemas.microsoft.com/office/drawing/2014/main" id="{A8AB6705-CADF-4A6D-A0BC-F0F23A026A31}"/>
              </a:ext>
            </a:extLst>
          </p:cNvPr>
          <p:cNvSpPr txBox="1"/>
          <p:nvPr/>
        </p:nvSpPr>
        <p:spPr>
          <a:xfrm>
            <a:off x="1062200" y="2939141"/>
            <a:ext cx="6266986" cy="579967"/>
          </a:xfrm>
          <a:prstGeom prst="rect">
            <a:avLst/>
          </a:prstGeom>
          <a:noFill/>
        </p:spPr>
        <p:txBody>
          <a:bodyPr wrap="square" rtlCol="0">
            <a:spAutoFit/>
          </a:bodyPr>
          <a:lstStyle/>
          <a:p>
            <a:pPr>
              <a:lnSpc>
                <a:spcPct val="150000"/>
              </a:lnSpc>
            </a:pPr>
            <a:r>
              <a:rPr kumimoji="1" lang="en-US" sz="2400" b="1" dirty="0">
                <a:solidFill>
                  <a:schemeClr val="bg1"/>
                </a:solidFill>
                <a:latin typeface="Times New Roman" panose="02020603050405020304" pitchFamily="18" charset="0"/>
                <a:cs typeface="Times New Roman" panose="02020603050405020304" pitchFamily="18" charset="0"/>
              </a:rPr>
              <a:t>1. Calculate RSRS index buy and sell signals.</a:t>
            </a:r>
          </a:p>
        </p:txBody>
      </p:sp>
      <p:grpSp>
        <p:nvGrpSpPr>
          <p:cNvPr id="39" name="组合 38">
            <a:extLst>
              <a:ext uri="{FF2B5EF4-FFF2-40B4-BE49-F238E27FC236}">
                <a16:creationId xmlns:a16="http://schemas.microsoft.com/office/drawing/2014/main" id="{931EB73C-373B-4831-B6DD-2FA36B4D9F4F}"/>
              </a:ext>
            </a:extLst>
          </p:cNvPr>
          <p:cNvGrpSpPr/>
          <p:nvPr/>
        </p:nvGrpSpPr>
        <p:grpSpPr>
          <a:xfrm>
            <a:off x="836383" y="1300489"/>
            <a:ext cx="725717" cy="720692"/>
            <a:chOff x="862141" y="1296826"/>
            <a:chExt cx="820300" cy="838200"/>
          </a:xfrm>
        </p:grpSpPr>
        <p:sp>
          <p:nvSpPr>
            <p:cNvPr id="12" name="椭圆 11">
              <a:extLst>
                <a:ext uri="{FF2B5EF4-FFF2-40B4-BE49-F238E27FC236}">
                  <a16:creationId xmlns:a16="http://schemas.microsoft.com/office/drawing/2014/main" id="{69F5498D-C674-47BA-BF2D-480B1087BDFB}"/>
                </a:ext>
              </a:extLst>
            </p:cNvPr>
            <p:cNvSpPr/>
            <p:nvPr/>
          </p:nvSpPr>
          <p:spPr>
            <a:xfrm>
              <a:off x="862141" y="1296826"/>
              <a:ext cx="820300" cy="838200"/>
            </a:xfrm>
            <a:prstGeom prst="ellipse">
              <a:avLst/>
            </a:prstGeom>
            <a:solidFill>
              <a:srgbClr val="BA9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pic>
          <p:nvPicPr>
            <p:cNvPr id="15" name="图形 14" descr="叹号">
              <a:extLst>
                <a:ext uri="{FF2B5EF4-FFF2-40B4-BE49-F238E27FC236}">
                  <a16:creationId xmlns:a16="http://schemas.microsoft.com/office/drawing/2014/main" id="{5A91E4DE-539F-4F97-B4E0-31C748FE6E8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40655" y="1373739"/>
              <a:ext cx="684374" cy="684374"/>
            </a:xfrm>
            <a:prstGeom prst="rect">
              <a:avLst/>
            </a:prstGeom>
          </p:spPr>
        </p:pic>
      </p:grpSp>
      <p:sp>
        <p:nvSpPr>
          <p:cNvPr id="41" name="文本框 40">
            <a:extLst>
              <a:ext uri="{FF2B5EF4-FFF2-40B4-BE49-F238E27FC236}">
                <a16:creationId xmlns:a16="http://schemas.microsoft.com/office/drawing/2014/main" id="{78183423-933E-4DCB-A898-A99CC712DBEC}"/>
              </a:ext>
            </a:extLst>
          </p:cNvPr>
          <p:cNvSpPr txBox="1"/>
          <p:nvPr/>
        </p:nvSpPr>
        <p:spPr>
          <a:xfrm>
            <a:off x="508000" y="5970806"/>
            <a:ext cx="6680200" cy="587148"/>
          </a:xfrm>
          <a:prstGeom prst="rect">
            <a:avLst/>
          </a:prstGeom>
          <a:noFill/>
        </p:spPr>
        <p:txBody>
          <a:bodyPr wrap="square" rtlCol="0">
            <a:spAutoFit/>
          </a:bodyPr>
          <a:lstStyle>
            <a:defPPr>
              <a:defRPr lang="en-US"/>
            </a:defPPr>
            <a:lvl1pPr algn="ctr">
              <a:lnSpc>
                <a:spcPct val="150000"/>
              </a:lnSpc>
              <a:defRPr kumimoji="1" sz="2400" b="1">
                <a:solidFill>
                  <a:schemeClr val="bg1"/>
                </a:solidFill>
                <a:latin typeface="Times New Roman" panose="02020603050405020304" pitchFamily="18" charset="0"/>
                <a:cs typeface="Times New Roman" panose="02020603050405020304" pitchFamily="18" charset="0"/>
              </a:defRPr>
            </a:lvl1pPr>
          </a:lstStyle>
          <a:p>
            <a:r>
              <a:rPr lang="en-US" altLang="zh-HK" dirty="0"/>
              <a:t>3. If the RSRS sends a sell signal, sell.</a:t>
            </a:r>
            <a:endParaRPr lang="zh-TW" altLang="zh-HK" dirty="0"/>
          </a:p>
        </p:txBody>
      </p:sp>
      <p:pic>
        <p:nvPicPr>
          <p:cNvPr id="43" name="Picture 5">
            <a:extLst>
              <a:ext uri="{FF2B5EF4-FFF2-40B4-BE49-F238E27FC236}">
                <a16:creationId xmlns:a16="http://schemas.microsoft.com/office/drawing/2014/main" id="{0498F1A0-0AD7-40C7-9CAE-19FE0D9C62DD}"/>
              </a:ext>
            </a:extLst>
          </p:cNvPr>
          <p:cNvPicPr preferRelativeResize="0">
            <a:picLocks/>
          </p:cNvPicPr>
          <p:nvPr/>
        </p:nvPicPr>
        <p:blipFill>
          <a:blip r:embed="rId4"/>
          <a:stretch>
            <a:fillRect/>
          </a:stretch>
        </p:blipFill>
        <p:spPr>
          <a:xfrm>
            <a:off x="214618" y="6900017"/>
            <a:ext cx="7584987" cy="1429173"/>
          </a:xfrm>
          <a:prstGeom prst="rect">
            <a:avLst/>
          </a:prstGeom>
        </p:spPr>
      </p:pic>
      <p:pic>
        <p:nvPicPr>
          <p:cNvPr id="50" name="Picture 3">
            <a:extLst>
              <a:ext uri="{FF2B5EF4-FFF2-40B4-BE49-F238E27FC236}">
                <a16:creationId xmlns:a16="http://schemas.microsoft.com/office/drawing/2014/main" id="{71429EA2-F0D4-4034-A12D-D879261F0CEF}"/>
              </a:ext>
            </a:extLst>
          </p:cNvPr>
          <p:cNvPicPr preferRelativeResize="0">
            <a:picLocks/>
          </p:cNvPicPr>
          <p:nvPr/>
        </p:nvPicPr>
        <p:blipFill>
          <a:blip r:embed="rId3"/>
          <a:stretch>
            <a:fillRect/>
          </a:stretch>
        </p:blipFill>
        <p:spPr>
          <a:xfrm>
            <a:off x="8422154" y="2585869"/>
            <a:ext cx="7584985" cy="1365605"/>
          </a:xfrm>
          <a:prstGeom prst="rect">
            <a:avLst/>
          </a:prstGeom>
        </p:spPr>
      </p:pic>
      <p:pic>
        <p:nvPicPr>
          <p:cNvPr id="51" name="Picture 5">
            <a:extLst>
              <a:ext uri="{FF2B5EF4-FFF2-40B4-BE49-F238E27FC236}">
                <a16:creationId xmlns:a16="http://schemas.microsoft.com/office/drawing/2014/main" id="{08491528-7190-4882-921C-A25878174C04}"/>
              </a:ext>
            </a:extLst>
          </p:cNvPr>
          <p:cNvPicPr preferRelativeResize="0">
            <a:picLocks/>
          </p:cNvPicPr>
          <p:nvPr/>
        </p:nvPicPr>
        <p:blipFill>
          <a:blip r:embed="rId4"/>
          <a:stretch>
            <a:fillRect/>
          </a:stretch>
        </p:blipFill>
        <p:spPr>
          <a:xfrm>
            <a:off x="8422152" y="3925624"/>
            <a:ext cx="7584987" cy="1721669"/>
          </a:xfrm>
          <a:prstGeom prst="rect">
            <a:avLst/>
          </a:prstGeom>
        </p:spPr>
      </p:pic>
      <p:pic>
        <p:nvPicPr>
          <p:cNvPr id="52" name="Picture 3">
            <a:extLst>
              <a:ext uri="{FF2B5EF4-FFF2-40B4-BE49-F238E27FC236}">
                <a16:creationId xmlns:a16="http://schemas.microsoft.com/office/drawing/2014/main" id="{19BA7BC5-49BC-46FB-BF5B-369D2A62C19F}"/>
              </a:ext>
            </a:extLst>
          </p:cNvPr>
          <p:cNvPicPr preferRelativeResize="0">
            <a:picLocks/>
          </p:cNvPicPr>
          <p:nvPr/>
        </p:nvPicPr>
        <p:blipFill>
          <a:blip r:embed="rId3"/>
          <a:stretch>
            <a:fillRect/>
          </a:stretch>
        </p:blipFill>
        <p:spPr>
          <a:xfrm>
            <a:off x="8405664" y="5633787"/>
            <a:ext cx="7584985" cy="1266230"/>
          </a:xfrm>
          <a:prstGeom prst="rect">
            <a:avLst/>
          </a:prstGeom>
        </p:spPr>
      </p:pic>
      <p:sp>
        <p:nvSpPr>
          <p:cNvPr id="54" name="文本框 1146">
            <a:extLst>
              <a:ext uri="{FF2B5EF4-FFF2-40B4-BE49-F238E27FC236}">
                <a16:creationId xmlns:a16="http://schemas.microsoft.com/office/drawing/2014/main" id="{4CB5746F-C6AC-4002-92A1-ABBA2BCF6A79}"/>
              </a:ext>
            </a:extLst>
          </p:cNvPr>
          <p:cNvSpPr txBox="1"/>
          <p:nvPr/>
        </p:nvSpPr>
        <p:spPr>
          <a:xfrm>
            <a:off x="9284882" y="2913291"/>
            <a:ext cx="6266986" cy="579967"/>
          </a:xfrm>
          <a:prstGeom prst="rect">
            <a:avLst/>
          </a:prstGeom>
          <a:noFill/>
        </p:spPr>
        <p:txBody>
          <a:bodyPr wrap="square" rtlCol="0">
            <a:spAutoFit/>
          </a:bodyPr>
          <a:lstStyle/>
          <a:p>
            <a:pPr>
              <a:lnSpc>
                <a:spcPct val="150000"/>
              </a:lnSpc>
            </a:pPr>
            <a:r>
              <a:rPr kumimoji="1" lang="en-US" sz="2400" b="1" dirty="0">
                <a:solidFill>
                  <a:schemeClr val="bg1"/>
                </a:solidFill>
                <a:latin typeface="Times New Roman" panose="02020603050405020304" pitchFamily="18" charset="0"/>
                <a:cs typeface="Times New Roman" panose="02020603050405020304" pitchFamily="18" charset="0"/>
              </a:rPr>
              <a:t>1. Calculate RSRS index buy and sell signals.</a:t>
            </a:r>
          </a:p>
        </p:txBody>
      </p:sp>
      <p:sp>
        <p:nvSpPr>
          <p:cNvPr id="57" name="文本框 56">
            <a:extLst>
              <a:ext uri="{FF2B5EF4-FFF2-40B4-BE49-F238E27FC236}">
                <a16:creationId xmlns:a16="http://schemas.microsoft.com/office/drawing/2014/main" id="{76F6B6D0-A2A3-45BB-A595-C67BEAF527A8}"/>
              </a:ext>
            </a:extLst>
          </p:cNvPr>
          <p:cNvSpPr txBox="1"/>
          <p:nvPr/>
        </p:nvSpPr>
        <p:spPr>
          <a:xfrm>
            <a:off x="9069015" y="5889499"/>
            <a:ext cx="6356888" cy="587148"/>
          </a:xfrm>
          <a:prstGeom prst="rect">
            <a:avLst/>
          </a:prstGeom>
          <a:noFill/>
        </p:spPr>
        <p:txBody>
          <a:bodyPr wrap="square" rtlCol="0">
            <a:spAutoFit/>
          </a:bodyPr>
          <a:lstStyle>
            <a:defPPr>
              <a:defRPr lang="en-US"/>
            </a:defPPr>
            <a:lvl1pPr algn="ctr">
              <a:lnSpc>
                <a:spcPct val="150000"/>
              </a:lnSpc>
              <a:defRPr kumimoji="1" sz="2400" b="1">
                <a:solidFill>
                  <a:schemeClr val="bg1"/>
                </a:solidFill>
                <a:latin typeface="Times New Roman" panose="02020603050405020304" pitchFamily="18" charset="0"/>
                <a:cs typeface="Times New Roman" panose="02020603050405020304" pitchFamily="18" charset="0"/>
              </a:defRPr>
            </a:lvl1pPr>
          </a:lstStyle>
          <a:p>
            <a:r>
              <a:rPr lang="en-US" altLang="zh-HK" dirty="0"/>
              <a:t>3. If the indicator sends a sell signal, sell.</a:t>
            </a:r>
            <a:endParaRPr lang="zh-TW" altLang="zh-HK" dirty="0"/>
          </a:p>
        </p:txBody>
      </p:sp>
      <p:pic>
        <p:nvPicPr>
          <p:cNvPr id="58" name="Picture 5">
            <a:extLst>
              <a:ext uri="{FF2B5EF4-FFF2-40B4-BE49-F238E27FC236}">
                <a16:creationId xmlns:a16="http://schemas.microsoft.com/office/drawing/2014/main" id="{E806FE3E-397C-4902-A63E-2D269F733586}"/>
              </a:ext>
            </a:extLst>
          </p:cNvPr>
          <p:cNvPicPr preferRelativeResize="0">
            <a:picLocks/>
          </p:cNvPicPr>
          <p:nvPr/>
        </p:nvPicPr>
        <p:blipFill>
          <a:blip r:embed="rId4"/>
          <a:stretch>
            <a:fillRect/>
          </a:stretch>
        </p:blipFill>
        <p:spPr>
          <a:xfrm>
            <a:off x="8400092" y="6871696"/>
            <a:ext cx="7584987" cy="1429173"/>
          </a:xfrm>
          <a:prstGeom prst="rect">
            <a:avLst/>
          </a:prstGeom>
        </p:spPr>
      </p:pic>
      <p:pic>
        <p:nvPicPr>
          <p:cNvPr id="63" name="图形 62" descr="指向右边的反手食指">
            <a:extLst>
              <a:ext uri="{FF2B5EF4-FFF2-40B4-BE49-F238E27FC236}">
                <a16:creationId xmlns:a16="http://schemas.microsoft.com/office/drawing/2014/main" id="{A1DAD56F-0D1E-42D4-852D-63BFD945FA7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809152" y="5097653"/>
            <a:ext cx="637695" cy="637695"/>
          </a:xfrm>
          <a:prstGeom prst="rect">
            <a:avLst/>
          </a:prstGeom>
        </p:spPr>
      </p:pic>
      <mc:AlternateContent xmlns:mc="http://schemas.openxmlformats.org/markup-compatibility/2006" xmlns:a14="http://schemas.microsoft.com/office/drawing/2010/main">
        <mc:Choice Requires="a14">
          <p:sp>
            <p:nvSpPr>
              <p:cNvPr id="27" name="文本框 26">
                <a:extLst>
                  <a:ext uri="{FF2B5EF4-FFF2-40B4-BE49-F238E27FC236}">
                    <a16:creationId xmlns:a16="http://schemas.microsoft.com/office/drawing/2014/main" id="{E732B31D-A20E-4B7C-BB9A-A01E253A6633}"/>
                  </a:ext>
                </a:extLst>
              </p:cNvPr>
              <p:cNvSpPr txBox="1"/>
              <p:nvPr/>
            </p:nvSpPr>
            <p:spPr>
              <a:xfrm>
                <a:off x="-6252" y="7275705"/>
                <a:ext cx="8198864" cy="710194"/>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zh-HK" altLang="en-US" b="1" i="1" smtClean="0">
                          <a:solidFill>
                            <a:schemeClr val="bg1"/>
                          </a:solidFill>
                          <a:latin typeface="Cambria Math" panose="02040503050406030204" pitchFamily="18" charset="0"/>
                        </a:rPr>
                        <m:t>𝒔𝒊𝒈𝒏𝒂𝒍</m:t>
                      </m:r>
                      <m:r>
                        <a:rPr lang="zh-HK" altLang="en-US" b="1" i="0">
                          <a:solidFill>
                            <a:schemeClr val="bg1"/>
                          </a:solidFill>
                          <a:latin typeface="Cambria Math" panose="02040503050406030204" pitchFamily="18" charset="0"/>
                        </a:rPr>
                        <m:t>= </m:t>
                      </m:r>
                      <m:d>
                        <m:dPr>
                          <m:begChr m:val="{"/>
                          <m:endChr m:val=""/>
                          <m:ctrlPr>
                            <a:rPr lang="zh-HK" altLang="en-US" b="1" i="1">
                              <a:solidFill>
                                <a:schemeClr val="bg1"/>
                              </a:solidFill>
                              <a:latin typeface="Cambria Math" panose="02040503050406030204" pitchFamily="18" charset="0"/>
                            </a:rPr>
                          </m:ctrlPr>
                        </m:dPr>
                        <m:e>
                          <m:eqArr>
                            <m:eqArrPr>
                              <m:ctrlPr>
                                <a:rPr lang="zh-HK" altLang="en-US" b="1" i="1">
                                  <a:solidFill>
                                    <a:schemeClr val="bg1"/>
                                  </a:solidFill>
                                  <a:latin typeface="Cambria Math" panose="02040503050406030204" pitchFamily="18" charset="0"/>
                                </a:rPr>
                              </m:ctrlPr>
                            </m:eqArrPr>
                            <m:e>
                              <m:r>
                                <a:rPr lang="zh-HK" altLang="en-US" b="1" i="0">
                                  <a:solidFill>
                                    <a:schemeClr val="bg1"/>
                                  </a:solidFill>
                                  <a:latin typeface="Cambria Math" panose="02040503050406030204" pitchFamily="18" charset="0"/>
                                </a:rPr>
                                <m:t>&amp;</m:t>
                              </m:r>
                              <m:r>
                                <a:rPr lang="zh-HK" altLang="en-US" b="1" i="0">
                                  <a:solidFill>
                                    <a:schemeClr val="bg1"/>
                                  </a:solidFill>
                                  <a:latin typeface="Cambria Math" panose="02040503050406030204" pitchFamily="18" charset="0"/>
                                </a:rPr>
                                <m:t>𝟏</m:t>
                              </m:r>
                              <m:r>
                                <a:rPr lang="zh-HK" altLang="en-US" b="1" i="0">
                                  <a:solidFill>
                                    <a:schemeClr val="bg1"/>
                                  </a:solidFill>
                                  <a:latin typeface="Cambria Math" panose="02040503050406030204" pitchFamily="18" charset="0"/>
                                </a:rPr>
                                <m:t>, </m:t>
                              </m:r>
                              <m:r>
                                <a:rPr lang="zh-HK" altLang="en-US" b="1" i="1">
                                  <a:solidFill>
                                    <a:schemeClr val="bg1"/>
                                  </a:solidFill>
                                  <a:latin typeface="Cambria Math" panose="02040503050406030204" pitchFamily="18" charset="0"/>
                                </a:rPr>
                                <m:t>𝑹𝑺𝑹𝑺</m:t>
                              </m:r>
                              <m:r>
                                <a:rPr lang="zh-HK" altLang="en-US" b="1" i="0">
                                  <a:solidFill>
                                    <a:schemeClr val="bg1"/>
                                  </a:solidFill>
                                  <a:latin typeface="Cambria Math" panose="02040503050406030204" pitchFamily="18" charset="0"/>
                                </a:rPr>
                                <m:t>&gt;</m:t>
                              </m:r>
                              <m:r>
                                <a:rPr lang="zh-HK" altLang="en-US" b="1" i="1">
                                  <a:solidFill>
                                    <a:schemeClr val="bg1"/>
                                  </a:solidFill>
                                  <a:latin typeface="Cambria Math" panose="02040503050406030204" pitchFamily="18" charset="0"/>
                                </a:rPr>
                                <m:t>𝒕𝒉𝒓𝒆𝒔𝒉𝒐𝒍𝒅</m:t>
                              </m:r>
                              <m:r>
                                <a:rPr lang="zh-HK" altLang="en-US" b="1" i="0">
                                  <a:solidFill>
                                    <a:schemeClr val="bg1"/>
                                  </a:solidFill>
                                  <a:latin typeface="Cambria Math" panose="02040503050406030204" pitchFamily="18" charset="0"/>
                                </a:rPr>
                                <m:t> </m:t>
                              </m:r>
                              <m:r>
                                <a:rPr lang="zh-HK" altLang="en-US" b="1" i="1">
                                  <a:solidFill>
                                    <a:schemeClr val="bg1"/>
                                  </a:solidFill>
                                  <a:latin typeface="Cambria Math" panose="02040503050406030204" pitchFamily="18" charset="0"/>
                                </a:rPr>
                                <m:t>𝒂𝒏𝒅</m:t>
                              </m:r>
                              <m:r>
                                <a:rPr lang="zh-HK" altLang="en-US" b="1" i="0">
                                  <a:solidFill>
                                    <a:schemeClr val="bg1"/>
                                  </a:solidFill>
                                  <a:latin typeface="Cambria Math" panose="02040503050406030204" pitchFamily="18" charset="0"/>
                                </a:rPr>
                                <m:t> </m:t>
                              </m:r>
                              <m:r>
                                <a:rPr lang="zh-HK" altLang="en-US" b="1" i="1">
                                  <a:solidFill>
                                    <a:schemeClr val="bg1"/>
                                  </a:solidFill>
                                  <a:latin typeface="Cambria Math" panose="02040503050406030204" pitchFamily="18" charset="0"/>
                                </a:rPr>
                                <m:t>𝑪𝒐𝒓𝒓</m:t>
                              </m:r>
                              <m:d>
                                <m:dPr>
                                  <m:ctrlPr>
                                    <a:rPr lang="zh-HK" altLang="en-US" b="1" i="1">
                                      <a:solidFill>
                                        <a:schemeClr val="bg1"/>
                                      </a:solidFill>
                                      <a:latin typeface="Cambria Math" panose="02040503050406030204" pitchFamily="18" charset="0"/>
                                    </a:rPr>
                                  </m:ctrlPr>
                                </m:dPr>
                                <m:e>
                                  <m:r>
                                    <a:rPr lang="zh-HK" altLang="en-US" b="1" i="1">
                                      <a:solidFill>
                                        <a:schemeClr val="bg1"/>
                                      </a:solidFill>
                                      <a:latin typeface="Cambria Math" panose="02040503050406030204" pitchFamily="18" charset="0"/>
                                    </a:rPr>
                                    <m:t>𝒕𝒖𝒓𝒏𝒐𝒗𝒆𝒓</m:t>
                                  </m:r>
                                  <m:r>
                                    <a:rPr lang="zh-HK" altLang="en-US" b="1" i="0">
                                      <a:solidFill>
                                        <a:schemeClr val="bg1"/>
                                      </a:solidFill>
                                      <a:latin typeface="Cambria Math" panose="02040503050406030204" pitchFamily="18" charset="0"/>
                                    </a:rPr>
                                    <m:t> </m:t>
                                  </m:r>
                                  <m:r>
                                    <a:rPr lang="zh-HK" altLang="en-US" b="1" i="1">
                                      <a:solidFill>
                                        <a:schemeClr val="bg1"/>
                                      </a:solidFill>
                                      <a:latin typeface="Cambria Math" panose="02040503050406030204" pitchFamily="18" charset="0"/>
                                    </a:rPr>
                                    <m:t>𝒓𝒂𝒕𝒆</m:t>
                                  </m:r>
                                  <m:r>
                                    <a:rPr lang="zh-HK" altLang="en-US" b="1" i="0">
                                      <a:solidFill>
                                        <a:schemeClr val="bg1"/>
                                      </a:solidFill>
                                      <a:latin typeface="Cambria Math" panose="02040503050406030204" pitchFamily="18" charset="0"/>
                                    </a:rPr>
                                    <m:t>, </m:t>
                                  </m:r>
                                  <m:r>
                                    <a:rPr lang="zh-HK" altLang="en-US" b="1" i="1">
                                      <a:solidFill>
                                        <a:schemeClr val="bg1"/>
                                      </a:solidFill>
                                      <a:latin typeface="Cambria Math" panose="02040503050406030204" pitchFamily="18" charset="0"/>
                                    </a:rPr>
                                    <m:t>𝑹𝑺𝑹𝑺</m:t>
                                  </m:r>
                                </m:e>
                              </m:d>
                              <m:r>
                                <a:rPr lang="zh-HK" altLang="en-US" b="1" i="0">
                                  <a:solidFill>
                                    <a:schemeClr val="bg1"/>
                                  </a:solidFill>
                                  <a:latin typeface="Cambria Math" panose="02040503050406030204" pitchFamily="18" charset="0"/>
                                </a:rPr>
                                <m:t>&gt;</m:t>
                              </m:r>
                              <m:r>
                                <a:rPr lang="zh-HK" altLang="en-US" b="1" i="0">
                                  <a:solidFill>
                                    <a:schemeClr val="bg1"/>
                                  </a:solidFill>
                                  <a:latin typeface="Cambria Math" panose="02040503050406030204" pitchFamily="18" charset="0"/>
                                </a:rPr>
                                <m:t>𝟎</m:t>
                              </m:r>
                              <m:r>
                                <a:rPr lang="zh-HK" altLang="en-US" b="1" i="0">
                                  <a:solidFill>
                                    <a:schemeClr val="bg1"/>
                                  </a:solidFill>
                                  <a:latin typeface="Cambria Math" panose="02040503050406030204" pitchFamily="18" charset="0"/>
                                </a:rPr>
                                <m:t> </m:t>
                              </m:r>
                            </m:e>
                            <m:e>
                              <m:r>
                                <a:rPr lang="zh-HK" altLang="en-US" b="1" i="0">
                                  <a:solidFill>
                                    <a:schemeClr val="bg1"/>
                                  </a:solidFill>
                                  <a:latin typeface="Cambria Math" panose="02040503050406030204" pitchFamily="18" charset="0"/>
                                </a:rPr>
                                <m:t>&amp;</m:t>
                              </m:r>
                              <m:r>
                                <a:rPr lang="zh-HK" altLang="en-US" b="1" i="0">
                                  <a:solidFill>
                                    <a:schemeClr val="bg1"/>
                                  </a:solidFill>
                                  <a:latin typeface="Cambria Math" panose="02040503050406030204" pitchFamily="18" charset="0"/>
                                </a:rPr>
                                <m:t>𝟎</m:t>
                              </m:r>
                              <m:r>
                                <a:rPr lang="zh-HK" altLang="en-US" b="1" i="0">
                                  <a:solidFill>
                                    <a:schemeClr val="bg1"/>
                                  </a:solidFill>
                                  <a:latin typeface="Cambria Math" panose="02040503050406030204" pitchFamily="18" charset="0"/>
                                </a:rPr>
                                <m:t>,</m:t>
                              </m:r>
                              <m:r>
                                <a:rPr lang="zh-HK" altLang="en-US" b="1" i="1">
                                  <a:solidFill>
                                    <a:schemeClr val="bg1"/>
                                  </a:solidFill>
                                  <a:latin typeface="Cambria Math" panose="02040503050406030204" pitchFamily="18" charset="0"/>
                                </a:rPr>
                                <m:t>𝑹𝑺𝑹𝑺</m:t>
                              </m:r>
                              <m:r>
                                <a:rPr lang="zh-HK" altLang="en-US" b="1" i="0">
                                  <a:solidFill>
                                    <a:schemeClr val="bg1"/>
                                  </a:solidFill>
                                  <a:latin typeface="Cambria Math" panose="02040503050406030204" pitchFamily="18" charset="0"/>
                                </a:rPr>
                                <m:t>&lt;</m:t>
                              </m:r>
                              <m:r>
                                <a:rPr lang="zh-HK" altLang="en-US" b="1" i="1">
                                  <a:solidFill>
                                    <a:schemeClr val="bg1"/>
                                  </a:solidFill>
                                  <a:latin typeface="Cambria Math" panose="02040503050406030204" pitchFamily="18" charset="0"/>
                                </a:rPr>
                                <m:t>𝒕𝒉𝒓𝒆𝒔𝒉𝒐𝒍𝒅</m:t>
                              </m:r>
                            </m:e>
                          </m:eqArr>
                        </m:e>
                      </m:d>
                    </m:oMath>
                  </m:oMathPara>
                </a14:m>
                <a:endParaRPr lang="zh-HK" altLang="en-US" b="1" dirty="0">
                  <a:solidFill>
                    <a:schemeClr val="bg1"/>
                  </a:solidFill>
                </a:endParaRPr>
              </a:p>
            </p:txBody>
          </p:sp>
        </mc:Choice>
        <mc:Fallback xmlns="">
          <p:sp>
            <p:nvSpPr>
              <p:cNvPr id="27" name="文本框 26">
                <a:extLst>
                  <a:ext uri="{FF2B5EF4-FFF2-40B4-BE49-F238E27FC236}">
                    <a16:creationId xmlns:a16="http://schemas.microsoft.com/office/drawing/2014/main" id="{E732B31D-A20E-4B7C-BB9A-A01E253A6633}"/>
                  </a:ext>
                </a:extLst>
              </p:cNvPr>
              <p:cNvSpPr txBox="1">
                <a:spLocks noRot="1" noChangeAspect="1" noMove="1" noResize="1" noEditPoints="1" noAdjustHandles="1" noChangeArrowheads="1" noChangeShapeType="1" noTextEdit="1"/>
              </p:cNvSpPr>
              <p:nvPr/>
            </p:nvSpPr>
            <p:spPr>
              <a:xfrm>
                <a:off x="-6252" y="7275705"/>
                <a:ext cx="8198864" cy="710194"/>
              </a:xfrm>
              <a:prstGeom prst="rect">
                <a:avLst/>
              </a:prstGeom>
              <a:blipFill>
                <a:blip r:embed="rId9"/>
                <a:stretch>
                  <a:fillRect/>
                </a:stretch>
              </a:blipFill>
            </p:spPr>
            <p:txBody>
              <a:bodyPr/>
              <a:lstStyle/>
              <a:p>
                <a:r>
                  <a:rPr lang="zh-HK" altLang="en-US">
                    <a:noFill/>
                  </a:rPr>
                  <a:t> </a:t>
                </a:r>
              </a:p>
            </p:txBody>
          </p:sp>
        </mc:Fallback>
      </mc:AlternateContent>
      <p:sp>
        <p:nvSpPr>
          <p:cNvPr id="28" name="文本框 1147">
            <a:extLst>
              <a:ext uri="{FF2B5EF4-FFF2-40B4-BE49-F238E27FC236}">
                <a16:creationId xmlns:a16="http://schemas.microsoft.com/office/drawing/2014/main" id="{36950CEF-6440-4470-AEAF-52F2E310DCEA}"/>
              </a:ext>
            </a:extLst>
          </p:cNvPr>
          <p:cNvSpPr txBox="1"/>
          <p:nvPr/>
        </p:nvSpPr>
        <p:spPr>
          <a:xfrm>
            <a:off x="8414788" y="3920126"/>
            <a:ext cx="7624410" cy="1687963"/>
          </a:xfrm>
          <a:prstGeom prst="rect">
            <a:avLst/>
          </a:prstGeom>
          <a:noFill/>
        </p:spPr>
        <p:txBody>
          <a:bodyPr wrap="square" rtlCol="0">
            <a:spAutoFit/>
          </a:bodyPr>
          <a:lstStyle/>
          <a:p>
            <a:pPr algn="ctr">
              <a:lnSpc>
                <a:spcPct val="150000"/>
              </a:lnSpc>
            </a:pPr>
            <a:r>
              <a:rPr kumimoji="1" lang="en-US" sz="2400" b="1" dirty="0">
                <a:solidFill>
                  <a:schemeClr val="bg1"/>
                </a:solidFill>
                <a:latin typeface="Times New Roman" panose="02020603050405020304" pitchFamily="18" charset="0"/>
                <a:cs typeface="Times New Roman" panose="02020603050405020304" pitchFamily="18" charset="0"/>
              </a:rPr>
              <a:t>2. If the indicator sends a buy signal and the correlation between the </a:t>
            </a:r>
            <a:r>
              <a:rPr kumimoji="1" lang="en-US" sz="2400" b="1" dirty="0">
                <a:solidFill>
                  <a:srgbClr val="C00000"/>
                </a:solidFill>
                <a:latin typeface="Times New Roman" panose="02020603050405020304" pitchFamily="18" charset="0"/>
                <a:cs typeface="Times New Roman" panose="02020603050405020304" pitchFamily="18" charset="0"/>
              </a:rPr>
              <a:t>market state indicator </a:t>
            </a:r>
            <a:r>
              <a:rPr kumimoji="1" lang="en-US" sz="2400" b="1" dirty="0">
                <a:solidFill>
                  <a:schemeClr val="bg1"/>
                </a:solidFill>
                <a:latin typeface="Times New Roman" panose="02020603050405020304" pitchFamily="18" charset="0"/>
                <a:cs typeface="Times New Roman" panose="02020603050405020304" pitchFamily="18" charset="0"/>
              </a:rPr>
              <a:t>and the corrected standard score of the previous 10 days is positive, buy.</a:t>
            </a:r>
          </a:p>
        </p:txBody>
      </p:sp>
      <mc:AlternateContent xmlns:mc="http://schemas.openxmlformats.org/markup-compatibility/2006" xmlns:a14="http://schemas.microsoft.com/office/drawing/2010/main">
        <mc:Choice Requires="a14">
          <p:sp>
            <p:nvSpPr>
              <p:cNvPr id="29" name="文本框 28">
                <a:extLst>
                  <a:ext uri="{FF2B5EF4-FFF2-40B4-BE49-F238E27FC236}">
                    <a16:creationId xmlns:a16="http://schemas.microsoft.com/office/drawing/2014/main" id="{B855BFD1-E9BE-494E-B631-6D5F39932B2F}"/>
                  </a:ext>
                </a:extLst>
              </p:cNvPr>
              <p:cNvSpPr txBox="1"/>
              <p:nvPr/>
            </p:nvSpPr>
            <p:spPr>
              <a:xfrm>
                <a:off x="8149070" y="7245501"/>
                <a:ext cx="8133548" cy="778868"/>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zh-HK" altLang="en-US" sz="2000" b="1" i="1" smtClean="0">
                          <a:solidFill>
                            <a:schemeClr val="bg1"/>
                          </a:solidFill>
                          <a:latin typeface="Cambria Math" panose="02040503050406030204" pitchFamily="18" charset="0"/>
                        </a:rPr>
                        <m:t>𝒔𝒊𝒈𝒏𝒂𝒍</m:t>
                      </m:r>
                      <m:r>
                        <a:rPr lang="zh-HK" altLang="en-US" sz="2000" b="1" i="0">
                          <a:solidFill>
                            <a:schemeClr val="bg1"/>
                          </a:solidFill>
                          <a:latin typeface="Cambria Math" panose="02040503050406030204" pitchFamily="18" charset="0"/>
                        </a:rPr>
                        <m:t>= </m:t>
                      </m:r>
                      <m:d>
                        <m:dPr>
                          <m:begChr m:val="{"/>
                          <m:endChr m:val=""/>
                          <m:ctrlPr>
                            <a:rPr lang="zh-HK" altLang="en-US" sz="2000" b="1" i="1">
                              <a:solidFill>
                                <a:schemeClr val="bg1"/>
                              </a:solidFill>
                              <a:latin typeface="Cambria Math" panose="02040503050406030204" pitchFamily="18" charset="0"/>
                            </a:rPr>
                          </m:ctrlPr>
                        </m:dPr>
                        <m:e>
                          <m:eqArr>
                            <m:eqArrPr>
                              <m:ctrlPr>
                                <a:rPr lang="zh-HK" altLang="en-US" sz="2000" b="1" i="1">
                                  <a:solidFill>
                                    <a:schemeClr val="bg1"/>
                                  </a:solidFill>
                                  <a:latin typeface="Cambria Math" panose="02040503050406030204" pitchFamily="18" charset="0"/>
                                </a:rPr>
                              </m:ctrlPr>
                            </m:eqArrPr>
                            <m:e>
                              <m:r>
                                <a:rPr lang="zh-HK" altLang="en-US" sz="2000" b="1" i="0">
                                  <a:solidFill>
                                    <a:schemeClr val="bg1"/>
                                  </a:solidFill>
                                  <a:latin typeface="Cambria Math" panose="02040503050406030204" pitchFamily="18" charset="0"/>
                                </a:rPr>
                                <m:t>&amp;</m:t>
                              </m:r>
                              <m:r>
                                <a:rPr lang="zh-HK" altLang="en-US" sz="2000" b="1" i="0">
                                  <a:solidFill>
                                    <a:schemeClr val="bg1"/>
                                  </a:solidFill>
                                  <a:latin typeface="Cambria Math" panose="02040503050406030204" pitchFamily="18" charset="0"/>
                                </a:rPr>
                                <m:t>𝟏</m:t>
                              </m:r>
                              <m:r>
                                <a:rPr lang="zh-HK" altLang="en-US" sz="2000" b="1" i="0">
                                  <a:solidFill>
                                    <a:schemeClr val="bg1"/>
                                  </a:solidFill>
                                  <a:latin typeface="Cambria Math" panose="02040503050406030204" pitchFamily="18" charset="0"/>
                                </a:rPr>
                                <m:t>, </m:t>
                              </m:r>
                              <m:r>
                                <a:rPr lang="zh-HK" altLang="en-US" sz="2000" b="1" i="1">
                                  <a:solidFill>
                                    <a:schemeClr val="bg1"/>
                                  </a:solidFill>
                                  <a:latin typeface="Cambria Math" panose="02040503050406030204" pitchFamily="18" charset="0"/>
                                </a:rPr>
                                <m:t>𝑹𝑺𝑹𝑺</m:t>
                              </m:r>
                              <m:r>
                                <a:rPr lang="zh-HK" altLang="en-US" sz="2000" b="1" i="0">
                                  <a:solidFill>
                                    <a:schemeClr val="bg1"/>
                                  </a:solidFill>
                                  <a:latin typeface="Cambria Math" panose="02040503050406030204" pitchFamily="18" charset="0"/>
                                </a:rPr>
                                <m:t>&gt;</m:t>
                              </m:r>
                              <m:r>
                                <a:rPr lang="zh-HK" altLang="en-US" sz="2000" b="1" i="1">
                                  <a:solidFill>
                                    <a:schemeClr val="bg1"/>
                                  </a:solidFill>
                                  <a:latin typeface="Cambria Math" panose="02040503050406030204" pitchFamily="18" charset="0"/>
                                </a:rPr>
                                <m:t>𝒕𝒉𝒓𝒆𝒔𝒉𝒐𝒍𝒅</m:t>
                              </m:r>
                              <m:r>
                                <a:rPr lang="zh-HK" altLang="en-US" sz="2000" b="1" i="0">
                                  <a:solidFill>
                                    <a:schemeClr val="bg1"/>
                                  </a:solidFill>
                                  <a:latin typeface="Cambria Math" panose="02040503050406030204" pitchFamily="18" charset="0"/>
                                </a:rPr>
                                <m:t> </m:t>
                              </m:r>
                              <m:r>
                                <a:rPr lang="zh-HK" altLang="en-US" sz="2000" b="1" i="1">
                                  <a:solidFill>
                                    <a:schemeClr val="bg1"/>
                                  </a:solidFill>
                                  <a:latin typeface="Cambria Math" panose="02040503050406030204" pitchFamily="18" charset="0"/>
                                </a:rPr>
                                <m:t>𝒂𝒏𝒅</m:t>
                              </m:r>
                              <m:r>
                                <a:rPr lang="zh-HK" altLang="en-US" sz="2000" b="1" i="0">
                                  <a:solidFill>
                                    <a:schemeClr val="bg1"/>
                                  </a:solidFill>
                                  <a:latin typeface="Cambria Math" panose="02040503050406030204" pitchFamily="18" charset="0"/>
                                </a:rPr>
                                <m:t> </m:t>
                              </m:r>
                              <m:r>
                                <a:rPr lang="zh-HK" altLang="en-US" sz="2000" b="1" i="1">
                                  <a:solidFill>
                                    <a:schemeClr val="bg1"/>
                                  </a:solidFill>
                                  <a:latin typeface="Cambria Math" panose="02040503050406030204" pitchFamily="18" charset="0"/>
                                </a:rPr>
                                <m:t>𝑪𝒐𝒓𝒓</m:t>
                              </m:r>
                              <m:d>
                                <m:dPr>
                                  <m:ctrlPr>
                                    <a:rPr lang="zh-HK" altLang="en-US" sz="2000" b="1" i="1">
                                      <a:solidFill>
                                        <a:schemeClr val="bg1"/>
                                      </a:solidFill>
                                      <a:latin typeface="Cambria Math" panose="02040503050406030204" pitchFamily="18" charset="0"/>
                                    </a:rPr>
                                  </m:ctrlPr>
                                </m:dPr>
                                <m:e>
                                  <m:r>
                                    <a:rPr lang="zh-HK" altLang="en-US" sz="2000" b="1" i="1">
                                      <a:solidFill>
                                        <a:schemeClr val="bg1"/>
                                      </a:solidFill>
                                      <a:latin typeface="Cambria Math" panose="02040503050406030204" pitchFamily="18" charset="0"/>
                                    </a:rPr>
                                    <m:t>𝒊𝒏𝒅𝒊𝒄𝒂𝒕𝒐𝒓</m:t>
                                  </m:r>
                                  <m:r>
                                    <a:rPr lang="zh-HK" altLang="en-US" sz="2000" b="1" i="0">
                                      <a:solidFill>
                                        <a:schemeClr val="bg1"/>
                                      </a:solidFill>
                                      <a:latin typeface="Cambria Math" panose="02040503050406030204" pitchFamily="18" charset="0"/>
                                    </a:rPr>
                                    <m:t>, </m:t>
                                  </m:r>
                                  <m:r>
                                    <a:rPr lang="zh-HK" altLang="en-US" sz="2000" b="1" i="1">
                                      <a:solidFill>
                                        <a:schemeClr val="bg1"/>
                                      </a:solidFill>
                                      <a:latin typeface="Cambria Math" panose="02040503050406030204" pitchFamily="18" charset="0"/>
                                    </a:rPr>
                                    <m:t>𝑹𝑺𝑹𝑺</m:t>
                                  </m:r>
                                </m:e>
                              </m:d>
                              <m:r>
                                <a:rPr lang="zh-HK" altLang="en-US" sz="2000" b="1" i="0">
                                  <a:solidFill>
                                    <a:schemeClr val="bg1"/>
                                  </a:solidFill>
                                  <a:latin typeface="Cambria Math" panose="02040503050406030204" pitchFamily="18" charset="0"/>
                                </a:rPr>
                                <m:t>&lt;</m:t>
                              </m:r>
                              <m:r>
                                <a:rPr lang="zh-HK" altLang="en-US" sz="2000" b="1" i="0">
                                  <a:solidFill>
                                    <a:schemeClr val="bg1"/>
                                  </a:solidFill>
                                  <a:latin typeface="Cambria Math" panose="02040503050406030204" pitchFamily="18" charset="0"/>
                                </a:rPr>
                                <m:t>𝟎</m:t>
                              </m:r>
                              <m:r>
                                <a:rPr lang="zh-HK" altLang="en-US" sz="2000" b="1" i="0">
                                  <a:solidFill>
                                    <a:schemeClr val="bg1"/>
                                  </a:solidFill>
                                  <a:latin typeface="Cambria Math" panose="02040503050406030204" pitchFamily="18" charset="0"/>
                                </a:rPr>
                                <m:t> </m:t>
                              </m:r>
                            </m:e>
                            <m:e>
                              <m:r>
                                <a:rPr lang="zh-HK" altLang="en-US" sz="2000" b="1" i="0">
                                  <a:solidFill>
                                    <a:schemeClr val="bg1"/>
                                  </a:solidFill>
                                  <a:latin typeface="Cambria Math" panose="02040503050406030204" pitchFamily="18" charset="0"/>
                                </a:rPr>
                                <m:t>&amp;</m:t>
                              </m:r>
                              <m:r>
                                <a:rPr lang="zh-HK" altLang="en-US" sz="2000" b="1" i="0">
                                  <a:solidFill>
                                    <a:schemeClr val="bg1"/>
                                  </a:solidFill>
                                  <a:latin typeface="Cambria Math" panose="02040503050406030204" pitchFamily="18" charset="0"/>
                                </a:rPr>
                                <m:t>𝟎</m:t>
                              </m:r>
                              <m:r>
                                <a:rPr lang="zh-HK" altLang="en-US" sz="2000" b="1" i="0">
                                  <a:solidFill>
                                    <a:schemeClr val="bg1"/>
                                  </a:solidFill>
                                  <a:latin typeface="Cambria Math" panose="02040503050406030204" pitchFamily="18" charset="0"/>
                                </a:rPr>
                                <m:t>,</m:t>
                              </m:r>
                              <m:r>
                                <a:rPr lang="zh-HK" altLang="en-US" sz="2000" b="1" i="1">
                                  <a:solidFill>
                                    <a:schemeClr val="bg1"/>
                                  </a:solidFill>
                                  <a:latin typeface="Cambria Math" panose="02040503050406030204" pitchFamily="18" charset="0"/>
                                </a:rPr>
                                <m:t>𝑹𝑺𝑹𝑺</m:t>
                              </m:r>
                              <m:r>
                                <a:rPr lang="zh-HK" altLang="en-US" sz="2000" b="1" i="0">
                                  <a:solidFill>
                                    <a:schemeClr val="bg1"/>
                                  </a:solidFill>
                                  <a:latin typeface="Cambria Math" panose="02040503050406030204" pitchFamily="18" charset="0"/>
                                </a:rPr>
                                <m:t>&lt;</m:t>
                              </m:r>
                              <m:r>
                                <a:rPr lang="zh-HK" altLang="en-US" sz="2000" b="1" i="1">
                                  <a:solidFill>
                                    <a:schemeClr val="bg1"/>
                                  </a:solidFill>
                                  <a:latin typeface="Cambria Math" panose="02040503050406030204" pitchFamily="18" charset="0"/>
                                </a:rPr>
                                <m:t>𝒕𝒉𝒓𝒆𝒔𝒉𝒐𝒍𝒅</m:t>
                              </m:r>
                            </m:e>
                          </m:eqArr>
                        </m:e>
                      </m:d>
                    </m:oMath>
                  </m:oMathPara>
                </a14:m>
                <a:endParaRPr lang="zh-HK" altLang="en-US" sz="2000" b="1" dirty="0">
                  <a:solidFill>
                    <a:schemeClr val="bg1"/>
                  </a:solidFill>
                </a:endParaRPr>
              </a:p>
            </p:txBody>
          </p:sp>
        </mc:Choice>
        <mc:Fallback xmlns="">
          <p:sp>
            <p:nvSpPr>
              <p:cNvPr id="29" name="文本框 28">
                <a:extLst>
                  <a:ext uri="{FF2B5EF4-FFF2-40B4-BE49-F238E27FC236}">
                    <a16:creationId xmlns:a16="http://schemas.microsoft.com/office/drawing/2014/main" id="{B855BFD1-E9BE-494E-B631-6D5F39932B2F}"/>
                  </a:ext>
                </a:extLst>
              </p:cNvPr>
              <p:cNvSpPr txBox="1">
                <a:spLocks noRot="1" noChangeAspect="1" noMove="1" noResize="1" noEditPoints="1" noAdjustHandles="1" noChangeArrowheads="1" noChangeShapeType="1" noTextEdit="1"/>
              </p:cNvSpPr>
              <p:nvPr/>
            </p:nvSpPr>
            <p:spPr>
              <a:xfrm>
                <a:off x="8149070" y="7245501"/>
                <a:ext cx="8133548" cy="778868"/>
              </a:xfrm>
              <a:prstGeom prst="rect">
                <a:avLst/>
              </a:prstGeom>
              <a:blipFill>
                <a:blip r:embed="rId10"/>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82973995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8"/>
          <p:cNvSpPr txBox="1"/>
          <p:nvPr/>
        </p:nvSpPr>
        <p:spPr>
          <a:xfrm>
            <a:off x="4394200" y="743712"/>
            <a:ext cx="11264900" cy="609600"/>
          </a:xfrm>
          <a:prstGeom prst="rect">
            <a:avLst/>
          </a:prstGeom>
        </p:spPr>
        <p:txBody>
          <a:bodyPr lIns="0" tIns="0" rIns="0" bIns="0" rtlCol="0" anchor="t"/>
          <a:lstStyle/>
          <a:p>
            <a:pPr algn="r">
              <a:lnSpc>
                <a:spcPct val="90000"/>
              </a:lnSpc>
            </a:pPr>
            <a:r>
              <a:rPr lang="en-US" sz="4000" b="1" dirty="0">
                <a:solidFill>
                  <a:srgbClr val="232F47"/>
                </a:solidFill>
                <a:latin typeface="Times New Roman" panose="02020603050405020304" pitchFamily="18" charset="0"/>
                <a:cs typeface="Times New Roman" panose="02020603050405020304" pitchFamily="18" charset="0"/>
              </a:rPr>
              <a:t>Optimization </a:t>
            </a:r>
            <a:r>
              <a:rPr lang="en-US" altLang="zh-CN" sz="4000" b="1" dirty="0">
                <a:solidFill>
                  <a:srgbClr val="232F47"/>
                </a:solidFill>
                <a:latin typeface="Times New Roman" panose="02020603050405020304" pitchFamily="18" charset="0"/>
                <a:cs typeface="Times New Roman" panose="02020603050405020304" pitchFamily="18" charset="0"/>
              </a:rPr>
              <a:t>B</a:t>
            </a:r>
            <a:r>
              <a:rPr lang="en-US" sz="4000" b="1" dirty="0">
                <a:solidFill>
                  <a:srgbClr val="232F47"/>
                </a:solidFill>
                <a:latin typeface="Times New Roman" panose="02020603050405020304" pitchFamily="18" charset="0"/>
                <a:cs typeface="Times New Roman" panose="02020603050405020304" pitchFamily="18" charset="0"/>
              </a:rPr>
              <a:t>ased on </a:t>
            </a:r>
            <a:r>
              <a:rPr lang="en-US" altLang="zh-CN" sz="4000" b="1" dirty="0">
                <a:solidFill>
                  <a:srgbClr val="232F47"/>
                </a:solidFill>
                <a:latin typeface="Times New Roman" panose="02020603050405020304" pitchFamily="18" charset="0"/>
                <a:cs typeface="Times New Roman" panose="02020603050405020304" pitchFamily="18" charset="0"/>
              </a:rPr>
              <a:t>Turnover Rate T</a:t>
            </a:r>
            <a:r>
              <a:rPr lang="en-US" sz="4000" b="1" dirty="0">
                <a:solidFill>
                  <a:srgbClr val="232F47"/>
                </a:solidFill>
                <a:latin typeface="Times New Roman" panose="02020603050405020304" pitchFamily="18" charset="0"/>
                <a:cs typeface="Times New Roman" panose="02020603050405020304" pitchFamily="18" charset="0"/>
              </a:rPr>
              <a:t>rends</a:t>
            </a:r>
          </a:p>
        </p:txBody>
      </p:sp>
      <p:pic>
        <p:nvPicPr>
          <p:cNvPr id="9" name="Picture 17">
            <a:extLst>
              <a:ext uri="{FF2B5EF4-FFF2-40B4-BE49-F238E27FC236}">
                <a16:creationId xmlns:a16="http://schemas.microsoft.com/office/drawing/2014/main" id="{B4C4579D-BC98-4E93-A2EF-80D55D4B7828}"/>
              </a:ext>
            </a:extLst>
          </p:cNvPr>
          <p:cNvPicPr>
            <a:picLocks noChangeAspect="1"/>
          </p:cNvPicPr>
          <p:nvPr/>
        </p:nvPicPr>
        <p:blipFill>
          <a:blip r:embed="rId2"/>
          <a:stretch>
            <a:fillRect/>
          </a:stretch>
        </p:blipFill>
        <p:spPr>
          <a:xfrm>
            <a:off x="13119100" y="533400"/>
            <a:ext cx="2540000" cy="101600"/>
          </a:xfrm>
          <a:prstGeom prst="rect">
            <a:avLst/>
          </a:prstGeom>
        </p:spPr>
      </p:pic>
      <p:sp>
        <p:nvSpPr>
          <p:cNvPr id="3" name="文本框 2">
            <a:extLst>
              <a:ext uri="{FF2B5EF4-FFF2-40B4-BE49-F238E27FC236}">
                <a16:creationId xmlns:a16="http://schemas.microsoft.com/office/drawing/2014/main" id="{946E9309-CB35-4A05-82F0-97E106CFDE9B}"/>
              </a:ext>
            </a:extLst>
          </p:cNvPr>
          <p:cNvSpPr txBox="1"/>
          <p:nvPr/>
        </p:nvSpPr>
        <p:spPr>
          <a:xfrm>
            <a:off x="3556000" y="1405646"/>
            <a:ext cx="10363200" cy="523220"/>
          </a:xfrm>
          <a:prstGeom prst="rect">
            <a:avLst/>
          </a:prstGeom>
          <a:noFill/>
        </p:spPr>
        <p:txBody>
          <a:bodyPr wrap="square" rtlCol="0">
            <a:spAutoFit/>
          </a:bodyPr>
          <a:lstStyle/>
          <a:p>
            <a:r>
              <a:rPr lang="en-US" altLang="zh-CN" sz="2800" dirty="0">
                <a:latin typeface="Times New Roman" panose="02020603050405020304" pitchFamily="18" charset="0"/>
                <a:cs typeface="Times New Roman" panose="02020603050405020304" pitchFamily="18" charset="0"/>
              </a:rPr>
              <a:t>Figure 19. Trading Strategy Optimization and Result – Turnover Rate</a:t>
            </a:r>
            <a:endParaRPr lang="zh-HK" altLang="en-US" sz="2800" dirty="0">
              <a:latin typeface="Times New Roman" panose="02020603050405020304" pitchFamily="18" charset="0"/>
              <a:cs typeface="Times New Roman" panose="02020603050405020304" pitchFamily="18" charset="0"/>
            </a:endParaRPr>
          </a:p>
        </p:txBody>
      </p:sp>
      <p:graphicFrame>
        <p:nvGraphicFramePr>
          <p:cNvPr id="6" name="图表 5">
            <a:extLst>
              <a:ext uri="{FF2B5EF4-FFF2-40B4-BE49-F238E27FC236}">
                <a16:creationId xmlns:a16="http://schemas.microsoft.com/office/drawing/2014/main" id="{567F2FEC-E608-457E-890E-279E05CE4BDC}"/>
              </a:ext>
            </a:extLst>
          </p:cNvPr>
          <p:cNvGraphicFramePr/>
          <p:nvPr/>
        </p:nvGraphicFramePr>
        <p:xfrm>
          <a:off x="1422400" y="2057401"/>
          <a:ext cx="13792200" cy="634288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3548177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8"/>
          <p:cNvSpPr txBox="1"/>
          <p:nvPr/>
        </p:nvSpPr>
        <p:spPr>
          <a:xfrm>
            <a:off x="4394200" y="743712"/>
            <a:ext cx="11264900" cy="609600"/>
          </a:xfrm>
          <a:prstGeom prst="rect">
            <a:avLst/>
          </a:prstGeom>
        </p:spPr>
        <p:txBody>
          <a:bodyPr lIns="0" tIns="0" rIns="0" bIns="0" rtlCol="0" anchor="t"/>
          <a:lstStyle/>
          <a:p>
            <a:pPr algn="r">
              <a:lnSpc>
                <a:spcPct val="90000"/>
              </a:lnSpc>
            </a:pPr>
            <a:r>
              <a:rPr lang="en-US" sz="4000" b="1" dirty="0">
                <a:solidFill>
                  <a:srgbClr val="232F47"/>
                </a:solidFill>
                <a:latin typeface="Times New Roman" panose="02020603050405020304" pitchFamily="18" charset="0"/>
                <a:cs typeface="Times New Roman" panose="02020603050405020304" pitchFamily="18" charset="0"/>
              </a:rPr>
              <a:t>Optimization </a:t>
            </a:r>
            <a:r>
              <a:rPr lang="en-US" altLang="zh-CN" sz="4000" b="1" dirty="0">
                <a:solidFill>
                  <a:srgbClr val="232F47"/>
                </a:solidFill>
                <a:latin typeface="Times New Roman" panose="02020603050405020304" pitchFamily="18" charset="0"/>
                <a:cs typeface="Times New Roman" panose="02020603050405020304" pitchFamily="18" charset="0"/>
              </a:rPr>
              <a:t>B</a:t>
            </a:r>
            <a:r>
              <a:rPr lang="en-US" sz="4000" b="1" dirty="0">
                <a:solidFill>
                  <a:srgbClr val="232F47"/>
                </a:solidFill>
                <a:latin typeface="Times New Roman" panose="02020603050405020304" pitchFamily="18" charset="0"/>
                <a:cs typeface="Times New Roman" panose="02020603050405020304" pitchFamily="18" charset="0"/>
              </a:rPr>
              <a:t>ased on </a:t>
            </a:r>
            <a:r>
              <a:rPr lang="en-US" altLang="zh-CN" sz="4000" b="1" dirty="0">
                <a:solidFill>
                  <a:srgbClr val="232F47"/>
                </a:solidFill>
                <a:latin typeface="Times New Roman" panose="02020603050405020304" pitchFamily="18" charset="0"/>
                <a:cs typeface="Times New Roman" panose="02020603050405020304" pitchFamily="18" charset="0"/>
              </a:rPr>
              <a:t>Close</a:t>
            </a:r>
            <a:r>
              <a:rPr lang="en-US" sz="4000" b="1" dirty="0">
                <a:solidFill>
                  <a:srgbClr val="232F47"/>
                </a:solidFill>
                <a:latin typeface="Times New Roman" panose="02020603050405020304" pitchFamily="18" charset="0"/>
                <a:cs typeface="Times New Roman" panose="02020603050405020304" pitchFamily="18" charset="0"/>
              </a:rPr>
              <a:t> </a:t>
            </a:r>
            <a:r>
              <a:rPr lang="en-US" altLang="zh-CN" sz="4000" b="1" dirty="0">
                <a:solidFill>
                  <a:srgbClr val="232F47"/>
                </a:solidFill>
                <a:latin typeface="Times New Roman" panose="02020603050405020304" pitchFamily="18" charset="0"/>
                <a:cs typeface="Times New Roman" panose="02020603050405020304" pitchFamily="18" charset="0"/>
              </a:rPr>
              <a:t>P</a:t>
            </a:r>
            <a:r>
              <a:rPr lang="en-US" sz="4000" b="1" dirty="0">
                <a:solidFill>
                  <a:srgbClr val="232F47"/>
                </a:solidFill>
                <a:latin typeface="Times New Roman" panose="02020603050405020304" pitchFamily="18" charset="0"/>
                <a:cs typeface="Times New Roman" panose="02020603050405020304" pitchFamily="18" charset="0"/>
              </a:rPr>
              <a:t>rice </a:t>
            </a:r>
            <a:r>
              <a:rPr lang="en-US" altLang="zh-CN" sz="4000" b="1" dirty="0">
                <a:solidFill>
                  <a:srgbClr val="232F47"/>
                </a:solidFill>
                <a:latin typeface="Times New Roman" panose="02020603050405020304" pitchFamily="18" charset="0"/>
                <a:cs typeface="Times New Roman" panose="02020603050405020304" pitchFamily="18" charset="0"/>
              </a:rPr>
              <a:t>T</a:t>
            </a:r>
            <a:r>
              <a:rPr lang="en-US" sz="4000" b="1" dirty="0">
                <a:solidFill>
                  <a:srgbClr val="232F47"/>
                </a:solidFill>
                <a:latin typeface="Times New Roman" panose="02020603050405020304" pitchFamily="18" charset="0"/>
                <a:cs typeface="Times New Roman" panose="02020603050405020304" pitchFamily="18" charset="0"/>
              </a:rPr>
              <a:t>rends</a:t>
            </a:r>
          </a:p>
        </p:txBody>
      </p:sp>
      <p:pic>
        <p:nvPicPr>
          <p:cNvPr id="9" name="Picture 17">
            <a:extLst>
              <a:ext uri="{FF2B5EF4-FFF2-40B4-BE49-F238E27FC236}">
                <a16:creationId xmlns:a16="http://schemas.microsoft.com/office/drawing/2014/main" id="{B4C4579D-BC98-4E93-A2EF-80D55D4B7828}"/>
              </a:ext>
            </a:extLst>
          </p:cNvPr>
          <p:cNvPicPr>
            <a:picLocks noChangeAspect="1"/>
          </p:cNvPicPr>
          <p:nvPr/>
        </p:nvPicPr>
        <p:blipFill>
          <a:blip r:embed="rId2"/>
          <a:stretch>
            <a:fillRect/>
          </a:stretch>
        </p:blipFill>
        <p:spPr>
          <a:xfrm>
            <a:off x="13119100" y="533400"/>
            <a:ext cx="2540000" cy="101600"/>
          </a:xfrm>
          <a:prstGeom prst="rect">
            <a:avLst/>
          </a:prstGeom>
        </p:spPr>
      </p:pic>
      <p:sp>
        <p:nvSpPr>
          <p:cNvPr id="3" name="文本框 2">
            <a:extLst>
              <a:ext uri="{FF2B5EF4-FFF2-40B4-BE49-F238E27FC236}">
                <a16:creationId xmlns:a16="http://schemas.microsoft.com/office/drawing/2014/main" id="{946E9309-CB35-4A05-82F0-97E106CFDE9B}"/>
              </a:ext>
            </a:extLst>
          </p:cNvPr>
          <p:cNvSpPr txBox="1"/>
          <p:nvPr/>
        </p:nvSpPr>
        <p:spPr>
          <a:xfrm>
            <a:off x="1651000" y="1462024"/>
            <a:ext cx="7924800" cy="461665"/>
          </a:xfrm>
          <a:prstGeom prst="rect">
            <a:avLst/>
          </a:prstGeom>
          <a:noFill/>
        </p:spPr>
        <p:txBody>
          <a:bodyPr wrap="square" rtlCol="0">
            <a:spAutoFit/>
          </a:bodyPr>
          <a:lstStyle/>
          <a:p>
            <a:r>
              <a:rPr lang="en-US" altLang="zh-CN" sz="2400" dirty="0">
                <a:latin typeface="Times New Roman" panose="02020603050405020304" pitchFamily="18" charset="0"/>
                <a:cs typeface="Times New Roman" panose="02020603050405020304" pitchFamily="18" charset="0"/>
              </a:rPr>
              <a:t>Table Trading Strategy Optimization and Result - Close Price </a:t>
            </a:r>
            <a:endParaRPr lang="zh-HK" altLang="en-US" sz="2400" dirty="0">
              <a:latin typeface="Times New Roman" panose="02020603050405020304" pitchFamily="18" charset="0"/>
              <a:cs typeface="Times New Roman" panose="02020603050405020304" pitchFamily="18" charset="0"/>
            </a:endParaRPr>
          </a:p>
        </p:txBody>
      </p:sp>
      <p:sp>
        <p:nvSpPr>
          <p:cNvPr id="4" name="文本框 3">
            <a:extLst>
              <a:ext uri="{FF2B5EF4-FFF2-40B4-BE49-F238E27FC236}">
                <a16:creationId xmlns:a16="http://schemas.microsoft.com/office/drawing/2014/main" id="{E38DB986-C0B5-4946-99B7-5C263772D852}"/>
              </a:ext>
            </a:extLst>
          </p:cNvPr>
          <p:cNvSpPr txBox="1"/>
          <p:nvPr/>
        </p:nvSpPr>
        <p:spPr>
          <a:xfrm>
            <a:off x="10718800" y="3276600"/>
            <a:ext cx="5265057" cy="1815882"/>
          </a:xfrm>
          <a:prstGeom prst="rect">
            <a:avLst/>
          </a:prstGeom>
          <a:noFill/>
        </p:spPr>
        <p:txBody>
          <a:bodyPr wrap="square" rtlCol="0">
            <a:spAutoFit/>
          </a:bodyPr>
          <a:lstStyle/>
          <a:p>
            <a:r>
              <a:rPr lang="en-US" altLang="zh-HK" sz="2800" dirty="0">
                <a:solidFill>
                  <a:srgbClr val="232F47"/>
                </a:solidFill>
                <a:latin typeface="Times New Roman" panose="02020603050405020304" pitchFamily="18" charset="0"/>
                <a:cs typeface="Times New Roman" panose="02020603050405020304" pitchFamily="18" charset="0"/>
              </a:rPr>
              <a:t>T</a:t>
            </a:r>
            <a:r>
              <a:rPr lang="en-US" altLang="zh-HK" sz="2800" dirty="0">
                <a:solidFill>
                  <a:srgbClr val="232F47"/>
                </a:solidFill>
                <a:effectLst/>
                <a:latin typeface="Times New Roman" panose="02020603050405020304" pitchFamily="18" charset="0"/>
                <a:cs typeface="Times New Roman" panose="02020603050405020304" pitchFamily="18" charset="0"/>
              </a:rPr>
              <a:t>he number of transactions and costs brought by transactions are reduced, and the rate of return (per trade) is significantly increased.</a:t>
            </a:r>
            <a:endParaRPr lang="zh-HK" altLang="en-US" sz="2800" dirty="0">
              <a:solidFill>
                <a:srgbClr val="232F47"/>
              </a:solidFill>
              <a:latin typeface="Times New Roman" panose="02020603050405020304" pitchFamily="18" charset="0"/>
              <a:cs typeface="Times New Roman" panose="02020603050405020304" pitchFamily="18" charset="0"/>
            </a:endParaRPr>
          </a:p>
        </p:txBody>
      </p:sp>
      <p:pic>
        <p:nvPicPr>
          <p:cNvPr id="6" name="图形 5" descr="竖起的大拇指手势 ">
            <a:extLst>
              <a:ext uri="{FF2B5EF4-FFF2-40B4-BE49-F238E27FC236}">
                <a16:creationId xmlns:a16="http://schemas.microsoft.com/office/drawing/2014/main" id="{65F43782-FB98-4C91-BFFD-12B4300D5C2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95000" y="2438400"/>
            <a:ext cx="914400" cy="914400"/>
          </a:xfrm>
          <a:prstGeom prst="rect">
            <a:avLst/>
          </a:prstGeom>
        </p:spPr>
      </p:pic>
      <p:graphicFrame>
        <p:nvGraphicFramePr>
          <p:cNvPr id="5" name="表格 4">
            <a:extLst>
              <a:ext uri="{FF2B5EF4-FFF2-40B4-BE49-F238E27FC236}">
                <a16:creationId xmlns:a16="http://schemas.microsoft.com/office/drawing/2014/main" id="{DDD1F5AA-1A52-491E-BD9B-3022FF6A1A47}"/>
              </a:ext>
            </a:extLst>
          </p:cNvPr>
          <p:cNvGraphicFramePr>
            <a:graphicFrameLocks noGrp="1"/>
          </p:cNvGraphicFramePr>
          <p:nvPr/>
        </p:nvGraphicFramePr>
        <p:xfrm>
          <a:off x="508000" y="2209800"/>
          <a:ext cx="10134600" cy="5791200"/>
        </p:xfrm>
        <a:graphic>
          <a:graphicData uri="http://schemas.openxmlformats.org/drawingml/2006/table">
            <a:tbl>
              <a:tblPr firstRow="1" firstCol="1" bandRow="1">
                <a:tableStyleId>{5C22544A-7EE6-4342-B048-85BDC9FD1C3A}</a:tableStyleId>
              </a:tblPr>
              <a:tblGrid>
                <a:gridCol w="3837795">
                  <a:extLst>
                    <a:ext uri="{9D8B030D-6E8A-4147-A177-3AD203B41FA5}">
                      <a16:colId xmlns:a16="http://schemas.microsoft.com/office/drawing/2014/main" val="3539981193"/>
                    </a:ext>
                  </a:extLst>
                </a:gridCol>
                <a:gridCol w="1143000">
                  <a:extLst>
                    <a:ext uri="{9D8B030D-6E8A-4147-A177-3AD203B41FA5}">
                      <a16:colId xmlns:a16="http://schemas.microsoft.com/office/drawing/2014/main" val="1683126307"/>
                    </a:ext>
                  </a:extLst>
                </a:gridCol>
                <a:gridCol w="2486805">
                  <a:extLst>
                    <a:ext uri="{9D8B030D-6E8A-4147-A177-3AD203B41FA5}">
                      <a16:colId xmlns:a16="http://schemas.microsoft.com/office/drawing/2014/main" val="3882726281"/>
                    </a:ext>
                  </a:extLst>
                </a:gridCol>
                <a:gridCol w="2667000">
                  <a:extLst>
                    <a:ext uri="{9D8B030D-6E8A-4147-A177-3AD203B41FA5}">
                      <a16:colId xmlns:a16="http://schemas.microsoft.com/office/drawing/2014/main" val="533230996"/>
                    </a:ext>
                  </a:extLst>
                </a:gridCol>
              </a:tblGrid>
              <a:tr h="0">
                <a:tc>
                  <a:txBody>
                    <a:bodyPr/>
                    <a:lstStyle/>
                    <a:p>
                      <a:r>
                        <a:rPr lang="en-US" sz="2000" b="1" kern="100" dirty="0">
                          <a:solidFill>
                            <a:schemeClr val="lt1"/>
                          </a:solidFill>
                          <a:effectLst/>
                          <a:latin typeface="+mn-lt"/>
                          <a:ea typeface="+mn-ea"/>
                          <a:cs typeface="+mn-cs"/>
                        </a:rPr>
                        <a:t>Indicators</a:t>
                      </a:r>
                      <a:endParaRPr lang="zh-TW" altLang="en-US" sz="2000" b="1" kern="100" dirty="0">
                        <a:solidFill>
                          <a:schemeClr val="lt1"/>
                        </a:solidFill>
                        <a:effectLst/>
                        <a:latin typeface="+mn-lt"/>
                        <a:ea typeface="+mn-ea"/>
                        <a:cs typeface="+mn-cs"/>
                      </a:endParaRPr>
                    </a:p>
                  </a:txBody>
                  <a:tcPr marL="68580" marR="68580" marT="0" marB="0"/>
                </a:tc>
                <a:tc>
                  <a:txBody>
                    <a:bodyPr/>
                    <a:lstStyle/>
                    <a:p>
                      <a:r>
                        <a:rPr lang="en-US" sz="2000" kern="100">
                          <a:effectLst/>
                        </a:rPr>
                        <a:t>RSRS</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RSRS + turnover rate</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RSRS + Market indicator</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969562206"/>
                  </a:ext>
                </a:extLst>
              </a:tr>
              <a:tr h="0">
                <a:tc>
                  <a:txBody>
                    <a:bodyPr/>
                    <a:lstStyle/>
                    <a:p>
                      <a:r>
                        <a:rPr lang="en-US" sz="2000" kern="100">
                          <a:effectLst/>
                        </a:rPr>
                        <a:t>Annualized rate of return</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25.31%</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16.45%</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18.81%</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2052504918"/>
                  </a:ext>
                </a:extLst>
              </a:tr>
              <a:tr h="0">
                <a:tc>
                  <a:txBody>
                    <a:bodyPr/>
                    <a:lstStyle/>
                    <a:p>
                      <a:r>
                        <a:rPr lang="en-US" sz="2000" kern="100">
                          <a:effectLst/>
                        </a:rPr>
                        <a:t>HS300 annualized rate of return</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9.21%</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9.21%</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9.21%</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1960605811"/>
                  </a:ext>
                </a:extLst>
              </a:tr>
              <a:tr h="0">
                <a:tc>
                  <a:txBody>
                    <a:bodyPr/>
                    <a:lstStyle/>
                    <a:p>
                      <a:r>
                        <a:rPr lang="en-US" sz="2000" kern="100">
                          <a:effectLst/>
                        </a:rPr>
                        <a:t>Accumulated rate of return </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633.29%</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283.90%</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358.08%</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2563088855"/>
                  </a:ext>
                </a:extLst>
              </a:tr>
              <a:tr h="0">
                <a:tc>
                  <a:txBody>
                    <a:bodyPr/>
                    <a:lstStyle/>
                    <a:p>
                      <a:r>
                        <a:rPr lang="en-US" sz="2000" kern="100">
                          <a:effectLst/>
                        </a:rPr>
                        <a:t>HS300 accumulated rate of return</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117.77%</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117.77%</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117.77%</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212731363"/>
                  </a:ext>
                </a:extLst>
              </a:tr>
              <a:tr h="0">
                <a:tc>
                  <a:txBody>
                    <a:bodyPr/>
                    <a:lstStyle/>
                    <a:p>
                      <a:r>
                        <a:rPr lang="en-US" sz="2000" b="1" kern="100">
                          <a:solidFill>
                            <a:srgbClr val="C00000"/>
                          </a:solidFill>
                          <a:effectLst/>
                        </a:rPr>
                        <a:t>Rate of return (per trade)</a:t>
                      </a:r>
                      <a:endParaRPr lang="zh-TW" sz="2000" b="1" kern="100">
                        <a:solidFill>
                          <a:srgbClr val="C00000"/>
                        </a:solidFill>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b="1" kern="100">
                          <a:solidFill>
                            <a:srgbClr val="C00000"/>
                          </a:solidFill>
                          <a:effectLst/>
                        </a:rPr>
                        <a:t>5.81%</a:t>
                      </a:r>
                      <a:endParaRPr lang="zh-TW" sz="2000" b="1" kern="100">
                        <a:solidFill>
                          <a:srgbClr val="C00000"/>
                        </a:solidFill>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b="1" kern="100">
                          <a:solidFill>
                            <a:srgbClr val="C00000"/>
                          </a:solidFill>
                          <a:effectLst/>
                        </a:rPr>
                        <a:t>4.83%</a:t>
                      </a:r>
                      <a:endParaRPr lang="zh-TW" sz="2000" b="1" kern="100">
                        <a:solidFill>
                          <a:srgbClr val="C00000"/>
                        </a:solidFill>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b="1" kern="100" dirty="0">
                          <a:solidFill>
                            <a:srgbClr val="C00000"/>
                          </a:solidFill>
                          <a:effectLst/>
                        </a:rPr>
                        <a:t>8.19%</a:t>
                      </a:r>
                      <a:endParaRPr lang="zh-TW" sz="2000" b="1" kern="100" dirty="0">
                        <a:solidFill>
                          <a:srgbClr val="C00000"/>
                        </a:solidFill>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1035974551"/>
                  </a:ext>
                </a:extLst>
              </a:tr>
              <a:tr h="0">
                <a:tc>
                  <a:txBody>
                    <a:bodyPr/>
                    <a:lstStyle/>
                    <a:p>
                      <a:r>
                        <a:rPr lang="en-US" sz="2000" kern="100">
                          <a:effectLst/>
                        </a:rPr>
                        <a:t>alpha</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0.16</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0.07</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0.10</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3686865549"/>
                  </a:ext>
                </a:extLst>
              </a:tr>
              <a:tr h="0">
                <a:tc>
                  <a:txBody>
                    <a:bodyPr/>
                    <a:lstStyle/>
                    <a:p>
                      <a:r>
                        <a:rPr lang="en-US" sz="2000" kern="100">
                          <a:effectLst/>
                        </a:rPr>
                        <a:t>beta</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0.47</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0.49</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0.58</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4007422835"/>
                  </a:ext>
                </a:extLst>
              </a:tr>
              <a:tr h="0">
                <a:tc>
                  <a:txBody>
                    <a:bodyPr/>
                    <a:lstStyle/>
                    <a:p>
                      <a:r>
                        <a:rPr lang="en-US" sz="2000" b="1" kern="100">
                          <a:solidFill>
                            <a:srgbClr val="C00000"/>
                          </a:solidFill>
                          <a:effectLst/>
                        </a:rPr>
                        <a:t>Trade times</a:t>
                      </a:r>
                      <a:endParaRPr lang="zh-TW" sz="2000" b="1" kern="100">
                        <a:solidFill>
                          <a:srgbClr val="C00000"/>
                        </a:solidFill>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b="1" kern="100">
                          <a:solidFill>
                            <a:srgbClr val="C00000"/>
                          </a:solidFill>
                          <a:effectLst/>
                        </a:rPr>
                        <a:t>32</a:t>
                      </a:r>
                      <a:endParaRPr lang="zh-TW" sz="2000" b="1" kern="100">
                        <a:solidFill>
                          <a:srgbClr val="C00000"/>
                        </a:solidFill>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b="1" kern="100">
                          <a:solidFill>
                            <a:srgbClr val="C00000"/>
                          </a:solidFill>
                          <a:effectLst/>
                        </a:rPr>
                        <a:t>23</a:t>
                      </a:r>
                      <a:endParaRPr lang="zh-TW" sz="2000" b="1" kern="100">
                        <a:solidFill>
                          <a:srgbClr val="C00000"/>
                        </a:solidFill>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b="1" kern="100" dirty="0">
                          <a:solidFill>
                            <a:srgbClr val="C00000"/>
                          </a:solidFill>
                          <a:effectLst/>
                        </a:rPr>
                        <a:t>18</a:t>
                      </a:r>
                      <a:endParaRPr lang="zh-TW" sz="2000" b="1" kern="100" dirty="0">
                        <a:solidFill>
                          <a:srgbClr val="C00000"/>
                        </a:solidFill>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3633494056"/>
                  </a:ext>
                </a:extLst>
              </a:tr>
              <a:tr h="0">
                <a:tc>
                  <a:txBody>
                    <a:bodyPr/>
                    <a:lstStyle/>
                    <a:p>
                      <a:r>
                        <a:rPr lang="en-US" sz="2000" kern="100">
                          <a:effectLst/>
                        </a:rPr>
                        <a:t>Win rate</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65.63%</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73.91%</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66.67%</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736230098"/>
                  </a:ext>
                </a:extLst>
              </a:tr>
              <a:tr h="0">
                <a:tc>
                  <a:txBody>
                    <a:bodyPr/>
                    <a:lstStyle/>
                    <a:p>
                      <a:r>
                        <a:rPr lang="en-US" sz="2000" kern="100">
                          <a:effectLst/>
                        </a:rPr>
                        <a:t>Position day</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1867</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1973</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2229</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32594503"/>
                  </a:ext>
                </a:extLst>
              </a:tr>
              <a:tr h="0">
                <a:tc>
                  <a:txBody>
                    <a:bodyPr/>
                    <a:lstStyle/>
                    <a:p>
                      <a:r>
                        <a:rPr lang="en-US" sz="2000" kern="100">
                          <a:effectLst/>
                        </a:rPr>
                        <a:t>Win day</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1005</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1054</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1199</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2923928933"/>
                  </a:ext>
                </a:extLst>
              </a:tr>
              <a:tr h="0">
                <a:tc>
                  <a:txBody>
                    <a:bodyPr/>
                    <a:lstStyle/>
                    <a:p>
                      <a:r>
                        <a:rPr lang="en-US" sz="2000" kern="100">
                          <a:effectLst/>
                        </a:rPr>
                        <a:t>Loss day</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893</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942</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1048</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2856099566"/>
                  </a:ext>
                </a:extLst>
              </a:tr>
              <a:tr h="0">
                <a:tc>
                  <a:txBody>
                    <a:bodyPr/>
                    <a:lstStyle/>
                    <a:p>
                      <a:r>
                        <a:rPr lang="en-US" sz="2000" b="1" kern="100">
                          <a:solidFill>
                            <a:srgbClr val="C00000"/>
                          </a:solidFill>
                          <a:effectLst/>
                        </a:rPr>
                        <a:t>Yield Rate (per trade)</a:t>
                      </a:r>
                      <a:endParaRPr lang="zh-TW" sz="2000" b="1" kern="100">
                        <a:solidFill>
                          <a:srgbClr val="C00000"/>
                        </a:solidFill>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b="1" kern="100">
                          <a:solidFill>
                            <a:srgbClr val="C00000"/>
                          </a:solidFill>
                          <a:effectLst/>
                        </a:rPr>
                        <a:t>10.09%</a:t>
                      </a:r>
                      <a:endParaRPr lang="zh-TW" sz="2000" b="1" kern="100">
                        <a:solidFill>
                          <a:srgbClr val="C00000"/>
                        </a:solidFill>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b="1" kern="100">
                          <a:solidFill>
                            <a:srgbClr val="C00000"/>
                          </a:solidFill>
                          <a:effectLst/>
                        </a:rPr>
                        <a:t>8.52%</a:t>
                      </a:r>
                      <a:endParaRPr lang="zh-TW" sz="2000" b="1" kern="100">
                        <a:solidFill>
                          <a:srgbClr val="C00000"/>
                        </a:solidFill>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b="1" kern="100" dirty="0">
                          <a:solidFill>
                            <a:srgbClr val="C00000"/>
                          </a:solidFill>
                          <a:effectLst/>
                        </a:rPr>
                        <a:t>14.06%</a:t>
                      </a:r>
                      <a:endParaRPr lang="zh-TW" sz="2000" b="1" kern="100" dirty="0">
                        <a:solidFill>
                          <a:srgbClr val="C00000"/>
                        </a:solidFill>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2282262420"/>
                  </a:ext>
                </a:extLst>
              </a:tr>
              <a:tr h="0">
                <a:tc>
                  <a:txBody>
                    <a:bodyPr/>
                    <a:lstStyle/>
                    <a:p>
                      <a:r>
                        <a:rPr lang="en-US" sz="2000" kern="100">
                          <a:effectLst/>
                        </a:rPr>
                        <a:t>Loss Rate (per trade)</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3.16%</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7.71%</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5.90%</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2154274663"/>
                  </a:ext>
                </a:extLst>
              </a:tr>
              <a:tr h="0">
                <a:tc>
                  <a:txBody>
                    <a:bodyPr/>
                    <a:lstStyle/>
                    <a:p>
                      <a:r>
                        <a:rPr lang="en-US" sz="2000" kern="100">
                          <a:effectLst/>
                        </a:rPr>
                        <a:t>Profit and loss ratio</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3.19</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1.10</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2.38</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1713512368"/>
                  </a:ext>
                </a:extLst>
              </a:tr>
              <a:tr h="0">
                <a:tc>
                  <a:txBody>
                    <a:bodyPr/>
                    <a:lstStyle/>
                    <a:p>
                      <a:r>
                        <a:rPr lang="en-US" sz="2000" kern="100">
                          <a:effectLst/>
                        </a:rPr>
                        <a:t>Volatility</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15.90%</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15.86%</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17.42%</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2372126475"/>
                  </a:ext>
                </a:extLst>
              </a:tr>
              <a:tr h="0">
                <a:tc>
                  <a:txBody>
                    <a:bodyPr/>
                    <a:lstStyle/>
                    <a:p>
                      <a:r>
                        <a:rPr lang="en-US" sz="2000" kern="100">
                          <a:effectLst/>
                        </a:rPr>
                        <a:t>Max drawback</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27.07%</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30.06%</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29.53%</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1340354171"/>
                  </a:ext>
                </a:extLst>
              </a:tr>
              <a:tr h="0">
                <a:tc>
                  <a:txBody>
                    <a:bodyPr/>
                    <a:lstStyle/>
                    <a:p>
                      <a:r>
                        <a:rPr lang="en-US" sz="2000" kern="100">
                          <a:effectLst/>
                        </a:rPr>
                        <a:t>Information rate</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15.04</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a:effectLst/>
                        </a:rPr>
                        <a:t>6.93</a:t>
                      </a:r>
                      <a:endParaRPr lang="zh-TW" sz="2000" kern="10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tc>
                  <a:txBody>
                    <a:bodyPr/>
                    <a:lstStyle/>
                    <a:p>
                      <a:r>
                        <a:rPr lang="en-US" sz="2000" kern="100" dirty="0">
                          <a:effectLst/>
                        </a:rPr>
                        <a:t>10.36</a:t>
                      </a:r>
                      <a:endParaRPr lang="zh-TW" sz="2000" kern="100" dirty="0">
                        <a:effectLst/>
                        <a:latin typeface="Calibri" panose="020F0502020204030204" pitchFamily="34" charset="0"/>
                        <a:ea typeface="PMingLiU"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1903651363"/>
                  </a:ext>
                </a:extLst>
              </a:tr>
            </a:tbl>
          </a:graphicData>
        </a:graphic>
      </p:graphicFrame>
    </p:spTree>
    <p:extLst>
      <p:ext uri="{BB962C8B-B14F-4D97-AF65-F5344CB8AC3E}">
        <p14:creationId xmlns:p14="http://schemas.microsoft.com/office/powerpoint/2010/main" val="416826605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组合 19">
            <a:extLst>
              <a:ext uri="{FF2B5EF4-FFF2-40B4-BE49-F238E27FC236}">
                <a16:creationId xmlns:a16="http://schemas.microsoft.com/office/drawing/2014/main" id="{8A288040-1293-5F49-B1DC-FAB417FA56E5}"/>
              </a:ext>
            </a:extLst>
          </p:cNvPr>
          <p:cNvGrpSpPr/>
          <p:nvPr/>
        </p:nvGrpSpPr>
        <p:grpSpPr>
          <a:xfrm>
            <a:off x="1891473" y="1616116"/>
            <a:ext cx="2933700" cy="2933700"/>
            <a:chOff x="2273300" y="3111500"/>
            <a:chExt cx="2933700" cy="2933700"/>
          </a:xfrm>
        </p:grpSpPr>
        <p:pic>
          <p:nvPicPr>
            <p:cNvPr id="4" name="Picture 4"/>
            <p:cNvPicPr>
              <a:picLocks noChangeAspect="1"/>
            </p:cNvPicPr>
            <p:nvPr/>
          </p:nvPicPr>
          <p:blipFill>
            <a:blip r:embed="rId2"/>
            <a:stretch>
              <a:fillRect/>
            </a:stretch>
          </p:blipFill>
          <p:spPr>
            <a:xfrm>
              <a:off x="2273300" y="3111500"/>
              <a:ext cx="2933700" cy="2933700"/>
            </a:xfrm>
            <a:prstGeom prst="rect">
              <a:avLst/>
            </a:prstGeom>
          </p:spPr>
        </p:pic>
        <p:sp>
          <p:nvSpPr>
            <p:cNvPr id="6" name="TextBox 6"/>
            <p:cNvSpPr txBox="1"/>
            <p:nvPr/>
          </p:nvSpPr>
          <p:spPr>
            <a:xfrm>
              <a:off x="2423687" y="4595362"/>
              <a:ext cx="2608891" cy="952500"/>
            </a:xfrm>
            <a:prstGeom prst="rect">
              <a:avLst/>
            </a:prstGeom>
          </p:spPr>
          <p:txBody>
            <a:bodyPr lIns="0" tIns="0" rIns="0" bIns="0" rtlCol="0" anchor="t"/>
            <a:lstStyle/>
            <a:p>
              <a:pPr algn="ctr">
                <a:lnSpc>
                  <a:spcPct val="105000"/>
                </a:lnSpc>
              </a:pPr>
              <a:r>
                <a:rPr lang="en-US" altLang="zh-CN" sz="4000" dirty="0">
                  <a:solidFill>
                    <a:srgbClr val="FAFDFF"/>
                  </a:solidFill>
                  <a:latin typeface="Times New Roman" panose="02020603050405020304" pitchFamily="18" charset="0"/>
                  <a:cs typeface="Times New Roman" panose="02020603050405020304" pitchFamily="18" charset="0"/>
                </a:rPr>
                <a:t>RSRS</a:t>
              </a:r>
              <a:endParaRPr lang="en-US" sz="4000" dirty="0">
                <a:solidFill>
                  <a:srgbClr val="FAFDFF"/>
                </a:solidFill>
                <a:latin typeface="Times New Roman" panose="02020603050405020304" pitchFamily="18" charset="0"/>
                <a:cs typeface="Times New Roman" panose="02020603050405020304" pitchFamily="18" charset="0"/>
              </a:endParaRPr>
            </a:p>
          </p:txBody>
        </p:sp>
      </p:grpSp>
      <p:grpSp>
        <p:nvGrpSpPr>
          <p:cNvPr id="19" name="组合 18">
            <a:extLst>
              <a:ext uri="{FF2B5EF4-FFF2-40B4-BE49-F238E27FC236}">
                <a16:creationId xmlns:a16="http://schemas.microsoft.com/office/drawing/2014/main" id="{A7F6CF9C-764B-1841-9145-D5C434A8281F}"/>
              </a:ext>
            </a:extLst>
          </p:cNvPr>
          <p:cNvGrpSpPr/>
          <p:nvPr/>
        </p:nvGrpSpPr>
        <p:grpSpPr>
          <a:xfrm>
            <a:off x="1949582" y="5024269"/>
            <a:ext cx="2933700" cy="2933700"/>
            <a:chOff x="5207000" y="3111500"/>
            <a:chExt cx="2933700" cy="2933700"/>
          </a:xfrm>
        </p:grpSpPr>
        <p:pic>
          <p:nvPicPr>
            <p:cNvPr id="3" name="Picture 3"/>
            <p:cNvPicPr>
              <a:picLocks noChangeAspect="1"/>
            </p:cNvPicPr>
            <p:nvPr/>
          </p:nvPicPr>
          <p:blipFill>
            <a:blip r:embed="rId3"/>
            <a:stretch>
              <a:fillRect/>
            </a:stretch>
          </p:blipFill>
          <p:spPr>
            <a:xfrm>
              <a:off x="5207000" y="3111500"/>
              <a:ext cx="2933700" cy="2933700"/>
            </a:xfrm>
            <a:prstGeom prst="rect">
              <a:avLst/>
            </a:prstGeom>
          </p:spPr>
        </p:pic>
        <p:sp>
          <p:nvSpPr>
            <p:cNvPr id="8" name="TextBox 8"/>
            <p:cNvSpPr txBox="1"/>
            <p:nvPr/>
          </p:nvSpPr>
          <p:spPr>
            <a:xfrm>
              <a:off x="5363053" y="4584700"/>
              <a:ext cx="2719537" cy="952500"/>
            </a:xfrm>
            <a:prstGeom prst="rect">
              <a:avLst/>
            </a:prstGeom>
          </p:spPr>
          <p:txBody>
            <a:bodyPr lIns="0" tIns="0" rIns="0" bIns="0" rtlCol="0" anchor="t"/>
            <a:lstStyle/>
            <a:p>
              <a:pPr algn="ctr">
                <a:lnSpc>
                  <a:spcPct val="105000"/>
                </a:lnSpc>
              </a:pPr>
              <a:r>
                <a:rPr lang="en-US" altLang="zh-CN" sz="3200" dirty="0">
                  <a:solidFill>
                    <a:srgbClr val="FFFFFF"/>
                  </a:solidFill>
                  <a:latin typeface="Times New Roman" panose="02020603050405020304" pitchFamily="18" charset="0"/>
                  <a:cs typeface="Times New Roman" panose="02020603050405020304" pitchFamily="18" charset="0"/>
                </a:rPr>
                <a:t>Market State Indicator </a:t>
              </a:r>
              <a:endParaRPr lang="en-US" sz="3200" dirty="0">
                <a:solidFill>
                  <a:srgbClr val="FFFFFF"/>
                </a:solidFill>
                <a:latin typeface="Times New Roman" panose="02020603050405020304" pitchFamily="18" charset="0"/>
                <a:cs typeface="Times New Roman" panose="02020603050405020304" pitchFamily="18" charset="0"/>
              </a:endParaRPr>
            </a:p>
          </p:txBody>
        </p:sp>
      </p:grpSp>
      <p:sp>
        <p:nvSpPr>
          <p:cNvPr id="14" name="TextBox 14"/>
          <p:cNvSpPr txBox="1"/>
          <p:nvPr/>
        </p:nvSpPr>
        <p:spPr>
          <a:xfrm>
            <a:off x="13610685" y="679701"/>
            <a:ext cx="4454825" cy="558797"/>
          </a:xfrm>
          <a:prstGeom prst="rect">
            <a:avLst/>
          </a:prstGeom>
        </p:spPr>
        <p:txBody>
          <a:bodyPr lIns="0" tIns="0" rIns="0" bIns="0" rtlCol="0" anchor="t"/>
          <a:lstStyle/>
          <a:p>
            <a:r>
              <a:rPr kumimoji="1" lang="en-US" altLang="zh-CN" sz="4000" b="1" dirty="0">
                <a:solidFill>
                  <a:srgbClr val="475B7C"/>
                </a:solidFill>
                <a:latin typeface="Times New Roman" panose="02020603050405020304" pitchFamily="18" charset="0"/>
                <a:cs typeface="Times New Roman" panose="02020603050405020304" pitchFamily="18" charset="0"/>
              </a:rPr>
              <a:t>Summary</a:t>
            </a:r>
            <a:r>
              <a:rPr kumimoji="1" lang="zh-CN" altLang="en-US" sz="4000" b="1" dirty="0">
                <a:solidFill>
                  <a:srgbClr val="475B7C"/>
                </a:solidFill>
                <a:latin typeface="Times New Roman" panose="02020603050405020304" pitchFamily="18" charset="0"/>
                <a:cs typeface="Times New Roman" panose="02020603050405020304" pitchFamily="18" charset="0"/>
              </a:rPr>
              <a:t> </a:t>
            </a:r>
            <a:endParaRPr kumimoji="1" lang="en-US" altLang="zh-CN" sz="4000" b="1" dirty="0">
              <a:solidFill>
                <a:srgbClr val="475B7C"/>
              </a:solidFill>
              <a:latin typeface="Times New Roman" panose="02020603050405020304" pitchFamily="18" charset="0"/>
              <a:cs typeface="Times New Roman" panose="02020603050405020304" pitchFamily="18" charset="0"/>
            </a:endParaRPr>
          </a:p>
        </p:txBody>
      </p:sp>
      <p:pic>
        <p:nvPicPr>
          <p:cNvPr id="15" name="Picture 15"/>
          <p:cNvPicPr>
            <a:picLocks noChangeAspect="1"/>
          </p:cNvPicPr>
          <p:nvPr/>
        </p:nvPicPr>
        <p:blipFill>
          <a:blip r:embed="rId4"/>
          <a:stretch>
            <a:fillRect/>
          </a:stretch>
        </p:blipFill>
        <p:spPr>
          <a:xfrm>
            <a:off x="13119100" y="533400"/>
            <a:ext cx="2540000" cy="101600"/>
          </a:xfrm>
          <a:prstGeom prst="rect">
            <a:avLst/>
          </a:prstGeom>
        </p:spPr>
      </p:pic>
      <p:sp>
        <p:nvSpPr>
          <p:cNvPr id="16" name="AutoShape 16"/>
          <p:cNvSpPr/>
          <p:nvPr/>
        </p:nvSpPr>
        <p:spPr>
          <a:xfrm rot="10800000">
            <a:off x="6057900" y="0"/>
            <a:ext cx="4152900" cy="736600"/>
          </a:xfrm>
          <a:prstGeom prst="rect">
            <a:avLst/>
          </a:prstGeom>
          <a:blipFill>
            <a:blip r:embed="rId5" cstate="print">
              <a:alphaModFix amt="30000"/>
            </a:blip>
            <a:srcRect/>
            <a:stretch>
              <a:fillRect/>
            </a:stretch>
          </a:blipFill>
        </p:spPr>
        <p:txBody>
          <a:bodyPr/>
          <a:lstStyle/>
          <a:p>
            <a:endParaRPr lang="zh-CN" altLang="en-US"/>
          </a:p>
        </p:txBody>
      </p:sp>
      <p:sp>
        <p:nvSpPr>
          <p:cNvPr id="17" name="AutoShape 17"/>
          <p:cNvSpPr/>
          <p:nvPr/>
        </p:nvSpPr>
        <p:spPr>
          <a:xfrm>
            <a:off x="6057900" y="8404973"/>
            <a:ext cx="4152900" cy="736600"/>
          </a:xfrm>
          <a:prstGeom prst="rect">
            <a:avLst/>
          </a:prstGeom>
          <a:blipFill>
            <a:blip r:embed="rId5" cstate="print">
              <a:alphaModFix amt="30000"/>
            </a:blip>
            <a:srcRect/>
            <a:stretch>
              <a:fillRect/>
            </a:stretch>
          </a:blipFill>
        </p:spPr>
        <p:txBody>
          <a:bodyPr/>
          <a:lstStyle/>
          <a:p>
            <a:endParaRPr lang="zh-CN" altLang="en-US"/>
          </a:p>
        </p:txBody>
      </p:sp>
      <p:cxnSp>
        <p:nvCxnSpPr>
          <p:cNvPr id="22" name="直线连接符 21">
            <a:extLst>
              <a:ext uri="{FF2B5EF4-FFF2-40B4-BE49-F238E27FC236}">
                <a16:creationId xmlns:a16="http://schemas.microsoft.com/office/drawing/2014/main" id="{4AAE5E3D-0DC9-7F40-8BA4-839D13E1CE95}"/>
              </a:ext>
            </a:extLst>
          </p:cNvPr>
          <p:cNvCxnSpPr/>
          <p:nvPr/>
        </p:nvCxnSpPr>
        <p:spPr>
          <a:xfrm>
            <a:off x="1119172" y="4847428"/>
            <a:ext cx="14889192"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5" name="文本框 24">
            <a:extLst>
              <a:ext uri="{FF2B5EF4-FFF2-40B4-BE49-F238E27FC236}">
                <a16:creationId xmlns:a16="http://schemas.microsoft.com/office/drawing/2014/main" id="{89667CD3-E194-3646-98D4-A3A6F60D4D97}"/>
              </a:ext>
            </a:extLst>
          </p:cNvPr>
          <p:cNvSpPr txBox="1"/>
          <p:nvPr/>
        </p:nvSpPr>
        <p:spPr>
          <a:xfrm>
            <a:off x="5277103" y="1352529"/>
            <a:ext cx="10575985" cy="3420000"/>
          </a:xfrm>
          <a:prstGeom prst="rect">
            <a:avLst/>
          </a:prstGeom>
          <a:noFill/>
          <a:ln>
            <a:solidFill>
              <a:srgbClr val="475B7C"/>
            </a:solidFill>
          </a:ln>
        </p:spPr>
        <p:txBody>
          <a:bodyPr wrap="square" rtlCol="0">
            <a:spAutoFit/>
          </a:bodyPr>
          <a:lstStyle/>
          <a:p>
            <a:endParaRPr kumimoji="1" lang="zh-CN" altLang="en-US" dirty="0"/>
          </a:p>
        </p:txBody>
      </p:sp>
      <p:sp>
        <p:nvSpPr>
          <p:cNvPr id="26" name="文本框 25">
            <a:extLst>
              <a:ext uri="{FF2B5EF4-FFF2-40B4-BE49-F238E27FC236}">
                <a16:creationId xmlns:a16="http://schemas.microsoft.com/office/drawing/2014/main" id="{331E0561-C433-C24C-B723-BA16B1E3D9A5}"/>
              </a:ext>
            </a:extLst>
          </p:cNvPr>
          <p:cNvSpPr txBox="1"/>
          <p:nvPr/>
        </p:nvSpPr>
        <p:spPr>
          <a:xfrm>
            <a:off x="5277103" y="4916201"/>
            <a:ext cx="10575985" cy="3420000"/>
          </a:xfrm>
          <a:prstGeom prst="rect">
            <a:avLst/>
          </a:prstGeom>
          <a:noFill/>
          <a:ln>
            <a:solidFill>
              <a:srgbClr val="475B7C"/>
            </a:solidFill>
          </a:ln>
        </p:spPr>
        <p:txBody>
          <a:bodyPr wrap="square" rtlCol="0">
            <a:spAutoFit/>
          </a:bodyPr>
          <a:lstStyle/>
          <a:p>
            <a:endParaRPr kumimoji="1" lang="zh-CN" altLang="en-US" dirty="0"/>
          </a:p>
        </p:txBody>
      </p:sp>
      <p:sp>
        <p:nvSpPr>
          <p:cNvPr id="28" name="physics-formula-of-energy-in-a-square_46164">
            <a:extLst>
              <a:ext uri="{FF2B5EF4-FFF2-40B4-BE49-F238E27FC236}">
                <a16:creationId xmlns:a16="http://schemas.microsoft.com/office/drawing/2014/main" id="{BBC267B2-AE04-274C-B877-63D58B609171}"/>
              </a:ext>
            </a:extLst>
          </p:cNvPr>
          <p:cNvSpPr>
            <a:spLocks noChangeAspect="1"/>
          </p:cNvSpPr>
          <p:nvPr/>
        </p:nvSpPr>
        <p:spPr>
          <a:xfrm>
            <a:off x="3058855" y="2461275"/>
            <a:ext cx="589113" cy="588404"/>
          </a:xfrm>
          <a:custGeom>
            <a:avLst/>
            <a:gdLst>
              <a:gd name="T0" fmla="*/ 0 w 667"/>
              <a:gd name="T1" fmla="*/ 578 h 667"/>
              <a:gd name="T2" fmla="*/ 667 w 667"/>
              <a:gd name="T3" fmla="*/ 88 h 667"/>
              <a:gd name="T4" fmla="*/ 195 w 667"/>
              <a:gd name="T5" fmla="*/ 393 h 667"/>
              <a:gd name="T6" fmla="*/ 107 w 667"/>
              <a:gd name="T7" fmla="*/ 423 h 667"/>
              <a:gd name="T8" fmla="*/ 78 w 667"/>
              <a:gd name="T9" fmla="*/ 364 h 667"/>
              <a:gd name="T10" fmla="*/ 68 w 667"/>
              <a:gd name="T11" fmla="*/ 327 h 667"/>
              <a:gd name="T12" fmla="*/ 77 w 667"/>
              <a:gd name="T13" fmla="*/ 310 h 667"/>
              <a:gd name="T14" fmla="*/ 68 w 667"/>
              <a:gd name="T15" fmla="*/ 274 h 667"/>
              <a:gd name="T16" fmla="*/ 88 w 667"/>
              <a:gd name="T17" fmla="*/ 250 h 667"/>
              <a:gd name="T18" fmla="*/ 126 w 667"/>
              <a:gd name="T19" fmla="*/ 248 h 667"/>
              <a:gd name="T20" fmla="*/ 175 w 667"/>
              <a:gd name="T21" fmla="*/ 244 h 667"/>
              <a:gd name="T22" fmla="*/ 189 w 667"/>
              <a:gd name="T23" fmla="*/ 254 h 667"/>
              <a:gd name="T24" fmla="*/ 148 w 667"/>
              <a:gd name="T25" fmla="*/ 275 h 667"/>
              <a:gd name="T26" fmla="*/ 113 w 667"/>
              <a:gd name="T27" fmla="*/ 278 h 667"/>
              <a:gd name="T28" fmla="*/ 163 w 667"/>
              <a:gd name="T29" fmla="*/ 300 h 667"/>
              <a:gd name="T30" fmla="*/ 187 w 667"/>
              <a:gd name="T31" fmla="*/ 305 h 667"/>
              <a:gd name="T32" fmla="*/ 180 w 667"/>
              <a:gd name="T33" fmla="*/ 320 h 667"/>
              <a:gd name="T34" fmla="*/ 134 w 667"/>
              <a:gd name="T35" fmla="*/ 328 h 667"/>
              <a:gd name="T36" fmla="*/ 109 w 667"/>
              <a:gd name="T37" fmla="*/ 333 h 667"/>
              <a:gd name="T38" fmla="*/ 106 w 667"/>
              <a:gd name="T39" fmla="*/ 382 h 667"/>
              <a:gd name="T40" fmla="*/ 149 w 667"/>
              <a:gd name="T41" fmla="*/ 381 h 667"/>
              <a:gd name="T42" fmla="*/ 213 w 667"/>
              <a:gd name="T43" fmla="*/ 371 h 667"/>
              <a:gd name="T44" fmla="*/ 317 w 667"/>
              <a:gd name="T45" fmla="*/ 386 h 667"/>
              <a:gd name="T46" fmla="*/ 242 w 667"/>
              <a:gd name="T47" fmla="*/ 399 h 667"/>
              <a:gd name="T48" fmla="*/ 232 w 667"/>
              <a:gd name="T49" fmla="*/ 378 h 667"/>
              <a:gd name="T50" fmla="*/ 317 w 667"/>
              <a:gd name="T51" fmla="*/ 385 h 667"/>
              <a:gd name="T52" fmla="*/ 294 w 667"/>
              <a:gd name="T53" fmla="*/ 362 h 667"/>
              <a:gd name="T54" fmla="*/ 234 w 667"/>
              <a:gd name="T55" fmla="*/ 359 h 667"/>
              <a:gd name="T56" fmla="*/ 242 w 667"/>
              <a:gd name="T57" fmla="*/ 333 h 667"/>
              <a:gd name="T58" fmla="*/ 321 w 667"/>
              <a:gd name="T59" fmla="*/ 350 h 667"/>
              <a:gd name="T60" fmla="*/ 456 w 667"/>
              <a:gd name="T61" fmla="*/ 425 h 667"/>
              <a:gd name="T62" fmla="*/ 421 w 667"/>
              <a:gd name="T63" fmla="*/ 385 h 667"/>
              <a:gd name="T64" fmla="*/ 382 w 667"/>
              <a:gd name="T65" fmla="*/ 397 h 667"/>
              <a:gd name="T66" fmla="*/ 351 w 667"/>
              <a:gd name="T67" fmla="*/ 423 h 667"/>
              <a:gd name="T68" fmla="*/ 335 w 667"/>
              <a:gd name="T69" fmla="*/ 412 h 667"/>
              <a:gd name="T70" fmla="*/ 339 w 667"/>
              <a:gd name="T71" fmla="*/ 355 h 667"/>
              <a:gd name="T72" fmla="*/ 367 w 667"/>
              <a:gd name="T73" fmla="*/ 334 h 667"/>
              <a:gd name="T74" fmla="*/ 400 w 667"/>
              <a:gd name="T75" fmla="*/ 379 h 667"/>
              <a:gd name="T76" fmla="*/ 460 w 667"/>
              <a:gd name="T77" fmla="*/ 394 h 667"/>
              <a:gd name="T78" fmla="*/ 512 w 667"/>
              <a:gd name="T79" fmla="*/ 426 h 667"/>
              <a:gd name="T80" fmla="*/ 483 w 667"/>
              <a:gd name="T81" fmla="*/ 362 h 667"/>
              <a:gd name="T82" fmla="*/ 532 w 667"/>
              <a:gd name="T83" fmla="*/ 340 h 667"/>
              <a:gd name="T84" fmla="*/ 502 w 667"/>
              <a:gd name="T85" fmla="*/ 380 h 667"/>
              <a:gd name="T86" fmla="*/ 547 w 667"/>
              <a:gd name="T87" fmla="*/ 388 h 667"/>
              <a:gd name="T88" fmla="*/ 538 w 667"/>
              <a:gd name="T89" fmla="*/ 421 h 667"/>
              <a:gd name="T90" fmla="*/ 575 w 667"/>
              <a:gd name="T91" fmla="*/ 327 h 667"/>
              <a:gd name="T92" fmla="*/ 550 w 667"/>
              <a:gd name="T93" fmla="*/ 312 h 667"/>
              <a:gd name="T94" fmla="*/ 580 w 667"/>
              <a:gd name="T95" fmla="*/ 277 h 667"/>
              <a:gd name="T96" fmla="*/ 559 w 667"/>
              <a:gd name="T97" fmla="*/ 288 h 667"/>
              <a:gd name="T98" fmla="*/ 552 w 667"/>
              <a:gd name="T99" fmla="*/ 285 h 667"/>
              <a:gd name="T100" fmla="*/ 579 w 667"/>
              <a:gd name="T101" fmla="*/ 264 h 667"/>
              <a:gd name="T102" fmla="*/ 580 w 667"/>
              <a:gd name="T103" fmla="*/ 301 h 667"/>
              <a:gd name="T104" fmla="*/ 589 w 667"/>
              <a:gd name="T105" fmla="*/ 315 h 667"/>
              <a:gd name="T106" fmla="*/ 600 w 667"/>
              <a:gd name="T107" fmla="*/ 319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7" h="667">
                <a:moveTo>
                  <a:pt x="578" y="0"/>
                </a:moveTo>
                <a:lnTo>
                  <a:pt x="88" y="0"/>
                </a:lnTo>
                <a:cubicBezTo>
                  <a:pt x="40" y="0"/>
                  <a:pt x="0" y="40"/>
                  <a:pt x="0" y="88"/>
                </a:cubicBezTo>
                <a:lnTo>
                  <a:pt x="0" y="578"/>
                </a:lnTo>
                <a:cubicBezTo>
                  <a:pt x="0" y="627"/>
                  <a:pt x="40" y="667"/>
                  <a:pt x="88" y="667"/>
                </a:cubicBezTo>
                <a:lnTo>
                  <a:pt x="578" y="667"/>
                </a:lnTo>
                <a:cubicBezTo>
                  <a:pt x="627" y="667"/>
                  <a:pt x="667" y="627"/>
                  <a:pt x="667" y="578"/>
                </a:cubicBezTo>
                <a:lnTo>
                  <a:pt x="667" y="88"/>
                </a:lnTo>
                <a:cubicBezTo>
                  <a:pt x="667" y="40"/>
                  <a:pt x="627" y="0"/>
                  <a:pt x="578" y="0"/>
                </a:cubicBezTo>
                <a:close/>
                <a:moveTo>
                  <a:pt x="220" y="383"/>
                </a:moveTo>
                <a:cubicBezTo>
                  <a:pt x="220" y="385"/>
                  <a:pt x="219" y="386"/>
                  <a:pt x="218" y="387"/>
                </a:cubicBezTo>
                <a:cubicBezTo>
                  <a:pt x="216" y="390"/>
                  <a:pt x="208" y="392"/>
                  <a:pt x="195" y="393"/>
                </a:cubicBezTo>
                <a:cubicBezTo>
                  <a:pt x="191" y="393"/>
                  <a:pt x="188" y="393"/>
                  <a:pt x="187" y="393"/>
                </a:cubicBezTo>
                <a:cubicBezTo>
                  <a:pt x="174" y="396"/>
                  <a:pt x="159" y="402"/>
                  <a:pt x="143" y="411"/>
                </a:cubicBezTo>
                <a:lnTo>
                  <a:pt x="141" y="411"/>
                </a:lnTo>
                <a:cubicBezTo>
                  <a:pt x="127" y="419"/>
                  <a:pt x="115" y="423"/>
                  <a:pt x="107" y="423"/>
                </a:cubicBezTo>
                <a:lnTo>
                  <a:pt x="106" y="423"/>
                </a:lnTo>
                <a:lnTo>
                  <a:pt x="104" y="423"/>
                </a:lnTo>
                <a:cubicBezTo>
                  <a:pt x="91" y="422"/>
                  <a:pt x="83" y="409"/>
                  <a:pt x="80" y="386"/>
                </a:cubicBezTo>
                <a:cubicBezTo>
                  <a:pt x="79" y="379"/>
                  <a:pt x="78" y="372"/>
                  <a:pt x="78" y="364"/>
                </a:cubicBezTo>
                <a:cubicBezTo>
                  <a:pt x="78" y="361"/>
                  <a:pt x="78" y="358"/>
                  <a:pt x="78" y="356"/>
                </a:cubicBezTo>
                <a:cubicBezTo>
                  <a:pt x="79" y="350"/>
                  <a:pt x="79" y="344"/>
                  <a:pt x="79" y="337"/>
                </a:cubicBezTo>
                <a:cubicBezTo>
                  <a:pt x="74" y="337"/>
                  <a:pt x="71" y="335"/>
                  <a:pt x="69" y="332"/>
                </a:cubicBezTo>
                <a:cubicBezTo>
                  <a:pt x="68" y="330"/>
                  <a:pt x="68" y="329"/>
                  <a:pt x="68" y="327"/>
                </a:cubicBezTo>
                <a:cubicBezTo>
                  <a:pt x="68" y="327"/>
                  <a:pt x="68" y="326"/>
                  <a:pt x="68" y="326"/>
                </a:cubicBezTo>
                <a:cubicBezTo>
                  <a:pt x="68" y="325"/>
                  <a:pt x="68" y="324"/>
                  <a:pt x="69" y="322"/>
                </a:cubicBezTo>
                <a:cubicBezTo>
                  <a:pt x="70" y="320"/>
                  <a:pt x="71" y="317"/>
                  <a:pt x="74" y="314"/>
                </a:cubicBezTo>
                <a:cubicBezTo>
                  <a:pt x="76" y="312"/>
                  <a:pt x="77" y="311"/>
                  <a:pt x="77" y="310"/>
                </a:cubicBezTo>
                <a:cubicBezTo>
                  <a:pt x="79" y="306"/>
                  <a:pt x="81" y="300"/>
                  <a:pt x="82" y="291"/>
                </a:cubicBezTo>
                <a:cubicBezTo>
                  <a:pt x="83" y="287"/>
                  <a:pt x="83" y="283"/>
                  <a:pt x="84" y="281"/>
                </a:cubicBezTo>
                <a:cubicBezTo>
                  <a:pt x="82" y="281"/>
                  <a:pt x="81" y="281"/>
                  <a:pt x="80" y="281"/>
                </a:cubicBezTo>
                <a:cubicBezTo>
                  <a:pt x="74" y="280"/>
                  <a:pt x="69" y="278"/>
                  <a:pt x="68" y="274"/>
                </a:cubicBezTo>
                <a:cubicBezTo>
                  <a:pt x="67" y="273"/>
                  <a:pt x="67" y="272"/>
                  <a:pt x="67" y="270"/>
                </a:cubicBezTo>
                <a:cubicBezTo>
                  <a:pt x="67" y="270"/>
                  <a:pt x="67" y="269"/>
                  <a:pt x="67" y="269"/>
                </a:cubicBezTo>
                <a:cubicBezTo>
                  <a:pt x="67" y="267"/>
                  <a:pt x="68" y="264"/>
                  <a:pt x="69" y="262"/>
                </a:cubicBezTo>
                <a:cubicBezTo>
                  <a:pt x="72" y="257"/>
                  <a:pt x="78" y="253"/>
                  <a:pt x="88" y="250"/>
                </a:cubicBezTo>
                <a:cubicBezTo>
                  <a:pt x="93" y="249"/>
                  <a:pt x="97" y="247"/>
                  <a:pt x="99" y="246"/>
                </a:cubicBezTo>
                <a:cubicBezTo>
                  <a:pt x="105" y="242"/>
                  <a:pt x="109" y="240"/>
                  <a:pt x="113" y="240"/>
                </a:cubicBezTo>
                <a:cubicBezTo>
                  <a:pt x="113" y="240"/>
                  <a:pt x="114" y="240"/>
                  <a:pt x="114" y="241"/>
                </a:cubicBezTo>
                <a:cubicBezTo>
                  <a:pt x="117" y="241"/>
                  <a:pt x="122" y="243"/>
                  <a:pt x="126" y="248"/>
                </a:cubicBezTo>
                <a:cubicBezTo>
                  <a:pt x="128" y="249"/>
                  <a:pt x="130" y="250"/>
                  <a:pt x="133" y="250"/>
                </a:cubicBezTo>
                <a:cubicBezTo>
                  <a:pt x="134" y="250"/>
                  <a:pt x="135" y="251"/>
                  <a:pt x="136" y="251"/>
                </a:cubicBezTo>
                <a:cubicBezTo>
                  <a:pt x="142" y="251"/>
                  <a:pt x="148" y="250"/>
                  <a:pt x="156" y="247"/>
                </a:cubicBezTo>
                <a:cubicBezTo>
                  <a:pt x="165" y="245"/>
                  <a:pt x="171" y="244"/>
                  <a:pt x="175" y="244"/>
                </a:cubicBezTo>
                <a:cubicBezTo>
                  <a:pt x="176" y="244"/>
                  <a:pt x="177" y="244"/>
                  <a:pt x="177" y="245"/>
                </a:cubicBezTo>
                <a:lnTo>
                  <a:pt x="178" y="245"/>
                </a:lnTo>
                <a:cubicBezTo>
                  <a:pt x="184" y="245"/>
                  <a:pt x="188" y="248"/>
                  <a:pt x="189" y="252"/>
                </a:cubicBezTo>
                <a:cubicBezTo>
                  <a:pt x="189" y="253"/>
                  <a:pt x="189" y="253"/>
                  <a:pt x="189" y="254"/>
                </a:cubicBezTo>
                <a:cubicBezTo>
                  <a:pt x="189" y="255"/>
                  <a:pt x="189" y="255"/>
                  <a:pt x="189" y="255"/>
                </a:cubicBezTo>
                <a:cubicBezTo>
                  <a:pt x="189" y="257"/>
                  <a:pt x="188" y="258"/>
                  <a:pt x="187" y="260"/>
                </a:cubicBezTo>
                <a:cubicBezTo>
                  <a:pt x="186" y="263"/>
                  <a:pt x="183" y="265"/>
                  <a:pt x="181" y="267"/>
                </a:cubicBezTo>
                <a:cubicBezTo>
                  <a:pt x="173" y="272"/>
                  <a:pt x="163" y="275"/>
                  <a:pt x="148" y="275"/>
                </a:cubicBezTo>
                <a:cubicBezTo>
                  <a:pt x="147" y="275"/>
                  <a:pt x="146" y="275"/>
                  <a:pt x="144" y="275"/>
                </a:cubicBezTo>
                <a:cubicBezTo>
                  <a:pt x="143" y="275"/>
                  <a:pt x="141" y="275"/>
                  <a:pt x="138" y="274"/>
                </a:cubicBezTo>
                <a:cubicBezTo>
                  <a:pt x="134" y="274"/>
                  <a:pt x="131" y="274"/>
                  <a:pt x="128" y="274"/>
                </a:cubicBezTo>
                <a:cubicBezTo>
                  <a:pt x="120" y="274"/>
                  <a:pt x="115" y="275"/>
                  <a:pt x="113" y="278"/>
                </a:cubicBezTo>
                <a:cubicBezTo>
                  <a:pt x="111" y="282"/>
                  <a:pt x="110" y="288"/>
                  <a:pt x="109" y="296"/>
                </a:cubicBezTo>
                <a:cubicBezTo>
                  <a:pt x="109" y="297"/>
                  <a:pt x="109" y="299"/>
                  <a:pt x="108" y="301"/>
                </a:cubicBezTo>
                <a:cubicBezTo>
                  <a:pt x="108" y="302"/>
                  <a:pt x="108" y="303"/>
                  <a:pt x="108" y="304"/>
                </a:cubicBezTo>
                <a:cubicBezTo>
                  <a:pt x="128" y="301"/>
                  <a:pt x="146" y="300"/>
                  <a:pt x="163" y="300"/>
                </a:cubicBezTo>
                <a:cubicBezTo>
                  <a:pt x="163" y="300"/>
                  <a:pt x="164" y="300"/>
                  <a:pt x="166" y="300"/>
                </a:cubicBezTo>
                <a:cubicBezTo>
                  <a:pt x="167" y="300"/>
                  <a:pt x="169" y="300"/>
                  <a:pt x="171" y="300"/>
                </a:cubicBezTo>
                <a:cubicBezTo>
                  <a:pt x="173" y="300"/>
                  <a:pt x="175" y="300"/>
                  <a:pt x="177" y="300"/>
                </a:cubicBezTo>
                <a:cubicBezTo>
                  <a:pt x="182" y="301"/>
                  <a:pt x="185" y="302"/>
                  <a:pt x="187" y="305"/>
                </a:cubicBezTo>
                <a:cubicBezTo>
                  <a:pt x="188" y="306"/>
                  <a:pt x="189" y="308"/>
                  <a:pt x="189" y="309"/>
                </a:cubicBezTo>
                <a:lnTo>
                  <a:pt x="189" y="310"/>
                </a:lnTo>
                <a:cubicBezTo>
                  <a:pt x="189" y="310"/>
                  <a:pt x="189" y="311"/>
                  <a:pt x="188" y="311"/>
                </a:cubicBezTo>
                <a:cubicBezTo>
                  <a:pt x="187" y="315"/>
                  <a:pt x="184" y="318"/>
                  <a:pt x="180" y="320"/>
                </a:cubicBezTo>
                <a:cubicBezTo>
                  <a:pt x="176" y="323"/>
                  <a:pt x="173" y="324"/>
                  <a:pt x="170" y="325"/>
                </a:cubicBezTo>
                <a:cubicBezTo>
                  <a:pt x="163" y="327"/>
                  <a:pt x="153" y="328"/>
                  <a:pt x="139" y="328"/>
                </a:cubicBezTo>
                <a:lnTo>
                  <a:pt x="138" y="328"/>
                </a:lnTo>
                <a:lnTo>
                  <a:pt x="134" y="328"/>
                </a:lnTo>
                <a:cubicBezTo>
                  <a:pt x="133" y="328"/>
                  <a:pt x="131" y="328"/>
                  <a:pt x="129" y="327"/>
                </a:cubicBezTo>
                <a:cubicBezTo>
                  <a:pt x="127" y="327"/>
                  <a:pt x="125" y="327"/>
                  <a:pt x="123" y="327"/>
                </a:cubicBezTo>
                <a:cubicBezTo>
                  <a:pt x="121" y="327"/>
                  <a:pt x="119" y="327"/>
                  <a:pt x="118" y="328"/>
                </a:cubicBezTo>
                <a:cubicBezTo>
                  <a:pt x="113" y="328"/>
                  <a:pt x="110" y="330"/>
                  <a:pt x="109" y="333"/>
                </a:cubicBezTo>
                <a:cubicBezTo>
                  <a:pt x="106" y="337"/>
                  <a:pt x="105" y="344"/>
                  <a:pt x="104" y="353"/>
                </a:cubicBezTo>
                <a:lnTo>
                  <a:pt x="103" y="355"/>
                </a:lnTo>
                <a:cubicBezTo>
                  <a:pt x="103" y="358"/>
                  <a:pt x="103" y="362"/>
                  <a:pt x="103" y="365"/>
                </a:cubicBezTo>
                <a:cubicBezTo>
                  <a:pt x="103" y="372"/>
                  <a:pt x="104" y="377"/>
                  <a:pt x="106" y="382"/>
                </a:cubicBezTo>
                <a:cubicBezTo>
                  <a:pt x="107" y="385"/>
                  <a:pt x="110" y="388"/>
                  <a:pt x="113" y="388"/>
                </a:cubicBezTo>
                <a:cubicBezTo>
                  <a:pt x="113" y="389"/>
                  <a:pt x="114" y="389"/>
                  <a:pt x="115" y="389"/>
                </a:cubicBezTo>
                <a:cubicBezTo>
                  <a:pt x="116" y="389"/>
                  <a:pt x="117" y="389"/>
                  <a:pt x="118" y="389"/>
                </a:cubicBezTo>
                <a:cubicBezTo>
                  <a:pt x="125" y="389"/>
                  <a:pt x="135" y="386"/>
                  <a:pt x="149" y="381"/>
                </a:cubicBezTo>
                <a:cubicBezTo>
                  <a:pt x="153" y="380"/>
                  <a:pt x="156" y="379"/>
                  <a:pt x="158" y="378"/>
                </a:cubicBezTo>
                <a:cubicBezTo>
                  <a:pt x="174" y="372"/>
                  <a:pt x="188" y="370"/>
                  <a:pt x="199" y="370"/>
                </a:cubicBezTo>
                <a:cubicBezTo>
                  <a:pt x="202" y="370"/>
                  <a:pt x="204" y="370"/>
                  <a:pt x="207" y="370"/>
                </a:cubicBezTo>
                <a:cubicBezTo>
                  <a:pt x="209" y="370"/>
                  <a:pt x="211" y="371"/>
                  <a:pt x="213" y="371"/>
                </a:cubicBezTo>
                <a:cubicBezTo>
                  <a:pt x="216" y="372"/>
                  <a:pt x="218" y="374"/>
                  <a:pt x="219" y="378"/>
                </a:cubicBezTo>
                <a:cubicBezTo>
                  <a:pt x="220" y="379"/>
                  <a:pt x="220" y="381"/>
                  <a:pt x="220" y="382"/>
                </a:cubicBezTo>
                <a:cubicBezTo>
                  <a:pt x="220" y="383"/>
                  <a:pt x="220" y="383"/>
                  <a:pt x="220" y="383"/>
                </a:cubicBezTo>
                <a:close/>
                <a:moveTo>
                  <a:pt x="317" y="386"/>
                </a:moveTo>
                <a:cubicBezTo>
                  <a:pt x="316" y="389"/>
                  <a:pt x="313" y="393"/>
                  <a:pt x="307" y="396"/>
                </a:cubicBezTo>
                <a:cubicBezTo>
                  <a:pt x="302" y="399"/>
                  <a:pt x="297" y="401"/>
                  <a:pt x="292" y="401"/>
                </a:cubicBezTo>
                <a:lnTo>
                  <a:pt x="291" y="401"/>
                </a:lnTo>
                <a:cubicBezTo>
                  <a:pt x="280" y="400"/>
                  <a:pt x="264" y="399"/>
                  <a:pt x="242" y="399"/>
                </a:cubicBezTo>
                <a:cubicBezTo>
                  <a:pt x="235" y="399"/>
                  <a:pt x="231" y="398"/>
                  <a:pt x="228" y="395"/>
                </a:cubicBezTo>
                <a:cubicBezTo>
                  <a:pt x="226" y="394"/>
                  <a:pt x="225" y="391"/>
                  <a:pt x="225" y="389"/>
                </a:cubicBezTo>
                <a:lnTo>
                  <a:pt x="225" y="389"/>
                </a:lnTo>
                <a:cubicBezTo>
                  <a:pt x="225" y="385"/>
                  <a:pt x="227" y="381"/>
                  <a:pt x="232" y="378"/>
                </a:cubicBezTo>
                <a:cubicBezTo>
                  <a:pt x="236" y="374"/>
                  <a:pt x="242" y="372"/>
                  <a:pt x="249" y="372"/>
                </a:cubicBezTo>
                <a:lnTo>
                  <a:pt x="264" y="372"/>
                </a:lnTo>
                <a:cubicBezTo>
                  <a:pt x="283" y="372"/>
                  <a:pt x="298" y="373"/>
                  <a:pt x="308" y="376"/>
                </a:cubicBezTo>
                <a:cubicBezTo>
                  <a:pt x="314" y="378"/>
                  <a:pt x="317" y="381"/>
                  <a:pt x="317" y="385"/>
                </a:cubicBezTo>
                <a:cubicBezTo>
                  <a:pt x="317" y="385"/>
                  <a:pt x="317" y="385"/>
                  <a:pt x="317" y="386"/>
                </a:cubicBezTo>
                <a:close/>
                <a:moveTo>
                  <a:pt x="321" y="351"/>
                </a:moveTo>
                <a:cubicBezTo>
                  <a:pt x="321" y="355"/>
                  <a:pt x="318" y="358"/>
                  <a:pt x="310" y="360"/>
                </a:cubicBezTo>
                <a:cubicBezTo>
                  <a:pt x="306" y="361"/>
                  <a:pt x="300" y="362"/>
                  <a:pt x="294" y="362"/>
                </a:cubicBezTo>
                <a:cubicBezTo>
                  <a:pt x="289" y="362"/>
                  <a:pt x="281" y="361"/>
                  <a:pt x="271" y="360"/>
                </a:cubicBezTo>
                <a:cubicBezTo>
                  <a:pt x="262" y="359"/>
                  <a:pt x="255" y="359"/>
                  <a:pt x="251" y="359"/>
                </a:cubicBezTo>
                <a:cubicBezTo>
                  <a:pt x="250" y="359"/>
                  <a:pt x="248" y="359"/>
                  <a:pt x="245" y="359"/>
                </a:cubicBezTo>
                <a:cubicBezTo>
                  <a:pt x="240" y="359"/>
                  <a:pt x="237" y="359"/>
                  <a:pt x="234" y="359"/>
                </a:cubicBezTo>
                <a:cubicBezTo>
                  <a:pt x="226" y="359"/>
                  <a:pt x="220" y="358"/>
                  <a:pt x="218" y="354"/>
                </a:cubicBezTo>
                <a:cubicBezTo>
                  <a:pt x="217" y="353"/>
                  <a:pt x="216" y="351"/>
                  <a:pt x="216" y="349"/>
                </a:cubicBezTo>
                <a:cubicBezTo>
                  <a:pt x="216" y="348"/>
                  <a:pt x="217" y="346"/>
                  <a:pt x="218" y="344"/>
                </a:cubicBezTo>
                <a:cubicBezTo>
                  <a:pt x="221" y="337"/>
                  <a:pt x="229" y="333"/>
                  <a:pt x="242" y="333"/>
                </a:cubicBezTo>
                <a:lnTo>
                  <a:pt x="258" y="333"/>
                </a:lnTo>
                <a:cubicBezTo>
                  <a:pt x="275" y="333"/>
                  <a:pt x="288" y="334"/>
                  <a:pt x="297" y="335"/>
                </a:cubicBezTo>
                <a:cubicBezTo>
                  <a:pt x="302" y="335"/>
                  <a:pt x="306" y="337"/>
                  <a:pt x="312" y="340"/>
                </a:cubicBezTo>
                <a:cubicBezTo>
                  <a:pt x="318" y="343"/>
                  <a:pt x="321" y="347"/>
                  <a:pt x="321" y="350"/>
                </a:cubicBezTo>
                <a:lnTo>
                  <a:pt x="321" y="351"/>
                </a:lnTo>
                <a:lnTo>
                  <a:pt x="321" y="351"/>
                </a:lnTo>
                <a:close/>
                <a:moveTo>
                  <a:pt x="461" y="426"/>
                </a:moveTo>
                <a:cubicBezTo>
                  <a:pt x="459" y="426"/>
                  <a:pt x="458" y="425"/>
                  <a:pt x="456" y="425"/>
                </a:cubicBezTo>
                <a:cubicBezTo>
                  <a:pt x="449" y="423"/>
                  <a:pt x="444" y="420"/>
                  <a:pt x="442" y="416"/>
                </a:cubicBezTo>
                <a:cubicBezTo>
                  <a:pt x="438" y="412"/>
                  <a:pt x="435" y="404"/>
                  <a:pt x="433" y="394"/>
                </a:cubicBezTo>
                <a:cubicBezTo>
                  <a:pt x="430" y="383"/>
                  <a:pt x="427" y="375"/>
                  <a:pt x="425" y="371"/>
                </a:cubicBezTo>
                <a:cubicBezTo>
                  <a:pt x="425" y="371"/>
                  <a:pt x="423" y="376"/>
                  <a:pt x="421" y="385"/>
                </a:cubicBezTo>
                <a:cubicBezTo>
                  <a:pt x="419" y="393"/>
                  <a:pt x="417" y="399"/>
                  <a:pt x="415" y="403"/>
                </a:cubicBezTo>
                <a:cubicBezTo>
                  <a:pt x="409" y="418"/>
                  <a:pt x="402" y="426"/>
                  <a:pt x="395" y="426"/>
                </a:cubicBezTo>
                <a:lnTo>
                  <a:pt x="395" y="426"/>
                </a:lnTo>
                <a:cubicBezTo>
                  <a:pt x="389" y="426"/>
                  <a:pt x="385" y="417"/>
                  <a:pt x="382" y="397"/>
                </a:cubicBezTo>
                <a:cubicBezTo>
                  <a:pt x="379" y="384"/>
                  <a:pt x="378" y="377"/>
                  <a:pt x="378" y="377"/>
                </a:cubicBezTo>
                <a:cubicBezTo>
                  <a:pt x="377" y="371"/>
                  <a:pt x="376" y="368"/>
                  <a:pt x="374" y="368"/>
                </a:cubicBezTo>
                <a:cubicBezTo>
                  <a:pt x="374" y="368"/>
                  <a:pt x="369" y="381"/>
                  <a:pt x="360" y="407"/>
                </a:cubicBezTo>
                <a:cubicBezTo>
                  <a:pt x="357" y="415"/>
                  <a:pt x="354" y="420"/>
                  <a:pt x="351" y="423"/>
                </a:cubicBezTo>
                <a:cubicBezTo>
                  <a:pt x="349" y="424"/>
                  <a:pt x="347" y="425"/>
                  <a:pt x="345" y="425"/>
                </a:cubicBezTo>
                <a:cubicBezTo>
                  <a:pt x="342" y="425"/>
                  <a:pt x="338" y="424"/>
                  <a:pt x="335" y="421"/>
                </a:cubicBezTo>
                <a:lnTo>
                  <a:pt x="335" y="421"/>
                </a:lnTo>
                <a:cubicBezTo>
                  <a:pt x="335" y="421"/>
                  <a:pt x="335" y="418"/>
                  <a:pt x="335" y="412"/>
                </a:cubicBezTo>
                <a:cubicBezTo>
                  <a:pt x="335" y="404"/>
                  <a:pt x="335" y="390"/>
                  <a:pt x="334" y="371"/>
                </a:cubicBezTo>
                <a:lnTo>
                  <a:pt x="334" y="371"/>
                </a:lnTo>
                <a:cubicBezTo>
                  <a:pt x="334" y="368"/>
                  <a:pt x="335" y="366"/>
                  <a:pt x="337" y="363"/>
                </a:cubicBezTo>
                <a:cubicBezTo>
                  <a:pt x="338" y="360"/>
                  <a:pt x="339" y="357"/>
                  <a:pt x="339" y="355"/>
                </a:cubicBezTo>
                <a:cubicBezTo>
                  <a:pt x="339" y="351"/>
                  <a:pt x="341" y="349"/>
                  <a:pt x="346" y="349"/>
                </a:cubicBezTo>
                <a:cubicBezTo>
                  <a:pt x="351" y="349"/>
                  <a:pt x="354" y="349"/>
                  <a:pt x="354" y="349"/>
                </a:cubicBezTo>
                <a:cubicBezTo>
                  <a:pt x="355" y="347"/>
                  <a:pt x="358" y="345"/>
                  <a:pt x="360" y="341"/>
                </a:cubicBezTo>
                <a:cubicBezTo>
                  <a:pt x="363" y="338"/>
                  <a:pt x="365" y="336"/>
                  <a:pt x="367" y="334"/>
                </a:cubicBezTo>
                <a:cubicBezTo>
                  <a:pt x="369" y="332"/>
                  <a:pt x="372" y="331"/>
                  <a:pt x="375" y="331"/>
                </a:cubicBezTo>
                <a:cubicBezTo>
                  <a:pt x="377" y="331"/>
                  <a:pt x="380" y="332"/>
                  <a:pt x="383" y="333"/>
                </a:cubicBezTo>
                <a:cubicBezTo>
                  <a:pt x="387" y="336"/>
                  <a:pt x="390" y="343"/>
                  <a:pt x="394" y="355"/>
                </a:cubicBezTo>
                <a:cubicBezTo>
                  <a:pt x="398" y="371"/>
                  <a:pt x="400" y="379"/>
                  <a:pt x="400" y="379"/>
                </a:cubicBezTo>
                <a:cubicBezTo>
                  <a:pt x="401" y="378"/>
                  <a:pt x="404" y="368"/>
                  <a:pt x="409" y="350"/>
                </a:cubicBezTo>
                <a:cubicBezTo>
                  <a:pt x="413" y="337"/>
                  <a:pt x="417" y="330"/>
                  <a:pt x="423" y="327"/>
                </a:cubicBezTo>
                <a:cubicBezTo>
                  <a:pt x="435" y="329"/>
                  <a:pt x="444" y="342"/>
                  <a:pt x="452" y="365"/>
                </a:cubicBezTo>
                <a:cubicBezTo>
                  <a:pt x="454" y="371"/>
                  <a:pt x="457" y="381"/>
                  <a:pt x="460" y="394"/>
                </a:cubicBezTo>
                <a:cubicBezTo>
                  <a:pt x="463" y="406"/>
                  <a:pt x="466" y="413"/>
                  <a:pt x="467" y="418"/>
                </a:cubicBezTo>
                <a:cubicBezTo>
                  <a:pt x="467" y="423"/>
                  <a:pt x="465" y="426"/>
                  <a:pt x="461" y="426"/>
                </a:cubicBezTo>
                <a:close/>
                <a:moveTo>
                  <a:pt x="538" y="421"/>
                </a:moveTo>
                <a:cubicBezTo>
                  <a:pt x="528" y="424"/>
                  <a:pt x="520" y="426"/>
                  <a:pt x="512" y="426"/>
                </a:cubicBezTo>
                <a:cubicBezTo>
                  <a:pt x="501" y="426"/>
                  <a:pt x="491" y="422"/>
                  <a:pt x="485" y="413"/>
                </a:cubicBezTo>
                <a:cubicBezTo>
                  <a:pt x="480" y="407"/>
                  <a:pt x="478" y="398"/>
                  <a:pt x="478" y="389"/>
                </a:cubicBezTo>
                <a:lnTo>
                  <a:pt x="478" y="387"/>
                </a:lnTo>
                <a:cubicBezTo>
                  <a:pt x="478" y="378"/>
                  <a:pt x="479" y="370"/>
                  <a:pt x="483" y="362"/>
                </a:cubicBezTo>
                <a:cubicBezTo>
                  <a:pt x="486" y="353"/>
                  <a:pt x="491" y="345"/>
                  <a:pt x="497" y="340"/>
                </a:cubicBezTo>
                <a:cubicBezTo>
                  <a:pt x="504" y="334"/>
                  <a:pt x="511" y="331"/>
                  <a:pt x="518" y="331"/>
                </a:cubicBezTo>
                <a:lnTo>
                  <a:pt x="519" y="331"/>
                </a:lnTo>
                <a:cubicBezTo>
                  <a:pt x="526" y="331"/>
                  <a:pt x="530" y="334"/>
                  <a:pt x="532" y="340"/>
                </a:cubicBezTo>
                <a:cubicBezTo>
                  <a:pt x="533" y="341"/>
                  <a:pt x="533" y="343"/>
                  <a:pt x="533" y="344"/>
                </a:cubicBezTo>
                <a:cubicBezTo>
                  <a:pt x="533" y="348"/>
                  <a:pt x="531" y="351"/>
                  <a:pt x="526" y="354"/>
                </a:cubicBezTo>
                <a:cubicBezTo>
                  <a:pt x="516" y="360"/>
                  <a:pt x="510" y="364"/>
                  <a:pt x="508" y="367"/>
                </a:cubicBezTo>
                <a:cubicBezTo>
                  <a:pt x="504" y="371"/>
                  <a:pt x="502" y="375"/>
                  <a:pt x="502" y="380"/>
                </a:cubicBezTo>
                <a:cubicBezTo>
                  <a:pt x="502" y="383"/>
                  <a:pt x="502" y="386"/>
                  <a:pt x="503" y="388"/>
                </a:cubicBezTo>
                <a:cubicBezTo>
                  <a:pt x="505" y="395"/>
                  <a:pt x="510" y="398"/>
                  <a:pt x="517" y="398"/>
                </a:cubicBezTo>
                <a:cubicBezTo>
                  <a:pt x="518" y="398"/>
                  <a:pt x="519" y="398"/>
                  <a:pt x="520" y="398"/>
                </a:cubicBezTo>
                <a:cubicBezTo>
                  <a:pt x="526" y="397"/>
                  <a:pt x="535" y="394"/>
                  <a:pt x="547" y="388"/>
                </a:cubicBezTo>
                <a:cubicBezTo>
                  <a:pt x="560" y="382"/>
                  <a:pt x="568" y="379"/>
                  <a:pt x="572" y="378"/>
                </a:cubicBezTo>
                <a:cubicBezTo>
                  <a:pt x="574" y="378"/>
                  <a:pt x="575" y="378"/>
                  <a:pt x="576" y="378"/>
                </a:cubicBezTo>
                <a:cubicBezTo>
                  <a:pt x="581" y="378"/>
                  <a:pt x="584" y="381"/>
                  <a:pt x="584" y="387"/>
                </a:cubicBezTo>
                <a:cubicBezTo>
                  <a:pt x="582" y="398"/>
                  <a:pt x="567" y="410"/>
                  <a:pt x="538" y="421"/>
                </a:cubicBezTo>
                <a:close/>
                <a:moveTo>
                  <a:pt x="600" y="322"/>
                </a:moveTo>
                <a:cubicBezTo>
                  <a:pt x="599" y="324"/>
                  <a:pt x="597" y="325"/>
                  <a:pt x="594" y="326"/>
                </a:cubicBezTo>
                <a:cubicBezTo>
                  <a:pt x="592" y="326"/>
                  <a:pt x="590" y="326"/>
                  <a:pt x="587" y="327"/>
                </a:cubicBezTo>
                <a:cubicBezTo>
                  <a:pt x="583" y="327"/>
                  <a:pt x="579" y="327"/>
                  <a:pt x="575" y="327"/>
                </a:cubicBezTo>
                <a:cubicBezTo>
                  <a:pt x="569" y="327"/>
                  <a:pt x="562" y="327"/>
                  <a:pt x="554" y="326"/>
                </a:cubicBezTo>
                <a:cubicBezTo>
                  <a:pt x="549" y="325"/>
                  <a:pt x="547" y="323"/>
                  <a:pt x="546" y="321"/>
                </a:cubicBezTo>
                <a:cubicBezTo>
                  <a:pt x="546" y="320"/>
                  <a:pt x="546" y="319"/>
                  <a:pt x="546" y="319"/>
                </a:cubicBezTo>
                <a:cubicBezTo>
                  <a:pt x="546" y="316"/>
                  <a:pt x="547" y="314"/>
                  <a:pt x="550" y="312"/>
                </a:cubicBezTo>
                <a:cubicBezTo>
                  <a:pt x="563" y="303"/>
                  <a:pt x="573" y="294"/>
                  <a:pt x="580" y="284"/>
                </a:cubicBezTo>
                <a:cubicBezTo>
                  <a:pt x="581" y="283"/>
                  <a:pt x="581" y="281"/>
                  <a:pt x="582" y="280"/>
                </a:cubicBezTo>
                <a:lnTo>
                  <a:pt x="582" y="280"/>
                </a:lnTo>
                <a:cubicBezTo>
                  <a:pt x="582" y="278"/>
                  <a:pt x="581" y="277"/>
                  <a:pt x="580" y="277"/>
                </a:cubicBezTo>
                <a:cubicBezTo>
                  <a:pt x="579" y="276"/>
                  <a:pt x="578" y="275"/>
                  <a:pt x="576" y="275"/>
                </a:cubicBezTo>
                <a:cubicBezTo>
                  <a:pt x="575" y="275"/>
                  <a:pt x="573" y="275"/>
                  <a:pt x="572" y="276"/>
                </a:cubicBezTo>
                <a:cubicBezTo>
                  <a:pt x="568" y="277"/>
                  <a:pt x="564" y="281"/>
                  <a:pt x="561" y="286"/>
                </a:cubicBezTo>
                <a:cubicBezTo>
                  <a:pt x="561" y="287"/>
                  <a:pt x="560" y="288"/>
                  <a:pt x="559" y="288"/>
                </a:cubicBezTo>
                <a:cubicBezTo>
                  <a:pt x="558" y="289"/>
                  <a:pt x="557" y="289"/>
                  <a:pt x="556" y="289"/>
                </a:cubicBezTo>
                <a:cubicBezTo>
                  <a:pt x="556" y="289"/>
                  <a:pt x="556" y="289"/>
                  <a:pt x="556" y="289"/>
                </a:cubicBezTo>
                <a:cubicBezTo>
                  <a:pt x="554" y="289"/>
                  <a:pt x="553" y="288"/>
                  <a:pt x="553" y="287"/>
                </a:cubicBezTo>
                <a:cubicBezTo>
                  <a:pt x="552" y="287"/>
                  <a:pt x="552" y="286"/>
                  <a:pt x="552" y="285"/>
                </a:cubicBezTo>
                <a:cubicBezTo>
                  <a:pt x="552" y="285"/>
                  <a:pt x="552" y="285"/>
                  <a:pt x="552" y="284"/>
                </a:cubicBezTo>
                <a:cubicBezTo>
                  <a:pt x="553" y="278"/>
                  <a:pt x="556" y="274"/>
                  <a:pt x="562" y="270"/>
                </a:cubicBezTo>
                <a:cubicBezTo>
                  <a:pt x="567" y="266"/>
                  <a:pt x="573" y="264"/>
                  <a:pt x="579" y="264"/>
                </a:cubicBezTo>
                <a:lnTo>
                  <a:pt x="579" y="264"/>
                </a:lnTo>
                <a:cubicBezTo>
                  <a:pt x="585" y="264"/>
                  <a:pt x="589" y="266"/>
                  <a:pt x="592" y="271"/>
                </a:cubicBezTo>
                <a:cubicBezTo>
                  <a:pt x="593" y="273"/>
                  <a:pt x="594" y="276"/>
                  <a:pt x="594" y="278"/>
                </a:cubicBezTo>
                <a:cubicBezTo>
                  <a:pt x="594" y="280"/>
                  <a:pt x="593" y="283"/>
                  <a:pt x="593" y="285"/>
                </a:cubicBezTo>
                <a:cubicBezTo>
                  <a:pt x="590" y="290"/>
                  <a:pt x="586" y="296"/>
                  <a:pt x="580" y="301"/>
                </a:cubicBezTo>
                <a:cubicBezTo>
                  <a:pt x="572" y="308"/>
                  <a:pt x="567" y="313"/>
                  <a:pt x="565" y="314"/>
                </a:cubicBezTo>
                <a:cubicBezTo>
                  <a:pt x="572" y="315"/>
                  <a:pt x="578" y="316"/>
                  <a:pt x="582" y="316"/>
                </a:cubicBezTo>
                <a:lnTo>
                  <a:pt x="582" y="316"/>
                </a:lnTo>
                <a:cubicBezTo>
                  <a:pt x="583" y="316"/>
                  <a:pt x="585" y="316"/>
                  <a:pt x="589" y="315"/>
                </a:cubicBezTo>
                <a:cubicBezTo>
                  <a:pt x="591" y="315"/>
                  <a:pt x="592" y="315"/>
                  <a:pt x="594" y="315"/>
                </a:cubicBezTo>
                <a:cubicBezTo>
                  <a:pt x="594" y="315"/>
                  <a:pt x="595" y="315"/>
                  <a:pt x="596" y="315"/>
                </a:cubicBezTo>
                <a:cubicBezTo>
                  <a:pt x="598" y="315"/>
                  <a:pt x="599" y="316"/>
                  <a:pt x="600" y="317"/>
                </a:cubicBezTo>
                <a:cubicBezTo>
                  <a:pt x="600" y="318"/>
                  <a:pt x="600" y="318"/>
                  <a:pt x="600" y="319"/>
                </a:cubicBezTo>
                <a:cubicBezTo>
                  <a:pt x="600" y="320"/>
                  <a:pt x="600" y="321"/>
                  <a:pt x="600" y="322"/>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rogrammer_376186">
            <a:extLst>
              <a:ext uri="{FF2B5EF4-FFF2-40B4-BE49-F238E27FC236}">
                <a16:creationId xmlns:a16="http://schemas.microsoft.com/office/drawing/2014/main" id="{F6E24D76-0776-EC4B-B82A-773E77B14049}"/>
              </a:ext>
            </a:extLst>
          </p:cNvPr>
          <p:cNvSpPr>
            <a:spLocks noChangeAspect="1"/>
          </p:cNvSpPr>
          <p:nvPr/>
        </p:nvSpPr>
        <p:spPr>
          <a:xfrm>
            <a:off x="3208522" y="5787185"/>
            <a:ext cx="499560" cy="609685"/>
          </a:xfrm>
          <a:custGeom>
            <a:avLst/>
            <a:gdLst>
              <a:gd name="connsiteX0" fmla="*/ 262319 w 497133"/>
              <a:gd name="connsiteY0" fmla="*/ 331311 h 606722"/>
              <a:gd name="connsiteX1" fmla="*/ 230542 w 497133"/>
              <a:gd name="connsiteY1" fmla="*/ 353973 h 606722"/>
              <a:gd name="connsiteX2" fmla="*/ 212116 w 497133"/>
              <a:gd name="connsiteY2" fmla="*/ 464262 h 606722"/>
              <a:gd name="connsiteX3" fmla="*/ 234814 w 497133"/>
              <a:gd name="connsiteY3" fmla="*/ 495989 h 606722"/>
              <a:gd name="connsiteX4" fmla="*/ 239354 w 497133"/>
              <a:gd name="connsiteY4" fmla="*/ 496433 h 606722"/>
              <a:gd name="connsiteX5" fmla="*/ 266591 w 497133"/>
              <a:gd name="connsiteY5" fmla="*/ 473327 h 606722"/>
              <a:gd name="connsiteX6" fmla="*/ 285017 w 497133"/>
              <a:gd name="connsiteY6" fmla="*/ 363038 h 606722"/>
              <a:gd name="connsiteX7" fmla="*/ 262319 w 497133"/>
              <a:gd name="connsiteY7" fmla="*/ 331311 h 606722"/>
              <a:gd name="connsiteX8" fmla="*/ 331437 w 497133"/>
              <a:gd name="connsiteY8" fmla="*/ 330911 h 606722"/>
              <a:gd name="connsiteX9" fmla="*/ 311899 w 497133"/>
              <a:gd name="connsiteY9" fmla="*/ 339043 h 606722"/>
              <a:gd name="connsiteX10" fmla="*/ 311899 w 497133"/>
              <a:gd name="connsiteY10" fmla="*/ 377968 h 606722"/>
              <a:gd name="connsiteX11" fmla="*/ 347593 w 497133"/>
              <a:gd name="connsiteY11" fmla="*/ 413695 h 606722"/>
              <a:gd name="connsiteX12" fmla="*/ 311899 w 497133"/>
              <a:gd name="connsiteY12" fmla="*/ 449332 h 606722"/>
              <a:gd name="connsiteX13" fmla="*/ 311899 w 497133"/>
              <a:gd name="connsiteY13" fmla="*/ 488346 h 606722"/>
              <a:gd name="connsiteX14" fmla="*/ 331392 w 497133"/>
              <a:gd name="connsiteY14" fmla="*/ 496345 h 606722"/>
              <a:gd name="connsiteX15" fmla="*/ 350975 w 497133"/>
              <a:gd name="connsiteY15" fmla="*/ 488346 h 606722"/>
              <a:gd name="connsiteX16" fmla="*/ 406163 w 497133"/>
              <a:gd name="connsiteY16" fmla="*/ 433157 h 606722"/>
              <a:gd name="connsiteX17" fmla="*/ 406163 w 497133"/>
              <a:gd name="connsiteY17" fmla="*/ 394143 h 606722"/>
              <a:gd name="connsiteX18" fmla="*/ 350975 w 497133"/>
              <a:gd name="connsiteY18" fmla="*/ 339043 h 606722"/>
              <a:gd name="connsiteX19" fmla="*/ 331437 w 497133"/>
              <a:gd name="connsiteY19" fmla="*/ 330911 h 606722"/>
              <a:gd name="connsiteX20" fmla="*/ 165696 w 497133"/>
              <a:gd name="connsiteY20" fmla="*/ 330911 h 606722"/>
              <a:gd name="connsiteX21" fmla="*/ 146158 w 497133"/>
              <a:gd name="connsiteY21" fmla="*/ 339043 h 606722"/>
              <a:gd name="connsiteX22" fmla="*/ 90881 w 497133"/>
              <a:gd name="connsiteY22" fmla="*/ 394143 h 606722"/>
              <a:gd name="connsiteX23" fmla="*/ 90881 w 497133"/>
              <a:gd name="connsiteY23" fmla="*/ 433157 h 606722"/>
              <a:gd name="connsiteX24" fmla="*/ 146158 w 497133"/>
              <a:gd name="connsiteY24" fmla="*/ 488346 h 606722"/>
              <a:gd name="connsiteX25" fmla="*/ 165652 w 497133"/>
              <a:gd name="connsiteY25" fmla="*/ 496345 h 606722"/>
              <a:gd name="connsiteX26" fmla="*/ 185234 w 497133"/>
              <a:gd name="connsiteY26" fmla="*/ 488346 h 606722"/>
              <a:gd name="connsiteX27" fmla="*/ 185234 w 497133"/>
              <a:gd name="connsiteY27" fmla="*/ 449332 h 606722"/>
              <a:gd name="connsiteX28" fmla="*/ 149540 w 497133"/>
              <a:gd name="connsiteY28" fmla="*/ 413695 h 606722"/>
              <a:gd name="connsiteX29" fmla="*/ 185234 w 497133"/>
              <a:gd name="connsiteY29" fmla="*/ 377968 h 606722"/>
              <a:gd name="connsiteX30" fmla="*/ 185234 w 497133"/>
              <a:gd name="connsiteY30" fmla="*/ 339043 h 606722"/>
              <a:gd name="connsiteX31" fmla="*/ 165696 w 497133"/>
              <a:gd name="connsiteY31" fmla="*/ 330911 h 606722"/>
              <a:gd name="connsiteX32" fmla="*/ 312957 w 497133"/>
              <a:gd name="connsiteY32" fmla="*/ 16159 h 606722"/>
              <a:gd name="connsiteX33" fmla="*/ 480903 w 497133"/>
              <a:gd name="connsiteY33" fmla="*/ 183893 h 606722"/>
              <a:gd name="connsiteX34" fmla="*/ 441831 w 497133"/>
              <a:gd name="connsiteY34" fmla="*/ 183893 h 606722"/>
              <a:gd name="connsiteX35" fmla="*/ 402849 w 497133"/>
              <a:gd name="connsiteY35" fmla="*/ 183893 h 606722"/>
              <a:gd name="connsiteX36" fmla="*/ 312957 w 497133"/>
              <a:gd name="connsiteY36" fmla="*/ 183893 h 606722"/>
              <a:gd name="connsiteX37" fmla="*/ 312957 w 497133"/>
              <a:gd name="connsiteY37" fmla="*/ 94115 h 606722"/>
              <a:gd name="connsiteX38" fmla="*/ 312957 w 497133"/>
              <a:gd name="connsiteY38" fmla="*/ 55182 h 606722"/>
              <a:gd name="connsiteX39" fmla="*/ 27594 w 497133"/>
              <a:gd name="connsiteY39" fmla="*/ 0 h 606722"/>
              <a:gd name="connsiteX40" fmla="*/ 257779 w 497133"/>
              <a:gd name="connsiteY40" fmla="*/ 0 h 606722"/>
              <a:gd name="connsiteX41" fmla="*/ 257779 w 497133"/>
              <a:gd name="connsiteY41" fmla="*/ 27550 h 606722"/>
              <a:gd name="connsiteX42" fmla="*/ 257779 w 497133"/>
              <a:gd name="connsiteY42" fmla="*/ 55189 h 606722"/>
              <a:gd name="connsiteX43" fmla="*/ 257779 w 497133"/>
              <a:gd name="connsiteY43" fmla="*/ 211424 h 606722"/>
              <a:gd name="connsiteX44" fmla="*/ 285373 w 497133"/>
              <a:gd name="connsiteY44" fmla="*/ 238974 h 606722"/>
              <a:gd name="connsiteX45" fmla="*/ 441856 w 497133"/>
              <a:gd name="connsiteY45" fmla="*/ 238974 h 606722"/>
              <a:gd name="connsiteX46" fmla="*/ 469539 w 497133"/>
              <a:gd name="connsiteY46" fmla="*/ 238974 h 606722"/>
              <a:gd name="connsiteX47" fmla="*/ 497133 w 497133"/>
              <a:gd name="connsiteY47" fmla="*/ 238974 h 606722"/>
              <a:gd name="connsiteX48" fmla="*/ 497133 w 497133"/>
              <a:gd name="connsiteY48" fmla="*/ 579083 h 606722"/>
              <a:gd name="connsiteX49" fmla="*/ 469539 w 497133"/>
              <a:gd name="connsiteY49" fmla="*/ 606722 h 606722"/>
              <a:gd name="connsiteX50" fmla="*/ 27594 w 497133"/>
              <a:gd name="connsiteY50" fmla="*/ 606722 h 606722"/>
              <a:gd name="connsiteX51" fmla="*/ 0 w 497133"/>
              <a:gd name="connsiteY51" fmla="*/ 579083 h 606722"/>
              <a:gd name="connsiteX52" fmla="*/ 0 w 497133"/>
              <a:gd name="connsiteY52" fmla="*/ 27550 h 606722"/>
              <a:gd name="connsiteX53" fmla="*/ 27594 w 497133"/>
              <a:gd name="connsiteY53"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497133" h="606722">
                <a:moveTo>
                  <a:pt x="262319" y="331311"/>
                </a:moveTo>
                <a:cubicBezTo>
                  <a:pt x="247276" y="328823"/>
                  <a:pt x="233034" y="338954"/>
                  <a:pt x="230542" y="353973"/>
                </a:cubicBezTo>
                <a:lnTo>
                  <a:pt x="212116" y="464262"/>
                </a:lnTo>
                <a:cubicBezTo>
                  <a:pt x="209624" y="479281"/>
                  <a:pt x="219771" y="493501"/>
                  <a:pt x="234814" y="495989"/>
                </a:cubicBezTo>
                <a:cubicBezTo>
                  <a:pt x="236327" y="496256"/>
                  <a:pt x="237841" y="496433"/>
                  <a:pt x="239354" y="496433"/>
                </a:cubicBezTo>
                <a:cubicBezTo>
                  <a:pt x="252617" y="496433"/>
                  <a:pt x="264366" y="486835"/>
                  <a:pt x="266591" y="473327"/>
                </a:cubicBezTo>
                <a:lnTo>
                  <a:pt x="285017" y="363038"/>
                </a:lnTo>
                <a:cubicBezTo>
                  <a:pt x="287509" y="348019"/>
                  <a:pt x="277362" y="333800"/>
                  <a:pt x="262319" y="331311"/>
                </a:cubicBezTo>
                <a:close/>
                <a:moveTo>
                  <a:pt x="331437" y="330911"/>
                </a:moveTo>
                <a:cubicBezTo>
                  <a:pt x="324361" y="330911"/>
                  <a:pt x="317284" y="333622"/>
                  <a:pt x="311899" y="339043"/>
                </a:cubicBezTo>
                <a:cubicBezTo>
                  <a:pt x="301128" y="349796"/>
                  <a:pt x="301128" y="367215"/>
                  <a:pt x="311899" y="377968"/>
                </a:cubicBezTo>
                <a:lnTo>
                  <a:pt x="347593" y="413695"/>
                </a:lnTo>
                <a:lnTo>
                  <a:pt x="311899" y="449332"/>
                </a:lnTo>
                <a:cubicBezTo>
                  <a:pt x="301128" y="460085"/>
                  <a:pt x="301128" y="477504"/>
                  <a:pt x="311899" y="488346"/>
                </a:cubicBezTo>
                <a:cubicBezTo>
                  <a:pt x="317239" y="493678"/>
                  <a:pt x="324360" y="496345"/>
                  <a:pt x="331392" y="496345"/>
                </a:cubicBezTo>
                <a:cubicBezTo>
                  <a:pt x="338513" y="496345"/>
                  <a:pt x="345545" y="493678"/>
                  <a:pt x="350975" y="488346"/>
                </a:cubicBezTo>
                <a:lnTo>
                  <a:pt x="406163" y="433157"/>
                </a:lnTo>
                <a:cubicBezTo>
                  <a:pt x="416933" y="422404"/>
                  <a:pt x="416933" y="404896"/>
                  <a:pt x="406163" y="394143"/>
                </a:cubicBezTo>
                <a:lnTo>
                  <a:pt x="350975" y="339043"/>
                </a:lnTo>
                <a:cubicBezTo>
                  <a:pt x="345590" y="333622"/>
                  <a:pt x="338514" y="330911"/>
                  <a:pt x="331437" y="330911"/>
                </a:cubicBezTo>
                <a:close/>
                <a:moveTo>
                  <a:pt x="165696" y="330911"/>
                </a:moveTo>
                <a:cubicBezTo>
                  <a:pt x="158620" y="330911"/>
                  <a:pt x="151543" y="333622"/>
                  <a:pt x="146158" y="339043"/>
                </a:cubicBezTo>
                <a:lnTo>
                  <a:pt x="90881" y="394143"/>
                </a:lnTo>
                <a:cubicBezTo>
                  <a:pt x="80111" y="404896"/>
                  <a:pt x="80111" y="422404"/>
                  <a:pt x="90881" y="433157"/>
                </a:cubicBezTo>
                <a:lnTo>
                  <a:pt x="146158" y="488346"/>
                </a:lnTo>
                <a:cubicBezTo>
                  <a:pt x="151588" y="493678"/>
                  <a:pt x="158620" y="496345"/>
                  <a:pt x="165652" y="496345"/>
                </a:cubicBezTo>
                <a:cubicBezTo>
                  <a:pt x="172773" y="496345"/>
                  <a:pt x="179805" y="493678"/>
                  <a:pt x="185234" y="488346"/>
                </a:cubicBezTo>
                <a:cubicBezTo>
                  <a:pt x="196005" y="477504"/>
                  <a:pt x="196005" y="460085"/>
                  <a:pt x="185234" y="449332"/>
                </a:cubicBezTo>
                <a:lnTo>
                  <a:pt x="149540" y="413695"/>
                </a:lnTo>
                <a:lnTo>
                  <a:pt x="185234" y="377968"/>
                </a:lnTo>
                <a:cubicBezTo>
                  <a:pt x="196005" y="367215"/>
                  <a:pt x="196005" y="349796"/>
                  <a:pt x="185234" y="339043"/>
                </a:cubicBezTo>
                <a:cubicBezTo>
                  <a:pt x="179849" y="333622"/>
                  <a:pt x="172773" y="330911"/>
                  <a:pt x="165696" y="330911"/>
                </a:cubicBezTo>
                <a:close/>
                <a:moveTo>
                  <a:pt x="312957" y="16159"/>
                </a:moveTo>
                <a:lnTo>
                  <a:pt x="480903" y="183893"/>
                </a:lnTo>
                <a:lnTo>
                  <a:pt x="441831" y="183893"/>
                </a:lnTo>
                <a:lnTo>
                  <a:pt x="402849" y="183893"/>
                </a:lnTo>
                <a:lnTo>
                  <a:pt x="312957" y="183893"/>
                </a:lnTo>
                <a:lnTo>
                  <a:pt x="312957" y="94115"/>
                </a:lnTo>
                <a:lnTo>
                  <a:pt x="312957" y="55182"/>
                </a:lnTo>
                <a:close/>
                <a:moveTo>
                  <a:pt x="27594" y="0"/>
                </a:moveTo>
                <a:lnTo>
                  <a:pt x="257779" y="0"/>
                </a:lnTo>
                <a:lnTo>
                  <a:pt x="257779" y="27550"/>
                </a:lnTo>
                <a:lnTo>
                  <a:pt x="257779" y="55189"/>
                </a:lnTo>
                <a:lnTo>
                  <a:pt x="257779" y="211424"/>
                </a:lnTo>
                <a:cubicBezTo>
                  <a:pt x="257779" y="226621"/>
                  <a:pt x="270152" y="238974"/>
                  <a:pt x="285373" y="238974"/>
                </a:cubicBezTo>
                <a:lnTo>
                  <a:pt x="441856" y="238974"/>
                </a:lnTo>
                <a:lnTo>
                  <a:pt x="469539" y="238974"/>
                </a:lnTo>
                <a:lnTo>
                  <a:pt x="497133" y="238974"/>
                </a:lnTo>
                <a:lnTo>
                  <a:pt x="497133" y="579083"/>
                </a:lnTo>
                <a:cubicBezTo>
                  <a:pt x="497133" y="594369"/>
                  <a:pt x="484760" y="606722"/>
                  <a:pt x="469539" y="606722"/>
                </a:cubicBezTo>
                <a:lnTo>
                  <a:pt x="27594" y="606722"/>
                </a:lnTo>
                <a:cubicBezTo>
                  <a:pt x="12373" y="606722"/>
                  <a:pt x="0" y="594369"/>
                  <a:pt x="0" y="579083"/>
                </a:cubicBezTo>
                <a:lnTo>
                  <a:pt x="0" y="27550"/>
                </a:lnTo>
                <a:cubicBezTo>
                  <a:pt x="0" y="12353"/>
                  <a:pt x="12373" y="0"/>
                  <a:pt x="2759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文本框 34">
            <a:extLst>
              <a:ext uri="{FF2B5EF4-FFF2-40B4-BE49-F238E27FC236}">
                <a16:creationId xmlns:a16="http://schemas.microsoft.com/office/drawing/2014/main" id="{3A0B3F52-CA2D-6C40-8716-E2A87306EEEF}"/>
              </a:ext>
            </a:extLst>
          </p:cNvPr>
          <p:cNvSpPr txBox="1"/>
          <p:nvPr/>
        </p:nvSpPr>
        <p:spPr>
          <a:xfrm>
            <a:off x="5435614" y="1623600"/>
            <a:ext cx="10189953" cy="3046988"/>
          </a:xfrm>
          <a:prstGeom prst="rect">
            <a:avLst/>
          </a:prstGeom>
          <a:noFill/>
        </p:spPr>
        <p:txBody>
          <a:bodyPr wrap="square" rtlCol="0">
            <a:spAutoFit/>
          </a:bodyPr>
          <a:lstStyle/>
          <a:p>
            <a:pPr marL="285750" lvl="0" indent="-285750">
              <a:buFont typeface="Wingdings" pitchFamily="2" charset="2"/>
              <a:buChar char="Ø"/>
            </a:pPr>
            <a:r>
              <a:rPr lang="en-US" altLang="zh-CN" sz="2400" dirty="0"/>
              <a:t>In this research, we </a:t>
            </a:r>
            <a:r>
              <a:rPr lang="en-US" altLang="zh-CN" sz="2400" dirty="0" err="1"/>
              <a:t>backtest</a:t>
            </a:r>
            <a:r>
              <a:rPr lang="en-US" altLang="zh-CN" sz="2400" dirty="0"/>
              <a:t> the RSRS strategy and select the optimal threshold. </a:t>
            </a:r>
            <a:r>
              <a:rPr lang="en-US" altLang="zh-CN" sz="2400" b="1" dirty="0"/>
              <a:t>The final </a:t>
            </a:r>
            <a:r>
              <a:rPr lang="en-US" altLang="zh-CN" sz="2400" b="1" dirty="0" err="1"/>
              <a:t>backtest</a:t>
            </a:r>
            <a:r>
              <a:rPr lang="en-US" altLang="zh-CN" sz="2400" b="1" dirty="0"/>
              <a:t> result shows rate of return can be significantly improved.</a:t>
            </a:r>
          </a:p>
          <a:p>
            <a:pPr marL="285750" lvl="0" indent="-285750">
              <a:buFont typeface="Wingdings" pitchFamily="2" charset="2"/>
              <a:buChar char="Ø"/>
            </a:pPr>
            <a:endParaRPr lang="en-US" altLang="zh-CN" sz="2400" dirty="0"/>
          </a:p>
          <a:p>
            <a:pPr marL="285750" lvl="0" indent="-285750">
              <a:buFont typeface="Wingdings" pitchFamily="2" charset="2"/>
              <a:buChar char="Ø"/>
            </a:pPr>
            <a:r>
              <a:rPr lang="en-US" altLang="zh-CN" sz="2400" dirty="0"/>
              <a:t>At the same time, modified standard score and right deviation standard score are used to improve the strategy. The results show that </a:t>
            </a:r>
            <a:r>
              <a:rPr lang="en-US" altLang="zh-CN" sz="2400" b="1" dirty="0"/>
              <a:t>the right deviation standard score strategy can significantly improve the signal accuracy of RSRS strategy.</a:t>
            </a:r>
            <a:endParaRPr lang="zh-CN" altLang="zh-CN" sz="2400" b="1" dirty="0"/>
          </a:p>
        </p:txBody>
      </p:sp>
      <p:sp>
        <p:nvSpPr>
          <p:cNvPr id="36" name="圆角矩形 35">
            <a:extLst>
              <a:ext uri="{FF2B5EF4-FFF2-40B4-BE49-F238E27FC236}">
                <a16:creationId xmlns:a16="http://schemas.microsoft.com/office/drawing/2014/main" id="{ECEAC95C-DE36-C543-80EB-DE3BBFBAEE8D}"/>
              </a:ext>
            </a:extLst>
          </p:cNvPr>
          <p:cNvSpPr/>
          <p:nvPr/>
        </p:nvSpPr>
        <p:spPr>
          <a:xfrm>
            <a:off x="1147619" y="1424067"/>
            <a:ext cx="282095" cy="3366346"/>
          </a:xfrm>
          <a:prstGeom prst="roundRect">
            <a:avLst/>
          </a:prstGeom>
          <a:solidFill>
            <a:srgbClr val="BA996A"/>
          </a:solidFill>
          <a:ln>
            <a:solidFill>
              <a:srgbClr val="BA99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7" name="圆角矩形 36">
            <a:extLst>
              <a:ext uri="{FF2B5EF4-FFF2-40B4-BE49-F238E27FC236}">
                <a16:creationId xmlns:a16="http://schemas.microsoft.com/office/drawing/2014/main" id="{09FED13B-7FAA-6740-B506-F4A9CCBA1AA8}"/>
              </a:ext>
            </a:extLst>
          </p:cNvPr>
          <p:cNvSpPr/>
          <p:nvPr/>
        </p:nvSpPr>
        <p:spPr>
          <a:xfrm>
            <a:off x="1119172" y="4867319"/>
            <a:ext cx="310547" cy="3204884"/>
          </a:xfrm>
          <a:prstGeom prst="roundRect">
            <a:avLst/>
          </a:prstGeom>
          <a:solidFill>
            <a:srgbClr val="475B7C"/>
          </a:solidFill>
          <a:ln>
            <a:solidFill>
              <a:srgbClr val="BA99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39" name="直线连接符 38">
            <a:extLst>
              <a:ext uri="{FF2B5EF4-FFF2-40B4-BE49-F238E27FC236}">
                <a16:creationId xmlns:a16="http://schemas.microsoft.com/office/drawing/2014/main" id="{7BD0E342-58E4-1A45-A371-648F63364019}"/>
              </a:ext>
            </a:extLst>
          </p:cNvPr>
          <p:cNvCxnSpPr/>
          <p:nvPr/>
        </p:nvCxnSpPr>
        <p:spPr>
          <a:xfrm>
            <a:off x="5052816" y="1524375"/>
            <a:ext cx="0" cy="6796141"/>
          </a:xfrm>
          <a:prstGeom prst="line">
            <a:avLst/>
          </a:prstGeom>
          <a:ln w="15875">
            <a:headEnd type="triangle"/>
            <a:tailEnd type="triangle"/>
          </a:ln>
        </p:spPr>
        <p:style>
          <a:lnRef idx="1">
            <a:schemeClr val="accent1"/>
          </a:lnRef>
          <a:fillRef idx="0">
            <a:schemeClr val="accent1"/>
          </a:fillRef>
          <a:effectRef idx="0">
            <a:schemeClr val="accent1"/>
          </a:effectRef>
          <a:fontRef idx="minor">
            <a:schemeClr val="tx1"/>
          </a:fontRef>
        </p:style>
      </p:cxnSp>
      <p:sp>
        <p:nvSpPr>
          <p:cNvPr id="40" name="文本框 39">
            <a:extLst>
              <a:ext uri="{FF2B5EF4-FFF2-40B4-BE49-F238E27FC236}">
                <a16:creationId xmlns:a16="http://schemas.microsoft.com/office/drawing/2014/main" id="{FFEFC9DB-6C17-7C45-840C-926E576EBDE1}"/>
              </a:ext>
            </a:extLst>
          </p:cNvPr>
          <p:cNvSpPr txBox="1"/>
          <p:nvPr/>
        </p:nvSpPr>
        <p:spPr>
          <a:xfrm>
            <a:off x="5363366" y="5102707"/>
            <a:ext cx="10136463" cy="3046988"/>
          </a:xfrm>
          <a:prstGeom prst="rect">
            <a:avLst/>
          </a:prstGeom>
          <a:noFill/>
        </p:spPr>
        <p:txBody>
          <a:bodyPr wrap="square" rtlCol="0">
            <a:spAutoFit/>
          </a:bodyPr>
          <a:lstStyle/>
          <a:p>
            <a:pPr marL="342900" indent="-342900">
              <a:buFont typeface="Wingdings" panose="05000000000000000000" pitchFamily="2" charset="2"/>
              <a:buChar char="Ø"/>
            </a:pPr>
            <a:r>
              <a:rPr kumimoji="1" lang="en-US" altLang="zh-CN" sz="2400" dirty="0"/>
              <a:t>In this study, we use the </a:t>
            </a:r>
            <a:r>
              <a:rPr kumimoji="1" lang="en-US" altLang="zh-CN" sz="2400" b="1" dirty="0"/>
              <a:t>close price, turnover rate and the ratio of volatility and turnover rate as market state indicators </a:t>
            </a:r>
            <a:r>
              <a:rPr kumimoji="1" lang="en-US" altLang="zh-CN" sz="2400" dirty="0"/>
              <a:t>respectively to optimize the RSRS strategy. All these indicators can significantly </a:t>
            </a:r>
            <a:r>
              <a:rPr kumimoji="1" lang="en-US" altLang="zh-CN" sz="2400" b="1" dirty="0"/>
              <a:t>reduce the number of transactions and the cost of transactions.</a:t>
            </a:r>
          </a:p>
          <a:p>
            <a:pPr marL="342900" indent="-342900">
              <a:buFont typeface="Wingdings" panose="05000000000000000000" pitchFamily="2" charset="2"/>
              <a:buChar char="Ø"/>
            </a:pPr>
            <a:r>
              <a:rPr kumimoji="1" lang="en-US" altLang="zh-CN" sz="2400" dirty="0"/>
              <a:t>Among the three indicators, </a:t>
            </a:r>
            <a:r>
              <a:rPr kumimoji="1" lang="en-US" altLang="zh-CN" sz="2400" b="1" dirty="0"/>
              <a:t>the ratio of volatility to turnover rate is used as an indicator of market state, and the optimization effect is better.</a:t>
            </a:r>
          </a:p>
          <a:p>
            <a:pPr marL="342900" indent="-342900">
              <a:buFont typeface="Wingdings" panose="05000000000000000000" pitchFamily="2" charset="2"/>
              <a:buChar char="Ø"/>
            </a:pPr>
            <a:r>
              <a:rPr kumimoji="1" lang="en-US" altLang="zh-CN" sz="2400" dirty="0"/>
              <a:t>RSRS strategy should be used in conjunction with optimization strategy since the return rate of signal system decreases after adding market state indicator.</a:t>
            </a:r>
            <a:endParaRPr kumimoji="1" lang="zh-CN" altLang="en-US" sz="2400" dirty="0"/>
          </a:p>
        </p:txBody>
      </p:sp>
      <p:sp>
        <p:nvSpPr>
          <p:cNvPr id="2" name="文本框 1">
            <a:extLst>
              <a:ext uri="{FF2B5EF4-FFF2-40B4-BE49-F238E27FC236}">
                <a16:creationId xmlns:a16="http://schemas.microsoft.com/office/drawing/2014/main" id="{5B33FA8F-7007-4998-A23A-15A80368ADDA}"/>
              </a:ext>
            </a:extLst>
          </p:cNvPr>
          <p:cNvSpPr txBox="1"/>
          <p:nvPr/>
        </p:nvSpPr>
        <p:spPr>
          <a:xfrm>
            <a:off x="1467821" y="8492137"/>
            <a:ext cx="13612418" cy="461665"/>
          </a:xfrm>
          <a:prstGeom prst="rect">
            <a:avLst/>
          </a:prstGeom>
          <a:noFill/>
        </p:spPr>
        <p:txBody>
          <a:bodyPr wrap="square" rtlCol="0">
            <a:spAutoFit/>
          </a:bodyPr>
          <a:lstStyle/>
          <a:p>
            <a:r>
              <a:rPr lang="en-US" altLang="zh-HK" sz="2400" b="1" dirty="0">
                <a:solidFill>
                  <a:srgbClr val="C00000"/>
                </a:solidFill>
              </a:rPr>
              <a:t>Risk Warning: This study is based on historical data and may be affected by market volatility in the future.</a:t>
            </a:r>
            <a:endParaRPr lang="zh-HK" altLang="en-US" sz="2400" b="1" dirty="0">
              <a:solidFill>
                <a:srgbClr val="C00000"/>
              </a:solidFill>
            </a:endParaRPr>
          </a:p>
        </p:txBody>
      </p:sp>
    </p:spTree>
    <p:extLst>
      <p:ext uri="{BB962C8B-B14F-4D97-AF65-F5344CB8AC3E}">
        <p14:creationId xmlns:p14="http://schemas.microsoft.com/office/powerpoint/2010/main" val="402234468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4"/>
          <a:stretch>
            <a:fillRect/>
          </a:stretch>
        </p:blipFill>
        <p:spPr>
          <a:xfrm>
            <a:off x="0" y="6426200"/>
            <a:ext cx="16256000" cy="2730500"/>
          </a:xfrm>
          <a:prstGeom prst="rect">
            <a:avLst/>
          </a:prstGeom>
        </p:spPr>
      </p:pic>
      <p:pic>
        <p:nvPicPr>
          <p:cNvPr id="3" name="Picture 3"/>
          <p:cNvPicPr>
            <a:picLocks noChangeAspect="1"/>
          </p:cNvPicPr>
          <p:nvPr/>
        </p:nvPicPr>
        <p:blipFill>
          <a:blip r:embed="rId5"/>
          <a:stretch>
            <a:fillRect/>
          </a:stretch>
        </p:blipFill>
        <p:spPr>
          <a:xfrm>
            <a:off x="0" y="5702300"/>
            <a:ext cx="16256000" cy="444500"/>
          </a:xfrm>
          <a:prstGeom prst="rect">
            <a:avLst/>
          </a:prstGeom>
        </p:spPr>
      </p:pic>
      <p:pic>
        <p:nvPicPr>
          <p:cNvPr id="4" name="Picture 4"/>
          <p:cNvPicPr>
            <a:picLocks noChangeAspect="1"/>
          </p:cNvPicPr>
          <p:nvPr/>
        </p:nvPicPr>
        <p:blipFill>
          <a:blip r:embed="rId6"/>
          <a:stretch>
            <a:fillRect/>
          </a:stretch>
        </p:blipFill>
        <p:spPr>
          <a:xfrm>
            <a:off x="1600200" y="2425700"/>
            <a:ext cx="6350000" cy="5435600"/>
          </a:xfrm>
          <a:prstGeom prst="rect">
            <a:avLst/>
          </a:prstGeom>
        </p:spPr>
      </p:pic>
      <p:sp>
        <p:nvSpPr>
          <p:cNvPr id="5" name="TextBox 5"/>
          <p:cNvSpPr txBox="1"/>
          <p:nvPr/>
        </p:nvSpPr>
        <p:spPr>
          <a:xfrm>
            <a:off x="7608474" y="4687329"/>
            <a:ext cx="8915400" cy="1103538"/>
          </a:xfrm>
          <a:prstGeom prst="rect">
            <a:avLst/>
          </a:prstGeom>
        </p:spPr>
        <p:txBody>
          <a:bodyPr lIns="0" tIns="0" rIns="0" bIns="0" rtlCol="0" anchor="t"/>
          <a:lstStyle/>
          <a:p>
            <a:pPr algn="ctr">
              <a:lnSpc>
                <a:spcPct val="105000"/>
              </a:lnSpc>
            </a:pPr>
            <a:r>
              <a:rPr lang="en-US" altLang="zh-CN" sz="5400" b="1" dirty="0">
                <a:solidFill>
                  <a:srgbClr val="BA996A"/>
                </a:solidFill>
                <a:latin typeface="Times New Roman" panose="02020603050405020304" pitchFamily="18" charset="0"/>
                <a:cs typeface="Times New Roman" panose="02020603050405020304" pitchFamily="18" charset="0"/>
              </a:rPr>
              <a:t>Thanks!</a:t>
            </a:r>
          </a:p>
          <a:p>
            <a:pPr algn="l">
              <a:lnSpc>
                <a:spcPct val="105000"/>
              </a:lnSpc>
            </a:pPr>
            <a:endParaRPr lang="en-US" sz="5400" b="1" dirty="0">
              <a:solidFill>
                <a:srgbClr val="BA996A"/>
              </a:solidFill>
              <a:latin typeface="Times New Roman" panose="02020603050405020304" pitchFamily="18" charset="0"/>
              <a:cs typeface="Times New Roman" panose="02020603050405020304" pitchFamily="18" charset="0"/>
            </a:endParaRPr>
          </a:p>
        </p:txBody>
      </p:sp>
      <p:pic>
        <p:nvPicPr>
          <p:cNvPr id="8" name="Picture 8"/>
          <p:cNvPicPr>
            <a:picLocks noChangeAspect="1"/>
          </p:cNvPicPr>
          <p:nvPr/>
        </p:nvPicPr>
        <p:blipFill>
          <a:blip r:embed="rId7"/>
          <a:stretch>
            <a:fillRect/>
          </a:stretch>
        </p:blipFill>
        <p:spPr>
          <a:xfrm>
            <a:off x="13119100" y="533400"/>
            <a:ext cx="2540000" cy="101600"/>
          </a:xfrm>
          <a:prstGeom prst="rect">
            <a:avLst/>
          </a:prstGeom>
        </p:spPr>
      </p:pic>
      <p:pic>
        <p:nvPicPr>
          <p:cNvPr id="9" name="股票股市背景视频 (1)_Trim">
            <a:hlinkClick r:id="" action="ppaction://media"/>
            <a:extLst>
              <a:ext uri="{FF2B5EF4-FFF2-40B4-BE49-F238E27FC236}">
                <a16:creationId xmlns:a16="http://schemas.microsoft.com/office/drawing/2014/main" id="{D22DC644-8FCB-4789-98EA-7D3339A7313F}"/>
              </a:ext>
            </a:extLst>
          </p:cNvPr>
          <p:cNvPicPr>
            <a:picLocks noChangeAspect="1"/>
          </p:cNvPicPr>
          <p:nvPr>
            <a:videoFile r:link="rId2"/>
            <p:extLst>
              <p:ext uri="{DAA4B4D4-6D71-4841-9C94-3DE7FCFB9230}">
                <p14:media xmlns:p14="http://schemas.microsoft.com/office/powerpoint/2010/main" r:embed="rId1"/>
              </p:ext>
            </p:extLst>
          </p:nvPr>
        </p:nvPicPr>
        <p:blipFill>
          <a:blip r:embed="rId8"/>
          <a:stretch>
            <a:fillRect/>
          </a:stretch>
        </p:blipFill>
        <p:spPr>
          <a:xfrm>
            <a:off x="1727200" y="2590800"/>
            <a:ext cx="6096000" cy="3530600"/>
          </a:xfrm>
          <a:prstGeom prst="rect">
            <a:avLst/>
          </a:prstGeom>
        </p:spPr>
      </p:pic>
    </p:spTree>
    <p:extLst>
      <p:ext uri="{BB962C8B-B14F-4D97-AF65-F5344CB8AC3E}">
        <p14:creationId xmlns:p14="http://schemas.microsoft.com/office/powerpoint/2010/main" val="22739368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200"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9"/>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9"/>
                                        </p:tgtEl>
                                      </p:cBhvr>
                                    </p:cmd>
                                  </p:childTnLst>
                                </p:cTn>
                              </p:par>
                            </p:childTnLst>
                          </p:cTn>
                        </p:par>
                      </p:childTnLst>
                    </p:cTn>
                  </p:par>
                </p:childTnLst>
              </p:cTn>
              <p:nextCondLst>
                <p:cond evt="onClick" delay="0">
                  <p:tgtEl>
                    <p:spTgt spid="9"/>
                  </p:tgtEl>
                </p:cond>
              </p:nextCondLst>
            </p:seq>
            <p:video>
              <p:cMediaNode vol="80000">
                <p:cTn id="12" repeatCount="indefinite" fill="hold" display="0">
                  <p:stCondLst>
                    <p:cond delay="indefinite"/>
                  </p:stCondLst>
                </p:cTn>
                <p:tgtEl>
                  <p:spTgt spid="9"/>
                </p:tgtEl>
              </p:cMediaNode>
            </p:vide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圆角矩形 34">
            <a:extLst>
              <a:ext uri="{FF2B5EF4-FFF2-40B4-BE49-F238E27FC236}">
                <a16:creationId xmlns:a16="http://schemas.microsoft.com/office/drawing/2014/main" id="{E466A6DC-454F-7A4D-958C-2401C7209AB7}"/>
              </a:ext>
            </a:extLst>
          </p:cNvPr>
          <p:cNvSpPr/>
          <p:nvPr/>
        </p:nvSpPr>
        <p:spPr>
          <a:xfrm>
            <a:off x="496801" y="1445212"/>
            <a:ext cx="7335916" cy="7261365"/>
          </a:xfrm>
          <a:prstGeom prst="roundRect">
            <a:avLst/>
          </a:prstGeom>
          <a:ln>
            <a:solidFill>
              <a:srgbClr val="475B7C"/>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zh-CN" altLang="en-US" dirty="0"/>
          </a:p>
        </p:txBody>
      </p:sp>
      <p:pic>
        <p:nvPicPr>
          <p:cNvPr id="2" name="Picture 2"/>
          <p:cNvPicPr preferRelativeResize="0">
            <a:picLocks/>
          </p:cNvPicPr>
          <p:nvPr/>
        </p:nvPicPr>
        <p:blipFill>
          <a:blip r:embed="rId2"/>
          <a:stretch>
            <a:fillRect/>
          </a:stretch>
        </p:blipFill>
        <p:spPr>
          <a:xfrm>
            <a:off x="8074112" y="1417637"/>
            <a:ext cx="7794219" cy="1770610"/>
          </a:xfrm>
          <a:prstGeom prst="rect">
            <a:avLst/>
          </a:prstGeom>
        </p:spPr>
      </p:pic>
      <p:pic>
        <p:nvPicPr>
          <p:cNvPr id="3" name="Picture 3"/>
          <p:cNvPicPr preferRelativeResize="0">
            <a:picLocks/>
          </p:cNvPicPr>
          <p:nvPr/>
        </p:nvPicPr>
        <p:blipFill>
          <a:blip r:embed="rId2"/>
          <a:stretch>
            <a:fillRect/>
          </a:stretch>
        </p:blipFill>
        <p:spPr>
          <a:xfrm>
            <a:off x="8074112" y="5037051"/>
            <a:ext cx="7793999" cy="1770610"/>
          </a:xfrm>
          <a:prstGeom prst="rect">
            <a:avLst/>
          </a:prstGeom>
        </p:spPr>
      </p:pic>
      <p:pic>
        <p:nvPicPr>
          <p:cNvPr id="4" name="Picture 4"/>
          <p:cNvPicPr preferRelativeResize="0">
            <a:picLocks/>
          </p:cNvPicPr>
          <p:nvPr/>
        </p:nvPicPr>
        <p:blipFill>
          <a:blip r:embed="rId3"/>
          <a:stretch>
            <a:fillRect/>
          </a:stretch>
        </p:blipFill>
        <p:spPr>
          <a:xfrm>
            <a:off x="8074112" y="3227344"/>
            <a:ext cx="7793999" cy="1770610"/>
          </a:xfrm>
          <a:prstGeom prst="rect">
            <a:avLst/>
          </a:prstGeom>
        </p:spPr>
      </p:pic>
      <p:pic>
        <p:nvPicPr>
          <p:cNvPr id="5" name="Picture 5"/>
          <p:cNvPicPr preferRelativeResize="0">
            <a:picLocks/>
          </p:cNvPicPr>
          <p:nvPr/>
        </p:nvPicPr>
        <p:blipFill>
          <a:blip r:embed="rId3"/>
          <a:stretch>
            <a:fillRect/>
          </a:stretch>
        </p:blipFill>
        <p:spPr>
          <a:xfrm>
            <a:off x="8074112" y="6846758"/>
            <a:ext cx="7793999" cy="1770610"/>
          </a:xfrm>
          <a:prstGeom prst="rect">
            <a:avLst/>
          </a:prstGeom>
        </p:spPr>
      </p:pic>
      <p:grpSp>
        <p:nvGrpSpPr>
          <p:cNvPr id="32" name="组合 31">
            <a:extLst>
              <a:ext uri="{FF2B5EF4-FFF2-40B4-BE49-F238E27FC236}">
                <a16:creationId xmlns:a16="http://schemas.microsoft.com/office/drawing/2014/main" id="{4E82244A-1EFB-DF4E-9CA2-8538D4976026}"/>
              </a:ext>
            </a:extLst>
          </p:cNvPr>
          <p:cNvGrpSpPr/>
          <p:nvPr/>
        </p:nvGrpSpPr>
        <p:grpSpPr>
          <a:xfrm>
            <a:off x="8282560" y="7293890"/>
            <a:ext cx="849600" cy="776699"/>
            <a:chOff x="5905500" y="5638800"/>
            <a:chExt cx="1244600" cy="1244600"/>
          </a:xfrm>
        </p:grpSpPr>
        <p:pic>
          <p:nvPicPr>
            <p:cNvPr id="8" name="Picture 8"/>
            <p:cNvPicPr>
              <a:picLocks noChangeAspect="1"/>
            </p:cNvPicPr>
            <p:nvPr/>
          </p:nvPicPr>
          <p:blipFill>
            <a:blip r:embed="rId4"/>
            <a:stretch>
              <a:fillRect/>
            </a:stretch>
          </p:blipFill>
          <p:spPr>
            <a:xfrm>
              <a:off x="5905500" y="5638800"/>
              <a:ext cx="1244600" cy="1244600"/>
            </a:xfrm>
            <a:prstGeom prst="rect">
              <a:avLst/>
            </a:prstGeom>
          </p:spPr>
        </p:pic>
        <p:pic>
          <p:nvPicPr>
            <p:cNvPr id="9" name="Picture 9"/>
            <p:cNvPicPr>
              <a:picLocks noChangeAspect="1"/>
            </p:cNvPicPr>
            <p:nvPr/>
          </p:nvPicPr>
          <p:blipFill>
            <a:blip r:embed="rId5"/>
            <a:stretch>
              <a:fillRect/>
            </a:stretch>
          </p:blipFill>
          <p:spPr>
            <a:xfrm>
              <a:off x="6273800" y="5981700"/>
              <a:ext cx="508000" cy="571500"/>
            </a:xfrm>
            <a:prstGeom prst="rect">
              <a:avLst/>
            </a:prstGeom>
          </p:spPr>
        </p:pic>
      </p:grpSp>
      <p:grpSp>
        <p:nvGrpSpPr>
          <p:cNvPr id="33" name="组合 32">
            <a:extLst>
              <a:ext uri="{FF2B5EF4-FFF2-40B4-BE49-F238E27FC236}">
                <a16:creationId xmlns:a16="http://schemas.microsoft.com/office/drawing/2014/main" id="{5BB5570D-6C21-BE40-85A6-91DADBBC5A39}"/>
              </a:ext>
            </a:extLst>
          </p:cNvPr>
          <p:cNvGrpSpPr/>
          <p:nvPr/>
        </p:nvGrpSpPr>
        <p:grpSpPr>
          <a:xfrm>
            <a:off x="8283575" y="1910353"/>
            <a:ext cx="848585" cy="775771"/>
            <a:chOff x="9093200" y="5638800"/>
            <a:chExt cx="1244600" cy="1244600"/>
          </a:xfrm>
        </p:grpSpPr>
        <p:pic>
          <p:nvPicPr>
            <p:cNvPr id="10" name="Picture 10"/>
            <p:cNvPicPr>
              <a:picLocks noChangeAspect="1"/>
            </p:cNvPicPr>
            <p:nvPr/>
          </p:nvPicPr>
          <p:blipFill>
            <a:blip r:embed="rId6"/>
            <a:stretch>
              <a:fillRect/>
            </a:stretch>
          </p:blipFill>
          <p:spPr>
            <a:xfrm>
              <a:off x="9093200" y="5638800"/>
              <a:ext cx="1244600" cy="1244600"/>
            </a:xfrm>
            <a:prstGeom prst="rect">
              <a:avLst/>
            </a:prstGeom>
          </p:spPr>
        </p:pic>
        <p:pic>
          <p:nvPicPr>
            <p:cNvPr id="11" name="Picture 11"/>
            <p:cNvPicPr>
              <a:picLocks noChangeAspect="1"/>
            </p:cNvPicPr>
            <p:nvPr/>
          </p:nvPicPr>
          <p:blipFill>
            <a:blip r:embed="rId7"/>
            <a:stretch>
              <a:fillRect/>
            </a:stretch>
          </p:blipFill>
          <p:spPr>
            <a:xfrm>
              <a:off x="9423400" y="5981700"/>
              <a:ext cx="584200" cy="558800"/>
            </a:xfrm>
            <a:prstGeom prst="rect">
              <a:avLst/>
            </a:prstGeom>
          </p:spPr>
        </p:pic>
      </p:grpSp>
      <p:grpSp>
        <p:nvGrpSpPr>
          <p:cNvPr id="30" name="组合 29">
            <a:extLst>
              <a:ext uri="{FF2B5EF4-FFF2-40B4-BE49-F238E27FC236}">
                <a16:creationId xmlns:a16="http://schemas.microsoft.com/office/drawing/2014/main" id="{C3572E58-E601-5D49-BEBC-40E0A6404570}"/>
              </a:ext>
            </a:extLst>
          </p:cNvPr>
          <p:cNvGrpSpPr/>
          <p:nvPr/>
        </p:nvGrpSpPr>
        <p:grpSpPr>
          <a:xfrm>
            <a:off x="8257443" y="5499069"/>
            <a:ext cx="849600" cy="776699"/>
            <a:chOff x="5905500" y="2794000"/>
            <a:chExt cx="1244600" cy="1244600"/>
          </a:xfrm>
        </p:grpSpPr>
        <p:pic>
          <p:nvPicPr>
            <p:cNvPr id="12" name="Picture 12"/>
            <p:cNvPicPr>
              <a:picLocks noChangeAspect="1"/>
            </p:cNvPicPr>
            <p:nvPr/>
          </p:nvPicPr>
          <p:blipFill>
            <a:blip r:embed="rId6"/>
            <a:stretch>
              <a:fillRect/>
            </a:stretch>
          </p:blipFill>
          <p:spPr>
            <a:xfrm>
              <a:off x="5905500" y="2794000"/>
              <a:ext cx="1244600" cy="1244600"/>
            </a:xfrm>
            <a:prstGeom prst="rect">
              <a:avLst/>
            </a:prstGeom>
          </p:spPr>
        </p:pic>
        <p:pic>
          <p:nvPicPr>
            <p:cNvPr id="13" name="Picture 13"/>
            <p:cNvPicPr>
              <a:picLocks noChangeAspect="1"/>
            </p:cNvPicPr>
            <p:nvPr/>
          </p:nvPicPr>
          <p:blipFill>
            <a:blip r:embed="rId8"/>
            <a:stretch>
              <a:fillRect/>
            </a:stretch>
          </p:blipFill>
          <p:spPr>
            <a:xfrm>
              <a:off x="6248400" y="3124200"/>
              <a:ext cx="558800" cy="558800"/>
            </a:xfrm>
            <a:prstGeom prst="rect">
              <a:avLst/>
            </a:prstGeom>
          </p:spPr>
        </p:pic>
      </p:grpSp>
      <p:grpSp>
        <p:nvGrpSpPr>
          <p:cNvPr id="31" name="组合 30">
            <a:extLst>
              <a:ext uri="{FF2B5EF4-FFF2-40B4-BE49-F238E27FC236}">
                <a16:creationId xmlns:a16="http://schemas.microsoft.com/office/drawing/2014/main" id="{3CBBEB68-8FAE-4443-A7BE-9BFA88A2861E}"/>
              </a:ext>
            </a:extLst>
          </p:cNvPr>
          <p:cNvGrpSpPr/>
          <p:nvPr/>
        </p:nvGrpSpPr>
        <p:grpSpPr>
          <a:xfrm>
            <a:off x="8247871" y="3704247"/>
            <a:ext cx="849600" cy="776699"/>
            <a:chOff x="9093200" y="2794000"/>
            <a:chExt cx="1244600" cy="1244600"/>
          </a:xfrm>
        </p:grpSpPr>
        <p:pic>
          <p:nvPicPr>
            <p:cNvPr id="14" name="Picture 14"/>
            <p:cNvPicPr>
              <a:picLocks noChangeAspect="1"/>
            </p:cNvPicPr>
            <p:nvPr/>
          </p:nvPicPr>
          <p:blipFill>
            <a:blip r:embed="rId9"/>
            <a:stretch>
              <a:fillRect/>
            </a:stretch>
          </p:blipFill>
          <p:spPr>
            <a:xfrm>
              <a:off x="9093200" y="2794000"/>
              <a:ext cx="1244600" cy="1244600"/>
            </a:xfrm>
            <a:prstGeom prst="rect">
              <a:avLst/>
            </a:prstGeom>
          </p:spPr>
        </p:pic>
        <p:pic>
          <p:nvPicPr>
            <p:cNvPr id="15" name="Picture 15"/>
            <p:cNvPicPr>
              <a:picLocks noChangeAspect="1"/>
            </p:cNvPicPr>
            <p:nvPr/>
          </p:nvPicPr>
          <p:blipFill>
            <a:blip r:embed="rId10"/>
            <a:stretch>
              <a:fillRect/>
            </a:stretch>
          </p:blipFill>
          <p:spPr>
            <a:xfrm>
              <a:off x="9398000" y="3124200"/>
              <a:ext cx="660400" cy="571500"/>
            </a:xfrm>
            <a:prstGeom prst="rect">
              <a:avLst/>
            </a:prstGeom>
          </p:spPr>
        </p:pic>
      </p:grpSp>
      <p:grpSp>
        <p:nvGrpSpPr>
          <p:cNvPr id="36" name="组合 35">
            <a:extLst>
              <a:ext uri="{FF2B5EF4-FFF2-40B4-BE49-F238E27FC236}">
                <a16:creationId xmlns:a16="http://schemas.microsoft.com/office/drawing/2014/main" id="{6CFF4F8C-722B-6B47-8E02-9D05BF1A9192}"/>
              </a:ext>
            </a:extLst>
          </p:cNvPr>
          <p:cNvGrpSpPr/>
          <p:nvPr/>
        </p:nvGrpSpPr>
        <p:grpSpPr>
          <a:xfrm>
            <a:off x="3228352" y="1656608"/>
            <a:ext cx="1993585" cy="1643751"/>
            <a:chOff x="1484912" y="2550201"/>
            <a:chExt cx="2223508" cy="1858020"/>
          </a:xfrm>
        </p:grpSpPr>
        <p:sp>
          <p:nvSpPr>
            <p:cNvPr id="26" name="任意多边形 26">
              <a:extLst>
                <a:ext uri="{FF2B5EF4-FFF2-40B4-BE49-F238E27FC236}">
                  <a16:creationId xmlns:a16="http://schemas.microsoft.com/office/drawing/2014/main" id="{464B0810-D3B0-FC4F-890F-2A6CC7C2A403}"/>
                </a:ext>
              </a:extLst>
            </p:cNvPr>
            <p:cNvSpPr/>
            <p:nvPr/>
          </p:nvSpPr>
          <p:spPr>
            <a:xfrm>
              <a:off x="1666357" y="2550201"/>
              <a:ext cx="1860622" cy="1858020"/>
            </a:xfrm>
            <a:custGeom>
              <a:avLst/>
              <a:gdLst>
                <a:gd name="connsiteX0" fmla="*/ 578552 w 606368"/>
                <a:gd name="connsiteY0" fmla="*/ 502426 h 605522"/>
                <a:gd name="connsiteX1" fmla="*/ 587457 w 606368"/>
                <a:gd name="connsiteY1" fmla="*/ 511308 h 605522"/>
                <a:gd name="connsiteX2" fmla="*/ 587457 w 606368"/>
                <a:gd name="connsiteY2" fmla="*/ 577658 h 605522"/>
                <a:gd name="connsiteX3" fmla="*/ 578552 w 606368"/>
                <a:gd name="connsiteY3" fmla="*/ 586540 h 605522"/>
                <a:gd name="connsiteX4" fmla="*/ 512036 w 606368"/>
                <a:gd name="connsiteY4" fmla="*/ 586540 h 605522"/>
                <a:gd name="connsiteX5" fmla="*/ 503131 w 606368"/>
                <a:gd name="connsiteY5" fmla="*/ 577658 h 605522"/>
                <a:gd name="connsiteX6" fmla="*/ 512036 w 606368"/>
                <a:gd name="connsiteY6" fmla="*/ 568776 h 605522"/>
                <a:gd name="connsiteX7" fmla="*/ 569648 w 606368"/>
                <a:gd name="connsiteY7" fmla="*/ 568776 h 605522"/>
                <a:gd name="connsiteX8" fmla="*/ 569648 w 606368"/>
                <a:gd name="connsiteY8" fmla="*/ 511308 h 605522"/>
                <a:gd name="connsiteX9" fmla="*/ 578552 w 606368"/>
                <a:gd name="connsiteY9" fmla="*/ 502426 h 605522"/>
                <a:gd name="connsiteX10" fmla="*/ 27879 w 606368"/>
                <a:gd name="connsiteY10" fmla="*/ 502426 h 605522"/>
                <a:gd name="connsiteX11" fmla="*/ 36776 w 606368"/>
                <a:gd name="connsiteY11" fmla="*/ 511308 h 605522"/>
                <a:gd name="connsiteX12" fmla="*/ 36776 w 606368"/>
                <a:gd name="connsiteY12" fmla="*/ 568776 h 605522"/>
                <a:gd name="connsiteX13" fmla="*/ 94340 w 606368"/>
                <a:gd name="connsiteY13" fmla="*/ 568776 h 605522"/>
                <a:gd name="connsiteX14" fmla="*/ 103237 w 606368"/>
                <a:gd name="connsiteY14" fmla="*/ 577658 h 605522"/>
                <a:gd name="connsiteX15" fmla="*/ 94340 w 606368"/>
                <a:gd name="connsiteY15" fmla="*/ 586540 h 605522"/>
                <a:gd name="connsiteX16" fmla="*/ 27879 w 606368"/>
                <a:gd name="connsiteY16" fmla="*/ 586540 h 605522"/>
                <a:gd name="connsiteX17" fmla="*/ 18982 w 606368"/>
                <a:gd name="connsiteY17" fmla="*/ 577658 h 605522"/>
                <a:gd name="connsiteX18" fmla="*/ 18982 w 606368"/>
                <a:gd name="connsiteY18" fmla="*/ 511308 h 605522"/>
                <a:gd name="connsiteX19" fmla="*/ 27879 w 606368"/>
                <a:gd name="connsiteY19" fmla="*/ 502426 h 605522"/>
                <a:gd name="connsiteX20" fmla="*/ 303219 w 606368"/>
                <a:gd name="connsiteY20" fmla="*/ 398130 h 605522"/>
                <a:gd name="connsiteX21" fmla="*/ 312110 w 606368"/>
                <a:gd name="connsiteY21" fmla="*/ 407021 h 605522"/>
                <a:gd name="connsiteX22" fmla="*/ 312110 w 606368"/>
                <a:gd name="connsiteY22" fmla="*/ 444986 h 605522"/>
                <a:gd name="connsiteX23" fmla="*/ 303219 w 606368"/>
                <a:gd name="connsiteY23" fmla="*/ 453877 h 605522"/>
                <a:gd name="connsiteX24" fmla="*/ 294328 w 606368"/>
                <a:gd name="connsiteY24" fmla="*/ 444986 h 605522"/>
                <a:gd name="connsiteX25" fmla="*/ 294328 w 606368"/>
                <a:gd name="connsiteY25" fmla="*/ 407021 h 605522"/>
                <a:gd name="connsiteX26" fmla="*/ 303219 w 606368"/>
                <a:gd name="connsiteY26" fmla="*/ 398130 h 605522"/>
                <a:gd name="connsiteX27" fmla="*/ 407656 w 606368"/>
                <a:gd name="connsiteY27" fmla="*/ 293905 h 605522"/>
                <a:gd name="connsiteX28" fmla="*/ 445621 w 606368"/>
                <a:gd name="connsiteY28" fmla="*/ 293905 h 605522"/>
                <a:gd name="connsiteX29" fmla="*/ 454512 w 606368"/>
                <a:gd name="connsiteY29" fmla="*/ 302796 h 605522"/>
                <a:gd name="connsiteX30" fmla="*/ 445621 w 606368"/>
                <a:gd name="connsiteY30" fmla="*/ 311687 h 605522"/>
                <a:gd name="connsiteX31" fmla="*/ 407656 w 606368"/>
                <a:gd name="connsiteY31" fmla="*/ 311687 h 605522"/>
                <a:gd name="connsiteX32" fmla="*/ 398765 w 606368"/>
                <a:gd name="connsiteY32" fmla="*/ 302796 h 605522"/>
                <a:gd name="connsiteX33" fmla="*/ 407656 w 606368"/>
                <a:gd name="connsiteY33" fmla="*/ 293905 h 605522"/>
                <a:gd name="connsiteX34" fmla="*/ 160832 w 606368"/>
                <a:gd name="connsiteY34" fmla="*/ 293905 h 605522"/>
                <a:gd name="connsiteX35" fmla="*/ 198769 w 606368"/>
                <a:gd name="connsiteY35" fmla="*/ 293905 h 605522"/>
                <a:gd name="connsiteX36" fmla="*/ 207674 w 606368"/>
                <a:gd name="connsiteY36" fmla="*/ 302796 h 605522"/>
                <a:gd name="connsiteX37" fmla="*/ 198769 w 606368"/>
                <a:gd name="connsiteY37" fmla="*/ 311687 h 605522"/>
                <a:gd name="connsiteX38" fmla="*/ 160832 w 606368"/>
                <a:gd name="connsiteY38" fmla="*/ 311687 h 605522"/>
                <a:gd name="connsiteX39" fmla="*/ 151927 w 606368"/>
                <a:gd name="connsiteY39" fmla="*/ 302796 h 605522"/>
                <a:gd name="connsiteX40" fmla="*/ 160832 w 606368"/>
                <a:gd name="connsiteY40" fmla="*/ 293905 h 605522"/>
                <a:gd name="connsiteX41" fmla="*/ 303228 w 606368"/>
                <a:gd name="connsiteY41" fmla="*/ 283221 h 605522"/>
                <a:gd name="connsiteX42" fmla="*/ 283651 w 606368"/>
                <a:gd name="connsiteY42" fmla="*/ 302771 h 605522"/>
                <a:gd name="connsiteX43" fmla="*/ 303228 w 606368"/>
                <a:gd name="connsiteY43" fmla="*/ 322321 h 605522"/>
                <a:gd name="connsiteX44" fmla="*/ 322805 w 606368"/>
                <a:gd name="connsiteY44" fmla="*/ 302771 h 605522"/>
                <a:gd name="connsiteX45" fmla="*/ 303228 w 606368"/>
                <a:gd name="connsiteY45" fmla="*/ 283221 h 605522"/>
                <a:gd name="connsiteX46" fmla="*/ 303228 w 606368"/>
                <a:gd name="connsiteY46" fmla="*/ 227503 h 605522"/>
                <a:gd name="connsiteX47" fmla="*/ 312127 w 606368"/>
                <a:gd name="connsiteY47" fmla="*/ 236390 h 605522"/>
                <a:gd name="connsiteX48" fmla="*/ 312127 w 606368"/>
                <a:gd name="connsiteY48" fmla="*/ 266514 h 605522"/>
                <a:gd name="connsiteX49" fmla="*/ 339535 w 606368"/>
                <a:gd name="connsiteY49" fmla="*/ 293884 h 605522"/>
                <a:gd name="connsiteX50" fmla="*/ 369613 w 606368"/>
                <a:gd name="connsiteY50" fmla="*/ 293884 h 605522"/>
                <a:gd name="connsiteX51" fmla="*/ 378512 w 606368"/>
                <a:gd name="connsiteY51" fmla="*/ 302771 h 605522"/>
                <a:gd name="connsiteX52" fmla="*/ 369613 w 606368"/>
                <a:gd name="connsiteY52" fmla="*/ 311657 h 605522"/>
                <a:gd name="connsiteX53" fmla="*/ 339535 w 606368"/>
                <a:gd name="connsiteY53" fmla="*/ 311657 h 605522"/>
                <a:gd name="connsiteX54" fmla="*/ 312127 w 606368"/>
                <a:gd name="connsiteY54" fmla="*/ 339027 h 605522"/>
                <a:gd name="connsiteX55" fmla="*/ 312127 w 606368"/>
                <a:gd name="connsiteY55" fmla="*/ 369063 h 605522"/>
                <a:gd name="connsiteX56" fmla="*/ 303228 w 606368"/>
                <a:gd name="connsiteY56" fmla="*/ 377949 h 605522"/>
                <a:gd name="connsiteX57" fmla="*/ 294329 w 606368"/>
                <a:gd name="connsiteY57" fmla="*/ 369063 h 605522"/>
                <a:gd name="connsiteX58" fmla="*/ 294329 w 606368"/>
                <a:gd name="connsiteY58" fmla="*/ 339027 h 605522"/>
                <a:gd name="connsiteX59" fmla="*/ 266921 w 606368"/>
                <a:gd name="connsiteY59" fmla="*/ 311657 h 605522"/>
                <a:gd name="connsiteX60" fmla="*/ 236754 w 606368"/>
                <a:gd name="connsiteY60" fmla="*/ 311657 h 605522"/>
                <a:gd name="connsiteX61" fmla="*/ 227855 w 606368"/>
                <a:gd name="connsiteY61" fmla="*/ 302771 h 605522"/>
                <a:gd name="connsiteX62" fmla="*/ 236754 w 606368"/>
                <a:gd name="connsiteY62" fmla="*/ 293884 h 605522"/>
                <a:gd name="connsiteX63" fmla="*/ 266921 w 606368"/>
                <a:gd name="connsiteY63" fmla="*/ 293884 h 605522"/>
                <a:gd name="connsiteX64" fmla="*/ 294329 w 606368"/>
                <a:gd name="connsiteY64" fmla="*/ 266514 h 605522"/>
                <a:gd name="connsiteX65" fmla="*/ 294329 w 606368"/>
                <a:gd name="connsiteY65" fmla="*/ 236390 h 605522"/>
                <a:gd name="connsiteX66" fmla="*/ 303228 w 606368"/>
                <a:gd name="connsiteY66" fmla="*/ 227503 h 605522"/>
                <a:gd name="connsiteX67" fmla="*/ 303219 w 606368"/>
                <a:gd name="connsiteY67" fmla="*/ 151716 h 605522"/>
                <a:gd name="connsiteX68" fmla="*/ 312110 w 606368"/>
                <a:gd name="connsiteY68" fmla="*/ 160599 h 605522"/>
                <a:gd name="connsiteX69" fmla="*/ 312110 w 606368"/>
                <a:gd name="connsiteY69" fmla="*/ 198440 h 605522"/>
                <a:gd name="connsiteX70" fmla="*/ 303219 w 606368"/>
                <a:gd name="connsiteY70" fmla="*/ 207322 h 605522"/>
                <a:gd name="connsiteX71" fmla="*/ 294328 w 606368"/>
                <a:gd name="connsiteY71" fmla="*/ 198440 h 605522"/>
                <a:gd name="connsiteX72" fmla="*/ 294328 w 606368"/>
                <a:gd name="connsiteY72" fmla="*/ 160599 h 605522"/>
                <a:gd name="connsiteX73" fmla="*/ 303219 w 606368"/>
                <a:gd name="connsiteY73" fmla="*/ 151716 h 605522"/>
                <a:gd name="connsiteX74" fmla="*/ 294328 w 606368"/>
                <a:gd name="connsiteY74" fmla="*/ 93828 h 605522"/>
                <a:gd name="connsiteX75" fmla="*/ 93995 w 606368"/>
                <a:gd name="connsiteY75" fmla="*/ 293883 h 605522"/>
                <a:gd name="connsiteX76" fmla="*/ 122830 w 606368"/>
                <a:gd name="connsiteY76" fmla="*/ 293883 h 605522"/>
                <a:gd name="connsiteX77" fmla="*/ 131730 w 606368"/>
                <a:gd name="connsiteY77" fmla="*/ 302770 h 605522"/>
                <a:gd name="connsiteX78" fmla="*/ 122830 w 606368"/>
                <a:gd name="connsiteY78" fmla="*/ 311658 h 605522"/>
                <a:gd name="connsiteX79" fmla="*/ 93995 w 606368"/>
                <a:gd name="connsiteY79" fmla="*/ 311658 h 605522"/>
                <a:gd name="connsiteX80" fmla="*/ 294328 w 606368"/>
                <a:gd name="connsiteY80" fmla="*/ 511712 h 605522"/>
                <a:gd name="connsiteX81" fmla="*/ 294328 w 606368"/>
                <a:gd name="connsiteY81" fmla="*/ 482828 h 605522"/>
                <a:gd name="connsiteX82" fmla="*/ 303228 w 606368"/>
                <a:gd name="connsiteY82" fmla="*/ 473941 h 605522"/>
                <a:gd name="connsiteX83" fmla="*/ 312128 w 606368"/>
                <a:gd name="connsiteY83" fmla="*/ 482828 h 605522"/>
                <a:gd name="connsiteX84" fmla="*/ 312128 w 606368"/>
                <a:gd name="connsiteY84" fmla="*/ 511712 h 605522"/>
                <a:gd name="connsiteX85" fmla="*/ 512461 w 606368"/>
                <a:gd name="connsiteY85" fmla="*/ 311658 h 605522"/>
                <a:gd name="connsiteX86" fmla="*/ 483537 w 606368"/>
                <a:gd name="connsiteY86" fmla="*/ 311658 h 605522"/>
                <a:gd name="connsiteX87" fmla="*/ 474637 w 606368"/>
                <a:gd name="connsiteY87" fmla="*/ 302770 h 605522"/>
                <a:gd name="connsiteX88" fmla="*/ 483537 w 606368"/>
                <a:gd name="connsiteY88" fmla="*/ 293883 h 605522"/>
                <a:gd name="connsiteX89" fmla="*/ 512461 w 606368"/>
                <a:gd name="connsiteY89" fmla="*/ 293883 h 605522"/>
                <a:gd name="connsiteX90" fmla="*/ 312128 w 606368"/>
                <a:gd name="connsiteY90" fmla="*/ 93828 h 605522"/>
                <a:gd name="connsiteX91" fmla="*/ 312128 w 606368"/>
                <a:gd name="connsiteY91" fmla="*/ 122623 h 605522"/>
                <a:gd name="connsiteX92" fmla="*/ 303228 w 606368"/>
                <a:gd name="connsiteY92" fmla="*/ 131510 h 605522"/>
                <a:gd name="connsiteX93" fmla="*/ 294328 w 606368"/>
                <a:gd name="connsiteY93" fmla="*/ 122623 h 605522"/>
                <a:gd name="connsiteX94" fmla="*/ 303228 w 606368"/>
                <a:gd name="connsiteY94" fmla="*/ 75787 h 605522"/>
                <a:gd name="connsiteX95" fmla="*/ 530439 w 606368"/>
                <a:gd name="connsiteY95" fmla="*/ 302770 h 605522"/>
                <a:gd name="connsiteX96" fmla="*/ 303228 w 606368"/>
                <a:gd name="connsiteY96" fmla="*/ 529664 h 605522"/>
                <a:gd name="connsiteX97" fmla="*/ 75928 w 606368"/>
                <a:gd name="connsiteY97" fmla="*/ 302770 h 605522"/>
                <a:gd name="connsiteX98" fmla="*/ 303228 w 606368"/>
                <a:gd name="connsiteY98" fmla="*/ 75787 h 605522"/>
                <a:gd name="connsiteX99" fmla="*/ 294328 w 606368"/>
                <a:gd name="connsiteY99" fmla="*/ 36884 h 605522"/>
                <a:gd name="connsiteX100" fmla="*/ 114812 w 606368"/>
                <a:gd name="connsiteY100" fmla="*/ 114652 h 605522"/>
                <a:gd name="connsiteX101" fmla="*/ 36936 w 606368"/>
                <a:gd name="connsiteY101" fmla="*/ 293918 h 605522"/>
                <a:gd name="connsiteX102" fmla="*/ 46904 w 606368"/>
                <a:gd name="connsiteY102" fmla="*/ 293918 h 605522"/>
                <a:gd name="connsiteX103" fmla="*/ 55804 w 606368"/>
                <a:gd name="connsiteY103" fmla="*/ 302806 h 605522"/>
                <a:gd name="connsiteX104" fmla="*/ 46904 w 606368"/>
                <a:gd name="connsiteY104" fmla="*/ 311693 h 605522"/>
                <a:gd name="connsiteX105" fmla="*/ 36936 w 606368"/>
                <a:gd name="connsiteY105" fmla="*/ 311693 h 605522"/>
                <a:gd name="connsiteX106" fmla="*/ 114812 w 606368"/>
                <a:gd name="connsiteY106" fmla="*/ 490870 h 605522"/>
                <a:gd name="connsiteX107" fmla="*/ 294328 w 606368"/>
                <a:gd name="connsiteY107" fmla="*/ 568638 h 605522"/>
                <a:gd name="connsiteX108" fmla="*/ 294328 w 606368"/>
                <a:gd name="connsiteY108" fmla="*/ 558773 h 605522"/>
                <a:gd name="connsiteX109" fmla="*/ 303228 w 606368"/>
                <a:gd name="connsiteY109" fmla="*/ 549885 h 605522"/>
                <a:gd name="connsiteX110" fmla="*/ 312129 w 606368"/>
                <a:gd name="connsiteY110" fmla="*/ 558773 h 605522"/>
                <a:gd name="connsiteX111" fmla="*/ 312129 w 606368"/>
                <a:gd name="connsiteY111" fmla="*/ 568638 h 605522"/>
                <a:gd name="connsiteX112" fmla="*/ 491556 w 606368"/>
                <a:gd name="connsiteY112" fmla="*/ 490870 h 605522"/>
                <a:gd name="connsiteX113" fmla="*/ 569432 w 606368"/>
                <a:gd name="connsiteY113" fmla="*/ 311693 h 605522"/>
                <a:gd name="connsiteX114" fmla="*/ 559553 w 606368"/>
                <a:gd name="connsiteY114" fmla="*/ 311693 h 605522"/>
                <a:gd name="connsiteX115" fmla="*/ 550653 w 606368"/>
                <a:gd name="connsiteY115" fmla="*/ 302806 h 605522"/>
                <a:gd name="connsiteX116" fmla="*/ 559553 w 606368"/>
                <a:gd name="connsiteY116" fmla="*/ 293918 h 605522"/>
                <a:gd name="connsiteX117" fmla="*/ 569432 w 606368"/>
                <a:gd name="connsiteY117" fmla="*/ 293918 h 605522"/>
                <a:gd name="connsiteX118" fmla="*/ 491556 w 606368"/>
                <a:gd name="connsiteY118" fmla="*/ 114652 h 605522"/>
                <a:gd name="connsiteX119" fmla="*/ 312129 w 606368"/>
                <a:gd name="connsiteY119" fmla="*/ 36884 h 605522"/>
                <a:gd name="connsiteX120" fmla="*/ 312129 w 606368"/>
                <a:gd name="connsiteY120" fmla="*/ 46838 h 605522"/>
                <a:gd name="connsiteX121" fmla="*/ 303228 w 606368"/>
                <a:gd name="connsiteY121" fmla="*/ 55726 h 605522"/>
                <a:gd name="connsiteX122" fmla="*/ 294328 w 606368"/>
                <a:gd name="connsiteY122" fmla="*/ 46838 h 605522"/>
                <a:gd name="connsiteX123" fmla="*/ 512036 w 606368"/>
                <a:gd name="connsiteY123" fmla="*/ 18912 h 605522"/>
                <a:gd name="connsiteX124" fmla="*/ 578552 w 606368"/>
                <a:gd name="connsiteY124" fmla="*/ 18912 h 605522"/>
                <a:gd name="connsiteX125" fmla="*/ 587457 w 606368"/>
                <a:gd name="connsiteY125" fmla="*/ 27801 h 605522"/>
                <a:gd name="connsiteX126" fmla="*/ 587457 w 606368"/>
                <a:gd name="connsiteY126" fmla="*/ 94207 h 605522"/>
                <a:gd name="connsiteX127" fmla="*/ 578552 w 606368"/>
                <a:gd name="connsiteY127" fmla="*/ 103097 h 605522"/>
                <a:gd name="connsiteX128" fmla="*/ 569648 w 606368"/>
                <a:gd name="connsiteY128" fmla="*/ 94207 h 605522"/>
                <a:gd name="connsiteX129" fmla="*/ 569648 w 606368"/>
                <a:gd name="connsiteY129" fmla="*/ 36691 h 605522"/>
                <a:gd name="connsiteX130" fmla="*/ 512036 w 606368"/>
                <a:gd name="connsiteY130" fmla="*/ 36691 h 605522"/>
                <a:gd name="connsiteX131" fmla="*/ 503131 w 606368"/>
                <a:gd name="connsiteY131" fmla="*/ 27801 h 605522"/>
                <a:gd name="connsiteX132" fmla="*/ 512036 w 606368"/>
                <a:gd name="connsiteY132" fmla="*/ 18912 h 605522"/>
                <a:gd name="connsiteX133" fmla="*/ 27879 w 606368"/>
                <a:gd name="connsiteY133" fmla="*/ 18912 h 605522"/>
                <a:gd name="connsiteX134" fmla="*/ 94340 w 606368"/>
                <a:gd name="connsiteY134" fmla="*/ 18912 h 605522"/>
                <a:gd name="connsiteX135" fmla="*/ 103237 w 606368"/>
                <a:gd name="connsiteY135" fmla="*/ 27801 h 605522"/>
                <a:gd name="connsiteX136" fmla="*/ 94340 w 606368"/>
                <a:gd name="connsiteY136" fmla="*/ 36691 h 605522"/>
                <a:gd name="connsiteX137" fmla="*/ 36776 w 606368"/>
                <a:gd name="connsiteY137" fmla="*/ 36691 h 605522"/>
                <a:gd name="connsiteX138" fmla="*/ 36776 w 606368"/>
                <a:gd name="connsiteY138" fmla="*/ 94207 h 605522"/>
                <a:gd name="connsiteX139" fmla="*/ 27879 w 606368"/>
                <a:gd name="connsiteY139" fmla="*/ 103097 h 605522"/>
                <a:gd name="connsiteX140" fmla="*/ 18982 w 606368"/>
                <a:gd name="connsiteY140" fmla="*/ 94207 h 605522"/>
                <a:gd name="connsiteX141" fmla="*/ 18982 w 606368"/>
                <a:gd name="connsiteY141" fmla="*/ 27801 h 605522"/>
                <a:gd name="connsiteX142" fmla="*/ 27879 w 606368"/>
                <a:gd name="connsiteY142" fmla="*/ 18912 h 605522"/>
                <a:gd name="connsiteX143" fmla="*/ 303228 w 606368"/>
                <a:gd name="connsiteY143" fmla="*/ 0 h 605522"/>
                <a:gd name="connsiteX144" fmla="*/ 312129 w 606368"/>
                <a:gd name="connsiteY144" fmla="*/ 8887 h 605522"/>
                <a:gd name="connsiteX145" fmla="*/ 312129 w 606368"/>
                <a:gd name="connsiteY145" fmla="*/ 19108 h 605522"/>
                <a:gd name="connsiteX146" fmla="*/ 504194 w 606368"/>
                <a:gd name="connsiteY146" fmla="*/ 102120 h 605522"/>
                <a:gd name="connsiteX147" fmla="*/ 587233 w 606368"/>
                <a:gd name="connsiteY147" fmla="*/ 293918 h 605522"/>
                <a:gd name="connsiteX148" fmla="*/ 597468 w 606368"/>
                <a:gd name="connsiteY148" fmla="*/ 293918 h 605522"/>
                <a:gd name="connsiteX149" fmla="*/ 606368 w 606368"/>
                <a:gd name="connsiteY149" fmla="*/ 302806 h 605522"/>
                <a:gd name="connsiteX150" fmla="*/ 597468 w 606368"/>
                <a:gd name="connsiteY150" fmla="*/ 311693 h 605522"/>
                <a:gd name="connsiteX151" fmla="*/ 587233 w 606368"/>
                <a:gd name="connsiteY151" fmla="*/ 311693 h 605522"/>
                <a:gd name="connsiteX152" fmla="*/ 504194 w 606368"/>
                <a:gd name="connsiteY152" fmla="*/ 503491 h 605522"/>
                <a:gd name="connsiteX153" fmla="*/ 312129 w 606368"/>
                <a:gd name="connsiteY153" fmla="*/ 586414 h 605522"/>
                <a:gd name="connsiteX154" fmla="*/ 312129 w 606368"/>
                <a:gd name="connsiteY154" fmla="*/ 596634 h 605522"/>
                <a:gd name="connsiteX155" fmla="*/ 303228 w 606368"/>
                <a:gd name="connsiteY155" fmla="*/ 605522 h 605522"/>
                <a:gd name="connsiteX156" fmla="*/ 294328 w 606368"/>
                <a:gd name="connsiteY156" fmla="*/ 596634 h 605522"/>
                <a:gd name="connsiteX157" fmla="*/ 294328 w 606368"/>
                <a:gd name="connsiteY157" fmla="*/ 586414 h 605522"/>
                <a:gd name="connsiteX158" fmla="*/ 102263 w 606368"/>
                <a:gd name="connsiteY158" fmla="*/ 503491 h 605522"/>
                <a:gd name="connsiteX159" fmla="*/ 19135 w 606368"/>
                <a:gd name="connsiteY159" fmla="*/ 311693 h 605522"/>
                <a:gd name="connsiteX160" fmla="*/ 8900 w 606368"/>
                <a:gd name="connsiteY160" fmla="*/ 311693 h 605522"/>
                <a:gd name="connsiteX161" fmla="*/ 0 w 606368"/>
                <a:gd name="connsiteY161" fmla="*/ 302806 h 605522"/>
                <a:gd name="connsiteX162" fmla="*/ 8900 w 606368"/>
                <a:gd name="connsiteY162" fmla="*/ 293918 h 605522"/>
                <a:gd name="connsiteX163" fmla="*/ 19135 w 606368"/>
                <a:gd name="connsiteY163" fmla="*/ 293918 h 605522"/>
                <a:gd name="connsiteX164" fmla="*/ 102263 w 606368"/>
                <a:gd name="connsiteY164" fmla="*/ 102120 h 605522"/>
                <a:gd name="connsiteX165" fmla="*/ 294328 w 606368"/>
                <a:gd name="connsiteY165" fmla="*/ 19108 h 605522"/>
                <a:gd name="connsiteX166" fmla="*/ 294328 w 606368"/>
                <a:gd name="connsiteY166" fmla="*/ 8887 h 605522"/>
                <a:gd name="connsiteX167" fmla="*/ 303228 w 606368"/>
                <a:gd name="connsiteY167" fmla="*/ 0 h 605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606368" h="605522">
                  <a:moveTo>
                    <a:pt x="578552" y="502426"/>
                  </a:moveTo>
                  <a:cubicBezTo>
                    <a:pt x="583450" y="502426"/>
                    <a:pt x="587457" y="506423"/>
                    <a:pt x="587457" y="511308"/>
                  </a:cubicBezTo>
                  <a:lnTo>
                    <a:pt x="587457" y="577658"/>
                  </a:lnTo>
                  <a:cubicBezTo>
                    <a:pt x="587457" y="582543"/>
                    <a:pt x="583450" y="586540"/>
                    <a:pt x="578552" y="586540"/>
                  </a:cubicBezTo>
                  <a:lnTo>
                    <a:pt x="512036" y="586540"/>
                  </a:lnTo>
                  <a:cubicBezTo>
                    <a:pt x="507138" y="586540"/>
                    <a:pt x="503131" y="582543"/>
                    <a:pt x="503131" y="577658"/>
                  </a:cubicBezTo>
                  <a:cubicBezTo>
                    <a:pt x="503131" y="572773"/>
                    <a:pt x="507138" y="568776"/>
                    <a:pt x="512036" y="568776"/>
                  </a:cubicBezTo>
                  <a:lnTo>
                    <a:pt x="569648" y="568776"/>
                  </a:lnTo>
                  <a:lnTo>
                    <a:pt x="569648" y="511308"/>
                  </a:lnTo>
                  <a:cubicBezTo>
                    <a:pt x="569648" y="506423"/>
                    <a:pt x="573655" y="502426"/>
                    <a:pt x="578552" y="502426"/>
                  </a:cubicBezTo>
                  <a:close/>
                  <a:moveTo>
                    <a:pt x="27879" y="502426"/>
                  </a:moveTo>
                  <a:cubicBezTo>
                    <a:pt x="32861" y="502426"/>
                    <a:pt x="36776" y="506423"/>
                    <a:pt x="36776" y="511308"/>
                  </a:cubicBezTo>
                  <a:lnTo>
                    <a:pt x="36776" y="568776"/>
                  </a:lnTo>
                  <a:lnTo>
                    <a:pt x="94340" y="568776"/>
                  </a:lnTo>
                  <a:cubicBezTo>
                    <a:pt x="99233" y="568776"/>
                    <a:pt x="103237" y="572773"/>
                    <a:pt x="103237" y="577658"/>
                  </a:cubicBezTo>
                  <a:cubicBezTo>
                    <a:pt x="103237" y="582543"/>
                    <a:pt x="99233" y="586540"/>
                    <a:pt x="94340" y="586540"/>
                  </a:cubicBezTo>
                  <a:lnTo>
                    <a:pt x="27879" y="586540"/>
                  </a:lnTo>
                  <a:cubicBezTo>
                    <a:pt x="22986" y="586540"/>
                    <a:pt x="18982" y="582543"/>
                    <a:pt x="18982" y="577658"/>
                  </a:cubicBezTo>
                  <a:lnTo>
                    <a:pt x="18982" y="511308"/>
                  </a:lnTo>
                  <a:cubicBezTo>
                    <a:pt x="18982" y="506423"/>
                    <a:pt x="22986" y="502426"/>
                    <a:pt x="27879" y="502426"/>
                  </a:cubicBezTo>
                  <a:close/>
                  <a:moveTo>
                    <a:pt x="303219" y="398130"/>
                  </a:moveTo>
                  <a:cubicBezTo>
                    <a:pt x="308109" y="398130"/>
                    <a:pt x="312110" y="402131"/>
                    <a:pt x="312110" y="407021"/>
                  </a:cubicBezTo>
                  <a:lnTo>
                    <a:pt x="312110" y="444986"/>
                  </a:lnTo>
                  <a:cubicBezTo>
                    <a:pt x="312110" y="449876"/>
                    <a:pt x="308109" y="453877"/>
                    <a:pt x="303219" y="453877"/>
                  </a:cubicBezTo>
                  <a:cubicBezTo>
                    <a:pt x="298240" y="453877"/>
                    <a:pt x="294328" y="449876"/>
                    <a:pt x="294328" y="444986"/>
                  </a:cubicBezTo>
                  <a:lnTo>
                    <a:pt x="294328" y="407021"/>
                  </a:lnTo>
                  <a:cubicBezTo>
                    <a:pt x="294328" y="402131"/>
                    <a:pt x="298240" y="398130"/>
                    <a:pt x="303219" y="398130"/>
                  </a:cubicBezTo>
                  <a:close/>
                  <a:moveTo>
                    <a:pt x="407656" y="293905"/>
                  </a:moveTo>
                  <a:lnTo>
                    <a:pt x="445621" y="293905"/>
                  </a:lnTo>
                  <a:cubicBezTo>
                    <a:pt x="450511" y="293905"/>
                    <a:pt x="454512" y="297817"/>
                    <a:pt x="454512" y="302796"/>
                  </a:cubicBezTo>
                  <a:cubicBezTo>
                    <a:pt x="454512" y="307686"/>
                    <a:pt x="450511" y="311687"/>
                    <a:pt x="445621" y="311687"/>
                  </a:cubicBezTo>
                  <a:lnTo>
                    <a:pt x="407656" y="311687"/>
                  </a:lnTo>
                  <a:cubicBezTo>
                    <a:pt x="402766" y="311687"/>
                    <a:pt x="398765" y="307686"/>
                    <a:pt x="398765" y="302796"/>
                  </a:cubicBezTo>
                  <a:cubicBezTo>
                    <a:pt x="398765" y="297817"/>
                    <a:pt x="402766" y="293905"/>
                    <a:pt x="407656" y="293905"/>
                  </a:cubicBezTo>
                  <a:close/>
                  <a:moveTo>
                    <a:pt x="160832" y="293905"/>
                  </a:moveTo>
                  <a:lnTo>
                    <a:pt x="198769" y="293905"/>
                  </a:lnTo>
                  <a:cubicBezTo>
                    <a:pt x="203756" y="293905"/>
                    <a:pt x="207674" y="297817"/>
                    <a:pt x="207674" y="302796"/>
                  </a:cubicBezTo>
                  <a:cubicBezTo>
                    <a:pt x="207674" y="307686"/>
                    <a:pt x="203756" y="311687"/>
                    <a:pt x="198769" y="311687"/>
                  </a:cubicBezTo>
                  <a:lnTo>
                    <a:pt x="160832" y="311687"/>
                  </a:lnTo>
                  <a:cubicBezTo>
                    <a:pt x="155845" y="311687"/>
                    <a:pt x="151927" y="307686"/>
                    <a:pt x="151927" y="302796"/>
                  </a:cubicBezTo>
                  <a:cubicBezTo>
                    <a:pt x="151927" y="297817"/>
                    <a:pt x="155845" y="293905"/>
                    <a:pt x="160832" y="293905"/>
                  </a:cubicBezTo>
                  <a:close/>
                  <a:moveTo>
                    <a:pt x="303228" y="283221"/>
                  </a:moveTo>
                  <a:cubicBezTo>
                    <a:pt x="292371" y="283221"/>
                    <a:pt x="283651" y="291929"/>
                    <a:pt x="283651" y="302771"/>
                  </a:cubicBezTo>
                  <a:cubicBezTo>
                    <a:pt x="283651" y="313523"/>
                    <a:pt x="292371" y="322321"/>
                    <a:pt x="303228" y="322321"/>
                  </a:cubicBezTo>
                  <a:cubicBezTo>
                    <a:pt x="313996" y="322321"/>
                    <a:pt x="322805" y="313523"/>
                    <a:pt x="322805" y="302771"/>
                  </a:cubicBezTo>
                  <a:cubicBezTo>
                    <a:pt x="322805" y="291929"/>
                    <a:pt x="313996" y="283221"/>
                    <a:pt x="303228" y="283221"/>
                  </a:cubicBezTo>
                  <a:close/>
                  <a:moveTo>
                    <a:pt x="303228" y="227503"/>
                  </a:moveTo>
                  <a:cubicBezTo>
                    <a:pt x="308122" y="227503"/>
                    <a:pt x="312127" y="231502"/>
                    <a:pt x="312127" y="236390"/>
                  </a:cubicBezTo>
                  <a:lnTo>
                    <a:pt x="312127" y="266514"/>
                  </a:lnTo>
                  <a:cubicBezTo>
                    <a:pt x="325564" y="269802"/>
                    <a:pt x="336154" y="280377"/>
                    <a:pt x="339535" y="293884"/>
                  </a:cubicBezTo>
                  <a:lnTo>
                    <a:pt x="369613" y="293884"/>
                  </a:lnTo>
                  <a:cubicBezTo>
                    <a:pt x="374597" y="293884"/>
                    <a:pt x="378512" y="297794"/>
                    <a:pt x="378512" y="302771"/>
                  </a:cubicBezTo>
                  <a:cubicBezTo>
                    <a:pt x="378512" y="307658"/>
                    <a:pt x="374597" y="311657"/>
                    <a:pt x="369613" y="311657"/>
                  </a:cubicBezTo>
                  <a:lnTo>
                    <a:pt x="339535" y="311657"/>
                  </a:lnTo>
                  <a:cubicBezTo>
                    <a:pt x="336154" y="325075"/>
                    <a:pt x="325564" y="335650"/>
                    <a:pt x="312127" y="339027"/>
                  </a:cubicBezTo>
                  <a:lnTo>
                    <a:pt x="312127" y="369063"/>
                  </a:lnTo>
                  <a:cubicBezTo>
                    <a:pt x="312127" y="374039"/>
                    <a:pt x="308122" y="377949"/>
                    <a:pt x="303228" y="377949"/>
                  </a:cubicBezTo>
                  <a:cubicBezTo>
                    <a:pt x="298245" y="377949"/>
                    <a:pt x="294329" y="374039"/>
                    <a:pt x="294329" y="369063"/>
                  </a:cubicBezTo>
                  <a:lnTo>
                    <a:pt x="294329" y="339027"/>
                  </a:lnTo>
                  <a:cubicBezTo>
                    <a:pt x="280803" y="335650"/>
                    <a:pt x="270213" y="325075"/>
                    <a:pt x="266921" y="311657"/>
                  </a:cubicBezTo>
                  <a:lnTo>
                    <a:pt x="236754" y="311657"/>
                  </a:lnTo>
                  <a:cubicBezTo>
                    <a:pt x="231859" y="311657"/>
                    <a:pt x="227855" y="307658"/>
                    <a:pt x="227855" y="302771"/>
                  </a:cubicBezTo>
                  <a:cubicBezTo>
                    <a:pt x="227855" y="297794"/>
                    <a:pt x="231859" y="293884"/>
                    <a:pt x="236754" y="293884"/>
                  </a:cubicBezTo>
                  <a:lnTo>
                    <a:pt x="266921" y="293884"/>
                  </a:lnTo>
                  <a:cubicBezTo>
                    <a:pt x="270213" y="280377"/>
                    <a:pt x="280803" y="269802"/>
                    <a:pt x="294329" y="266514"/>
                  </a:cubicBezTo>
                  <a:lnTo>
                    <a:pt x="294329" y="236390"/>
                  </a:lnTo>
                  <a:cubicBezTo>
                    <a:pt x="294329" y="231502"/>
                    <a:pt x="298245" y="227503"/>
                    <a:pt x="303228" y="227503"/>
                  </a:cubicBezTo>
                  <a:close/>
                  <a:moveTo>
                    <a:pt x="303219" y="151716"/>
                  </a:moveTo>
                  <a:cubicBezTo>
                    <a:pt x="308109" y="151716"/>
                    <a:pt x="312110" y="155625"/>
                    <a:pt x="312110" y="160599"/>
                  </a:cubicBezTo>
                  <a:lnTo>
                    <a:pt x="312110" y="198440"/>
                  </a:lnTo>
                  <a:cubicBezTo>
                    <a:pt x="312110" y="203414"/>
                    <a:pt x="308109" y="207322"/>
                    <a:pt x="303219" y="207322"/>
                  </a:cubicBezTo>
                  <a:cubicBezTo>
                    <a:pt x="298240" y="207322"/>
                    <a:pt x="294328" y="203414"/>
                    <a:pt x="294328" y="198440"/>
                  </a:cubicBezTo>
                  <a:lnTo>
                    <a:pt x="294328" y="160599"/>
                  </a:lnTo>
                  <a:cubicBezTo>
                    <a:pt x="294328" y="155625"/>
                    <a:pt x="298240" y="151716"/>
                    <a:pt x="303219" y="151716"/>
                  </a:cubicBezTo>
                  <a:close/>
                  <a:moveTo>
                    <a:pt x="294328" y="93828"/>
                  </a:moveTo>
                  <a:cubicBezTo>
                    <a:pt x="185840" y="98361"/>
                    <a:pt x="98533" y="185546"/>
                    <a:pt x="93995" y="293883"/>
                  </a:cubicBezTo>
                  <a:lnTo>
                    <a:pt x="122830" y="293883"/>
                  </a:lnTo>
                  <a:cubicBezTo>
                    <a:pt x="127725" y="293883"/>
                    <a:pt x="131730" y="297793"/>
                    <a:pt x="131730" y="302770"/>
                  </a:cubicBezTo>
                  <a:cubicBezTo>
                    <a:pt x="131730" y="307658"/>
                    <a:pt x="127725" y="311658"/>
                    <a:pt x="122830" y="311658"/>
                  </a:cubicBezTo>
                  <a:lnTo>
                    <a:pt x="93995" y="311658"/>
                  </a:lnTo>
                  <a:cubicBezTo>
                    <a:pt x="98533" y="419905"/>
                    <a:pt x="185840" y="507179"/>
                    <a:pt x="294328" y="511712"/>
                  </a:cubicBezTo>
                  <a:lnTo>
                    <a:pt x="294328" y="482828"/>
                  </a:lnTo>
                  <a:cubicBezTo>
                    <a:pt x="294328" y="477940"/>
                    <a:pt x="298244" y="473941"/>
                    <a:pt x="303228" y="473941"/>
                  </a:cubicBezTo>
                  <a:cubicBezTo>
                    <a:pt x="308123" y="473941"/>
                    <a:pt x="312128" y="477940"/>
                    <a:pt x="312128" y="482828"/>
                  </a:cubicBezTo>
                  <a:lnTo>
                    <a:pt x="312128" y="511712"/>
                  </a:lnTo>
                  <a:cubicBezTo>
                    <a:pt x="420527" y="507179"/>
                    <a:pt x="507923" y="419905"/>
                    <a:pt x="512461" y="311658"/>
                  </a:cubicBezTo>
                  <a:lnTo>
                    <a:pt x="483537" y="311658"/>
                  </a:lnTo>
                  <a:cubicBezTo>
                    <a:pt x="478642" y="311658"/>
                    <a:pt x="474637" y="307658"/>
                    <a:pt x="474637" y="302770"/>
                  </a:cubicBezTo>
                  <a:cubicBezTo>
                    <a:pt x="474637" y="297793"/>
                    <a:pt x="478642" y="293883"/>
                    <a:pt x="483537" y="293883"/>
                  </a:cubicBezTo>
                  <a:lnTo>
                    <a:pt x="512461" y="293883"/>
                  </a:lnTo>
                  <a:cubicBezTo>
                    <a:pt x="507923" y="185546"/>
                    <a:pt x="420527" y="98361"/>
                    <a:pt x="312128" y="93828"/>
                  </a:cubicBezTo>
                  <a:lnTo>
                    <a:pt x="312128" y="122623"/>
                  </a:lnTo>
                  <a:cubicBezTo>
                    <a:pt x="312128" y="127511"/>
                    <a:pt x="308123" y="131510"/>
                    <a:pt x="303228" y="131510"/>
                  </a:cubicBezTo>
                  <a:cubicBezTo>
                    <a:pt x="298244" y="131510"/>
                    <a:pt x="294328" y="127511"/>
                    <a:pt x="294328" y="122623"/>
                  </a:cubicBezTo>
                  <a:close/>
                  <a:moveTo>
                    <a:pt x="303228" y="75787"/>
                  </a:moveTo>
                  <a:cubicBezTo>
                    <a:pt x="428537" y="75787"/>
                    <a:pt x="530439" y="177636"/>
                    <a:pt x="530439" y="302770"/>
                  </a:cubicBezTo>
                  <a:cubicBezTo>
                    <a:pt x="530439" y="427904"/>
                    <a:pt x="428537" y="529664"/>
                    <a:pt x="303228" y="529664"/>
                  </a:cubicBezTo>
                  <a:cubicBezTo>
                    <a:pt x="177919" y="529664"/>
                    <a:pt x="75928" y="427904"/>
                    <a:pt x="75928" y="302770"/>
                  </a:cubicBezTo>
                  <a:cubicBezTo>
                    <a:pt x="75928" y="177636"/>
                    <a:pt x="177919" y="75787"/>
                    <a:pt x="303228" y="75787"/>
                  </a:cubicBezTo>
                  <a:close/>
                  <a:moveTo>
                    <a:pt x="294328" y="36884"/>
                  </a:moveTo>
                  <a:cubicBezTo>
                    <a:pt x="226509" y="39106"/>
                    <a:pt x="163051" y="66480"/>
                    <a:pt x="114812" y="114652"/>
                  </a:cubicBezTo>
                  <a:cubicBezTo>
                    <a:pt x="66573" y="162824"/>
                    <a:pt x="39161" y="226193"/>
                    <a:pt x="36936" y="293918"/>
                  </a:cubicBezTo>
                  <a:lnTo>
                    <a:pt x="46904" y="293918"/>
                  </a:lnTo>
                  <a:cubicBezTo>
                    <a:pt x="51799" y="293918"/>
                    <a:pt x="55804" y="297829"/>
                    <a:pt x="55804" y="302806"/>
                  </a:cubicBezTo>
                  <a:cubicBezTo>
                    <a:pt x="55804" y="307694"/>
                    <a:pt x="51799" y="311693"/>
                    <a:pt x="46904" y="311693"/>
                  </a:cubicBezTo>
                  <a:lnTo>
                    <a:pt x="36936" y="311693"/>
                  </a:lnTo>
                  <a:cubicBezTo>
                    <a:pt x="39161" y="379418"/>
                    <a:pt x="66573" y="442788"/>
                    <a:pt x="114812" y="490870"/>
                  </a:cubicBezTo>
                  <a:cubicBezTo>
                    <a:pt x="163051" y="539042"/>
                    <a:pt x="226509" y="566416"/>
                    <a:pt x="294328" y="568638"/>
                  </a:cubicBezTo>
                  <a:lnTo>
                    <a:pt x="294328" y="558773"/>
                  </a:lnTo>
                  <a:cubicBezTo>
                    <a:pt x="294328" y="553796"/>
                    <a:pt x="298244" y="549885"/>
                    <a:pt x="303228" y="549885"/>
                  </a:cubicBezTo>
                  <a:cubicBezTo>
                    <a:pt x="308124" y="549885"/>
                    <a:pt x="312129" y="553796"/>
                    <a:pt x="312129" y="558773"/>
                  </a:cubicBezTo>
                  <a:lnTo>
                    <a:pt x="312129" y="568638"/>
                  </a:lnTo>
                  <a:cubicBezTo>
                    <a:pt x="379948" y="566416"/>
                    <a:pt x="443406" y="539042"/>
                    <a:pt x="491556" y="490870"/>
                  </a:cubicBezTo>
                  <a:cubicBezTo>
                    <a:pt x="539795" y="442788"/>
                    <a:pt x="567207" y="379418"/>
                    <a:pt x="569432" y="311693"/>
                  </a:cubicBezTo>
                  <a:lnTo>
                    <a:pt x="559553" y="311693"/>
                  </a:lnTo>
                  <a:cubicBezTo>
                    <a:pt x="554569" y="311693"/>
                    <a:pt x="550653" y="307694"/>
                    <a:pt x="550653" y="302806"/>
                  </a:cubicBezTo>
                  <a:cubicBezTo>
                    <a:pt x="550653" y="297829"/>
                    <a:pt x="554569" y="293918"/>
                    <a:pt x="559553" y="293918"/>
                  </a:cubicBezTo>
                  <a:lnTo>
                    <a:pt x="569432" y="293918"/>
                  </a:lnTo>
                  <a:cubicBezTo>
                    <a:pt x="567207" y="226193"/>
                    <a:pt x="539795" y="162824"/>
                    <a:pt x="491556" y="114652"/>
                  </a:cubicBezTo>
                  <a:cubicBezTo>
                    <a:pt x="443406" y="66480"/>
                    <a:pt x="379948" y="39106"/>
                    <a:pt x="312129" y="36884"/>
                  </a:cubicBezTo>
                  <a:lnTo>
                    <a:pt x="312129" y="46838"/>
                  </a:lnTo>
                  <a:cubicBezTo>
                    <a:pt x="312129" y="51726"/>
                    <a:pt x="308124" y="55726"/>
                    <a:pt x="303228" y="55726"/>
                  </a:cubicBezTo>
                  <a:cubicBezTo>
                    <a:pt x="298244" y="55726"/>
                    <a:pt x="294328" y="51726"/>
                    <a:pt x="294328" y="46838"/>
                  </a:cubicBezTo>
                  <a:close/>
                  <a:moveTo>
                    <a:pt x="512036" y="18912"/>
                  </a:moveTo>
                  <a:lnTo>
                    <a:pt x="578552" y="18912"/>
                  </a:lnTo>
                  <a:cubicBezTo>
                    <a:pt x="583450" y="18912"/>
                    <a:pt x="587457" y="22912"/>
                    <a:pt x="587457" y="27801"/>
                  </a:cubicBezTo>
                  <a:lnTo>
                    <a:pt x="587457" y="94207"/>
                  </a:lnTo>
                  <a:cubicBezTo>
                    <a:pt x="587457" y="99096"/>
                    <a:pt x="583450" y="103097"/>
                    <a:pt x="578552" y="103097"/>
                  </a:cubicBezTo>
                  <a:cubicBezTo>
                    <a:pt x="573655" y="103097"/>
                    <a:pt x="569648" y="99096"/>
                    <a:pt x="569648" y="94207"/>
                  </a:cubicBezTo>
                  <a:lnTo>
                    <a:pt x="569648" y="36691"/>
                  </a:lnTo>
                  <a:lnTo>
                    <a:pt x="512036" y="36691"/>
                  </a:lnTo>
                  <a:cubicBezTo>
                    <a:pt x="507138" y="36691"/>
                    <a:pt x="503131" y="32780"/>
                    <a:pt x="503131" y="27801"/>
                  </a:cubicBezTo>
                  <a:cubicBezTo>
                    <a:pt x="503131" y="22912"/>
                    <a:pt x="507138" y="18912"/>
                    <a:pt x="512036" y="18912"/>
                  </a:cubicBezTo>
                  <a:close/>
                  <a:moveTo>
                    <a:pt x="27879" y="18912"/>
                  </a:moveTo>
                  <a:lnTo>
                    <a:pt x="94340" y="18912"/>
                  </a:lnTo>
                  <a:cubicBezTo>
                    <a:pt x="99233" y="18912"/>
                    <a:pt x="103237" y="22912"/>
                    <a:pt x="103237" y="27801"/>
                  </a:cubicBezTo>
                  <a:cubicBezTo>
                    <a:pt x="103237" y="32780"/>
                    <a:pt x="99233" y="36691"/>
                    <a:pt x="94340" y="36691"/>
                  </a:cubicBezTo>
                  <a:lnTo>
                    <a:pt x="36776" y="36691"/>
                  </a:lnTo>
                  <a:lnTo>
                    <a:pt x="36776" y="94207"/>
                  </a:lnTo>
                  <a:cubicBezTo>
                    <a:pt x="36776" y="99096"/>
                    <a:pt x="32861" y="103097"/>
                    <a:pt x="27879" y="103097"/>
                  </a:cubicBezTo>
                  <a:cubicBezTo>
                    <a:pt x="22986" y="103097"/>
                    <a:pt x="18982" y="99096"/>
                    <a:pt x="18982" y="94207"/>
                  </a:cubicBezTo>
                  <a:lnTo>
                    <a:pt x="18982" y="27801"/>
                  </a:lnTo>
                  <a:cubicBezTo>
                    <a:pt x="18982" y="22912"/>
                    <a:pt x="22986" y="18912"/>
                    <a:pt x="27879" y="18912"/>
                  </a:cubicBezTo>
                  <a:close/>
                  <a:moveTo>
                    <a:pt x="303228" y="0"/>
                  </a:moveTo>
                  <a:cubicBezTo>
                    <a:pt x="308124" y="0"/>
                    <a:pt x="312129" y="3999"/>
                    <a:pt x="312129" y="8887"/>
                  </a:cubicBezTo>
                  <a:lnTo>
                    <a:pt x="312129" y="19108"/>
                  </a:lnTo>
                  <a:cubicBezTo>
                    <a:pt x="384665" y="21330"/>
                    <a:pt x="452573" y="50571"/>
                    <a:pt x="504194" y="102120"/>
                  </a:cubicBezTo>
                  <a:cubicBezTo>
                    <a:pt x="555726" y="153580"/>
                    <a:pt x="585008" y="221394"/>
                    <a:pt x="587233" y="293918"/>
                  </a:cubicBezTo>
                  <a:lnTo>
                    <a:pt x="597468" y="293918"/>
                  </a:lnTo>
                  <a:cubicBezTo>
                    <a:pt x="602452" y="293918"/>
                    <a:pt x="606368" y="297829"/>
                    <a:pt x="606368" y="302806"/>
                  </a:cubicBezTo>
                  <a:cubicBezTo>
                    <a:pt x="606368" y="307694"/>
                    <a:pt x="602452" y="311693"/>
                    <a:pt x="597468" y="311693"/>
                  </a:cubicBezTo>
                  <a:lnTo>
                    <a:pt x="587233" y="311693"/>
                  </a:lnTo>
                  <a:cubicBezTo>
                    <a:pt x="585008" y="384129"/>
                    <a:pt x="555726" y="451942"/>
                    <a:pt x="504194" y="503491"/>
                  </a:cubicBezTo>
                  <a:cubicBezTo>
                    <a:pt x="452573" y="554951"/>
                    <a:pt x="384665" y="584192"/>
                    <a:pt x="312129" y="586414"/>
                  </a:cubicBezTo>
                  <a:lnTo>
                    <a:pt x="312129" y="596634"/>
                  </a:lnTo>
                  <a:cubicBezTo>
                    <a:pt x="312129" y="601612"/>
                    <a:pt x="308124" y="605522"/>
                    <a:pt x="303228" y="605522"/>
                  </a:cubicBezTo>
                  <a:cubicBezTo>
                    <a:pt x="298244" y="605522"/>
                    <a:pt x="294328" y="601612"/>
                    <a:pt x="294328" y="596634"/>
                  </a:cubicBezTo>
                  <a:lnTo>
                    <a:pt x="294328" y="586414"/>
                  </a:lnTo>
                  <a:cubicBezTo>
                    <a:pt x="221703" y="584192"/>
                    <a:pt x="153795" y="554951"/>
                    <a:pt x="102263" y="503491"/>
                  </a:cubicBezTo>
                  <a:cubicBezTo>
                    <a:pt x="50642" y="451942"/>
                    <a:pt x="21360" y="384129"/>
                    <a:pt x="19135" y="311693"/>
                  </a:cubicBezTo>
                  <a:lnTo>
                    <a:pt x="8900" y="311693"/>
                  </a:lnTo>
                  <a:cubicBezTo>
                    <a:pt x="4005" y="311693"/>
                    <a:pt x="0" y="307694"/>
                    <a:pt x="0" y="302806"/>
                  </a:cubicBezTo>
                  <a:cubicBezTo>
                    <a:pt x="0" y="297829"/>
                    <a:pt x="4005" y="293918"/>
                    <a:pt x="8900" y="293918"/>
                  </a:cubicBezTo>
                  <a:lnTo>
                    <a:pt x="19135" y="293918"/>
                  </a:lnTo>
                  <a:cubicBezTo>
                    <a:pt x="21360" y="221394"/>
                    <a:pt x="50642" y="153580"/>
                    <a:pt x="102263" y="102120"/>
                  </a:cubicBezTo>
                  <a:cubicBezTo>
                    <a:pt x="153795" y="50571"/>
                    <a:pt x="221703" y="21330"/>
                    <a:pt x="294328" y="19108"/>
                  </a:cubicBezTo>
                  <a:lnTo>
                    <a:pt x="294328" y="8887"/>
                  </a:lnTo>
                  <a:cubicBezTo>
                    <a:pt x="294328" y="3999"/>
                    <a:pt x="298244" y="0"/>
                    <a:pt x="303228" y="0"/>
                  </a:cubicBezTo>
                  <a:close/>
                </a:path>
              </a:pathLst>
            </a:custGeom>
            <a:solidFill>
              <a:srgbClr val="BA9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en-US" dirty="0"/>
            </a:p>
          </p:txBody>
        </p:sp>
        <p:sp>
          <p:nvSpPr>
            <p:cNvPr id="27" name="文本框 26">
              <a:extLst>
                <a:ext uri="{FF2B5EF4-FFF2-40B4-BE49-F238E27FC236}">
                  <a16:creationId xmlns:a16="http://schemas.microsoft.com/office/drawing/2014/main" id="{26B0C890-C516-504F-8D96-3E397992CB39}"/>
                </a:ext>
              </a:extLst>
            </p:cNvPr>
            <p:cNvSpPr txBox="1"/>
            <p:nvPr/>
          </p:nvSpPr>
          <p:spPr>
            <a:xfrm>
              <a:off x="1484912" y="3043204"/>
              <a:ext cx="2223508" cy="769440"/>
            </a:xfrm>
            <a:prstGeom prst="rect">
              <a:avLst/>
            </a:prstGeom>
            <a:noFill/>
          </p:spPr>
          <p:txBody>
            <a:bodyPr wrap="square" rtlCol="0">
              <a:spAutoFit/>
            </a:bodyPr>
            <a:lstStyle/>
            <a:p>
              <a:pPr algn="ctr"/>
              <a:r>
                <a:rPr kumimoji="1" lang="en-US" altLang="zh-CN" sz="4400" b="1" dirty="0">
                  <a:latin typeface="Times New Roman" panose="02020603050405020304" pitchFamily="18" charset="0"/>
                  <a:cs typeface="Times New Roman" panose="02020603050405020304" pitchFamily="18" charset="0"/>
                </a:rPr>
                <a:t>Target</a:t>
              </a:r>
              <a:endParaRPr kumimoji="1" lang="zh-CN" altLang="en-US" sz="2400" b="1" dirty="0">
                <a:latin typeface="Times New Roman" panose="02020603050405020304" pitchFamily="18" charset="0"/>
                <a:cs typeface="Times New Roman" panose="02020603050405020304" pitchFamily="18" charset="0"/>
              </a:endParaRPr>
            </a:p>
          </p:txBody>
        </p:sp>
      </p:grpSp>
      <p:grpSp>
        <p:nvGrpSpPr>
          <p:cNvPr id="37" name="组合 36"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FEF7B863-2D38-AE43-AF5D-FF4EE919E546}"/>
              </a:ext>
            </a:extLst>
          </p:cNvPr>
          <p:cNvGrpSpPr>
            <a:grpSpLocks noChangeAspect="1"/>
          </p:cNvGrpSpPr>
          <p:nvPr/>
        </p:nvGrpSpPr>
        <p:grpSpPr>
          <a:xfrm>
            <a:off x="3148055" y="6415475"/>
            <a:ext cx="933293" cy="2012882"/>
            <a:chOff x="4752976" y="1244601"/>
            <a:chExt cx="2268537" cy="4892674"/>
          </a:xfrm>
        </p:grpSpPr>
        <p:sp>
          <p:nvSpPr>
            <p:cNvPr id="38" name="îṡļíḓé">
              <a:extLst>
                <a:ext uri="{FF2B5EF4-FFF2-40B4-BE49-F238E27FC236}">
                  <a16:creationId xmlns:a16="http://schemas.microsoft.com/office/drawing/2014/main" id="{CBB7F15A-592A-AD41-AE2E-BBDA66ED1C1B}"/>
                </a:ext>
              </a:extLst>
            </p:cNvPr>
            <p:cNvSpPr/>
            <p:nvPr/>
          </p:nvSpPr>
          <p:spPr bwMode="auto">
            <a:xfrm>
              <a:off x="6437313" y="2398713"/>
              <a:ext cx="584200" cy="850900"/>
            </a:xfrm>
            <a:custGeom>
              <a:avLst/>
              <a:gdLst>
                <a:gd name="T0" fmla="*/ 365 w 371"/>
                <a:gd name="T1" fmla="*/ 414 h 541"/>
                <a:gd name="T2" fmla="*/ 298 w 371"/>
                <a:gd name="T3" fmla="*/ 541 h 541"/>
                <a:gd name="T4" fmla="*/ 207 w 371"/>
                <a:gd name="T5" fmla="*/ 426 h 541"/>
                <a:gd name="T6" fmla="*/ 219 w 371"/>
                <a:gd name="T7" fmla="*/ 405 h 541"/>
                <a:gd name="T8" fmla="*/ 219 w 371"/>
                <a:gd name="T9" fmla="*/ 405 h 541"/>
                <a:gd name="T10" fmla="*/ 219 w 371"/>
                <a:gd name="T11" fmla="*/ 404 h 541"/>
                <a:gd name="T12" fmla="*/ 119 w 371"/>
                <a:gd name="T13" fmla="*/ 233 h 541"/>
                <a:gd name="T14" fmla="*/ 57 w 371"/>
                <a:gd name="T15" fmla="*/ 166 h 541"/>
                <a:gd name="T16" fmla="*/ 54 w 371"/>
                <a:gd name="T17" fmla="*/ 163 h 541"/>
                <a:gd name="T18" fmla="*/ 0 w 371"/>
                <a:gd name="T19" fmla="*/ 111 h 541"/>
                <a:gd name="T20" fmla="*/ 91 w 371"/>
                <a:gd name="T21" fmla="*/ 0 h 541"/>
                <a:gd name="T22" fmla="*/ 230 w 371"/>
                <a:gd name="T23" fmla="*/ 137 h 541"/>
                <a:gd name="T24" fmla="*/ 365 w 371"/>
                <a:gd name="T25" fmla="*/ 414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1" h="541">
                  <a:moveTo>
                    <a:pt x="365" y="414"/>
                  </a:moveTo>
                  <a:cubicBezTo>
                    <a:pt x="361" y="466"/>
                    <a:pt x="338" y="510"/>
                    <a:pt x="298" y="541"/>
                  </a:cubicBezTo>
                  <a:cubicBezTo>
                    <a:pt x="207" y="426"/>
                    <a:pt x="207" y="426"/>
                    <a:pt x="207" y="426"/>
                  </a:cubicBezTo>
                  <a:cubicBezTo>
                    <a:pt x="215" y="420"/>
                    <a:pt x="218" y="414"/>
                    <a:pt x="219" y="405"/>
                  </a:cubicBezTo>
                  <a:cubicBezTo>
                    <a:pt x="219" y="405"/>
                    <a:pt x="219" y="405"/>
                    <a:pt x="219" y="405"/>
                  </a:cubicBezTo>
                  <a:cubicBezTo>
                    <a:pt x="219" y="404"/>
                    <a:pt x="219" y="404"/>
                    <a:pt x="219" y="404"/>
                  </a:cubicBezTo>
                  <a:cubicBezTo>
                    <a:pt x="219" y="399"/>
                    <a:pt x="220" y="351"/>
                    <a:pt x="119" y="233"/>
                  </a:cubicBezTo>
                  <a:cubicBezTo>
                    <a:pt x="98" y="208"/>
                    <a:pt x="76" y="185"/>
                    <a:pt x="57" y="166"/>
                  </a:cubicBezTo>
                  <a:cubicBezTo>
                    <a:pt x="56" y="165"/>
                    <a:pt x="55" y="164"/>
                    <a:pt x="54" y="163"/>
                  </a:cubicBezTo>
                  <a:cubicBezTo>
                    <a:pt x="24" y="132"/>
                    <a:pt x="1" y="112"/>
                    <a:pt x="0" y="111"/>
                  </a:cubicBezTo>
                  <a:cubicBezTo>
                    <a:pt x="91" y="0"/>
                    <a:pt x="91" y="0"/>
                    <a:pt x="91" y="0"/>
                  </a:cubicBezTo>
                  <a:cubicBezTo>
                    <a:pt x="106" y="10"/>
                    <a:pt x="165" y="62"/>
                    <a:pt x="230" y="137"/>
                  </a:cubicBezTo>
                  <a:cubicBezTo>
                    <a:pt x="326" y="249"/>
                    <a:pt x="371" y="340"/>
                    <a:pt x="365" y="414"/>
                  </a:cubicBezTo>
                  <a:close/>
                </a:path>
              </a:pathLst>
            </a:custGeom>
            <a:solidFill>
              <a:srgbClr val="FF62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íṩḷiḓê">
              <a:extLst>
                <a:ext uri="{FF2B5EF4-FFF2-40B4-BE49-F238E27FC236}">
                  <a16:creationId xmlns:a16="http://schemas.microsoft.com/office/drawing/2014/main" id="{DDE7500C-B08B-844A-888E-16BE64F34B90}"/>
                </a:ext>
              </a:extLst>
            </p:cNvPr>
            <p:cNvSpPr/>
            <p:nvPr/>
          </p:nvSpPr>
          <p:spPr bwMode="auto">
            <a:xfrm>
              <a:off x="6526213" y="2578100"/>
              <a:ext cx="293687" cy="457200"/>
            </a:xfrm>
            <a:custGeom>
              <a:avLst/>
              <a:gdLst>
                <a:gd name="T0" fmla="*/ 163 w 186"/>
                <a:gd name="T1" fmla="*/ 291 h 291"/>
                <a:gd name="T2" fmla="*/ 162 w 186"/>
                <a:gd name="T3" fmla="*/ 291 h 291"/>
                <a:gd name="T4" fmla="*/ 162 w 186"/>
                <a:gd name="T5" fmla="*/ 290 h 291"/>
                <a:gd name="T6" fmla="*/ 62 w 186"/>
                <a:gd name="T7" fmla="*/ 119 h 291"/>
                <a:gd name="T8" fmla="*/ 0 w 186"/>
                <a:gd name="T9" fmla="*/ 52 h 291"/>
                <a:gd name="T10" fmla="*/ 21 w 186"/>
                <a:gd name="T11" fmla="*/ 0 h 291"/>
                <a:gd name="T12" fmla="*/ 163 w 186"/>
                <a:gd name="T13" fmla="*/ 291 h 291"/>
              </a:gdLst>
              <a:ahLst/>
              <a:cxnLst>
                <a:cxn ang="0">
                  <a:pos x="T0" y="T1"/>
                </a:cxn>
                <a:cxn ang="0">
                  <a:pos x="T2" y="T3"/>
                </a:cxn>
                <a:cxn ang="0">
                  <a:pos x="T4" y="T5"/>
                </a:cxn>
                <a:cxn ang="0">
                  <a:pos x="T6" y="T7"/>
                </a:cxn>
                <a:cxn ang="0">
                  <a:pos x="T8" y="T9"/>
                </a:cxn>
                <a:cxn ang="0">
                  <a:pos x="T10" y="T11"/>
                </a:cxn>
                <a:cxn ang="0">
                  <a:pos x="T12" y="T13"/>
                </a:cxn>
              </a:cxnLst>
              <a:rect l="0" t="0" r="r" b="b"/>
              <a:pathLst>
                <a:path w="186" h="291">
                  <a:moveTo>
                    <a:pt x="163" y="291"/>
                  </a:moveTo>
                  <a:cubicBezTo>
                    <a:pt x="162" y="291"/>
                    <a:pt x="162" y="291"/>
                    <a:pt x="162" y="291"/>
                  </a:cubicBezTo>
                  <a:cubicBezTo>
                    <a:pt x="162" y="290"/>
                    <a:pt x="162" y="290"/>
                    <a:pt x="162" y="290"/>
                  </a:cubicBezTo>
                  <a:cubicBezTo>
                    <a:pt x="162" y="285"/>
                    <a:pt x="163" y="237"/>
                    <a:pt x="62" y="119"/>
                  </a:cubicBezTo>
                  <a:cubicBezTo>
                    <a:pt x="41" y="94"/>
                    <a:pt x="19" y="71"/>
                    <a:pt x="0" y="52"/>
                  </a:cubicBezTo>
                  <a:cubicBezTo>
                    <a:pt x="21" y="0"/>
                    <a:pt x="21" y="0"/>
                    <a:pt x="21" y="0"/>
                  </a:cubicBezTo>
                  <a:cubicBezTo>
                    <a:pt x="107" y="34"/>
                    <a:pt x="186" y="192"/>
                    <a:pt x="163" y="291"/>
                  </a:cubicBezTo>
                  <a:close/>
                </a:path>
              </a:pathLst>
            </a:custGeom>
            <a:solidFill>
              <a:srgbClr val="C6392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iŝḷíďe">
              <a:extLst>
                <a:ext uri="{FF2B5EF4-FFF2-40B4-BE49-F238E27FC236}">
                  <a16:creationId xmlns:a16="http://schemas.microsoft.com/office/drawing/2014/main" id="{4D3C1AF2-1B23-DF4E-96C1-34F1A7D9474C}"/>
                </a:ext>
              </a:extLst>
            </p:cNvPr>
            <p:cNvSpPr/>
            <p:nvPr/>
          </p:nvSpPr>
          <p:spPr bwMode="auto">
            <a:xfrm>
              <a:off x="6173788" y="5775325"/>
              <a:ext cx="182562" cy="125412"/>
            </a:xfrm>
            <a:prstGeom prst="rect">
              <a:avLst/>
            </a:prstGeom>
            <a:solidFill>
              <a:srgbClr val="3D201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1" name="ïś1îḑe">
              <a:extLst>
                <a:ext uri="{FF2B5EF4-FFF2-40B4-BE49-F238E27FC236}">
                  <a16:creationId xmlns:a16="http://schemas.microsoft.com/office/drawing/2014/main" id="{05659C2C-4D98-5A49-9443-1299893E30B1}"/>
                </a:ext>
              </a:extLst>
            </p:cNvPr>
            <p:cNvSpPr/>
            <p:nvPr/>
          </p:nvSpPr>
          <p:spPr bwMode="auto">
            <a:xfrm>
              <a:off x="4752976" y="5976938"/>
              <a:ext cx="2120900" cy="160337"/>
            </a:xfrm>
            <a:custGeom>
              <a:avLst/>
              <a:gdLst>
                <a:gd name="T0" fmla="*/ 1295 w 1346"/>
                <a:gd name="T1" fmla="*/ 0 h 102"/>
                <a:gd name="T2" fmla="*/ 51 w 1346"/>
                <a:gd name="T3" fmla="*/ 0 h 102"/>
                <a:gd name="T4" fmla="*/ 0 w 1346"/>
                <a:gd name="T5" fmla="*/ 51 h 102"/>
                <a:gd name="T6" fmla="*/ 51 w 1346"/>
                <a:gd name="T7" fmla="*/ 102 h 102"/>
                <a:gd name="T8" fmla="*/ 1295 w 1346"/>
                <a:gd name="T9" fmla="*/ 102 h 102"/>
                <a:gd name="T10" fmla="*/ 1346 w 1346"/>
                <a:gd name="T11" fmla="*/ 51 h 102"/>
                <a:gd name="T12" fmla="*/ 1295 w 1346"/>
                <a:gd name="T13" fmla="*/ 0 h 102"/>
              </a:gdLst>
              <a:ahLst/>
              <a:cxnLst>
                <a:cxn ang="0">
                  <a:pos x="T0" y="T1"/>
                </a:cxn>
                <a:cxn ang="0">
                  <a:pos x="T2" y="T3"/>
                </a:cxn>
                <a:cxn ang="0">
                  <a:pos x="T4" y="T5"/>
                </a:cxn>
                <a:cxn ang="0">
                  <a:pos x="T6" y="T7"/>
                </a:cxn>
                <a:cxn ang="0">
                  <a:pos x="T8" y="T9"/>
                </a:cxn>
                <a:cxn ang="0">
                  <a:pos x="T10" y="T11"/>
                </a:cxn>
                <a:cxn ang="0">
                  <a:pos x="T12" y="T13"/>
                </a:cxn>
              </a:cxnLst>
              <a:rect l="0" t="0" r="r" b="b"/>
              <a:pathLst>
                <a:path w="1346" h="102">
                  <a:moveTo>
                    <a:pt x="1295" y="0"/>
                  </a:moveTo>
                  <a:cubicBezTo>
                    <a:pt x="51" y="0"/>
                    <a:pt x="51" y="0"/>
                    <a:pt x="51" y="0"/>
                  </a:cubicBezTo>
                  <a:cubicBezTo>
                    <a:pt x="23" y="0"/>
                    <a:pt x="0" y="23"/>
                    <a:pt x="0" y="51"/>
                  </a:cubicBezTo>
                  <a:cubicBezTo>
                    <a:pt x="0" y="79"/>
                    <a:pt x="23" y="102"/>
                    <a:pt x="51" y="102"/>
                  </a:cubicBezTo>
                  <a:cubicBezTo>
                    <a:pt x="1295" y="102"/>
                    <a:pt x="1295" y="102"/>
                    <a:pt x="1295" y="102"/>
                  </a:cubicBezTo>
                  <a:cubicBezTo>
                    <a:pt x="1323" y="102"/>
                    <a:pt x="1346" y="79"/>
                    <a:pt x="1346" y="51"/>
                  </a:cubicBezTo>
                  <a:cubicBezTo>
                    <a:pt x="1346" y="23"/>
                    <a:pt x="1323" y="0"/>
                    <a:pt x="1295" y="0"/>
                  </a:cubicBezTo>
                </a:path>
              </a:pathLst>
            </a:custGeom>
            <a:solidFill>
              <a:srgbClr val="D2D3D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ïşļiďè">
              <a:extLst>
                <a:ext uri="{FF2B5EF4-FFF2-40B4-BE49-F238E27FC236}">
                  <a16:creationId xmlns:a16="http://schemas.microsoft.com/office/drawing/2014/main" id="{94C1F5F2-CAB9-8347-88C9-57DEC2CCBBDC}"/>
                </a:ext>
              </a:extLst>
            </p:cNvPr>
            <p:cNvSpPr/>
            <p:nvPr/>
          </p:nvSpPr>
          <p:spPr bwMode="auto">
            <a:xfrm>
              <a:off x="6057900" y="3859213"/>
              <a:ext cx="490537" cy="1973262"/>
            </a:xfrm>
            <a:custGeom>
              <a:avLst/>
              <a:gdLst>
                <a:gd name="T0" fmla="*/ 13 w 312"/>
                <a:gd name="T1" fmla="*/ 33 h 1255"/>
                <a:gd name="T2" fmla="*/ 73 w 312"/>
                <a:gd name="T3" fmla="*/ 451 h 1255"/>
                <a:gd name="T4" fmla="*/ 82 w 312"/>
                <a:gd name="T5" fmla="*/ 578 h 1255"/>
                <a:gd name="T6" fmla="*/ 82 w 312"/>
                <a:gd name="T7" fmla="*/ 577 h 1255"/>
                <a:gd name="T8" fmla="*/ 82 w 312"/>
                <a:gd name="T9" fmla="*/ 578 h 1255"/>
                <a:gd name="T10" fmla="*/ 73 w 312"/>
                <a:gd name="T11" fmla="*/ 704 h 1255"/>
                <a:gd name="T12" fmla="*/ 73 w 312"/>
                <a:gd name="T13" fmla="*/ 704 h 1255"/>
                <a:gd name="T14" fmla="*/ 0 w 312"/>
                <a:gd name="T15" fmla="*/ 1223 h 1255"/>
                <a:gd name="T16" fmla="*/ 228 w 312"/>
                <a:gd name="T17" fmla="*/ 1255 h 1255"/>
                <a:gd name="T18" fmla="*/ 301 w 312"/>
                <a:gd name="T19" fmla="*/ 736 h 1255"/>
                <a:gd name="T20" fmla="*/ 301 w 312"/>
                <a:gd name="T21" fmla="*/ 736 h 1255"/>
                <a:gd name="T22" fmla="*/ 312 w 312"/>
                <a:gd name="T23" fmla="*/ 578 h 1255"/>
                <a:gd name="T24" fmla="*/ 312 w 312"/>
                <a:gd name="T25" fmla="*/ 577 h 1255"/>
                <a:gd name="T26" fmla="*/ 312 w 312"/>
                <a:gd name="T27" fmla="*/ 577 h 1255"/>
                <a:gd name="T28" fmla="*/ 301 w 312"/>
                <a:gd name="T29" fmla="*/ 418 h 1255"/>
                <a:gd name="T30" fmla="*/ 241 w 312"/>
                <a:gd name="T31" fmla="*/ 0 h 1255"/>
                <a:gd name="T32" fmla="*/ 13 w 312"/>
                <a:gd name="T33" fmla="*/ 33 h 1255"/>
                <a:gd name="T34" fmla="*/ 13 w 312"/>
                <a:gd name="T35" fmla="*/ 33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2" h="1255">
                  <a:moveTo>
                    <a:pt x="13" y="33"/>
                  </a:moveTo>
                  <a:cubicBezTo>
                    <a:pt x="73" y="451"/>
                    <a:pt x="73" y="451"/>
                    <a:pt x="73" y="451"/>
                  </a:cubicBezTo>
                  <a:cubicBezTo>
                    <a:pt x="79" y="492"/>
                    <a:pt x="82" y="534"/>
                    <a:pt x="82" y="578"/>
                  </a:cubicBezTo>
                  <a:cubicBezTo>
                    <a:pt x="82" y="577"/>
                    <a:pt x="82" y="577"/>
                    <a:pt x="82" y="577"/>
                  </a:cubicBezTo>
                  <a:cubicBezTo>
                    <a:pt x="82" y="578"/>
                    <a:pt x="82" y="578"/>
                    <a:pt x="82" y="578"/>
                  </a:cubicBezTo>
                  <a:cubicBezTo>
                    <a:pt x="82" y="621"/>
                    <a:pt x="79" y="663"/>
                    <a:pt x="73" y="704"/>
                  </a:cubicBezTo>
                  <a:cubicBezTo>
                    <a:pt x="73" y="704"/>
                    <a:pt x="73" y="704"/>
                    <a:pt x="73" y="704"/>
                  </a:cubicBezTo>
                  <a:cubicBezTo>
                    <a:pt x="0" y="1223"/>
                    <a:pt x="0" y="1223"/>
                    <a:pt x="0" y="1223"/>
                  </a:cubicBezTo>
                  <a:cubicBezTo>
                    <a:pt x="228" y="1255"/>
                    <a:pt x="228" y="1255"/>
                    <a:pt x="228" y="1255"/>
                  </a:cubicBezTo>
                  <a:cubicBezTo>
                    <a:pt x="301" y="736"/>
                    <a:pt x="301" y="736"/>
                    <a:pt x="301" y="736"/>
                  </a:cubicBezTo>
                  <a:cubicBezTo>
                    <a:pt x="301" y="736"/>
                    <a:pt x="301" y="736"/>
                    <a:pt x="301" y="736"/>
                  </a:cubicBezTo>
                  <a:cubicBezTo>
                    <a:pt x="308" y="685"/>
                    <a:pt x="312" y="632"/>
                    <a:pt x="312" y="578"/>
                  </a:cubicBezTo>
                  <a:cubicBezTo>
                    <a:pt x="312" y="578"/>
                    <a:pt x="312" y="578"/>
                    <a:pt x="312" y="577"/>
                  </a:cubicBezTo>
                  <a:cubicBezTo>
                    <a:pt x="312" y="577"/>
                    <a:pt x="312" y="577"/>
                    <a:pt x="312" y="577"/>
                  </a:cubicBezTo>
                  <a:cubicBezTo>
                    <a:pt x="312" y="523"/>
                    <a:pt x="308" y="470"/>
                    <a:pt x="301" y="418"/>
                  </a:cubicBezTo>
                  <a:cubicBezTo>
                    <a:pt x="241" y="0"/>
                    <a:pt x="241" y="0"/>
                    <a:pt x="241" y="0"/>
                  </a:cubicBezTo>
                  <a:cubicBezTo>
                    <a:pt x="13" y="33"/>
                    <a:pt x="13" y="33"/>
                    <a:pt x="13" y="33"/>
                  </a:cubicBezTo>
                  <a:cubicBezTo>
                    <a:pt x="13" y="33"/>
                    <a:pt x="13" y="33"/>
                    <a:pt x="13" y="33"/>
                  </a:cubicBezTo>
                </a:path>
              </a:pathLst>
            </a:custGeom>
            <a:solidFill>
              <a:srgbClr val="823C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îslîḍê">
              <a:extLst>
                <a:ext uri="{FF2B5EF4-FFF2-40B4-BE49-F238E27FC236}">
                  <a16:creationId xmlns:a16="http://schemas.microsoft.com/office/drawing/2014/main" id="{1DC9B1DC-C256-2344-BA5D-880663D8878B}"/>
                </a:ext>
              </a:extLst>
            </p:cNvPr>
            <p:cNvSpPr/>
            <p:nvPr/>
          </p:nvSpPr>
          <p:spPr bwMode="auto">
            <a:xfrm>
              <a:off x="5727700" y="5775325"/>
              <a:ext cx="201612" cy="125412"/>
            </a:xfrm>
            <a:prstGeom prst="rect">
              <a:avLst/>
            </a:prstGeom>
            <a:solidFill>
              <a:srgbClr val="3D201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4" name="iṧ1îḑé">
              <a:extLst>
                <a:ext uri="{FF2B5EF4-FFF2-40B4-BE49-F238E27FC236}">
                  <a16:creationId xmlns:a16="http://schemas.microsoft.com/office/drawing/2014/main" id="{B5A6F719-B32E-474A-88EC-3B04E6149498}"/>
                </a:ext>
              </a:extLst>
            </p:cNvPr>
            <p:cNvSpPr/>
            <p:nvPr/>
          </p:nvSpPr>
          <p:spPr bwMode="auto">
            <a:xfrm>
              <a:off x="5727700" y="5775325"/>
              <a:ext cx="201612" cy="125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5" name="iSlïḍé">
              <a:extLst>
                <a:ext uri="{FF2B5EF4-FFF2-40B4-BE49-F238E27FC236}">
                  <a16:creationId xmlns:a16="http://schemas.microsoft.com/office/drawing/2014/main" id="{31E35593-944C-B94A-B785-1C674EF91366}"/>
                </a:ext>
              </a:extLst>
            </p:cNvPr>
            <p:cNvSpPr/>
            <p:nvPr/>
          </p:nvSpPr>
          <p:spPr bwMode="auto">
            <a:xfrm>
              <a:off x="5640388" y="3751263"/>
              <a:ext cx="812800" cy="2055812"/>
            </a:xfrm>
            <a:custGeom>
              <a:avLst/>
              <a:gdLst>
                <a:gd name="T0" fmla="*/ 508 w 516"/>
                <a:gd name="T1" fmla="*/ 310 h 1308"/>
                <a:gd name="T2" fmla="*/ 328 w 516"/>
                <a:gd name="T3" fmla="*/ 310 h 1308"/>
                <a:gd name="T4" fmla="*/ 321 w 516"/>
                <a:gd name="T5" fmla="*/ 304 h 1308"/>
                <a:gd name="T6" fmla="*/ 320 w 516"/>
                <a:gd name="T7" fmla="*/ 298 h 1308"/>
                <a:gd name="T8" fmla="*/ 319 w 516"/>
                <a:gd name="T9" fmla="*/ 297 h 1308"/>
                <a:gd name="T10" fmla="*/ 273 w 516"/>
                <a:gd name="T11" fmla="*/ 251 h 1308"/>
                <a:gd name="T12" fmla="*/ 240 w 516"/>
                <a:gd name="T13" fmla="*/ 265 h 1308"/>
                <a:gd name="T14" fmla="*/ 226 w 516"/>
                <a:gd name="T15" fmla="*/ 297 h 1308"/>
                <a:gd name="T16" fmla="*/ 226 w 516"/>
                <a:gd name="T17" fmla="*/ 1300 h 1308"/>
                <a:gd name="T18" fmla="*/ 218 w 516"/>
                <a:gd name="T19" fmla="*/ 1308 h 1308"/>
                <a:gd name="T20" fmla="*/ 7 w 516"/>
                <a:gd name="T21" fmla="*/ 1308 h 1308"/>
                <a:gd name="T22" fmla="*/ 0 w 516"/>
                <a:gd name="T23" fmla="*/ 1300 h 1308"/>
                <a:gd name="T24" fmla="*/ 0 w 516"/>
                <a:gd name="T25" fmla="*/ 1168 h 1308"/>
                <a:gd name="T26" fmla="*/ 0 w 516"/>
                <a:gd name="T27" fmla="*/ 1021 h 1308"/>
                <a:gd name="T28" fmla="*/ 0 w 516"/>
                <a:gd name="T29" fmla="*/ 57 h 1308"/>
                <a:gd name="T30" fmla="*/ 0 w 516"/>
                <a:gd name="T31" fmla="*/ 7 h 1308"/>
                <a:gd name="T32" fmla="*/ 8 w 516"/>
                <a:gd name="T33" fmla="*/ 0 h 1308"/>
                <a:gd name="T34" fmla="*/ 506 w 516"/>
                <a:gd name="T35" fmla="*/ 0 h 1308"/>
                <a:gd name="T36" fmla="*/ 514 w 516"/>
                <a:gd name="T37" fmla="*/ 7 h 1308"/>
                <a:gd name="T38" fmla="*/ 514 w 516"/>
                <a:gd name="T39" fmla="*/ 51 h 1308"/>
                <a:gd name="T40" fmla="*/ 516 w 516"/>
                <a:gd name="T41" fmla="*/ 302 h 1308"/>
                <a:gd name="T42" fmla="*/ 508 w 516"/>
                <a:gd name="T43" fmla="*/ 310 h 1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6" h="1308">
                  <a:moveTo>
                    <a:pt x="508" y="310"/>
                  </a:moveTo>
                  <a:cubicBezTo>
                    <a:pt x="328" y="310"/>
                    <a:pt x="328" y="310"/>
                    <a:pt x="328" y="310"/>
                  </a:cubicBezTo>
                  <a:cubicBezTo>
                    <a:pt x="324" y="310"/>
                    <a:pt x="321" y="307"/>
                    <a:pt x="321" y="304"/>
                  </a:cubicBezTo>
                  <a:cubicBezTo>
                    <a:pt x="320" y="298"/>
                    <a:pt x="320" y="298"/>
                    <a:pt x="320" y="298"/>
                  </a:cubicBezTo>
                  <a:cubicBezTo>
                    <a:pt x="319" y="298"/>
                    <a:pt x="319" y="297"/>
                    <a:pt x="319" y="297"/>
                  </a:cubicBezTo>
                  <a:cubicBezTo>
                    <a:pt x="319" y="271"/>
                    <a:pt x="298" y="251"/>
                    <a:pt x="273" y="251"/>
                  </a:cubicBezTo>
                  <a:cubicBezTo>
                    <a:pt x="260" y="251"/>
                    <a:pt x="248" y="256"/>
                    <a:pt x="240" y="265"/>
                  </a:cubicBezTo>
                  <a:cubicBezTo>
                    <a:pt x="232" y="273"/>
                    <a:pt x="226" y="285"/>
                    <a:pt x="226" y="297"/>
                  </a:cubicBezTo>
                  <a:cubicBezTo>
                    <a:pt x="226" y="1300"/>
                    <a:pt x="226" y="1300"/>
                    <a:pt x="226" y="1300"/>
                  </a:cubicBezTo>
                  <a:cubicBezTo>
                    <a:pt x="226" y="1304"/>
                    <a:pt x="223" y="1308"/>
                    <a:pt x="218" y="1308"/>
                  </a:cubicBezTo>
                  <a:cubicBezTo>
                    <a:pt x="7" y="1308"/>
                    <a:pt x="7" y="1308"/>
                    <a:pt x="7" y="1308"/>
                  </a:cubicBezTo>
                  <a:cubicBezTo>
                    <a:pt x="3" y="1308"/>
                    <a:pt x="0" y="1304"/>
                    <a:pt x="0" y="1300"/>
                  </a:cubicBezTo>
                  <a:cubicBezTo>
                    <a:pt x="0" y="1168"/>
                    <a:pt x="0" y="1168"/>
                    <a:pt x="0" y="1168"/>
                  </a:cubicBezTo>
                  <a:cubicBezTo>
                    <a:pt x="0" y="1021"/>
                    <a:pt x="0" y="1021"/>
                    <a:pt x="0" y="1021"/>
                  </a:cubicBezTo>
                  <a:cubicBezTo>
                    <a:pt x="0" y="57"/>
                    <a:pt x="0" y="57"/>
                    <a:pt x="0" y="57"/>
                  </a:cubicBezTo>
                  <a:cubicBezTo>
                    <a:pt x="0" y="7"/>
                    <a:pt x="0" y="7"/>
                    <a:pt x="0" y="7"/>
                  </a:cubicBezTo>
                  <a:cubicBezTo>
                    <a:pt x="0" y="3"/>
                    <a:pt x="3" y="0"/>
                    <a:pt x="8" y="0"/>
                  </a:cubicBezTo>
                  <a:cubicBezTo>
                    <a:pt x="506" y="0"/>
                    <a:pt x="506" y="0"/>
                    <a:pt x="506" y="0"/>
                  </a:cubicBezTo>
                  <a:cubicBezTo>
                    <a:pt x="510" y="0"/>
                    <a:pt x="514" y="3"/>
                    <a:pt x="514" y="7"/>
                  </a:cubicBezTo>
                  <a:cubicBezTo>
                    <a:pt x="514" y="51"/>
                    <a:pt x="514" y="51"/>
                    <a:pt x="514" y="51"/>
                  </a:cubicBezTo>
                  <a:cubicBezTo>
                    <a:pt x="516" y="302"/>
                    <a:pt x="516" y="302"/>
                    <a:pt x="516" y="302"/>
                  </a:cubicBezTo>
                  <a:cubicBezTo>
                    <a:pt x="516" y="306"/>
                    <a:pt x="512" y="310"/>
                    <a:pt x="508" y="310"/>
                  </a:cubicBezTo>
                </a:path>
              </a:pathLst>
            </a:custGeom>
            <a:solidFill>
              <a:srgbClr val="823C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isḷiḍé">
              <a:extLst>
                <a:ext uri="{FF2B5EF4-FFF2-40B4-BE49-F238E27FC236}">
                  <a16:creationId xmlns:a16="http://schemas.microsoft.com/office/drawing/2014/main" id="{79D3418C-99CE-934E-9373-7B9A331FB300}"/>
                </a:ext>
              </a:extLst>
            </p:cNvPr>
            <p:cNvSpPr/>
            <p:nvPr/>
          </p:nvSpPr>
          <p:spPr bwMode="auto">
            <a:xfrm>
              <a:off x="5543550" y="5356225"/>
              <a:ext cx="107950" cy="450850"/>
            </a:xfrm>
            <a:custGeom>
              <a:avLst/>
              <a:gdLst>
                <a:gd name="T0" fmla="*/ 67 w 68"/>
                <a:gd name="T1" fmla="*/ 287 h 287"/>
                <a:gd name="T2" fmla="*/ 67 w 68"/>
                <a:gd name="T3" fmla="*/ 287 h 287"/>
                <a:gd name="T4" fmla="*/ 68 w 68"/>
                <a:gd name="T5" fmla="*/ 287 h 287"/>
                <a:gd name="T6" fmla="*/ 67 w 68"/>
                <a:gd name="T7" fmla="*/ 287 h 287"/>
                <a:gd name="T8" fmla="*/ 61 w 68"/>
                <a:gd name="T9" fmla="*/ 0 h 287"/>
                <a:gd name="T10" fmla="*/ 34 w 68"/>
                <a:gd name="T11" fmla="*/ 0 h 287"/>
                <a:gd name="T12" fmla="*/ 0 w 68"/>
                <a:gd name="T13" fmla="*/ 0 h 287"/>
                <a:gd name="T14" fmla="*/ 34 w 68"/>
                <a:gd name="T15" fmla="*/ 147 h 287"/>
                <a:gd name="T16" fmla="*/ 61 w 68"/>
                <a:gd name="T17" fmla="*/ 260 h 287"/>
                <a:gd name="T18" fmla="*/ 61 w 68"/>
                <a:gd name="T19" fmla="*/ 147 h 287"/>
                <a:gd name="T20" fmla="*/ 61 w 68"/>
                <a:gd name="T21"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287">
                  <a:moveTo>
                    <a:pt x="67" y="287"/>
                  </a:moveTo>
                  <a:cubicBezTo>
                    <a:pt x="67" y="287"/>
                    <a:pt x="67" y="287"/>
                    <a:pt x="67" y="287"/>
                  </a:cubicBezTo>
                  <a:cubicBezTo>
                    <a:pt x="68" y="287"/>
                    <a:pt x="68" y="287"/>
                    <a:pt x="68" y="287"/>
                  </a:cubicBezTo>
                  <a:cubicBezTo>
                    <a:pt x="68" y="287"/>
                    <a:pt x="67" y="287"/>
                    <a:pt x="67" y="287"/>
                  </a:cubicBezTo>
                  <a:moveTo>
                    <a:pt x="61" y="0"/>
                  </a:moveTo>
                  <a:cubicBezTo>
                    <a:pt x="34" y="0"/>
                    <a:pt x="34" y="0"/>
                    <a:pt x="34" y="0"/>
                  </a:cubicBezTo>
                  <a:cubicBezTo>
                    <a:pt x="14" y="0"/>
                    <a:pt x="0" y="0"/>
                    <a:pt x="0" y="0"/>
                  </a:cubicBezTo>
                  <a:cubicBezTo>
                    <a:pt x="34" y="147"/>
                    <a:pt x="34" y="147"/>
                    <a:pt x="34" y="147"/>
                  </a:cubicBezTo>
                  <a:cubicBezTo>
                    <a:pt x="61" y="260"/>
                    <a:pt x="61" y="260"/>
                    <a:pt x="61" y="260"/>
                  </a:cubicBezTo>
                  <a:cubicBezTo>
                    <a:pt x="61" y="147"/>
                    <a:pt x="61" y="147"/>
                    <a:pt x="61" y="147"/>
                  </a:cubicBezTo>
                  <a:cubicBezTo>
                    <a:pt x="61" y="0"/>
                    <a:pt x="61" y="0"/>
                    <a:pt x="61" y="0"/>
                  </a:cubicBezTo>
                </a:path>
              </a:pathLst>
            </a:custGeom>
            <a:solidFill>
              <a:srgbClr val="A5AAB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íşḷíḍé">
              <a:extLst>
                <a:ext uri="{FF2B5EF4-FFF2-40B4-BE49-F238E27FC236}">
                  <a16:creationId xmlns:a16="http://schemas.microsoft.com/office/drawing/2014/main" id="{57300BDC-DCA2-DC4F-BA26-BFEB0A2E2D88}"/>
                </a:ext>
              </a:extLst>
            </p:cNvPr>
            <p:cNvSpPr/>
            <p:nvPr/>
          </p:nvSpPr>
          <p:spPr bwMode="auto">
            <a:xfrm>
              <a:off x="5640388" y="5356225"/>
              <a:ext cx="257175" cy="450850"/>
            </a:xfrm>
            <a:custGeom>
              <a:avLst/>
              <a:gdLst>
                <a:gd name="T0" fmla="*/ 102 w 164"/>
                <a:gd name="T1" fmla="*/ 0 h 287"/>
                <a:gd name="T2" fmla="*/ 0 w 164"/>
                <a:gd name="T3" fmla="*/ 0 h 287"/>
                <a:gd name="T4" fmla="*/ 0 w 164"/>
                <a:gd name="T5" fmla="*/ 147 h 287"/>
                <a:gd name="T6" fmla="*/ 0 w 164"/>
                <a:gd name="T7" fmla="*/ 260 h 287"/>
                <a:gd name="T8" fmla="*/ 6 w 164"/>
                <a:gd name="T9" fmla="*/ 287 h 287"/>
                <a:gd name="T10" fmla="*/ 7 w 164"/>
                <a:gd name="T11" fmla="*/ 287 h 287"/>
                <a:gd name="T12" fmla="*/ 164 w 164"/>
                <a:gd name="T13" fmla="*/ 287 h 287"/>
                <a:gd name="T14" fmla="*/ 164 w 164"/>
                <a:gd name="T15" fmla="*/ 62 h 287"/>
                <a:gd name="T16" fmla="*/ 102 w 164"/>
                <a:gd name="T17"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287">
                  <a:moveTo>
                    <a:pt x="102" y="0"/>
                  </a:moveTo>
                  <a:cubicBezTo>
                    <a:pt x="0" y="0"/>
                    <a:pt x="0" y="0"/>
                    <a:pt x="0" y="0"/>
                  </a:cubicBezTo>
                  <a:cubicBezTo>
                    <a:pt x="0" y="147"/>
                    <a:pt x="0" y="147"/>
                    <a:pt x="0" y="147"/>
                  </a:cubicBezTo>
                  <a:cubicBezTo>
                    <a:pt x="0" y="260"/>
                    <a:pt x="0" y="260"/>
                    <a:pt x="0" y="260"/>
                  </a:cubicBezTo>
                  <a:cubicBezTo>
                    <a:pt x="6" y="287"/>
                    <a:pt x="6" y="287"/>
                    <a:pt x="6" y="287"/>
                  </a:cubicBezTo>
                  <a:cubicBezTo>
                    <a:pt x="6" y="287"/>
                    <a:pt x="7" y="287"/>
                    <a:pt x="7" y="287"/>
                  </a:cubicBezTo>
                  <a:cubicBezTo>
                    <a:pt x="164" y="287"/>
                    <a:pt x="164" y="287"/>
                    <a:pt x="164" y="287"/>
                  </a:cubicBezTo>
                  <a:cubicBezTo>
                    <a:pt x="164" y="62"/>
                    <a:pt x="164" y="62"/>
                    <a:pt x="164" y="62"/>
                  </a:cubicBezTo>
                  <a:cubicBezTo>
                    <a:pt x="164" y="27"/>
                    <a:pt x="136" y="0"/>
                    <a:pt x="102" y="0"/>
                  </a:cubicBezTo>
                </a:path>
              </a:pathLst>
            </a:custGeom>
            <a:solidFill>
              <a:srgbClr val="54282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ṡļíḍé">
              <a:extLst>
                <a:ext uri="{FF2B5EF4-FFF2-40B4-BE49-F238E27FC236}">
                  <a16:creationId xmlns:a16="http://schemas.microsoft.com/office/drawing/2014/main" id="{4319A2A9-C8F5-9B44-81E5-9FDEF644174A}"/>
                </a:ext>
              </a:extLst>
            </p:cNvPr>
            <p:cNvSpPr/>
            <p:nvPr/>
          </p:nvSpPr>
          <p:spPr bwMode="auto">
            <a:xfrm>
              <a:off x="5708650" y="3887788"/>
              <a:ext cx="274637" cy="120650"/>
            </a:xfrm>
            <a:custGeom>
              <a:avLst/>
              <a:gdLst>
                <a:gd name="T0" fmla="*/ 130 w 174"/>
                <a:gd name="T1" fmla="*/ 0 h 77"/>
                <a:gd name="T2" fmla="*/ 0 w 174"/>
                <a:gd name="T3" fmla="*/ 21 h 77"/>
                <a:gd name="T4" fmla="*/ 14 w 174"/>
                <a:gd name="T5" fmla="*/ 36 h 77"/>
                <a:gd name="T6" fmla="*/ 28 w 174"/>
                <a:gd name="T7" fmla="*/ 44 h 77"/>
                <a:gd name="T8" fmla="*/ 47 w 174"/>
                <a:gd name="T9" fmla="*/ 49 h 77"/>
                <a:gd name="T10" fmla="*/ 75 w 174"/>
                <a:gd name="T11" fmla="*/ 38 h 77"/>
                <a:gd name="T12" fmla="*/ 139 w 174"/>
                <a:gd name="T13" fmla="*/ 74 h 77"/>
                <a:gd name="T14" fmla="*/ 150 w 174"/>
                <a:gd name="T15" fmla="*/ 77 h 77"/>
                <a:gd name="T16" fmla="*/ 174 w 174"/>
                <a:gd name="T17" fmla="*/ 65 h 77"/>
                <a:gd name="T18" fmla="*/ 130 w 174"/>
                <a:gd name="T1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4" h="77">
                  <a:moveTo>
                    <a:pt x="130" y="0"/>
                  </a:moveTo>
                  <a:cubicBezTo>
                    <a:pt x="0" y="21"/>
                    <a:pt x="0" y="21"/>
                    <a:pt x="0" y="21"/>
                  </a:cubicBezTo>
                  <a:cubicBezTo>
                    <a:pt x="3" y="27"/>
                    <a:pt x="8" y="33"/>
                    <a:pt x="14" y="36"/>
                  </a:cubicBezTo>
                  <a:cubicBezTo>
                    <a:pt x="28" y="44"/>
                    <a:pt x="28" y="44"/>
                    <a:pt x="28" y="44"/>
                  </a:cubicBezTo>
                  <a:cubicBezTo>
                    <a:pt x="34" y="48"/>
                    <a:pt x="40" y="49"/>
                    <a:pt x="47" y="49"/>
                  </a:cubicBezTo>
                  <a:cubicBezTo>
                    <a:pt x="57" y="49"/>
                    <a:pt x="67" y="45"/>
                    <a:pt x="75" y="38"/>
                  </a:cubicBezTo>
                  <a:cubicBezTo>
                    <a:pt x="139" y="74"/>
                    <a:pt x="139" y="74"/>
                    <a:pt x="139" y="74"/>
                  </a:cubicBezTo>
                  <a:cubicBezTo>
                    <a:pt x="142" y="76"/>
                    <a:pt x="146" y="77"/>
                    <a:pt x="150" y="77"/>
                  </a:cubicBezTo>
                  <a:cubicBezTo>
                    <a:pt x="159" y="77"/>
                    <a:pt x="168" y="72"/>
                    <a:pt x="174" y="65"/>
                  </a:cubicBezTo>
                  <a:cubicBezTo>
                    <a:pt x="130" y="0"/>
                    <a:pt x="130" y="0"/>
                    <a:pt x="130" y="0"/>
                  </a:cubicBezTo>
                </a:path>
              </a:pathLst>
            </a:custGeom>
            <a:solidFill>
              <a:srgbClr val="6B322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îṡliḋe">
              <a:extLst>
                <a:ext uri="{FF2B5EF4-FFF2-40B4-BE49-F238E27FC236}">
                  <a16:creationId xmlns:a16="http://schemas.microsoft.com/office/drawing/2014/main" id="{48143983-F608-3F4F-BD9B-F93E8179CD7A}"/>
                </a:ext>
              </a:extLst>
            </p:cNvPr>
            <p:cNvSpPr/>
            <p:nvPr/>
          </p:nvSpPr>
          <p:spPr bwMode="auto">
            <a:xfrm>
              <a:off x="5499100" y="2636838"/>
              <a:ext cx="165100" cy="288925"/>
            </a:xfrm>
            <a:custGeom>
              <a:avLst/>
              <a:gdLst>
                <a:gd name="T0" fmla="*/ 5 w 104"/>
                <a:gd name="T1" fmla="*/ 184 h 184"/>
                <a:gd name="T2" fmla="*/ 104 w 104"/>
                <a:gd name="T3" fmla="*/ 0 h 184"/>
                <a:gd name="T4" fmla="*/ 5 w 104"/>
                <a:gd name="T5" fmla="*/ 184 h 184"/>
              </a:gdLst>
              <a:ahLst/>
              <a:cxnLst>
                <a:cxn ang="0">
                  <a:pos x="T0" y="T1"/>
                </a:cxn>
                <a:cxn ang="0">
                  <a:pos x="T2" y="T3"/>
                </a:cxn>
                <a:cxn ang="0">
                  <a:pos x="T4" y="T5"/>
                </a:cxn>
              </a:cxnLst>
              <a:rect l="0" t="0" r="r" b="b"/>
              <a:pathLst>
                <a:path w="104" h="184">
                  <a:moveTo>
                    <a:pt x="5" y="184"/>
                  </a:moveTo>
                  <a:cubicBezTo>
                    <a:pt x="28" y="118"/>
                    <a:pt x="68" y="51"/>
                    <a:pt x="104" y="0"/>
                  </a:cubicBezTo>
                  <a:cubicBezTo>
                    <a:pt x="48" y="21"/>
                    <a:pt x="0" y="71"/>
                    <a:pt x="5" y="1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i$ḷîḑè">
              <a:extLst>
                <a:ext uri="{FF2B5EF4-FFF2-40B4-BE49-F238E27FC236}">
                  <a16:creationId xmlns:a16="http://schemas.microsoft.com/office/drawing/2014/main" id="{FD40CA81-C196-C748-976D-832E640AE265}"/>
                </a:ext>
              </a:extLst>
            </p:cNvPr>
            <p:cNvSpPr/>
            <p:nvPr/>
          </p:nvSpPr>
          <p:spPr bwMode="auto">
            <a:xfrm>
              <a:off x="5640388" y="3751263"/>
              <a:ext cx="809625" cy="112712"/>
            </a:xfrm>
            <a:custGeom>
              <a:avLst/>
              <a:gdLst>
                <a:gd name="T0" fmla="*/ 510 w 510"/>
                <a:gd name="T1" fmla="*/ 21 h 71"/>
                <a:gd name="T2" fmla="*/ 510 w 510"/>
                <a:gd name="T3" fmla="*/ 21 h 71"/>
                <a:gd name="T4" fmla="*/ 510 w 510"/>
                <a:gd name="T5" fmla="*/ 31 h 71"/>
                <a:gd name="T6" fmla="*/ 510 w 510"/>
                <a:gd name="T7" fmla="*/ 31 h 71"/>
                <a:gd name="T8" fmla="*/ 510 w 510"/>
                <a:gd name="T9" fmla="*/ 21 h 71"/>
                <a:gd name="T10" fmla="*/ 0 w 510"/>
                <a:gd name="T11" fmla="*/ 0 h 71"/>
                <a:gd name="T12" fmla="*/ 0 w 510"/>
                <a:gd name="T13" fmla="*/ 0 h 71"/>
                <a:gd name="T14" fmla="*/ 0 w 510"/>
                <a:gd name="T15" fmla="*/ 0 h 71"/>
                <a:gd name="T16" fmla="*/ 0 w 510"/>
                <a:gd name="T17" fmla="*/ 71 h 71"/>
                <a:gd name="T18" fmla="*/ 0 w 510"/>
                <a:gd name="T19" fmla="*/ 56 h 71"/>
                <a:gd name="T20" fmla="*/ 0 w 510"/>
                <a:gd name="T21" fmla="*/ 7 h 71"/>
                <a:gd name="T22" fmla="*/ 0 w 510"/>
                <a:gd name="T23" fmla="*/ 7 h 71"/>
                <a:gd name="T24" fmla="*/ 0 w 510"/>
                <a:gd name="T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0" h="71">
                  <a:moveTo>
                    <a:pt x="510" y="21"/>
                  </a:moveTo>
                  <a:lnTo>
                    <a:pt x="510" y="21"/>
                  </a:lnTo>
                  <a:lnTo>
                    <a:pt x="510" y="31"/>
                  </a:lnTo>
                  <a:lnTo>
                    <a:pt x="510" y="31"/>
                  </a:lnTo>
                  <a:lnTo>
                    <a:pt x="510" y="21"/>
                  </a:lnTo>
                  <a:close/>
                  <a:moveTo>
                    <a:pt x="0" y="0"/>
                  </a:moveTo>
                  <a:lnTo>
                    <a:pt x="0" y="0"/>
                  </a:lnTo>
                  <a:lnTo>
                    <a:pt x="0" y="0"/>
                  </a:lnTo>
                  <a:lnTo>
                    <a:pt x="0" y="71"/>
                  </a:lnTo>
                  <a:lnTo>
                    <a:pt x="0" y="56"/>
                  </a:lnTo>
                  <a:lnTo>
                    <a:pt x="0" y="7"/>
                  </a:lnTo>
                  <a:lnTo>
                    <a:pt x="0" y="7"/>
                  </a:lnTo>
                  <a:lnTo>
                    <a:pt x="0" y="0"/>
                  </a:lnTo>
                  <a:close/>
                </a:path>
              </a:pathLst>
            </a:custGeom>
            <a:solidFill>
              <a:srgbClr val="D2D3D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ïSļïďé">
              <a:extLst>
                <a:ext uri="{FF2B5EF4-FFF2-40B4-BE49-F238E27FC236}">
                  <a16:creationId xmlns:a16="http://schemas.microsoft.com/office/drawing/2014/main" id="{2A8F8087-D069-1F44-98E9-EE665F65735C}"/>
                </a:ext>
              </a:extLst>
            </p:cNvPr>
            <p:cNvSpPr/>
            <p:nvPr/>
          </p:nvSpPr>
          <p:spPr bwMode="auto">
            <a:xfrm>
              <a:off x="5640388" y="3751263"/>
              <a:ext cx="809625" cy="112712"/>
            </a:xfrm>
            <a:custGeom>
              <a:avLst/>
              <a:gdLst>
                <a:gd name="T0" fmla="*/ 510 w 510"/>
                <a:gd name="T1" fmla="*/ 21 h 71"/>
                <a:gd name="T2" fmla="*/ 510 w 510"/>
                <a:gd name="T3" fmla="*/ 21 h 71"/>
                <a:gd name="T4" fmla="*/ 510 w 510"/>
                <a:gd name="T5" fmla="*/ 31 h 71"/>
                <a:gd name="T6" fmla="*/ 510 w 510"/>
                <a:gd name="T7" fmla="*/ 31 h 71"/>
                <a:gd name="T8" fmla="*/ 510 w 510"/>
                <a:gd name="T9" fmla="*/ 21 h 71"/>
                <a:gd name="T10" fmla="*/ 0 w 510"/>
                <a:gd name="T11" fmla="*/ 0 h 71"/>
                <a:gd name="T12" fmla="*/ 0 w 510"/>
                <a:gd name="T13" fmla="*/ 0 h 71"/>
                <a:gd name="T14" fmla="*/ 0 w 510"/>
                <a:gd name="T15" fmla="*/ 0 h 71"/>
                <a:gd name="T16" fmla="*/ 0 w 510"/>
                <a:gd name="T17" fmla="*/ 71 h 71"/>
                <a:gd name="T18" fmla="*/ 0 w 510"/>
                <a:gd name="T19" fmla="*/ 56 h 71"/>
                <a:gd name="T20" fmla="*/ 0 w 510"/>
                <a:gd name="T21" fmla="*/ 7 h 71"/>
                <a:gd name="T22" fmla="*/ 0 w 510"/>
                <a:gd name="T23" fmla="*/ 7 h 71"/>
                <a:gd name="T24" fmla="*/ 0 w 510"/>
                <a:gd name="T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0" h="71">
                  <a:moveTo>
                    <a:pt x="510" y="21"/>
                  </a:moveTo>
                  <a:lnTo>
                    <a:pt x="510" y="21"/>
                  </a:lnTo>
                  <a:lnTo>
                    <a:pt x="510" y="31"/>
                  </a:lnTo>
                  <a:lnTo>
                    <a:pt x="510" y="31"/>
                  </a:lnTo>
                  <a:lnTo>
                    <a:pt x="510" y="21"/>
                  </a:lnTo>
                  <a:moveTo>
                    <a:pt x="0" y="0"/>
                  </a:moveTo>
                  <a:lnTo>
                    <a:pt x="0" y="0"/>
                  </a:lnTo>
                  <a:lnTo>
                    <a:pt x="0" y="0"/>
                  </a:lnTo>
                  <a:lnTo>
                    <a:pt x="0" y="71"/>
                  </a:lnTo>
                  <a:lnTo>
                    <a:pt x="0" y="56"/>
                  </a:lnTo>
                  <a:lnTo>
                    <a:pt x="0" y="7"/>
                  </a:lnTo>
                  <a:lnTo>
                    <a:pt x="0" y="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îṣļîḋè">
              <a:extLst>
                <a:ext uri="{FF2B5EF4-FFF2-40B4-BE49-F238E27FC236}">
                  <a16:creationId xmlns:a16="http://schemas.microsoft.com/office/drawing/2014/main" id="{42BA7BEF-612A-3243-B7B3-8520BAF80BD3}"/>
                </a:ext>
              </a:extLst>
            </p:cNvPr>
            <p:cNvSpPr/>
            <p:nvPr/>
          </p:nvSpPr>
          <p:spPr bwMode="auto">
            <a:xfrm>
              <a:off x="5640388" y="3762375"/>
              <a:ext cx="809625" cy="169862"/>
            </a:xfrm>
            <a:custGeom>
              <a:avLst/>
              <a:gdLst>
                <a:gd name="T0" fmla="*/ 514 w 514"/>
                <a:gd name="T1" fmla="*/ 14 h 108"/>
                <a:gd name="T2" fmla="*/ 494 w 514"/>
                <a:gd name="T3" fmla="*/ 28 h 108"/>
                <a:gd name="T4" fmla="*/ 514 w 514"/>
                <a:gd name="T5" fmla="*/ 24 h 108"/>
                <a:gd name="T6" fmla="*/ 514 w 514"/>
                <a:gd name="T7" fmla="*/ 14 h 108"/>
                <a:gd name="T8" fmla="*/ 0 w 514"/>
                <a:gd name="T9" fmla="*/ 0 h 108"/>
                <a:gd name="T10" fmla="*/ 0 w 514"/>
                <a:gd name="T11" fmla="*/ 0 h 108"/>
                <a:gd name="T12" fmla="*/ 0 w 514"/>
                <a:gd name="T13" fmla="*/ 50 h 108"/>
                <a:gd name="T14" fmla="*/ 0 w 514"/>
                <a:gd name="T15" fmla="*/ 65 h 108"/>
                <a:gd name="T16" fmla="*/ 0 w 514"/>
                <a:gd name="T17" fmla="*/ 108 h 108"/>
                <a:gd name="T18" fmla="*/ 44 w 514"/>
                <a:gd name="T19" fmla="*/ 101 h 108"/>
                <a:gd name="T20" fmla="*/ 40 w 514"/>
                <a:gd name="T21" fmla="*/ 73 h 108"/>
                <a:gd name="T22" fmla="*/ 0 w 514"/>
                <a:gd name="T23" fmla="*/ 50 h 108"/>
                <a:gd name="T24" fmla="*/ 0 w 514"/>
                <a:gd name="T25"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4" h="108">
                  <a:moveTo>
                    <a:pt x="514" y="14"/>
                  </a:moveTo>
                  <a:cubicBezTo>
                    <a:pt x="494" y="28"/>
                    <a:pt x="494" y="28"/>
                    <a:pt x="494" y="28"/>
                  </a:cubicBezTo>
                  <a:cubicBezTo>
                    <a:pt x="514" y="24"/>
                    <a:pt x="514" y="24"/>
                    <a:pt x="514" y="24"/>
                  </a:cubicBezTo>
                  <a:cubicBezTo>
                    <a:pt x="514" y="14"/>
                    <a:pt x="514" y="14"/>
                    <a:pt x="514" y="14"/>
                  </a:cubicBezTo>
                  <a:moveTo>
                    <a:pt x="0" y="0"/>
                  </a:moveTo>
                  <a:cubicBezTo>
                    <a:pt x="0" y="0"/>
                    <a:pt x="0" y="0"/>
                    <a:pt x="0" y="0"/>
                  </a:cubicBezTo>
                  <a:cubicBezTo>
                    <a:pt x="0" y="50"/>
                    <a:pt x="0" y="50"/>
                    <a:pt x="0" y="50"/>
                  </a:cubicBezTo>
                  <a:cubicBezTo>
                    <a:pt x="0" y="65"/>
                    <a:pt x="0" y="65"/>
                    <a:pt x="0" y="65"/>
                  </a:cubicBezTo>
                  <a:cubicBezTo>
                    <a:pt x="0" y="108"/>
                    <a:pt x="0" y="108"/>
                    <a:pt x="0" y="108"/>
                  </a:cubicBezTo>
                  <a:cubicBezTo>
                    <a:pt x="44" y="101"/>
                    <a:pt x="44" y="101"/>
                    <a:pt x="44" y="101"/>
                  </a:cubicBezTo>
                  <a:cubicBezTo>
                    <a:pt x="39" y="93"/>
                    <a:pt x="38" y="83"/>
                    <a:pt x="40" y="73"/>
                  </a:cubicBezTo>
                  <a:cubicBezTo>
                    <a:pt x="0" y="50"/>
                    <a:pt x="0" y="50"/>
                    <a:pt x="0" y="50"/>
                  </a:cubicBezTo>
                  <a:cubicBezTo>
                    <a:pt x="0" y="0"/>
                    <a:pt x="0" y="0"/>
                    <a:pt x="0" y="0"/>
                  </a:cubicBezTo>
                </a:path>
              </a:pathLst>
            </a:custGeom>
            <a:solidFill>
              <a:srgbClr val="6B322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ïṧlíḑe">
              <a:extLst>
                <a:ext uri="{FF2B5EF4-FFF2-40B4-BE49-F238E27FC236}">
                  <a16:creationId xmlns:a16="http://schemas.microsoft.com/office/drawing/2014/main" id="{FCBFE365-3209-3C41-8E8B-280CA64F14AC}"/>
                </a:ext>
              </a:extLst>
            </p:cNvPr>
            <p:cNvSpPr/>
            <p:nvPr/>
          </p:nvSpPr>
          <p:spPr bwMode="auto">
            <a:xfrm>
              <a:off x="5640388" y="3751263"/>
              <a:ext cx="11112" cy="11112"/>
            </a:xfrm>
            <a:custGeom>
              <a:avLst/>
              <a:gdLst>
                <a:gd name="T0" fmla="*/ 7 w 7"/>
                <a:gd name="T1" fmla="*/ 0 h 7"/>
                <a:gd name="T2" fmla="*/ 0 w 7"/>
                <a:gd name="T3" fmla="*/ 0 h 7"/>
                <a:gd name="T4" fmla="*/ 0 w 7"/>
                <a:gd name="T5" fmla="*/ 7 h 7"/>
                <a:gd name="T6" fmla="*/ 7 w 7"/>
                <a:gd name="T7" fmla="*/ 0 h 7"/>
              </a:gdLst>
              <a:ahLst/>
              <a:cxnLst>
                <a:cxn ang="0">
                  <a:pos x="T0" y="T1"/>
                </a:cxn>
                <a:cxn ang="0">
                  <a:pos x="T2" y="T3"/>
                </a:cxn>
                <a:cxn ang="0">
                  <a:pos x="T4" y="T5"/>
                </a:cxn>
                <a:cxn ang="0">
                  <a:pos x="T6" y="T7"/>
                </a:cxn>
              </a:cxnLst>
              <a:rect l="0" t="0" r="r" b="b"/>
              <a:pathLst>
                <a:path w="7" h="7">
                  <a:moveTo>
                    <a:pt x="7" y="0"/>
                  </a:moveTo>
                  <a:cubicBezTo>
                    <a:pt x="0" y="0"/>
                    <a:pt x="0" y="0"/>
                    <a:pt x="0" y="0"/>
                  </a:cubicBezTo>
                  <a:cubicBezTo>
                    <a:pt x="0" y="7"/>
                    <a:pt x="0" y="7"/>
                    <a:pt x="0" y="7"/>
                  </a:cubicBezTo>
                  <a:cubicBezTo>
                    <a:pt x="0" y="3"/>
                    <a:pt x="3" y="0"/>
                    <a:pt x="7" y="0"/>
                  </a:cubicBezTo>
                </a:path>
              </a:pathLst>
            </a:custGeom>
            <a:solidFill>
              <a:srgbClr val="ADAFB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ïṣļîḍe">
              <a:extLst>
                <a:ext uri="{FF2B5EF4-FFF2-40B4-BE49-F238E27FC236}">
                  <a16:creationId xmlns:a16="http://schemas.microsoft.com/office/drawing/2014/main" id="{BA559EE9-6E63-8143-8802-6385EBB68431}"/>
                </a:ext>
              </a:extLst>
            </p:cNvPr>
            <p:cNvSpPr/>
            <p:nvPr/>
          </p:nvSpPr>
          <p:spPr bwMode="auto">
            <a:xfrm>
              <a:off x="5640388" y="3751263"/>
              <a:ext cx="273050" cy="169862"/>
            </a:xfrm>
            <a:custGeom>
              <a:avLst/>
              <a:gdLst>
                <a:gd name="T0" fmla="*/ 116 w 174"/>
                <a:gd name="T1" fmla="*/ 0 h 108"/>
                <a:gd name="T2" fmla="*/ 7 w 174"/>
                <a:gd name="T3" fmla="*/ 0 h 108"/>
                <a:gd name="T4" fmla="*/ 0 w 174"/>
                <a:gd name="T5" fmla="*/ 7 h 108"/>
                <a:gd name="T6" fmla="*/ 0 w 174"/>
                <a:gd name="T7" fmla="*/ 57 h 108"/>
                <a:gd name="T8" fmla="*/ 40 w 174"/>
                <a:gd name="T9" fmla="*/ 80 h 108"/>
                <a:gd name="T10" fmla="*/ 44 w 174"/>
                <a:gd name="T11" fmla="*/ 108 h 108"/>
                <a:gd name="T12" fmla="*/ 174 w 174"/>
                <a:gd name="T13" fmla="*/ 87 h 108"/>
                <a:gd name="T14" fmla="*/ 116 w 174"/>
                <a:gd name="T15" fmla="*/ 0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4" h="108">
                  <a:moveTo>
                    <a:pt x="116" y="0"/>
                  </a:moveTo>
                  <a:cubicBezTo>
                    <a:pt x="7" y="0"/>
                    <a:pt x="7" y="0"/>
                    <a:pt x="7" y="0"/>
                  </a:cubicBezTo>
                  <a:cubicBezTo>
                    <a:pt x="3" y="0"/>
                    <a:pt x="0" y="3"/>
                    <a:pt x="0" y="7"/>
                  </a:cubicBezTo>
                  <a:cubicBezTo>
                    <a:pt x="0" y="57"/>
                    <a:pt x="0" y="57"/>
                    <a:pt x="0" y="57"/>
                  </a:cubicBezTo>
                  <a:cubicBezTo>
                    <a:pt x="40" y="80"/>
                    <a:pt x="40" y="80"/>
                    <a:pt x="40" y="80"/>
                  </a:cubicBezTo>
                  <a:cubicBezTo>
                    <a:pt x="38" y="90"/>
                    <a:pt x="39" y="100"/>
                    <a:pt x="44" y="108"/>
                  </a:cubicBezTo>
                  <a:cubicBezTo>
                    <a:pt x="174" y="87"/>
                    <a:pt x="174" y="87"/>
                    <a:pt x="174" y="87"/>
                  </a:cubicBezTo>
                  <a:cubicBezTo>
                    <a:pt x="116" y="0"/>
                    <a:pt x="116" y="0"/>
                    <a:pt x="116" y="0"/>
                  </a:cubicBezTo>
                </a:path>
              </a:pathLst>
            </a:custGeom>
            <a:solidFill>
              <a:srgbClr val="58292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íSḻîďè">
              <a:extLst>
                <a:ext uri="{FF2B5EF4-FFF2-40B4-BE49-F238E27FC236}">
                  <a16:creationId xmlns:a16="http://schemas.microsoft.com/office/drawing/2014/main" id="{96FF1BBD-8A63-7345-83BB-1FC676A28BA5}"/>
                </a:ext>
              </a:extLst>
            </p:cNvPr>
            <p:cNvSpPr/>
            <p:nvPr/>
          </p:nvSpPr>
          <p:spPr bwMode="auto">
            <a:xfrm>
              <a:off x="5548313" y="2270125"/>
              <a:ext cx="1146175" cy="1481137"/>
            </a:xfrm>
            <a:custGeom>
              <a:avLst/>
              <a:gdLst>
                <a:gd name="T0" fmla="*/ 682 w 727"/>
                <a:gd name="T1" fmla="*/ 316 h 942"/>
                <a:gd name="T2" fmla="*/ 667 w 727"/>
                <a:gd name="T3" fmla="*/ 550 h 942"/>
                <a:gd name="T4" fmla="*/ 228 w 727"/>
                <a:gd name="T5" fmla="*/ 942 h 942"/>
                <a:gd name="T6" fmla="*/ 58 w 727"/>
                <a:gd name="T7" fmla="*/ 942 h 942"/>
                <a:gd name="T8" fmla="*/ 10 w 727"/>
                <a:gd name="T9" fmla="*/ 863 h 942"/>
                <a:gd name="T10" fmla="*/ 7 w 727"/>
                <a:gd name="T11" fmla="*/ 643 h 942"/>
                <a:gd name="T12" fmla="*/ 5 w 727"/>
                <a:gd name="T13" fmla="*/ 550 h 942"/>
                <a:gd name="T14" fmla="*/ 0 w 727"/>
                <a:gd name="T15" fmla="*/ 225 h 942"/>
                <a:gd name="T16" fmla="*/ 3 w 727"/>
                <a:gd name="T17" fmla="*/ 91 h 942"/>
                <a:gd name="T18" fmla="*/ 252 w 727"/>
                <a:gd name="T19" fmla="*/ 5 h 942"/>
                <a:gd name="T20" fmla="*/ 327 w 727"/>
                <a:gd name="T21" fmla="*/ 0 h 942"/>
                <a:gd name="T22" fmla="*/ 436 w 727"/>
                <a:gd name="T23" fmla="*/ 11 h 942"/>
                <a:gd name="T24" fmla="*/ 450 w 727"/>
                <a:gd name="T25" fmla="*/ 14 h 942"/>
                <a:gd name="T26" fmla="*/ 459 w 727"/>
                <a:gd name="T27" fmla="*/ 16 h 942"/>
                <a:gd name="T28" fmla="*/ 546 w 727"/>
                <a:gd name="T29" fmla="*/ 31 h 942"/>
                <a:gd name="T30" fmla="*/ 674 w 727"/>
                <a:gd name="T31" fmla="*/ 100 h 942"/>
                <a:gd name="T32" fmla="*/ 682 w 727"/>
                <a:gd name="T33" fmla="*/ 316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7" h="942">
                  <a:moveTo>
                    <a:pt x="682" y="316"/>
                  </a:moveTo>
                  <a:cubicBezTo>
                    <a:pt x="667" y="550"/>
                    <a:pt x="667" y="550"/>
                    <a:pt x="667" y="550"/>
                  </a:cubicBezTo>
                  <a:cubicBezTo>
                    <a:pt x="228" y="942"/>
                    <a:pt x="228" y="942"/>
                    <a:pt x="228" y="942"/>
                  </a:cubicBezTo>
                  <a:cubicBezTo>
                    <a:pt x="58" y="942"/>
                    <a:pt x="58" y="942"/>
                    <a:pt x="58" y="942"/>
                  </a:cubicBezTo>
                  <a:cubicBezTo>
                    <a:pt x="58" y="942"/>
                    <a:pt x="10" y="865"/>
                    <a:pt x="10" y="863"/>
                  </a:cubicBezTo>
                  <a:cubicBezTo>
                    <a:pt x="7" y="643"/>
                    <a:pt x="7" y="643"/>
                    <a:pt x="7" y="643"/>
                  </a:cubicBezTo>
                  <a:cubicBezTo>
                    <a:pt x="5" y="550"/>
                    <a:pt x="5" y="550"/>
                    <a:pt x="5" y="550"/>
                  </a:cubicBezTo>
                  <a:cubicBezTo>
                    <a:pt x="0" y="225"/>
                    <a:pt x="0" y="225"/>
                    <a:pt x="0" y="225"/>
                  </a:cubicBezTo>
                  <a:cubicBezTo>
                    <a:pt x="3" y="91"/>
                    <a:pt x="3" y="91"/>
                    <a:pt x="3" y="91"/>
                  </a:cubicBezTo>
                  <a:cubicBezTo>
                    <a:pt x="36" y="12"/>
                    <a:pt x="252" y="5"/>
                    <a:pt x="252" y="5"/>
                  </a:cubicBezTo>
                  <a:cubicBezTo>
                    <a:pt x="277" y="2"/>
                    <a:pt x="302" y="0"/>
                    <a:pt x="327" y="0"/>
                  </a:cubicBezTo>
                  <a:cubicBezTo>
                    <a:pt x="365" y="0"/>
                    <a:pt x="402" y="4"/>
                    <a:pt x="436" y="11"/>
                  </a:cubicBezTo>
                  <a:cubicBezTo>
                    <a:pt x="441" y="12"/>
                    <a:pt x="446" y="13"/>
                    <a:pt x="450" y="14"/>
                  </a:cubicBezTo>
                  <a:cubicBezTo>
                    <a:pt x="453" y="15"/>
                    <a:pt x="456" y="16"/>
                    <a:pt x="459" y="16"/>
                  </a:cubicBezTo>
                  <a:cubicBezTo>
                    <a:pt x="459" y="16"/>
                    <a:pt x="498" y="20"/>
                    <a:pt x="546" y="31"/>
                  </a:cubicBezTo>
                  <a:cubicBezTo>
                    <a:pt x="599" y="43"/>
                    <a:pt x="646" y="67"/>
                    <a:pt x="674" y="100"/>
                  </a:cubicBezTo>
                  <a:cubicBezTo>
                    <a:pt x="727" y="163"/>
                    <a:pt x="682" y="316"/>
                    <a:pt x="682" y="316"/>
                  </a:cubicBezTo>
                </a:path>
              </a:pathLst>
            </a:custGeom>
            <a:solidFill>
              <a:srgbClr val="FF62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šľíḑè">
              <a:extLst>
                <a:ext uri="{FF2B5EF4-FFF2-40B4-BE49-F238E27FC236}">
                  <a16:creationId xmlns:a16="http://schemas.microsoft.com/office/drawing/2014/main" id="{9FE8A26A-8346-CE4D-A00C-9BB7C0E5AC9A}"/>
                </a:ext>
              </a:extLst>
            </p:cNvPr>
            <p:cNvSpPr/>
            <p:nvPr/>
          </p:nvSpPr>
          <p:spPr bwMode="auto">
            <a:xfrm>
              <a:off x="5907088" y="3135313"/>
              <a:ext cx="663575" cy="615950"/>
            </a:xfrm>
            <a:custGeom>
              <a:avLst/>
              <a:gdLst>
                <a:gd name="T0" fmla="*/ 0 w 421"/>
                <a:gd name="T1" fmla="*/ 392 h 392"/>
                <a:gd name="T2" fmla="*/ 344 w 421"/>
                <a:gd name="T3" fmla="*/ 392 h 392"/>
                <a:gd name="T4" fmla="*/ 421 w 421"/>
                <a:gd name="T5" fmla="*/ 304 h 392"/>
                <a:gd name="T6" fmla="*/ 421 w 421"/>
                <a:gd name="T7" fmla="*/ 0 h 392"/>
                <a:gd name="T8" fmla="*/ 0 w 421"/>
                <a:gd name="T9" fmla="*/ 392 h 392"/>
              </a:gdLst>
              <a:ahLst/>
              <a:cxnLst>
                <a:cxn ang="0">
                  <a:pos x="T0" y="T1"/>
                </a:cxn>
                <a:cxn ang="0">
                  <a:pos x="T2" y="T3"/>
                </a:cxn>
                <a:cxn ang="0">
                  <a:pos x="T4" y="T5"/>
                </a:cxn>
                <a:cxn ang="0">
                  <a:pos x="T6" y="T7"/>
                </a:cxn>
                <a:cxn ang="0">
                  <a:pos x="T8" y="T9"/>
                </a:cxn>
              </a:cxnLst>
              <a:rect l="0" t="0" r="r" b="b"/>
              <a:pathLst>
                <a:path w="421" h="392">
                  <a:moveTo>
                    <a:pt x="0" y="392"/>
                  </a:moveTo>
                  <a:cubicBezTo>
                    <a:pt x="344" y="392"/>
                    <a:pt x="344" y="392"/>
                    <a:pt x="344" y="392"/>
                  </a:cubicBezTo>
                  <a:cubicBezTo>
                    <a:pt x="345" y="390"/>
                    <a:pt x="421" y="304"/>
                    <a:pt x="421" y="304"/>
                  </a:cubicBezTo>
                  <a:cubicBezTo>
                    <a:pt x="421" y="0"/>
                    <a:pt x="421" y="0"/>
                    <a:pt x="421" y="0"/>
                  </a:cubicBezTo>
                  <a:lnTo>
                    <a:pt x="0" y="392"/>
                  </a:lnTo>
                  <a:close/>
                </a:path>
              </a:pathLst>
            </a:custGeom>
            <a:solidFill>
              <a:srgbClr val="C6392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i$ľïḓê">
              <a:extLst>
                <a:ext uri="{FF2B5EF4-FFF2-40B4-BE49-F238E27FC236}">
                  <a16:creationId xmlns:a16="http://schemas.microsoft.com/office/drawing/2014/main" id="{2D433225-A9D3-154F-AC4F-190103D4BE16}"/>
                </a:ext>
              </a:extLst>
            </p:cNvPr>
            <p:cNvSpPr/>
            <p:nvPr/>
          </p:nvSpPr>
          <p:spPr bwMode="auto">
            <a:xfrm>
              <a:off x="5991225" y="2106613"/>
              <a:ext cx="215900" cy="363537"/>
            </a:xfrm>
            <a:custGeom>
              <a:avLst/>
              <a:gdLst>
                <a:gd name="T0" fmla="*/ 0 w 137"/>
                <a:gd name="T1" fmla="*/ 162 h 231"/>
                <a:gd name="T2" fmla="*/ 68 w 137"/>
                <a:gd name="T3" fmla="*/ 231 h 231"/>
                <a:gd name="T4" fmla="*/ 137 w 137"/>
                <a:gd name="T5" fmla="*/ 162 h 231"/>
                <a:gd name="T6" fmla="*/ 137 w 137"/>
                <a:gd name="T7" fmla="*/ 69 h 231"/>
                <a:gd name="T8" fmla="*/ 68 w 137"/>
                <a:gd name="T9" fmla="*/ 0 h 231"/>
                <a:gd name="T10" fmla="*/ 0 w 137"/>
                <a:gd name="T11" fmla="*/ 69 h 231"/>
                <a:gd name="T12" fmla="*/ 0 w 137"/>
                <a:gd name="T13" fmla="*/ 162 h 231"/>
              </a:gdLst>
              <a:ahLst/>
              <a:cxnLst>
                <a:cxn ang="0">
                  <a:pos x="T0" y="T1"/>
                </a:cxn>
                <a:cxn ang="0">
                  <a:pos x="T2" y="T3"/>
                </a:cxn>
                <a:cxn ang="0">
                  <a:pos x="T4" y="T5"/>
                </a:cxn>
                <a:cxn ang="0">
                  <a:pos x="T6" y="T7"/>
                </a:cxn>
                <a:cxn ang="0">
                  <a:pos x="T8" y="T9"/>
                </a:cxn>
                <a:cxn ang="0">
                  <a:pos x="T10" y="T11"/>
                </a:cxn>
                <a:cxn ang="0">
                  <a:pos x="T12" y="T13"/>
                </a:cxn>
              </a:cxnLst>
              <a:rect l="0" t="0" r="r" b="b"/>
              <a:pathLst>
                <a:path w="137" h="231">
                  <a:moveTo>
                    <a:pt x="0" y="162"/>
                  </a:moveTo>
                  <a:cubicBezTo>
                    <a:pt x="0" y="200"/>
                    <a:pt x="31" y="231"/>
                    <a:pt x="68" y="231"/>
                  </a:cubicBezTo>
                  <a:cubicBezTo>
                    <a:pt x="106" y="231"/>
                    <a:pt x="137" y="200"/>
                    <a:pt x="137" y="162"/>
                  </a:cubicBezTo>
                  <a:cubicBezTo>
                    <a:pt x="137" y="69"/>
                    <a:pt x="137" y="69"/>
                    <a:pt x="137" y="69"/>
                  </a:cubicBezTo>
                  <a:cubicBezTo>
                    <a:pt x="137" y="31"/>
                    <a:pt x="106" y="0"/>
                    <a:pt x="68" y="0"/>
                  </a:cubicBezTo>
                  <a:cubicBezTo>
                    <a:pt x="31" y="0"/>
                    <a:pt x="0" y="31"/>
                    <a:pt x="0" y="69"/>
                  </a:cubicBezTo>
                  <a:lnTo>
                    <a:pt x="0" y="162"/>
                  </a:lnTo>
                  <a:close/>
                </a:path>
              </a:pathLst>
            </a:custGeom>
            <a:solidFill>
              <a:srgbClr val="F4896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iš1ïdé">
              <a:extLst>
                <a:ext uri="{FF2B5EF4-FFF2-40B4-BE49-F238E27FC236}">
                  <a16:creationId xmlns:a16="http://schemas.microsoft.com/office/drawing/2014/main" id="{5E6D0FAD-184D-A64D-BB48-87CD452D4F66}"/>
                </a:ext>
              </a:extLst>
            </p:cNvPr>
            <p:cNvSpPr/>
            <p:nvPr/>
          </p:nvSpPr>
          <p:spPr bwMode="auto">
            <a:xfrm>
              <a:off x="5694363" y="1801813"/>
              <a:ext cx="119062" cy="117475"/>
            </a:xfrm>
            <a:custGeom>
              <a:avLst/>
              <a:gdLst>
                <a:gd name="T0" fmla="*/ 3 w 75"/>
                <a:gd name="T1" fmla="*/ 43 h 75"/>
                <a:gd name="T2" fmla="*/ 43 w 75"/>
                <a:gd name="T3" fmla="*/ 72 h 75"/>
                <a:gd name="T4" fmla="*/ 72 w 75"/>
                <a:gd name="T5" fmla="*/ 32 h 75"/>
                <a:gd name="T6" fmla="*/ 32 w 75"/>
                <a:gd name="T7" fmla="*/ 3 h 75"/>
                <a:gd name="T8" fmla="*/ 3 w 75"/>
                <a:gd name="T9" fmla="*/ 43 h 75"/>
              </a:gdLst>
              <a:ahLst/>
              <a:cxnLst>
                <a:cxn ang="0">
                  <a:pos x="T0" y="T1"/>
                </a:cxn>
                <a:cxn ang="0">
                  <a:pos x="T2" y="T3"/>
                </a:cxn>
                <a:cxn ang="0">
                  <a:pos x="T4" y="T5"/>
                </a:cxn>
                <a:cxn ang="0">
                  <a:pos x="T6" y="T7"/>
                </a:cxn>
                <a:cxn ang="0">
                  <a:pos x="T8" y="T9"/>
                </a:cxn>
              </a:cxnLst>
              <a:rect l="0" t="0" r="r" b="b"/>
              <a:pathLst>
                <a:path w="75" h="75">
                  <a:moveTo>
                    <a:pt x="3" y="43"/>
                  </a:moveTo>
                  <a:cubicBezTo>
                    <a:pt x="6" y="62"/>
                    <a:pt x="24" y="75"/>
                    <a:pt x="43" y="72"/>
                  </a:cubicBezTo>
                  <a:cubicBezTo>
                    <a:pt x="62" y="69"/>
                    <a:pt x="75" y="51"/>
                    <a:pt x="72" y="32"/>
                  </a:cubicBezTo>
                  <a:cubicBezTo>
                    <a:pt x="69" y="13"/>
                    <a:pt x="51" y="0"/>
                    <a:pt x="32" y="3"/>
                  </a:cubicBezTo>
                  <a:cubicBezTo>
                    <a:pt x="13" y="6"/>
                    <a:pt x="0" y="24"/>
                    <a:pt x="3" y="43"/>
                  </a:cubicBezTo>
                  <a:close/>
                </a:path>
              </a:pathLst>
            </a:custGeom>
            <a:solidFill>
              <a:srgbClr val="F4896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ïṧļîḑê">
              <a:extLst>
                <a:ext uri="{FF2B5EF4-FFF2-40B4-BE49-F238E27FC236}">
                  <a16:creationId xmlns:a16="http://schemas.microsoft.com/office/drawing/2014/main" id="{55FD0419-4DDA-634E-AFB2-782E69F377E1}"/>
                </a:ext>
              </a:extLst>
            </p:cNvPr>
            <p:cNvSpPr/>
            <p:nvPr/>
          </p:nvSpPr>
          <p:spPr bwMode="auto">
            <a:xfrm>
              <a:off x="6259513" y="1698625"/>
              <a:ext cx="117475" cy="117475"/>
            </a:xfrm>
            <a:custGeom>
              <a:avLst/>
              <a:gdLst>
                <a:gd name="T0" fmla="*/ 3 w 75"/>
                <a:gd name="T1" fmla="*/ 43 h 75"/>
                <a:gd name="T2" fmla="*/ 43 w 75"/>
                <a:gd name="T3" fmla="*/ 72 h 75"/>
                <a:gd name="T4" fmla="*/ 72 w 75"/>
                <a:gd name="T5" fmla="*/ 32 h 75"/>
                <a:gd name="T6" fmla="*/ 32 w 75"/>
                <a:gd name="T7" fmla="*/ 3 h 75"/>
                <a:gd name="T8" fmla="*/ 3 w 75"/>
                <a:gd name="T9" fmla="*/ 43 h 75"/>
              </a:gdLst>
              <a:ahLst/>
              <a:cxnLst>
                <a:cxn ang="0">
                  <a:pos x="T0" y="T1"/>
                </a:cxn>
                <a:cxn ang="0">
                  <a:pos x="T2" y="T3"/>
                </a:cxn>
                <a:cxn ang="0">
                  <a:pos x="T4" y="T5"/>
                </a:cxn>
                <a:cxn ang="0">
                  <a:pos x="T6" y="T7"/>
                </a:cxn>
                <a:cxn ang="0">
                  <a:pos x="T8" y="T9"/>
                </a:cxn>
              </a:cxnLst>
              <a:rect l="0" t="0" r="r" b="b"/>
              <a:pathLst>
                <a:path w="75" h="75">
                  <a:moveTo>
                    <a:pt x="3" y="43"/>
                  </a:moveTo>
                  <a:cubicBezTo>
                    <a:pt x="6" y="62"/>
                    <a:pt x="24" y="75"/>
                    <a:pt x="43" y="72"/>
                  </a:cubicBezTo>
                  <a:cubicBezTo>
                    <a:pt x="62" y="69"/>
                    <a:pt x="75" y="51"/>
                    <a:pt x="72" y="32"/>
                  </a:cubicBezTo>
                  <a:cubicBezTo>
                    <a:pt x="69" y="13"/>
                    <a:pt x="51" y="0"/>
                    <a:pt x="32" y="3"/>
                  </a:cubicBezTo>
                  <a:cubicBezTo>
                    <a:pt x="13" y="6"/>
                    <a:pt x="0" y="24"/>
                    <a:pt x="3" y="43"/>
                  </a:cubicBezTo>
                  <a:close/>
                </a:path>
              </a:pathLst>
            </a:custGeom>
            <a:solidFill>
              <a:srgbClr val="F4896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ļíḍê">
              <a:extLst>
                <a:ext uri="{FF2B5EF4-FFF2-40B4-BE49-F238E27FC236}">
                  <a16:creationId xmlns:a16="http://schemas.microsoft.com/office/drawing/2014/main" id="{592F3762-2616-AF4D-9AA2-7261537E3D78}"/>
                </a:ext>
              </a:extLst>
            </p:cNvPr>
            <p:cNvSpPr/>
            <p:nvPr/>
          </p:nvSpPr>
          <p:spPr bwMode="auto">
            <a:xfrm>
              <a:off x="5699125" y="1504950"/>
              <a:ext cx="641350" cy="722312"/>
            </a:xfrm>
            <a:custGeom>
              <a:avLst/>
              <a:gdLst>
                <a:gd name="T0" fmla="*/ 375 w 407"/>
                <a:gd name="T1" fmla="*/ 0 h 460"/>
                <a:gd name="T2" fmla="*/ 404 w 407"/>
                <a:gd name="T3" fmla="*/ 296 h 460"/>
                <a:gd name="T4" fmla="*/ 398 w 407"/>
                <a:gd name="T5" fmla="*/ 348 h 460"/>
                <a:gd name="T6" fmla="*/ 364 w 407"/>
                <a:gd name="T7" fmla="*/ 392 h 460"/>
                <a:gd name="T8" fmla="*/ 325 w 407"/>
                <a:gd name="T9" fmla="*/ 425 h 460"/>
                <a:gd name="T10" fmla="*/ 255 w 407"/>
                <a:gd name="T11" fmla="*/ 456 h 460"/>
                <a:gd name="T12" fmla="*/ 179 w 407"/>
                <a:gd name="T13" fmla="*/ 448 h 460"/>
                <a:gd name="T14" fmla="*/ 130 w 407"/>
                <a:gd name="T15" fmla="*/ 422 h 460"/>
                <a:gd name="T16" fmla="*/ 86 w 407"/>
                <a:gd name="T17" fmla="*/ 391 h 460"/>
                <a:gd name="T18" fmla="*/ 65 w 407"/>
                <a:gd name="T19" fmla="*/ 345 h 460"/>
                <a:gd name="T20" fmla="*/ 0 w 407"/>
                <a:gd name="T21" fmla="*/ 59 h 460"/>
                <a:gd name="T22" fmla="*/ 375 w 407"/>
                <a:gd name="T23" fmla="*/ 0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7" h="460">
                  <a:moveTo>
                    <a:pt x="375" y="0"/>
                  </a:moveTo>
                  <a:cubicBezTo>
                    <a:pt x="404" y="296"/>
                    <a:pt x="404" y="296"/>
                    <a:pt x="404" y="296"/>
                  </a:cubicBezTo>
                  <a:cubicBezTo>
                    <a:pt x="407" y="313"/>
                    <a:pt x="405" y="330"/>
                    <a:pt x="398" y="348"/>
                  </a:cubicBezTo>
                  <a:cubicBezTo>
                    <a:pt x="390" y="365"/>
                    <a:pt x="379" y="380"/>
                    <a:pt x="364" y="392"/>
                  </a:cubicBezTo>
                  <a:cubicBezTo>
                    <a:pt x="325" y="425"/>
                    <a:pt x="325" y="425"/>
                    <a:pt x="325" y="425"/>
                  </a:cubicBezTo>
                  <a:cubicBezTo>
                    <a:pt x="306" y="440"/>
                    <a:pt x="282" y="451"/>
                    <a:pt x="255" y="456"/>
                  </a:cubicBezTo>
                  <a:cubicBezTo>
                    <a:pt x="228" y="460"/>
                    <a:pt x="202" y="457"/>
                    <a:pt x="179" y="448"/>
                  </a:cubicBezTo>
                  <a:cubicBezTo>
                    <a:pt x="130" y="422"/>
                    <a:pt x="130" y="422"/>
                    <a:pt x="130" y="422"/>
                  </a:cubicBezTo>
                  <a:cubicBezTo>
                    <a:pt x="113" y="415"/>
                    <a:pt x="98" y="405"/>
                    <a:pt x="86" y="391"/>
                  </a:cubicBezTo>
                  <a:cubicBezTo>
                    <a:pt x="74" y="377"/>
                    <a:pt x="67" y="361"/>
                    <a:pt x="65" y="345"/>
                  </a:cubicBezTo>
                  <a:cubicBezTo>
                    <a:pt x="0" y="59"/>
                    <a:pt x="0" y="59"/>
                    <a:pt x="0" y="59"/>
                  </a:cubicBezTo>
                  <a:lnTo>
                    <a:pt x="375" y="0"/>
                  </a:lnTo>
                  <a:close/>
                </a:path>
              </a:pathLst>
            </a:custGeom>
            <a:solidFill>
              <a:srgbClr val="F4896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ïşḷíḓè">
              <a:extLst>
                <a:ext uri="{FF2B5EF4-FFF2-40B4-BE49-F238E27FC236}">
                  <a16:creationId xmlns:a16="http://schemas.microsoft.com/office/drawing/2014/main" id="{6D14D82D-DFE5-1E40-9B24-1AE041E496A8}"/>
                </a:ext>
              </a:extLst>
            </p:cNvPr>
            <p:cNvSpPr/>
            <p:nvPr/>
          </p:nvSpPr>
          <p:spPr bwMode="auto">
            <a:xfrm>
              <a:off x="5699125" y="1504950"/>
              <a:ext cx="631825" cy="682625"/>
            </a:xfrm>
            <a:custGeom>
              <a:avLst/>
              <a:gdLst>
                <a:gd name="T0" fmla="*/ 374 w 401"/>
                <a:gd name="T1" fmla="*/ 0 h 434"/>
                <a:gd name="T2" fmla="*/ 398 w 401"/>
                <a:gd name="T3" fmla="*/ 270 h 434"/>
                <a:gd name="T4" fmla="*/ 392 w 401"/>
                <a:gd name="T5" fmla="*/ 322 h 434"/>
                <a:gd name="T6" fmla="*/ 359 w 401"/>
                <a:gd name="T7" fmla="*/ 366 h 434"/>
                <a:gd name="T8" fmla="*/ 319 w 401"/>
                <a:gd name="T9" fmla="*/ 399 h 434"/>
                <a:gd name="T10" fmla="*/ 249 w 401"/>
                <a:gd name="T11" fmla="*/ 430 h 434"/>
                <a:gd name="T12" fmla="*/ 173 w 401"/>
                <a:gd name="T13" fmla="*/ 422 h 434"/>
                <a:gd name="T14" fmla="*/ 125 w 401"/>
                <a:gd name="T15" fmla="*/ 395 h 434"/>
                <a:gd name="T16" fmla="*/ 81 w 401"/>
                <a:gd name="T17" fmla="*/ 365 h 434"/>
                <a:gd name="T18" fmla="*/ 63 w 401"/>
                <a:gd name="T19" fmla="*/ 334 h 434"/>
                <a:gd name="T20" fmla="*/ 0 w 401"/>
                <a:gd name="T21" fmla="*/ 46 h 434"/>
                <a:gd name="T22" fmla="*/ 374 w 401"/>
                <a:gd name="T23" fmla="*/ 0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1" h="434">
                  <a:moveTo>
                    <a:pt x="374" y="0"/>
                  </a:moveTo>
                  <a:cubicBezTo>
                    <a:pt x="398" y="270"/>
                    <a:pt x="398" y="270"/>
                    <a:pt x="398" y="270"/>
                  </a:cubicBezTo>
                  <a:cubicBezTo>
                    <a:pt x="401" y="286"/>
                    <a:pt x="399" y="304"/>
                    <a:pt x="392" y="322"/>
                  </a:cubicBezTo>
                  <a:cubicBezTo>
                    <a:pt x="385" y="339"/>
                    <a:pt x="373" y="354"/>
                    <a:pt x="359" y="366"/>
                  </a:cubicBezTo>
                  <a:cubicBezTo>
                    <a:pt x="319" y="399"/>
                    <a:pt x="319" y="399"/>
                    <a:pt x="319" y="399"/>
                  </a:cubicBezTo>
                  <a:cubicBezTo>
                    <a:pt x="300" y="414"/>
                    <a:pt x="276" y="425"/>
                    <a:pt x="249" y="430"/>
                  </a:cubicBezTo>
                  <a:cubicBezTo>
                    <a:pt x="222" y="434"/>
                    <a:pt x="196" y="431"/>
                    <a:pt x="173" y="422"/>
                  </a:cubicBezTo>
                  <a:cubicBezTo>
                    <a:pt x="125" y="395"/>
                    <a:pt x="125" y="395"/>
                    <a:pt x="125" y="395"/>
                  </a:cubicBezTo>
                  <a:cubicBezTo>
                    <a:pt x="108" y="389"/>
                    <a:pt x="93" y="379"/>
                    <a:pt x="81" y="365"/>
                  </a:cubicBezTo>
                  <a:cubicBezTo>
                    <a:pt x="73" y="355"/>
                    <a:pt x="67" y="345"/>
                    <a:pt x="63" y="334"/>
                  </a:cubicBezTo>
                  <a:cubicBezTo>
                    <a:pt x="0" y="46"/>
                    <a:pt x="0" y="46"/>
                    <a:pt x="0" y="46"/>
                  </a:cubicBezTo>
                  <a:lnTo>
                    <a:pt x="374" y="0"/>
                  </a:lnTo>
                  <a:close/>
                </a:path>
              </a:pathLst>
            </a:custGeom>
            <a:solidFill>
              <a:srgbClr val="FFB28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iṣlïḋè">
              <a:extLst>
                <a:ext uri="{FF2B5EF4-FFF2-40B4-BE49-F238E27FC236}">
                  <a16:creationId xmlns:a16="http://schemas.microsoft.com/office/drawing/2014/main" id="{A8AECB0C-24E1-A445-9F57-A20C140BD5FF}"/>
                </a:ext>
              </a:extLst>
            </p:cNvPr>
            <p:cNvSpPr/>
            <p:nvPr/>
          </p:nvSpPr>
          <p:spPr bwMode="auto">
            <a:xfrm>
              <a:off x="6002338" y="1844675"/>
              <a:ext cx="98425" cy="63500"/>
            </a:xfrm>
            <a:custGeom>
              <a:avLst/>
              <a:gdLst>
                <a:gd name="T0" fmla="*/ 63 w 63"/>
                <a:gd name="T1" fmla="*/ 0 h 41"/>
                <a:gd name="T2" fmla="*/ 0 w 63"/>
                <a:gd name="T3" fmla="*/ 10 h 41"/>
                <a:gd name="T4" fmla="*/ 63 w 63"/>
                <a:gd name="T5" fmla="*/ 0 h 41"/>
              </a:gdLst>
              <a:ahLst/>
              <a:cxnLst>
                <a:cxn ang="0">
                  <a:pos x="T0" y="T1"/>
                </a:cxn>
                <a:cxn ang="0">
                  <a:pos x="T2" y="T3"/>
                </a:cxn>
                <a:cxn ang="0">
                  <a:pos x="T4" y="T5"/>
                </a:cxn>
              </a:cxnLst>
              <a:rect l="0" t="0" r="r" b="b"/>
              <a:pathLst>
                <a:path w="63" h="41">
                  <a:moveTo>
                    <a:pt x="63" y="0"/>
                  </a:moveTo>
                  <a:cubicBezTo>
                    <a:pt x="63" y="0"/>
                    <a:pt x="43" y="41"/>
                    <a:pt x="0" y="10"/>
                  </a:cubicBezTo>
                  <a:lnTo>
                    <a:pt x="63" y="0"/>
                  </a:lnTo>
                  <a:close/>
                </a:path>
              </a:pathLst>
            </a:custGeom>
            <a:solidFill>
              <a:srgbClr val="F4896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ïsḻïḑé">
              <a:extLst>
                <a:ext uri="{FF2B5EF4-FFF2-40B4-BE49-F238E27FC236}">
                  <a16:creationId xmlns:a16="http://schemas.microsoft.com/office/drawing/2014/main" id="{D2A4B44F-9052-484E-B239-C4395D14784A}"/>
                </a:ext>
              </a:extLst>
            </p:cNvPr>
            <p:cNvSpPr/>
            <p:nvPr/>
          </p:nvSpPr>
          <p:spPr bwMode="auto">
            <a:xfrm>
              <a:off x="5981700" y="1955800"/>
              <a:ext cx="187325" cy="111125"/>
            </a:xfrm>
            <a:custGeom>
              <a:avLst/>
              <a:gdLst>
                <a:gd name="T0" fmla="*/ 0 w 119"/>
                <a:gd name="T1" fmla="*/ 18 h 71"/>
                <a:gd name="T2" fmla="*/ 66 w 119"/>
                <a:gd name="T3" fmla="*/ 66 h 71"/>
                <a:gd name="T4" fmla="*/ 114 w 119"/>
                <a:gd name="T5" fmla="*/ 0 h 71"/>
                <a:gd name="T6" fmla="*/ 0 w 119"/>
                <a:gd name="T7" fmla="*/ 18 h 71"/>
              </a:gdLst>
              <a:ahLst/>
              <a:cxnLst>
                <a:cxn ang="0">
                  <a:pos x="T0" y="T1"/>
                </a:cxn>
                <a:cxn ang="0">
                  <a:pos x="T2" y="T3"/>
                </a:cxn>
                <a:cxn ang="0">
                  <a:pos x="T4" y="T5"/>
                </a:cxn>
                <a:cxn ang="0">
                  <a:pos x="T6" y="T7"/>
                </a:cxn>
              </a:cxnLst>
              <a:rect l="0" t="0" r="r" b="b"/>
              <a:pathLst>
                <a:path w="119" h="71">
                  <a:moveTo>
                    <a:pt x="0" y="18"/>
                  </a:moveTo>
                  <a:cubicBezTo>
                    <a:pt x="5" y="49"/>
                    <a:pt x="35" y="71"/>
                    <a:pt x="66" y="66"/>
                  </a:cubicBezTo>
                  <a:cubicBezTo>
                    <a:pt x="98" y="61"/>
                    <a:pt x="119" y="31"/>
                    <a:pt x="114" y="0"/>
                  </a:cubicBezTo>
                  <a:lnTo>
                    <a:pt x="0"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ïṣḻíḓe">
              <a:extLst>
                <a:ext uri="{FF2B5EF4-FFF2-40B4-BE49-F238E27FC236}">
                  <a16:creationId xmlns:a16="http://schemas.microsoft.com/office/drawing/2014/main" id="{2AD1A900-8951-E044-8E78-53E535015837}"/>
                </a:ext>
              </a:extLst>
            </p:cNvPr>
            <p:cNvSpPr/>
            <p:nvPr/>
          </p:nvSpPr>
          <p:spPr bwMode="auto">
            <a:xfrm>
              <a:off x="5561013" y="3454400"/>
              <a:ext cx="512762" cy="296862"/>
            </a:xfrm>
            <a:custGeom>
              <a:avLst/>
              <a:gdLst>
                <a:gd name="T0" fmla="*/ 242 w 323"/>
                <a:gd name="T1" fmla="*/ 83 h 187"/>
                <a:gd name="T2" fmla="*/ 229 w 323"/>
                <a:gd name="T3" fmla="*/ 187 h 187"/>
                <a:gd name="T4" fmla="*/ 50 w 323"/>
                <a:gd name="T5" fmla="*/ 187 h 187"/>
                <a:gd name="T6" fmla="*/ 2 w 323"/>
                <a:gd name="T7" fmla="*/ 109 h 187"/>
                <a:gd name="T8" fmla="*/ 0 w 323"/>
                <a:gd name="T9" fmla="*/ 0 h 187"/>
                <a:gd name="T10" fmla="*/ 323 w 323"/>
                <a:gd name="T11" fmla="*/ 16 h 187"/>
                <a:gd name="T12" fmla="*/ 242 w 323"/>
                <a:gd name="T13" fmla="*/ 83 h 187"/>
              </a:gdLst>
              <a:ahLst/>
              <a:cxnLst>
                <a:cxn ang="0">
                  <a:pos x="T0" y="T1"/>
                </a:cxn>
                <a:cxn ang="0">
                  <a:pos x="T2" y="T3"/>
                </a:cxn>
                <a:cxn ang="0">
                  <a:pos x="T4" y="T5"/>
                </a:cxn>
                <a:cxn ang="0">
                  <a:pos x="T6" y="T7"/>
                </a:cxn>
                <a:cxn ang="0">
                  <a:pos x="T8" y="T9"/>
                </a:cxn>
                <a:cxn ang="0">
                  <a:pos x="T10" y="T11"/>
                </a:cxn>
                <a:cxn ang="0">
                  <a:pos x="T12" y="T13"/>
                </a:cxn>
              </a:cxnLst>
              <a:rect l="0" t="0" r="r" b="b"/>
              <a:pathLst>
                <a:path w="323" h="187">
                  <a:moveTo>
                    <a:pt x="242" y="83"/>
                  </a:moveTo>
                  <a:lnTo>
                    <a:pt x="229" y="187"/>
                  </a:lnTo>
                  <a:lnTo>
                    <a:pt x="50" y="187"/>
                  </a:lnTo>
                  <a:lnTo>
                    <a:pt x="2" y="109"/>
                  </a:lnTo>
                  <a:lnTo>
                    <a:pt x="0" y="0"/>
                  </a:lnTo>
                  <a:lnTo>
                    <a:pt x="323" y="16"/>
                  </a:lnTo>
                  <a:lnTo>
                    <a:pt x="242" y="83"/>
                  </a:lnTo>
                  <a:close/>
                </a:path>
              </a:pathLst>
            </a:custGeom>
            <a:solidFill>
              <a:srgbClr val="C6392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ïśľîḑè">
              <a:extLst>
                <a:ext uri="{FF2B5EF4-FFF2-40B4-BE49-F238E27FC236}">
                  <a16:creationId xmlns:a16="http://schemas.microsoft.com/office/drawing/2014/main" id="{9F546664-BA3B-7347-8172-5A4E0486649B}"/>
                </a:ext>
              </a:extLst>
            </p:cNvPr>
            <p:cNvSpPr/>
            <p:nvPr/>
          </p:nvSpPr>
          <p:spPr bwMode="auto">
            <a:xfrm>
              <a:off x="5561013" y="3454400"/>
              <a:ext cx="512762" cy="296862"/>
            </a:xfrm>
            <a:custGeom>
              <a:avLst/>
              <a:gdLst>
                <a:gd name="T0" fmla="*/ 242 w 323"/>
                <a:gd name="T1" fmla="*/ 83 h 187"/>
                <a:gd name="T2" fmla="*/ 229 w 323"/>
                <a:gd name="T3" fmla="*/ 187 h 187"/>
                <a:gd name="T4" fmla="*/ 50 w 323"/>
                <a:gd name="T5" fmla="*/ 187 h 187"/>
                <a:gd name="T6" fmla="*/ 2 w 323"/>
                <a:gd name="T7" fmla="*/ 109 h 187"/>
                <a:gd name="T8" fmla="*/ 0 w 323"/>
                <a:gd name="T9" fmla="*/ 0 h 187"/>
                <a:gd name="T10" fmla="*/ 323 w 323"/>
                <a:gd name="T11" fmla="*/ 16 h 187"/>
                <a:gd name="T12" fmla="*/ 242 w 323"/>
                <a:gd name="T13" fmla="*/ 83 h 187"/>
              </a:gdLst>
              <a:ahLst/>
              <a:cxnLst>
                <a:cxn ang="0">
                  <a:pos x="T0" y="T1"/>
                </a:cxn>
                <a:cxn ang="0">
                  <a:pos x="T2" y="T3"/>
                </a:cxn>
                <a:cxn ang="0">
                  <a:pos x="T4" y="T5"/>
                </a:cxn>
                <a:cxn ang="0">
                  <a:pos x="T6" y="T7"/>
                </a:cxn>
                <a:cxn ang="0">
                  <a:pos x="T8" y="T9"/>
                </a:cxn>
                <a:cxn ang="0">
                  <a:pos x="T10" y="T11"/>
                </a:cxn>
                <a:cxn ang="0">
                  <a:pos x="T12" y="T13"/>
                </a:cxn>
              </a:cxnLst>
              <a:rect l="0" t="0" r="r" b="b"/>
              <a:pathLst>
                <a:path w="323" h="187">
                  <a:moveTo>
                    <a:pt x="242" y="83"/>
                  </a:moveTo>
                  <a:lnTo>
                    <a:pt x="229" y="187"/>
                  </a:lnTo>
                  <a:lnTo>
                    <a:pt x="50" y="187"/>
                  </a:lnTo>
                  <a:lnTo>
                    <a:pt x="2" y="109"/>
                  </a:lnTo>
                  <a:lnTo>
                    <a:pt x="0" y="0"/>
                  </a:lnTo>
                  <a:lnTo>
                    <a:pt x="323" y="16"/>
                  </a:lnTo>
                  <a:lnTo>
                    <a:pt x="242" y="8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ïŝḻîdê">
              <a:extLst>
                <a:ext uri="{FF2B5EF4-FFF2-40B4-BE49-F238E27FC236}">
                  <a16:creationId xmlns:a16="http://schemas.microsoft.com/office/drawing/2014/main" id="{8E2A22D5-E9B0-CA4D-B9CA-2AA56CD0C078}"/>
                </a:ext>
              </a:extLst>
            </p:cNvPr>
            <p:cNvSpPr/>
            <p:nvPr/>
          </p:nvSpPr>
          <p:spPr bwMode="auto">
            <a:xfrm>
              <a:off x="5499100" y="2635250"/>
              <a:ext cx="168275" cy="303212"/>
            </a:xfrm>
            <a:custGeom>
              <a:avLst/>
              <a:gdLst>
                <a:gd name="T0" fmla="*/ 5 w 106"/>
                <a:gd name="T1" fmla="*/ 185 h 193"/>
                <a:gd name="T2" fmla="*/ 5 w 106"/>
                <a:gd name="T3" fmla="*/ 190 h 193"/>
                <a:gd name="T4" fmla="*/ 5 w 106"/>
                <a:gd name="T5" fmla="*/ 193 h 193"/>
                <a:gd name="T6" fmla="*/ 22 w 106"/>
                <a:gd name="T7" fmla="*/ 148 h 193"/>
                <a:gd name="T8" fmla="*/ 22 w 106"/>
                <a:gd name="T9" fmla="*/ 148 h 193"/>
                <a:gd name="T10" fmla="*/ 78 w 106"/>
                <a:gd name="T11" fmla="*/ 42 h 193"/>
                <a:gd name="T12" fmla="*/ 106 w 106"/>
                <a:gd name="T13" fmla="*/ 0 h 193"/>
                <a:gd name="T14" fmla="*/ 5 w 106"/>
                <a:gd name="T15" fmla="*/ 185 h 1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193">
                  <a:moveTo>
                    <a:pt x="5" y="185"/>
                  </a:moveTo>
                  <a:cubicBezTo>
                    <a:pt x="5" y="186"/>
                    <a:pt x="5" y="188"/>
                    <a:pt x="5" y="190"/>
                  </a:cubicBezTo>
                  <a:cubicBezTo>
                    <a:pt x="5" y="191"/>
                    <a:pt x="5" y="192"/>
                    <a:pt x="5" y="193"/>
                  </a:cubicBezTo>
                  <a:cubicBezTo>
                    <a:pt x="10" y="178"/>
                    <a:pt x="16" y="163"/>
                    <a:pt x="22" y="148"/>
                  </a:cubicBezTo>
                  <a:cubicBezTo>
                    <a:pt x="22" y="148"/>
                    <a:pt x="22" y="148"/>
                    <a:pt x="22" y="148"/>
                  </a:cubicBezTo>
                  <a:cubicBezTo>
                    <a:pt x="28" y="108"/>
                    <a:pt x="48" y="70"/>
                    <a:pt x="78" y="42"/>
                  </a:cubicBezTo>
                  <a:cubicBezTo>
                    <a:pt x="88" y="27"/>
                    <a:pt x="97" y="13"/>
                    <a:pt x="106" y="0"/>
                  </a:cubicBezTo>
                  <a:cubicBezTo>
                    <a:pt x="49" y="21"/>
                    <a:pt x="0" y="71"/>
                    <a:pt x="5" y="185"/>
                  </a:cubicBezTo>
                  <a:close/>
                </a:path>
              </a:pathLst>
            </a:custGeom>
            <a:solidFill>
              <a:srgbClr val="FF62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iŝ1îḓè">
              <a:extLst>
                <a:ext uri="{FF2B5EF4-FFF2-40B4-BE49-F238E27FC236}">
                  <a16:creationId xmlns:a16="http://schemas.microsoft.com/office/drawing/2014/main" id="{31187A13-7CF0-7044-8C35-515CF974BB47}"/>
                </a:ext>
              </a:extLst>
            </p:cNvPr>
            <p:cNvSpPr/>
            <p:nvPr/>
          </p:nvSpPr>
          <p:spPr bwMode="auto">
            <a:xfrm>
              <a:off x="5230813" y="2368550"/>
              <a:ext cx="523875" cy="860425"/>
            </a:xfrm>
            <a:custGeom>
              <a:avLst/>
              <a:gdLst>
                <a:gd name="T0" fmla="*/ 157 w 333"/>
                <a:gd name="T1" fmla="*/ 469 h 547"/>
                <a:gd name="T2" fmla="*/ 176 w 333"/>
                <a:gd name="T3" fmla="*/ 362 h 547"/>
                <a:gd name="T4" fmla="*/ 176 w 333"/>
                <a:gd name="T5" fmla="*/ 359 h 547"/>
                <a:gd name="T6" fmla="*/ 176 w 333"/>
                <a:gd name="T7" fmla="*/ 354 h 547"/>
                <a:gd name="T8" fmla="*/ 275 w 333"/>
                <a:gd name="T9" fmla="*/ 170 h 547"/>
                <a:gd name="T10" fmla="*/ 277 w 333"/>
                <a:gd name="T11" fmla="*/ 169 h 547"/>
                <a:gd name="T12" fmla="*/ 333 w 333"/>
                <a:gd name="T13" fmla="*/ 97 h 547"/>
                <a:gd name="T14" fmla="*/ 227 w 333"/>
                <a:gd name="T15" fmla="*/ 0 h 547"/>
                <a:gd name="T16" fmla="*/ 110 w 333"/>
                <a:gd name="T17" fmla="*/ 155 h 547"/>
                <a:gd name="T18" fmla="*/ 12 w 333"/>
                <a:gd name="T19" fmla="*/ 494 h 547"/>
                <a:gd name="T20" fmla="*/ 31 w 333"/>
                <a:gd name="T21" fmla="*/ 547 h 547"/>
                <a:gd name="T22" fmla="*/ 157 w 333"/>
                <a:gd name="T23" fmla="*/ 46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3" h="547">
                  <a:moveTo>
                    <a:pt x="157" y="469"/>
                  </a:moveTo>
                  <a:cubicBezTo>
                    <a:pt x="156" y="435"/>
                    <a:pt x="164" y="399"/>
                    <a:pt x="176" y="362"/>
                  </a:cubicBezTo>
                  <a:cubicBezTo>
                    <a:pt x="176" y="361"/>
                    <a:pt x="176" y="360"/>
                    <a:pt x="176" y="359"/>
                  </a:cubicBezTo>
                  <a:cubicBezTo>
                    <a:pt x="176" y="357"/>
                    <a:pt x="176" y="355"/>
                    <a:pt x="176" y="354"/>
                  </a:cubicBezTo>
                  <a:cubicBezTo>
                    <a:pt x="171" y="241"/>
                    <a:pt x="219" y="191"/>
                    <a:pt x="275" y="170"/>
                  </a:cubicBezTo>
                  <a:cubicBezTo>
                    <a:pt x="276" y="170"/>
                    <a:pt x="277" y="170"/>
                    <a:pt x="277" y="169"/>
                  </a:cubicBezTo>
                  <a:cubicBezTo>
                    <a:pt x="298" y="138"/>
                    <a:pt x="319" y="113"/>
                    <a:pt x="333" y="97"/>
                  </a:cubicBezTo>
                  <a:cubicBezTo>
                    <a:pt x="227" y="0"/>
                    <a:pt x="227" y="0"/>
                    <a:pt x="227" y="0"/>
                  </a:cubicBezTo>
                  <a:cubicBezTo>
                    <a:pt x="208" y="18"/>
                    <a:pt x="165" y="66"/>
                    <a:pt x="110" y="155"/>
                  </a:cubicBezTo>
                  <a:cubicBezTo>
                    <a:pt x="33" y="283"/>
                    <a:pt x="0" y="397"/>
                    <a:pt x="12" y="494"/>
                  </a:cubicBezTo>
                  <a:cubicBezTo>
                    <a:pt x="15" y="512"/>
                    <a:pt x="21" y="530"/>
                    <a:pt x="31" y="547"/>
                  </a:cubicBezTo>
                  <a:cubicBezTo>
                    <a:pt x="157" y="469"/>
                    <a:pt x="157" y="469"/>
                    <a:pt x="157" y="469"/>
                  </a:cubicBezTo>
                </a:path>
              </a:pathLst>
            </a:custGeom>
            <a:solidFill>
              <a:srgbClr val="FF62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íşļiḓè">
              <a:extLst>
                <a:ext uri="{FF2B5EF4-FFF2-40B4-BE49-F238E27FC236}">
                  <a16:creationId xmlns:a16="http://schemas.microsoft.com/office/drawing/2014/main" id="{2D808CB8-35ED-BB48-A50C-68EB52DED09E}"/>
                </a:ext>
              </a:extLst>
            </p:cNvPr>
            <p:cNvSpPr/>
            <p:nvPr/>
          </p:nvSpPr>
          <p:spPr bwMode="auto">
            <a:xfrm>
              <a:off x="6126163" y="5872163"/>
              <a:ext cx="623887" cy="193675"/>
            </a:xfrm>
            <a:custGeom>
              <a:avLst/>
              <a:gdLst>
                <a:gd name="T0" fmla="*/ 39 w 396"/>
                <a:gd name="T1" fmla="*/ 0 h 124"/>
                <a:gd name="T2" fmla="*/ 117 w 396"/>
                <a:gd name="T3" fmla="*/ 0 h 124"/>
                <a:gd name="T4" fmla="*/ 161 w 396"/>
                <a:gd name="T5" fmla="*/ 0 h 124"/>
                <a:gd name="T6" fmla="*/ 250 w 396"/>
                <a:gd name="T7" fmla="*/ 36 h 124"/>
                <a:gd name="T8" fmla="*/ 390 w 396"/>
                <a:gd name="T9" fmla="*/ 62 h 124"/>
                <a:gd name="T10" fmla="*/ 396 w 396"/>
                <a:gd name="T11" fmla="*/ 88 h 124"/>
                <a:gd name="T12" fmla="*/ 326 w 396"/>
                <a:gd name="T13" fmla="*/ 124 h 124"/>
                <a:gd name="T14" fmla="*/ 206 w 396"/>
                <a:gd name="T15" fmla="*/ 124 h 124"/>
                <a:gd name="T16" fmla="*/ 162 w 396"/>
                <a:gd name="T17" fmla="*/ 124 h 124"/>
                <a:gd name="T18" fmla="*/ 131 w 396"/>
                <a:gd name="T19" fmla="*/ 90 h 124"/>
                <a:gd name="T20" fmla="*/ 131 w 396"/>
                <a:gd name="T21" fmla="*/ 124 h 124"/>
                <a:gd name="T22" fmla="*/ 39 w 396"/>
                <a:gd name="T23" fmla="*/ 124 h 124"/>
                <a:gd name="T24" fmla="*/ 0 w 396"/>
                <a:gd name="T25" fmla="*/ 62 h 124"/>
                <a:gd name="T26" fmla="*/ 39 w 396"/>
                <a:gd name="T2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6" h="124">
                  <a:moveTo>
                    <a:pt x="39" y="0"/>
                  </a:moveTo>
                  <a:cubicBezTo>
                    <a:pt x="117" y="0"/>
                    <a:pt x="117" y="0"/>
                    <a:pt x="117" y="0"/>
                  </a:cubicBezTo>
                  <a:cubicBezTo>
                    <a:pt x="161" y="0"/>
                    <a:pt x="161" y="0"/>
                    <a:pt x="161" y="0"/>
                  </a:cubicBezTo>
                  <a:cubicBezTo>
                    <a:pt x="165" y="21"/>
                    <a:pt x="227" y="33"/>
                    <a:pt x="250" y="36"/>
                  </a:cubicBezTo>
                  <a:cubicBezTo>
                    <a:pt x="390" y="62"/>
                    <a:pt x="390" y="62"/>
                    <a:pt x="390" y="62"/>
                  </a:cubicBezTo>
                  <a:cubicBezTo>
                    <a:pt x="394" y="70"/>
                    <a:pt x="396" y="79"/>
                    <a:pt x="396" y="88"/>
                  </a:cubicBezTo>
                  <a:cubicBezTo>
                    <a:pt x="396" y="122"/>
                    <a:pt x="360" y="124"/>
                    <a:pt x="326" y="124"/>
                  </a:cubicBezTo>
                  <a:cubicBezTo>
                    <a:pt x="206" y="124"/>
                    <a:pt x="206" y="124"/>
                    <a:pt x="206" y="124"/>
                  </a:cubicBezTo>
                  <a:cubicBezTo>
                    <a:pt x="162" y="124"/>
                    <a:pt x="162" y="124"/>
                    <a:pt x="162" y="124"/>
                  </a:cubicBezTo>
                  <a:cubicBezTo>
                    <a:pt x="131" y="90"/>
                    <a:pt x="131" y="90"/>
                    <a:pt x="131" y="90"/>
                  </a:cubicBezTo>
                  <a:cubicBezTo>
                    <a:pt x="131" y="124"/>
                    <a:pt x="131" y="124"/>
                    <a:pt x="131" y="124"/>
                  </a:cubicBezTo>
                  <a:cubicBezTo>
                    <a:pt x="39" y="124"/>
                    <a:pt x="39" y="124"/>
                    <a:pt x="39" y="124"/>
                  </a:cubicBezTo>
                  <a:cubicBezTo>
                    <a:pt x="5" y="124"/>
                    <a:pt x="0" y="96"/>
                    <a:pt x="0" y="62"/>
                  </a:cubicBezTo>
                  <a:cubicBezTo>
                    <a:pt x="0" y="28"/>
                    <a:pt x="5" y="0"/>
                    <a:pt x="39" y="0"/>
                  </a:cubicBezTo>
                  <a:close/>
                </a:path>
              </a:pathLst>
            </a:custGeom>
            <a:solidFill>
              <a:srgbClr val="4F2F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işļiḑé">
              <a:extLst>
                <a:ext uri="{FF2B5EF4-FFF2-40B4-BE49-F238E27FC236}">
                  <a16:creationId xmlns:a16="http://schemas.microsoft.com/office/drawing/2014/main" id="{F26EB8F7-5C5C-0F4B-AC3D-4D9CD66A3E72}"/>
                </a:ext>
              </a:extLst>
            </p:cNvPr>
            <p:cNvSpPr/>
            <p:nvPr/>
          </p:nvSpPr>
          <p:spPr bwMode="auto">
            <a:xfrm>
              <a:off x="6118225" y="6013450"/>
              <a:ext cx="214312" cy="523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70" name="ïṥlîḑè">
              <a:extLst>
                <a:ext uri="{FF2B5EF4-FFF2-40B4-BE49-F238E27FC236}">
                  <a16:creationId xmlns:a16="http://schemas.microsoft.com/office/drawing/2014/main" id="{F742D0E2-8B12-BA48-8AFB-DB6371C93EF9}"/>
                </a:ext>
              </a:extLst>
            </p:cNvPr>
            <p:cNvSpPr/>
            <p:nvPr/>
          </p:nvSpPr>
          <p:spPr bwMode="auto">
            <a:xfrm>
              <a:off x="6380163" y="6034088"/>
              <a:ext cx="363537"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71" name="iṥ1ïdè">
              <a:extLst>
                <a:ext uri="{FF2B5EF4-FFF2-40B4-BE49-F238E27FC236}">
                  <a16:creationId xmlns:a16="http://schemas.microsoft.com/office/drawing/2014/main" id="{6194128C-E42D-1D4E-B7CE-FE586D2C54D0}"/>
                </a:ext>
              </a:extLst>
            </p:cNvPr>
            <p:cNvSpPr/>
            <p:nvPr/>
          </p:nvSpPr>
          <p:spPr bwMode="auto">
            <a:xfrm>
              <a:off x="6332538" y="6013450"/>
              <a:ext cx="47625" cy="52387"/>
            </a:xfrm>
            <a:custGeom>
              <a:avLst/>
              <a:gdLst>
                <a:gd name="T0" fmla="*/ 30 w 30"/>
                <a:gd name="T1" fmla="*/ 13 h 33"/>
                <a:gd name="T2" fmla="*/ 0 w 30"/>
                <a:gd name="T3" fmla="*/ 0 h 33"/>
                <a:gd name="T4" fmla="*/ 30 w 30"/>
                <a:gd name="T5" fmla="*/ 33 h 33"/>
                <a:gd name="T6" fmla="*/ 30 w 30"/>
                <a:gd name="T7" fmla="*/ 13 h 33"/>
              </a:gdLst>
              <a:ahLst/>
              <a:cxnLst>
                <a:cxn ang="0">
                  <a:pos x="T0" y="T1"/>
                </a:cxn>
                <a:cxn ang="0">
                  <a:pos x="T2" y="T3"/>
                </a:cxn>
                <a:cxn ang="0">
                  <a:pos x="T4" y="T5"/>
                </a:cxn>
                <a:cxn ang="0">
                  <a:pos x="T6" y="T7"/>
                </a:cxn>
              </a:cxnLst>
              <a:rect l="0" t="0" r="r" b="b"/>
              <a:pathLst>
                <a:path w="30" h="33">
                  <a:moveTo>
                    <a:pt x="30" y="13"/>
                  </a:moveTo>
                  <a:lnTo>
                    <a:pt x="0" y="0"/>
                  </a:lnTo>
                  <a:lnTo>
                    <a:pt x="30" y="33"/>
                  </a:lnTo>
                  <a:lnTo>
                    <a:pt x="3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î$1iḓê">
              <a:extLst>
                <a:ext uri="{FF2B5EF4-FFF2-40B4-BE49-F238E27FC236}">
                  <a16:creationId xmlns:a16="http://schemas.microsoft.com/office/drawing/2014/main" id="{6AF14345-AF38-994A-A9A0-0B04EEA25FD3}"/>
                </a:ext>
              </a:extLst>
            </p:cNvPr>
            <p:cNvSpPr/>
            <p:nvPr/>
          </p:nvSpPr>
          <p:spPr bwMode="auto">
            <a:xfrm>
              <a:off x="5681663" y="5872163"/>
              <a:ext cx="622300" cy="198437"/>
            </a:xfrm>
            <a:custGeom>
              <a:avLst/>
              <a:gdLst>
                <a:gd name="T0" fmla="*/ 38 w 395"/>
                <a:gd name="T1" fmla="*/ 0 h 127"/>
                <a:gd name="T2" fmla="*/ 117 w 395"/>
                <a:gd name="T3" fmla="*/ 0 h 127"/>
                <a:gd name="T4" fmla="*/ 160 w 395"/>
                <a:gd name="T5" fmla="*/ 0 h 127"/>
                <a:gd name="T6" fmla="*/ 249 w 395"/>
                <a:gd name="T7" fmla="*/ 36 h 127"/>
                <a:gd name="T8" fmla="*/ 390 w 395"/>
                <a:gd name="T9" fmla="*/ 62 h 127"/>
                <a:gd name="T10" fmla="*/ 395 w 395"/>
                <a:gd name="T11" fmla="*/ 88 h 127"/>
                <a:gd name="T12" fmla="*/ 325 w 395"/>
                <a:gd name="T13" fmla="*/ 124 h 127"/>
                <a:gd name="T14" fmla="*/ 205 w 395"/>
                <a:gd name="T15" fmla="*/ 124 h 127"/>
                <a:gd name="T16" fmla="*/ 161 w 395"/>
                <a:gd name="T17" fmla="*/ 124 h 127"/>
                <a:gd name="T18" fmla="*/ 130 w 395"/>
                <a:gd name="T19" fmla="*/ 90 h 127"/>
                <a:gd name="T20" fmla="*/ 130 w 395"/>
                <a:gd name="T21" fmla="*/ 124 h 127"/>
                <a:gd name="T22" fmla="*/ 38 w 395"/>
                <a:gd name="T23" fmla="*/ 124 h 127"/>
                <a:gd name="T24" fmla="*/ 0 w 395"/>
                <a:gd name="T25" fmla="*/ 92 h 127"/>
                <a:gd name="T26" fmla="*/ 38 w 395"/>
                <a:gd name="T27"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5" h="127">
                  <a:moveTo>
                    <a:pt x="38" y="0"/>
                  </a:moveTo>
                  <a:cubicBezTo>
                    <a:pt x="117" y="0"/>
                    <a:pt x="117" y="0"/>
                    <a:pt x="117" y="0"/>
                  </a:cubicBezTo>
                  <a:cubicBezTo>
                    <a:pt x="160" y="0"/>
                    <a:pt x="160" y="0"/>
                    <a:pt x="160" y="0"/>
                  </a:cubicBezTo>
                  <a:cubicBezTo>
                    <a:pt x="165" y="21"/>
                    <a:pt x="226" y="33"/>
                    <a:pt x="249" y="36"/>
                  </a:cubicBezTo>
                  <a:cubicBezTo>
                    <a:pt x="390" y="62"/>
                    <a:pt x="390" y="62"/>
                    <a:pt x="390" y="62"/>
                  </a:cubicBezTo>
                  <a:cubicBezTo>
                    <a:pt x="393" y="70"/>
                    <a:pt x="395" y="79"/>
                    <a:pt x="395" y="88"/>
                  </a:cubicBezTo>
                  <a:cubicBezTo>
                    <a:pt x="395" y="122"/>
                    <a:pt x="360" y="124"/>
                    <a:pt x="325" y="124"/>
                  </a:cubicBezTo>
                  <a:cubicBezTo>
                    <a:pt x="205" y="124"/>
                    <a:pt x="205" y="124"/>
                    <a:pt x="205" y="124"/>
                  </a:cubicBezTo>
                  <a:cubicBezTo>
                    <a:pt x="161" y="124"/>
                    <a:pt x="161" y="124"/>
                    <a:pt x="161" y="124"/>
                  </a:cubicBezTo>
                  <a:cubicBezTo>
                    <a:pt x="130" y="90"/>
                    <a:pt x="130" y="90"/>
                    <a:pt x="130" y="90"/>
                  </a:cubicBezTo>
                  <a:cubicBezTo>
                    <a:pt x="130" y="124"/>
                    <a:pt x="130" y="124"/>
                    <a:pt x="130" y="124"/>
                  </a:cubicBezTo>
                  <a:cubicBezTo>
                    <a:pt x="38" y="124"/>
                    <a:pt x="38" y="124"/>
                    <a:pt x="38" y="124"/>
                  </a:cubicBezTo>
                  <a:cubicBezTo>
                    <a:pt x="4" y="124"/>
                    <a:pt x="0" y="127"/>
                    <a:pt x="0" y="92"/>
                  </a:cubicBezTo>
                  <a:cubicBezTo>
                    <a:pt x="0" y="58"/>
                    <a:pt x="4" y="0"/>
                    <a:pt x="38" y="0"/>
                  </a:cubicBezTo>
                  <a:close/>
                </a:path>
              </a:pathLst>
            </a:custGeom>
            <a:solidFill>
              <a:srgbClr val="4F2F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í$ḻîdê">
              <a:extLst>
                <a:ext uri="{FF2B5EF4-FFF2-40B4-BE49-F238E27FC236}">
                  <a16:creationId xmlns:a16="http://schemas.microsoft.com/office/drawing/2014/main" id="{F5EBE622-246A-954E-8F69-10F4CBABA8EC}"/>
                </a:ext>
              </a:extLst>
            </p:cNvPr>
            <p:cNvSpPr/>
            <p:nvPr/>
          </p:nvSpPr>
          <p:spPr bwMode="auto">
            <a:xfrm>
              <a:off x="5673725" y="6013450"/>
              <a:ext cx="212725" cy="523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74" name="íŝļïḍé">
              <a:extLst>
                <a:ext uri="{FF2B5EF4-FFF2-40B4-BE49-F238E27FC236}">
                  <a16:creationId xmlns:a16="http://schemas.microsoft.com/office/drawing/2014/main" id="{A0833D8D-6F14-B543-9395-F0F5005B2C78}"/>
                </a:ext>
              </a:extLst>
            </p:cNvPr>
            <p:cNvSpPr/>
            <p:nvPr/>
          </p:nvSpPr>
          <p:spPr bwMode="auto">
            <a:xfrm>
              <a:off x="5934075" y="6034088"/>
              <a:ext cx="365125"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75" name="ïṧ1iḑé">
              <a:extLst>
                <a:ext uri="{FF2B5EF4-FFF2-40B4-BE49-F238E27FC236}">
                  <a16:creationId xmlns:a16="http://schemas.microsoft.com/office/drawing/2014/main" id="{B4297AAC-491E-5647-BBE4-21E247BD238E}"/>
                </a:ext>
              </a:extLst>
            </p:cNvPr>
            <p:cNvSpPr/>
            <p:nvPr/>
          </p:nvSpPr>
          <p:spPr bwMode="auto">
            <a:xfrm>
              <a:off x="5886450" y="6013450"/>
              <a:ext cx="47625" cy="52387"/>
            </a:xfrm>
            <a:custGeom>
              <a:avLst/>
              <a:gdLst>
                <a:gd name="T0" fmla="*/ 30 w 30"/>
                <a:gd name="T1" fmla="*/ 13 h 33"/>
                <a:gd name="T2" fmla="*/ 0 w 30"/>
                <a:gd name="T3" fmla="*/ 0 h 33"/>
                <a:gd name="T4" fmla="*/ 30 w 30"/>
                <a:gd name="T5" fmla="*/ 33 h 33"/>
                <a:gd name="T6" fmla="*/ 30 w 30"/>
                <a:gd name="T7" fmla="*/ 13 h 33"/>
              </a:gdLst>
              <a:ahLst/>
              <a:cxnLst>
                <a:cxn ang="0">
                  <a:pos x="T0" y="T1"/>
                </a:cxn>
                <a:cxn ang="0">
                  <a:pos x="T2" y="T3"/>
                </a:cxn>
                <a:cxn ang="0">
                  <a:pos x="T4" y="T5"/>
                </a:cxn>
                <a:cxn ang="0">
                  <a:pos x="T6" y="T7"/>
                </a:cxn>
              </a:cxnLst>
              <a:rect l="0" t="0" r="r" b="b"/>
              <a:pathLst>
                <a:path w="30" h="33">
                  <a:moveTo>
                    <a:pt x="30" y="13"/>
                  </a:moveTo>
                  <a:lnTo>
                    <a:pt x="0" y="0"/>
                  </a:lnTo>
                  <a:lnTo>
                    <a:pt x="30" y="33"/>
                  </a:lnTo>
                  <a:lnTo>
                    <a:pt x="3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îṡ1îḑe">
              <a:extLst>
                <a:ext uri="{FF2B5EF4-FFF2-40B4-BE49-F238E27FC236}">
                  <a16:creationId xmlns:a16="http://schemas.microsoft.com/office/drawing/2014/main" id="{25F611BB-F16C-F241-A4B1-241B2FC0DEE9}"/>
                </a:ext>
              </a:extLst>
            </p:cNvPr>
            <p:cNvSpPr/>
            <p:nvPr/>
          </p:nvSpPr>
          <p:spPr bwMode="auto">
            <a:xfrm>
              <a:off x="5257800" y="5140325"/>
              <a:ext cx="349250" cy="193675"/>
            </a:xfrm>
            <a:custGeom>
              <a:avLst/>
              <a:gdLst>
                <a:gd name="T0" fmla="*/ 0 w 222"/>
                <a:gd name="T1" fmla="*/ 105 h 123"/>
                <a:gd name="T2" fmla="*/ 19 w 222"/>
                <a:gd name="T3" fmla="*/ 123 h 123"/>
                <a:gd name="T4" fmla="*/ 37 w 222"/>
                <a:gd name="T5" fmla="*/ 105 h 123"/>
                <a:gd name="T6" fmla="*/ 105 w 222"/>
                <a:gd name="T7" fmla="*/ 37 h 123"/>
                <a:gd name="T8" fmla="*/ 117 w 222"/>
                <a:gd name="T9" fmla="*/ 37 h 123"/>
                <a:gd name="T10" fmla="*/ 185 w 222"/>
                <a:gd name="T11" fmla="*/ 105 h 123"/>
                <a:gd name="T12" fmla="*/ 203 w 222"/>
                <a:gd name="T13" fmla="*/ 123 h 123"/>
                <a:gd name="T14" fmla="*/ 219 w 222"/>
                <a:gd name="T15" fmla="*/ 114 h 123"/>
                <a:gd name="T16" fmla="*/ 222 w 222"/>
                <a:gd name="T17" fmla="*/ 105 h 123"/>
                <a:gd name="T18" fmla="*/ 117 w 222"/>
                <a:gd name="T19" fmla="*/ 0 h 123"/>
                <a:gd name="T20" fmla="*/ 105 w 222"/>
                <a:gd name="T21" fmla="*/ 0 h 123"/>
                <a:gd name="T22" fmla="*/ 0 w 222"/>
                <a:gd name="T23" fmla="*/ 105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2" h="123">
                  <a:moveTo>
                    <a:pt x="0" y="105"/>
                  </a:moveTo>
                  <a:cubicBezTo>
                    <a:pt x="0" y="115"/>
                    <a:pt x="8" y="123"/>
                    <a:pt x="19" y="123"/>
                  </a:cubicBezTo>
                  <a:cubicBezTo>
                    <a:pt x="29" y="123"/>
                    <a:pt x="37" y="115"/>
                    <a:pt x="37" y="105"/>
                  </a:cubicBezTo>
                  <a:cubicBezTo>
                    <a:pt x="37" y="67"/>
                    <a:pt x="67" y="37"/>
                    <a:pt x="105" y="37"/>
                  </a:cubicBezTo>
                  <a:cubicBezTo>
                    <a:pt x="117" y="37"/>
                    <a:pt x="117" y="37"/>
                    <a:pt x="117" y="37"/>
                  </a:cubicBezTo>
                  <a:cubicBezTo>
                    <a:pt x="154" y="37"/>
                    <a:pt x="185" y="67"/>
                    <a:pt x="185" y="105"/>
                  </a:cubicBezTo>
                  <a:cubicBezTo>
                    <a:pt x="185" y="115"/>
                    <a:pt x="193" y="123"/>
                    <a:pt x="203" y="123"/>
                  </a:cubicBezTo>
                  <a:cubicBezTo>
                    <a:pt x="210" y="123"/>
                    <a:pt x="216" y="120"/>
                    <a:pt x="219" y="114"/>
                  </a:cubicBezTo>
                  <a:cubicBezTo>
                    <a:pt x="221" y="111"/>
                    <a:pt x="222" y="108"/>
                    <a:pt x="222" y="105"/>
                  </a:cubicBezTo>
                  <a:cubicBezTo>
                    <a:pt x="222" y="47"/>
                    <a:pt x="175" y="0"/>
                    <a:pt x="117" y="0"/>
                  </a:cubicBezTo>
                  <a:cubicBezTo>
                    <a:pt x="105" y="0"/>
                    <a:pt x="105" y="0"/>
                    <a:pt x="105" y="0"/>
                  </a:cubicBezTo>
                  <a:cubicBezTo>
                    <a:pt x="47" y="0"/>
                    <a:pt x="0" y="47"/>
                    <a:pt x="0" y="105"/>
                  </a:cubicBezTo>
                  <a:close/>
                </a:path>
              </a:pathLst>
            </a:custGeom>
            <a:solidFill>
              <a:srgbClr val="442E2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íśḻiḑé">
              <a:extLst>
                <a:ext uri="{FF2B5EF4-FFF2-40B4-BE49-F238E27FC236}">
                  <a16:creationId xmlns:a16="http://schemas.microsoft.com/office/drawing/2014/main" id="{D887E95F-786A-A245-996D-E135E7CDED4E}"/>
                </a:ext>
              </a:extLst>
            </p:cNvPr>
            <p:cNvSpPr/>
            <p:nvPr/>
          </p:nvSpPr>
          <p:spPr bwMode="auto">
            <a:xfrm>
              <a:off x="4989513" y="5305425"/>
              <a:ext cx="730250" cy="292100"/>
            </a:xfrm>
            <a:custGeom>
              <a:avLst/>
              <a:gdLst>
                <a:gd name="T0" fmla="*/ 0 w 464"/>
                <a:gd name="T1" fmla="*/ 62 h 186"/>
                <a:gd name="T2" fmla="*/ 18 w 464"/>
                <a:gd name="T3" fmla="*/ 18 h 186"/>
                <a:gd name="T4" fmla="*/ 62 w 464"/>
                <a:gd name="T5" fmla="*/ 0 h 186"/>
                <a:gd name="T6" fmla="*/ 464 w 464"/>
                <a:gd name="T7" fmla="*/ 0 h 186"/>
                <a:gd name="T8" fmla="*/ 464 w 464"/>
                <a:gd name="T9" fmla="*/ 186 h 186"/>
                <a:gd name="T10" fmla="*/ 0 w 464"/>
                <a:gd name="T11" fmla="*/ 186 h 186"/>
                <a:gd name="T12" fmla="*/ 0 w 464"/>
                <a:gd name="T13" fmla="*/ 62 h 186"/>
              </a:gdLst>
              <a:ahLst/>
              <a:cxnLst>
                <a:cxn ang="0">
                  <a:pos x="T0" y="T1"/>
                </a:cxn>
                <a:cxn ang="0">
                  <a:pos x="T2" y="T3"/>
                </a:cxn>
                <a:cxn ang="0">
                  <a:pos x="T4" y="T5"/>
                </a:cxn>
                <a:cxn ang="0">
                  <a:pos x="T6" y="T7"/>
                </a:cxn>
                <a:cxn ang="0">
                  <a:pos x="T8" y="T9"/>
                </a:cxn>
                <a:cxn ang="0">
                  <a:pos x="T10" y="T11"/>
                </a:cxn>
                <a:cxn ang="0">
                  <a:pos x="T12" y="T13"/>
                </a:cxn>
              </a:cxnLst>
              <a:rect l="0" t="0" r="r" b="b"/>
              <a:pathLst>
                <a:path w="464" h="186">
                  <a:moveTo>
                    <a:pt x="0" y="62"/>
                  </a:moveTo>
                  <a:cubicBezTo>
                    <a:pt x="0" y="45"/>
                    <a:pt x="7" y="29"/>
                    <a:pt x="18" y="18"/>
                  </a:cubicBezTo>
                  <a:cubicBezTo>
                    <a:pt x="30" y="7"/>
                    <a:pt x="45" y="0"/>
                    <a:pt x="62" y="0"/>
                  </a:cubicBezTo>
                  <a:cubicBezTo>
                    <a:pt x="464" y="0"/>
                    <a:pt x="464" y="0"/>
                    <a:pt x="464" y="0"/>
                  </a:cubicBezTo>
                  <a:cubicBezTo>
                    <a:pt x="464" y="186"/>
                    <a:pt x="464" y="186"/>
                    <a:pt x="464" y="186"/>
                  </a:cubicBezTo>
                  <a:cubicBezTo>
                    <a:pt x="0" y="186"/>
                    <a:pt x="0" y="186"/>
                    <a:pt x="0" y="186"/>
                  </a:cubicBezTo>
                  <a:lnTo>
                    <a:pt x="0" y="62"/>
                  </a:lnTo>
                  <a:close/>
                </a:path>
              </a:pathLst>
            </a:custGeom>
            <a:solidFill>
              <a:srgbClr val="612F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íšlîḑè">
              <a:extLst>
                <a:ext uri="{FF2B5EF4-FFF2-40B4-BE49-F238E27FC236}">
                  <a16:creationId xmlns:a16="http://schemas.microsoft.com/office/drawing/2014/main" id="{77D40F28-4E6B-4C40-9ED3-23868C9B3516}"/>
                </a:ext>
              </a:extLst>
            </p:cNvPr>
            <p:cNvSpPr/>
            <p:nvPr/>
          </p:nvSpPr>
          <p:spPr bwMode="auto">
            <a:xfrm>
              <a:off x="5010150" y="5597525"/>
              <a:ext cx="709612" cy="484187"/>
            </a:xfrm>
            <a:custGeom>
              <a:avLst/>
              <a:gdLst>
                <a:gd name="T0" fmla="*/ 451 w 451"/>
                <a:gd name="T1" fmla="*/ 0 h 308"/>
                <a:gd name="T2" fmla="*/ 451 w 451"/>
                <a:gd name="T3" fmla="*/ 308 h 308"/>
                <a:gd name="T4" fmla="*/ 61 w 451"/>
                <a:gd name="T5" fmla="*/ 308 h 308"/>
                <a:gd name="T6" fmla="*/ 0 w 451"/>
                <a:gd name="T7" fmla="*/ 246 h 308"/>
                <a:gd name="T8" fmla="*/ 0 w 451"/>
                <a:gd name="T9" fmla="*/ 0 h 308"/>
                <a:gd name="T10" fmla="*/ 451 w 451"/>
                <a:gd name="T11" fmla="*/ 0 h 308"/>
              </a:gdLst>
              <a:ahLst/>
              <a:cxnLst>
                <a:cxn ang="0">
                  <a:pos x="T0" y="T1"/>
                </a:cxn>
                <a:cxn ang="0">
                  <a:pos x="T2" y="T3"/>
                </a:cxn>
                <a:cxn ang="0">
                  <a:pos x="T4" y="T5"/>
                </a:cxn>
                <a:cxn ang="0">
                  <a:pos x="T6" y="T7"/>
                </a:cxn>
                <a:cxn ang="0">
                  <a:pos x="T8" y="T9"/>
                </a:cxn>
                <a:cxn ang="0">
                  <a:pos x="T10" y="T11"/>
                </a:cxn>
              </a:cxnLst>
              <a:rect l="0" t="0" r="r" b="b"/>
              <a:pathLst>
                <a:path w="451" h="308">
                  <a:moveTo>
                    <a:pt x="451" y="0"/>
                  </a:moveTo>
                  <a:cubicBezTo>
                    <a:pt x="451" y="308"/>
                    <a:pt x="451" y="308"/>
                    <a:pt x="451" y="308"/>
                  </a:cubicBezTo>
                  <a:cubicBezTo>
                    <a:pt x="61" y="308"/>
                    <a:pt x="61" y="308"/>
                    <a:pt x="61" y="308"/>
                  </a:cubicBezTo>
                  <a:cubicBezTo>
                    <a:pt x="27" y="308"/>
                    <a:pt x="0" y="280"/>
                    <a:pt x="0" y="246"/>
                  </a:cubicBezTo>
                  <a:cubicBezTo>
                    <a:pt x="0" y="0"/>
                    <a:pt x="0" y="0"/>
                    <a:pt x="0" y="0"/>
                  </a:cubicBezTo>
                  <a:lnTo>
                    <a:pt x="451" y="0"/>
                  </a:lnTo>
                  <a:close/>
                </a:path>
              </a:pathLst>
            </a:custGeom>
            <a:solidFill>
              <a:srgbClr val="612F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ïṡľíḋê">
              <a:extLst>
                <a:ext uri="{FF2B5EF4-FFF2-40B4-BE49-F238E27FC236}">
                  <a16:creationId xmlns:a16="http://schemas.microsoft.com/office/drawing/2014/main" id="{A1B75AFF-C08E-254A-80D7-4E9B3A078FBC}"/>
                </a:ext>
              </a:extLst>
            </p:cNvPr>
            <p:cNvSpPr/>
            <p:nvPr/>
          </p:nvSpPr>
          <p:spPr bwMode="auto">
            <a:xfrm>
              <a:off x="5622925" y="5305425"/>
              <a:ext cx="195262" cy="776287"/>
            </a:xfrm>
            <a:custGeom>
              <a:avLst/>
              <a:gdLst>
                <a:gd name="T0" fmla="*/ 124 w 124"/>
                <a:gd name="T1" fmla="*/ 62 h 494"/>
                <a:gd name="T2" fmla="*/ 124 w 124"/>
                <a:gd name="T3" fmla="*/ 432 h 494"/>
                <a:gd name="T4" fmla="*/ 106 w 124"/>
                <a:gd name="T5" fmla="*/ 476 h 494"/>
                <a:gd name="T6" fmla="*/ 62 w 124"/>
                <a:gd name="T7" fmla="*/ 494 h 494"/>
                <a:gd name="T8" fmla="*/ 0 w 124"/>
                <a:gd name="T9" fmla="*/ 432 h 494"/>
                <a:gd name="T10" fmla="*/ 0 w 124"/>
                <a:gd name="T11" fmla="*/ 62 h 494"/>
                <a:gd name="T12" fmla="*/ 18 w 124"/>
                <a:gd name="T13" fmla="*/ 18 h 494"/>
                <a:gd name="T14" fmla="*/ 62 w 124"/>
                <a:gd name="T15" fmla="*/ 0 h 494"/>
                <a:gd name="T16" fmla="*/ 124 w 124"/>
                <a:gd name="T17" fmla="*/ 62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494">
                  <a:moveTo>
                    <a:pt x="124" y="62"/>
                  </a:moveTo>
                  <a:cubicBezTo>
                    <a:pt x="124" y="432"/>
                    <a:pt x="124" y="432"/>
                    <a:pt x="124" y="432"/>
                  </a:cubicBezTo>
                  <a:cubicBezTo>
                    <a:pt x="124" y="449"/>
                    <a:pt x="117" y="465"/>
                    <a:pt x="106" y="476"/>
                  </a:cubicBezTo>
                  <a:cubicBezTo>
                    <a:pt x="95" y="487"/>
                    <a:pt x="79" y="494"/>
                    <a:pt x="62" y="494"/>
                  </a:cubicBezTo>
                  <a:cubicBezTo>
                    <a:pt x="28" y="494"/>
                    <a:pt x="0" y="466"/>
                    <a:pt x="0" y="432"/>
                  </a:cubicBezTo>
                  <a:cubicBezTo>
                    <a:pt x="0" y="62"/>
                    <a:pt x="0" y="62"/>
                    <a:pt x="0" y="62"/>
                  </a:cubicBezTo>
                  <a:cubicBezTo>
                    <a:pt x="0" y="45"/>
                    <a:pt x="7" y="29"/>
                    <a:pt x="18" y="18"/>
                  </a:cubicBezTo>
                  <a:cubicBezTo>
                    <a:pt x="30" y="7"/>
                    <a:pt x="45" y="0"/>
                    <a:pt x="62" y="0"/>
                  </a:cubicBezTo>
                  <a:cubicBezTo>
                    <a:pt x="96" y="0"/>
                    <a:pt x="124" y="27"/>
                    <a:pt x="124" y="62"/>
                  </a:cubicBezTo>
                  <a:close/>
                </a:path>
              </a:pathLst>
            </a:custGeom>
            <a:solidFill>
              <a:srgbClr val="893C3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ï$1îḋe">
              <a:extLst>
                <a:ext uri="{FF2B5EF4-FFF2-40B4-BE49-F238E27FC236}">
                  <a16:creationId xmlns:a16="http://schemas.microsoft.com/office/drawing/2014/main" id="{9D0C8721-49F9-DF45-8D38-A59E5A3B7371}"/>
                </a:ext>
              </a:extLst>
            </p:cNvPr>
            <p:cNvSpPr/>
            <p:nvPr/>
          </p:nvSpPr>
          <p:spPr bwMode="auto">
            <a:xfrm>
              <a:off x="5010150" y="5597525"/>
              <a:ext cx="612775" cy="46037"/>
            </a:xfrm>
            <a:prstGeom prst="rect">
              <a:avLst/>
            </a:prstGeom>
            <a:solidFill>
              <a:srgbClr val="301D1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81" name="íṩļîḍè">
              <a:extLst>
                <a:ext uri="{FF2B5EF4-FFF2-40B4-BE49-F238E27FC236}">
                  <a16:creationId xmlns:a16="http://schemas.microsoft.com/office/drawing/2014/main" id="{A74E44A5-9D22-5941-8611-8047DC4171D6}"/>
                </a:ext>
              </a:extLst>
            </p:cNvPr>
            <p:cNvSpPr/>
            <p:nvPr/>
          </p:nvSpPr>
          <p:spPr bwMode="auto">
            <a:xfrm>
              <a:off x="5303838" y="5565775"/>
              <a:ext cx="71437" cy="98425"/>
            </a:xfrm>
            <a:custGeom>
              <a:avLst/>
              <a:gdLst>
                <a:gd name="T0" fmla="*/ 0 w 45"/>
                <a:gd name="T1" fmla="*/ 41 h 63"/>
                <a:gd name="T2" fmla="*/ 23 w 45"/>
                <a:gd name="T3" fmla="*/ 63 h 63"/>
                <a:gd name="T4" fmla="*/ 45 w 45"/>
                <a:gd name="T5" fmla="*/ 41 h 63"/>
                <a:gd name="T6" fmla="*/ 45 w 45"/>
                <a:gd name="T7" fmla="*/ 23 h 63"/>
                <a:gd name="T8" fmla="*/ 23 w 45"/>
                <a:gd name="T9" fmla="*/ 0 h 63"/>
                <a:gd name="T10" fmla="*/ 0 w 45"/>
                <a:gd name="T11" fmla="*/ 23 h 63"/>
                <a:gd name="T12" fmla="*/ 0 w 45"/>
                <a:gd name="T13" fmla="*/ 41 h 63"/>
              </a:gdLst>
              <a:ahLst/>
              <a:cxnLst>
                <a:cxn ang="0">
                  <a:pos x="T0" y="T1"/>
                </a:cxn>
                <a:cxn ang="0">
                  <a:pos x="T2" y="T3"/>
                </a:cxn>
                <a:cxn ang="0">
                  <a:pos x="T4" y="T5"/>
                </a:cxn>
                <a:cxn ang="0">
                  <a:pos x="T6" y="T7"/>
                </a:cxn>
                <a:cxn ang="0">
                  <a:pos x="T8" y="T9"/>
                </a:cxn>
                <a:cxn ang="0">
                  <a:pos x="T10" y="T11"/>
                </a:cxn>
                <a:cxn ang="0">
                  <a:pos x="T12" y="T13"/>
                </a:cxn>
              </a:cxnLst>
              <a:rect l="0" t="0" r="r" b="b"/>
              <a:pathLst>
                <a:path w="45" h="63">
                  <a:moveTo>
                    <a:pt x="0" y="41"/>
                  </a:moveTo>
                  <a:cubicBezTo>
                    <a:pt x="0" y="53"/>
                    <a:pt x="10" y="63"/>
                    <a:pt x="23" y="63"/>
                  </a:cubicBezTo>
                  <a:cubicBezTo>
                    <a:pt x="35" y="63"/>
                    <a:pt x="45" y="53"/>
                    <a:pt x="45" y="41"/>
                  </a:cubicBezTo>
                  <a:cubicBezTo>
                    <a:pt x="45" y="23"/>
                    <a:pt x="45" y="23"/>
                    <a:pt x="45" y="23"/>
                  </a:cubicBezTo>
                  <a:cubicBezTo>
                    <a:pt x="45" y="11"/>
                    <a:pt x="35" y="0"/>
                    <a:pt x="23" y="0"/>
                  </a:cubicBezTo>
                  <a:cubicBezTo>
                    <a:pt x="10" y="0"/>
                    <a:pt x="0" y="11"/>
                    <a:pt x="0" y="23"/>
                  </a:cubicBezTo>
                  <a:lnTo>
                    <a:pt x="0" y="41"/>
                  </a:lnTo>
                  <a:close/>
                </a:path>
              </a:pathLst>
            </a:custGeom>
            <a:solidFill>
              <a:srgbClr val="C0BC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ïšļîdê">
              <a:extLst>
                <a:ext uri="{FF2B5EF4-FFF2-40B4-BE49-F238E27FC236}">
                  <a16:creationId xmlns:a16="http://schemas.microsoft.com/office/drawing/2014/main" id="{0B536DA8-AA50-3044-8BB0-F9187918BE3E}"/>
                </a:ext>
              </a:extLst>
            </p:cNvPr>
            <p:cNvSpPr/>
            <p:nvPr/>
          </p:nvSpPr>
          <p:spPr bwMode="auto">
            <a:xfrm>
              <a:off x="6027738" y="2444750"/>
              <a:ext cx="141287" cy="173037"/>
            </a:xfrm>
            <a:custGeom>
              <a:avLst/>
              <a:gdLst>
                <a:gd name="T0" fmla="*/ 89 w 89"/>
                <a:gd name="T1" fmla="*/ 0 h 109"/>
                <a:gd name="T2" fmla="*/ 44 w 89"/>
                <a:gd name="T3" fmla="*/ 109 h 109"/>
                <a:gd name="T4" fmla="*/ 0 w 89"/>
                <a:gd name="T5" fmla="*/ 1 h 109"/>
                <a:gd name="T6" fmla="*/ 89 w 89"/>
                <a:gd name="T7" fmla="*/ 0 h 109"/>
              </a:gdLst>
              <a:ahLst/>
              <a:cxnLst>
                <a:cxn ang="0">
                  <a:pos x="T0" y="T1"/>
                </a:cxn>
                <a:cxn ang="0">
                  <a:pos x="T2" y="T3"/>
                </a:cxn>
                <a:cxn ang="0">
                  <a:pos x="T4" y="T5"/>
                </a:cxn>
                <a:cxn ang="0">
                  <a:pos x="T6" y="T7"/>
                </a:cxn>
              </a:cxnLst>
              <a:rect l="0" t="0" r="r" b="b"/>
              <a:pathLst>
                <a:path w="89" h="109">
                  <a:moveTo>
                    <a:pt x="89" y="0"/>
                  </a:moveTo>
                  <a:lnTo>
                    <a:pt x="44" y="109"/>
                  </a:lnTo>
                  <a:lnTo>
                    <a:pt x="0" y="1"/>
                  </a:lnTo>
                  <a:lnTo>
                    <a:pt x="89" y="0"/>
                  </a:lnTo>
                  <a:close/>
                </a:path>
              </a:pathLst>
            </a:custGeom>
            <a:solidFill>
              <a:srgbClr val="F4896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ïś1ïḑé">
              <a:extLst>
                <a:ext uri="{FF2B5EF4-FFF2-40B4-BE49-F238E27FC236}">
                  <a16:creationId xmlns:a16="http://schemas.microsoft.com/office/drawing/2014/main" id="{AAFC8F3E-BDA9-0948-A223-519A821290A6}"/>
                </a:ext>
              </a:extLst>
            </p:cNvPr>
            <p:cNvSpPr/>
            <p:nvPr/>
          </p:nvSpPr>
          <p:spPr bwMode="auto">
            <a:xfrm>
              <a:off x="6097588" y="2287588"/>
              <a:ext cx="206375" cy="330200"/>
            </a:xfrm>
            <a:custGeom>
              <a:avLst/>
              <a:gdLst>
                <a:gd name="T0" fmla="*/ 0 w 131"/>
                <a:gd name="T1" fmla="*/ 210 h 210"/>
                <a:gd name="T2" fmla="*/ 36 w 131"/>
                <a:gd name="T3" fmla="*/ 122 h 210"/>
                <a:gd name="T4" fmla="*/ 100 w 131"/>
                <a:gd name="T5" fmla="*/ 173 h 210"/>
                <a:gd name="T6" fmla="*/ 101 w 131"/>
                <a:gd name="T7" fmla="*/ 3 h 210"/>
                <a:gd name="T8" fmla="*/ 87 w 131"/>
                <a:gd name="T9" fmla="*/ 0 h 210"/>
                <a:gd name="T10" fmla="*/ 80 w 131"/>
                <a:gd name="T11" fmla="*/ 60 h 210"/>
                <a:gd name="T12" fmla="*/ 20 w 131"/>
                <a:gd name="T13" fmla="*/ 78 h 210"/>
                <a:gd name="T14" fmla="*/ 0 w 131"/>
                <a:gd name="T15" fmla="*/ 210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1" h="210">
                  <a:moveTo>
                    <a:pt x="0" y="210"/>
                  </a:moveTo>
                  <a:cubicBezTo>
                    <a:pt x="36" y="122"/>
                    <a:pt x="36" y="122"/>
                    <a:pt x="36" y="122"/>
                  </a:cubicBezTo>
                  <a:cubicBezTo>
                    <a:pt x="100" y="173"/>
                    <a:pt x="100" y="173"/>
                    <a:pt x="100" y="173"/>
                  </a:cubicBezTo>
                  <a:cubicBezTo>
                    <a:pt x="131" y="111"/>
                    <a:pt x="106" y="20"/>
                    <a:pt x="101" y="3"/>
                  </a:cubicBezTo>
                  <a:cubicBezTo>
                    <a:pt x="97" y="2"/>
                    <a:pt x="92" y="1"/>
                    <a:pt x="87" y="0"/>
                  </a:cubicBezTo>
                  <a:cubicBezTo>
                    <a:pt x="85" y="16"/>
                    <a:pt x="81" y="47"/>
                    <a:pt x="80" y="60"/>
                  </a:cubicBezTo>
                  <a:cubicBezTo>
                    <a:pt x="78" y="79"/>
                    <a:pt x="20" y="78"/>
                    <a:pt x="20" y="78"/>
                  </a:cubicBezTo>
                  <a:lnTo>
                    <a:pt x="0" y="210"/>
                  </a:lnTo>
                  <a:close/>
                </a:path>
              </a:pathLst>
            </a:custGeom>
            <a:solidFill>
              <a:srgbClr val="C6392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íslïḋè">
              <a:extLst>
                <a:ext uri="{FF2B5EF4-FFF2-40B4-BE49-F238E27FC236}">
                  <a16:creationId xmlns:a16="http://schemas.microsoft.com/office/drawing/2014/main" id="{A9B1B430-E8DA-BF43-89F5-078DFA3B46FF}"/>
                </a:ext>
              </a:extLst>
            </p:cNvPr>
            <p:cNvSpPr/>
            <p:nvPr/>
          </p:nvSpPr>
          <p:spPr bwMode="auto">
            <a:xfrm>
              <a:off x="5884863" y="2274888"/>
              <a:ext cx="212725" cy="342900"/>
            </a:xfrm>
            <a:custGeom>
              <a:avLst/>
              <a:gdLst>
                <a:gd name="T0" fmla="*/ 135 w 135"/>
                <a:gd name="T1" fmla="*/ 218 h 218"/>
                <a:gd name="T2" fmla="*/ 95 w 135"/>
                <a:gd name="T3" fmla="*/ 130 h 218"/>
                <a:gd name="T4" fmla="*/ 31 w 135"/>
                <a:gd name="T5" fmla="*/ 181 h 218"/>
                <a:gd name="T6" fmla="*/ 35 w 135"/>
                <a:gd name="T7" fmla="*/ 2 h 218"/>
                <a:gd name="T8" fmla="*/ 53 w 135"/>
                <a:gd name="T9" fmla="*/ 0 h 218"/>
                <a:gd name="T10" fmla="*/ 52 w 135"/>
                <a:gd name="T11" fmla="*/ 68 h 218"/>
                <a:gd name="T12" fmla="*/ 112 w 135"/>
                <a:gd name="T13" fmla="*/ 94 h 218"/>
                <a:gd name="T14" fmla="*/ 135 w 135"/>
                <a:gd name="T15" fmla="*/ 218 h 2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218">
                  <a:moveTo>
                    <a:pt x="135" y="218"/>
                  </a:moveTo>
                  <a:cubicBezTo>
                    <a:pt x="95" y="130"/>
                    <a:pt x="95" y="130"/>
                    <a:pt x="95" y="130"/>
                  </a:cubicBezTo>
                  <a:cubicBezTo>
                    <a:pt x="31" y="181"/>
                    <a:pt x="31" y="181"/>
                    <a:pt x="31" y="181"/>
                  </a:cubicBezTo>
                  <a:cubicBezTo>
                    <a:pt x="0" y="119"/>
                    <a:pt x="30" y="19"/>
                    <a:pt x="35" y="2"/>
                  </a:cubicBezTo>
                  <a:cubicBezTo>
                    <a:pt x="40" y="1"/>
                    <a:pt x="48" y="2"/>
                    <a:pt x="53" y="0"/>
                  </a:cubicBezTo>
                  <a:cubicBezTo>
                    <a:pt x="55" y="17"/>
                    <a:pt x="50" y="55"/>
                    <a:pt x="52" y="68"/>
                  </a:cubicBezTo>
                  <a:cubicBezTo>
                    <a:pt x="54" y="87"/>
                    <a:pt x="112" y="94"/>
                    <a:pt x="112" y="94"/>
                  </a:cubicBezTo>
                  <a:lnTo>
                    <a:pt x="135" y="218"/>
                  </a:lnTo>
                  <a:close/>
                </a:path>
              </a:pathLst>
            </a:custGeom>
            <a:solidFill>
              <a:srgbClr val="C6392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i$líḓè">
              <a:extLst>
                <a:ext uri="{FF2B5EF4-FFF2-40B4-BE49-F238E27FC236}">
                  <a16:creationId xmlns:a16="http://schemas.microsoft.com/office/drawing/2014/main" id="{C5F416BC-B74D-9146-9FF8-74AD2E407B5B}"/>
                </a:ext>
              </a:extLst>
            </p:cNvPr>
            <p:cNvSpPr/>
            <p:nvPr/>
          </p:nvSpPr>
          <p:spPr bwMode="auto">
            <a:xfrm>
              <a:off x="6129338" y="2252663"/>
              <a:ext cx="147637" cy="258762"/>
            </a:xfrm>
            <a:custGeom>
              <a:avLst/>
              <a:gdLst>
                <a:gd name="T0" fmla="*/ 49 w 93"/>
                <a:gd name="T1" fmla="*/ 0 h 165"/>
                <a:gd name="T2" fmla="*/ 0 w 93"/>
                <a:gd name="T3" fmla="*/ 100 h 165"/>
                <a:gd name="T4" fmla="*/ 66 w 93"/>
                <a:gd name="T5" fmla="*/ 165 h 165"/>
                <a:gd name="T6" fmla="*/ 73 w 93"/>
                <a:gd name="T7" fmla="*/ 23 h 165"/>
                <a:gd name="T8" fmla="*/ 49 w 93"/>
                <a:gd name="T9" fmla="*/ 0 h 165"/>
              </a:gdLst>
              <a:ahLst/>
              <a:cxnLst>
                <a:cxn ang="0">
                  <a:pos x="T0" y="T1"/>
                </a:cxn>
                <a:cxn ang="0">
                  <a:pos x="T2" y="T3"/>
                </a:cxn>
                <a:cxn ang="0">
                  <a:pos x="T4" y="T5"/>
                </a:cxn>
                <a:cxn ang="0">
                  <a:pos x="T6" y="T7"/>
                </a:cxn>
                <a:cxn ang="0">
                  <a:pos x="T8" y="T9"/>
                </a:cxn>
              </a:cxnLst>
              <a:rect l="0" t="0" r="r" b="b"/>
              <a:pathLst>
                <a:path w="93" h="165">
                  <a:moveTo>
                    <a:pt x="49" y="0"/>
                  </a:moveTo>
                  <a:cubicBezTo>
                    <a:pt x="49" y="0"/>
                    <a:pt x="48" y="82"/>
                    <a:pt x="0" y="100"/>
                  </a:cubicBezTo>
                  <a:cubicBezTo>
                    <a:pt x="17" y="110"/>
                    <a:pt x="66" y="165"/>
                    <a:pt x="66" y="165"/>
                  </a:cubicBezTo>
                  <a:cubicBezTo>
                    <a:pt x="66" y="165"/>
                    <a:pt x="93" y="53"/>
                    <a:pt x="73" y="23"/>
                  </a:cubicBezTo>
                  <a:cubicBezTo>
                    <a:pt x="57" y="9"/>
                    <a:pt x="49" y="0"/>
                    <a:pt x="4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iš1ïďe">
              <a:extLst>
                <a:ext uri="{FF2B5EF4-FFF2-40B4-BE49-F238E27FC236}">
                  <a16:creationId xmlns:a16="http://schemas.microsoft.com/office/drawing/2014/main" id="{3CB855AD-ECE9-0442-9C09-CC126C9D0883}"/>
                </a:ext>
              </a:extLst>
            </p:cNvPr>
            <p:cNvSpPr/>
            <p:nvPr/>
          </p:nvSpPr>
          <p:spPr bwMode="auto">
            <a:xfrm>
              <a:off x="5919788" y="2252663"/>
              <a:ext cx="142875" cy="258762"/>
            </a:xfrm>
            <a:custGeom>
              <a:avLst/>
              <a:gdLst>
                <a:gd name="T0" fmla="*/ 45 w 90"/>
                <a:gd name="T1" fmla="*/ 0 h 165"/>
                <a:gd name="T2" fmla="*/ 90 w 90"/>
                <a:gd name="T3" fmla="*/ 108 h 165"/>
                <a:gd name="T4" fmla="*/ 28 w 90"/>
                <a:gd name="T5" fmla="*/ 165 h 165"/>
                <a:gd name="T6" fmla="*/ 21 w 90"/>
                <a:gd name="T7" fmla="*/ 23 h 165"/>
                <a:gd name="T8" fmla="*/ 45 w 90"/>
                <a:gd name="T9" fmla="*/ 0 h 165"/>
              </a:gdLst>
              <a:ahLst/>
              <a:cxnLst>
                <a:cxn ang="0">
                  <a:pos x="T0" y="T1"/>
                </a:cxn>
                <a:cxn ang="0">
                  <a:pos x="T2" y="T3"/>
                </a:cxn>
                <a:cxn ang="0">
                  <a:pos x="T4" y="T5"/>
                </a:cxn>
                <a:cxn ang="0">
                  <a:pos x="T6" y="T7"/>
                </a:cxn>
                <a:cxn ang="0">
                  <a:pos x="T8" y="T9"/>
                </a:cxn>
              </a:cxnLst>
              <a:rect l="0" t="0" r="r" b="b"/>
              <a:pathLst>
                <a:path w="90" h="165">
                  <a:moveTo>
                    <a:pt x="45" y="0"/>
                  </a:moveTo>
                  <a:cubicBezTo>
                    <a:pt x="45" y="0"/>
                    <a:pt x="33" y="82"/>
                    <a:pt x="90" y="108"/>
                  </a:cubicBezTo>
                  <a:cubicBezTo>
                    <a:pt x="28" y="165"/>
                    <a:pt x="28" y="165"/>
                    <a:pt x="28" y="165"/>
                  </a:cubicBezTo>
                  <a:cubicBezTo>
                    <a:pt x="28" y="165"/>
                    <a:pt x="0" y="53"/>
                    <a:pt x="21" y="23"/>
                  </a:cubicBezTo>
                  <a:cubicBezTo>
                    <a:pt x="37" y="9"/>
                    <a:pt x="45" y="0"/>
                    <a:pt x="4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ïṧľïḓé">
              <a:extLst>
                <a:ext uri="{FF2B5EF4-FFF2-40B4-BE49-F238E27FC236}">
                  <a16:creationId xmlns:a16="http://schemas.microsoft.com/office/drawing/2014/main" id="{36444CE8-DB01-D048-92CB-7BB6D3A2C9B2}"/>
                </a:ext>
              </a:extLst>
            </p:cNvPr>
            <p:cNvSpPr/>
            <p:nvPr/>
          </p:nvSpPr>
          <p:spPr bwMode="auto">
            <a:xfrm>
              <a:off x="6134100" y="1730375"/>
              <a:ext cx="36512" cy="36512"/>
            </a:xfrm>
            <a:prstGeom prst="ellipse">
              <a:avLst/>
            </a:prstGeom>
            <a:solidFill>
              <a:srgbClr val="4023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î$lîḑê">
              <a:extLst>
                <a:ext uri="{FF2B5EF4-FFF2-40B4-BE49-F238E27FC236}">
                  <a16:creationId xmlns:a16="http://schemas.microsoft.com/office/drawing/2014/main" id="{4A64C235-4670-3A43-8D6F-12ED0ED8B5BC}"/>
                </a:ext>
              </a:extLst>
            </p:cNvPr>
            <p:cNvSpPr/>
            <p:nvPr/>
          </p:nvSpPr>
          <p:spPr bwMode="auto">
            <a:xfrm>
              <a:off x="6134100" y="1730375"/>
              <a:ext cx="36512" cy="36512"/>
            </a:xfrm>
            <a:prstGeom prst="ellipse">
              <a:avLst/>
            </a:prstGeom>
            <a:noFill/>
            <a:ln w="6350" cap="flat">
              <a:solidFill>
                <a:srgbClr val="40231D"/>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89" name="îşļíḋe">
              <a:extLst>
                <a:ext uri="{FF2B5EF4-FFF2-40B4-BE49-F238E27FC236}">
                  <a16:creationId xmlns:a16="http://schemas.microsoft.com/office/drawing/2014/main" id="{3F95F34E-2076-E047-9E33-3C34963826FC}"/>
                </a:ext>
              </a:extLst>
            </p:cNvPr>
            <p:cNvSpPr/>
            <p:nvPr/>
          </p:nvSpPr>
          <p:spPr bwMode="auto">
            <a:xfrm>
              <a:off x="5895975" y="1771650"/>
              <a:ext cx="38100" cy="38100"/>
            </a:xfrm>
            <a:prstGeom prst="ellipse">
              <a:avLst/>
            </a:prstGeom>
            <a:solidFill>
              <a:srgbClr val="4023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ïṩ1íḑè">
              <a:extLst>
                <a:ext uri="{FF2B5EF4-FFF2-40B4-BE49-F238E27FC236}">
                  <a16:creationId xmlns:a16="http://schemas.microsoft.com/office/drawing/2014/main" id="{E9B1DB75-683B-934A-90D6-12992A133E22}"/>
                </a:ext>
              </a:extLst>
            </p:cNvPr>
            <p:cNvSpPr/>
            <p:nvPr/>
          </p:nvSpPr>
          <p:spPr bwMode="auto">
            <a:xfrm>
              <a:off x="5895975" y="1771650"/>
              <a:ext cx="38100" cy="38100"/>
            </a:xfrm>
            <a:prstGeom prst="ellipse">
              <a:avLst/>
            </a:prstGeom>
            <a:noFill/>
            <a:ln w="6350" cap="flat">
              <a:solidFill>
                <a:srgbClr val="40231D"/>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91" name="iṩliḍe">
              <a:extLst>
                <a:ext uri="{FF2B5EF4-FFF2-40B4-BE49-F238E27FC236}">
                  <a16:creationId xmlns:a16="http://schemas.microsoft.com/office/drawing/2014/main" id="{68397647-DB45-7941-9BB4-59BFF2ECAFC6}"/>
                </a:ext>
              </a:extLst>
            </p:cNvPr>
            <p:cNvSpPr/>
            <p:nvPr/>
          </p:nvSpPr>
          <p:spPr bwMode="auto">
            <a:xfrm>
              <a:off x="6134100" y="1674813"/>
              <a:ext cx="84137" cy="26987"/>
            </a:xfrm>
            <a:custGeom>
              <a:avLst/>
              <a:gdLst>
                <a:gd name="T0" fmla="*/ 53 w 53"/>
                <a:gd name="T1" fmla="*/ 17 h 17"/>
                <a:gd name="T2" fmla="*/ 0 w 53"/>
                <a:gd name="T3" fmla="*/ 8 h 17"/>
              </a:gdLst>
              <a:ahLst/>
              <a:cxnLst>
                <a:cxn ang="0">
                  <a:pos x="T0" y="T1"/>
                </a:cxn>
                <a:cxn ang="0">
                  <a:pos x="T2" y="T3"/>
                </a:cxn>
              </a:cxnLst>
              <a:rect l="0" t="0" r="r" b="b"/>
              <a:pathLst>
                <a:path w="53" h="17">
                  <a:moveTo>
                    <a:pt x="53" y="17"/>
                  </a:moveTo>
                  <a:cubicBezTo>
                    <a:pt x="46" y="9"/>
                    <a:pt x="17" y="0"/>
                    <a:pt x="0" y="8"/>
                  </a:cubicBezTo>
                </a:path>
              </a:pathLst>
            </a:custGeom>
            <a:noFill/>
            <a:ln w="20638" cap="rnd">
              <a:solidFill>
                <a:srgbClr val="4F2F29"/>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92" name="îşľidé">
              <a:extLst>
                <a:ext uri="{FF2B5EF4-FFF2-40B4-BE49-F238E27FC236}">
                  <a16:creationId xmlns:a16="http://schemas.microsoft.com/office/drawing/2014/main" id="{C7FE34D3-CD22-8C46-8C0A-0554AB0FCA54}"/>
                </a:ext>
              </a:extLst>
            </p:cNvPr>
            <p:cNvSpPr/>
            <p:nvPr/>
          </p:nvSpPr>
          <p:spPr bwMode="auto">
            <a:xfrm>
              <a:off x="5846763" y="1716088"/>
              <a:ext cx="77787" cy="41275"/>
            </a:xfrm>
            <a:custGeom>
              <a:avLst/>
              <a:gdLst>
                <a:gd name="T0" fmla="*/ 0 w 50"/>
                <a:gd name="T1" fmla="*/ 26 h 26"/>
                <a:gd name="T2" fmla="*/ 50 w 50"/>
                <a:gd name="T3" fmla="*/ 3 h 26"/>
              </a:gdLst>
              <a:ahLst/>
              <a:cxnLst>
                <a:cxn ang="0">
                  <a:pos x="T0" y="T1"/>
                </a:cxn>
                <a:cxn ang="0">
                  <a:pos x="T2" y="T3"/>
                </a:cxn>
              </a:cxnLst>
              <a:rect l="0" t="0" r="r" b="b"/>
              <a:pathLst>
                <a:path w="50" h="26">
                  <a:moveTo>
                    <a:pt x="0" y="26"/>
                  </a:moveTo>
                  <a:cubicBezTo>
                    <a:pt x="6" y="15"/>
                    <a:pt x="31" y="0"/>
                    <a:pt x="50" y="3"/>
                  </a:cubicBezTo>
                </a:path>
              </a:pathLst>
            </a:custGeom>
            <a:noFill/>
            <a:ln w="20638" cap="rnd">
              <a:solidFill>
                <a:srgbClr val="4F2F29"/>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93" name="iṥľîḋe">
              <a:extLst>
                <a:ext uri="{FF2B5EF4-FFF2-40B4-BE49-F238E27FC236}">
                  <a16:creationId xmlns:a16="http://schemas.microsoft.com/office/drawing/2014/main" id="{9E60388F-18E7-264B-B590-68A29414940E}"/>
                </a:ext>
              </a:extLst>
            </p:cNvPr>
            <p:cNvSpPr/>
            <p:nvPr/>
          </p:nvSpPr>
          <p:spPr bwMode="auto">
            <a:xfrm>
              <a:off x="5965825" y="3205163"/>
              <a:ext cx="36512" cy="31750"/>
            </a:xfrm>
            <a:custGeom>
              <a:avLst/>
              <a:gdLst>
                <a:gd name="T0" fmla="*/ 2 w 23"/>
                <a:gd name="T1" fmla="*/ 14 h 20"/>
                <a:gd name="T2" fmla="*/ 11 w 23"/>
                <a:gd name="T3" fmla="*/ 18 h 20"/>
                <a:gd name="T4" fmla="*/ 18 w 23"/>
                <a:gd name="T5" fmla="*/ 15 h 20"/>
                <a:gd name="T6" fmla="*/ 22 w 23"/>
                <a:gd name="T7" fmla="*/ 6 h 20"/>
                <a:gd name="T8" fmla="*/ 12 w 23"/>
                <a:gd name="T9" fmla="*/ 2 h 20"/>
                <a:gd name="T10" fmla="*/ 6 w 23"/>
                <a:gd name="T11" fmla="*/ 5 h 20"/>
                <a:gd name="T12" fmla="*/ 2 w 23"/>
                <a:gd name="T13" fmla="*/ 14 h 20"/>
              </a:gdLst>
              <a:ahLst/>
              <a:cxnLst>
                <a:cxn ang="0">
                  <a:pos x="T0" y="T1"/>
                </a:cxn>
                <a:cxn ang="0">
                  <a:pos x="T2" y="T3"/>
                </a:cxn>
                <a:cxn ang="0">
                  <a:pos x="T4" y="T5"/>
                </a:cxn>
                <a:cxn ang="0">
                  <a:pos x="T6" y="T7"/>
                </a:cxn>
                <a:cxn ang="0">
                  <a:pos x="T8" y="T9"/>
                </a:cxn>
                <a:cxn ang="0">
                  <a:pos x="T10" y="T11"/>
                </a:cxn>
                <a:cxn ang="0">
                  <a:pos x="T12" y="T13"/>
                </a:cxn>
              </a:cxnLst>
              <a:rect l="0" t="0" r="r" b="b"/>
              <a:pathLst>
                <a:path w="23" h="20">
                  <a:moveTo>
                    <a:pt x="2" y="14"/>
                  </a:moveTo>
                  <a:cubicBezTo>
                    <a:pt x="3" y="18"/>
                    <a:pt x="8" y="20"/>
                    <a:pt x="11" y="18"/>
                  </a:cubicBezTo>
                  <a:cubicBezTo>
                    <a:pt x="18" y="15"/>
                    <a:pt x="18" y="15"/>
                    <a:pt x="18" y="15"/>
                  </a:cubicBezTo>
                  <a:cubicBezTo>
                    <a:pt x="22" y="14"/>
                    <a:pt x="23" y="9"/>
                    <a:pt x="22" y="6"/>
                  </a:cubicBezTo>
                  <a:cubicBezTo>
                    <a:pt x="20" y="2"/>
                    <a:pt x="16" y="0"/>
                    <a:pt x="12" y="2"/>
                  </a:cubicBezTo>
                  <a:cubicBezTo>
                    <a:pt x="6" y="5"/>
                    <a:pt x="6" y="5"/>
                    <a:pt x="6" y="5"/>
                  </a:cubicBezTo>
                  <a:cubicBezTo>
                    <a:pt x="2" y="6"/>
                    <a:pt x="0" y="10"/>
                    <a:pt x="2"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ïṡļíḑê">
              <a:extLst>
                <a:ext uri="{FF2B5EF4-FFF2-40B4-BE49-F238E27FC236}">
                  <a16:creationId xmlns:a16="http://schemas.microsoft.com/office/drawing/2014/main" id="{66A06B37-5FAA-824C-94C5-E8D79A260432}"/>
                </a:ext>
              </a:extLst>
            </p:cNvPr>
            <p:cNvSpPr/>
            <p:nvPr/>
          </p:nvSpPr>
          <p:spPr bwMode="auto">
            <a:xfrm>
              <a:off x="5627688" y="1244601"/>
              <a:ext cx="696912" cy="633412"/>
            </a:xfrm>
            <a:custGeom>
              <a:avLst/>
              <a:gdLst>
                <a:gd name="T0" fmla="*/ 32 w 443"/>
                <a:gd name="T1" fmla="*/ 241 h 403"/>
                <a:gd name="T2" fmla="*/ 32 w 443"/>
                <a:gd name="T3" fmla="*/ 241 h 403"/>
                <a:gd name="T4" fmla="*/ 319 w 443"/>
                <a:gd name="T5" fmla="*/ 63 h 403"/>
                <a:gd name="T6" fmla="*/ 443 w 443"/>
                <a:gd name="T7" fmla="*/ 211 h 403"/>
                <a:gd name="T8" fmla="*/ 440 w 443"/>
                <a:gd name="T9" fmla="*/ 357 h 403"/>
                <a:gd name="T10" fmla="*/ 431 w 443"/>
                <a:gd name="T11" fmla="*/ 357 h 403"/>
                <a:gd name="T12" fmla="*/ 422 w 443"/>
                <a:gd name="T13" fmla="*/ 281 h 403"/>
                <a:gd name="T14" fmla="*/ 422 w 443"/>
                <a:gd name="T15" fmla="*/ 281 h 403"/>
                <a:gd name="T16" fmla="*/ 422 w 443"/>
                <a:gd name="T17" fmla="*/ 281 h 403"/>
                <a:gd name="T18" fmla="*/ 421 w 443"/>
                <a:gd name="T19" fmla="*/ 277 h 403"/>
                <a:gd name="T20" fmla="*/ 387 w 443"/>
                <a:gd name="T21" fmla="*/ 237 h 403"/>
                <a:gd name="T22" fmla="*/ 387 w 443"/>
                <a:gd name="T23" fmla="*/ 237 h 403"/>
                <a:gd name="T24" fmla="*/ 328 w 443"/>
                <a:gd name="T25" fmla="*/ 184 h 403"/>
                <a:gd name="T26" fmla="*/ 154 w 443"/>
                <a:gd name="T27" fmla="*/ 259 h 403"/>
                <a:gd name="T28" fmla="*/ 154 w 443"/>
                <a:gd name="T29" fmla="*/ 259 h 403"/>
                <a:gd name="T30" fmla="*/ 153 w 443"/>
                <a:gd name="T31" fmla="*/ 260 h 403"/>
                <a:gd name="T32" fmla="*/ 147 w 443"/>
                <a:gd name="T33" fmla="*/ 261 h 403"/>
                <a:gd name="T34" fmla="*/ 77 w 443"/>
                <a:gd name="T35" fmla="*/ 316 h 403"/>
                <a:gd name="T36" fmla="*/ 92 w 443"/>
                <a:gd name="T37" fmla="*/ 403 h 403"/>
                <a:gd name="T38" fmla="*/ 86 w 443"/>
                <a:gd name="T39" fmla="*/ 403 h 403"/>
                <a:gd name="T40" fmla="*/ 39 w 443"/>
                <a:gd name="T41" fmla="*/ 273 h 403"/>
                <a:gd name="T42" fmla="*/ 32 w 443"/>
                <a:gd name="T43" fmla="*/ 241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3" h="403">
                  <a:moveTo>
                    <a:pt x="32" y="241"/>
                  </a:moveTo>
                  <a:cubicBezTo>
                    <a:pt x="32" y="241"/>
                    <a:pt x="32" y="241"/>
                    <a:pt x="32" y="241"/>
                  </a:cubicBezTo>
                  <a:cubicBezTo>
                    <a:pt x="0" y="50"/>
                    <a:pt x="272" y="0"/>
                    <a:pt x="319" y="63"/>
                  </a:cubicBezTo>
                  <a:cubicBezTo>
                    <a:pt x="416" y="43"/>
                    <a:pt x="439" y="139"/>
                    <a:pt x="443" y="211"/>
                  </a:cubicBezTo>
                  <a:cubicBezTo>
                    <a:pt x="440" y="357"/>
                    <a:pt x="440" y="357"/>
                    <a:pt x="440" y="357"/>
                  </a:cubicBezTo>
                  <a:cubicBezTo>
                    <a:pt x="431" y="357"/>
                    <a:pt x="431" y="357"/>
                    <a:pt x="431" y="357"/>
                  </a:cubicBezTo>
                  <a:cubicBezTo>
                    <a:pt x="422" y="281"/>
                    <a:pt x="422" y="281"/>
                    <a:pt x="422" y="281"/>
                  </a:cubicBezTo>
                  <a:cubicBezTo>
                    <a:pt x="422" y="281"/>
                    <a:pt x="422" y="281"/>
                    <a:pt x="422" y="281"/>
                  </a:cubicBezTo>
                  <a:cubicBezTo>
                    <a:pt x="422" y="281"/>
                    <a:pt x="422" y="281"/>
                    <a:pt x="422" y="281"/>
                  </a:cubicBezTo>
                  <a:cubicBezTo>
                    <a:pt x="421" y="277"/>
                    <a:pt x="421" y="277"/>
                    <a:pt x="421" y="277"/>
                  </a:cubicBezTo>
                  <a:cubicBezTo>
                    <a:pt x="419" y="271"/>
                    <a:pt x="411" y="257"/>
                    <a:pt x="387" y="237"/>
                  </a:cubicBezTo>
                  <a:cubicBezTo>
                    <a:pt x="387" y="237"/>
                    <a:pt x="387" y="237"/>
                    <a:pt x="387" y="237"/>
                  </a:cubicBezTo>
                  <a:cubicBezTo>
                    <a:pt x="361" y="220"/>
                    <a:pt x="339" y="196"/>
                    <a:pt x="328" y="184"/>
                  </a:cubicBezTo>
                  <a:cubicBezTo>
                    <a:pt x="303" y="208"/>
                    <a:pt x="251" y="242"/>
                    <a:pt x="154" y="259"/>
                  </a:cubicBezTo>
                  <a:cubicBezTo>
                    <a:pt x="154" y="259"/>
                    <a:pt x="154" y="259"/>
                    <a:pt x="154" y="259"/>
                  </a:cubicBezTo>
                  <a:cubicBezTo>
                    <a:pt x="153" y="260"/>
                    <a:pt x="153" y="260"/>
                    <a:pt x="153" y="260"/>
                  </a:cubicBezTo>
                  <a:cubicBezTo>
                    <a:pt x="151" y="260"/>
                    <a:pt x="149" y="260"/>
                    <a:pt x="147" y="261"/>
                  </a:cubicBezTo>
                  <a:cubicBezTo>
                    <a:pt x="129" y="264"/>
                    <a:pt x="82" y="277"/>
                    <a:pt x="77" y="316"/>
                  </a:cubicBezTo>
                  <a:cubicBezTo>
                    <a:pt x="92" y="403"/>
                    <a:pt x="92" y="403"/>
                    <a:pt x="92" y="403"/>
                  </a:cubicBezTo>
                  <a:cubicBezTo>
                    <a:pt x="86" y="403"/>
                    <a:pt x="86" y="403"/>
                    <a:pt x="86" y="403"/>
                  </a:cubicBezTo>
                  <a:cubicBezTo>
                    <a:pt x="39" y="273"/>
                    <a:pt x="39" y="273"/>
                    <a:pt x="39" y="273"/>
                  </a:cubicBezTo>
                  <a:cubicBezTo>
                    <a:pt x="36" y="262"/>
                    <a:pt x="33" y="251"/>
                    <a:pt x="32" y="241"/>
                  </a:cubicBezTo>
                  <a:close/>
                </a:path>
              </a:pathLst>
            </a:custGeom>
            <a:solidFill>
              <a:srgbClr val="4F2F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ïŝḷiďè">
              <a:extLst>
                <a:ext uri="{FF2B5EF4-FFF2-40B4-BE49-F238E27FC236}">
                  <a16:creationId xmlns:a16="http://schemas.microsoft.com/office/drawing/2014/main" id="{0365C957-84FE-5C45-98AA-62BB02B6136B}"/>
                </a:ext>
              </a:extLst>
            </p:cNvPr>
            <p:cNvSpPr/>
            <p:nvPr/>
          </p:nvSpPr>
          <p:spPr bwMode="auto">
            <a:xfrm>
              <a:off x="4951413" y="2457450"/>
              <a:ext cx="576262" cy="496887"/>
            </a:xfrm>
            <a:custGeom>
              <a:avLst/>
              <a:gdLst>
                <a:gd name="T0" fmla="*/ 218 w 366"/>
                <a:gd name="T1" fmla="*/ 316 h 316"/>
                <a:gd name="T2" fmla="*/ 0 w 366"/>
                <a:gd name="T3" fmla="*/ 148 h 316"/>
                <a:gd name="T4" fmla="*/ 1 w 366"/>
                <a:gd name="T5" fmla="*/ 124 h 316"/>
                <a:gd name="T6" fmla="*/ 223 w 366"/>
                <a:gd name="T7" fmla="*/ 0 h 316"/>
                <a:gd name="T8" fmla="*/ 366 w 366"/>
                <a:gd name="T9" fmla="*/ 281 h 316"/>
                <a:gd name="T10" fmla="*/ 218 w 366"/>
                <a:gd name="T11" fmla="*/ 316 h 316"/>
              </a:gdLst>
              <a:ahLst/>
              <a:cxnLst>
                <a:cxn ang="0">
                  <a:pos x="T0" y="T1"/>
                </a:cxn>
                <a:cxn ang="0">
                  <a:pos x="T2" y="T3"/>
                </a:cxn>
                <a:cxn ang="0">
                  <a:pos x="T4" y="T5"/>
                </a:cxn>
                <a:cxn ang="0">
                  <a:pos x="T6" y="T7"/>
                </a:cxn>
                <a:cxn ang="0">
                  <a:pos x="T8" y="T9"/>
                </a:cxn>
                <a:cxn ang="0">
                  <a:pos x="T10" y="T11"/>
                </a:cxn>
              </a:cxnLst>
              <a:rect l="0" t="0" r="r" b="b"/>
              <a:pathLst>
                <a:path w="366" h="316">
                  <a:moveTo>
                    <a:pt x="218" y="316"/>
                  </a:moveTo>
                  <a:cubicBezTo>
                    <a:pt x="170" y="252"/>
                    <a:pt x="67" y="171"/>
                    <a:pt x="0" y="148"/>
                  </a:cubicBezTo>
                  <a:cubicBezTo>
                    <a:pt x="1" y="124"/>
                    <a:pt x="1" y="124"/>
                    <a:pt x="1" y="124"/>
                  </a:cubicBezTo>
                  <a:cubicBezTo>
                    <a:pt x="223" y="0"/>
                    <a:pt x="223" y="0"/>
                    <a:pt x="223" y="0"/>
                  </a:cubicBezTo>
                  <a:cubicBezTo>
                    <a:pt x="366" y="281"/>
                    <a:pt x="366" y="281"/>
                    <a:pt x="366" y="281"/>
                  </a:cubicBezTo>
                  <a:cubicBezTo>
                    <a:pt x="218" y="316"/>
                    <a:pt x="218" y="316"/>
                    <a:pt x="218" y="316"/>
                  </a:cubicBezTo>
                </a:path>
              </a:pathLst>
            </a:custGeom>
            <a:solidFill>
              <a:srgbClr val="9BD88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ïŝliḑè">
              <a:extLst>
                <a:ext uri="{FF2B5EF4-FFF2-40B4-BE49-F238E27FC236}">
                  <a16:creationId xmlns:a16="http://schemas.microsoft.com/office/drawing/2014/main" id="{2C49A49C-EF9D-8140-82ED-7C171EF67574}"/>
                </a:ext>
              </a:extLst>
            </p:cNvPr>
            <p:cNvSpPr/>
            <p:nvPr/>
          </p:nvSpPr>
          <p:spPr bwMode="auto">
            <a:xfrm>
              <a:off x="4951413" y="2419350"/>
              <a:ext cx="577850" cy="441325"/>
            </a:xfrm>
            <a:custGeom>
              <a:avLst/>
              <a:gdLst>
                <a:gd name="T0" fmla="*/ 199 w 367"/>
                <a:gd name="T1" fmla="*/ 281 h 281"/>
                <a:gd name="T2" fmla="*/ 0 w 367"/>
                <a:gd name="T3" fmla="*/ 148 h 281"/>
                <a:gd name="T4" fmla="*/ 223 w 367"/>
                <a:gd name="T5" fmla="*/ 0 h 281"/>
                <a:gd name="T6" fmla="*/ 367 w 367"/>
                <a:gd name="T7" fmla="*/ 280 h 281"/>
                <a:gd name="T8" fmla="*/ 199 w 367"/>
                <a:gd name="T9" fmla="*/ 281 h 281"/>
              </a:gdLst>
              <a:ahLst/>
              <a:cxnLst>
                <a:cxn ang="0">
                  <a:pos x="T0" y="T1"/>
                </a:cxn>
                <a:cxn ang="0">
                  <a:pos x="T2" y="T3"/>
                </a:cxn>
                <a:cxn ang="0">
                  <a:pos x="T4" y="T5"/>
                </a:cxn>
                <a:cxn ang="0">
                  <a:pos x="T6" y="T7"/>
                </a:cxn>
                <a:cxn ang="0">
                  <a:pos x="T8" y="T9"/>
                </a:cxn>
              </a:cxnLst>
              <a:rect l="0" t="0" r="r" b="b"/>
              <a:pathLst>
                <a:path w="367" h="281">
                  <a:moveTo>
                    <a:pt x="199" y="281"/>
                  </a:moveTo>
                  <a:cubicBezTo>
                    <a:pt x="151" y="217"/>
                    <a:pt x="78" y="160"/>
                    <a:pt x="0" y="148"/>
                  </a:cubicBezTo>
                  <a:cubicBezTo>
                    <a:pt x="223" y="0"/>
                    <a:pt x="223" y="0"/>
                    <a:pt x="223" y="0"/>
                  </a:cubicBezTo>
                  <a:cubicBezTo>
                    <a:pt x="367" y="280"/>
                    <a:pt x="367" y="280"/>
                    <a:pt x="367" y="280"/>
                  </a:cubicBezTo>
                  <a:cubicBezTo>
                    <a:pt x="199" y="281"/>
                    <a:pt x="199" y="281"/>
                    <a:pt x="199" y="281"/>
                  </a:cubicBezTo>
                </a:path>
              </a:pathLst>
            </a:custGeom>
            <a:solidFill>
              <a:srgbClr val="68A55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îṥḻidé">
              <a:extLst>
                <a:ext uri="{FF2B5EF4-FFF2-40B4-BE49-F238E27FC236}">
                  <a16:creationId xmlns:a16="http://schemas.microsoft.com/office/drawing/2014/main" id="{432D07BF-1820-304F-B09E-C799D8467215}"/>
                </a:ext>
              </a:extLst>
            </p:cNvPr>
            <p:cNvSpPr/>
            <p:nvPr/>
          </p:nvSpPr>
          <p:spPr bwMode="auto">
            <a:xfrm>
              <a:off x="5014913" y="2346325"/>
              <a:ext cx="1300162" cy="1725612"/>
            </a:xfrm>
            <a:custGeom>
              <a:avLst/>
              <a:gdLst>
                <a:gd name="T0" fmla="*/ 819 w 819"/>
                <a:gd name="T1" fmla="*/ 962 h 1087"/>
                <a:gd name="T2" fmla="*/ 644 w 819"/>
                <a:gd name="T3" fmla="*/ 1087 h 1087"/>
                <a:gd name="T4" fmla="*/ 0 w 819"/>
                <a:gd name="T5" fmla="*/ 124 h 1087"/>
                <a:gd name="T6" fmla="*/ 175 w 819"/>
                <a:gd name="T7" fmla="*/ 0 h 1087"/>
                <a:gd name="T8" fmla="*/ 819 w 819"/>
                <a:gd name="T9" fmla="*/ 962 h 1087"/>
              </a:gdLst>
              <a:ahLst/>
              <a:cxnLst>
                <a:cxn ang="0">
                  <a:pos x="T0" y="T1"/>
                </a:cxn>
                <a:cxn ang="0">
                  <a:pos x="T2" y="T3"/>
                </a:cxn>
                <a:cxn ang="0">
                  <a:pos x="T4" y="T5"/>
                </a:cxn>
                <a:cxn ang="0">
                  <a:pos x="T6" y="T7"/>
                </a:cxn>
                <a:cxn ang="0">
                  <a:pos x="T8" y="T9"/>
                </a:cxn>
              </a:cxnLst>
              <a:rect l="0" t="0" r="r" b="b"/>
              <a:pathLst>
                <a:path w="819" h="1087">
                  <a:moveTo>
                    <a:pt x="819" y="962"/>
                  </a:moveTo>
                  <a:lnTo>
                    <a:pt x="644" y="1087"/>
                  </a:lnTo>
                  <a:lnTo>
                    <a:pt x="0" y="124"/>
                  </a:lnTo>
                  <a:lnTo>
                    <a:pt x="175" y="0"/>
                  </a:lnTo>
                  <a:lnTo>
                    <a:pt x="819" y="962"/>
                  </a:lnTo>
                  <a:close/>
                </a:path>
              </a:pathLst>
            </a:custGeom>
            <a:solidFill>
              <a:srgbClr val="9BD88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ṣḻïḋé">
              <a:extLst>
                <a:ext uri="{FF2B5EF4-FFF2-40B4-BE49-F238E27FC236}">
                  <a16:creationId xmlns:a16="http://schemas.microsoft.com/office/drawing/2014/main" id="{28CC177B-F4D5-814A-BF6D-6FED968E2906}"/>
                </a:ext>
              </a:extLst>
            </p:cNvPr>
            <p:cNvSpPr/>
            <p:nvPr/>
          </p:nvSpPr>
          <p:spPr bwMode="auto">
            <a:xfrm>
              <a:off x="5014913" y="2346325"/>
              <a:ext cx="1300162" cy="1725612"/>
            </a:xfrm>
            <a:custGeom>
              <a:avLst/>
              <a:gdLst>
                <a:gd name="T0" fmla="*/ 819 w 819"/>
                <a:gd name="T1" fmla="*/ 962 h 1087"/>
                <a:gd name="T2" fmla="*/ 644 w 819"/>
                <a:gd name="T3" fmla="*/ 1087 h 1087"/>
                <a:gd name="T4" fmla="*/ 0 w 819"/>
                <a:gd name="T5" fmla="*/ 124 h 1087"/>
                <a:gd name="T6" fmla="*/ 175 w 819"/>
                <a:gd name="T7" fmla="*/ 0 h 1087"/>
                <a:gd name="T8" fmla="*/ 819 w 819"/>
                <a:gd name="T9" fmla="*/ 962 h 1087"/>
              </a:gdLst>
              <a:ahLst/>
              <a:cxnLst>
                <a:cxn ang="0">
                  <a:pos x="T0" y="T1"/>
                </a:cxn>
                <a:cxn ang="0">
                  <a:pos x="T2" y="T3"/>
                </a:cxn>
                <a:cxn ang="0">
                  <a:pos x="T4" y="T5"/>
                </a:cxn>
                <a:cxn ang="0">
                  <a:pos x="T6" y="T7"/>
                </a:cxn>
                <a:cxn ang="0">
                  <a:pos x="T8" y="T9"/>
                </a:cxn>
              </a:cxnLst>
              <a:rect l="0" t="0" r="r" b="b"/>
              <a:pathLst>
                <a:path w="819" h="1087">
                  <a:moveTo>
                    <a:pt x="819" y="962"/>
                  </a:moveTo>
                  <a:lnTo>
                    <a:pt x="644" y="1087"/>
                  </a:lnTo>
                  <a:lnTo>
                    <a:pt x="0" y="124"/>
                  </a:lnTo>
                  <a:lnTo>
                    <a:pt x="175" y="0"/>
                  </a:lnTo>
                  <a:lnTo>
                    <a:pt x="819" y="96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îśliḋe">
              <a:extLst>
                <a:ext uri="{FF2B5EF4-FFF2-40B4-BE49-F238E27FC236}">
                  <a16:creationId xmlns:a16="http://schemas.microsoft.com/office/drawing/2014/main" id="{866762F6-5495-C346-AC24-3F4851BEC4DC}"/>
                </a:ext>
              </a:extLst>
            </p:cNvPr>
            <p:cNvSpPr/>
            <p:nvPr/>
          </p:nvSpPr>
          <p:spPr bwMode="auto">
            <a:xfrm>
              <a:off x="5289550" y="2006600"/>
              <a:ext cx="1536700" cy="1868487"/>
            </a:xfrm>
            <a:custGeom>
              <a:avLst/>
              <a:gdLst>
                <a:gd name="T0" fmla="*/ 968 w 968"/>
                <a:gd name="T1" fmla="*/ 962 h 1177"/>
                <a:gd name="T2" fmla="*/ 644 w 968"/>
                <a:gd name="T3" fmla="*/ 1177 h 1177"/>
                <a:gd name="T4" fmla="*/ 0 w 968"/>
                <a:gd name="T5" fmla="*/ 216 h 1177"/>
                <a:gd name="T6" fmla="*/ 324 w 968"/>
                <a:gd name="T7" fmla="*/ 0 h 1177"/>
                <a:gd name="T8" fmla="*/ 968 w 968"/>
                <a:gd name="T9" fmla="*/ 962 h 1177"/>
              </a:gdLst>
              <a:ahLst/>
              <a:cxnLst>
                <a:cxn ang="0">
                  <a:pos x="T0" y="T1"/>
                </a:cxn>
                <a:cxn ang="0">
                  <a:pos x="T2" y="T3"/>
                </a:cxn>
                <a:cxn ang="0">
                  <a:pos x="T4" y="T5"/>
                </a:cxn>
                <a:cxn ang="0">
                  <a:pos x="T6" y="T7"/>
                </a:cxn>
                <a:cxn ang="0">
                  <a:pos x="T8" y="T9"/>
                </a:cxn>
              </a:cxnLst>
              <a:rect l="0" t="0" r="r" b="b"/>
              <a:pathLst>
                <a:path w="968" h="1177">
                  <a:moveTo>
                    <a:pt x="968" y="962"/>
                  </a:moveTo>
                  <a:lnTo>
                    <a:pt x="644" y="1177"/>
                  </a:lnTo>
                  <a:lnTo>
                    <a:pt x="0" y="216"/>
                  </a:lnTo>
                  <a:lnTo>
                    <a:pt x="324" y="0"/>
                  </a:lnTo>
                  <a:lnTo>
                    <a:pt x="968" y="962"/>
                  </a:lnTo>
                  <a:close/>
                </a:path>
              </a:pathLst>
            </a:custGeom>
            <a:solidFill>
              <a:srgbClr val="68A55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ïşḻíḋé">
              <a:extLst>
                <a:ext uri="{FF2B5EF4-FFF2-40B4-BE49-F238E27FC236}">
                  <a16:creationId xmlns:a16="http://schemas.microsoft.com/office/drawing/2014/main" id="{31338189-FDC6-AC43-AC69-9124882E4C12}"/>
                </a:ext>
              </a:extLst>
            </p:cNvPr>
            <p:cNvSpPr/>
            <p:nvPr/>
          </p:nvSpPr>
          <p:spPr bwMode="auto">
            <a:xfrm>
              <a:off x="5289550" y="2006600"/>
              <a:ext cx="1536700" cy="1868487"/>
            </a:xfrm>
            <a:custGeom>
              <a:avLst/>
              <a:gdLst>
                <a:gd name="T0" fmla="*/ 968 w 968"/>
                <a:gd name="T1" fmla="*/ 962 h 1177"/>
                <a:gd name="T2" fmla="*/ 644 w 968"/>
                <a:gd name="T3" fmla="*/ 1177 h 1177"/>
                <a:gd name="T4" fmla="*/ 0 w 968"/>
                <a:gd name="T5" fmla="*/ 216 h 1177"/>
                <a:gd name="T6" fmla="*/ 324 w 968"/>
                <a:gd name="T7" fmla="*/ 0 h 1177"/>
                <a:gd name="T8" fmla="*/ 968 w 968"/>
                <a:gd name="T9" fmla="*/ 962 h 1177"/>
              </a:gdLst>
              <a:ahLst/>
              <a:cxnLst>
                <a:cxn ang="0">
                  <a:pos x="T0" y="T1"/>
                </a:cxn>
                <a:cxn ang="0">
                  <a:pos x="T2" y="T3"/>
                </a:cxn>
                <a:cxn ang="0">
                  <a:pos x="T4" y="T5"/>
                </a:cxn>
                <a:cxn ang="0">
                  <a:pos x="T6" y="T7"/>
                </a:cxn>
                <a:cxn ang="0">
                  <a:pos x="T8" y="T9"/>
                </a:cxn>
              </a:cxnLst>
              <a:rect l="0" t="0" r="r" b="b"/>
              <a:pathLst>
                <a:path w="968" h="1177">
                  <a:moveTo>
                    <a:pt x="968" y="962"/>
                  </a:moveTo>
                  <a:lnTo>
                    <a:pt x="644" y="1177"/>
                  </a:lnTo>
                  <a:lnTo>
                    <a:pt x="0" y="216"/>
                  </a:lnTo>
                  <a:lnTo>
                    <a:pt x="324" y="0"/>
                  </a:lnTo>
                  <a:lnTo>
                    <a:pt x="968" y="96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îṣ1idè">
              <a:extLst>
                <a:ext uri="{FF2B5EF4-FFF2-40B4-BE49-F238E27FC236}">
                  <a16:creationId xmlns:a16="http://schemas.microsoft.com/office/drawing/2014/main" id="{12AA4B13-832F-6B40-AD45-59F852F6A377}"/>
                </a:ext>
              </a:extLst>
            </p:cNvPr>
            <p:cNvSpPr/>
            <p:nvPr/>
          </p:nvSpPr>
          <p:spPr bwMode="auto">
            <a:xfrm>
              <a:off x="5375275" y="2087563"/>
              <a:ext cx="1365250" cy="1706562"/>
            </a:xfrm>
            <a:custGeom>
              <a:avLst/>
              <a:gdLst>
                <a:gd name="T0" fmla="*/ 250 w 860"/>
                <a:gd name="T1" fmla="*/ 24 h 1075"/>
                <a:gd name="T2" fmla="*/ 837 w 860"/>
                <a:gd name="T3" fmla="*/ 900 h 1075"/>
                <a:gd name="T4" fmla="*/ 610 w 860"/>
                <a:gd name="T5" fmla="*/ 1051 h 1075"/>
                <a:gd name="T6" fmla="*/ 24 w 860"/>
                <a:gd name="T7" fmla="*/ 174 h 1075"/>
                <a:gd name="T8" fmla="*/ 250 w 860"/>
                <a:gd name="T9" fmla="*/ 24 h 1075"/>
                <a:gd name="T10" fmla="*/ 254 w 860"/>
                <a:gd name="T11" fmla="*/ 0 h 1075"/>
                <a:gd name="T12" fmla="*/ 0 w 860"/>
                <a:gd name="T13" fmla="*/ 169 h 1075"/>
                <a:gd name="T14" fmla="*/ 605 w 860"/>
                <a:gd name="T15" fmla="*/ 1075 h 1075"/>
                <a:gd name="T16" fmla="*/ 860 w 860"/>
                <a:gd name="T17" fmla="*/ 905 h 1075"/>
                <a:gd name="T18" fmla="*/ 254 w 860"/>
                <a:gd name="T19" fmla="*/ 0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0" h="1075">
                  <a:moveTo>
                    <a:pt x="250" y="24"/>
                  </a:moveTo>
                  <a:lnTo>
                    <a:pt x="837" y="900"/>
                  </a:lnTo>
                  <a:lnTo>
                    <a:pt x="610" y="1051"/>
                  </a:lnTo>
                  <a:lnTo>
                    <a:pt x="24" y="174"/>
                  </a:lnTo>
                  <a:lnTo>
                    <a:pt x="250" y="24"/>
                  </a:lnTo>
                  <a:close/>
                  <a:moveTo>
                    <a:pt x="254" y="0"/>
                  </a:moveTo>
                  <a:lnTo>
                    <a:pt x="0" y="169"/>
                  </a:lnTo>
                  <a:lnTo>
                    <a:pt x="605" y="1075"/>
                  </a:lnTo>
                  <a:lnTo>
                    <a:pt x="860" y="905"/>
                  </a:lnTo>
                  <a:lnTo>
                    <a:pt x="254" y="0"/>
                  </a:lnTo>
                  <a:close/>
                </a:path>
              </a:pathLst>
            </a:custGeom>
            <a:solidFill>
              <a:srgbClr val="3C72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íSḻidé">
              <a:extLst>
                <a:ext uri="{FF2B5EF4-FFF2-40B4-BE49-F238E27FC236}">
                  <a16:creationId xmlns:a16="http://schemas.microsoft.com/office/drawing/2014/main" id="{F9AFF670-FA6D-8741-A341-8D85A0E6DCBD}"/>
                </a:ext>
              </a:extLst>
            </p:cNvPr>
            <p:cNvSpPr/>
            <p:nvPr/>
          </p:nvSpPr>
          <p:spPr bwMode="auto">
            <a:xfrm>
              <a:off x="5375275" y="2087563"/>
              <a:ext cx="1365250" cy="1706562"/>
            </a:xfrm>
            <a:custGeom>
              <a:avLst/>
              <a:gdLst>
                <a:gd name="T0" fmla="*/ 250 w 860"/>
                <a:gd name="T1" fmla="*/ 24 h 1075"/>
                <a:gd name="T2" fmla="*/ 837 w 860"/>
                <a:gd name="T3" fmla="*/ 900 h 1075"/>
                <a:gd name="T4" fmla="*/ 610 w 860"/>
                <a:gd name="T5" fmla="*/ 1051 h 1075"/>
                <a:gd name="T6" fmla="*/ 24 w 860"/>
                <a:gd name="T7" fmla="*/ 174 h 1075"/>
                <a:gd name="T8" fmla="*/ 250 w 860"/>
                <a:gd name="T9" fmla="*/ 24 h 1075"/>
                <a:gd name="T10" fmla="*/ 254 w 860"/>
                <a:gd name="T11" fmla="*/ 0 h 1075"/>
                <a:gd name="T12" fmla="*/ 0 w 860"/>
                <a:gd name="T13" fmla="*/ 169 h 1075"/>
                <a:gd name="T14" fmla="*/ 605 w 860"/>
                <a:gd name="T15" fmla="*/ 1075 h 1075"/>
                <a:gd name="T16" fmla="*/ 860 w 860"/>
                <a:gd name="T17" fmla="*/ 905 h 1075"/>
                <a:gd name="T18" fmla="*/ 254 w 860"/>
                <a:gd name="T19" fmla="*/ 0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0" h="1075">
                  <a:moveTo>
                    <a:pt x="250" y="24"/>
                  </a:moveTo>
                  <a:lnTo>
                    <a:pt x="837" y="900"/>
                  </a:lnTo>
                  <a:lnTo>
                    <a:pt x="610" y="1051"/>
                  </a:lnTo>
                  <a:lnTo>
                    <a:pt x="24" y="174"/>
                  </a:lnTo>
                  <a:lnTo>
                    <a:pt x="250" y="24"/>
                  </a:lnTo>
                  <a:moveTo>
                    <a:pt x="254" y="0"/>
                  </a:moveTo>
                  <a:lnTo>
                    <a:pt x="0" y="169"/>
                  </a:lnTo>
                  <a:lnTo>
                    <a:pt x="605" y="1075"/>
                  </a:lnTo>
                  <a:lnTo>
                    <a:pt x="860" y="905"/>
                  </a:lnTo>
                  <a:lnTo>
                    <a:pt x="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išlïďê">
              <a:extLst>
                <a:ext uri="{FF2B5EF4-FFF2-40B4-BE49-F238E27FC236}">
                  <a16:creationId xmlns:a16="http://schemas.microsoft.com/office/drawing/2014/main" id="{C1F37BE7-41A0-AC4B-97FE-68DA01B3F219}"/>
                </a:ext>
              </a:extLst>
            </p:cNvPr>
            <p:cNvSpPr/>
            <p:nvPr/>
          </p:nvSpPr>
          <p:spPr bwMode="auto">
            <a:xfrm>
              <a:off x="5394325" y="2293938"/>
              <a:ext cx="128587" cy="152400"/>
            </a:xfrm>
            <a:custGeom>
              <a:avLst/>
              <a:gdLst>
                <a:gd name="T0" fmla="*/ 0 w 82"/>
                <a:gd name="T1" fmla="*/ 43 h 97"/>
                <a:gd name="T2" fmla="*/ 64 w 82"/>
                <a:gd name="T3" fmla="*/ 0 h 97"/>
                <a:gd name="T4" fmla="*/ 36 w 82"/>
                <a:gd name="T5" fmla="*/ 97 h 97"/>
                <a:gd name="T6" fmla="*/ 0 w 82"/>
                <a:gd name="T7" fmla="*/ 43 h 97"/>
              </a:gdLst>
              <a:ahLst/>
              <a:cxnLst>
                <a:cxn ang="0">
                  <a:pos x="T0" y="T1"/>
                </a:cxn>
                <a:cxn ang="0">
                  <a:pos x="T2" y="T3"/>
                </a:cxn>
                <a:cxn ang="0">
                  <a:pos x="T4" y="T5"/>
                </a:cxn>
                <a:cxn ang="0">
                  <a:pos x="T6" y="T7"/>
                </a:cxn>
              </a:cxnLst>
              <a:rect l="0" t="0" r="r" b="b"/>
              <a:pathLst>
                <a:path w="82" h="97">
                  <a:moveTo>
                    <a:pt x="0" y="43"/>
                  </a:moveTo>
                  <a:cubicBezTo>
                    <a:pt x="64" y="0"/>
                    <a:pt x="64" y="0"/>
                    <a:pt x="64" y="0"/>
                  </a:cubicBezTo>
                  <a:cubicBezTo>
                    <a:pt x="82" y="29"/>
                    <a:pt x="70" y="72"/>
                    <a:pt x="36" y="97"/>
                  </a:cubicBezTo>
                  <a:lnTo>
                    <a:pt x="0" y="43"/>
                  </a:lnTo>
                  <a:close/>
                </a:path>
              </a:pathLst>
            </a:custGeom>
            <a:solidFill>
              <a:srgbClr val="3C72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4" name="ïšľiḋé">
              <a:extLst>
                <a:ext uri="{FF2B5EF4-FFF2-40B4-BE49-F238E27FC236}">
                  <a16:creationId xmlns:a16="http://schemas.microsoft.com/office/drawing/2014/main" id="{66F4499D-A98D-F146-9020-952781ED9A39}"/>
                </a:ext>
              </a:extLst>
            </p:cNvPr>
            <p:cNvSpPr/>
            <p:nvPr/>
          </p:nvSpPr>
          <p:spPr bwMode="auto">
            <a:xfrm>
              <a:off x="5375275" y="2274888"/>
              <a:ext cx="166687" cy="190500"/>
            </a:xfrm>
            <a:custGeom>
              <a:avLst/>
              <a:gdLst>
                <a:gd name="T0" fmla="*/ 73 w 106"/>
                <a:gd name="T1" fmla="*/ 25 h 121"/>
                <a:gd name="T2" fmla="*/ 73 w 106"/>
                <a:gd name="T3" fmla="*/ 59 h 121"/>
                <a:gd name="T4" fmla="*/ 50 w 106"/>
                <a:gd name="T5" fmla="*/ 96 h 121"/>
                <a:gd name="T6" fmla="*/ 24 w 106"/>
                <a:gd name="T7" fmla="*/ 57 h 121"/>
                <a:gd name="T8" fmla="*/ 73 w 106"/>
                <a:gd name="T9" fmla="*/ 25 h 121"/>
                <a:gd name="T10" fmla="*/ 79 w 106"/>
                <a:gd name="T11" fmla="*/ 0 h 121"/>
                <a:gd name="T12" fmla="*/ 0 w 106"/>
                <a:gd name="T13" fmla="*/ 52 h 121"/>
                <a:gd name="T14" fmla="*/ 45 w 106"/>
                <a:gd name="T15" fmla="*/ 121 h 121"/>
                <a:gd name="T16" fmla="*/ 49 w 106"/>
                <a:gd name="T17" fmla="*/ 119 h 121"/>
                <a:gd name="T18" fmla="*/ 82 w 106"/>
                <a:gd name="T19" fmla="*/ 5 h 121"/>
                <a:gd name="T20" fmla="*/ 79 w 106"/>
                <a:gd name="T21"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6" h="121">
                  <a:moveTo>
                    <a:pt x="73" y="25"/>
                  </a:moveTo>
                  <a:cubicBezTo>
                    <a:pt x="77" y="35"/>
                    <a:pt x="77" y="47"/>
                    <a:pt x="73" y="59"/>
                  </a:cubicBezTo>
                  <a:cubicBezTo>
                    <a:pt x="69" y="73"/>
                    <a:pt x="61" y="86"/>
                    <a:pt x="50" y="96"/>
                  </a:cubicBezTo>
                  <a:cubicBezTo>
                    <a:pt x="24" y="57"/>
                    <a:pt x="24" y="57"/>
                    <a:pt x="24" y="57"/>
                  </a:cubicBezTo>
                  <a:lnTo>
                    <a:pt x="73" y="25"/>
                  </a:lnTo>
                  <a:close/>
                  <a:moveTo>
                    <a:pt x="79" y="0"/>
                  </a:moveTo>
                  <a:cubicBezTo>
                    <a:pt x="0" y="52"/>
                    <a:pt x="0" y="52"/>
                    <a:pt x="0" y="52"/>
                  </a:cubicBezTo>
                  <a:cubicBezTo>
                    <a:pt x="45" y="121"/>
                    <a:pt x="45" y="121"/>
                    <a:pt x="45" y="121"/>
                  </a:cubicBezTo>
                  <a:cubicBezTo>
                    <a:pt x="47" y="120"/>
                    <a:pt x="48" y="119"/>
                    <a:pt x="49" y="119"/>
                  </a:cubicBezTo>
                  <a:cubicBezTo>
                    <a:pt x="91" y="91"/>
                    <a:pt x="106" y="40"/>
                    <a:pt x="82" y="5"/>
                  </a:cubicBezTo>
                  <a:cubicBezTo>
                    <a:pt x="81" y="3"/>
                    <a:pt x="80" y="1"/>
                    <a:pt x="79" y="0"/>
                  </a:cubicBezTo>
                  <a:close/>
                </a:path>
              </a:pathLst>
            </a:custGeom>
            <a:solidFill>
              <a:srgbClr val="3C72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išľiḋé">
              <a:extLst>
                <a:ext uri="{FF2B5EF4-FFF2-40B4-BE49-F238E27FC236}">
                  <a16:creationId xmlns:a16="http://schemas.microsoft.com/office/drawing/2014/main" id="{ED83EE3C-1531-7F4C-A83B-49561EDFA194}"/>
                </a:ext>
              </a:extLst>
            </p:cNvPr>
            <p:cNvSpPr/>
            <p:nvPr/>
          </p:nvSpPr>
          <p:spPr bwMode="auto">
            <a:xfrm>
              <a:off x="5670550" y="2109788"/>
              <a:ext cx="158750" cy="104775"/>
            </a:xfrm>
            <a:custGeom>
              <a:avLst/>
              <a:gdLst>
                <a:gd name="T0" fmla="*/ 51 w 101"/>
                <a:gd name="T1" fmla="*/ 67 h 67"/>
                <a:gd name="T2" fmla="*/ 0 w 101"/>
                <a:gd name="T3" fmla="*/ 44 h 67"/>
                <a:gd name="T4" fmla="*/ 67 w 101"/>
                <a:gd name="T5" fmla="*/ 0 h 67"/>
                <a:gd name="T6" fmla="*/ 101 w 101"/>
                <a:gd name="T7" fmla="*/ 52 h 67"/>
                <a:gd name="T8" fmla="*/ 51 w 101"/>
                <a:gd name="T9" fmla="*/ 67 h 67"/>
              </a:gdLst>
              <a:ahLst/>
              <a:cxnLst>
                <a:cxn ang="0">
                  <a:pos x="T0" y="T1"/>
                </a:cxn>
                <a:cxn ang="0">
                  <a:pos x="T2" y="T3"/>
                </a:cxn>
                <a:cxn ang="0">
                  <a:pos x="T4" y="T5"/>
                </a:cxn>
                <a:cxn ang="0">
                  <a:pos x="T6" y="T7"/>
                </a:cxn>
                <a:cxn ang="0">
                  <a:pos x="T8" y="T9"/>
                </a:cxn>
              </a:cxnLst>
              <a:rect l="0" t="0" r="r" b="b"/>
              <a:pathLst>
                <a:path w="101" h="67">
                  <a:moveTo>
                    <a:pt x="51" y="67"/>
                  </a:moveTo>
                  <a:cubicBezTo>
                    <a:pt x="30" y="67"/>
                    <a:pt x="11" y="59"/>
                    <a:pt x="0" y="44"/>
                  </a:cubicBezTo>
                  <a:cubicBezTo>
                    <a:pt x="67" y="0"/>
                    <a:pt x="67" y="0"/>
                    <a:pt x="67" y="0"/>
                  </a:cubicBezTo>
                  <a:cubicBezTo>
                    <a:pt x="101" y="52"/>
                    <a:pt x="101" y="52"/>
                    <a:pt x="101" y="52"/>
                  </a:cubicBezTo>
                  <a:cubicBezTo>
                    <a:pt x="86" y="62"/>
                    <a:pt x="68" y="67"/>
                    <a:pt x="51" y="67"/>
                  </a:cubicBezTo>
                  <a:close/>
                </a:path>
              </a:pathLst>
            </a:custGeom>
            <a:solidFill>
              <a:srgbClr val="3C72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ísliḑè">
              <a:extLst>
                <a:ext uri="{FF2B5EF4-FFF2-40B4-BE49-F238E27FC236}">
                  <a16:creationId xmlns:a16="http://schemas.microsoft.com/office/drawing/2014/main" id="{E857F2EC-B787-F842-96C2-49918E8DB4B8}"/>
                </a:ext>
              </a:extLst>
            </p:cNvPr>
            <p:cNvSpPr/>
            <p:nvPr/>
          </p:nvSpPr>
          <p:spPr bwMode="auto">
            <a:xfrm>
              <a:off x="5649913" y="2089150"/>
              <a:ext cx="198437" cy="139700"/>
            </a:xfrm>
            <a:custGeom>
              <a:avLst/>
              <a:gdLst>
                <a:gd name="T0" fmla="*/ 77 w 126"/>
                <a:gd name="T1" fmla="*/ 25 h 89"/>
                <a:gd name="T2" fmla="*/ 102 w 126"/>
                <a:gd name="T3" fmla="*/ 62 h 89"/>
                <a:gd name="T4" fmla="*/ 64 w 126"/>
                <a:gd name="T5" fmla="*/ 71 h 89"/>
                <a:gd name="T6" fmla="*/ 26 w 126"/>
                <a:gd name="T7" fmla="*/ 59 h 89"/>
                <a:gd name="T8" fmla="*/ 77 w 126"/>
                <a:gd name="T9" fmla="*/ 25 h 89"/>
                <a:gd name="T10" fmla="*/ 82 w 126"/>
                <a:gd name="T11" fmla="*/ 0 h 89"/>
                <a:gd name="T12" fmla="*/ 0 w 126"/>
                <a:gd name="T13" fmla="*/ 55 h 89"/>
                <a:gd name="T14" fmla="*/ 2 w 126"/>
                <a:gd name="T15" fmla="*/ 58 h 89"/>
                <a:gd name="T16" fmla="*/ 64 w 126"/>
                <a:gd name="T17" fmla="*/ 89 h 89"/>
                <a:gd name="T18" fmla="*/ 120 w 126"/>
                <a:gd name="T19" fmla="*/ 71 h 89"/>
                <a:gd name="T20" fmla="*/ 126 w 126"/>
                <a:gd name="T21" fmla="*/ 67 h 89"/>
                <a:gd name="T22" fmla="*/ 82 w 126"/>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6" h="89">
                  <a:moveTo>
                    <a:pt x="77" y="25"/>
                  </a:moveTo>
                  <a:cubicBezTo>
                    <a:pt x="102" y="62"/>
                    <a:pt x="102" y="62"/>
                    <a:pt x="102" y="62"/>
                  </a:cubicBezTo>
                  <a:cubicBezTo>
                    <a:pt x="90" y="68"/>
                    <a:pt x="77" y="71"/>
                    <a:pt x="64" y="71"/>
                  </a:cubicBezTo>
                  <a:cubicBezTo>
                    <a:pt x="49" y="71"/>
                    <a:pt x="36" y="67"/>
                    <a:pt x="26" y="59"/>
                  </a:cubicBezTo>
                  <a:lnTo>
                    <a:pt x="77" y="25"/>
                  </a:lnTo>
                  <a:close/>
                  <a:moveTo>
                    <a:pt x="82" y="0"/>
                  </a:moveTo>
                  <a:cubicBezTo>
                    <a:pt x="0" y="55"/>
                    <a:pt x="0" y="55"/>
                    <a:pt x="0" y="55"/>
                  </a:cubicBezTo>
                  <a:cubicBezTo>
                    <a:pt x="1" y="56"/>
                    <a:pt x="2" y="57"/>
                    <a:pt x="2" y="58"/>
                  </a:cubicBezTo>
                  <a:cubicBezTo>
                    <a:pt x="16" y="78"/>
                    <a:pt x="39" y="89"/>
                    <a:pt x="64" y="89"/>
                  </a:cubicBezTo>
                  <a:cubicBezTo>
                    <a:pt x="83" y="89"/>
                    <a:pt x="103" y="83"/>
                    <a:pt x="120" y="71"/>
                  </a:cubicBezTo>
                  <a:cubicBezTo>
                    <a:pt x="123" y="70"/>
                    <a:pt x="125" y="68"/>
                    <a:pt x="126" y="67"/>
                  </a:cubicBezTo>
                  <a:lnTo>
                    <a:pt x="82" y="0"/>
                  </a:lnTo>
                  <a:close/>
                </a:path>
              </a:pathLst>
            </a:custGeom>
            <a:solidFill>
              <a:srgbClr val="3C72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îṡľîḍe">
              <a:extLst>
                <a:ext uri="{FF2B5EF4-FFF2-40B4-BE49-F238E27FC236}">
                  <a16:creationId xmlns:a16="http://schemas.microsoft.com/office/drawing/2014/main" id="{67D5DE17-DBBB-DD40-81E7-2C494DC7C159}"/>
                </a:ext>
              </a:extLst>
            </p:cNvPr>
            <p:cNvSpPr/>
            <p:nvPr/>
          </p:nvSpPr>
          <p:spPr bwMode="auto">
            <a:xfrm>
              <a:off x="6589713" y="3436938"/>
              <a:ext cx="130175" cy="152400"/>
            </a:xfrm>
            <a:custGeom>
              <a:avLst/>
              <a:gdLst>
                <a:gd name="T0" fmla="*/ 18 w 83"/>
                <a:gd name="T1" fmla="*/ 97 h 97"/>
                <a:gd name="T2" fmla="*/ 47 w 83"/>
                <a:gd name="T3" fmla="*/ 0 h 97"/>
                <a:gd name="T4" fmla="*/ 83 w 83"/>
                <a:gd name="T5" fmla="*/ 54 h 97"/>
                <a:gd name="T6" fmla="*/ 18 w 83"/>
                <a:gd name="T7" fmla="*/ 97 h 97"/>
              </a:gdLst>
              <a:ahLst/>
              <a:cxnLst>
                <a:cxn ang="0">
                  <a:pos x="T0" y="T1"/>
                </a:cxn>
                <a:cxn ang="0">
                  <a:pos x="T2" y="T3"/>
                </a:cxn>
                <a:cxn ang="0">
                  <a:pos x="T4" y="T5"/>
                </a:cxn>
                <a:cxn ang="0">
                  <a:pos x="T6" y="T7"/>
                </a:cxn>
              </a:cxnLst>
              <a:rect l="0" t="0" r="r" b="b"/>
              <a:pathLst>
                <a:path w="83" h="97">
                  <a:moveTo>
                    <a:pt x="18" y="97"/>
                  </a:moveTo>
                  <a:cubicBezTo>
                    <a:pt x="0" y="67"/>
                    <a:pt x="13" y="25"/>
                    <a:pt x="47" y="0"/>
                  </a:cubicBezTo>
                  <a:cubicBezTo>
                    <a:pt x="83" y="54"/>
                    <a:pt x="83" y="54"/>
                    <a:pt x="83" y="54"/>
                  </a:cubicBezTo>
                  <a:lnTo>
                    <a:pt x="18" y="97"/>
                  </a:lnTo>
                  <a:close/>
                </a:path>
              </a:pathLst>
            </a:custGeom>
            <a:solidFill>
              <a:srgbClr val="3C72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îŝlîďè">
              <a:extLst>
                <a:ext uri="{FF2B5EF4-FFF2-40B4-BE49-F238E27FC236}">
                  <a16:creationId xmlns:a16="http://schemas.microsoft.com/office/drawing/2014/main" id="{D7B7B017-B2C8-3941-9F0B-D060E5F53C15}"/>
                </a:ext>
              </a:extLst>
            </p:cNvPr>
            <p:cNvSpPr/>
            <p:nvPr/>
          </p:nvSpPr>
          <p:spPr bwMode="auto">
            <a:xfrm>
              <a:off x="6572250" y="3417888"/>
              <a:ext cx="166687" cy="190500"/>
            </a:xfrm>
            <a:custGeom>
              <a:avLst/>
              <a:gdLst>
                <a:gd name="T0" fmla="*/ 56 w 106"/>
                <a:gd name="T1" fmla="*/ 25 h 121"/>
                <a:gd name="T2" fmla="*/ 82 w 106"/>
                <a:gd name="T3" fmla="*/ 63 h 121"/>
                <a:gd name="T4" fmla="*/ 33 w 106"/>
                <a:gd name="T5" fmla="*/ 96 h 121"/>
                <a:gd name="T6" fmla="*/ 56 w 106"/>
                <a:gd name="T7" fmla="*/ 25 h 121"/>
                <a:gd name="T8" fmla="*/ 60 w 106"/>
                <a:gd name="T9" fmla="*/ 0 h 121"/>
                <a:gd name="T10" fmla="*/ 57 w 106"/>
                <a:gd name="T11" fmla="*/ 2 h 121"/>
                <a:gd name="T12" fmla="*/ 23 w 106"/>
                <a:gd name="T13" fmla="*/ 116 h 121"/>
                <a:gd name="T14" fmla="*/ 27 w 106"/>
                <a:gd name="T15" fmla="*/ 121 h 121"/>
                <a:gd name="T16" fmla="*/ 106 w 106"/>
                <a:gd name="T17" fmla="*/ 68 h 121"/>
                <a:gd name="T18" fmla="*/ 60 w 106"/>
                <a:gd name="T19"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21">
                  <a:moveTo>
                    <a:pt x="56" y="25"/>
                  </a:moveTo>
                  <a:cubicBezTo>
                    <a:pt x="82" y="63"/>
                    <a:pt x="82" y="63"/>
                    <a:pt x="82" y="63"/>
                  </a:cubicBezTo>
                  <a:cubicBezTo>
                    <a:pt x="33" y="96"/>
                    <a:pt x="33" y="96"/>
                    <a:pt x="33" y="96"/>
                  </a:cubicBezTo>
                  <a:cubicBezTo>
                    <a:pt x="24" y="73"/>
                    <a:pt x="34" y="45"/>
                    <a:pt x="56" y="25"/>
                  </a:cubicBezTo>
                  <a:close/>
                  <a:moveTo>
                    <a:pt x="60" y="0"/>
                  </a:moveTo>
                  <a:cubicBezTo>
                    <a:pt x="59" y="0"/>
                    <a:pt x="58" y="1"/>
                    <a:pt x="57" y="2"/>
                  </a:cubicBezTo>
                  <a:cubicBezTo>
                    <a:pt x="15" y="30"/>
                    <a:pt x="0" y="81"/>
                    <a:pt x="23" y="116"/>
                  </a:cubicBezTo>
                  <a:cubicBezTo>
                    <a:pt x="24" y="118"/>
                    <a:pt x="26" y="119"/>
                    <a:pt x="27" y="121"/>
                  </a:cubicBezTo>
                  <a:cubicBezTo>
                    <a:pt x="106" y="68"/>
                    <a:pt x="106" y="68"/>
                    <a:pt x="106" y="68"/>
                  </a:cubicBezTo>
                  <a:lnTo>
                    <a:pt x="60" y="0"/>
                  </a:lnTo>
                  <a:close/>
                </a:path>
              </a:pathLst>
            </a:custGeom>
            <a:solidFill>
              <a:srgbClr val="3C72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ïS1ïḑè">
              <a:extLst>
                <a:ext uri="{FF2B5EF4-FFF2-40B4-BE49-F238E27FC236}">
                  <a16:creationId xmlns:a16="http://schemas.microsoft.com/office/drawing/2014/main" id="{BB8F9FE5-75D3-C44B-A075-2BA9C855A2BF}"/>
                </a:ext>
              </a:extLst>
            </p:cNvPr>
            <p:cNvSpPr/>
            <p:nvPr/>
          </p:nvSpPr>
          <p:spPr bwMode="auto">
            <a:xfrm>
              <a:off x="6284913" y="3667125"/>
              <a:ext cx="160337" cy="106362"/>
            </a:xfrm>
            <a:custGeom>
              <a:avLst/>
              <a:gdLst>
                <a:gd name="T0" fmla="*/ 0 w 102"/>
                <a:gd name="T1" fmla="*/ 15 h 67"/>
                <a:gd name="T2" fmla="*/ 51 w 102"/>
                <a:gd name="T3" fmla="*/ 0 h 67"/>
                <a:gd name="T4" fmla="*/ 102 w 102"/>
                <a:gd name="T5" fmla="*/ 22 h 67"/>
                <a:gd name="T6" fmla="*/ 35 w 102"/>
                <a:gd name="T7" fmla="*/ 67 h 67"/>
                <a:gd name="T8" fmla="*/ 0 w 102"/>
                <a:gd name="T9" fmla="*/ 15 h 67"/>
              </a:gdLst>
              <a:ahLst/>
              <a:cxnLst>
                <a:cxn ang="0">
                  <a:pos x="T0" y="T1"/>
                </a:cxn>
                <a:cxn ang="0">
                  <a:pos x="T2" y="T3"/>
                </a:cxn>
                <a:cxn ang="0">
                  <a:pos x="T4" y="T5"/>
                </a:cxn>
                <a:cxn ang="0">
                  <a:pos x="T6" y="T7"/>
                </a:cxn>
                <a:cxn ang="0">
                  <a:pos x="T8" y="T9"/>
                </a:cxn>
              </a:cxnLst>
              <a:rect l="0" t="0" r="r" b="b"/>
              <a:pathLst>
                <a:path w="102" h="67">
                  <a:moveTo>
                    <a:pt x="0" y="15"/>
                  </a:moveTo>
                  <a:cubicBezTo>
                    <a:pt x="16" y="5"/>
                    <a:pt x="33" y="0"/>
                    <a:pt x="51" y="0"/>
                  </a:cubicBezTo>
                  <a:cubicBezTo>
                    <a:pt x="72" y="0"/>
                    <a:pt x="90" y="8"/>
                    <a:pt x="102" y="22"/>
                  </a:cubicBezTo>
                  <a:cubicBezTo>
                    <a:pt x="35" y="67"/>
                    <a:pt x="35" y="67"/>
                    <a:pt x="35" y="67"/>
                  </a:cubicBezTo>
                  <a:lnTo>
                    <a:pt x="0" y="15"/>
                  </a:lnTo>
                  <a:close/>
                </a:path>
              </a:pathLst>
            </a:custGeom>
            <a:solidFill>
              <a:srgbClr val="3C72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iṥlíďè">
              <a:extLst>
                <a:ext uri="{FF2B5EF4-FFF2-40B4-BE49-F238E27FC236}">
                  <a16:creationId xmlns:a16="http://schemas.microsoft.com/office/drawing/2014/main" id="{2AAE57F4-1A3B-5943-9FC0-6CD62790CD96}"/>
                </a:ext>
              </a:extLst>
            </p:cNvPr>
            <p:cNvSpPr/>
            <p:nvPr/>
          </p:nvSpPr>
          <p:spPr bwMode="auto">
            <a:xfrm>
              <a:off x="6265863" y="3652838"/>
              <a:ext cx="198437" cy="139700"/>
            </a:xfrm>
            <a:custGeom>
              <a:avLst/>
              <a:gdLst>
                <a:gd name="T0" fmla="*/ 63 w 126"/>
                <a:gd name="T1" fmla="*/ 0 h 88"/>
                <a:gd name="T2" fmla="*/ 63 w 126"/>
                <a:gd name="T3" fmla="*/ 17 h 88"/>
                <a:gd name="T4" fmla="*/ 100 w 126"/>
                <a:gd name="T5" fmla="*/ 30 h 88"/>
                <a:gd name="T6" fmla="*/ 49 w 126"/>
                <a:gd name="T7" fmla="*/ 64 h 88"/>
                <a:gd name="T8" fmla="*/ 25 w 126"/>
                <a:gd name="T9" fmla="*/ 27 h 88"/>
                <a:gd name="T10" fmla="*/ 63 w 126"/>
                <a:gd name="T11" fmla="*/ 17 h 88"/>
                <a:gd name="T12" fmla="*/ 63 w 126"/>
                <a:gd name="T13" fmla="*/ 0 h 88"/>
                <a:gd name="T14" fmla="*/ 63 w 126"/>
                <a:gd name="T15" fmla="*/ 0 h 88"/>
                <a:gd name="T16" fmla="*/ 6 w 126"/>
                <a:gd name="T17" fmla="*/ 17 h 88"/>
                <a:gd name="T18" fmla="*/ 0 w 126"/>
                <a:gd name="T19" fmla="*/ 22 h 88"/>
                <a:gd name="T20" fmla="*/ 44 w 126"/>
                <a:gd name="T21" fmla="*/ 88 h 88"/>
                <a:gd name="T22" fmla="*/ 126 w 126"/>
                <a:gd name="T23" fmla="*/ 33 h 88"/>
                <a:gd name="T24" fmla="*/ 124 w 126"/>
                <a:gd name="T25" fmla="*/ 30 h 88"/>
                <a:gd name="T26" fmla="*/ 63 w 126"/>
                <a:gd name="T27"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6" h="88">
                  <a:moveTo>
                    <a:pt x="63" y="0"/>
                  </a:moveTo>
                  <a:cubicBezTo>
                    <a:pt x="63" y="17"/>
                    <a:pt x="63" y="17"/>
                    <a:pt x="63" y="17"/>
                  </a:cubicBezTo>
                  <a:cubicBezTo>
                    <a:pt x="77" y="17"/>
                    <a:pt x="90" y="22"/>
                    <a:pt x="100" y="30"/>
                  </a:cubicBezTo>
                  <a:cubicBezTo>
                    <a:pt x="49" y="64"/>
                    <a:pt x="49" y="64"/>
                    <a:pt x="49" y="64"/>
                  </a:cubicBezTo>
                  <a:cubicBezTo>
                    <a:pt x="25" y="27"/>
                    <a:pt x="25" y="27"/>
                    <a:pt x="25" y="27"/>
                  </a:cubicBezTo>
                  <a:cubicBezTo>
                    <a:pt x="37" y="21"/>
                    <a:pt x="50" y="17"/>
                    <a:pt x="63" y="17"/>
                  </a:cubicBezTo>
                  <a:lnTo>
                    <a:pt x="63" y="0"/>
                  </a:lnTo>
                  <a:close/>
                  <a:moveTo>
                    <a:pt x="63" y="0"/>
                  </a:moveTo>
                  <a:cubicBezTo>
                    <a:pt x="44" y="0"/>
                    <a:pt x="24" y="6"/>
                    <a:pt x="6" y="17"/>
                  </a:cubicBezTo>
                  <a:cubicBezTo>
                    <a:pt x="4" y="19"/>
                    <a:pt x="2" y="20"/>
                    <a:pt x="0" y="22"/>
                  </a:cubicBezTo>
                  <a:cubicBezTo>
                    <a:pt x="44" y="88"/>
                    <a:pt x="44" y="88"/>
                    <a:pt x="44" y="88"/>
                  </a:cubicBezTo>
                  <a:cubicBezTo>
                    <a:pt x="126" y="33"/>
                    <a:pt x="126" y="33"/>
                    <a:pt x="126" y="33"/>
                  </a:cubicBezTo>
                  <a:cubicBezTo>
                    <a:pt x="126" y="32"/>
                    <a:pt x="125" y="31"/>
                    <a:pt x="124" y="30"/>
                  </a:cubicBezTo>
                  <a:cubicBezTo>
                    <a:pt x="111" y="10"/>
                    <a:pt x="88" y="0"/>
                    <a:pt x="63" y="0"/>
                  </a:cubicBezTo>
                  <a:close/>
                </a:path>
              </a:pathLst>
            </a:custGeom>
            <a:solidFill>
              <a:srgbClr val="3C72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ṡḷíḑe">
              <a:extLst>
                <a:ext uri="{FF2B5EF4-FFF2-40B4-BE49-F238E27FC236}">
                  <a16:creationId xmlns:a16="http://schemas.microsoft.com/office/drawing/2014/main" id="{6AC8C733-F8F5-0A42-8648-EC18B4C0B3F0}"/>
                </a:ext>
              </a:extLst>
            </p:cNvPr>
            <p:cNvSpPr/>
            <p:nvPr/>
          </p:nvSpPr>
          <p:spPr bwMode="auto">
            <a:xfrm>
              <a:off x="5848350" y="2684463"/>
              <a:ext cx="420687" cy="511175"/>
            </a:xfrm>
            <a:custGeom>
              <a:avLst/>
              <a:gdLst>
                <a:gd name="T0" fmla="*/ 222 w 267"/>
                <a:gd name="T1" fmla="*/ 295 h 325"/>
                <a:gd name="T2" fmla="*/ 53 w 267"/>
                <a:gd name="T3" fmla="*/ 217 h 325"/>
                <a:gd name="T4" fmla="*/ 45 w 267"/>
                <a:gd name="T5" fmla="*/ 30 h 325"/>
                <a:gd name="T6" fmla="*/ 214 w 267"/>
                <a:gd name="T7" fmla="*/ 109 h 325"/>
                <a:gd name="T8" fmla="*/ 222 w 267"/>
                <a:gd name="T9" fmla="*/ 295 h 325"/>
              </a:gdLst>
              <a:ahLst/>
              <a:cxnLst>
                <a:cxn ang="0">
                  <a:pos x="T0" y="T1"/>
                </a:cxn>
                <a:cxn ang="0">
                  <a:pos x="T2" y="T3"/>
                </a:cxn>
                <a:cxn ang="0">
                  <a:pos x="T4" y="T5"/>
                </a:cxn>
                <a:cxn ang="0">
                  <a:pos x="T6" y="T7"/>
                </a:cxn>
                <a:cxn ang="0">
                  <a:pos x="T8" y="T9"/>
                </a:cxn>
              </a:cxnLst>
              <a:rect l="0" t="0" r="r" b="b"/>
              <a:pathLst>
                <a:path w="267" h="325">
                  <a:moveTo>
                    <a:pt x="222" y="295"/>
                  </a:moveTo>
                  <a:cubicBezTo>
                    <a:pt x="177" y="325"/>
                    <a:pt x="102" y="290"/>
                    <a:pt x="53" y="217"/>
                  </a:cubicBezTo>
                  <a:cubicBezTo>
                    <a:pt x="4" y="143"/>
                    <a:pt x="0" y="60"/>
                    <a:pt x="45" y="30"/>
                  </a:cubicBezTo>
                  <a:cubicBezTo>
                    <a:pt x="89" y="0"/>
                    <a:pt x="165" y="35"/>
                    <a:pt x="214" y="109"/>
                  </a:cubicBezTo>
                  <a:cubicBezTo>
                    <a:pt x="263" y="182"/>
                    <a:pt x="267" y="265"/>
                    <a:pt x="222" y="295"/>
                  </a:cubicBezTo>
                  <a:close/>
                </a:path>
              </a:pathLst>
            </a:custGeom>
            <a:solidFill>
              <a:srgbClr val="4A84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2" name="íSlïdè">
              <a:extLst>
                <a:ext uri="{FF2B5EF4-FFF2-40B4-BE49-F238E27FC236}">
                  <a16:creationId xmlns:a16="http://schemas.microsoft.com/office/drawing/2014/main" id="{BE854B03-9D5B-134C-91AF-677FDEC770EE}"/>
                </a:ext>
              </a:extLst>
            </p:cNvPr>
            <p:cNvSpPr/>
            <p:nvPr/>
          </p:nvSpPr>
          <p:spPr bwMode="auto">
            <a:xfrm>
              <a:off x="5691188" y="2413000"/>
              <a:ext cx="133350" cy="158750"/>
            </a:xfrm>
            <a:custGeom>
              <a:avLst/>
              <a:gdLst>
                <a:gd name="T0" fmla="*/ 70 w 84"/>
                <a:gd name="T1" fmla="*/ 92 h 101"/>
                <a:gd name="T2" fmla="*/ 17 w 84"/>
                <a:gd name="T3" fmla="*/ 68 h 101"/>
                <a:gd name="T4" fmla="*/ 14 w 84"/>
                <a:gd name="T5" fmla="*/ 9 h 101"/>
                <a:gd name="T6" fmla="*/ 67 w 84"/>
                <a:gd name="T7" fmla="*/ 34 h 101"/>
                <a:gd name="T8" fmla="*/ 70 w 84"/>
                <a:gd name="T9" fmla="*/ 92 h 101"/>
              </a:gdLst>
              <a:ahLst/>
              <a:cxnLst>
                <a:cxn ang="0">
                  <a:pos x="T0" y="T1"/>
                </a:cxn>
                <a:cxn ang="0">
                  <a:pos x="T2" y="T3"/>
                </a:cxn>
                <a:cxn ang="0">
                  <a:pos x="T4" y="T5"/>
                </a:cxn>
                <a:cxn ang="0">
                  <a:pos x="T6" y="T7"/>
                </a:cxn>
                <a:cxn ang="0">
                  <a:pos x="T8" y="T9"/>
                </a:cxn>
              </a:cxnLst>
              <a:rect l="0" t="0" r="r" b="b"/>
              <a:pathLst>
                <a:path w="84" h="101">
                  <a:moveTo>
                    <a:pt x="70" y="92"/>
                  </a:moveTo>
                  <a:cubicBezTo>
                    <a:pt x="56" y="101"/>
                    <a:pt x="32" y="90"/>
                    <a:pt x="17" y="68"/>
                  </a:cubicBezTo>
                  <a:cubicBezTo>
                    <a:pt x="2" y="45"/>
                    <a:pt x="0" y="19"/>
                    <a:pt x="14" y="9"/>
                  </a:cubicBezTo>
                  <a:cubicBezTo>
                    <a:pt x="28" y="0"/>
                    <a:pt x="52" y="11"/>
                    <a:pt x="67" y="34"/>
                  </a:cubicBezTo>
                  <a:cubicBezTo>
                    <a:pt x="82" y="57"/>
                    <a:pt x="84" y="83"/>
                    <a:pt x="70" y="92"/>
                  </a:cubicBezTo>
                  <a:close/>
                </a:path>
              </a:pathLst>
            </a:custGeom>
            <a:solidFill>
              <a:srgbClr val="D8E6E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3" name="íśľiḋé">
              <a:extLst>
                <a:ext uri="{FF2B5EF4-FFF2-40B4-BE49-F238E27FC236}">
                  <a16:creationId xmlns:a16="http://schemas.microsoft.com/office/drawing/2014/main" id="{1A549924-9193-CA4A-B2A7-5A23B3626C0F}"/>
                </a:ext>
              </a:extLst>
            </p:cNvPr>
            <p:cNvSpPr/>
            <p:nvPr/>
          </p:nvSpPr>
          <p:spPr bwMode="auto">
            <a:xfrm>
              <a:off x="6292850" y="3309938"/>
              <a:ext cx="130175" cy="158750"/>
            </a:xfrm>
            <a:custGeom>
              <a:avLst/>
              <a:gdLst>
                <a:gd name="T0" fmla="*/ 69 w 83"/>
                <a:gd name="T1" fmla="*/ 92 h 101"/>
                <a:gd name="T2" fmla="*/ 17 w 83"/>
                <a:gd name="T3" fmla="*/ 67 h 101"/>
                <a:gd name="T4" fmla="*/ 14 w 83"/>
                <a:gd name="T5" fmla="*/ 9 h 101"/>
                <a:gd name="T6" fmla="*/ 67 w 83"/>
                <a:gd name="T7" fmla="*/ 34 h 101"/>
                <a:gd name="T8" fmla="*/ 69 w 83"/>
                <a:gd name="T9" fmla="*/ 92 h 101"/>
              </a:gdLst>
              <a:ahLst/>
              <a:cxnLst>
                <a:cxn ang="0">
                  <a:pos x="T0" y="T1"/>
                </a:cxn>
                <a:cxn ang="0">
                  <a:pos x="T2" y="T3"/>
                </a:cxn>
                <a:cxn ang="0">
                  <a:pos x="T4" y="T5"/>
                </a:cxn>
                <a:cxn ang="0">
                  <a:pos x="T6" y="T7"/>
                </a:cxn>
                <a:cxn ang="0">
                  <a:pos x="T8" y="T9"/>
                </a:cxn>
              </a:cxnLst>
              <a:rect l="0" t="0" r="r" b="b"/>
              <a:pathLst>
                <a:path w="83" h="101">
                  <a:moveTo>
                    <a:pt x="69" y="92"/>
                  </a:moveTo>
                  <a:cubicBezTo>
                    <a:pt x="55" y="101"/>
                    <a:pt x="32" y="90"/>
                    <a:pt x="17" y="67"/>
                  </a:cubicBezTo>
                  <a:cubicBezTo>
                    <a:pt x="1" y="44"/>
                    <a:pt x="0" y="18"/>
                    <a:pt x="14" y="9"/>
                  </a:cubicBezTo>
                  <a:cubicBezTo>
                    <a:pt x="28" y="0"/>
                    <a:pt x="52" y="11"/>
                    <a:pt x="67" y="34"/>
                  </a:cubicBezTo>
                  <a:cubicBezTo>
                    <a:pt x="82" y="56"/>
                    <a:pt x="83" y="83"/>
                    <a:pt x="69" y="92"/>
                  </a:cubicBezTo>
                  <a:close/>
                </a:path>
              </a:pathLst>
            </a:custGeom>
            <a:solidFill>
              <a:srgbClr val="D8E6E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4" name="íṥḻïḋè">
              <a:extLst>
                <a:ext uri="{FF2B5EF4-FFF2-40B4-BE49-F238E27FC236}">
                  <a16:creationId xmlns:a16="http://schemas.microsoft.com/office/drawing/2014/main" id="{1EDA61D2-DE8A-5B4A-A3D0-BA4E340E1688}"/>
                </a:ext>
              </a:extLst>
            </p:cNvPr>
            <p:cNvSpPr/>
            <p:nvPr/>
          </p:nvSpPr>
          <p:spPr bwMode="auto">
            <a:xfrm>
              <a:off x="5481638" y="2703513"/>
              <a:ext cx="960437" cy="793750"/>
            </a:xfrm>
            <a:custGeom>
              <a:avLst/>
              <a:gdLst>
                <a:gd name="T0" fmla="*/ 605 w 605"/>
                <a:gd name="T1" fmla="*/ 162 h 500"/>
                <a:gd name="T2" fmla="*/ 109 w 605"/>
                <a:gd name="T3" fmla="*/ 500 h 500"/>
                <a:gd name="T4" fmla="*/ 0 w 605"/>
                <a:gd name="T5" fmla="*/ 339 h 500"/>
                <a:gd name="T6" fmla="*/ 497 w 605"/>
                <a:gd name="T7" fmla="*/ 0 h 500"/>
                <a:gd name="T8" fmla="*/ 605 w 605"/>
                <a:gd name="T9" fmla="*/ 162 h 500"/>
              </a:gdLst>
              <a:ahLst/>
              <a:cxnLst>
                <a:cxn ang="0">
                  <a:pos x="T0" y="T1"/>
                </a:cxn>
                <a:cxn ang="0">
                  <a:pos x="T2" y="T3"/>
                </a:cxn>
                <a:cxn ang="0">
                  <a:pos x="T4" y="T5"/>
                </a:cxn>
                <a:cxn ang="0">
                  <a:pos x="T6" y="T7"/>
                </a:cxn>
                <a:cxn ang="0">
                  <a:pos x="T8" y="T9"/>
                </a:cxn>
              </a:cxnLst>
              <a:rect l="0" t="0" r="r" b="b"/>
              <a:pathLst>
                <a:path w="605" h="500">
                  <a:moveTo>
                    <a:pt x="605" y="162"/>
                  </a:moveTo>
                  <a:lnTo>
                    <a:pt x="109" y="500"/>
                  </a:lnTo>
                  <a:lnTo>
                    <a:pt x="0" y="339"/>
                  </a:lnTo>
                  <a:lnTo>
                    <a:pt x="497" y="0"/>
                  </a:lnTo>
                  <a:lnTo>
                    <a:pt x="605" y="162"/>
                  </a:lnTo>
                  <a:close/>
                </a:path>
              </a:pathLst>
            </a:custGeom>
            <a:solidFill>
              <a:srgbClr val="3C72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îṩļïďe">
              <a:extLst>
                <a:ext uri="{FF2B5EF4-FFF2-40B4-BE49-F238E27FC236}">
                  <a16:creationId xmlns:a16="http://schemas.microsoft.com/office/drawing/2014/main" id="{A89EABB9-4BC0-4A49-B3A8-BFC34D8EAD5E}"/>
                </a:ext>
              </a:extLst>
            </p:cNvPr>
            <p:cNvSpPr/>
            <p:nvPr/>
          </p:nvSpPr>
          <p:spPr bwMode="auto">
            <a:xfrm>
              <a:off x="5686425" y="2600325"/>
              <a:ext cx="742950" cy="677862"/>
            </a:xfrm>
            <a:custGeom>
              <a:avLst/>
              <a:gdLst>
                <a:gd name="T0" fmla="*/ 140 w 468"/>
                <a:gd name="T1" fmla="*/ 427 h 427"/>
                <a:gd name="T2" fmla="*/ 0 w 468"/>
                <a:gd name="T3" fmla="*/ 219 h 427"/>
                <a:gd name="T4" fmla="*/ 328 w 468"/>
                <a:gd name="T5" fmla="*/ 0 h 427"/>
                <a:gd name="T6" fmla="*/ 468 w 468"/>
                <a:gd name="T7" fmla="*/ 208 h 427"/>
                <a:gd name="T8" fmla="*/ 140 w 468"/>
                <a:gd name="T9" fmla="*/ 427 h 427"/>
              </a:gdLst>
              <a:ahLst/>
              <a:cxnLst>
                <a:cxn ang="0">
                  <a:pos x="T0" y="T1"/>
                </a:cxn>
                <a:cxn ang="0">
                  <a:pos x="T2" y="T3"/>
                </a:cxn>
                <a:cxn ang="0">
                  <a:pos x="T4" y="T5"/>
                </a:cxn>
                <a:cxn ang="0">
                  <a:pos x="T6" y="T7"/>
                </a:cxn>
                <a:cxn ang="0">
                  <a:pos x="T8" y="T9"/>
                </a:cxn>
              </a:cxnLst>
              <a:rect l="0" t="0" r="r" b="b"/>
              <a:pathLst>
                <a:path w="468" h="427">
                  <a:moveTo>
                    <a:pt x="140" y="427"/>
                  </a:moveTo>
                  <a:lnTo>
                    <a:pt x="0" y="219"/>
                  </a:lnTo>
                  <a:lnTo>
                    <a:pt x="328" y="0"/>
                  </a:lnTo>
                  <a:lnTo>
                    <a:pt x="468" y="208"/>
                  </a:lnTo>
                  <a:lnTo>
                    <a:pt x="140" y="427"/>
                  </a:lnTo>
                  <a:close/>
                </a:path>
              </a:pathLst>
            </a:custGeom>
            <a:solidFill>
              <a:srgbClr val="D3C4A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iśļiḑe">
              <a:extLst>
                <a:ext uri="{FF2B5EF4-FFF2-40B4-BE49-F238E27FC236}">
                  <a16:creationId xmlns:a16="http://schemas.microsoft.com/office/drawing/2014/main" id="{1C55B8CF-6ECB-8947-9FC5-645C5D72EC6E}"/>
                </a:ext>
              </a:extLst>
            </p:cNvPr>
            <p:cNvSpPr/>
            <p:nvPr/>
          </p:nvSpPr>
          <p:spPr bwMode="auto">
            <a:xfrm>
              <a:off x="5410200" y="2944813"/>
              <a:ext cx="503237" cy="530225"/>
            </a:xfrm>
            <a:custGeom>
              <a:avLst/>
              <a:gdLst>
                <a:gd name="T0" fmla="*/ 140 w 317"/>
                <a:gd name="T1" fmla="*/ 334 h 334"/>
                <a:gd name="T2" fmla="*/ 0 w 317"/>
                <a:gd name="T3" fmla="*/ 126 h 334"/>
                <a:gd name="T4" fmla="*/ 177 w 317"/>
                <a:gd name="T5" fmla="*/ 0 h 334"/>
                <a:gd name="T6" fmla="*/ 317 w 317"/>
                <a:gd name="T7" fmla="*/ 208 h 334"/>
                <a:gd name="T8" fmla="*/ 140 w 317"/>
                <a:gd name="T9" fmla="*/ 334 h 334"/>
              </a:gdLst>
              <a:ahLst/>
              <a:cxnLst>
                <a:cxn ang="0">
                  <a:pos x="T0" y="T1"/>
                </a:cxn>
                <a:cxn ang="0">
                  <a:pos x="T2" y="T3"/>
                </a:cxn>
                <a:cxn ang="0">
                  <a:pos x="T4" y="T5"/>
                </a:cxn>
                <a:cxn ang="0">
                  <a:pos x="T6" y="T7"/>
                </a:cxn>
                <a:cxn ang="0">
                  <a:pos x="T8" y="T9"/>
                </a:cxn>
              </a:cxnLst>
              <a:rect l="0" t="0" r="r" b="b"/>
              <a:pathLst>
                <a:path w="317" h="334">
                  <a:moveTo>
                    <a:pt x="140" y="334"/>
                  </a:moveTo>
                  <a:lnTo>
                    <a:pt x="0" y="126"/>
                  </a:lnTo>
                  <a:lnTo>
                    <a:pt x="177" y="0"/>
                  </a:lnTo>
                  <a:lnTo>
                    <a:pt x="317" y="208"/>
                  </a:lnTo>
                  <a:lnTo>
                    <a:pt x="140" y="3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íṡ1iḋê">
              <a:extLst>
                <a:ext uri="{FF2B5EF4-FFF2-40B4-BE49-F238E27FC236}">
                  <a16:creationId xmlns:a16="http://schemas.microsoft.com/office/drawing/2014/main" id="{110247A2-763C-414E-A183-4378A0FEC307}"/>
                </a:ext>
              </a:extLst>
            </p:cNvPr>
            <p:cNvSpPr/>
            <p:nvPr/>
          </p:nvSpPr>
          <p:spPr bwMode="auto">
            <a:xfrm>
              <a:off x="5726113" y="2659063"/>
              <a:ext cx="541337" cy="376237"/>
            </a:xfrm>
            <a:custGeom>
              <a:avLst/>
              <a:gdLst>
                <a:gd name="T0" fmla="*/ 13 w 341"/>
                <a:gd name="T1" fmla="*/ 237 h 237"/>
                <a:gd name="T2" fmla="*/ 0 w 341"/>
                <a:gd name="T3" fmla="*/ 217 h 237"/>
                <a:gd name="T4" fmla="*/ 328 w 341"/>
                <a:gd name="T5" fmla="*/ 0 h 237"/>
                <a:gd name="T6" fmla="*/ 341 w 341"/>
                <a:gd name="T7" fmla="*/ 18 h 237"/>
                <a:gd name="T8" fmla="*/ 13 w 341"/>
                <a:gd name="T9" fmla="*/ 237 h 237"/>
              </a:gdLst>
              <a:ahLst/>
              <a:cxnLst>
                <a:cxn ang="0">
                  <a:pos x="T0" y="T1"/>
                </a:cxn>
                <a:cxn ang="0">
                  <a:pos x="T2" y="T3"/>
                </a:cxn>
                <a:cxn ang="0">
                  <a:pos x="T4" y="T5"/>
                </a:cxn>
                <a:cxn ang="0">
                  <a:pos x="T6" y="T7"/>
                </a:cxn>
                <a:cxn ang="0">
                  <a:pos x="T8" y="T9"/>
                </a:cxn>
              </a:cxnLst>
              <a:rect l="0" t="0" r="r" b="b"/>
              <a:pathLst>
                <a:path w="341" h="237">
                  <a:moveTo>
                    <a:pt x="13" y="237"/>
                  </a:moveTo>
                  <a:lnTo>
                    <a:pt x="0" y="217"/>
                  </a:lnTo>
                  <a:lnTo>
                    <a:pt x="328" y="0"/>
                  </a:lnTo>
                  <a:lnTo>
                    <a:pt x="341" y="18"/>
                  </a:lnTo>
                  <a:lnTo>
                    <a:pt x="13" y="237"/>
                  </a:lnTo>
                  <a:close/>
                </a:path>
              </a:pathLst>
            </a:custGeom>
            <a:solidFill>
              <a:srgbClr val="AD3B3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išḻîḑè">
              <a:extLst>
                <a:ext uri="{FF2B5EF4-FFF2-40B4-BE49-F238E27FC236}">
                  <a16:creationId xmlns:a16="http://schemas.microsoft.com/office/drawing/2014/main" id="{A2DEA4A3-D5D6-4E49-88E2-9FA9EC664D1D}"/>
                </a:ext>
              </a:extLst>
            </p:cNvPr>
            <p:cNvSpPr/>
            <p:nvPr/>
          </p:nvSpPr>
          <p:spPr bwMode="auto">
            <a:xfrm>
              <a:off x="5849938" y="2841625"/>
              <a:ext cx="539750" cy="377825"/>
            </a:xfrm>
            <a:custGeom>
              <a:avLst/>
              <a:gdLst>
                <a:gd name="T0" fmla="*/ 13 w 340"/>
                <a:gd name="T1" fmla="*/ 238 h 238"/>
                <a:gd name="T2" fmla="*/ 0 w 340"/>
                <a:gd name="T3" fmla="*/ 218 h 238"/>
                <a:gd name="T4" fmla="*/ 327 w 340"/>
                <a:gd name="T5" fmla="*/ 0 h 238"/>
                <a:gd name="T6" fmla="*/ 340 w 340"/>
                <a:gd name="T7" fmla="*/ 19 h 238"/>
                <a:gd name="T8" fmla="*/ 13 w 340"/>
                <a:gd name="T9" fmla="*/ 238 h 238"/>
              </a:gdLst>
              <a:ahLst/>
              <a:cxnLst>
                <a:cxn ang="0">
                  <a:pos x="T0" y="T1"/>
                </a:cxn>
                <a:cxn ang="0">
                  <a:pos x="T2" y="T3"/>
                </a:cxn>
                <a:cxn ang="0">
                  <a:pos x="T4" y="T5"/>
                </a:cxn>
                <a:cxn ang="0">
                  <a:pos x="T6" y="T7"/>
                </a:cxn>
                <a:cxn ang="0">
                  <a:pos x="T8" y="T9"/>
                </a:cxn>
              </a:cxnLst>
              <a:rect l="0" t="0" r="r" b="b"/>
              <a:pathLst>
                <a:path w="340" h="238">
                  <a:moveTo>
                    <a:pt x="13" y="238"/>
                  </a:moveTo>
                  <a:lnTo>
                    <a:pt x="0" y="218"/>
                  </a:lnTo>
                  <a:lnTo>
                    <a:pt x="327" y="0"/>
                  </a:lnTo>
                  <a:lnTo>
                    <a:pt x="340" y="19"/>
                  </a:lnTo>
                  <a:lnTo>
                    <a:pt x="13" y="238"/>
                  </a:lnTo>
                  <a:close/>
                </a:path>
              </a:pathLst>
            </a:custGeom>
            <a:solidFill>
              <a:srgbClr val="AD3B3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ïSlîďè">
              <a:extLst>
                <a:ext uri="{FF2B5EF4-FFF2-40B4-BE49-F238E27FC236}">
                  <a16:creationId xmlns:a16="http://schemas.microsoft.com/office/drawing/2014/main" id="{C839DDE1-50A6-7746-947C-A38A56283AA2}"/>
                </a:ext>
              </a:extLst>
            </p:cNvPr>
            <p:cNvSpPr/>
            <p:nvPr/>
          </p:nvSpPr>
          <p:spPr bwMode="auto">
            <a:xfrm>
              <a:off x="5449888" y="3000375"/>
              <a:ext cx="301625" cy="231775"/>
            </a:xfrm>
            <a:custGeom>
              <a:avLst/>
              <a:gdLst>
                <a:gd name="T0" fmla="*/ 12 w 190"/>
                <a:gd name="T1" fmla="*/ 146 h 146"/>
                <a:gd name="T2" fmla="*/ 0 w 190"/>
                <a:gd name="T3" fmla="*/ 126 h 146"/>
                <a:gd name="T4" fmla="*/ 177 w 190"/>
                <a:gd name="T5" fmla="*/ 0 h 146"/>
                <a:gd name="T6" fmla="*/ 190 w 190"/>
                <a:gd name="T7" fmla="*/ 20 h 146"/>
                <a:gd name="T8" fmla="*/ 12 w 190"/>
                <a:gd name="T9" fmla="*/ 146 h 146"/>
              </a:gdLst>
              <a:ahLst/>
              <a:cxnLst>
                <a:cxn ang="0">
                  <a:pos x="T0" y="T1"/>
                </a:cxn>
                <a:cxn ang="0">
                  <a:pos x="T2" y="T3"/>
                </a:cxn>
                <a:cxn ang="0">
                  <a:pos x="T4" y="T5"/>
                </a:cxn>
                <a:cxn ang="0">
                  <a:pos x="T6" y="T7"/>
                </a:cxn>
                <a:cxn ang="0">
                  <a:pos x="T8" y="T9"/>
                </a:cxn>
              </a:cxnLst>
              <a:rect l="0" t="0" r="r" b="b"/>
              <a:pathLst>
                <a:path w="190" h="146">
                  <a:moveTo>
                    <a:pt x="12" y="146"/>
                  </a:moveTo>
                  <a:lnTo>
                    <a:pt x="0" y="126"/>
                  </a:lnTo>
                  <a:lnTo>
                    <a:pt x="177" y="0"/>
                  </a:lnTo>
                  <a:lnTo>
                    <a:pt x="190" y="20"/>
                  </a:lnTo>
                  <a:lnTo>
                    <a:pt x="12" y="146"/>
                  </a:lnTo>
                  <a:close/>
                </a:path>
              </a:pathLst>
            </a:custGeom>
            <a:solidFill>
              <a:srgbClr val="FF4A4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íS1îḓe">
              <a:extLst>
                <a:ext uri="{FF2B5EF4-FFF2-40B4-BE49-F238E27FC236}">
                  <a16:creationId xmlns:a16="http://schemas.microsoft.com/office/drawing/2014/main" id="{BE51656B-4E98-7B46-B211-7CD1221E15CC}"/>
                </a:ext>
              </a:extLst>
            </p:cNvPr>
            <p:cNvSpPr/>
            <p:nvPr/>
          </p:nvSpPr>
          <p:spPr bwMode="auto">
            <a:xfrm>
              <a:off x="5572125" y="3184525"/>
              <a:ext cx="303212" cy="231775"/>
            </a:xfrm>
            <a:custGeom>
              <a:avLst/>
              <a:gdLst>
                <a:gd name="T0" fmla="*/ 13 w 191"/>
                <a:gd name="T1" fmla="*/ 146 h 146"/>
                <a:gd name="T2" fmla="*/ 0 w 191"/>
                <a:gd name="T3" fmla="*/ 126 h 146"/>
                <a:gd name="T4" fmla="*/ 178 w 191"/>
                <a:gd name="T5" fmla="*/ 0 h 146"/>
                <a:gd name="T6" fmla="*/ 191 w 191"/>
                <a:gd name="T7" fmla="*/ 20 h 146"/>
                <a:gd name="T8" fmla="*/ 13 w 191"/>
                <a:gd name="T9" fmla="*/ 146 h 146"/>
              </a:gdLst>
              <a:ahLst/>
              <a:cxnLst>
                <a:cxn ang="0">
                  <a:pos x="T0" y="T1"/>
                </a:cxn>
                <a:cxn ang="0">
                  <a:pos x="T2" y="T3"/>
                </a:cxn>
                <a:cxn ang="0">
                  <a:pos x="T4" y="T5"/>
                </a:cxn>
                <a:cxn ang="0">
                  <a:pos x="T6" y="T7"/>
                </a:cxn>
                <a:cxn ang="0">
                  <a:pos x="T8" y="T9"/>
                </a:cxn>
              </a:cxnLst>
              <a:rect l="0" t="0" r="r" b="b"/>
              <a:pathLst>
                <a:path w="191" h="146">
                  <a:moveTo>
                    <a:pt x="13" y="146"/>
                  </a:moveTo>
                  <a:lnTo>
                    <a:pt x="0" y="126"/>
                  </a:lnTo>
                  <a:lnTo>
                    <a:pt x="178" y="0"/>
                  </a:lnTo>
                  <a:lnTo>
                    <a:pt x="191" y="20"/>
                  </a:lnTo>
                  <a:lnTo>
                    <a:pt x="13" y="146"/>
                  </a:lnTo>
                  <a:close/>
                </a:path>
              </a:pathLst>
            </a:custGeom>
            <a:solidFill>
              <a:srgbClr val="FF4A4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íṣ1íďê">
              <a:extLst>
                <a:ext uri="{FF2B5EF4-FFF2-40B4-BE49-F238E27FC236}">
                  <a16:creationId xmlns:a16="http://schemas.microsoft.com/office/drawing/2014/main" id="{692979CA-B4D9-C14B-A759-DE6ECD7E63D8}"/>
                </a:ext>
              </a:extLst>
            </p:cNvPr>
            <p:cNvSpPr/>
            <p:nvPr/>
          </p:nvSpPr>
          <p:spPr bwMode="auto">
            <a:xfrm>
              <a:off x="5195888" y="2386013"/>
              <a:ext cx="38100" cy="26987"/>
            </a:xfrm>
            <a:prstGeom prst="rect">
              <a:avLst/>
            </a:prstGeom>
            <a:solidFill>
              <a:srgbClr val="C3D6B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22" name="ï$ļíḓê">
              <a:extLst>
                <a:ext uri="{FF2B5EF4-FFF2-40B4-BE49-F238E27FC236}">
                  <a16:creationId xmlns:a16="http://schemas.microsoft.com/office/drawing/2014/main" id="{0CBBA96C-D78B-904C-A27B-6A97F416C1D9}"/>
                </a:ext>
              </a:extLst>
            </p:cNvPr>
            <p:cNvSpPr/>
            <p:nvPr/>
          </p:nvSpPr>
          <p:spPr bwMode="auto">
            <a:xfrm>
              <a:off x="5197475" y="2387600"/>
              <a:ext cx="188912" cy="254000"/>
            </a:xfrm>
            <a:custGeom>
              <a:avLst/>
              <a:gdLst>
                <a:gd name="T0" fmla="*/ 23 w 120"/>
                <a:gd name="T1" fmla="*/ 0 h 161"/>
                <a:gd name="T2" fmla="*/ 0 w 120"/>
                <a:gd name="T3" fmla="*/ 16 h 161"/>
                <a:gd name="T4" fmla="*/ 93 w 120"/>
                <a:gd name="T5" fmla="*/ 155 h 161"/>
                <a:gd name="T6" fmla="*/ 102 w 120"/>
                <a:gd name="T7" fmla="*/ 161 h 161"/>
                <a:gd name="T8" fmla="*/ 104 w 120"/>
                <a:gd name="T9" fmla="*/ 161 h 161"/>
                <a:gd name="T10" fmla="*/ 112 w 120"/>
                <a:gd name="T11" fmla="*/ 158 h 161"/>
                <a:gd name="T12" fmla="*/ 116 w 120"/>
                <a:gd name="T13" fmla="*/ 139 h 161"/>
                <a:gd name="T14" fmla="*/ 23 w 120"/>
                <a:gd name="T15" fmla="*/ 0 h 1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161">
                  <a:moveTo>
                    <a:pt x="23" y="0"/>
                  </a:moveTo>
                  <a:cubicBezTo>
                    <a:pt x="0" y="16"/>
                    <a:pt x="0" y="16"/>
                    <a:pt x="0" y="16"/>
                  </a:cubicBezTo>
                  <a:cubicBezTo>
                    <a:pt x="93" y="155"/>
                    <a:pt x="93" y="155"/>
                    <a:pt x="93" y="155"/>
                  </a:cubicBezTo>
                  <a:cubicBezTo>
                    <a:pt x="95" y="158"/>
                    <a:pt x="98" y="160"/>
                    <a:pt x="102" y="161"/>
                  </a:cubicBezTo>
                  <a:cubicBezTo>
                    <a:pt x="103" y="161"/>
                    <a:pt x="103" y="161"/>
                    <a:pt x="104" y="161"/>
                  </a:cubicBezTo>
                  <a:cubicBezTo>
                    <a:pt x="107" y="161"/>
                    <a:pt x="110" y="160"/>
                    <a:pt x="112" y="158"/>
                  </a:cubicBezTo>
                  <a:cubicBezTo>
                    <a:pt x="118" y="154"/>
                    <a:pt x="120" y="146"/>
                    <a:pt x="116" y="139"/>
                  </a:cubicBezTo>
                  <a:cubicBezTo>
                    <a:pt x="23" y="0"/>
                    <a:pt x="23" y="0"/>
                    <a:pt x="23" y="0"/>
                  </a:cubicBezTo>
                </a:path>
              </a:pathLst>
            </a:custGeom>
            <a:solidFill>
              <a:srgbClr val="80BC6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îśliḓè">
              <a:extLst>
                <a:ext uri="{FF2B5EF4-FFF2-40B4-BE49-F238E27FC236}">
                  <a16:creationId xmlns:a16="http://schemas.microsoft.com/office/drawing/2014/main" id="{A936F1F7-E116-A247-A613-51DDE4EAB695}"/>
                </a:ext>
              </a:extLst>
            </p:cNvPr>
            <p:cNvSpPr/>
            <p:nvPr/>
          </p:nvSpPr>
          <p:spPr bwMode="auto">
            <a:xfrm>
              <a:off x="5122863" y="2435225"/>
              <a:ext cx="39687" cy="28575"/>
            </a:xfrm>
            <a:custGeom>
              <a:avLst/>
              <a:gdLst>
                <a:gd name="T0" fmla="*/ 23 w 25"/>
                <a:gd name="T1" fmla="*/ 0 h 18"/>
                <a:gd name="T2" fmla="*/ 0 w 25"/>
                <a:gd name="T3" fmla="*/ 15 h 18"/>
                <a:gd name="T4" fmla="*/ 2 w 25"/>
                <a:gd name="T5" fmla="*/ 18 h 18"/>
                <a:gd name="T6" fmla="*/ 25 w 25"/>
                <a:gd name="T7" fmla="*/ 2 h 18"/>
                <a:gd name="T8" fmla="*/ 23 w 25"/>
                <a:gd name="T9" fmla="*/ 0 h 18"/>
              </a:gdLst>
              <a:ahLst/>
              <a:cxnLst>
                <a:cxn ang="0">
                  <a:pos x="T0" y="T1"/>
                </a:cxn>
                <a:cxn ang="0">
                  <a:pos x="T2" y="T3"/>
                </a:cxn>
                <a:cxn ang="0">
                  <a:pos x="T4" y="T5"/>
                </a:cxn>
                <a:cxn ang="0">
                  <a:pos x="T6" y="T7"/>
                </a:cxn>
                <a:cxn ang="0">
                  <a:pos x="T8" y="T9"/>
                </a:cxn>
              </a:cxnLst>
              <a:rect l="0" t="0" r="r" b="b"/>
              <a:pathLst>
                <a:path w="25" h="18">
                  <a:moveTo>
                    <a:pt x="23" y="0"/>
                  </a:moveTo>
                  <a:lnTo>
                    <a:pt x="0" y="15"/>
                  </a:lnTo>
                  <a:lnTo>
                    <a:pt x="2" y="18"/>
                  </a:lnTo>
                  <a:lnTo>
                    <a:pt x="25" y="2"/>
                  </a:lnTo>
                  <a:lnTo>
                    <a:pt x="23" y="0"/>
                  </a:lnTo>
                  <a:close/>
                </a:path>
              </a:pathLst>
            </a:custGeom>
            <a:solidFill>
              <a:srgbClr val="C3D6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íSḻiḓê">
              <a:extLst>
                <a:ext uri="{FF2B5EF4-FFF2-40B4-BE49-F238E27FC236}">
                  <a16:creationId xmlns:a16="http://schemas.microsoft.com/office/drawing/2014/main" id="{6BFA4891-28EE-704E-9A87-5C8D98842799}"/>
                </a:ext>
              </a:extLst>
            </p:cNvPr>
            <p:cNvSpPr/>
            <p:nvPr/>
          </p:nvSpPr>
          <p:spPr bwMode="auto">
            <a:xfrm>
              <a:off x="5122863" y="2435225"/>
              <a:ext cx="39687" cy="28575"/>
            </a:xfrm>
            <a:custGeom>
              <a:avLst/>
              <a:gdLst>
                <a:gd name="T0" fmla="*/ 23 w 25"/>
                <a:gd name="T1" fmla="*/ 0 h 18"/>
                <a:gd name="T2" fmla="*/ 0 w 25"/>
                <a:gd name="T3" fmla="*/ 15 h 18"/>
                <a:gd name="T4" fmla="*/ 2 w 25"/>
                <a:gd name="T5" fmla="*/ 18 h 18"/>
                <a:gd name="T6" fmla="*/ 25 w 25"/>
                <a:gd name="T7" fmla="*/ 2 h 18"/>
                <a:gd name="T8" fmla="*/ 23 w 25"/>
                <a:gd name="T9" fmla="*/ 0 h 18"/>
              </a:gdLst>
              <a:ahLst/>
              <a:cxnLst>
                <a:cxn ang="0">
                  <a:pos x="T0" y="T1"/>
                </a:cxn>
                <a:cxn ang="0">
                  <a:pos x="T2" y="T3"/>
                </a:cxn>
                <a:cxn ang="0">
                  <a:pos x="T4" y="T5"/>
                </a:cxn>
                <a:cxn ang="0">
                  <a:pos x="T6" y="T7"/>
                </a:cxn>
                <a:cxn ang="0">
                  <a:pos x="T8" y="T9"/>
                </a:cxn>
              </a:cxnLst>
              <a:rect l="0" t="0" r="r" b="b"/>
              <a:pathLst>
                <a:path w="25" h="18">
                  <a:moveTo>
                    <a:pt x="23" y="0"/>
                  </a:moveTo>
                  <a:lnTo>
                    <a:pt x="0" y="15"/>
                  </a:lnTo>
                  <a:lnTo>
                    <a:pt x="2" y="18"/>
                  </a:lnTo>
                  <a:lnTo>
                    <a:pt x="25" y="2"/>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ïṩľiďé">
              <a:extLst>
                <a:ext uri="{FF2B5EF4-FFF2-40B4-BE49-F238E27FC236}">
                  <a16:creationId xmlns:a16="http://schemas.microsoft.com/office/drawing/2014/main" id="{BC614353-6D83-7444-8B84-DD6ED6566EF2}"/>
                </a:ext>
              </a:extLst>
            </p:cNvPr>
            <p:cNvSpPr/>
            <p:nvPr/>
          </p:nvSpPr>
          <p:spPr bwMode="auto">
            <a:xfrm>
              <a:off x="5126038" y="2438400"/>
              <a:ext cx="250825" cy="344487"/>
            </a:xfrm>
            <a:custGeom>
              <a:avLst/>
              <a:gdLst>
                <a:gd name="T0" fmla="*/ 23 w 159"/>
                <a:gd name="T1" fmla="*/ 0 h 219"/>
                <a:gd name="T2" fmla="*/ 0 w 159"/>
                <a:gd name="T3" fmla="*/ 16 h 219"/>
                <a:gd name="T4" fmla="*/ 131 w 159"/>
                <a:gd name="T5" fmla="*/ 213 h 219"/>
                <a:gd name="T6" fmla="*/ 140 w 159"/>
                <a:gd name="T7" fmla="*/ 219 h 219"/>
                <a:gd name="T8" fmla="*/ 143 w 159"/>
                <a:gd name="T9" fmla="*/ 219 h 219"/>
                <a:gd name="T10" fmla="*/ 150 w 159"/>
                <a:gd name="T11" fmla="*/ 217 h 219"/>
                <a:gd name="T12" fmla="*/ 154 w 159"/>
                <a:gd name="T13" fmla="*/ 197 h 219"/>
                <a:gd name="T14" fmla="*/ 23 w 159"/>
                <a:gd name="T15" fmla="*/ 0 h 2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219">
                  <a:moveTo>
                    <a:pt x="23" y="0"/>
                  </a:moveTo>
                  <a:cubicBezTo>
                    <a:pt x="0" y="16"/>
                    <a:pt x="0" y="16"/>
                    <a:pt x="0" y="16"/>
                  </a:cubicBezTo>
                  <a:cubicBezTo>
                    <a:pt x="131" y="213"/>
                    <a:pt x="131" y="213"/>
                    <a:pt x="131" y="213"/>
                  </a:cubicBezTo>
                  <a:cubicBezTo>
                    <a:pt x="133" y="216"/>
                    <a:pt x="137" y="218"/>
                    <a:pt x="140" y="219"/>
                  </a:cubicBezTo>
                  <a:cubicBezTo>
                    <a:pt x="141" y="219"/>
                    <a:pt x="142" y="219"/>
                    <a:pt x="143" y="219"/>
                  </a:cubicBezTo>
                  <a:cubicBezTo>
                    <a:pt x="145" y="219"/>
                    <a:pt x="148" y="218"/>
                    <a:pt x="150" y="217"/>
                  </a:cubicBezTo>
                  <a:cubicBezTo>
                    <a:pt x="157" y="212"/>
                    <a:pt x="159" y="204"/>
                    <a:pt x="154" y="197"/>
                  </a:cubicBezTo>
                  <a:cubicBezTo>
                    <a:pt x="23" y="0"/>
                    <a:pt x="23" y="0"/>
                    <a:pt x="23" y="0"/>
                  </a:cubicBezTo>
                </a:path>
              </a:pathLst>
            </a:custGeom>
            <a:solidFill>
              <a:srgbClr val="80BC6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ïşļïḓé">
              <a:extLst>
                <a:ext uri="{FF2B5EF4-FFF2-40B4-BE49-F238E27FC236}">
                  <a16:creationId xmlns:a16="http://schemas.microsoft.com/office/drawing/2014/main" id="{DCDF6F48-8A8B-4B4C-B071-2167B09DF3EA}"/>
                </a:ext>
              </a:extLst>
            </p:cNvPr>
            <p:cNvSpPr/>
            <p:nvPr/>
          </p:nvSpPr>
          <p:spPr bwMode="auto">
            <a:xfrm>
              <a:off x="6138863" y="3973513"/>
              <a:ext cx="38100" cy="28575"/>
            </a:xfrm>
            <a:custGeom>
              <a:avLst/>
              <a:gdLst>
                <a:gd name="T0" fmla="*/ 22 w 24"/>
                <a:gd name="T1" fmla="*/ 0 h 18"/>
                <a:gd name="T2" fmla="*/ 0 w 24"/>
                <a:gd name="T3" fmla="*/ 16 h 18"/>
                <a:gd name="T4" fmla="*/ 1 w 24"/>
                <a:gd name="T5" fmla="*/ 18 h 18"/>
                <a:gd name="T6" fmla="*/ 24 w 24"/>
                <a:gd name="T7" fmla="*/ 3 h 18"/>
                <a:gd name="T8" fmla="*/ 22 w 24"/>
                <a:gd name="T9" fmla="*/ 0 h 18"/>
              </a:gdLst>
              <a:ahLst/>
              <a:cxnLst>
                <a:cxn ang="0">
                  <a:pos x="T0" y="T1"/>
                </a:cxn>
                <a:cxn ang="0">
                  <a:pos x="T2" y="T3"/>
                </a:cxn>
                <a:cxn ang="0">
                  <a:pos x="T4" y="T5"/>
                </a:cxn>
                <a:cxn ang="0">
                  <a:pos x="T6" y="T7"/>
                </a:cxn>
                <a:cxn ang="0">
                  <a:pos x="T8" y="T9"/>
                </a:cxn>
              </a:cxnLst>
              <a:rect l="0" t="0" r="r" b="b"/>
              <a:pathLst>
                <a:path w="24" h="18">
                  <a:moveTo>
                    <a:pt x="22" y="0"/>
                  </a:moveTo>
                  <a:lnTo>
                    <a:pt x="0" y="16"/>
                  </a:lnTo>
                  <a:lnTo>
                    <a:pt x="1" y="18"/>
                  </a:lnTo>
                  <a:lnTo>
                    <a:pt x="24" y="3"/>
                  </a:lnTo>
                  <a:lnTo>
                    <a:pt x="22" y="0"/>
                  </a:lnTo>
                  <a:close/>
                </a:path>
              </a:pathLst>
            </a:custGeom>
            <a:solidFill>
              <a:srgbClr val="7054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ïṧ1iḑè">
              <a:extLst>
                <a:ext uri="{FF2B5EF4-FFF2-40B4-BE49-F238E27FC236}">
                  <a16:creationId xmlns:a16="http://schemas.microsoft.com/office/drawing/2014/main" id="{BD3668BB-1F8D-5B4C-83F2-D16CC0E477D9}"/>
                </a:ext>
              </a:extLst>
            </p:cNvPr>
            <p:cNvSpPr/>
            <p:nvPr/>
          </p:nvSpPr>
          <p:spPr bwMode="auto">
            <a:xfrm>
              <a:off x="6138863" y="3973513"/>
              <a:ext cx="38100" cy="28575"/>
            </a:xfrm>
            <a:custGeom>
              <a:avLst/>
              <a:gdLst>
                <a:gd name="T0" fmla="*/ 22 w 24"/>
                <a:gd name="T1" fmla="*/ 0 h 18"/>
                <a:gd name="T2" fmla="*/ 0 w 24"/>
                <a:gd name="T3" fmla="*/ 16 h 18"/>
                <a:gd name="T4" fmla="*/ 1 w 24"/>
                <a:gd name="T5" fmla="*/ 18 h 18"/>
                <a:gd name="T6" fmla="*/ 24 w 24"/>
                <a:gd name="T7" fmla="*/ 3 h 18"/>
                <a:gd name="T8" fmla="*/ 22 w 24"/>
                <a:gd name="T9" fmla="*/ 0 h 18"/>
              </a:gdLst>
              <a:ahLst/>
              <a:cxnLst>
                <a:cxn ang="0">
                  <a:pos x="T0" y="T1"/>
                </a:cxn>
                <a:cxn ang="0">
                  <a:pos x="T2" y="T3"/>
                </a:cxn>
                <a:cxn ang="0">
                  <a:pos x="T4" y="T5"/>
                </a:cxn>
                <a:cxn ang="0">
                  <a:pos x="T6" y="T7"/>
                </a:cxn>
                <a:cxn ang="0">
                  <a:pos x="T8" y="T9"/>
                </a:cxn>
              </a:cxnLst>
              <a:rect l="0" t="0" r="r" b="b"/>
              <a:pathLst>
                <a:path w="24" h="18">
                  <a:moveTo>
                    <a:pt x="22" y="0"/>
                  </a:moveTo>
                  <a:lnTo>
                    <a:pt x="0" y="16"/>
                  </a:lnTo>
                  <a:lnTo>
                    <a:pt x="1" y="18"/>
                  </a:lnTo>
                  <a:lnTo>
                    <a:pt x="24" y="3"/>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îṣlidé">
              <a:extLst>
                <a:ext uri="{FF2B5EF4-FFF2-40B4-BE49-F238E27FC236}">
                  <a16:creationId xmlns:a16="http://schemas.microsoft.com/office/drawing/2014/main" id="{2A5F64AF-1D92-0141-A3C6-5144ACA0ED09}"/>
                </a:ext>
              </a:extLst>
            </p:cNvPr>
            <p:cNvSpPr/>
            <p:nvPr/>
          </p:nvSpPr>
          <p:spPr bwMode="auto">
            <a:xfrm>
              <a:off x="6010275" y="3783013"/>
              <a:ext cx="163512" cy="215900"/>
            </a:xfrm>
            <a:custGeom>
              <a:avLst/>
              <a:gdLst>
                <a:gd name="T0" fmla="*/ 16 w 104"/>
                <a:gd name="T1" fmla="*/ 0 h 138"/>
                <a:gd name="T2" fmla="*/ 8 w 104"/>
                <a:gd name="T3" fmla="*/ 3 h 138"/>
                <a:gd name="T4" fmla="*/ 4 w 104"/>
                <a:gd name="T5" fmla="*/ 22 h 138"/>
                <a:gd name="T6" fmla="*/ 82 w 104"/>
                <a:gd name="T7" fmla="*/ 138 h 138"/>
                <a:gd name="T8" fmla="*/ 104 w 104"/>
                <a:gd name="T9" fmla="*/ 122 h 138"/>
                <a:gd name="T10" fmla="*/ 27 w 104"/>
                <a:gd name="T11" fmla="*/ 7 h 138"/>
                <a:gd name="T12" fmla="*/ 18 w 104"/>
                <a:gd name="T13" fmla="*/ 1 h 138"/>
                <a:gd name="T14" fmla="*/ 16 w 104"/>
                <a:gd name="T15" fmla="*/ 0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38">
                  <a:moveTo>
                    <a:pt x="16" y="0"/>
                  </a:moveTo>
                  <a:cubicBezTo>
                    <a:pt x="13" y="0"/>
                    <a:pt x="10" y="1"/>
                    <a:pt x="8" y="3"/>
                  </a:cubicBezTo>
                  <a:cubicBezTo>
                    <a:pt x="2" y="7"/>
                    <a:pt x="0" y="16"/>
                    <a:pt x="4" y="22"/>
                  </a:cubicBezTo>
                  <a:cubicBezTo>
                    <a:pt x="82" y="138"/>
                    <a:pt x="82" y="138"/>
                    <a:pt x="82" y="138"/>
                  </a:cubicBezTo>
                  <a:cubicBezTo>
                    <a:pt x="104" y="122"/>
                    <a:pt x="104" y="122"/>
                    <a:pt x="104" y="122"/>
                  </a:cubicBezTo>
                  <a:cubicBezTo>
                    <a:pt x="27" y="7"/>
                    <a:pt x="27" y="7"/>
                    <a:pt x="27" y="7"/>
                  </a:cubicBezTo>
                  <a:cubicBezTo>
                    <a:pt x="25" y="3"/>
                    <a:pt x="22" y="1"/>
                    <a:pt x="18" y="1"/>
                  </a:cubicBezTo>
                  <a:cubicBezTo>
                    <a:pt x="17" y="1"/>
                    <a:pt x="16" y="0"/>
                    <a:pt x="16" y="0"/>
                  </a:cubicBezTo>
                </a:path>
              </a:pathLst>
            </a:custGeom>
            <a:solidFill>
              <a:srgbClr val="80BC6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i$lïdé">
              <a:extLst>
                <a:ext uri="{FF2B5EF4-FFF2-40B4-BE49-F238E27FC236}">
                  <a16:creationId xmlns:a16="http://schemas.microsoft.com/office/drawing/2014/main" id="{D25E1CA6-48A9-6A46-8551-F2E52E50D746}"/>
                </a:ext>
              </a:extLst>
            </p:cNvPr>
            <p:cNvSpPr/>
            <p:nvPr/>
          </p:nvSpPr>
          <p:spPr bwMode="auto">
            <a:xfrm>
              <a:off x="6396038" y="3030538"/>
              <a:ext cx="511175" cy="292100"/>
            </a:xfrm>
            <a:custGeom>
              <a:avLst/>
              <a:gdLst>
                <a:gd name="T0" fmla="*/ 238 w 324"/>
                <a:gd name="T1" fmla="*/ 21 h 186"/>
                <a:gd name="T2" fmla="*/ 20 w 324"/>
                <a:gd name="T3" fmla="*/ 0 h 186"/>
                <a:gd name="T4" fmla="*/ 0 w 324"/>
                <a:gd name="T5" fmla="*/ 114 h 186"/>
                <a:gd name="T6" fmla="*/ 13 w 324"/>
                <a:gd name="T7" fmla="*/ 134 h 186"/>
                <a:gd name="T8" fmla="*/ 25 w 324"/>
                <a:gd name="T9" fmla="*/ 153 h 186"/>
                <a:gd name="T10" fmla="*/ 88 w 324"/>
                <a:gd name="T11" fmla="*/ 168 h 186"/>
                <a:gd name="T12" fmla="*/ 89 w 324"/>
                <a:gd name="T13" fmla="*/ 169 h 186"/>
                <a:gd name="T14" fmla="*/ 324 w 324"/>
                <a:gd name="T15" fmla="*/ 138 h 186"/>
                <a:gd name="T16" fmla="*/ 238 w 324"/>
                <a:gd name="T17" fmla="*/ 2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4" h="186">
                  <a:moveTo>
                    <a:pt x="238" y="21"/>
                  </a:moveTo>
                  <a:cubicBezTo>
                    <a:pt x="198" y="45"/>
                    <a:pt x="91" y="14"/>
                    <a:pt x="20" y="0"/>
                  </a:cubicBezTo>
                  <a:cubicBezTo>
                    <a:pt x="0" y="114"/>
                    <a:pt x="0" y="114"/>
                    <a:pt x="0" y="114"/>
                  </a:cubicBezTo>
                  <a:cubicBezTo>
                    <a:pt x="0" y="114"/>
                    <a:pt x="6" y="124"/>
                    <a:pt x="13" y="134"/>
                  </a:cubicBezTo>
                  <a:cubicBezTo>
                    <a:pt x="19" y="144"/>
                    <a:pt x="25" y="153"/>
                    <a:pt x="25" y="153"/>
                  </a:cubicBezTo>
                  <a:cubicBezTo>
                    <a:pt x="46" y="160"/>
                    <a:pt x="56" y="163"/>
                    <a:pt x="88" y="168"/>
                  </a:cubicBezTo>
                  <a:cubicBezTo>
                    <a:pt x="89" y="169"/>
                    <a:pt x="89" y="169"/>
                    <a:pt x="89" y="169"/>
                  </a:cubicBezTo>
                  <a:cubicBezTo>
                    <a:pt x="184" y="186"/>
                    <a:pt x="272" y="182"/>
                    <a:pt x="324" y="138"/>
                  </a:cubicBezTo>
                  <a:lnTo>
                    <a:pt x="238" y="21"/>
                  </a:lnTo>
                  <a:close/>
                </a:path>
              </a:pathLst>
            </a:custGeom>
            <a:solidFill>
              <a:srgbClr val="FF62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íśḷiḍè">
              <a:extLst>
                <a:ext uri="{FF2B5EF4-FFF2-40B4-BE49-F238E27FC236}">
                  <a16:creationId xmlns:a16="http://schemas.microsoft.com/office/drawing/2014/main" id="{8950C926-F4EE-6F4D-9E6B-F2E8C064FFEF}"/>
                </a:ext>
              </a:extLst>
            </p:cNvPr>
            <p:cNvSpPr/>
            <p:nvPr/>
          </p:nvSpPr>
          <p:spPr bwMode="auto">
            <a:xfrm>
              <a:off x="5278438" y="3106738"/>
              <a:ext cx="598487" cy="419100"/>
            </a:xfrm>
            <a:custGeom>
              <a:avLst/>
              <a:gdLst>
                <a:gd name="T0" fmla="*/ 0 w 379"/>
                <a:gd name="T1" fmla="*/ 78 h 267"/>
                <a:gd name="T2" fmla="*/ 309 w 379"/>
                <a:gd name="T3" fmla="*/ 267 h 267"/>
                <a:gd name="T4" fmla="*/ 361 w 379"/>
                <a:gd name="T5" fmla="*/ 254 h 267"/>
                <a:gd name="T6" fmla="*/ 378 w 379"/>
                <a:gd name="T7" fmla="*/ 149 h 267"/>
                <a:gd name="T8" fmla="*/ 379 w 379"/>
                <a:gd name="T9" fmla="*/ 140 h 267"/>
                <a:gd name="T10" fmla="*/ 371 w 379"/>
                <a:gd name="T11" fmla="*/ 138 h 267"/>
                <a:gd name="T12" fmla="*/ 295 w 379"/>
                <a:gd name="T13" fmla="*/ 109 h 267"/>
                <a:gd name="T14" fmla="*/ 295 w 379"/>
                <a:gd name="T15" fmla="*/ 109 h 267"/>
                <a:gd name="T16" fmla="*/ 156 w 379"/>
                <a:gd name="T17" fmla="*/ 40 h 267"/>
                <a:gd name="T18" fmla="*/ 127 w 379"/>
                <a:gd name="T19" fmla="*/ 6 h 267"/>
                <a:gd name="T20" fmla="*/ 126 w 379"/>
                <a:gd name="T21" fmla="*/ 0 h 267"/>
                <a:gd name="T22" fmla="*/ 0 w 379"/>
                <a:gd name="T23" fmla="*/ 78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9" h="267">
                  <a:moveTo>
                    <a:pt x="0" y="78"/>
                  </a:moveTo>
                  <a:cubicBezTo>
                    <a:pt x="47" y="158"/>
                    <a:pt x="169" y="231"/>
                    <a:pt x="309" y="267"/>
                  </a:cubicBezTo>
                  <a:cubicBezTo>
                    <a:pt x="309" y="267"/>
                    <a:pt x="356" y="254"/>
                    <a:pt x="361" y="254"/>
                  </a:cubicBezTo>
                  <a:cubicBezTo>
                    <a:pt x="378" y="149"/>
                    <a:pt x="378" y="149"/>
                    <a:pt x="378" y="149"/>
                  </a:cubicBezTo>
                  <a:cubicBezTo>
                    <a:pt x="379" y="140"/>
                    <a:pt x="379" y="140"/>
                    <a:pt x="379" y="140"/>
                  </a:cubicBezTo>
                  <a:cubicBezTo>
                    <a:pt x="379" y="140"/>
                    <a:pt x="376" y="139"/>
                    <a:pt x="371" y="138"/>
                  </a:cubicBezTo>
                  <a:cubicBezTo>
                    <a:pt x="358" y="133"/>
                    <a:pt x="329" y="123"/>
                    <a:pt x="295" y="109"/>
                  </a:cubicBezTo>
                  <a:cubicBezTo>
                    <a:pt x="295" y="109"/>
                    <a:pt x="295" y="109"/>
                    <a:pt x="295" y="109"/>
                  </a:cubicBezTo>
                  <a:cubicBezTo>
                    <a:pt x="247" y="90"/>
                    <a:pt x="190" y="64"/>
                    <a:pt x="156" y="40"/>
                  </a:cubicBezTo>
                  <a:cubicBezTo>
                    <a:pt x="139" y="28"/>
                    <a:pt x="128" y="16"/>
                    <a:pt x="127" y="6"/>
                  </a:cubicBezTo>
                  <a:cubicBezTo>
                    <a:pt x="127" y="4"/>
                    <a:pt x="127" y="2"/>
                    <a:pt x="126" y="0"/>
                  </a:cubicBezTo>
                  <a:lnTo>
                    <a:pt x="0" y="78"/>
                  </a:lnTo>
                  <a:close/>
                </a:path>
              </a:pathLst>
            </a:custGeom>
            <a:solidFill>
              <a:srgbClr val="FF62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íṧľiḍê">
              <a:extLst>
                <a:ext uri="{FF2B5EF4-FFF2-40B4-BE49-F238E27FC236}">
                  <a16:creationId xmlns:a16="http://schemas.microsoft.com/office/drawing/2014/main" id="{8F585221-77B7-7D40-8D70-212A5E110253}"/>
                </a:ext>
              </a:extLst>
            </p:cNvPr>
            <p:cNvSpPr/>
            <p:nvPr/>
          </p:nvSpPr>
          <p:spPr bwMode="auto">
            <a:xfrm>
              <a:off x="5848350" y="3273425"/>
              <a:ext cx="438150" cy="314325"/>
            </a:xfrm>
            <a:custGeom>
              <a:avLst/>
              <a:gdLst>
                <a:gd name="T0" fmla="*/ 79 w 278"/>
                <a:gd name="T1" fmla="*/ 176 h 200"/>
                <a:gd name="T2" fmla="*/ 66 w 278"/>
                <a:gd name="T3" fmla="*/ 167 h 200"/>
                <a:gd name="T4" fmla="*/ 62 w 278"/>
                <a:gd name="T5" fmla="*/ 158 h 200"/>
                <a:gd name="T6" fmla="*/ 0 w 278"/>
                <a:gd name="T7" fmla="*/ 148 h 200"/>
                <a:gd name="T8" fmla="*/ 18 w 278"/>
                <a:gd name="T9" fmla="*/ 34 h 200"/>
                <a:gd name="T10" fmla="*/ 80 w 278"/>
                <a:gd name="T11" fmla="*/ 44 h 200"/>
                <a:gd name="T12" fmla="*/ 83 w 278"/>
                <a:gd name="T13" fmla="*/ 38 h 200"/>
                <a:gd name="T14" fmla="*/ 90 w 278"/>
                <a:gd name="T15" fmla="*/ 31 h 200"/>
                <a:gd name="T16" fmla="*/ 141 w 278"/>
                <a:gd name="T17" fmla="*/ 2 h 200"/>
                <a:gd name="T18" fmla="*/ 151 w 278"/>
                <a:gd name="T19" fmla="*/ 0 h 200"/>
                <a:gd name="T20" fmla="*/ 152 w 278"/>
                <a:gd name="T21" fmla="*/ 1 h 200"/>
                <a:gd name="T22" fmla="*/ 153 w 278"/>
                <a:gd name="T23" fmla="*/ 1 h 200"/>
                <a:gd name="T24" fmla="*/ 199 w 278"/>
                <a:gd name="T25" fmla="*/ 8 h 200"/>
                <a:gd name="T26" fmla="*/ 212 w 278"/>
                <a:gd name="T27" fmla="*/ 26 h 200"/>
                <a:gd name="T28" fmla="*/ 194 w 278"/>
                <a:gd name="T29" fmla="*/ 39 h 200"/>
                <a:gd name="T30" fmla="*/ 153 w 278"/>
                <a:gd name="T31" fmla="*/ 32 h 200"/>
                <a:gd name="T32" fmla="*/ 141 w 278"/>
                <a:gd name="T33" fmla="*/ 46 h 200"/>
                <a:gd name="T34" fmla="*/ 172 w 278"/>
                <a:gd name="T35" fmla="*/ 52 h 200"/>
                <a:gd name="T36" fmla="*/ 172 w 278"/>
                <a:gd name="T37" fmla="*/ 52 h 200"/>
                <a:gd name="T38" fmla="*/ 262 w 278"/>
                <a:gd name="T39" fmla="*/ 66 h 200"/>
                <a:gd name="T40" fmla="*/ 275 w 278"/>
                <a:gd name="T41" fmla="*/ 84 h 200"/>
                <a:gd name="T42" fmla="*/ 257 w 278"/>
                <a:gd name="T43" fmla="*/ 97 h 200"/>
                <a:gd name="T44" fmla="*/ 167 w 278"/>
                <a:gd name="T45" fmla="*/ 82 h 200"/>
                <a:gd name="T46" fmla="*/ 167 w 278"/>
                <a:gd name="T47" fmla="*/ 87 h 200"/>
                <a:gd name="T48" fmla="*/ 264 w 278"/>
                <a:gd name="T49" fmla="*/ 103 h 200"/>
                <a:gd name="T50" fmla="*/ 276 w 278"/>
                <a:gd name="T51" fmla="*/ 120 h 200"/>
                <a:gd name="T52" fmla="*/ 259 w 278"/>
                <a:gd name="T53" fmla="*/ 133 h 200"/>
                <a:gd name="T54" fmla="*/ 162 w 278"/>
                <a:gd name="T55" fmla="*/ 117 h 200"/>
                <a:gd name="T56" fmla="*/ 161 w 278"/>
                <a:gd name="T57" fmla="*/ 122 h 200"/>
                <a:gd name="T58" fmla="*/ 245 w 278"/>
                <a:gd name="T59" fmla="*/ 136 h 200"/>
                <a:gd name="T60" fmla="*/ 258 w 278"/>
                <a:gd name="T61" fmla="*/ 153 h 200"/>
                <a:gd name="T62" fmla="*/ 240 w 278"/>
                <a:gd name="T63" fmla="*/ 166 h 200"/>
                <a:gd name="T64" fmla="*/ 156 w 278"/>
                <a:gd name="T65" fmla="*/ 152 h 200"/>
                <a:gd name="T66" fmla="*/ 155 w 278"/>
                <a:gd name="T67" fmla="*/ 157 h 200"/>
                <a:gd name="T68" fmla="*/ 226 w 278"/>
                <a:gd name="T69" fmla="*/ 168 h 200"/>
                <a:gd name="T70" fmla="*/ 238 w 278"/>
                <a:gd name="T71" fmla="*/ 186 h 200"/>
                <a:gd name="T72" fmla="*/ 221 w 278"/>
                <a:gd name="T73" fmla="*/ 199 h 200"/>
                <a:gd name="T74" fmla="*/ 150 w 278"/>
                <a:gd name="T75" fmla="*/ 187 h 200"/>
                <a:gd name="T76" fmla="*/ 150 w 278"/>
                <a:gd name="T77" fmla="*/ 187 h 200"/>
                <a:gd name="T78" fmla="*/ 79 w 278"/>
                <a:gd name="T79" fmla="*/ 17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8" h="200">
                  <a:moveTo>
                    <a:pt x="79" y="176"/>
                  </a:moveTo>
                  <a:cubicBezTo>
                    <a:pt x="74" y="175"/>
                    <a:pt x="69" y="172"/>
                    <a:pt x="66" y="167"/>
                  </a:cubicBezTo>
                  <a:cubicBezTo>
                    <a:pt x="64" y="165"/>
                    <a:pt x="63" y="162"/>
                    <a:pt x="62" y="158"/>
                  </a:cubicBezTo>
                  <a:cubicBezTo>
                    <a:pt x="0" y="148"/>
                    <a:pt x="0" y="148"/>
                    <a:pt x="0" y="148"/>
                  </a:cubicBezTo>
                  <a:cubicBezTo>
                    <a:pt x="18" y="34"/>
                    <a:pt x="18" y="34"/>
                    <a:pt x="18" y="34"/>
                  </a:cubicBezTo>
                  <a:cubicBezTo>
                    <a:pt x="80" y="44"/>
                    <a:pt x="80" y="44"/>
                    <a:pt x="80" y="44"/>
                  </a:cubicBezTo>
                  <a:cubicBezTo>
                    <a:pt x="81" y="42"/>
                    <a:pt x="82" y="40"/>
                    <a:pt x="83" y="38"/>
                  </a:cubicBezTo>
                  <a:cubicBezTo>
                    <a:pt x="85" y="35"/>
                    <a:pt x="88" y="33"/>
                    <a:pt x="90" y="31"/>
                  </a:cubicBezTo>
                  <a:cubicBezTo>
                    <a:pt x="141" y="2"/>
                    <a:pt x="141" y="2"/>
                    <a:pt x="141" y="2"/>
                  </a:cubicBezTo>
                  <a:cubicBezTo>
                    <a:pt x="145" y="0"/>
                    <a:pt x="148" y="0"/>
                    <a:pt x="151" y="0"/>
                  </a:cubicBezTo>
                  <a:cubicBezTo>
                    <a:pt x="152" y="1"/>
                    <a:pt x="152" y="1"/>
                    <a:pt x="152" y="1"/>
                  </a:cubicBezTo>
                  <a:cubicBezTo>
                    <a:pt x="153" y="1"/>
                    <a:pt x="153" y="1"/>
                    <a:pt x="153" y="1"/>
                  </a:cubicBezTo>
                  <a:cubicBezTo>
                    <a:pt x="199" y="8"/>
                    <a:pt x="199" y="8"/>
                    <a:pt x="199" y="8"/>
                  </a:cubicBezTo>
                  <a:cubicBezTo>
                    <a:pt x="208" y="10"/>
                    <a:pt x="213" y="18"/>
                    <a:pt x="212" y="26"/>
                  </a:cubicBezTo>
                  <a:cubicBezTo>
                    <a:pt x="211" y="34"/>
                    <a:pt x="203" y="40"/>
                    <a:pt x="194" y="39"/>
                  </a:cubicBezTo>
                  <a:cubicBezTo>
                    <a:pt x="153" y="32"/>
                    <a:pt x="153" y="32"/>
                    <a:pt x="153" y="32"/>
                  </a:cubicBezTo>
                  <a:cubicBezTo>
                    <a:pt x="141" y="46"/>
                    <a:pt x="141" y="46"/>
                    <a:pt x="141" y="46"/>
                  </a:cubicBezTo>
                  <a:cubicBezTo>
                    <a:pt x="172" y="52"/>
                    <a:pt x="172" y="52"/>
                    <a:pt x="172" y="52"/>
                  </a:cubicBezTo>
                  <a:cubicBezTo>
                    <a:pt x="172" y="52"/>
                    <a:pt x="172" y="52"/>
                    <a:pt x="172" y="52"/>
                  </a:cubicBezTo>
                  <a:cubicBezTo>
                    <a:pt x="262" y="66"/>
                    <a:pt x="262" y="66"/>
                    <a:pt x="262" y="66"/>
                  </a:cubicBezTo>
                  <a:cubicBezTo>
                    <a:pt x="271" y="68"/>
                    <a:pt x="276" y="75"/>
                    <a:pt x="275" y="84"/>
                  </a:cubicBezTo>
                  <a:cubicBezTo>
                    <a:pt x="274" y="92"/>
                    <a:pt x="266" y="98"/>
                    <a:pt x="257" y="97"/>
                  </a:cubicBezTo>
                  <a:cubicBezTo>
                    <a:pt x="167" y="82"/>
                    <a:pt x="167" y="82"/>
                    <a:pt x="167" y="82"/>
                  </a:cubicBezTo>
                  <a:cubicBezTo>
                    <a:pt x="167" y="87"/>
                    <a:pt x="167" y="87"/>
                    <a:pt x="167" y="87"/>
                  </a:cubicBezTo>
                  <a:cubicBezTo>
                    <a:pt x="264" y="103"/>
                    <a:pt x="264" y="103"/>
                    <a:pt x="264" y="103"/>
                  </a:cubicBezTo>
                  <a:cubicBezTo>
                    <a:pt x="272" y="104"/>
                    <a:pt x="278" y="112"/>
                    <a:pt x="276" y="120"/>
                  </a:cubicBezTo>
                  <a:cubicBezTo>
                    <a:pt x="275" y="129"/>
                    <a:pt x="267" y="134"/>
                    <a:pt x="259" y="133"/>
                  </a:cubicBezTo>
                  <a:cubicBezTo>
                    <a:pt x="162" y="117"/>
                    <a:pt x="162" y="117"/>
                    <a:pt x="162" y="117"/>
                  </a:cubicBezTo>
                  <a:cubicBezTo>
                    <a:pt x="161" y="122"/>
                    <a:pt x="161" y="122"/>
                    <a:pt x="161" y="122"/>
                  </a:cubicBezTo>
                  <a:cubicBezTo>
                    <a:pt x="245" y="136"/>
                    <a:pt x="245" y="136"/>
                    <a:pt x="245" y="136"/>
                  </a:cubicBezTo>
                  <a:cubicBezTo>
                    <a:pt x="254" y="137"/>
                    <a:pt x="260" y="145"/>
                    <a:pt x="258" y="153"/>
                  </a:cubicBezTo>
                  <a:cubicBezTo>
                    <a:pt x="257" y="162"/>
                    <a:pt x="249" y="167"/>
                    <a:pt x="240" y="166"/>
                  </a:cubicBezTo>
                  <a:cubicBezTo>
                    <a:pt x="156" y="152"/>
                    <a:pt x="156" y="152"/>
                    <a:pt x="156" y="152"/>
                  </a:cubicBezTo>
                  <a:cubicBezTo>
                    <a:pt x="155" y="157"/>
                    <a:pt x="155" y="157"/>
                    <a:pt x="155" y="157"/>
                  </a:cubicBezTo>
                  <a:cubicBezTo>
                    <a:pt x="226" y="168"/>
                    <a:pt x="226" y="168"/>
                    <a:pt x="226" y="168"/>
                  </a:cubicBezTo>
                  <a:cubicBezTo>
                    <a:pt x="234" y="170"/>
                    <a:pt x="240" y="178"/>
                    <a:pt x="238" y="186"/>
                  </a:cubicBezTo>
                  <a:cubicBezTo>
                    <a:pt x="237" y="194"/>
                    <a:pt x="229" y="200"/>
                    <a:pt x="221" y="199"/>
                  </a:cubicBezTo>
                  <a:cubicBezTo>
                    <a:pt x="150" y="187"/>
                    <a:pt x="150" y="187"/>
                    <a:pt x="150" y="187"/>
                  </a:cubicBezTo>
                  <a:cubicBezTo>
                    <a:pt x="150" y="187"/>
                    <a:pt x="150" y="187"/>
                    <a:pt x="150" y="187"/>
                  </a:cubicBezTo>
                  <a:cubicBezTo>
                    <a:pt x="79" y="176"/>
                    <a:pt x="79" y="176"/>
                    <a:pt x="79" y="176"/>
                  </a:cubicBezTo>
                </a:path>
              </a:pathLst>
            </a:custGeom>
            <a:solidFill>
              <a:srgbClr val="FFB28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íṧļîḋe">
              <a:extLst>
                <a:ext uri="{FF2B5EF4-FFF2-40B4-BE49-F238E27FC236}">
                  <a16:creationId xmlns:a16="http://schemas.microsoft.com/office/drawing/2014/main" id="{551E2C73-B048-1940-882A-DE899A0DD757}"/>
                </a:ext>
              </a:extLst>
            </p:cNvPr>
            <p:cNvSpPr/>
            <p:nvPr/>
          </p:nvSpPr>
          <p:spPr bwMode="auto">
            <a:xfrm>
              <a:off x="5997575" y="2889250"/>
              <a:ext cx="431800" cy="319087"/>
            </a:xfrm>
            <a:custGeom>
              <a:avLst/>
              <a:gdLst>
                <a:gd name="T0" fmla="*/ 167 w 274"/>
                <a:gd name="T1" fmla="*/ 201 h 203"/>
                <a:gd name="T2" fmla="*/ 182 w 274"/>
                <a:gd name="T3" fmla="*/ 198 h 203"/>
                <a:gd name="T4" fmla="*/ 189 w 274"/>
                <a:gd name="T5" fmla="*/ 191 h 203"/>
                <a:gd name="T6" fmla="*/ 251 w 274"/>
                <a:gd name="T7" fmla="*/ 203 h 203"/>
                <a:gd name="T8" fmla="*/ 274 w 274"/>
                <a:gd name="T9" fmla="*/ 90 h 203"/>
                <a:gd name="T10" fmla="*/ 212 w 274"/>
                <a:gd name="T11" fmla="*/ 78 h 203"/>
                <a:gd name="T12" fmla="*/ 212 w 274"/>
                <a:gd name="T13" fmla="*/ 71 h 203"/>
                <a:gd name="T14" fmla="*/ 207 w 274"/>
                <a:gd name="T15" fmla="*/ 62 h 203"/>
                <a:gd name="T16" fmla="*/ 170 w 274"/>
                <a:gd name="T17" fmla="*/ 16 h 203"/>
                <a:gd name="T18" fmla="*/ 162 w 274"/>
                <a:gd name="T19" fmla="*/ 12 h 203"/>
                <a:gd name="T20" fmla="*/ 161 w 274"/>
                <a:gd name="T21" fmla="*/ 12 h 203"/>
                <a:gd name="T22" fmla="*/ 160 w 274"/>
                <a:gd name="T23" fmla="*/ 11 h 203"/>
                <a:gd name="T24" fmla="*/ 114 w 274"/>
                <a:gd name="T25" fmla="*/ 2 h 203"/>
                <a:gd name="T26" fmla="*/ 95 w 274"/>
                <a:gd name="T27" fmla="*/ 14 h 203"/>
                <a:gd name="T28" fmla="*/ 108 w 274"/>
                <a:gd name="T29" fmla="*/ 32 h 203"/>
                <a:gd name="T30" fmla="*/ 148 w 274"/>
                <a:gd name="T31" fmla="*/ 40 h 203"/>
                <a:gd name="T32" fmla="*/ 155 w 274"/>
                <a:gd name="T33" fmla="*/ 58 h 203"/>
                <a:gd name="T34" fmla="*/ 123 w 274"/>
                <a:gd name="T35" fmla="*/ 52 h 203"/>
                <a:gd name="T36" fmla="*/ 123 w 274"/>
                <a:gd name="T37" fmla="*/ 52 h 203"/>
                <a:gd name="T38" fmla="*/ 34 w 274"/>
                <a:gd name="T39" fmla="*/ 34 h 203"/>
                <a:gd name="T40" fmla="*/ 16 w 274"/>
                <a:gd name="T41" fmla="*/ 46 h 203"/>
                <a:gd name="T42" fmla="*/ 28 w 274"/>
                <a:gd name="T43" fmla="*/ 64 h 203"/>
                <a:gd name="T44" fmla="*/ 117 w 274"/>
                <a:gd name="T45" fmla="*/ 82 h 203"/>
                <a:gd name="T46" fmla="*/ 116 w 274"/>
                <a:gd name="T47" fmla="*/ 87 h 203"/>
                <a:gd name="T48" fmla="*/ 20 w 274"/>
                <a:gd name="T49" fmla="*/ 68 h 203"/>
                <a:gd name="T50" fmla="*/ 2 w 274"/>
                <a:gd name="T51" fmla="*/ 80 h 203"/>
                <a:gd name="T52" fmla="*/ 14 w 274"/>
                <a:gd name="T53" fmla="*/ 98 h 203"/>
                <a:gd name="T54" fmla="*/ 110 w 274"/>
                <a:gd name="T55" fmla="*/ 117 h 203"/>
                <a:gd name="T56" fmla="*/ 109 w 274"/>
                <a:gd name="T57" fmla="*/ 122 h 203"/>
                <a:gd name="T58" fmla="*/ 25 w 274"/>
                <a:gd name="T59" fmla="*/ 105 h 203"/>
                <a:gd name="T60" fmla="*/ 7 w 274"/>
                <a:gd name="T61" fmla="*/ 117 h 203"/>
                <a:gd name="T62" fmla="*/ 19 w 274"/>
                <a:gd name="T63" fmla="*/ 135 h 203"/>
                <a:gd name="T64" fmla="*/ 103 w 274"/>
                <a:gd name="T65" fmla="*/ 152 h 203"/>
                <a:gd name="T66" fmla="*/ 102 w 274"/>
                <a:gd name="T67" fmla="*/ 157 h 203"/>
                <a:gd name="T68" fmla="*/ 32 w 274"/>
                <a:gd name="T69" fmla="*/ 143 h 203"/>
                <a:gd name="T70" fmla="*/ 14 w 274"/>
                <a:gd name="T71" fmla="*/ 155 h 203"/>
                <a:gd name="T72" fmla="*/ 26 w 274"/>
                <a:gd name="T73" fmla="*/ 173 h 203"/>
                <a:gd name="T74" fmla="*/ 96 w 274"/>
                <a:gd name="T75" fmla="*/ 187 h 203"/>
                <a:gd name="T76" fmla="*/ 96 w 274"/>
                <a:gd name="T77" fmla="*/ 187 h 203"/>
                <a:gd name="T78" fmla="*/ 167 w 274"/>
                <a:gd name="T79" fmla="*/ 20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4" h="203">
                  <a:moveTo>
                    <a:pt x="167" y="201"/>
                  </a:moveTo>
                  <a:cubicBezTo>
                    <a:pt x="172" y="202"/>
                    <a:pt x="177" y="201"/>
                    <a:pt x="182" y="198"/>
                  </a:cubicBezTo>
                  <a:cubicBezTo>
                    <a:pt x="185" y="196"/>
                    <a:pt x="187" y="194"/>
                    <a:pt x="189" y="191"/>
                  </a:cubicBezTo>
                  <a:cubicBezTo>
                    <a:pt x="251" y="203"/>
                    <a:pt x="251" y="203"/>
                    <a:pt x="251" y="203"/>
                  </a:cubicBezTo>
                  <a:cubicBezTo>
                    <a:pt x="274" y="90"/>
                    <a:pt x="274" y="90"/>
                    <a:pt x="274" y="90"/>
                  </a:cubicBezTo>
                  <a:cubicBezTo>
                    <a:pt x="212" y="78"/>
                    <a:pt x="212" y="78"/>
                    <a:pt x="212" y="78"/>
                  </a:cubicBezTo>
                  <a:cubicBezTo>
                    <a:pt x="212" y="76"/>
                    <a:pt x="212" y="73"/>
                    <a:pt x="212" y="71"/>
                  </a:cubicBezTo>
                  <a:cubicBezTo>
                    <a:pt x="211" y="67"/>
                    <a:pt x="209" y="65"/>
                    <a:pt x="207" y="62"/>
                  </a:cubicBezTo>
                  <a:cubicBezTo>
                    <a:pt x="170" y="16"/>
                    <a:pt x="170" y="16"/>
                    <a:pt x="170" y="16"/>
                  </a:cubicBezTo>
                  <a:cubicBezTo>
                    <a:pt x="168" y="14"/>
                    <a:pt x="165" y="12"/>
                    <a:pt x="162" y="12"/>
                  </a:cubicBezTo>
                  <a:cubicBezTo>
                    <a:pt x="161" y="12"/>
                    <a:pt x="161" y="12"/>
                    <a:pt x="161" y="12"/>
                  </a:cubicBezTo>
                  <a:cubicBezTo>
                    <a:pt x="160" y="11"/>
                    <a:pt x="160" y="11"/>
                    <a:pt x="160" y="11"/>
                  </a:cubicBezTo>
                  <a:cubicBezTo>
                    <a:pt x="114" y="2"/>
                    <a:pt x="114" y="2"/>
                    <a:pt x="114" y="2"/>
                  </a:cubicBezTo>
                  <a:cubicBezTo>
                    <a:pt x="105" y="0"/>
                    <a:pt x="97" y="6"/>
                    <a:pt x="95" y="14"/>
                  </a:cubicBezTo>
                  <a:cubicBezTo>
                    <a:pt x="94" y="22"/>
                    <a:pt x="99" y="31"/>
                    <a:pt x="108" y="32"/>
                  </a:cubicBezTo>
                  <a:cubicBezTo>
                    <a:pt x="148" y="40"/>
                    <a:pt x="148" y="40"/>
                    <a:pt x="148" y="40"/>
                  </a:cubicBezTo>
                  <a:cubicBezTo>
                    <a:pt x="155" y="58"/>
                    <a:pt x="155" y="58"/>
                    <a:pt x="155" y="58"/>
                  </a:cubicBezTo>
                  <a:cubicBezTo>
                    <a:pt x="123" y="52"/>
                    <a:pt x="123" y="52"/>
                    <a:pt x="123" y="52"/>
                  </a:cubicBezTo>
                  <a:cubicBezTo>
                    <a:pt x="123" y="52"/>
                    <a:pt x="123" y="52"/>
                    <a:pt x="123" y="52"/>
                  </a:cubicBezTo>
                  <a:cubicBezTo>
                    <a:pt x="34" y="34"/>
                    <a:pt x="34" y="34"/>
                    <a:pt x="34" y="34"/>
                  </a:cubicBezTo>
                  <a:cubicBezTo>
                    <a:pt x="26" y="32"/>
                    <a:pt x="18" y="38"/>
                    <a:pt x="16" y="46"/>
                  </a:cubicBezTo>
                  <a:cubicBezTo>
                    <a:pt x="14" y="55"/>
                    <a:pt x="20" y="63"/>
                    <a:pt x="28" y="64"/>
                  </a:cubicBezTo>
                  <a:cubicBezTo>
                    <a:pt x="117" y="82"/>
                    <a:pt x="117" y="82"/>
                    <a:pt x="117" y="82"/>
                  </a:cubicBezTo>
                  <a:cubicBezTo>
                    <a:pt x="116" y="87"/>
                    <a:pt x="116" y="87"/>
                    <a:pt x="116" y="87"/>
                  </a:cubicBezTo>
                  <a:cubicBezTo>
                    <a:pt x="20" y="68"/>
                    <a:pt x="20" y="68"/>
                    <a:pt x="20" y="68"/>
                  </a:cubicBezTo>
                  <a:cubicBezTo>
                    <a:pt x="12" y="66"/>
                    <a:pt x="3" y="71"/>
                    <a:pt x="2" y="80"/>
                  </a:cubicBezTo>
                  <a:cubicBezTo>
                    <a:pt x="0" y="88"/>
                    <a:pt x="6" y="96"/>
                    <a:pt x="14" y="98"/>
                  </a:cubicBezTo>
                  <a:cubicBezTo>
                    <a:pt x="110" y="117"/>
                    <a:pt x="110" y="117"/>
                    <a:pt x="110" y="117"/>
                  </a:cubicBezTo>
                  <a:cubicBezTo>
                    <a:pt x="109" y="122"/>
                    <a:pt x="109" y="122"/>
                    <a:pt x="109" y="122"/>
                  </a:cubicBezTo>
                  <a:cubicBezTo>
                    <a:pt x="25" y="105"/>
                    <a:pt x="25" y="105"/>
                    <a:pt x="25" y="105"/>
                  </a:cubicBezTo>
                  <a:cubicBezTo>
                    <a:pt x="17" y="103"/>
                    <a:pt x="9" y="109"/>
                    <a:pt x="7" y="117"/>
                  </a:cubicBezTo>
                  <a:cubicBezTo>
                    <a:pt x="6" y="125"/>
                    <a:pt x="11" y="134"/>
                    <a:pt x="19" y="135"/>
                  </a:cubicBezTo>
                  <a:cubicBezTo>
                    <a:pt x="103" y="152"/>
                    <a:pt x="103" y="152"/>
                    <a:pt x="103" y="152"/>
                  </a:cubicBezTo>
                  <a:cubicBezTo>
                    <a:pt x="102" y="157"/>
                    <a:pt x="102" y="157"/>
                    <a:pt x="102" y="157"/>
                  </a:cubicBezTo>
                  <a:cubicBezTo>
                    <a:pt x="32" y="143"/>
                    <a:pt x="32" y="143"/>
                    <a:pt x="32" y="143"/>
                  </a:cubicBezTo>
                  <a:cubicBezTo>
                    <a:pt x="24" y="141"/>
                    <a:pt x="16" y="146"/>
                    <a:pt x="14" y="155"/>
                  </a:cubicBezTo>
                  <a:cubicBezTo>
                    <a:pt x="12" y="163"/>
                    <a:pt x="18" y="171"/>
                    <a:pt x="26" y="173"/>
                  </a:cubicBezTo>
                  <a:cubicBezTo>
                    <a:pt x="96" y="187"/>
                    <a:pt x="96" y="187"/>
                    <a:pt x="96" y="187"/>
                  </a:cubicBezTo>
                  <a:cubicBezTo>
                    <a:pt x="96" y="187"/>
                    <a:pt x="96" y="187"/>
                    <a:pt x="96" y="187"/>
                  </a:cubicBezTo>
                  <a:cubicBezTo>
                    <a:pt x="167" y="201"/>
                    <a:pt x="167" y="201"/>
                    <a:pt x="167" y="201"/>
                  </a:cubicBezTo>
                </a:path>
              </a:pathLst>
            </a:custGeom>
            <a:solidFill>
              <a:srgbClr val="FFB28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íśľîḑe">
              <a:extLst>
                <a:ext uri="{FF2B5EF4-FFF2-40B4-BE49-F238E27FC236}">
                  <a16:creationId xmlns:a16="http://schemas.microsoft.com/office/drawing/2014/main" id="{46130F28-85C1-AF47-9C7A-D2D55AFE1515}"/>
                </a:ext>
              </a:extLst>
            </p:cNvPr>
            <p:cNvSpPr/>
            <p:nvPr/>
          </p:nvSpPr>
          <p:spPr bwMode="auto">
            <a:xfrm>
              <a:off x="5902325" y="3514725"/>
              <a:ext cx="12700" cy="1587"/>
            </a:xfrm>
            <a:custGeom>
              <a:avLst/>
              <a:gdLst>
                <a:gd name="T0" fmla="*/ 0 w 8"/>
                <a:gd name="T1" fmla="*/ 0 h 1"/>
                <a:gd name="T2" fmla="*/ 0 w 8"/>
                <a:gd name="T3" fmla="*/ 0 h 1"/>
                <a:gd name="T4" fmla="*/ 8 w 8"/>
                <a:gd name="T5" fmla="*/ 1 h 1"/>
                <a:gd name="T6" fmla="*/ 0 w 8"/>
                <a:gd name="T7" fmla="*/ 0 h 1"/>
              </a:gdLst>
              <a:ahLst/>
              <a:cxnLst>
                <a:cxn ang="0">
                  <a:pos x="T0" y="T1"/>
                </a:cxn>
                <a:cxn ang="0">
                  <a:pos x="T2" y="T3"/>
                </a:cxn>
                <a:cxn ang="0">
                  <a:pos x="T4" y="T5"/>
                </a:cxn>
                <a:cxn ang="0">
                  <a:pos x="T6" y="T7"/>
                </a:cxn>
              </a:cxnLst>
              <a:rect l="0" t="0" r="r" b="b"/>
              <a:pathLst>
                <a:path w="8" h="1">
                  <a:moveTo>
                    <a:pt x="0" y="0"/>
                  </a:moveTo>
                  <a:lnTo>
                    <a:pt x="0" y="0"/>
                  </a:lnTo>
                  <a:lnTo>
                    <a:pt x="8" y="1"/>
                  </a:lnTo>
                  <a:lnTo>
                    <a:pt x="0" y="0"/>
                  </a:lnTo>
                  <a:close/>
                </a:path>
              </a:pathLst>
            </a:custGeom>
            <a:solidFill>
              <a:srgbClr val="8BC07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îṣľïdé">
              <a:extLst>
                <a:ext uri="{FF2B5EF4-FFF2-40B4-BE49-F238E27FC236}">
                  <a16:creationId xmlns:a16="http://schemas.microsoft.com/office/drawing/2014/main" id="{5E6BB447-2CFE-9E40-9306-B9DB00ABACF7}"/>
                </a:ext>
              </a:extLst>
            </p:cNvPr>
            <p:cNvSpPr/>
            <p:nvPr/>
          </p:nvSpPr>
          <p:spPr bwMode="auto">
            <a:xfrm>
              <a:off x="5902325" y="3514725"/>
              <a:ext cx="12700" cy="1587"/>
            </a:xfrm>
            <a:custGeom>
              <a:avLst/>
              <a:gdLst>
                <a:gd name="T0" fmla="*/ 0 w 8"/>
                <a:gd name="T1" fmla="*/ 0 h 1"/>
                <a:gd name="T2" fmla="*/ 0 w 8"/>
                <a:gd name="T3" fmla="*/ 0 h 1"/>
                <a:gd name="T4" fmla="*/ 8 w 8"/>
                <a:gd name="T5" fmla="*/ 1 h 1"/>
                <a:gd name="T6" fmla="*/ 0 w 8"/>
                <a:gd name="T7" fmla="*/ 0 h 1"/>
              </a:gdLst>
              <a:ahLst/>
              <a:cxnLst>
                <a:cxn ang="0">
                  <a:pos x="T0" y="T1"/>
                </a:cxn>
                <a:cxn ang="0">
                  <a:pos x="T2" y="T3"/>
                </a:cxn>
                <a:cxn ang="0">
                  <a:pos x="T4" y="T5"/>
                </a:cxn>
                <a:cxn ang="0">
                  <a:pos x="T6" y="T7"/>
                </a:cxn>
              </a:cxnLst>
              <a:rect l="0" t="0" r="r" b="b"/>
              <a:pathLst>
                <a:path w="8" h="1">
                  <a:moveTo>
                    <a:pt x="0" y="0"/>
                  </a:moveTo>
                  <a:lnTo>
                    <a:pt x="0" y="0"/>
                  </a:lnTo>
                  <a:lnTo>
                    <a:pt x="8"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ísḷïḑè">
              <a:extLst>
                <a:ext uri="{FF2B5EF4-FFF2-40B4-BE49-F238E27FC236}">
                  <a16:creationId xmlns:a16="http://schemas.microsoft.com/office/drawing/2014/main" id="{95BA3EE4-BCB3-024A-A09E-B6A2791AE295}"/>
                </a:ext>
              </a:extLst>
            </p:cNvPr>
            <p:cNvSpPr/>
            <p:nvPr/>
          </p:nvSpPr>
          <p:spPr bwMode="auto">
            <a:xfrm>
              <a:off x="5902325" y="3336925"/>
              <a:ext cx="34925" cy="180975"/>
            </a:xfrm>
            <a:custGeom>
              <a:avLst/>
              <a:gdLst>
                <a:gd name="T0" fmla="*/ 22 w 22"/>
                <a:gd name="T1" fmla="*/ 0 h 114"/>
                <a:gd name="T2" fmla="*/ 0 w 22"/>
                <a:gd name="T3" fmla="*/ 112 h 114"/>
                <a:gd name="T4" fmla="*/ 8 w 22"/>
                <a:gd name="T5" fmla="*/ 113 h 114"/>
                <a:gd name="T6" fmla="*/ 16 w 22"/>
                <a:gd name="T7" fmla="*/ 114 h 114"/>
                <a:gd name="T8" fmla="*/ 22 w 22"/>
                <a:gd name="T9" fmla="*/ 0 h 114"/>
              </a:gdLst>
              <a:ahLst/>
              <a:cxnLst>
                <a:cxn ang="0">
                  <a:pos x="T0" y="T1"/>
                </a:cxn>
                <a:cxn ang="0">
                  <a:pos x="T2" y="T3"/>
                </a:cxn>
                <a:cxn ang="0">
                  <a:pos x="T4" y="T5"/>
                </a:cxn>
                <a:cxn ang="0">
                  <a:pos x="T6" y="T7"/>
                </a:cxn>
                <a:cxn ang="0">
                  <a:pos x="T8" y="T9"/>
                </a:cxn>
              </a:cxnLst>
              <a:rect l="0" t="0" r="r" b="b"/>
              <a:pathLst>
                <a:path w="22" h="114">
                  <a:moveTo>
                    <a:pt x="22" y="0"/>
                  </a:moveTo>
                  <a:lnTo>
                    <a:pt x="0" y="112"/>
                  </a:lnTo>
                  <a:lnTo>
                    <a:pt x="8" y="113"/>
                  </a:lnTo>
                  <a:lnTo>
                    <a:pt x="16" y="114"/>
                  </a:lnTo>
                  <a:lnTo>
                    <a:pt x="22" y="0"/>
                  </a:lnTo>
                  <a:close/>
                </a:path>
              </a:pathLst>
            </a:custGeom>
            <a:solidFill>
              <a:srgbClr val="DCA28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ïŝľîḓê">
              <a:extLst>
                <a:ext uri="{FF2B5EF4-FFF2-40B4-BE49-F238E27FC236}">
                  <a16:creationId xmlns:a16="http://schemas.microsoft.com/office/drawing/2014/main" id="{CF9AE5AB-5867-554B-A351-A1148028A842}"/>
                </a:ext>
              </a:extLst>
            </p:cNvPr>
            <p:cNvSpPr/>
            <p:nvPr/>
          </p:nvSpPr>
          <p:spPr bwMode="auto">
            <a:xfrm>
              <a:off x="5902325" y="3336925"/>
              <a:ext cx="34925" cy="180975"/>
            </a:xfrm>
            <a:custGeom>
              <a:avLst/>
              <a:gdLst>
                <a:gd name="T0" fmla="*/ 22 w 22"/>
                <a:gd name="T1" fmla="*/ 0 h 114"/>
                <a:gd name="T2" fmla="*/ 0 w 22"/>
                <a:gd name="T3" fmla="*/ 112 h 114"/>
                <a:gd name="T4" fmla="*/ 8 w 22"/>
                <a:gd name="T5" fmla="*/ 113 h 114"/>
                <a:gd name="T6" fmla="*/ 16 w 22"/>
                <a:gd name="T7" fmla="*/ 114 h 114"/>
                <a:gd name="T8" fmla="*/ 22 w 22"/>
                <a:gd name="T9" fmla="*/ 0 h 114"/>
              </a:gdLst>
              <a:ahLst/>
              <a:cxnLst>
                <a:cxn ang="0">
                  <a:pos x="T0" y="T1"/>
                </a:cxn>
                <a:cxn ang="0">
                  <a:pos x="T2" y="T3"/>
                </a:cxn>
                <a:cxn ang="0">
                  <a:pos x="T4" y="T5"/>
                </a:cxn>
                <a:cxn ang="0">
                  <a:pos x="T6" y="T7"/>
                </a:cxn>
                <a:cxn ang="0">
                  <a:pos x="T8" y="T9"/>
                </a:cxn>
              </a:cxnLst>
              <a:rect l="0" t="0" r="r" b="b"/>
              <a:pathLst>
                <a:path w="22" h="114">
                  <a:moveTo>
                    <a:pt x="22" y="0"/>
                  </a:moveTo>
                  <a:lnTo>
                    <a:pt x="0" y="112"/>
                  </a:lnTo>
                  <a:lnTo>
                    <a:pt x="8" y="113"/>
                  </a:lnTo>
                  <a:lnTo>
                    <a:pt x="16" y="114"/>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ïṣ1íďe">
              <a:extLst>
                <a:ext uri="{FF2B5EF4-FFF2-40B4-BE49-F238E27FC236}">
                  <a16:creationId xmlns:a16="http://schemas.microsoft.com/office/drawing/2014/main" id="{FFD16C6B-C331-064D-9B54-658DB16BD767}"/>
                </a:ext>
              </a:extLst>
            </p:cNvPr>
            <p:cNvSpPr/>
            <p:nvPr/>
          </p:nvSpPr>
          <p:spPr bwMode="auto">
            <a:xfrm>
              <a:off x="5848350" y="3325813"/>
              <a:ext cx="88900" cy="190500"/>
            </a:xfrm>
            <a:custGeom>
              <a:avLst/>
              <a:gdLst>
                <a:gd name="T0" fmla="*/ 37 w 56"/>
                <a:gd name="T1" fmla="*/ 120 h 120"/>
                <a:gd name="T2" fmla="*/ 56 w 56"/>
                <a:gd name="T3" fmla="*/ 7 h 120"/>
                <a:gd name="T4" fmla="*/ 18 w 56"/>
                <a:gd name="T5" fmla="*/ 0 h 120"/>
                <a:gd name="T6" fmla="*/ 0 w 56"/>
                <a:gd name="T7" fmla="*/ 113 h 120"/>
                <a:gd name="T8" fmla="*/ 37 w 56"/>
                <a:gd name="T9" fmla="*/ 120 h 120"/>
              </a:gdLst>
              <a:ahLst/>
              <a:cxnLst>
                <a:cxn ang="0">
                  <a:pos x="T0" y="T1"/>
                </a:cxn>
                <a:cxn ang="0">
                  <a:pos x="T2" y="T3"/>
                </a:cxn>
                <a:cxn ang="0">
                  <a:pos x="T4" y="T5"/>
                </a:cxn>
                <a:cxn ang="0">
                  <a:pos x="T6" y="T7"/>
                </a:cxn>
                <a:cxn ang="0">
                  <a:pos x="T8" y="T9"/>
                </a:cxn>
              </a:cxnLst>
              <a:rect l="0" t="0" r="r" b="b"/>
              <a:pathLst>
                <a:path w="56" h="120">
                  <a:moveTo>
                    <a:pt x="37" y="120"/>
                  </a:moveTo>
                  <a:lnTo>
                    <a:pt x="56" y="7"/>
                  </a:lnTo>
                  <a:lnTo>
                    <a:pt x="18" y="0"/>
                  </a:lnTo>
                  <a:lnTo>
                    <a:pt x="0" y="113"/>
                  </a:lnTo>
                  <a:lnTo>
                    <a:pt x="37" y="1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ïṩḻiḑê">
              <a:extLst>
                <a:ext uri="{FF2B5EF4-FFF2-40B4-BE49-F238E27FC236}">
                  <a16:creationId xmlns:a16="http://schemas.microsoft.com/office/drawing/2014/main" id="{108E2E05-4F26-EC4B-85CA-D6C642920E83}"/>
                </a:ext>
              </a:extLst>
            </p:cNvPr>
            <p:cNvSpPr/>
            <p:nvPr/>
          </p:nvSpPr>
          <p:spPr bwMode="auto">
            <a:xfrm>
              <a:off x="6321425" y="3194050"/>
              <a:ext cx="14287" cy="4762"/>
            </a:xfrm>
            <a:custGeom>
              <a:avLst/>
              <a:gdLst>
                <a:gd name="T0" fmla="*/ 0 w 9"/>
                <a:gd name="T1" fmla="*/ 0 h 3"/>
                <a:gd name="T2" fmla="*/ 9 w 9"/>
                <a:gd name="T3" fmla="*/ 3 h 3"/>
                <a:gd name="T4" fmla="*/ 9 w 9"/>
                <a:gd name="T5" fmla="*/ 2 h 3"/>
                <a:gd name="T6" fmla="*/ 0 w 9"/>
                <a:gd name="T7" fmla="*/ 0 h 3"/>
              </a:gdLst>
              <a:ahLst/>
              <a:cxnLst>
                <a:cxn ang="0">
                  <a:pos x="T0" y="T1"/>
                </a:cxn>
                <a:cxn ang="0">
                  <a:pos x="T2" y="T3"/>
                </a:cxn>
                <a:cxn ang="0">
                  <a:pos x="T4" y="T5"/>
                </a:cxn>
                <a:cxn ang="0">
                  <a:pos x="T6" y="T7"/>
                </a:cxn>
              </a:cxnLst>
              <a:rect l="0" t="0" r="r" b="b"/>
              <a:pathLst>
                <a:path w="9" h="3">
                  <a:moveTo>
                    <a:pt x="0" y="0"/>
                  </a:moveTo>
                  <a:lnTo>
                    <a:pt x="9" y="3"/>
                  </a:lnTo>
                  <a:lnTo>
                    <a:pt x="9" y="2"/>
                  </a:lnTo>
                  <a:lnTo>
                    <a:pt x="0" y="0"/>
                  </a:lnTo>
                  <a:close/>
                </a:path>
              </a:pathLst>
            </a:custGeom>
            <a:solidFill>
              <a:srgbClr val="62975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íṣḷîḍê">
              <a:extLst>
                <a:ext uri="{FF2B5EF4-FFF2-40B4-BE49-F238E27FC236}">
                  <a16:creationId xmlns:a16="http://schemas.microsoft.com/office/drawing/2014/main" id="{96B4B29D-6755-2E4D-8BC7-D8D9CB0D537E}"/>
                </a:ext>
              </a:extLst>
            </p:cNvPr>
            <p:cNvSpPr/>
            <p:nvPr/>
          </p:nvSpPr>
          <p:spPr bwMode="auto">
            <a:xfrm>
              <a:off x="6321425" y="3194050"/>
              <a:ext cx="14287" cy="4762"/>
            </a:xfrm>
            <a:custGeom>
              <a:avLst/>
              <a:gdLst>
                <a:gd name="T0" fmla="*/ 0 w 9"/>
                <a:gd name="T1" fmla="*/ 0 h 3"/>
                <a:gd name="T2" fmla="*/ 9 w 9"/>
                <a:gd name="T3" fmla="*/ 3 h 3"/>
                <a:gd name="T4" fmla="*/ 9 w 9"/>
                <a:gd name="T5" fmla="*/ 2 h 3"/>
                <a:gd name="T6" fmla="*/ 0 w 9"/>
                <a:gd name="T7" fmla="*/ 0 h 3"/>
              </a:gdLst>
              <a:ahLst/>
              <a:cxnLst>
                <a:cxn ang="0">
                  <a:pos x="T0" y="T1"/>
                </a:cxn>
                <a:cxn ang="0">
                  <a:pos x="T2" y="T3"/>
                </a:cxn>
                <a:cxn ang="0">
                  <a:pos x="T4" y="T5"/>
                </a:cxn>
                <a:cxn ang="0">
                  <a:pos x="T6" y="T7"/>
                </a:cxn>
              </a:cxnLst>
              <a:rect l="0" t="0" r="r" b="b"/>
              <a:pathLst>
                <a:path w="9" h="3">
                  <a:moveTo>
                    <a:pt x="0" y="0"/>
                  </a:moveTo>
                  <a:lnTo>
                    <a:pt x="9" y="3"/>
                  </a:lnTo>
                  <a:lnTo>
                    <a:pt x="9"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iṥļîḑè">
              <a:extLst>
                <a:ext uri="{FF2B5EF4-FFF2-40B4-BE49-F238E27FC236}">
                  <a16:creationId xmlns:a16="http://schemas.microsoft.com/office/drawing/2014/main" id="{18DDF995-5AF9-924F-AF8F-2B8E9A12473B}"/>
                </a:ext>
              </a:extLst>
            </p:cNvPr>
            <p:cNvSpPr/>
            <p:nvPr/>
          </p:nvSpPr>
          <p:spPr bwMode="auto">
            <a:xfrm>
              <a:off x="6308725" y="3019425"/>
              <a:ext cx="60325" cy="177800"/>
            </a:xfrm>
            <a:custGeom>
              <a:avLst/>
              <a:gdLst>
                <a:gd name="T0" fmla="*/ 38 w 38"/>
                <a:gd name="T1" fmla="*/ 0 h 112"/>
                <a:gd name="T2" fmla="*/ 0 w 38"/>
                <a:gd name="T3" fmla="*/ 108 h 112"/>
                <a:gd name="T4" fmla="*/ 8 w 38"/>
                <a:gd name="T5" fmla="*/ 110 h 112"/>
                <a:gd name="T6" fmla="*/ 17 w 38"/>
                <a:gd name="T7" fmla="*/ 112 h 112"/>
                <a:gd name="T8" fmla="*/ 38 w 38"/>
                <a:gd name="T9" fmla="*/ 0 h 112"/>
              </a:gdLst>
              <a:ahLst/>
              <a:cxnLst>
                <a:cxn ang="0">
                  <a:pos x="T0" y="T1"/>
                </a:cxn>
                <a:cxn ang="0">
                  <a:pos x="T2" y="T3"/>
                </a:cxn>
                <a:cxn ang="0">
                  <a:pos x="T4" y="T5"/>
                </a:cxn>
                <a:cxn ang="0">
                  <a:pos x="T6" y="T7"/>
                </a:cxn>
                <a:cxn ang="0">
                  <a:pos x="T8" y="T9"/>
                </a:cxn>
              </a:cxnLst>
              <a:rect l="0" t="0" r="r" b="b"/>
              <a:pathLst>
                <a:path w="38" h="112">
                  <a:moveTo>
                    <a:pt x="38" y="0"/>
                  </a:moveTo>
                  <a:lnTo>
                    <a:pt x="0" y="108"/>
                  </a:lnTo>
                  <a:lnTo>
                    <a:pt x="8" y="110"/>
                  </a:lnTo>
                  <a:lnTo>
                    <a:pt x="17" y="112"/>
                  </a:lnTo>
                  <a:lnTo>
                    <a:pt x="38" y="0"/>
                  </a:lnTo>
                  <a:close/>
                </a:path>
              </a:pathLst>
            </a:custGeom>
            <a:solidFill>
              <a:srgbClr val="DCA28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ïṥliḓé">
              <a:extLst>
                <a:ext uri="{FF2B5EF4-FFF2-40B4-BE49-F238E27FC236}">
                  <a16:creationId xmlns:a16="http://schemas.microsoft.com/office/drawing/2014/main" id="{A9C2924B-92CC-1C4A-9C27-2237C432474E}"/>
                </a:ext>
              </a:extLst>
            </p:cNvPr>
            <p:cNvSpPr/>
            <p:nvPr/>
          </p:nvSpPr>
          <p:spPr bwMode="auto">
            <a:xfrm>
              <a:off x="6308725" y="3019425"/>
              <a:ext cx="60325" cy="177800"/>
            </a:xfrm>
            <a:custGeom>
              <a:avLst/>
              <a:gdLst>
                <a:gd name="T0" fmla="*/ 38 w 38"/>
                <a:gd name="T1" fmla="*/ 0 h 112"/>
                <a:gd name="T2" fmla="*/ 0 w 38"/>
                <a:gd name="T3" fmla="*/ 108 h 112"/>
                <a:gd name="T4" fmla="*/ 8 w 38"/>
                <a:gd name="T5" fmla="*/ 110 h 112"/>
                <a:gd name="T6" fmla="*/ 17 w 38"/>
                <a:gd name="T7" fmla="*/ 112 h 112"/>
                <a:gd name="T8" fmla="*/ 38 w 38"/>
                <a:gd name="T9" fmla="*/ 0 h 112"/>
              </a:gdLst>
              <a:ahLst/>
              <a:cxnLst>
                <a:cxn ang="0">
                  <a:pos x="T0" y="T1"/>
                </a:cxn>
                <a:cxn ang="0">
                  <a:pos x="T2" y="T3"/>
                </a:cxn>
                <a:cxn ang="0">
                  <a:pos x="T4" y="T5"/>
                </a:cxn>
                <a:cxn ang="0">
                  <a:pos x="T6" y="T7"/>
                </a:cxn>
                <a:cxn ang="0">
                  <a:pos x="T8" y="T9"/>
                </a:cxn>
              </a:cxnLst>
              <a:rect l="0" t="0" r="r" b="b"/>
              <a:pathLst>
                <a:path w="38" h="112">
                  <a:moveTo>
                    <a:pt x="38" y="0"/>
                  </a:moveTo>
                  <a:lnTo>
                    <a:pt x="0" y="108"/>
                  </a:lnTo>
                  <a:lnTo>
                    <a:pt x="8" y="110"/>
                  </a:lnTo>
                  <a:lnTo>
                    <a:pt x="17" y="112"/>
                  </a:lnTo>
                  <a:lnTo>
                    <a:pt x="3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îṣļîḓê">
              <a:extLst>
                <a:ext uri="{FF2B5EF4-FFF2-40B4-BE49-F238E27FC236}">
                  <a16:creationId xmlns:a16="http://schemas.microsoft.com/office/drawing/2014/main" id="{F64EEBF8-5C1F-D946-ACA5-F5546E216140}"/>
                </a:ext>
              </a:extLst>
            </p:cNvPr>
            <p:cNvSpPr/>
            <p:nvPr/>
          </p:nvSpPr>
          <p:spPr bwMode="auto">
            <a:xfrm>
              <a:off x="6332538" y="3019425"/>
              <a:ext cx="96837" cy="192087"/>
            </a:xfrm>
            <a:custGeom>
              <a:avLst/>
              <a:gdLst>
                <a:gd name="T0" fmla="*/ 0 w 61"/>
                <a:gd name="T1" fmla="*/ 112 h 121"/>
                <a:gd name="T2" fmla="*/ 23 w 61"/>
                <a:gd name="T3" fmla="*/ 0 h 121"/>
                <a:gd name="T4" fmla="*/ 61 w 61"/>
                <a:gd name="T5" fmla="*/ 7 h 121"/>
                <a:gd name="T6" fmla="*/ 41 w 61"/>
                <a:gd name="T7" fmla="*/ 121 h 121"/>
                <a:gd name="T8" fmla="*/ 0 w 61"/>
                <a:gd name="T9" fmla="*/ 112 h 121"/>
              </a:gdLst>
              <a:ahLst/>
              <a:cxnLst>
                <a:cxn ang="0">
                  <a:pos x="T0" y="T1"/>
                </a:cxn>
                <a:cxn ang="0">
                  <a:pos x="T2" y="T3"/>
                </a:cxn>
                <a:cxn ang="0">
                  <a:pos x="T4" y="T5"/>
                </a:cxn>
                <a:cxn ang="0">
                  <a:pos x="T6" y="T7"/>
                </a:cxn>
                <a:cxn ang="0">
                  <a:pos x="T8" y="T9"/>
                </a:cxn>
              </a:cxnLst>
              <a:rect l="0" t="0" r="r" b="b"/>
              <a:pathLst>
                <a:path w="61" h="121">
                  <a:moveTo>
                    <a:pt x="0" y="112"/>
                  </a:moveTo>
                  <a:lnTo>
                    <a:pt x="23" y="0"/>
                  </a:lnTo>
                  <a:lnTo>
                    <a:pt x="61" y="7"/>
                  </a:lnTo>
                  <a:lnTo>
                    <a:pt x="41" y="121"/>
                  </a:lnTo>
                  <a:lnTo>
                    <a:pt x="0" y="1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3" name="i$ḷiďé">
              <a:extLst>
                <a:ext uri="{FF2B5EF4-FFF2-40B4-BE49-F238E27FC236}">
                  <a16:creationId xmlns:a16="http://schemas.microsoft.com/office/drawing/2014/main" id="{0853E6A3-279C-1549-BD53-869FB0662E6D}"/>
                </a:ext>
              </a:extLst>
            </p:cNvPr>
            <p:cNvSpPr/>
            <p:nvPr/>
          </p:nvSpPr>
          <p:spPr bwMode="auto">
            <a:xfrm>
              <a:off x="5635625" y="5318125"/>
              <a:ext cx="169862" cy="114300"/>
            </a:xfrm>
            <a:custGeom>
              <a:avLst/>
              <a:gdLst>
                <a:gd name="T0" fmla="*/ 0 w 108"/>
                <a:gd name="T1" fmla="*/ 73 h 73"/>
                <a:gd name="T2" fmla="*/ 0 w 108"/>
                <a:gd name="T3" fmla="*/ 54 h 73"/>
                <a:gd name="T4" fmla="*/ 16 w 108"/>
                <a:gd name="T5" fmla="*/ 16 h 73"/>
                <a:gd name="T6" fmla="*/ 54 w 108"/>
                <a:gd name="T7" fmla="*/ 0 h 73"/>
                <a:gd name="T8" fmla="*/ 108 w 108"/>
                <a:gd name="T9" fmla="*/ 54 h 73"/>
                <a:gd name="T10" fmla="*/ 108 w 108"/>
                <a:gd name="T11" fmla="*/ 73 h 73"/>
                <a:gd name="T12" fmla="*/ 0 w 108"/>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108" h="73">
                  <a:moveTo>
                    <a:pt x="0" y="73"/>
                  </a:moveTo>
                  <a:cubicBezTo>
                    <a:pt x="0" y="54"/>
                    <a:pt x="0" y="54"/>
                    <a:pt x="0" y="54"/>
                  </a:cubicBezTo>
                  <a:cubicBezTo>
                    <a:pt x="0" y="39"/>
                    <a:pt x="6" y="26"/>
                    <a:pt x="16" y="16"/>
                  </a:cubicBezTo>
                  <a:cubicBezTo>
                    <a:pt x="26" y="5"/>
                    <a:pt x="40" y="0"/>
                    <a:pt x="54" y="0"/>
                  </a:cubicBezTo>
                  <a:cubicBezTo>
                    <a:pt x="84" y="0"/>
                    <a:pt x="108" y="24"/>
                    <a:pt x="108" y="54"/>
                  </a:cubicBezTo>
                  <a:cubicBezTo>
                    <a:pt x="108" y="73"/>
                    <a:pt x="108" y="73"/>
                    <a:pt x="108" y="73"/>
                  </a:cubicBezTo>
                  <a:lnTo>
                    <a:pt x="0" y="73"/>
                  </a:lnTo>
                  <a:close/>
                </a:path>
              </a:pathLst>
            </a:custGeom>
            <a:solidFill>
              <a:srgbClr val="301D1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4" name="î$ļïḑê">
              <a:extLst>
                <a:ext uri="{FF2B5EF4-FFF2-40B4-BE49-F238E27FC236}">
                  <a16:creationId xmlns:a16="http://schemas.microsoft.com/office/drawing/2014/main" id="{3F90E77E-22FB-9D4D-AB0A-82B972FEE5BE}"/>
                </a:ext>
              </a:extLst>
            </p:cNvPr>
            <p:cNvSpPr/>
            <p:nvPr/>
          </p:nvSpPr>
          <p:spPr bwMode="auto">
            <a:xfrm>
              <a:off x="5622925" y="5305425"/>
              <a:ext cx="195262" cy="139700"/>
            </a:xfrm>
            <a:custGeom>
              <a:avLst/>
              <a:gdLst>
                <a:gd name="T0" fmla="*/ 62 w 124"/>
                <a:gd name="T1" fmla="*/ 16 h 89"/>
                <a:gd name="T2" fmla="*/ 108 w 124"/>
                <a:gd name="T3" fmla="*/ 62 h 89"/>
                <a:gd name="T4" fmla="*/ 108 w 124"/>
                <a:gd name="T5" fmla="*/ 73 h 89"/>
                <a:gd name="T6" fmla="*/ 16 w 124"/>
                <a:gd name="T7" fmla="*/ 73 h 89"/>
                <a:gd name="T8" fmla="*/ 16 w 124"/>
                <a:gd name="T9" fmla="*/ 62 h 89"/>
                <a:gd name="T10" fmla="*/ 30 w 124"/>
                <a:gd name="T11" fmla="*/ 29 h 89"/>
                <a:gd name="T12" fmla="*/ 62 w 124"/>
                <a:gd name="T13" fmla="*/ 16 h 89"/>
                <a:gd name="T14" fmla="*/ 62 w 124"/>
                <a:gd name="T15" fmla="*/ 0 h 89"/>
                <a:gd name="T16" fmla="*/ 18 w 124"/>
                <a:gd name="T17" fmla="*/ 18 h 89"/>
                <a:gd name="T18" fmla="*/ 0 w 124"/>
                <a:gd name="T19" fmla="*/ 62 h 89"/>
                <a:gd name="T20" fmla="*/ 0 w 124"/>
                <a:gd name="T21" fmla="*/ 89 h 89"/>
                <a:gd name="T22" fmla="*/ 124 w 124"/>
                <a:gd name="T23" fmla="*/ 89 h 89"/>
                <a:gd name="T24" fmla="*/ 124 w 124"/>
                <a:gd name="T25" fmla="*/ 62 h 89"/>
                <a:gd name="T26" fmla="*/ 62 w 124"/>
                <a:gd name="T2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4" h="89">
                  <a:moveTo>
                    <a:pt x="62" y="16"/>
                  </a:moveTo>
                  <a:cubicBezTo>
                    <a:pt x="87" y="16"/>
                    <a:pt x="108" y="36"/>
                    <a:pt x="108" y="62"/>
                  </a:cubicBezTo>
                  <a:cubicBezTo>
                    <a:pt x="108" y="73"/>
                    <a:pt x="108" y="73"/>
                    <a:pt x="108" y="73"/>
                  </a:cubicBezTo>
                  <a:cubicBezTo>
                    <a:pt x="16" y="73"/>
                    <a:pt x="16" y="73"/>
                    <a:pt x="16" y="73"/>
                  </a:cubicBezTo>
                  <a:cubicBezTo>
                    <a:pt x="16" y="62"/>
                    <a:pt x="16" y="62"/>
                    <a:pt x="16" y="62"/>
                  </a:cubicBezTo>
                  <a:cubicBezTo>
                    <a:pt x="16" y="49"/>
                    <a:pt x="21" y="38"/>
                    <a:pt x="30" y="29"/>
                  </a:cubicBezTo>
                  <a:cubicBezTo>
                    <a:pt x="38" y="21"/>
                    <a:pt x="50" y="16"/>
                    <a:pt x="62" y="16"/>
                  </a:cubicBezTo>
                  <a:close/>
                  <a:moveTo>
                    <a:pt x="62" y="0"/>
                  </a:moveTo>
                  <a:cubicBezTo>
                    <a:pt x="45" y="0"/>
                    <a:pt x="30" y="7"/>
                    <a:pt x="18" y="18"/>
                  </a:cubicBezTo>
                  <a:cubicBezTo>
                    <a:pt x="7" y="29"/>
                    <a:pt x="0" y="45"/>
                    <a:pt x="0" y="62"/>
                  </a:cubicBezTo>
                  <a:cubicBezTo>
                    <a:pt x="0" y="89"/>
                    <a:pt x="0" y="89"/>
                    <a:pt x="0" y="89"/>
                  </a:cubicBezTo>
                  <a:cubicBezTo>
                    <a:pt x="124" y="89"/>
                    <a:pt x="124" y="89"/>
                    <a:pt x="124" y="89"/>
                  </a:cubicBezTo>
                  <a:cubicBezTo>
                    <a:pt x="124" y="62"/>
                    <a:pt x="124" y="62"/>
                    <a:pt x="124" y="62"/>
                  </a:cubicBezTo>
                  <a:cubicBezTo>
                    <a:pt x="124" y="27"/>
                    <a:pt x="96" y="0"/>
                    <a:pt x="62" y="0"/>
                  </a:cubicBezTo>
                  <a:close/>
                </a:path>
              </a:pathLst>
            </a:custGeom>
            <a:solidFill>
              <a:srgbClr val="893C3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5" name="îślíḑe">
              <a:extLst>
                <a:ext uri="{FF2B5EF4-FFF2-40B4-BE49-F238E27FC236}">
                  <a16:creationId xmlns:a16="http://schemas.microsoft.com/office/drawing/2014/main" id="{7B112879-FFC6-384B-888C-B442BEAD8EEB}"/>
                </a:ext>
              </a:extLst>
            </p:cNvPr>
            <p:cNvSpPr/>
            <p:nvPr/>
          </p:nvSpPr>
          <p:spPr bwMode="auto">
            <a:xfrm>
              <a:off x="5648325" y="5387975"/>
              <a:ext cx="26987" cy="255587"/>
            </a:xfrm>
            <a:custGeom>
              <a:avLst/>
              <a:gdLst>
                <a:gd name="T0" fmla="*/ 0 w 17"/>
                <a:gd name="T1" fmla="*/ 161 h 161"/>
                <a:gd name="T2" fmla="*/ 17 w 17"/>
                <a:gd name="T3" fmla="*/ 161 h 161"/>
                <a:gd name="T4" fmla="*/ 17 w 17"/>
                <a:gd name="T5" fmla="*/ 0 h 161"/>
                <a:gd name="T6" fmla="*/ 0 w 17"/>
                <a:gd name="T7" fmla="*/ 13 h 161"/>
                <a:gd name="T8" fmla="*/ 0 w 17"/>
                <a:gd name="T9" fmla="*/ 161 h 161"/>
              </a:gdLst>
              <a:ahLst/>
              <a:cxnLst>
                <a:cxn ang="0">
                  <a:pos x="T0" y="T1"/>
                </a:cxn>
                <a:cxn ang="0">
                  <a:pos x="T2" y="T3"/>
                </a:cxn>
                <a:cxn ang="0">
                  <a:pos x="T4" y="T5"/>
                </a:cxn>
                <a:cxn ang="0">
                  <a:pos x="T6" y="T7"/>
                </a:cxn>
                <a:cxn ang="0">
                  <a:pos x="T8" y="T9"/>
                </a:cxn>
              </a:cxnLst>
              <a:rect l="0" t="0" r="r" b="b"/>
              <a:pathLst>
                <a:path w="17" h="161">
                  <a:moveTo>
                    <a:pt x="0" y="161"/>
                  </a:moveTo>
                  <a:lnTo>
                    <a:pt x="17" y="161"/>
                  </a:lnTo>
                  <a:lnTo>
                    <a:pt x="17" y="0"/>
                  </a:lnTo>
                  <a:lnTo>
                    <a:pt x="0" y="13"/>
                  </a:lnTo>
                  <a:lnTo>
                    <a:pt x="0" y="161"/>
                  </a:lnTo>
                  <a:close/>
                </a:path>
              </a:pathLst>
            </a:custGeom>
            <a:solidFill>
              <a:srgbClr val="301D1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6" name="i$1ïḑè">
              <a:extLst>
                <a:ext uri="{FF2B5EF4-FFF2-40B4-BE49-F238E27FC236}">
                  <a16:creationId xmlns:a16="http://schemas.microsoft.com/office/drawing/2014/main" id="{D4CFAF00-416B-424E-886E-070718FFC78C}"/>
                </a:ext>
              </a:extLst>
            </p:cNvPr>
            <p:cNvSpPr/>
            <p:nvPr/>
          </p:nvSpPr>
          <p:spPr bwMode="auto">
            <a:xfrm>
              <a:off x="5549900" y="5597525"/>
              <a:ext cx="125412" cy="46037"/>
            </a:xfrm>
            <a:prstGeom prst="rect">
              <a:avLst/>
            </a:prstGeom>
            <a:solidFill>
              <a:srgbClr val="301D1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grpSp>
      <p:grpSp>
        <p:nvGrpSpPr>
          <p:cNvPr id="1146" name="组合 1145">
            <a:extLst>
              <a:ext uri="{FF2B5EF4-FFF2-40B4-BE49-F238E27FC236}">
                <a16:creationId xmlns:a16="http://schemas.microsoft.com/office/drawing/2014/main" id="{E538B563-B802-8C49-9FF4-5CDC96877FD2}"/>
              </a:ext>
            </a:extLst>
          </p:cNvPr>
          <p:cNvGrpSpPr/>
          <p:nvPr/>
        </p:nvGrpSpPr>
        <p:grpSpPr>
          <a:xfrm>
            <a:off x="639148" y="3576190"/>
            <a:ext cx="7048300" cy="2554089"/>
            <a:chOff x="595016" y="2709285"/>
            <a:chExt cx="7048300" cy="2554089"/>
          </a:xfrm>
        </p:grpSpPr>
        <p:grpSp>
          <p:nvGrpSpPr>
            <p:cNvPr id="551" name="组合 550"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0F8A6BC3-3D23-ED4E-B7DA-F7F4E46F28EA}"/>
                </a:ext>
              </a:extLst>
            </p:cNvPr>
            <p:cNvGrpSpPr>
              <a:grpSpLocks noChangeAspect="1"/>
            </p:cNvGrpSpPr>
            <p:nvPr/>
          </p:nvGrpSpPr>
          <p:grpSpPr>
            <a:xfrm>
              <a:off x="786557" y="3604689"/>
              <a:ext cx="1619931" cy="1607775"/>
              <a:chOff x="3600743" y="856456"/>
              <a:chExt cx="5168551" cy="5145089"/>
            </a:xfrm>
          </p:grpSpPr>
          <p:sp>
            <p:nvSpPr>
              <p:cNvPr id="552" name="ïş1îḑê">
                <a:extLst>
                  <a:ext uri="{FF2B5EF4-FFF2-40B4-BE49-F238E27FC236}">
                    <a16:creationId xmlns:a16="http://schemas.microsoft.com/office/drawing/2014/main" id="{80D1578A-A178-5C46-BA42-BDA2A4F93182}"/>
                  </a:ext>
                </a:extLst>
              </p:cNvPr>
              <p:cNvSpPr/>
              <p:nvPr/>
            </p:nvSpPr>
            <p:spPr bwMode="auto">
              <a:xfrm>
                <a:off x="3600743" y="1266352"/>
                <a:ext cx="5049860" cy="4620642"/>
              </a:xfrm>
              <a:custGeom>
                <a:avLst/>
                <a:gdLst>
                  <a:gd name="T0" fmla="*/ 731 w 1761"/>
                  <a:gd name="T1" fmla="*/ 11 h 1613"/>
                  <a:gd name="T2" fmla="*/ 918 w 1761"/>
                  <a:gd name="T3" fmla="*/ 64 h 1613"/>
                  <a:gd name="T4" fmla="*/ 1190 w 1761"/>
                  <a:gd name="T5" fmla="*/ 279 h 1613"/>
                  <a:gd name="T6" fmla="*/ 1409 w 1761"/>
                  <a:gd name="T7" fmla="*/ 533 h 1613"/>
                  <a:gd name="T8" fmla="*/ 1746 w 1761"/>
                  <a:gd name="T9" fmla="*/ 861 h 1613"/>
                  <a:gd name="T10" fmla="*/ 688 w 1761"/>
                  <a:gd name="T11" fmla="*/ 1549 h 1613"/>
                  <a:gd name="T12" fmla="*/ 216 w 1761"/>
                  <a:gd name="T13" fmla="*/ 1308 h 1613"/>
                  <a:gd name="T14" fmla="*/ 12 w 1761"/>
                  <a:gd name="T15" fmla="*/ 799 h 1613"/>
                  <a:gd name="T16" fmla="*/ 443 w 1761"/>
                  <a:gd name="T17" fmla="*/ 44 h 1613"/>
                  <a:gd name="T18" fmla="*/ 731 w 1761"/>
                  <a:gd name="T19" fmla="*/ 11 h 1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1" h="1613">
                    <a:moveTo>
                      <a:pt x="731" y="11"/>
                    </a:moveTo>
                    <a:cubicBezTo>
                      <a:pt x="795" y="19"/>
                      <a:pt x="859" y="37"/>
                      <a:pt x="918" y="64"/>
                    </a:cubicBezTo>
                    <a:cubicBezTo>
                      <a:pt x="1024" y="113"/>
                      <a:pt x="1113" y="192"/>
                      <a:pt x="1190" y="279"/>
                    </a:cubicBezTo>
                    <a:cubicBezTo>
                      <a:pt x="1264" y="363"/>
                      <a:pt x="1319" y="466"/>
                      <a:pt x="1409" y="533"/>
                    </a:cubicBezTo>
                    <a:cubicBezTo>
                      <a:pt x="1535" y="627"/>
                      <a:pt x="1741" y="672"/>
                      <a:pt x="1746" y="861"/>
                    </a:cubicBezTo>
                    <a:cubicBezTo>
                      <a:pt x="1761" y="1367"/>
                      <a:pt x="1100" y="1613"/>
                      <a:pt x="688" y="1549"/>
                    </a:cubicBezTo>
                    <a:cubicBezTo>
                      <a:pt x="510" y="1521"/>
                      <a:pt x="339" y="1439"/>
                      <a:pt x="216" y="1308"/>
                    </a:cubicBezTo>
                    <a:cubicBezTo>
                      <a:pt x="89" y="1171"/>
                      <a:pt x="19" y="986"/>
                      <a:pt x="12" y="799"/>
                    </a:cubicBezTo>
                    <a:cubicBezTo>
                      <a:pt x="0" y="489"/>
                      <a:pt x="135" y="158"/>
                      <a:pt x="443" y="44"/>
                    </a:cubicBezTo>
                    <a:cubicBezTo>
                      <a:pt x="535" y="10"/>
                      <a:pt x="634" y="0"/>
                      <a:pt x="731" y="11"/>
                    </a:cubicBezTo>
                  </a:path>
                </a:pathLst>
              </a:custGeom>
              <a:solidFill>
                <a:srgbClr val="E6E8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3" name="ïṣļïďè">
                <a:extLst>
                  <a:ext uri="{FF2B5EF4-FFF2-40B4-BE49-F238E27FC236}">
                    <a16:creationId xmlns:a16="http://schemas.microsoft.com/office/drawing/2014/main" id="{551F4733-2469-0947-BF50-4298C00532B9}"/>
                  </a:ext>
                </a:extLst>
              </p:cNvPr>
              <p:cNvSpPr/>
              <p:nvPr/>
            </p:nvSpPr>
            <p:spPr bwMode="auto">
              <a:xfrm>
                <a:off x="7615512" y="4861566"/>
                <a:ext cx="270504" cy="160094"/>
              </a:xfrm>
              <a:custGeom>
                <a:avLst/>
                <a:gdLst>
                  <a:gd name="T0" fmla="*/ 66 w 94"/>
                  <a:gd name="T1" fmla="*/ 0 h 56"/>
                  <a:gd name="T2" fmla="*/ 10 w 94"/>
                  <a:gd name="T3" fmla="*/ 0 h 56"/>
                  <a:gd name="T4" fmla="*/ 5 w 94"/>
                  <a:gd name="T5" fmla="*/ 9 h 56"/>
                  <a:gd name="T6" fmla="*/ 30 w 94"/>
                  <a:gd name="T7" fmla="*/ 9 h 56"/>
                  <a:gd name="T8" fmla="*/ 49 w 94"/>
                  <a:gd name="T9" fmla="*/ 28 h 56"/>
                  <a:gd name="T10" fmla="*/ 30 w 94"/>
                  <a:gd name="T11" fmla="*/ 48 h 56"/>
                  <a:gd name="T12" fmla="*/ 0 w 94"/>
                  <a:gd name="T13" fmla="*/ 48 h 56"/>
                  <a:gd name="T14" fmla="*/ 12 w 94"/>
                  <a:gd name="T15" fmla="*/ 56 h 56"/>
                  <a:gd name="T16" fmla="*/ 66 w 94"/>
                  <a:gd name="T17" fmla="*/ 56 h 56"/>
                  <a:gd name="T18" fmla="*/ 94 w 94"/>
                  <a:gd name="T19" fmla="*/ 28 h 56"/>
                  <a:gd name="T20" fmla="*/ 66 w 94"/>
                  <a:gd name="T2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6">
                    <a:moveTo>
                      <a:pt x="66" y="0"/>
                    </a:moveTo>
                    <a:cubicBezTo>
                      <a:pt x="10" y="0"/>
                      <a:pt x="10" y="0"/>
                      <a:pt x="10" y="0"/>
                    </a:cubicBezTo>
                    <a:cubicBezTo>
                      <a:pt x="5" y="9"/>
                      <a:pt x="5" y="9"/>
                      <a:pt x="5" y="9"/>
                    </a:cubicBezTo>
                    <a:cubicBezTo>
                      <a:pt x="30" y="9"/>
                      <a:pt x="30" y="9"/>
                      <a:pt x="30" y="9"/>
                    </a:cubicBezTo>
                    <a:cubicBezTo>
                      <a:pt x="41" y="9"/>
                      <a:pt x="49" y="18"/>
                      <a:pt x="49" y="28"/>
                    </a:cubicBezTo>
                    <a:cubicBezTo>
                      <a:pt x="49" y="39"/>
                      <a:pt x="41" y="48"/>
                      <a:pt x="30" y="48"/>
                    </a:cubicBezTo>
                    <a:cubicBezTo>
                      <a:pt x="0" y="48"/>
                      <a:pt x="0" y="48"/>
                      <a:pt x="0" y="48"/>
                    </a:cubicBezTo>
                    <a:cubicBezTo>
                      <a:pt x="5" y="48"/>
                      <a:pt x="10" y="52"/>
                      <a:pt x="12" y="56"/>
                    </a:cubicBezTo>
                    <a:cubicBezTo>
                      <a:pt x="66" y="56"/>
                      <a:pt x="66" y="56"/>
                      <a:pt x="66" y="56"/>
                    </a:cubicBezTo>
                    <a:cubicBezTo>
                      <a:pt x="81" y="56"/>
                      <a:pt x="94" y="44"/>
                      <a:pt x="94" y="28"/>
                    </a:cubicBezTo>
                    <a:cubicBezTo>
                      <a:pt x="94" y="13"/>
                      <a:pt x="81" y="0"/>
                      <a:pt x="66" y="0"/>
                    </a:cubicBezTo>
                  </a:path>
                </a:pathLst>
              </a:custGeom>
              <a:solidFill>
                <a:srgbClr val="A7C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4" name="îŝḻídé">
                <a:extLst>
                  <a:ext uri="{FF2B5EF4-FFF2-40B4-BE49-F238E27FC236}">
                    <a16:creationId xmlns:a16="http://schemas.microsoft.com/office/drawing/2014/main" id="{58E4ACBE-1AB4-394C-9D16-28C8A38F9666}"/>
                  </a:ext>
                </a:extLst>
              </p:cNvPr>
              <p:cNvSpPr/>
              <p:nvPr/>
            </p:nvSpPr>
            <p:spPr bwMode="auto">
              <a:xfrm>
                <a:off x="6479674" y="4886408"/>
                <a:ext cx="1276612" cy="111790"/>
              </a:xfrm>
              <a:custGeom>
                <a:avLst/>
                <a:gdLst>
                  <a:gd name="T0" fmla="*/ 7 w 445"/>
                  <a:gd name="T1" fmla="*/ 21 h 39"/>
                  <a:gd name="T2" fmla="*/ 0 w 445"/>
                  <a:gd name="T3" fmla="*/ 21 h 39"/>
                  <a:gd name="T4" fmla="*/ 0 w 445"/>
                  <a:gd name="T5" fmla="*/ 39 h 39"/>
                  <a:gd name="T6" fmla="*/ 18 w 445"/>
                  <a:gd name="T7" fmla="*/ 39 h 39"/>
                  <a:gd name="T8" fmla="*/ 7 w 445"/>
                  <a:gd name="T9" fmla="*/ 21 h 39"/>
                  <a:gd name="T10" fmla="*/ 426 w 445"/>
                  <a:gd name="T11" fmla="*/ 0 h 39"/>
                  <a:gd name="T12" fmla="*/ 401 w 445"/>
                  <a:gd name="T13" fmla="*/ 0 h 39"/>
                  <a:gd name="T14" fmla="*/ 388 w 445"/>
                  <a:gd name="T15" fmla="*/ 21 h 39"/>
                  <a:gd name="T16" fmla="*/ 101 w 445"/>
                  <a:gd name="T17" fmla="*/ 21 h 39"/>
                  <a:gd name="T18" fmla="*/ 108 w 445"/>
                  <a:gd name="T19" fmla="*/ 39 h 39"/>
                  <a:gd name="T20" fmla="*/ 396 w 445"/>
                  <a:gd name="T21" fmla="*/ 39 h 39"/>
                  <a:gd name="T22" fmla="*/ 396 w 445"/>
                  <a:gd name="T23" fmla="*/ 39 h 39"/>
                  <a:gd name="T24" fmla="*/ 426 w 445"/>
                  <a:gd name="T25" fmla="*/ 39 h 39"/>
                  <a:gd name="T26" fmla="*/ 445 w 445"/>
                  <a:gd name="T27" fmla="*/ 19 h 39"/>
                  <a:gd name="T28" fmla="*/ 426 w 445"/>
                  <a:gd name="T2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5" h="39">
                    <a:moveTo>
                      <a:pt x="7" y="21"/>
                    </a:moveTo>
                    <a:cubicBezTo>
                      <a:pt x="0" y="21"/>
                      <a:pt x="0" y="21"/>
                      <a:pt x="0" y="21"/>
                    </a:cubicBezTo>
                    <a:cubicBezTo>
                      <a:pt x="0" y="39"/>
                      <a:pt x="0" y="39"/>
                      <a:pt x="0" y="39"/>
                    </a:cubicBezTo>
                    <a:cubicBezTo>
                      <a:pt x="18" y="39"/>
                      <a:pt x="18" y="39"/>
                      <a:pt x="18" y="39"/>
                    </a:cubicBezTo>
                    <a:cubicBezTo>
                      <a:pt x="15" y="33"/>
                      <a:pt x="11" y="27"/>
                      <a:pt x="7" y="21"/>
                    </a:cubicBezTo>
                    <a:moveTo>
                      <a:pt x="426" y="0"/>
                    </a:moveTo>
                    <a:cubicBezTo>
                      <a:pt x="401" y="0"/>
                      <a:pt x="401" y="0"/>
                      <a:pt x="401" y="0"/>
                    </a:cubicBezTo>
                    <a:cubicBezTo>
                      <a:pt x="388" y="21"/>
                      <a:pt x="388" y="21"/>
                      <a:pt x="388" y="21"/>
                    </a:cubicBezTo>
                    <a:cubicBezTo>
                      <a:pt x="101" y="21"/>
                      <a:pt x="101" y="21"/>
                      <a:pt x="101" y="21"/>
                    </a:cubicBezTo>
                    <a:cubicBezTo>
                      <a:pt x="104" y="27"/>
                      <a:pt x="106" y="33"/>
                      <a:pt x="108" y="39"/>
                    </a:cubicBezTo>
                    <a:cubicBezTo>
                      <a:pt x="396" y="39"/>
                      <a:pt x="396" y="39"/>
                      <a:pt x="396" y="39"/>
                    </a:cubicBezTo>
                    <a:cubicBezTo>
                      <a:pt x="396" y="39"/>
                      <a:pt x="396" y="39"/>
                      <a:pt x="396" y="39"/>
                    </a:cubicBezTo>
                    <a:cubicBezTo>
                      <a:pt x="426" y="39"/>
                      <a:pt x="426" y="39"/>
                      <a:pt x="426" y="39"/>
                    </a:cubicBezTo>
                    <a:cubicBezTo>
                      <a:pt x="437" y="39"/>
                      <a:pt x="445" y="30"/>
                      <a:pt x="445" y="19"/>
                    </a:cubicBezTo>
                    <a:cubicBezTo>
                      <a:pt x="445" y="9"/>
                      <a:pt x="437" y="0"/>
                      <a:pt x="426" y="0"/>
                    </a:cubicBezTo>
                  </a:path>
                </a:pathLst>
              </a:custGeom>
              <a:solidFill>
                <a:srgbClr val="C4D6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5" name="ïślîḍe">
                <a:extLst>
                  <a:ext uri="{FF2B5EF4-FFF2-40B4-BE49-F238E27FC236}">
                    <a16:creationId xmlns:a16="http://schemas.microsoft.com/office/drawing/2014/main" id="{A11359AD-25F6-9148-9073-FD81F3D8C3A3}"/>
                  </a:ext>
                </a:extLst>
              </p:cNvPr>
              <p:cNvSpPr/>
              <p:nvPr/>
            </p:nvSpPr>
            <p:spPr bwMode="auto">
              <a:xfrm>
                <a:off x="6483814" y="5021660"/>
                <a:ext cx="1166202" cy="48305"/>
              </a:xfrm>
              <a:custGeom>
                <a:avLst/>
                <a:gdLst>
                  <a:gd name="T0" fmla="*/ 22 w 407"/>
                  <a:gd name="T1" fmla="*/ 0 h 17"/>
                  <a:gd name="T2" fmla="*/ 0 w 407"/>
                  <a:gd name="T3" fmla="*/ 0 h 17"/>
                  <a:gd name="T4" fmla="*/ 0 w 407"/>
                  <a:gd name="T5" fmla="*/ 17 h 17"/>
                  <a:gd name="T6" fmla="*/ 31 w 407"/>
                  <a:gd name="T7" fmla="*/ 17 h 17"/>
                  <a:gd name="T8" fmla="*/ 28 w 407"/>
                  <a:gd name="T9" fmla="*/ 11 h 17"/>
                  <a:gd name="T10" fmla="*/ 22 w 407"/>
                  <a:gd name="T11" fmla="*/ 0 h 17"/>
                  <a:gd name="T12" fmla="*/ 407 w 407"/>
                  <a:gd name="T13" fmla="*/ 0 h 17"/>
                  <a:gd name="T14" fmla="*/ 110 w 407"/>
                  <a:gd name="T15" fmla="*/ 0 h 17"/>
                  <a:gd name="T16" fmla="*/ 115 w 407"/>
                  <a:gd name="T17" fmla="*/ 17 h 17"/>
                  <a:gd name="T18" fmla="*/ 395 w 407"/>
                  <a:gd name="T19" fmla="*/ 17 h 17"/>
                  <a:gd name="T20" fmla="*/ 407 w 407"/>
                  <a:gd name="T21" fmla="*/ 5 h 17"/>
                  <a:gd name="T22" fmla="*/ 407 w 407"/>
                  <a:gd name="T2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7" h="17">
                    <a:moveTo>
                      <a:pt x="22" y="0"/>
                    </a:moveTo>
                    <a:cubicBezTo>
                      <a:pt x="0" y="0"/>
                      <a:pt x="0" y="0"/>
                      <a:pt x="0" y="0"/>
                    </a:cubicBezTo>
                    <a:cubicBezTo>
                      <a:pt x="0" y="17"/>
                      <a:pt x="0" y="17"/>
                      <a:pt x="0" y="17"/>
                    </a:cubicBezTo>
                    <a:cubicBezTo>
                      <a:pt x="31" y="17"/>
                      <a:pt x="31" y="17"/>
                      <a:pt x="31" y="17"/>
                    </a:cubicBezTo>
                    <a:cubicBezTo>
                      <a:pt x="30" y="15"/>
                      <a:pt x="29" y="13"/>
                      <a:pt x="28" y="11"/>
                    </a:cubicBezTo>
                    <a:cubicBezTo>
                      <a:pt x="26" y="7"/>
                      <a:pt x="24" y="4"/>
                      <a:pt x="22" y="0"/>
                    </a:cubicBezTo>
                    <a:moveTo>
                      <a:pt x="407" y="0"/>
                    </a:moveTo>
                    <a:cubicBezTo>
                      <a:pt x="110" y="0"/>
                      <a:pt x="110" y="0"/>
                      <a:pt x="110" y="0"/>
                    </a:cubicBezTo>
                    <a:cubicBezTo>
                      <a:pt x="112" y="6"/>
                      <a:pt x="114" y="12"/>
                      <a:pt x="115" y="17"/>
                    </a:cubicBezTo>
                    <a:cubicBezTo>
                      <a:pt x="395" y="17"/>
                      <a:pt x="395" y="17"/>
                      <a:pt x="395" y="17"/>
                    </a:cubicBezTo>
                    <a:cubicBezTo>
                      <a:pt x="402" y="17"/>
                      <a:pt x="407" y="12"/>
                      <a:pt x="407" y="5"/>
                    </a:cubicBezTo>
                    <a:cubicBezTo>
                      <a:pt x="407" y="3"/>
                      <a:pt x="407" y="2"/>
                      <a:pt x="407" y="0"/>
                    </a:cubicBezTo>
                  </a:path>
                </a:pathLst>
              </a:custGeom>
              <a:solidFill>
                <a:srgbClr val="789A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6" name="íṣľîḋé">
                <a:extLst>
                  <a:ext uri="{FF2B5EF4-FFF2-40B4-BE49-F238E27FC236}">
                    <a16:creationId xmlns:a16="http://schemas.microsoft.com/office/drawing/2014/main" id="{656990FA-F228-E64E-BF54-5BD69D96EF0A}"/>
                  </a:ext>
                </a:extLst>
              </p:cNvPr>
              <p:cNvSpPr/>
              <p:nvPr/>
            </p:nvSpPr>
            <p:spPr bwMode="auto">
              <a:xfrm>
                <a:off x="6479674" y="4998197"/>
                <a:ext cx="1170342" cy="23462"/>
              </a:xfrm>
              <a:custGeom>
                <a:avLst/>
                <a:gdLst>
                  <a:gd name="T0" fmla="*/ 18 w 408"/>
                  <a:gd name="T1" fmla="*/ 0 h 8"/>
                  <a:gd name="T2" fmla="*/ 0 w 408"/>
                  <a:gd name="T3" fmla="*/ 0 h 8"/>
                  <a:gd name="T4" fmla="*/ 1 w 408"/>
                  <a:gd name="T5" fmla="*/ 8 h 8"/>
                  <a:gd name="T6" fmla="*/ 23 w 408"/>
                  <a:gd name="T7" fmla="*/ 8 h 8"/>
                  <a:gd name="T8" fmla="*/ 18 w 408"/>
                  <a:gd name="T9" fmla="*/ 0 h 8"/>
                  <a:gd name="T10" fmla="*/ 396 w 408"/>
                  <a:gd name="T11" fmla="*/ 0 h 8"/>
                  <a:gd name="T12" fmla="*/ 108 w 408"/>
                  <a:gd name="T13" fmla="*/ 0 h 8"/>
                  <a:gd name="T14" fmla="*/ 111 w 408"/>
                  <a:gd name="T15" fmla="*/ 8 h 8"/>
                  <a:gd name="T16" fmla="*/ 408 w 408"/>
                  <a:gd name="T17" fmla="*/ 8 h 8"/>
                  <a:gd name="T18" fmla="*/ 396 w 408"/>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8" h="8">
                    <a:moveTo>
                      <a:pt x="18" y="0"/>
                    </a:moveTo>
                    <a:cubicBezTo>
                      <a:pt x="0" y="0"/>
                      <a:pt x="0" y="0"/>
                      <a:pt x="0" y="0"/>
                    </a:cubicBezTo>
                    <a:cubicBezTo>
                      <a:pt x="1" y="8"/>
                      <a:pt x="1" y="8"/>
                      <a:pt x="1" y="8"/>
                    </a:cubicBezTo>
                    <a:cubicBezTo>
                      <a:pt x="23" y="8"/>
                      <a:pt x="23" y="8"/>
                      <a:pt x="23" y="8"/>
                    </a:cubicBezTo>
                    <a:cubicBezTo>
                      <a:pt x="22" y="6"/>
                      <a:pt x="20" y="3"/>
                      <a:pt x="18" y="0"/>
                    </a:cubicBezTo>
                    <a:moveTo>
                      <a:pt x="396" y="0"/>
                    </a:moveTo>
                    <a:cubicBezTo>
                      <a:pt x="108" y="0"/>
                      <a:pt x="108" y="0"/>
                      <a:pt x="108" y="0"/>
                    </a:cubicBezTo>
                    <a:cubicBezTo>
                      <a:pt x="109" y="3"/>
                      <a:pt x="110" y="6"/>
                      <a:pt x="111" y="8"/>
                    </a:cubicBezTo>
                    <a:cubicBezTo>
                      <a:pt x="408" y="8"/>
                      <a:pt x="408" y="8"/>
                      <a:pt x="408" y="8"/>
                    </a:cubicBezTo>
                    <a:cubicBezTo>
                      <a:pt x="406" y="4"/>
                      <a:pt x="401" y="0"/>
                      <a:pt x="396" y="0"/>
                    </a:cubicBezTo>
                  </a:path>
                </a:pathLst>
              </a:custGeom>
              <a:solidFill>
                <a:srgbClr val="93AC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7" name="îšḻïḓè">
                <a:extLst>
                  <a:ext uri="{FF2B5EF4-FFF2-40B4-BE49-F238E27FC236}">
                    <a16:creationId xmlns:a16="http://schemas.microsoft.com/office/drawing/2014/main" id="{DF40A74D-A985-CC4D-857C-BD030CBFBCB3}"/>
                  </a:ext>
                </a:extLst>
              </p:cNvPr>
              <p:cNvSpPr/>
              <p:nvPr/>
            </p:nvSpPr>
            <p:spPr bwMode="auto">
              <a:xfrm>
                <a:off x="7062085" y="4127342"/>
                <a:ext cx="622435" cy="166995"/>
              </a:xfrm>
              <a:custGeom>
                <a:avLst/>
                <a:gdLst>
                  <a:gd name="T0" fmla="*/ 212 w 217"/>
                  <a:gd name="T1" fmla="*/ 58 h 58"/>
                  <a:gd name="T2" fmla="*/ 207 w 217"/>
                  <a:gd name="T3" fmla="*/ 53 h 58"/>
                  <a:gd name="T4" fmla="*/ 207 w 217"/>
                  <a:gd name="T5" fmla="*/ 28 h 58"/>
                  <a:gd name="T6" fmla="*/ 189 w 217"/>
                  <a:gd name="T7" fmla="*/ 9 h 58"/>
                  <a:gd name="T8" fmla="*/ 28 w 217"/>
                  <a:gd name="T9" fmla="*/ 9 h 58"/>
                  <a:gd name="T10" fmla="*/ 10 w 217"/>
                  <a:gd name="T11" fmla="*/ 28 h 58"/>
                  <a:gd name="T12" fmla="*/ 10 w 217"/>
                  <a:gd name="T13" fmla="*/ 53 h 58"/>
                  <a:gd name="T14" fmla="*/ 5 w 217"/>
                  <a:gd name="T15" fmla="*/ 58 h 58"/>
                  <a:gd name="T16" fmla="*/ 0 w 217"/>
                  <a:gd name="T17" fmla="*/ 53 h 58"/>
                  <a:gd name="T18" fmla="*/ 0 w 217"/>
                  <a:gd name="T19" fmla="*/ 28 h 58"/>
                  <a:gd name="T20" fmla="*/ 28 w 217"/>
                  <a:gd name="T21" fmla="*/ 0 h 58"/>
                  <a:gd name="T22" fmla="*/ 189 w 217"/>
                  <a:gd name="T23" fmla="*/ 0 h 58"/>
                  <a:gd name="T24" fmla="*/ 217 w 217"/>
                  <a:gd name="T25" fmla="*/ 28 h 58"/>
                  <a:gd name="T26" fmla="*/ 217 w 217"/>
                  <a:gd name="T27" fmla="*/ 53 h 58"/>
                  <a:gd name="T28" fmla="*/ 212 w 217"/>
                  <a:gd name="T29"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58">
                    <a:moveTo>
                      <a:pt x="212" y="58"/>
                    </a:moveTo>
                    <a:cubicBezTo>
                      <a:pt x="209" y="58"/>
                      <a:pt x="207" y="55"/>
                      <a:pt x="207" y="53"/>
                    </a:cubicBezTo>
                    <a:cubicBezTo>
                      <a:pt x="207" y="28"/>
                      <a:pt x="207" y="28"/>
                      <a:pt x="207" y="28"/>
                    </a:cubicBezTo>
                    <a:cubicBezTo>
                      <a:pt x="207" y="18"/>
                      <a:pt x="199" y="9"/>
                      <a:pt x="189" y="9"/>
                    </a:cubicBezTo>
                    <a:cubicBezTo>
                      <a:pt x="28" y="9"/>
                      <a:pt x="28" y="9"/>
                      <a:pt x="28" y="9"/>
                    </a:cubicBezTo>
                    <a:cubicBezTo>
                      <a:pt x="18" y="9"/>
                      <a:pt x="10" y="18"/>
                      <a:pt x="10" y="28"/>
                    </a:cubicBezTo>
                    <a:cubicBezTo>
                      <a:pt x="10" y="53"/>
                      <a:pt x="10" y="53"/>
                      <a:pt x="10" y="53"/>
                    </a:cubicBezTo>
                    <a:cubicBezTo>
                      <a:pt x="10" y="55"/>
                      <a:pt x="8" y="58"/>
                      <a:pt x="5" y="58"/>
                    </a:cubicBezTo>
                    <a:cubicBezTo>
                      <a:pt x="2" y="58"/>
                      <a:pt x="0" y="55"/>
                      <a:pt x="0" y="53"/>
                    </a:cubicBezTo>
                    <a:cubicBezTo>
                      <a:pt x="0" y="28"/>
                      <a:pt x="0" y="28"/>
                      <a:pt x="0" y="28"/>
                    </a:cubicBezTo>
                    <a:cubicBezTo>
                      <a:pt x="0" y="12"/>
                      <a:pt x="13" y="0"/>
                      <a:pt x="28" y="0"/>
                    </a:cubicBezTo>
                    <a:cubicBezTo>
                      <a:pt x="189" y="0"/>
                      <a:pt x="189" y="0"/>
                      <a:pt x="189" y="0"/>
                    </a:cubicBezTo>
                    <a:cubicBezTo>
                      <a:pt x="204" y="0"/>
                      <a:pt x="217" y="12"/>
                      <a:pt x="217" y="28"/>
                    </a:cubicBezTo>
                    <a:cubicBezTo>
                      <a:pt x="217" y="53"/>
                      <a:pt x="217" y="53"/>
                      <a:pt x="217" y="53"/>
                    </a:cubicBezTo>
                    <a:cubicBezTo>
                      <a:pt x="217" y="55"/>
                      <a:pt x="214" y="58"/>
                      <a:pt x="212" y="58"/>
                    </a:cubicBezTo>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8" name="íślîďê">
                <a:extLst>
                  <a:ext uri="{FF2B5EF4-FFF2-40B4-BE49-F238E27FC236}">
                    <a16:creationId xmlns:a16="http://schemas.microsoft.com/office/drawing/2014/main" id="{E09D681F-1ED3-784A-AD6F-DA60B9E59583}"/>
                  </a:ext>
                </a:extLst>
              </p:cNvPr>
              <p:cNvSpPr/>
              <p:nvPr/>
            </p:nvSpPr>
            <p:spPr bwMode="auto">
              <a:xfrm>
                <a:off x="7360191" y="4134242"/>
                <a:ext cx="26223" cy="120071"/>
              </a:xfrm>
              <a:custGeom>
                <a:avLst/>
                <a:gdLst>
                  <a:gd name="T0" fmla="*/ 4 w 9"/>
                  <a:gd name="T1" fmla="*/ 42 h 42"/>
                  <a:gd name="T2" fmla="*/ 0 w 9"/>
                  <a:gd name="T3" fmla="*/ 38 h 42"/>
                  <a:gd name="T4" fmla="*/ 0 w 9"/>
                  <a:gd name="T5" fmla="*/ 5 h 42"/>
                  <a:gd name="T6" fmla="*/ 4 w 9"/>
                  <a:gd name="T7" fmla="*/ 0 h 42"/>
                  <a:gd name="T8" fmla="*/ 9 w 9"/>
                  <a:gd name="T9" fmla="*/ 5 h 42"/>
                  <a:gd name="T10" fmla="*/ 9 w 9"/>
                  <a:gd name="T11" fmla="*/ 38 h 42"/>
                  <a:gd name="T12" fmla="*/ 4 w 9"/>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9" h="42">
                    <a:moveTo>
                      <a:pt x="4" y="42"/>
                    </a:moveTo>
                    <a:cubicBezTo>
                      <a:pt x="2" y="42"/>
                      <a:pt x="0" y="40"/>
                      <a:pt x="0" y="38"/>
                    </a:cubicBezTo>
                    <a:cubicBezTo>
                      <a:pt x="0" y="5"/>
                      <a:pt x="0" y="5"/>
                      <a:pt x="0" y="5"/>
                    </a:cubicBezTo>
                    <a:cubicBezTo>
                      <a:pt x="0" y="2"/>
                      <a:pt x="2" y="0"/>
                      <a:pt x="4" y="0"/>
                    </a:cubicBezTo>
                    <a:cubicBezTo>
                      <a:pt x="7" y="0"/>
                      <a:pt x="9" y="2"/>
                      <a:pt x="9" y="5"/>
                    </a:cubicBezTo>
                    <a:cubicBezTo>
                      <a:pt x="9" y="38"/>
                      <a:pt x="9" y="38"/>
                      <a:pt x="9" y="38"/>
                    </a:cubicBezTo>
                    <a:cubicBezTo>
                      <a:pt x="9" y="40"/>
                      <a:pt x="7" y="42"/>
                      <a:pt x="4" y="42"/>
                    </a:cubicBez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9" name="isḻíḓê">
                <a:extLst>
                  <a:ext uri="{FF2B5EF4-FFF2-40B4-BE49-F238E27FC236}">
                    <a16:creationId xmlns:a16="http://schemas.microsoft.com/office/drawing/2014/main" id="{23191E8D-9BF1-834B-81D7-4E42F08CD5D3}"/>
                  </a:ext>
                </a:extLst>
              </p:cNvPr>
              <p:cNvSpPr/>
              <p:nvPr/>
            </p:nvSpPr>
            <p:spPr bwMode="auto">
              <a:xfrm>
                <a:off x="6942014" y="4279155"/>
                <a:ext cx="266364" cy="186317"/>
              </a:xfrm>
              <a:custGeom>
                <a:avLst/>
                <a:gdLst>
                  <a:gd name="T0" fmla="*/ 93 w 93"/>
                  <a:gd name="T1" fmla="*/ 65 h 65"/>
                  <a:gd name="T2" fmla="*/ 0 w 93"/>
                  <a:gd name="T3" fmla="*/ 65 h 65"/>
                  <a:gd name="T4" fmla="*/ 0 w 93"/>
                  <a:gd name="T5" fmla="*/ 25 h 65"/>
                  <a:gd name="T6" fmla="*/ 25 w 93"/>
                  <a:gd name="T7" fmla="*/ 0 h 65"/>
                  <a:gd name="T8" fmla="*/ 68 w 93"/>
                  <a:gd name="T9" fmla="*/ 0 h 65"/>
                  <a:gd name="T10" fmla="*/ 93 w 93"/>
                  <a:gd name="T11" fmla="*/ 25 h 65"/>
                  <a:gd name="T12" fmla="*/ 93 w 93"/>
                  <a:gd name="T13" fmla="*/ 65 h 65"/>
                </a:gdLst>
                <a:ahLst/>
                <a:cxnLst>
                  <a:cxn ang="0">
                    <a:pos x="T0" y="T1"/>
                  </a:cxn>
                  <a:cxn ang="0">
                    <a:pos x="T2" y="T3"/>
                  </a:cxn>
                  <a:cxn ang="0">
                    <a:pos x="T4" y="T5"/>
                  </a:cxn>
                  <a:cxn ang="0">
                    <a:pos x="T6" y="T7"/>
                  </a:cxn>
                  <a:cxn ang="0">
                    <a:pos x="T8" y="T9"/>
                  </a:cxn>
                  <a:cxn ang="0">
                    <a:pos x="T10" y="T11"/>
                  </a:cxn>
                  <a:cxn ang="0">
                    <a:pos x="T12" y="T13"/>
                  </a:cxn>
                </a:cxnLst>
                <a:rect l="0" t="0" r="r" b="b"/>
                <a:pathLst>
                  <a:path w="93" h="65">
                    <a:moveTo>
                      <a:pt x="93" y="65"/>
                    </a:moveTo>
                    <a:cubicBezTo>
                      <a:pt x="0" y="65"/>
                      <a:pt x="0" y="65"/>
                      <a:pt x="0" y="65"/>
                    </a:cubicBezTo>
                    <a:cubicBezTo>
                      <a:pt x="0" y="25"/>
                      <a:pt x="0" y="25"/>
                      <a:pt x="0" y="25"/>
                    </a:cubicBezTo>
                    <a:cubicBezTo>
                      <a:pt x="0" y="12"/>
                      <a:pt x="11" y="0"/>
                      <a:pt x="25" y="0"/>
                    </a:cubicBezTo>
                    <a:cubicBezTo>
                      <a:pt x="68" y="0"/>
                      <a:pt x="68" y="0"/>
                      <a:pt x="68" y="0"/>
                    </a:cubicBezTo>
                    <a:cubicBezTo>
                      <a:pt x="82" y="0"/>
                      <a:pt x="93" y="12"/>
                      <a:pt x="93" y="25"/>
                    </a:cubicBezTo>
                    <a:cubicBezTo>
                      <a:pt x="93" y="65"/>
                      <a:pt x="93" y="65"/>
                      <a:pt x="93" y="65"/>
                    </a:cubicBezTo>
                  </a:path>
                </a:pathLst>
              </a:custGeom>
              <a:solidFill>
                <a:srgbClr val="FF70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0" name="ïś1ïḑé">
                <a:extLst>
                  <a:ext uri="{FF2B5EF4-FFF2-40B4-BE49-F238E27FC236}">
                    <a16:creationId xmlns:a16="http://schemas.microsoft.com/office/drawing/2014/main" id="{2A2A659C-7432-0B4F-9881-97E175B4EAAA}"/>
                  </a:ext>
                </a:extLst>
              </p:cNvPr>
              <p:cNvSpPr/>
              <p:nvPr/>
            </p:nvSpPr>
            <p:spPr bwMode="auto">
              <a:xfrm>
                <a:off x="7125570" y="4279155"/>
                <a:ext cx="82807" cy="172515"/>
              </a:xfrm>
              <a:custGeom>
                <a:avLst/>
                <a:gdLst>
                  <a:gd name="T0" fmla="*/ 4 w 29"/>
                  <a:gd name="T1" fmla="*/ 0 h 60"/>
                  <a:gd name="T2" fmla="*/ 0 w 29"/>
                  <a:gd name="T3" fmla="*/ 0 h 60"/>
                  <a:gd name="T4" fmla="*/ 0 w 29"/>
                  <a:gd name="T5" fmla="*/ 60 h 60"/>
                  <a:gd name="T6" fmla="*/ 29 w 29"/>
                  <a:gd name="T7" fmla="*/ 60 h 60"/>
                  <a:gd name="T8" fmla="*/ 29 w 29"/>
                  <a:gd name="T9" fmla="*/ 25 h 60"/>
                  <a:gd name="T10" fmla="*/ 4 w 29"/>
                  <a:gd name="T11" fmla="*/ 0 h 60"/>
                </a:gdLst>
                <a:ahLst/>
                <a:cxnLst>
                  <a:cxn ang="0">
                    <a:pos x="T0" y="T1"/>
                  </a:cxn>
                  <a:cxn ang="0">
                    <a:pos x="T2" y="T3"/>
                  </a:cxn>
                  <a:cxn ang="0">
                    <a:pos x="T4" y="T5"/>
                  </a:cxn>
                  <a:cxn ang="0">
                    <a:pos x="T6" y="T7"/>
                  </a:cxn>
                  <a:cxn ang="0">
                    <a:pos x="T8" y="T9"/>
                  </a:cxn>
                  <a:cxn ang="0">
                    <a:pos x="T10" y="T11"/>
                  </a:cxn>
                </a:cxnLst>
                <a:rect l="0" t="0" r="r" b="b"/>
                <a:pathLst>
                  <a:path w="29" h="60">
                    <a:moveTo>
                      <a:pt x="4" y="0"/>
                    </a:moveTo>
                    <a:cubicBezTo>
                      <a:pt x="0" y="0"/>
                      <a:pt x="0" y="0"/>
                      <a:pt x="0" y="0"/>
                    </a:cubicBezTo>
                    <a:cubicBezTo>
                      <a:pt x="0" y="60"/>
                      <a:pt x="0" y="60"/>
                      <a:pt x="0" y="60"/>
                    </a:cubicBezTo>
                    <a:cubicBezTo>
                      <a:pt x="29" y="60"/>
                      <a:pt x="29" y="60"/>
                      <a:pt x="29" y="60"/>
                    </a:cubicBezTo>
                    <a:cubicBezTo>
                      <a:pt x="29" y="25"/>
                      <a:pt x="29" y="25"/>
                      <a:pt x="29" y="25"/>
                    </a:cubicBezTo>
                    <a:cubicBezTo>
                      <a:pt x="29" y="12"/>
                      <a:pt x="18" y="0"/>
                      <a:pt x="4" y="0"/>
                    </a:cubicBezTo>
                  </a:path>
                </a:pathLst>
              </a:custGeom>
              <a:solidFill>
                <a:srgbClr val="D95F8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1" name="îṡļïḋê">
                <a:extLst>
                  <a:ext uri="{FF2B5EF4-FFF2-40B4-BE49-F238E27FC236}">
                    <a16:creationId xmlns:a16="http://schemas.microsoft.com/office/drawing/2014/main" id="{3B1C054B-F87C-4841-B8F1-A3DAE6C28F82}"/>
                  </a:ext>
                </a:extLst>
              </p:cNvPr>
              <p:cNvSpPr/>
              <p:nvPr/>
            </p:nvSpPr>
            <p:spPr bwMode="auto">
              <a:xfrm>
                <a:off x="7030341" y="4251553"/>
                <a:ext cx="89708" cy="27602"/>
              </a:xfrm>
              <a:custGeom>
                <a:avLst/>
                <a:gdLst>
                  <a:gd name="T0" fmla="*/ 31 w 31"/>
                  <a:gd name="T1" fmla="*/ 10 h 10"/>
                  <a:gd name="T2" fmla="*/ 0 w 31"/>
                  <a:gd name="T3" fmla="*/ 10 h 10"/>
                  <a:gd name="T4" fmla="*/ 0 w 31"/>
                  <a:gd name="T5" fmla="*/ 3 h 10"/>
                  <a:gd name="T6" fmla="*/ 3 w 31"/>
                  <a:gd name="T7" fmla="*/ 0 h 10"/>
                  <a:gd name="T8" fmla="*/ 27 w 31"/>
                  <a:gd name="T9" fmla="*/ 0 h 10"/>
                  <a:gd name="T10" fmla="*/ 31 w 31"/>
                  <a:gd name="T11" fmla="*/ 3 h 10"/>
                  <a:gd name="T12" fmla="*/ 31 w 31"/>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31" h="10">
                    <a:moveTo>
                      <a:pt x="31" y="10"/>
                    </a:moveTo>
                    <a:cubicBezTo>
                      <a:pt x="0" y="10"/>
                      <a:pt x="0" y="10"/>
                      <a:pt x="0" y="10"/>
                    </a:cubicBezTo>
                    <a:cubicBezTo>
                      <a:pt x="0" y="3"/>
                      <a:pt x="0" y="3"/>
                      <a:pt x="0" y="3"/>
                    </a:cubicBezTo>
                    <a:cubicBezTo>
                      <a:pt x="0" y="1"/>
                      <a:pt x="1" y="0"/>
                      <a:pt x="3" y="0"/>
                    </a:cubicBezTo>
                    <a:cubicBezTo>
                      <a:pt x="27" y="0"/>
                      <a:pt x="27" y="0"/>
                      <a:pt x="27" y="0"/>
                    </a:cubicBezTo>
                    <a:cubicBezTo>
                      <a:pt x="29" y="0"/>
                      <a:pt x="31" y="1"/>
                      <a:pt x="31" y="3"/>
                    </a:cubicBezTo>
                    <a:lnTo>
                      <a:pt x="31"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2" name="îsľïḋe">
                <a:extLst>
                  <a:ext uri="{FF2B5EF4-FFF2-40B4-BE49-F238E27FC236}">
                    <a16:creationId xmlns:a16="http://schemas.microsoft.com/office/drawing/2014/main" id="{037F58E1-1406-B14E-8E6B-AEA2A9F2890D}"/>
                  </a:ext>
                </a:extLst>
              </p:cNvPr>
              <p:cNvSpPr/>
              <p:nvPr/>
            </p:nvSpPr>
            <p:spPr bwMode="auto">
              <a:xfrm>
                <a:off x="7030341" y="4233611"/>
                <a:ext cx="89708" cy="17942"/>
              </a:xfrm>
              <a:custGeom>
                <a:avLst/>
                <a:gdLst>
                  <a:gd name="T0" fmla="*/ 28 w 31"/>
                  <a:gd name="T1" fmla="*/ 6 h 6"/>
                  <a:gd name="T2" fmla="*/ 3 w 31"/>
                  <a:gd name="T3" fmla="*/ 6 h 6"/>
                  <a:gd name="T4" fmla="*/ 0 w 31"/>
                  <a:gd name="T5" fmla="*/ 3 h 6"/>
                  <a:gd name="T6" fmla="*/ 3 w 31"/>
                  <a:gd name="T7" fmla="*/ 0 h 6"/>
                  <a:gd name="T8" fmla="*/ 28 w 31"/>
                  <a:gd name="T9" fmla="*/ 0 h 6"/>
                  <a:gd name="T10" fmla="*/ 31 w 31"/>
                  <a:gd name="T11" fmla="*/ 3 h 6"/>
                  <a:gd name="T12" fmla="*/ 28 w 31"/>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31" h="6">
                    <a:moveTo>
                      <a:pt x="28" y="6"/>
                    </a:moveTo>
                    <a:cubicBezTo>
                      <a:pt x="3" y="6"/>
                      <a:pt x="3" y="6"/>
                      <a:pt x="3" y="6"/>
                    </a:cubicBezTo>
                    <a:cubicBezTo>
                      <a:pt x="1" y="6"/>
                      <a:pt x="0" y="4"/>
                      <a:pt x="0" y="3"/>
                    </a:cubicBezTo>
                    <a:cubicBezTo>
                      <a:pt x="0" y="1"/>
                      <a:pt x="1" y="0"/>
                      <a:pt x="3" y="0"/>
                    </a:cubicBezTo>
                    <a:cubicBezTo>
                      <a:pt x="28" y="0"/>
                      <a:pt x="28" y="0"/>
                      <a:pt x="28" y="0"/>
                    </a:cubicBezTo>
                    <a:cubicBezTo>
                      <a:pt x="30" y="0"/>
                      <a:pt x="31" y="1"/>
                      <a:pt x="31" y="3"/>
                    </a:cubicBezTo>
                    <a:cubicBezTo>
                      <a:pt x="31" y="4"/>
                      <a:pt x="30" y="6"/>
                      <a:pt x="28" y="6"/>
                    </a:cubicBez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3" name="íṧḻîdé">
                <a:extLst>
                  <a:ext uri="{FF2B5EF4-FFF2-40B4-BE49-F238E27FC236}">
                    <a16:creationId xmlns:a16="http://schemas.microsoft.com/office/drawing/2014/main" id="{40806243-253B-9A4E-A34F-29F7440D7416}"/>
                  </a:ext>
                </a:extLst>
              </p:cNvPr>
              <p:cNvSpPr/>
              <p:nvPr/>
            </p:nvSpPr>
            <p:spPr bwMode="auto">
              <a:xfrm>
                <a:off x="7237359" y="4279155"/>
                <a:ext cx="269124" cy="186317"/>
              </a:xfrm>
              <a:custGeom>
                <a:avLst/>
                <a:gdLst>
                  <a:gd name="T0" fmla="*/ 94 w 94"/>
                  <a:gd name="T1" fmla="*/ 65 h 65"/>
                  <a:gd name="T2" fmla="*/ 0 w 94"/>
                  <a:gd name="T3" fmla="*/ 65 h 65"/>
                  <a:gd name="T4" fmla="*/ 0 w 94"/>
                  <a:gd name="T5" fmla="*/ 25 h 65"/>
                  <a:gd name="T6" fmla="*/ 25 w 94"/>
                  <a:gd name="T7" fmla="*/ 0 h 65"/>
                  <a:gd name="T8" fmla="*/ 69 w 94"/>
                  <a:gd name="T9" fmla="*/ 0 h 65"/>
                  <a:gd name="T10" fmla="*/ 94 w 94"/>
                  <a:gd name="T11" fmla="*/ 25 h 65"/>
                  <a:gd name="T12" fmla="*/ 94 w 94"/>
                  <a:gd name="T13" fmla="*/ 65 h 65"/>
                </a:gdLst>
                <a:ahLst/>
                <a:cxnLst>
                  <a:cxn ang="0">
                    <a:pos x="T0" y="T1"/>
                  </a:cxn>
                  <a:cxn ang="0">
                    <a:pos x="T2" y="T3"/>
                  </a:cxn>
                  <a:cxn ang="0">
                    <a:pos x="T4" y="T5"/>
                  </a:cxn>
                  <a:cxn ang="0">
                    <a:pos x="T6" y="T7"/>
                  </a:cxn>
                  <a:cxn ang="0">
                    <a:pos x="T8" y="T9"/>
                  </a:cxn>
                  <a:cxn ang="0">
                    <a:pos x="T10" y="T11"/>
                  </a:cxn>
                  <a:cxn ang="0">
                    <a:pos x="T12" y="T13"/>
                  </a:cxn>
                </a:cxnLst>
                <a:rect l="0" t="0" r="r" b="b"/>
                <a:pathLst>
                  <a:path w="94" h="65">
                    <a:moveTo>
                      <a:pt x="94" y="65"/>
                    </a:moveTo>
                    <a:cubicBezTo>
                      <a:pt x="0" y="65"/>
                      <a:pt x="0" y="65"/>
                      <a:pt x="0" y="65"/>
                    </a:cubicBezTo>
                    <a:cubicBezTo>
                      <a:pt x="0" y="25"/>
                      <a:pt x="0" y="25"/>
                      <a:pt x="0" y="25"/>
                    </a:cubicBezTo>
                    <a:cubicBezTo>
                      <a:pt x="0" y="12"/>
                      <a:pt x="11" y="0"/>
                      <a:pt x="25" y="0"/>
                    </a:cubicBezTo>
                    <a:cubicBezTo>
                      <a:pt x="69" y="0"/>
                      <a:pt x="69" y="0"/>
                      <a:pt x="69" y="0"/>
                    </a:cubicBezTo>
                    <a:cubicBezTo>
                      <a:pt x="83" y="0"/>
                      <a:pt x="94" y="12"/>
                      <a:pt x="94" y="25"/>
                    </a:cubicBezTo>
                    <a:cubicBezTo>
                      <a:pt x="94" y="65"/>
                      <a:pt x="94" y="65"/>
                      <a:pt x="94" y="65"/>
                    </a:cubicBezTo>
                  </a:path>
                </a:pathLst>
              </a:custGeom>
              <a:solidFill>
                <a:srgbClr val="FF70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4" name="íśľiḍè">
                <a:extLst>
                  <a:ext uri="{FF2B5EF4-FFF2-40B4-BE49-F238E27FC236}">
                    <a16:creationId xmlns:a16="http://schemas.microsoft.com/office/drawing/2014/main" id="{7C016476-F421-244A-A6FA-7F7E427977D5}"/>
                  </a:ext>
                </a:extLst>
              </p:cNvPr>
              <p:cNvSpPr/>
              <p:nvPr/>
            </p:nvSpPr>
            <p:spPr bwMode="auto">
              <a:xfrm>
                <a:off x="7423676" y="4279155"/>
                <a:ext cx="82807" cy="172515"/>
              </a:xfrm>
              <a:custGeom>
                <a:avLst/>
                <a:gdLst>
                  <a:gd name="T0" fmla="*/ 4 w 29"/>
                  <a:gd name="T1" fmla="*/ 0 h 60"/>
                  <a:gd name="T2" fmla="*/ 0 w 29"/>
                  <a:gd name="T3" fmla="*/ 0 h 60"/>
                  <a:gd name="T4" fmla="*/ 0 w 29"/>
                  <a:gd name="T5" fmla="*/ 60 h 60"/>
                  <a:gd name="T6" fmla="*/ 0 w 29"/>
                  <a:gd name="T7" fmla="*/ 60 h 60"/>
                  <a:gd name="T8" fmla="*/ 29 w 29"/>
                  <a:gd name="T9" fmla="*/ 50 h 60"/>
                  <a:gd name="T10" fmla="*/ 29 w 29"/>
                  <a:gd name="T11" fmla="*/ 25 h 60"/>
                  <a:gd name="T12" fmla="*/ 4 w 29"/>
                  <a:gd name="T13" fmla="*/ 0 h 60"/>
                </a:gdLst>
                <a:ahLst/>
                <a:cxnLst>
                  <a:cxn ang="0">
                    <a:pos x="T0" y="T1"/>
                  </a:cxn>
                  <a:cxn ang="0">
                    <a:pos x="T2" y="T3"/>
                  </a:cxn>
                  <a:cxn ang="0">
                    <a:pos x="T4" y="T5"/>
                  </a:cxn>
                  <a:cxn ang="0">
                    <a:pos x="T6" y="T7"/>
                  </a:cxn>
                  <a:cxn ang="0">
                    <a:pos x="T8" y="T9"/>
                  </a:cxn>
                  <a:cxn ang="0">
                    <a:pos x="T10" y="T11"/>
                  </a:cxn>
                  <a:cxn ang="0">
                    <a:pos x="T12" y="T13"/>
                  </a:cxn>
                </a:cxnLst>
                <a:rect l="0" t="0" r="r" b="b"/>
                <a:pathLst>
                  <a:path w="29" h="60">
                    <a:moveTo>
                      <a:pt x="4" y="0"/>
                    </a:moveTo>
                    <a:cubicBezTo>
                      <a:pt x="0" y="0"/>
                      <a:pt x="0" y="0"/>
                      <a:pt x="0" y="0"/>
                    </a:cubicBezTo>
                    <a:cubicBezTo>
                      <a:pt x="0" y="60"/>
                      <a:pt x="0" y="60"/>
                      <a:pt x="0" y="60"/>
                    </a:cubicBezTo>
                    <a:cubicBezTo>
                      <a:pt x="0" y="60"/>
                      <a:pt x="0" y="60"/>
                      <a:pt x="0" y="60"/>
                    </a:cubicBezTo>
                    <a:cubicBezTo>
                      <a:pt x="11" y="60"/>
                      <a:pt x="21" y="56"/>
                      <a:pt x="29" y="50"/>
                    </a:cubicBezTo>
                    <a:cubicBezTo>
                      <a:pt x="29" y="25"/>
                      <a:pt x="29" y="25"/>
                      <a:pt x="29" y="25"/>
                    </a:cubicBezTo>
                    <a:cubicBezTo>
                      <a:pt x="29" y="12"/>
                      <a:pt x="18" y="0"/>
                      <a:pt x="4" y="0"/>
                    </a:cubicBezTo>
                  </a:path>
                </a:pathLst>
              </a:custGeom>
              <a:solidFill>
                <a:srgbClr val="D95F8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5" name="işḻíḑê">
                <a:extLst>
                  <a:ext uri="{FF2B5EF4-FFF2-40B4-BE49-F238E27FC236}">
                    <a16:creationId xmlns:a16="http://schemas.microsoft.com/office/drawing/2014/main" id="{6E14DF25-EF17-E042-8D50-DEB563024C51}"/>
                  </a:ext>
                </a:extLst>
              </p:cNvPr>
              <p:cNvSpPr/>
              <p:nvPr/>
            </p:nvSpPr>
            <p:spPr bwMode="auto">
              <a:xfrm>
                <a:off x="7325687" y="4251553"/>
                <a:ext cx="89708" cy="27602"/>
              </a:xfrm>
              <a:custGeom>
                <a:avLst/>
                <a:gdLst>
                  <a:gd name="T0" fmla="*/ 31 w 31"/>
                  <a:gd name="T1" fmla="*/ 10 h 10"/>
                  <a:gd name="T2" fmla="*/ 0 w 31"/>
                  <a:gd name="T3" fmla="*/ 10 h 10"/>
                  <a:gd name="T4" fmla="*/ 0 w 31"/>
                  <a:gd name="T5" fmla="*/ 3 h 10"/>
                  <a:gd name="T6" fmla="*/ 4 w 31"/>
                  <a:gd name="T7" fmla="*/ 0 h 10"/>
                  <a:gd name="T8" fmla="*/ 28 w 31"/>
                  <a:gd name="T9" fmla="*/ 0 h 10"/>
                  <a:gd name="T10" fmla="*/ 31 w 31"/>
                  <a:gd name="T11" fmla="*/ 3 h 10"/>
                  <a:gd name="T12" fmla="*/ 31 w 31"/>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31" h="10">
                    <a:moveTo>
                      <a:pt x="31" y="10"/>
                    </a:moveTo>
                    <a:cubicBezTo>
                      <a:pt x="0" y="10"/>
                      <a:pt x="0" y="10"/>
                      <a:pt x="0" y="10"/>
                    </a:cubicBezTo>
                    <a:cubicBezTo>
                      <a:pt x="0" y="3"/>
                      <a:pt x="0" y="3"/>
                      <a:pt x="0" y="3"/>
                    </a:cubicBezTo>
                    <a:cubicBezTo>
                      <a:pt x="0" y="1"/>
                      <a:pt x="2" y="0"/>
                      <a:pt x="4" y="0"/>
                    </a:cubicBezTo>
                    <a:cubicBezTo>
                      <a:pt x="28" y="0"/>
                      <a:pt x="28" y="0"/>
                      <a:pt x="28" y="0"/>
                    </a:cubicBezTo>
                    <a:cubicBezTo>
                      <a:pt x="30" y="0"/>
                      <a:pt x="31" y="1"/>
                      <a:pt x="31" y="3"/>
                    </a:cubicBezTo>
                    <a:lnTo>
                      <a:pt x="31"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6" name="îŝlídè">
                <a:extLst>
                  <a:ext uri="{FF2B5EF4-FFF2-40B4-BE49-F238E27FC236}">
                    <a16:creationId xmlns:a16="http://schemas.microsoft.com/office/drawing/2014/main" id="{092E743F-0958-0A43-8FAC-F964ED344EC5}"/>
                  </a:ext>
                </a:extLst>
              </p:cNvPr>
              <p:cNvSpPr/>
              <p:nvPr/>
            </p:nvSpPr>
            <p:spPr bwMode="auto">
              <a:xfrm>
                <a:off x="7325687" y="4233611"/>
                <a:ext cx="89708" cy="17942"/>
              </a:xfrm>
              <a:custGeom>
                <a:avLst/>
                <a:gdLst>
                  <a:gd name="T0" fmla="*/ 28 w 31"/>
                  <a:gd name="T1" fmla="*/ 6 h 6"/>
                  <a:gd name="T2" fmla="*/ 3 w 31"/>
                  <a:gd name="T3" fmla="*/ 6 h 6"/>
                  <a:gd name="T4" fmla="*/ 0 w 31"/>
                  <a:gd name="T5" fmla="*/ 3 h 6"/>
                  <a:gd name="T6" fmla="*/ 3 w 31"/>
                  <a:gd name="T7" fmla="*/ 0 h 6"/>
                  <a:gd name="T8" fmla="*/ 28 w 31"/>
                  <a:gd name="T9" fmla="*/ 0 h 6"/>
                  <a:gd name="T10" fmla="*/ 31 w 31"/>
                  <a:gd name="T11" fmla="*/ 3 h 6"/>
                  <a:gd name="T12" fmla="*/ 28 w 31"/>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31" h="6">
                    <a:moveTo>
                      <a:pt x="28" y="6"/>
                    </a:moveTo>
                    <a:cubicBezTo>
                      <a:pt x="3" y="6"/>
                      <a:pt x="3" y="6"/>
                      <a:pt x="3" y="6"/>
                    </a:cubicBezTo>
                    <a:cubicBezTo>
                      <a:pt x="2" y="6"/>
                      <a:pt x="0" y="4"/>
                      <a:pt x="0" y="3"/>
                    </a:cubicBezTo>
                    <a:cubicBezTo>
                      <a:pt x="0" y="1"/>
                      <a:pt x="2" y="0"/>
                      <a:pt x="3" y="0"/>
                    </a:cubicBezTo>
                    <a:cubicBezTo>
                      <a:pt x="28" y="0"/>
                      <a:pt x="28" y="0"/>
                      <a:pt x="28" y="0"/>
                    </a:cubicBezTo>
                    <a:cubicBezTo>
                      <a:pt x="30" y="0"/>
                      <a:pt x="31" y="1"/>
                      <a:pt x="31" y="3"/>
                    </a:cubicBezTo>
                    <a:cubicBezTo>
                      <a:pt x="31" y="4"/>
                      <a:pt x="30" y="6"/>
                      <a:pt x="28" y="6"/>
                    </a:cubicBez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7" name="ïṥ1íḋê">
                <a:extLst>
                  <a:ext uri="{FF2B5EF4-FFF2-40B4-BE49-F238E27FC236}">
                    <a16:creationId xmlns:a16="http://schemas.microsoft.com/office/drawing/2014/main" id="{3B3CEDAC-5E20-2547-8A33-2B2AA90FFD7E}"/>
                  </a:ext>
                </a:extLst>
              </p:cNvPr>
              <p:cNvSpPr/>
              <p:nvPr/>
            </p:nvSpPr>
            <p:spPr bwMode="auto">
              <a:xfrm>
                <a:off x="7532705" y="4279155"/>
                <a:ext cx="269124" cy="186317"/>
              </a:xfrm>
              <a:custGeom>
                <a:avLst/>
                <a:gdLst>
                  <a:gd name="T0" fmla="*/ 94 w 94"/>
                  <a:gd name="T1" fmla="*/ 65 h 65"/>
                  <a:gd name="T2" fmla="*/ 0 w 94"/>
                  <a:gd name="T3" fmla="*/ 65 h 65"/>
                  <a:gd name="T4" fmla="*/ 0 w 94"/>
                  <a:gd name="T5" fmla="*/ 25 h 65"/>
                  <a:gd name="T6" fmla="*/ 25 w 94"/>
                  <a:gd name="T7" fmla="*/ 0 h 65"/>
                  <a:gd name="T8" fmla="*/ 69 w 94"/>
                  <a:gd name="T9" fmla="*/ 0 h 65"/>
                  <a:gd name="T10" fmla="*/ 94 w 94"/>
                  <a:gd name="T11" fmla="*/ 25 h 65"/>
                  <a:gd name="T12" fmla="*/ 94 w 94"/>
                  <a:gd name="T13" fmla="*/ 65 h 65"/>
                </a:gdLst>
                <a:ahLst/>
                <a:cxnLst>
                  <a:cxn ang="0">
                    <a:pos x="T0" y="T1"/>
                  </a:cxn>
                  <a:cxn ang="0">
                    <a:pos x="T2" y="T3"/>
                  </a:cxn>
                  <a:cxn ang="0">
                    <a:pos x="T4" y="T5"/>
                  </a:cxn>
                  <a:cxn ang="0">
                    <a:pos x="T6" y="T7"/>
                  </a:cxn>
                  <a:cxn ang="0">
                    <a:pos x="T8" y="T9"/>
                  </a:cxn>
                  <a:cxn ang="0">
                    <a:pos x="T10" y="T11"/>
                  </a:cxn>
                  <a:cxn ang="0">
                    <a:pos x="T12" y="T13"/>
                  </a:cxn>
                </a:cxnLst>
                <a:rect l="0" t="0" r="r" b="b"/>
                <a:pathLst>
                  <a:path w="94" h="65">
                    <a:moveTo>
                      <a:pt x="94" y="65"/>
                    </a:moveTo>
                    <a:cubicBezTo>
                      <a:pt x="0" y="65"/>
                      <a:pt x="0" y="65"/>
                      <a:pt x="0" y="65"/>
                    </a:cubicBezTo>
                    <a:cubicBezTo>
                      <a:pt x="0" y="25"/>
                      <a:pt x="0" y="25"/>
                      <a:pt x="0" y="25"/>
                    </a:cubicBezTo>
                    <a:cubicBezTo>
                      <a:pt x="0" y="12"/>
                      <a:pt x="12" y="0"/>
                      <a:pt x="25" y="0"/>
                    </a:cubicBezTo>
                    <a:cubicBezTo>
                      <a:pt x="69" y="0"/>
                      <a:pt x="69" y="0"/>
                      <a:pt x="69" y="0"/>
                    </a:cubicBezTo>
                    <a:cubicBezTo>
                      <a:pt x="83" y="0"/>
                      <a:pt x="94" y="12"/>
                      <a:pt x="94" y="25"/>
                    </a:cubicBezTo>
                    <a:cubicBezTo>
                      <a:pt x="94" y="65"/>
                      <a:pt x="94" y="65"/>
                      <a:pt x="94" y="65"/>
                    </a:cubicBezTo>
                  </a:path>
                </a:pathLst>
              </a:custGeom>
              <a:solidFill>
                <a:srgbClr val="FF70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8" name="îśḻïde">
                <a:extLst>
                  <a:ext uri="{FF2B5EF4-FFF2-40B4-BE49-F238E27FC236}">
                    <a16:creationId xmlns:a16="http://schemas.microsoft.com/office/drawing/2014/main" id="{5B8EDA46-BC36-6B46-8007-D088976DC29B}"/>
                  </a:ext>
                </a:extLst>
              </p:cNvPr>
              <p:cNvSpPr/>
              <p:nvPr/>
            </p:nvSpPr>
            <p:spPr bwMode="auto">
              <a:xfrm>
                <a:off x="7719022" y="4279155"/>
                <a:ext cx="74526" cy="40024"/>
              </a:xfrm>
              <a:custGeom>
                <a:avLst/>
                <a:gdLst>
                  <a:gd name="T0" fmla="*/ 4 w 26"/>
                  <a:gd name="T1" fmla="*/ 0 h 14"/>
                  <a:gd name="T2" fmla="*/ 0 w 26"/>
                  <a:gd name="T3" fmla="*/ 0 h 14"/>
                  <a:gd name="T4" fmla="*/ 0 w 26"/>
                  <a:gd name="T5" fmla="*/ 14 h 14"/>
                  <a:gd name="T6" fmla="*/ 26 w 26"/>
                  <a:gd name="T7" fmla="*/ 14 h 14"/>
                  <a:gd name="T8" fmla="*/ 4 w 26"/>
                  <a:gd name="T9" fmla="*/ 0 h 14"/>
                </a:gdLst>
                <a:ahLst/>
                <a:cxnLst>
                  <a:cxn ang="0">
                    <a:pos x="T0" y="T1"/>
                  </a:cxn>
                  <a:cxn ang="0">
                    <a:pos x="T2" y="T3"/>
                  </a:cxn>
                  <a:cxn ang="0">
                    <a:pos x="T4" y="T5"/>
                  </a:cxn>
                  <a:cxn ang="0">
                    <a:pos x="T6" y="T7"/>
                  </a:cxn>
                  <a:cxn ang="0">
                    <a:pos x="T8" y="T9"/>
                  </a:cxn>
                </a:cxnLst>
                <a:rect l="0" t="0" r="r" b="b"/>
                <a:pathLst>
                  <a:path w="26" h="14">
                    <a:moveTo>
                      <a:pt x="4" y="0"/>
                    </a:moveTo>
                    <a:cubicBezTo>
                      <a:pt x="0" y="0"/>
                      <a:pt x="0" y="0"/>
                      <a:pt x="0" y="0"/>
                    </a:cubicBezTo>
                    <a:cubicBezTo>
                      <a:pt x="0" y="14"/>
                      <a:pt x="0" y="14"/>
                      <a:pt x="0" y="14"/>
                    </a:cubicBezTo>
                    <a:cubicBezTo>
                      <a:pt x="26" y="14"/>
                      <a:pt x="26" y="14"/>
                      <a:pt x="26" y="14"/>
                    </a:cubicBezTo>
                    <a:cubicBezTo>
                      <a:pt x="22" y="6"/>
                      <a:pt x="14" y="0"/>
                      <a:pt x="4" y="0"/>
                    </a:cubicBezTo>
                  </a:path>
                </a:pathLst>
              </a:custGeom>
              <a:solidFill>
                <a:srgbClr val="D95F8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9" name="iṡlíḑè">
                <a:extLst>
                  <a:ext uri="{FF2B5EF4-FFF2-40B4-BE49-F238E27FC236}">
                    <a16:creationId xmlns:a16="http://schemas.microsoft.com/office/drawing/2014/main" id="{FF26E604-A79E-C44C-A6D6-963CF1EE9F2D}"/>
                  </a:ext>
                </a:extLst>
              </p:cNvPr>
              <p:cNvSpPr/>
              <p:nvPr/>
            </p:nvSpPr>
            <p:spPr bwMode="auto">
              <a:xfrm>
                <a:off x="7625174" y="4251553"/>
                <a:ext cx="88328" cy="27602"/>
              </a:xfrm>
              <a:custGeom>
                <a:avLst/>
                <a:gdLst>
                  <a:gd name="T0" fmla="*/ 31 w 31"/>
                  <a:gd name="T1" fmla="*/ 10 h 10"/>
                  <a:gd name="T2" fmla="*/ 0 w 31"/>
                  <a:gd name="T3" fmla="*/ 10 h 10"/>
                  <a:gd name="T4" fmla="*/ 0 w 31"/>
                  <a:gd name="T5" fmla="*/ 3 h 10"/>
                  <a:gd name="T6" fmla="*/ 3 w 31"/>
                  <a:gd name="T7" fmla="*/ 0 h 10"/>
                  <a:gd name="T8" fmla="*/ 27 w 31"/>
                  <a:gd name="T9" fmla="*/ 0 h 10"/>
                  <a:gd name="T10" fmla="*/ 31 w 31"/>
                  <a:gd name="T11" fmla="*/ 3 h 10"/>
                  <a:gd name="T12" fmla="*/ 31 w 31"/>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31" h="10">
                    <a:moveTo>
                      <a:pt x="31" y="10"/>
                    </a:moveTo>
                    <a:cubicBezTo>
                      <a:pt x="0" y="10"/>
                      <a:pt x="0" y="10"/>
                      <a:pt x="0" y="10"/>
                    </a:cubicBezTo>
                    <a:cubicBezTo>
                      <a:pt x="0" y="3"/>
                      <a:pt x="0" y="3"/>
                      <a:pt x="0" y="3"/>
                    </a:cubicBezTo>
                    <a:cubicBezTo>
                      <a:pt x="0" y="1"/>
                      <a:pt x="1" y="0"/>
                      <a:pt x="3" y="0"/>
                    </a:cubicBezTo>
                    <a:cubicBezTo>
                      <a:pt x="27" y="0"/>
                      <a:pt x="27" y="0"/>
                      <a:pt x="27" y="0"/>
                    </a:cubicBezTo>
                    <a:cubicBezTo>
                      <a:pt x="29" y="0"/>
                      <a:pt x="31" y="1"/>
                      <a:pt x="31" y="3"/>
                    </a:cubicBezTo>
                    <a:lnTo>
                      <a:pt x="31"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0" name="íṥḻiḓè">
                <a:extLst>
                  <a:ext uri="{FF2B5EF4-FFF2-40B4-BE49-F238E27FC236}">
                    <a16:creationId xmlns:a16="http://schemas.microsoft.com/office/drawing/2014/main" id="{E5B03B23-1600-3C4A-A190-C5B15462A623}"/>
                  </a:ext>
                </a:extLst>
              </p:cNvPr>
              <p:cNvSpPr/>
              <p:nvPr/>
            </p:nvSpPr>
            <p:spPr bwMode="auto">
              <a:xfrm>
                <a:off x="7625174" y="4233611"/>
                <a:ext cx="88328" cy="17942"/>
              </a:xfrm>
              <a:custGeom>
                <a:avLst/>
                <a:gdLst>
                  <a:gd name="T0" fmla="*/ 28 w 31"/>
                  <a:gd name="T1" fmla="*/ 6 h 6"/>
                  <a:gd name="T2" fmla="*/ 3 w 31"/>
                  <a:gd name="T3" fmla="*/ 6 h 6"/>
                  <a:gd name="T4" fmla="*/ 0 w 31"/>
                  <a:gd name="T5" fmla="*/ 3 h 6"/>
                  <a:gd name="T6" fmla="*/ 3 w 31"/>
                  <a:gd name="T7" fmla="*/ 0 h 6"/>
                  <a:gd name="T8" fmla="*/ 28 w 31"/>
                  <a:gd name="T9" fmla="*/ 0 h 6"/>
                  <a:gd name="T10" fmla="*/ 31 w 31"/>
                  <a:gd name="T11" fmla="*/ 3 h 6"/>
                  <a:gd name="T12" fmla="*/ 28 w 31"/>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31" h="6">
                    <a:moveTo>
                      <a:pt x="28" y="6"/>
                    </a:moveTo>
                    <a:cubicBezTo>
                      <a:pt x="3" y="6"/>
                      <a:pt x="3" y="6"/>
                      <a:pt x="3" y="6"/>
                    </a:cubicBezTo>
                    <a:cubicBezTo>
                      <a:pt x="1" y="6"/>
                      <a:pt x="0" y="4"/>
                      <a:pt x="0" y="3"/>
                    </a:cubicBezTo>
                    <a:cubicBezTo>
                      <a:pt x="0" y="1"/>
                      <a:pt x="1" y="0"/>
                      <a:pt x="3" y="0"/>
                    </a:cubicBezTo>
                    <a:cubicBezTo>
                      <a:pt x="28" y="0"/>
                      <a:pt x="28" y="0"/>
                      <a:pt x="28" y="0"/>
                    </a:cubicBezTo>
                    <a:cubicBezTo>
                      <a:pt x="29" y="0"/>
                      <a:pt x="31" y="1"/>
                      <a:pt x="31" y="3"/>
                    </a:cubicBezTo>
                    <a:cubicBezTo>
                      <a:pt x="31" y="4"/>
                      <a:pt x="29" y="6"/>
                      <a:pt x="28" y="6"/>
                    </a:cubicBez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1" name="iSľídé">
                <a:extLst>
                  <a:ext uri="{FF2B5EF4-FFF2-40B4-BE49-F238E27FC236}">
                    <a16:creationId xmlns:a16="http://schemas.microsoft.com/office/drawing/2014/main" id="{1433EE6F-1B81-A94A-9BE9-E3DFB30E4C78}"/>
                  </a:ext>
                </a:extLst>
              </p:cNvPr>
              <p:cNvSpPr/>
              <p:nvPr/>
            </p:nvSpPr>
            <p:spPr bwMode="auto">
              <a:xfrm>
                <a:off x="6385826" y="4124582"/>
                <a:ext cx="507884" cy="353311"/>
              </a:xfrm>
              <a:custGeom>
                <a:avLst/>
                <a:gdLst>
                  <a:gd name="T0" fmla="*/ 0 w 368"/>
                  <a:gd name="T1" fmla="*/ 0 h 256"/>
                  <a:gd name="T2" fmla="*/ 314 w 368"/>
                  <a:gd name="T3" fmla="*/ 0 h 256"/>
                  <a:gd name="T4" fmla="*/ 368 w 368"/>
                  <a:gd name="T5" fmla="*/ 256 h 256"/>
                  <a:gd name="T6" fmla="*/ 0 w 368"/>
                  <a:gd name="T7" fmla="*/ 256 h 256"/>
                  <a:gd name="T8" fmla="*/ 0 w 368"/>
                  <a:gd name="T9" fmla="*/ 0 h 256"/>
                </a:gdLst>
                <a:ahLst/>
                <a:cxnLst>
                  <a:cxn ang="0">
                    <a:pos x="T0" y="T1"/>
                  </a:cxn>
                  <a:cxn ang="0">
                    <a:pos x="T2" y="T3"/>
                  </a:cxn>
                  <a:cxn ang="0">
                    <a:pos x="T4" y="T5"/>
                  </a:cxn>
                  <a:cxn ang="0">
                    <a:pos x="T6" y="T7"/>
                  </a:cxn>
                  <a:cxn ang="0">
                    <a:pos x="T8" y="T9"/>
                  </a:cxn>
                </a:cxnLst>
                <a:rect l="0" t="0" r="r" b="b"/>
                <a:pathLst>
                  <a:path w="368" h="256">
                    <a:moveTo>
                      <a:pt x="0" y="0"/>
                    </a:moveTo>
                    <a:lnTo>
                      <a:pt x="314" y="0"/>
                    </a:lnTo>
                    <a:lnTo>
                      <a:pt x="368" y="256"/>
                    </a:lnTo>
                    <a:lnTo>
                      <a:pt x="0" y="256"/>
                    </a:lnTo>
                    <a:lnTo>
                      <a:pt x="0" y="0"/>
                    </a:lnTo>
                    <a:close/>
                  </a:path>
                </a:pathLst>
              </a:custGeom>
              <a:solidFill>
                <a:srgbClr val="FF70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2" name="ïsḷíďè">
                <a:extLst>
                  <a:ext uri="{FF2B5EF4-FFF2-40B4-BE49-F238E27FC236}">
                    <a16:creationId xmlns:a16="http://schemas.microsoft.com/office/drawing/2014/main" id="{B7669A26-9C13-B245-B274-AD41F1B1D655}"/>
                  </a:ext>
                </a:extLst>
              </p:cNvPr>
              <p:cNvSpPr/>
              <p:nvPr/>
            </p:nvSpPr>
            <p:spPr bwMode="auto">
              <a:xfrm>
                <a:off x="6385826" y="4124582"/>
                <a:ext cx="507884" cy="353311"/>
              </a:xfrm>
              <a:custGeom>
                <a:avLst/>
                <a:gdLst>
                  <a:gd name="T0" fmla="*/ 0 w 368"/>
                  <a:gd name="T1" fmla="*/ 0 h 256"/>
                  <a:gd name="T2" fmla="*/ 314 w 368"/>
                  <a:gd name="T3" fmla="*/ 0 h 256"/>
                  <a:gd name="T4" fmla="*/ 368 w 368"/>
                  <a:gd name="T5" fmla="*/ 256 h 256"/>
                  <a:gd name="T6" fmla="*/ 0 w 368"/>
                  <a:gd name="T7" fmla="*/ 256 h 256"/>
                  <a:gd name="T8" fmla="*/ 0 w 368"/>
                  <a:gd name="T9" fmla="*/ 0 h 256"/>
                </a:gdLst>
                <a:ahLst/>
                <a:cxnLst>
                  <a:cxn ang="0">
                    <a:pos x="T0" y="T1"/>
                  </a:cxn>
                  <a:cxn ang="0">
                    <a:pos x="T2" y="T3"/>
                  </a:cxn>
                  <a:cxn ang="0">
                    <a:pos x="T4" y="T5"/>
                  </a:cxn>
                  <a:cxn ang="0">
                    <a:pos x="T6" y="T7"/>
                  </a:cxn>
                  <a:cxn ang="0">
                    <a:pos x="T8" y="T9"/>
                  </a:cxn>
                </a:cxnLst>
                <a:rect l="0" t="0" r="r" b="b"/>
                <a:pathLst>
                  <a:path w="368" h="256">
                    <a:moveTo>
                      <a:pt x="0" y="0"/>
                    </a:moveTo>
                    <a:lnTo>
                      <a:pt x="314" y="0"/>
                    </a:lnTo>
                    <a:lnTo>
                      <a:pt x="368" y="256"/>
                    </a:lnTo>
                    <a:lnTo>
                      <a:pt x="0" y="25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3" name="îş1îḑe">
                <a:extLst>
                  <a:ext uri="{FF2B5EF4-FFF2-40B4-BE49-F238E27FC236}">
                    <a16:creationId xmlns:a16="http://schemas.microsoft.com/office/drawing/2014/main" id="{6D4D1D9F-C4A6-5C4E-B059-9973973CED66}"/>
                  </a:ext>
                </a:extLst>
              </p:cNvPr>
              <p:cNvSpPr/>
              <p:nvPr/>
            </p:nvSpPr>
            <p:spPr bwMode="auto">
              <a:xfrm>
                <a:off x="6468633" y="4161844"/>
                <a:ext cx="100749" cy="106270"/>
              </a:xfrm>
              <a:custGeom>
                <a:avLst/>
                <a:gdLst>
                  <a:gd name="T0" fmla="*/ 18 w 35"/>
                  <a:gd name="T1" fmla="*/ 37 h 37"/>
                  <a:gd name="T2" fmla="*/ 0 w 35"/>
                  <a:gd name="T3" fmla="*/ 19 h 37"/>
                  <a:gd name="T4" fmla="*/ 0 w 35"/>
                  <a:gd name="T5" fmla="*/ 18 h 37"/>
                  <a:gd name="T6" fmla="*/ 18 w 35"/>
                  <a:gd name="T7" fmla="*/ 0 h 37"/>
                  <a:gd name="T8" fmla="*/ 35 w 35"/>
                  <a:gd name="T9" fmla="*/ 18 h 37"/>
                  <a:gd name="T10" fmla="*/ 35 w 35"/>
                  <a:gd name="T11" fmla="*/ 19 h 37"/>
                  <a:gd name="T12" fmla="*/ 18 w 35"/>
                  <a:gd name="T13" fmla="*/ 37 h 37"/>
                </a:gdLst>
                <a:ahLst/>
                <a:cxnLst>
                  <a:cxn ang="0">
                    <a:pos x="T0" y="T1"/>
                  </a:cxn>
                  <a:cxn ang="0">
                    <a:pos x="T2" y="T3"/>
                  </a:cxn>
                  <a:cxn ang="0">
                    <a:pos x="T4" y="T5"/>
                  </a:cxn>
                  <a:cxn ang="0">
                    <a:pos x="T6" y="T7"/>
                  </a:cxn>
                  <a:cxn ang="0">
                    <a:pos x="T8" y="T9"/>
                  </a:cxn>
                  <a:cxn ang="0">
                    <a:pos x="T10" y="T11"/>
                  </a:cxn>
                  <a:cxn ang="0">
                    <a:pos x="T12" y="T13"/>
                  </a:cxn>
                </a:cxnLst>
                <a:rect l="0" t="0" r="r" b="b"/>
                <a:pathLst>
                  <a:path w="35" h="37">
                    <a:moveTo>
                      <a:pt x="18" y="37"/>
                    </a:moveTo>
                    <a:cubicBezTo>
                      <a:pt x="8" y="37"/>
                      <a:pt x="0" y="29"/>
                      <a:pt x="0" y="19"/>
                    </a:cubicBezTo>
                    <a:cubicBezTo>
                      <a:pt x="0" y="18"/>
                      <a:pt x="0" y="18"/>
                      <a:pt x="0" y="18"/>
                    </a:cubicBezTo>
                    <a:cubicBezTo>
                      <a:pt x="0" y="8"/>
                      <a:pt x="8" y="0"/>
                      <a:pt x="18" y="0"/>
                    </a:cubicBezTo>
                    <a:cubicBezTo>
                      <a:pt x="27" y="0"/>
                      <a:pt x="35" y="8"/>
                      <a:pt x="35" y="18"/>
                    </a:cubicBezTo>
                    <a:cubicBezTo>
                      <a:pt x="35" y="19"/>
                      <a:pt x="35" y="19"/>
                      <a:pt x="35" y="19"/>
                    </a:cubicBezTo>
                    <a:cubicBezTo>
                      <a:pt x="35" y="29"/>
                      <a:pt x="27" y="37"/>
                      <a:pt x="18" y="37"/>
                    </a:cubicBezTo>
                  </a:path>
                </a:pathLst>
              </a:custGeom>
              <a:solidFill>
                <a:srgbClr val="BFCEE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4" name="íśḻïḍè">
                <a:extLst>
                  <a:ext uri="{FF2B5EF4-FFF2-40B4-BE49-F238E27FC236}">
                    <a16:creationId xmlns:a16="http://schemas.microsoft.com/office/drawing/2014/main" id="{C846A6DF-3719-154B-9A90-B9DCF5786FD5}"/>
                  </a:ext>
                </a:extLst>
              </p:cNvPr>
              <p:cNvSpPr/>
              <p:nvPr/>
            </p:nvSpPr>
            <p:spPr bwMode="auto">
              <a:xfrm>
                <a:off x="6474153" y="4159084"/>
                <a:ext cx="71766" cy="92468"/>
              </a:xfrm>
              <a:custGeom>
                <a:avLst/>
                <a:gdLst>
                  <a:gd name="T0" fmla="*/ 1 w 25"/>
                  <a:gd name="T1" fmla="*/ 30 h 32"/>
                  <a:gd name="T2" fmla="*/ 0 w 25"/>
                  <a:gd name="T3" fmla="*/ 30 h 32"/>
                  <a:gd name="T4" fmla="*/ 2 w 25"/>
                  <a:gd name="T5" fmla="*/ 32 h 32"/>
                  <a:gd name="T6" fmla="*/ 2 w 25"/>
                  <a:gd name="T7" fmla="*/ 32 h 32"/>
                  <a:gd name="T8" fmla="*/ 1 w 25"/>
                  <a:gd name="T9" fmla="*/ 30 h 32"/>
                  <a:gd name="T10" fmla="*/ 22 w 25"/>
                  <a:gd name="T11" fmla="*/ 2 h 32"/>
                  <a:gd name="T12" fmla="*/ 25 w 25"/>
                  <a:gd name="T13" fmla="*/ 4 h 32"/>
                  <a:gd name="T14" fmla="*/ 25 w 25"/>
                  <a:gd name="T15" fmla="*/ 3 h 32"/>
                  <a:gd name="T16" fmla="*/ 22 w 25"/>
                  <a:gd name="T17" fmla="*/ 2 h 32"/>
                  <a:gd name="T18" fmla="*/ 15 w 25"/>
                  <a:gd name="T19" fmla="*/ 0 h 32"/>
                  <a:gd name="T20" fmla="*/ 14 w 25"/>
                  <a:gd name="T21" fmla="*/ 1 h 32"/>
                  <a:gd name="T22" fmla="*/ 16 w 25"/>
                  <a:gd name="T23" fmla="*/ 1 h 32"/>
                  <a:gd name="T24" fmla="*/ 21 w 25"/>
                  <a:gd name="T25" fmla="*/ 2 h 32"/>
                  <a:gd name="T26" fmla="*/ 15 w 25"/>
                  <a:gd name="T2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32">
                    <a:moveTo>
                      <a:pt x="1" y="30"/>
                    </a:moveTo>
                    <a:cubicBezTo>
                      <a:pt x="0" y="30"/>
                      <a:pt x="0" y="30"/>
                      <a:pt x="0" y="30"/>
                    </a:cubicBezTo>
                    <a:cubicBezTo>
                      <a:pt x="2" y="32"/>
                      <a:pt x="2" y="32"/>
                      <a:pt x="2" y="32"/>
                    </a:cubicBezTo>
                    <a:cubicBezTo>
                      <a:pt x="2" y="32"/>
                      <a:pt x="2" y="32"/>
                      <a:pt x="2" y="32"/>
                    </a:cubicBezTo>
                    <a:cubicBezTo>
                      <a:pt x="2" y="31"/>
                      <a:pt x="1" y="30"/>
                      <a:pt x="1" y="30"/>
                    </a:cubicBezTo>
                    <a:moveTo>
                      <a:pt x="22" y="2"/>
                    </a:moveTo>
                    <a:cubicBezTo>
                      <a:pt x="23" y="3"/>
                      <a:pt x="24" y="3"/>
                      <a:pt x="25" y="4"/>
                    </a:cubicBezTo>
                    <a:cubicBezTo>
                      <a:pt x="25" y="3"/>
                      <a:pt x="25" y="3"/>
                      <a:pt x="25" y="3"/>
                    </a:cubicBezTo>
                    <a:cubicBezTo>
                      <a:pt x="22" y="2"/>
                      <a:pt x="22" y="2"/>
                      <a:pt x="22" y="2"/>
                    </a:cubicBezTo>
                    <a:moveTo>
                      <a:pt x="15" y="0"/>
                    </a:moveTo>
                    <a:cubicBezTo>
                      <a:pt x="14" y="1"/>
                      <a:pt x="14" y="1"/>
                      <a:pt x="14" y="1"/>
                    </a:cubicBezTo>
                    <a:cubicBezTo>
                      <a:pt x="14" y="1"/>
                      <a:pt x="15" y="1"/>
                      <a:pt x="16" y="1"/>
                    </a:cubicBezTo>
                    <a:cubicBezTo>
                      <a:pt x="17" y="1"/>
                      <a:pt x="19" y="1"/>
                      <a:pt x="21" y="2"/>
                    </a:cubicBezTo>
                    <a:cubicBezTo>
                      <a:pt x="15" y="0"/>
                      <a:pt x="15" y="0"/>
                      <a:pt x="15" y="0"/>
                    </a:cubicBezTo>
                  </a:path>
                </a:pathLst>
              </a:custGeom>
              <a:solidFill>
                <a:srgbClr val="FAB4C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5" name="îṩ1ïďé">
                <a:extLst>
                  <a:ext uri="{FF2B5EF4-FFF2-40B4-BE49-F238E27FC236}">
                    <a16:creationId xmlns:a16="http://schemas.microsoft.com/office/drawing/2014/main" id="{524385F2-689D-5547-B027-07E10247EA76}"/>
                  </a:ext>
                </a:extLst>
              </p:cNvPr>
              <p:cNvSpPr/>
              <p:nvPr/>
            </p:nvSpPr>
            <p:spPr bwMode="auto">
              <a:xfrm>
                <a:off x="6476914" y="4161844"/>
                <a:ext cx="69006" cy="89708"/>
              </a:xfrm>
              <a:custGeom>
                <a:avLst/>
                <a:gdLst>
                  <a:gd name="T0" fmla="*/ 15 w 24"/>
                  <a:gd name="T1" fmla="*/ 0 h 31"/>
                  <a:gd name="T2" fmla="*/ 13 w 24"/>
                  <a:gd name="T3" fmla="*/ 0 h 31"/>
                  <a:gd name="T4" fmla="*/ 0 w 24"/>
                  <a:gd name="T5" fmla="*/ 29 h 31"/>
                  <a:gd name="T6" fmla="*/ 1 w 24"/>
                  <a:gd name="T7" fmla="*/ 31 h 31"/>
                  <a:gd name="T8" fmla="*/ 1 w 24"/>
                  <a:gd name="T9" fmla="*/ 31 h 31"/>
                  <a:gd name="T10" fmla="*/ 2 w 24"/>
                  <a:gd name="T11" fmla="*/ 30 h 31"/>
                  <a:gd name="T12" fmla="*/ 4 w 24"/>
                  <a:gd name="T13" fmla="*/ 30 h 31"/>
                  <a:gd name="T14" fmla="*/ 9 w 24"/>
                  <a:gd name="T15" fmla="*/ 31 h 31"/>
                  <a:gd name="T16" fmla="*/ 9 w 24"/>
                  <a:gd name="T17" fmla="*/ 31 h 31"/>
                  <a:gd name="T18" fmla="*/ 9 w 24"/>
                  <a:gd name="T19" fmla="*/ 31 h 31"/>
                  <a:gd name="T20" fmla="*/ 24 w 24"/>
                  <a:gd name="T21" fmla="*/ 3 h 31"/>
                  <a:gd name="T22" fmla="*/ 21 w 24"/>
                  <a:gd name="T23" fmla="*/ 1 h 31"/>
                  <a:gd name="T24" fmla="*/ 20 w 24"/>
                  <a:gd name="T25" fmla="*/ 1 h 31"/>
                  <a:gd name="T26" fmla="*/ 15 w 24"/>
                  <a:gd name="T2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31">
                    <a:moveTo>
                      <a:pt x="15" y="0"/>
                    </a:moveTo>
                    <a:cubicBezTo>
                      <a:pt x="14" y="0"/>
                      <a:pt x="13" y="0"/>
                      <a:pt x="13" y="0"/>
                    </a:cubicBezTo>
                    <a:cubicBezTo>
                      <a:pt x="0" y="29"/>
                      <a:pt x="0" y="29"/>
                      <a:pt x="0" y="29"/>
                    </a:cubicBezTo>
                    <a:cubicBezTo>
                      <a:pt x="0" y="29"/>
                      <a:pt x="1" y="30"/>
                      <a:pt x="1" y="31"/>
                    </a:cubicBezTo>
                    <a:cubicBezTo>
                      <a:pt x="1" y="31"/>
                      <a:pt x="1" y="31"/>
                      <a:pt x="1" y="31"/>
                    </a:cubicBezTo>
                    <a:cubicBezTo>
                      <a:pt x="1" y="30"/>
                      <a:pt x="1" y="30"/>
                      <a:pt x="2" y="30"/>
                    </a:cubicBezTo>
                    <a:cubicBezTo>
                      <a:pt x="2" y="30"/>
                      <a:pt x="3" y="30"/>
                      <a:pt x="4" y="30"/>
                    </a:cubicBezTo>
                    <a:cubicBezTo>
                      <a:pt x="6" y="31"/>
                      <a:pt x="7" y="31"/>
                      <a:pt x="9" y="31"/>
                    </a:cubicBezTo>
                    <a:cubicBezTo>
                      <a:pt x="9" y="31"/>
                      <a:pt x="9" y="31"/>
                      <a:pt x="9" y="31"/>
                    </a:cubicBezTo>
                    <a:cubicBezTo>
                      <a:pt x="9" y="31"/>
                      <a:pt x="9" y="31"/>
                      <a:pt x="9" y="31"/>
                    </a:cubicBezTo>
                    <a:cubicBezTo>
                      <a:pt x="24" y="3"/>
                      <a:pt x="24" y="3"/>
                      <a:pt x="24" y="3"/>
                    </a:cubicBezTo>
                    <a:cubicBezTo>
                      <a:pt x="23" y="2"/>
                      <a:pt x="22" y="2"/>
                      <a:pt x="21" y="1"/>
                    </a:cubicBezTo>
                    <a:cubicBezTo>
                      <a:pt x="20" y="1"/>
                      <a:pt x="20" y="1"/>
                      <a:pt x="20" y="1"/>
                    </a:cubicBezTo>
                    <a:cubicBezTo>
                      <a:pt x="18" y="0"/>
                      <a:pt x="16" y="0"/>
                      <a:pt x="15" y="0"/>
                    </a:cubicBezTo>
                  </a:path>
                </a:pathLst>
              </a:custGeom>
              <a:solidFill>
                <a:srgbClr val="DAE3F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6" name="íṥḷïḍe">
                <a:extLst>
                  <a:ext uri="{FF2B5EF4-FFF2-40B4-BE49-F238E27FC236}">
                    <a16:creationId xmlns:a16="http://schemas.microsoft.com/office/drawing/2014/main" id="{71070F8F-A401-3F45-8548-668701BBF74B}"/>
                  </a:ext>
                </a:extLst>
              </p:cNvPr>
              <p:cNvSpPr/>
              <p:nvPr/>
            </p:nvSpPr>
            <p:spPr bwMode="auto">
              <a:xfrm>
                <a:off x="6479674" y="4251553"/>
                <a:ext cx="75907" cy="16561"/>
              </a:xfrm>
              <a:custGeom>
                <a:avLst/>
                <a:gdLst>
                  <a:gd name="T0" fmla="*/ 0 w 26"/>
                  <a:gd name="T1" fmla="*/ 0 h 6"/>
                  <a:gd name="T2" fmla="*/ 7 w 26"/>
                  <a:gd name="T3" fmla="*/ 5 h 6"/>
                  <a:gd name="T4" fmla="*/ 13 w 26"/>
                  <a:gd name="T5" fmla="*/ 6 h 6"/>
                  <a:gd name="T6" fmla="*/ 16 w 26"/>
                  <a:gd name="T7" fmla="*/ 6 h 6"/>
                  <a:gd name="T8" fmla="*/ 25 w 26"/>
                  <a:gd name="T9" fmla="*/ 2 h 6"/>
                  <a:gd name="T10" fmla="*/ 26 w 26"/>
                  <a:gd name="T11" fmla="*/ 0 h 6"/>
                  <a:gd name="T12" fmla="*/ 14 w 26"/>
                  <a:gd name="T13" fmla="*/ 6 h 6"/>
                  <a:gd name="T14" fmla="*/ 6 w 26"/>
                  <a:gd name="T15" fmla="*/ 4 h 6"/>
                  <a:gd name="T16" fmla="*/ 6 w 26"/>
                  <a:gd name="T17" fmla="*/ 4 h 6"/>
                  <a:gd name="T18" fmla="*/ 6 w 26"/>
                  <a:gd name="T19" fmla="*/ 4 h 6"/>
                  <a:gd name="T20" fmla="*/ 1 w 26"/>
                  <a:gd name="T21" fmla="*/ 0 h 6"/>
                  <a:gd name="T22" fmla="*/ 0 w 26"/>
                  <a:gd name="T2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
                    <a:moveTo>
                      <a:pt x="0" y="0"/>
                    </a:moveTo>
                    <a:cubicBezTo>
                      <a:pt x="0" y="2"/>
                      <a:pt x="6" y="4"/>
                      <a:pt x="7" y="5"/>
                    </a:cubicBezTo>
                    <a:cubicBezTo>
                      <a:pt x="9" y="6"/>
                      <a:pt x="11" y="6"/>
                      <a:pt x="13" y="6"/>
                    </a:cubicBezTo>
                    <a:cubicBezTo>
                      <a:pt x="14" y="6"/>
                      <a:pt x="15" y="6"/>
                      <a:pt x="16" y="6"/>
                    </a:cubicBezTo>
                    <a:cubicBezTo>
                      <a:pt x="19" y="5"/>
                      <a:pt x="22" y="4"/>
                      <a:pt x="25" y="2"/>
                    </a:cubicBezTo>
                    <a:cubicBezTo>
                      <a:pt x="25" y="1"/>
                      <a:pt x="26" y="1"/>
                      <a:pt x="26" y="0"/>
                    </a:cubicBezTo>
                    <a:cubicBezTo>
                      <a:pt x="23" y="3"/>
                      <a:pt x="19" y="6"/>
                      <a:pt x="14" y="6"/>
                    </a:cubicBezTo>
                    <a:cubicBezTo>
                      <a:pt x="11" y="6"/>
                      <a:pt x="8" y="5"/>
                      <a:pt x="6" y="4"/>
                    </a:cubicBezTo>
                    <a:cubicBezTo>
                      <a:pt x="6" y="4"/>
                      <a:pt x="6" y="4"/>
                      <a:pt x="6" y="4"/>
                    </a:cubicBezTo>
                    <a:cubicBezTo>
                      <a:pt x="6" y="4"/>
                      <a:pt x="6" y="4"/>
                      <a:pt x="6" y="4"/>
                    </a:cubicBezTo>
                    <a:cubicBezTo>
                      <a:pt x="4" y="3"/>
                      <a:pt x="2" y="2"/>
                      <a:pt x="1" y="0"/>
                    </a:cubicBezTo>
                    <a:cubicBezTo>
                      <a:pt x="0" y="0"/>
                      <a:pt x="0" y="0"/>
                      <a:pt x="0" y="0"/>
                    </a:cubicBezTo>
                  </a:path>
                </a:pathLst>
              </a:custGeom>
              <a:solidFill>
                <a:srgbClr val="D95F8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7" name="í$lídê">
                <a:extLst>
                  <a:ext uri="{FF2B5EF4-FFF2-40B4-BE49-F238E27FC236}">
                    <a16:creationId xmlns:a16="http://schemas.microsoft.com/office/drawing/2014/main" id="{69D4CD21-0496-6E49-B85E-FC5B3E3EE7A0}"/>
                  </a:ext>
                </a:extLst>
              </p:cNvPr>
              <p:cNvSpPr/>
              <p:nvPr/>
            </p:nvSpPr>
            <p:spPr bwMode="auto">
              <a:xfrm>
                <a:off x="6483814" y="4199108"/>
                <a:ext cx="88328" cy="69006"/>
              </a:xfrm>
              <a:custGeom>
                <a:avLst/>
                <a:gdLst>
                  <a:gd name="T0" fmla="*/ 0 w 31"/>
                  <a:gd name="T1" fmla="*/ 18 h 24"/>
                  <a:gd name="T2" fmla="*/ 5 w 31"/>
                  <a:gd name="T3" fmla="*/ 22 h 24"/>
                  <a:gd name="T4" fmla="*/ 0 w 31"/>
                  <a:gd name="T5" fmla="*/ 18 h 24"/>
                  <a:gd name="T6" fmla="*/ 29 w 31"/>
                  <a:gd name="T7" fmla="*/ 0 h 24"/>
                  <a:gd name="T8" fmla="*/ 17 w 31"/>
                  <a:gd name="T9" fmla="*/ 16 h 24"/>
                  <a:gd name="T10" fmla="*/ 7 w 31"/>
                  <a:gd name="T11" fmla="*/ 18 h 24"/>
                  <a:gd name="T12" fmla="*/ 5 w 31"/>
                  <a:gd name="T13" fmla="*/ 22 h 24"/>
                  <a:gd name="T14" fmla="*/ 13 w 31"/>
                  <a:gd name="T15" fmla="*/ 24 h 24"/>
                  <a:gd name="T16" fmla="*/ 25 w 31"/>
                  <a:gd name="T17" fmla="*/ 18 h 24"/>
                  <a:gd name="T18" fmla="*/ 29 w 31"/>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24">
                    <a:moveTo>
                      <a:pt x="0" y="18"/>
                    </a:moveTo>
                    <a:cubicBezTo>
                      <a:pt x="1" y="20"/>
                      <a:pt x="3" y="21"/>
                      <a:pt x="5" y="22"/>
                    </a:cubicBezTo>
                    <a:cubicBezTo>
                      <a:pt x="0" y="18"/>
                      <a:pt x="0" y="18"/>
                      <a:pt x="0" y="18"/>
                    </a:cubicBezTo>
                    <a:moveTo>
                      <a:pt x="29" y="0"/>
                    </a:moveTo>
                    <a:cubicBezTo>
                      <a:pt x="28" y="7"/>
                      <a:pt x="23" y="13"/>
                      <a:pt x="17" y="16"/>
                    </a:cubicBezTo>
                    <a:cubicBezTo>
                      <a:pt x="14" y="17"/>
                      <a:pt x="11" y="18"/>
                      <a:pt x="7" y="18"/>
                    </a:cubicBezTo>
                    <a:cubicBezTo>
                      <a:pt x="5" y="22"/>
                      <a:pt x="5" y="22"/>
                      <a:pt x="5" y="22"/>
                    </a:cubicBezTo>
                    <a:cubicBezTo>
                      <a:pt x="7" y="23"/>
                      <a:pt x="10" y="24"/>
                      <a:pt x="13" y="24"/>
                    </a:cubicBezTo>
                    <a:cubicBezTo>
                      <a:pt x="18" y="24"/>
                      <a:pt x="22" y="21"/>
                      <a:pt x="25" y="18"/>
                    </a:cubicBezTo>
                    <a:cubicBezTo>
                      <a:pt x="30" y="13"/>
                      <a:pt x="31" y="6"/>
                      <a:pt x="29" y="0"/>
                    </a:cubicBezTo>
                  </a:path>
                </a:pathLst>
              </a:custGeom>
              <a:solidFill>
                <a:srgbClr val="A3AFC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8" name="íṥļïḑé">
                <a:extLst>
                  <a:ext uri="{FF2B5EF4-FFF2-40B4-BE49-F238E27FC236}">
                    <a16:creationId xmlns:a16="http://schemas.microsoft.com/office/drawing/2014/main" id="{C79757FD-07DE-C344-88D5-1018A43F225B}"/>
                  </a:ext>
                </a:extLst>
              </p:cNvPr>
              <p:cNvSpPr/>
              <p:nvPr/>
            </p:nvSpPr>
            <p:spPr bwMode="auto">
              <a:xfrm>
                <a:off x="6479674" y="4251553"/>
                <a:ext cx="17942" cy="11041"/>
              </a:xfrm>
              <a:custGeom>
                <a:avLst/>
                <a:gdLst>
                  <a:gd name="T0" fmla="*/ 6 w 6"/>
                  <a:gd name="T1" fmla="*/ 4 h 4"/>
                  <a:gd name="T2" fmla="*/ 6 w 6"/>
                  <a:gd name="T3" fmla="*/ 4 h 4"/>
                  <a:gd name="T4" fmla="*/ 6 w 6"/>
                  <a:gd name="T5" fmla="*/ 4 h 4"/>
                  <a:gd name="T6" fmla="*/ 6 w 6"/>
                  <a:gd name="T7" fmla="*/ 4 h 4"/>
                  <a:gd name="T8" fmla="*/ 0 w 6"/>
                  <a:gd name="T9" fmla="*/ 0 h 4"/>
                  <a:gd name="T10" fmla="*/ 0 w 6"/>
                  <a:gd name="T11" fmla="*/ 0 h 4"/>
                  <a:gd name="T12" fmla="*/ 1 w 6"/>
                  <a:gd name="T13" fmla="*/ 0 h 4"/>
                  <a:gd name="T14" fmla="*/ 0 w 6"/>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6" y="4"/>
                    </a:moveTo>
                    <a:cubicBezTo>
                      <a:pt x="6" y="4"/>
                      <a:pt x="6" y="4"/>
                      <a:pt x="6" y="4"/>
                    </a:cubicBezTo>
                    <a:cubicBezTo>
                      <a:pt x="6" y="4"/>
                      <a:pt x="6" y="4"/>
                      <a:pt x="6" y="4"/>
                    </a:cubicBezTo>
                    <a:cubicBezTo>
                      <a:pt x="6" y="4"/>
                      <a:pt x="6" y="4"/>
                      <a:pt x="6" y="4"/>
                    </a:cubicBezTo>
                    <a:moveTo>
                      <a:pt x="0" y="0"/>
                    </a:moveTo>
                    <a:cubicBezTo>
                      <a:pt x="0" y="0"/>
                      <a:pt x="0" y="0"/>
                      <a:pt x="0" y="0"/>
                    </a:cubicBezTo>
                    <a:cubicBezTo>
                      <a:pt x="1" y="0"/>
                      <a:pt x="1" y="0"/>
                      <a:pt x="1" y="0"/>
                    </a:cubicBezTo>
                    <a:cubicBezTo>
                      <a:pt x="0" y="0"/>
                      <a:pt x="0" y="0"/>
                      <a:pt x="0" y="0"/>
                    </a:cubicBezTo>
                  </a:path>
                </a:pathLst>
              </a:custGeom>
              <a:solidFill>
                <a:srgbClr val="D599A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9" name="íṧḻïḓè">
                <a:extLst>
                  <a:ext uri="{FF2B5EF4-FFF2-40B4-BE49-F238E27FC236}">
                    <a16:creationId xmlns:a16="http://schemas.microsoft.com/office/drawing/2014/main" id="{44B9D3DC-9D82-964C-B367-7161D0C8CBB9}"/>
                  </a:ext>
                </a:extLst>
              </p:cNvPr>
              <p:cNvSpPr/>
              <p:nvPr/>
            </p:nvSpPr>
            <p:spPr bwMode="auto">
              <a:xfrm>
                <a:off x="6479674" y="4248792"/>
                <a:ext cx="23462" cy="13801"/>
              </a:xfrm>
              <a:custGeom>
                <a:avLst/>
                <a:gdLst>
                  <a:gd name="T0" fmla="*/ 1 w 8"/>
                  <a:gd name="T1" fmla="*/ 0 h 5"/>
                  <a:gd name="T2" fmla="*/ 0 w 8"/>
                  <a:gd name="T3" fmla="*/ 1 h 5"/>
                  <a:gd name="T4" fmla="*/ 0 w 8"/>
                  <a:gd name="T5" fmla="*/ 1 h 5"/>
                  <a:gd name="T6" fmla="*/ 1 w 8"/>
                  <a:gd name="T7" fmla="*/ 1 h 5"/>
                  <a:gd name="T8" fmla="*/ 6 w 8"/>
                  <a:gd name="T9" fmla="*/ 5 h 5"/>
                  <a:gd name="T10" fmla="*/ 6 w 8"/>
                  <a:gd name="T11" fmla="*/ 5 h 5"/>
                  <a:gd name="T12" fmla="*/ 8 w 8"/>
                  <a:gd name="T13" fmla="*/ 1 h 5"/>
                  <a:gd name="T14" fmla="*/ 8 w 8"/>
                  <a:gd name="T15" fmla="*/ 1 h 5"/>
                  <a:gd name="T16" fmla="*/ 8 w 8"/>
                  <a:gd name="T17" fmla="*/ 1 h 5"/>
                  <a:gd name="T18" fmla="*/ 3 w 8"/>
                  <a:gd name="T19" fmla="*/ 0 h 5"/>
                  <a:gd name="T20" fmla="*/ 1 w 8"/>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5">
                    <a:moveTo>
                      <a:pt x="1" y="0"/>
                    </a:moveTo>
                    <a:cubicBezTo>
                      <a:pt x="0" y="0"/>
                      <a:pt x="0" y="0"/>
                      <a:pt x="0" y="1"/>
                    </a:cubicBezTo>
                    <a:cubicBezTo>
                      <a:pt x="0" y="1"/>
                      <a:pt x="0" y="1"/>
                      <a:pt x="0" y="1"/>
                    </a:cubicBezTo>
                    <a:cubicBezTo>
                      <a:pt x="0" y="1"/>
                      <a:pt x="0" y="1"/>
                      <a:pt x="1" y="1"/>
                    </a:cubicBezTo>
                    <a:cubicBezTo>
                      <a:pt x="6" y="5"/>
                      <a:pt x="6" y="5"/>
                      <a:pt x="6" y="5"/>
                    </a:cubicBezTo>
                    <a:cubicBezTo>
                      <a:pt x="6" y="5"/>
                      <a:pt x="6" y="5"/>
                      <a:pt x="6" y="5"/>
                    </a:cubicBezTo>
                    <a:cubicBezTo>
                      <a:pt x="8" y="1"/>
                      <a:pt x="8" y="1"/>
                      <a:pt x="8" y="1"/>
                    </a:cubicBezTo>
                    <a:cubicBezTo>
                      <a:pt x="8" y="1"/>
                      <a:pt x="8" y="1"/>
                      <a:pt x="8" y="1"/>
                    </a:cubicBezTo>
                    <a:cubicBezTo>
                      <a:pt x="8" y="1"/>
                      <a:pt x="8" y="1"/>
                      <a:pt x="8" y="1"/>
                    </a:cubicBezTo>
                    <a:cubicBezTo>
                      <a:pt x="6" y="1"/>
                      <a:pt x="5" y="1"/>
                      <a:pt x="3" y="0"/>
                    </a:cubicBezTo>
                    <a:cubicBezTo>
                      <a:pt x="2" y="0"/>
                      <a:pt x="1" y="0"/>
                      <a:pt x="1" y="0"/>
                    </a:cubicBezTo>
                  </a:path>
                </a:pathLst>
              </a:custGeom>
              <a:solidFill>
                <a:srgbClr val="BAC1D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0" name="í$ļiḓé">
                <a:extLst>
                  <a:ext uri="{FF2B5EF4-FFF2-40B4-BE49-F238E27FC236}">
                    <a16:creationId xmlns:a16="http://schemas.microsoft.com/office/drawing/2014/main" id="{76257F26-BED4-1647-A873-5F5DD881A800}"/>
                  </a:ext>
                </a:extLst>
              </p:cNvPr>
              <p:cNvSpPr/>
              <p:nvPr/>
            </p:nvSpPr>
            <p:spPr bwMode="auto">
              <a:xfrm>
                <a:off x="6460352" y="4156324"/>
                <a:ext cx="117311" cy="117311"/>
              </a:xfrm>
              <a:custGeom>
                <a:avLst/>
                <a:gdLst>
                  <a:gd name="T0" fmla="*/ 21 w 41"/>
                  <a:gd name="T1" fmla="*/ 41 h 41"/>
                  <a:gd name="T2" fmla="*/ 0 w 41"/>
                  <a:gd name="T3" fmla="*/ 21 h 41"/>
                  <a:gd name="T4" fmla="*/ 0 w 41"/>
                  <a:gd name="T5" fmla="*/ 20 h 41"/>
                  <a:gd name="T6" fmla="*/ 21 w 41"/>
                  <a:gd name="T7" fmla="*/ 0 h 41"/>
                  <a:gd name="T8" fmla="*/ 41 w 41"/>
                  <a:gd name="T9" fmla="*/ 20 h 41"/>
                  <a:gd name="T10" fmla="*/ 41 w 41"/>
                  <a:gd name="T11" fmla="*/ 21 h 41"/>
                  <a:gd name="T12" fmla="*/ 21 w 41"/>
                  <a:gd name="T13" fmla="*/ 41 h 41"/>
                  <a:gd name="T14" fmla="*/ 21 w 41"/>
                  <a:gd name="T15" fmla="*/ 4 h 41"/>
                  <a:gd name="T16" fmla="*/ 5 w 41"/>
                  <a:gd name="T17" fmla="*/ 20 h 41"/>
                  <a:gd name="T18" fmla="*/ 5 w 41"/>
                  <a:gd name="T19" fmla="*/ 21 h 41"/>
                  <a:gd name="T20" fmla="*/ 21 w 41"/>
                  <a:gd name="T21" fmla="*/ 36 h 41"/>
                  <a:gd name="T22" fmla="*/ 36 w 41"/>
                  <a:gd name="T23" fmla="*/ 21 h 41"/>
                  <a:gd name="T24" fmla="*/ 36 w 41"/>
                  <a:gd name="T25" fmla="*/ 20 h 41"/>
                  <a:gd name="T26" fmla="*/ 21 w 41"/>
                  <a:gd name="T27" fmla="*/ 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 h="41">
                    <a:moveTo>
                      <a:pt x="21" y="41"/>
                    </a:moveTo>
                    <a:cubicBezTo>
                      <a:pt x="9" y="41"/>
                      <a:pt x="0" y="32"/>
                      <a:pt x="0" y="21"/>
                    </a:cubicBezTo>
                    <a:cubicBezTo>
                      <a:pt x="0" y="20"/>
                      <a:pt x="0" y="20"/>
                      <a:pt x="0" y="20"/>
                    </a:cubicBezTo>
                    <a:cubicBezTo>
                      <a:pt x="0" y="9"/>
                      <a:pt x="9" y="0"/>
                      <a:pt x="21" y="0"/>
                    </a:cubicBezTo>
                    <a:cubicBezTo>
                      <a:pt x="32" y="0"/>
                      <a:pt x="41" y="9"/>
                      <a:pt x="41" y="20"/>
                    </a:cubicBezTo>
                    <a:cubicBezTo>
                      <a:pt x="41" y="21"/>
                      <a:pt x="41" y="21"/>
                      <a:pt x="41" y="21"/>
                    </a:cubicBezTo>
                    <a:cubicBezTo>
                      <a:pt x="41" y="32"/>
                      <a:pt x="32" y="41"/>
                      <a:pt x="21" y="41"/>
                    </a:cubicBezTo>
                    <a:close/>
                    <a:moveTo>
                      <a:pt x="21" y="4"/>
                    </a:moveTo>
                    <a:cubicBezTo>
                      <a:pt x="12" y="4"/>
                      <a:pt x="5" y="11"/>
                      <a:pt x="5" y="20"/>
                    </a:cubicBezTo>
                    <a:cubicBezTo>
                      <a:pt x="5" y="21"/>
                      <a:pt x="5" y="21"/>
                      <a:pt x="5" y="21"/>
                    </a:cubicBezTo>
                    <a:cubicBezTo>
                      <a:pt x="5" y="29"/>
                      <a:pt x="12" y="36"/>
                      <a:pt x="21" y="36"/>
                    </a:cubicBezTo>
                    <a:cubicBezTo>
                      <a:pt x="29" y="36"/>
                      <a:pt x="36" y="29"/>
                      <a:pt x="36" y="21"/>
                    </a:cubicBezTo>
                    <a:cubicBezTo>
                      <a:pt x="36" y="20"/>
                      <a:pt x="36" y="20"/>
                      <a:pt x="36" y="20"/>
                    </a:cubicBezTo>
                    <a:cubicBezTo>
                      <a:pt x="36" y="11"/>
                      <a:pt x="29" y="4"/>
                      <a:pt x="2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1" name="îSliďè">
                <a:extLst>
                  <a:ext uri="{FF2B5EF4-FFF2-40B4-BE49-F238E27FC236}">
                    <a16:creationId xmlns:a16="http://schemas.microsoft.com/office/drawing/2014/main" id="{69BA7C07-FA0F-D44C-9DA5-521D719DC45F}"/>
                  </a:ext>
                </a:extLst>
              </p:cNvPr>
              <p:cNvSpPr/>
              <p:nvPr/>
            </p:nvSpPr>
            <p:spPr bwMode="auto">
              <a:xfrm>
                <a:off x="6635627" y="4161844"/>
                <a:ext cx="102129" cy="106270"/>
              </a:xfrm>
              <a:custGeom>
                <a:avLst/>
                <a:gdLst>
                  <a:gd name="T0" fmla="*/ 18 w 36"/>
                  <a:gd name="T1" fmla="*/ 37 h 37"/>
                  <a:gd name="T2" fmla="*/ 0 w 36"/>
                  <a:gd name="T3" fmla="*/ 19 h 37"/>
                  <a:gd name="T4" fmla="*/ 0 w 36"/>
                  <a:gd name="T5" fmla="*/ 18 h 37"/>
                  <a:gd name="T6" fmla="*/ 18 w 36"/>
                  <a:gd name="T7" fmla="*/ 0 h 37"/>
                  <a:gd name="T8" fmla="*/ 36 w 36"/>
                  <a:gd name="T9" fmla="*/ 18 h 37"/>
                  <a:gd name="T10" fmla="*/ 36 w 36"/>
                  <a:gd name="T11" fmla="*/ 19 h 37"/>
                  <a:gd name="T12" fmla="*/ 18 w 36"/>
                  <a:gd name="T13" fmla="*/ 37 h 37"/>
                </a:gdLst>
                <a:ahLst/>
                <a:cxnLst>
                  <a:cxn ang="0">
                    <a:pos x="T0" y="T1"/>
                  </a:cxn>
                  <a:cxn ang="0">
                    <a:pos x="T2" y="T3"/>
                  </a:cxn>
                  <a:cxn ang="0">
                    <a:pos x="T4" y="T5"/>
                  </a:cxn>
                  <a:cxn ang="0">
                    <a:pos x="T6" y="T7"/>
                  </a:cxn>
                  <a:cxn ang="0">
                    <a:pos x="T8" y="T9"/>
                  </a:cxn>
                  <a:cxn ang="0">
                    <a:pos x="T10" y="T11"/>
                  </a:cxn>
                  <a:cxn ang="0">
                    <a:pos x="T12" y="T13"/>
                  </a:cxn>
                </a:cxnLst>
                <a:rect l="0" t="0" r="r" b="b"/>
                <a:pathLst>
                  <a:path w="36" h="37">
                    <a:moveTo>
                      <a:pt x="18" y="37"/>
                    </a:moveTo>
                    <a:cubicBezTo>
                      <a:pt x="8" y="37"/>
                      <a:pt x="0" y="29"/>
                      <a:pt x="0" y="19"/>
                    </a:cubicBezTo>
                    <a:cubicBezTo>
                      <a:pt x="0" y="18"/>
                      <a:pt x="0" y="18"/>
                      <a:pt x="0" y="18"/>
                    </a:cubicBezTo>
                    <a:cubicBezTo>
                      <a:pt x="0" y="8"/>
                      <a:pt x="8" y="0"/>
                      <a:pt x="18" y="0"/>
                    </a:cubicBezTo>
                    <a:cubicBezTo>
                      <a:pt x="28" y="0"/>
                      <a:pt x="36" y="8"/>
                      <a:pt x="36" y="18"/>
                    </a:cubicBezTo>
                    <a:cubicBezTo>
                      <a:pt x="36" y="19"/>
                      <a:pt x="36" y="19"/>
                      <a:pt x="36" y="19"/>
                    </a:cubicBezTo>
                    <a:cubicBezTo>
                      <a:pt x="36" y="29"/>
                      <a:pt x="28" y="37"/>
                      <a:pt x="18" y="37"/>
                    </a:cubicBezTo>
                  </a:path>
                </a:pathLst>
              </a:custGeom>
              <a:solidFill>
                <a:srgbClr val="BFCEE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2" name="îšļïḋè">
                <a:extLst>
                  <a:ext uri="{FF2B5EF4-FFF2-40B4-BE49-F238E27FC236}">
                    <a16:creationId xmlns:a16="http://schemas.microsoft.com/office/drawing/2014/main" id="{26BDB171-944B-D445-8160-18BE9E58AE3A}"/>
                  </a:ext>
                </a:extLst>
              </p:cNvPr>
              <p:cNvSpPr/>
              <p:nvPr/>
            </p:nvSpPr>
            <p:spPr bwMode="auto">
              <a:xfrm>
                <a:off x="6643908" y="4159084"/>
                <a:ext cx="69006" cy="92468"/>
              </a:xfrm>
              <a:custGeom>
                <a:avLst/>
                <a:gdLst>
                  <a:gd name="T0" fmla="*/ 0 w 24"/>
                  <a:gd name="T1" fmla="*/ 30 h 32"/>
                  <a:gd name="T2" fmla="*/ 0 w 24"/>
                  <a:gd name="T3" fmla="*/ 30 h 32"/>
                  <a:gd name="T4" fmla="*/ 2 w 24"/>
                  <a:gd name="T5" fmla="*/ 32 h 32"/>
                  <a:gd name="T6" fmla="*/ 2 w 24"/>
                  <a:gd name="T7" fmla="*/ 32 h 32"/>
                  <a:gd name="T8" fmla="*/ 0 w 24"/>
                  <a:gd name="T9" fmla="*/ 30 h 32"/>
                  <a:gd name="T10" fmla="*/ 22 w 24"/>
                  <a:gd name="T11" fmla="*/ 2 h 32"/>
                  <a:gd name="T12" fmla="*/ 24 w 24"/>
                  <a:gd name="T13" fmla="*/ 4 h 32"/>
                  <a:gd name="T14" fmla="*/ 24 w 24"/>
                  <a:gd name="T15" fmla="*/ 3 h 32"/>
                  <a:gd name="T16" fmla="*/ 22 w 24"/>
                  <a:gd name="T17" fmla="*/ 2 h 32"/>
                  <a:gd name="T18" fmla="*/ 14 w 24"/>
                  <a:gd name="T19" fmla="*/ 0 h 32"/>
                  <a:gd name="T20" fmla="*/ 14 w 24"/>
                  <a:gd name="T21" fmla="*/ 1 h 32"/>
                  <a:gd name="T22" fmla="*/ 15 w 24"/>
                  <a:gd name="T23" fmla="*/ 1 h 32"/>
                  <a:gd name="T24" fmla="*/ 21 w 24"/>
                  <a:gd name="T25" fmla="*/ 2 h 32"/>
                  <a:gd name="T26" fmla="*/ 14 w 24"/>
                  <a:gd name="T2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32">
                    <a:moveTo>
                      <a:pt x="0" y="30"/>
                    </a:moveTo>
                    <a:cubicBezTo>
                      <a:pt x="0" y="30"/>
                      <a:pt x="0" y="30"/>
                      <a:pt x="0" y="30"/>
                    </a:cubicBezTo>
                    <a:cubicBezTo>
                      <a:pt x="2" y="32"/>
                      <a:pt x="2" y="32"/>
                      <a:pt x="2" y="32"/>
                    </a:cubicBezTo>
                    <a:cubicBezTo>
                      <a:pt x="2" y="32"/>
                      <a:pt x="2" y="32"/>
                      <a:pt x="2" y="32"/>
                    </a:cubicBezTo>
                    <a:cubicBezTo>
                      <a:pt x="1" y="31"/>
                      <a:pt x="1" y="30"/>
                      <a:pt x="0" y="30"/>
                    </a:cubicBezTo>
                    <a:moveTo>
                      <a:pt x="22" y="2"/>
                    </a:moveTo>
                    <a:cubicBezTo>
                      <a:pt x="23" y="3"/>
                      <a:pt x="23" y="3"/>
                      <a:pt x="24" y="4"/>
                    </a:cubicBezTo>
                    <a:cubicBezTo>
                      <a:pt x="24" y="3"/>
                      <a:pt x="24" y="3"/>
                      <a:pt x="24" y="3"/>
                    </a:cubicBezTo>
                    <a:cubicBezTo>
                      <a:pt x="22" y="2"/>
                      <a:pt x="22" y="2"/>
                      <a:pt x="22" y="2"/>
                    </a:cubicBezTo>
                    <a:moveTo>
                      <a:pt x="14" y="0"/>
                    </a:moveTo>
                    <a:cubicBezTo>
                      <a:pt x="14" y="1"/>
                      <a:pt x="14" y="1"/>
                      <a:pt x="14" y="1"/>
                    </a:cubicBezTo>
                    <a:cubicBezTo>
                      <a:pt x="14" y="1"/>
                      <a:pt x="15" y="1"/>
                      <a:pt x="15" y="1"/>
                    </a:cubicBezTo>
                    <a:cubicBezTo>
                      <a:pt x="17" y="1"/>
                      <a:pt x="19" y="1"/>
                      <a:pt x="21" y="2"/>
                    </a:cubicBezTo>
                    <a:cubicBezTo>
                      <a:pt x="14" y="0"/>
                      <a:pt x="14" y="0"/>
                      <a:pt x="14" y="0"/>
                    </a:cubicBezTo>
                  </a:path>
                </a:pathLst>
              </a:custGeom>
              <a:solidFill>
                <a:srgbClr val="FAB4C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3" name="ïslïḍê">
                <a:extLst>
                  <a:ext uri="{FF2B5EF4-FFF2-40B4-BE49-F238E27FC236}">
                    <a16:creationId xmlns:a16="http://schemas.microsoft.com/office/drawing/2014/main" id="{33616D41-A19D-AB4B-927D-2F811AF2A945}"/>
                  </a:ext>
                </a:extLst>
              </p:cNvPr>
              <p:cNvSpPr/>
              <p:nvPr/>
            </p:nvSpPr>
            <p:spPr bwMode="auto">
              <a:xfrm>
                <a:off x="6643908" y="4161844"/>
                <a:ext cx="69006" cy="89708"/>
              </a:xfrm>
              <a:custGeom>
                <a:avLst/>
                <a:gdLst>
                  <a:gd name="T0" fmla="*/ 15 w 24"/>
                  <a:gd name="T1" fmla="*/ 0 h 31"/>
                  <a:gd name="T2" fmla="*/ 14 w 24"/>
                  <a:gd name="T3" fmla="*/ 0 h 31"/>
                  <a:gd name="T4" fmla="*/ 0 w 24"/>
                  <a:gd name="T5" fmla="*/ 29 h 31"/>
                  <a:gd name="T6" fmla="*/ 2 w 24"/>
                  <a:gd name="T7" fmla="*/ 31 h 31"/>
                  <a:gd name="T8" fmla="*/ 2 w 24"/>
                  <a:gd name="T9" fmla="*/ 31 h 31"/>
                  <a:gd name="T10" fmla="*/ 2 w 24"/>
                  <a:gd name="T11" fmla="*/ 30 h 31"/>
                  <a:gd name="T12" fmla="*/ 5 w 24"/>
                  <a:gd name="T13" fmla="*/ 30 h 31"/>
                  <a:gd name="T14" fmla="*/ 10 w 24"/>
                  <a:gd name="T15" fmla="*/ 31 h 31"/>
                  <a:gd name="T16" fmla="*/ 10 w 24"/>
                  <a:gd name="T17" fmla="*/ 31 h 31"/>
                  <a:gd name="T18" fmla="*/ 10 w 24"/>
                  <a:gd name="T19" fmla="*/ 31 h 31"/>
                  <a:gd name="T20" fmla="*/ 24 w 24"/>
                  <a:gd name="T21" fmla="*/ 3 h 31"/>
                  <a:gd name="T22" fmla="*/ 22 w 24"/>
                  <a:gd name="T23" fmla="*/ 1 h 31"/>
                  <a:gd name="T24" fmla="*/ 21 w 24"/>
                  <a:gd name="T25" fmla="*/ 1 h 31"/>
                  <a:gd name="T26" fmla="*/ 15 w 24"/>
                  <a:gd name="T2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31">
                    <a:moveTo>
                      <a:pt x="15" y="0"/>
                    </a:moveTo>
                    <a:cubicBezTo>
                      <a:pt x="15" y="0"/>
                      <a:pt x="14" y="0"/>
                      <a:pt x="14" y="0"/>
                    </a:cubicBezTo>
                    <a:cubicBezTo>
                      <a:pt x="0" y="29"/>
                      <a:pt x="0" y="29"/>
                      <a:pt x="0" y="29"/>
                    </a:cubicBezTo>
                    <a:cubicBezTo>
                      <a:pt x="1" y="29"/>
                      <a:pt x="1" y="30"/>
                      <a:pt x="2" y="31"/>
                    </a:cubicBezTo>
                    <a:cubicBezTo>
                      <a:pt x="2" y="31"/>
                      <a:pt x="2" y="31"/>
                      <a:pt x="2" y="31"/>
                    </a:cubicBezTo>
                    <a:cubicBezTo>
                      <a:pt x="2" y="30"/>
                      <a:pt x="2" y="30"/>
                      <a:pt x="2" y="30"/>
                    </a:cubicBezTo>
                    <a:cubicBezTo>
                      <a:pt x="3" y="30"/>
                      <a:pt x="4" y="30"/>
                      <a:pt x="5" y="30"/>
                    </a:cubicBezTo>
                    <a:cubicBezTo>
                      <a:pt x="6" y="31"/>
                      <a:pt x="8" y="31"/>
                      <a:pt x="10" y="31"/>
                    </a:cubicBezTo>
                    <a:cubicBezTo>
                      <a:pt x="10" y="31"/>
                      <a:pt x="10" y="31"/>
                      <a:pt x="10" y="31"/>
                    </a:cubicBezTo>
                    <a:cubicBezTo>
                      <a:pt x="10" y="31"/>
                      <a:pt x="10" y="31"/>
                      <a:pt x="10" y="31"/>
                    </a:cubicBezTo>
                    <a:cubicBezTo>
                      <a:pt x="24" y="3"/>
                      <a:pt x="24" y="3"/>
                      <a:pt x="24" y="3"/>
                    </a:cubicBezTo>
                    <a:cubicBezTo>
                      <a:pt x="23" y="2"/>
                      <a:pt x="23" y="2"/>
                      <a:pt x="22" y="1"/>
                    </a:cubicBezTo>
                    <a:cubicBezTo>
                      <a:pt x="21" y="1"/>
                      <a:pt x="21" y="1"/>
                      <a:pt x="21" y="1"/>
                    </a:cubicBezTo>
                    <a:cubicBezTo>
                      <a:pt x="19" y="0"/>
                      <a:pt x="17" y="0"/>
                      <a:pt x="15" y="0"/>
                    </a:cubicBezTo>
                  </a:path>
                </a:pathLst>
              </a:custGeom>
              <a:solidFill>
                <a:srgbClr val="DAE3F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4" name="ïšḷíḍe">
                <a:extLst>
                  <a:ext uri="{FF2B5EF4-FFF2-40B4-BE49-F238E27FC236}">
                    <a16:creationId xmlns:a16="http://schemas.microsoft.com/office/drawing/2014/main" id="{1CBF65D7-F13F-4143-B8A8-EA63E8E6CD78}"/>
                  </a:ext>
                </a:extLst>
              </p:cNvPr>
              <p:cNvSpPr/>
              <p:nvPr/>
            </p:nvSpPr>
            <p:spPr bwMode="auto">
              <a:xfrm>
                <a:off x="6649428" y="4251553"/>
                <a:ext cx="74526" cy="16561"/>
              </a:xfrm>
              <a:custGeom>
                <a:avLst/>
                <a:gdLst>
                  <a:gd name="T0" fmla="*/ 0 w 26"/>
                  <a:gd name="T1" fmla="*/ 0 h 6"/>
                  <a:gd name="T2" fmla="*/ 7 w 26"/>
                  <a:gd name="T3" fmla="*/ 5 h 6"/>
                  <a:gd name="T4" fmla="*/ 13 w 26"/>
                  <a:gd name="T5" fmla="*/ 6 h 6"/>
                  <a:gd name="T6" fmla="*/ 16 w 26"/>
                  <a:gd name="T7" fmla="*/ 6 h 6"/>
                  <a:gd name="T8" fmla="*/ 24 w 26"/>
                  <a:gd name="T9" fmla="*/ 2 h 6"/>
                  <a:gd name="T10" fmla="*/ 26 w 26"/>
                  <a:gd name="T11" fmla="*/ 0 h 6"/>
                  <a:gd name="T12" fmla="*/ 13 w 26"/>
                  <a:gd name="T13" fmla="*/ 6 h 6"/>
                  <a:gd name="T14" fmla="*/ 6 w 26"/>
                  <a:gd name="T15" fmla="*/ 4 h 6"/>
                  <a:gd name="T16" fmla="*/ 6 w 26"/>
                  <a:gd name="T17" fmla="*/ 4 h 6"/>
                  <a:gd name="T18" fmla="*/ 5 w 26"/>
                  <a:gd name="T19" fmla="*/ 4 h 6"/>
                  <a:gd name="T20" fmla="*/ 0 w 26"/>
                  <a:gd name="T21" fmla="*/ 0 h 6"/>
                  <a:gd name="T22" fmla="*/ 0 w 26"/>
                  <a:gd name="T2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
                    <a:moveTo>
                      <a:pt x="0" y="0"/>
                    </a:moveTo>
                    <a:cubicBezTo>
                      <a:pt x="0" y="2"/>
                      <a:pt x="5" y="4"/>
                      <a:pt x="7" y="5"/>
                    </a:cubicBezTo>
                    <a:cubicBezTo>
                      <a:pt x="9" y="6"/>
                      <a:pt x="11" y="6"/>
                      <a:pt x="13" y="6"/>
                    </a:cubicBezTo>
                    <a:cubicBezTo>
                      <a:pt x="14" y="6"/>
                      <a:pt x="15" y="6"/>
                      <a:pt x="16" y="6"/>
                    </a:cubicBezTo>
                    <a:cubicBezTo>
                      <a:pt x="19" y="5"/>
                      <a:pt x="22" y="4"/>
                      <a:pt x="24" y="2"/>
                    </a:cubicBezTo>
                    <a:cubicBezTo>
                      <a:pt x="25" y="1"/>
                      <a:pt x="26" y="1"/>
                      <a:pt x="26" y="0"/>
                    </a:cubicBezTo>
                    <a:cubicBezTo>
                      <a:pt x="23" y="4"/>
                      <a:pt x="18" y="6"/>
                      <a:pt x="13" y="6"/>
                    </a:cubicBezTo>
                    <a:cubicBezTo>
                      <a:pt x="11" y="6"/>
                      <a:pt x="8" y="5"/>
                      <a:pt x="6" y="4"/>
                    </a:cubicBezTo>
                    <a:cubicBezTo>
                      <a:pt x="6" y="4"/>
                      <a:pt x="6" y="4"/>
                      <a:pt x="6" y="4"/>
                    </a:cubicBezTo>
                    <a:cubicBezTo>
                      <a:pt x="5" y="4"/>
                      <a:pt x="5" y="4"/>
                      <a:pt x="5" y="4"/>
                    </a:cubicBezTo>
                    <a:cubicBezTo>
                      <a:pt x="3" y="3"/>
                      <a:pt x="2" y="2"/>
                      <a:pt x="0" y="0"/>
                    </a:cubicBezTo>
                    <a:cubicBezTo>
                      <a:pt x="0" y="0"/>
                      <a:pt x="0" y="0"/>
                      <a:pt x="0" y="0"/>
                    </a:cubicBezTo>
                  </a:path>
                </a:pathLst>
              </a:custGeom>
              <a:solidFill>
                <a:srgbClr val="D95F8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5" name="îŝḷíḍe">
                <a:extLst>
                  <a:ext uri="{FF2B5EF4-FFF2-40B4-BE49-F238E27FC236}">
                    <a16:creationId xmlns:a16="http://schemas.microsoft.com/office/drawing/2014/main" id="{7BC1271D-4766-4643-8398-21B866ABEBFA}"/>
                  </a:ext>
                </a:extLst>
              </p:cNvPr>
              <p:cNvSpPr/>
              <p:nvPr/>
            </p:nvSpPr>
            <p:spPr bwMode="auto">
              <a:xfrm>
                <a:off x="6649428" y="4199108"/>
                <a:ext cx="92468" cy="69006"/>
              </a:xfrm>
              <a:custGeom>
                <a:avLst/>
                <a:gdLst>
                  <a:gd name="T0" fmla="*/ 0 w 32"/>
                  <a:gd name="T1" fmla="*/ 18 h 24"/>
                  <a:gd name="T2" fmla="*/ 5 w 32"/>
                  <a:gd name="T3" fmla="*/ 22 h 24"/>
                  <a:gd name="T4" fmla="*/ 0 w 32"/>
                  <a:gd name="T5" fmla="*/ 18 h 24"/>
                  <a:gd name="T6" fmla="*/ 30 w 32"/>
                  <a:gd name="T7" fmla="*/ 0 h 24"/>
                  <a:gd name="T8" fmla="*/ 18 w 32"/>
                  <a:gd name="T9" fmla="*/ 16 h 24"/>
                  <a:gd name="T10" fmla="*/ 8 w 32"/>
                  <a:gd name="T11" fmla="*/ 18 h 24"/>
                  <a:gd name="T12" fmla="*/ 6 w 32"/>
                  <a:gd name="T13" fmla="*/ 22 h 24"/>
                  <a:gd name="T14" fmla="*/ 13 w 32"/>
                  <a:gd name="T15" fmla="*/ 24 h 24"/>
                  <a:gd name="T16" fmla="*/ 26 w 32"/>
                  <a:gd name="T17" fmla="*/ 18 h 24"/>
                  <a:gd name="T18" fmla="*/ 30 w 32"/>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24">
                    <a:moveTo>
                      <a:pt x="0" y="18"/>
                    </a:moveTo>
                    <a:cubicBezTo>
                      <a:pt x="2" y="20"/>
                      <a:pt x="3" y="21"/>
                      <a:pt x="5" y="22"/>
                    </a:cubicBezTo>
                    <a:cubicBezTo>
                      <a:pt x="0" y="18"/>
                      <a:pt x="0" y="18"/>
                      <a:pt x="0" y="18"/>
                    </a:cubicBezTo>
                    <a:moveTo>
                      <a:pt x="30" y="0"/>
                    </a:moveTo>
                    <a:cubicBezTo>
                      <a:pt x="28" y="7"/>
                      <a:pt x="24" y="13"/>
                      <a:pt x="18" y="16"/>
                    </a:cubicBezTo>
                    <a:cubicBezTo>
                      <a:pt x="15" y="17"/>
                      <a:pt x="11" y="18"/>
                      <a:pt x="8" y="18"/>
                    </a:cubicBezTo>
                    <a:cubicBezTo>
                      <a:pt x="6" y="22"/>
                      <a:pt x="6" y="22"/>
                      <a:pt x="6" y="22"/>
                    </a:cubicBezTo>
                    <a:cubicBezTo>
                      <a:pt x="8" y="23"/>
                      <a:pt x="11" y="24"/>
                      <a:pt x="13" y="24"/>
                    </a:cubicBezTo>
                    <a:cubicBezTo>
                      <a:pt x="18" y="24"/>
                      <a:pt x="23" y="22"/>
                      <a:pt x="26" y="18"/>
                    </a:cubicBezTo>
                    <a:cubicBezTo>
                      <a:pt x="30" y="13"/>
                      <a:pt x="32" y="6"/>
                      <a:pt x="30" y="0"/>
                    </a:cubicBezTo>
                  </a:path>
                </a:pathLst>
              </a:custGeom>
              <a:solidFill>
                <a:srgbClr val="A3AFC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6" name="îsľîḓê">
                <a:extLst>
                  <a:ext uri="{FF2B5EF4-FFF2-40B4-BE49-F238E27FC236}">
                    <a16:creationId xmlns:a16="http://schemas.microsoft.com/office/drawing/2014/main" id="{4C9F54BC-FDCC-1C45-BC58-0470EC21FAD0}"/>
                  </a:ext>
                </a:extLst>
              </p:cNvPr>
              <p:cNvSpPr/>
              <p:nvPr/>
            </p:nvSpPr>
            <p:spPr bwMode="auto">
              <a:xfrm>
                <a:off x="6649428" y="4251553"/>
                <a:ext cx="17942" cy="11041"/>
              </a:xfrm>
              <a:custGeom>
                <a:avLst/>
                <a:gdLst>
                  <a:gd name="T0" fmla="*/ 5 w 6"/>
                  <a:gd name="T1" fmla="*/ 4 h 4"/>
                  <a:gd name="T2" fmla="*/ 6 w 6"/>
                  <a:gd name="T3" fmla="*/ 4 h 4"/>
                  <a:gd name="T4" fmla="*/ 6 w 6"/>
                  <a:gd name="T5" fmla="*/ 4 h 4"/>
                  <a:gd name="T6" fmla="*/ 5 w 6"/>
                  <a:gd name="T7" fmla="*/ 4 h 4"/>
                  <a:gd name="T8" fmla="*/ 0 w 6"/>
                  <a:gd name="T9" fmla="*/ 0 h 4"/>
                  <a:gd name="T10" fmla="*/ 0 w 6"/>
                  <a:gd name="T11" fmla="*/ 0 h 4"/>
                  <a:gd name="T12" fmla="*/ 0 w 6"/>
                  <a:gd name="T13" fmla="*/ 0 h 4"/>
                  <a:gd name="T14" fmla="*/ 0 w 6"/>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5" y="4"/>
                    </a:moveTo>
                    <a:cubicBezTo>
                      <a:pt x="6" y="4"/>
                      <a:pt x="6" y="4"/>
                      <a:pt x="6" y="4"/>
                    </a:cubicBezTo>
                    <a:cubicBezTo>
                      <a:pt x="6" y="4"/>
                      <a:pt x="6" y="4"/>
                      <a:pt x="6" y="4"/>
                    </a:cubicBezTo>
                    <a:cubicBezTo>
                      <a:pt x="6" y="4"/>
                      <a:pt x="5" y="4"/>
                      <a:pt x="5" y="4"/>
                    </a:cubicBezTo>
                    <a:moveTo>
                      <a:pt x="0" y="0"/>
                    </a:moveTo>
                    <a:cubicBezTo>
                      <a:pt x="0" y="0"/>
                      <a:pt x="0" y="0"/>
                      <a:pt x="0" y="0"/>
                    </a:cubicBezTo>
                    <a:cubicBezTo>
                      <a:pt x="0" y="0"/>
                      <a:pt x="0" y="0"/>
                      <a:pt x="0" y="0"/>
                    </a:cubicBezTo>
                    <a:cubicBezTo>
                      <a:pt x="0" y="0"/>
                      <a:pt x="0" y="0"/>
                      <a:pt x="0" y="0"/>
                    </a:cubicBezTo>
                  </a:path>
                </a:pathLst>
              </a:custGeom>
              <a:solidFill>
                <a:srgbClr val="D599A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7" name="îśļidê">
                <a:extLst>
                  <a:ext uri="{FF2B5EF4-FFF2-40B4-BE49-F238E27FC236}">
                    <a16:creationId xmlns:a16="http://schemas.microsoft.com/office/drawing/2014/main" id="{5C0851F0-D183-CE4F-AC0B-0C4E534E1781}"/>
                  </a:ext>
                </a:extLst>
              </p:cNvPr>
              <p:cNvSpPr/>
              <p:nvPr/>
            </p:nvSpPr>
            <p:spPr bwMode="auto">
              <a:xfrm>
                <a:off x="6649428" y="4248792"/>
                <a:ext cx="23462" cy="13801"/>
              </a:xfrm>
              <a:custGeom>
                <a:avLst/>
                <a:gdLst>
                  <a:gd name="T0" fmla="*/ 0 w 8"/>
                  <a:gd name="T1" fmla="*/ 0 h 5"/>
                  <a:gd name="T2" fmla="*/ 0 w 8"/>
                  <a:gd name="T3" fmla="*/ 1 h 5"/>
                  <a:gd name="T4" fmla="*/ 0 w 8"/>
                  <a:gd name="T5" fmla="*/ 1 h 5"/>
                  <a:gd name="T6" fmla="*/ 0 w 8"/>
                  <a:gd name="T7" fmla="*/ 1 h 5"/>
                  <a:gd name="T8" fmla="*/ 5 w 8"/>
                  <a:gd name="T9" fmla="*/ 5 h 5"/>
                  <a:gd name="T10" fmla="*/ 6 w 8"/>
                  <a:gd name="T11" fmla="*/ 5 h 5"/>
                  <a:gd name="T12" fmla="*/ 8 w 8"/>
                  <a:gd name="T13" fmla="*/ 1 h 5"/>
                  <a:gd name="T14" fmla="*/ 8 w 8"/>
                  <a:gd name="T15" fmla="*/ 1 h 5"/>
                  <a:gd name="T16" fmla="*/ 8 w 8"/>
                  <a:gd name="T17" fmla="*/ 1 h 5"/>
                  <a:gd name="T18" fmla="*/ 3 w 8"/>
                  <a:gd name="T19" fmla="*/ 0 h 5"/>
                  <a:gd name="T20" fmla="*/ 0 w 8"/>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5">
                    <a:moveTo>
                      <a:pt x="0" y="0"/>
                    </a:moveTo>
                    <a:cubicBezTo>
                      <a:pt x="0" y="0"/>
                      <a:pt x="0" y="0"/>
                      <a:pt x="0" y="1"/>
                    </a:cubicBezTo>
                    <a:cubicBezTo>
                      <a:pt x="0" y="1"/>
                      <a:pt x="0" y="1"/>
                      <a:pt x="0" y="1"/>
                    </a:cubicBezTo>
                    <a:cubicBezTo>
                      <a:pt x="0" y="1"/>
                      <a:pt x="0" y="1"/>
                      <a:pt x="0" y="1"/>
                    </a:cubicBezTo>
                    <a:cubicBezTo>
                      <a:pt x="5" y="5"/>
                      <a:pt x="5" y="5"/>
                      <a:pt x="5" y="5"/>
                    </a:cubicBezTo>
                    <a:cubicBezTo>
                      <a:pt x="5" y="5"/>
                      <a:pt x="6" y="5"/>
                      <a:pt x="6" y="5"/>
                    </a:cubicBezTo>
                    <a:cubicBezTo>
                      <a:pt x="8" y="1"/>
                      <a:pt x="8" y="1"/>
                      <a:pt x="8" y="1"/>
                    </a:cubicBezTo>
                    <a:cubicBezTo>
                      <a:pt x="8" y="1"/>
                      <a:pt x="8" y="1"/>
                      <a:pt x="8" y="1"/>
                    </a:cubicBezTo>
                    <a:cubicBezTo>
                      <a:pt x="8" y="1"/>
                      <a:pt x="8" y="1"/>
                      <a:pt x="8" y="1"/>
                    </a:cubicBezTo>
                    <a:cubicBezTo>
                      <a:pt x="6" y="1"/>
                      <a:pt x="4" y="1"/>
                      <a:pt x="3" y="0"/>
                    </a:cubicBezTo>
                    <a:cubicBezTo>
                      <a:pt x="2" y="0"/>
                      <a:pt x="1" y="0"/>
                      <a:pt x="0" y="0"/>
                    </a:cubicBezTo>
                  </a:path>
                </a:pathLst>
              </a:custGeom>
              <a:solidFill>
                <a:srgbClr val="BAC1D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8" name="iṩļîďé">
                <a:extLst>
                  <a:ext uri="{FF2B5EF4-FFF2-40B4-BE49-F238E27FC236}">
                    <a16:creationId xmlns:a16="http://schemas.microsoft.com/office/drawing/2014/main" id="{0C7A1FEF-32B5-754C-8906-6B2DE777CFF6}"/>
                  </a:ext>
                </a:extLst>
              </p:cNvPr>
              <p:cNvSpPr/>
              <p:nvPr/>
            </p:nvSpPr>
            <p:spPr bwMode="auto">
              <a:xfrm>
                <a:off x="6630107" y="4156324"/>
                <a:ext cx="114550" cy="117311"/>
              </a:xfrm>
              <a:custGeom>
                <a:avLst/>
                <a:gdLst>
                  <a:gd name="T0" fmla="*/ 20 w 40"/>
                  <a:gd name="T1" fmla="*/ 41 h 41"/>
                  <a:gd name="T2" fmla="*/ 0 w 40"/>
                  <a:gd name="T3" fmla="*/ 21 h 41"/>
                  <a:gd name="T4" fmla="*/ 0 w 40"/>
                  <a:gd name="T5" fmla="*/ 20 h 41"/>
                  <a:gd name="T6" fmla="*/ 20 w 40"/>
                  <a:gd name="T7" fmla="*/ 0 h 41"/>
                  <a:gd name="T8" fmla="*/ 40 w 40"/>
                  <a:gd name="T9" fmla="*/ 20 h 41"/>
                  <a:gd name="T10" fmla="*/ 40 w 40"/>
                  <a:gd name="T11" fmla="*/ 21 h 41"/>
                  <a:gd name="T12" fmla="*/ 20 w 40"/>
                  <a:gd name="T13" fmla="*/ 41 h 41"/>
                  <a:gd name="T14" fmla="*/ 20 w 40"/>
                  <a:gd name="T15" fmla="*/ 4 h 41"/>
                  <a:gd name="T16" fmla="*/ 5 w 40"/>
                  <a:gd name="T17" fmla="*/ 20 h 41"/>
                  <a:gd name="T18" fmla="*/ 5 w 40"/>
                  <a:gd name="T19" fmla="*/ 21 h 41"/>
                  <a:gd name="T20" fmla="*/ 20 w 40"/>
                  <a:gd name="T21" fmla="*/ 36 h 41"/>
                  <a:gd name="T22" fmla="*/ 36 w 40"/>
                  <a:gd name="T23" fmla="*/ 21 h 41"/>
                  <a:gd name="T24" fmla="*/ 36 w 40"/>
                  <a:gd name="T25" fmla="*/ 20 h 41"/>
                  <a:gd name="T26" fmla="*/ 20 w 40"/>
                  <a:gd name="T27" fmla="*/ 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20" y="41"/>
                    </a:moveTo>
                    <a:cubicBezTo>
                      <a:pt x="9" y="41"/>
                      <a:pt x="0" y="32"/>
                      <a:pt x="0" y="21"/>
                    </a:cubicBezTo>
                    <a:cubicBezTo>
                      <a:pt x="0" y="20"/>
                      <a:pt x="0" y="20"/>
                      <a:pt x="0" y="20"/>
                    </a:cubicBezTo>
                    <a:cubicBezTo>
                      <a:pt x="0" y="9"/>
                      <a:pt x="9" y="0"/>
                      <a:pt x="20" y="0"/>
                    </a:cubicBezTo>
                    <a:cubicBezTo>
                      <a:pt x="31" y="0"/>
                      <a:pt x="40" y="9"/>
                      <a:pt x="40" y="20"/>
                    </a:cubicBezTo>
                    <a:cubicBezTo>
                      <a:pt x="40" y="21"/>
                      <a:pt x="40" y="21"/>
                      <a:pt x="40" y="21"/>
                    </a:cubicBezTo>
                    <a:cubicBezTo>
                      <a:pt x="40" y="32"/>
                      <a:pt x="31" y="41"/>
                      <a:pt x="20" y="41"/>
                    </a:cubicBezTo>
                    <a:close/>
                    <a:moveTo>
                      <a:pt x="20" y="4"/>
                    </a:moveTo>
                    <a:cubicBezTo>
                      <a:pt x="12" y="4"/>
                      <a:pt x="5" y="11"/>
                      <a:pt x="5" y="20"/>
                    </a:cubicBezTo>
                    <a:cubicBezTo>
                      <a:pt x="5" y="21"/>
                      <a:pt x="5" y="21"/>
                      <a:pt x="5" y="21"/>
                    </a:cubicBezTo>
                    <a:cubicBezTo>
                      <a:pt x="5" y="29"/>
                      <a:pt x="12" y="36"/>
                      <a:pt x="20" y="36"/>
                    </a:cubicBezTo>
                    <a:cubicBezTo>
                      <a:pt x="29" y="36"/>
                      <a:pt x="36" y="29"/>
                      <a:pt x="36" y="21"/>
                    </a:cubicBezTo>
                    <a:cubicBezTo>
                      <a:pt x="36" y="20"/>
                      <a:pt x="36" y="20"/>
                      <a:pt x="36" y="20"/>
                    </a:cubicBezTo>
                    <a:cubicBezTo>
                      <a:pt x="36" y="11"/>
                      <a:pt x="29" y="4"/>
                      <a:pt x="20"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9" name="iṥḷîḍê">
                <a:extLst>
                  <a:ext uri="{FF2B5EF4-FFF2-40B4-BE49-F238E27FC236}">
                    <a16:creationId xmlns:a16="http://schemas.microsoft.com/office/drawing/2014/main" id="{AF02CD9B-AAF7-E640-8A22-D4637CA397CA}"/>
                  </a:ext>
                </a:extLst>
              </p:cNvPr>
              <p:cNvSpPr/>
              <p:nvPr/>
            </p:nvSpPr>
            <p:spPr bwMode="auto">
              <a:xfrm>
                <a:off x="6385826" y="4348161"/>
                <a:ext cx="507884" cy="129731"/>
              </a:xfrm>
              <a:custGeom>
                <a:avLst/>
                <a:gdLst>
                  <a:gd name="T0" fmla="*/ 0 w 368"/>
                  <a:gd name="T1" fmla="*/ 0 h 94"/>
                  <a:gd name="T2" fmla="*/ 0 w 368"/>
                  <a:gd name="T3" fmla="*/ 94 h 94"/>
                  <a:gd name="T4" fmla="*/ 368 w 368"/>
                  <a:gd name="T5" fmla="*/ 94 h 94"/>
                  <a:gd name="T6" fmla="*/ 347 w 368"/>
                  <a:gd name="T7" fmla="*/ 0 h 94"/>
                  <a:gd name="T8" fmla="*/ 0 w 368"/>
                  <a:gd name="T9" fmla="*/ 0 h 94"/>
                </a:gdLst>
                <a:ahLst/>
                <a:cxnLst>
                  <a:cxn ang="0">
                    <a:pos x="T0" y="T1"/>
                  </a:cxn>
                  <a:cxn ang="0">
                    <a:pos x="T2" y="T3"/>
                  </a:cxn>
                  <a:cxn ang="0">
                    <a:pos x="T4" y="T5"/>
                  </a:cxn>
                  <a:cxn ang="0">
                    <a:pos x="T6" y="T7"/>
                  </a:cxn>
                  <a:cxn ang="0">
                    <a:pos x="T8" y="T9"/>
                  </a:cxn>
                </a:cxnLst>
                <a:rect l="0" t="0" r="r" b="b"/>
                <a:pathLst>
                  <a:path w="368" h="94">
                    <a:moveTo>
                      <a:pt x="0" y="0"/>
                    </a:moveTo>
                    <a:lnTo>
                      <a:pt x="0" y="94"/>
                    </a:lnTo>
                    <a:lnTo>
                      <a:pt x="368" y="94"/>
                    </a:lnTo>
                    <a:lnTo>
                      <a:pt x="347" y="0"/>
                    </a:lnTo>
                    <a:lnTo>
                      <a:pt x="0" y="0"/>
                    </a:lnTo>
                    <a:close/>
                  </a:path>
                </a:pathLst>
              </a:custGeom>
              <a:solidFill>
                <a:srgbClr val="FF70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0" name="ïsļiḍè">
                <a:extLst>
                  <a:ext uri="{FF2B5EF4-FFF2-40B4-BE49-F238E27FC236}">
                    <a16:creationId xmlns:a16="http://schemas.microsoft.com/office/drawing/2014/main" id="{939DDBE9-FFAA-3B4D-9559-804706F4F2E2}"/>
                  </a:ext>
                </a:extLst>
              </p:cNvPr>
              <p:cNvSpPr/>
              <p:nvPr/>
            </p:nvSpPr>
            <p:spPr bwMode="auto">
              <a:xfrm>
                <a:off x="6385826" y="4348161"/>
                <a:ext cx="507884" cy="129731"/>
              </a:xfrm>
              <a:custGeom>
                <a:avLst/>
                <a:gdLst>
                  <a:gd name="T0" fmla="*/ 0 w 368"/>
                  <a:gd name="T1" fmla="*/ 0 h 94"/>
                  <a:gd name="T2" fmla="*/ 0 w 368"/>
                  <a:gd name="T3" fmla="*/ 94 h 94"/>
                  <a:gd name="T4" fmla="*/ 368 w 368"/>
                  <a:gd name="T5" fmla="*/ 94 h 94"/>
                  <a:gd name="T6" fmla="*/ 347 w 368"/>
                  <a:gd name="T7" fmla="*/ 0 h 94"/>
                  <a:gd name="T8" fmla="*/ 0 w 368"/>
                  <a:gd name="T9" fmla="*/ 0 h 94"/>
                </a:gdLst>
                <a:ahLst/>
                <a:cxnLst>
                  <a:cxn ang="0">
                    <a:pos x="T0" y="T1"/>
                  </a:cxn>
                  <a:cxn ang="0">
                    <a:pos x="T2" y="T3"/>
                  </a:cxn>
                  <a:cxn ang="0">
                    <a:pos x="T4" y="T5"/>
                  </a:cxn>
                  <a:cxn ang="0">
                    <a:pos x="T6" y="T7"/>
                  </a:cxn>
                  <a:cxn ang="0">
                    <a:pos x="T8" y="T9"/>
                  </a:cxn>
                </a:cxnLst>
                <a:rect l="0" t="0" r="r" b="b"/>
                <a:pathLst>
                  <a:path w="368" h="94">
                    <a:moveTo>
                      <a:pt x="0" y="0"/>
                    </a:moveTo>
                    <a:lnTo>
                      <a:pt x="0" y="94"/>
                    </a:lnTo>
                    <a:lnTo>
                      <a:pt x="368" y="94"/>
                    </a:lnTo>
                    <a:lnTo>
                      <a:pt x="347"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1" name="îṡļíḋe">
                <a:extLst>
                  <a:ext uri="{FF2B5EF4-FFF2-40B4-BE49-F238E27FC236}">
                    <a16:creationId xmlns:a16="http://schemas.microsoft.com/office/drawing/2014/main" id="{F7EB0879-1F40-7646-AE93-B7681214EFD9}"/>
                  </a:ext>
                </a:extLst>
              </p:cNvPr>
              <p:cNvSpPr/>
              <p:nvPr/>
            </p:nvSpPr>
            <p:spPr bwMode="auto">
              <a:xfrm>
                <a:off x="6385826" y="4294336"/>
                <a:ext cx="393335" cy="53825"/>
              </a:xfrm>
              <a:custGeom>
                <a:avLst/>
                <a:gdLst>
                  <a:gd name="T0" fmla="*/ 280 w 285"/>
                  <a:gd name="T1" fmla="*/ 0 h 39"/>
                  <a:gd name="T2" fmla="*/ 0 w 285"/>
                  <a:gd name="T3" fmla="*/ 0 h 39"/>
                  <a:gd name="T4" fmla="*/ 0 w 285"/>
                  <a:gd name="T5" fmla="*/ 39 h 39"/>
                  <a:gd name="T6" fmla="*/ 285 w 285"/>
                  <a:gd name="T7" fmla="*/ 39 h 39"/>
                  <a:gd name="T8" fmla="*/ 280 w 285"/>
                  <a:gd name="T9" fmla="*/ 0 h 39"/>
                </a:gdLst>
                <a:ahLst/>
                <a:cxnLst>
                  <a:cxn ang="0">
                    <a:pos x="T0" y="T1"/>
                  </a:cxn>
                  <a:cxn ang="0">
                    <a:pos x="T2" y="T3"/>
                  </a:cxn>
                  <a:cxn ang="0">
                    <a:pos x="T4" y="T5"/>
                  </a:cxn>
                  <a:cxn ang="0">
                    <a:pos x="T6" y="T7"/>
                  </a:cxn>
                  <a:cxn ang="0">
                    <a:pos x="T8" y="T9"/>
                  </a:cxn>
                </a:cxnLst>
                <a:rect l="0" t="0" r="r" b="b"/>
                <a:pathLst>
                  <a:path w="285" h="39">
                    <a:moveTo>
                      <a:pt x="280" y="0"/>
                    </a:moveTo>
                    <a:lnTo>
                      <a:pt x="0" y="0"/>
                    </a:lnTo>
                    <a:lnTo>
                      <a:pt x="0" y="39"/>
                    </a:lnTo>
                    <a:lnTo>
                      <a:pt x="285" y="39"/>
                    </a:lnTo>
                    <a:lnTo>
                      <a:pt x="280" y="0"/>
                    </a:lnTo>
                    <a:close/>
                  </a:path>
                </a:pathLst>
              </a:custGeom>
              <a:solidFill>
                <a:srgbClr val="D95F8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2" name="ïṡľíḋe">
                <a:extLst>
                  <a:ext uri="{FF2B5EF4-FFF2-40B4-BE49-F238E27FC236}">
                    <a16:creationId xmlns:a16="http://schemas.microsoft.com/office/drawing/2014/main" id="{0A172377-2C2F-7F4B-80E3-49B0625086E4}"/>
                  </a:ext>
                </a:extLst>
              </p:cNvPr>
              <p:cNvSpPr/>
              <p:nvPr/>
            </p:nvSpPr>
            <p:spPr bwMode="auto">
              <a:xfrm>
                <a:off x="6385826" y="4294336"/>
                <a:ext cx="393335" cy="53825"/>
              </a:xfrm>
              <a:custGeom>
                <a:avLst/>
                <a:gdLst>
                  <a:gd name="T0" fmla="*/ 280 w 285"/>
                  <a:gd name="T1" fmla="*/ 0 h 39"/>
                  <a:gd name="T2" fmla="*/ 0 w 285"/>
                  <a:gd name="T3" fmla="*/ 0 h 39"/>
                  <a:gd name="T4" fmla="*/ 0 w 285"/>
                  <a:gd name="T5" fmla="*/ 39 h 39"/>
                  <a:gd name="T6" fmla="*/ 285 w 285"/>
                  <a:gd name="T7" fmla="*/ 39 h 39"/>
                  <a:gd name="T8" fmla="*/ 280 w 285"/>
                  <a:gd name="T9" fmla="*/ 0 h 39"/>
                </a:gdLst>
                <a:ahLst/>
                <a:cxnLst>
                  <a:cxn ang="0">
                    <a:pos x="T0" y="T1"/>
                  </a:cxn>
                  <a:cxn ang="0">
                    <a:pos x="T2" y="T3"/>
                  </a:cxn>
                  <a:cxn ang="0">
                    <a:pos x="T4" y="T5"/>
                  </a:cxn>
                  <a:cxn ang="0">
                    <a:pos x="T6" y="T7"/>
                  </a:cxn>
                  <a:cxn ang="0">
                    <a:pos x="T8" y="T9"/>
                  </a:cxn>
                </a:cxnLst>
                <a:rect l="0" t="0" r="r" b="b"/>
                <a:pathLst>
                  <a:path w="285" h="39">
                    <a:moveTo>
                      <a:pt x="280" y="0"/>
                    </a:moveTo>
                    <a:lnTo>
                      <a:pt x="0" y="0"/>
                    </a:lnTo>
                    <a:lnTo>
                      <a:pt x="0" y="39"/>
                    </a:lnTo>
                    <a:lnTo>
                      <a:pt x="285" y="39"/>
                    </a:lnTo>
                    <a:lnTo>
                      <a:pt x="28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3" name="íṣḷiḋe">
                <a:extLst>
                  <a:ext uri="{FF2B5EF4-FFF2-40B4-BE49-F238E27FC236}">
                    <a16:creationId xmlns:a16="http://schemas.microsoft.com/office/drawing/2014/main" id="{F92ABF49-7F63-2646-A421-6E54A627CFE7}"/>
                  </a:ext>
                </a:extLst>
              </p:cNvPr>
              <p:cNvSpPr/>
              <p:nvPr/>
            </p:nvSpPr>
            <p:spPr bwMode="auto">
              <a:xfrm>
                <a:off x="6385826" y="4348161"/>
                <a:ext cx="396095" cy="15182"/>
              </a:xfrm>
              <a:custGeom>
                <a:avLst/>
                <a:gdLst>
                  <a:gd name="T0" fmla="*/ 285 w 287"/>
                  <a:gd name="T1" fmla="*/ 0 h 11"/>
                  <a:gd name="T2" fmla="*/ 0 w 287"/>
                  <a:gd name="T3" fmla="*/ 0 h 11"/>
                  <a:gd name="T4" fmla="*/ 0 w 287"/>
                  <a:gd name="T5" fmla="*/ 11 h 11"/>
                  <a:gd name="T6" fmla="*/ 287 w 287"/>
                  <a:gd name="T7" fmla="*/ 11 h 11"/>
                  <a:gd name="T8" fmla="*/ 285 w 287"/>
                  <a:gd name="T9" fmla="*/ 0 h 11"/>
                </a:gdLst>
                <a:ahLst/>
                <a:cxnLst>
                  <a:cxn ang="0">
                    <a:pos x="T0" y="T1"/>
                  </a:cxn>
                  <a:cxn ang="0">
                    <a:pos x="T2" y="T3"/>
                  </a:cxn>
                  <a:cxn ang="0">
                    <a:pos x="T4" y="T5"/>
                  </a:cxn>
                  <a:cxn ang="0">
                    <a:pos x="T6" y="T7"/>
                  </a:cxn>
                  <a:cxn ang="0">
                    <a:pos x="T8" y="T9"/>
                  </a:cxn>
                </a:cxnLst>
                <a:rect l="0" t="0" r="r" b="b"/>
                <a:pathLst>
                  <a:path w="287" h="11">
                    <a:moveTo>
                      <a:pt x="285" y="0"/>
                    </a:moveTo>
                    <a:lnTo>
                      <a:pt x="0" y="0"/>
                    </a:lnTo>
                    <a:lnTo>
                      <a:pt x="0" y="11"/>
                    </a:lnTo>
                    <a:lnTo>
                      <a:pt x="287" y="11"/>
                    </a:lnTo>
                    <a:lnTo>
                      <a:pt x="285" y="0"/>
                    </a:lnTo>
                    <a:close/>
                  </a:path>
                </a:pathLst>
              </a:custGeom>
              <a:solidFill>
                <a:srgbClr val="D95F8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4" name="îsḻidê">
                <a:extLst>
                  <a:ext uri="{FF2B5EF4-FFF2-40B4-BE49-F238E27FC236}">
                    <a16:creationId xmlns:a16="http://schemas.microsoft.com/office/drawing/2014/main" id="{C19C55A1-8FC6-FB4A-B07C-862CED120D0A}"/>
                  </a:ext>
                </a:extLst>
              </p:cNvPr>
              <p:cNvSpPr/>
              <p:nvPr/>
            </p:nvSpPr>
            <p:spPr bwMode="auto">
              <a:xfrm>
                <a:off x="6385826" y="4348161"/>
                <a:ext cx="396095" cy="15182"/>
              </a:xfrm>
              <a:custGeom>
                <a:avLst/>
                <a:gdLst>
                  <a:gd name="T0" fmla="*/ 285 w 287"/>
                  <a:gd name="T1" fmla="*/ 0 h 11"/>
                  <a:gd name="T2" fmla="*/ 0 w 287"/>
                  <a:gd name="T3" fmla="*/ 0 h 11"/>
                  <a:gd name="T4" fmla="*/ 0 w 287"/>
                  <a:gd name="T5" fmla="*/ 11 h 11"/>
                  <a:gd name="T6" fmla="*/ 287 w 287"/>
                  <a:gd name="T7" fmla="*/ 11 h 11"/>
                  <a:gd name="T8" fmla="*/ 285 w 287"/>
                  <a:gd name="T9" fmla="*/ 0 h 11"/>
                </a:gdLst>
                <a:ahLst/>
                <a:cxnLst>
                  <a:cxn ang="0">
                    <a:pos x="T0" y="T1"/>
                  </a:cxn>
                  <a:cxn ang="0">
                    <a:pos x="T2" y="T3"/>
                  </a:cxn>
                  <a:cxn ang="0">
                    <a:pos x="T4" y="T5"/>
                  </a:cxn>
                  <a:cxn ang="0">
                    <a:pos x="T6" y="T7"/>
                  </a:cxn>
                  <a:cxn ang="0">
                    <a:pos x="T8" y="T9"/>
                  </a:cxn>
                </a:cxnLst>
                <a:rect l="0" t="0" r="r" b="b"/>
                <a:pathLst>
                  <a:path w="287" h="11">
                    <a:moveTo>
                      <a:pt x="285" y="0"/>
                    </a:moveTo>
                    <a:lnTo>
                      <a:pt x="0" y="0"/>
                    </a:lnTo>
                    <a:lnTo>
                      <a:pt x="0" y="11"/>
                    </a:lnTo>
                    <a:lnTo>
                      <a:pt x="287" y="11"/>
                    </a:lnTo>
                    <a:lnTo>
                      <a:pt x="2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5" name="íšḷîḓé">
                <a:extLst>
                  <a:ext uri="{FF2B5EF4-FFF2-40B4-BE49-F238E27FC236}">
                    <a16:creationId xmlns:a16="http://schemas.microsoft.com/office/drawing/2014/main" id="{1F2B041C-8945-6247-A697-528E588EBAB4}"/>
                  </a:ext>
                </a:extLst>
              </p:cNvPr>
              <p:cNvSpPr/>
              <p:nvPr/>
            </p:nvSpPr>
            <p:spPr bwMode="auto">
              <a:xfrm>
                <a:off x="6511416" y="4050055"/>
                <a:ext cx="178036" cy="745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96" name="íṣḷíḑé">
                <a:extLst>
                  <a:ext uri="{FF2B5EF4-FFF2-40B4-BE49-F238E27FC236}">
                    <a16:creationId xmlns:a16="http://schemas.microsoft.com/office/drawing/2014/main" id="{2DB917D5-088D-4F44-96AE-3D29FA9C79FB}"/>
                  </a:ext>
                </a:extLst>
              </p:cNvPr>
              <p:cNvSpPr/>
              <p:nvPr/>
            </p:nvSpPr>
            <p:spPr bwMode="auto">
              <a:xfrm>
                <a:off x="6511416" y="4050055"/>
                <a:ext cx="178036" cy="74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97" name="íš1îḑè">
                <a:extLst>
                  <a:ext uri="{FF2B5EF4-FFF2-40B4-BE49-F238E27FC236}">
                    <a16:creationId xmlns:a16="http://schemas.microsoft.com/office/drawing/2014/main" id="{2B7928A7-28D9-8E4E-9DA0-EF3134716797}"/>
                  </a:ext>
                </a:extLst>
              </p:cNvPr>
              <p:cNvSpPr/>
              <p:nvPr/>
            </p:nvSpPr>
            <p:spPr bwMode="auto">
              <a:xfrm>
                <a:off x="6752938" y="4124582"/>
                <a:ext cx="135252" cy="327089"/>
              </a:xfrm>
              <a:custGeom>
                <a:avLst/>
                <a:gdLst>
                  <a:gd name="T0" fmla="*/ 48 w 98"/>
                  <a:gd name="T1" fmla="*/ 0 h 237"/>
                  <a:gd name="T2" fmla="*/ 0 w 98"/>
                  <a:gd name="T3" fmla="*/ 0 h 237"/>
                  <a:gd name="T4" fmla="*/ 48 w 98"/>
                  <a:gd name="T5" fmla="*/ 0 h 237"/>
                  <a:gd name="T6" fmla="*/ 73 w 98"/>
                  <a:gd name="T7" fmla="*/ 123 h 237"/>
                  <a:gd name="T8" fmla="*/ 73 w 98"/>
                  <a:gd name="T9" fmla="*/ 123 h 237"/>
                  <a:gd name="T10" fmla="*/ 79 w 98"/>
                  <a:gd name="T11" fmla="*/ 152 h 237"/>
                  <a:gd name="T12" fmla="*/ 81 w 98"/>
                  <a:gd name="T13" fmla="*/ 162 h 237"/>
                  <a:gd name="T14" fmla="*/ 81 w 98"/>
                  <a:gd name="T15" fmla="*/ 162 h 237"/>
                  <a:gd name="T16" fmla="*/ 98 w 98"/>
                  <a:gd name="T17" fmla="*/ 237 h 237"/>
                  <a:gd name="T18" fmla="*/ 81 w 98"/>
                  <a:gd name="T19" fmla="*/ 162 h 237"/>
                  <a:gd name="T20" fmla="*/ 75 w 98"/>
                  <a:gd name="T21" fmla="*/ 129 h 237"/>
                  <a:gd name="T22" fmla="*/ 73 w 98"/>
                  <a:gd name="T23" fmla="*/ 123 h 237"/>
                  <a:gd name="T24" fmla="*/ 48 w 98"/>
                  <a:gd name="T25"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 h="237">
                    <a:moveTo>
                      <a:pt x="48" y="0"/>
                    </a:moveTo>
                    <a:lnTo>
                      <a:pt x="0" y="0"/>
                    </a:lnTo>
                    <a:lnTo>
                      <a:pt x="48" y="0"/>
                    </a:lnTo>
                    <a:lnTo>
                      <a:pt x="73" y="123"/>
                    </a:lnTo>
                    <a:lnTo>
                      <a:pt x="73" y="123"/>
                    </a:lnTo>
                    <a:lnTo>
                      <a:pt x="79" y="152"/>
                    </a:lnTo>
                    <a:lnTo>
                      <a:pt x="81" y="162"/>
                    </a:lnTo>
                    <a:lnTo>
                      <a:pt x="81" y="162"/>
                    </a:lnTo>
                    <a:lnTo>
                      <a:pt x="98" y="237"/>
                    </a:lnTo>
                    <a:lnTo>
                      <a:pt x="81" y="162"/>
                    </a:lnTo>
                    <a:lnTo>
                      <a:pt x="75" y="129"/>
                    </a:lnTo>
                    <a:lnTo>
                      <a:pt x="73" y="123"/>
                    </a:lnTo>
                    <a:lnTo>
                      <a:pt x="48" y="0"/>
                    </a:lnTo>
                    <a:close/>
                  </a:path>
                </a:pathLst>
              </a:custGeom>
              <a:solidFill>
                <a:srgbClr val="7393D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8" name="išľîḍê">
                <a:extLst>
                  <a:ext uri="{FF2B5EF4-FFF2-40B4-BE49-F238E27FC236}">
                    <a16:creationId xmlns:a16="http://schemas.microsoft.com/office/drawing/2014/main" id="{9B3AF89D-EEC8-9848-9EF4-69A0A00AB579}"/>
                  </a:ext>
                </a:extLst>
              </p:cNvPr>
              <p:cNvSpPr/>
              <p:nvPr/>
            </p:nvSpPr>
            <p:spPr bwMode="auto">
              <a:xfrm>
                <a:off x="6752938" y="4124582"/>
                <a:ext cx="135252" cy="327089"/>
              </a:xfrm>
              <a:custGeom>
                <a:avLst/>
                <a:gdLst>
                  <a:gd name="T0" fmla="*/ 48 w 98"/>
                  <a:gd name="T1" fmla="*/ 0 h 237"/>
                  <a:gd name="T2" fmla="*/ 0 w 98"/>
                  <a:gd name="T3" fmla="*/ 0 h 237"/>
                  <a:gd name="T4" fmla="*/ 48 w 98"/>
                  <a:gd name="T5" fmla="*/ 0 h 237"/>
                  <a:gd name="T6" fmla="*/ 73 w 98"/>
                  <a:gd name="T7" fmla="*/ 123 h 237"/>
                  <a:gd name="T8" fmla="*/ 73 w 98"/>
                  <a:gd name="T9" fmla="*/ 123 h 237"/>
                  <a:gd name="T10" fmla="*/ 79 w 98"/>
                  <a:gd name="T11" fmla="*/ 152 h 237"/>
                  <a:gd name="T12" fmla="*/ 81 w 98"/>
                  <a:gd name="T13" fmla="*/ 162 h 237"/>
                  <a:gd name="T14" fmla="*/ 81 w 98"/>
                  <a:gd name="T15" fmla="*/ 162 h 237"/>
                  <a:gd name="T16" fmla="*/ 98 w 98"/>
                  <a:gd name="T17" fmla="*/ 237 h 237"/>
                  <a:gd name="T18" fmla="*/ 81 w 98"/>
                  <a:gd name="T19" fmla="*/ 162 h 237"/>
                  <a:gd name="T20" fmla="*/ 75 w 98"/>
                  <a:gd name="T21" fmla="*/ 129 h 237"/>
                  <a:gd name="T22" fmla="*/ 73 w 98"/>
                  <a:gd name="T23" fmla="*/ 123 h 237"/>
                  <a:gd name="T24" fmla="*/ 48 w 98"/>
                  <a:gd name="T25"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 h="237">
                    <a:moveTo>
                      <a:pt x="48" y="0"/>
                    </a:moveTo>
                    <a:lnTo>
                      <a:pt x="0" y="0"/>
                    </a:lnTo>
                    <a:lnTo>
                      <a:pt x="48" y="0"/>
                    </a:lnTo>
                    <a:lnTo>
                      <a:pt x="73" y="123"/>
                    </a:lnTo>
                    <a:lnTo>
                      <a:pt x="73" y="123"/>
                    </a:lnTo>
                    <a:lnTo>
                      <a:pt x="79" y="152"/>
                    </a:lnTo>
                    <a:lnTo>
                      <a:pt x="81" y="162"/>
                    </a:lnTo>
                    <a:lnTo>
                      <a:pt x="81" y="162"/>
                    </a:lnTo>
                    <a:lnTo>
                      <a:pt x="98" y="237"/>
                    </a:lnTo>
                    <a:lnTo>
                      <a:pt x="81" y="162"/>
                    </a:lnTo>
                    <a:lnTo>
                      <a:pt x="75" y="129"/>
                    </a:lnTo>
                    <a:lnTo>
                      <a:pt x="73" y="123"/>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9" name="išḻîḑè">
                <a:extLst>
                  <a:ext uri="{FF2B5EF4-FFF2-40B4-BE49-F238E27FC236}">
                    <a16:creationId xmlns:a16="http://schemas.microsoft.com/office/drawing/2014/main" id="{71722DE3-BFAD-FE46-A7E3-FAED623DCAD6}"/>
                  </a:ext>
                </a:extLst>
              </p:cNvPr>
              <p:cNvSpPr/>
              <p:nvPr/>
            </p:nvSpPr>
            <p:spPr bwMode="auto">
              <a:xfrm>
                <a:off x="6752938" y="4124582"/>
                <a:ext cx="111790" cy="223579"/>
              </a:xfrm>
              <a:custGeom>
                <a:avLst/>
                <a:gdLst>
                  <a:gd name="T0" fmla="*/ 79 w 81"/>
                  <a:gd name="T1" fmla="*/ 152 h 162"/>
                  <a:gd name="T2" fmla="*/ 81 w 81"/>
                  <a:gd name="T3" fmla="*/ 162 h 162"/>
                  <a:gd name="T4" fmla="*/ 81 w 81"/>
                  <a:gd name="T5" fmla="*/ 162 h 162"/>
                  <a:gd name="T6" fmla="*/ 79 w 81"/>
                  <a:gd name="T7" fmla="*/ 152 h 162"/>
                  <a:gd name="T8" fmla="*/ 48 w 81"/>
                  <a:gd name="T9" fmla="*/ 0 h 162"/>
                  <a:gd name="T10" fmla="*/ 0 w 81"/>
                  <a:gd name="T11" fmla="*/ 0 h 162"/>
                  <a:gd name="T12" fmla="*/ 14 w 81"/>
                  <a:gd name="T13" fmla="*/ 123 h 162"/>
                  <a:gd name="T14" fmla="*/ 73 w 81"/>
                  <a:gd name="T15" fmla="*/ 123 h 162"/>
                  <a:gd name="T16" fmla="*/ 48 w 81"/>
                  <a:gd name="T17"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162">
                    <a:moveTo>
                      <a:pt x="79" y="152"/>
                    </a:moveTo>
                    <a:lnTo>
                      <a:pt x="81" y="162"/>
                    </a:lnTo>
                    <a:lnTo>
                      <a:pt x="81" y="162"/>
                    </a:lnTo>
                    <a:lnTo>
                      <a:pt x="79" y="152"/>
                    </a:lnTo>
                    <a:close/>
                    <a:moveTo>
                      <a:pt x="48" y="0"/>
                    </a:moveTo>
                    <a:lnTo>
                      <a:pt x="0" y="0"/>
                    </a:lnTo>
                    <a:lnTo>
                      <a:pt x="14" y="123"/>
                    </a:lnTo>
                    <a:lnTo>
                      <a:pt x="73" y="123"/>
                    </a:lnTo>
                    <a:lnTo>
                      <a:pt x="48" y="0"/>
                    </a:lnTo>
                    <a:close/>
                  </a:path>
                </a:pathLst>
              </a:custGeom>
              <a:solidFill>
                <a:srgbClr val="D95F8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0" name="íṩlîďè">
                <a:extLst>
                  <a:ext uri="{FF2B5EF4-FFF2-40B4-BE49-F238E27FC236}">
                    <a16:creationId xmlns:a16="http://schemas.microsoft.com/office/drawing/2014/main" id="{70D3E4CE-7649-D443-BFF9-76E91E92EF94}"/>
                  </a:ext>
                </a:extLst>
              </p:cNvPr>
              <p:cNvSpPr/>
              <p:nvPr/>
            </p:nvSpPr>
            <p:spPr bwMode="auto">
              <a:xfrm>
                <a:off x="6752938" y="4124582"/>
                <a:ext cx="111790" cy="223579"/>
              </a:xfrm>
              <a:custGeom>
                <a:avLst/>
                <a:gdLst>
                  <a:gd name="T0" fmla="*/ 79 w 81"/>
                  <a:gd name="T1" fmla="*/ 152 h 162"/>
                  <a:gd name="T2" fmla="*/ 81 w 81"/>
                  <a:gd name="T3" fmla="*/ 162 h 162"/>
                  <a:gd name="T4" fmla="*/ 81 w 81"/>
                  <a:gd name="T5" fmla="*/ 162 h 162"/>
                  <a:gd name="T6" fmla="*/ 79 w 81"/>
                  <a:gd name="T7" fmla="*/ 152 h 162"/>
                  <a:gd name="T8" fmla="*/ 48 w 81"/>
                  <a:gd name="T9" fmla="*/ 0 h 162"/>
                  <a:gd name="T10" fmla="*/ 0 w 81"/>
                  <a:gd name="T11" fmla="*/ 0 h 162"/>
                  <a:gd name="T12" fmla="*/ 14 w 81"/>
                  <a:gd name="T13" fmla="*/ 123 h 162"/>
                  <a:gd name="T14" fmla="*/ 73 w 81"/>
                  <a:gd name="T15" fmla="*/ 123 h 162"/>
                  <a:gd name="T16" fmla="*/ 48 w 81"/>
                  <a:gd name="T17"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162">
                    <a:moveTo>
                      <a:pt x="79" y="152"/>
                    </a:moveTo>
                    <a:lnTo>
                      <a:pt x="81" y="162"/>
                    </a:lnTo>
                    <a:lnTo>
                      <a:pt x="81" y="162"/>
                    </a:lnTo>
                    <a:lnTo>
                      <a:pt x="79" y="152"/>
                    </a:lnTo>
                    <a:moveTo>
                      <a:pt x="48" y="0"/>
                    </a:moveTo>
                    <a:lnTo>
                      <a:pt x="0" y="0"/>
                    </a:lnTo>
                    <a:lnTo>
                      <a:pt x="14" y="123"/>
                    </a:lnTo>
                    <a:lnTo>
                      <a:pt x="73" y="123"/>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1" name="íṩḷïďé">
                <a:extLst>
                  <a:ext uri="{FF2B5EF4-FFF2-40B4-BE49-F238E27FC236}">
                    <a16:creationId xmlns:a16="http://schemas.microsoft.com/office/drawing/2014/main" id="{16F53D3F-A31F-9447-999B-320294B3AC27}"/>
                  </a:ext>
                </a:extLst>
              </p:cNvPr>
              <p:cNvSpPr/>
              <p:nvPr/>
            </p:nvSpPr>
            <p:spPr bwMode="auto">
              <a:xfrm>
                <a:off x="6781920" y="4348161"/>
                <a:ext cx="106270" cy="103509"/>
              </a:xfrm>
              <a:custGeom>
                <a:avLst/>
                <a:gdLst>
                  <a:gd name="T0" fmla="*/ 60 w 77"/>
                  <a:gd name="T1" fmla="*/ 0 h 75"/>
                  <a:gd name="T2" fmla="*/ 60 w 77"/>
                  <a:gd name="T3" fmla="*/ 0 h 75"/>
                  <a:gd name="T4" fmla="*/ 62 w 77"/>
                  <a:gd name="T5" fmla="*/ 11 h 75"/>
                  <a:gd name="T6" fmla="*/ 0 w 77"/>
                  <a:gd name="T7" fmla="*/ 11 h 75"/>
                  <a:gd name="T8" fmla="*/ 8 w 77"/>
                  <a:gd name="T9" fmla="*/ 75 h 75"/>
                  <a:gd name="T10" fmla="*/ 77 w 77"/>
                  <a:gd name="T11" fmla="*/ 75 h 75"/>
                  <a:gd name="T12" fmla="*/ 60 w 77"/>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77" h="75">
                    <a:moveTo>
                      <a:pt x="60" y="0"/>
                    </a:moveTo>
                    <a:lnTo>
                      <a:pt x="60" y="0"/>
                    </a:lnTo>
                    <a:lnTo>
                      <a:pt x="62" y="11"/>
                    </a:lnTo>
                    <a:lnTo>
                      <a:pt x="0" y="11"/>
                    </a:lnTo>
                    <a:lnTo>
                      <a:pt x="8" y="75"/>
                    </a:lnTo>
                    <a:lnTo>
                      <a:pt x="77" y="75"/>
                    </a:lnTo>
                    <a:lnTo>
                      <a:pt x="60" y="0"/>
                    </a:lnTo>
                    <a:close/>
                  </a:path>
                </a:pathLst>
              </a:custGeom>
              <a:solidFill>
                <a:srgbClr val="D95F8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2" name="íşḻiḓè">
                <a:extLst>
                  <a:ext uri="{FF2B5EF4-FFF2-40B4-BE49-F238E27FC236}">
                    <a16:creationId xmlns:a16="http://schemas.microsoft.com/office/drawing/2014/main" id="{A986CC57-231B-614A-B49A-4C226F672909}"/>
                  </a:ext>
                </a:extLst>
              </p:cNvPr>
              <p:cNvSpPr/>
              <p:nvPr/>
            </p:nvSpPr>
            <p:spPr bwMode="auto">
              <a:xfrm>
                <a:off x="6781920" y="4348161"/>
                <a:ext cx="106270" cy="103509"/>
              </a:xfrm>
              <a:custGeom>
                <a:avLst/>
                <a:gdLst>
                  <a:gd name="T0" fmla="*/ 60 w 77"/>
                  <a:gd name="T1" fmla="*/ 0 h 75"/>
                  <a:gd name="T2" fmla="*/ 60 w 77"/>
                  <a:gd name="T3" fmla="*/ 0 h 75"/>
                  <a:gd name="T4" fmla="*/ 62 w 77"/>
                  <a:gd name="T5" fmla="*/ 11 h 75"/>
                  <a:gd name="T6" fmla="*/ 0 w 77"/>
                  <a:gd name="T7" fmla="*/ 11 h 75"/>
                  <a:gd name="T8" fmla="*/ 8 w 77"/>
                  <a:gd name="T9" fmla="*/ 75 h 75"/>
                  <a:gd name="T10" fmla="*/ 77 w 77"/>
                  <a:gd name="T11" fmla="*/ 75 h 75"/>
                  <a:gd name="T12" fmla="*/ 60 w 77"/>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77" h="75">
                    <a:moveTo>
                      <a:pt x="60" y="0"/>
                    </a:moveTo>
                    <a:lnTo>
                      <a:pt x="60" y="0"/>
                    </a:lnTo>
                    <a:lnTo>
                      <a:pt x="62" y="11"/>
                    </a:lnTo>
                    <a:lnTo>
                      <a:pt x="0" y="11"/>
                    </a:lnTo>
                    <a:lnTo>
                      <a:pt x="8" y="75"/>
                    </a:lnTo>
                    <a:lnTo>
                      <a:pt x="77" y="75"/>
                    </a:lnTo>
                    <a:lnTo>
                      <a:pt x="6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3" name="ïşļíďe">
                <a:extLst>
                  <a:ext uri="{FF2B5EF4-FFF2-40B4-BE49-F238E27FC236}">
                    <a16:creationId xmlns:a16="http://schemas.microsoft.com/office/drawing/2014/main" id="{594F7C1F-2D0E-614F-AE6C-2C57DA1824CE}"/>
                  </a:ext>
                </a:extLst>
              </p:cNvPr>
              <p:cNvSpPr/>
              <p:nvPr/>
            </p:nvSpPr>
            <p:spPr bwMode="auto">
              <a:xfrm>
                <a:off x="6772259" y="4294336"/>
                <a:ext cx="92468" cy="53825"/>
              </a:xfrm>
              <a:custGeom>
                <a:avLst/>
                <a:gdLst>
                  <a:gd name="T0" fmla="*/ 59 w 67"/>
                  <a:gd name="T1" fmla="*/ 0 h 39"/>
                  <a:gd name="T2" fmla="*/ 0 w 67"/>
                  <a:gd name="T3" fmla="*/ 0 h 39"/>
                  <a:gd name="T4" fmla="*/ 5 w 67"/>
                  <a:gd name="T5" fmla="*/ 39 h 39"/>
                  <a:gd name="T6" fmla="*/ 67 w 67"/>
                  <a:gd name="T7" fmla="*/ 39 h 39"/>
                  <a:gd name="T8" fmla="*/ 65 w 67"/>
                  <a:gd name="T9" fmla="*/ 29 h 39"/>
                  <a:gd name="T10" fmla="*/ 59 w 67"/>
                  <a:gd name="T11" fmla="*/ 0 h 39"/>
                </a:gdLst>
                <a:ahLst/>
                <a:cxnLst>
                  <a:cxn ang="0">
                    <a:pos x="T0" y="T1"/>
                  </a:cxn>
                  <a:cxn ang="0">
                    <a:pos x="T2" y="T3"/>
                  </a:cxn>
                  <a:cxn ang="0">
                    <a:pos x="T4" y="T5"/>
                  </a:cxn>
                  <a:cxn ang="0">
                    <a:pos x="T6" y="T7"/>
                  </a:cxn>
                  <a:cxn ang="0">
                    <a:pos x="T8" y="T9"/>
                  </a:cxn>
                  <a:cxn ang="0">
                    <a:pos x="T10" y="T11"/>
                  </a:cxn>
                </a:cxnLst>
                <a:rect l="0" t="0" r="r" b="b"/>
                <a:pathLst>
                  <a:path w="67" h="39">
                    <a:moveTo>
                      <a:pt x="59" y="0"/>
                    </a:moveTo>
                    <a:lnTo>
                      <a:pt x="0" y="0"/>
                    </a:lnTo>
                    <a:lnTo>
                      <a:pt x="5" y="39"/>
                    </a:lnTo>
                    <a:lnTo>
                      <a:pt x="67" y="39"/>
                    </a:lnTo>
                    <a:lnTo>
                      <a:pt x="65" y="29"/>
                    </a:lnTo>
                    <a:lnTo>
                      <a:pt x="59" y="0"/>
                    </a:lnTo>
                    <a:close/>
                  </a:path>
                </a:pathLst>
              </a:custGeom>
              <a:solidFill>
                <a:srgbClr val="B9516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4" name="íšľïḋê">
                <a:extLst>
                  <a:ext uri="{FF2B5EF4-FFF2-40B4-BE49-F238E27FC236}">
                    <a16:creationId xmlns:a16="http://schemas.microsoft.com/office/drawing/2014/main" id="{9BF62474-6DB4-F442-A8C0-6594AAD1485C}"/>
                  </a:ext>
                </a:extLst>
              </p:cNvPr>
              <p:cNvSpPr/>
              <p:nvPr/>
            </p:nvSpPr>
            <p:spPr bwMode="auto">
              <a:xfrm>
                <a:off x="6772259" y="4294336"/>
                <a:ext cx="92468" cy="53825"/>
              </a:xfrm>
              <a:custGeom>
                <a:avLst/>
                <a:gdLst>
                  <a:gd name="T0" fmla="*/ 59 w 67"/>
                  <a:gd name="T1" fmla="*/ 0 h 39"/>
                  <a:gd name="T2" fmla="*/ 0 w 67"/>
                  <a:gd name="T3" fmla="*/ 0 h 39"/>
                  <a:gd name="T4" fmla="*/ 5 w 67"/>
                  <a:gd name="T5" fmla="*/ 39 h 39"/>
                  <a:gd name="T6" fmla="*/ 67 w 67"/>
                  <a:gd name="T7" fmla="*/ 39 h 39"/>
                  <a:gd name="T8" fmla="*/ 65 w 67"/>
                  <a:gd name="T9" fmla="*/ 29 h 39"/>
                  <a:gd name="T10" fmla="*/ 59 w 67"/>
                  <a:gd name="T11" fmla="*/ 0 h 39"/>
                </a:gdLst>
                <a:ahLst/>
                <a:cxnLst>
                  <a:cxn ang="0">
                    <a:pos x="T0" y="T1"/>
                  </a:cxn>
                  <a:cxn ang="0">
                    <a:pos x="T2" y="T3"/>
                  </a:cxn>
                  <a:cxn ang="0">
                    <a:pos x="T4" y="T5"/>
                  </a:cxn>
                  <a:cxn ang="0">
                    <a:pos x="T6" y="T7"/>
                  </a:cxn>
                  <a:cxn ang="0">
                    <a:pos x="T8" y="T9"/>
                  </a:cxn>
                  <a:cxn ang="0">
                    <a:pos x="T10" y="T11"/>
                  </a:cxn>
                </a:cxnLst>
                <a:rect l="0" t="0" r="r" b="b"/>
                <a:pathLst>
                  <a:path w="67" h="39">
                    <a:moveTo>
                      <a:pt x="59" y="0"/>
                    </a:moveTo>
                    <a:lnTo>
                      <a:pt x="0" y="0"/>
                    </a:lnTo>
                    <a:lnTo>
                      <a:pt x="5" y="39"/>
                    </a:lnTo>
                    <a:lnTo>
                      <a:pt x="67" y="39"/>
                    </a:lnTo>
                    <a:lnTo>
                      <a:pt x="65" y="29"/>
                    </a:lnTo>
                    <a:lnTo>
                      <a:pt x="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5" name="ïš1îďe">
                <a:extLst>
                  <a:ext uri="{FF2B5EF4-FFF2-40B4-BE49-F238E27FC236}">
                    <a16:creationId xmlns:a16="http://schemas.microsoft.com/office/drawing/2014/main" id="{ACB6BD73-BE77-1A4A-A70E-DC1D1F5525F7}"/>
                  </a:ext>
                </a:extLst>
              </p:cNvPr>
              <p:cNvSpPr/>
              <p:nvPr/>
            </p:nvSpPr>
            <p:spPr bwMode="auto">
              <a:xfrm>
                <a:off x="6779160" y="4348161"/>
                <a:ext cx="88328" cy="15182"/>
              </a:xfrm>
              <a:custGeom>
                <a:avLst/>
                <a:gdLst>
                  <a:gd name="T0" fmla="*/ 62 w 64"/>
                  <a:gd name="T1" fmla="*/ 0 h 11"/>
                  <a:gd name="T2" fmla="*/ 0 w 64"/>
                  <a:gd name="T3" fmla="*/ 0 h 11"/>
                  <a:gd name="T4" fmla="*/ 2 w 64"/>
                  <a:gd name="T5" fmla="*/ 11 h 11"/>
                  <a:gd name="T6" fmla="*/ 64 w 64"/>
                  <a:gd name="T7" fmla="*/ 11 h 11"/>
                  <a:gd name="T8" fmla="*/ 62 w 64"/>
                  <a:gd name="T9" fmla="*/ 0 h 11"/>
                </a:gdLst>
                <a:ahLst/>
                <a:cxnLst>
                  <a:cxn ang="0">
                    <a:pos x="T0" y="T1"/>
                  </a:cxn>
                  <a:cxn ang="0">
                    <a:pos x="T2" y="T3"/>
                  </a:cxn>
                  <a:cxn ang="0">
                    <a:pos x="T4" y="T5"/>
                  </a:cxn>
                  <a:cxn ang="0">
                    <a:pos x="T6" y="T7"/>
                  </a:cxn>
                  <a:cxn ang="0">
                    <a:pos x="T8" y="T9"/>
                  </a:cxn>
                </a:cxnLst>
                <a:rect l="0" t="0" r="r" b="b"/>
                <a:pathLst>
                  <a:path w="64" h="11">
                    <a:moveTo>
                      <a:pt x="62" y="0"/>
                    </a:moveTo>
                    <a:lnTo>
                      <a:pt x="0" y="0"/>
                    </a:lnTo>
                    <a:lnTo>
                      <a:pt x="2" y="11"/>
                    </a:lnTo>
                    <a:lnTo>
                      <a:pt x="64" y="11"/>
                    </a:lnTo>
                    <a:lnTo>
                      <a:pt x="62" y="0"/>
                    </a:lnTo>
                    <a:close/>
                  </a:path>
                </a:pathLst>
              </a:custGeom>
              <a:solidFill>
                <a:srgbClr val="B9516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6" name="íṥḻîḋe">
                <a:extLst>
                  <a:ext uri="{FF2B5EF4-FFF2-40B4-BE49-F238E27FC236}">
                    <a16:creationId xmlns:a16="http://schemas.microsoft.com/office/drawing/2014/main" id="{F25FFC9C-CA0D-0144-A391-AF9BF8129DB3}"/>
                  </a:ext>
                </a:extLst>
              </p:cNvPr>
              <p:cNvSpPr/>
              <p:nvPr/>
            </p:nvSpPr>
            <p:spPr bwMode="auto">
              <a:xfrm>
                <a:off x="6779160" y="4348161"/>
                <a:ext cx="88328" cy="15182"/>
              </a:xfrm>
              <a:custGeom>
                <a:avLst/>
                <a:gdLst>
                  <a:gd name="T0" fmla="*/ 62 w 64"/>
                  <a:gd name="T1" fmla="*/ 0 h 11"/>
                  <a:gd name="T2" fmla="*/ 0 w 64"/>
                  <a:gd name="T3" fmla="*/ 0 h 11"/>
                  <a:gd name="T4" fmla="*/ 2 w 64"/>
                  <a:gd name="T5" fmla="*/ 11 h 11"/>
                  <a:gd name="T6" fmla="*/ 64 w 64"/>
                  <a:gd name="T7" fmla="*/ 11 h 11"/>
                  <a:gd name="T8" fmla="*/ 62 w 64"/>
                  <a:gd name="T9" fmla="*/ 0 h 11"/>
                </a:gdLst>
                <a:ahLst/>
                <a:cxnLst>
                  <a:cxn ang="0">
                    <a:pos x="T0" y="T1"/>
                  </a:cxn>
                  <a:cxn ang="0">
                    <a:pos x="T2" y="T3"/>
                  </a:cxn>
                  <a:cxn ang="0">
                    <a:pos x="T4" y="T5"/>
                  </a:cxn>
                  <a:cxn ang="0">
                    <a:pos x="T6" y="T7"/>
                  </a:cxn>
                  <a:cxn ang="0">
                    <a:pos x="T8" y="T9"/>
                  </a:cxn>
                </a:cxnLst>
                <a:rect l="0" t="0" r="r" b="b"/>
                <a:pathLst>
                  <a:path w="64" h="11">
                    <a:moveTo>
                      <a:pt x="62" y="0"/>
                    </a:moveTo>
                    <a:lnTo>
                      <a:pt x="0" y="0"/>
                    </a:lnTo>
                    <a:lnTo>
                      <a:pt x="2" y="11"/>
                    </a:lnTo>
                    <a:lnTo>
                      <a:pt x="64" y="11"/>
                    </a:lnTo>
                    <a:lnTo>
                      <a:pt x="6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7" name="îṩ1ïḋè">
                <a:extLst>
                  <a:ext uri="{FF2B5EF4-FFF2-40B4-BE49-F238E27FC236}">
                    <a16:creationId xmlns:a16="http://schemas.microsoft.com/office/drawing/2014/main" id="{AB95958C-F76F-BB4C-A3F7-92088E917899}"/>
                  </a:ext>
                </a:extLst>
              </p:cNvPr>
              <p:cNvSpPr/>
              <p:nvPr/>
            </p:nvSpPr>
            <p:spPr bwMode="auto">
              <a:xfrm>
                <a:off x="6093240" y="4319178"/>
                <a:ext cx="1870063" cy="627955"/>
              </a:xfrm>
              <a:custGeom>
                <a:avLst/>
                <a:gdLst>
                  <a:gd name="T0" fmla="*/ 505 w 652"/>
                  <a:gd name="T1" fmla="*/ 23 h 219"/>
                  <a:gd name="T2" fmla="*/ 464 w 652"/>
                  <a:gd name="T3" fmla="*/ 46 h 219"/>
                  <a:gd name="T4" fmla="*/ 0 w 652"/>
                  <a:gd name="T5" fmla="*/ 46 h 219"/>
                  <a:gd name="T6" fmla="*/ 35 w 652"/>
                  <a:gd name="T7" fmla="*/ 129 h 219"/>
                  <a:gd name="T8" fmla="*/ 56 w 652"/>
                  <a:gd name="T9" fmla="*/ 143 h 219"/>
                  <a:gd name="T10" fmla="*/ 77 w 652"/>
                  <a:gd name="T11" fmla="*/ 157 h 219"/>
                  <a:gd name="T12" fmla="*/ 102 w 652"/>
                  <a:gd name="T13" fmla="*/ 219 h 219"/>
                  <a:gd name="T14" fmla="*/ 523 w 652"/>
                  <a:gd name="T15" fmla="*/ 219 h 219"/>
                  <a:gd name="T16" fmla="*/ 652 w 652"/>
                  <a:gd name="T17" fmla="*/ 0 h 219"/>
                  <a:gd name="T18" fmla="*/ 545 w 652"/>
                  <a:gd name="T19" fmla="*/ 0 h 219"/>
                  <a:gd name="T20" fmla="*/ 505 w 652"/>
                  <a:gd name="T21" fmla="*/ 23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2" h="219">
                    <a:moveTo>
                      <a:pt x="505" y="23"/>
                    </a:moveTo>
                    <a:cubicBezTo>
                      <a:pt x="496" y="37"/>
                      <a:pt x="481" y="46"/>
                      <a:pt x="464" y="46"/>
                    </a:cubicBezTo>
                    <a:cubicBezTo>
                      <a:pt x="0" y="46"/>
                      <a:pt x="0" y="46"/>
                      <a:pt x="0" y="46"/>
                    </a:cubicBezTo>
                    <a:cubicBezTo>
                      <a:pt x="35" y="129"/>
                      <a:pt x="35" y="129"/>
                      <a:pt x="35" y="129"/>
                    </a:cubicBezTo>
                    <a:cubicBezTo>
                      <a:pt x="39" y="138"/>
                      <a:pt x="47" y="143"/>
                      <a:pt x="56" y="143"/>
                    </a:cubicBezTo>
                    <a:cubicBezTo>
                      <a:pt x="65" y="143"/>
                      <a:pt x="74" y="149"/>
                      <a:pt x="77" y="157"/>
                    </a:cubicBezTo>
                    <a:cubicBezTo>
                      <a:pt x="102" y="219"/>
                      <a:pt x="102" y="219"/>
                      <a:pt x="102" y="219"/>
                    </a:cubicBezTo>
                    <a:cubicBezTo>
                      <a:pt x="523" y="219"/>
                      <a:pt x="523" y="219"/>
                      <a:pt x="523" y="219"/>
                    </a:cubicBezTo>
                    <a:cubicBezTo>
                      <a:pt x="652" y="0"/>
                      <a:pt x="652" y="0"/>
                      <a:pt x="652" y="0"/>
                    </a:cubicBezTo>
                    <a:cubicBezTo>
                      <a:pt x="545" y="0"/>
                      <a:pt x="545" y="0"/>
                      <a:pt x="545" y="0"/>
                    </a:cubicBezTo>
                    <a:cubicBezTo>
                      <a:pt x="529" y="0"/>
                      <a:pt x="513" y="9"/>
                      <a:pt x="505" y="23"/>
                    </a:cubicBezTo>
                  </a:path>
                </a:pathLst>
              </a:custGeom>
              <a:solidFill>
                <a:srgbClr val="FF70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8" name="ïs1íḓé">
                <a:extLst>
                  <a:ext uri="{FF2B5EF4-FFF2-40B4-BE49-F238E27FC236}">
                    <a16:creationId xmlns:a16="http://schemas.microsoft.com/office/drawing/2014/main" id="{9E98B681-58A5-014A-8961-0526501AF9BA}"/>
                  </a:ext>
                </a:extLst>
              </p:cNvPr>
              <p:cNvSpPr/>
              <p:nvPr/>
            </p:nvSpPr>
            <p:spPr bwMode="auto">
              <a:xfrm>
                <a:off x="6093240" y="4319178"/>
                <a:ext cx="1870063" cy="223579"/>
              </a:xfrm>
              <a:custGeom>
                <a:avLst/>
                <a:gdLst>
                  <a:gd name="T0" fmla="*/ 505 w 652"/>
                  <a:gd name="T1" fmla="*/ 23 h 78"/>
                  <a:gd name="T2" fmla="*/ 464 w 652"/>
                  <a:gd name="T3" fmla="*/ 46 h 78"/>
                  <a:gd name="T4" fmla="*/ 0 w 652"/>
                  <a:gd name="T5" fmla="*/ 46 h 78"/>
                  <a:gd name="T6" fmla="*/ 14 w 652"/>
                  <a:gd name="T7" fmla="*/ 78 h 78"/>
                  <a:gd name="T8" fmla="*/ 606 w 652"/>
                  <a:gd name="T9" fmla="*/ 78 h 78"/>
                  <a:gd name="T10" fmla="*/ 652 w 652"/>
                  <a:gd name="T11" fmla="*/ 0 h 78"/>
                  <a:gd name="T12" fmla="*/ 545 w 652"/>
                  <a:gd name="T13" fmla="*/ 0 h 78"/>
                  <a:gd name="T14" fmla="*/ 505 w 652"/>
                  <a:gd name="T15" fmla="*/ 23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2" h="78">
                    <a:moveTo>
                      <a:pt x="505" y="23"/>
                    </a:moveTo>
                    <a:cubicBezTo>
                      <a:pt x="496" y="37"/>
                      <a:pt x="481" y="46"/>
                      <a:pt x="464" y="46"/>
                    </a:cubicBezTo>
                    <a:cubicBezTo>
                      <a:pt x="0" y="46"/>
                      <a:pt x="0" y="46"/>
                      <a:pt x="0" y="46"/>
                    </a:cubicBezTo>
                    <a:cubicBezTo>
                      <a:pt x="14" y="78"/>
                      <a:pt x="14" y="78"/>
                      <a:pt x="14" y="78"/>
                    </a:cubicBezTo>
                    <a:cubicBezTo>
                      <a:pt x="606" y="78"/>
                      <a:pt x="606" y="78"/>
                      <a:pt x="606" y="78"/>
                    </a:cubicBezTo>
                    <a:cubicBezTo>
                      <a:pt x="652" y="0"/>
                      <a:pt x="652" y="0"/>
                      <a:pt x="652" y="0"/>
                    </a:cubicBezTo>
                    <a:cubicBezTo>
                      <a:pt x="545" y="0"/>
                      <a:pt x="545" y="0"/>
                      <a:pt x="545" y="0"/>
                    </a:cubicBezTo>
                    <a:cubicBezTo>
                      <a:pt x="529" y="0"/>
                      <a:pt x="513" y="9"/>
                      <a:pt x="505" y="23"/>
                    </a:cubicBezTo>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9" name="îSļiḋê">
                <a:extLst>
                  <a:ext uri="{FF2B5EF4-FFF2-40B4-BE49-F238E27FC236}">
                    <a16:creationId xmlns:a16="http://schemas.microsoft.com/office/drawing/2014/main" id="{2FC90BD3-C79B-FA41-BC6C-3AD5CD75CEA1}"/>
                  </a:ext>
                </a:extLst>
              </p:cNvPr>
              <p:cNvSpPr/>
              <p:nvPr/>
            </p:nvSpPr>
            <p:spPr bwMode="auto">
              <a:xfrm>
                <a:off x="6325100" y="4798080"/>
                <a:ext cx="1356659" cy="149053"/>
              </a:xfrm>
              <a:custGeom>
                <a:avLst/>
                <a:gdLst>
                  <a:gd name="T0" fmla="*/ 0 w 983"/>
                  <a:gd name="T1" fmla="*/ 0 h 108"/>
                  <a:gd name="T2" fmla="*/ 44 w 983"/>
                  <a:gd name="T3" fmla="*/ 108 h 108"/>
                  <a:gd name="T4" fmla="*/ 919 w 983"/>
                  <a:gd name="T5" fmla="*/ 108 h 108"/>
                  <a:gd name="T6" fmla="*/ 983 w 983"/>
                  <a:gd name="T7" fmla="*/ 0 h 108"/>
                  <a:gd name="T8" fmla="*/ 0 w 983"/>
                  <a:gd name="T9" fmla="*/ 0 h 108"/>
                </a:gdLst>
                <a:ahLst/>
                <a:cxnLst>
                  <a:cxn ang="0">
                    <a:pos x="T0" y="T1"/>
                  </a:cxn>
                  <a:cxn ang="0">
                    <a:pos x="T2" y="T3"/>
                  </a:cxn>
                  <a:cxn ang="0">
                    <a:pos x="T4" y="T5"/>
                  </a:cxn>
                  <a:cxn ang="0">
                    <a:pos x="T6" y="T7"/>
                  </a:cxn>
                  <a:cxn ang="0">
                    <a:pos x="T8" y="T9"/>
                  </a:cxn>
                </a:cxnLst>
                <a:rect l="0" t="0" r="r" b="b"/>
                <a:pathLst>
                  <a:path w="983" h="108">
                    <a:moveTo>
                      <a:pt x="0" y="0"/>
                    </a:moveTo>
                    <a:lnTo>
                      <a:pt x="44" y="108"/>
                    </a:lnTo>
                    <a:lnTo>
                      <a:pt x="919" y="108"/>
                    </a:lnTo>
                    <a:lnTo>
                      <a:pt x="983" y="0"/>
                    </a:lnTo>
                    <a:lnTo>
                      <a:pt x="0" y="0"/>
                    </a:ln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0" name="iṡ1ïďe">
                <a:extLst>
                  <a:ext uri="{FF2B5EF4-FFF2-40B4-BE49-F238E27FC236}">
                    <a16:creationId xmlns:a16="http://schemas.microsoft.com/office/drawing/2014/main" id="{FCDB773B-12E4-4741-8143-3214938490AF}"/>
                  </a:ext>
                </a:extLst>
              </p:cNvPr>
              <p:cNvSpPr/>
              <p:nvPr/>
            </p:nvSpPr>
            <p:spPr bwMode="auto">
              <a:xfrm>
                <a:off x="6325100" y="4798080"/>
                <a:ext cx="1356659" cy="149053"/>
              </a:xfrm>
              <a:custGeom>
                <a:avLst/>
                <a:gdLst>
                  <a:gd name="T0" fmla="*/ 0 w 983"/>
                  <a:gd name="T1" fmla="*/ 0 h 108"/>
                  <a:gd name="T2" fmla="*/ 44 w 983"/>
                  <a:gd name="T3" fmla="*/ 108 h 108"/>
                  <a:gd name="T4" fmla="*/ 919 w 983"/>
                  <a:gd name="T5" fmla="*/ 108 h 108"/>
                  <a:gd name="T6" fmla="*/ 983 w 983"/>
                  <a:gd name="T7" fmla="*/ 0 h 108"/>
                  <a:gd name="T8" fmla="*/ 0 w 983"/>
                  <a:gd name="T9" fmla="*/ 0 h 108"/>
                </a:gdLst>
                <a:ahLst/>
                <a:cxnLst>
                  <a:cxn ang="0">
                    <a:pos x="T0" y="T1"/>
                  </a:cxn>
                  <a:cxn ang="0">
                    <a:pos x="T2" y="T3"/>
                  </a:cxn>
                  <a:cxn ang="0">
                    <a:pos x="T4" y="T5"/>
                  </a:cxn>
                  <a:cxn ang="0">
                    <a:pos x="T6" y="T7"/>
                  </a:cxn>
                  <a:cxn ang="0">
                    <a:pos x="T8" y="T9"/>
                  </a:cxn>
                </a:cxnLst>
                <a:rect l="0" t="0" r="r" b="b"/>
                <a:pathLst>
                  <a:path w="983" h="108">
                    <a:moveTo>
                      <a:pt x="0" y="0"/>
                    </a:moveTo>
                    <a:lnTo>
                      <a:pt x="44" y="108"/>
                    </a:lnTo>
                    <a:lnTo>
                      <a:pt x="919" y="108"/>
                    </a:lnTo>
                    <a:lnTo>
                      <a:pt x="983"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1" name="íṧ1ïḓe">
                <a:extLst>
                  <a:ext uri="{FF2B5EF4-FFF2-40B4-BE49-F238E27FC236}">
                    <a16:creationId xmlns:a16="http://schemas.microsoft.com/office/drawing/2014/main" id="{B65F61E0-96F7-AB44-9BDB-5F24B03EEF0C}"/>
                  </a:ext>
                </a:extLst>
              </p:cNvPr>
              <p:cNvSpPr/>
              <p:nvPr/>
            </p:nvSpPr>
            <p:spPr bwMode="auto">
              <a:xfrm>
                <a:off x="7183535" y="4319178"/>
                <a:ext cx="779768" cy="478902"/>
              </a:xfrm>
              <a:custGeom>
                <a:avLst/>
                <a:gdLst>
                  <a:gd name="T0" fmla="*/ 272 w 272"/>
                  <a:gd name="T1" fmla="*/ 0 h 167"/>
                  <a:gd name="T2" fmla="*/ 226 w 272"/>
                  <a:gd name="T3" fmla="*/ 78 h 167"/>
                  <a:gd name="T4" fmla="*/ 160 w 272"/>
                  <a:gd name="T5" fmla="*/ 78 h 167"/>
                  <a:gd name="T6" fmla="*/ 0 w 272"/>
                  <a:gd name="T7" fmla="*/ 167 h 167"/>
                  <a:gd name="T8" fmla="*/ 174 w 272"/>
                  <a:gd name="T9" fmla="*/ 167 h 167"/>
                  <a:gd name="T10" fmla="*/ 272 w 272"/>
                  <a:gd name="T11" fmla="*/ 0 h 167"/>
                </a:gdLst>
                <a:ahLst/>
                <a:cxnLst>
                  <a:cxn ang="0">
                    <a:pos x="T0" y="T1"/>
                  </a:cxn>
                  <a:cxn ang="0">
                    <a:pos x="T2" y="T3"/>
                  </a:cxn>
                  <a:cxn ang="0">
                    <a:pos x="T4" y="T5"/>
                  </a:cxn>
                  <a:cxn ang="0">
                    <a:pos x="T6" y="T7"/>
                  </a:cxn>
                  <a:cxn ang="0">
                    <a:pos x="T8" y="T9"/>
                  </a:cxn>
                  <a:cxn ang="0">
                    <a:pos x="T10" y="T11"/>
                  </a:cxn>
                </a:cxnLst>
                <a:rect l="0" t="0" r="r" b="b"/>
                <a:pathLst>
                  <a:path w="272" h="167">
                    <a:moveTo>
                      <a:pt x="272" y="0"/>
                    </a:moveTo>
                    <a:cubicBezTo>
                      <a:pt x="226" y="78"/>
                      <a:pt x="226" y="78"/>
                      <a:pt x="226" y="78"/>
                    </a:cubicBezTo>
                    <a:cubicBezTo>
                      <a:pt x="160" y="78"/>
                      <a:pt x="160" y="78"/>
                      <a:pt x="160" y="78"/>
                    </a:cubicBezTo>
                    <a:cubicBezTo>
                      <a:pt x="130" y="115"/>
                      <a:pt x="74" y="146"/>
                      <a:pt x="0" y="167"/>
                    </a:cubicBezTo>
                    <a:cubicBezTo>
                      <a:pt x="174" y="167"/>
                      <a:pt x="174" y="167"/>
                      <a:pt x="174" y="167"/>
                    </a:cubicBezTo>
                    <a:cubicBezTo>
                      <a:pt x="272" y="0"/>
                      <a:pt x="272" y="0"/>
                      <a:pt x="272" y="0"/>
                    </a:cubicBezTo>
                  </a:path>
                </a:pathLst>
              </a:custGeom>
              <a:solidFill>
                <a:srgbClr val="D95F8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2" name="ísḷíḑè">
                <a:extLst>
                  <a:ext uri="{FF2B5EF4-FFF2-40B4-BE49-F238E27FC236}">
                    <a16:creationId xmlns:a16="http://schemas.microsoft.com/office/drawing/2014/main" id="{8D6C34C2-2BE5-984E-A280-B3521617F645}"/>
                  </a:ext>
                </a:extLst>
              </p:cNvPr>
              <p:cNvSpPr/>
              <p:nvPr/>
            </p:nvSpPr>
            <p:spPr bwMode="auto">
              <a:xfrm>
                <a:off x="7641735" y="4319178"/>
                <a:ext cx="321568" cy="223579"/>
              </a:xfrm>
              <a:custGeom>
                <a:avLst/>
                <a:gdLst>
                  <a:gd name="T0" fmla="*/ 112 w 112"/>
                  <a:gd name="T1" fmla="*/ 0 h 78"/>
                  <a:gd name="T2" fmla="*/ 53 w 112"/>
                  <a:gd name="T3" fmla="*/ 0 h 78"/>
                  <a:gd name="T4" fmla="*/ 27 w 112"/>
                  <a:gd name="T5" fmla="*/ 0 h 78"/>
                  <a:gd name="T6" fmla="*/ 21 w 112"/>
                  <a:gd name="T7" fmla="*/ 0 h 78"/>
                  <a:gd name="T8" fmla="*/ 23 w 112"/>
                  <a:gd name="T9" fmla="*/ 19 h 78"/>
                  <a:gd name="T10" fmla="*/ 0 w 112"/>
                  <a:gd name="T11" fmla="*/ 78 h 78"/>
                  <a:gd name="T12" fmla="*/ 66 w 112"/>
                  <a:gd name="T13" fmla="*/ 78 h 78"/>
                  <a:gd name="T14" fmla="*/ 112 w 112"/>
                  <a:gd name="T15" fmla="*/ 0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78">
                    <a:moveTo>
                      <a:pt x="112" y="0"/>
                    </a:moveTo>
                    <a:cubicBezTo>
                      <a:pt x="53" y="0"/>
                      <a:pt x="53" y="0"/>
                      <a:pt x="53" y="0"/>
                    </a:cubicBezTo>
                    <a:cubicBezTo>
                      <a:pt x="27" y="0"/>
                      <a:pt x="27" y="0"/>
                      <a:pt x="27" y="0"/>
                    </a:cubicBezTo>
                    <a:cubicBezTo>
                      <a:pt x="21" y="0"/>
                      <a:pt x="21" y="0"/>
                      <a:pt x="21" y="0"/>
                    </a:cubicBezTo>
                    <a:cubicBezTo>
                      <a:pt x="22" y="7"/>
                      <a:pt x="23" y="13"/>
                      <a:pt x="23" y="19"/>
                    </a:cubicBezTo>
                    <a:cubicBezTo>
                      <a:pt x="23" y="40"/>
                      <a:pt x="15" y="60"/>
                      <a:pt x="0" y="78"/>
                    </a:cubicBezTo>
                    <a:cubicBezTo>
                      <a:pt x="66" y="78"/>
                      <a:pt x="66" y="78"/>
                      <a:pt x="66" y="78"/>
                    </a:cubicBezTo>
                    <a:cubicBezTo>
                      <a:pt x="112" y="0"/>
                      <a:pt x="112" y="0"/>
                      <a:pt x="112" y="0"/>
                    </a:cubicBezTo>
                  </a:path>
                </a:pathLst>
              </a:custGeom>
              <a:solidFill>
                <a:srgbClr val="0031A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3" name="iṣļïde">
                <a:extLst>
                  <a:ext uri="{FF2B5EF4-FFF2-40B4-BE49-F238E27FC236}">
                    <a16:creationId xmlns:a16="http://schemas.microsoft.com/office/drawing/2014/main" id="{508ADA07-116D-4C43-B6ED-51E2521A0024}"/>
                  </a:ext>
                </a:extLst>
              </p:cNvPr>
              <p:cNvSpPr/>
              <p:nvPr/>
            </p:nvSpPr>
            <p:spPr bwMode="auto">
              <a:xfrm>
                <a:off x="6476914" y="4798080"/>
                <a:ext cx="1204845" cy="149053"/>
              </a:xfrm>
              <a:custGeom>
                <a:avLst/>
                <a:gdLst>
                  <a:gd name="T0" fmla="*/ 0 w 420"/>
                  <a:gd name="T1" fmla="*/ 40 h 52"/>
                  <a:gd name="T2" fmla="*/ 0 w 420"/>
                  <a:gd name="T3" fmla="*/ 42 h 52"/>
                  <a:gd name="T4" fmla="*/ 1 w 420"/>
                  <a:gd name="T5" fmla="*/ 52 h 52"/>
                  <a:gd name="T6" fmla="*/ 8 w 420"/>
                  <a:gd name="T7" fmla="*/ 52 h 52"/>
                  <a:gd name="T8" fmla="*/ 0 w 420"/>
                  <a:gd name="T9" fmla="*/ 40 h 52"/>
                  <a:gd name="T10" fmla="*/ 420 w 420"/>
                  <a:gd name="T11" fmla="*/ 0 h 52"/>
                  <a:gd name="T12" fmla="*/ 246 w 420"/>
                  <a:gd name="T13" fmla="*/ 0 h 52"/>
                  <a:gd name="T14" fmla="*/ 91 w 420"/>
                  <a:gd name="T15" fmla="*/ 28 h 52"/>
                  <a:gd name="T16" fmla="*/ 102 w 420"/>
                  <a:gd name="T17" fmla="*/ 52 h 52"/>
                  <a:gd name="T18" fmla="*/ 389 w 420"/>
                  <a:gd name="T19" fmla="*/ 52 h 52"/>
                  <a:gd name="T20" fmla="*/ 420 w 420"/>
                  <a:gd name="T2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0" h="52">
                    <a:moveTo>
                      <a:pt x="0" y="40"/>
                    </a:moveTo>
                    <a:cubicBezTo>
                      <a:pt x="0" y="41"/>
                      <a:pt x="0" y="42"/>
                      <a:pt x="0" y="42"/>
                    </a:cubicBezTo>
                    <a:cubicBezTo>
                      <a:pt x="1" y="52"/>
                      <a:pt x="1" y="52"/>
                      <a:pt x="1" y="52"/>
                    </a:cubicBezTo>
                    <a:cubicBezTo>
                      <a:pt x="8" y="52"/>
                      <a:pt x="8" y="52"/>
                      <a:pt x="8" y="52"/>
                    </a:cubicBezTo>
                    <a:cubicBezTo>
                      <a:pt x="6" y="48"/>
                      <a:pt x="3" y="44"/>
                      <a:pt x="0" y="40"/>
                    </a:cubicBezTo>
                    <a:moveTo>
                      <a:pt x="420" y="0"/>
                    </a:moveTo>
                    <a:cubicBezTo>
                      <a:pt x="246" y="0"/>
                      <a:pt x="246" y="0"/>
                      <a:pt x="246" y="0"/>
                    </a:cubicBezTo>
                    <a:cubicBezTo>
                      <a:pt x="200" y="14"/>
                      <a:pt x="148" y="23"/>
                      <a:pt x="91" y="28"/>
                    </a:cubicBezTo>
                    <a:cubicBezTo>
                      <a:pt x="95" y="36"/>
                      <a:pt x="99" y="44"/>
                      <a:pt x="102" y="52"/>
                    </a:cubicBezTo>
                    <a:cubicBezTo>
                      <a:pt x="389" y="52"/>
                      <a:pt x="389" y="52"/>
                      <a:pt x="389" y="52"/>
                    </a:cubicBezTo>
                    <a:cubicBezTo>
                      <a:pt x="420" y="0"/>
                      <a:pt x="420" y="0"/>
                      <a:pt x="420" y="0"/>
                    </a:cubicBezTo>
                  </a:path>
                </a:pathLst>
              </a:custGeom>
              <a:solidFill>
                <a:srgbClr val="0031A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4" name="ïś1íḓê">
                <a:extLst>
                  <a:ext uri="{FF2B5EF4-FFF2-40B4-BE49-F238E27FC236}">
                    <a16:creationId xmlns:a16="http://schemas.microsoft.com/office/drawing/2014/main" id="{7D9D4774-FF31-F54F-BE30-622EAEC08FB8}"/>
                  </a:ext>
                </a:extLst>
              </p:cNvPr>
              <p:cNvSpPr/>
              <p:nvPr/>
            </p:nvSpPr>
            <p:spPr bwMode="auto">
              <a:xfrm>
                <a:off x="6641147" y="4050055"/>
                <a:ext cx="48305" cy="74526"/>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615" name="îśľïḑê">
                <a:extLst>
                  <a:ext uri="{FF2B5EF4-FFF2-40B4-BE49-F238E27FC236}">
                    <a16:creationId xmlns:a16="http://schemas.microsoft.com/office/drawing/2014/main" id="{AC33079A-6AEA-C649-9409-4A4CDDA81A71}"/>
                  </a:ext>
                </a:extLst>
              </p:cNvPr>
              <p:cNvSpPr/>
              <p:nvPr/>
            </p:nvSpPr>
            <p:spPr bwMode="auto">
              <a:xfrm>
                <a:off x="6641147" y="4050055"/>
                <a:ext cx="48305" cy="74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616" name="ïšľïḍè">
                <a:extLst>
                  <a:ext uri="{FF2B5EF4-FFF2-40B4-BE49-F238E27FC236}">
                    <a16:creationId xmlns:a16="http://schemas.microsoft.com/office/drawing/2014/main" id="{A0EE795A-4E92-6C46-AA2E-64E7737EDEBA}"/>
                  </a:ext>
                </a:extLst>
              </p:cNvPr>
              <p:cNvSpPr/>
              <p:nvPr/>
            </p:nvSpPr>
            <p:spPr bwMode="auto">
              <a:xfrm>
                <a:off x="5459765" y="3769890"/>
                <a:ext cx="234620" cy="175276"/>
              </a:xfrm>
              <a:custGeom>
                <a:avLst/>
                <a:gdLst>
                  <a:gd name="T0" fmla="*/ 31 w 82"/>
                  <a:gd name="T1" fmla="*/ 61 h 61"/>
                  <a:gd name="T2" fmla="*/ 82 w 82"/>
                  <a:gd name="T3" fmla="*/ 61 h 61"/>
                  <a:gd name="T4" fmla="*/ 82 w 82"/>
                  <a:gd name="T5" fmla="*/ 0 h 61"/>
                  <a:gd name="T6" fmla="*/ 31 w 82"/>
                  <a:gd name="T7" fmla="*/ 0 h 61"/>
                  <a:gd name="T8" fmla="*/ 0 w 82"/>
                  <a:gd name="T9" fmla="*/ 30 h 61"/>
                  <a:gd name="T10" fmla="*/ 31 w 82"/>
                  <a:gd name="T11" fmla="*/ 61 h 61"/>
                </a:gdLst>
                <a:ahLst/>
                <a:cxnLst>
                  <a:cxn ang="0">
                    <a:pos x="T0" y="T1"/>
                  </a:cxn>
                  <a:cxn ang="0">
                    <a:pos x="T2" y="T3"/>
                  </a:cxn>
                  <a:cxn ang="0">
                    <a:pos x="T4" y="T5"/>
                  </a:cxn>
                  <a:cxn ang="0">
                    <a:pos x="T6" y="T7"/>
                  </a:cxn>
                  <a:cxn ang="0">
                    <a:pos x="T8" y="T9"/>
                  </a:cxn>
                  <a:cxn ang="0">
                    <a:pos x="T10" y="T11"/>
                  </a:cxn>
                </a:cxnLst>
                <a:rect l="0" t="0" r="r" b="b"/>
                <a:pathLst>
                  <a:path w="82" h="61">
                    <a:moveTo>
                      <a:pt x="31" y="61"/>
                    </a:moveTo>
                    <a:cubicBezTo>
                      <a:pt x="82" y="61"/>
                      <a:pt x="82" y="61"/>
                      <a:pt x="82" y="61"/>
                    </a:cubicBezTo>
                    <a:cubicBezTo>
                      <a:pt x="82" y="0"/>
                      <a:pt x="82" y="0"/>
                      <a:pt x="82" y="0"/>
                    </a:cubicBezTo>
                    <a:cubicBezTo>
                      <a:pt x="31" y="0"/>
                      <a:pt x="31" y="0"/>
                      <a:pt x="31" y="0"/>
                    </a:cubicBezTo>
                    <a:cubicBezTo>
                      <a:pt x="14" y="0"/>
                      <a:pt x="0" y="14"/>
                      <a:pt x="0" y="30"/>
                    </a:cubicBezTo>
                    <a:cubicBezTo>
                      <a:pt x="0" y="47"/>
                      <a:pt x="14" y="61"/>
                      <a:pt x="31" y="61"/>
                    </a:cubicBezTo>
                  </a:path>
                </a:pathLst>
              </a:custGeom>
              <a:solidFill>
                <a:srgbClr val="ED7A9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7" name="íSľïdé">
                <a:extLst>
                  <a:ext uri="{FF2B5EF4-FFF2-40B4-BE49-F238E27FC236}">
                    <a16:creationId xmlns:a16="http://schemas.microsoft.com/office/drawing/2014/main" id="{C5D15B3D-1FB2-DC4D-B5B1-69C703239651}"/>
                  </a:ext>
                </a:extLst>
              </p:cNvPr>
              <p:cNvSpPr/>
              <p:nvPr/>
            </p:nvSpPr>
            <p:spPr bwMode="auto">
              <a:xfrm>
                <a:off x="5497028" y="4342641"/>
                <a:ext cx="1353898" cy="1472589"/>
              </a:xfrm>
              <a:custGeom>
                <a:avLst/>
                <a:gdLst>
                  <a:gd name="T0" fmla="*/ 410 w 472"/>
                  <a:gd name="T1" fmla="*/ 149 h 514"/>
                  <a:gd name="T2" fmla="*/ 242 w 472"/>
                  <a:gd name="T3" fmla="*/ 14 h 514"/>
                  <a:gd name="T4" fmla="*/ 230 w 472"/>
                  <a:gd name="T5" fmla="*/ 9 h 514"/>
                  <a:gd name="T6" fmla="*/ 184 w 472"/>
                  <a:gd name="T7" fmla="*/ 47 h 514"/>
                  <a:gd name="T8" fmla="*/ 141 w 472"/>
                  <a:gd name="T9" fmla="*/ 85 h 514"/>
                  <a:gd name="T10" fmla="*/ 100 w 472"/>
                  <a:gd name="T11" fmla="*/ 10 h 514"/>
                  <a:gd name="T12" fmla="*/ 0 w 472"/>
                  <a:gd name="T13" fmla="*/ 137 h 514"/>
                  <a:gd name="T14" fmla="*/ 16 w 472"/>
                  <a:gd name="T15" fmla="*/ 485 h 514"/>
                  <a:gd name="T16" fmla="*/ 358 w 472"/>
                  <a:gd name="T17" fmla="*/ 494 h 514"/>
                  <a:gd name="T18" fmla="*/ 351 w 472"/>
                  <a:gd name="T19" fmla="*/ 423 h 514"/>
                  <a:gd name="T20" fmla="*/ 367 w 472"/>
                  <a:gd name="T21" fmla="*/ 424 h 514"/>
                  <a:gd name="T22" fmla="*/ 470 w 472"/>
                  <a:gd name="T23" fmla="*/ 326 h 514"/>
                  <a:gd name="T24" fmla="*/ 410 w 472"/>
                  <a:gd name="T25" fmla="*/ 149 h 514"/>
                  <a:gd name="T26" fmla="*/ 394 w 472"/>
                  <a:gd name="T27" fmla="*/ 341 h 514"/>
                  <a:gd name="T28" fmla="*/ 348 w 472"/>
                  <a:gd name="T29" fmla="*/ 349 h 514"/>
                  <a:gd name="T30" fmla="*/ 342 w 472"/>
                  <a:gd name="T31" fmla="*/ 201 h 514"/>
                  <a:gd name="T32" fmla="*/ 342 w 472"/>
                  <a:gd name="T33" fmla="*/ 199 h 514"/>
                  <a:gd name="T34" fmla="*/ 372 w 472"/>
                  <a:gd name="T35" fmla="*/ 248 h 514"/>
                  <a:gd name="T36" fmla="*/ 394 w 472"/>
                  <a:gd name="T37" fmla="*/ 341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2" h="514">
                    <a:moveTo>
                      <a:pt x="410" y="149"/>
                    </a:moveTo>
                    <a:cubicBezTo>
                      <a:pt x="368" y="89"/>
                      <a:pt x="309" y="42"/>
                      <a:pt x="242" y="14"/>
                    </a:cubicBezTo>
                    <a:cubicBezTo>
                      <a:pt x="238" y="13"/>
                      <a:pt x="234" y="11"/>
                      <a:pt x="230" y="9"/>
                    </a:cubicBezTo>
                    <a:cubicBezTo>
                      <a:pt x="222" y="6"/>
                      <a:pt x="203" y="27"/>
                      <a:pt x="184" y="47"/>
                    </a:cubicBezTo>
                    <a:cubicBezTo>
                      <a:pt x="167" y="66"/>
                      <a:pt x="149" y="85"/>
                      <a:pt x="141" y="85"/>
                    </a:cubicBezTo>
                    <a:cubicBezTo>
                      <a:pt x="112" y="83"/>
                      <a:pt x="125" y="0"/>
                      <a:pt x="100" y="10"/>
                    </a:cubicBezTo>
                    <a:cubicBezTo>
                      <a:pt x="44" y="32"/>
                      <a:pt x="4" y="79"/>
                      <a:pt x="0" y="137"/>
                    </a:cubicBezTo>
                    <a:cubicBezTo>
                      <a:pt x="16" y="485"/>
                      <a:pt x="16" y="485"/>
                      <a:pt x="16" y="485"/>
                    </a:cubicBezTo>
                    <a:cubicBezTo>
                      <a:pt x="129" y="502"/>
                      <a:pt x="247" y="514"/>
                      <a:pt x="358" y="494"/>
                    </a:cubicBezTo>
                    <a:cubicBezTo>
                      <a:pt x="351" y="423"/>
                      <a:pt x="351" y="423"/>
                      <a:pt x="351" y="423"/>
                    </a:cubicBezTo>
                    <a:cubicBezTo>
                      <a:pt x="357" y="424"/>
                      <a:pt x="362" y="424"/>
                      <a:pt x="367" y="424"/>
                    </a:cubicBezTo>
                    <a:cubicBezTo>
                      <a:pt x="426" y="424"/>
                      <a:pt x="472" y="387"/>
                      <a:pt x="470" y="326"/>
                    </a:cubicBezTo>
                    <a:cubicBezTo>
                      <a:pt x="468" y="262"/>
                      <a:pt x="446" y="201"/>
                      <a:pt x="410" y="149"/>
                    </a:cubicBezTo>
                    <a:moveTo>
                      <a:pt x="394" y="341"/>
                    </a:moveTo>
                    <a:cubicBezTo>
                      <a:pt x="389" y="353"/>
                      <a:pt x="378" y="353"/>
                      <a:pt x="348" y="349"/>
                    </a:cubicBezTo>
                    <a:cubicBezTo>
                      <a:pt x="342" y="201"/>
                      <a:pt x="342" y="201"/>
                      <a:pt x="342" y="201"/>
                    </a:cubicBezTo>
                    <a:cubicBezTo>
                      <a:pt x="342" y="201"/>
                      <a:pt x="342" y="200"/>
                      <a:pt x="342" y="199"/>
                    </a:cubicBezTo>
                    <a:cubicBezTo>
                      <a:pt x="353" y="215"/>
                      <a:pt x="363" y="231"/>
                      <a:pt x="372" y="248"/>
                    </a:cubicBezTo>
                    <a:cubicBezTo>
                      <a:pt x="399" y="303"/>
                      <a:pt x="397" y="333"/>
                      <a:pt x="394" y="3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8" name="ïśľiďé">
                <a:extLst>
                  <a:ext uri="{FF2B5EF4-FFF2-40B4-BE49-F238E27FC236}">
                    <a16:creationId xmlns:a16="http://schemas.microsoft.com/office/drawing/2014/main" id="{1A13C898-6A67-0947-8F6D-FF96327FAF8F}"/>
                  </a:ext>
                </a:extLst>
              </p:cNvPr>
              <p:cNvSpPr/>
              <p:nvPr/>
            </p:nvSpPr>
            <p:spPr bwMode="auto">
              <a:xfrm>
                <a:off x="5803415" y="3921703"/>
                <a:ext cx="313288" cy="673499"/>
              </a:xfrm>
              <a:custGeom>
                <a:avLst/>
                <a:gdLst>
                  <a:gd name="T0" fmla="*/ 106 w 109"/>
                  <a:gd name="T1" fmla="*/ 27 h 235"/>
                  <a:gd name="T2" fmla="*/ 1 w 109"/>
                  <a:gd name="T3" fmla="*/ 0 h 235"/>
                  <a:gd name="T4" fmla="*/ 0 w 109"/>
                  <a:gd name="T5" fmla="*/ 152 h 235"/>
                  <a:gd name="T6" fmla="*/ 34 w 109"/>
                  <a:gd name="T7" fmla="*/ 232 h 235"/>
                  <a:gd name="T8" fmla="*/ 109 w 109"/>
                  <a:gd name="T9" fmla="*/ 157 h 235"/>
                  <a:gd name="T10" fmla="*/ 106 w 109"/>
                  <a:gd name="T11" fmla="*/ 27 h 235"/>
                </a:gdLst>
                <a:ahLst/>
                <a:cxnLst>
                  <a:cxn ang="0">
                    <a:pos x="T0" y="T1"/>
                  </a:cxn>
                  <a:cxn ang="0">
                    <a:pos x="T2" y="T3"/>
                  </a:cxn>
                  <a:cxn ang="0">
                    <a:pos x="T4" y="T5"/>
                  </a:cxn>
                  <a:cxn ang="0">
                    <a:pos x="T6" y="T7"/>
                  </a:cxn>
                  <a:cxn ang="0">
                    <a:pos x="T8" y="T9"/>
                  </a:cxn>
                  <a:cxn ang="0">
                    <a:pos x="T10" y="T11"/>
                  </a:cxn>
                </a:cxnLst>
                <a:rect l="0" t="0" r="r" b="b"/>
                <a:pathLst>
                  <a:path w="109" h="235">
                    <a:moveTo>
                      <a:pt x="106" y="27"/>
                    </a:moveTo>
                    <a:cubicBezTo>
                      <a:pt x="1" y="0"/>
                      <a:pt x="1" y="0"/>
                      <a:pt x="1" y="0"/>
                    </a:cubicBezTo>
                    <a:cubicBezTo>
                      <a:pt x="0" y="152"/>
                      <a:pt x="0" y="152"/>
                      <a:pt x="0" y="152"/>
                    </a:cubicBezTo>
                    <a:cubicBezTo>
                      <a:pt x="0" y="155"/>
                      <a:pt x="10" y="228"/>
                      <a:pt x="34" y="232"/>
                    </a:cubicBezTo>
                    <a:cubicBezTo>
                      <a:pt x="54" y="235"/>
                      <a:pt x="87" y="171"/>
                      <a:pt x="109" y="157"/>
                    </a:cubicBezTo>
                    <a:lnTo>
                      <a:pt x="106" y="27"/>
                    </a:lnTo>
                    <a:close/>
                  </a:path>
                </a:pathLst>
              </a:custGeom>
              <a:solidFill>
                <a:srgbClr val="ED7A9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9" name="íslïdé">
                <a:extLst>
                  <a:ext uri="{FF2B5EF4-FFF2-40B4-BE49-F238E27FC236}">
                    <a16:creationId xmlns:a16="http://schemas.microsoft.com/office/drawing/2014/main" id="{8CAB799F-4FAF-8440-9836-F75099A41A98}"/>
                  </a:ext>
                </a:extLst>
              </p:cNvPr>
              <p:cNvSpPr/>
              <p:nvPr/>
            </p:nvSpPr>
            <p:spPr bwMode="auto">
              <a:xfrm>
                <a:off x="6505896" y="5557146"/>
                <a:ext cx="0" cy="28983"/>
              </a:xfrm>
              <a:custGeom>
                <a:avLst/>
                <a:gdLst>
                  <a:gd name="T0" fmla="*/ 0 h 10"/>
                  <a:gd name="T1" fmla="*/ 10 h 10"/>
                  <a:gd name="T2" fmla="*/ 0 h 10"/>
                </a:gdLst>
                <a:ahLst/>
                <a:cxnLst>
                  <a:cxn ang="0">
                    <a:pos x="0" y="T0"/>
                  </a:cxn>
                  <a:cxn ang="0">
                    <a:pos x="0" y="T1"/>
                  </a:cxn>
                  <a:cxn ang="0">
                    <a:pos x="0" y="T2"/>
                  </a:cxn>
                </a:cxnLst>
                <a:rect l="0" t="0" r="r" b="b"/>
                <a:pathLst>
                  <a:path h="10">
                    <a:moveTo>
                      <a:pt x="0" y="0"/>
                    </a:moveTo>
                    <a:cubicBezTo>
                      <a:pt x="0" y="10"/>
                      <a:pt x="0" y="10"/>
                      <a:pt x="0" y="10"/>
                    </a:cubicBezTo>
                    <a:cubicBezTo>
                      <a:pt x="0" y="4"/>
                      <a:pt x="0" y="0"/>
                      <a:pt x="0" y="0"/>
                    </a:cubicBezTo>
                  </a:path>
                </a:pathLst>
              </a:custGeom>
              <a:solidFill>
                <a:srgbClr val="799B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0" name="ïş1ídè">
                <a:extLst>
                  <a:ext uri="{FF2B5EF4-FFF2-40B4-BE49-F238E27FC236}">
                    <a16:creationId xmlns:a16="http://schemas.microsoft.com/office/drawing/2014/main" id="{98081E80-4405-0B45-8E0C-4766115966D6}"/>
                  </a:ext>
                </a:extLst>
              </p:cNvPr>
              <p:cNvSpPr/>
              <p:nvPr/>
            </p:nvSpPr>
            <p:spPr bwMode="auto">
              <a:xfrm>
                <a:off x="6007673" y="5282502"/>
                <a:ext cx="503744" cy="426458"/>
              </a:xfrm>
              <a:custGeom>
                <a:avLst/>
                <a:gdLst>
                  <a:gd name="T0" fmla="*/ 0 w 176"/>
                  <a:gd name="T1" fmla="*/ 0 h 149"/>
                  <a:gd name="T2" fmla="*/ 113 w 176"/>
                  <a:gd name="T3" fmla="*/ 149 h 149"/>
                  <a:gd name="T4" fmla="*/ 176 w 176"/>
                  <a:gd name="T5" fmla="*/ 140 h 149"/>
                  <a:gd name="T6" fmla="*/ 174 w 176"/>
                  <a:gd name="T7" fmla="*/ 106 h 149"/>
                  <a:gd name="T8" fmla="*/ 174 w 176"/>
                  <a:gd name="T9" fmla="*/ 96 h 149"/>
                  <a:gd name="T10" fmla="*/ 173 w 176"/>
                  <a:gd name="T11" fmla="*/ 96 h 149"/>
                  <a:gd name="T12" fmla="*/ 162 w 176"/>
                  <a:gd name="T13" fmla="*/ 97 h 149"/>
                  <a:gd name="T14" fmla="*/ 0 w 176"/>
                  <a:gd name="T15" fmla="*/ 0 h 1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6" h="149">
                    <a:moveTo>
                      <a:pt x="0" y="0"/>
                    </a:moveTo>
                    <a:cubicBezTo>
                      <a:pt x="19" y="79"/>
                      <a:pt x="54" y="128"/>
                      <a:pt x="113" y="149"/>
                    </a:cubicBezTo>
                    <a:cubicBezTo>
                      <a:pt x="134" y="147"/>
                      <a:pt x="155" y="144"/>
                      <a:pt x="176" y="140"/>
                    </a:cubicBezTo>
                    <a:cubicBezTo>
                      <a:pt x="175" y="129"/>
                      <a:pt x="175" y="115"/>
                      <a:pt x="174" y="106"/>
                    </a:cubicBezTo>
                    <a:cubicBezTo>
                      <a:pt x="174" y="96"/>
                      <a:pt x="174" y="96"/>
                      <a:pt x="174" y="96"/>
                    </a:cubicBezTo>
                    <a:cubicBezTo>
                      <a:pt x="173" y="96"/>
                      <a:pt x="173" y="96"/>
                      <a:pt x="173" y="96"/>
                    </a:cubicBezTo>
                    <a:cubicBezTo>
                      <a:pt x="170" y="96"/>
                      <a:pt x="166" y="97"/>
                      <a:pt x="162" y="97"/>
                    </a:cubicBezTo>
                    <a:cubicBezTo>
                      <a:pt x="102" y="97"/>
                      <a:pt x="29" y="53"/>
                      <a:pt x="0"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1" name="ïṩļîḍê">
                <a:extLst>
                  <a:ext uri="{FF2B5EF4-FFF2-40B4-BE49-F238E27FC236}">
                    <a16:creationId xmlns:a16="http://schemas.microsoft.com/office/drawing/2014/main" id="{F15C17C7-C7D0-6D47-893B-7EB33CC85083}"/>
                  </a:ext>
                </a:extLst>
              </p:cNvPr>
              <p:cNvSpPr/>
              <p:nvPr/>
            </p:nvSpPr>
            <p:spPr bwMode="auto">
              <a:xfrm>
                <a:off x="5502549" y="4385424"/>
                <a:ext cx="263603" cy="1616121"/>
              </a:xfrm>
              <a:custGeom>
                <a:avLst/>
                <a:gdLst>
                  <a:gd name="T0" fmla="*/ 92 w 92"/>
                  <a:gd name="T1" fmla="*/ 564 h 564"/>
                  <a:gd name="T2" fmla="*/ 89 w 92"/>
                  <a:gd name="T3" fmla="*/ 0 h 564"/>
                  <a:gd name="T4" fmla="*/ 40 w 92"/>
                  <a:gd name="T5" fmla="*/ 25 h 564"/>
                  <a:gd name="T6" fmla="*/ 9 w 92"/>
                  <a:gd name="T7" fmla="*/ 564 h 564"/>
                  <a:gd name="T8" fmla="*/ 92 w 92"/>
                  <a:gd name="T9" fmla="*/ 564 h 564"/>
                </a:gdLst>
                <a:ahLst/>
                <a:cxnLst>
                  <a:cxn ang="0">
                    <a:pos x="T0" y="T1"/>
                  </a:cxn>
                  <a:cxn ang="0">
                    <a:pos x="T2" y="T3"/>
                  </a:cxn>
                  <a:cxn ang="0">
                    <a:pos x="T4" y="T5"/>
                  </a:cxn>
                  <a:cxn ang="0">
                    <a:pos x="T6" y="T7"/>
                  </a:cxn>
                  <a:cxn ang="0">
                    <a:pos x="T8" y="T9"/>
                  </a:cxn>
                </a:cxnLst>
                <a:rect l="0" t="0" r="r" b="b"/>
                <a:pathLst>
                  <a:path w="92" h="564">
                    <a:moveTo>
                      <a:pt x="92" y="564"/>
                    </a:moveTo>
                    <a:cubicBezTo>
                      <a:pt x="75" y="359"/>
                      <a:pt x="80" y="212"/>
                      <a:pt x="89" y="0"/>
                    </a:cubicBezTo>
                    <a:cubicBezTo>
                      <a:pt x="80" y="0"/>
                      <a:pt x="42" y="17"/>
                      <a:pt x="40" y="25"/>
                    </a:cubicBezTo>
                    <a:cubicBezTo>
                      <a:pt x="11" y="202"/>
                      <a:pt x="0" y="384"/>
                      <a:pt x="9" y="564"/>
                    </a:cubicBezTo>
                    <a:cubicBezTo>
                      <a:pt x="92" y="564"/>
                      <a:pt x="92" y="564"/>
                      <a:pt x="92" y="564"/>
                    </a:cubicBezTo>
                  </a:path>
                </a:pathLst>
              </a:custGeom>
              <a:solidFill>
                <a:srgbClr val="FFB94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2" name="ï$liḑe">
                <a:extLst>
                  <a:ext uri="{FF2B5EF4-FFF2-40B4-BE49-F238E27FC236}">
                    <a16:creationId xmlns:a16="http://schemas.microsoft.com/office/drawing/2014/main" id="{1FE9F287-245D-2F4E-AA0D-BEACA9BE8A5D}"/>
                  </a:ext>
                </a:extLst>
              </p:cNvPr>
              <p:cNvSpPr/>
              <p:nvPr/>
            </p:nvSpPr>
            <p:spPr bwMode="auto">
              <a:xfrm>
                <a:off x="5835157" y="4542758"/>
                <a:ext cx="162854" cy="146293"/>
              </a:xfrm>
              <a:custGeom>
                <a:avLst/>
                <a:gdLst>
                  <a:gd name="T0" fmla="*/ 0 w 118"/>
                  <a:gd name="T1" fmla="*/ 0 h 106"/>
                  <a:gd name="T2" fmla="*/ 12 w 118"/>
                  <a:gd name="T3" fmla="*/ 106 h 106"/>
                  <a:gd name="T4" fmla="*/ 85 w 118"/>
                  <a:gd name="T5" fmla="*/ 106 h 106"/>
                  <a:gd name="T6" fmla="*/ 118 w 118"/>
                  <a:gd name="T7" fmla="*/ 7 h 106"/>
                  <a:gd name="T8" fmla="*/ 0 w 118"/>
                  <a:gd name="T9" fmla="*/ 0 h 106"/>
                </a:gdLst>
                <a:ahLst/>
                <a:cxnLst>
                  <a:cxn ang="0">
                    <a:pos x="T0" y="T1"/>
                  </a:cxn>
                  <a:cxn ang="0">
                    <a:pos x="T2" y="T3"/>
                  </a:cxn>
                  <a:cxn ang="0">
                    <a:pos x="T4" y="T5"/>
                  </a:cxn>
                  <a:cxn ang="0">
                    <a:pos x="T6" y="T7"/>
                  </a:cxn>
                  <a:cxn ang="0">
                    <a:pos x="T8" y="T9"/>
                  </a:cxn>
                </a:cxnLst>
                <a:rect l="0" t="0" r="r" b="b"/>
                <a:pathLst>
                  <a:path w="118" h="106">
                    <a:moveTo>
                      <a:pt x="0" y="0"/>
                    </a:moveTo>
                    <a:lnTo>
                      <a:pt x="12" y="106"/>
                    </a:lnTo>
                    <a:lnTo>
                      <a:pt x="85" y="106"/>
                    </a:lnTo>
                    <a:lnTo>
                      <a:pt x="118" y="7"/>
                    </a:lnTo>
                    <a:lnTo>
                      <a:pt x="0" y="0"/>
                    </a:lnTo>
                    <a:close/>
                  </a:path>
                </a:pathLst>
              </a:custGeom>
              <a:solidFill>
                <a:srgbClr val="597FD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3" name="îšlîḑé">
                <a:extLst>
                  <a:ext uri="{FF2B5EF4-FFF2-40B4-BE49-F238E27FC236}">
                    <a16:creationId xmlns:a16="http://schemas.microsoft.com/office/drawing/2014/main" id="{7627B2A3-92B1-DB4F-9AE8-C4033FC7A671}"/>
                  </a:ext>
                </a:extLst>
              </p:cNvPr>
              <p:cNvSpPr/>
              <p:nvPr/>
            </p:nvSpPr>
            <p:spPr bwMode="auto">
              <a:xfrm>
                <a:off x="5901403" y="4273635"/>
                <a:ext cx="300866" cy="415417"/>
              </a:xfrm>
              <a:custGeom>
                <a:avLst/>
                <a:gdLst>
                  <a:gd name="T0" fmla="*/ 162 w 218"/>
                  <a:gd name="T1" fmla="*/ 0 h 301"/>
                  <a:gd name="T2" fmla="*/ 218 w 218"/>
                  <a:gd name="T3" fmla="*/ 79 h 301"/>
                  <a:gd name="T4" fmla="*/ 97 w 218"/>
                  <a:gd name="T5" fmla="*/ 301 h 301"/>
                  <a:gd name="T6" fmla="*/ 0 w 218"/>
                  <a:gd name="T7" fmla="*/ 200 h 301"/>
                  <a:gd name="T8" fmla="*/ 162 w 218"/>
                  <a:gd name="T9" fmla="*/ 0 h 301"/>
                </a:gdLst>
                <a:ahLst/>
                <a:cxnLst>
                  <a:cxn ang="0">
                    <a:pos x="T0" y="T1"/>
                  </a:cxn>
                  <a:cxn ang="0">
                    <a:pos x="T2" y="T3"/>
                  </a:cxn>
                  <a:cxn ang="0">
                    <a:pos x="T4" y="T5"/>
                  </a:cxn>
                  <a:cxn ang="0">
                    <a:pos x="T6" y="T7"/>
                  </a:cxn>
                  <a:cxn ang="0">
                    <a:pos x="T8" y="T9"/>
                  </a:cxn>
                </a:cxnLst>
                <a:rect l="0" t="0" r="r" b="b"/>
                <a:pathLst>
                  <a:path w="218" h="301">
                    <a:moveTo>
                      <a:pt x="162" y="0"/>
                    </a:moveTo>
                    <a:lnTo>
                      <a:pt x="218" y="79"/>
                    </a:lnTo>
                    <a:lnTo>
                      <a:pt x="97" y="301"/>
                    </a:lnTo>
                    <a:lnTo>
                      <a:pt x="0" y="200"/>
                    </a:lnTo>
                    <a:lnTo>
                      <a:pt x="162" y="0"/>
                    </a:lnTo>
                    <a:close/>
                  </a:path>
                </a:pathLst>
              </a:custGeom>
              <a:solidFill>
                <a:srgbClr val="BFCEE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4" name="íṥlïḑè">
                <a:extLst>
                  <a:ext uri="{FF2B5EF4-FFF2-40B4-BE49-F238E27FC236}">
                    <a16:creationId xmlns:a16="http://schemas.microsoft.com/office/drawing/2014/main" id="{C9AD6BB8-B240-6B47-81CB-97D95E754B28}"/>
                  </a:ext>
                </a:extLst>
              </p:cNvPr>
              <p:cNvSpPr/>
              <p:nvPr/>
            </p:nvSpPr>
            <p:spPr bwMode="auto">
              <a:xfrm>
                <a:off x="5744069" y="4299856"/>
                <a:ext cx="157334" cy="364352"/>
              </a:xfrm>
              <a:custGeom>
                <a:avLst/>
                <a:gdLst>
                  <a:gd name="T0" fmla="*/ 43 w 114"/>
                  <a:gd name="T1" fmla="*/ 0 h 264"/>
                  <a:gd name="T2" fmla="*/ 0 w 114"/>
                  <a:gd name="T3" fmla="*/ 66 h 264"/>
                  <a:gd name="T4" fmla="*/ 20 w 114"/>
                  <a:gd name="T5" fmla="*/ 264 h 264"/>
                  <a:gd name="T6" fmla="*/ 114 w 114"/>
                  <a:gd name="T7" fmla="*/ 181 h 264"/>
                  <a:gd name="T8" fmla="*/ 43 w 114"/>
                  <a:gd name="T9" fmla="*/ 0 h 264"/>
                </a:gdLst>
                <a:ahLst/>
                <a:cxnLst>
                  <a:cxn ang="0">
                    <a:pos x="T0" y="T1"/>
                  </a:cxn>
                  <a:cxn ang="0">
                    <a:pos x="T2" y="T3"/>
                  </a:cxn>
                  <a:cxn ang="0">
                    <a:pos x="T4" y="T5"/>
                  </a:cxn>
                  <a:cxn ang="0">
                    <a:pos x="T6" y="T7"/>
                  </a:cxn>
                  <a:cxn ang="0">
                    <a:pos x="T8" y="T9"/>
                  </a:cxn>
                </a:cxnLst>
                <a:rect l="0" t="0" r="r" b="b"/>
                <a:pathLst>
                  <a:path w="114" h="264">
                    <a:moveTo>
                      <a:pt x="43" y="0"/>
                    </a:moveTo>
                    <a:lnTo>
                      <a:pt x="0" y="66"/>
                    </a:lnTo>
                    <a:lnTo>
                      <a:pt x="20" y="264"/>
                    </a:lnTo>
                    <a:lnTo>
                      <a:pt x="114" y="181"/>
                    </a:lnTo>
                    <a:lnTo>
                      <a:pt x="43" y="0"/>
                    </a:lnTo>
                    <a:close/>
                  </a:path>
                </a:pathLst>
              </a:custGeom>
              <a:solidFill>
                <a:srgbClr val="BFCEE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5" name="îSḷïdè">
                <a:extLst>
                  <a:ext uri="{FF2B5EF4-FFF2-40B4-BE49-F238E27FC236}">
                    <a16:creationId xmlns:a16="http://schemas.microsoft.com/office/drawing/2014/main" id="{50CE930E-6920-F340-853D-71EECA8896C4}"/>
                  </a:ext>
                </a:extLst>
              </p:cNvPr>
              <p:cNvSpPr/>
              <p:nvPr/>
            </p:nvSpPr>
            <p:spPr bwMode="auto">
              <a:xfrm>
                <a:off x="5835157" y="4689050"/>
                <a:ext cx="169755" cy="1149641"/>
              </a:xfrm>
              <a:custGeom>
                <a:avLst/>
                <a:gdLst>
                  <a:gd name="T0" fmla="*/ 0 w 123"/>
                  <a:gd name="T1" fmla="*/ 833 h 833"/>
                  <a:gd name="T2" fmla="*/ 12 w 123"/>
                  <a:gd name="T3" fmla="*/ 0 h 833"/>
                  <a:gd name="T4" fmla="*/ 85 w 123"/>
                  <a:gd name="T5" fmla="*/ 0 h 833"/>
                  <a:gd name="T6" fmla="*/ 123 w 123"/>
                  <a:gd name="T7" fmla="*/ 801 h 833"/>
                  <a:gd name="T8" fmla="*/ 0 w 123"/>
                  <a:gd name="T9" fmla="*/ 833 h 833"/>
                </a:gdLst>
                <a:ahLst/>
                <a:cxnLst>
                  <a:cxn ang="0">
                    <a:pos x="T0" y="T1"/>
                  </a:cxn>
                  <a:cxn ang="0">
                    <a:pos x="T2" y="T3"/>
                  </a:cxn>
                  <a:cxn ang="0">
                    <a:pos x="T4" y="T5"/>
                  </a:cxn>
                  <a:cxn ang="0">
                    <a:pos x="T6" y="T7"/>
                  </a:cxn>
                  <a:cxn ang="0">
                    <a:pos x="T8" y="T9"/>
                  </a:cxn>
                </a:cxnLst>
                <a:rect l="0" t="0" r="r" b="b"/>
                <a:pathLst>
                  <a:path w="123" h="833">
                    <a:moveTo>
                      <a:pt x="0" y="833"/>
                    </a:moveTo>
                    <a:lnTo>
                      <a:pt x="12" y="0"/>
                    </a:lnTo>
                    <a:lnTo>
                      <a:pt x="85" y="0"/>
                    </a:lnTo>
                    <a:lnTo>
                      <a:pt x="123" y="801"/>
                    </a:lnTo>
                    <a:lnTo>
                      <a:pt x="0" y="833"/>
                    </a:lnTo>
                    <a:close/>
                  </a:path>
                </a:pathLst>
              </a:custGeom>
              <a:solidFill>
                <a:srgbClr val="597FD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6" name="ísḻidé">
                <a:extLst>
                  <a:ext uri="{FF2B5EF4-FFF2-40B4-BE49-F238E27FC236}">
                    <a16:creationId xmlns:a16="http://schemas.microsoft.com/office/drawing/2014/main" id="{F929E792-C620-DD43-8908-2C4CEF364F04}"/>
                  </a:ext>
                </a:extLst>
              </p:cNvPr>
              <p:cNvSpPr/>
              <p:nvPr/>
            </p:nvSpPr>
            <p:spPr bwMode="auto">
              <a:xfrm>
                <a:off x="5835157" y="4689050"/>
                <a:ext cx="169755" cy="1149641"/>
              </a:xfrm>
              <a:custGeom>
                <a:avLst/>
                <a:gdLst>
                  <a:gd name="T0" fmla="*/ 0 w 123"/>
                  <a:gd name="T1" fmla="*/ 833 h 833"/>
                  <a:gd name="T2" fmla="*/ 12 w 123"/>
                  <a:gd name="T3" fmla="*/ 0 h 833"/>
                  <a:gd name="T4" fmla="*/ 85 w 123"/>
                  <a:gd name="T5" fmla="*/ 0 h 833"/>
                  <a:gd name="T6" fmla="*/ 123 w 123"/>
                  <a:gd name="T7" fmla="*/ 801 h 833"/>
                  <a:gd name="T8" fmla="*/ 0 w 123"/>
                  <a:gd name="T9" fmla="*/ 833 h 833"/>
                </a:gdLst>
                <a:ahLst/>
                <a:cxnLst>
                  <a:cxn ang="0">
                    <a:pos x="T0" y="T1"/>
                  </a:cxn>
                  <a:cxn ang="0">
                    <a:pos x="T2" y="T3"/>
                  </a:cxn>
                  <a:cxn ang="0">
                    <a:pos x="T4" y="T5"/>
                  </a:cxn>
                  <a:cxn ang="0">
                    <a:pos x="T6" y="T7"/>
                  </a:cxn>
                  <a:cxn ang="0">
                    <a:pos x="T8" y="T9"/>
                  </a:cxn>
                </a:cxnLst>
                <a:rect l="0" t="0" r="r" b="b"/>
                <a:pathLst>
                  <a:path w="123" h="833">
                    <a:moveTo>
                      <a:pt x="0" y="833"/>
                    </a:moveTo>
                    <a:lnTo>
                      <a:pt x="12" y="0"/>
                    </a:lnTo>
                    <a:lnTo>
                      <a:pt x="85" y="0"/>
                    </a:lnTo>
                    <a:lnTo>
                      <a:pt x="123" y="801"/>
                    </a:lnTo>
                    <a:lnTo>
                      <a:pt x="0" y="83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7" name="i$ḷîḋê">
                <a:extLst>
                  <a:ext uri="{FF2B5EF4-FFF2-40B4-BE49-F238E27FC236}">
                    <a16:creationId xmlns:a16="http://schemas.microsoft.com/office/drawing/2014/main" id="{8C78C416-1913-EF42-9CCF-3E6CCFF85F5E}"/>
                  </a:ext>
                </a:extLst>
              </p:cNvPr>
              <p:cNvSpPr/>
              <p:nvPr/>
            </p:nvSpPr>
            <p:spPr bwMode="auto">
              <a:xfrm>
                <a:off x="5100933" y="4582781"/>
                <a:ext cx="869476" cy="865336"/>
              </a:xfrm>
              <a:custGeom>
                <a:avLst/>
                <a:gdLst>
                  <a:gd name="T0" fmla="*/ 630 w 630"/>
                  <a:gd name="T1" fmla="*/ 627 h 627"/>
                  <a:gd name="T2" fmla="*/ 170 w 630"/>
                  <a:gd name="T3" fmla="*/ 627 h 627"/>
                  <a:gd name="T4" fmla="*/ 0 w 630"/>
                  <a:gd name="T5" fmla="*/ 0 h 627"/>
                  <a:gd name="T6" fmla="*/ 459 w 630"/>
                  <a:gd name="T7" fmla="*/ 0 h 627"/>
                  <a:gd name="T8" fmla="*/ 630 w 630"/>
                  <a:gd name="T9" fmla="*/ 627 h 627"/>
                </a:gdLst>
                <a:ahLst/>
                <a:cxnLst>
                  <a:cxn ang="0">
                    <a:pos x="T0" y="T1"/>
                  </a:cxn>
                  <a:cxn ang="0">
                    <a:pos x="T2" y="T3"/>
                  </a:cxn>
                  <a:cxn ang="0">
                    <a:pos x="T4" y="T5"/>
                  </a:cxn>
                  <a:cxn ang="0">
                    <a:pos x="T6" y="T7"/>
                  </a:cxn>
                  <a:cxn ang="0">
                    <a:pos x="T8" y="T9"/>
                  </a:cxn>
                </a:cxnLst>
                <a:rect l="0" t="0" r="r" b="b"/>
                <a:pathLst>
                  <a:path w="630" h="627">
                    <a:moveTo>
                      <a:pt x="630" y="627"/>
                    </a:moveTo>
                    <a:lnTo>
                      <a:pt x="170" y="627"/>
                    </a:lnTo>
                    <a:lnTo>
                      <a:pt x="0" y="0"/>
                    </a:lnTo>
                    <a:lnTo>
                      <a:pt x="459" y="0"/>
                    </a:lnTo>
                    <a:lnTo>
                      <a:pt x="630" y="627"/>
                    </a:ln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8" name="ísļiḋè">
                <a:extLst>
                  <a:ext uri="{FF2B5EF4-FFF2-40B4-BE49-F238E27FC236}">
                    <a16:creationId xmlns:a16="http://schemas.microsoft.com/office/drawing/2014/main" id="{47FA7A85-4140-924C-8954-12748AD4ECAF}"/>
                  </a:ext>
                </a:extLst>
              </p:cNvPr>
              <p:cNvSpPr/>
              <p:nvPr/>
            </p:nvSpPr>
            <p:spPr bwMode="auto">
              <a:xfrm>
                <a:off x="5100933" y="4582781"/>
                <a:ext cx="869476" cy="865336"/>
              </a:xfrm>
              <a:custGeom>
                <a:avLst/>
                <a:gdLst>
                  <a:gd name="T0" fmla="*/ 630 w 630"/>
                  <a:gd name="T1" fmla="*/ 627 h 627"/>
                  <a:gd name="T2" fmla="*/ 170 w 630"/>
                  <a:gd name="T3" fmla="*/ 627 h 627"/>
                  <a:gd name="T4" fmla="*/ 0 w 630"/>
                  <a:gd name="T5" fmla="*/ 0 h 627"/>
                  <a:gd name="T6" fmla="*/ 459 w 630"/>
                  <a:gd name="T7" fmla="*/ 0 h 627"/>
                  <a:gd name="T8" fmla="*/ 630 w 630"/>
                  <a:gd name="T9" fmla="*/ 627 h 627"/>
                </a:gdLst>
                <a:ahLst/>
                <a:cxnLst>
                  <a:cxn ang="0">
                    <a:pos x="T0" y="T1"/>
                  </a:cxn>
                  <a:cxn ang="0">
                    <a:pos x="T2" y="T3"/>
                  </a:cxn>
                  <a:cxn ang="0">
                    <a:pos x="T4" y="T5"/>
                  </a:cxn>
                  <a:cxn ang="0">
                    <a:pos x="T6" y="T7"/>
                  </a:cxn>
                  <a:cxn ang="0">
                    <a:pos x="T8" y="T9"/>
                  </a:cxn>
                </a:cxnLst>
                <a:rect l="0" t="0" r="r" b="b"/>
                <a:pathLst>
                  <a:path w="630" h="627">
                    <a:moveTo>
                      <a:pt x="630" y="627"/>
                    </a:moveTo>
                    <a:lnTo>
                      <a:pt x="170" y="627"/>
                    </a:lnTo>
                    <a:lnTo>
                      <a:pt x="0" y="0"/>
                    </a:lnTo>
                    <a:lnTo>
                      <a:pt x="459" y="0"/>
                    </a:lnTo>
                    <a:lnTo>
                      <a:pt x="630" y="6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9" name="íśľîďé">
                <a:extLst>
                  <a:ext uri="{FF2B5EF4-FFF2-40B4-BE49-F238E27FC236}">
                    <a16:creationId xmlns:a16="http://schemas.microsoft.com/office/drawing/2014/main" id="{5CE369F7-D68F-F04B-B22A-7E32A44DA62B}"/>
                  </a:ext>
                </a:extLst>
              </p:cNvPr>
              <p:cNvSpPr/>
              <p:nvPr/>
            </p:nvSpPr>
            <p:spPr bwMode="auto">
              <a:xfrm>
                <a:off x="5183741" y="4508255"/>
                <a:ext cx="433358" cy="111790"/>
              </a:xfrm>
              <a:custGeom>
                <a:avLst/>
                <a:gdLst>
                  <a:gd name="T0" fmla="*/ 314 w 314"/>
                  <a:gd name="T1" fmla="*/ 81 h 81"/>
                  <a:gd name="T2" fmla="*/ 291 w 314"/>
                  <a:gd name="T3" fmla="*/ 0 h 81"/>
                  <a:gd name="T4" fmla="*/ 0 w 314"/>
                  <a:gd name="T5" fmla="*/ 0 h 81"/>
                  <a:gd name="T6" fmla="*/ 23 w 314"/>
                  <a:gd name="T7" fmla="*/ 81 h 81"/>
                  <a:gd name="T8" fmla="*/ 314 w 314"/>
                  <a:gd name="T9" fmla="*/ 81 h 81"/>
                </a:gdLst>
                <a:ahLst/>
                <a:cxnLst>
                  <a:cxn ang="0">
                    <a:pos x="T0" y="T1"/>
                  </a:cxn>
                  <a:cxn ang="0">
                    <a:pos x="T2" y="T3"/>
                  </a:cxn>
                  <a:cxn ang="0">
                    <a:pos x="T4" y="T5"/>
                  </a:cxn>
                  <a:cxn ang="0">
                    <a:pos x="T6" y="T7"/>
                  </a:cxn>
                  <a:cxn ang="0">
                    <a:pos x="T8" y="T9"/>
                  </a:cxn>
                </a:cxnLst>
                <a:rect l="0" t="0" r="r" b="b"/>
                <a:pathLst>
                  <a:path w="314" h="81">
                    <a:moveTo>
                      <a:pt x="314" y="81"/>
                    </a:moveTo>
                    <a:lnTo>
                      <a:pt x="291" y="0"/>
                    </a:lnTo>
                    <a:lnTo>
                      <a:pt x="0" y="0"/>
                    </a:lnTo>
                    <a:lnTo>
                      <a:pt x="23" y="81"/>
                    </a:lnTo>
                    <a:lnTo>
                      <a:pt x="314" y="81"/>
                    </a:lnTo>
                    <a:close/>
                  </a:path>
                </a:pathLst>
              </a:custGeom>
              <a:solidFill>
                <a:srgbClr val="FF70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0" name="işḷidè">
                <a:extLst>
                  <a:ext uri="{FF2B5EF4-FFF2-40B4-BE49-F238E27FC236}">
                    <a16:creationId xmlns:a16="http://schemas.microsoft.com/office/drawing/2014/main" id="{4125E119-4AE0-4E46-91C5-CA645635501E}"/>
                  </a:ext>
                </a:extLst>
              </p:cNvPr>
              <p:cNvSpPr/>
              <p:nvPr/>
            </p:nvSpPr>
            <p:spPr bwMode="auto">
              <a:xfrm>
                <a:off x="5095413" y="4933332"/>
                <a:ext cx="229100" cy="266364"/>
              </a:xfrm>
              <a:custGeom>
                <a:avLst/>
                <a:gdLst>
                  <a:gd name="T0" fmla="*/ 72 w 80"/>
                  <a:gd name="T1" fmla="*/ 35 h 93"/>
                  <a:gd name="T2" fmla="*/ 54 w 80"/>
                  <a:gd name="T3" fmla="*/ 86 h 93"/>
                  <a:gd name="T4" fmla="*/ 8 w 80"/>
                  <a:gd name="T5" fmla="*/ 58 h 93"/>
                  <a:gd name="T6" fmla="*/ 26 w 80"/>
                  <a:gd name="T7" fmla="*/ 6 h 93"/>
                  <a:gd name="T8" fmla="*/ 72 w 80"/>
                  <a:gd name="T9" fmla="*/ 35 h 93"/>
                </a:gdLst>
                <a:ahLst/>
                <a:cxnLst>
                  <a:cxn ang="0">
                    <a:pos x="T0" y="T1"/>
                  </a:cxn>
                  <a:cxn ang="0">
                    <a:pos x="T2" y="T3"/>
                  </a:cxn>
                  <a:cxn ang="0">
                    <a:pos x="T4" y="T5"/>
                  </a:cxn>
                  <a:cxn ang="0">
                    <a:pos x="T6" y="T7"/>
                  </a:cxn>
                  <a:cxn ang="0">
                    <a:pos x="T8" y="T9"/>
                  </a:cxn>
                </a:cxnLst>
                <a:rect l="0" t="0" r="r" b="b"/>
                <a:pathLst>
                  <a:path w="80" h="93">
                    <a:moveTo>
                      <a:pt x="72" y="35"/>
                    </a:moveTo>
                    <a:cubicBezTo>
                      <a:pt x="80" y="57"/>
                      <a:pt x="72" y="80"/>
                      <a:pt x="54" y="86"/>
                    </a:cubicBezTo>
                    <a:cubicBezTo>
                      <a:pt x="37" y="93"/>
                      <a:pt x="16" y="80"/>
                      <a:pt x="8" y="58"/>
                    </a:cubicBezTo>
                    <a:cubicBezTo>
                      <a:pt x="0" y="36"/>
                      <a:pt x="8" y="13"/>
                      <a:pt x="26" y="6"/>
                    </a:cubicBezTo>
                    <a:cubicBezTo>
                      <a:pt x="44" y="0"/>
                      <a:pt x="64" y="13"/>
                      <a:pt x="72" y="35"/>
                    </a:cubicBezTo>
                    <a:close/>
                  </a:path>
                </a:pathLst>
              </a:custGeom>
              <a:solidFill>
                <a:srgbClr val="FF8A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1" name="is1ïḓè">
                <a:extLst>
                  <a:ext uri="{FF2B5EF4-FFF2-40B4-BE49-F238E27FC236}">
                    <a16:creationId xmlns:a16="http://schemas.microsoft.com/office/drawing/2014/main" id="{33DA1D0D-C0B2-884D-B88A-06522F345806}"/>
                  </a:ext>
                </a:extLst>
              </p:cNvPr>
              <p:cNvSpPr/>
              <p:nvPr/>
            </p:nvSpPr>
            <p:spPr bwMode="auto">
              <a:xfrm>
                <a:off x="5712327" y="4582781"/>
                <a:ext cx="258083" cy="865336"/>
              </a:xfrm>
              <a:custGeom>
                <a:avLst/>
                <a:gdLst>
                  <a:gd name="T0" fmla="*/ 16 w 187"/>
                  <a:gd name="T1" fmla="*/ 0 h 627"/>
                  <a:gd name="T2" fmla="*/ 0 w 187"/>
                  <a:gd name="T3" fmla="*/ 0 h 627"/>
                  <a:gd name="T4" fmla="*/ 170 w 187"/>
                  <a:gd name="T5" fmla="*/ 627 h 627"/>
                  <a:gd name="T6" fmla="*/ 187 w 187"/>
                  <a:gd name="T7" fmla="*/ 627 h 627"/>
                  <a:gd name="T8" fmla="*/ 16 w 187"/>
                  <a:gd name="T9" fmla="*/ 0 h 627"/>
                </a:gdLst>
                <a:ahLst/>
                <a:cxnLst>
                  <a:cxn ang="0">
                    <a:pos x="T0" y="T1"/>
                  </a:cxn>
                  <a:cxn ang="0">
                    <a:pos x="T2" y="T3"/>
                  </a:cxn>
                  <a:cxn ang="0">
                    <a:pos x="T4" y="T5"/>
                  </a:cxn>
                  <a:cxn ang="0">
                    <a:pos x="T6" y="T7"/>
                  </a:cxn>
                  <a:cxn ang="0">
                    <a:pos x="T8" y="T9"/>
                  </a:cxn>
                </a:cxnLst>
                <a:rect l="0" t="0" r="r" b="b"/>
                <a:pathLst>
                  <a:path w="187" h="627">
                    <a:moveTo>
                      <a:pt x="16" y="0"/>
                    </a:moveTo>
                    <a:lnTo>
                      <a:pt x="0" y="0"/>
                    </a:lnTo>
                    <a:lnTo>
                      <a:pt x="170" y="627"/>
                    </a:lnTo>
                    <a:lnTo>
                      <a:pt x="187" y="627"/>
                    </a:lnTo>
                    <a:lnTo>
                      <a:pt x="16" y="0"/>
                    </a:ln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2" name="iŝḷîḑè">
                <a:extLst>
                  <a:ext uri="{FF2B5EF4-FFF2-40B4-BE49-F238E27FC236}">
                    <a16:creationId xmlns:a16="http://schemas.microsoft.com/office/drawing/2014/main" id="{9197C21A-43E8-134F-A74A-517FE9D79B0A}"/>
                  </a:ext>
                </a:extLst>
              </p:cNvPr>
              <p:cNvSpPr/>
              <p:nvPr/>
            </p:nvSpPr>
            <p:spPr bwMode="auto">
              <a:xfrm>
                <a:off x="5712327" y="4582781"/>
                <a:ext cx="258083" cy="865336"/>
              </a:xfrm>
              <a:custGeom>
                <a:avLst/>
                <a:gdLst>
                  <a:gd name="T0" fmla="*/ 16 w 187"/>
                  <a:gd name="T1" fmla="*/ 0 h 627"/>
                  <a:gd name="T2" fmla="*/ 0 w 187"/>
                  <a:gd name="T3" fmla="*/ 0 h 627"/>
                  <a:gd name="T4" fmla="*/ 170 w 187"/>
                  <a:gd name="T5" fmla="*/ 627 h 627"/>
                  <a:gd name="T6" fmla="*/ 187 w 187"/>
                  <a:gd name="T7" fmla="*/ 627 h 627"/>
                  <a:gd name="T8" fmla="*/ 16 w 187"/>
                  <a:gd name="T9" fmla="*/ 0 h 627"/>
                </a:gdLst>
                <a:ahLst/>
                <a:cxnLst>
                  <a:cxn ang="0">
                    <a:pos x="T0" y="T1"/>
                  </a:cxn>
                  <a:cxn ang="0">
                    <a:pos x="T2" y="T3"/>
                  </a:cxn>
                  <a:cxn ang="0">
                    <a:pos x="T4" y="T5"/>
                  </a:cxn>
                  <a:cxn ang="0">
                    <a:pos x="T6" y="T7"/>
                  </a:cxn>
                  <a:cxn ang="0">
                    <a:pos x="T8" y="T9"/>
                  </a:cxn>
                </a:cxnLst>
                <a:rect l="0" t="0" r="r" b="b"/>
                <a:pathLst>
                  <a:path w="187" h="627">
                    <a:moveTo>
                      <a:pt x="16" y="0"/>
                    </a:moveTo>
                    <a:lnTo>
                      <a:pt x="0" y="0"/>
                    </a:lnTo>
                    <a:lnTo>
                      <a:pt x="170" y="627"/>
                    </a:lnTo>
                    <a:lnTo>
                      <a:pt x="187" y="627"/>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3" name="îŝlîḑè">
                <a:extLst>
                  <a:ext uri="{FF2B5EF4-FFF2-40B4-BE49-F238E27FC236}">
                    <a16:creationId xmlns:a16="http://schemas.microsoft.com/office/drawing/2014/main" id="{8FEE22E9-FD27-BB43-AEC3-549054F0E3E0}"/>
                  </a:ext>
                </a:extLst>
              </p:cNvPr>
              <p:cNvSpPr/>
              <p:nvPr/>
            </p:nvSpPr>
            <p:spPr bwMode="auto">
              <a:xfrm>
                <a:off x="6109802" y="4385424"/>
                <a:ext cx="218059" cy="908119"/>
              </a:xfrm>
              <a:custGeom>
                <a:avLst/>
                <a:gdLst>
                  <a:gd name="T0" fmla="*/ 72 w 76"/>
                  <a:gd name="T1" fmla="*/ 317 h 317"/>
                  <a:gd name="T2" fmla="*/ 76 w 76"/>
                  <a:gd name="T3" fmla="*/ 17 h 317"/>
                  <a:gd name="T4" fmla="*/ 32 w 76"/>
                  <a:gd name="T5" fmla="*/ 0 h 317"/>
                  <a:gd name="T6" fmla="*/ 0 w 76"/>
                  <a:gd name="T7" fmla="*/ 258 h 317"/>
                  <a:gd name="T8" fmla="*/ 72 w 76"/>
                  <a:gd name="T9" fmla="*/ 317 h 317"/>
                </a:gdLst>
                <a:ahLst/>
                <a:cxnLst>
                  <a:cxn ang="0">
                    <a:pos x="T0" y="T1"/>
                  </a:cxn>
                  <a:cxn ang="0">
                    <a:pos x="T2" y="T3"/>
                  </a:cxn>
                  <a:cxn ang="0">
                    <a:pos x="T4" y="T5"/>
                  </a:cxn>
                  <a:cxn ang="0">
                    <a:pos x="T6" y="T7"/>
                  </a:cxn>
                  <a:cxn ang="0">
                    <a:pos x="T8" y="T9"/>
                  </a:cxn>
                </a:cxnLst>
                <a:rect l="0" t="0" r="r" b="b"/>
                <a:pathLst>
                  <a:path w="76" h="317">
                    <a:moveTo>
                      <a:pt x="72" y="317"/>
                    </a:moveTo>
                    <a:cubicBezTo>
                      <a:pt x="70" y="218"/>
                      <a:pt x="71" y="119"/>
                      <a:pt x="76" y="17"/>
                    </a:cubicBezTo>
                    <a:cubicBezTo>
                      <a:pt x="72" y="13"/>
                      <a:pt x="47" y="2"/>
                      <a:pt x="32" y="0"/>
                    </a:cubicBezTo>
                    <a:cubicBezTo>
                      <a:pt x="17" y="86"/>
                      <a:pt x="6" y="172"/>
                      <a:pt x="0" y="258"/>
                    </a:cubicBezTo>
                    <a:cubicBezTo>
                      <a:pt x="18" y="281"/>
                      <a:pt x="43" y="304"/>
                      <a:pt x="72" y="317"/>
                    </a:cubicBezTo>
                    <a:close/>
                  </a:path>
                </a:pathLst>
              </a:custGeom>
              <a:solidFill>
                <a:srgbClr val="FFB94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4" name="ïṩḻíḍé">
                <a:extLst>
                  <a:ext uri="{FF2B5EF4-FFF2-40B4-BE49-F238E27FC236}">
                    <a16:creationId xmlns:a16="http://schemas.microsoft.com/office/drawing/2014/main" id="{88BC2110-6F27-D64F-AA41-B030191EDE27}"/>
                  </a:ext>
                </a:extLst>
              </p:cNvPr>
              <p:cNvSpPr/>
              <p:nvPr/>
            </p:nvSpPr>
            <p:spPr bwMode="auto">
              <a:xfrm>
                <a:off x="6090480" y="5388772"/>
                <a:ext cx="260843" cy="483042"/>
              </a:xfrm>
              <a:custGeom>
                <a:avLst/>
                <a:gdLst>
                  <a:gd name="T0" fmla="*/ 91 w 91"/>
                  <a:gd name="T1" fmla="*/ 169 h 169"/>
                  <a:gd name="T2" fmla="*/ 82 w 91"/>
                  <a:gd name="T3" fmla="*/ 49 h 169"/>
                  <a:gd name="T4" fmla="*/ 2 w 91"/>
                  <a:gd name="T5" fmla="*/ 0 h 169"/>
                  <a:gd name="T6" fmla="*/ 1 w 91"/>
                  <a:gd name="T7" fmla="*/ 169 h 169"/>
                  <a:gd name="T8" fmla="*/ 91 w 91"/>
                  <a:gd name="T9" fmla="*/ 169 h 169"/>
                </a:gdLst>
                <a:ahLst/>
                <a:cxnLst>
                  <a:cxn ang="0">
                    <a:pos x="T0" y="T1"/>
                  </a:cxn>
                  <a:cxn ang="0">
                    <a:pos x="T2" y="T3"/>
                  </a:cxn>
                  <a:cxn ang="0">
                    <a:pos x="T4" y="T5"/>
                  </a:cxn>
                  <a:cxn ang="0">
                    <a:pos x="T6" y="T7"/>
                  </a:cxn>
                  <a:cxn ang="0">
                    <a:pos x="T8" y="T9"/>
                  </a:cxn>
                </a:cxnLst>
                <a:rect l="0" t="0" r="r" b="b"/>
                <a:pathLst>
                  <a:path w="91" h="169">
                    <a:moveTo>
                      <a:pt x="91" y="169"/>
                    </a:moveTo>
                    <a:cubicBezTo>
                      <a:pt x="87" y="133"/>
                      <a:pt x="84" y="99"/>
                      <a:pt x="82" y="49"/>
                    </a:cubicBezTo>
                    <a:cubicBezTo>
                      <a:pt x="52" y="38"/>
                      <a:pt x="24" y="22"/>
                      <a:pt x="2" y="0"/>
                    </a:cubicBezTo>
                    <a:cubicBezTo>
                      <a:pt x="0" y="52"/>
                      <a:pt x="0" y="112"/>
                      <a:pt x="1" y="169"/>
                    </a:cubicBezTo>
                    <a:lnTo>
                      <a:pt x="91" y="169"/>
                    </a:lnTo>
                    <a:close/>
                  </a:path>
                </a:pathLst>
              </a:custGeom>
              <a:solidFill>
                <a:srgbClr val="FFB94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5" name="išlíďe">
                <a:extLst>
                  <a:ext uri="{FF2B5EF4-FFF2-40B4-BE49-F238E27FC236}">
                    <a16:creationId xmlns:a16="http://schemas.microsoft.com/office/drawing/2014/main" id="{AA90413C-992C-1C4D-ADAC-B1DCF5A89966}"/>
                  </a:ext>
                </a:extLst>
              </p:cNvPr>
              <p:cNvSpPr/>
              <p:nvPr/>
            </p:nvSpPr>
            <p:spPr bwMode="auto">
              <a:xfrm>
                <a:off x="5519110" y="3325491"/>
                <a:ext cx="709382" cy="945383"/>
              </a:xfrm>
              <a:custGeom>
                <a:avLst/>
                <a:gdLst>
                  <a:gd name="T0" fmla="*/ 107 w 247"/>
                  <a:gd name="T1" fmla="*/ 328 h 330"/>
                  <a:gd name="T2" fmla="*/ 39 w 247"/>
                  <a:gd name="T3" fmla="*/ 310 h 330"/>
                  <a:gd name="T4" fmla="*/ 4 w 247"/>
                  <a:gd name="T5" fmla="*/ 242 h 330"/>
                  <a:gd name="T6" fmla="*/ 1 w 247"/>
                  <a:gd name="T7" fmla="*/ 177 h 330"/>
                  <a:gd name="T8" fmla="*/ 15 w 247"/>
                  <a:gd name="T9" fmla="*/ 78 h 330"/>
                  <a:gd name="T10" fmla="*/ 74 w 247"/>
                  <a:gd name="T11" fmla="*/ 15 h 330"/>
                  <a:gd name="T12" fmla="*/ 134 w 247"/>
                  <a:gd name="T13" fmla="*/ 1 h 330"/>
                  <a:gd name="T14" fmla="*/ 229 w 247"/>
                  <a:gd name="T15" fmla="*/ 93 h 330"/>
                  <a:gd name="T16" fmla="*/ 210 w 247"/>
                  <a:gd name="T17" fmla="*/ 271 h 330"/>
                  <a:gd name="T18" fmla="*/ 107 w 247"/>
                  <a:gd name="T19" fmla="*/ 328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330">
                    <a:moveTo>
                      <a:pt x="107" y="328"/>
                    </a:moveTo>
                    <a:cubicBezTo>
                      <a:pt x="83" y="330"/>
                      <a:pt x="58" y="325"/>
                      <a:pt x="39" y="310"/>
                    </a:cubicBezTo>
                    <a:cubicBezTo>
                      <a:pt x="19" y="293"/>
                      <a:pt x="8" y="267"/>
                      <a:pt x="4" y="242"/>
                    </a:cubicBezTo>
                    <a:cubicBezTo>
                      <a:pt x="0" y="221"/>
                      <a:pt x="0" y="199"/>
                      <a:pt x="1" y="177"/>
                    </a:cubicBezTo>
                    <a:cubicBezTo>
                      <a:pt x="2" y="144"/>
                      <a:pt x="3" y="110"/>
                      <a:pt x="15" y="78"/>
                    </a:cubicBezTo>
                    <a:cubicBezTo>
                      <a:pt x="25" y="51"/>
                      <a:pt x="48" y="28"/>
                      <a:pt x="74" y="15"/>
                    </a:cubicBezTo>
                    <a:cubicBezTo>
                      <a:pt x="92" y="6"/>
                      <a:pt x="113" y="2"/>
                      <a:pt x="134" y="1"/>
                    </a:cubicBezTo>
                    <a:cubicBezTo>
                      <a:pt x="186" y="0"/>
                      <a:pt x="216" y="49"/>
                      <a:pt x="229" y="93"/>
                    </a:cubicBezTo>
                    <a:cubicBezTo>
                      <a:pt x="247" y="151"/>
                      <a:pt x="246" y="220"/>
                      <a:pt x="210" y="271"/>
                    </a:cubicBezTo>
                    <a:cubicBezTo>
                      <a:pt x="185" y="305"/>
                      <a:pt x="148" y="324"/>
                      <a:pt x="107" y="328"/>
                    </a:cubicBezTo>
                  </a:path>
                </a:pathLst>
              </a:custGeom>
              <a:solidFill>
                <a:srgbClr val="FF8A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6" name="ïş1íḑe">
                <a:extLst>
                  <a:ext uri="{FF2B5EF4-FFF2-40B4-BE49-F238E27FC236}">
                    <a16:creationId xmlns:a16="http://schemas.microsoft.com/office/drawing/2014/main" id="{60389A06-A85C-BF49-8D09-CCBCC088A599}"/>
                  </a:ext>
                </a:extLst>
              </p:cNvPr>
              <p:cNvSpPr/>
              <p:nvPr/>
            </p:nvSpPr>
            <p:spPr bwMode="auto">
              <a:xfrm>
                <a:off x="5848958" y="3820955"/>
                <a:ext cx="89708" cy="86948"/>
              </a:xfrm>
              <a:custGeom>
                <a:avLst/>
                <a:gdLst>
                  <a:gd name="T0" fmla="*/ 16 w 31"/>
                  <a:gd name="T1" fmla="*/ 15 h 30"/>
                  <a:gd name="T2" fmla="*/ 23 w 31"/>
                  <a:gd name="T3" fmla="*/ 2 h 30"/>
                  <a:gd name="T4" fmla="*/ 15 w 31"/>
                  <a:gd name="T5" fmla="*/ 0 h 30"/>
                  <a:gd name="T6" fmla="*/ 0 w 31"/>
                  <a:gd name="T7" fmla="*/ 15 h 30"/>
                  <a:gd name="T8" fmla="*/ 16 w 31"/>
                  <a:gd name="T9" fmla="*/ 30 h 30"/>
                  <a:gd name="T10" fmla="*/ 31 w 31"/>
                  <a:gd name="T11" fmla="*/ 14 h 30"/>
                  <a:gd name="T12" fmla="*/ 28 w 31"/>
                  <a:gd name="T13" fmla="*/ 7 h 30"/>
                  <a:gd name="T14" fmla="*/ 16 w 31"/>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0">
                    <a:moveTo>
                      <a:pt x="16" y="15"/>
                    </a:moveTo>
                    <a:cubicBezTo>
                      <a:pt x="23" y="2"/>
                      <a:pt x="23" y="2"/>
                      <a:pt x="23" y="2"/>
                    </a:cubicBezTo>
                    <a:cubicBezTo>
                      <a:pt x="21" y="0"/>
                      <a:pt x="18" y="0"/>
                      <a:pt x="15" y="0"/>
                    </a:cubicBezTo>
                    <a:cubicBezTo>
                      <a:pt x="7" y="0"/>
                      <a:pt x="0" y="7"/>
                      <a:pt x="0" y="15"/>
                    </a:cubicBezTo>
                    <a:cubicBezTo>
                      <a:pt x="1" y="23"/>
                      <a:pt x="7" y="30"/>
                      <a:pt x="16" y="30"/>
                    </a:cubicBezTo>
                    <a:cubicBezTo>
                      <a:pt x="24" y="30"/>
                      <a:pt x="31" y="23"/>
                      <a:pt x="31" y="14"/>
                    </a:cubicBezTo>
                    <a:cubicBezTo>
                      <a:pt x="31" y="12"/>
                      <a:pt x="30" y="9"/>
                      <a:pt x="28" y="7"/>
                    </a:cubicBezTo>
                    <a:cubicBezTo>
                      <a:pt x="16" y="15"/>
                      <a:pt x="16" y="15"/>
                      <a:pt x="16" y="15"/>
                    </a:cubicBezTo>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7" name="îṩľíḋé">
                <a:extLst>
                  <a:ext uri="{FF2B5EF4-FFF2-40B4-BE49-F238E27FC236}">
                    <a16:creationId xmlns:a16="http://schemas.microsoft.com/office/drawing/2014/main" id="{CFC2D928-D46C-2349-B771-0541584DBB7A}"/>
                  </a:ext>
                </a:extLst>
              </p:cNvPr>
              <p:cNvSpPr/>
              <p:nvPr/>
            </p:nvSpPr>
            <p:spPr bwMode="auto">
              <a:xfrm>
                <a:off x="5686104" y="3812674"/>
                <a:ext cx="114550" cy="178036"/>
              </a:xfrm>
              <a:custGeom>
                <a:avLst/>
                <a:gdLst>
                  <a:gd name="T0" fmla="*/ 32 w 40"/>
                  <a:gd name="T1" fmla="*/ 50 h 62"/>
                  <a:gd name="T2" fmla="*/ 38 w 40"/>
                  <a:gd name="T3" fmla="*/ 18 h 62"/>
                  <a:gd name="T4" fmla="*/ 26 w 40"/>
                  <a:gd name="T5" fmla="*/ 2 h 62"/>
                  <a:gd name="T6" fmla="*/ 7 w 40"/>
                  <a:gd name="T7" fmla="*/ 40 h 62"/>
                  <a:gd name="T8" fmla="*/ 7 w 40"/>
                  <a:gd name="T9" fmla="*/ 40 h 62"/>
                  <a:gd name="T10" fmla="*/ 1 w 40"/>
                  <a:gd name="T11" fmla="*/ 52 h 62"/>
                  <a:gd name="T12" fmla="*/ 20 w 40"/>
                  <a:gd name="T13" fmla="*/ 60 h 62"/>
                  <a:gd name="T14" fmla="*/ 32 w 40"/>
                  <a:gd name="T15" fmla="*/ 50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62">
                    <a:moveTo>
                      <a:pt x="32" y="50"/>
                    </a:moveTo>
                    <a:cubicBezTo>
                      <a:pt x="38" y="41"/>
                      <a:pt x="40" y="28"/>
                      <a:pt x="38" y="18"/>
                    </a:cubicBezTo>
                    <a:cubicBezTo>
                      <a:pt x="37" y="11"/>
                      <a:pt x="34" y="3"/>
                      <a:pt x="26" y="2"/>
                    </a:cubicBezTo>
                    <a:cubicBezTo>
                      <a:pt x="9" y="0"/>
                      <a:pt x="8" y="31"/>
                      <a:pt x="7" y="40"/>
                    </a:cubicBezTo>
                    <a:cubicBezTo>
                      <a:pt x="7" y="40"/>
                      <a:pt x="7" y="40"/>
                      <a:pt x="7" y="40"/>
                    </a:cubicBezTo>
                    <a:cubicBezTo>
                      <a:pt x="3" y="42"/>
                      <a:pt x="0" y="47"/>
                      <a:pt x="1" y="52"/>
                    </a:cubicBezTo>
                    <a:cubicBezTo>
                      <a:pt x="3" y="60"/>
                      <a:pt x="13" y="62"/>
                      <a:pt x="20" y="60"/>
                    </a:cubicBezTo>
                    <a:cubicBezTo>
                      <a:pt x="25" y="58"/>
                      <a:pt x="29" y="54"/>
                      <a:pt x="32" y="50"/>
                    </a:cubicBezTo>
                    <a:close/>
                  </a:path>
                </a:pathLst>
              </a:custGeom>
              <a:solidFill>
                <a:srgbClr val="ED7A9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8" name="îŝḷïḓe">
                <a:extLst>
                  <a:ext uri="{FF2B5EF4-FFF2-40B4-BE49-F238E27FC236}">
                    <a16:creationId xmlns:a16="http://schemas.microsoft.com/office/drawing/2014/main" id="{80E7C0E3-0304-9248-A207-05FDC7444F0C}"/>
                  </a:ext>
                </a:extLst>
              </p:cNvPr>
              <p:cNvSpPr/>
              <p:nvPr/>
            </p:nvSpPr>
            <p:spPr bwMode="auto">
              <a:xfrm>
                <a:off x="5840678" y="3732627"/>
                <a:ext cx="126971" cy="66246"/>
              </a:xfrm>
              <a:custGeom>
                <a:avLst/>
                <a:gdLst>
                  <a:gd name="T0" fmla="*/ 40 w 44"/>
                  <a:gd name="T1" fmla="*/ 23 h 23"/>
                  <a:gd name="T2" fmla="*/ 36 w 44"/>
                  <a:gd name="T3" fmla="*/ 22 h 23"/>
                  <a:gd name="T4" fmla="*/ 4 w 44"/>
                  <a:gd name="T5" fmla="*/ 10 h 23"/>
                  <a:gd name="T6" fmla="*/ 0 w 44"/>
                  <a:gd name="T7" fmla="*/ 6 h 23"/>
                  <a:gd name="T8" fmla="*/ 4 w 44"/>
                  <a:gd name="T9" fmla="*/ 2 h 23"/>
                  <a:gd name="T10" fmla="*/ 43 w 44"/>
                  <a:gd name="T11" fmla="*/ 17 h 23"/>
                  <a:gd name="T12" fmla="*/ 42 w 44"/>
                  <a:gd name="T13" fmla="*/ 23 h 23"/>
                  <a:gd name="T14" fmla="*/ 40 w 44"/>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23">
                    <a:moveTo>
                      <a:pt x="40" y="23"/>
                    </a:moveTo>
                    <a:cubicBezTo>
                      <a:pt x="38" y="23"/>
                      <a:pt x="37" y="23"/>
                      <a:pt x="36" y="22"/>
                    </a:cubicBezTo>
                    <a:cubicBezTo>
                      <a:pt x="27" y="11"/>
                      <a:pt x="14" y="9"/>
                      <a:pt x="4" y="10"/>
                    </a:cubicBezTo>
                    <a:cubicBezTo>
                      <a:pt x="2" y="10"/>
                      <a:pt x="0" y="8"/>
                      <a:pt x="0" y="6"/>
                    </a:cubicBezTo>
                    <a:cubicBezTo>
                      <a:pt x="0" y="4"/>
                      <a:pt x="1" y="2"/>
                      <a:pt x="4" y="2"/>
                    </a:cubicBezTo>
                    <a:cubicBezTo>
                      <a:pt x="20" y="0"/>
                      <a:pt x="34" y="6"/>
                      <a:pt x="43" y="17"/>
                    </a:cubicBezTo>
                    <a:cubicBezTo>
                      <a:pt x="44" y="18"/>
                      <a:pt x="44" y="21"/>
                      <a:pt x="42" y="23"/>
                    </a:cubicBezTo>
                    <a:cubicBezTo>
                      <a:pt x="41" y="23"/>
                      <a:pt x="40" y="23"/>
                      <a:pt x="40" y="23"/>
                    </a:cubicBezTo>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9" name="íṣľíḋé">
                <a:extLst>
                  <a:ext uri="{FF2B5EF4-FFF2-40B4-BE49-F238E27FC236}">
                    <a16:creationId xmlns:a16="http://schemas.microsoft.com/office/drawing/2014/main" id="{473F61FD-8B54-5C4C-BA91-AE2B48D62EBD}"/>
                  </a:ext>
                </a:extLst>
              </p:cNvPr>
              <p:cNvSpPr/>
              <p:nvPr/>
            </p:nvSpPr>
            <p:spPr bwMode="auto">
              <a:xfrm>
                <a:off x="5590876" y="3823715"/>
                <a:ext cx="86948" cy="89708"/>
              </a:xfrm>
              <a:custGeom>
                <a:avLst/>
                <a:gdLst>
                  <a:gd name="T0" fmla="*/ 15 w 30"/>
                  <a:gd name="T1" fmla="*/ 15 h 31"/>
                  <a:gd name="T2" fmla="*/ 23 w 30"/>
                  <a:gd name="T3" fmla="*/ 2 h 31"/>
                  <a:gd name="T4" fmla="*/ 15 w 30"/>
                  <a:gd name="T5" fmla="*/ 0 h 31"/>
                  <a:gd name="T6" fmla="*/ 0 w 30"/>
                  <a:gd name="T7" fmla="*/ 16 h 31"/>
                  <a:gd name="T8" fmla="*/ 15 w 30"/>
                  <a:gd name="T9" fmla="*/ 30 h 31"/>
                  <a:gd name="T10" fmla="*/ 30 w 30"/>
                  <a:gd name="T11" fmla="*/ 15 h 31"/>
                  <a:gd name="T12" fmla="*/ 28 w 30"/>
                  <a:gd name="T13" fmla="*/ 7 h 31"/>
                  <a:gd name="T14" fmla="*/ 15 w 30"/>
                  <a:gd name="T15" fmla="*/ 15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31">
                    <a:moveTo>
                      <a:pt x="15" y="15"/>
                    </a:moveTo>
                    <a:cubicBezTo>
                      <a:pt x="23" y="2"/>
                      <a:pt x="23" y="2"/>
                      <a:pt x="23" y="2"/>
                    </a:cubicBezTo>
                    <a:cubicBezTo>
                      <a:pt x="20" y="1"/>
                      <a:pt x="18" y="0"/>
                      <a:pt x="15" y="0"/>
                    </a:cubicBezTo>
                    <a:cubicBezTo>
                      <a:pt x="6" y="0"/>
                      <a:pt x="0" y="7"/>
                      <a:pt x="0" y="16"/>
                    </a:cubicBezTo>
                    <a:cubicBezTo>
                      <a:pt x="0" y="24"/>
                      <a:pt x="7" y="31"/>
                      <a:pt x="15" y="30"/>
                    </a:cubicBezTo>
                    <a:cubicBezTo>
                      <a:pt x="24" y="30"/>
                      <a:pt x="30" y="23"/>
                      <a:pt x="30" y="15"/>
                    </a:cubicBezTo>
                    <a:cubicBezTo>
                      <a:pt x="30" y="12"/>
                      <a:pt x="29" y="9"/>
                      <a:pt x="28" y="7"/>
                    </a:cubicBezTo>
                    <a:cubicBezTo>
                      <a:pt x="15" y="15"/>
                      <a:pt x="15" y="15"/>
                      <a:pt x="15" y="15"/>
                    </a:cubicBezTo>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0" name="îṣļíḓê">
                <a:extLst>
                  <a:ext uri="{FF2B5EF4-FFF2-40B4-BE49-F238E27FC236}">
                    <a16:creationId xmlns:a16="http://schemas.microsoft.com/office/drawing/2014/main" id="{BC0601F7-622B-0049-AAB1-2A3B9631E3CC}"/>
                  </a:ext>
                </a:extLst>
              </p:cNvPr>
              <p:cNvSpPr/>
              <p:nvPr/>
            </p:nvSpPr>
            <p:spPr bwMode="auto">
              <a:xfrm>
                <a:off x="5560514" y="3729867"/>
                <a:ext cx="122831" cy="71766"/>
              </a:xfrm>
              <a:custGeom>
                <a:avLst/>
                <a:gdLst>
                  <a:gd name="T0" fmla="*/ 5 w 43"/>
                  <a:gd name="T1" fmla="*/ 25 h 25"/>
                  <a:gd name="T2" fmla="*/ 3 w 43"/>
                  <a:gd name="T3" fmla="*/ 25 h 25"/>
                  <a:gd name="T4" fmla="*/ 1 w 43"/>
                  <a:gd name="T5" fmla="*/ 19 h 25"/>
                  <a:gd name="T6" fmla="*/ 39 w 43"/>
                  <a:gd name="T7" fmla="*/ 2 h 25"/>
                  <a:gd name="T8" fmla="*/ 42 w 43"/>
                  <a:gd name="T9" fmla="*/ 7 h 25"/>
                  <a:gd name="T10" fmla="*/ 38 w 43"/>
                  <a:gd name="T11" fmla="*/ 11 h 25"/>
                  <a:gd name="T12" fmla="*/ 9 w 43"/>
                  <a:gd name="T13" fmla="*/ 23 h 25"/>
                  <a:gd name="T14" fmla="*/ 5 w 43"/>
                  <a:gd name="T15" fmla="*/ 2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5">
                    <a:moveTo>
                      <a:pt x="5" y="25"/>
                    </a:moveTo>
                    <a:cubicBezTo>
                      <a:pt x="5" y="25"/>
                      <a:pt x="4" y="25"/>
                      <a:pt x="3" y="25"/>
                    </a:cubicBezTo>
                    <a:cubicBezTo>
                      <a:pt x="1" y="24"/>
                      <a:pt x="0" y="21"/>
                      <a:pt x="1" y="19"/>
                    </a:cubicBezTo>
                    <a:cubicBezTo>
                      <a:pt x="8" y="7"/>
                      <a:pt x="23" y="0"/>
                      <a:pt x="39" y="2"/>
                    </a:cubicBezTo>
                    <a:cubicBezTo>
                      <a:pt x="41" y="3"/>
                      <a:pt x="43" y="5"/>
                      <a:pt x="42" y="7"/>
                    </a:cubicBezTo>
                    <a:cubicBezTo>
                      <a:pt x="42" y="9"/>
                      <a:pt x="40" y="11"/>
                      <a:pt x="38" y="11"/>
                    </a:cubicBezTo>
                    <a:cubicBezTo>
                      <a:pt x="24" y="8"/>
                      <a:pt x="13" y="15"/>
                      <a:pt x="9" y="23"/>
                    </a:cubicBezTo>
                    <a:cubicBezTo>
                      <a:pt x="8" y="25"/>
                      <a:pt x="7" y="25"/>
                      <a:pt x="5" y="25"/>
                    </a:cubicBezTo>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1" name="iŝḷîḓé">
                <a:extLst>
                  <a:ext uri="{FF2B5EF4-FFF2-40B4-BE49-F238E27FC236}">
                    <a16:creationId xmlns:a16="http://schemas.microsoft.com/office/drawing/2014/main" id="{6B14C00A-8C5B-C540-B206-81061A830CAE}"/>
                  </a:ext>
                </a:extLst>
              </p:cNvPr>
              <p:cNvSpPr/>
              <p:nvPr/>
            </p:nvSpPr>
            <p:spPr bwMode="auto">
              <a:xfrm>
                <a:off x="5488748" y="3263387"/>
                <a:ext cx="788049" cy="525826"/>
              </a:xfrm>
              <a:custGeom>
                <a:avLst/>
                <a:gdLst>
                  <a:gd name="T0" fmla="*/ 261 w 275"/>
                  <a:gd name="T1" fmla="*/ 144 h 184"/>
                  <a:gd name="T2" fmla="*/ 38 w 275"/>
                  <a:gd name="T3" fmla="*/ 56 h 184"/>
                  <a:gd name="T4" fmla="*/ 205 w 275"/>
                  <a:gd name="T5" fmla="*/ 30 h 184"/>
                  <a:gd name="T6" fmla="*/ 261 w 275"/>
                  <a:gd name="T7" fmla="*/ 144 h 184"/>
                </a:gdLst>
                <a:ahLst/>
                <a:cxnLst>
                  <a:cxn ang="0">
                    <a:pos x="T0" y="T1"/>
                  </a:cxn>
                  <a:cxn ang="0">
                    <a:pos x="T2" y="T3"/>
                  </a:cxn>
                  <a:cxn ang="0">
                    <a:pos x="T4" y="T5"/>
                  </a:cxn>
                  <a:cxn ang="0">
                    <a:pos x="T6" y="T7"/>
                  </a:cxn>
                </a:cxnLst>
                <a:rect l="0" t="0" r="r" b="b"/>
                <a:pathLst>
                  <a:path w="275" h="184">
                    <a:moveTo>
                      <a:pt x="261" y="144"/>
                    </a:moveTo>
                    <a:cubicBezTo>
                      <a:pt x="140" y="184"/>
                      <a:pt x="0" y="146"/>
                      <a:pt x="38" y="56"/>
                    </a:cubicBezTo>
                    <a:cubicBezTo>
                      <a:pt x="82" y="13"/>
                      <a:pt x="152" y="0"/>
                      <a:pt x="205" y="30"/>
                    </a:cubicBezTo>
                    <a:cubicBezTo>
                      <a:pt x="259" y="60"/>
                      <a:pt x="275" y="84"/>
                      <a:pt x="261" y="144"/>
                    </a:cubicBezTo>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2" name="íṡ1iďe">
                <a:extLst>
                  <a:ext uri="{FF2B5EF4-FFF2-40B4-BE49-F238E27FC236}">
                    <a16:creationId xmlns:a16="http://schemas.microsoft.com/office/drawing/2014/main" id="{DAF326ED-58C6-B644-9B7B-2D9E56B5F03A}"/>
                  </a:ext>
                </a:extLst>
              </p:cNvPr>
              <p:cNvSpPr/>
              <p:nvPr/>
            </p:nvSpPr>
            <p:spPr bwMode="auto">
              <a:xfrm>
                <a:off x="6084959" y="3769890"/>
                <a:ext cx="234620" cy="175276"/>
              </a:xfrm>
              <a:custGeom>
                <a:avLst/>
                <a:gdLst>
                  <a:gd name="T0" fmla="*/ 51 w 82"/>
                  <a:gd name="T1" fmla="*/ 61 h 61"/>
                  <a:gd name="T2" fmla="*/ 0 w 82"/>
                  <a:gd name="T3" fmla="*/ 61 h 61"/>
                  <a:gd name="T4" fmla="*/ 0 w 82"/>
                  <a:gd name="T5" fmla="*/ 0 h 61"/>
                  <a:gd name="T6" fmla="*/ 51 w 82"/>
                  <a:gd name="T7" fmla="*/ 0 h 61"/>
                  <a:gd name="T8" fmla="*/ 82 w 82"/>
                  <a:gd name="T9" fmla="*/ 30 h 61"/>
                  <a:gd name="T10" fmla="*/ 51 w 82"/>
                  <a:gd name="T11" fmla="*/ 61 h 61"/>
                </a:gdLst>
                <a:ahLst/>
                <a:cxnLst>
                  <a:cxn ang="0">
                    <a:pos x="T0" y="T1"/>
                  </a:cxn>
                  <a:cxn ang="0">
                    <a:pos x="T2" y="T3"/>
                  </a:cxn>
                  <a:cxn ang="0">
                    <a:pos x="T4" y="T5"/>
                  </a:cxn>
                  <a:cxn ang="0">
                    <a:pos x="T6" y="T7"/>
                  </a:cxn>
                  <a:cxn ang="0">
                    <a:pos x="T8" y="T9"/>
                  </a:cxn>
                  <a:cxn ang="0">
                    <a:pos x="T10" y="T11"/>
                  </a:cxn>
                </a:cxnLst>
                <a:rect l="0" t="0" r="r" b="b"/>
                <a:pathLst>
                  <a:path w="82" h="61">
                    <a:moveTo>
                      <a:pt x="51" y="61"/>
                    </a:moveTo>
                    <a:cubicBezTo>
                      <a:pt x="0" y="61"/>
                      <a:pt x="0" y="61"/>
                      <a:pt x="0" y="61"/>
                    </a:cubicBezTo>
                    <a:cubicBezTo>
                      <a:pt x="0" y="0"/>
                      <a:pt x="0" y="0"/>
                      <a:pt x="0" y="0"/>
                    </a:cubicBezTo>
                    <a:cubicBezTo>
                      <a:pt x="51" y="0"/>
                      <a:pt x="51" y="0"/>
                      <a:pt x="51" y="0"/>
                    </a:cubicBezTo>
                    <a:cubicBezTo>
                      <a:pt x="68" y="0"/>
                      <a:pt x="82" y="14"/>
                      <a:pt x="82" y="30"/>
                    </a:cubicBezTo>
                    <a:cubicBezTo>
                      <a:pt x="82" y="47"/>
                      <a:pt x="68" y="61"/>
                      <a:pt x="51" y="61"/>
                    </a:cubicBezTo>
                    <a:close/>
                  </a:path>
                </a:pathLst>
              </a:custGeom>
              <a:solidFill>
                <a:srgbClr val="FF8A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3" name="iṥlíďê">
                <a:extLst>
                  <a:ext uri="{FF2B5EF4-FFF2-40B4-BE49-F238E27FC236}">
                    <a16:creationId xmlns:a16="http://schemas.microsoft.com/office/drawing/2014/main" id="{0B2661BA-16AA-724B-9C79-1E54F3884147}"/>
                  </a:ext>
                </a:extLst>
              </p:cNvPr>
              <p:cNvSpPr/>
              <p:nvPr/>
            </p:nvSpPr>
            <p:spPr bwMode="auto">
              <a:xfrm>
                <a:off x="5622619" y="3961727"/>
                <a:ext cx="284305" cy="88328"/>
              </a:xfrm>
              <a:custGeom>
                <a:avLst/>
                <a:gdLst>
                  <a:gd name="T0" fmla="*/ 42 w 99"/>
                  <a:gd name="T1" fmla="*/ 31 h 31"/>
                  <a:gd name="T2" fmla="*/ 2 w 99"/>
                  <a:gd name="T3" fmla="*/ 17 h 31"/>
                  <a:gd name="T4" fmla="*/ 2 w 99"/>
                  <a:gd name="T5" fmla="*/ 10 h 31"/>
                  <a:gd name="T6" fmla="*/ 8 w 99"/>
                  <a:gd name="T7" fmla="*/ 10 h 31"/>
                  <a:gd name="T8" fmla="*/ 91 w 99"/>
                  <a:gd name="T9" fmla="*/ 2 h 31"/>
                  <a:gd name="T10" fmla="*/ 98 w 99"/>
                  <a:gd name="T11" fmla="*/ 2 h 31"/>
                  <a:gd name="T12" fmla="*/ 98 w 99"/>
                  <a:gd name="T13" fmla="*/ 8 h 31"/>
                  <a:gd name="T14" fmla="*/ 42 w 99"/>
                  <a:gd name="T15" fmla="*/ 3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9" h="31">
                    <a:moveTo>
                      <a:pt x="42" y="31"/>
                    </a:moveTo>
                    <a:cubicBezTo>
                      <a:pt x="27" y="31"/>
                      <a:pt x="12" y="26"/>
                      <a:pt x="2" y="17"/>
                    </a:cubicBezTo>
                    <a:cubicBezTo>
                      <a:pt x="0" y="15"/>
                      <a:pt x="0" y="12"/>
                      <a:pt x="2" y="10"/>
                    </a:cubicBezTo>
                    <a:cubicBezTo>
                      <a:pt x="4" y="8"/>
                      <a:pt x="7" y="8"/>
                      <a:pt x="8" y="10"/>
                    </a:cubicBezTo>
                    <a:cubicBezTo>
                      <a:pt x="27" y="27"/>
                      <a:pt x="66" y="27"/>
                      <a:pt x="91" y="2"/>
                    </a:cubicBezTo>
                    <a:cubicBezTo>
                      <a:pt x="93" y="0"/>
                      <a:pt x="96" y="0"/>
                      <a:pt x="98" y="2"/>
                    </a:cubicBezTo>
                    <a:cubicBezTo>
                      <a:pt x="99" y="3"/>
                      <a:pt x="99" y="6"/>
                      <a:pt x="98" y="8"/>
                    </a:cubicBezTo>
                    <a:cubicBezTo>
                      <a:pt x="83" y="23"/>
                      <a:pt x="62" y="31"/>
                      <a:pt x="42" y="31"/>
                    </a:cubicBezTo>
                    <a:close/>
                  </a:path>
                </a:pathLst>
              </a:custGeom>
              <a:solidFill>
                <a:srgbClr val="ED7A9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4" name="ïs1ïdè">
                <a:extLst>
                  <a:ext uri="{FF2B5EF4-FFF2-40B4-BE49-F238E27FC236}">
                    <a16:creationId xmlns:a16="http://schemas.microsoft.com/office/drawing/2014/main" id="{F1D4D0E9-E456-0D4D-A37D-672A2FAA0591}"/>
                  </a:ext>
                </a:extLst>
              </p:cNvPr>
              <p:cNvSpPr/>
              <p:nvPr/>
            </p:nvSpPr>
            <p:spPr bwMode="auto">
              <a:xfrm>
                <a:off x="6053216" y="3583574"/>
                <a:ext cx="186317" cy="277405"/>
              </a:xfrm>
              <a:custGeom>
                <a:avLst/>
                <a:gdLst>
                  <a:gd name="T0" fmla="*/ 7 w 65"/>
                  <a:gd name="T1" fmla="*/ 73 h 97"/>
                  <a:gd name="T2" fmla="*/ 17 w 65"/>
                  <a:gd name="T3" fmla="*/ 92 h 97"/>
                  <a:gd name="T4" fmla="*/ 41 w 65"/>
                  <a:gd name="T5" fmla="*/ 90 h 97"/>
                  <a:gd name="T6" fmla="*/ 55 w 65"/>
                  <a:gd name="T7" fmla="*/ 68 h 97"/>
                  <a:gd name="T8" fmla="*/ 64 w 65"/>
                  <a:gd name="T9" fmla="*/ 32 h 97"/>
                  <a:gd name="T10" fmla="*/ 51 w 65"/>
                  <a:gd name="T11" fmla="*/ 2 h 97"/>
                  <a:gd name="T12" fmla="*/ 20 w 65"/>
                  <a:gd name="T13" fmla="*/ 9 h 97"/>
                  <a:gd name="T14" fmla="*/ 7 w 65"/>
                  <a:gd name="T15" fmla="*/ 73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97">
                    <a:moveTo>
                      <a:pt x="7" y="73"/>
                    </a:moveTo>
                    <a:cubicBezTo>
                      <a:pt x="8" y="80"/>
                      <a:pt x="11" y="88"/>
                      <a:pt x="17" y="92"/>
                    </a:cubicBezTo>
                    <a:cubicBezTo>
                      <a:pt x="24" y="97"/>
                      <a:pt x="34" y="95"/>
                      <a:pt x="41" y="90"/>
                    </a:cubicBezTo>
                    <a:cubicBezTo>
                      <a:pt x="48" y="84"/>
                      <a:pt x="52" y="76"/>
                      <a:pt x="55" y="68"/>
                    </a:cubicBezTo>
                    <a:cubicBezTo>
                      <a:pt x="60" y="57"/>
                      <a:pt x="63" y="45"/>
                      <a:pt x="64" y="32"/>
                    </a:cubicBezTo>
                    <a:cubicBezTo>
                      <a:pt x="65" y="21"/>
                      <a:pt x="64" y="6"/>
                      <a:pt x="51" y="2"/>
                    </a:cubicBezTo>
                    <a:cubicBezTo>
                      <a:pt x="42" y="0"/>
                      <a:pt x="28" y="4"/>
                      <a:pt x="20" y="9"/>
                    </a:cubicBezTo>
                    <a:cubicBezTo>
                      <a:pt x="0" y="20"/>
                      <a:pt x="2" y="55"/>
                      <a:pt x="7" y="73"/>
                    </a:cubicBezTo>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5" name="ïṥḷîḓê">
                <a:extLst>
                  <a:ext uri="{FF2B5EF4-FFF2-40B4-BE49-F238E27FC236}">
                    <a16:creationId xmlns:a16="http://schemas.microsoft.com/office/drawing/2014/main" id="{B25838CE-5B19-D945-8E1E-829D396B946D}"/>
                  </a:ext>
                </a:extLst>
              </p:cNvPr>
              <p:cNvSpPr/>
              <p:nvPr/>
            </p:nvSpPr>
            <p:spPr bwMode="auto">
              <a:xfrm>
                <a:off x="5560514" y="3509048"/>
                <a:ext cx="19322" cy="45544"/>
              </a:xfrm>
              <a:custGeom>
                <a:avLst/>
                <a:gdLst>
                  <a:gd name="T0" fmla="*/ 7 w 7"/>
                  <a:gd name="T1" fmla="*/ 0 h 16"/>
                  <a:gd name="T2" fmla="*/ 0 w 7"/>
                  <a:gd name="T3" fmla="*/ 16 h 16"/>
                  <a:gd name="T4" fmla="*/ 1 w 7"/>
                  <a:gd name="T5" fmla="*/ 14 h 16"/>
                  <a:gd name="T6" fmla="*/ 7 w 7"/>
                  <a:gd name="T7" fmla="*/ 1 h 16"/>
                  <a:gd name="T8" fmla="*/ 7 w 7"/>
                  <a:gd name="T9" fmla="*/ 0 h 16"/>
                </a:gdLst>
                <a:ahLst/>
                <a:cxnLst>
                  <a:cxn ang="0">
                    <a:pos x="T0" y="T1"/>
                  </a:cxn>
                  <a:cxn ang="0">
                    <a:pos x="T2" y="T3"/>
                  </a:cxn>
                  <a:cxn ang="0">
                    <a:pos x="T4" y="T5"/>
                  </a:cxn>
                  <a:cxn ang="0">
                    <a:pos x="T6" y="T7"/>
                  </a:cxn>
                  <a:cxn ang="0">
                    <a:pos x="T8" y="T9"/>
                  </a:cxn>
                </a:cxnLst>
                <a:rect l="0" t="0" r="r" b="b"/>
                <a:pathLst>
                  <a:path w="7" h="16">
                    <a:moveTo>
                      <a:pt x="7" y="0"/>
                    </a:moveTo>
                    <a:cubicBezTo>
                      <a:pt x="4" y="5"/>
                      <a:pt x="2" y="11"/>
                      <a:pt x="0" y="16"/>
                    </a:cubicBezTo>
                    <a:cubicBezTo>
                      <a:pt x="1" y="16"/>
                      <a:pt x="1" y="15"/>
                      <a:pt x="1" y="14"/>
                    </a:cubicBezTo>
                    <a:cubicBezTo>
                      <a:pt x="3" y="10"/>
                      <a:pt x="5" y="5"/>
                      <a:pt x="7" y="1"/>
                    </a:cubicBezTo>
                    <a:cubicBezTo>
                      <a:pt x="7" y="1"/>
                      <a:pt x="7" y="0"/>
                      <a:pt x="7" y="0"/>
                    </a:cubicBezTo>
                  </a:path>
                </a:pathLst>
              </a:custGeom>
              <a:solidFill>
                <a:srgbClr val="799B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6" name="ísḷídè">
                <a:extLst>
                  <a:ext uri="{FF2B5EF4-FFF2-40B4-BE49-F238E27FC236}">
                    <a16:creationId xmlns:a16="http://schemas.microsoft.com/office/drawing/2014/main" id="{644119E6-F7B9-4B49-89F4-CF34BBDFB7A7}"/>
                  </a:ext>
                </a:extLst>
              </p:cNvPr>
              <p:cNvSpPr/>
              <p:nvPr/>
            </p:nvSpPr>
            <p:spPr bwMode="auto">
              <a:xfrm>
                <a:off x="5542572" y="3511808"/>
                <a:ext cx="109030" cy="129731"/>
              </a:xfrm>
              <a:custGeom>
                <a:avLst/>
                <a:gdLst>
                  <a:gd name="T0" fmla="*/ 13 w 38"/>
                  <a:gd name="T1" fmla="*/ 0 h 45"/>
                  <a:gd name="T2" fmla="*/ 7 w 38"/>
                  <a:gd name="T3" fmla="*/ 13 h 45"/>
                  <a:gd name="T4" fmla="*/ 6 w 38"/>
                  <a:gd name="T5" fmla="*/ 15 h 45"/>
                  <a:gd name="T6" fmla="*/ 0 w 38"/>
                  <a:gd name="T7" fmla="*/ 40 h 45"/>
                  <a:gd name="T8" fmla="*/ 38 w 38"/>
                  <a:gd name="T9" fmla="*/ 45 h 45"/>
                  <a:gd name="T10" fmla="*/ 13 w 38"/>
                  <a:gd name="T11" fmla="*/ 0 h 45"/>
                </a:gdLst>
                <a:ahLst/>
                <a:cxnLst>
                  <a:cxn ang="0">
                    <a:pos x="T0" y="T1"/>
                  </a:cxn>
                  <a:cxn ang="0">
                    <a:pos x="T2" y="T3"/>
                  </a:cxn>
                  <a:cxn ang="0">
                    <a:pos x="T4" y="T5"/>
                  </a:cxn>
                  <a:cxn ang="0">
                    <a:pos x="T6" y="T7"/>
                  </a:cxn>
                  <a:cxn ang="0">
                    <a:pos x="T8" y="T9"/>
                  </a:cxn>
                  <a:cxn ang="0">
                    <a:pos x="T10" y="T11"/>
                  </a:cxn>
                </a:cxnLst>
                <a:rect l="0" t="0" r="r" b="b"/>
                <a:pathLst>
                  <a:path w="38" h="45">
                    <a:moveTo>
                      <a:pt x="13" y="0"/>
                    </a:moveTo>
                    <a:cubicBezTo>
                      <a:pt x="11" y="4"/>
                      <a:pt x="9" y="9"/>
                      <a:pt x="7" y="13"/>
                    </a:cubicBezTo>
                    <a:cubicBezTo>
                      <a:pt x="7" y="14"/>
                      <a:pt x="7" y="15"/>
                      <a:pt x="6" y="15"/>
                    </a:cubicBezTo>
                    <a:cubicBezTo>
                      <a:pt x="3" y="24"/>
                      <a:pt x="1" y="32"/>
                      <a:pt x="0" y="40"/>
                    </a:cubicBezTo>
                    <a:cubicBezTo>
                      <a:pt x="13" y="43"/>
                      <a:pt x="25" y="44"/>
                      <a:pt x="38" y="45"/>
                    </a:cubicBezTo>
                    <a:cubicBezTo>
                      <a:pt x="23" y="33"/>
                      <a:pt x="14" y="18"/>
                      <a:pt x="13" y="0"/>
                    </a:cubicBezTo>
                  </a:path>
                </a:pathLst>
              </a:custGeom>
              <a:solidFill>
                <a:srgbClr val="E57C9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7" name="îšḻiḓè">
                <a:extLst>
                  <a:ext uri="{FF2B5EF4-FFF2-40B4-BE49-F238E27FC236}">
                    <a16:creationId xmlns:a16="http://schemas.microsoft.com/office/drawing/2014/main" id="{2667C6B6-81CC-354A-B183-0424DB63C8D5}"/>
                  </a:ext>
                </a:extLst>
              </p:cNvPr>
              <p:cNvSpPr/>
              <p:nvPr/>
            </p:nvSpPr>
            <p:spPr bwMode="auto">
              <a:xfrm>
                <a:off x="5579835" y="3469024"/>
                <a:ext cx="645896" cy="175276"/>
              </a:xfrm>
              <a:custGeom>
                <a:avLst/>
                <a:gdLst>
                  <a:gd name="T0" fmla="*/ 7 w 225"/>
                  <a:gd name="T1" fmla="*/ 0 h 61"/>
                  <a:gd name="T2" fmla="*/ 6 w 225"/>
                  <a:gd name="T3" fmla="*/ 0 h 61"/>
                  <a:gd name="T4" fmla="*/ 0 w 225"/>
                  <a:gd name="T5" fmla="*/ 14 h 61"/>
                  <a:gd name="T6" fmla="*/ 0 w 225"/>
                  <a:gd name="T7" fmla="*/ 15 h 61"/>
                  <a:gd name="T8" fmla="*/ 25 w 225"/>
                  <a:gd name="T9" fmla="*/ 60 h 61"/>
                  <a:gd name="T10" fmla="*/ 40 w 225"/>
                  <a:gd name="T11" fmla="*/ 60 h 61"/>
                  <a:gd name="T12" fmla="*/ 68 w 225"/>
                  <a:gd name="T13" fmla="*/ 61 h 61"/>
                  <a:gd name="T14" fmla="*/ 158 w 225"/>
                  <a:gd name="T15" fmla="*/ 54 h 61"/>
                  <a:gd name="T16" fmla="*/ 186 w 225"/>
                  <a:gd name="T17" fmla="*/ 48 h 61"/>
                  <a:gd name="T18" fmla="*/ 210 w 225"/>
                  <a:gd name="T19" fmla="*/ 42 h 61"/>
                  <a:gd name="T20" fmla="*/ 212 w 225"/>
                  <a:gd name="T21" fmla="*/ 42 h 61"/>
                  <a:gd name="T22" fmla="*/ 225 w 225"/>
                  <a:gd name="T23" fmla="*/ 38 h 61"/>
                  <a:gd name="T24" fmla="*/ 36 w 225"/>
                  <a:gd name="T25" fmla="*/ 19 h 61"/>
                  <a:gd name="T26" fmla="*/ 7 w 225"/>
                  <a:gd name="T27"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5" h="61">
                    <a:moveTo>
                      <a:pt x="7" y="0"/>
                    </a:moveTo>
                    <a:cubicBezTo>
                      <a:pt x="7" y="0"/>
                      <a:pt x="7" y="0"/>
                      <a:pt x="6" y="0"/>
                    </a:cubicBezTo>
                    <a:cubicBezTo>
                      <a:pt x="4" y="5"/>
                      <a:pt x="2" y="9"/>
                      <a:pt x="0" y="14"/>
                    </a:cubicBezTo>
                    <a:cubicBezTo>
                      <a:pt x="0" y="14"/>
                      <a:pt x="0" y="15"/>
                      <a:pt x="0" y="15"/>
                    </a:cubicBezTo>
                    <a:cubicBezTo>
                      <a:pt x="1" y="33"/>
                      <a:pt x="10" y="48"/>
                      <a:pt x="25" y="60"/>
                    </a:cubicBezTo>
                    <a:cubicBezTo>
                      <a:pt x="30" y="60"/>
                      <a:pt x="35" y="60"/>
                      <a:pt x="40" y="60"/>
                    </a:cubicBezTo>
                    <a:cubicBezTo>
                      <a:pt x="49" y="61"/>
                      <a:pt x="59" y="61"/>
                      <a:pt x="68" y="61"/>
                    </a:cubicBezTo>
                    <a:cubicBezTo>
                      <a:pt x="98" y="61"/>
                      <a:pt x="129" y="59"/>
                      <a:pt x="158" y="54"/>
                    </a:cubicBezTo>
                    <a:cubicBezTo>
                      <a:pt x="168" y="52"/>
                      <a:pt x="177" y="50"/>
                      <a:pt x="186" y="48"/>
                    </a:cubicBezTo>
                    <a:cubicBezTo>
                      <a:pt x="192" y="45"/>
                      <a:pt x="202" y="42"/>
                      <a:pt x="210" y="42"/>
                    </a:cubicBezTo>
                    <a:cubicBezTo>
                      <a:pt x="210" y="42"/>
                      <a:pt x="211" y="42"/>
                      <a:pt x="212" y="42"/>
                    </a:cubicBezTo>
                    <a:cubicBezTo>
                      <a:pt x="216" y="40"/>
                      <a:pt x="220" y="39"/>
                      <a:pt x="225" y="38"/>
                    </a:cubicBezTo>
                    <a:cubicBezTo>
                      <a:pt x="162" y="27"/>
                      <a:pt x="99" y="21"/>
                      <a:pt x="36" y="19"/>
                    </a:cubicBezTo>
                    <a:cubicBezTo>
                      <a:pt x="22" y="19"/>
                      <a:pt x="10" y="0"/>
                      <a:pt x="7" y="0"/>
                    </a:cubicBezTo>
                  </a:path>
                </a:pathLst>
              </a:custGeom>
              <a:solidFill>
                <a:srgbClr val="0033A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8" name="isḷiḋé">
                <a:extLst>
                  <a:ext uri="{FF2B5EF4-FFF2-40B4-BE49-F238E27FC236}">
                    <a16:creationId xmlns:a16="http://schemas.microsoft.com/office/drawing/2014/main" id="{F5D5F145-542C-884B-918D-B3AD4AC8524B}"/>
                  </a:ext>
                </a:extLst>
              </p:cNvPr>
              <p:cNvSpPr/>
              <p:nvPr/>
            </p:nvSpPr>
            <p:spPr bwMode="auto">
              <a:xfrm>
                <a:off x="6113942" y="3589095"/>
                <a:ext cx="74526" cy="17942"/>
              </a:xfrm>
              <a:custGeom>
                <a:avLst/>
                <a:gdLst>
                  <a:gd name="T0" fmla="*/ 24 w 26"/>
                  <a:gd name="T1" fmla="*/ 0 h 6"/>
                  <a:gd name="T2" fmla="*/ 0 w 26"/>
                  <a:gd name="T3" fmla="*/ 6 h 6"/>
                  <a:gd name="T4" fmla="*/ 26 w 26"/>
                  <a:gd name="T5" fmla="*/ 0 h 6"/>
                  <a:gd name="T6" fmla="*/ 24 w 26"/>
                  <a:gd name="T7" fmla="*/ 0 h 6"/>
                </a:gdLst>
                <a:ahLst/>
                <a:cxnLst>
                  <a:cxn ang="0">
                    <a:pos x="T0" y="T1"/>
                  </a:cxn>
                  <a:cxn ang="0">
                    <a:pos x="T2" y="T3"/>
                  </a:cxn>
                  <a:cxn ang="0">
                    <a:pos x="T4" y="T5"/>
                  </a:cxn>
                  <a:cxn ang="0">
                    <a:pos x="T6" y="T7"/>
                  </a:cxn>
                </a:cxnLst>
                <a:rect l="0" t="0" r="r" b="b"/>
                <a:pathLst>
                  <a:path w="26" h="6">
                    <a:moveTo>
                      <a:pt x="24" y="0"/>
                    </a:moveTo>
                    <a:cubicBezTo>
                      <a:pt x="16" y="0"/>
                      <a:pt x="6" y="3"/>
                      <a:pt x="0" y="6"/>
                    </a:cubicBezTo>
                    <a:cubicBezTo>
                      <a:pt x="9" y="4"/>
                      <a:pt x="17" y="2"/>
                      <a:pt x="26" y="0"/>
                    </a:cubicBezTo>
                    <a:cubicBezTo>
                      <a:pt x="25" y="0"/>
                      <a:pt x="24" y="0"/>
                      <a:pt x="24" y="0"/>
                    </a:cubicBezTo>
                  </a:path>
                </a:pathLst>
              </a:custGeom>
              <a:solidFill>
                <a:srgbClr val="0033A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9" name="í$ḷïḍé">
                <a:extLst>
                  <a:ext uri="{FF2B5EF4-FFF2-40B4-BE49-F238E27FC236}">
                    <a16:creationId xmlns:a16="http://schemas.microsoft.com/office/drawing/2014/main" id="{E09B893C-299D-A24C-93FD-A427B43A2850}"/>
                  </a:ext>
                </a:extLst>
              </p:cNvPr>
              <p:cNvSpPr/>
              <p:nvPr/>
            </p:nvSpPr>
            <p:spPr bwMode="auto">
              <a:xfrm>
                <a:off x="5526010" y="3079830"/>
                <a:ext cx="796330" cy="524446"/>
              </a:xfrm>
              <a:custGeom>
                <a:avLst/>
                <a:gdLst>
                  <a:gd name="T0" fmla="*/ 158 w 278"/>
                  <a:gd name="T1" fmla="*/ 15 h 183"/>
                  <a:gd name="T2" fmla="*/ 264 w 278"/>
                  <a:gd name="T3" fmla="*/ 174 h 183"/>
                  <a:gd name="T4" fmla="*/ 200 w 278"/>
                  <a:gd name="T5" fmla="*/ 183 h 183"/>
                  <a:gd name="T6" fmla="*/ 63 w 278"/>
                  <a:gd name="T7" fmla="*/ 154 h 183"/>
                  <a:gd name="T8" fmla="*/ 0 w 278"/>
                  <a:gd name="T9" fmla="*/ 120 h 183"/>
                  <a:gd name="T10" fmla="*/ 158 w 278"/>
                  <a:gd name="T11" fmla="*/ 15 h 183"/>
                </a:gdLst>
                <a:ahLst/>
                <a:cxnLst>
                  <a:cxn ang="0">
                    <a:pos x="T0" y="T1"/>
                  </a:cxn>
                  <a:cxn ang="0">
                    <a:pos x="T2" y="T3"/>
                  </a:cxn>
                  <a:cxn ang="0">
                    <a:pos x="T4" y="T5"/>
                  </a:cxn>
                  <a:cxn ang="0">
                    <a:pos x="T6" y="T7"/>
                  </a:cxn>
                  <a:cxn ang="0">
                    <a:pos x="T8" y="T9"/>
                  </a:cxn>
                  <a:cxn ang="0">
                    <a:pos x="T10" y="T11"/>
                  </a:cxn>
                </a:cxnLst>
                <a:rect l="0" t="0" r="r" b="b"/>
                <a:pathLst>
                  <a:path w="278" h="183">
                    <a:moveTo>
                      <a:pt x="158" y="15"/>
                    </a:moveTo>
                    <a:cubicBezTo>
                      <a:pt x="231" y="30"/>
                      <a:pt x="278" y="101"/>
                      <a:pt x="264" y="174"/>
                    </a:cubicBezTo>
                    <a:cubicBezTo>
                      <a:pt x="200" y="183"/>
                      <a:pt x="200" y="183"/>
                      <a:pt x="200" y="183"/>
                    </a:cubicBezTo>
                    <a:cubicBezTo>
                      <a:pt x="63" y="154"/>
                      <a:pt x="63" y="154"/>
                      <a:pt x="63" y="154"/>
                    </a:cubicBezTo>
                    <a:cubicBezTo>
                      <a:pt x="0" y="120"/>
                      <a:pt x="0" y="120"/>
                      <a:pt x="0" y="120"/>
                    </a:cubicBezTo>
                    <a:cubicBezTo>
                      <a:pt x="14" y="47"/>
                      <a:pt x="86" y="0"/>
                      <a:pt x="158" y="15"/>
                    </a:cubicBezTo>
                    <a:close/>
                  </a:path>
                </a:pathLst>
              </a:custGeom>
              <a:solidFill>
                <a:srgbClr val="FFC6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0" name="ï$ḷíḓè">
                <a:extLst>
                  <a:ext uri="{FF2B5EF4-FFF2-40B4-BE49-F238E27FC236}">
                    <a16:creationId xmlns:a16="http://schemas.microsoft.com/office/drawing/2014/main" id="{FD1A50B4-8716-0F49-9501-0BF16B18B3CB}"/>
                  </a:ext>
                </a:extLst>
              </p:cNvPr>
              <p:cNvSpPr/>
              <p:nvPr/>
            </p:nvSpPr>
            <p:spPr bwMode="auto">
              <a:xfrm>
                <a:off x="5597777" y="3170918"/>
                <a:ext cx="104889" cy="135252"/>
              </a:xfrm>
              <a:custGeom>
                <a:avLst/>
                <a:gdLst>
                  <a:gd name="T0" fmla="*/ 1 w 37"/>
                  <a:gd name="T1" fmla="*/ 32 h 47"/>
                  <a:gd name="T2" fmla="*/ 5 w 37"/>
                  <a:gd name="T3" fmla="*/ 45 h 47"/>
                  <a:gd name="T4" fmla="*/ 16 w 37"/>
                  <a:gd name="T5" fmla="*/ 41 h 47"/>
                  <a:gd name="T6" fmla="*/ 22 w 37"/>
                  <a:gd name="T7" fmla="*/ 29 h 47"/>
                  <a:gd name="T8" fmla="*/ 37 w 37"/>
                  <a:gd name="T9" fmla="*/ 0 h 47"/>
                  <a:gd name="T10" fmla="*/ 1 w 37"/>
                  <a:gd name="T11" fmla="*/ 32 h 47"/>
                </a:gdLst>
                <a:ahLst/>
                <a:cxnLst>
                  <a:cxn ang="0">
                    <a:pos x="T0" y="T1"/>
                  </a:cxn>
                  <a:cxn ang="0">
                    <a:pos x="T2" y="T3"/>
                  </a:cxn>
                  <a:cxn ang="0">
                    <a:pos x="T4" y="T5"/>
                  </a:cxn>
                  <a:cxn ang="0">
                    <a:pos x="T6" y="T7"/>
                  </a:cxn>
                  <a:cxn ang="0">
                    <a:pos x="T8" y="T9"/>
                  </a:cxn>
                  <a:cxn ang="0">
                    <a:pos x="T10" y="T11"/>
                  </a:cxn>
                </a:cxnLst>
                <a:rect l="0" t="0" r="r" b="b"/>
                <a:pathLst>
                  <a:path w="37" h="47">
                    <a:moveTo>
                      <a:pt x="1" y="32"/>
                    </a:moveTo>
                    <a:cubicBezTo>
                      <a:pt x="0" y="37"/>
                      <a:pt x="1" y="43"/>
                      <a:pt x="5" y="45"/>
                    </a:cubicBezTo>
                    <a:cubicBezTo>
                      <a:pt x="9" y="47"/>
                      <a:pt x="14" y="44"/>
                      <a:pt x="16" y="41"/>
                    </a:cubicBezTo>
                    <a:cubicBezTo>
                      <a:pt x="19" y="38"/>
                      <a:pt x="20" y="33"/>
                      <a:pt x="22" y="29"/>
                    </a:cubicBezTo>
                    <a:cubicBezTo>
                      <a:pt x="25" y="19"/>
                      <a:pt x="30" y="9"/>
                      <a:pt x="37" y="0"/>
                    </a:cubicBezTo>
                    <a:cubicBezTo>
                      <a:pt x="23" y="8"/>
                      <a:pt x="11" y="19"/>
                      <a:pt x="1" y="32"/>
                    </a:cubicBezTo>
                    <a:close/>
                  </a:path>
                </a:pathLst>
              </a:custGeom>
              <a:solidFill>
                <a:srgbClr val="FFB94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1" name="ïŝļiḓê">
                <a:extLst>
                  <a:ext uri="{FF2B5EF4-FFF2-40B4-BE49-F238E27FC236}">
                    <a16:creationId xmlns:a16="http://schemas.microsoft.com/office/drawing/2014/main" id="{8A365E1D-FBEF-0747-BC81-665808099178}"/>
                  </a:ext>
                </a:extLst>
              </p:cNvPr>
              <p:cNvSpPr/>
              <p:nvPr/>
            </p:nvSpPr>
            <p:spPr bwMode="auto">
              <a:xfrm>
                <a:off x="5970409" y="3154357"/>
                <a:ext cx="200118" cy="271884"/>
              </a:xfrm>
              <a:custGeom>
                <a:avLst/>
                <a:gdLst>
                  <a:gd name="T0" fmla="*/ 37 w 70"/>
                  <a:gd name="T1" fmla="*/ 0 h 95"/>
                  <a:gd name="T2" fmla="*/ 1 w 70"/>
                  <a:gd name="T3" fmla="*/ 77 h 95"/>
                  <a:gd name="T4" fmla="*/ 8 w 70"/>
                  <a:gd name="T5" fmla="*/ 94 h 95"/>
                  <a:gd name="T6" fmla="*/ 21 w 70"/>
                  <a:gd name="T7" fmla="*/ 86 h 95"/>
                  <a:gd name="T8" fmla="*/ 70 w 70"/>
                  <a:gd name="T9" fmla="*/ 24 h 95"/>
                  <a:gd name="T10" fmla="*/ 37 w 70"/>
                  <a:gd name="T11" fmla="*/ 0 h 95"/>
                </a:gdLst>
                <a:ahLst/>
                <a:cxnLst>
                  <a:cxn ang="0">
                    <a:pos x="T0" y="T1"/>
                  </a:cxn>
                  <a:cxn ang="0">
                    <a:pos x="T2" y="T3"/>
                  </a:cxn>
                  <a:cxn ang="0">
                    <a:pos x="T4" y="T5"/>
                  </a:cxn>
                  <a:cxn ang="0">
                    <a:pos x="T6" y="T7"/>
                  </a:cxn>
                  <a:cxn ang="0">
                    <a:pos x="T8" y="T9"/>
                  </a:cxn>
                  <a:cxn ang="0">
                    <a:pos x="T10" y="T11"/>
                  </a:cxn>
                </a:cxnLst>
                <a:rect l="0" t="0" r="r" b="b"/>
                <a:pathLst>
                  <a:path w="70" h="95">
                    <a:moveTo>
                      <a:pt x="37" y="0"/>
                    </a:moveTo>
                    <a:cubicBezTo>
                      <a:pt x="16" y="20"/>
                      <a:pt x="3" y="48"/>
                      <a:pt x="1" y="77"/>
                    </a:cubicBezTo>
                    <a:cubicBezTo>
                      <a:pt x="0" y="84"/>
                      <a:pt x="1" y="93"/>
                      <a:pt x="8" y="94"/>
                    </a:cubicBezTo>
                    <a:cubicBezTo>
                      <a:pt x="13" y="95"/>
                      <a:pt x="18" y="91"/>
                      <a:pt x="21" y="86"/>
                    </a:cubicBezTo>
                    <a:cubicBezTo>
                      <a:pt x="37" y="65"/>
                      <a:pt x="54" y="44"/>
                      <a:pt x="70" y="24"/>
                    </a:cubicBezTo>
                    <a:cubicBezTo>
                      <a:pt x="60" y="14"/>
                      <a:pt x="49" y="7"/>
                      <a:pt x="37" y="0"/>
                    </a:cubicBezTo>
                    <a:close/>
                  </a:path>
                </a:pathLst>
              </a:custGeom>
              <a:solidFill>
                <a:srgbClr val="FFB94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2" name="íṧľïḑe">
                <a:extLst>
                  <a:ext uri="{FF2B5EF4-FFF2-40B4-BE49-F238E27FC236}">
                    <a16:creationId xmlns:a16="http://schemas.microsoft.com/office/drawing/2014/main" id="{80E397A6-F757-DC47-94EB-B14AE5A32434}"/>
                  </a:ext>
                </a:extLst>
              </p:cNvPr>
              <p:cNvSpPr/>
              <p:nvPr/>
            </p:nvSpPr>
            <p:spPr bwMode="auto">
              <a:xfrm>
                <a:off x="5720608" y="3111573"/>
                <a:ext cx="284305" cy="296726"/>
              </a:xfrm>
              <a:custGeom>
                <a:avLst/>
                <a:gdLst>
                  <a:gd name="T0" fmla="*/ 15 w 99"/>
                  <a:gd name="T1" fmla="*/ 101 h 104"/>
                  <a:gd name="T2" fmla="*/ 38 w 99"/>
                  <a:gd name="T3" fmla="*/ 93 h 104"/>
                  <a:gd name="T4" fmla="*/ 51 w 99"/>
                  <a:gd name="T5" fmla="*/ 71 h 104"/>
                  <a:gd name="T6" fmla="*/ 99 w 99"/>
                  <a:gd name="T7" fmla="*/ 6 h 104"/>
                  <a:gd name="T8" fmla="*/ 90 w 99"/>
                  <a:gd name="T9" fmla="*/ 4 h 104"/>
                  <a:gd name="T10" fmla="*/ 32 w 99"/>
                  <a:gd name="T11" fmla="*/ 5 h 104"/>
                  <a:gd name="T12" fmla="*/ 3 w 99"/>
                  <a:gd name="T13" fmla="*/ 61 h 104"/>
                  <a:gd name="T14" fmla="*/ 2 w 99"/>
                  <a:gd name="T15" fmla="*/ 84 h 104"/>
                  <a:gd name="T16" fmla="*/ 15 w 99"/>
                  <a:gd name="T17" fmla="*/ 10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04">
                    <a:moveTo>
                      <a:pt x="15" y="101"/>
                    </a:moveTo>
                    <a:cubicBezTo>
                      <a:pt x="23" y="104"/>
                      <a:pt x="32" y="100"/>
                      <a:pt x="38" y="93"/>
                    </a:cubicBezTo>
                    <a:cubicBezTo>
                      <a:pt x="44" y="87"/>
                      <a:pt x="47" y="79"/>
                      <a:pt x="51" y="71"/>
                    </a:cubicBezTo>
                    <a:cubicBezTo>
                      <a:pt x="63" y="46"/>
                      <a:pt x="79" y="24"/>
                      <a:pt x="99" y="6"/>
                    </a:cubicBezTo>
                    <a:cubicBezTo>
                      <a:pt x="96" y="5"/>
                      <a:pt x="93" y="5"/>
                      <a:pt x="90" y="4"/>
                    </a:cubicBezTo>
                    <a:cubicBezTo>
                      <a:pt x="70" y="0"/>
                      <a:pt x="51" y="0"/>
                      <a:pt x="32" y="5"/>
                    </a:cubicBezTo>
                    <a:cubicBezTo>
                      <a:pt x="18" y="21"/>
                      <a:pt x="8" y="40"/>
                      <a:pt x="3" y="61"/>
                    </a:cubicBezTo>
                    <a:cubicBezTo>
                      <a:pt x="1" y="69"/>
                      <a:pt x="0" y="77"/>
                      <a:pt x="2" y="84"/>
                    </a:cubicBezTo>
                    <a:cubicBezTo>
                      <a:pt x="3" y="92"/>
                      <a:pt x="8" y="99"/>
                      <a:pt x="15" y="101"/>
                    </a:cubicBezTo>
                    <a:close/>
                  </a:path>
                </a:pathLst>
              </a:custGeom>
              <a:solidFill>
                <a:srgbClr val="FFB94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3" name="ïšľîďê">
                <a:extLst>
                  <a:ext uri="{FF2B5EF4-FFF2-40B4-BE49-F238E27FC236}">
                    <a16:creationId xmlns:a16="http://schemas.microsoft.com/office/drawing/2014/main" id="{39251486-52AD-154A-BDA6-4E95081A7EC5}"/>
                  </a:ext>
                </a:extLst>
              </p:cNvPr>
              <p:cNvSpPr/>
              <p:nvPr/>
            </p:nvSpPr>
            <p:spPr bwMode="auto">
              <a:xfrm>
                <a:off x="5448724" y="3402778"/>
                <a:ext cx="888797" cy="289825"/>
              </a:xfrm>
              <a:custGeom>
                <a:avLst/>
                <a:gdLst>
                  <a:gd name="T0" fmla="*/ 282 w 310"/>
                  <a:gd name="T1" fmla="*/ 98 h 101"/>
                  <a:gd name="T2" fmla="*/ 20 w 310"/>
                  <a:gd name="T3" fmla="*/ 45 h 101"/>
                  <a:gd name="T4" fmla="*/ 3 w 310"/>
                  <a:gd name="T5" fmla="*/ 19 h 101"/>
                  <a:gd name="T6" fmla="*/ 28 w 310"/>
                  <a:gd name="T7" fmla="*/ 3 h 101"/>
                  <a:gd name="T8" fmla="*/ 291 w 310"/>
                  <a:gd name="T9" fmla="*/ 56 h 101"/>
                  <a:gd name="T10" fmla="*/ 308 w 310"/>
                  <a:gd name="T11" fmla="*/ 81 h 101"/>
                  <a:gd name="T12" fmla="*/ 282 w 310"/>
                  <a:gd name="T13" fmla="*/ 98 h 101"/>
                </a:gdLst>
                <a:ahLst/>
                <a:cxnLst>
                  <a:cxn ang="0">
                    <a:pos x="T0" y="T1"/>
                  </a:cxn>
                  <a:cxn ang="0">
                    <a:pos x="T2" y="T3"/>
                  </a:cxn>
                  <a:cxn ang="0">
                    <a:pos x="T4" y="T5"/>
                  </a:cxn>
                  <a:cxn ang="0">
                    <a:pos x="T6" y="T7"/>
                  </a:cxn>
                  <a:cxn ang="0">
                    <a:pos x="T8" y="T9"/>
                  </a:cxn>
                  <a:cxn ang="0">
                    <a:pos x="T10" y="T11"/>
                  </a:cxn>
                  <a:cxn ang="0">
                    <a:pos x="T12" y="T13"/>
                  </a:cxn>
                </a:cxnLst>
                <a:rect l="0" t="0" r="r" b="b"/>
                <a:pathLst>
                  <a:path w="310" h="101">
                    <a:moveTo>
                      <a:pt x="282" y="98"/>
                    </a:moveTo>
                    <a:cubicBezTo>
                      <a:pt x="20" y="45"/>
                      <a:pt x="20" y="45"/>
                      <a:pt x="20" y="45"/>
                    </a:cubicBezTo>
                    <a:cubicBezTo>
                      <a:pt x="8" y="43"/>
                      <a:pt x="0" y="31"/>
                      <a:pt x="3" y="19"/>
                    </a:cubicBezTo>
                    <a:cubicBezTo>
                      <a:pt x="5" y="8"/>
                      <a:pt x="17" y="0"/>
                      <a:pt x="28" y="3"/>
                    </a:cubicBezTo>
                    <a:cubicBezTo>
                      <a:pt x="291" y="56"/>
                      <a:pt x="291" y="56"/>
                      <a:pt x="291" y="56"/>
                    </a:cubicBezTo>
                    <a:cubicBezTo>
                      <a:pt x="302" y="58"/>
                      <a:pt x="310" y="70"/>
                      <a:pt x="308" y="81"/>
                    </a:cubicBezTo>
                    <a:cubicBezTo>
                      <a:pt x="305" y="93"/>
                      <a:pt x="294" y="101"/>
                      <a:pt x="282" y="98"/>
                    </a:cubicBezTo>
                    <a:close/>
                  </a:path>
                </a:pathLst>
              </a:custGeom>
              <a:solidFill>
                <a:srgbClr val="FFB94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4" name="îṣlïḋé">
                <a:extLst>
                  <a:ext uri="{FF2B5EF4-FFF2-40B4-BE49-F238E27FC236}">
                    <a16:creationId xmlns:a16="http://schemas.microsoft.com/office/drawing/2014/main" id="{8E008F08-78A0-F548-82EC-71EDDAE7DF3B}"/>
                  </a:ext>
                </a:extLst>
              </p:cNvPr>
              <p:cNvSpPr/>
              <p:nvPr/>
            </p:nvSpPr>
            <p:spPr bwMode="auto">
              <a:xfrm>
                <a:off x="5734409" y="4582781"/>
                <a:ext cx="236001" cy="865336"/>
              </a:xfrm>
              <a:custGeom>
                <a:avLst/>
                <a:gdLst>
                  <a:gd name="T0" fmla="*/ 171 w 171"/>
                  <a:gd name="T1" fmla="*/ 627 h 627"/>
                  <a:gd name="T2" fmla="*/ 0 w 171"/>
                  <a:gd name="T3" fmla="*/ 0 h 627"/>
                  <a:gd name="T4" fmla="*/ 171 w 171"/>
                  <a:gd name="T5" fmla="*/ 627 h 627"/>
                </a:gdLst>
                <a:ahLst/>
                <a:cxnLst>
                  <a:cxn ang="0">
                    <a:pos x="T0" y="T1"/>
                  </a:cxn>
                  <a:cxn ang="0">
                    <a:pos x="T2" y="T3"/>
                  </a:cxn>
                  <a:cxn ang="0">
                    <a:pos x="T4" y="T5"/>
                  </a:cxn>
                </a:cxnLst>
                <a:rect l="0" t="0" r="r" b="b"/>
                <a:pathLst>
                  <a:path w="171" h="627">
                    <a:moveTo>
                      <a:pt x="171" y="627"/>
                    </a:moveTo>
                    <a:lnTo>
                      <a:pt x="0" y="0"/>
                    </a:lnTo>
                    <a:lnTo>
                      <a:pt x="171" y="627"/>
                    </a:ln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5" name="íṣḷiḍê">
                <a:extLst>
                  <a:ext uri="{FF2B5EF4-FFF2-40B4-BE49-F238E27FC236}">
                    <a16:creationId xmlns:a16="http://schemas.microsoft.com/office/drawing/2014/main" id="{8C05D21B-B59F-EB47-940A-9FA1BCCB817E}"/>
                  </a:ext>
                </a:extLst>
              </p:cNvPr>
              <p:cNvSpPr/>
              <p:nvPr/>
            </p:nvSpPr>
            <p:spPr bwMode="auto">
              <a:xfrm>
                <a:off x="5734409" y="4582781"/>
                <a:ext cx="236001" cy="865336"/>
              </a:xfrm>
              <a:custGeom>
                <a:avLst/>
                <a:gdLst>
                  <a:gd name="T0" fmla="*/ 171 w 171"/>
                  <a:gd name="T1" fmla="*/ 627 h 627"/>
                  <a:gd name="T2" fmla="*/ 0 w 171"/>
                  <a:gd name="T3" fmla="*/ 0 h 627"/>
                  <a:gd name="T4" fmla="*/ 171 w 171"/>
                  <a:gd name="T5" fmla="*/ 627 h 627"/>
                </a:gdLst>
                <a:ahLst/>
                <a:cxnLst>
                  <a:cxn ang="0">
                    <a:pos x="T0" y="T1"/>
                  </a:cxn>
                  <a:cxn ang="0">
                    <a:pos x="T2" y="T3"/>
                  </a:cxn>
                  <a:cxn ang="0">
                    <a:pos x="T4" y="T5"/>
                  </a:cxn>
                </a:cxnLst>
                <a:rect l="0" t="0" r="r" b="b"/>
                <a:pathLst>
                  <a:path w="171" h="627">
                    <a:moveTo>
                      <a:pt x="171" y="627"/>
                    </a:moveTo>
                    <a:lnTo>
                      <a:pt x="0" y="0"/>
                    </a:lnTo>
                    <a:lnTo>
                      <a:pt x="171" y="6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6" name="îś1îḋe">
                <a:extLst>
                  <a:ext uri="{FF2B5EF4-FFF2-40B4-BE49-F238E27FC236}">
                    <a16:creationId xmlns:a16="http://schemas.microsoft.com/office/drawing/2014/main" id="{2A494BD9-2C32-2848-A067-3B11364CD406}"/>
                  </a:ext>
                </a:extLst>
              </p:cNvPr>
              <p:cNvSpPr/>
              <p:nvPr/>
            </p:nvSpPr>
            <p:spPr bwMode="auto">
              <a:xfrm>
                <a:off x="5712327" y="4582781"/>
                <a:ext cx="258083" cy="865336"/>
              </a:xfrm>
              <a:custGeom>
                <a:avLst/>
                <a:gdLst>
                  <a:gd name="T0" fmla="*/ 16 w 187"/>
                  <a:gd name="T1" fmla="*/ 0 h 627"/>
                  <a:gd name="T2" fmla="*/ 0 w 187"/>
                  <a:gd name="T3" fmla="*/ 0 h 627"/>
                  <a:gd name="T4" fmla="*/ 170 w 187"/>
                  <a:gd name="T5" fmla="*/ 627 h 627"/>
                  <a:gd name="T6" fmla="*/ 187 w 187"/>
                  <a:gd name="T7" fmla="*/ 627 h 627"/>
                  <a:gd name="T8" fmla="*/ 16 w 187"/>
                  <a:gd name="T9" fmla="*/ 0 h 627"/>
                </a:gdLst>
                <a:ahLst/>
                <a:cxnLst>
                  <a:cxn ang="0">
                    <a:pos x="T0" y="T1"/>
                  </a:cxn>
                  <a:cxn ang="0">
                    <a:pos x="T2" y="T3"/>
                  </a:cxn>
                  <a:cxn ang="0">
                    <a:pos x="T4" y="T5"/>
                  </a:cxn>
                  <a:cxn ang="0">
                    <a:pos x="T6" y="T7"/>
                  </a:cxn>
                  <a:cxn ang="0">
                    <a:pos x="T8" y="T9"/>
                  </a:cxn>
                </a:cxnLst>
                <a:rect l="0" t="0" r="r" b="b"/>
                <a:pathLst>
                  <a:path w="187" h="627">
                    <a:moveTo>
                      <a:pt x="16" y="0"/>
                    </a:moveTo>
                    <a:lnTo>
                      <a:pt x="0" y="0"/>
                    </a:lnTo>
                    <a:lnTo>
                      <a:pt x="170" y="627"/>
                    </a:lnTo>
                    <a:lnTo>
                      <a:pt x="187" y="627"/>
                    </a:lnTo>
                    <a:lnTo>
                      <a:pt x="16" y="0"/>
                    </a:lnTo>
                    <a:close/>
                  </a:path>
                </a:pathLst>
              </a:custGeom>
              <a:solidFill>
                <a:srgbClr val="0031A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7" name="ïşľïďè">
                <a:extLst>
                  <a:ext uri="{FF2B5EF4-FFF2-40B4-BE49-F238E27FC236}">
                    <a16:creationId xmlns:a16="http://schemas.microsoft.com/office/drawing/2014/main" id="{A5CB1DD9-EA5E-724C-B8B2-F1CCD52CB07D}"/>
                  </a:ext>
                </a:extLst>
              </p:cNvPr>
              <p:cNvSpPr/>
              <p:nvPr/>
            </p:nvSpPr>
            <p:spPr bwMode="auto">
              <a:xfrm>
                <a:off x="5712327" y="4582781"/>
                <a:ext cx="258083" cy="865336"/>
              </a:xfrm>
              <a:custGeom>
                <a:avLst/>
                <a:gdLst>
                  <a:gd name="T0" fmla="*/ 16 w 187"/>
                  <a:gd name="T1" fmla="*/ 0 h 627"/>
                  <a:gd name="T2" fmla="*/ 0 w 187"/>
                  <a:gd name="T3" fmla="*/ 0 h 627"/>
                  <a:gd name="T4" fmla="*/ 170 w 187"/>
                  <a:gd name="T5" fmla="*/ 627 h 627"/>
                  <a:gd name="T6" fmla="*/ 187 w 187"/>
                  <a:gd name="T7" fmla="*/ 627 h 627"/>
                  <a:gd name="T8" fmla="*/ 16 w 187"/>
                  <a:gd name="T9" fmla="*/ 0 h 627"/>
                </a:gdLst>
                <a:ahLst/>
                <a:cxnLst>
                  <a:cxn ang="0">
                    <a:pos x="T0" y="T1"/>
                  </a:cxn>
                  <a:cxn ang="0">
                    <a:pos x="T2" y="T3"/>
                  </a:cxn>
                  <a:cxn ang="0">
                    <a:pos x="T4" y="T5"/>
                  </a:cxn>
                  <a:cxn ang="0">
                    <a:pos x="T6" y="T7"/>
                  </a:cxn>
                  <a:cxn ang="0">
                    <a:pos x="T8" y="T9"/>
                  </a:cxn>
                </a:cxnLst>
                <a:rect l="0" t="0" r="r" b="b"/>
                <a:pathLst>
                  <a:path w="187" h="627">
                    <a:moveTo>
                      <a:pt x="16" y="0"/>
                    </a:moveTo>
                    <a:lnTo>
                      <a:pt x="0" y="0"/>
                    </a:lnTo>
                    <a:lnTo>
                      <a:pt x="170" y="627"/>
                    </a:lnTo>
                    <a:lnTo>
                      <a:pt x="187" y="627"/>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8" name="iṡļîďé">
                <a:extLst>
                  <a:ext uri="{FF2B5EF4-FFF2-40B4-BE49-F238E27FC236}">
                    <a16:creationId xmlns:a16="http://schemas.microsoft.com/office/drawing/2014/main" id="{78064C9A-7EC4-1840-9733-D68C3E07CAC9}"/>
                  </a:ext>
                </a:extLst>
              </p:cNvPr>
              <p:cNvSpPr/>
              <p:nvPr/>
            </p:nvSpPr>
            <p:spPr bwMode="auto">
              <a:xfrm>
                <a:off x="5734409" y="4582781"/>
                <a:ext cx="236001" cy="865336"/>
              </a:xfrm>
              <a:custGeom>
                <a:avLst/>
                <a:gdLst>
                  <a:gd name="T0" fmla="*/ 0 w 171"/>
                  <a:gd name="T1" fmla="*/ 0 h 627"/>
                  <a:gd name="T2" fmla="*/ 171 w 171"/>
                  <a:gd name="T3" fmla="*/ 627 h 627"/>
                  <a:gd name="T4" fmla="*/ 81 w 171"/>
                  <a:gd name="T5" fmla="*/ 299 h 627"/>
                  <a:gd name="T6" fmla="*/ 0 w 171"/>
                  <a:gd name="T7" fmla="*/ 0 h 627"/>
                </a:gdLst>
                <a:ahLst/>
                <a:cxnLst>
                  <a:cxn ang="0">
                    <a:pos x="T0" y="T1"/>
                  </a:cxn>
                  <a:cxn ang="0">
                    <a:pos x="T2" y="T3"/>
                  </a:cxn>
                  <a:cxn ang="0">
                    <a:pos x="T4" y="T5"/>
                  </a:cxn>
                  <a:cxn ang="0">
                    <a:pos x="T6" y="T7"/>
                  </a:cxn>
                </a:cxnLst>
                <a:rect l="0" t="0" r="r" b="b"/>
                <a:pathLst>
                  <a:path w="171" h="627">
                    <a:moveTo>
                      <a:pt x="0" y="0"/>
                    </a:moveTo>
                    <a:lnTo>
                      <a:pt x="171" y="627"/>
                    </a:lnTo>
                    <a:lnTo>
                      <a:pt x="81" y="299"/>
                    </a:lnTo>
                    <a:lnTo>
                      <a:pt x="0" y="0"/>
                    </a:lnTo>
                    <a:close/>
                  </a:path>
                </a:pathLst>
              </a:custGeom>
              <a:solidFill>
                <a:srgbClr val="0031A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9" name="iṡlïďe">
                <a:extLst>
                  <a:ext uri="{FF2B5EF4-FFF2-40B4-BE49-F238E27FC236}">
                    <a16:creationId xmlns:a16="http://schemas.microsoft.com/office/drawing/2014/main" id="{4B1B28F2-291F-094B-BA21-7C063B1DA617}"/>
                  </a:ext>
                </a:extLst>
              </p:cNvPr>
              <p:cNvSpPr/>
              <p:nvPr/>
            </p:nvSpPr>
            <p:spPr bwMode="auto">
              <a:xfrm>
                <a:off x="5734409" y="4582781"/>
                <a:ext cx="236001" cy="865336"/>
              </a:xfrm>
              <a:custGeom>
                <a:avLst/>
                <a:gdLst>
                  <a:gd name="T0" fmla="*/ 0 w 171"/>
                  <a:gd name="T1" fmla="*/ 0 h 627"/>
                  <a:gd name="T2" fmla="*/ 171 w 171"/>
                  <a:gd name="T3" fmla="*/ 627 h 627"/>
                  <a:gd name="T4" fmla="*/ 81 w 171"/>
                  <a:gd name="T5" fmla="*/ 299 h 627"/>
                  <a:gd name="T6" fmla="*/ 0 w 171"/>
                  <a:gd name="T7" fmla="*/ 0 h 627"/>
                </a:gdLst>
                <a:ahLst/>
                <a:cxnLst>
                  <a:cxn ang="0">
                    <a:pos x="T0" y="T1"/>
                  </a:cxn>
                  <a:cxn ang="0">
                    <a:pos x="T2" y="T3"/>
                  </a:cxn>
                  <a:cxn ang="0">
                    <a:pos x="T4" y="T5"/>
                  </a:cxn>
                  <a:cxn ang="0">
                    <a:pos x="T6" y="T7"/>
                  </a:cxn>
                </a:cxnLst>
                <a:rect l="0" t="0" r="r" b="b"/>
                <a:pathLst>
                  <a:path w="171" h="627">
                    <a:moveTo>
                      <a:pt x="0" y="0"/>
                    </a:moveTo>
                    <a:lnTo>
                      <a:pt x="171" y="627"/>
                    </a:lnTo>
                    <a:lnTo>
                      <a:pt x="81" y="29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0" name="ïşľïďe">
                <a:extLst>
                  <a:ext uri="{FF2B5EF4-FFF2-40B4-BE49-F238E27FC236}">
                    <a16:creationId xmlns:a16="http://schemas.microsoft.com/office/drawing/2014/main" id="{FD2486D4-AFAE-EA4E-A30E-668BF9836AA8}"/>
                  </a:ext>
                </a:extLst>
              </p:cNvPr>
              <p:cNvSpPr/>
              <p:nvPr/>
            </p:nvSpPr>
            <p:spPr bwMode="auto">
              <a:xfrm>
                <a:off x="5757871" y="5010619"/>
                <a:ext cx="327089" cy="253942"/>
              </a:xfrm>
              <a:custGeom>
                <a:avLst/>
                <a:gdLst>
                  <a:gd name="T0" fmla="*/ 114 w 114"/>
                  <a:gd name="T1" fmla="*/ 36 h 89"/>
                  <a:gd name="T2" fmla="*/ 39 w 114"/>
                  <a:gd name="T3" fmla="*/ 3 h 89"/>
                  <a:gd name="T4" fmla="*/ 3 w 114"/>
                  <a:gd name="T5" fmla="*/ 28 h 89"/>
                  <a:gd name="T6" fmla="*/ 29 w 114"/>
                  <a:gd name="T7" fmla="*/ 65 h 89"/>
                  <a:gd name="T8" fmla="*/ 81 w 114"/>
                  <a:gd name="T9" fmla="*/ 89 h 89"/>
                  <a:gd name="T10" fmla="*/ 114 w 114"/>
                  <a:gd name="T11" fmla="*/ 36 h 89"/>
                </a:gdLst>
                <a:ahLst/>
                <a:cxnLst>
                  <a:cxn ang="0">
                    <a:pos x="T0" y="T1"/>
                  </a:cxn>
                  <a:cxn ang="0">
                    <a:pos x="T2" y="T3"/>
                  </a:cxn>
                  <a:cxn ang="0">
                    <a:pos x="T4" y="T5"/>
                  </a:cxn>
                  <a:cxn ang="0">
                    <a:pos x="T6" y="T7"/>
                  </a:cxn>
                  <a:cxn ang="0">
                    <a:pos x="T8" y="T9"/>
                  </a:cxn>
                  <a:cxn ang="0">
                    <a:pos x="T10" y="T11"/>
                  </a:cxn>
                </a:cxnLst>
                <a:rect l="0" t="0" r="r" b="b"/>
                <a:pathLst>
                  <a:path w="114" h="89">
                    <a:moveTo>
                      <a:pt x="114" y="36"/>
                    </a:moveTo>
                    <a:cubicBezTo>
                      <a:pt x="93" y="19"/>
                      <a:pt x="68" y="8"/>
                      <a:pt x="39" y="3"/>
                    </a:cubicBezTo>
                    <a:cubicBezTo>
                      <a:pt x="22" y="0"/>
                      <a:pt x="6" y="11"/>
                      <a:pt x="3" y="28"/>
                    </a:cubicBezTo>
                    <a:cubicBezTo>
                      <a:pt x="0" y="45"/>
                      <a:pt x="12" y="62"/>
                      <a:pt x="29" y="65"/>
                    </a:cubicBezTo>
                    <a:cubicBezTo>
                      <a:pt x="49" y="68"/>
                      <a:pt x="66" y="76"/>
                      <a:pt x="81" y="89"/>
                    </a:cubicBezTo>
                    <a:cubicBezTo>
                      <a:pt x="86" y="77"/>
                      <a:pt x="105" y="46"/>
                      <a:pt x="114" y="36"/>
                    </a:cubicBezTo>
                    <a:close/>
                  </a:path>
                </a:pathLst>
              </a:custGeom>
              <a:solidFill>
                <a:srgbClr val="FF8A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1" name="isľîdè">
                <a:extLst>
                  <a:ext uri="{FF2B5EF4-FFF2-40B4-BE49-F238E27FC236}">
                    <a16:creationId xmlns:a16="http://schemas.microsoft.com/office/drawing/2014/main" id="{3B498952-57C1-AD44-A0E0-8DB33580EE4F}"/>
                  </a:ext>
                </a:extLst>
              </p:cNvPr>
              <p:cNvSpPr/>
              <p:nvPr/>
            </p:nvSpPr>
            <p:spPr bwMode="auto">
              <a:xfrm>
                <a:off x="5848958" y="3820955"/>
                <a:ext cx="89708" cy="86948"/>
              </a:xfrm>
              <a:custGeom>
                <a:avLst/>
                <a:gdLst>
                  <a:gd name="T0" fmla="*/ 16 w 31"/>
                  <a:gd name="T1" fmla="*/ 0 h 30"/>
                  <a:gd name="T2" fmla="*/ 15 w 31"/>
                  <a:gd name="T3" fmla="*/ 0 h 30"/>
                  <a:gd name="T4" fmla="*/ 0 w 31"/>
                  <a:gd name="T5" fmla="*/ 15 h 30"/>
                  <a:gd name="T6" fmla="*/ 0 w 31"/>
                  <a:gd name="T7" fmla="*/ 15 h 30"/>
                  <a:gd name="T8" fmla="*/ 16 w 31"/>
                  <a:gd name="T9" fmla="*/ 30 h 30"/>
                  <a:gd name="T10" fmla="*/ 16 w 31"/>
                  <a:gd name="T11" fmla="*/ 30 h 30"/>
                  <a:gd name="T12" fmla="*/ 31 w 31"/>
                  <a:gd name="T13" fmla="*/ 15 h 30"/>
                  <a:gd name="T14" fmla="*/ 31 w 31"/>
                  <a:gd name="T15" fmla="*/ 14 h 30"/>
                  <a:gd name="T16" fmla="*/ 28 w 31"/>
                  <a:gd name="T17" fmla="*/ 7 h 30"/>
                  <a:gd name="T18" fmla="*/ 16 w 31"/>
                  <a:gd name="T19" fmla="*/ 15 h 30"/>
                  <a:gd name="T20" fmla="*/ 23 w 31"/>
                  <a:gd name="T21" fmla="*/ 2 h 30"/>
                  <a:gd name="T22" fmla="*/ 16 w 31"/>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30">
                    <a:moveTo>
                      <a:pt x="16" y="0"/>
                    </a:moveTo>
                    <a:cubicBezTo>
                      <a:pt x="15" y="0"/>
                      <a:pt x="15" y="0"/>
                      <a:pt x="15" y="0"/>
                    </a:cubicBezTo>
                    <a:cubicBezTo>
                      <a:pt x="7" y="0"/>
                      <a:pt x="0" y="6"/>
                      <a:pt x="0" y="15"/>
                    </a:cubicBezTo>
                    <a:cubicBezTo>
                      <a:pt x="0" y="15"/>
                      <a:pt x="0" y="15"/>
                      <a:pt x="0" y="15"/>
                    </a:cubicBezTo>
                    <a:cubicBezTo>
                      <a:pt x="1" y="23"/>
                      <a:pt x="7" y="30"/>
                      <a:pt x="16" y="30"/>
                    </a:cubicBezTo>
                    <a:cubicBezTo>
                      <a:pt x="16" y="30"/>
                      <a:pt x="16" y="30"/>
                      <a:pt x="16" y="30"/>
                    </a:cubicBezTo>
                    <a:cubicBezTo>
                      <a:pt x="24" y="30"/>
                      <a:pt x="31" y="23"/>
                      <a:pt x="31" y="15"/>
                    </a:cubicBezTo>
                    <a:cubicBezTo>
                      <a:pt x="31" y="15"/>
                      <a:pt x="31" y="14"/>
                      <a:pt x="31" y="14"/>
                    </a:cubicBezTo>
                    <a:cubicBezTo>
                      <a:pt x="31" y="12"/>
                      <a:pt x="30" y="9"/>
                      <a:pt x="28" y="7"/>
                    </a:cubicBezTo>
                    <a:cubicBezTo>
                      <a:pt x="16" y="15"/>
                      <a:pt x="16" y="15"/>
                      <a:pt x="16" y="15"/>
                    </a:cubicBezTo>
                    <a:cubicBezTo>
                      <a:pt x="23" y="2"/>
                      <a:pt x="23" y="2"/>
                      <a:pt x="23" y="2"/>
                    </a:cubicBezTo>
                    <a:cubicBezTo>
                      <a:pt x="21" y="0"/>
                      <a:pt x="18" y="0"/>
                      <a:pt x="16" y="0"/>
                    </a:cubicBezTo>
                  </a:path>
                </a:pathLst>
              </a:custGeom>
              <a:solidFill>
                <a:srgbClr val="0031A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2" name="ïṡḷíḓê">
                <a:extLst>
                  <a:ext uri="{FF2B5EF4-FFF2-40B4-BE49-F238E27FC236}">
                    <a16:creationId xmlns:a16="http://schemas.microsoft.com/office/drawing/2014/main" id="{4B52A082-2618-464E-B923-B1D854784F60}"/>
                  </a:ext>
                </a:extLst>
              </p:cNvPr>
              <p:cNvSpPr/>
              <p:nvPr/>
            </p:nvSpPr>
            <p:spPr bwMode="auto">
              <a:xfrm>
                <a:off x="5840678" y="3735388"/>
                <a:ext cx="126971" cy="63486"/>
              </a:xfrm>
              <a:custGeom>
                <a:avLst/>
                <a:gdLst>
                  <a:gd name="T0" fmla="*/ 8 w 44"/>
                  <a:gd name="T1" fmla="*/ 0 h 22"/>
                  <a:gd name="T2" fmla="*/ 4 w 44"/>
                  <a:gd name="T3" fmla="*/ 1 h 22"/>
                  <a:gd name="T4" fmla="*/ 0 w 44"/>
                  <a:gd name="T5" fmla="*/ 5 h 22"/>
                  <a:gd name="T6" fmla="*/ 0 w 44"/>
                  <a:gd name="T7" fmla="*/ 5 h 22"/>
                  <a:gd name="T8" fmla="*/ 4 w 44"/>
                  <a:gd name="T9" fmla="*/ 9 h 22"/>
                  <a:gd name="T10" fmla="*/ 4 w 44"/>
                  <a:gd name="T11" fmla="*/ 9 h 22"/>
                  <a:gd name="T12" fmla="*/ 8 w 44"/>
                  <a:gd name="T13" fmla="*/ 9 h 22"/>
                  <a:gd name="T14" fmla="*/ 36 w 44"/>
                  <a:gd name="T15" fmla="*/ 21 h 22"/>
                  <a:gd name="T16" fmla="*/ 40 w 44"/>
                  <a:gd name="T17" fmla="*/ 22 h 22"/>
                  <a:gd name="T18" fmla="*/ 42 w 44"/>
                  <a:gd name="T19" fmla="*/ 22 h 22"/>
                  <a:gd name="T20" fmla="*/ 44 w 44"/>
                  <a:gd name="T21" fmla="*/ 18 h 22"/>
                  <a:gd name="T22" fmla="*/ 43 w 44"/>
                  <a:gd name="T23" fmla="*/ 16 h 22"/>
                  <a:gd name="T24" fmla="*/ 8 w 44"/>
                  <a:gd name="T2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22">
                    <a:moveTo>
                      <a:pt x="8" y="0"/>
                    </a:moveTo>
                    <a:cubicBezTo>
                      <a:pt x="7" y="0"/>
                      <a:pt x="5" y="0"/>
                      <a:pt x="4" y="1"/>
                    </a:cubicBezTo>
                    <a:cubicBezTo>
                      <a:pt x="1" y="1"/>
                      <a:pt x="0" y="3"/>
                      <a:pt x="0" y="5"/>
                    </a:cubicBezTo>
                    <a:cubicBezTo>
                      <a:pt x="0" y="5"/>
                      <a:pt x="0" y="5"/>
                      <a:pt x="0" y="5"/>
                    </a:cubicBezTo>
                    <a:cubicBezTo>
                      <a:pt x="0" y="7"/>
                      <a:pt x="2" y="9"/>
                      <a:pt x="4" y="9"/>
                    </a:cubicBezTo>
                    <a:cubicBezTo>
                      <a:pt x="4" y="9"/>
                      <a:pt x="4" y="9"/>
                      <a:pt x="4" y="9"/>
                    </a:cubicBezTo>
                    <a:cubicBezTo>
                      <a:pt x="6" y="9"/>
                      <a:pt x="7" y="9"/>
                      <a:pt x="8" y="9"/>
                    </a:cubicBezTo>
                    <a:cubicBezTo>
                      <a:pt x="17" y="9"/>
                      <a:pt x="29" y="11"/>
                      <a:pt x="36" y="21"/>
                    </a:cubicBezTo>
                    <a:cubicBezTo>
                      <a:pt x="37" y="22"/>
                      <a:pt x="38" y="22"/>
                      <a:pt x="40" y="22"/>
                    </a:cubicBezTo>
                    <a:cubicBezTo>
                      <a:pt x="40" y="22"/>
                      <a:pt x="41" y="22"/>
                      <a:pt x="42" y="22"/>
                    </a:cubicBezTo>
                    <a:cubicBezTo>
                      <a:pt x="43" y="21"/>
                      <a:pt x="44" y="19"/>
                      <a:pt x="44" y="18"/>
                    </a:cubicBezTo>
                    <a:cubicBezTo>
                      <a:pt x="44" y="17"/>
                      <a:pt x="44" y="16"/>
                      <a:pt x="43" y="16"/>
                    </a:cubicBezTo>
                    <a:cubicBezTo>
                      <a:pt x="35" y="6"/>
                      <a:pt x="23" y="0"/>
                      <a:pt x="8" y="0"/>
                    </a:cubicBezTo>
                  </a:path>
                </a:pathLst>
              </a:custGeom>
              <a:solidFill>
                <a:srgbClr val="0031A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3" name="íŝḷïḓê">
                <a:extLst>
                  <a:ext uri="{FF2B5EF4-FFF2-40B4-BE49-F238E27FC236}">
                    <a16:creationId xmlns:a16="http://schemas.microsoft.com/office/drawing/2014/main" id="{8A1657EC-820A-164C-98AC-DC0133E660FA}"/>
                  </a:ext>
                </a:extLst>
              </p:cNvPr>
              <p:cNvSpPr/>
              <p:nvPr/>
            </p:nvSpPr>
            <p:spPr bwMode="auto">
              <a:xfrm>
                <a:off x="5590876" y="3823715"/>
                <a:ext cx="86948" cy="86948"/>
              </a:xfrm>
              <a:custGeom>
                <a:avLst/>
                <a:gdLst>
                  <a:gd name="T0" fmla="*/ 15 w 30"/>
                  <a:gd name="T1" fmla="*/ 0 h 30"/>
                  <a:gd name="T2" fmla="*/ 15 w 30"/>
                  <a:gd name="T3" fmla="*/ 0 h 30"/>
                  <a:gd name="T4" fmla="*/ 0 w 30"/>
                  <a:gd name="T5" fmla="*/ 15 h 30"/>
                  <a:gd name="T6" fmla="*/ 0 w 30"/>
                  <a:gd name="T7" fmla="*/ 16 h 30"/>
                  <a:gd name="T8" fmla="*/ 15 w 30"/>
                  <a:gd name="T9" fmla="*/ 30 h 30"/>
                  <a:gd name="T10" fmla="*/ 15 w 30"/>
                  <a:gd name="T11" fmla="*/ 30 h 30"/>
                  <a:gd name="T12" fmla="*/ 30 w 30"/>
                  <a:gd name="T13" fmla="*/ 15 h 30"/>
                  <a:gd name="T14" fmla="*/ 30 w 30"/>
                  <a:gd name="T15" fmla="*/ 15 h 30"/>
                  <a:gd name="T16" fmla="*/ 28 w 30"/>
                  <a:gd name="T17" fmla="*/ 7 h 30"/>
                  <a:gd name="T18" fmla="*/ 15 w 30"/>
                  <a:gd name="T19" fmla="*/ 15 h 30"/>
                  <a:gd name="T20" fmla="*/ 23 w 30"/>
                  <a:gd name="T21" fmla="*/ 2 h 30"/>
                  <a:gd name="T22" fmla="*/ 15 w 30"/>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 h="30">
                    <a:moveTo>
                      <a:pt x="15" y="0"/>
                    </a:moveTo>
                    <a:cubicBezTo>
                      <a:pt x="15" y="0"/>
                      <a:pt x="15" y="0"/>
                      <a:pt x="15" y="0"/>
                    </a:cubicBezTo>
                    <a:cubicBezTo>
                      <a:pt x="7" y="0"/>
                      <a:pt x="0" y="7"/>
                      <a:pt x="0" y="15"/>
                    </a:cubicBezTo>
                    <a:cubicBezTo>
                      <a:pt x="0" y="15"/>
                      <a:pt x="0" y="15"/>
                      <a:pt x="0" y="16"/>
                    </a:cubicBezTo>
                    <a:cubicBezTo>
                      <a:pt x="0" y="24"/>
                      <a:pt x="7" y="30"/>
                      <a:pt x="15" y="30"/>
                    </a:cubicBezTo>
                    <a:cubicBezTo>
                      <a:pt x="15" y="30"/>
                      <a:pt x="15" y="30"/>
                      <a:pt x="15" y="30"/>
                    </a:cubicBezTo>
                    <a:cubicBezTo>
                      <a:pt x="24" y="30"/>
                      <a:pt x="30" y="24"/>
                      <a:pt x="30" y="15"/>
                    </a:cubicBezTo>
                    <a:cubicBezTo>
                      <a:pt x="30" y="15"/>
                      <a:pt x="30" y="15"/>
                      <a:pt x="30" y="15"/>
                    </a:cubicBezTo>
                    <a:cubicBezTo>
                      <a:pt x="30" y="12"/>
                      <a:pt x="29" y="9"/>
                      <a:pt x="28" y="7"/>
                    </a:cubicBezTo>
                    <a:cubicBezTo>
                      <a:pt x="15" y="15"/>
                      <a:pt x="15" y="15"/>
                      <a:pt x="15" y="15"/>
                    </a:cubicBezTo>
                    <a:cubicBezTo>
                      <a:pt x="23" y="2"/>
                      <a:pt x="23" y="2"/>
                      <a:pt x="23" y="2"/>
                    </a:cubicBezTo>
                    <a:cubicBezTo>
                      <a:pt x="20" y="1"/>
                      <a:pt x="18" y="0"/>
                      <a:pt x="15" y="0"/>
                    </a:cubicBezTo>
                  </a:path>
                </a:pathLst>
              </a:custGeom>
              <a:solidFill>
                <a:srgbClr val="0031A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4" name="iṥḷide">
                <a:extLst>
                  <a:ext uri="{FF2B5EF4-FFF2-40B4-BE49-F238E27FC236}">
                    <a16:creationId xmlns:a16="http://schemas.microsoft.com/office/drawing/2014/main" id="{FA70AA28-4592-3E4A-8DAA-C7644B87E953}"/>
                  </a:ext>
                </a:extLst>
              </p:cNvPr>
              <p:cNvSpPr/>
              <p:nvPr/>
            </p:nvSpPr>
            <p:spPr bwMode="auto">
              <a:xfrm>
                <a:off x="5563274" y="3735388"/>
                <a:ext cx="117311" cy="66246"/>
              </a:xfrm>
              <a:custGeom>
                <a:avLst/>
                <a:gdLst>
                  <a:gd name="T0" fmla="*/ 31 w 41"/>
                  <a:gd name="T1" fmla="*/ 0 h 23"/>
                  <a:gd name="T2" fmla="*/ 0 w 41"/>
                  <a:gd name="T3" fmla="*/ 17 h 23"/>
                  <a:gd name="T4" fmla="*/ 0 w 41"/>
                  <a:gd name="T5" fmla="*/ 19 h 23"/>
                  <a:gd name="T6" fmla="*/ 2 w 41"/>
                  <a:gd name="T7" fmla="*/ 23 h 23"/>
                  <a:gd name="T8" fmla="*/ 4 w 41"/>
                  <a:gd name="T9" fmla="*/ 23 h 23"/>
                  <a:gd name="T10" fmla="*/ 8 w 41"/>
                  <a:gd name="T11" fmla="*/ 21 h 23"/>
                  <a:gd name="T12" fmla="*/ 31 w 41"/>
                  <a:gd name="T13" fmla="*/ 8 h 23"/>
                  <a:gd name="T14" fmla="*/ 37 w 41"/>
                  <a:gd name="T15" fmla="*/ 9 h 23"/>
                  <a:gd name="T16" fmla="*/ 37 w 41"/>
                  <a:gd name="T17" fmla="*/ 9 h 23"/>
                  <a:gd name="T18" fmla="*/ 41 w 41"/>
                  <a:gd name="T19" fmla="*/ 5 h 23"/>
                  <a:gd name="T20" fmla="*/ 41 w 41"/>
                  <a:gd name="T21" fmla="*/ 4 h 23"/>
                  <a:gd name="T22" fmla="*/ 38 w 41"/>
                  <a:gd name="T23" fmla="*/ 0 h 23"/>
                  <a:gd name="T24" fmla="*/ 31 w 41"/>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23">
                    <a:moveTo>
                      <a:pt x="31" y="0"/>
                    </a:moveTo>
                    <a:cubicBezTo>
                      <a:pt x="18" y="0"/>
                      <a:pt x="6" y="6"/>
                      <a:pt x="0" y="17"/>
                    </a:cubicBezTo>
                    <a:cubicBezTo>
                      <a:pt x="0" y="18"/>
                      <a:pt x="0" y="18"/>
                      <a:pt x="0" y="19"/>
                    </a:cubicBezTo>
                    <a:cubicBezTo>
                      <a:pt x="0" y="21"/>
                      <a:pt x="1" y="22"/>
                      <a:pt x="2" y="23"/>
                    </a:cubicBezTo>
                    <a:cubicBezTo>
                      <a:pt x="3" y="23"/>
                      <a:pt x="4" y="23"/>
                      <a:pt x="4" y="23"/>
                    </a:cubicBezTo>
                    <a:cubicBezTo>
                      <a:pt x="6" y="23"/>
                      <a:pt x="7" y="23"/>
                      <a:pt x="8" y="21"/>
                    </a:cubicBezTo>
                    <a:cubicBezTo>
                      <a:pt x="11" y="14"/>
                      <a:pt x="20" y="8"/>
                      <a:pt x="31" y="8"/>
                    </a:cubicBezTo>
                    <a:cubicBezTo>
                      <a:pt x="33" y="8"/>
                      <a:pt x="35" y="8"/>
                      <a:pt x="37" y="9"/>
                    </a:cubicBezTo>
                    <a:cubicBezTo>
                      <a:pt x="37" y="9"/>
                      <a:pt x="37" y="9"/>
                      <a:pt x="37" y="9"/>
                    </a:cubicBezTo>
                    <a:cubicBezTo>
                      <a:pt x="39" y="9"/>
                      <a:pt x="41" y="7"/>
                      <a:pt x="41" y="5"/>
                    </a:cubicBezTo>
                    <a:cubicBezTo>
                      <a:pt x="41" y="5"/>
                      <a:pt x="41" y="5"/>
                      <a:pt x="41" y="4"/>
                    </a:cubicBezTo>
                    <a:cubicBezTo>
                      <a:pt x="41" y="2"/>
                      <a:pt x="40" y="1"/>
                      <a:pt x="38" y="0"/>
                    </a:cubicBezTo>
                    <a:cubicBezTo>
                      <a:pt x="36" y="0"/>
                      <a:pt x="34" y="0"/>
                      <a:pt x="31" y="0"/>
                    </a:cubicBezTo>
                  </a:path>
                </a:pathLst>
              </a:custGeom>
              <a:solidFill>
                <a:srgbClr val="0031A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5" name="îşľïḑè">
                <a:extLst>
                  <a:ext uri="{FF2B5EF4-FFF2-40B4-BE49-F238E27FC236}">
                    <a16:creationId xmlns:a16="http://schemas.microsoft.com/office/drawing/2014/main" id="{0FE7B03D-88F5-7B47-AE30-D2CE18C430AB}"/>
                  </a:ext>
                </a:extLst>
              </p:cNvPr>
              <p:cNvSpPr/>
              <p:nvPr/>
            </p:nvSpPr>
            <p:spPr bwMode="auto">
              <a:xfrm>
                <a:off x="8594018" y="3798873"/>
                <a:ext cx="175276" cy="194597"/>
              </a:xfrm>
              <a:custGeom>
                <a:avLst/>
                <a:gdLst>
                  <a:gd name="T0" fmla="*/ 27 w 61"/>
                  <a:gd name="T1" fmla="*/ 0 h 68"/>
                  <a:gd name="T2" fmla="*/ 5 w 61"/>
                  <a:gd name="T3" fmla="*/ 0 h 68"/>
                  <a:gd name="T4" fmla="*/ 5 w 61"/>
                  <a:gd name="T5" fmla="*/ 24 h 68"/>
                  <a:gd name="T6" fmla="*/ 7 w 61"/>
                  <a:gd name="T7" fmla="*/ 34 h 68"/>
                  <a:gd name="T8" fmla="*/ 3 w 61"/>
                  <a:gd name="T9" fmla="*/ 48 h 68"/>
                  <a:gd name="T10" fmla="*/ 0 w 61"/>
                  <a:gd name="T11" fmla="*/ 68 h 68"/>
                  <a:gd name="T12" fmla="*/ 27 w 61"/>
                  <a:gd name="T13" fmla="*/ 68 h 68"/>
                  <a:gd name="T14" fmla="*/ 61 w 61"/>
                  <a:gd name="T15" fmla="*/ 34 h 68"/>
                  <a:gd name="T16" fmla="*/ 27 w 61"/>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68">
                    <a:moveTo>
                      <a:pt x="27" y="0"/>
                    </a:moveTo>
                    <a:cubicBezTo>
                      <a:pt x="5" y="0"/>
                      <a:pt x="5" y="0"/>
                      <a:pt x="5" y="0"/>
                    </a:cubicBezTo>
                    <a:cubicBezTo>
                      <a:pt x="5" y="8"/>
                      <a:pt x="5" y="16"/>
                      <a:pt x="5" y="24"/>
                    </a:cubicBezTo>
                    <a:cubicBezTo>
                      <a:pt x="6" y="27"/>
                      <a:pt x="7" y="30"/>
                      <a:pt x="7" y="34"/>
                    </a:cubicBezTo>
                    <a:cubicBezTo>
                      <a:pt x="7" y="39"/>
                      <a:pt x="6" y="44"/>
                      <a:pt x="3" y="48"/>
                    </a:cubicBezTo>
                    <a:cubicBezTo>
                      <a:pt x="2" y="55"/>
                      <a:pt x="1" y="61"/>
                      <a:pt x="0" y="68"/>
                    </a:cubicBezTo>
                    <a:cubicBezTo>
                      <a:pt x="27" y="68"/>
                      <a:pt x="27" y="68"/>
                      <a:pt x="27" y="68"/>
                    </a:cubicBezTo>
                    <a:cubicBezTo>
                      <a:pt x="46" y="68"/>
                      <a:pt x="61" y="53"/>
                      <a:pt x="61" y="34"/>
                    </a:cubicBezTo>
                    <a:cubicBezTo>
                      <a:pt x="61" y="16"/>
                      <a:pt x="46" y="0"/>
                      <a:pt x="2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6" name="îš1íďê">
                <a:extLst>
                  <a:ext uri="{FF2B5EF4-FFF2-40B4-BE49-F238E27FC236}">
                    <a16:creationId xmlns:a16="http://schemas.microsoft.com/office/drawing/2014/main" id="{2DFD61D8-FF85-EA45-A734-121262DF8671}"/>
                  </a:ext>
                </a:extLst>
              </p:cNvPr>
              <p:cNvSpPr/>
              <p:nvPr/>
            </p:nvSpPr>
            <p:spPr bwMode="auto">
              <a:xfrm>
                <a:off x="6551440" y="3798873"/>
                <a:ext cx="2056379" cy="194597"/>
              </a:xfrm>
              <a:custGeom>
                <a:avLst/>
                <a:gdLst>
                  <a:gd name="T0" fmla="*/ 715 w 717"/>
                  <a:gd name="T1" fmla="*/ 48 h 68"/>
                  <a:gd name="T2" fmla="*/ 696 w 717"/>
                  <a:gd name="T3" fmla="*/ 58 h 68"/>
                  <a:gd name="T4" fmla="*/ 659 w 717"/>
                  <a:gd name="T5" fmla="*/ 58 h 68"/>
                  <a:gd name="T6" fmla="*/ 674 w 717"/>
                  <a:gd name="T7" fmla="*/ 68 h 68"/>
                  <a:gd name="T8" fmla="*/ 712 w 717"/>
                  <a:gd name="T9" fmla="*/ 68 h 68"/>
                  <a:gd name="T10" fmla="*/ 715 w 717"/>
                  <a:gd name="T11" fmla="*/ 48 h 68"/>
                  <a:gd name="T12" fmla="*/ 86 w 717"/>
                  <a:gd name="T13" fmla="*/ 0 h 68"/>
                  <a:gd name="T14" fmla="*/ 33 w 717"/>
                  <a:gd name="T15" fmla="*/ 0 h 68"/>
                  <a:gd name="T16" fmla="*/ 0 w 717"/>
                  <a:gd name="T17" fmla="*/ 34 h 68"/>
                  <a:gd name="T18" fmla="*/ 33 w 717"/>
                  <a:gd name="T19" fmla="*/ 68 h 68"/>
                  <a:gd name="T20" fmla="*/ 99 w 717"/>
                  <a:gd name="T21" fmla="*/ 68 h 68"/>
                  <a:gd name="T22" fmla="*/ 113 w 717"/>
                  <a:gd name="T23" fmla="*/ 58 h 68"/>
                  <a:gd name="T24" fmla="*/ 77 w 717"/>
                  <a:gd name="T25" fmla="*/ 58 h 68"/>
                  <a:gd name="T26" fmla="*/ 53 w 717"/>
                  <a:gd name="T27" fmla="*/ 34 h 68"/>
                  <a:gd name="T28" fmla="*/ 77 w 717"/>
                  <a:gd name="T29" fmla="*/ 11 h 68"/>
                  <a:gd name="T30" fmla="*/ 92 w 717"/>
                  <a:gd name="T31" fmla="*/ 11 h 68"/>
                  <a:gd name="T32" fmla="*/ 86 w 717"/>
                  <a:gd name="T33" fmla="*/ 0 h 68"/>
                  <a:gd name="T34" fmla="*/ 717 w 717"/>
                  <a:gd name="T35" fmla="*/ 0 h 68"/>
                  <a:gd name="T36" fmla="*/ 694 w 717"/>
                  <a:gd name="T37" fmla="*/ 0 h 68"/>
                  <a:gd name="T38" fmla="*/ 690 w 717"/>
                  <a:gd name="T39" fmla="*/ 11 h 68"/>
                  <a:gd name="T40" fmla="*/ 696 w 717"/>
                  <a:gd name="T41" fmla="*/ 11 h 68"/>
                  <a:gd name="T42" fmla="*/ 717 w 717"/>
                  <a:gd name="T43" fmla="*/ 24 h 68"/>
                  <a:gd name="T44" fmla="*/ 717 w 717"/>
                  <a:gd name="T45"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17" h="68">
                    <a:moveTo>
                      <a:pt x="715" y="48"/>
                    </a:moveTo>
                    <a:cubicBezTo>
                      <a:pt x="711" y="54"/>
                      <a:pt x="704" y="58"/>
                      <a:pt x="696" y="58"/>
                    </a:cubicBezTo>
                    <a:cubicBezTo>
                      <a:pt x="659" y="58"/>
                      <a:pt x="659" y="58"/>
                      <a:pt x="659" y="58"/>
                    </a:cubicBezTo>
                    <a:cubicBezTo>
                      <a:pt x="666" y="58"/>
                      <a:pt x="671" y="62"/>
                      <a:pt x="674" y="68"/>
                    </a:cubicBezTo>
                    <a:cubicBezTo>
                      <a:pt x="712" y="68"/>
                      <a:pt x="712" y="68"/>
                      <a:pt x="712" y="68"/>
                    </a:cubicBezTo>
                    <a:cubicBezTo>
                      <a:pt x="713" y="61"/>
                      <a:pt x="714" y="55"/>
                      <a:pt x="715" y="48"/>
                    </a:cubicBezTo>
                    <a:moveTo>
                      <a:pt x="86" y="0"/>
                    </a:moveTo>
                    <a:cubicBezTo>
                      <a:pt x="33" y="0"/>
                      <a:pt x="33" y="0"/>
                      <a:pt x="33" y="0"/>
                    </a:cubicBezTo>
                    <a:cubicBezTo>
                      <a:pt x="15" y="0"/>
                      <a:pt x="0" y="16"/>
                      <a:pt x="0" y="34"/>
                    </a:cubicBezTo>
                    <a:cubicBezTo>
                      <a:pt x="0" y="53"/>
                      <a:pt x="15" y="68"/>
                      <a:pt x="33" y="68"/>
                    </a:cubicBezTo>
                    <a:cubicBezTo>
                      <a:pt x="99" y="68"/>
                      <a:pt x="99" y="68"/>
                      <a:pt x="99" y="68"/>
                    </a:cubicBezTo>
                    <a:cubicBezTo>
                      <a:pt x="101" y="62"/>
                      <a:pt x="107" y="58"/>
                      <a:pt x="113" y="58"/>
                    </a:cubicBezTo>
                    <a:cubicBezTo>
                      <a:pt x="77" y="58"/>
                      <a:pt x="77" y="58"/>
                      <a:pt x="77" y="58"/>
                    </a:cubicBezTo>
                    <a:cubicBezTo>
                      <a:pt x="64" y="58"/>
                      <a:pt x="53" y="47"/>
                      <a:pt x="53" y="34"/>
                    </a:cubicBezTo>
                    <a:cubicBezTo>
                      <a:pt x="53" y="21"/>
                      <a:pt x="64" y="11"/>
                      <a:pt x="77" y="11"/>
                    </a:cubicBezTo>
                    <a:cubicBezTo>
                      <a:pt x="92" y="11"/>
                      <a:pt x="92" y="11"/>
                      <a:pt x="92" y="11"/>
                    </a:cubicBezTo>
                    <a:cubicBezTo>
                      <a:pt x="86" y="0"/>
                      <a:pt x="86" y="0"/>
                      <a:pt x="86" y="0"/>
                    </a:cubicBezTo>
                    <a:moveTo>
                      <a:pt x="717" y="0"/>
                    </a:moveTo>
                    <a:cubicBezTo>
                      <a:pt x="694" y="0"/>
                      <a:pt x="694" y="0"/>
                      <a:pt x="694" y="0"/>
                    </a:cubicBezTo>
                    <a:cubicBezTo>
                      <a:pt x="690" y="11"/>
                      <a:pt x="690" y="11"/>
                      <a:pt x="690" y="11"/>
                    </a:cubicBezTo>
                    <a:cubicBezTo>
                      <a:pt x="696" y="11"/>
                      <a:pt x="696" y="11"/>
                      <a:pt x="696" y="11"/>
                    </a:cubicBezTo>
                    <a:cubicBezTo>
                      <a:pt x="705" y="11"/>
                      <a:pt x="713" y="16"/>
                      <a:pt x="717" y="24"/>
                    </a:cubicBezTo>
                    <a:cubicBezTo>
                      <a:pt x="717" y="16"/>
                      <a:pt x="717" y="8"/>
                      <a:pt x="717" y="0"/>
                    </a:cubicBezTo>
                  </a:path>
                </a:pathLst>
              </a:custGeom>
              <a:solidFill>
                <a:srgbClr val="A7C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7" name="iṣliḓé">
                <a:extLst>
                  <a:ext uri="{FF2B5EF4-FFF2-40B4-BE49-F238E27FC236}">
                    <a16:creationId xmlns:a16="http://schemas.microsoft.com/office/drawing/2014/main" id="{748E58E7-E61F-0641-891A-796B86531E94}"/>
                  </a:ext>
                </a:extLst>
              </p:cNvPr>
              <p:cNvSpPr/>
              <p:nvPr/>
            </p:nvSpPr>
            <p:spPr bwMode="auto">
              <a:xfrm>
                <a:off x="8602299" y="3867879"/>
                <a:ext cx="11041" cy="67626"/>
              </a:xfrm>
              <a:custGeom>
                <a:avLst/>
                <a:gdLst>
                  <a:gd name="T0" fmla="*/ 2 w 4"/>
                  <a:gd name="T1" fmla="*/ 0 h 24"/>
                  <a:gd name="T2" fmla="*/ 0 w 4"/>
                  <a:gd name="T3" fmla="*/ 24 h 24"/>
                  <a:gd name="T4" fmla="*/ 4 w 4"/>
                  <a:gd name="T5" fmla="*/ 10 h 24"/>
                  <a:gd name="T6" fmla="*/ 2 w 4"/>
                  <a:gd name="T7" fmla="*/ 0 h 24"/>
                </a:gdLst>
                <a:ahLst/>
                <a:cxnLst>
                  <a:cxn ang="0">
                    <a:pos x="T0" y="T1"/>
                  </a:cxn>
                  <a:cxn ang="0">
                    <a:pos x="T2" y="T3"/>
                  </a:cxn>
                  <a:cxn ang="0">
                    <a:pos x="T4" y="T5"/>
                  </a:cxn>
                  <a:cxn ang="0">
                    <a:pos x="T6" y="T7"/>
                  </a:cxn>
                </a:cxnLst>
                <a:rect l="0" t="0" r="r" b="b"/>
                <a:pathLst>
                  <a:path w="4" h="24">
                    <a:moveTo>
                      <a:pt x="2" y="0"/>
                    </a:moveTo>
                    <a:cubicBezTo>
                      <a:pt x="1" y="8"/>
                      <a:pt x="1" y="16"/>
                      <a:pt x="0" y="24"/>
                    </a:cubicBezTo>
                    <a:cubicBezTo>
                      <a:pt x="3" y="20"/>
                      <a:pt x="4" y="15"/>
                      <a:pt x="4" y="10"/>
                    </a:cubicBezTo>
                    <a:cubicBezTo>
                      <a:pt x="4" y="6"/>
                      <a:pt x="3" y="3"/>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8" name="ïṧļíḋe">
                <a:extLst>
                  <a:ext uri="{FF2B5EF4-FFF2-40B4-BE49-F238E27FC236}">
                    <a16:creationId xmlns:a16="http://schemas.microsoft.com/office/drawing/2014/main" id="{B57CECD6-C10A-534D-BE83-B7683C153D28}"/>
                  </a:ext>
                </a:extLst>
              </p:cNvPr>
              <p:cNvSpPr/>
              <p:nvPr/>
            </p:nvSpPr>
            <p:spPr bwMode="auto">
              <a:xfrm>
                <a:off x="6704633" y="3830615"/>
                <a:ext cx="1903186" cy="133872"/>
              </a:xfrm>
              <a:custGeom>
                <a:avLst/>
                <a:gdLst>
                  <a:gd name="T0" fmla="*/ 643 w 664"/>
                  <a:gd name="T1" fmla="*/ 0 h 47"/>
                  <a:gd name="T2" fmla="*/ 637 w 664"/>
                  <a:gd name="T3" fmla="*/ 0 h 47"/>
                  <a:gd name="T4" fmla="*/ 628 w 664"/>
                  <a:gd name="T5" fmla="*/ 24 h 47"/>
                  <a:gd name="T6" fmla="*/ 318 w 664"/>
                  <a:gd name="T7" fmla="*/ 24 h 47"/>
                  <a:gd name="T8" fmla="*/ 318 w 664"/>
                  <a:gd name="T9" fmla="*/ 24 h 47"/>
                  <a:gd name="T10" fmla="*/ 53 w 664"/>
                  <a:gd name="T11" fmla="*/ 23 h 47"/>
                  <a:gd name="T12" fmla="*/ 39 w 664"/>
                  <a:gd name="T13" fmla="*/ 0 h 47"/>
                  <a:gd name="T14" fmla="*/ 24 w 664"/>
                  <a:gd name="T15" fmla="*/ 0 h 47"/>
                  <a:gd name="T16" fmla="*/ 0 w 664"/>
                  <a:gd name="T17" fmla="*/ 23 h 47"/>
                  <a:gd name="T18" fmla="*/ 24 w 664"/>
                  <a:gd name="T19" fmla="*/ 47 h 47"/>
                  <a:gd name="T20" fmla="*/ 60 w 664"/>
                  <a:gd name="T21" fmla="*/ 47 h 47"/>
                  <a:gd name="T22" fmla="*/ 60 w 664"/>
                  <a:gd name="T23" fmla="*/ 47 h 47"/>
                  <a:gd name="T24" fmla="*/ 606 w 664"/>
                  <a:gd name="T25" fmla="*/ 47 h 47"/>
                  <a:gd name="T26" fmla="*/ 606 w 664"/>
                  <a:gd name="T27" fmla="*/ 47 h 47"/>
                  <a:gd name="T28" fmla="*/ 643 w 664"/>
                  <a:gd name="T29" fmla="*/ 47 h 47"/>
                  <a:gd name="T30" fmla="*/ 662 w 664"/>
                  <a:gd name="T31" fmla="*/ 37 h 47"/>
                  <a:gd name="T32" fmla="*/ 664 w 664"/>
                  <a:gd name="T33" fmla="*/ 13 h 47"/>
                  <a:gd name="T34" fmla="*/ 643 w 664"/>
                  <a:gd name="T3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4" h="47">
                    <a:moveTo>
                      <a:pt x="643" y="0"/>
                    </a:moveTo>
                    <a:cubicBezTo>
                      <a:pt x="637" y="0"/>
                      <a:pt x="637" y="0"/>
                      <a:pt x="637" y="0"/>
                    </a:cubicBezTo>
                    <a:cubicBezTo>
                      <a:pt x="628" y="24"/>
                      <a:pt x="628" y="24"/>
                      <a:pt x="628" y="24"/>
                    </a:cubicBezTo>
                    <a:cubicBezTo>
                      <a:pt x="318" y="24"/>
                      <a:pt x="318" y="24"/>
                      <a:pt x="318" y="24"/>
                    </a:cubicBezTo>
                    <a:cubicBezTo>
                      <a:pt x="318" y="24"/>
                      <a:pt x="318" y="24"/>
                      <a:pt x="318" y="24"/>
                    </a:cubicBezTo>
                    <a:cubicBezTo>
                      <a:pt x="53" y="23"/>
                      <a:pt x="53" y="23"/>
                      <a:pt x="53" y="23"/>
                    </a:cubicBezTo>
                    <a:cubicBezTo>
                      <a:pt x="39" y="0"/>
                      <a:pt x="39" y="0"/>
                      <a:pt x="39" y="0"/>
                    </a:cubicBezTo>
                    <a:cubicBezTo>
                      <a:pt x="24" y="0"/>
                      <a:pt x="24" y="0"/>
                      <a:pt x="24" y="0"/>
                    </a:cubicBezTo>
                    <a:cubicBezTo>
                      <a:pt x="11" y="0"/>
                      <a:pt x="0" y="10"/>
                      <a:pt x="0" y="23"/>
                    </a:cubicBezTo>
                    <a:cubicBezTo>
                      <a:pt x="0" y="36"/>
                      <a:pt x="11" y="47"/>
                      <a:pt x="24" y="47"/>
                    </a:cubicBezTo>
                    <a:cubicBezTo>
                      <a:pt x="60" y="47"/>
                      <a:pt x="60" y="47"/>
                      <a:pt x="60" y="47"/>
                    </a:cubicBezTo>
                    <a:cubicBezTo>
                      <a:pt x="60" y="47"/>
                      <a:pt x="60" y="47"/>
                      <a:pt x="60" y="47"/>
                    </a:cubicBezTo>
                    <a:cubicBezTo>
                      <a:pt x="606" y="47"/>
                      <a:pt x="606" y="47"/>
                      <a:pt x="606" y="47"/>
                    </a:cubicBezTo>
                    <a:cubicBezTo>
                      <a:pt x="606" y="47"/>
                      <a:pt x="606" y="47"/>
                      <a:pt x="606" y="47"/>
                    </a:cubicBezTo>
                    <a:cubicBezTo>
                      <a:pt x="643" y="47"/>
                      <a:pt x="643" y="47"/>
                      <a:pt x="643" y="47"/>
                    </a:cubicBezTo>
                    <a:cubicBezTo>
                      <a:pt x="651" y="47"/>
                      <a:pt x="658" y="43"/>
                      <a:pt x="662" y="37"/>
                    </a:cubicBezTo>
                    <a:cubicBezTo>
                      <a:pt x="663" y="29"/>
                      <a:pt x="663" y="21"/>
                      <a:pt x="664" y="13"/>
                    </a:cubicBezTo>
                    <a:cubicBezTo>
                      <a:pt x="660" y="5"/>
                      <a:pt x="652" y="0"/>
                      <a:pt x="643" y="0"/>
                    </a:cubicBezTo>
                  </a:path>
                </a:pathLst>
              </a:custGeom>
              <a:solidFill>
                <a:srgbClr val="C4D6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9" name="îSlíďè">
                <a:extLst>
                  <a:ext uri="{FF2B5EF4-FFF2-40B4-BE49-F238E27FC236}">
                    <a16:creationId xmlns:a16="http://schemas.microsoft.com/office/drawing/2014/main" id="{3B822D82-F5CC-4A4D-9F75-3FDFC0C04DBD}"/>
                  </a:ext>
                </a:extLst>
              </p:cNvPr>
              <p:cNvSpPr/>
              <p:nvPr/>
            </p:nvSpPr>
            <p:spPr bwMode="auto">
              <a:xfrm>
                <a:off x="6832985" y="3993470"/>
                <a:ext cx="1652004" cy="56585"/>
              </a:xfrm>
              <a:custGeom>
                <a:avLst/>
                <a:gdLst>
                  <a:gd name="T0" fmla="*/ 576 w 576"/>
                  <a:gd name="T1" fmla="*/ 0 h 20"/>
                  <a:gd name="T2" fmla="*/ 1 w 576"/>
                  <a:gd name="T3" fmla="*/ 0 h 20"/>
                  <a:gd name="T4" fmla="*/ 0 w 576"/>
                  <a:gd name="T5" fmla="*/ 5 h 20"/>
                  <a:gd name="T6" fmla="*/ 15 w 576"/>
                  <a:gd name="T7" fmla="*/ 20 h 20"/>
                  <a:gd name="T8" fmla="*/ 561 w 576"/>
                  <a:gd name="T9" fmla="*/ 20 h 20"/>
                  <a:gd name="T10" fmla="*/ 576 w 576"/>
                  <a:gd name="T11" fmla="*/ 5 h 20"/>
                  <a:gd name="T12" fmla="*/ 576 w 576"/>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576" h="20">
                    <a:moveTo>
                      <a:pt x="576" y="0"/>
                    </a:moveTo>
                    <a:cubicBezTo>
                      <a:pt x="1" y="0"/>
                      <a:pt x="1" y="0"/>
                      <a:pt x="1" y="0"/>
                    </a:cubicBezTo>
                    <a:cubicBezTo>
                      <a:pt x="1" y="2"/>
                      <a:pt x="0" y="3"/>
                      <a:pt x="0" y="5"/>
                    </a:cubicBezTo>
                    <a:cubicBezTo>
                      <a:pt x="0" y="14"/>
                      <a:pt x="7" y="20"/>
                      <a:pt x="15" y="20"/>
                    </a:cubicBezTo>
                    <a:cubicBezTo>
                      <a:pt x="561" y="20"/>
                      <a:pt x="561" y="20"/>
                      <a:pt x="561" y="20"/>
                    </a:cubicBezTo>
                    <a:cubicBezTo>
                      <a:pt x="570" y="20"/>
                      <a:pt x="576" y="14"/>
                      <a:pt x="576" y="5"/>
                    </a:cubicBezTo>
                    <a:cubicBezTo>
                      <a:pt x="576" y="3"/>
                      <a:pt x="576" y="2"/>
                      <a:pt x="576" y="0"/>
                    </a:cubicBezTo>
                  </a:path>
                </a:pathLst>
              </a:custGeom>
              <a:solidFill>
                <a:srgbClr val="789A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0" name="íş1íde">
                <a:extLst>
                  <a:ext uri="{FF2B5EF4-FFF2-40B4-BE49-F238E27FC236}">
                    <a16:creationId xmlns:a16="http://schemas.microsoft.com/office/drawing/2014/main" id="{2DFD567F-5C51-624E-8503-3906F599D570}"/>
                  </a:ext>
                </a:extLst>
              </p:cNvPr>
              <p:cNvSpPr/>
              <p:nvPr/>
            </p:nvSpPr>
            <p:spPr bwMode="auto">
              <a:xfrm>
                <a:off x="6835745" y="3964488"/>
                <a:ext cx="1649244" cy="28983"/>
              </a:xfrm>
              <a:custGeom>
                <a:avLst/>
                <a:gdLst>
                  <a:gd name="T0" fmla="*/ 560 w 575"/>
                  <a:gd name="T1" fmla="*/ 0 h 10"/>
                  <a:gd name="T2" fmla="*/ 14 w 575"/>
                  <a:gd name="T3" fmla="*/ 0 h 10"/>
                  <a:gd name="T4" fmla="*/ 0 w 575"/>
                  <a:gd name="T5" fmla="*/ 10 h 10"/>
                  <a:gd name="T6" fmla="*/ 575 w 575"/>
                  <a:gd name="T7" fmla="*/ 10 h 10"/>
                  <a:gd name="T8" fmla="*/ 560 w 575"/>
                  <a:gd name="T9" fmla="*/ 0 h 10"/>
                </a:gdLst>
                <a:ahLst/>
                <a:cxnLst>
                  <a:cxn ang="0">
                    <a:pos x="T0" y="T1"/>
                  </a:cxn>
                  <a:cxn ang="0">
                    <a:pos x="T2" y="T3"/>
                  </a:cxn>
                  <a:cxn ang="0">
                    <a:pos x="T4" y="T5"/>
                  </a:cxn>
                  <a:cxn ang="0">
                    <a:pos x="T6" y="T7"/>
                  </a:cxn>
                  <a:cxn ang="0">
                    <a:pos x="T8" y="T9"/>
                  </a:cxn>
                </a:cxnLst>
                <a:rect l="0" t="0" r="r" b="b"/>
                <a:pathLst>
                  <a:path w="575" h="10">
                    <a:moveTo>
                      <a:pt x="560" y="0"/>
                    </a:moveTo>
                    <a:cubicBezTo>
                      <a:pt x="14" y="0"/>
                      <a:pt x="14" y="0"/>
                      <a:pt x="14" y="0"/>
                    </a:cubicBezTo>
                    <a:cubicBezTo>
                      <a:pt x="8" y="0"/>
                      <a:pt x="2" y="4"/>
                      <a:pt x="0" y="10"/>
                    </a:cubicBezTo>
                    <a:cubicBezTo>
                      <a:pt x="575" y="10"/>
                      <a:pt x="575" y="10"/>
                      <a:pt x="575" y="10"/>
                    </a:cubicBezTo>
                    <a:cubicBezTo>
                      <a:pt x="572" y="4"/>
                      <a:pt x="567" y="0"/>
                      <a:pt x="560" y="0"/>
                    </a:cubicBezTo>
                  </a:path>
                </a:pathLst>
              </a:custGeom>
              <a:solidFill>
                <a:srgbClr val="93AC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1" name="ïşḷíḓê">
                <a:extLst>
                  <a:ext uri="{FF2B5EF4-FFF2-40B4-BE49-F238E27FC236}">
                    <a16:creationId xmlns:a16="http://schemas.microsoft.com/office/drawing/2014/main" id="{D50C1F63-ED6B-F941-B3AF-05D2B49AD61A}"/>
                  </a:ext>
                </a:extLst>
              </p:cNvPr>
              <p:cNvSpPr/>
              <p:nvPr/>
            </p:nvSpPr>
            <p:spPr bwMode="auto">
              <a:xfrm>
                <a:off x="6890950" y="3208182"/>
                <a:ext cx="452679" cy="258083"/>
              </a:xfrm>
              <a:prstGeom prst="rect">
                <a:avLst/>
              </a:prstGeom>
              <a:solidFill>
                <a:srgbClr val="597FD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672" name="ïSḷïďe">
                <a:extLst>
                  <a:ext uri="{FF2B5EF4-FFF2-40B4-BE49-F238E27FC236}">
                    <a16:creationId xmlns:a16="http://schemas.microsoft.com/office/drawing/2014/main" id="{6BBCF646-F776-EC4A-8581-EE926BEC9B69}"/>
                  </a:ext>
                </a:extLst>
              </p:cNvPr>
              <p:cNvSpPr/>
              <p:nvPr/>
            </p:nvSpPr>
            <p:spPr bwMode="auto">
              <a:xfrm>
                <a:off x="6890950" y="3208182"/>
                <a:ext cx="452679" cy="258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673" name="îšḷide">
                <a:extLst>
                  <a:ext uri="{FF2B5EF4-FFF2-40B4-BE49-F238E27FC236}">
                    <a16:creationId xmlns:a16="http://schemas.microsoft.com/office/drawing/2014/main" id="{19A3F033-518C-1243-9A81-47501B1E5B20}"/>
                  </a:ext>
                </a:extLst>
              </p:cNvPr>
              <p:cNvSpPr/>
              <p:nvPr/>
            </p:nvSpPr>
            <p:spPr bwMode="auto">
              <a:xfrm>
                <a:off x="6918552" y="3219223"/>
                <a:ext cx="12422" cy="186317"/>
              </a:xfrm>
              <a:custGeom>
                <a:avLst/>
                <a:gdLst>
                  <a:gd name="T0" fmla="*/ 2 w 4"/>
                  <a:gd name="T1" fmla="*/ 0 h 65"/>
                  <a:gd name="T2" fmla="*/ 0 w 4"/>
                  <a:gd name="T3" fmla="*/ 2 h 65"/>
                  <a:gd name="T4" fmla="*/ 0 w 4"/>
                  <a:gd name="T5" fmla="*/ 61 h 65"/>
                  <a:gd name="T6" fmla="*/ 4 w 4"/>
                  <a:gd name="T7" fmla="*/ 65 h 65"/>
                  <a:gd name="T8" fmla="*/ 4 w 4"/>
                  <a:gd name="T9" fmla="*/ 2 h 65"/>
                  <a:gd name="T10" fmla="*/ 2 w 4"/>
                  <a:gd name="T11" fmla="*/ 0 h 65"/>
                </a:gdLst>
                <a:ahLst/>
                <a:cxnLst>
                  <a:cxn ang="0">
                    <a:pos x="T0" y="T1"/>
                  </a:cxn>
                  <a:cxn ang="0">
                    <a:pos x="T2" y="T3"/>
                  </a:cxn>
                  <a:cxn ang="0">
                    <a:pos x="T4" y="T5"/>
                  </a:cxn>
                  <a:cxn ang="0">
                    <a:pos x="T6" y="T7"/>
                  </a:cxn>
                  <a:cxn ang="0">
                    <a:pos x="T8" y="T9"/>
                  </a:cxn>
                  <a:cxn ang="0">
                    <a:pos x="T10" y="T11"/>
                  </a:cxn>
                </a:cxnLst>
                <a:rect l="0" t="0" r="r" b="b"/>
                <a:pathLst>
                  <a:path w="4" h="65">
                    <a:moveTo>
                      <a:pt x="2" y="0"/>
                    </a:moveTo>
                    <a:cubicBezTo>
                      <a:pt x="1" y="0"/>
                      <a:pt x="0" y="1"/>
                      <a:pt x="0" y="2"/>
                    </a:cubicBezTo>
                    <a:cubicBezTo>
                      <a:pt x="0" y="61"/>
                      <a:pt x="0" y="61"/>
                      <a:pt x="0" y="61"/>
                    </a:cubicBezTo>
                    <a:cubicBezTo>
                      <a:pt x="1" y="63"/>
                      <a:pt x="3" y="64"/>
                      <a:pt x="4" y="65"/>
                    </a:cubicBezTo>
                    <a:cubicBezTo>
                      <a:pt x="4" y="2"/>
                      <a:pt x="4" y="2"/>
                      <a:pt x="4" y="2"/>
                    </a:cubicBezTo>
                    <a:cubicBezTo>
                      <a:pt x="4" y="1"/>
                      <a:pt x="3" y="0"/>
                      <a:pt x="2" y="0"/>
                    </a:cubicBezTo>
                  </a:path>
                </a:pathLst>
              </a:custGeom>
              <a:solidFill>
                <a:srgbClr val="6E8F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4" name="î$ļíḍè">
                <a:extLst>
                  <a:ext uri="{FF2B5EF4-FFF2-40B4-BE49-F238E27FC236}">
                    <a16:creationId xmlns:a16="http://schemas.microsoft.com/office/drawing/2014/main" id="{03A00EB9-6D1A-C54B-B0A7-9DFC337C1AE6}"/>
                  </a:ext>
                </a:extLst>
              </p:cNvPr>
              <p:cNvSpPr/>
              <p:nvPr/>
            </p:nvSpPr>
            <p:spPr bwMode="auto">
              <a:xfrm>
                <a:off x="6953055" y="3219223"/>
                <a:ext cx="15182" cy="209778"/>
              </a:xfrm>
              <a:custGeom>
                <a:avLst/>
                <a:gdLst>
                  <a:gd name="T0" fmla="*/ 2 w 5"/>
                  <a:gd name="T1" fmla="*/ 0 h 73"/>
                  <a:gd name="T2" fmla="*/ 0 w 5"/>
                  <a:gd name="T3" fmla="*/ 2 h 73"/>
                  <a:gd name="T4" fmla="*/ 0 w 5"/>
                  <a:gd name="T5" fmla="*/ 71 h 73"/>
                  <a:gd name="T6" fmla="*/ 5 w 5"/>
                  <a:gd name="T7" fmla="*/ 73 h 73"/>
                  <a:gd name="T8" fmla="*/ 5 w 5"/>
                  <a:gd name="T9" fmla="*/ 2 h 73"/>
                  <a:gd name="T10" fmla="*/ 2 w 5"/>
                  <a:gd name="T11" fmla="*/ 0 h 73"/>
                </a:gdLst>
                <a:ahLst/>
                <a:cxnLst>
                  <a:cxn ang="0">
                    <a:pos x="T0" y="T1"/>
                  </a:cxn>
                  <a:cxn ang="0">
                    <a:pos x="T2" y="T3"/>
                  </a:cxn>
                  <a:cxn ang="0">
                    <a:pos x="T4" y="T5"/>
                  </a:cxn>
                  <a:cxn ang="0">
                    <a:pos x="T6" y="T7"/>
                  </a:cxn>
                  <a:cxn ang="0">
                    <a:pos x="T8" y="T9"/>
                  </a:cxn>
                  <a:cxn ang="0">
                    <a:pos x="T10" y="T11"/>
                  </a:cxn>
                </a:cxnLst>
                <a:rect l="0" t="0" r="r" b="b"/>
                <a:pathLst>
                  <a:path w="5" h="73">
                    <a:moveTo>
                      <a:pt x="2" y="0"/>
                    </a:moveTo>
                    <a:cubicBezTo>
                      <a:pt x="1" y="0"/>
                      <a:pt x="0" y="1"/>
                      <a:pt x="0" y="2"/>
                    </a:cubicBezTo>
                    <a:cubicBezTo>
                      <a:pt x="0" y="71"/>
                      <a:pt x="0" y="71"/>
                      <a:pt x="0" y="71"/>
                    </a:cubicBezTo>
                    <a:cubicBezTo>
                      <a:pt x="2" y="71"/>
                      <a:pt x="3" y="72"/>
                      <a:pt x="5" y="73"/>
                    </a:cubicBezTo>
                    <a:cubicBezTo>
                      <a:pt x="5" y="2"/>
                      <a:pt x="5" y="2"/>
                      <a:pt x="5" y="2"/>
                    </a:cubicBezTo>
                    <a:cubicBezTo>
                      <a:pt x="5" y="1"/>
                      <a:pt x="4" y="0"/>
                      <a:pt x="2" y="0"/>
                    </a:cubicBezTo>
                  </a:path>
                </a:pathLst>
              </a:custGeom>
              <a:solidFill>
                <a:srgbClr val="6E8F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5" name="isḻîdê">
                <a:extLst>
                  <a:ext uri="{FF2B5EF4-FFF2-40B4-BE49-F238E27FC236}">
                    <a16:creationId xmlns:a16="http://schemas.microsoft.com/office/drawing/2014/main" id="{0D418DDD-5CBD-014F-8F0C-9076E5D10E16}"/>
                  </a:ext>
                </a:extLst>
              </p:cNvPr>
              <p:cNvSpPr/>
              <p:nvPr/>
            </p:nvSpPr>
            <p:spPr bwMode="auto">
              <a:xfrm>
                <a:off x="6987558" y="3219223"/>
                <a:ext cx="15182" cy="218059"/>
              </a:xfrm>
              <a:custGeom>
                <a:avLst/>
                <a:gdLst>
                  <a:gd name="T0" fmla="*/ 3 w 5"/>
                  <a:gd name="T1" fmla="*/ 0 h 76"/>
                  <a:gd name="T2" fmla="*/ 0 w 5"/>
                  <a:gd name="T3" fmla="*/ 2 h 76"/>
                  <a:gd name="T4" fmla="*/ 0 w 5"/>
                  <a:gd name="T5" fmla="*/ 75 h 76"/>
                  <a:gd name="T6" fmla="*/ 5 w 5"/>
                  <a:gd name="T7" fmla="*/ 76 h 76"/>
                  <a:gd name="T8" fmla="*/ 5 w 5"/>
                  <a:gd name="T9" fmla="*/ 2 h 76"/>
                  <a:gd name="T10" fmla="*/ 3 w 5"/>
                  <a:gd name="T11" fmla="*/ 0 h 76"/>
                </a:gdLst>
                <a:ahLst/>
                <a:cxnLst>
                  <a:cxn ang="0">
                    <a:pos x="T0" y="T1"/>
                  </a:cxn>
                  <a:cxn ang="0">
                    <a:pos x="T2" y="T3"/>
                  </a:cxn>
                  <a:cxn ang="0">
                    <a:pos x="T4" y="T5"/>
                  </a:cxn>
                  <a:cxn ang="0">
                    <a:pos x="T6" y="T7"/>
                  </a:cxn>
                  <a:cxn ang="0">
                    <a:pos x="T8" y="T9"/>
                  </a:cxn>
                  <a:cxn ang="0">
                    <a:pos x="T10" y="T11"/>
                  </a:cxn>
                </a:cxnLst>
                <a:rect l="0" t="0" r="r" b="b"/>
                <a:pathLst>
                  <a:path w="5" h="76">
                    <a:moveTo>
                      <a:pt x="3" y="0"/>
                    </a:moveTo>
                    <a:cubicBezTo>
                      <a:pt x="1" y="0"/>
                      <a:pt x="0" y="1"/>
                      <a:pt x="0" y="2"/>
                    </a:cubicBezTo>
                    <a:cubicBezTo>
                      <a:pt x="0" y="75"/>
                      <a:pt x="0" y="75"/>
                      <a:pt x="0" y="75"/>
                    </a:cubicBezTo>
                    <a:cubicBezTo>
                      <a:pt x="2" y="75"/>
                      <a:pt x="3" y="76"/>
                      <a:pt x="5" y="76"/>
                    </a:cubicBezTo>
                    <a:cubicBezTo>
                      <a:pt x="5" y="2"/>
                      <a:pt x="5" y="2"/>
                      <a:pt x="5" y="2"/>
                    </a:cubicBezTo>
                    <a:cubicBezTo>
                      <a:pt x="5" y="1"/>
                      <a:pt x="4" y="0"/>
                      <a:pt x="3" y="0"/>
                    </a:cubicBezTo>
                  </a:path>
                </a:pathLst>
              </a:custGeom>
              <a:solidFill>
                <a:srgbClr val="6E8F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6" name="îṣļiḋê">
                <a:extLst>
                  <a:ext uri="{FF2B5EF4-FFF2-40B4-BE49-F238E27FC236}">
                    <a16:creationId xmlns:a16="http://schemas.microsoft.com/office/drawing/2014/main" id="{B60C4B7A-5836-EB43-9B8B-BA2F6E5C1A01}"/>
                  </a:ext>
                </a:extLst>
              </p:cNvPr>
              <p:cNvSpPr/>
              <p:nvPr/>
            </p:nvSpPr>
            <p:spPr bwMode="auto">
              <a:xfrm>
                <a:off x="7024821" y="3219223"/>
                <a:ext cx="12422" cy="218059"/>
              </a:xfrm>
              <a:custGeom>
                <a:avLst/>
                <a:gdLst>
                  <a:gd name="T0" fmla="*/ 2 w 4"/>
                  <a:gd name="T1" fmla="*/ 0 h 76"/>
                  <a:gd name="T2" fmla="*/ 0 w 4"/>
                  <a:gd name="T3" fmla="*/ 2 h 76"/>
                  <a:gd name="T4" fmla="*/ 0 w 4"/>
                  <a:gd name="T5" fmla="*/ 76 h 76"/>
                  <a:gd name="T6" fmla="*/ 4 w 4"/>
                  <a:gd name="T7" fmla="*/ 76 h 76"/>
                  <a:gd name="T8" fmla="*/ 4 w 4"/>
                  <a:gd name="T9" fmla="*/ 2 h 76"/>
                  <a:gd name="T10" fmla="*/ 2 w 4"/>
                  <a:gd name="T11" fmla="*/ 0 h 76"/>
                </a:gdLst>
                <a:ahLst/>
                <a:cxnLst>
                  <a:cxn ang="0">
                    <a:pos x="T0" y="T1"/>
                  </a:cxn>
                  <a:cxn ang="0">
                    <a:pos x="T2" y="T3"/>
                  </a:cxn>
                  <a:cxn ang="0">
                    <a:pos x="T4" y="T5"/>
                  </a:cxn>
                  <a:cxn ang="0">
                    <a:pos x="T6" y="T7"/>
                  </a:cxn>
                  <a:cxn ang="0">
                    <a:pos x="T8" y="T9"/>
                  </a:cxn>
                  <a:cxn ang="0">
                    <a:pos x="T10" y="T11"/>
                  </a:cxn>
                </a:cxnLst>
                <a:rect l="0" t="0" r="r" b="b"/>
                <a:pathLst>
                  <a:path w="4" h="76">
                    <a:moveTo>
                      <a:pt x="2" y="0"/>
                    </a:moveTo>
                    <a:cubicBezTo>
                      <a:pt x="1" y="0"/>
                      <a:pt x="0" y="1"/>
                      <a:pt x="0" y="2"/>
                    </a:cubicBezTo>
                    <a:cubicBezTo>
                      <a:pt x="0" y="76"/>
                      <a:pt x="0" y="76"/>
                      <a:pt x="0" y="76"/>
                    </a:cubicBezTo>
                    <a:cubicBezTo>
                      <a:pt x="4" y="76"/>
                      <a:pt x="4" y="76"/>
                      <a:pt x="4" y="76"/>
                    </a:cubicBezTo>
                    <a:cubicBezTo>
                      <a:pt x="4" y="2"/>
                      <a:pt x="4" y="2"/>
                      <a:pt x="4" y="2"/>
                    </a:cubicBezTo>
                    <a:cubicBezTo>
                      <a:pt x="4" y="1"/>
                      <a:pt x="3" y="0"/>
                      <a:pt x="2" y="0"/>
                    </a:cubicBezTo>
                  </a:path>
                </a:pathLst>
              </a:custGeom>
              <a:solidFill>
                <a:srgbClr val="6E8F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7" name="ïṥ1îḍe">
                <a:extLst>
                  <a:ext uri="{FF2B5EF4-FFF2-40B4-BE49-F238E27FC236}">
                    <a16:creationId xmlns:a16="http://schemas.microsoft.com/office/drawing/2014/main" id="{99070948-F656-3543-B4DC-93EBDBFC0EE7}"/>
                  </a:ext>
                </a:extLst>
              </p:cNvPr>
              <p:cNvSpPr/>
              <p:nvPr/>
            </p:nvSpPr>
            <p:spPr bwMode="auto">
              <a:xfrm>
                <a:off x="7059324" y="3219223"/>
                <a:ext cx="12422" cy="218059"/>
              </a:xfrm>
              <a:custGeom>
                <a:avLst/>
                <a:gdLst>
                  <a:gd name="T0" fmla="*/ 2 w 4"/>
                  <a:gd name="T1" fmla="*/ 0 h 76"/>
                  <a:gd name="T2" fmla="*/ 0 w 4"/>
                  <a:gd name="T3" fmla="*/ 2 h 76"/>
                  <a:gd name="T4" fmla="*/ 0 w 4"/>
                  <a:gd name="T5" fmla="*/ 76 h 76"/>
                  <a:gd name="T6" fmla="*/ 4 w 4"/>
                  <a:gd name="T7" fmla="*/ 76 h 76"/>
                  <a:gd name="T8" fmla="*/ 4 w 4"/>
                  <a:gd name="T9" fmla="*/ 2 h 76"/>
                  <a:gd name="T10" fmla="*/ 2 w 4"/>
                  <a:gd name="T11" fmla="*/ 0 h 76"/>
                </a:gdLst>
                <a:ahLst/>
                <a:cxnLst>
                  <a:cxn ang="0">
                    <a:pos x="T0" y="T1"/>
                  </a:cxn>
                  <a:cxn ang="0">
                    <a:pos x="T2" y="T3"/>
                  </a:cxn>
                  <a:cxn ang="0">
                    <a:pos x="T4" y="T5"/>
                  </a:cxn>
                  <a:cxn ang="0">
                    <a:pos x="T6" y="T7"/>
                  </a:cxn>
                  <a:cxn ang="0">
                    <a:pos x="T8" y="T9"/>
                  </a:cxn>
                  <a:cxn ang="0">
                    <a:pos x="T10" y="T11"/>
                  </a:cxn>
                </a:cxnLst>
                <a:rect l="0" t="0" r="r" b="b"/>
                <a:pathLst>
                  <a:path w="4" h="76">
                    <a:moveTo>
                      <a:pt x="2" y="0"/>
                    </a:moveTo>
                    <a:cubicBezTo>
                      <a:pt x="1" y="0"/>
                      <a:pt x="0" y="1"/>
                      <a:pt x="0" y="2"/>
                    </a:cubicBezTo>
                    <a:cubicBezTo>
                      <a:pt x="0" y="76"/>
                      <a:pt x="0" y="76"/>
                      <a:pt x="0" y="76"/>
                    </a:cubicBezTo>
                    <a:cubicBezTo>
                      <a:pt x="4" y="76"/>
                      <a:pt x="4" y="76"/>
                      <a:pt x="4" y="76"/>
                    </a:cubicBezTo>
                    <a:cubicBezTo>
                      <a:pt x="4" y="2"/>
                      <a:pt x="4" y="2"/>
                      <a:pt x="4" y="2"/>
                    </a:cubicBezTo>
                    <a:cubicBezTo>
                      <a:pt x="4" y="1"/>
                      <a:pt x="3" y="0"/>
                      <a:pt x="2" y="0"/>
                    </a:cubicBezTo>
                  </a:path>
                </a:pathLst>
              </a:custGeom>
              <a:solidFill>
                <a:srgbClr val="6E8F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8" name="íṣliďe">
                <a:extLst>
                  <a:ext uri="{FF2B5EF4-FFF2-40B4-BE49-F238E27FC236}">
                    <a16:creationId xmlns:a16="http://schemas.microsoft.com/office/drawing/2014/main" id="{A127C9A4-870F-484F-9BE6-625CB1DEDF1C}"/>
                  </a:ext>
                </a:extLst>
              </p:cNvPr>
              <p:cNvSpPr/>
              <p:nvPr/>
            </p:nvSpPr>
            <p:spPr bwMode="auto">
              <a:xfrm>
                <a:off x="7093827" y="3219223"/>
                <a:ext cx="11041" cy="218059"/>
              </a:xfrm>
              <a:custGeom>
                <a:avLst/>
                <a:gdLst>
                  <a:gd name="T0" fmla="*/ 2 w 4"/>
                  <a:gd name="T1" fmla="*/ 0 h 76"/>
                  <a:gd name="T2" fmla="*/ 0 w 4"/>
                  <a:gd name="T3" fmla="*/ 2 h 76"/>
                  <a:gd name="T4" fmla="*/ 0 w 4"/>
                  <a:gd name="T5" fmla="*/ 76 h 76"/>
                  <a:gd name="T6" fmla="*/ 4 w 4"/>
                  <a:gd name="T7" fmla="*/ 76 h 76"/>
                  <a:gd name="T8" fmla="*/ 4 w 4"/>
                  <a:gd name="T9" fmla="*/ 2 h 76"/>
                  <a:gd name="T10" fmla="*/ 2 w 4"/>
                  <a:gd name="T11" fmla="*/ 0 h 76"/>
                </a:gdLst>
                <a:ahLst/>
                <a:cxnLst>
                  <a:cxn ang="0">
                    <a:pos x="T0" y="T1"/>
                  </a:cxn>
                  <a:cxn ang="0">
                    <a:pos x="T2" y="T3"/>
                  </a:cxn>
                  <a:cxn ang="0">
                    <a:pos x="T4" y="T5"/>
                  </a:cxn>
                  <a:cxn ang="0">
                    <a:pos x="T6" y="T7"/>
                  </a:cxn>
                  <a:cxn ang="0">
                    <a:pos x="T8" y="T9"/>
                  </a:cxn>
                  <a:cxn ang="0">
                    <a:pos x="T10" y="T11"/>
                  </a:cxn>
                </a:cxnLst>
                <a:rect l="0" t="0" r="r" b="b"/>
                <a:pathLst>
                  <a:path w="4" h="76">
                    <a:moveTo>
                      <a:pt x="2" y="0"/>
                    </a:moveTo>
                    <a:cubicBezTo>
                      <a:pt x="1" y="0"/>
                      <a:pt x="0" y="1"/>
                      <a:pt x="0" y="2"/>
                    </a:cubicBezTo>
                    <a:cubicBezTo>
                      <a:pt x="0" y="76"/>
                      <a:pt x="0" y="76"/>
                      <a:pt x="0" y="76"/>
                    </a:cubicBezTo>
                    <a:cubicBezTo>
                      <a:pt x="4" y="76"/>
                      <a:pt x="4" y="76"/>
                      <a:pt x="4" y="76"/>
                    </a:cubicBezTo>
                    <a:cubicBezTo>
                      <a:pt x="4" y="2"/>
                      <a:pt x="4" y="2"/>
                      <a:pt x="4" y="2"/>
                    </a:cubicBezTo>
                    <a:cubicBezTo>
                      <a:pt x="4" y="1"/>
                      <a:pt x="3" y="0"/>
                      <a:pt x="2" y="0"/>
                    </a:cubicBezTo>
                  </a:path>
                </a:pathLst>
              </a:custGeom>
              <a:solidFill>
                <a:srgbClr val="6E8F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9" name="îsḷïďê">
                <a:extLst>
                  <a:ext uri="{FF2B5EF4-FFF2-40B4-BE49-F238E27FC236}">
                    <a16:creationId xmlns:a16="http://schemas.microsoft.com/office/drawing/2014/main" id="{6DF89BCD-FC8B-BF4A-864C-E437AD71D395}"/>
                  </a:ext>
                </a:extLst>
              </p:cNvPr>
              <p:cNvSpPr/>
              <p:nvPr/>
            </p:nvSpPr>
            <p:spPr bwMode="auto">
              <a:xfrm>
                <a:off x="7128330" y="3219223"/>
                <a:ext cx="11041" cy="218059"/>
              </a:xfrm>
              <a:custGeom>
                <a:avLst/>
                <a:gdLst>
                  <a:gd name="T0" fmla="*/ 2 w 4"/>
                  <a:gd name="T1" fmla="*/ 0 h 76"/>
                  <a:gd name="T2" fmla="*/ 0 w 4"/>
                  <a:gd name="T3" fmla="*/ 2 h 76"/>
                  <a:gd name="T4" fmla="*/ 0 w 4"/>
                  <a:gd name="T5" fmla="*/ 76 h 76"/>
                  <a:gd name="T6" fmla="*/ 4 w 4"/>
                  <a:gd name="T7" fmla="*/ 76 h 76"/>
                  <a:gd name="T8" fmla="*/ 4 w 4"/>
                  <a:gd name="T9" fmla="*/ 2 h 76"/>
                  <a:gd name="T10" fmla="*/ 2 w 4"/>
                  <a:gd name="T11" fmla="*/ 0 h 76"/>
                </a:gdLst>
                <a:ahLst/>
                <a:cxnLst>
                  <a:cxn ang="0">
                    <a:pos x="T0" y="T1"/>
                  </a:cxn>
                  <a:cxn ang="0">
                    <a:pos x="T2" y="T3"/>
                  </a:cxn>
                  <a:cxn ang="0">
                    <a:pos x="T4" y="T5"/>
                  </a:cxn>
                  <a:cxn ang="0">
                    <a:pos x="T6" y="T7"/>
                  </a:cxn>
                  <a:cxn ang="0">
                    <a:pos x="T8" y="T9"/>
                  </a:cxn>
                  <a:cxn ang="0">
                    <a:pos x="T10" y="T11"/>
                  </a:cxn>
                </a:cxnLst>
                <a:rect l="0" t="0" r="r" b="b"/>
                <a:pathLst>
                  <a:path w="4" h="76">
                    <a:moveTo>
                      <a:pt x="2" y="0"/>
                    </a:moveTo>
                    <a:cubicBezTo>
                      <a:pt x="1" y="0"/>
                      <a:pt x="0" y="1"/>
                      <a:pt x="0" y="2"/>
                    </a:cubicBezTo>
                    <a:cubicBezTo>
                      <a:pt x="0" y="76"/>
                      <a:pt x="0" y="76"/>
                      <a:pt x="0" y="76"/>
                    </a:cubicBezTo>
                    <a:cubicBezTo>
                      <a:pt x="4" y="76"/>
                      <a:pt x="4" y="76"/>
                      <a:pt x="4" y="76"/>
                    </a:cubicBezTo>
                    <a:cubicBezTo>
                      <a:pt x="4" y="2"/>
                      <a:pt x="4" y="2"/>
                      <a:pt x="4" y="2"/>
                    </a:cubicBezTo>
                    <a:cubicBezTo>
                      <a:pt x="4" y="1"/>
                      <a:pt x="3" y="0"/>
                      <a:pt x="2" y="0"/>
                    </a:cubicBezTo>
                  </a:path>
                </a:pathLst>
              </a:custGeom>
              <a:solidFill>
                <a:srgbClr val="6E8F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0" name="îŝļíḋé">
                <a:extLst>
                  <a:ext uri="{FF2B5EF4-FFF2-40B4-BE49-F238E27FC236}">
                    <a16:creationId xmlns:a16="http://schemas.microsoft.com/office/drawing/2014/main" id="{5C7EC691-6D67-7E41-BD99-788613BA37E1}"/>
                  </a:ext>
                </a:extLst>
              </p:cNvPr>
              <p:cNvSpPr/>
              <p:nvPr/>
            </p:nvSpPr>
            <p:spPr bwMode="auto">
              <a:xfrm>
                <a:off x="7162833" y="3219223"/>
                <a:ext cx="13801" cy="218059"/>
              </a:xfrm>
              <a:custGeom>
                <a:avLst/>
                <a:gdLst>
                  <a:gd name="T0" fmla="*/ 2 w 5"/>
                  <a:gd name="T1" fmla="*/ 0 h 76"/>
                  <a:gd name="T2" fmla="*/ 0 w 5"/>
                  <a:gd name="T3" fmla="*/ 2 h 76"/>
                  <a:gd name="T4" fmla="*/ 0 w 5"/>
                  <a:gd name="T5" fmla="*/ 76 h 76"/>
                  <a:gd name="T6" fmla="*/ 5 w 5"/>
                  <a:gd name="T7" fmla="*/ 76 h 76"/>
                  <a:gd name="T8" fmla="*/ 5 w 5"/>
                  <a:gd name="T9" fmla="*/ 2 h 76"/>
                  <a:gd name="T10" fmla="*/ 2 w 5"/>
                  <a:gd name="T11" fmla="*/ 0 h 76"/>
                </a:gdLst>
                <a:ahLst/>
                <a:cxnLst>
                  <a:cxn ang="0">
                    <a:pos x="T0" y="T1"/>
                  </a:cxn>
                  <a:cxn ang="0">
                    <a:pos x="T2" y="T3"/>
                  </a:cxn>
                  <a:cxn ang="0">
                    <a:pos x="T4" y="T5"/>
                  </a:cxn>
                  <a:cxn ang="0">
                    <a:pos x="T6" y="T7"/>
                  </a:cxn>
                  <a:cxn ang="0">
                    <a:pos x="T8" y="T9"/>
                  </a:cxn>
                  <a:cxn ang="0">
                    <a:pos x="T10" y="T11"/>
                  </a:cxn>
                </a:cxnLst>
                <a:rect l="0" t="0" r="r" b="b"/>
                <a:pathLst>
                  <a:path w="5" h="76">
                    <a:moveTo>
                      <a:pt x="2" y="0"/>
                    </a:moveTo>
                    <a:cubicBezTo>
                      <a:pt x="1" y="0"/>
                      <a:pt x="0" y="1"/>
                      <a:pt x="0" y="2"/>
                    </a:cubicBezTo>
                    <a:cubicBezTo>
                      <a:pt x="0" y="76"/>
                      <a:pt x="0" y="76"/>
                      <a:pt x="0" y="76"/>
                    </a:cubicBezTo>
                    <a:cubicBezTo>
                      <a:pt x="5" y="76"/>
                      <a:pt x="5" y="76"/>
                      <a:pt x="5" y="76"/>
                    </a:cubicBezTo>
                    <a:cubicBezTo>
                      <a:pt x="5" y="2"/>
                      <a:pt x="5" y="2"/>
                      <a:pt x="5" y="2"/>
                    </a:cubicBezTo>
                    <a:cubicBezTo>
                      <a:pt x="5" y="1"/>
                      <a:pt x="4" y="0"/>
                      <a:pt x="2" y="0"/>
                    </a:cubicBezTo>
                  </a:path>
                </a:pathLst>
              </a:custGeom>
              <a:solidFill>
                <a:srgbClr val="6E8F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1" name="iśḻïḋe">
                <a:extLst>
                  <a:ext uri="{FF2B5EF4-FFF2-40B4-BE49-F238E27FC236}">
                    <a16:creationId xmlns:a16="http://schemas.microsoft.com/office/drawing/2014/main" id="{CFEA0E14-1D44-604C-ABED-C37FAB02CFA1}"/>
                  </a:ext>
                </a:extLst>
              </p:cNvPr>
              <p:cNvSpPr/>
              <p:nvPr/>
            </p:nvSpPr>
            <p:spPr bwMode="auto">
              <a:xfrm>
                <a:off x="7197336" y="3219223"/>
                <a:ext cx="13801" cy="218059"/>
              </a:xfrm>
              <a:custGeom>
                <a:avLst/>
                <a:gdLst>
                  <a:gd name="T0" fmla="*/ 3 w 5"/>
                  <a:gd name="T1" fmla="*/ 0 h 76"/>
                  <a:gd name="T2" fmla="*/ 0 w 5"/>
                  <a:gd name="T3" fmla="*/ 2 h 76"/>
                  <a:gd name="T4" fmla="*/ 0 w 5"/>
                  <a:gd name="T5" fmla="*/ 76 h 76"/>
                  <a:gd name="T6" fmla="*/ 5 w 5"/>
                  <a:gd name="T7" fmla="*/ 76 h 76"/>
                  <a:gd name="T8" fmla="*/ 5 w 5"/>
                  <a:gd name="T9" fmla="*/ 2 h 76"/>
                  <a:gd name="T10" fmla="*/ 3 w 5"/>
                  <a:gd name="T11" fmla="*/ 0 h 76"/>
                </a:gdLst>
                <a:ahLst/>
                <a:cxnLst>
                  <a:cxn ang="0">
                    <a:pos x="T0" y="T1"/>
                  </a:cxn>
                  <a:cxn ang="0">
                    <a:pos x="T2" y="T3"/>
                  </a:cxn>
                  <a:cxn ang="0">
                    <a:pos x="T4" y="T5"/>
                  </a:cxn>
                  <a:cxn ang="0">
                    <a:pos x="T6" y="T7"/>
                  </a:cxn>
                  <a:cxn ang="0">
                    <a:pos x="T8" y="T9"/>
                  </a:cxn>
                  <a:cxn ang="0">
                    <a:pos x="T10" y="T11"/>
                  </a:cxn>
                </a:cxnLst>
                <a:rect l="0" t="0" r="r" b="b"/>
                <a:pathLst>
                  <a:path w="5" h="76">
                    <a:moveTo>
                      <a:pt x="3" y="0"/>
                    </a:moveTo>
                    <a:cubicBezTo>
                      <a:pt x="1" y="0"/>
                      <a:pt x="0" y="1"/>
                      <a:pt x="0" y="2"/>
                    </a:cubicBezTo>
                    <a:cubicBezTo>
                      <a:pt x="0" y="76"/>
                      <a:pt x="0" y="76"/>
                      <a:pt x="0" y="76"/>
                    </a:cubicBezTo>
                    <a:cubicBezTo>
                      <a:pt x="5" y="76"/>
                      <a:pt x="5" y="76"/>
                      <a:pt x="5" y="76"/>
                    </a:cubicBezTo>
                    <a:cubicBezTo>
                      <a:pt x="5" y="2"/>
                      <a:pt x="5" y="2"/>
                      <a:pt x="5" y="2"/>
                    </a:cubicBezTo>
                    <a:cubicBezTo>
                      <a:pt x="5" y="1"/>
                      <a:pt x="4" y="0"/>
                      <a:pt x="3" y="0"/>
                    </a:cubicBezTo>
                  </a:path>
                </a:pathLst>
              </a:custGeom>
              <a:solidFill>
                <a:srgbClr val="6E8F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2" name="îṩļïḍé">
                <a:extLst>
                  <a:ext uri="{FF2B5EF4-FFF2-40B4-BE49-F238E27FC236}">
                    <a16:creationId xmlns:a16="http://schemas.microsoft.com/office/drawing/2014/main" id="{356083B6-7CD5-2643-9AB5-F2B78E7CF53E}"/>
                  </a:ext>
                </a:extLst>
              </p:cNvPr>
              <p:cNvSpPr/>
              <p:nvPr/>
            </p:nvSpPr>
            <p:spPr bwMode="auto">
              <a:xfrm>
                <a:off x="7234599" y="3219223"/>
                <a:ext cx="8281" cy="218059"/>
              </a:xfrm>
              <a:custGeom>
                <a:avLst/>
                <a:gdLst>
                  <a:gd name="T0" fmla="*/ 2 w 3"/>
                  <a:gd name="T1" fmla="*/ 0 h 76"/>
                  <a:gd name="T2" fmla="*/ 0 w 3"/>
                  <a:gd name="T3" fmla="*/ 2 h 76"/>
                  <a:gd name="T4" fmla="*/ 0 w 3"/>
                  <a:gd name="T5" fmla="*/ 76 h 76"/>
                  <a:gd name="T6" fmla="*/ 3 w 3"/>
                  <a:gd name="T7" fmla="*/ 76 h 76"/>
                  <a:gd name="T8" fmla="*/ 3 w 3"/>
                  <a:gd name="T9" fmla="*/ 0 h 76"/>
                  <a:gd name="T10" fmla="*/ 2 w 3"/>
                  <a:gd name="T11" fmla="*/ 0 h 76"/>
                </a:gdLst>
                <a:ahLst/>
                <a:cxnLst>
                  <a:cxn ang="0">
                    <a:pos x="T0" y="T1"/>
                  </a:cxn>
                  <a:cxn ang="0">
                    <a:pos x="T2" y="T3"/>
                  </a:cxn>
                  <a:cxn ang="0">
                    <a:pos x="T4" y="T5"/>
                  </a:cxn>
                  <a:cxn ang="0">
                    <a:pos x="T6" y="T7"/>
                  </a:cxn>
                  <a:cxn ang="0">
                    <a:pos x="T8" y="T9"/>
                  </a:cxn>
                  <a:cxn ang="0">
                    <a:pos x="T10" y="T11"/>
                  </a:cxn>
                </a:cxnLst>
                <a:rect l="0" t="0" r="r" b="b"/>
                <a:pathLst>
                  <a:path w="3" h="76">
                    <a:moveTo>
                      <a:pt x="2" y="0"/>
                    </a:moveTo>
                    <a:cubicBezTo>
                      <a:pt x="1" y="0"/>
                      <a:pt x="0" y="1"/>
                      <a:pt x="0" y="2"/>
                    </a:cubicBezTo>
                    <a:cubicBezTo>
                      <a:pt x="0" y="76"/>
                      <a:pt x="0" y="76"/>
                      <a:pt x="0" y="76"/>
                    </a:cubicBezTo>
                    <a:cubicBezTo>
                      <a:pt x="3" y="76"/>
                      <a:pt x="3" y="76"/>
                      <a:pt x="3" y="76"/>
                    </a:cubicBezTo>
                    <a:cubicBezTo>
                      <a:pt x="3" y="0"/>
                      <a:pt x="3" y="0"/>
                      <a:pt x="3" y="0"/>
                    </a:cubicBezTo>
                    <a:cubicBezTo>
                      <a:pt x="2" y="0"/>
                      <a:pt x="2" y="0"/>
                      <a:pt x="2" y="0"/>
                    </a:cubicBezTo>
                  </a:path>
                </a:pathLst>
              </a:custGeom>
              <a:solidFill>
                <a:srgbClr val="6E8F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3" name="išḷíďê">
                <a:extLst>
                  <a:ext uri="{FF2B5EF4-FFF2-40B4-BE49-F238E27FC236}">
                    <a16:creationId xmlns:a16="http://schemas.microsoft.com/office/drawing/2014/main" id="{EB875FBA-EE5F-6B4C-A6E2-5013E44C4668}"/>
                  </a:ext>
                </a:extLst>
              </p:cNvPr>
              <p:cNvSpPr/>
              <p:nvPr/>
            </p:nvSpPr>
            <p:spPr bwMode="auto">
              <a:xfrm>
                <a:off x="7242880" y="3208182"/>
                <a:ext cx="452679" cy="258083"/>
              </a:xfrm>
              <a:prstGeom prst="rect">
                <a:avLst/>
              </a:prstGeom>
              <a:solidFill>
                <a:srgbClr val="0039B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684" name="íSlïdê">
                <a:extLst>
                  <a:ext uri="{FF2B5EF4-FFF2-40B4-BE49-F238E27FC236}">
                    <a16:creationId xmlns:a16="http://schemas.microsoft.com/office/drawing/2014/main" id="{3E9C26B7-2235-9449-9E7E-D140DDE71B02}"/>
                  </a:ext>
                </a:extLst>
              </p:cNvPr>
              <p:cNvSpPr/>
              <p:nvPr/>
            </p:nvSpPr>
            <p:spPr bwMode="auto">
              <a:xfrm>
                <a:off x="7242880" y="3208182"/>
                <a:ext cx="452679" cy="258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685" name="iŝḷîḑé">
                <a:extLst>
                  <a:ext uri="{FF2B5EF4-FFF2-40B4-BE49-F238E27FC236}">
                    <a16:creationId xmlns:a16="http://schemas.microsoft.com/office/drawing/2014/main" id="{BA7B7A39-9657-E943-913B-58528976B4EB}"/>
                  </a:ext>
                </a:extLst>
              </p:cNvPr>
              <p:cNvSpPr/>
              <p:nvPr/>
            </p:nvSpPr>
            <p:spPr bwMode="auto">
              <a:xfrm>
                <a:off x="7271863" y="3219223"/>
                <a:ext cx="11041" cy="218059"/>
              </a:xfrm>
              <a:custGeom>
                <a:avLst/>
                <a:gdLst>
                  <a:gd name="T0" fmla="*/ 2 w 4"/>
                  <a:gd name="T1" fmla="*/ 0 h 76"/>
                  <a:gd name="T2" fmla="*/ 0 w 4"/>
                  <a:gd name="T3" fmla="*/ 2 h 76"/>
                  <a:gd name="T4" fmla="*/ 0 w 4"/>
                  <a:gd name="T5" fmla="*/ 76 h 76"/>
                  <a:gd name="T6" fmla="*/ 4 w 4"/>
                  <a:gd name="T7" fmla="*/ 76 h 76"/>
                  <a:gd name="T8" fmla="*/ 4 w 4"/>
                  <a:gd name="T9" fmla="*/ 2 h 76"/>
                  <a:gd name="T10" fmla="*/ 2 w 4"/>
                  <a:gd name="T11" fmla="*/ 0 h 76"/>
                </a:gdLst>
                <a:ahLst/>
                <a:cxnLst>
                  <a:cxn ang="0">
                    <a:pos x="T0" y="T1"/>
                  </a:cxn>
                  <a:cxn ang="0">
                    <a:pos x="T2" y="T3"/>
                  </a:cxn>
                  <a:cxn ang="0">
                    <a:pos x="T4" y="T5"/>
                  </a:cxn>
                  <a:cxn ang="0">
                    <a:pos x="T6" y="T7"/>
                  </a:cxn>
                  <a:cxn ang="0">
                    <a:pos x="T8" y="T9"/>
                  </a:cxn>
                  <a:cxn ang="0">
                    <a:pos x="T10" y="T11"/>
                  </a:cxn>
                </a:cxnLst>
                <a:rect l="0" t="0" r="r" b="b"/>
                <a:pathLst>
                  <a:path w="4" h="76">
                    <a:moveTo>
                      <a:pt x="2" y="0"/>
                    </a:moveTo>
                    <a:cubicBezTo>
                      <a:pt x="1" y="0"/>
                      <a:pt x="0" y="1"/>
                      <a:pt x="0" y="2"/>
                    </a:cubicBezTo>
                    <a:cubicBezTo>
                      <a:pt x="0" y="76"/>
                      <a:pt x="0" y="76"/>
                      <a:pt x="0" y="76"/>
                    </a:cubicBezTo>
                    <a:cubicBezTo>
                      <a:pt x="4" y="76"/>
                      <a:pt x="4" y="76"/>
                      <a:pt x="4" y="76"/>
                    </a:cubicBezTo>
                    <a:cubicBezTo>
                      <a:pt x="4" y="2"/>
                      <a:pt x="4" y="2"/>
                      <a:pt x="4" y="2"/>
                    </a:cubicBezTo>
                    <a:cubicBezTo>
                      <a:pt x="4" y="1"/>
                      <a:pt x="3" y="0"/>
                      <a:pt x="2" y="0"/>
                    </a:cubicBezTo>
                  </a:path>
                </a:pathLst>
              </a:custGeom>
              <a:solidFill>
                <a:srgbClr val="2052C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6" name="iṩlîḑe">
                <a:extLst>
                  <a:ext uri="{FF2B5EF4-FFF2-40B4-BE49-F238E27FC236}">
                    <a16:creationId xmlns:a16="http://schemas.microsoft.com/office/drawing/2014/main" id="{ACFEA2C2-983B-5343-A912-E9382A241143}"/>
                  </a:ext>
                </a:extLst>
              </p:cNvPr>
              <p:cNvSpPr/>
              <p:nvPr/>
            </p:nvSpPr>
            <p:spPr bwMode="auto">
              <a:xfrm>
                <a:off x="7306365" y="3219223"/>
                <a:ext cx="11041" cy="218059"/>
              </a:xfrm>
              <a:custGeom>
                <a:avLst/>
                <a:gdLst>
                  <a:gd name="T0" fmla="*/ 2 w 4"/>
                  <a:gd name="T1" fmla="*/ 0 h 76"/>
                  <a:gd name="T2" fmla="*/ 0 w 4"/>
                  <a:gd name="T3" fmla="*/ 2 h 76"/>
                  <a:gd name="T4" fmla="*/ 0 w 4"/>
                  <a:gd name="T5" fmla="*/ 76 h 76"/>
                  <a:gd name="T6" fmla="*/ 4 w 4"/>
                  <a:gd name="T7" fmla="*/ 76 h 76"/>
                  <a:gd name="T8" fmla="*/ 4 w 4"/>
                  <a:gd name="T9" fmla="*/ 2 h 76"/>
                  <a:gd name="T10" fmla="*/ 2 w 4"/>
                  <a:gd name="T11" fmla="*/ 0 h 76"/>
                </a:gdLst>
                <a:ahLst/>
                <a:cxnLst>
                  <a:cxn ang="0">
                    <a:pos x="T0" y="T1"/>
                  </a:cxn>
                  <a:cxn ang="0">
                    <a:pos x="T2" y="T3"/>
                  </a:cxn>
                  <a:cxn ang="0">
                    <a:pos x="T4" y="T5"/>
                  </a:cxn>
                  <a:cxn ang="0">
                    <a:pos x="T6" y="T7"/>
                  </a:cxn>
                  <a:cxn ang="0">
                    <a:pos x="T8" y="T9"/>
                  </a:cxn>
                  <a:cxn ang="0">
                    <a:pos x="T10" y="T11"/>
                  </a:cxn>
                </a:cxnLst>
                <a:rect l="0" t="0" r="r" b="b"/>
                <a:pathLst>
                  <a:path w="4" h="76">
                    <a:moveTo>
                      <a:pt x="2" y="0"/>
                    </a:moveTo>
                    <a:cubicBezTo>
                      <a:pt x="1" y="0"/>
                      <a:pt x="0" y="1"/>
                      <a:pt x="0" y="2"/>
                    </a:cubicBezTo>
                    <a:cubicBezTo>
                      <a:pt x="0" y="76"/>
                      <a:pt x="0" y="76"/>
                      <a:pt x="0" y="76"/>
                    </a:cubicBezTo>
                    <a:cubicBezTo>
                      <a:pt x="4" y="76"/>
                      <a:pt x="4" y="76"/>
                      <a:pt x="4" y="76"/>
                    </a:cubicBezTo>
                    <a:cubicBezTo>
                      <a:pt x="4" y="2"/>
                      <a:pt x="4" y="2"/>
                      <a:pt x="4" y="2"/>
                    </a:cubicBezTo>
                    <a:cubicBezTo>
                      <a:pt x="4" y="1"/>
                      <a:pt x="3" y="0"/>
                      <a:pt x="2" y="0"/>
                    </a:cubicBezTo>
                  </a:path>
                </a:pathLst>
              </a:custGeom>
              <a:solidFill>
                <a:srgbClr val="2052C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7" name="íṩľïḍè">
                <a:extLst>
                  <a:ext uri="{FF2B5EF4-FFF2-40B4-BE49-F238E27FC236}">
                    <a16:creationId xmlns:a16="http://schemas.microsoft.com/office/drawing/2014/main" id="{F770A05D-7B2A-C946-9731-062726F491A7}"/>
                  </a:ext>
                </a:extLst>
              </p:cNvPr>
              <p:cNvSpPr/>
              <p:nvPr/>
            </p:nvSpPr>
            <p:spPr bwMode="auto">
              <a:xfrm>
                <a:off x="7340869" y="3219223"/>
                <a:ext cx="13801" cy="218059"/>
              </a:xfrm>
              <a:custGeom>
                <a:avLst/>
                <a:gdLst>
                  <a:gd name="T0" fmla="*/ 2 w 5"/>
                  <a:gd name="T1" fmla="*/ 0 h 76"/>
                  <a:gd name="T2" fmla="*/ 0 w 5"/>
                  <a:gd name="T3" fmla="*/ 2 h 76"/>
                  <a:gd name="T4" fmla="*/ 0 w 5"/>
                  <a:gd name="T5" fmla="*/ 76 h 76"/>
                  <a:gd name="T6" fmla="*/ 5 w 5"/>
                  <a:gd name="T7" fmla="*/ 76 h 76"/>
                  <a:gd name="T8" fmla="*/ 5 w 5"/>
                  <a:gd name="T9" fmla="*/ 2 h 76"/>
                  <a:gd name="T10" fmla="*/ 2 w 5"/>
                  <a:gd name="T11" fmla="*/ 0 h 76"/>
                </a:gdLst>
                <a:ahLst/>
                <a:cxnLst>
                  <a:cxn ang="0">
                    <a:pos x="T0" y="T1"/>
                  </a:cxn>
                  <a:cxn ang="0">
                    <a:pos x="T2" y="T3"/>
                  </a:cxn>
                  <a:cxn ang="0">
                    <a:pos x="T4" y="T5"/>
                  </a:cxn>
                  <a:cxn ang="0">
                    <a:pos x="T6" y="T7"/>
                  </a:cxn>
                  <a:cxn ang="0">
                    <a:pos x="T8" y="T9"/>
                  </a:cxn>
                  <a:cxn ang="0">
                    <a:pos x="T10" y="T11"/>
                  </a:cxn>
                </a:cxnLst>
                <a:rect l="0" t="0" r="r" b="b"/>
                <a:pathLst>
                  <a:path w="5" h="76">
                    <a:moveTo>
                      <a:pt x="2" y="0"/>
                    </a:moveTo>
                    <a:cubicBezTo>
                      <a:pt x="1" y="0"/>
                      <a:pt x="0" y="1"/>
                      <a:pt x="0" y="2"/>
                    </a:cubicBezTo>
                    <a:cubicBezTo>
                      <a:pt x="0" y="76"/>
                      <a:pt x="0" y="76"/>
                      <a:pt x="0" y="76"/>
                    </a:cubicBezTo>
                    <a:cubicBezTo>
                      <a:pt x="5" y="76"/>
                      <a:pt x="5" y="76"/>
                      <a:pt x="5" y="76"/>
                    </a:cubicBezTo>
                    <a:cubicBezTo>
                      <a:pt x="5" y="2"/>
                      <a:pt x="5" y="2"/>
                      <a:pt x="5" y="2"/>
                    </a:cubicBezTo>
                    <a:cubicBezTo>
                      <a:pt x="5" y="1"/>
                      <a:pt x="4" y="0"/>
                      <a:pt x="2" y="0"/>
                    </a:cubicBezTo>
                  </a:path>
                </a:pathLst>
              </a:custGeom>
              <a:solidFill>
                <a:srgbClr val="2052C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8" name="íṥḷiďê">
                <a:extLst>
                  <a:ext uri="{FF2B5EF4-FFF2-40B4-BE49-F238E27FC236}">
                    <a16:creationId xmlns:a16="http://schemas.microsoft.com/office/drawing/2014/main" id="{055E1B1F-01CC-E74E-937B-17BA5D39353F}"/>
                  </a:ext>
                </a:extLst>
              </p:cNvPr>
              <p:cNvSpPr/>
              <p:nvPr/>
            </p:nvSpPr>
            <p:spPr bwMode="auto">
              <a:xfrm>
                <a:off x="7375371" y="3219223"/>
                <a:ext cx="13801" cy="218059"/>
              </a:xfrm>
              <a:custGeom>
                <a:avLst/>
                <a:gdLst>
                  <a:gd name="T0" fmla="*/ 3 w 5"/>
                  <a:gd name="T1" fmla="*/ 0 h 76"/>
                  <a:gd name="T2" fmla="*/ 0 w 5"/>
                  <a:gd name="T3" fmla="*/ 2 h 76"/>
                  <a:gd name="T4" fmla="*/ 0 w 5"/>
                  <a:gd name="T5" fmla="*/ 76 h 76"/>
                  <a:gd name="T6" fmla="*/ 5 w 5"/>
                  <a:gd name="T7" fmla="*/ 76 h 76"/>
                  <a:gd name="T8" fmla="*/ 5 w 5"/>
                  <a:gd name="T9" fmla="*/ 2 h 76"/>
                  <a:gd name="T10" fmla="*/ 3 w 5"/>
                  <a:gd name="T11" fmla="*/ 0 h 76"/>
                </a:gdLst>
                <a:ahLst/>
                <a:cxnLst>
                  <a:cxn ang="0">
                    <a:pos x="T0" y="T1"/>
                  </a:cxn>
                  <a:cxn ang="0">
                    <a:pos x="T2" y="T3"/>
                  </a:cxn>
                  <a:cxn ang="0">
                    <a:pos x="T4" y="T5"/>
                  </a:cxn>
                  <a:cxn ang="0">
                    <a:pos x="T6" y="T7"/>
                  </a:cxn>
                  <a:cxn ang="0">
                    <a:pos x="T8" y="T9"/>
                  </a:cxn>
                  <a:cxn ang="0">
                    <a:pos x="T10" y="T11"/>
                  </a:cxn>
                </a:cxnLst>
                <a:rect l="0" t="0" r="r" b="b"/>
                <a:pathLst>
                  <a:path w="5" h="76">
                    <a:moveTo>
                      <a:pt x="3" y="0"/>
                    </a:moveTo>
                    <a:cubicBezTo>
                      <a:pt x="1" y="0"/>
                      <a:pt x="0" y="1"/>
                      <a:pt x="0" y="2"/>
                    </a:cubicBezTo>
                    <a:cubicBezTo>
                      <a:pt x="0" y="76"/>
                      <a:pt x="0" y="76"/>
                      <a:pt x="0" y="76"/>
                    </a:cubicBezTo>
                    <a:cubicBezTo>
                      <a:pt x="5" y="76"/>
                      <a:pt x="5" y="76"/>
                      <a:pt x="5" y="76"/>
                    </a:cubicBezTo>
                    <a:cubicBezTo>
                      <a:pt x="5" y="2"/>
                      <a:pt x="5" y="2"/>
                      <a:pt x="5" y="2"/>
                    </a:cubicBezTo>
                    <a:cubicBezTo>
                      <a:pt x="5" y="1"/>
                      <a:pt x="4" y="0"/>
                      <a:pt x="3" y="0"/>
                    </a:cubicBezTo>
                  </a:path>
                </a:pathLst>
              </a:custGeom>
              <a:solidFill>
                <a:srgbClr val="2052C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9" name="i$ḷïďè">
                <a:extLst>
                  <a:ext uri="{FF2B5EF4-FFF2-40B4-BE49-F238E27FC236}">
                    <a16:creationId xmlns:a16="http://schemas.microsoft.com/office/drawing/2014/main" id="{85D85484-D3F8-2349-9891-C72B1E527107}"/>
                  </a:ext>
                </a:extLst>
              </p:cNvPr>
              <p:cNvSpPr/>
              <p:nvPr/>
            </p:nvSpPr>
            <p:spPr bwMode="auto">
              <a:xfrm>
                <a:off x="7412635" y="3219223"/>
                <a:ext cx="11041" cy="218059"/>
              </a:xfrm>
              <a:custGeom>
                <a:avLst/>
                <a:gdLst>
                  <a:gd name="T0" fmla="*/ 2 w 4"/>
                  <a:gd name="T1" fmla="*/ 0 h 76"/>
                  <a:gd name="T2" fmla="*/ 0 w 4"/>
                  <a:gd name="T3" fmla="*/ 2 h 76"/>
                  <a:gd name="T4" fmla="*/ 0 w 4"/>
                  <a:gd name="T5" fmla="*/ 76 h 76"/>
                  <a:gd name="T6" fmla="*/ 4 w 4"/>
                  <a:gd name="T7" fmla="*/ 76 h 76"/>
                  <a:gd name="T8" fmla="*/ 4 w 4"/>
                  <a:gd name="T9" fmla="*/ 2 h 76"/>
                  <a:gd name="T10" fmla="*/ 2 w 4"/>
                  <a:gd name="T11" fmla="*/ 0 h 76"/>
                </a:gdLst>
                <a:ahLst/>
                <a:cxnLst>
                  <a:cxn ang="0">
                    <a:pos x="T0" y="T1"/>
                  </a:cxn>
                  <a:cxn ang="0">
                    <a:pos x="T2" y="T3"/>
                  </a:cxn>
                  <a:cxn ang="0">
                    <a:pos x="T4" y="T5"/>
                  </a:cxn>
                  <a:cxn ang="0">
                    <a:pos x="T6" y="T7"/>
                  </a:cxn>
                  <a:cxn ang="0">
                    <a:pos x="T8" y="T9"/>
                  </a:cxn>
                  <a:cxn ang="0">
                    <a:pos x="T10" y="T11"/>
                  </a:cxn>
                </a:cxnLst>
                <a:rect l="0" t="0" r="r" b="b"/>
                <a:pathLst>
                  <a:path w="4" h="76">
                    <a:moveTo>
                      <a:pt x="2" y="0"/>
                    </a:moveTo>
                    <a:cubicBezTo>
                      <a:pt x="1" y="0"/>
                      <a:pt x="0" y="1"/>
                      <a:pt x="0" y="2"/>
                    </a:cubicBezTo>
                    <a:cubicBezTo>
                      <a:pt x="0" y="76"/>
                      <a:pt x="0" y="76"/>
                      <a:pt x="0" y="76"/>
                    </a:cubicBezTo>
                    <a:cubicBezTo>
                      <a:pt x="4" y="76"/>
                      <a:pt x="4" y="76"/>
                      <a:pt x="4" y="76"/>
                    </a:cubicBezTo>
                    <a:cubicBezTo>
                      <a:pt x="4" y="2"/>
                      <a:pt x="4" y="2"/>
                      <a:pt x="4" y="2"/>
                    </a:cubicBezTo>
                    <a:cubicBezTo>
                      <a:pt x="4" y="1"/>
                      <a:pt x="3" y="0"/>
                      <a:pt x="2" y="0"/>
                    </a:cubicBezTo>
                  </a:path>
                </a:pathLst>
              </a:custGeom>
              <a:solidFill>
                <a:srgbClr val="2052C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0" name="ísliďè">
                <a:extLst>
                  <a:ext uri="{FF2B5EF4-FFF2-40B4-BE49-F238E27FC236}">
                    <a16:creationId xmlns:a16="http://schemas.microsoft.com/office/drawing/2014/main" id="{1B6E4D83-D308-894C-B6EA-16D01EB1B6FB}"/>
                  </a:ext>
                </a:extLst>
              </p:cNvPr>
              <p:cNvSpPr/>
              <p:nvPr/>
            </p:nvSpPr>
            <p:spPr bwMode="auto">
              <a:xfrm>
                <a:off x="7447138" y="3219223"/>
                <a:ext cx="11041" cy="218059"/>
              </a:xfrm>
              <a:custGeom>
                <a:avLst/>
                <a:gdLst>
                  <a:gd name="T0" fmla="*/ 2 w 4"/>
                  <a:gd name="T1" fmla="*/ 0 h 76"/>
                  <a:gd name="T2" fmla="*/ 0 w 4"/>
                  <a:gd name="T3" fmla="*/ 2 h 76"/>
                  <a:gd name="T4" fmla="*/ 0 w 4"/>
                  <a:gd name="T5" fmla="*/ 76 h 76"/>
                  <a:gd name="T6" fmla="*/ 4 w 4"/>
                  <a:gd name="T7" fmla="*/ 76 h 76"/>
                  <a:gd name="T8" fmla="*/ 4 w 4"/>
                  <a:gd name="T9" fmla="*/ 2 h 76"/>
                  <a:gd name="T10" fmla="*/ 2 w 4"/>
                  <a:gd name="T11" fmla="*/ 0 h 76"/>
                </a:gdLst>
                <a:ahLst/>
                <a:cxnLst>
                  <a:cxn ang="0">
                    <a:pos x="T0" y="T1"/>
                  </a:cxn>
                  <a:cxn ang="0">
                    <a:pos x="T2" y="T3"/>
                  </a:cxn>
                  <a:cxn ang="0">
                    <a:pos x="T4" y="T5"/>
                  </a:cxn>
                  <a:cxn ang="0">
                    <a:pos x="T6" y="T7"/>
                  </a:cxn>
                  <a:cxn ang="0">
                    <a:pos x="T8" y="T9"/>
                  </a:cxn>
                  <a:cxn ang="0">
                    <a:pos x="T10" y="T11"/>
                  </a:cxn>
                </a:cxnLst>
                <a:rect l="0" t="0" r="r" b="b"/>
                <a:pathLst>
                  <a:path w="4" h="76">
                    <a:moveTo>
                      <a:pt x="2" y="0"/>
                    </a:moveTo>
                    <a:cubicBezTo>
                      <a:pt x="1" y="0"/>
                      <a:pt x="0" y="1"/>
                      <a:pt x="0" y="2"/>
                    </a:cubicBezTo>
                    <a:cubicBezTo>
                      <a:pt x="0" y="76"/>
                      <a:pt x="0" y="76"/>
                      <a:pt x="0" y="76"/>
                    </a:cubicBezTo>
                    <a:cubicBezTo>
                      <a:pt x="4" y="76"/>
                      <a:pt x="4" y="76"/>
                      <a:pt x="4" y="76"/>
                    </a:cubicBezTo>
                    <a:cubicBezTo>
                      <a:pt x="4" y="2"/>
                      <a:pt x="4" y="2"/>
                      <a:pt x="4" y="2"/>
                    </a:cubicBezTo>
                    <a:cubicBezTo>
                      <a:pt x="4" y="1"/>
                      <a:pt x="3" y="0"/>
                      <a:pt x="2" y="0"/>
                    </a:cubicBezTo>
                  </a:path>
                </a:pathLst>
              </a:custGeom>
              <a:solidFill>
                <a:srgbClr val="2052C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1" name="íşḻiḓê">
                <a:extLst>
                  <a:ext uri="{FF2B5EF4-FFF2-40B4-BE49-F238E27FC236}">
                    <a16:creationId xmlns:a16="http://schemas.microsoft.com/office/drawing/2014/main" id="{FF69E619-B984-4442-BEEC-C56C8A55E9C5}"/>
                  </a:ext>
                </a:extLst>
              </p:cNvPr>
              <p:cNvSpPr/>
              <p:nvPr/>
            </p:nvSpPr>
            <p:spPr bwMode="auto">
              <a:xfrm>
                <a:off x="7481641" y="3219223"/>
                <a:ext cx="11041" cy="218059"/>
              </a:xfrm>
              <a:custGeom>
                <a:avLst/>
                <a:gdLst>
                  <a:gd name="T0" fmla="*/ 2 w 4"/>
                  <a:gd name="T1" fmla="*/ 0 h 76"/>
                  <a:gd name="T2" fmla="*/ 0 w 4"/>
                  <a:gd name="T3" fmla="*/ 2 h 76"/>
                  <a:gd name="T4" fmla="*/ 0 w 4"/>
                  <a:gd name="T5" fmla="*/ 76 h 76"/>
                  <a:gd name="T6" fmla="*/ 4 w 4"/>
                  <a:gd name="T7" fmla="*/ 76 h 76"/>
                  <a:gd name="T8" fmla="*/ 4 w 4"/>
                  <a:gd name="T9" fmla="*/ 2 h 76"/>
                  <a:gd name="T10" fmla="*/ 2 w 4"/>
                  <a:gd name="T11" fmla="*/ 0 h 76"/>
                </a:gdLst>
                <a:ahLst/>
                <a:cxnLst>
                  <a:cxn ang="0">
                    <a:pos x="T0" y="T1"/>
                  </a:cxn>
                  <a:cxn ang="0">
                    <a:pos x="T2" y="T3"/>
                  </a:cxn>
                  <a:cxn ang="0">
                    <a:pos x="T4" y="T5"/>
                  </a:cxn>
                  <a:cxn ang="0">
                    <a:pos x="T6" y="T7"/>
                  </a:cxn>
                  <a:cxn ang="0">
                    <a:pos x="T8" y="T9"/>
                  </a:cxn>
                  <a:cxn ang="0">
                    <a:pos x="T10" y="T11"/>
                  </a:cxn>
                </a:cxnLst>
                <a:rect l="0" t="0" r="r" b="b"/>
                <a:pathLst>
                  <a:path w="4" h="76">
                    <a:moveTo>
                      <a:pt x="2" y="0"/>
                    </a:moveTo>
                    <a:cubicBezTo>
                      <a:pt x="1" y="0"/>
                      <a:pt x="0" y="1"/>
                      <a:pt x="0" y="2"/>
                    </a:cubicBezTo>
                    <a:cubicBezTo>
                      <a:pt x="0" y="76"/>
                      <a:pt x="0" y="76"/>
                      <a:pt x="0" y="76"/>
                    </a:cubicBezTo>
                    <a:cubicBezTo>
                      <a:pt x="4" y="76"/>
                      <a:pt x="4" y="76"/>
                      <a:pt x="4" y="76"/>
                    </a:cubicBezTo>
                    <a:cubicBezTo>
                      <a:pt x="4" y="2"/>
                      <a:pt x="4" y="2"/>
                      <a:pt x="4" y="2"/>
                    </a:cubicBezTo>
                    <a:cubicBezTo>
                      <a:pt x="4" y="1"/>
                      <a:pt x="3" y="0"/>
                      <a:pt x="2" y="0"/>
                    </a:cubicBezTo>
                  </a:path>
                </a:pathLst>
              </a:custGeom>
              <a:solidFill>
                <a:srgbClr val="2052C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2" name="íṥlîdè">
                <a:extLst>
                  <a:ext uri="{FF2B5EF4-FFF2-40B4-BE49-F238E27FC236}">
                    <a16:creationId xmlns:a16="http://schemas.microsoft.com/office/drawing/2014/main" id="{55CECB8C-93A4-EC4F-9F6E-8F1BAD3ACB45}"/>
                  </a:ext>
                </a:extLst>
              </p:cNvPr>
              <p:cNvSpPr/>
              <p:nvPr/>
            </p:nvSpPr>
            <p:spPr bwMode="auto">
              <a:xfrm>
                <a:off x="7516144" y="3219223"/>
                <a:ext cx="11041" cy="218059"/>
              </a:xfrm>
              <a:custGeom>
                <a:avLst/>
                <a:gdLst>
                  <a:gd name="T0" fmla="*/ 2 w 4"/>
                  <a:gd name="T1" fmla="*/ 0 h 76"/>
                  <a:gd name="T2" fmla="*/ 0 w 4"/>
                  <a:gd name="T3" fmla="*/ 2 h 76"/>
                  <a:gd name="T4" fmla="*/ 0 w 4"/>
                  <a:gd name="T5" fmla="*/ 76 h 76"/>
                  <a:gd name="T6" fmla="*/ 4 w 4"/>
                  <a:gd name="T7" fmla="*/ 76 h 76"/>
                  <a:gd name="T8" fmla="*/ 4 w 4"/>
                  <a:gd name="T9" fmla="*/ 2 h 76"/>
                  <a:gd name="T10" fmla="*/ 2 w 4"/>
                  <a:gd name="T11" fmla="*/ 0 h 76"/>
                </a:gdLst>
                <a:ahLst/>
                <a:cxnLst>
                  <a:cxn ang="0">
                    <a:pos x="T0" y="T1"/>
                  </a:cxn>
                  <a:cxn ang="0">
                    <a:pos x="T2" y="T3"/>
                  </a:cxn>
                  <a:cxn ang="0">
                    <a:pos x="T4" y="T5"/>
                  </a:cxn>
                  <a:cxn ang="0">
                    <a:pos x="T6" y="T7"/>
                  </a:cxn>
                  <a:cxn ang="0">
                    <a:pos x="T8" y="T9"/>
                  </a:cxn>
                  <a:cxn ang="0">
                    <a:pos x="T10" y="T11"/>
                  </a:cxn>
                </a:cxnLst>
                <a:rect l="0" t="0" r="r" b="b"/>
                <a:pathLst>
                  <a:path w="4" h="76">
                    <a:moveTo>
                      <a:pt x="2" y="0"/>
                    </a:moveTo>
                    <a:cubicBezTo>
                      <a:pt x="1" y="0"/>
                      <a:pt x="0" y="1"/>
                      <a:pt x="0" y="2"/>
                    </a:cubicBezTo>
                    <a:cubicBezTo>
                      <a:pt x="0" y="76"/>
                      <a:pt x="0" y="76"/>
                      <a:pt x="0" y="76"/>
                    </a:cubicBezTo>
                    <a:cubicBezTo>
                      <a:pt x="4" y="76"/>
                      <a:pt x="4" y="76"/>
                      <a:pt x="4" y="76"/>
                    </a:cubicBezTo>
                    <a:cubicBezTo>
                      <a:pt x="4" y="2"/>
                      <a:pt x="4" y="2"/>
                      <a:pt x="4" y="2"/>
                    </a:cubicBezTo>
                    <a:cubicBezTo>
                      <a:pt x="4" y="1"/>
                      <a:pt x="3" y="0"/>
                      <a:pt x="2" y="0"/>
                    </a:cubicBezTo>
                  </a:path>
                </a:pathLst>
              </a:custGeom>
              <a:solidFill>
                <a:srgbClr val="2052C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3" name="íṡļïḍé">
                <a:extLst>
                  <a:ext uri="{FF2B5EF4-FFF2-40B4-BE49-F238E27FC236}">
                    <a16:creationId xmlns:a16="http://schemas.microsoft.com/office/drawing/2014/main" id="{8489E4EC-021A-4F42-AA8F-2EEA467A8F08}"/>
                  </a:ext>
                </a:extLst>
              </p:cNvPr>
              <p:cNvSpPr/>
              <p:nvPr/>
            </p:nvSpPr>
            <p:spPr bwMode="auto">
              <a:xfrm>
                <a:off x="7549267" y="3219223"/>
                <a:ext cx="12422" cy="218059"/>
              </a:xfrm>
              <a:custGeom>
                <a:avLst/>
                <a:gdLst>
                  <a:gd name="T0" fmla="*/ 2 w 4"/>
                  <a:gd name="T1" fmla="*/ 0 h 76"/>
                  <a:gd name="T2" fmla="*/ 0 w 4"/>
                  <a:gd name="T3" fmla="*/ 2 h 76"/>
                  <a:gd name="T4" fmla="*/ 0 w 4"/>
                  <a:gd name="T5" fmla="*/ 76 h 76"/>
                  <a:gd name="T6" fmla="*/ 4 w 4"/>
                  <a:gd name="T7" fmla="*/ 76 h 76"/>
                  <a:gd name="T8" fmla="*/ 4 w 4"/>
                  <a:gd name="T9" fmla="*/ 0 h 76"/>
                  <a:gd name="T10" fmla="*/ 2 w 4"/>
                  <a:gd name="T11" fmla="*/ 0 h 76"/>
                </a:gdLst>
                <a:ahLst/>
                <a:cxnLst>
                  <a:cxn ang="0">
                    <a:pos x="T0" y="T1"/>
                  </a:cxn>
                  <a:cxn ang="0">
                    <a:pos x="T2" y="T3"/>
                  </a:cxn>
                  <a:cxn ang="0">
                    <a:pos x="T4" y="T5"/>
                  </a:cxn>
                  <a:cxn ang="0">
                    <a:pos x="T6" y="T7"/>
                  </a:cxn>
                  <a:cxn ang="0">
                    <a:pos x="T8" y="T9"/>
                  </a:cxn>
                  <a:cxn ang="0">
                    <a:pos x="T10" y="T11"/>
                  </a:cxn>
                </a:cxnLst>
                <a:rect l="0" t="0" r="r" b="b"/>
                <a:pathLst>
                  <a:path w="4" h="76">
                    <a:moveTo>
                      <a:pt x="2" y="0"/>
                    </a:moveTo>
                    <a:cubicBezTo>
                      <a:pt x="1" y="0"/>
                      <a:pt x="0" y="1"/>
                      <a:pt x="0" y="2"/>
                    </a:cubicBezTo>
                    <a:cubicBezTo>
                      <a:pt x="0" y="76"/>
                      <a:pt x="0" y="76"/>
                      <a:pt x="0" y="76"/>
                    </a:cubicBezTo>
                    <a:cubicBezTo>
                      <a:pt x="4" y="76"/>
                      <a:pt x="4" y="76"/>
                      <a:pt x="4" y="76"/>
                    </a:cubicBezTo>
                    <a:cubicBezTo>
                      <a:pt x="4" y="0"/>
                      <a:pt x="4" y="0"/>
                      <a:pt x="4" y="0"/>
                    </a:cubicBezTo>
                    <a:cubicBezTo>
                      <a:pt x="3" y="0"/>
                      <a:pt x="3" y="0"/>
                      <a:pt x="2" y="0"/>
                    </a:cubicBezTo>
                  </a:path>
                </a:pathLst>
              </a:custGeom>
              <a:solidFill>
                <a:srgbClr val="2052C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4" name="išḻïḑè">
                <a:extLst>
                  <a:ext uri="{FF2B5EF4-FFF2-40B4-BE49-F238E27FC236}">
                    <a16:creationId xmlns:a16="http://schemas.microsoft.com/office/drawing/2014/main" id="{222D0EFF-B68B-7F46-B570-032B5C7E5207}"/>
                  </a:ext>
                </a:extLst>
              </p:cNvPr>
              <p:cNvSpPr/>
              <p:nvPr/>
            </p:nvSpPr>
            <p:spPr bwMode="auto">
              <a:xfrm>
                <a:off x="7561688" y="3208182"/>
                <a:ext cx="0" cy="11041"/>
              </a:xfrm>
              <a:custGeom>
                <a:avLst/>
                <a:gdLst>
                  <a:gd name="T0" fmla="*/ 0 h 4"/>
                  <a:gd name="T1" fmla="*/ 0 h 4"/>
                  <a:gd name="T2" fmla="*/ 4 h 4"/>
                  <a:gd name="T3" fmla="*/ 4 h 4"/>
                  <a:gd name="T4" fmla="*/ 0 h 4"/>
                </a:gdLst>
                <a:ahLst/>
                <a:cxnLst>
                  <a:cxn ang="0">
                    <a:pos x="0" y="T0"/>
                  </a:cxn>
                  <a:cxn ang="0">
                    <a:pos x="0" y="T1"/>
                  </a:cxn>
                  <a:cxn ang="0">
                    <a:pos x="0" y="T2"/>
                  </a:cxn>
                  <a:cxn ang="0">
                    <a:pos x="0" y="T3"/>
                  </a:cxn>
                  <a:cxn ang="0">
                    <a:pos x="0" y="T4"/>
                  </a:cxn>
                </a:cxnLst>
                <a:rect l="0" t="0" r="r" b="b"/>
                <a:pathLst>
                  <a:path h="4">
                    <a:moveTo>
                      <a:pt x="0" y="0"/>
                    </a:moveTo>
                    <a:cubicBezTo>
                      <a:pt x="0" y="0"/>
                      <a:pt x="0" y="0"/>
                      <a:pt x="0" y="0"/>
                    </a:cubicBezTo>
                    <a:cubicBezTo>
                      <a:pt x="0" y="4"/>
                      <a:pt x="0" y="4"/>
                      <a:pt x="0" y="4"/>
                    </a:cubicBezTo>
                    <a:cubicBezTo>
                      <a:pt x="0" y="4"/>
                      <a:pt x="0" y="4"/>
                      <a:pt x="0" y="4"/>
                    </a:cubicBezTo>
                    <a:cubicBezTo>
                      <a:pt x="0" y="0"/>
                      <a:pt x="0" y="0"/>
                      <a:pt x="0" y="0"/>
                    </a:cubicBezTo>
                  </a:path>
                </a:pathLst>
              </a:custGeom>
              <a:solidFill>
                <a:srgbClr val="0031A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5" name="ïṩļïḋè">
                <a:extLst>
                  <a:ext uri="{FF2B5EF4-FFF2-40B4-BE49-F238E27FC236}">
                    <a16:creationId xmlns:a16="http://schemas.microsoft.com/office/drawing/2014/main" id="{F65794F1-A38E-704D-A4EC-CD8C209A00E6}"/>
                  </a:ext>
                </a:extLst>
              </p:cNvPr>
              <p:cNvSpPr/>
              <p:nvPr/>
            </p:nvSpPr>
            <p:spPr bwMode="auto">
              <a:xfrm>
                <a:off x="7561688" y="3219223"/>
                <a:ext cx="0" cy="218059"/>
              </a:xfrm>
              <a:custGeom>
                <a:avLst/>
                <a:gdLst>
                  <a:gd name="T0" fmla="*/ 0 h 76"/>
                  <a:gd name="T1" fmla="*/ 76 h 76"/>
                  <a:gd name="T2" fmla="*/ 76 h 76"/>
                  <a:gd name="T3" fmla="*/ 0 h 76"/>
                  <a:gd name="T4" fmla="*/ 0 h 76"/>
                </a:gdLst>
                <a:ahLst/>
                <a:cxnLst>
                  <a:cxn ang="0">
                    <a:pos x="0" y="T0"/>
                  </a:cxn>
                  <a:cxn ang="0">
                    <a:pos x="0" y="T1"/>
                  </a:cxn>
                  <a:cxn ang="0">
                    <a:pos x="0" y="T2"/>
                  </a:cxn>
                  <a:cxn ang="0">
                    <a:pos x="0" y="T3"/>
                  </a:cxn>
                  <a:cxn ang="0">
                    <a:pos x="0" y="T4"/>
                  </a:cxn>
                </a:cxnLst>
                <a:rect l="0" t="0" r="r" b="b"/>
                <a:pathLst>
                  <a:path h="76">
                    <a:moveTo>
                      <a:pt x="0" y="0"/>
                    </a:moveTo>
                    <a:cubicBezTo>
                      <a:pt x="0" y="76"/>
                      <a:pt x="0" y="76"/>
                      <a:pt x="0" y="76"/>
                    </a:cubicBezTo>
                    <a:cubicBezTo>
                      <a:pt x="0" y="76"/>
                      <a:pt x="0" y="76"/>
                      <a:pt x="0" y="76"/>
                    </a:cubicBezTo>
                    <a:cubicBezTo>
                      <a:pt x="0" y="0"/>
                      <a:pt x="0" y="0"/>
                      <a:pt x="0" y="0"/>
                    </a:cubicBezTo>
                    <a:cubicBezTo>
                      <a:pt x="0" y="0"/>
                      <a:pt x="0" y="0"/>
                      <a:pt x="0" y="0"/>
                    </a:cubicBezTo>
                  </a:path>
                </a:pathLst>
              </a:custGeom>
              <a:solidFill>
                <a:srgbClr val="1B46A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6" name="ïśļïḍé">
                <a:extLst>
                  <a:ext uri="{FF2B5EF4-FFF2-40B4-BE49-F238E27FC236}">
                    <a16:creationId xmlns:a16="http://schemas.microsoft.com/office/drawing/2014/main" id="{ED249D6A-46D2-D34A-8239-ACD0F9500C31}"/>
                  </a:ext>
                </a:extLst>
              </p:cNvPr>
              <p:cNvSpPr/>
              <p:nvPr/>
            </p:nvSpPr>
            <p:spPr bwMode="auto">
              <a:xfrm>
                <a:off x="7561688" y="3208182"/>
                <a:ext cx="452679" cy="258083"/>
              </a:xfrm>
              <a:prstGeom prst="rect">
                <a:avLst/>
              </a:prstGeom>
              <a:solidFill>
                <a:srgbClr val="597FD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697" name="íṩḷïḓè">
                <a:extLst>
                  <a:ext uri="{FF2B5EF4-FFF2-40B4-BE49-F238E27FC236}">
                    <a16:creationId xmlns:a16="http://schemas.microsoft.com/office/drawing/2014/main" id="{AD40E799-58C6-E24A-936F-019719634F88}"/>
                  </a:ext>
                </a:extLst>
              </p:cNvPr>
              <p:cNvSpPr/>
              <p:nvPr/>
            </p:nvSpPr>
            <p:spPr bwMode="auto">
              <a:xfrm>
                <a:off x="7561688" y="3208182"/>
                <a:ext cx="452679" cy="258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698" name="îṩ1íḍé">
                <a:extLst>
                  <a:ext uri="{FF2B5EF4-FFF2-40B4-BE49-F238E27FC236}">
                    <a16:creationId xmlns:a16="http://schemas.microsoft.com/office/drawing/2014/main" id="{C53752AA-2D56-E246-A0DB-73C8CB32E978}"/>
                  </a:ext>
                </a:extLst>
              </p:cNvPr>
              <p:cNvSpPr/>
              <p:nvPr/>
            </p:nvSpPr>
            <p:spPr bwMode="auto">
              <a:xfrm>
                <a:off x="7590670" y="3219223"/>
                <a:ext cx="11041" cy="218059"/>
              </a:xfrm>
              <a:custGeom>
                <a:avLst/>
                <a:gdLst>
                  <a:gd name="T0" fmla="*/ 2 w 4"/>
                  <a:gd name="T1" fmla="*/ 0 h 76"/>
                  <a:gd name="T2" fmla="*/ 0 w 4"/>
                  <a:gd name="T3" fmla="*/ 2 h 76"/>
                  <a:gd name="T4" fmla="*/ 0 w 4"/>
                  <a:gd name="T5" fmla="*/ 76 h 76"/>
                  <a:gd name="T6" fmla="*/ 4 w 4"/>
                  <a:gd name="T7" fmla="*/ 76 h 76"/>
                  <a:gd name="T8" fmla="*/ 4 w 4"/>
                  <a:gd name="T9" fmla="*/ 2 h 76"/>
                  <a:gd name="T10" fmla="*/ 2 w 4"/>
                  <a:gd name="T11" fmla="*/ 0 h 76"/>
                </a:gdLst>
                <a:ahLst/>
                <a:cxnLst>
                  <a:cxn ang="0">
                    <a:pos x="T0" y="T1"/>
                  </a:cxn>
                  <a:cxn ang="0">
                    <a:pos x="T2" y="T3"/>
                  </a:cxn>
                  <a:cxn ang="0">
                    <a:pos x="T4" y="T5"/>
                  </a:cxn>
                  <a:cxn ang="0">
                    <a:pos x="T6" y="T7"/>
                  </a:cxn>
                  <a:cxn ang="0">
                    <a:pos x="T8" y="T9"/>
                  </a:cxn>
                  <a:cxn ang="0">
                    <a:pos x="T10" y="T11"/>
                  </a:cxn>
                </a:cxnLst>
                <a:rect l="0" t="0" r="r" b="b"/>
                <a:pathLst>
                  <a:path w="4" h="76">
                    <a:moveTo>
                      <a:pt x="2" y="0"/>
                    </a:moveTo>
                    <a:cubicBezTo>
                      <a:pt x="1" y="0"/>
                      <a:pt x="0" y="1"/>
                      <a:pt x="0" y="2"/>
                    </a:cubicBezTo>
                    <a:cubicBezTo>
                      <a:pt x="0" y="76"/>
                      <a:pt x="0" y="76"/>
                      <a:pt x="0" y="76"/>
                    </a:cubicBezTo>
                    <a:cubicBezTo>
                      <a:pt x="4" y="76"/>
                      <a:pt x="4" y="76"/>
                      <a:pt x="4" y="76"/>
                    </a:cubicBezTo>
                    <a:cubicBezTo>
                      <a:pt x="4" y="2"/>
                      <a:pt x="4" y="2"/>
                      <a:pt x="4" y="2"/>
                    </a:cubicBezTo>
                    <a:cubicBezTo>
                      <a:pt x="4" y="1"/>
                      <a:pt x="3" y="0"/>
                      <a:pt x="2" y="0"/>
                    </a:cubicBezTo>
                  </a:path>
                </a:pathLst>
              </a:custGeom>
              <a:solidFill>
                <a:srgbClr val="6E8F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9" name="îṩḷîḓê">
                <a:extLst>
                  <a:ext uri="{FF2B5EF4-FFF2-40B4-BE49-F238E27FC236}">
                    <a16:creationId xmlns:a16="http://schemas.microsoft.com/office/drawing/2014/main" id="{EF126B2C-124E-C64E-89AA-0D61F85F3B0A}"/>
                  </a:ext>
                </a:extLst>
              </p:cNvPr>
              <p:cNvSpPr/>
              <p:nvPr/>
            </p:nvSpPr>
            <p:spPr bwMode="auto">
              <a:xfrm>
                <a:off x="7625174" y="3219223"/>
                <a:ext cx="11041" cy="218059"/>
              </a:xfrm>
              <a:custGeom>
                <a:avLst/>
                <a:gdLst>
                  <a:gd name="T0" fmla="*/ 2 w 4"/>
                  <a:gd name="T1" fmla="*/ 0 h 76"/>
                  <a:gd name="T2" fmla="*/ 0 w 4"/>
                  <a:gd name="T3" fmla="*/ 2 h 76"/>
                  <a:gd name="T4" fmla="*/ 0 w 4"/>
                  <a:gd name="T5" fmla="*/ 76 h 76"/>
                  <a:gd name="T6" fmla="*/ 4 w 4"/>
                  <a:gd name="T7" fmla="*/ 76 h 76"/>
                  <a:gd name="T8" fmla="*/ 4 w 4"/>
                  <a:gd name="T9" fmla="*/ 2 h 76"/>
                  <a:gd name="T10" fmla="*/ 2 w 4"/>
                  <a:gd name="T11" fmla="*/ 0 h 76"/>
                </a:gdLst>
                <a:ahLst/>
                <a:cxnLst>
                  <a:cxn ang="0">
                    <a:pos x="T0" y="T1"/>
                  </a:cxn>
                  <a:cxn ang="0">
                    <a:pos x="T2" y="T3"/>
                  </a:cxn>
                  <a:cxn ang="0">
                    <a:pos x="T4" y="T5"/>
                  </a:cxn>
                  <a:cxn ang="0">
                    <a:pos x="T6" y="T7"/>
                  </a:cxn>
                  <a:cxn ang="0">
                    <a:pos x="T8" y="T9"/>
                  </a:cxn>
                  <a:cxn ang="0">
                    <a:pos x="T10" y="T11"/>
                  </a:cxn>
                </a:cxnLst>
                <a:rect l="0" t="0" r="r" b="b"/>
                <a:pathLst>
                  <a:path w="4" h="76">
                    <a:moveTo>
                      <a:pt x="2" y="0"/>
                    </a:moveTo>
                    <a:cubicBezTo>
                      <a:pt x="1" y="0"/>
                      <a:pt x="0" y="1"/>
                      <a:pt x="0" y="2"/>
                    </a:cubicBezTo>
                    <a:cubicBezTo>
                      <a:pt x="0" y="76"/>
                      <a:pt x="0" y="76"/>
                      <a:pt x="0" y="76"/>
                    </a:cubicBezTo>
                    <a:cubicBezTo>
                      <a:pt x="4" y="76"/>
                      <a:pt x="4" y="76"/>
                      <a:pt x="4" y="76"/>
                    </a:cubicBezTo>
                    <a:cubicBezTo>
                      <a:pt x="4" y="2"/>
                      <a:pt x="4" y="2"/>
                      <a:pt x="4" y="2"/>
                    </a:cubicBezTo>
                    <a:cubicBezTo>
                      <a:pt x="4" y="1"/>
                      <a:pt x="3" y="0"/>
                      <a:pt x="2" y="0"/>
                    </a:cubicBezTo>
                  </a:path>
                </a:pathLst>
              </a:custGeom>
              <a:solidFill>
                <a:srgbClr val="6E8F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0" name="îṥľíḋè">
                <a:extLst>
                  <a:ext uri="{FF2B5EF4-FFF2-40B4-BE49-F238E27FC236}">
                    <a16:creationId xmlns:a16="http://schemas.microsoft.com/office/drawing/2014/main" id="{0EF2F35A-52B1-3E4B-AAA1-A075E0E3DDD9}"/>
                  </a:ext>
                </a:extLst>
              </p:cNvPr>
              <p:cNvSpPr/>
              <p:nvPr/>
            </p:nvSpPr>
            <p:spPr bwMode="auto">
              <a:xfrm>
                <a:off x="7658297" y="3219223"/>
                <a:ext cx="15182" cy="218059"/>
              </a:xfrm>
              <a:custGeom>
                <a:avLst/>
                <a:gdLst>
                  <a:gd name="T0" fmla="*/ 2 w 5"/>
                  <a:gd name="T1" fmla="*/ 0 h 76"/>
                  <a:gd name="T2" fmla="*/ 0 w 5"/>
                  <a:gd name="T3" fmla="*/ 2 h 76"/>
                  <a:gd name="T4" fmla="*/ 0 w 5"/>
                  <a:gd name="T5" fmla="*/ 76 h 76"/>
                  <a:gd name="T6" fmla="*/ 5 w 5"/>
                  <a:gd name="T7" fmla="*/ 76 h 76"/>
                  <a:gd name="T8" fmla="*/ 5 w 5"/>
                  <a:gd name="T9" fmla="*/ 2 h 76"/>
                  <a:gd name="T10" fmla="*/ 2 w 5"/>
                  <a:gd name="T11" fmla="*/ 0 h 76"/>
                </a:gdLst>
                <a:ahLst/>
                <a:cxnLst>
                  <a:cxn ang="0">
                    <a:pos x="T0" y="T1"/>
                  </a:cxn>
                  <a:cxn ang="0">
                    <a:pos x="T2" y="T3"/>
                  </a:cxn>
                  <a:cxn ang="0">
                    <a:pos x="T4" y="T5"/>
                  </a:cxn>
                  <a:cxn ang="0">
                    <a:pos x="T6" y="T7"/>
                  </a:cxn>
                  <a:cxn ang="0">
                    <a:pos x="T8" y="T9"/>
                  </a:cxn>
                  <a:cxn ang="0">
                    <a:pos x="T10" y="T11"/>
                  </a:cxn>
                </a:cxnLst>
                <a:rect l="0" t="0" r="r" b="b"/>
                <a:pathLst>
                  <a:path w="5" h="76">
                    <a:moveTo>
                      <a:pt x="2" y="0"/>
                    </a:moveTo>
                    <a:cubicBezTo>
                      <a:pt x="1" y="0"/>
                      <a:pt x="0" y="1"/>
                      <a:pt x="0" y="2"/>
                    </a:cubicBezTo>
                    <a:cubicBezTo>
                      <a:pt x="0" y="76"/>
                      <a:pt x="0" y="76"/>
                      <a:pt x="0" y="76"/>
                    </a:cubicBezTo>
                    <a:cubicBezTo>
                      <a:pt x="5" y="76"/>
                      <a:pt x="5" y="76"/>
                      <a:pt x="5" y="76"/>
                    </a:cubicBezTo>
                    <a:cubicBezTo>
                      <a:pt x="5" y="2"/>
                      <a:pt x="5" y="2"/>
                      <a:pt x="5" y="2"/>
                    </a:cubicBezTo>
                    <a:cubicBezTo>
                      <a:pt x="5" y="1"/>
                      <a:pt x="4" y="0"/>
                      <a:pt x="2" y="0"/>
                    </a:cubicBezTo>
                  </a:path>
                </a:pathLst>
              </a:custGeom>
              <a:solidFill>
                <a:srgbClr val="6E8F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1" name="íṣlïḓê">
                <a:extLst>
                  <a:ext uri="{FF2B5EF4-FFF2-40B4-BE49-F238E27FC236}">
                    <a16:creationId xmlns:a16="http://schemas.microsoft.com/office/drawing/2014/main" id="{34E0619F-2E17-1741-B504-B930923957A7}"/>
                  </a:ext>
                </a:extLst>
              </p:cNvPr>
              <p:cNvSpPr/>
              <p:nvPr/>
            </p:nvSpPr>
            <p:spPr bwMode="auto">
              <a:xfrm>
                <a:off x="7692799" y="3219223"/>
                <a:ext cx="15182" cy="218059"/>
              </a:xfrm>
              <a:custGeom>
                <a:avLst/>
                <a:gdLst>
                  <a:gd name="T0" fmla="*/ 3 w 5"/>
                  <a:gd name="T1" fmla="*/ 0 h 76"/>
                  <a:gd name="T2" fmla="*/ 0 w 5"/>
                  <a:gd name="T3" fmla="*/ 2 h 76"/>
                  <a:gd name="T4" fmla="*/ 0 w 5"/>
                  <a:gd name="T5" fmla="*/ 76 h 76"/>
                  <a:gd name="T6" fmla="*/ 5 w 5"/>
                  <a:gd name="T7" fmla="*/ 76 h 76"/>
                  <a:gd name="T8" fmla="*/ 5 w 5"/>
                  <a:gd name="T9" fmla="*/ 2 h 76"/>
                  <a:gd name="T10" fmla="*/ 3 w 5"/>
                  <a:gd name="T11" fmla="*/ 0 h 76"/>
                </a:gdLst>
                <a:ahLst/>
                <a:cxnLst>
                  <a:cxn ang="0">
                    <a:pos x="T0" y="T1"/>
                  </a:cxn>
                  <a:cxn ang="0">
                    <a:pos x="T2" y="T3"/>
                  </a:cxn>
                  <a:cxn ang="0">
                    <a:pos x="T4" y="T5"/>
                  </a:cxn>
                  <a:cxn ang="0">
                    <a:pos x="T6" y="T7"/>
                  </a:cxn>
                  <a:cxn ang="0">
                    <a:pos x="T8" y="T9"/>
                  </a:cxn>
                  <a:cxn ang="0">
                    <a:pos x="T10" y="T11"/>
                  </a:cxn>
                </a:cxnLst>
                <a:rect l="0" t="0" r="r" b="b"/>
                <a:pathLst>
                  <a:path w="5" h="76">
                    <a:moveTo>
                      <a:pt x="3" y="0"/>
                    </a:moveTo>
                    <a:cubicBezTo>
                      <a:pt x="1" y="0"/>
                      <a:pt x="0" y="1"/>
                      <a:pt x="0" y="2"/>
                    </a:cubicBezTo>
                    <a:cubicBezTo>
                      <a:pt x="0" y="76"/>
                      <a:pt x="0" y="76"/>
                      <a:pt x="0" y="76"/>
                    </a:cubicBezTo>
                    <a:cubicBezTo>
                      <a:pt x="5" y="76"/>
                      <a:pt x="5" y="76"/>
                      <a:pt x="5" y="76"/>
                    </a:cubicBezTo>
                    <a:cubicBezTo>
                      <a:pt x="5" y="2"/>
                      <a:pt x="5" y="2"/>
                      <a:pt x="5" y="2"/>
                    </a:cubicBezTo>
                    <a:cubicBezTo>
                      <a:pt x="5" y="1"/>
                      <a:pt x="4" y="0"/>
                      <a:pt x="3" y="0"/>
                    </a:cubicBezTo>
                  </a:path>
                </a:pathLst>
              </a:custGeom>
              <a:solidFill>
                <a:srgbClr val="6E8F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2" name="ïṡḻiḍê">
                <a:extLst>
                  <a:ext uri="{FF2B5EF4-FFF2-40B4-BE49-F238E27FC236}">
                    <a16:creationId xmlns:a16="http://schemas.microsoft.com/office/drawing/2014/main" id="{C53A49E9-DA3A-794D-9C70-0C430A43C606}"/>
                  </a:ext>
                </a:extLst>
              </p:cNvPr>
              <p:cNvSpPr/>
              <p:nvPr/>
            </p:nvSpPr>
            <p:spPr bwMode="auto">
              <a:xfrm>
                <a:off x="7730063" y="3219223"/>
                <a:ext cx="12422" cy="218059"/>
              </a:xfrm>
              <a:custGeom>
                <a:avLst/>
                <a:gdLst>
                  <a:gd name="T0" fmla="*/ 2 w 4"/>
                  <a:gd name="T1" fmla="*/ 0 h 76"/>
                  <a:gd name="T2" fmla="*/ 0 w 4"/>
                  <a:gd name="T3" fmla="*/ 2 h 76"/>
                  <a:gd name="T4" fmla="*/ 0 w 4"/>
                  <a:gd name="T5" fmla="*/ 76 h 76"/>
                  <a:gd name="T6" fmla="*/ 4 w 4"/>
                  <a:gd name="T7" fmla="*/ 76 h 76"/>
                  <a:gd name="T8" fmla="*/ 4 w 4"/>
                  <a:gd name="T9" fmla="*/ 2 h 76"/>
                  <a:gd name="T10" fmla="*/ 2 w 4"/>
                  <a:gd name="T11" fmla="*/ 0 h 76"/>
                </a:gdLst>
                <a:ahLst/>
                <a:cxnLst>
                  <a:cxn ang="0">
                    <a:pos x="T0" y="T1"/>
                  </a:cxn>
                  <a:cxn ang="0">
                    <a:pos x="T2" y="T3"/>
                  </a:cxn>
                  <a:cxn ang="0">
                    <a:pos x="T4" y="T5"/>
                  </a:cxn>
                  <a:cxn ang="0">
                    <a:pos x="T6" y="T7"/>
                  </a:cxn>
                  <a:cxn ang="0">
                    <a:pos x="T8" y="T9"/>
                  </a:cxn>
                  <a:cxn ang="0">
                    <a:pos x="T10" y="T11"/>
                  </a:cxn>
                </a:cxnLst>
                <a:rect l="0" t="0" r="r" b="b"/>
                <a:pathLst>
                  <a:path w="4" h="76">
                    <a:moveTo>
                      <a:pt x="2" y="0"/>
                    </a:moveTo>
                    <a:cubicBezTo>
                      <a:pt x="1" y="0"/>
                      <a:pt x="0" y="1"/>
                      <a:pt x="0" y="2"/>
                    </a:cubicBezTo>
                    <a:cubicBezTo>
                      <a:pt x="0" y="76"/>
                      <a:pt x="0" y="76"/>
                      <a:pt x="0" y="76"/>
                    </a:cubicBezTo>
                    <a:cubicBezTo>
                      <a:pt x="4" y="76"/>
                      <a:pt x="4" y="76"/>
                      <a:pt x="4" y="76"/>
                    </a:cubicBezTo>
                    <a:cubicBezTo>
                      <a:pt x="4" y="2"/>
                      <a:pt x="4" y="2"/>
                      <a:pt x="4" y="2"/>
                    </a:cubicBezTo>
                    <a:cubicBezTo>
                      <a:pt x="4" y="1"/>
                      <a:pt x="3" y="0"/>
                      <a:pt x="2" y="0"/>
                    </a:cubicBezTo>
                  </a:path>
                </a:pathLst>
              </a:custGeom>
              <a:solidFill>
                <a:srgbClr val="6E8F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3" name="ïṡlíḋe">
                <a:extLst>
                  <a:ext uri="{FF2B5EF4-FFF2-40B4-BE49-F238E27FC236}">
                    <a16:creationId xmlns:a16="http://schemas.microsoft.com/office/drawing/2014/main" id="{6A9533C8-28DD-5A44-A1DC-6CB716F7CBA4}"/>
                  </a:ext>
                </a:extLst>
              </p:cNvPr>
              <p:cNvSpPr/>
              <p:nvPr/>
            </p:nvSpPr>
            <p:spPr bwMode="auto">
              <a:xfrm>
                <a:off x="7764565" y="3219223"/>
                <a:ext cx="12422" cy="218059"/>
              </a:xfrm>
              <a:custGeom>
                <a:avLst/>
                <a:gdLst>
                  <a:gd name="T0" fmla="*/ 2 w 4"/>
                  <a:gd name="T1" fmla="*/ 0 h 76"/>
                  <a:gd name="T2" fmla="*/ 0 w 4"/>
                  <a:gd name="T3" fmla="*/ 2 h 76"/>
                  <a:gd name="T4" fmla="*/ 0 w 4"/>
                  <a:gd name="T5" fmla="*/ 76 h 76"/>
                  <a:gd name="T6" fmla="*/ 4 w 4"/>
                  <a:gd name="T7" fmla="*/ 76 h 76"/>
                  <a:gd name="T8" fmla="*/ 4 w 4"/>
                  <a:gd name="T9" fmla="*/ 2 h 76"/>
                  <a:gd name="T10" fmla="*/ 2 w 4"/>
                  <a:gd name="T11" fmla="*/ 0 h 76"/>
                </a:gdLst>
                <a:ahLst/>
                <a:cxnLst>
                  <a:cxn ang="0">
                    <a:pos x="T0" y="T1"/>
                  </a:cxn>
                  <a:cxn ang="0">
                    <a:pos x="T2" y="T3"/>
                  </a:cxn>
                  <a:cxn ang="0">
                    <a:pos x="T4" y="T5"/>
                  </a:cxn>
                  <a:cxn ang="0">
                    <a:pos x="T6" y="T7"/>
                  </a:cxn>
                  <a:cxn ang="0">
                    <a:pos x="T8" y="T9"/>
                  </a:cxn>
                  <a:cxn ang="0">
                    <a:pos x="T10" y="T11"/>
                  </a:cxn>
                </a:cxnLst>
                <a:rect l="0" t="0" r="r" b="b"/>
                <a:pathLst>
                  <a:path w="4" h="76">
                    <a:moveTo>
                      <a:pt x="2" y="0"/>
                    </a:moveTo>
                    <a:cubicBezTo>
                      <a:pt x="1" y="0"/>
                      <a:pt x="0" y="1"/>
                      <a:pt x="0" y="2"/>
                    </a:cubicBezTo>
                    <a:cubicBezTo>
                      <a:pt x="0" y="76"/>
                      <a:pt x="0" y="76"/>
                      <a:pt x="0" y="76"/>
                    </a:cubicBezTo>
                    <a:cubicBezTo>
                      <a:pt x="4" y="76"/>
                      <a:pt x="4" y="76"/>
                      <a:pt x="4" y="76"/>
                    </a:cubicBezTo>
                    <a:cubicBezTo>
                      <a:pt x="4" y="2"/>
                      <a:pt x="4" y="2"/>
                      <a:pt x="4" y="2"/>
                    </a:cubicBezTo>
                    <a:cubicBezTo>
                      <a:pt x="4" y="1"/>
                      <a:pt x="3" y="0"/>
                      <a:pt x="2" y="0"/>
                    </a:cubicBezTo>
                  </a:path>
                </a:pathLst>
              </a:custGeom>
              <a:solidFill>
                <a:srgbClr val="6E8F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4" name="íṡḻïdê">
                <a:extLst>
                  <a:ext uri="{FF2B5EF4-FFF2-40B4-BE49-F238E27FC236}">
                    <a16:creationId xmlns:a16="http://schemas.microsoft.com/office/drawing/2014/main" id="{041F61B0-4670-C043-8087-851C16A2490E}"/>
                  </a:ext>
                </a:extLst>
              </p:cNvPr>
              <p:cNvSpPr/>
              <p:nvPr/>
            </p:nvSpPr>
            <p:spPr bwMode="auto">
              <a:xfrm>
                <a:off x="7799069" y="3219223"/>
                <a:ext cx="12422" cy="218059"/>
              </a:xfrm>
              <a:custGeom>
                <a:avLst/>
                <a:gdLst>
                  <a:gd name="T0" fmla="*/ 2 w 4"/>
                  <a:gd name="T1" fmla="*/ 0 h 76"/>
                  <a:gd name="T2" fmla="*/ 0 w 4"/>
                  <a:gd name="T3" fmla="*/ 2 h 76"/>
                  <a:gd name="T4" fmla="*/ 0 w 4"/>
                  <a:gd name="T5" fmla="*/ 76 h 76"/>
                  <a:gd name="T6" fmla="*/ 4 w 4"/>
                  <a:gd name="T7" fmla="*/ 76 h 76"/>
                  <a:gd name="T8" fmla="*/ 4 w 4"/>
                  <a:gd name="T9" fmla="*/ 2 h 76"/>
                  <a:gd name="T10" fmla="*/ 2 w 4"/>
                  <a:gd name="T11" fmla="*/ 0 h 76"/>
                </a:gdLst>
                <a:ahLst/>
                <a:cxnLst>
                  <a:cxn ang="0">
                    <a:pos x="T0" y="T1"/>
                  </a:cxn>
                  <a:cxn ang="0">
                    <a:pos x="T2" y="T3"/>
                  </a:cxn>
                  <a:cxn ang="0">
                    <a:pos x="T4" y="T5"/>
                  </a:cxn>
                  <a:cxn ang="0">
                    <a:pos x="T6" y="T7"/>
                  </a:cxn>
                  <a:cxn ang="0">
                    <a:pos x="T8" y="T9"/>
                  </a:cxn>
                  <a:cxn ang="0">
                    <a:pos x="T10" y="T11"/>
                  </a:cxn>
                </a:cxnLst>
                <a:rect l="0" t="0" r="r" b="b"/>
                <a:pathLst>
                  <a:path w="4" h="76">
                    <a:moveTo>
                      <a:pt x="2" y="0"/>
                    </a:moveTo>
                    <a:cubicBezTo>
                      <a:pt x="1" y="0"/>
                      <a:pt x="0" y="1"/>
                      <a:pt x="0" y="2"/>
                    </a:cubicBezTo>
                    <a:cubicBezTo>
                      <a:pt x="0" y="76"/>
                      <a:pt x="0" y="76"/>
                      <a:pt x="0" y="76"/>
                    </a:cubicBezTo>
                    <a:cubicBezTo>
                      <a:pt x="4" y="76"/>
                      <a:pt x="4" y="76"/>
                      <a:pt x="4" y="76"/>
                    </a:cubicBezTo>
                    <a:cubicBezTo>
                      <a:pt x="4" y="2"/>
                      <a:pt x="4" y="2"/>
                      <a:pt x="4" y="2"/>
                    </a:cubicBezTo>
                    <a:cubicBezTo>
                      <a:pt x="4" y="1"/>
                      <a:pt x="3" y="0"/>
                      <a:pt x="2" y="0"/>
                    </a:cubicBezTo>
                  </a:path>
                </a:pathLst>
              </a:custGeom>
              <a:solidFill>
                <a:srgbClr val="6E8F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5" name="îśľîḍê">
                <a:extLst>
                  <a:ext uri="{FF2B5EF4-FFF2-40B4-BE49-F238E27FC236}">
                    <a16:creationId xmlns:a16="http://schemas.microsoft.com/office/drawing/2014/main" id="{A91716E3-9098-8149-9EAE-AAB666406F25}"/>
                  </a:ext>
                </a:extLst>
              </p:cNvPr>
              <p:cNvSpPr/>
              <p:nvPr/>
            </p:nvSpPr>
            <p:spPr bwMode="auto">
              <a:xfrm>
                <a:off x="7833571" y="3219223"/>
                <a:ext cx="11041" cy="218059"/>
              </a:xfrm>
              <a:custGeom>
                <a:avLst/>
                <a:gdLst>
                  <a:gd name="T0" fmla="*/ 2 w 4"/>
                  <a:gd name="T1" fmla="*/ 0 h 76"/>
                  <a:gd name="T2" fmla="*/ 0 w 4"/>
                  <a:gd name="T3" fmla="*/ 2 h 76"/>
                  <a:gd name="T4" fmla="*/ 0 w 4"/>
                  <a:gd name="T5" fmla="*/ 76 h 76"/>
                  <a:gd name="T6" fmla="*/ 4 w 4"/>
                  <a:gd name="T7" fmla="*/ 76 h 76"/>
                  <a:gd name="T8" fmla="*/ 4 w 4"/>
                  <a:gd name="T9" fmla="*/ 2 h 76"/>
                  <a:gd name="T10" fmla="*/ 2 w 4"/>
                  <a:gd name="T11" fmla="*/ 0 h 76"/>
                </a:gdLst>
                <a:ahLst/>
                <a:cxnLst>
                  <a:cxn ang="0">
                    <a:pos x="T0" y="T1"/>
                  </a:cxn>
                  <a:cxn ang="0">
                    <a:pos x="T2" y="T3"/>
                  </a:cxn>
                  <a:cxn ang="0">
                    <a:pos x="T4" y="T5"/>
                  </a:cxn>
                  <a:cxn ang="0">
                    <a:pos x="T6" y="T7"/>
                  </a:cxn>
                  <a:cxn ang="0">
                    <a:pos x="T8" y="T9"/>
                  </a:cxn>
                  <a:cxn ang="0">
                    <a:pos x="T10" y="T11"/>
                  </a:cxn>
                </a:cxnLst>
                <a:rect l="0" t="0" r="r" b="b"/>
                <a:pathLst>
                  <a:path w="4" h="76">
                    <a:moveTo>
                      <a:pt x="2" y="0"/>
                    </a:moveTo>
                    <a:cubicBezTo>
                      <a:pt x="1" y="0"/>
                      <a:pt x="0" y="1"/>
                      <a:pt x="0" y="2"/>
                    </a:cubicBezTo>
                    <a:cubicBezTo>
                      <a:pt x="0" y="76"/>
                      <a:pt x="0" y="76"/>
                      <a:pt x="0" y="76"/>
                    </a:cubicBezTo>
                    <a:cubicBezTo>
                      <a:pt x="4" y="76"/>
                      <a:pt x="4" y="76"/>
                      <a:pt x="4" y="76"/>
                    </a:cubicBezTo>
                    <a:cubicBezTo>
                      <a:pt x="4" y="2"/>
                      <a:pt x="4" y="2"/>
                      <a:pt x="4" y="2"/>
                    </a:cubicBezTo>
                    <a:cubicBezTo>
                      <a:pt x="4" y="1"/>
                      <a:pt x="3" y="0"/>
                      <a:pt x="2" y="0"/>
                    </a:cubicBezTo>
                  </a:path>
                </a:pathLst>
              </a:custGeom>
              <a:solidFill>
                <a:srgbClr val="6E8F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6" name="işlíḍe">
                <a:extLst>
                  <a:ext uri="{FF2B5EF4-FFF2-40B4-BE49-F238E27FC236}">
                    <a16:creationId xmlns:a16="http://schemas.microsoft.com/office/drawing/2014/main" id="{9786CED6-25AC-6B44-9128-705DA46A0A35}"/>
                  </a:ext>
                </a:extLst>
              </p:cNvPr>
              <p:cNvSpPr/>
              <p:nvPr/>
            </p:nvSpPr>
            <p:spPr bwMode="auto">
              <a:xfrm>
                <a:off x="7868075" y="3219223"/>
                <a:ext cx="11041" cy="218059"/>
              </a:xfrm>
              <a:custGeom>
                <a:avLst/>
                <a:gdLst>
                  <a:gd name="T0" fmla="*/ 2 w 4"/>
                  <a:gd name="T1" fmla="*/ 0 h 76"/>
                  <a:gd name="T2" fmla="*/ 0 w 4"/>
                  <a:gd name="T3" fmla="*/ 2 h 76"/>
                  <a:gd name="T4" fmla="*/ 0 w 4"/>
                  <a:gd name="T5" fmla="*/ 76 h 76"/>
                  <a:gd name="T6" fmla="*/ 4 w 4"/>
                  <a:gd name="T7" fmla="*/ 76 h 76"/>
                  <a:gd name="T8" fmla="*/ 4 w 4"/>
                  <a:gd name="T9" fmla="*/ 0 h 76"/>
                  <a:gd name="T10" fmla="*/ 2 w 4"/>
                  <a:gd name="T11" fmla="*/ 0 h 76"/>
                </a:gdLst>
                <a:ahLst/>
                <a:cxnLst>
                  <a:cxn ang="0">
                    <a:pos x="T0" y="T1"/>
                  </a:cxn>
                  <a:cxn ang="0">
                    <a:pos x="T2" y="T3"/>
                  </a:cxn>
                  <a:cxn ang="0">
                    <a:pos x="T4" y="T5"/>
                  </a:cxn>
                  <a:cxn ang="0">
                    <a:pos x="T6" y="T7"/>
                  </a:cxn>
                  <a:cxn ang="0">
                    <a:pos x="T8" y="T9"/>
                  </a:cxn>
                  <a:cxn ang="0">
                    <a:pos x="T10" y="T11"/>
                  </a:cxn>
                </a:cxnLst>
                <a:rect l="0" t="0" r="r" b="b"/>
                <a:pathLst>
                  <a:path w="4" h="76">
                    <a:moveTo>
                      <a:pt x="2" y="0"/>
                    </a:moveTo>
                    <a:cubicBezTo>
                      <a:pt x="1" y="0"/>
                      <a:pt x="0" y="1"/>
                      <a:pt x="0" y="2"/>
                    </a:cubicBezTo>
                    <a:cubicBezTo>
                      <a:pt x="0" y="76"/>
                      <a:pt x="0" y="76"/>
                      <a:pt x="0" y="76"/>
                    </a:cubicBezTo>
                    <a:cubicBezTo>
                      <a:pt x="4" y="76"/>
                      <a:pt x="4" y="76"/>
                      <a:pt x="4" y="76"/>
                    </a:cubicBezTo>
                    <a:cubicBezTo>
                      <a:pt x="4" y="0"/>
                      <a:pt x="4" y="0"/>
                      <a:pt x="4" y="0"/>
                    </a:cubicBezTo>
                    <a:cubicBezTo>
                      <a:pt x="3" y="0"/>
                      <a:pt x="3" y="0"/>
                      <a:pt x="2" y="0"/>
                    </a:cubicBezTo>
                  </a:path>
                </a:pathLst>
              </a:custGeom>
              <a:solidFill>
                <a:srgbClr val="6E8F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7" name="iṧļiḑe">
                <a:extLst>
                  <a:ext uri="{FF2B5EF4-FFF2-40B4-BE49-F238E27FC236}">
                    <a16:creationId xmlns:a16="http://schemas.microsoft.com/office/drawing/2014/main" id="{63F2C90A-3A0A-2049-90F1-08BC7077C19F}"/>
                  </a:ext>
                </a:extLst>
              </p:cNvPr>
              <p:cNvSpPr/>
              <p:nvPr/>
            </p:nvSpPr>
            <p:spPr bwMode="auto">
              <a:xfrm>
                <a:off x="7879116" y="3208182"/>
                <a:ext cx="135252" cy="229100"/>
              </a:xfrm>
              <a:custGeom>
                <a:avLst/>
                <a:gdLst>
                  <a:gd name="T0" fmla="*/ 47 w 47"/>
                  <a:gd name="T1" fmla="*/ 0 h 80"/>
                  <a:gd name="T2" fmla="*/ 0 w 47"/>
                  <a:gd name="T3" fmla="*/ 0 h 80"/>
                  <a:gd name="T4" fmla="*/ 0 w 47"/>
                  <a:gd name="T5" fmla="*/ 4 h 80"/>
                  <a:gd name="T6" fmla="*/ 1 w 47"/>
                  <a:gd name="T7" fmla="*/ 6 h 80"/>
                  <a:gd name="T8" fmla="*/ 1 w 47"/>
                  <a:gd name="T9" fmla="*/ 80 h 80"/>
                  <a:gd name="T10" fmla="*/ 8 w 47"/>
                  <a:gd name="T11" fmla="*/ 80 h 80"/>
                  <a:gd name="T12" fmla="*/ 8 w 47"/>
                  <a:gd name="T13" fmla="*/ 6 h 80"/>
                  <a:gd name="T14" fmla="*/ 11 w 47"/>
                  <a:gd name="T15" fmla="*/ 4 h 80"/>
                  <a:gd name="T16" fmla="*/ 13 w 47"/>
                  <a:gd name="T17" fmla="*/ 6 h 80"/>
                  <a:gd name="T18" fmla="*/ 13 w 47"/>
                  <a:gd name="T19" fmla="*/ 80 h 80"/>
                  <a:gd name="T20" fmla="*/ 21 w 47"/>
                  <a:gd name="T21" fmla="*/ 80 h 80"/>
                  <a:gd name="T22" fmla="*/ 21 w 47"/>
                  <a:gd name="T23" fmla="*/ 6 h 80"/>
                  <a:gd name="T24" fmla="*/ 23 w 47"/>
                  <a:gd name="T25" fmla="*/ 4 h 80"/>
                  <a:gd name="T26" fmla="*/ 25 w 47"/>
                  <a:gd name="T27" fmla="*/ 6 h 80"/>
                  <a:gd name="T28" fmla="*/ 25 w 47"/>
                  <a:gd name="T29" fmla="*/ 80 h 80"/>
                  <a:gd name="T30" fmla="*/ 33 w 47"/>
                  <a:gd name="T31" fmla="*/ 80 h 80"/>
                  <a:gd name="T32" fmla="*/ 33 w 47"/>
                  <a:gd name="T33" fmla="*/ 6 h 80"/>
                  <a:gd name="T34" fmla="*/ 35 w 47"/>
                  <a:gd name="T35" fmla="*/ 4 h 80"/>
                  <a:gd name="T36" fmla="*/ 37 w 47"/>
                  <a:gd name="T37" fmla="*/ 6 h 80"/>
                  <a:gd name="T38" fmla="*/ 37 w 47"/>
                  <a:gd name="T39" fmla="*/ 80 h 80"/>
                  <a:gd name="T40" fmla="*/ 47 w 47"/>
                  <a:gd name="T41" fmla="*/ 80 h 80"/>
                  <a:gd name="T42" fmla="*/ 47 w 47"/>
                  <a:gd name="T4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7" h="80">
                    <a:moveTo>
                      <a:pt x="47" y="0"/>
                    </a:moveTo>
                    <a:cubicBezTo>
                      <a:pt x="0" y="0"/>
                      <a:pt x="0" y="0"/>
                      <a:pt x="0" y="0"/>
                    </a:cubicBezTo>
                    <a:cubicBezTo>
                      <a:pt x="0" y="4"/>
                      <a:pt x="0" y="4"/>
                      <a:pt x="0" y="4"/>
                    </a:cubicBezTo>
                    <a:cubicBezTo>
                      <a:pt x="0" y="5"/>
                      <a:pt x="1" y="5"/>
                      <a:pt x="1" y="6"/>
                    </a:cubicBezTo>
                    <a:cubicBezTo>
                      <a:pt x="1" y="80"/>
                      <a:pt x="1" y="80"/>
                      <a:pt x="1" y="80"/>
                    </a:cubicBezTo>
                    <a:cubicBezTo>
                      <a:pt x="8" y="80"/>
                      <a:pt x="8" y="80"/>
                      <a:pt x="8" y="80"/>
                    </a:cubicBezTo>
                    <a:cubicBezTo>
                      <a:pt x="8" y="6"/>
                      <a:pt x="8" y="6"/>
                      <a:pt x="8" y="6"/>
                    </a:cubicBezTo>
                    <a:cubicBezTo>
                      <a:pt x="8" y="5"/>
                      <a:pt x="9" y="4"/>
                      <a:pt x="11" y="4"/>
                    </a:cubicBezTo>
                    <a:cubicBezTo>
                      <a:pt x="12" y="4"/>
                      <a:pt x="13" y="5"/>
                      <a:pt x="13" y="6"/>
                    </a:cubicBezTo>
                    <a:cubicBezTo>
                      <a:pt x="13" y="80"/>
                      <a:pt x="13" y="80"/>
                      <a:pt x="13" y="80"/>
                    </a:cubicBezTo>
                    <a:cubicBezTo>
                      <a:pt x="21" y="80"/>
                      <a:pt x="21" y="80"/>
                      <a:pt x="21" y="80"/>
                    </a:cubicBezTo>
                    <a:cubicBezTo>
                      <a:pt x="21" y="6"/>
                      <a:pt x="21" y="6"/>
                      <a:pt x="21" y="6"/>
                    </a:cubicBezTo>
                    <a:cubicBezTo>
                      <a:pt x="21" y="5"/>
                      <a:pt x="22" y="4"/>
                      <a:pt x="23" y="4"/>
                    </a:cubicBezTo>
                    <a:cubicBezTo>
                      <a:pt x="24" y="4"/>
                      <a:pt x="25" y="5"/>
                      <a:pt x="25" y="6"/>
                    </a:cubicBezTo>
                    <a:cubicBezTo>
                      <a:pt x="25" y="80"/>
                      <a:pt x="25" y="80"/>
                      <a:pt x="25" y="80"/>
                    </a:cubicBezTo>
                    <a:cubicBezTo>
                      <a:pt x="33" y="80"/>
                      <a:pt x="33" y="80"/>
                      <a:pt x="33" y="80"/>
                    </a:cubicBezTo>
                    <a:cubicBezTo>
                      <a:pt x="33" y="6"/>
                      <a:pt x="33" y="6"/>
                      <a:pt x="33" y="6"/>
                    </a:cubicBezTo>
                    <a:cubicBezTo>
                      <a:pt x="33" y="5"/>
                      <a:pt x="34" y="4"/>
                      <a:pt x="35" y="4"/>
                    </a:cubicBezTo>
                    <a:cubicBezTo>
                      <a:pt x="36" y="4"/>
                      <a:pt x="37" y="5"/>
                      <a:pt x="37" y="6"/>
                    </a:cubicBezTo>
                    <a:cubicBezTo>
                      <a:pt x="37" y="80"/>
                      <a:pt x="37" y="80"/>
                      <a:pt x="37" y="80"/>
                    </a:cubicBezTo>
                    <a:cubicBezTo>
                      <a:pt x="47" y="80"/>
                      <a:pt x="47" y="80"/>
                      <a:pt x="47" y="80"/>
                    </a:cubicBezTo>
                    <a:cubicBezTo>
                      <a:pt x="47" y="0"/>
                      <a:pt x="47" y="0"/>
                      <a:pt x="47" y="0"/>
                    </a:cubicBezTo>
                  </a:path>
                </a:pathLst>
              </a:custGeom>
              <a:solidFill>
                <a:srgbClr val="4C6CB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8" name="îŝ1ïḓè">
                <a:extLst>
                  <a:ext uri="{FF2B5EF4-FFF2-40B4-BE49-F238E27FC236}">
                    <a16:creationId xmlns:a16="http://schemas.microsoft.com/office/drawing/2014/main" id="{A13A8732-5C16-504F-AE48-A974C93DF808}"/>
                  </a:ext>
                </a:extLst>
              </p:cNvPr>
              <p:cNvSpPr/>
              <p:nvPr/>
            </p:nvSpPr>
            <p:spPr bwMode="auto">
              <a:xfrm>
                <a:off x="7879116" y="3219223"/>
                <a:ext cx="4141" cy="218059"/>
              </a:xfrm>
              <a:custGeom>
                <a:avLst/>
                <a:gdLst>
                  <a:gd name="T0" fmla="*/ 0 w 1"/>
                  <a:gd name="T1" fmla="*/ 0 h 76"/>
                  <a:gd name="T2" fmla="*/ 0 w 1"/>
                  <a:gd name="T3" fmla="*/ 76 h 76"/>
                  <a:gd name="T4" fmla="*/ 1 w 1"/>
                  <a:gd name="T5" fmla="*/ 76 h 76"/>
                  <a:gd name="T6" fmla="*/ 1 w 1"/>
                  <a:gd name="T7" fmla="*/ 2 h 76"/>
                  <a:gd name="T8" fmla="*/ 0 w 1"/>
                  <a:gd name="T9" fmla="*/ 0 h 76"/>
                </a:gdLst>
                <a:ahLst/>
                <a:cxnLst>
                  <a:cxn ang="0">
                    <a:pos x="T0" y="T1"/>
                  </a:cxn>
                  <a:cxn ang="0">
                    <a:pos x="T2" y="T3"/>
                  </a:cxn>
                  <a:cxn ang="0">
                    <a:pos x="T4" y="T5"/>
                  </a:cxn>
                  <a:cxn ang="0">
                    <a:pos x="T6" y="T7"/>
                  </a:cxn>
                  <a:cxn ang="0">
                    <a:pos x="T8" y="T9"/>
                  </a:cxn>
                </a:cxnLst>
                <a:rect l="0" t="0" r="r" b="b"/>
                <a:pathLst>
                  <a:path w="1" h="76">
                    <a:moveTo>
                      <a:pt x="0" y="0"/>
                    </a:moveTo>
                    <a:cubicBezTo>
                      <a:pt x="0" y="76"/>
                      <a:pt x="0" y="76"/>
                      <a:pt x="0" y="76"/>
                    </a:cubicBezTo>
                    <a:cubicBezTo>
                      <a:pt x="1" y="76"/>
                      <a:pt x="1" y="76"/>
                      <a:pt x="1" y="76"/>
                    </a:cubicBezTo>
                    <a:cubicBezTo>
                      <a:pt x="1" y="2"/>
                      <a:pt x="1" y="2"/>
                      <a:pt x="1" y="2"/>
                    </a:cubicBezTo>
                    <a:cubicBezTo>
                      <a:pt x="1" y="1"/>
                      <a:pt x="0" y="1"/>
                      <a:pt x="0" y="0"/>
                    </a:cubicBezTo>
                  </a:path>
                </a:pathLst>
              </a:custGeom>
              <a:solidFill>
                <a:srgbClr val="5E7A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9" name="îsľídê">
                <a:extLst>
                  <a:ext uri="{FF2B5EF4-FFF2-40B4-BE49-F238E27FC236}">
                    <a16:creationId xmlns:a16="http://schemas.microsoft.com/office/drawing/2014/main" id="{64D53AFB-E69F-5A4F-B737-D97B6FF4566F}"/>
                  </a:ext>
                </a:extLst>
              </p:cNvPr>
              <p:cNvSpPr/>
              <p:nvPr/>
            </p:nvSpPr>
            <p:spPr bwMode="auto">
              <a:xfrm>
                <a:off x="7902577" y="3219223"/>
                <a:ext cx="13801" cy="218059"/>
              </a:xfrm>
              <a:custGeom>
                <a:avLst/>
                <a:gdLst>
                  <a:gd name="T0" fmla="*/ 3 w 5"/>
                  <a:gd name="T1" fmla="*/ 0 h 76"/>
                  <a:gd name="T2" fmla="*/ 0 w 5"/>
                  <a:gd name="T3" fmla="*/ 2 h 76"/>
                  <a:gd name="T4" fmla="*/ 0 w 5"/>
                  <a:gd name="T5" fmla="*/ 76 h 76"/>
                  <a:gd name="T6" fmla="*/ 5 w 5"/>
                  <a:gd name="T7" fmla="*/ 76 h 76"/>
                  <a:gd name="T8" fmla="*/ 5 w 5"/>
                  <a:gd name="T9" fmla="*/ 2 h 76"/>
                  <a:gd name="T10" fmla="*/ 3 w 5"/>
                  <a:gd name="T11" fmla="*/ 0 h 76"/>
                </a:gdLst>
                <a:ahLst/>
                <a:cxnLst>
                  <a:cxn ang="0">
                    <a:pos x="T0" y="T1"/>
                  </a:cxn>
                  <a:cxn ang="0">
                    <a:pos x="T2" y="T3"/>
                  </a:cxn>
                  <a:cxn ang="0">
                    <a:pos x="T4" y="T5"/>
                  </a:cxn>
                  <a:cxn ang="0">
                    <a:pos x="T6" y="T7"/>
                  </a:cxn>
                  <a:cxn ang="0">
                    <a:pos x="T8" y="T9"/>
                  </a:cxn>
                  <a:cxn ang="0">
                    <a:pos x="T10" y="T11"/>
                  </a:cxn>
                </a:cxnLst>
                <a:rect l="0" t="0" r="r" b="b"/>
                <a:pathLst>
                  <a:path w="5" h="76">
                    <a:moveTo>
                      <a:pt x="3" y="0"/>
                    </a:moveTo>
                    <a:cubicBezTo>
                      <a:pt x="1" y="0"/>
                      <a:pt x="0" y="1"/>
                      <a:pt x="0" y="2"/>
                    </a:cubicBezTo>
                    <a:cubicBezTo>
                      <a:pt x="0" y="76"/>
                      <a:pt x="0" y="76"/>
                      <a:pt x="0" y="76"/>
                    </a:cubicBezTo>
                    <a:cubicBezTo>
                      <a:pt x="5" y="76"/>
                      <a:pt x="5" y="76"/>
                      <a:pt x="5" y="76"/>
                    </a:cubicBezTo>
                    <a:cubicBezTo>
                      <a:pt x="5" y="2"/>
                      <a:pt x="5" y="2"/>
                      <a:pt x="5" y="2"/>
                    </a:cubicBezTo>
                    <a:cubicBezTo>
                      <a:pt x="5" y="1"/>
                      <a:pt x="4" y="0"/>
                      <a:pt x="3" y="0"/>
                    </a:cubicBezTo>
                  </a:path>
                </a:pathLst>
              </a:custGeom>
              <a:solidFill>
                <a:srgbClr val="5E7A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0" name="íṩľîdé">
                <a:extLst>
                  <a:ext uri="{FF2B5EF4-FFF2-40B4-BE49-F238E27FC236}">
                    <a16:creationId xmlns:a16="http://schemas.microsoft.com/office/drawing/2014/main" id="{2A8120D1-7127-E04B-8E36-7777090FD3F9}"/>
                  </a:ext>
                </a:extLst>
              </p:cNvPr>
              <p:cNvSpPr/>
              <p:nvPr/>
            </p:nvSpPr>
            <p:spPr bwMode="auto">
              <a:xfrm>
                <a:off x="7939841" y="3219223"/>
                <a:ext cx="11041" cy="218059"/>
              </a:xfrm>
              <a:custGeom>
                <a:avLst/>
                <a:gdLst>
                  <a:gd name="T0" fmla="*/ 2 w 4"/>
                  <a:gd name="T1" fmla="*/ 0 h 76"/>
                  <a:gd name="T2" fmla="*/ 0 w 4"/>
                  <a:gd name="T3" fmla="*/ 2 h 76"/>
                  <a:gd name="T4" fmla="*/ 0 w 4"/>
                  <a:gd name="T5" fmla="*/ 76 h 76"/>
                  <a:gd name="T6" fmla="*/ 4 w 4"/>
                  <a:gd name="T7" fmla="*/ 76 h 76"/>
                  <a:gd name="T8" fmla="*/ 4 w 4"/>
                  <a:gd name="T9" fmla="*/ 2 h 76"/>
                  <a:gd name="T10" fmla="*/ 2 w 4"/>
                  <a:gd name="T11" fmla="*/ 0 h 76"/>
                </a:gdLst>
                <a:ahLst/>
                <a:cxnLst>
                  <a:cxn ang="0">
                    <a:pos x="T0" y="T1"/>
                  </a:cxn>
                  <a:cxn ang="0">
                    <a:pos x="T2" y="T3"/>
                  </a:cxn>
                  <a:cxn ang="0">
                    <a:pos x="T4" y="T5"/>
                  </a:cxn>
                  <a:cxn ang="0">
                    <a:pos x="T6" y="T7"/>
                  </a:cxn>
                  <a:cxn ang="0">
                    <a:pos x="T8" y="T9"/>
                  </a:cxn>
                  <a:cxn ang="0">
                    <a:pos x="T10" y="T11"/>
                  </a:cxn>
                </a:cxnLst>
                <a:rect l="0" t="0" r="r" b="b"/>
                <a:pathLst>
                  <a:path w="4" h="76">
                    <a:moveTo>
                      <a:pt x="2" y="0"/>
                    </a:moveTo>
                    <a:cubicBezTo>
                      <a:pt x="1" y="0"/>
                      <a:pt x="0" y="1"/>
                      <a:pt x="0" y="2"/>
                    </a:cubicBezTo>
                    <a:cubicBezTo>
                      <a:pt x="0" y="76"/>
                      <a:pt x="0" y="76"/>
                      <a:pt x="0" y="76"/>
                    </a:cubicBezTo>
                    <a:cubicBezTo>
                      <a:pt x="4" y="76"/>
                      <a:pt x="4" y="76"/>
                      <a:pt x="4" y="76"/>
                    </a:cubicBezTo>
                    <a:cubicBezTo>
                      <a:pt x="4" y="2"/>
                      <a:pt x="4" y="2"/>
                      <a:pt x="4" y="2"/>
                    </a:cubicBezTo>
                    <a:cubicBezTo>
                      <a:pt x="4" y="1"/>
                      <a:pt x="3" y="0"/>
                      <a:pt x="2" y="0"/>
                    </a:cubicBezTo>
                  </a:path>
                </a:pathLst>
              </a:custGeom>
              <a:solidFill>
                <a:srgbClr val="5E7A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1" name="ís1ïďè">
                <a:extLst>
                  <a:ext uri="{FF2B5EF4-FFF2-40B4-BE49-F238E27FC236}">
                    <a16:creationId xmlns:a16="http://schemas.microsoft.com/office/drawing/2014/main" id="{999F02E6-6966-9146-8A5F-B220A4908243}"/>
                  </a:ext>
                </a:extLst>
              </p:cNvPr>
              <p:cNvSpPr/>
              <p:nvPr/>
            </p:nvSpPr>
            <p:spPr bwMode="auto">
              <a:xfrm>
                <a:off x="7974344" y="3219223"/>
                <a:ext cx="11041" cy="218059"/>
              </a:xfrm>
              <a:custGeom>
                <a:avLst/>
                <a:gdLst>
                  <a:gd name="T0" fmla="*/ 2 w 4"/>
                  <a:gd name="T1" fmla="*/ 0 h 76"/>
                  <a:gd name="T2" fmla="*/ 0 w 4"/>
                  <a:gd name="T3" fmla="*/ 2 h 76"/>
                  <a:gd name="T4" fmla="*/ 0 w 4"/>
                  <a:gd name="T5" fmla="*/ 76 h 76"/>
                  <a:gd name="T6" fmla="*/ 4 w 4"/>
                  <a:gd name="T7" fmla="*/ 76 h 76"/>
                  <a:gd name="T8" fmla="*/ 4 w 4"/>
                  <a:gd name="T9" fmla="*/ 2 h 76"/>
                  <a:gd name="T10" fmla="*/ 2 w 4"/>
                  <a:gd name="T11" fmla="*/ 0 h 76"/>
                </a:gdLst>
                <a:ahLst/>
                <a:cxnLst>
                  <a:cxn ang="0">
                    <a:pos x="T0" y="T1"/>
                  </a:cxn>
                  <a:cxn ang="0">
                    <a:pos x="T2" y="T3"/>
                  </a:cxn>
                  <a:cxn ang="0">
                    <a:pos x="T4" y="T5"/>
                  </a:cxn>
                  <a:cxn ang="0">
                    <a:pos x="T6" y="T7"/>
                  </a:cxn>
                  <a:cxn ang="0">
                    <a:pos x="T8" y="T9"/>
                  </a:cxn>
                  <a:cxn ang="0">
                    <a:pos x="T10" y="T11"/>
                  </a:cxn>
                </a:cxnLst>
                <a:rect l="0" t="0" r="r" b="b"/>
                <a:pathLst>
                  <a:path w="4" h="76">
                    <a:moveTo>
                      <a:pt x="2" y="0"/>
                    </a:moveTo>
                    <a:cubicBezTo>
                      <a:pt x="1" y="0"/>
                      <a:pt x="0" y="1"/>
                      <a:pt x="0" y="2"/>
                    </a:cubicBezTo>
                    <a:cubicBezTo>
                      <a:pt x="0" y="76"/>
                      <a:pt x="0" y="76"/>
                      <a:pt x="0" y="76"/>
                    </a:cubicBezTo>
                    <a:cubicBezTo>
                      <a:pt x="4" y="76"/>
                      <a:pt x="4" y="76"/>
                      <a:pt x="4" y="76"/>
                    </a:cubicBezTo>
                    <a:cubicBezTo>
                      <a:pt x="4" y="2"/>
                      <a:pt x="4" y="2"/>
                      <a:pt x="4" y="2"/>
                    </a:cubicBezTo>
                    <a:cubicBezTo>
                      <a:pt x="4" y="1"/>
                      <a:pt x="3" y="0"/>
                      <a:pt x="2" y="0"/>
                    </a:cubicBezTo>
                  </a:path>
                </a:pathLst>
              </a:custGeom>
              <a:solidFill>
                <a:srgbClr val="5E7A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2" name="îṡḻiḍè">
                <a:extLst>
                  <a:ext uri="{FF2B5EF4-FFF2-40B4-BE49-F238E27FC236}">
                    <a16:creationId xmlns:a16="http://schemas.microsoft.com/office/drawing/2014/main" id="{BEFBC012-060D-154E-AFF8-779E136AEA44}"/>
                  </a:ext>
                </a:extLst>
              </p:cNvPr>
              <p:cNvSpPr/>
              <p:nvPr/>
            </p:nvSpPr>
            <p:spPr bwMode="auto">
              <a:xfrm>
                <a:off x="7242880" y="2950099"/>
                <a:ext cx="452679" cy="258083"/>
              </a:xfrm>
              <a:prstGeom prst="rect">
                <a:avLst/>
              </a:prstGeom>
              <a:solidFill>
                <a:srgbClr val="FF709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713" name="ísḷïḋè">
                <a:extLst>
                  <a:ext uri="{FF2B5EF4-FFF2-40B4-BE49-F238E27FC236}">
                    <a16:creationId xmlns:a16="http://schemas.microsoft.com/office/drawing/2014/main" id="{91151974-7069-254E-BE86-B9DD55AAA0A3}"/>
                  </a:ext>
                </a:extLst>
              </p:cNvPr>
              <p:cNvSpPr/>
              <p:nvPr/>
            </p:nvSpPr>
            <p:spPr bwMode="auto">
              <a:xfrm>
                <a:off x="7242880" y="2950099"/>
                <a:ext cx="452679" cy="258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714" name="îşľiďe">
                <a:extLst>
                  <a:ext uri="{FF2B5EF4-FFF2-40B4-BE49-F238E27FC236}">
                    <a16:creationId xmlns:a16="http://schemas.microsoft.com/office/drawing/2014/main" id="{C2DE6D70-C732-834D-8E42-1E56F6EB9F77}"/>
                  </a:ext>
                </a:extLst>
              </p:cNvPr>
              <p:cNvSpPr/>
              <p:nvPr/>
            </p:nvSpPr>
            <p:spPr bwMode="auto">
              <a:xfrm>
                <a:off x="7271863" y="2962520"/>
                <a:ext cx="11041" cy="237381"/>
              </a:xfrm>
              <a:custGeom>
                <a:avLst/>
                <a:gdLst>
                  <a:gd name="T0" fmla="*/ 2 w 4"/>
                  <a:gd name="T1" fmla="*/ 0 h 83"/>
                  <a:gd name="T2" fmla="*/ 0 w 4"/>
                  <a:gd name="T3" fmla="*/ 2 h 83"/>
                  <a:gd name="T4" fmla="*/ 0 w 4"/>
                  <a:gd name="T5" fmla="*/ 81 h 83"/>
                  <a:gd name="T6" fmla="*/ 2 w 4"/>
                  <a:gd name="T7" fmla="*/ 83 h 83"/>
                  <a:gd name="T8" fmla="*/ 4 w 4"/>
                  <a:gd name="T9" fmla="*/ 81 h 83"/>
                  <a:gd name="T10" fmla="*/ 4 w 4"/>
                  <a:gd name="T11" fmla="*/ 2 h 83"/>
                  <a:gd name="T12" fmla="*/ 2 w 4"/>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4" h="83">
                    <a:moveTo>
                      <a:pt x="2" y="0"/>
                    </a:moveTo>
                    <a:cubicBezTo>
                      <a:pt x="1" y="0"/>
                      <a:pt x="0" y="1"/>
                      <a:pt x="0" y="2"/>
                    </a:cubicBezTo>
                    <a:cubicBezTo>
                      <a:pt x="0" y="81"/>
                      <a:pt x="0" y="81"/>
                      <a:pt x="0" y="81"/>
                    </a:cubicBezTo>
                    <a:cubicBezTo>
                      <a:pt x="0" y="82"/>
                      <a:pt x="1" y="83"/>
                      <a:pt x="2" y="83"/>
                    </a:cubicBezTo>
                    <a:cubicBezTo>
                      <a:pt x="3" y="83"/>
                      <a:pt x="4" y="82"/>
                      <a:pt x="4" y="81"/>
                    </a:cubicBezTo>
                    <a:cubicBezTo>
                      <a:pt x="4" y="2"/>
                      <a:pt x="4" y="2"/>
                      <a:pt x="4" y="2"/>
                    </a:cubicBezTo>
                    <a:cubicBezTo>
                      <a:pt x="4" y="1"/>
                      <a:pt x="3" y="0"/>
                      <a:pt x="2" y="0"/>
                    </a:cubicBezTo>
                  </a:path>
                </a:pathLst>
              </a:custGeom>
              <a:solidFill>
                <a:srgbClr val="FF82A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5" name="îŝḻíde">
                <a:extLst>
                  <a:ext uri="{FF2B5EF4-FFF2-40B4-BE49-F238E27FC236}">
                    <a16:creationId xmlns:a16="http://schemas.microsoft.com/office/drawing/2014/main" id="{B356EC61-1AEF-8547-B877-92E796CCEEBB}"/>
                  </a:ext>
                </a:extLst>
              </p:cNvPr>
              <p:cNvSpPr/>
              <p:nvPr/>
            </p:nvSpPr>
            <p:spPr bwMode="auto">
              <a:xfrm>
                <a:off x="7306365" y="2962520"/>
                <a:ext cx="11041" cy="237381"/>
              </a:xfrm>
              <a:custGeom>
                <a:avLst/>
                <a:gdLst>
                  <a:gd name="T0" fmla="*/ 2 w 4"/>
                  <a:gd name="T1" fmla="*/ 0 h 83"/>
                  <a:gd name="T2" fmla="*/ 0 w 4"/>
                  <a:gd name="T3" fmla="*/ 2 h 83"/>
                  <a:gd name="T4" fmla="*/ 0 w 4"/>
                  <a:gd name="T5" fmla="*/ 81 h 83"/>
                  <a:gd name="T6" fmla="*/ 2 w 4"/>
                  <a:gd name="T7" fmla="*/ 83 h 83"/>
                  <a:gd name="T8" fmla="*/ 4 w 4"/>
                  <a:gd name="T9" fmla="*/ 81 h 83"/>
                  <a:gd name="T10" fmla="*/ 4 w 4"/>
                  <a:gd name="T11" fmla="*/ 2 h 83"/>
                  <a:gd name="T12" fmla="*/ 2 w 4"/>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4" h="83">
                    <a:moveTo>
                      <a:pt x="2" y="0"/>
                    </a:moveTo>
                    <a:cubicBezTo>
                      <a:pt x="1" y="0"/>
                      <a:pt x="0" y="1"/>
                      <a:pt x="0" y="2"/>
                    </a:cubicBezTo>
                    <a:cubicBezTo>
                      <a:pt x="0" y="81"/>
                      <a:pt x="0" y="81"/>
                      <a:pt x="0" y="81"/>
                    </a:cubicBezTo>
                    <a:cubicBezTo>
                      <a:pt x="0" y="82"/>
                      <a:pt x="1" y="83"/>
                      <a:pt x="2" y="83"/>
                    </a:cubicBezTo>
                    <a:cubicBezTo>
                      <a:pt x="3" y="83"/>
                      <a:pt x="4" y="82"/>
                      <a:pt x="4" y="81"/>
                    </a:cubicBezTo>
                    <a:cubicBezTo>
                      <a:pt x="4" y="2"/>
                      <a:pt x="4" y="2"/>
                      <a:pt x="4" y="2"/>
                    </a:cubicBezTo>
                    <a:cubicBezTo>
                      <a:pt x="4" y="1"/>
                      <a:pt x="3" y="0"/>
                      <a:pt x="2" y="0"/>
                    </a:cubicBezTo>
                  </a:path>
                </a:pathLst>
              </a:custGeom>
              <a:solidFill>
                <a:srgbClr val="FF82A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6" name="îṥḷiďé">
                <a:extLst>
                  <a:ext uri="{FF2B5EF4-FFF2-40B4-BE49-F238E27FC236}">
                    <a16:creationId xmlns:a16="http://schemas.microsoft.com/office/drawing/2014/main" id="{732B8DF5-2C83-7F46-9AD5-EDA3DE621127}"/>
                  </a:ext>
                </a:extLst>
              </p:cNvPr>
              <p:cNvSpPr/>
              <p:nvPr/>
            </p:nvSpPr>
            <p:spPr bwMode="auto">
              <a:xfrm>
                <a:off x="7340869" y="2962520"/>
                <a:ext cx="13801" cy="237381"/>
              </a:xfrm>
              <a:custGeom>
                <a:avLst/>
                <a:gdLst>
                  <a:gd name="T0" fmla="*/ 2 w 5"/>
                  <a:gd name="T1" fmla="*/ 0 h 83"/>
                  <a:gd name="T2" fmla="*/ 0 w 5"/>
                  <a:gd name="T3" fmla="*/ 2 h 83"/>
                  <a:gd name="T4" fmla="*/ 0 w 5"/>
                  <a:gd name="T5" fmla="*/ 81 h 83"/>
                  <a:gd name="T6" fmla="*/ 2 w 5"/>
                  <a:gd name="T7" fmla="*/ 83 h 83"/>
                  <a:gd name="T8" fmla="*/ 5 w 5"/>
                  <a:gd name="T9" fmla="*/ 81 h 83"/>
                  <a:gd name="T10" fmla="*/ 5 w 5"/>
                  <a:gd name="T11" fmla="*/ 2 h 83"/>
                  <a:gd name="T12" fmla="*/ 2 w 5"/>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5" h="83">
                    <a:moveTo>
                      <a:pt x="2" y="0"/>
                    </a:moveTo>
                    <a:cubicBezTo>
                      <a:pt x="1" y="0"/>
                      <a:pt x="0" y="1"/>
                      <a:pt x="0" y="2"/>
                    </a:cubicBezTo>
                    <a:cubicBezTo>
                      <a:pt x="0" y="81"/>
                      <a:pt x="0" y="81"/>
                      <a:pt x="0" y="81"/>
                    </a:cubicBezTo>
                    <a:cubicBezTo>
                      <a:pt x="0" y="82"/>
                      <a:pt x="1" y="83"/>
                      <a:pt x="2" y="83"/>
                    </a:cubicBezTo>
                    <a:cubicBezTo>
                      <a:pt x="4" y="83"/>
                      <a:pt x="5" y="82"/>
                      <a:pt x="5" y="81"/>
                    </a:cubicBezTo>
                    <a:cubicBezTo>
                      <a:pt x="5" y="2"/>
                      <a:pt x="5" y="2"/>
                      <a:pt x="5" y="2"/>
                    </a:cubicBezTo>
                    <a:cubicBezTo>
                      <a:pt x="5" y="1"/>
                      <a:pt x="4" y="0"/>
                      <a:pt x="2" y="0"/>
                    </a:cubicBezTo>
                  </a:path>
                </a:pathLst>
              </a:custGeom>
              <a:solidFill>
                <a:srgbClr val="FF82A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7" name="iŝḷîdè">
                <a:extLst>
                  <a:ext uri="{FF2B5EF4-FFF2-40B4-BE49-F238E27FC236}">
                    <a16:creationId xmlns:a16="http://schemas.microsoft.com/office/drawing/2014/main" id="{1C05D146-395D-9F4E-B7F4-FC6BB0764EF1}"/>
                  </a:ext>
                </a:extLst>
              </p:cNvPr>
              <p:cNvSpPr/>
              <p:nvPr/>
            </p:nvSpPr>
            <p:spPr bwMode="auto">
              <a:xfrm>
                <a:off x="7375371" y="2962520"/>
                <a:ext cx="13801" cy="237381"/>
              </a:xfrm>
              <a:custGeom>
                <a:avLst/>
                <a:gdLst>
                  <a:gd name="T0" fmla="*/ 3 w 5"/>
                  <a:gd name="T1" fmla="*/ 0 h 83"/>
                  <a:gd name="T2" fmla="*/ 0 w 5"/>
                  <a:gd name="T3" fmla="*/ 2 h 83"/>
                  <a:gd name="T4" fmla="*/ 0 w 5"/>
                  <a:gd name="T5" fmla="*/ 81 h 83"/>
                  <a:gd name="T6" fmla="*/ 3 w 5"/>
                  <a:gd name="T7" fmla="*/ 83 h 83"/>
                  <a:gd name="T8" fmla="*/ 5 w 5"/>
                  <a:gd name="T9" fmla="*/ 81 h 83"/>
                  <a:gd name="T10" fmla="*/ 5 w 5"/>
                  <a:gd name="T11" fmla="*/ 2 h 83"/>
                  <a:gd name="T12" fmla="*/ 3 w 5"/>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5" h="83">
                    <a:moveTo>
                      <a:pt x="3" y="0"/>
                    </a:moveTo>
                    <a:cubicBezTo>
                      <a:pt x="1" y="0"/>
                      <a:pt x="0" y="1"/>
                      <a:pt x="0" y="2"/>
                    </a:cubicBezTo>
                    <a:cubicBezTo>
                      <a:pt x="0" y="81"/>
                      <a:pt x="0" y="81"/>
                      <a:pt x="0" y="81"/>
                    </a:cubicBezTo>
                    <a:cubicBezTo>
                      <a:pt x="0" y="82"/>
                      <a:pt x="1" y="83"/>
                      <a:pt x="3" y="83"/>
                    </a:cubicBezTo>
                    <a:cubicBezTo>
                      <a:pt x="4" y="83"/>
                      <a:pt x="5" y="82"/>
                      <a:pt x="5" y="81"/>
                    </a:cubicBezTo>
                    <a:cubicBezTo>
                      <a:pt x="5" y="2"/>
                      <a:pt x="5" y="2"/>
                      <a:pt x="5" y="2"/>
                    </a:cubicBezTo>
                    <a:cubicBezTo>
                      <a:pt x="5" y="1"/>
                      <a:pt x="4" y="0"/>
                      <a:pt x="3" y="0"/>
                    </a:cubicBezTo>
                  </a:path>
                </a:pathLst>
              </a:custGeom>
              <a:solidFill>
                <a:srgbClr val="FF82A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8" name="îṣḷïďe">
                <a:extLst>
                  <a:ext uri="{FF2B5EF4-FFF2-40B4-BE49-F238E27FC236}">
                    <a16:creationId xmlns:a16="http://schemas.microsoft.com/office/drawing/2014/main" id="{998B07A6-2D93-2042-9E86-E1099EB26123}"/>
                  </a:ext>
                </a:extLst>
              </p:cNvPr>
              <p:cNvSpPr/>
              <p:nvPr/>
            </p:nvSpPr>
            <p:spPr bwMode="auto">
              <a:xfrm>
                <a:off x="7412635" y="2962520"/>
                <a:ext cx="11041" cy="237381"/>
              </a:xfrm>
              <a:custGeom>
                <a:avLst/>
                <a:gdLst>
                  <a:gd name="T0" fmla="*/ 2 w 4"/>
                  <a:gd name="T1" fmla="*/ 0 h 83"/>
                  <a:gd name="T2" fmla="*/ 0 w 4"/>
                  <a:gd name="T3" fmla="*/ 2 h 83"/>
                  <a:gd name="T4" fmla="*/ 0 w 4"/>
                  <a:gd name="T5" fmla="*/ 81 h 83"/>
                  <a:gd name="T6" fmla="*/ 2 w 4"/>
                  <a:gd name="T7" fmla="*/ 83 h 83"/>
                  <a:gd name="T8" fmla="*/ 4 w 4"/>
                  <a:gd name="T9" fmla="*/ 81 h 83"/>
                  <a:gd name="T10" fmla="*/ 4 w 4"/>
                  <a:gd name="T11" fmla="*/ 2 h 83"/>
                  <a:gd name="T12" fmla="*/ 2 w 4"/>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4" h="83">
                    <a:moveTo>
                      <a:pt x="2" y="0"/>
                    </a:moveTo>
                    <a:cubicBezTo>
                      <a:pt x="1" y="0"/>
                      <a:pt x="0" y="1"/>
                      <a:pt x="0" y="2"/>
                    </a:cubicBezTo>
                    <a:cubicBezTo>
                      <a:pt x="0" y="81"/>
                      <a:pt x="0" y="81"/>
                      <a:pt x="0" y="81"/>
                    </a:cubicBezTo>
                    <a:cubicBezTo>
                      <a:pt x="0" y="82"/>
                      <a:pt x="1" y="83"/>
                      <a:pt x="2" y="83"/>
                    </a:cubicBezTo>
                    <a:cubicBezTo>
                      <a:pt x="3" y="83"/>
                      <a:pt x="4" y="82"/>
                      <a:pt x="4" y="81"/>
                    </a:cubicBezTo>
                    <a:cubicBezTo>
                      <a:pt x="4" y="2"/>
                      <a:pt x="4" y="2"/>
                      <a:pt x="4" y="2"/>
                    </a:cubicBezTo>
                    <a:cubicBezTo>
                      <a:pt x="4" y="1"/>
                      <a:pt x="3" y="0"/>
                      <a:pt x="2" y="0"/>
                    </a:cubicBezTo>
                  </a:path>
                </a:pathLst>
              </a:custGeom>
              <a:solidFill>
                <a:srgbClr val="FF82A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9" name="iṣliḓe">
                <a:extLst>
                  <a:ext uri="{FF2B5EF4-FFF2-40B4-BE49-F238E27FC236}">
                    <a16:creationId xmlns:a16="http://schemas.microsoft.com/office/drawing/2014/main" id="{A16DC607-F58A-A445-9384-69752D577FB8}"/>
                  </a:ext>
                </a:extLst>
              </p:cNvPr>
              <p:cNvSpPr/>
              <p:nvPr/>
            </p:nvSpPr>
            <p:spPr bwMode="auto">
              <a:xfrm>
                <a:off x="7447138" y="2962520"/>
                <a:ext cx="11041" cy="237381"/>
              </a:xfrm>
              <a:custGeom>
                <a:avLst/>
                <a:gdLst>
                  <a:gd name="T0" fmla="*/ 2 w 4"/>
                  <a:gd name="T1" fmla="*/ 0 h 83"/>
                  <a:gd name="T2" fmla="*/ 0 w 4"/>
                  <a:gd name="T3" fmla="*/ 2 h 83"/>
                  <a:gd name="T4" fmla="*/ 0 w 4"/>
                  <a:gd name="T5" fmla="*/ 81 h 83"/>
                  <a:gd name="T6" fmla="*/ 2 w 4"/>
                  <a:gd name="T7" fmla="*/ 83 h 83"/>
                  <a:gd name="T8" fmla="*/ 4 w 4"/>
                  <a:gd name="T9" fmla="*/ 81 h 83"/>
                  <a:gd name="T10" fmla="*/ 4 w 4"/>
                  <a:gd name="T11" fmla="*/ 2 h 83"/>
                  <a:gd name="T12" fmla="*/ 2 w 4"/>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4" h="83">
                    <a:moveTo>
                      <a:pt x="2" y="0"/>
                    </a:moveTo>
                    <a:cubicBezTo>
                      <a:pt x="1" y="0"/>
                      <a:pt x="0" y="1"/>
                      <a:pt x="0" y="2"/>
                    </a:cubicBezTo>
                    <a:cubicBezTo>
                      <a:pt x="0" y="81"/>
                      <a:pt x="0" y="81"/>
                      <a:pt x="0" y="81"/>
                    </a:cubicBezTo>
                    <a:cubicBezTo>
                      <a:pt x="0" y="82"/>
                      <a:pt x="1" y="83"/>
                      <a:pt x="2" y="83"/>
                    </a:cubicBezTo>
                    <a:cubicBezTo>
                      <a:pt x="3" y="83"/>
                      <a:pt x="4" y="82"/>
                      <a:pt x="4" y="81"/>
                    </a:cubicBezTo>
                    <a:cubicBezTo>
                      <a:pt x="4" y="2"/>
                      <a:pt x="4" y="2"/>
                      <a:pt x="4" y="2"/>
                    </a:cubicBezTo>
                    <a:cubicBezTo>
                      <a:pt x="4" y="1"/>
                      <a:pt x="3" y="0"/>
                      <a:pt x="2" y="0"/>
                    </a:cubicBezTo>
                  </a:path>
                </a:pathLst>
              </a:custGeom>
              <a:solidFill>
                <a:srgbClr val="FF82A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0" name="iś1ïḍe">
                <a:extLst>
                  <a:ext uri="{FF2B5EF4-FFF2-40B4-BE49-F238E27FC236}">
                    <a16:creationId xmlns:a16="http://schemas.microsoft.com/office/drawing/2014/main" id="{9420E88D-16E0-D544-9DC7-CEFDC5D56EB3}"/>
                  </a:ext>
                </a:extLst>
              </p:cNvPr>
              <p:cNvSpPr/>
              <p:nvPr/>
            </p:nvSpPr>
            <p:spPr bwMode="auto">
              <a:xfrm>
                <a:off x="7481641" y="2962520"/>
                <a:ext cx="11041" cy="237381"/>
              </a:xfrm>
              <a:custGeom>
                <a:avLst/>
                <a:gdLst>
                  <a:gd name="T0" fmla="*/ 2 w 4"/>
                  <a:gd name="T1" fmla="*/ 0 h 83"/>
                  <a:gd name="T2" fmla="*/ 0 w 4"/>
                  <a:gd name="T3" fmla="*/ 2 h 83"/>
                  <a:gd name="T4" fmla="*/ 0 w 4"/>
                  <a:gd name="T5" fmla="*/ 81 h 83"/>
                  <a:gd name="T6" fmla="*/ 2 w 4"/>
                  <a:gd name="T7" fmla="*/ 83 h 83"/>
                  <a:gd name="T8" fmla="*/ 4 w 4"/>
                  <a:gd name="T9" fmla="*/ 81 h 83"/>
                  <a:gd name="T10" fmla="*/ 4 w 4"/>
                  <a:gd name="T11" fmla="*/ 2 h 83"/>
                  <a:gd name="T12" fmla="*/ 2 w 4"/>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4" h="83">
                    <a:moveTo>
                      <a:pt x="2" y="0"/>
                    </a:moveTo>
                    <a:cubicBezTo>
                      <a:pt x="1" y="0"/>
                      <a:pt x="0" y="1"/>
                      <a:pt x="0" y="2"/>
                    </a:cubicBezTo>
                    <a:cubicBezTo>
                      <a:pt x="0" y="81"/>
                      <a:pt x="0" y="81"/>
                      <a:pt x="0" y="81"/>
                    </a:cubicBezTo>
                    <a:cubicBezTo>
                      <a:pt x="0" y="82"/>
                      <a:pt x="1" y="83"/>
                      <a:pt x="2" y="83"/>
                    </a:cubicBezTo>
                    <a:cubicBezTo>
                      <a:pt x="3" y="83"/>
                      <a:pt x="4" y="82"/>
                      <a:pt x="4" y="81"/>
                    </a:cubicBezTo>
                    <a:cubicBezTo>
                      <a:pt x="4" y="2"/>
                      <a:pt x="4" y="2"/>
                      <a:pt x="4" y="2"/>
                    </a:cubicBezTo>
                    <a:cubicBezTo>
                      <a:pt x="4" y="1"/>
                      <a:pt x="3" y="0"/>
                      <a:pt x="2" y="0"/>
                    </a:cubicBezTo>
                  </a:path>
                </a:pathLst>
              </a:custGeom>
              <a:solidFill>
                <a:srgbClr val="FF82A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1" name="îśľïḑê">
                <a:extLst>
                  <a:ext uri="{FF2B5EF4-FFF2-40B4-BE49-F238E27FC236}">
                    <a16:creationId xmlns:a16="http://schemas.microsoft.com/office/drawing/2014/main" id="{14E6F82E-B16F-314F-9D3C-4E4CE9F8683E}"/>
                  </a:ext>
                </a:extLst>
              </p:cNvPr>
              <p:cNvSpPr/>
              <p:nvPr/>
            </p:nvSpPr>
            <p:spPr bwMode="auto">
              <a:xfrm>
                <a:off x="7516144" y="2962520"/>
                <a:ext cx="11041" cy="237381"/>
              </a:xfrm>
              <a:custGeom>
                <a:avLst/>
                <a:gdLst>
                  <a:gd name="T0" fmla="*/ 2 w 4"/>
                  <a:gd name="T1" fmla="*/ 0 h 83"/>
                  <a:gd name="T2" fmla="*/ 0 w 4"/>
                  <a:gd name="T3" fmla="*/ 2 h 83"/>
                  <a:gd name="T4" fmla="*/ 0 w 4"/>
                  <a:gd name="T5" fmla="*/ 81 h 83"/>
                  <a:gd name="T6" fmla="*/ 2 w 4"/>
                  <a:gd name="T7" fmla="*/ 83 h 83"/>
                  <a:gd name="T8" fmla="*/ 4 w 4"/>
                  <a:gd name="T9" fmla="*/ 81 h 83"/>
                  <a:gd name="T10" fmla="*/ 4 w 4"/>
                  <a:gd name="T11" fmla="*/ 2 h 83"/>
                  <a:gd name="T12" fmla="*/ 2 w 4"/>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4" h="83">
                    <a:moveTo>
                      <a:pt x="2" y="0"/>
                    </a:moveTo>
                    <a:cubicBezTo>
                      <a:pt x="1" y="0"/>
                      <a:pt x="0" y="1"/>
                      <a:pt x="0" y="2"/>
                    </a:cubicBezTo>
                    <a:cubicBezTo>
                      <a:pt x="0" y="81"/>
                      <a:pt x="0" y="81"/>
                      <a:pt x="0" y="81"/>
                    </a:cubicBezTo>
                    <a:cubicBezTo>
                      <a:pt x="0" y="82"/>
                      <a:pt x="1" y="83"/>
                      <a:pt x="2" y="83"/>
                    </a:cubicBezTo>
                    <a:cubicBezTo>
                      <a:pt x="3" y="83"/>
                      <a:pt x="4" y="82"/>
                      <a:pt x="4" y="81"/>
                    </a:cubicBezTo>
                    <a:cubicBezTo>
                      <a:pt x="4" y="2"/>
                      <a:pt x="4" y="2"/>
                      <a:pt x="4" y="2"/>
                    </a:cubicBezTo>
                    <a:cubicBezTo>
                      <a:pt x="4" y="1"/>
                      <a:pt x="3" y="0"/>
                      <a:pt x="2" y="0"/>
                    </a:cubicBezTo>
                  </a:path>
                </a:pathLst>
              </a:custGeom>
              <a:solidFill>
                <a:srgbClr val="FF82A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2" name="îṩliḑé">
                <a:extLst>
                  <a:ext uri="{FF2B5EF4-FFF2-40B4-BE49-F238E27FC236}">
                    <a16:creationId xmlns:a16="http://schemas.microsoft.com/office/drawing/2014/main" id="{0B1E7AFC-2326-6C4C-BC88-605E678E3AF1}"/>
                  </a:ext>
                </a:extLst>
              </p:cNvPr>
              <p:cNvSpPr/>
              <p:nvPr/>
            </p:nvSpPr>
            <p:spPr bwMode="auto">
              <a:xfrm>
                <a:off x="7549267" y="2962520"/>
                <a:ext cx="12422" cy="237381"/>
              </a:xfrm>
              <a:custGeom>
                <a:avLst/>
                <a:gdLst>
                  <a:gd name="T0" fmla="*/ 2 w 4"/>
                  <a:gd name="T1" fmla="*/ 0 h 83"/>
                  <a:gd name="T2" fmla="*/ 0 w 4"/>
                  <a:gd name="T3" fmla="*/ 2 h 83"/>
                  <a:gd name="T4" fmla="*/ 0 w 4"/>
                  <a:gd name="T5" fmla="*/ 81 h 83"/>
                  <a:gd name="T6" fmla="*/ 2 w 4"/>
                  <a:gd name="T7" fmla="*/ 83 h 83"/>
                  <a:gd name="T8" fmla="*/ 4 w 4"/>
                  <a:gd name="T9" fmla="*/ 82 h 83"/>
                  <a:gd name="T10" fmla="*/ 4 w 4"/>
                  <a:gd name="T11" fmla="*/ 1 h 83"/>
                  <a:gd name="T12" fmla="*/ 2 w 4"/>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4" h="83">
                    <a:moveTo>
                      <a:pt x="2" y="0"/>
                    </a:moveTo>
                    <a:cubicBezTo>
                      <a:pt x="1" y="0"/>
                      <a:pt x="0" y="1"/>
                      <a:pt x="0" y="2"/>
                    </a:cubicBezTo>
                    <a:cubicBezTo>
                      <a:pt x="0" y="81"/>
                      <a:pt x="0" y="81"/>
                      <a:pt x="0" y="81"/>
                    </a:cubicBezTo>
                    <a:cubicBezTo>
                      <a:pt x="0" y="82"/>
                      <a:pt x="1" y="83"/>
                      <a:pt x="2" y="83"/>
                    </a:cubicBezTo>
                    <a:cubicBezTo>
                      <a:pt x="3" y="83"/>
                      <a:pt x="3" y="82"/>
                      <a:pt x="4" y="82"/>
                    </a:cubicBezTo>
                    <a:cubicBezTo>
                      <a:pt x="4" y="1"/>
                      <a:pt x="4" y="1"/>
                      <a:pt x="4" y="1"/>
                    </a:cubicBezTo>
                    <a:cubicBezTo>
                      <a:pt x="3" y="0"/>
                      <a:pt x="3" y="0"/>
                      <a:pt x="2" y="0"/>
                    </a:cubicBezTo>
                  </a:path>
                </a:pathLst>
              </a:custGeom>
              <a:solidFill>
                <a:srgbClr val="FF82A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3" name="îSḻiḑè">
                <a:extLst>
                  <a:ext uri="{FF2B5EF4-FFF2-40B4-BE49-F238E27FC236}">
                    <a16:creationId xmlns:a16="http://schemas.microsoft.com/office/drawing/2014/main" id="{BB02EFCD-9E3B-7C47-BFFE-3AB68347D3DF}"/>
                  </a:ext>
                </a:extLst>
              </p:cNvPr>
              <p:cNvSpPr/>
              <p:nvPr/>
            </p:nvSpPr>
            <p:spPr bwMode="auto">
              <a:xfrm>
                <a:off x="7561688" y="2952859"/>
                <a:ext cx="133872" cy="255323"/>
              </a:xfrm>
              <a:custGeom>
                <a:avLst/>
                <a:gdLst>
                  <a:gd name="T0" fmla="*/ 11 w 47"/>
                  <a:gd name="T1" fmla="*/ 86 h 89"/>
                  <a:gd name="T2" fmla="*/ 8 w 47"/>
                  <a:gd name="T3" fmla="*/ 84 h 89"/>
                  <a:gd name="T4" fmla="*/ 8 w 47"/>
                  <a:gd name="T5" fmla="*/ 5 h 89"/>
                  <a:gd name="T6" fmla="*/ 11 w 47"/>
                  <a:gd name="T7" fmla="*/ 3 h 89"/>
                  <a:gd name="T8" fmla="*/ 13 w 47"/>
                  <a:gd name="T9" fmla="*/ 5 h 89"/>
                  <a:gd name="T10" fmla="*/ 13 w 47"/>
                  <a:gd name="T11" fmla="*/ 84 h 89"/>
                  <a:gd name="T12" fmla="*/ 11 w 47"/>
                  <a:gd name="T13" fmla="*/ 86 h 89"/>
                  <a:gd name="T14" fmla="*/ 23 w 47"/>
                  <a:gd name="T15" fmla="*/ 86 h 89"/>
                  <a:gd name="T16" fmla="*/ 21 w 47"/>
                  <a:gd name="T17" fmla="*/ 84 h 89"/>
                  <a:gd name="T18" fmla="*/ 21 w 47"/>
                  <a:gd name="T19" fmla="*/ 5 h 89"/>
                  <a:gd name="T20" fmla="*/ 23 w 47"/>
                  <a:gd name="T21" fmla="*/ 3 h 89"/>
                  <a:gd name="T22" fmla="*/ 25 w 47"/>
                  <a:gd name="T23" fmla="*/ 5 h 89"/>
                  <a:gd name="T24" fmla="*/ 25 w 47"/>
                  <a:gd name="T25" fmla="*/ 84 h 89"/>
                  <a:gd name="T26" fmla="*/ 23 w 47"/>
                  <a:gd name="T27" fmla="*/ 86 h 89"/>
                  <a:gd name="T28" fmla="*/ 35 w 47"/>
                  <a:gd name="T29" fmla="*/ 86 h 89"/>
                  <a:gd name="T30" fmla="*/ 33 w 47"/>
                  <a:gd name="T31" fmla="*/ 84 h 89"/>
                  <a:gd name="T32" fmla="*/ 33 w 47"/>
                  <a:gd name="T33" fmla="*/ 5 h 89"/>
                  <a:gd name="T34" fmla="*/ 35 w 47"/>
                  <a:gd name="T35" fmla="*/ 3 h 89"/>
                  <a:gd name="T36" fmla="*/ 37 w 47"/>
                  <a:gd name="T37" fmla="*/ 5 h 89"/>
                  <a:gd name="T38" fmla="*/ 37 w 47"/>
                  <a:gd name="T39" fmla="*/ 84 h 89"/>
                  <a:gd name="T40" fmla="*/ 35 w 47"/>
                  <a:gd name="T41" fmla="*/ 86 h 89"/>
                  <a:gd name="T42" fmla="*/ 47 w 47"/>
                  <a:gd name="T43" fmla="*/ 0 h 89"/>
                  <a:gd name="T44" fmla="*/ 0 w 47"/>
                  <a:gd name="T45" fmla="*/ 0 h 89"/>
                  <a:gd name="T46" fmla="*/ 0 w 47"/>
                  <a:gd name="T47" fmla="*/ 4 h 89"/>
                  <a:gd name="T48" fmla="*/ 1 w 47"/>
                  <a:gd name="T49" fmla="*/ 5 h 89"/>
                  <a:gd name="T50" fmla="*/ 1 w 47"/>
                  <a:gd name="T51" fmla="*/ 84 h 89"/>
                  <a:gd name="T52" fmla="*/ 0 w 47"/>
                  <a:gd name="T53" fmla="*/ 85 h 89"/>
                  <a:gd name="T54" fmla="*/ 0 w 47"/>
                  <a:gd name="T55" fmla="*/ 89 h 89"/>
                  <a:gd name="T56" fmla="*/ 47 w 47"/>
                  <a:gd name="T57" fmla="*/ 89 h 89"/>
                  <a:gd name="T58" fmla="*/ 47 w 47"/>
                  <a:gd name="T59" fmla="*/ 89 h 89"/>
                  <a:gd name="T60" fmla="*/ 47 w 47"/>
                  <a:gd name="T6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7" h="89">
                    <a:moveTo>
                      <a:pt x="11" y="86"/>
                    </a:moveTo>
                    <a:cubicBezTo>
                      <a:pt x="9" y="86"/>
                      <a:pt x="8" y="85"/>
                      <a:pt x="8" y="84"/>
                    </a:cubicBezTo>
                    <a:cubicBezTo>
                      <a:pt x="8" y="5"/>
                      <a:pt x="8" y="5"/>
                      <a:pt x="8" y="5"/>
                    </a:cubicBezTo>
                    <a:cubicBezTo>
                      <a:pt x="8" y="4"/>
                      <a:pt x="9" y="3"/>
                      <a:pt x="11" y="3"/>
                    </a:cubicBezTo>
                    <a:cubicBezTo>
                      <a:pt x="12" y="3"/>
                      <a:pt x="13" y="4"/>
                      <a:pt x="13" y="5"/>
                    </a:cubicBezTo>
                    <a:cubicBezTo>
                      <a:pt x="13" y="84"/>
                      <a:pt x="13" y="84"/>
                      <a:pt x="13" y="84"/>
                    </a:cubicBezTo>
                    <a:cubicBezTo>
                      <a:pt x="13" y="85"/>
                      <a:pt x="12" y="86"/>
                      <a:pt x="11" y="86"/>
                    </a:cubicBezTo>
                    <a:moveTo>
                      <a:pt x="23" y="86"/>
                    </a:moveTo>
                    <a:cubicBezTo>
                      <a:pt x="22" y="86"/>
                      <a:pt x="21" y="85"/>
                      <a:pt x="21" y="84"/>
                    </a:cubicBezTo>
                    <a:cubicBezTo>
                      <a:pt x="21" y="5"/>
                      <a:pt x="21" y="5"/>
                      <a:pt x="21" y="5"/>
                    </a:cubicBezTo>
                    <a:cubicBezTo>
                      <a:pt x="21" y="4"/>
                      <a:pt x="22" y="3"/>
                      <a:pt x="23" y="3"/>
                    </a:cubicBezTo>
                    <a:cubicBezTo>
                      <a:pt x="24" y="3"/>
                      <a:pt x="25" y="4"/>
                      <a:pt x="25" y="5"/>
                    </a:cubicBezTo>
                    <a:cubicBezTo>
                      <a:pt x="25" y="84"/>
                      <a:pt x="25" y="84"/>
                      <a:pt x="25" y="84"/>
                    </a:cubicBezTo>
                    <a:cubicBezTo>
                      <a:pt x="25" y="85"/>
                      <a:pt x="24" y="86"/>
                      <a:pt x="23" y="86"/>
                    </a:cubicBezTo>
                    <a:moveTo>
                      <a:pt x="35" y="86"/>
                    </a:moveTo>
                    <a:cubicBezTo>
                      <a:pt x="34" y="86"/>
                      <a:pt x="33" y="85"/>
                      <a:pt x="33" y="84"/>
                    </a:cubicBezTo>
                    <a:cubicBezTo>
                      <a:pt x="33" y="5"/>
                      <a:pt x="33" y="5"/>
                      <a:pt x="33" y="5"/>
                    </a:cubicBezTo>
                    <a:cubicBezTo>
                      <a:pt x="33" y="4"/>
                      <a:pt x="34" y="3"/>
                      <a:pt x="35" y="3"/>
                    </a:cubicBezTo>
                    <a:cubicBezTo>
                      <a:pt x="36" y="3"/>
                      <a:pt x="37" y="4"/>
                      <a:pt x="37" y="5"/>
                    </a:cubicBezTo>
                    <a:cubicBezTo>
                      <a:pt x="37" y="84"/>
                      <a:pt x="37" y="84"/>
                      <a:pt x="37" y="84"/>
                    </a:cubicBezTo>
                    <a:cubicBezTo>
                      <a:pt x="37" y="85"/>
                      <a:pt x="36" y="86"/>
                      <a:pt x="35" y="86"/>
                    </a:cubicBezTo>
                    <a:moveTo>
                      <a:pt x="47" y="0"/>
                    </a:moveTo>
                    <a:cubicBezTo>
                      <a:pt x="0" y="0"/>
                      <a:pt x="0" y="0"/>
                      <a:pt x="0" y="0"/>
                    </a:cubicBezTo>
                    <a:cubicBezTo>
                      <a:pt x="0" y="4"/>
                      <a:pt x="0" y="4"/>
                      <a:pt x="0" y="4"/>
                    </a:cubicBezTo>
                    <a:cubicBezTo>
                      <a:pt x="0" y="4"/>
                      <a:pt x="1" y="4"/>
                      <a:pt x="1" y="5"/>
                    </a:cubicBezTo>
                    <a:cubicBezTo>
                      <a:pt x="1" y="84"/>
                      <a:pt x="1" y="84"/>
                      <a:pt x="1" y="84"/>
                    </a:cubicBezTo>
                    <a:cubicBezTo>
                      <a:pt x="1" y="84"/>
                      <a:pt x="0" y="85"/>
                      <a:pt x="0" y="85"/>
                    </a:cubicBezTo>
                    <a:cubicBezTo>
                      <a:pt x="0" y="89"/>
                      <a:pt x="0" y="89"/>
                      <a:pt x="0" y="89"/>
                    </a:cubicBezTo>
                    <a:cubicBezTo>
                      <a:pt x="47" y="89"/>
                      <a:pt x="47" y="89"/>
                      <a:pt x="47" y="89"/>
                    </a:cubicBezTo>
                    <a:cubicBezTo>
                      <a:pt x="47" y="89"/>
                      <a:pt x="47" y="89"/>
                      <a:pt x="47" y="89"/>
                    </a:cubicBezTo>
                    <a:cubicBezTo>
                      <a:pt x="47" y="0"/>
                      <a:pt x="47" y="0"/>
                      <a:pt x="47" y="0"/>
                    </a:cubicBezTo>
                  </a:path>
                </a:pathLst>
              </a:custGeom>
              <a:solidFill>
                <a:srgbClr val="D95F8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4" name="îṣḻïḍè">
                <a:extLst>
                  <a:ext uri="{FF2B5EF4-FFF2-40B4-BE49-F238E27FC236}">
                    <a16:creationId xmlns:a16="http://schemas.microsoft.com/office/drawing/2014/main" id="{025888EF-C85D-C64D-8238-4226332CBB67}"/>
                  </a:ext>
                </a:extLst>
              </p:cNvPr>
              <p:cNvSpPr/>
              <p:nvPr/>
            </p:nvSpPr>
            <p:spPr bwMode="auto">
              <a:xfrm>
                <a:off x="7561688" y="2965281"/>
                <a:ext cx="2760" cy="231860"/>
              </a:xfrm>
              <a:custGeom>
                <a:avLst/>
                <a:gdLst>
                  <a:gd name="T0" fmla="*/ 0 w 1"/>
                  <a:gd name="T1" fmla="*/ 0 h 81"/>
                  <a:gd name="T2" fmla="*/ 0 w 1"/>
                  <a:gd name="T3" fmla="*/ 81 h 81"/>
                  <a:gd name="T4" fmla="*/ 1 w 1"/>
                  <a:gd name="T5" fmla="*/ 80 h 81"/>
                  <a:gd name="T6" fmla="*/ 1 w 1"/>
                  <a:gd name="T7" fmla="*/ 1 h 81"/>
                  <a:gd name="T8" fmla="*/ 0 w 1"/>
                  <a:gd name="T9" fmla="*/ 0 h 81"/>
                </a:gdLst>
                <a:ahLst/>
                <a:cxnLst>
                  <a:cxn ang="0">
                    <a:pos x="T0" y="T1"/>
                  </a:cxn>
                  <a:cxn ang="0">
                    <a:pos x="T2" y="T3"/>
                  </a:cxn>
                  <a:cxn ang="0">
                    <a:pos x="T4" y="T5"/>
                  </a:cxn>
                  <a:cxn ang="0">
                    <a:pos x="T6" y="T7"/>
                  </a:cxn>
                  <a:cxn ang="0">
                    <a:pos x="T8" y="T9"/>
                  </a:cxn>
                </a:cxnLst>
                <a:rect l="0" t="0" r="r" b="b"/>
                <a:pathLst>
                  <a:path w="1" h="81">
                    <a:moveTo>
                      <a:pt x="0" y="0"/>
                    </a:moveTo>
                    <a:cubicBezTo>
                      <a:pt x="0" y="81"/>
                      <a:pt x="0" y="81"/>
                      <a:pt x="0" y="81"/>
                    </a:cubicBezTo>
                    <a:cubicBezTo>
                      <a:pt x="0" y="81"/>
                      <a:pt x="1" y="80"/>
                      <a:pt x="1" y="80"/>
                    </a:cubicBezTo>
                    <a:cubicBezTo>
                      <a:pt x="1" y="1"/>
                      <a:pt x="1" y="1"/>
                      <a:pt x="1" y="1"/>
                    </a:cubicBezTo>
                    <a:cubicBezTo>
                      <a:pt x="1" y="0"/>
                      <a:pt x="0" y="0"/>
                      <a:pt x="0" y="0"/>
                    </a:cubicBezTo>
                  </a:path>
                </a:pathLst>
              </a:custGeom>
              <a:solidFill>
                <a:srgbClr val="D96F8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5" name="ïṣḷîdé">
                <a:extLst>
                  <a:ext uri="{FF2B5EF4-FFF2-40B4-BE49-F238E27FC236}">
                    <a16:creationId xmlns:a16="http://schemas.microsoft.com/office/drawing/2014/main" id="{B417117C-C97F-3C43-91BF-806FE3E21D24}"/>
                  </a:ext>
                </a:extLst>
              </p:cNvPr>
              <p:cNvSpPr/>
              <p:nvPr/>
            </p:nvSpPr>
            <p:spPr bwMode="auto">
              <a:xfrm>
                <a:off x="7583770" y="2962520"/>
                <a:ext cx="15182" cy="237381"/>
              </a:xfrm>
              <a:custGeom>
                <a:avLst/>
                <a:gdLst>
                  <a:gd name="T0" fmla="*/ 3 w 5"/>
                  <a:gd name="T1" fmla="*/ 0 h 83"/>
                  <a:gd name="T2" fmla="*/ 0 w 5"/>
                  <a:gd name="T3" fmla="*/ 2 h 83"/>
                  <a:gd name="T4" fmla="*/ 0 w 5"/>
                  <a:gd name="T5" fmla="*/ 81 h 83"/>
                  <a:gd name="T6" fmla="*/ 3 w 5"/>
                  <a:gd name="T7" fmla="*/ 83 h 83"/>
                  <a:gd name="T8" fmla="*/ 5 w 5"/>
                  <a:gd name="T9" fmla="*/ 81 h 83"/>
                  <a:gd name="T10" fmla="*/ 5 w 5"/>
                  <a:gd name="T11" fmla="*/ 2 h 83"/>
                  <a:gd name="T12" fmla="*/ 3 w 5"/>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5" h="83">
                    <a:moveTo>
                      <a:pt x="3" y="0"/>
                    </a:moveTo>
                    <a:cubicBezTo>
                      <a:pt x="1" y="0"/>
                      <a:pt x="0" y="1"/>
                      <a:pt x="0" y="2"/>
                    </a:cubicBezTo>
                    <a:cubicBezTo>
                      <a:pt x="0" y="81"/>
                      <a:pt x="0" y="81"/>
                      <a:pt x="0" y="81"/>
                    </a:cubicBezTo>
                    <a:cubicBezTo>
                      <a:pt x="0" y="82"/>
                      <a:pt x="1" y="83"/>
                      <a:pt x="3" y="83"/>
                    </a:cubicBezTo>
                    <a:cubicBezTo>
                      <a:pt x="4" y="83"/>
                      <a:pt x="5" y="82"/>
                      <a:pt x="5" y="81"/>
                    </a:cubicBezTo>
                    <a:cubicBezTo>
                      <a:pt x="5" y="2"/>
                      <a:pt x="5" y="2"/>
                      <a:pt x="5" y="2"/>
                    </a:cubicBezTo>
                    <a:cubicBezTo>
                      <a:pt x="5" y="1"/>
                      <a:pt x="4" y="0"/>
                      <a:pt x="3" y="0"/>
                    </a:cubicBezTo>
                  </a:path>
                </a:pathLst>
              </a:custGeom>
              <a:solidFill>
                <a:srgbClr val="D96F8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6" name="íślîdê">
                <a:extLst>
                  <a:ext uri="{FF2B5EF4-FFF2-40B4-BE49-F238E27FC236}">
                    <a16:creationId xmlns:a16="http://schemas.microsoft.com/office/drawing/2014/main" id="{31961EF3-DFD2-8847-A52F-77A2D5846AA7}"/>
                  </a:ext>
                </a:extLst>
              </p:cNvPr>
              <p:cNvSpPr/>
              <p:nvPr/>
            </p:nvSpPr>
            <p:spPr bwMode="auto">
              <a:xfrm>
                <a:off x="7621033" y="2962520"/>
                <a:ext cx="12422" cy="237381"/>
              </a:xfrm>
              <a:custGeom>
                <a:avLst/>
                <a:gdLst>
                  <a:gd name="T0" fmla="*/ 2 w 4"/>
                  <a:gd name="T1" fmla="*/ 0 h 83"/>
                  <a:gd name="T2" fmla="*/ 0 w 4"/>
                  <a:gd name="T3" fmla="*/ 2 h 83"/>
                  <a:gd name="T4" fmla="*/ 0 w 4"/>
                  <a:gd name="T5" fmla="*/ 81 h 83"/>
                  <a:gd name="T6" fmla="*/ 2 w 4"/>
                  <a:gd name="T7" fmla="*/ 83 h 83"/>
                  <a:gd name="T8" fmla="*/ 4 w 4"/>
                  <a:gd name="T9" fmla="*/ 81 h 83"/>
                  <a:gd name="T10" fmla="*/ 4 w 4"/>
                  <a:gd name="T11" fmla="*/ 2 h 83"/>
                  <a:gd name="T12" fmla="*/ 2 w 4"/>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4" h="83">
                    <a:moveTo>
                      <a:pt x="2" y="0"/>
                    </a:moveTo>
                    <a:cubicBezTo>
                      <a:pt x="1" y="0"/>
                      <a:pt x="0" y="1"/>
                      <a:pt x="0" y="2"/>
                    </a:cubicBezTo>
                    <a:cubicBezTo>
                      <a:pt x="0" y="81"/>
                      <a:pt x="0" y="81"/>
                      <a:pt x="0" y="81"/>
                    </a:cubicBezTo>
                    <a:cubicBezTo>
                      <a:pt x="0" y="82"/>
                      <a:pt x="1" y="83"/>
                      <a:pt x="2" y="83"/>
                    </a:cubicBezTo>
                    <a:cubicBezTo>
                      <a:pt x="3" y="83"/>
                      <a:pt x="4" y="82"/>
                      <a:pt x="4" y="81"/>
                    </a:cubicBezTo>
                    <a:cubicBezTo>
                      <a:pt x="4" y="2"/>
                      <a:pt x="4" y="2"/>
                      <a:pt x="4" y="2"/>
                    </a:cubicBezTo>
                    <a:cubicBezTo>
                      <a:pt x="4" y="1"/>
                      <a:pt x="3" y="0"/>
                      <a:pt x="2" y="0"/>
                    </a:cubicBezTo>
                  </a:path>
                </a:pathLst>
              </a:custGeom>
              <a:solidFill>
                <a:srgbClr val="D96F8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7" name="iṣ1ïḋè">
                <a:extLst>
                  <a:ext uri="{FF2B5EF4-FFF2-40B4-BE49-F238E27FC236}">
                    <a16:creationId xmlns:a16="http://schemas.microsoft.com/office/drawing/2014/main" id="{9117CAB7-7F0B-1B4D-8215-A334B95035A3}"/>
                  </a:ext>
                </a:extLst>
              </p:cNvPr>
              <p:cNvSpPr/>
              <p:nvPr/>
            </p:nvSpPr>
            <p:spPr bwMode="auto">
              <a:xfrm>
                <a:off x="7655536" y="2962520"/>
                <a:ext cx="12422" cy="237381"/>
              </a:xfrm>
              <a:custGeom>
                <a:avLst/>
                <a:gdLst>
                  <a:gd name="T0" fmla="*/ 2 w 4"/>
                  <a:gd name="T1" fmla="*/ 0 h 83"/>
                  <a:gd name="T2" fmla="*/ 0 w 4"/>
                  <a:gd name="T3" fmla="*/ 2 h 83"/>
                  <a:gd name="T4" fmla="*/ 0 w 4"/>
                  <a:gd name="T5" fmla="*/ 81 h 83"/>
                  <a:gd name="T6" fmla="*/ 2 w 4"/>
                  <a:gd name="T7" fmla="*/ 83 h 83"/>
                  <a:gd name="T8" fmla="*/ 4 w 4"/>
                  <a:gd name="T9" fmla="*/ 81 h 83"/>
                  <a:gd name="T10" fmla="*/ 4 w 4"/>
                  <a:gd name="T11" fmla="*/ 2 h 83"/>
                  <a:gd name="T12" fmla="*/ 2 w 4"/>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4" h="83">
                    <a:moveTo>
                      <a:pt x="2" y="0"/>
                    </a:moveTo>
                    <a:cubicBezTo>
                      <a:pt x="1" y="0"/>
                      <a:pt x="0" y="1"/>
                      <a:pt x="0" y="2"/>
                    </a:cubicBezTo>
                    <a:cubicBezTo>
                      <a:pt x="0" y="81"/>
                      <a:pt x="0" y="81"/>
                      <a:pt x="0" y="81"/>
                    </a:cubicBezTo>
                    <a:cubicBezTo>
                      <a:pt x="0" y="82"/>
                      <a:pt x="1" y="83"/>
                      <a:pt x="2" y="83"/>
                    </a:cubicBezTo>
                    <a:cubicBezTo>
                      <a:pt x="3" y="83"/>
                      <a:pt x="4" y="82"/>
                      <a:pt x="4" y="81"/>
                    </a:cubicBezTo>
                    <a:cubicBezTo>
                      <a:pt x="4" y="2"/>
                      <a:pt x="4" y="2"/>
                      <a:pt x="4" y="2"/>
                    </a:cubicBezTo>
                    <a:cubicBezTo>
                      <a:pt x="4" y="1"/>
                      <a:pt x="3" y="0"/>
                      <a:pt x="2" y="0"/>
                    </a:cubicBezTo>
                  </a:path>
                </a:pathLst>
              </a:custGeom>
              <a:solidFill>
                <a:srgbClr val="D96F8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8" name="ïṧḻîḍê">
                <a:extLst>
                  <a:ext uri="{FF2B5EF4-FFF2-40B4-BE49-F238E27FC236}">
                    <a16:creationId xmlns:a16="http://schemas.microsoft.com/office/drawing/2014/main" id="{BEC28A39-7B65-E145-BC3B-284A3E480215}"/>
                  </a:ext>
                </a:extLst>
              </p:cNvPr>
              <p:cNvSpPr/>
              <p:nvPr/>
            </p:nvSpPr>
            <p:spPr bwMode="auto">
              <a:xfrm>
                <a:off x="7242880" y="2696157"/>
                <a:ext cx="452679" cy="256702"/>
              </a:xfrm>
              <a:prstGeom prst="rect">
                <a:avLst/>
              </a:prstGeom>
              <a:solidFill>
                <a:srgbClr val="597FD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729" name="iSḷïḋê">
                <a:extLst>
                  <a:ext uri="{FF2B5EF4-FFF2-40B4-BE49-F238E27FC236}">
                    <a16:creationId xmlns:a16="http://schemas.microsoft.com/office/drawing/2014/main" id="{4C899671-32B6-4F4D-8AAD-A90402FD650E}"/>
                  </a:ext>
                </a:extLst>
              </p:cNvPr>
              <p:cNvSpPr/>
              <p:nvPr/>
            </p:nvSpPr>
            <p:spPr bwMode="auto">
              <a:xfrm>
                <a:off x="7242880" y="2696157"/>
                <a:ext cx="452679" cy="256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730" name="íṧḻïdê">
                <a:extLst>
                  <a:ext uri="{FF2B5EF4-FFF2-40B4-BE49-F238E27FC236}">
                    <a16:creationId xmlns:a16="http://schemas.microsoft.com/office/drawing/2014/main" id="{4BA11A12-958E-8244-BF14-30ACCDF48121}"/>
                  </a:ext>
                </a:extLst>
              </p:cNvPr>
              <p:cNvSpPr/>
              <p:nvPr/>
            </p:nvSpPr>
            <p:spPr bwMode="auto">
              <a:xfrm>
                <a:off x="7271863" y="2704437"/>
                <a:ext cx="11041" cy="237381"/>
              </a:xfrm>
              <a:custGeom>
                <a:avLst/>
                <a:gdLst>
                  <a:gd name="T0" fmla="*/ 2 w 4"/>
                  <a:gd name="T1" fmla="*/ 0 h 83"/>
                  <a:gd name="T2" fmla="*/ 0 w 4"/>
                  <a:gd name="T3" fmla="*/ 2 h 83"/>
                  <a:gd name="T4" fmla="*/ 0 w 4"/>
                  <a:gd name="T5" fmla="*/ 81 h 83"/>
                  <a:gd name="T6" fmla="*/ 2 w 4"/>
                  <a:gd name="T7" fmla="*/ 83 h 83"/>
                  <a:gd name="T8" fmla="*/ 4 w 4"/>
                  <a:gd name="T9" fmla="*/ 81 h 83"/>
                  <a:gd name="T10" fmla="*/ 4 w 4"/>
                  <a:gd name="T11" fmla="*/ 2 h 83"/>
                  <a:gd name="T12" fmla="*/ 2 w 4"/>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4" h="83">
                    <a:moveTo>
                      <a:pt x="2" y="0"/>
                    </a:moveTo>
                    <a:cubicBezTo>
                      <a:pt x="1" y="0"/>
                      <a:pt x="0" y="1"/>
                      <a:pt x="0" y="2"/>
                    </a:cubicBezTo>
                    <a:cubicBezTo>
                      <a:pt x="0" y="81"/>
                      <a:pt x="0" y="81"/>
                      <a:pt x="0" y="81"/>
                    </a:cubicBezTo>
                    <a:cubicBezTo>
                      <a:pt x="0" y="82"/>
                      <a:pt x="1" y="83"/>
                      <a:pt x="2" y="83"/>
                    </a:cubicBezTo>
                    <a:cubicBezTo>
                      <a:pt x="3" y="83"/>
                      <a:pt x="4" y="82"/>
                      <a:pt x="4" y="81"/>
                    </a:cubicBezTo>
                    <a:cubicBezTo>
                      <a:pt x="4" y="2"/>
                      <a:pt x="4" y="2"/>
                      <a:pt x="4" y="2"/>
                    </a:cubicBezTo>
                    <a:cubicBezTo>
                      <a:pt x="4" y="1"/>
                      <a:pt x="3" y="0"/>
                      <a:pt x="2" y="0"/>
                    </a:cubicBezTo>
                  </a:path>
                </a:pathLst>
              </a:custGeom>
              <a:solidFill>
                <a:srgbClr val="6E8F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1" name="i$ľîḓè">
                <a:extLst>
                  <a:ext uri="{FF2B5EF4-FFF2-40B4-BE49-F238E27FC236}">
                    <a16:creationId xmlns:a16="http://schemas.microsoft.com/office/drawing/2014/main" id="{D2BB9492-23E7-B14A-B9FE-E093E1CD7ED7}"/>
                  </a:ext>
                </a:extLst>
              </p:cNvPr>
              <p:cNvSpPr/>
              <p:nvPr/>
            </p:nvSpPr>
            <p:spPr bwMode="auto">
              <a:xfrm>
                <a:off x="7306365" y="2704437"/>
                <a:ext cx="11041" cy="237381"/>
              </a:xfrm>
              <a:custGeom>
                <a:avLst/>
                <a:gdLst>
                  <a:gd name="T0" fmla="*/ 2 w 4"/>
                  <a:gd name="T1" fmla="*/ 0 h 83"/>
                  <a:gd name="T2" fmla="*/ 0 w 4"/>
                  <a:gd name="T3" fmla="*/ 2 h 83"/>
                  <a:gd name="T4" fmla="*/ 0 w 4"/>
                  <a:gd name="T5" fmla="*/ 81 h 83"/>
                  <a:gd name="T6" fmla="*/ 2 w 4"/>
                  <a:gd name="T7" fmla="*/ 83 h 83"/>
                  <a:gd name="T8" fmla="*/ 4 w 4"/>
                  <a:gd name="T9" fmla="*/ 81 h 83"/>
                  <a:gd name="T10" fmla="*/ 4 w 4"/>
                  <a:gd name="T11" fmla="*/ 2 h 83"/>
                  <a:gd name="T12" fmla="*/ 2 w 4"/>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4" h="83">
                    <a:moveTo>
                      <a:pt x="2" y="0"/>
                    </a:moveTo>
                    <a:cubicBezTo>
                      <a:pt x="1" y="0"/>
                      <a:pt x="0" y="1"/>
                      <a:pt x="0" y="2"/>
                    </a:cubicBezTo>
                    <a:cubicBezTo>
                      <a:pt x="0" y="81"/>
                      <a:pt x="0" y="81"/>
                      <a:pt x="0" y="81"/>
                    </a:cubicBezTo>
                    <a:cubicBezTo>
                      <a:pt x="0" y="82"/>
                      <a:pt x="1" y="83"/>
                      <a:pt x="2" y="83"/>
                    </a:cubicBezTo>
                    <a:cubicBezTo>
                      <a:pt x="3" y="83"/>
                      <a:pt x="4" y="82"/>
                      <a:pt x="4" y="81"/>
                    </a:cubicBezTo>
                    <a:cubicBezTo>
                      <a:pt x="4" y="2"/>
                      <a:pt x="4" y="2"/>
                      <a:pt x="4" y="2"/>
                    </a:cubicBezTo>
                    <a:cubicBezTo>
                      <a:pt x="4" y="1"/>
                      <a:pt x="3" y="0"/>
                      <a:pt x="2" y="0"/>
                    </a:cubicBezTo>
                  </a:path>
                </a:pathLst>
              </a:custGeom>
              <a:solidFill>
                <a:srgbClr val="6E8F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2" name="ísḻiďê">
                <a:extLst>
                  <a:ext uri="{FF2B5EF4-FFF2-40B4-BE49-F238E27FC236}">
                    <a16:creationId xmlns:a16="http://schemas.microsoft.com/office/drawing/2014/main" id="{3ABFBB60-E9FD-6043-BDF0-48F7723978E5}"/>
                  </a:ext>
                </a:extLst>
              </p:cNvPr>
              <p:cNvSpPr/>
              <p:nvPr/>
            </p:nvSpPr>
            <p:spPr bwMode="auto">
              <a:xfrm>
                <a:off x="7340869" y="2704437"/>
                <a:ext cx="13801" cy="237381"/>
              </a:xfrm>
              <a:custGeom>
                <a:avLst/>
                <a:gdLst>
                  <a:gd name="T0" fmla="*/ 2 w 5"/>
                  <a:gd name="T1" fmla="*/ 0 h 83"/>
                  <a:gd name="T2" fmla="*/ 0 w 5"/>
                  <a:gd name="T3" fmla="*/ 2 h 83"/>
                  <a:gd name="T4" fmla="*/ 0 w 5"/>
                  <a:gd name="T5" fmla="*/ 81 h 83"/>
                  <a:gd name="T6" fmla="*/ 2 w 5"/>
                  <a:gd name="T7" fmla="*/ 83 h 83"/>
                  <a:gd name="T8" fmla="*/ 5 w 5"/>
                  <a:gd name="T9" fmla="*/ 81 h 83"/>
                  <a:gd name="T10" fmla="*/ 5 w 5"/>
                  <a:gd name="T11" fmla="*/ 2 h 83"/>
                  <a:gd name="T12" fmla="*/ 2 w 5"/>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5" h="83">
                    <a:moveTo>
                      <a:pt x="2" y="0"/>
                    </a:moveTo>
                    <a:cubicBezTo>
                      <a:pt x="1" y="0"/>
                      <a:pt x="0" y="1"/>
                      <a:pt x="0" y="2"/>
                    </a:cubicBezTo>
                    <a:cubicBezTo>
                      <a:pt x="0" y="81"/>
                      <a:pt x="0" y="81"/>
                      <a:pt x="0" y="81"/>
                    </a:cubicBezTo>
                    <a:cubicBezTo>
                      <a:pt x="0" y="82"/>
                      <a:pt x="1" y="83"/>
                      <a:pt x="2" y="83"/>
                    </a:cubicBezTo>
                    <a:cubicBezTo>
                      <a:pt x="4" y="83"/>
                      <a:pt x="5" y="82"/>
                      <a:pt x="5" y="81"/>
                    </a:cubicBezTo>
                    <a:cubicBezTo>
                      <a:pt x="5" y="2"/>
                      <a:pt x="5" y="2"/>
                      <a:pt x="5" y="2"/>
                    </a:cubicBezTo>
                    <a:cubicBezTo>
                      <a:pt x="5" y="1"/>
                      <a:pt x="4" y="0"/>
                      <a:pt x="2" y="0"/>
                    </a:cubicBezTo>
                  </a:path>
                </a:pathLst>
              </a:custGeom>
              <a:solidFill>
                <a:srgbClr val="6E8F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3" name="iṧľíďé">
                <a:extLst>
                  <a:ext uri="{FF2B5EF4-FFF2-40B4-BE49-F238E27FC236}">
                    <a16:creationId xmlns:a16="http://schemas.microsoft.com/office/drawing/2014/main" id="{93E17892-51E1-F946-AA70-7D691B36D9C0}"/>
                  </a:ext>
                </a:extLst>
              </p:cNvPr>
              <p:cNvSpPr/>
              <p:nvPr/>
            </p:nvSpPr>
            <p:spPr bwMode="auto">
              <a:xfrm>
                <a:off x="7375371" y="2704437"/>
                <a:ext cx="13801" cy="237381"/>
              </a:xfrm>
              <a:custGeom>
                <a:avLst/>
                <a:gdLst>
                  <a:gd name="T0" fmla="*/ 3 w 5"/>
                  <a:gd name="T1" fmla="*/ 0 h 83"/>
                  <a:gd name="T2" fmla="*/ 0 w 5"/>
                  <a:gd name="T3" fmla="*/ 2 h 83"/>
                  <a:gd name="T4" fmla="*/ 0 w 5"/>
                  <a:gd name="T5" fmla="*/ 81 h 83"/>
                  <a:gd name="T6" fmla="*/ 3 w 5"/>
                  <a:gd name="T7" fmla="*/ 83 h 83"/>
                  <a:gd name="T8" fmla="*/ 5 w 5"/>
                  <a:gd name="T9" fmla="*/ 81 h 83"/>
                  <a:gd name="T10" fmla="*/ 5 w 5"/>
                  <a:gd name="T11" fmla="*/ 2 h 83"/>
                  <a:gd name="T12" fmla="*/ 3 w 5"/>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5" h="83">
                    <a:moveTo>
                      <a:pt x="3" y="0"/>
                    </a:moveTo>
                    <a:cubicBezTo>
                      <a:pt x="1" y="0"/>
                      <a:pt x="0" y="1"/>
                      <a:pt x="0" y="2"/>
                    </a:cubicBezTo>
                    <a:cubicBezTo>
                      <a:pt x="0" y="81"/>
                      <a:pt x="0" y="81"/>
                      <a:pt x="0" y="81"/>
                    </a:cubicBezTo>
                    <a:cubicBezTo>
                      <a:pt x="0" y="82"/>
                      <a:pt x="1" y="83"/>
                      <a:pt x="3" y="83"/>
                    </a:cubicBezTo>
                    <a:cubicBezTo>
                      <a:pt x="4" y="83"/>
                      <a:pt x="5" y="82"/>
                      <a:pt x="5" y="81"/>
                    </a:cubicBezTo>
                    <a:cubicBezTo>
                      <a:pt x="5" y="2"/>
                      <a:pt x="5" y="2"/>
                      <a:pt x="5" y="2"/>
                    </a:cubicBezTo>
                    <a:cubicBezTo>
                      <a:pt x="5" y="1"/>
                      <a:pt x="4" y="0"/>
                      <a:pt x="3" y="0"/>
                    </a:cubicBezTo>
                  </a:path>
                </a:pathLst>
              </a:custGeom>
              <a:solidFill>
                <a:srgbClr val="6E8F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4" name="í$lïḋê">
                <a:extLst>
                  <a:ext uri="{FF2B5EF4-FFF2-40B4-BE49-F238E27FC236}">
                    <a16:creationId xmlns:a16="http://schemas.microsoft.com/office/drawing/2014/main" id="{D5A5BBB9-971C-D14F-AE4C-5E3E4A889ABC}"/>
                  </a:ext>
                </a:extLst>
              </p:cNvPr>
              <p:cNvSpPr/>
              <p:nvPr/>
            </p:nvSpPr>
            <p:spPr bwMode="auto">
              <a:xfrm>
                <a:off x="7412635" y="2704437"/>
                <a:ext cx="11041" cy="237381"/>
              </a:xfrm>
              <a:custGeom>
                <a:avLst/>
                <a:gdLst>
                  <a:gd name="T0" fmla="*/ 2 w 4"/>
                  <a:gd name="T1" fmla="*/ 0 h 83"/>
                  <a:gd name="T2" fmla="*/ 0 w 4"/>
                  <a:gd name="T3" fmla="*/ 2 h 83"/>
                  <a:gd name="T4" fmla="*/ 0 w 4"/>
                  <a:gd name="T5" fmla="*/ 81 h 83"/>
                  <a:gd name="T6" fmla="*/ 2 w 4"/>
                  <a:gd name="T7" fmla="*/ 83 h 83"/>
                  <a:gd name="T8" fmla="*/ 4 w 4"/>
                  <a:gd name="T9" fmla="*/ 81 h 83"/>
                  <a:gd name="T10" fmla="*/ 4 w 4"/>
                  <a:gd name="T11" fmla="*/ 2 h 83"/>
                  <a:gd name="T12" fmla="*/ 2 w 4"/>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4" h="83">
                    <a:moveTo>
                      <a:pt x="2" y="0"/>
                    </a:moveTo>
                    <a:cubicBezTo>
                      <a:pt x="1" y="0"/>
                      <a:pt x="0" y="1"/>
                      <a:pt x="0" y="2"/>
                    </a:cubicBezTo>
                    <a:cubicBezTo>
                      <a:pt x="0" y="81"/>
                      <a:pt x="0" y="81"/>
                      <a:pt x="0" y="81"/>
                    </a:cubicBezTo>
                    <a:cubicBezTo>
                      <a:pt x="0" y="82"/>
                      <a:pt x="1" y="83"/>
                      <a:pt x="2" y="83"/>
                    </a:cubicBezTo>
                    <a:cubicBezTo>
                      <a:pt x="3" y="83"/>
                      <a:pt x="4" y="82"/>
                      <a:pt x="4" y="81"/>
                    </a:cubicBezTo>
                    <a:cubicBezTo>
                      <a:pt x="4" y="2"/>
                      <a:pt x="4" y="2"/>
                      <a:pt x="4" y="2"/>
                    </a:cubicBezTo>
                    <a:cubicBezTo>
                      <a:pt x="4" y="1"/>
                      <a:pt x="3" y="0"/>
                      <a:pt x="2" y="0"/>
                    </a:cubicBezTo>
                  </a:path>
                </a:pathLst>
              </a:custGeom>
              <a:solidFill>
                <a:srgbClr val="6E8F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5" name="ïṥ1îḋè">
                <a:extLst>
                  <a:ext uri="{FF2B5EF4-FFF2-40B4-BE49-F238E27FC236}">
                    <a16:creationId xmlns:a16="http://schemas.microsoft.com/office/drawing/2014/main" id="{777D97D8-BCA1-C644-95DE-059A90CE6125}"/>
                  </a:ext>
                </a:extLst>
              </p:cNvPr>
              <p:cNvSpPr/>
              <p:nvPr/>
            </p:nvSpPr>
            <p:spPr bwMode="auto">
              <a:xfrm>
                <a:off x="7447138" y="2704437"/>
                <a:ext cx="11041" cy="237381"/>
              </a:xfrm>
              <a:custGeom>
                <a:avLst/>
                <a:gdLst>
                  <a:gd name="T0" fmla="*/ 2 w 4"/>
                  <a:gd name="T1" fmla="*/ 0 h 83"/>
                  <a:gd name="T2" fmla="*/ 0 w 4"/>
                  <a:gd name="T3" fmla="*/ 2 h 83"/>
                  <a:gd name="T4" fmla="*/ 0 w 4"/>
                  <a:gd name="T5" fmla="*/ 81 h 83"/>
                  <a:gd name="T6" fmla="*/ 2 w 4"/>
                  <a:gd name="T7" fmla="*/ 83 h 83"/>
                  <a:gd name="T8" fmla="*/ 4 w 4"/>
                  <a:gd name="T9" fmla="*/ 81 h 83"/>
                  <a:gd name="T10" fmla="*/ 4 w 4"/>
                  <a:gd name="T11" fmla="*/ 2 h 83"/>
                  <a:gd name="T12" fmla="*/ 2 w 4"/>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4" h="83">
                    <a:moveTo>
                      <a:pt x="2" y="0"/>
                    </a:moveTo>
                    <a:cubicBezTo>
                      <a:pt x="1" y="0"/>
                      <a:pt x="0" y="1"/>
                      <a:pt x="0" y="2"/>
                    </a:cubicBezTo>
                    <a:cubicBezTo>
                      <a:pt x="0" y="81"/>
                      <a:pt x="0" y="81"/>
                      <a:pt x="0" y="81"/>
                    </a:cubicBezTo>
                    <a:cubicBezTo>
                      <a:pt x="0" y="82"/>
                      <a:pt x="1" y="83"/>
                      <a:pt x="2" y="83"/>
                    </a:cubicBezTo>
                    <a:cubicBezTo>
                      <a:pt x="3" y="83"/>
                      <a:pt x="4" y="82"/>
                      <a:pt x="4" y="81"/>
                    </a:cubicBezTo>
                    <a:cubicBezTo>
                      <a:pt x="4" y="2"/>
                      <a:pt x="4" y="2"/>
                      <a:pt x="4" y="2"/>
                    </a:cubicBezTo>
                    <a:cubicBezTo>
                      <a:pt x="4" y="1"/>
                      <a:pt x="3" y="0"/>
                      <a:pt x="2" y="0"/>
                    </a:cubicBezTo>
                  </a:path>
                </a:pathLst>
              </a:custGeom>
              <a:solidFill>
                <a:srgbClr val="6E8F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6" name="ïsļiḑe">
                <a:extLst>
                  <a:ext uri="{FF2B5EF4-FFF2-40B4-BE49-F238E27FC236}">
                    <a16:creationId xmlns:a16="http://schemas.microsoft.com/office/drawing/2014/main" id="{FFDF8095-7B53-5845-8A71-8BD89459C6BB}"/>
                  </a:ext>
                </a:extLst>
              </p:cNvPr>
              <p:cNvSpPr/>
              <p:nvPr/>
            </p:nvSpPr>
            <p:spPr bwMode="auto">
              <a:xfrm>
                <a:off x="7481641" y="2704437"/>
                <a:ext cx="11041" cy="237381"/>
              </a:xfrm>
              <a:custGeom>
                <a:avLst/>
                <a:gdLst>
                  <a:gd name="T0" fmla="*/ 2 w 4"/>
                  <a:gd name="T1" fmla="*/ 0 h 83"/>
                  <a:gd name="T2" fmla="*/ 0 w 4"/>
                  <a:gd name="T3" fmla="*/ 2 h 83"/>
                  <a:gd name="T4" fmla="*/ 0 w 4"/>
                  <a:gd name="T5" fmla="*/ 81 h 83"/>
                  <a:gd name="T6" fmla="*/ 2 w 4"/>
                  <a:gd name="T7" fmla="*/ 83 h 83"/>
                  <a:gd name="T8" fmla="*/ 4 w 4"/>
                  <a:gd name="T9" fmla="*/ 81 h 83"/>
                  <a:gd name="T10" fmla="*/ 4 w 4"/>
                  <a:gd name="T11" fmla="*/ 2 h 83"/>
                  <a:gd name="T12" fmla="*/ 2 w 4"/>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4" h="83">
                    <a:moveTo>
                      <a:pt x="2" y="0"/>
                    </a:moveTo>
                    <a:cubicBezTo>
                      <a:pt x="1" y="0"/>
                      <a:pt x="0" y="1"/>
                      <a:pt x="0" y="2"/>
                    </a:cubicBezTo>
                    <a:cubicBezTo>
                      <a:pt x="0" y="81"/>
                      <a:pt x="0" y="81"/>
                      <a:pt x="0" y="81"/>
                    </a:cubicBezTo>
                    <a:cubicBezTo>
                      <a:pt x="0" y="82"/>
                      <a:pt x="1" y="83"/>
                      <a:pt x="2" y="83"/>
                    </a:cubicBezTo>
                    <a:cubicBezTo>
                      <a:pt x="3" y="83"/>
                      <a:pt x="4" y="82"/>
                      <a:pt x="4" y="81"/>
                    </a:cubicBezTo>
                    <a:cubicBezTo>
                      <a:pt x="4" y="2"/>
                      <a:pt x="4" y="2"/>
                      <a:pt x="4" y="2"/>
                    </a:cubicBezTo>
                    <a:cubicBezTo>
                      <a:pt x="4" y="1"/>
                      <a:pt x="3" y="0"/>
                      <a:pt x="2" y="0"/>
                    </a:cubicBezTo>
                  </a:path>
                </a:pathLst>
              </a:custGeom>
              <a:solidFill>
                <a:srgbClr val="6E8F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7" name="iśḻîḍè">
                <a:extLst>
                  <a:ext uri="{FF2B5EF4-FFF2-40B4-BE49-F238E27FC236}">
                    <a16:creationId xmlns:a16="http://schemas.microsoft.com/office/drawing/2014/main" id="{BAE32B92-21E9-3547-83D7-5CBFE8FC975B}"/>
                  </a:ext>
                </a:extLst>
              </p:cNvPr>
              <p:cNvSpPr/>
              <p:nvPr/>
            </p:nvSpPr>
            <p:spPr bwMode="auto">
              <a:xfrm>
                <a:off x="7516144" y="2704437"/>
                <a:ext cx="11041" cy="237381"/>
              </a:xfrm>
              <a:custGeom>
                <a:avLst/>
                <a:gdLst>
                  <a:gd name="T0" fmla="*/ 2 w 4"/>
                  <a:gd name="T1" fmla="*/ 0 h 83"/>
                  <a:gd name="T2" fmla="*/ 0 w 4"/>
                  <a:gd name="T3" fmla="*/ 2 h 83"/>
                  <a:gd name="T4" fmla="*/ 0 w 4"/>
                  <a:gd name="T5" fmla="*/ 81 h 83"/>
                  <a:gd name="T6" fmla="*/ 2 w 4"/>
                  <a:gd name="T7" fmla="*/ 83 h 83"/>
                  <a:gd name="T8" fmla="*/ 4 w 4"/>
                  <a:gd name="T9" fmla="*/ 81 h 83"/>
                  <a:gd name="T10" fmla="*/ 4 w 4"/>
                  <a:gd name="T11" fmla="*/ 2 h 83"/>
                  <a:gd name="T12" fmla="*/ 2 w 4"/>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4" h="83">
                    <a:moveTo>
                      <a:pt x="2" y="0"/>
                    </a:moveTo>
                    <a:cubicBezTo>
                      <a:pt x="1" y="0"/>
                      <a:pt x="0" y="1"/>
                      <a:pt x="0" y="2"/>
                    </a:cubicBezTo>
                    <a:cubicBezTo>
                      <a:pt x="0" y="81"/>
                      <a:pt x="0" y="81"/>
                      <a:pt x="0" y="81"/>
                    </a:cubicBezTo>
                    <a:cubicBezTo>
                      <a:pt x="0" y="82"/>
                      <a:pt x="1" y="83"/>
                      <a:pt x="2" y="83"/>
                    </a:cubicBezTo>
                    <a:cubicBezTo>
                      <a:pt x="3" y="83"/>
                      <a:pt x="4" y="82"/>
                      <a:pt x="4" y="81"/>
                    </a:cubicBezTo>
                    <a:cubicBezTo>
                      <a:pt x="4" y="2"/>
                      <a:pt x="4" y="2"/>
                      <a:pt x="4" y="2"/>
                    </a:cubicBezTo>
                    <a:cubicBezTo>
                      <a:pt x="4" y="1"/>
                      <a:pt x="3" y="0"/>
                      <a:pt x="2" y="0"/>
                    </a:cubicBezTo>
                  </a:path>
                </a:pathLst>
              </a:custGeom>
              <a:solidFill>
                <a:srgbClr val="6E8F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8" name="ïS1ïḑé">
                <a:extLst>
                  <a:ext uri="{FF2B5EF4-FFF2-40B4-BE49-F238E27FC236}">
                    <a16:creationId xmlns:a16="http://schemas.microsoft.com/office/drawing/2014/main" id="{FF605402-FED9-1248-8642-EDC04311E8F5}"/>
                  </a:ext>
                </a:extLst>
              </p:cNvPr>
              <p:cNvSpPr/>
              <p:nvPr/>
            </p:nvSpPr>
            <p:spPr bwMode="auto">
              <a:xfrm>
                <a:off x="7549267" y="2704437"/>
                <a:ext cx="12422" cy="237381"/>
              </a:xfrm>
              <a:custGeom>
                <a:avLst/>
                <a:gdLst>
                  <a:gd name="T0" fmla="*/ 2 w 4"/>
                  <a:gd name="T1" fmla="*/ 0 h 83"/>
                  <a:gd name="T2" fmla="*/ 0 w 4"/>
                  <a:gd name="T3" fmla="*/ 2 h 83"/>
                  <a:gd name="T4" fmla="*/ 0 w 4"/>
                  <a:gd name="T5" fmla="*/ 81 h 83"/>
                  <a:gd name="T6" fmla="*/ 2 w 4"/>
                  <a:gd name="T7" fmla="*/ 83 h 83"/>
                  <a:gd name="T8" fmla="*/ 4 w 4"/>
                  <a:gd name="T9" fmla="*/ 82 h 83"/>
                  <a:gd name="T10" fmla="*/ 4 w 4"/>
                  <a:gd name="T11" fmla="*/ 1 h 83"/>
                  <a:gd name="T12" fmla="*/ 2 w 4"/>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4" h="83">
                    <a:moveTo>
                      <a:pt x="2" y="0"/>
                    </a:moveTo>
                    <a:cubicBezTo>
                      <a:pt x="1" y="0"/>
                      <a:pt x="0" y="1"/>
                      <a:pt x="0" y="2"/>
                    </a:cubicBezTo>
                    <a:cubicBezTo>
                      <a:pt x="0" y="81"/>
                      <a:pt x="0" y="81"/>
                      <a:pt x="0" y="81"/>
                    </a:cubicBezTo>
                    <a:cubicBezTo>
                      <a:pt x="0" y="82"/>
                      <a:pt x="1" y="83"/>
                      <a:pt x="2" y="83"/>
                    </a:cubicBezTo>
                    <a:cubicBezTo>
                      <a:pt x="3" y="83"/>
                      <a:pt x="3" y="83"/>
                      <a:pt x="4" y="82"/>
                    </a:cubicBezTo>
                    <a:cubicBezTo>
                      <a:pt x="4" y="1"/>
                      <a:pt x="4" y="1"/>
                      <a:pt x="4" y="1"/>
                    </a:cubicBezTo>
                    <a:cubicBezTo>
                      <a:pt x="3" y="1"/>
                      <a:pt x="3" y="0"/>
                      <a:pt x="2" y="0"/>
                    </a:cubicBezTo>
                  </a:path>
                </a:pathLst>
              </a:custGeom>
              <a:solidFill>
                <a:srgbClr val="6E8F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9" name="íşḻíḑê">
                <a:extLst>
                  <a:ext uri="{FF2B5EF4-FFF2-40B4-BE49-F238E27FC236}">
                    <a16:creationId xmlns:a16="http://schemas.microsoft.com/office/drawing/2014/main" id="{4EDAF847-4282-6E4F-ABA6-77CDB857A808}"/>
                  </a:ext>
                </a:extLst>
              </p:cNvPr>
              <p:cNvSpPr/>
              <p:nvPr/>
            </p:nvSpPr>
            <p:spPr bwMode="auto">
              <a:xfrm>
                <a:off x="7561688" y="2696157"/>
                <a:ext cx="133872" cy="256702"/>
              </a:xfrm>
              <a:custGeom>
                <a:avLst/>
                <a:gdLst>
                  <a:gd name="T0" fmla="*/ 11 w 47"/>
                  <a:gd name="T1" fmla="*/ 86 h 90"/>
                  <a:gd name="T2" fmla="*/ 8 w 47"/>
                  <a:gd name="T3" fmla="*/ 84 h 90"/>
                  <a:gd name="T4" fmla="*/ 8 w 47"/>
                  <a:gd name="T5" fmla="*/ 5 h 90"/>
                  <a:gd name="T6" fmla="*/ 11 w 47"/>
                  <a:gd name="T7" fmla="*/ 3 h 90"/>
                  <a:gd name="T8" fmla="*/ 13 w 47"/>
                  <a:gd name="T9" fmla="*/ 5 h 90"/>
                  <a:gd name="T10" fmla="*/ 13 w 47"/>
                  <a:gd name="T11" fmla="*/ 84 h 90"/>
                  <a:gd name="T12" fmla="*/ 11 w 47"/>
                  <a:gd name="T13" fmla="*/ 86 h 90"/>
                  <a:gd name="T14" fmla="*/ 23 w 47"/>
                  <a:gd name="T15" fmla="*/ 86 h 90"/>
                  <a:gd name="T16" fmla="*/ 21 w 47"/>
                  <a:gd name="T17" fmla="*/ 84 h 90"/>
                  <a:gd name="T18" fmla="*/ 21 w 47"/>
                  <a:gd name="T19" fmla="*/ 5 h 90"/>
                  <a:gd name="T20" fmla="*/ 23 w 47"/>
                  <a:gd name="T21" fmla="*/ 3 h 90"/>
                  <a:gd name="T22" fmla="*/ 25 w 47"/>
                  <a:gd name="T23" fmla="*/ 5 h 90"/>
                  <a:gd name="T24" fmla="*/ 25 w 47"/>
                  <a:gd name="T25" fmla="*/ 84 h 90"/>
                  <a:gd name="T26" fmla="*/ 23 w 47"/>
                  <a:gd name="T27" fmla="*/ 86 h 90"/>
                  <a:gd name="T28" fmla="*/ 35 w 47"/>
                  <a:gd name="T29" fmla="*/ 86 h 90"/>
                  <a:gd name="T30" fmla="*/ 33 w 47"/>
                  <a:gd name="T31" fmla="*/ 84 h 90"/>
                  <a:gd name="T32" fmla="*/ 33 w 47"/>
                  <a:gd name="T33" fmla="*/ 5 h 90"/>
                  <a:gd name="T34" fmla="*/ 35 w 47"/>
                  <a:gd name="T35" fmla="*/ 3 h 90"/>
                  <a:gd name="T36" fmla="*/ 37 w 47"/>
                  <a:gd name="T37" fmla="*/ 5 h 90"/>
                  <a:gd name="T38" fmla="*/ 37 w 47"/>
                  <a:gd name="T39" fmla="*/ 84 h 90"/>
                  <a:gd name="T40" fmla="*/ 35 w 47"/>
                  <a:gd name="T41" fmla="*/ 86 h 90"/>
                  <a:gd name="T42" fmla="*/ 47 w 47"/>
                  <a:gd name="T43" fmla="*/ 0 h 90"/>
                  <a:gd name="T44" fmla="*/ 0 w 47"/>
                  <a:gd name="T45" fmla="*/ 0 h 90"/>
                  <a:gd name="T46" fmla="*/ 0 w 47"/>
                  <a:gd name="T47" fmla="*/ 4 h 90"/>
                  <a:gd name="T48" fmla="*/ 1 w 47"/>
                  <a:gd name="T49" fmla="*/ 5 h 90"/>
                  <a:gd name="T50" fmla="*/ 1 w 47"/>
                  <a:gd name="T51" fmla="*/ 84 h 90"/>
                  <a:gd name="T52" fmla="*/ 0 w 47"/>
                  <a:gd name="T53" fmla="*/ 85 h 90"/>
                  <a:gd name="T54" fmla="*/ 0 w 47"/>
                  <a:gd name="T55" fmla="*/ 90 h 90"/>
                  <a:gd name="T56" fmla="*/ 47 w 47"/>
                  <a:gd name="T57" fmla="*/ 90 h 90"/>
                  <a:gd name="T58" fmla="*/ 47 w 47"/>
                  <a:gd name="T5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7" h="90">
                    <a:moveTo>
                      <a:pt x="11" y="86"/>
                    </a:moveTo>
                    <a:cubicBezTo>
                      <a:pt x="9" y="86"/>
                      <a:pt x="8" y="85"/>
                      <a:pt x="8" y="84"/>
                    </a:cubicBezTo>
                    <a:cubicBezTo>
                      <a:pt x="8" y="5"/>
                      <a:pt x="8" y="5"/>
                      <a:pt x="8" y="5"/>
                    </a:cubicBezTo>
                    <a:cubicBezTo>
                      <a:pt x="8" y="4"/>
                      <a:pt x="9" y="3"/>
                      <a:pt x="11" y="3"/>
                    </a:cubicBezTo>
                    <a:cubicBezTo>
                      <a:pt x="12" y="3"/>
                      <a:pt x="13" y="4"/>
                      <a:pt x="13" y="5"/>
                    </a:cubicBezTo>
                    <a:cubicBezTo>
                      <a:pt x="13" y="84"/>
                      <a:pt x="13" y="84"/>
                      <a:pt x="13" y="84"/>
                    </a:cubicBezTo>
                    <a:cubicBezTo>
                      <a:pt x="13" y="85"/>
                      <a:pt x="12" y="86"/>
                      <a:pt x="11" y="86"/>
                    </a:cubicBezTo>
                    <a:moveTo>
                      <a:pt x="23" y="86"/>
                    </a:moveTo>
                    <a:cubicBezTo>
                      <a:pt x="22" y="86"/>
                      <a:pt x="21" y="85"/>
                      <a:pt x="21" y="84"/>
                    </a:cubicBezTo>
                    <a:cubicBezTo>
                      <a:pt x="21" y="5"/>
                      <a:pt x="21" y="5"/>
                      <a:pt x="21" y="5"/>
                    </a:cubicBezTo>
                    <a:cubicBezTo>
                      <a:pt x="21" y="4"/>
                      <a:pt x="22" y="3"/>
                      <a:pt x="23" y="3"/>
                    </a:cubicBezTo>
                    <a:cubicBezTo>
                      <a:pt x="24" y="3"/>
                      <a:pt x="25" y="4"/>
                      <a:pt x="25" y="5"/>
                    </a:cubicBezTo>
                    <a:cubicBezTo>
                      <a:pt x="25" y="84"/>
                      <a:pt x="25" y="84"/>
                      <a:pt x="25" y="84"/>
                    </a:cubicBezTo>
                    <a:cubicBezTo>
                      <a:pt x="25" y="85"/>
                      <a:pt x="24" y="86"/>
                      <a:pt x="23" y="86"/>
                    </a:cubicBezTo>
                    <a:moveTo>
                      <a:pt x="35" y="86"/>
                    </a:moveTo>
                    <a:cubicBezTo>
                      <a:pt x="34" y="86"/>
                      <a:pt x="33" y="85"/>
                      <a:pt x="33" y="84"/>
                    </a:cubicBezTo>
                    <a:cubicBezTo>
                      <a:pt x="33" y="5"/>
                      <a:pt x="33" y="5"/>
                      <a:pt x="33" y="5"/>
                    </a:cubicBezTo>
                    <a:cubicBezTo>
                      <a:pt x="33" y="4"/>
                      <a:pt x="34" y="3"/>
                      <a:pt x="35" y="3"/>
                    </a:cubicBezTo>
                    <a:cubicBezTo>
                      <a:pt x="36" y="3"/>
                      <a:pt x="37" y="4"/>
                      <a:pt x="37" y="5"/>
                    </a:cubicBezTo>
                    <a:cubicBezTo>
                      <a:pt x="37" y="84"/>
                      <a:pt x="37" y="84"/>
                      <a:pt x="37" y="84"/>
                    </a:cubicBezTo>
                    <a:cubicBezTo>
                      <a:pt x="37" y="85"/>
                      <a:pt x="36" y="86"/>
                      <a:pt x="35" y="86"/>
                    </a:cubicBezTo>
                    <a:moveTo>
                      <a:pt x="47" y="0"/>
                    </a:moveTo>
                    <a:cubicBezTo>
                      <a:pt x="0" y="0"/>
                      <a:pt x="0" y="0"/>
                      <a:pt x="0" y="0"/>
                    </a:cubicBezTo>
                    <a:cubicBezTo>
                      <a:pt x="0" y="4"/>
                      <a:pt x="0" y="4"/>
                      <a:pt x="0" y="4"/>
                    </a:cubicBezTo>
                    <a:cubicBezTo>
                      <a:pt x="0" y="4"/>
                      <a:pt x="1" y="5"/>
                      <a:pt x="1" y="5"/>
                    </a:cubicBezTo>
                    <a:cubicBezTo>
                      <a:pt x="1" y="84"/>
                      <a:pt x="1" y="84"/>
                      <a:pt x="1" y="84"/>
                    </a:cubicBezTo>
                    <a:cubicBezTo>
                      <a:pt x="1" y="84"/>
                      <a:pt x="0" y="85"/>
                      <a:pt x="0" y="85"/>
                    </a:cubicBezTo>
                    <a:cubicBezTo>
                      <a:pt x="0" y="90"/>
                      <a:pt x="0" y="90"/>
                      <a:pt x="0" y="90"/>
                    </a:cubicBezTo>
                    <a:cubicBezTo>
                      <a:pt x="47" y="90"/>
                      <a:pt x="47" y="90"/>
                      <a:pt x="47" y="90"/>
                    </a:cubicBezTo>
                    <a:cubicBezTo>
                      <a:pt x="47" y="0"/>
                      <a:pt x="47" y="0"/>
                      <a:pt x="47" y="0"/>
                    </a:cubicBezTo>
                  </a:path>
                </a:pathLst>
              </a:custGeom>
              <a:solidFill>
                <a:srgbClr val="4C6CB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0" name="î$ḻíḓè">
                <a:extLst>
                  <a:ext uri="{FF2B5EF4-FFF2-40B4-BE49-F238E27FC236}">
                    <a16:creationId xmlns:a16="http://schemas.microsoft.com/office/drawing/2014/main" id="{1B683108-1F43-6A4D-BF0F-FF5300E80739}"/>
                  </a:ext>
                </a:extLst>
              </p:cNvPr>
              <p:cNvSpPr/>
              <p:nvPr/>
            </p:nvSpPr>
            <p:spPr bwMode="auto">
              <a:xfrm>
                <a:off x="7561688" y="2707198"/>
                <a:ext cx="2760" cy="231860"/>
              </a:xfrm>
              <a:custGeom>
                <a:avLst/>
                <a:gdLst>
                  <a:gd name="T0" fmla="*/ 0 w 1"/>
                  <a:gd name="T1" fmla="*/ 0 h 81"/>
                  <a:gd name="T2" fmla="*/ 0 w 1"/>
                  <a:gd name="T3" fmla="*/ 81 h 81"/>
                  <a:gd name="T4" fmla="*/ 1 w 1"/>
                  <a:gd name="T5" fmla="*/ 80 h 81"/>
                  <a:gd name="T6" fmla="*/ 1 w 1"/>
                  <a:gd name="T7" fmla="*/ 1 h 81"/>
                  <a:gd name="T8" fmla="*/ 0 w 1"/>
                  <a:gd name="T9" fmla="*/ 0 h 81"/>
                </a:gdLst>
                <a:ahLst/>
                <a:cxnLst>
                  <a:cxn ang="0">
                    <a:pos x="T0" y="T1"/>
                  </a:cxn>
                  <a:cxn ang="0">
                    <a:pos x="T2" y="T3"/>
                  </a:cxn>
                  <a:cxn ang="0">
                    <a:pos x="T4" y="T5"/>
                  </a:cxn>
                  <a:cxn ang="0">
                    <a:pos x="T6" y="T7"/>
                  </a:cxn>
                  <a:cxn ang="0">
                    <a:pos x="T8" y="T9"/>
                  </a:cxn>
                </a:cxnLst>
                <a:rect l="0" t="0" r="r" b="b"/>
                <a:pathLst>
                  <a:path w="1" h="81">
                    <a:moveTo>
                      <a:pt x="0" y="0"/>
                    </a:moveTo>
                    <a:cubicBezTo>
                      <a:pt x="0" y="81"/>
                      <a:pt x="0" y="81"/>
                      <a:pt x="0" y="81"/>
                    </a:cubicBezTo>
                    <a:cubicBezTo>
                      <a:pt x="0" y="81"/>
                      <a:pt x="1" y="80"/>
                      <a:pt x="1" y="80"/>
                    </a:cubicBezTo>
                    <a:cubicBezTo>
                      <a:pt x="1" y="1"/>
                      <a:pt x="1" y="1"/>
                      <a:pt x="1" y="1"/>
                    </a:cubicBezTo>
                    <a:cubicBezTo>
                      <a:pt x="1" y="1"/>
                      <a:pt x="0" y="0"/>
                      <a:pt x="0" y="0"/>
                    </a:cubicBezTo>
                  </a:path>
                </a:pathLst>
              </a:custGeom>
              <a:solidFill>
                <a:srgbClr val="5E7A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1" name="íŝḻîḋê">
                <a:extLst>
                  <a:ext uri="{FF2B5EF4-FFF2-40B4-BE49-F238E27FC236}">
                    <a16:creationId xmlns:a16="http://schemas.microsoft.com/office/drawing/2014/main" id="{69FB5DD9-7F15-3440-BE01-4429E328067A}"/>
                  </a:ext>
                </a:extLst>
              </p:cNvPr>
              <p:cNvSpPr/>
              <p:nvPr/>
            </p:nvSpPr>
            <p:spPr bwMode="auto">
              <a:xfrm>
                <a:off x="7583770" y="2704437"/>
                <a:ext cx="15182" cy="237381"/>
              </a:xfrm>
              <a:custGeom>
                <a:avLst/>
                <a:gdLst>
                  <a:gd name="T0" fmla="*/ 3 w 5"/>
                  <a:gd name="T1" fmla="*/ 0 h 83"/>
                  <a:gd name="T2" fmla="*/ 0 w 5"/>
                  <a:gd name="T3" fmla="*/ 2 h 83"/>
                  <a:gd name="T4" fmla="*/ 0 w 5"/>
                  <a:gd name="T5" fmla="*/ 81 h 83"/>
                  <a:gd name="T6" fmla="*/ 3 w 5"/>
                  <a:gd name="T7" fmla="*/ 83 h 83"/>
                  <a:gd name="T8" fmla="*/ 5 w 5"/>
                  <a:gd name="T9" fmla="*/ 81 h 83"/>
                  <a:gd name="T10" fmla="*/ 5 w 5"/>
                  <a:gd name="T11" fmla="*/ 2 h 83"/>
                  <a:gd name="T12" fmla="*/ 3 w 5"/>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5" h="83">
                    <a:moveTo>
                      <a:pt x="3" y="0"/>
                    </a:moveTo>
                    <a:cubicBezTo>
                      <a:pt x="1" y="0"/>
                      <a:pt x="0" y="1"/>
                      <a:pt x="0" y="2"/>
                    </a:cubicBezTo>
                    <a:cubicBezTo>
                      <a:pt x="0" y="81"/>
                      <a:pt x="0" y="81"/>
                      <a:pt x="0" y="81"/>
                    </a:cubicBezTo>
                    <a:cubicBezTo>
                      <a:pt x="0" y="82"/>
                      <a:pt x="1" y="83"/>
                      <a:pt x="3" y="83"/>
                    </a:cubicBezTo>
                    <a:cubicBezTo>
                      <a:pt x="4" y="83"/>
                      <a:pt x="5" y="82"/>
                      <a:pt x="5" y="81"/>
                    </a:cubicBezTo>
                    <a:cubicBezTo>
                      <a:pt x="5" y="2"/>
                      <a:pt x="5" y="2"/>
                      <a:pt x="5" y="2"/>
                    </a:cubicBezTo>
                    <a:cubicBezTo>
                      <a:pt x="5" y="1"/>
                      <a:pt x="4" y="0"/>
                      <a:pt x="3" y="0"/>
                    </a:cubicBezTo>
                  </a:path>
                </a:pathLst>
              </a:custGeom>
              <a:solidFill>
                <a:srgbClr val="5E7A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2" name="íS1íḍé">
                <a:extLst>
                  <a:ext uri="{FF2B5EF4-FFF2-40B4-BE49-F238E27FC236}">
                    <a16:creationId xmlns:a16="http://schemas.microsoft.com/office/drawing/2014/main" id="{F9F5567F-9E76-8240-A991-153C6DE77DFB}"/>
                  </a:ext>
                </a:extLst>
              </p:cNvPr>
              <p:cNvSpPr/>
              <p:nvPr/>
            </p:nvSpPr>
            <p:spPr bwMode="auto">
              <a:xfrm>
                <a:off x="7621033" y="2704437"/>
                <a:ext cx="12422" cy="237381"/>
              </a:xfrm>
              <a:custGeom>
                <a:avLst/>
                <a:gdLst>
                  <a:gd name="T0" fmla="*/ 2 w 4"/>
                  <a:gd name="T1" fmla="*/ 0 h 83"/>
                  <a:gd name="T2" fmla="*/ 0 w 4"/>
                  <a:gd name="T3" fmla="*/ 2 h 83"/>
                  <a:gd name="T4" fmla="*/ 0 w 4"/>
                  <a:gd name="T5" fmla="*/ 81 h 83"/>
                  <a:gd name="T6" fmla="*/ 2 w 4"/>
                  <a:gd name="T7" fmla="*/ 83 h 83"/>
                  <a:gd name="T8" fmla="*/ 4 w 4"/>
                  <a:gd name="T9" fmla="*/ 81 h 83"/>
                  <a:gd name="T10" fmla="*/ 4 w 4"/>
                  <a:gd name="T11" fmla="*/ 2 h 83"/>
                  <a:gd name="T12" fmla="*/ 2 w 4"/>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4" h="83">
                    <a:moveTo>
                      <a:pt x="2" y="0"/>
                    </a:moveTo>
                    <a:cubicBezTo>
                      <a:pt x="1" y="0"/>
                      <a:pt x="0" y="1"/>
                      <a:pt x="0" y="2"/>
                    </a:cubicBezTo>
                    <a:cubicBezTo>
                      <a:pt x="0" y="81"/>
                      <a:pt x="0" y="81"/>
                      <a:pt x="0" y="81"/>
                    </a:cubicBezTo>
                    <a:cubicBezTo>
                      <a:pt x="0" y="82"/>
                      <a:pt x="1" y="83"/>
                      <a:pt x="2" y="83"/>
                    </a:cubicBezTo>
                    <a:cubicBezTo>
                      <a:pt x="3" y="83"/>
                      <a:pt x="4" y="82"/>
                      <a:pt x="4" y="81"/>
                    </a:cubicBezTo>
                    <a:cubicBezTo>
                      <a:pt x="4" y="2"/>
                      <a:pt x="4" y="2"/>
                      <a:pt x="4" y="2"/>
                    </a:cubicBezTo>
                    <a:cubicBezTo>
                      <a:pt x="4" y="1"/>
                      <a:pt x="3" y="0"/>
                      <a:pt x="2" y="0"/>
                    </a:cubicBezTo>
                  </a:path>
                </a:pathLst>
              </a:custGeom>
              <a:solidFill>
                <a:srgbClr val="5E7A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3" name="îṧḷïdè">
                <a:extLst>
                  <a:ext uri="{FF2B5EF4-FFF2-40B4-BE49-F238E27FC236}">
                    <a16:creationId xmlns:a16="http://schemas.microsoft.com/office/drawing/2014/main" id="{94DDA3B9-4B32-AA4F-9F1C-70F6ABDCE90C}"/>
                  </a:ext>
                </a:extLst>
              </p:cNvPr>
              <p:cNvSpPr/>
              <p:nvPr/>
            </p:nvSpPr>
            <p:spPr bwMode="auto">
              <a:xfrm>
                <a:off x="7655536" y="2704437"/>
                <a:ext cx="12422" cy="237381"/>
              </a:xfrm>
              <a:custGeom>
                <a:avLst/>
                <a:gdLst>
                  <a:gd name="T0" fmla="*/ 2 w 4"/>
                  <a:gd name="T1" fmla="*/ 0 h 83"/>
                  <a:gd name="T2" fmla="*/ 0 w 4"/>
                  <a:gd name="T3" fmla="*/ 2 h 83"/>
                  <a:gd name="T4" fmla="*/ 0 w 4"/>
                  <a:gd name="T5" fmla="*/ 81 h 83"/>
                  <a:gd name="T6" fmla="*/ 2 w 4"/>
                  <a:gd name="T7" fmla="*/ 83 h 83"/>
                  <a:gd name="T8" fmla="*/ 4 w 4"/>
                  <a:gd name="T9" fmla="*/ 81 h 83"/>
                  <a:gd name="T10" fmla="*/ 4 w 4"/>
                  <a:gd name="T11" fmla="*/ 2 h 83"/>
                  <a:gd name="T12" fmla="*/ 2 w 4"/>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4" h="83">
                    <a:moveTo>
                      <a:pt x="2" y="0"/>
                    </a:moveTo>
                    <a:cubicBezTo>
                      <a:pt x="1" y="0"/>
                      <a:pt x="0" y="1"/>
                      <a:pt x="0" y="2"/>
                    </a:cubicBezTo>
                    <a:cubicBezTo>
                      <a:pt x="0" y="81"/>
                      <a:pt x="0" y="81"/>
                      <a:pt x="0" y="81"/>
                    </a:cubicBezTo>
                    <a:cubicBezTo>
                      <a:pt x="0" y="82"/>
                      <a:pt x="1" y="83"/>
                      <a:pt x="2" y="83"/>
                    </a:cubicBezTo>
                    <a:cubicBezTo>
                      <a:pt x="3" y="83"/>
                      <a:pt x="4" y="82"/>
                      <a:pt x="4" y="81"/>
                    </a:cubicBezTo>
                    <a:cubicBezTo>
                      <a:pt x="4" y="2"/>
                      <a:pt x="4" y="2"/>
                      <a:pt x="4" y="2"/>
                    </a:cubicBezTo>
                    <a:cubicBezTo>
                      <a:pt x="4" y="1"/>
                      <a:pt x="3" y="0"/>
                      <a:pt x="2" y="0"/>
                    </a:cubicBezTo>
                  </a:path>
                </a:pathLst>
              </a:custGeom>
              <a:solidFill>
                <a:srgbClr val="5E7A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4" name="ïṧḻîḋè">
                <a:extLst>
                  <a:ext uri="{FF2B5EF4-FFF2-40B4-BE49-F238E27FC236}">
                    <a16:creationId xmlns:a16="http://schemas.microsoft.com/office/drawing/2014/main" id="{4B1712DF-EF55-504C-BFE5-523AA523E419}"/>
                  </a:ext>
                </a:extLst>
              </p:cNvPr>
              <p:cNvSpPr/>
              <p:nvPr/>
            </p:nvSpPr>
            <p:spPr bwMode="auto">
              <a:xfrm>
                <a:off x="8048870" y="2845210"/>
                <a:ext cx="436118" cy="597592"/>
              </a:xfrm>
              <a:prstGeom prst="rect">
                <a:avLst/>
              </a:prstGeom>
              <a:solidFill>
                <a:srgbClr val="597FD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745" name="íṥļîḍè">
                <a:extLst>
                  <a:ext uri="{FF2B5EF4-FFF2-40B4-BE49-F238E27FC236}">
                    <a16:creationId xmlns:a16="http://schemas.microsoft.com/office/drawing/2014/main" id="{BD62DAA4-AF2B-DB48-8992-CF96F04F6CAB}"/>
                  </a:ext>
                </a:extLst>
              </p:cNvPr>
              <p:cNvSpPr/>
              <p:nvPr/>
            </p:nvSpPr>
            <p:spPr bwMode="auto">
              <a:xfrm>
                <a:off x="8048870" y="2845210"/>
                <a:ext cx="436118" cy="597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746" name="iṣľîḍé">
                <a:extLst>
                  <a:ext uri="{FF2B5EF4-FFF2-40B4-BE49-F238E27FC236}">
                    <a16:creationId xmlns:a16="http://schemas.microsoft.com/office/drawing/2014/main" id="{A22560A9-AAE5-4A44-8719-B3D36F327DA2}"/>
                  </a:ext>
                </a:extLst>
              </p:cNvPr>
              <p:cNvSpPr/>
              <p:nvPr/>
            </p:nvSpPr>
            <p:spPr bwMode="auto">
              <a:xfrm>
                <a:off x="8097175" y="2896275"/>
                <a:ext cx="63486" cy="103509"/>
              </a:xfrm>
              <a:custGeom>
                <a:avLst/>
                <a:gdLst>
                  <a:gd name="T0" fmla="*/ 15 w 22"/>
                  <a:gd name="T1" fmla="*/ 36 h 36"/>
                  <a:gd name="T2" fmla="*/ 7 w 22"/>
                  <a:gd name="T3" fmla="*/ 36 h 36"/>
                  <a:gd name="T4" fmla="*/ 0 w 22"/>
                  <a:gd name="T5" fmla="*/ 29 h 36"/>
                  <a:gd name="T6" fmla="*/ 0 w 22"/>
                  <a:gd name="T7" fmla="*/ 7 h 36"/>
                  <a:gd name="T8" fmla="*/ 7 w 22"/>
                  <a:gd name="T9" fmla="*/ 0 h 36"/>
                  <a:gd name="T10" fmla="*/ 15 w 22"/>
                  <a:gd name="T11" fmla="*/ 0 h 36"/>
                  <a:gd name="T12" fmla="*/ 22 w 22"/>
                  <a:gd name="T13" fmla="*/ 7 h 36"/>
                  <a:gd name="T14" fmla="*/ 22 w 22"/>
                  <a:gd name="T15" fmla="*/ 29 h 36"/>
                  <a:gd name="T16" fmla="*/ 15 w 22"/>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36">
                    <a:moveTo>
                      <a:pt x="15" y="36"/>
                    </a:moveTo>
                    <a:cubicBezTo>
                      <a:pt x="7" y="36"/>
                      <a:pt x="7" y="36"/>
                      <a:pt x="7" y="36"/>
                    </a:cubicBezTo>
                    <a:cubicBezTo>
                      <a:pt x="3" y="36"/>
                      <a:pt x="0" y="33"/>
                      <a:pt x="0" y="29"/>
                    </a:cubicBezTo>
                    <a:cubicBezTo>
                      <a:pt x="0" y="7"/>
                      <a:pt x="0" y="7"/>
                      <a:pt x="0" y="7"/>
                    </a:cubicBezTo>
                    <a:cubicBezTo>
                      <a:pt x="0" y="3"/>
                      <a:pt x="3" y="0"/>
                      <a:pt x="7" y="0"/>
                    </a:cubicBezTo>
                    <a:cubicBezTo>
                      <a:pt x="15" y="0"/>
                      <a:pt x="15" y="0"/>
                      <a:pt x="15" y="0"/>
                    </a:cubicBezTo>
                    <a:cubicBezTo>
                      <a:pt x="19" y="0"/>
                      <a:pt x="22" y="3"/>
                      <a:pt x="22" y="7"/>
                    </a:cubicBezTo>
                    <a:cubicBezTo>
                      <a:pt x="22" y="29"/>
                      <a:pt x="22" y="29"/>
                      <a:pt x="22" y="29"/>
                    </a:cubicBezTo>
                    <a:cubicBezTo>
                      <a:pt x="22" y="33"/>
                      <a:pt x="19" y="36"/>
                      <a:pt x="15" y="36"/>
                    </a:cubicBezTo>
                  </a:path>
                </a:pathLst>
              </a:custGeom>
              <a:solidFill>
                <a:srgbClr val="BFCEE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7" name="íṡḷíḓé">
                <a:extLst>
                  <a:ext uri="{FF2B5EF4-FFF2-40B4-BE49-F238E27FC236}">
                    <a16:creationId xmlns:a16="http://schemas.microsoft.com/office/drawing/2014/main" id="{3DBE9558-D532-6D45-9156-5E78C37B6058}"/>
                  </a:ext>
                </a:extLst>
              </p:cNvPr>
              <p:cNvSpPr/>
              <p:nvPr/>
            </p:nvSpPr>
            <p:spPr bwMode="auto">
              <a:xfrm>
                <a:off x="8102695" y="2990123"/>
                <a:ext cx="52445" cy="9661"/>
              </a:xfrm>
              <a:custGeom>
                <a:avLst/>
                <a:gdLst>
                  <a:gd name="T0" fmla="*/ 0 w 18"/>
                  <a:gd name="T1" fmla="*/ 0 h 3"/>
                  <a:gd name="T2" fmla="*/ 0 w 18"/>
                  <a:gd name="T3" fmla="*/ 3 h 3"/>
                  <a:gd name="T4" fmla="*/ 5 w 18"/>
                  <a:gd name="T5" fmla="*/ 3 h 3"/>
                  <a:gd name="T6" fmla="*/ 0 w 18"/>
                  <a:gd name="T7" fmla="*/ 0 h 3"/>
                  <a:gd name="T8" fmla="*/ 18 w 18"/>
                  <a:gd name="T9" fmla="*/ 0 h 3"/>
                  <a:gd name="T10" fmla="*/ 13 w 18"/>
                  <a:gd name="T11" fmla="*/ 3 h 3"/>
                  <a:gd name="T12" fmla="*/ 18 w 18"/>
                  <a:gd name="T13" fmla="*/ 3 h 3"/>
                  <a:gd name="T14" fmla="*/ 18 w 18"/>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3">
                    <a:moveTo>
                      <a:pt x="0" y="0"/>
                    </a:moveTo>
                    <a:cubicBezTo>
                      <a:pt x="0" y="3"/>
                      <a:pt x="0" y="3"/>
                      <a:pt x="0" y="3"/>
                    </a:cubicBezTo>
                    <a:cubicBezTo>
                      <a:pt x="5" y="3"/>
                      <a:pt x="5" y="3"/>
                      <a:pt x="5" y="3"/>
                    </a:cubicBezTo>
                    <a:cubicBezTo>
                      <a:pt x="3" y="3"/>
                      <a:pt x="1" y="2"/>
                      <a:pt x="0" y="0"/>
                    </a:cubicBezTo>
                    <a:moveTo>
                      <a:pt x="18" y="0"/>
                    </a:moveTo>
                    <a:cubicBezTo>
                      <a:pt x="17" y="2"/>
                      <a:pt x="15" y="3"/>
                      <a:pt x="13" y="3"/>
                    </a:cubicBezTo>
                    <a:cubicBezTo>
                      <a:pt x="18" y="3"/>
                      <a:pt x="18" y="3"/>
                      <a:pt x="18" y="3"/>
                    </a:cubicBezTo>
                    <a:cubicBezTo>
                      <a:pt x="18" y="0"/>
                      <a:pt x="18" y="0"/>
                      <a:pt x="18" y="0"/>
                    </a:cubicBezTo>
                  </a:path>
                </a:pathLst>
              </a:custGeom>
              <a:solidFill>
                <a:srgbClr val="4C6CB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8" name="íšļíḓé">
                <a:extLst>
                  <a:ext uri="{FF2B5EF4-FFF2-40B4-BE49-F238E27FC236}">
                    <a16:creationId xmlns:a16="http://schemas.microsoft.com/office/drawing/2014/main" id="{121B8AE2-9812-8141-BDE1-07AE5BC2D4E5}"/>
                  </a:ext>
                </a:extLst>
              </p:cNvPr>
              <p:cNvSpPr/>
              <p:nvPr/>
            </p:nvSpPr>
            <p:spPr bwMode="auto">
              <a:xfrm>
                <a:off x="8102695" y="2970801"/>
                <a:ext cx="52445" cy="28983"/>
              </a:xfrm>
              <a:custGeom>
                <a:avLst/>
                <a:gdLst>
                  <a:gd name="T0" fmla="*/ 18 w 18"/>
                  <a:gd name="T1" fmla="*/ 0 h 10"/>
                  <a:gd name="T2" fmla="*/ 7 w 18"/>
                  <a:gd name="T3" fmla="*/ 0 h 10"/>
                  <a:gd name="T4" fmla="*/ 3 w 18"/>
                  <a:gd name="T5" fmla="*/ 8 h 10"/>
                  <a:gd name="T6" fmla="*/ 0 w 18"/>
                  <a:gd name="T7" fmla="*/ 6 h 10"/>
                  <a:gd name="T8" fmla="*/ 0 w 18"/>
                  <a:gd name="T9" fmla="*/ 7 h 10"/>
                  <a:gd name="T10" fmla="*/ 5 w 18"/>
                  <a:gd name="T11" fmla="*/ 10 h 10"/>
                  <a:gd name="T12" fmla="*/ 13 w 18"/>
                  <a:gd name="T13" fmla="*/ 10 h 10"/>
                  <a:gd name="T14" fmla="*/ 18 w 18"/>
                  <a:gd name="T15" fmla="*/ 7 h 10"/>
                  <a:gd name="T16" fmla="*/ 18 w 18"/>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0">
                    <a:moveTo>
                      <a:pt x="18" y="0"/>
                    </a:moveTo>
                    <a:cubicBezTo>
                      <a:pt x="7" y="0"/>
                      <a:pt x="7" y="0"/>
                      <a:pt x="7" y="0"/>
                    </a:cubicBezTo>
                    <a:cubicBezTo>
                      <a:pt x="3" y="8"/>
                      <a:pt x="3" y="8"/>
                      <a:pt x="3" y="8"/>
                    </a:cubicBezTo>
                    <a:cubicBezTo>
                      <a:pt x="0" y="6"/>
                      <a:pt x="0" y="6"/>
                      <a:pt x="0" y="6"/>
                    </a:cubicBezTo>
                    <a:cubicBezTo>
                      <a:pt x="0" y="7"/>
                      <a:pt x="0" y="7"/>
                      <a:pt x="0" y="7"/>
                    </a:cubicBezTo>
                    <a:cubicBezTo>
                      <a:pt x="1" y="9"/>
                      <a:pt x="3" y="10"/>
                      <a:pt x="5" y="10"/>
                    </a:cubicBezTo>
                    <a:cubicBezTo>
                      <a:pt x="13" y="10"/>
                      <a:pt x="13" y="10"/>
                      <a:pt x="13" y="10"/>
                    </a:cubicBezTo>
                    <a:cubicBezTo>
                      <a:pt x="15" y="10"/>
                      <a:pt x="17" y="9"/>
                      <a:pt x="18" y="7"/>
                    </a:cubicBezTo>
                    <a:cubicBezTo>
                      <a:pt x="18" y="0"/>
                      <a:pt x="18" y="0"/>
                      <a:pt x="18" y="0"/>
                    </a:cubicBezTo>
                  </a:path>
                </a:pathLst>
              </a:custGeom>
              <a:solidFill>
                <a:srgbClr val="A3AFC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9" name="iṧlîḑe">
                <a:extLst>
                  <a:ext uri="{FF2B5EF4-FFF2-40B4-BE49-F238E27FC236}">
                    <a16:creationId xmlns:a16="http://schemas.microsoft.com/office/drawing/2014/main" id="{7E0E9CEC-9252-474E-AE33-9A60193E12FC}"/>
                  </a:ext>
                </a:extLst>
              </p:cNvPr>
              <p:cNvSpPr/>
              <p:nvPr/>
            </p:nvSpPr>
            <p:spPr bwMode="auto">
              <a:xfrm>
                <a:off x="8091654" y="2907315"/>
                <a:ext cx="69006" cy="77287"/>
              </a:xfrm>
              <a:custGeom>
                <a:avLst/>
                <a:gdLst>
                  <a:gd name="T0" fmla="*/ 2 w 24"/>
                  <a:gd name="T1" fmla="*/ 24 h 27"/>
                  <a:gd name="T2" fmla="*/ 0 w 24"/>
                  <a:gd name="T3" fmla="*/ 26 h 27"/>
                  <a:gd name="T4" fmla="*/ 2 w 24"/>
                  <a:gd name="T5" fmla="*/ 27 h 27"/>
                  <a:gd name="T6" fmla="*/ 2 w 24"/>
                  <a:gd name="T7" fmla="*/ 25 h 27"/>
                  <a:gd name="T8" fmla="*/ 2 w 24"/>
                  <a:gd name="T9" fmla="*/ 24 h 27"/>
                  <a:gd name="T10" fmla="*/ 23 w 24"/>
                  <a:gd name="T11" fmla="*/ 0 h 27"/>
                  <a:gd name="T12" fmla="*/ 24 w 24"/>
                  <a:gd name="T13" fmla="*/ 0 h 27"/>
                  <a:gd name="T14" fmla="*/ 24 w 24"/>
                  <a:gd name="T15" fmla="*/ 0 h 27"/>
                  <a:gd name="T16" fmla="*/ 23 w 24"/>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7">
                    <a:moveTo>
                      <a:pt x="2" y="24"/>
                    </a:moveTo>
                    <a:cubicBezTo>
                      <a:pt x="0" y="26"/>
                      <a:pt x="0" y="26"/>
                      <a:pt x="0" y="26"/>
                    </a:cubicBezTo>
                    <a:cubicBezTo>
                      <a:pt x="2" y="27"/>
                      <a:pt x="2" y="27"/>
                      <a:pt x="2" y="27"/>
                    </a:cubicBezTo>
                    <a:cubicBezTo>
                      <a:pt x="2" y="26"/>
                      <a:pt x="2" y="26"/>
                      <a:pt x="2" y="25"/>
                    </a:cubicBezTo>
                    <a:cubicBezTo>
                      <a:pt x="2" y="24"/>
                      <a:pt x="2" y="24"/>
                      <a:pt x="2" y="24"/>
                    </a:cubicBezTo>
                    <a:moveTo>
                      <a:pt x="23" y="0"/>
                    </a:moveTo>
                    <a:cubicBezTo>
                      <a:pt x="23" y="0"/>
                      <a:pt x="23" y="0"/>
                      <a:pt x="24" y="0"/>
                    </a:cubicBezTo>
                    <a:cubicBezTo>
                      <a:pt x="24" y="0"/>
                      <a:pt x="24" y="0"/>
                      <a:pt x="24" y="0"/>
                    </a:cubicBezTo>
                    <a:cubicBezTo>
                      <a:pt x="23" y="0"/>
                      <a:pt x="23" y="0"/>
                      <a:pt x="23" y="0"/>
                    </a:cubicBezTo>
                  </a:path>
                </a:pathLst>
              </a:custGeom>
              <a:solidFill>
                <a:srgbClr val="A7BBE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0" name="íŝļîdê">
                <a:extLst>
                  <a:ext uri="{FF2B5EF4-FFF2-40B4-BE49-F238E27FC236}">
                    <a16:creationId xmlns:a16="http://schemas.microsoft.com/office/drawing/2014/main" id="{50737E7A-A993-3649-8F51-AC729BD0A0EC}"/>
                  </a:ext>
                </a:extLst>
              </p:cNvPr>
              <p:cNvSpPr/>
              <p:nvPr/>
            </p:nvSpPr>
            <p:spPr bwMode="auto">
              <a:xfrm>
                <a:off x="8097175" y="2896275"/>
                <a:ext cx="63486" cy="91088"/>
              </a:xfrm>
              <a:custGeom>
                <a:avLst/>
                <a:gdLst>
                  <a:gd name="T0" fmla="*/ 15 w 22"/>
                  <a:gd name="T1" fmla="*/ 0 h 32"/>
                  <a:gd name="T2" fmla="*/ 0 w 22"/>
                  <a:gd name="T3" fmla="*/ 28 h 32"/>
                  <a:gd name="T4" fmla="*/ 0 w 22"/>
                  <a:gd name="T5" fmla="*/ 29 h 32"/>
                  <a:gd name="T6" fmla="*/ 0 w 22"/>
                  <a:gd name="T7" fmla="*/ 31 h 32"/>
                  <a:gd name="T8" fmla="*/ 2 w 22"/>
                  <a:gd name="T9" fmla="*/ 32 h 32"/>
                  <a:gd name="T10" fmla="*/ 2 w 22"/>
                  <a:gd name="T11" fmla="*/ 26 h 32"/>
                  <a:gd name="T12" fmla="*/ 9 w 22"/>
                  <a:gd name="T13" fmla="*/ 26 h 32"/>
                  <a:gd name="T14" fmla="*/ 22 w 22"/>
                  <a:gd name="T15" fmla="*/ 4 h 32"/>
                  <a:gd name="T16" fmla="*/ 21 w 22"/>
                  <a:gd name="T17" fmla="*/ 4 h 32"/>
                  <a:gd name="T18" fmla="*/ 15 w 22"/>
                  <a:gd name="T1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32">
                    <a:moveTo>
                      <a:pt x="15" y="0"/>
                    </a:moveTo>
                    <a:cubicBezTo>
                      <a:pt x="0" y="28"/>
                      <a:pt x="0" y="28"/>
                      <a:pt x="0" y="28"/>
                    </a:cubicBezTo>
                    <a:cubicBezTo>
                      <a:pt x="0" y="29"/>
                      <a:pt x="0" y="29"/>
                      <a:pt x="0" y="29"/>
                    </a:cubicBezTo>
                    <a:cubicBezTo>
                      <a:pt x="0" y="30"/>
                      <a:pt x="0" y="30"/>
                      <a:pt x="0" y="31"/>
                    </a:cubicBezTo>
                    <a:cubicBezTo>
                      <a:pt x="2" y="32"/>
                      <a:pt x="2" y="32"/>
                      <a:pt x="2" y="32"/>
                    </a:cubicBezTo>
                    <a:cubicBezTo>
                      <a:pt x="2" y="26"/>
                      <a:pt x="2" y="26"/>
                      <a:pt x="2" y="26"/>
                    </a:cubicBezTo>
                    <a:cubicBezTo>
                      <a:pt x="9" y="26"/>
                      <a:pt x="9" y="26"/>
                      <a:pt x="9" y="26"/>
                    </a:cubicBezTo>
                    <a:cubicBezTo>
                      <a:pt x="22" y="4"/>
                      <a:pt x="22" y="4"/>
                      <a:pt x="22" y="4"/>
                    </a:cubicBezTo>
                    <a:cubicBezTo>
                      <a:pt x="21" y="4"/>
                      <a:pt x="21" y="4"/>
                      <a:pt x="21" y="4"/>
                    </a:cubicBezTo>
                    <a:cubicBezTo>
                      <a:pt x="15" y="0"/>
                      <a:pt x="15" y="0"/>
                      <a:pt x="15" y="0"/>
                    </a:cubicBezTo>
                  </a:path>
                </a:pathLst>
              </a:custGeom>
              <a:solidFill>
                <a:srgbClr val="DAE3F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1" name="iṥļïḋê">
                <a:extLst>
                  <a:ext uri="{FF2B5EF4-FFF2-40B4-BE49-F238E27FC236}">
                    <a16:creationId xmlns:a16="http://schemas.microsoft.com/office/drawing/2014/main" id="{159A08DC-37D9-BC4C-BDE7-6339FD3B2AF5}"/>
                  </a:ext>
                </a:extLst>
              </p:cNvPr>
              <p:cNvSpPr/>
              <p:nvPr/>
            </p:nvSpPr>
            <p:spPr bwMode="auto">
              <a:xfrm>
                <a:off x="8102695" y="2970801"/>
                <a:ext cx="20702" cy="22082"/>
              </a:xfrm>
              <a:custGeom>
                <a:avLst/>
                <a:gdLst>
                  <a:gd name="T0" fmla="*/ 15 w 15"/>
                  <a:gd name="T1" fmla="*/ 0 h 16"/>
                  <a:gd name="T2" fmla="*/ 0 w 15"/>
                  <a:gd name="T3" fmla="*/ 0 h 16"/>
                  <a:gd name="T4" fmla="*/ 0 w 15"/>
                  <a:gd name="T5" fmla="*/ 12 h 16"/>
                  <a:gd name="T6" fmla="*/ 7 w 15"/>
                  <a:gd name="T7" fmla="*/ 16 h 16"/>
                  <a:gd name="T8" fmla="*/ 15 w 15"/>
                  <a:gd name="T9" fmla="*/ 0 h 16"/>
                </a:gdLst>
                <a:ahLst/>
                <a:cxnLst>
                  <a:cxn ang="0">
                    <a:pos x="T0" y="T1"/>
                  </a:cxn>
                  <a:cxn ang="0">
                    <a:pos x="T2" y="T3"/>
                  </a:cxn>
                  <a:cxn ang="0">
                    <a:pos x="T4" y="T5"/>
                  </a:cxn>
                  <a:cxn ang="0">
                    <a:pos x="T6" y="T7"/>
                  </a:cxn>
                  <a:cxn ang="0">
                    <a:pos x="T8" y="T9"/>
                  </a:cxn>
                </a:cxnLst>
                <a:rect l="0" t="0" r="r" b="b"/>
                <a:pathLst>
                  <a:path w="15" h="16">
                    <a:moveTo>
                      <a:pt x="15" y="0"/>
                    </a:moveTo>
                    <a:lnTo>
                      <a:pt x="0" y="0"/>
                    </a:lnTo>
                    <a:lnTo>
                      <a:pt x="0" y="12"/>
                    </a:lnTo>
                    <a:lnTo>
                      <a:pt x="7" y="16"/>
                    </a:lnTo>
                    <a:lnTo>
                      <a:pt x="15" y="0"/>
                    </a:lnTo>
                    <a:close/>
                  </a:path>
                </a:pathLst>
              </a:custGeom>
              <a:solidFill>
                <a:srgbClr val="CCD3E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2" name="išľiḑé">
                <a:extLst>
                  <a:ext uri="{FF2B5EF4-FFF2-40B4-BE49-F238E27FC236}">
                    <a16:creationId xmlns:a16="http://schemas.microsoft.com/office/drawing/2014/main" id="{A3A3B955-CD75-D442-902A-D393B789900C}"/>
                  </a:ext>
                </a:extLst>
              </p:cNvPr>
              <p:cNvSpPr/>
              <p:nvPr/>
            </p:nvSpPr>
            <p:spPr bwMode="auto">
              <a:xfrm>
                <a:off x="8102695" y="2970801"/>
                <a:ext cx="20702" cy="22082"/>
              </a:xfrm>
              <a:custGeom>
                <a:avLst/>
                <a:gdLst>
                  <a:gd name="T0" fmla="*/ 15 w 15"/>
                  <a:gd name="T1" fmla="*/ 0 h 16"/>
                  <a:gd name="T2" fmla="*/ 0 w 15"/>
                  <a:gd name="T3" fmla="*/ 0 h 16"/>
                  <a:gd name="T4" fmla="*/ 0 w 15"/>
                  <a:gd name="T5" fmla="*/ 12 h 16"/>
                  <a:gd name="T6" fmla="*/ 7 w 15"/>
                  <a:gd name="T7" fmla="*/ 16 h 16"/>
                  <a:gd name="T8" fmla="*/ 15 w 15"/>
                  <a:gd name="T9" fmla="*/ 0 h 16"/>
                </a:gdLst>
                <a:ahLst/>
                <a:cxnLst>
                  <a:cxn ang="0">
                    <a:pos x="T0" y="T1"/>
                  </a:cxn>
                  <a:cxn ang="0">
                    <a:pos x="T2" y="T3"/>
                  </a:cxn>
                  <a:cxn ang="0">
                    <a:pos x="T4" y="T5"/>
                  </a:cxn>
                  <a:cxn ang="0">
                    <a:pos x="T6" y="T7"/>
                  </a:cxn>
                  <a:cxn ang="0">
                    <a:pos x="T8" y="T9"/>
                  </a:cxn>
                </a:cxnLst>
                <a:rect l="0" t="0" r="r" b="b"/>
                <a:pathLst>
                  <a:path w="15" h="16">
                    <a:moveTo>
                      <a:pt x="15" y="0"/>
                    </a:moveTo>
                    <a:lnTo>
                      <a:pt x="0" y="0"/>
                    </a:lnTo>
                    <a:lnTo>
                      <a:pt x="0" y="12"/>
                    </a:lnTo>
                    <a:lnTo>
                      <a:pt x="7" y="16"/>
                    </a:lnTo>
                    <a:lnTo>
                      <a:pt x="1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3" name="îṥ1íḋè">
                <a:extLst>
                  <a:ext uri="{FF2B5EF4-FFF2-40B4-BE49-F238E27FC236}">
                    <a16:creationId xmlns:a16="http://schemas.microsoft.com/office/drawing/2014/main" id="{F3F4E834-F0DB-C44E-8CD0-573EC4AD2192}"/>
                  </a:ext>
                </a:extLst>
              </p:cNvPr>
              <p:cNvSpPr/>
              <p:nvPr/>
            </p:nvSpPr>
            <p:spPr bwMode="auto">
              <a:xfrm>
                <a:off x="8088894" y="2887994"/>
                <a:ext cx="80047" cy="120071"/>
              </a:xfrm>
              <a:custGeom>
                <a:avLst/>
                <a:gdLst>
                  <a:gd name="T0" fmla="*/ 18 w 28"/>
                  <a:gd name="T1" fmla="*/ 42 h 42"/>
                  <a:gd name="T2" fmla="*/ 10 w 28"/>
                  <a:gd name="T3" fmla="*/ 42 h 42"/>
                  <a:gd name="T4" fmla="*/ 0 w 28"/>
                  <a:gd name="T5" fmla="*/ 32 h 42"/>
                  <a:gd name="T6" fmla="*/ 0 w 28"/>
                  <a:gd name="T7" fmla="*/ 10 h 42"/>
                  <a:gd name="T8" fmla="*/ 10 w 28"/>
                  <a:gd name="T9" fmla="*/ 0 h 42"/>
                  <a:gd name="T10" fmla="*/ 18 w 28"/>
                  <a:gd name="T11" fmla="*/ 0 h 42"/>
                  <a:gd name="T12" fmla="*/ 28 w 28"/>
                  <a:gd name="T13" fmla="*/ 10 h 42"/>
                  <a:gd name="T14" fmla="*/ 28 w 28"/>
                  <a:gd name="T15" fmla="*/ 32 h 42"/>
                  <a:gd name="T16" fmla="*/ 18 w 28"/>
                  <a:gd name="T17" fmla="*/ 42 h 42"/>
                  <a:gd name="T18" fmla="*/ 10 w 28"/>
                  <a:gd name="T19" fmla="*/ 6 h 42"/>
                  <a:gd name="T20" fmla="*/ 6 w 28"/>
                  <a:gd name="T21" fmla="*/ 10 h 42"/>
                  <a:gd name="T22" fmla="*/ 6 w 28"/>
                  <a:gd name="T23" fmla="*/ 32 h 42"/>
                  <a:gd name="T24" fmla="*/ 10 w 28"/>
                  <a:gd name="T25" fmla="*/ 36 h 42"/>
                  <a:gd name="T26" fmla="*/ 18 w 28"/>
                  <a:gd name="T27" fmla="*/ 36 h 42"/>
                  <a:gd name="T28" fmla="*/ 22 w 28"/>
                  <a:gd name="T29" fmla="*/ 32 h 42"/>
                  <a:gd name="T30" fmla="*/ 22 w 28"/>
                  <a:gd name="T31" fmla="*/ 10 h 42"/>
                  <a:gd name="T32" fmla="*/ 18 w 28"/>
                  <a:gd name="T33" fmla="*/ 6 h 42"/>
                  <a:gd name="T34" fmla="*/ 10 w 28"/>
                  <a:gd name="T35"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 h="42">
                    <a:moveTo>
                      <a:pt x="18" y="42"/>
                    </a:moveTo>
                    <a:cubicBezTo>
                      <a:pt x="10" y="42"/>
                      <a:pt x="10" y="42"/>
                      <a:pt x="10" y="42"/>
                    </a:cubicBezTo>
                    <a:cubicBezTo>
                      <a:pt x="4" y="42"/>
                      <a:pt x="0" y="37"/>
                      <a:pt x="0" y="32"/>
                    </a:cubicBezTo>
                    <a:cubicBezTo>
                      <a:pt x="0" y="10"/>
                      <a:pt x="0" y="10"/>
                      <a:pt x="0" y="10"/>
                    </a:cubicBezTo>
                    <a:cubicBezTo>
                      <a:pt x="0" y="5"/>
                      <a:pt x="4" y="0"/>
                      <a:pt x="10" y="0"/>
                    </a:cubicBezTo>
                    <a:cubicBezTo>
                      <a:pt x="18" y="0"/>
                      <a:pt x="18" y="0"/>
                      <a:pt x="18" y="0"/>
                    </a:cubicBezTo>
                    <a:cubicBezTo>
                      <a:pt x="24" y="0"/>
                      <a:pt x="28" y="5"/>
                      <a:pt x="28" y="10"/>
                    </a:cubicBezTo>
                    <a:cubicBezTo>
                      <a:pt x="28" y="32"/>
                      <a:pt x="28" y="32"/>
                      <a:pt x="28" y="32"/>
                    </a:cubicBezTo>
                    <a:cubicBezTo>
                      <a:pt x="28" y="37"/>
                      <a:pt x="24" y="42"/>
                      <a:pt x="18" y="42"/>
                    </a:cubicBezTo>
                    <a:close/>
                    <a:moveTo>
                      <a:pt x="10" y="6"/>
                    </a:moveTo>
                    <a:cubicBezTo>
                      <a:pt x="8" y="6"/>
                      <a:pt x="6" y="8"/>
                      <a:pt x="6" y="10"/>
                    </a:cubicBezTo>
                    <a:cubicBezTo>
                      <a:pt x="6" y="32"/>
                      <a:pt x="6" y="32"/>
                      <a:pt x="6" y="32"/>
                    </a:cubicBezTo>
                    <a:cubicBezTo>
                      <a:pt x="6" y="34"/>
                      <a:pt x="8" y="36"/>
                      <a:pt x="10" y="36"/>
                    </a:cubicBezTo>
                    <a:cubicBezTo>
                      <a:pt x="18" y="36"/>
                      <a:pt x="18" y="36"/>
                      <a:pt x="18" y="36"/>
                    </a:cubicBezTo>
                    <a:cubicBezTo>
                      <a:pt x="20" y="36"/>
                      <a:pt x="22" y="34"/>
                      <a:pt x="22" y="32"/>
                    </a:cubicBezTo>
                    <a:cubicBezTo>
                      <a:pt x="22" y="10"/>
                      <a:pt x="22" y="10"/>
                      <a:pt x="22" y="10"/>
                    </a:cubicBezTo>
                    <a:cubicBezTo>
                      <a:pt x="22" y="8"/>
                      <a:pt x="20" y="6"/>
                      <a:pt x="18" y="6"/>
                    </a:cubicBezTo>
                    <a:lnTo>
                      <a:pt x="10" y="6"/>
                    </a:lnTo>
                    <a:close/>
                  </a:path>
                </a:pathLst>
              </a:custGeom>
              <a:solidFill>
                <a:srgbClr val="2657C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4" name="î$ḷïḑé">
                <a:extLst>
                  <a:ext uri="{FF2B5EF4-FFF2-40B4-BE49-F238E27FC236}">
                    <a16:creationId xmlns:a16="http://schemas.microsoft.com/office/drawing/2014/main" id="{1CBDBB96-3F78-824F-A2A8-E14442873FF5}"/>
                  </a:ext>
                </a:extLst>
              </p:cNvPr>
              <p:cNvSpPr/>
              <p:nvPr/>
            </p:nvSpPr>
            <p:spPr bwMode="auto">
              <a:xfrm>
                <a:off x="8208965" y="2896275"/>
                <a:ext cx="66246" cy="103509"/>
              </a:xfrm>
              <a:custGeom>
                <a:avLst/>
                <a:gdLst>
                  <a:gd name="T0" fmla="*/ 15 w 23"/>
                  <a:gd name="T1" fmla="*/ 36 h 36"/>
                  <a:gd name="T2" fmla="*/ 7 w 23"/>
                  <a:gd name="T3" fmla="*/ 36 h 36"/>
                  <a:gd name="T4" fmla="*/ 0 w 23"/>
                  <a:gd name="T5" fmla="*/ 29 h 36"/>
                  <a:gd name="T6" fmla="*/ 0 w 23"/>
                  <a:gd name="T7" fmla="*/ 7 h 36"/>
                  <a:gd name="T8" fmla="*/ 7 w 23"/>
                  <a:gd name="T9" fmla="*/ 0 h 36"/>
                  <a:gd name="T10" fmla="*/ 15 w 23"/>
                  <a:gd name="T11" fmla="*/ 0 h 36"/>
                  <a:gd name="T12" fmla="*/ 23 w 23"/>
                  <a:gd name="T13" fmla="*/ 7 h 36"/>
                  <a:gd name="T14" fmla="*/ 23 w 23"/>
                  <a:gd name="T15" fmla="*/ 29 h 36"/>
                  <a:gd name="T16" fmla="*/ 15 w 23"/>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36">
                    <a:moveTo>
                      <a:pt x="15" y="36"/>
                    </a:moveTo>
                    <a:cubicBezTo>
                      <a:pt x="7" y="36"/>
                      <a:pt x="7" y="36"/>
                      <a:pt x="7" y="36"/>
                    </a:cubicBezTo>
                    <a:cubicBezTo>
                      <a:pt x="3" y="36"/>
                      <a:pt x="0" y="33"/>
                      <a:pt x="0" y="29"/>
                    </a:cubicBezTo>
                    <a:cubicBezTo>
                      <a:pt x="0" y="7"/>
                      <a:pt x="0" y="7"/>
                      <a:pt x="0" y="7"/>
                    </a:cubicBezTo>
                    <a:cubicBezTo>
                      <a:pt x="0" y="3"/>
                      <a:pt x="3" y="0"/>
                      <a:pt x="7" y="0"/>
                    </a:cubicBezTo>
                    <a:cubicBezTo>
                      <a:pt x="15" y="0"/>
                      <a:pt x="15" y="0"/>
                      <a:pt x="15" y="0"/>
                    </a:cubicBezTo>
                    <a:cubicBezTo>
                      <a:pt x="19" y="0"/>
                      <a:pt x="23" y="3"/>
                      <a:pt x="23" y="7"/>
                    </a:cubicBezTo>
                    <a:cubicBezTo>
                      <a:pt x="23" y="29"/>
                      <a:pt x="23" y="29"/>
                      <a:pt x="23" y="29"/>
                    </a:cubicBezTo>
                    <a:cubicBezTo>
                      <a:pt x="23" y="33"/>
                      <a:pt x="19" y="36"/>
                      <a:pt x="15" y="36"/>
                    </a:cubicBezTo>
                  </a:path>
                </a:pathLst>
              </a:custGeom>
              <a:solidFill>
                <a:srgbClr val="BFCEE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5" name="iṥ1íḍé">
                <a:extLst>
                  <a:ext uri="{FF2B5EF4-FFF2-40B4-BE49-F238E27FC236}">
                    <a16:creationId xmlns:a16="http://schemas.microsoft.com/office/drawing/2014/main" id="{B737B8AF-9E75-074B-962E-2D33AEA472FF}"/>
                  </a:ext>
                </a:extLst>
              </p:cNvPr>
              <p:cNvSpPr/>
              <p:nvPr/>
            </p:nvSpPr>
            <p:spPr bwMode="auto">
              <a:xfrm>
                <a:off x="8215865" y="2990123"/>
                <a:ext cx="53825" cy="9661"/>
              </a:xfrm>
              <a:custGeom>
                <a:avLst/>
                <a:gdLst>
                  <a:gd name="T0" fmla="*/ 19 w 19"/>
                  <a:gd name="T1" fmla="*/ 0 h 3"/>
                  <a:gd name="T2" fmla="*/ 13 w 19"/>
                  <a:gd name="T3" fmla="*/ 3 h 3"/>
                  <a:gd name="T4" fmla="*/ 19 w 19"/>
                  <a:gd name="T5" fmla="*/ 3 h 3"/>
                  <a:gd name="T6" fmla="*/ 19 w 19"/>
                  <a:gd name="T7" fmla="*/ 0 h 3"/>
                  <a:gd name="T8" fmla="*/ 0 w 19"/>
                  <a:gd name="T9" fmla="*/ 0 h 3"/>
                  <a:gd name="T10" fmla="*/ 0 w 19"/>
                  <a:gd name="T11" fmla="*/ 3 h 3"/>
                  <a:gd name="T12" fmla="*/ 5 w 19"/>
                  <a:gd name="T13" fmla="*/ 3 h 3"/>
                  <a:gd name="T14" fmla="*/ 0 w 19"/>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3">
                    <a:moveTo>
                      <a:pt x="19" y="0"/>
                    </a:moveTo>
                    <a:cubicBezTo>
                      <a:pt x="17" y="2"/>
                      <a:pt x="15" y="3"/>
                      <a:pt x="13" y="3"/>
                    </a:cubicBezTo>
                    <a:cubicBezTo>
                      <a:pt x="19" y="3"/>
                      <a:pt x="19" y="3"/>
                      <a:pt x="19" y="3"/>
                    </a:cubicBezTo>
                    <a:cubicBezTo>
                      <a:pt x="19" y="0"/>
                      <a:pt x="19" y="0"/>
                      <a:pt x="19" y="0"/>
                    </a:cubicBezTo>
                    <a:moveTo>
                      <a:pt x="0" y="0"/>
                    </a:moveTo>
                    <a:cubicBezTo>
                      <a:pt x="0" y="3"/>
                      <a:pt x="0" y="3"/>
                      <a:pt x="0" y="3"/>
                    </a:cubicBezTo>
                    <a:cubicBezTo>
                      <a:pt x="5" y="3"/>
                      <a:pt x="5" y="3"/>
                      <a:pt x="5" y="3"/>
                    </a:cubicBezTo>
                    <a:cubicBezTo>
                      <a:pt x="3" y="3"/>
                      <a:pt x="1" y="2"/>
                      <a:pt x="0" y="0"/>
                    </a:cubicBezTo>
                  </a:path>
                </a:pathLst>
              </a:custGeom>
              <a:solidFill>
                <a:srgbClr val="4C6CB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6" name="išľïḋe">
                <a:extLst>
                  <a:ext uri="{FF2B5EF4-FFF2-40B4-BE49-F238E27FC236}">
                    <a16:creationId xmlns:a16="http://schemas.microsoft.com/office/drawing/2014/main" id="{3C930C2C-B438-0E41-897D-4B0F3CE79B50}"/>
                  </a:ext>
                </a:extLst>
              </p:cNvPr>
              <p:cNvSpPr/>
              <p:nvPr/>
            </p:nvSpPr>
            <p:spPr bwMode="auto">
              <a:xfrm>
                <a:off x="8215865" y="2970801"/>
                <a:ext cx="53825" cy="28983"/>
              </a:xfrm>
              <a:custGeom>
                <a:avLst/>
                <a:gdLst>
                  <a:gd name="T0" fmla="*/ 19 w 19"/>
                  <a:gd name="T1" fmla="*/ 0 h 10"/>
                  <a:gd name="T2" fmla="*/ 7 w 19"/>
                  <a:gd name="T3" fmla="*/ 0 h 10"/>
                  <a:gd name="T4" fmla="*/ 3 w 19"/>
                  <a:gd name="T5" fmla="*/ 8 h 10"/>
                  <a:gd name="T6" fmla="*/ 0 w 19"/>
                  <a:gd name="T7" fmla="*/ 6 h 10"/>
                  <a:gd name="T8" fmla="*/ 0 w 19"/>
                  <a:gd name="T9" fmla="*/ 7 h 10"/>
                  <a:gd name="T10" fmla="*/ 5 w 19"/>
                  <a:gd name="T11" fmla="*/ 10 h 10"/>
                  <a:gd name="T12" fmla="*/ 13 w 19"/>
                  <a:gd name="T13" fmla="*/ 10 h 10"/>
                  <a:gd name="T14" fmla="*/ 19 w 19"/>
                  <a:gd name="T15" fmla="*/ 7 h 10"/>
                  <a:gd name="T16" fmla="*/ 19 w 19"/>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0">
                    <a:moveTo>
                      <a:pt x="19" y="0"/>
                    </a:moveTo>
                    <a:cubicBezTo>
                      <a:pt x="7" y="0"/>
                      <a:pt x="7" y="0"/>
                      <a:pt x="7" y="0"/>
                    </a:cubicBezTo>
                    <a:cubicBezTo>
                      <a:pt x="3" y="8"/>
                      <a:pt x="3" y="8"/>
                      <a:pt x="3" y="8"/>
                    </a:cubicBezTo>
                    <a:cubicBezTo>
                      <a:pt x="0" y="6"/>
                      <a:pt x="0" y="6"/>
                      <a:pt x="0" y="6"/>
                    </a:cubicBezTo>
                    <a:cubicBezTo>
                      <a:pt x="0" y="7"/>
                      <a:pt x="0" y="7"/>
                      <a:pt x="0" y="7"/>
                    </a:cubicBezTo>
                    <a:cubicBezTo>
                      <a:pt x="1" y="9"/>
                      <a:pt x="3" y="10"/>
                      <a:pt x="5" y="10"/>
                    </a:cubicBezTo>
                    <a:cubicBezTo>
                      <a:pt x="13" y="10"/>
                      <a:pt x="13" y="10"/>
                      <a:pt x="13" y="10"/>
                    </a:cubicBezTo>
                    <a:cubicBezTo>
                      <a:pt x="15" y="10"/>
                      <a:pt x="17" y="9"/>
                      <a:pt x="19" y="7"/>
                    </a:cubicBezTo>
                    <a:cubicBezTo>
                      <a:pt x="19" y="0"/>
                      <a:pt x="19" y="0"/>
                      <a:pt x="19" y="0"/>
                    </a:cubicBezTo>
                  </a:path>
                </a:pathLst>
              </a:custGeom>
              <a:solidFill>
                <a:srgbClr val="A3AFC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7" name="iṥļïdê">
                <a:extLst>
                  <a:ext uri="{FF2B5EF4-FFF2-40B4-BE49-F238E27FC236}">
                    <a16:creationId xmlns:a16="http://schemas.microsoft.com/office/drawing/2014/main" id="{AF549747-A061-6948-8C70-47185A527A15}"/>
                  </a:ext>
                </a:extLst>
              </p:cNvPr>
              <p:cNvSpPr/>
              <p:nvPr/>
            </p:nvSpPr>
            <p:spPr bwMode="auto">
              <a:xfrm>
                <a:off x="8206205" y="2907315"/>
                <a:ext cx="66246" cy="77287"/>
              </a:xfrm>
              <a:custGeom>
                <a:avLst/>
                <a:gdLst>
                  <a:gd name="T0" fmla="*/ 1 w 23"/>
                  <a:gd name="T1" fmla="*/ 24 h 27"/>
                  <a:gd name="T2" fmla="*/ 0 w 23"/>
                  <a:gd name="T3" fmla="*/ 26 h 27"/>
                  <a:gd name="T4" fmla="*/ 2 w 23"/>
                  <a:gd name="T5" fmla="*/ 27 h 27"/>
                  <a:gd name="T6" fmla="*/ 1 w 23"/>
                  <a:gd name="T7" fmla="*/ 25 h 27"/>
                  <a:gd name="T8" fmla="*/ 1 w 23"/>
                  <a:gd name="T9" fmla="*/ 24 h 27"/>
                  <a:gd name="T10" fmla="*/ 22 w 23"/>
                  <a:gd name="T11" fmla="*/ 0 h 27"/>
                  <a:gd name="T12" fmla="*/ 23 w 23"/>
                  <a:gd name="T13" fmla="*/ 0 h 27"/>
                  <a:gd name="T14" fmla="*/ 23 w 23"/>
                  <a:gd name="T15" fmla="*/ 0 h 27"/>
                  <a:gd name="T16" fmla="*/ 22 w 23"/>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7">
                    <a:moveTo>
                      <a:pt x="1" y="24"/>
                    </a:moveTo>
                    <a:cubicBezTo>
                      <a:pt x="0" y="26"/>
                      <a:pt x="0" y="26"/>
                      <a:pt x="0" y="26"/>
                    </a:cubicBezTo>
                    <a:cubicBezTo>
                      <a:pt x="2" y="27"/>
                      <a:pt x="2" y="27"/>
                      <a:pt x="2" y="27"/>
                    </a:cubicBezTo>
                    <a:cubicBezTo>
                      <a:pt x="1" y="26"/>
                      <a:pt x="1" y="26"/>
                      <a:pt x="1" y="25"/>
                    </a:cubicBezTo>
                    <a:cubicBezTo>
                      <a:pt x="1" y="24"/>
                      <a:pt x="1" y="24"/>
                      <a:pt x="1" y="24"/>
                    </a:cubicBezTo>
                    <a:moveTo>
                      <a:pt x="22" y="0"/>
                    </a:moveTo>
                    <a:cubicBezTo>
                      <a:pt x="23" y="0"/>
                      <a:pt x="23" y="0"/>
                      <a:pt x="23" y="0"/>
                    </a:cubicBezTo>
                    <a:cubicBezTo>
                      <a:pt x="23" y="0"/>
                      <a:pt x="23" y="0"/>
                      <a:pt x="23" y="0"/>
                    </a:cubicBezTo>
                    <a:cubicBezTo>
                      <a:pt x="22" y="0"/>
                      <a:pt x="22" y="0"/>
                      <a:pt x="22" y="0"/>
                    </a:cubicBezTo>
                  </a:path>
                </a:pathLst>
              </a:custGeom>
              <a:solidFill>
                <a:srgbClr val="A7BBE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8" name="íšlîdê">
                <a:extLst>
                  <a:ext uri="{FF2B5EF4-FFF2-40B4-BE49-F238E27FC236}">
                    <a16:creationId xmlns:a16="http://schemas.microsoft.com/office/drawing/2014/main" id="{9F5A26FC-6566-AB4A-B45D-63458E6BDCBB}"/>
                  </a:ext>
                </a:extLst>
              </p:cNvPr>
              <p:cNvSpPr/>
              <p:nvPr/>
            </p:nvSpPr>
            <p:spPr bwMode="auto">
              <a:xfrm>
                <a:off x="8208965" y="2896275"/>
                <a:ext cx="63486" cy="91088"/>
              </a:xfrm>
              <a:custGeom>
                <a:avLst/>
                <a:gdLst>
                  <a:gd name="T0" fmla="*/ 16 w 22"/>
                  <a:gd name="T1" fmla="*/ 0 h 32"/>
                  <a:gd name="T2" fmla="*/ 0 w 22"/>
                  <a:gd name="T3" fmla="*/ 28 h 32"/>
                  <a:gd name="T4" fmla="*/ 0 w 22"/>
                  <a:gd name="T5" fmla="*/ 29 h 32"/>
                  <a:gd name="T6" fmla="*/ 1 w 22"/>
                  <a:gd name="T7" fmla="*/ 31 h 32"/>
                  <a:gd name="T8" fmla="*/ 2 w 22"/>
                  <a:gd name="T9" fmla="*/ 32 h 32"/>
                  <a:gd name="T10" fmla="*/ 2 w 22"/>
                  <a:gd name="T11" fmla="*/ 26 h 32"/>
                  <a:gd name="T12" fmla="*/ 9 w 22"/>
                  <a:gd name="T13" fmla="*/ 26 h 32"/>
                  <a:gd name="T14" fmla="*/ 22 w 22"/>
                  <a:gd name="T15" fmla="*/ 4 h 32"/>
                  <a:gd name="T16" fmla="*/ 21 w 22"/>
                  <a:gd name="T17" fmla="*/ 4 h 32"/>
                  <a:gd name="T18" fmla="*/ 16 w 22"/>
                  <a:gd name="T1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32">
                    <a:moveTo>
                      <a:pt x="16" y="0"/>
                    </a:moveTo>
                    <a:cubicBezTo>
                      <a:pt x="0" y="28"/>
                      <a:pt x="0" y="28"/>
                      <a:pt x="0" y="28"/>
                    </a:cubicBezTo>
                    <a:cubicBezTo>
                      <a:pt x="0" y="29"/>
                      <a:pt x="0" y="29"/>
                      <a:pt x="0" y="29"/>
                    </a:cubicBezTo>
                    <a:cubicBezTo>
                      <a:pt x="0" y="30"/>
                      <a:pt x="0" y="30"/>
                      <a:pt x="1" y="31"/>
                    </a:cubicBezTo>
                    <a:cubicBezTo>
                      <a:pt x="2" y="32"/>
                      <a:pt x="2" y="32"/>
                      <a:pt x="2" y="32"/>
                    </a:cubicBezTo>
                    <a:cubicBezTo>
                      <a:pt x="2" y="26"/>
                      <a:pt x="2" y="26"/>
                      <a:pt x="2" y="26"/>
                    </a:cubicBezTo>
                    <a:cubicBezTo>
                      <a:pt x="9" y="26"/>
                      <a:pt x="9" y="26"/>
                      <a:pt x="9" y="26"/>
                    </a:cubicBezTo>
                    <a:cubicBezTo>
                      <a:pt x="22" y="4"/>
                      <a:pt x="22" y="4"/>
                      <a:pt x="22" y="4"/>
                    </a:cubicBezTo>
                    <a:cubicBezTo>
                      <a:pt x="22" y="4"/>
                      <a:pt x="22" y="4"/>
                      <a:pt x="21" y="4"/>
                    </a:cubicBezTo>
                    <a:cubicBezTo>
                      <a:pt x="16" y="0"/>
                      <a:pt x="16" y="0"/>
                      <a:pt x="16" y="0"/>
                    </a:cubicBezTo>
                  </a:path>
                </a:pathLst>
              </a:custGeom>
              <a:solidFill>
                <a:srgbClr val="DAE3F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9" name="ïşļiďê">
                <a:extLst>
                  <a:ext uri="{FF2B5EF4-FFF2-40B4-BE49-F238E27FC236}">
                    <a16:creationId xmlns:a16="http://schemas.microsoft.com/office/drawing/2014/main" id="{BBD9ED0E-9332-E649-9A0B-1E5BD209BA14}"/>
                  </a:ext>
                </a:extLst>
              </p:cNvPr>
              <p:cNvSpPr/>
              <p:nvPr/>
            </p:nvSpPr>
            <p:spPr bwMode="auto">
              <a:xfrm>
                <a:off x="8215865" y="2970801"/>
                <a:ext cx="19322" cy="22082"/>
              </a:xfrm>
              <a:custGeom>
                <a:avLst/>
                <a:gdLst>
                  <a:gd name="T0" fmla="*/ 14 w 14"/>
                  <a:gd name="T1" fmla="*/ 0 h 16"/>
                  <a:gd name="T2" fmla="*/ 0 w 14"/>
                  <a:gd name="T3" fmla="*/ 0 h 16"/>
                  <a:gd name="T4" fmla="*/ 0 w 14"/>
                  <a:gd name="T5" fmla="*/ 12 h 16"/>
                  <a:gd name="T6" fmla="*/ 6 w 14"/>
                  <a:gd name="T7" fmla="*/ 16 h 16"/>
                  <a:gd name="T8" fmla="*/ 14 w 14"/>
                  <a:gd name="T9" fmla="*/ 0 h 16"/>
                </a:gdLst>
                <a:ahLst/>
                <a:cxnLst>
                  <a:cxn ang="0">
                    <a:pos x="T0" y="T1"/>
                  </a:cxn>
                  <a:cxn ang="0">
                    <a:pos x="T2" y="T3"/>
                  </a:cxn>
                  <a:cxn ang="0">
                    <a:pos x="T4" y="T5"/>
                  </a:cxn>
                  <a:cxn ang="0">
                    <a:pos x="T6" y="T7"/>
                  </a:cxn>
                  <a:cxn ang="0">
                    <a:pos x="T8" y="T9"/>
                  </a:cxn>
                </a:cxnLst>
                <a:rect l="0" t="0" r="r" b="b"/>
                <a:pathLst>
                  <a:path w="14" h="16">
                    <a:moveTo>
                      <a:pt x="14" y="0"/>
                    </a:moveTo>
                    <a:lnTo>
                      <a:pt x="0" y="0"/>
                    </a:lnTo>
                    <a:lnTo>
                      <a:pt x="0" y="12"/>
                    </a:lnTo>
                    <a:lnTo>
                      <a:pt x="6" y="16"/>
                    </a:lnTo>
                    <a:lnTo>
                      <a:pt x="14" y="0"/>
                    </a:lnTo>
                    <a:close/>
                  </a:path>
                </a:pathLst>
              </a:custGeom>
              <a:solidFill>
                <a:srgbClr val="CCD3E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0" name="i$ḻïḑé">
                <a:extLst>
                  <a:ext uri="{FF2B5EF4-FFF2-40B4-BE49-F238E27FC236}">
                    <a16:creationId xmlns:a16="http://schemas.microsoft.com/office/drawing/2014/main" id="{F039FD36-33A8-EF41-8F77-2503E2A3FA56}"/>
                  </a:ext>
                </a:extLst>
              </p:cNvPr>
              <p:cNvSpPr/>
              <p:nvPr/>
            </p:nvSpPr>
            <p:spPr bwMode="auto">
              <a:xfrm>
                <a:off x="8215865" y="2970801"/>
                <a:ext cx="19322" cy="22082"/>
              </a:xfrm>
              <a:custGeom>
                <a:avLst/>
                <a:gdLst>
                  <a:gd name="T0" fmla="*/ 14 w 14"/>
                  <a:gd name="T1" fmla="*/ 0 h 16"/>
                  <a:gd name="T2" fmla="*/ 0 w 14"/>
                  <a:gd name="T3" fmla="*/ 0 h 16"/>
                  <a:gd name="T4" fmla="*/ 0 w 14"/>
                  <a:gd name="T5" fmla="*/ 12 h 16"/>
                  <a:gd name="T6" fmla="*/ 6 w 14"/>
                  <a:gd name="T7" fmla="*/ 16 h 16"/>
                  <a:gd name="T8" fmla="*/ 14 w 14"/>
                  <a:gd name="T9" fmla="*/ 0 h 16"/>
                </a:gdLst>
                <a:ahLst/>
                <a:cxnLst>
                  <a:cxn ang="0">
                    <a:pos x="T0" y="T1"/>
                  </a:cxn>
                  <a:cxn ang="0">
                    <a:pos x="T2" y="T3"/>
                  </a:cxn>
                  <a:cxn ang="0">
                    <a:pos x="T4" y="T5"/>
                  </a:cxn>
                  <a:cxn ang="0">
                    <a:pos x="T6" y="T7"/>
                  </a:cxn>
                  <a:cxn ang="0">
                    <a:pos x="T8" y="T9"/>
                  </a:cxn>
                </a:cxnLst>
                <a:rect l="0" t="0" r="r" b="b"/>
                <a:pathLst>
                  <a:path w="14" h="16">
                    <a:moveTo>
                      <a:pt x="14" y="0"/>
                    </a:moveTo>
                    <a:lnTo>
                      <a:pt x="0" y="0"/>
                    </a:lnTo>
                    <a:lnTo>
                      <a:pt x="0" y="12"/>
                    </a:lnTo>
                    <a:lnTo>
                      <a:pt x="6" y="1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1" name="îŝľïdé">
                <a:extLst>
                  <a:ext uri="{FF2B5EF4-FFF2-40B4-BE49-F238E27FC236}">
                    <a16:creationId xmlns:a16="http://schemas.microsoft.com/office/drawing/2014/main" id="{2FC0DDE1-0B7F-7E44-84DA-ABB8D4CEBAFE}"/>
                  </a:ext>
                </a:extLst>
              </p:cNvPr>
              <p:cNvSpPr/>
              <p:nvPr/>
            </p:nvSpPr>
            <p:spPr bwMode="auto">
              <a:xfrm>
                <a:off x="8200684" y="2887994"/>
                <a:ext cx="80047" cy="120071"/>
              </a:xfrm>
              <a:custGeom>
                <a:avLst/>
                <a:gdLst>
                  <a:gd name="T0" fmla="*/ 18 w 28"/>
                  <a:gd name="T1" fmla="*/ 42 h 42"/>
                  <a:gd name="T2" fmla="*/ 10 w 28"/>
                  <a:gd name="T3" fmla="*/ 42 h 42"/>
                  <a:gd name="T4" fmla="*/ 0 w 28"/>
                  <a:gd name="T5" fmla="*/ 32 h 42"/>
                  <a:gd name="T6" fmla="*/ 0 w 28"/>
                  <a:gd name="T7" fmla="*/ 10 h 42"/>
                  <a:gd name="T8" fmla="*/ 10 w 28"/>
                  <a:gd name="T9" fmla="*/ 0 h 42"/>
                  <a:gd name="T10" fmla="*/ 18 w 28"/>
                  <a:gd name="T11" fmla="*/ 0 h 42"/>
                  <a:gd name="T12" fmla="*/ 28 w 28"/>
                  <a:gd name="T13" fmla="*/ 10 h 42"/>
                  <a:gd name="T14" fmla="*/ 28 w 28"/>
                  <a:gd name="T15" fmla="*/ 32 h 42"/>
                  <a:gd name="T16" fmla="*/ 18 w 28"/>
                  <a:gd name="T17" fmla="*/ 42 h 42"/>
                  <a:gd name="T18" fmla="*/ 10 w 28"/>
                  <a:gd name="T19" fmla="*/ 6 h 42"/>
                  <a:gd name="T20" fmla="*/ 6 w 28"/>
                  <a:gd name="T21" fmla="*/ 10 h 42"/>
                  <a:gd name="T22" fmla="*/ 6 w 28"/>
                  <a:gd name="T23" fmla="*/ 32 h 42"/>
                  <a:gd name="T24" fmla="*/ 10 w 28"/>
                  <a:gd name="T25" fmla="*/ 36 h 42"/>
                  <a:gd name="T26" fmla="*/ 18 w 28"/>
                  <a:gd name="T27" fmla="*/ 36 h 42"/>
                  <a:gd name="T28" fmla="*/ 23 w 28"/>
                  <a:gd name="T29" fmla="*/ 32 h 42"/>
                  <a:gd name="T30" fmla="*/ 23 w 28"/>
                  <a:gd name="T31" fmla="*/ 10 h 42"/>
                  <a:gd name="T32" fmla="*/ 18 w 28"/>
                  <a:gd name="T33" fmla="*/ 6 h 42"/>
                  <a:gd name="T34" fmla="*/ 10 w 28"/>
                  <a:gd name="T35"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 h="42">
                    <a:moveTo>
                      <a:pt x="18" y="42"/>
                    </a:moveTo>
                    <a:cubicBezTo>
                      <a:pt x="10" y="42"/>
                      <a:pt x="10" y="42"/>
                      <a:pt x="10" y="42"/>
                    </a:cubicBezTo>
                    <a:cubicBezTo>
                      <a:pt x="5" y="42"/>
                      <a:pt x="0" y="37"/>
                      <a:pt x="0" y="32"/>
                    </a:cubicBezTo>
                    <a:cubicBezTo>
                      <a:pt x="0" y="10"/>
                      <a:pt x="0" y="10"/>
                      <a:pt x="0" y="10"/>
                    </a:cubicBezTo>
                    <a:cubicBezTo>
                      <a:pt x="0" y="5"/>
                      <a:pt x="5" y="0"/>
                      <a:pt x="10" y="0"/>
                    </a:cubicBezTo>
                    <a:cubicBezTo>
                      <a:pt x="18" y="0"/>
                      <a:pt x="18" y="0"/>
                      <a:pt x="18" y="0"/>
                    </a:cubicBezTo>
                    <a:cubicBezTo>
                      <a:pt x="24" y="0"/>
                      <a:pt x="28" y="5"/>
                      <a:pt x="28" y="10"/>
                    </a:cubicBezTo>
                    <a:cubicBezTo>
                      <a:pt x="28" y="32"/>
                      <a:pt x="28" y="32"/>
                      <a:pt x="28" y="32"/>
                    </a:cubicBezTo>
                    <a:cubicBezTo>
                      <a:pt x="28" y="37"/>
                      <a:pt x="24" y="42"/>
                      <a:pt x="18" y="42"/>
                    </a:cubicBezTo>
                    <a:close/>
                    <a:moveTo>
                      <a:pt x="10" y="6"/>
                    </a:moveTo>
                    <a:cubicBezTo>
                      <a:pt x="8" y="6"/>
                      <a:pt x="6" y="8"/>
                      <a:pt x="6" y="10"/>
                    </a:cubicBezTo>
                    <a:cubicBezTo>
                      <a:pt x="6" y="32"/>
                      <a:pt x="6" y="32"/>
                      <a:pt x="6" y="32"/>
                    </a:cubicBezTo>
                    <a:cubicBezTo>
                      <a:pt x="6" y="34"/>
                      <a:pt x="8" y="36"/>
                      <a:pt x="10" y="36"/>
                    </a:cubicBezTo>
                    <a:cubicBezTo>
                      <a:pt x="18" y="36"/>
                      <a:pt x="18" y="36"/>
                      <a:pt x="18" y="36"/>
                    </a:cubicBezTo>
                    <a:cubicBezTo>
                      <a:pt x="21" y="36"/>
                      <a:pt x="23" y="34"/>
                      <a:pt x="23" y="32"/>
                    </a:cubicBezTo>
                    <a:cubicBezTo>
                      <a:pt x="23" y="10"/>
                      <a:pt x="23" y="10"/>
                      <a:pt x="23" y="10"/>
                    </a:cubicBezTo>
                    <a:cubicBezTo>
                      <a:pt x="23" y="8"/>
                      <a:pt x="21" y="6"/>
                      <a:pt x="18" y="6"/>
                    </a:cubicBezTo>
                    <a:lnTo>
                      <a:pt x="10" y="6"/>
                    </a:lnTo>
                    <a:close/>
                  </a:path>
                </a:pathLst>
              </a:custGeom>
              <a:solidFill>
                <a:srgbClr val="2657C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2" name="íṣlïḋé">
                <a:extLst>
                  <a:ext uri="{FF2B5EF4-FFF2-40B4-BE49-F238E27FC236}">
                    <a16:creationId xmlns:a16="http://schemas.microsoft.com/office/drawing/2014/main" id="{1FA79EAF-BAAD-E94B-A5A6-F7E028942402}"/>
                  </a:ext>
                </a:extLst>
              </p:cNvPr>
              <p:cNvSpPr/>
              <p:nvPr/>
            </p:nvSpPr>
            <p:spPr bwMode="auto">
              <a:xfrm>
                <a:off x="8022648" y="3053608"/>
                <a:ext cx="462341" cy="53825"/>
              </a:xfrm>
              <a:prstGeom prst="rect">
                <a:avLst/>
              </a:prstGeom>
              <a:solidFill>
                <a:srgbClr val="0039B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763" name="îş1ïḑê">
                <a:extLst>
                  <a:ext uri="{FF2B5EF4-FFF2-40B4-BE49-F238E27FC236}">
                    <a16:creationId xmlns:a16="http://schemas.microsoft.com/office/drawing/2014/main" id="{971FBFC0-DE13-F640-BA79-A96B61674478}"/>
                  </a:ext>
                </a:extLst>
              </p:cNvPr>
              <p:cNvSpPr/>
              <p:nvPr/>
            </p:nvSpPr>
            <p:spPr bwMode="auto">
              <a:xfrm>
                <a:off x="8022648" y="3053608"/>
                <a:ext cx="462341" cy="5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764" name="íŝľiḑè">
                <a:extLst>
                  <a:ext uri="{FF2B5EF4-FFF2-40B4-BE49-F238E27FC236}">
                    <a16:creationId xmlns:a16="http://schemas.microsoft.com/office/drawing/2014/main" id="{D400E3FC-E8B0-7F44-BDD9-0EE96DF7EE75}"/>
                  </a:ext>
                </a:extLst>
              </p:cNvPr>
              <p:cNvSpPr/>
              <p:nvPr/>
            </p:nvSpPr>
            <p:spPr bwMode="auto">
              <a:xfrm>
                <a:off x="8065432" y="3079830"/>
                <a:ext cx="126971" cy="11041"/>
              </a:xfrm>
              <a:custGeom>
                <a:avLst/>
                <a:gdLst>
                  <a:gd name="T0" fmla="*/ 42 w 44"/>
                  <a:gd name="T1" fmla="*/ 4 h 4"/>
                  <a:gd name="T2" fmla="*/ 2 w 44"/>
                  <a:gd name="T3" fmla="*/ 4 h 4"/>
                  <a:gd name="T4" fmla="*/ 0 w 44"/>
                  <a:gd name="T5" fmla="*/ 2 h 4"/>
                  <a:gd name="T6" fmla="*/ 2 w 44"/>
                  <a:gd name="T7" fmla="*/ 0 h 4"/>
                  <a:gd name="T8" fmla="*/ 42 w 44"/>
                  <a:gd name="T9" fmla="*/ 0 h 4"/>
                  <a:gd name="T10" fmla="*/ 44 w 44"/>
                  <a:gd name="T11" fmla="*/ 2 h 4"/>
                  <a:gd name="T12" fmla="*/ 42 w 4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44" h="4">
                    <a:moveTo>
                      <a:pt x="42" y="4"/>
                    </a:moveTo>
                    <a:cubicBezTo>
                      <a:pt x="2" y="4"/>
                      <a:pt x="2" y="4"/>
                      <a:pt x="2" y="4"/>
                    </a:cubicBezTo>
                    <a:cubicBezTo>
                      <a:pt x="1" y="4"/>
                      <a:pt x="0" y="3"/>
                      <a:pt x="0" y="2"/>
                    </a:cubicBezTo>
                    <a:cubicBezTo>
                      <a:pt x="0" y="1"/>
                      <a:pt x="1" y="0"/>
                      <a:pt x="2" y="0"/>
                    </a:cubicBezTo>
                    <a:cubicBezTo>
                      <a:pt x="42" y="0"/>
                      <a:pt x="42" y="0"/>
                      <a:pt x="42" y="0"/>
                    </a:cubicBezTo>
                    <a:cubicBezTo>
                      <a:pt x="43" y="0"/>
                      <a:pt x="44" y="1"/>
                      <a:pt x="44" y="2"/>
                    </a:cubicBezTo>
                    <a:cubicBezTo>
                      <a:pt x="44" y="3"/>
                      <a:pt x="43" y="4"/>
                      <a:pt x="42" y="4"/>
                    </a:cubicBez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5" name="iş1íḓe">
                <a:extLst>
                  <a:ext uri="{FF2B5EF4-FFF2-40B4-BE49-F238E27FC236}">
                    <a16:creationId xmlns:a16="http://schemas.microsoft.com/office/drawing/2014/main" id="{6E0D22DC-9E44-8F47-A638-1E639085C6FA}"/>
                  </a:ext>
                </a:extLst>
              </p:cNvPr>
              <p:cNvSpPr/>
              <p:nvPr/>
            </p:nvSpPr>
            <p:spPr bwMode="auto">
              <a:xfrm>
                <a:off x="8051631" y="3157117"/>
                <a:ext cx="126971" cy="13801"/>
              </a:xfrm>
              <a:custGeom>
                <a:avLst/>
                <a:gdLst>
                  <a:gd name="T0" fmla="*/ 42 w 44"/>
                  <a:gd name="T1" fmla="*/ 5 h 5"/>
                  <a:gd name="T2" fmla="*/ 2 w 44"/>
                  <a:gd name="T3" fmla="*/ 5 h 5"/>
                  <a:gd name="T4" fmla="*/ 0 w 44"/>
                  <a:gd name="T5" fmla="*/ 2 h 5"/>
                  <a:gd name="T6" fmla="*/ 2 w 44"/>
                  <a:gd name="T7" fmla="*/ 0 h 5"/>
                  <a:gd name="T8" fmla="*/ 42 w 44"/>
                  <a:gd name="T9" fmla="*/ 0 h 5"/>
                  <a:gd name="T10" fmla="*/ 44 w 44"/>
                  <a:gd name="T11" fmla="*/ 2 h 5"/>
                  <a:gd name="T12" fmla="*/ 42 w 44"/>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44" h="5">
                    <a:moveTo>
                      <a:pt x="42" y="5"/>
                    </a:moveTo>
                    <a:cubicBezTo>
                      <a:pt x="2" y="5"/>
                      <a:pt x="2" y="5"/>
                      <a:pt x="2" y="5"/>
                    </a:cubicBezTo>
                    <a:cubicBezTo>
                      <a:pt x="1" y="5"/>
                      <a:pt x="0" y="3"/>
                      <a:pt x="0" y="2"/>
                    </a:cubicBezTo>
                    <a:cubicBezTo>
                      <a:pt x="0" y="1"/>
                      <a:pt x="1" y="0"/>
                      <a:pt x="2" y="0"/>
                    </a:cubicBezTo>
                    <a:cubicBezTo>
                      <a:pt x="42" y="0"/>
                      <a:pt x="42" y="0"/>
                      <a:pt x="42" y="0"/>
                    </a:cubicBezTo>
                    <a:cubicBezTo>
                      <a:pt x="43" y="0"/>
                      <a:pt x="44" y="1"/>
                      <a:pt x="44" y="2"/>
                    </a:cubicBezTo>
                    <a:cubicBezTo>
                      <a:pt x="44" y="3"/>
                      <a:pt x="43" y="5"/>
                      <a:pt x="42" y="5"/>
                    </a:cubicBez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6" name="í$ḻïdè">
                <a:extLst>
                  <a:ext uri="{FF2B5EF4-FFF2-40B4-BE49-F238E27FC236}">
                    <a16:creationId xmlns:a16="http://schemas.microsoft.com/office/drawing/2014/main" id="{168B2D27-52D9-B94B-91F9-81A0C05DBBA1}"/>
                  </a:ext>
                </a:extLst>
              </p:cNvPr>
              <p:cNvSpPr/>
              <p:nvPr/>
            </p:nvSpPr>
            <p:spPr bwMode="auto">
              <a:xfrm>
                <a:off x="8037830" y="3234404"/>
                <a:ext cx="125591" cy="13801"/>
              </a:xfrm>
              <a:custGeom>
                <a:avLst/>
                <a:gdLst>
                  <a:gd name="T0" fmla="*/ 42 w 44"/>
                  <a:gd name="T1" fmla="*/ 5 h 5"/>
                  <a:gd name="T2" fmla="*/ 2 w 44"/>
                  <a:gd name="T3" fmla="*/ 5 h 5"/>
                  <a:gd name="T4" fmla="*/ 0 w 44"/>
                  <a:gd name="T5" fmla="*/ 2 h 5"/>
                  <a:gd name="T6" fmla="*/ 2 w 44"/>
                  <a:gd name="T7" fmla="*/ 0 h 5"/>
                  <a:gd name="T8" fmla="*/ 42 w 44"/>
                  <a:gd name="T9" fmla="*/ 0 h 5"/>
                  <a:gd name="T10" fmla="*/ 44 w 44"/>
                  <a:gd name="T11" fmla="*/ 2 h 5"/>
                  <a:gd name="T12" fmla="*/ 42 w 44"/>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44" h="5">
                    <a:moveTo>
                      <a:pt x="42" y="5"/>
                    </a:moveTo>
                    <a:cubicBezTo>
                      <a:pt x="2" y="5"/>
                      <a:pt x="2" y="5"/>
                      <a:pt x="2" y="5"/>
                    </a:cubicBezTo>
                    <a:cubicBezTo>
                      <a:pt x="1" y="5"/>
                      <a:pt x="0" y="3"/>
                      <a:pt x="0" y="2"/>
                    </a:cubicBezTo>
                    <a:cubicBezTo>
                      <a:pt x="0" y="1"/>
                      <a:pt x="1" y="0"/>
                      <a:pt x="2" y="0"/>
                    </a:cubicBezTo>
                    <a:cubicBezTo>
                      <a:pt x="42" y="0"/>
                      <a:pt x="42" y="0"/>
                      <a:pt x="42" y="0"/>
                    </a:cubicBezTo>
                    <a:cubicBezTo>
                      <a:pt x="43" y="0"/>
                      <a:pt x="44" y="1"/>
                      <a:pt x="44" y="2"/>
                    </a:cubicBezTo>
                    <a:cubicBezTo>
                      <a:pt x="44" y="3"/>
                      <a:pt x="43" y="5"/>
                      <a:pt x="42" y="5"/>
                    </a:cubicBez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7" name="îṥḷîḋè">
                <a:extLst>
                  <a:ext uri="{FF2B5EF4-FFF2-40B4-BE49-F238E27FC236}">
                    <a16:creationId xmlns:a16="http://schemas.microsoft.com/office/drawing/2014/main" id="{E695BC09-00BE-1346-931F-7624495F0F89}"/>
                  </a:ext>
                </a:extLst>
              </p:cNvPr>
              <p:cNvSpPr/>
              <p:nvPr/>
            </p:nvSpPr>
            <p:spPr bwMode="auto">
              <a:xfrm>
                <a:off x="8022648" y="3311690"/>
                <a:ext cx="126971" cy="13801"/>
              </a:xfrm>
              <a:custGeom>
                <a:avLst/>
                <a:gdLst>
                  <a:gd name="T0" fmla="*/ 42 w 44"/>
                  <a:gd name="T1" fmla="*/ 5 h 5"/>
                  <a:gd name="T2" fmla="*/ 2 w 44"/>
                  <a:gd name="T3" fmla="*/ 5 h 5"/>
                  <a:gd name="T4" fmla="*/ 0 w 44"/>
                  <a:gd name="T5" fmla="*/ 2 h 5"/>
                  <a:gd name="T6" fmla="*/ 2 w 44"/>
                  <a:gd name="T7" fmla="*/ 0 h 5"/>
                  <a:gd name="T8" fmla="*/ 42 w 44"/>
                  <a:gd name="T9" fmla="*/ 0 h 5"/>
                  <a:gd name="T10" fmla="*/ 44 w 44"/>
                  <a:gd name="T11" fmla="*/ 2 h 5"/>
                  <a:gd name="T12" fmla="*/ 42 w 44"/>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44" h="5">
                    <a:moveTo>
                      <a:pt x="42" y="5"/>
                    </a:moveTo>
                    <a:cubicBezTo>
                      <a:pt x="2" y="5"/>
                      <a:pt x="2" y="5"/>
                      <a:pt x="2" y="5"/>
                    </a:cubicBezTo>
                    <a:cubicBezTo>
                      <a:pt x="1" y="5"/>
                      <a:pt x="0" y="3"/>
                      <a:pt x="0" y="2"/>
                    </a:cubicBezTo>
                    <a:cubicBezTo>
                      <a:pt x="0" y="1"/>
                      <a:pt x="1" y="0"/>
                      <a:pt x="2" y="0"/>
                    </a:cubicBezTo>
                    <a:cubicBezTo>
                      <a:pt x="42" y="0"/>
                      <a:pt x="42" y="0"/>
                      <a:pt x="42" y="0"/>
                    </a:cubicBezTo>
                    <a:cubicBezTo>
                      <a:pt x="43" y="0"/>
                      <a:pt x="44" y="1"/>
                      <a:pt x="44" y="2"/>
                    </a:cubicBezTo>
                    <a:cubicBezTo>
                      <a:pt x="44" y="3"/>
                      <a:pt x="43" y="5"/>
                      <a:pt x="42" y="5"/>
                    </a:cubicBez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8" name="îşļïḍê">
                <a:extLst>
                  <a:ext uri="{FF2B5EF4-FFF2-40B4-BE49-F238E27FC236}">
                    <a16:creationId xmlns:a16="http://schemas.microsoft.com/office/drawing/2014/main" id="{87CFDE68-6D66-BB4F-90EC-70F69ED9B0BD}"/>
                  </a:ext>
                </a:extLst>
              </p:cNvPr>
              <p:cNvSpPr/>
              <p:nvPr/>
            </p:nvSpPr>
            <p:spPr bwMode="auto">
              <a:xfrm>
                <a:off x="8008847" y="3388977"/>
                <a:ext cx="125591" cy="13801"/>
              </a:xfrm>
              <a:custGeom>
                <a:avLst/>
                <a:gdLst>
                  <a:gd name="T0" fmla="*/ 42 w 44"/>
                  <a:gd name="T1" fmla="*/ 5 h 5"/>
                  <a:gd name="T2" fmla="*/ 2 w 44"/>
                  <a:gd name="T3" fmla="*/ 5 h 5"/>
                  <a:gd name="T4" fmla="*/ 0 w 44"/>
                  <a:gd name="T5" fmla="*/ 2 h 5"/>
                  <a:gd name="T6" fmla="*/ 2 w 44"/>
                  <a:gd name="T7" fmla="*/ 0 h 5"/>
                  <a:gd name="T8" fmla="*/ 42 w 44"/>
                  <a:gd name="T9" fmla="*/ 0 h 5"/>
                  <a:gd name="T10" fmla="*/ 44 w 44"/>
                  <a:gd name="T11" fmla="*/ 2 h 5"/>
                  <a:gd name="T12" fmla="*/ 42 w 44"/>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44" h="5">
                    <a:moveTo>
                      <a:pt x="42" y="5"/>
                    </a:moveTo>
                    <a:cubicBezTo>
                      <a:pt x="2" y="5"/>
                      <a:pt x="2" y="5"/>
                      <a:pt x="2" y="5"/>
                    </a:cubicBezTo>
                    <a:cubicBezTo>
                      <a:pt x="1" y="5"/>
                      <a:pt x="0" y="3"/>
                      <a:pt x="0" y="2"/>
                    </a:cubicBezTo>
                    <a:cubicBezTo>
                      <a:pt x="0" y="1"/>
                      <a:pt x="1" y="0"/>
                      <a:pt x="2" y="0"/>
                    </a:cubicBezTo>
                    <a:cubicBezTo>
                      <a:pt x="42" y="0"/>
                      <a:pt x="42" y="0"/>
                      <a:pt x="42" y="0"/>
                    </a:cubicBezTo>
                    <a:cubicBezTo>
                      <a:pt x="43" y="0"/>
                      <a:pt x="44" y="1"/>
                      <a:pt x="44" y="2"/>
                    </a:cubicBezTo>
                    <a:cubicBezTo>
                      <a:pt x="44" y="3"/>
                      <a:pt x="43" y="5"/>
                      <a:pt x="42" y="5"/>
                    </a:cubicBez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9" name="ïśļiḍê">
                <a:extLst>
                  <a:ext uri="{FF2B5EF4-FFF2-40B4-BE49-F238E27FC236}">
                    <a16:creationId xmlns:a16="http://schemas.microsoft.com/office/drawing/2014/main" id="{C61F800D-5C8D-2942-85D0-C5266F3B8A39}"/>
                  </a:ext>
                </a:extLst>
              </p:cNvPr>
              <p:cNvSpPr/>
              <p:nvPr/>
            </p:nvSpPr>
            <p:spPr bwMode="auto">
              <a:xfrm>
                <a:off x="7988146" y="3067409"/>
                <a:ext cx="97989" cy="396095"/>
              </a:xfrm>
              <a:custGeom>
                <a:avLst/>
                <a:gdLst>
                  <a:gd name="T0" fmla="*/ 6 w 34"/>
                  <a:gd name="T1" fmla="*/ 138 h 138"/>
                  <a:gd name="T2" fmla="*/ 5 w 34"/>
                  <a:gd name="T3" fmla="*/ 138 h 138"/>
                  <a:gd name="T4" fmla="*/ 1 w 34"/>
                  <a:gd name="T5" fmla="*/ 132 h 138"/>
                  <a:gd name="T6" fmla="*/ 23 w 34"/>
                  <a:gd name="T7" fmla="*/ 4 h 138"/>
                  <a:gd name="T8" fmla="*/ 29 w 34"/>
                  <a:gd name="T9" fmla="*/ 0 h 138"/>
                  <a:gd name="T10" fmla="*/ 33 w 34"/>
                  <a:gd name="T11" fmla="*/ 6 h 138"/>
                  <a:gd name="T12" fmla="*/ 10 w 34"/>
                  <a:gd name="T13" fmla="*/ 134 h 138"/>
                  <a:gd name="T14" fmla="*/ 6 w 34"/>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138">
                    <a:moveTo>
                      <a:pt x="6" y="138"/>
                    </a:moveTo>
                    <a:cubicBezTo>
                      <a:pt x="5" y="138"/>
                      <a:pt x="5" y="138"/>
                      <a:pt x="5" y="138"/>
                    </a:cubicBezTo>
                    <a:cubicBezTo>
                      <a:pt x="2" y="137"/>
                      <a:pt x="0" y="135"/>
                      <a:pt x="1" y="132"/>
                    </a:cubicBezTo>
                    <a:cubicBezTo>
                      <a:pt x="23" y="4"/>
                      <a:pt x="23" y="4"/>
                      <a:pt x="23" y="4"/>
                    </a:cubicBezTo>
                    <a:cubicBezTo>
                      <a:pt x="24" y="2"/>
                      <a:pt x="27" y="0"/>
                      <a:pt x="29" y="0"/>
                    </a:cubicBezTo>
                    <a:cubicBezTo>
                      <a:pt x="32" y="1"/>
                      <a:pt x="34" y="3"/>
                      <a:pt x="33" y="6"/>
                    </a:cubicBezTo>
                    <a:cubicBezTo>
                      <a:pt x="10" y="134"/>
                      <a:pt x="10" y="134"/>
                      <a:pt x="10" y="134"/>
                    </a:cubicBezTo>
                    <a:cubicBezTo>
                      <a:pt x="10" y="136"/>
                      <a:pt x="8" y="138"/>
                      <a:pt x="6" y="138"/>
                    </a:cubicBez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0" name="íṣ1ïḓe">
                <a:extLst>
                  <a:ext uri="{FF2B5EF4-FFF2-40B4-BE49-F238E27FC236}">
                    <a16:creationId xmlns:a16="http://schemas.microsoft.com/office/drawing/2014/main" id="{2471B85D-B4DD-8647-978F-1FDD4C3E9BDC}"/>
                  </a:ext>
                </a:extLst>
              </p:cNvPr>
              <p:cNvSpPr/>
              <p:nvPr/>
            </p:nvSpPr>
            <p:spPr bwMode="auto">
              <a:xfrm>
                <a:off x="8102695" y="3067409"/>
                <a:ext cx="97989" cy="396095"/>
              </a:xfrm>
              <a:custGeom>
                <a:avLst/>
                <a:gdLst>
                  <a:gd name="T0" fmla="*/ 5 w 34"/>
                  <a:gd name="T1" fmla="*/ 138 h 138"/>
                  <a:gd name="T2" fmla="*/ 4 w 34"/>
                  <a:gd name="T3" fmla="*/ 138 h 138"/>
                  <a:gd name="T4" fmla="*/ 0 w 34"/>
                  <a:gd name="T5" fmla="*/ 132 h 138"/>
                  <a:gd name="T6" fmla="*/ 23 w 34"/>
                  <a:gd name="T7" fmla="*/ 4 h 138"/>
                  <a:gd name="T8" fmla="*/ 29 w 34"/>
                  <a:gd name="T9" fmla="*/ 0 h 138"/>
                  <a:gd name="T10" fmla="*/ 33 w 34"/>
                  <a:gd name="T11" fmla="*/ 6 h 138"/>
                  <a:gd name="T12" fmla="*/ 10 w 34"/>
                  <a:gd name="T13" fmla="*/ 134 h 138"/>
                  <a:gd name="T14" fmla="*/ 5 w 34"/>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138">
                    <a:moveTo>
                      <a:pt x="5" y="138"/>
                    </a:moveTo>
                    <a:cubicBezTo>
                      <a:pt x="4" y="138"/>
                      <a:pt x="4" y="138"/>
                      <a:pt x="4" y="138"/>
                    </a:cubicBezTo>
                    <a:cubicBezTo>
                      <a:pt x="2" y="137"/>
                      <a:pt x="0" y="135"/>
                      <a:pt x="0" y="132"/>
                    </a:cubicBezTo>
                    <a:cubicBezTo>
                      <a:pt x="23" y="4"/>
                      <a:pt x="23" y="4"/>
                      <a:pt x="23" y="4"/>
                    </a:cubicBezTo>
                    <a:cubicBezTo>
                      <a:pt x="24" y="2"/>
                      <a:pt x="26" y="0"/>
                      <a:pt x="29" y="0"/>
                    </a:cubicBezTo>
                    <a:cubicBezTo>
                      <a:pt x="32" y="1"/>
                      <a:pt x="34" y="3"/>
                      <a:pt x="33" y="6"/>
                    </a:cubicBezTo>
                    <a:cubicBezTo>
                      <a:pt x="10" y="134"/>
                      <a:pt x="10" y="134"/>
                      <a:pt x="10" y="134"/>
                    </a:cubicBezTo>
                    <a:cubicBezTo>
                      <a:pt x="10" y="136"/>
                      <a:pt x="8" y="138"/>
                      <a:pt x="5" y="138"/>
                    </a:cubicBez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1" name="îšḷíḓe">
                <a:extLst>
                  <a:ext uri="{FF2B5EF4-FFF2-40B4-BE49-F238E27FC236}">
                    <a16:creationId xmlns:a16="http://schemas.microsoft.com/office/drawing/2014/main" id="{78DE5849-7FE5-9943-B97F-7042775801C2}"/>
                  </a:ext>
                </a:extLst>
              </p:cNvPr>
              <p:cNvSpPr/>
              <p:nvPr/>
            </p:nvSpPr>
            <p:spPr bwMode="auto">
              <a:xfrm>
                <a:off x="6514177" y="3317211"/>
                <a:ext cx="2165409" cy="581031"/>
              </a:xfrm>
              <a:custGeom>
                <a:avLst/>
                <a:gdLst>
                  <a:gd name="T0" fmla="*/ 0 w 755"/>
                  <a:gd name="T1" fmla="*/ 0 h 203"/>
                  <a:gd name="T2" fmla="*/ 99 w 755"/>
                  <a:gd name="T3" fmla="*/ 0 h 203"/>
                  <a:gd name="T4" fmla="*/ 136 w 755"/>
                  <a:gd name="T5" fmla="*/ 21 h 203"/>
                  <a:gd name="T6" fmla="*/ 174 w 755"/>
                  <a:gd name="T7" fmla="*/ 42 h 203"/>
                  <a:gd name="T8" fmla="*/ 755 w 755"/>
                  <a:gd name="T9" fmla="*/ 42 h 203"/>
                  <a:gd name="T10" fmla="*/ 694 w 755"/>
                  <a:gd name="T11" fmla="*/ 203 h 203"/>
                  <a:gd name="T12" fmla="*/ 119 w 755"/>
                  <a:gd name="T13" fmla="*/ 202 h 203"/>
                  <a:gd name="T14" fmla="*/ 89 w 755"/>
                  <a:gd name="T15" fmla="*/ 151 h 203"/>
                  <a:gd name="T16" fmla="*/ 0 w 755"/>
                  <a:gd name="T17"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5" h="203">
                    <a:moveTo>
                      <a:pt x="0" y="0"/>
                    </a:moveTo>
                    <a:cubicBezTo>
                      <a:pt x="99" y="0"/>
                      <a:pt x="99" y="0"/>
                      <a:pt x="99" y="0"/>
                    </a:cubicBezTo>
                    <a:cubicBezTo>
                      <a:pt x="114" y="0"/>
                      <a:pt x="128" y="8"/>
                      <a:pt x="136" y="21"/>
                    </a:cubicBezTo>
                    <a:cubicBezTo>
                      <a:pt x="144" y="34"/>
                      <a:pt x="158" y="42"/>
                      <a:pt x="174" y="42"/>
                    </a:cubicBezTo>
                    <a:cubicBezTo>
                      <a:pt x="755" y="42"/>
                      <a:pt x="755" y="42"/>
                      <a:pt x="755" y="42"/>
                    </a:cubicBezTo>
                    <a:cubicBezTo>
                      <a:pt x="694" y="203"/>
                      <a:pt x="694" y="203"/>
                      <a:pt x="694" y="203"/>
                    </a:cubicBezTo>
                    <a:cubicBezTo>
                      <a:pt x="119" y="202"/>
                      <a:pt x="119" y="202"/>
                      <a:pt x="119" y="202"/>
                    </a:cubicBezTo>
                    <a:cubicBezTo>
                      <a:pt x="89" y="151"/>
                      <a:pt x="89" y="151"/>
                      <a:pt x="89" y="151"/>
                    </a:cubicBezTo>
                    <a:cubicBezTo>
                      <a:pt x="0" y="0"/>
                      <a:pt x="0" y="0"/>
                      <a:pt x="0" y="0"/>
                    </a:cubicBezTo>
                  </a:path>
                </a:pathLst>
              </a:custGeom>
              <a:solidFill>
                <a:srgbClr val="FF70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2" name="îṧḷîḋe">
                <a:extLst>
                  <a:ext uri="{FF2B5EF4-FFF2-40B4-BE49-F238E27FC236}">
                    <a16:creationId xmlns:a16="http://schemas.microsoft.com/office/drawing/2014/main" id="{A7E776F0-AB09-6E43-B78A-65C03C381F6A}"/>
                  </a:ext>
                </a:extLst>
              </p:cNvPr>
              <p:cNvSpPr/>
              <p:nvPr/>
            </p:nvSpPr>
            <p:spPr bwMode="auto">
              <a:xfrm>
                <a:off x="6649429" y="3546311"/>
                <a:ext cx="1990133" cy="135252"/>
              </a:xfrm>
              <a:custGeom>
                <a:avLst/>
                <a:gdLst>
                  <a:gd name="T0" fmla="*/ 1405 w 1442"/>
                  <a:gd name="T1" fmla="*/ 98 h 98"/>
                  <a:gd name="T2" fmla="*/ 58 w 1442"/>
                  <a:gd name="T3" fmla="*/ 98 h 98"/>
                  <a:gd name="T4" fmla="*/ 0 w 1442"/>
                  <a:gd name="T5" fmla="*/ 0 h 98"/>
                  <a:gd name="T6" fmla="*/ 1442 w 1442"/>
                  <a:gd name="T7" fmla="*/ 0 h 98"/>
                  <a:gd name="T8" fmla="*/ 1405 w 1442"/>
                  <a:gd name="T9" fmla="*/ 98 h 98"/>
                </a:gdLst>
                <a:ahLst/>
                <a:cxnLst>
                  <a:cxn ang="0">
                    <a:pos x="T0" y="T1"/>
                  </a:cxn>
                  <a:cxn ang="0">
                    <a:pos x="T2" y="T3"/>
                  </a:cxn>
                  <a:cxn ang="0">
                    <a:pos x="T4" y="T5"/>
                  </a:cxn>
                  <a:cxn ang="0">
                    <a:pos x="T6" y="T7"/>
                  </a:cxn>
                  <a:cxn ang="0">
                    <a:pos x="T8" y="T9"/>
                  </a:cxn>
                </a:cxnLst>
                <a:rect l="0" t="0" r="r" b="b"/>
                <a:pathLst>
                  <a:path w="1442" h="98">
                    <a:moveTo>
                      <a:pt x="1405" y="98"/>
                    </a:moveTo>
                    <a:lnTo>
                      <a:pt x="58" y="98"/>
                    </a:lnTo>
                    <a:lnTo>
                      <a:pt x="0" y="0"/>
                    </a:lnTo>
                    <a:lnTo>
                      <a:pt x="1442" y="0"/>
                    </a:lnTo>
                    <a:lnTo>
                      <a:pt x="1405" y="98"/>
                    </a:ln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3" name="išļïḍé">
                <a:extLst>
                  <a:ext uri="{FF2B5EF4-FFF2-40B4-BE49-F238E27FC236}">
                    <a16:creationId xmlns:a16="http://schemas.microsoft.com/office/drawing/2014/main" id="{C3FACA2E-18EF-7B48-996A-BA62C1FB042D}"/>
                  </a:ext>
                </a:extLst>
              </p:cNvPr>
              <p:cNvSpPr/>
              <p:nvPr/>
            </p:nvSpPr>
            <p:spPr bwMode="auto">
              <a:xfrm>
                <a:off x="6649429" y="3546311"/>
                <a:ext cx="1990133" cy="135252"/>
              </a:xfrm>
              <a:custGeom>
                <a:avLst/>
                <a:gdLst>
                  <a:gd name="T0" fmla="*/ 1405 w 1442"/>
                  <a:gd name="T1" fmla="*/ 98 h 98"/>
                  <a:gd name="T2" fmla="*/ 58 w 1442"/>
                  <a:gd name="T3" fmla="*/ 98 h 98"/>
                  <a:gd name="T4" fmla="*/ 0 w 1442"/>
                  <a:gd name="T5" fmla="*/ 0 h 98"/>
                  <a:gd name="T6" fmla="*/ 1442 w 1442"/>
                  <a:gd name="T7" fmla="*/ 0 h 98"/>
                  <a:gd name="T8" fmla="*/ 1405 w 1442"/>
                  <a:gd name="T9" fmla="*/ 98 h 98"/>
                </a:gdLst>
                <a:ahLst/>
                <a:cxnLst>
                  <a:cxn ang="0">
                    <a:pos x="T0" y="T1"/>
                  </a:cxn>
                  <a:cxn ang="0">
                    <a:pos x="T2" y="T3"/>
                  </a:cxn>
                  <a:cxn ang="0">
                    <a:pos x="T4" y="T5"/>
                  </a:cxn>
                  <a:cxn ang="0">
                    <a:pos x="T6" y="T7"/>
                  </a:cxn>
                  <a:cxn ang="0">
                    <a:pos x="T8" y="T9"/>
                  </a:cxn>
                </a:cxnLst>
                <a:rect l="0" t="0" r="r" b="b"/>
                <a:pathLst>
                  <a:path w="1442" h="98">
                    <a:moveTo>
                      <a:pt x="1405" y="98"/>
                    </a:moveTo>
                    <a:lnTo>
                      <a:pt x="58" y="98"/>
                    </a:lnTo>
                    <a:lnTo>
                      <a:pt x="0" y="0"/>
                    </a:lnTo>
                    <a:lnTo>
                      <a:pt x="1442" y="0"/>
                    </a:lnTo>
                    <a:lnTo>
                      <a:pt x="1405" y="9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4" name="ïsľiḓé">
                <a:extLst>
                  <a:ext uri="{FF2B5EF4-FFF2-40B4-BE49-F238E27FC236}">
                    <a16:creationId xmlns:a16="http://schemas.microsoft.com/office/drawing/2014/main" id="{4B7BCF6C-725D-A249-88DD-8A867C8602AA}"/>
                  </a:ext>
                </a:extLst>
              </p:cNvPr>
              <p:cNvSpPr/>
              <p:nvPr/>
            </p:nvSpPr>
            <p:spPr bwMode="auto">
              <a:xfrm>
                <a:off x="6514177" y="3317211"/>
                <a:ext cx="329849" cy="229100"/>
              </a:xfrm>
              <a:custGeom>
                <a:avLst/>
                <a:gdLst>
                  <a:gd name="T0" fmla="*/ 69 w 115"/>
                  <a:gd name="T1" fmla="*/ 0 h 80"/>
                  <a:gd name="T2" fmla="*/ 0 w 115"/>
                  <a:gd name="T3" fmla="*/ 0 h 80"/>
                  <a:gd name="T4" fmla="*/ 47 w 115"/>
                  <a:gd name="T5" fmla="*/ 80 h 80"/>
                  <a:gd name="T6" fmla="*/ 115 w 115"/>
                  <a:gd name="T7" fmla="*/ 80 h 80"/>
                  <a:gd name="T8" fmla="*/ 69 w 115"/>
                  <a:gd name="T9" fmla="*/ 0 h 80"/>
                </a:gdLst>
                <a:ahLst/>
                <a:cxnLst>
                  <a:cxn ang="0">
                    <a:pos x="T0" y="T1"/>
                  </a:cxn>
                  <a:cxn ang="0">
                    <a:pos x="T2" y="T3"/>
                  </a:cxn>
                  <a:cxn ang="0">
                    <a:pos x="T4" y="T5"/>
                  </a:cxn>
                  <a:cxn ang="0">
                    <a:pos x="T6" y="T7"/>
                  </a:cxn>
                  <a:cxn ang="0">
                    <a:pos x="T8" y="T9"/>
                  </a:cxn>
                </a:cxnLst>
                <a:rect l="0" t="0" r="r" b="b"/>
                <a:pathLst>
                  <a:path w="115" h="80">
                    <a:moveTo>
                      <a:pt x="69" y="0"/>
                    </a:moveTo>
                    <a:cubicBezTo>
                      <a:pt x="0" y="0"/>
                      <a:pt x="0" y="0"/>
                      <a:pt x="0" y="0"/>
                    </a:cubicBezTo>
                    <a:cubicBezTo>
                      <a:pt x="47" y="80"/>
                      <a:pt x="47" y="80"/>
                      <a:pt x="47" y="80"/>
                    </a:cubicBezTo>
                    <a:cubicBezTo>
                      <a:pt x="115" y="80"/>
                      <a:pt x="115" y="80"/>
                      <a:pt x="115" y="80"/>
                    </a:cubicBezTo>
                    <a:cubicBezTo>
                      <a:pt x="91" y="55"/>
                      <a:pt x="75" y="28"/>
                      <a:pt x="69" y="0"/>
                    </a:cubicBezTo>
                  </a:path>
                </a:pathLst>
              </a:custGeom>
              <a:solidFill>
                <a:srgbClr val="D95F8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5" name="î$ḷiḑé">
                <a:extLst>
                  <a:ext uri="{FF2B5EF4-FFF2-40B4-BE49-F238E27FC236}">
                    <a16:creationId xmlns:a16="http://schemas.microsoft.com/office/drawing/2014/main" id="{129AE70F-EA77-C94B-BC05-C6E23FD600E4}"/>
                  </a:ext>
                </a:extLst>
              </p:cNvPr>
              <p:cNvSpPr/>
              <p:nvPr/>
            </p:nvSpPr>
            <p:spPr bwMode="auto">
              <a:xfrm>
                <a:off x="6660470" y="3562872"/>
                <a:ext cx="955043" cy="335370"/>
              </a:xfrm>
              <a:custGeom>
                <a:avLst/>
                <a:gdLst>
                  <a:gd name="T0" fmla="*/ 0 w 333"/>
                  <a:gd name="T1" fmla="*/ 0 h 117"/>
                  <a:gd name="T2" fmla="*/ 68 w 333"/>
                  <a:gd name="T3" fmla="*/ 116 h 117"/>
                  <a:gd name="T4" fmla="*/ 333 w 333"/>
                  <a:gd name="T5" fmla="*/ 117 h 117"/>
                  <a:gd name="T6" fmla="*/ 124 w 333"/>
                  <a:gd name="T7" fmla="*/ 41 h 117"/>
                  <a:gd name="T8" fmla="*/ 24 w 333"/>
                  <a:gd name="T9" fmla="*/ 41 h 117"/>
                  <a:gd name="T10" fmla="*/ 0 w 333"/>
                  <a:gd name="T11" fmla="*/ 0 h 117"/>
                </a:gdLst>
                <a:ahLst/>
                <a:cxnLst>
                  <a:cxn ang="0">
                    <a:pos x="T0" y="T1"/>
                  </a:cxn>
                  <a:cxn ang="0">
                    <a:pos x="T2" y="T3"/>
                  </a:cxn>
                  <a:cxn ang="0">
                    <a:pos x="T4" y="T5"/>
                  </a:cxn>
                  <a:cxn ang="0">
                    <a:pos x="T6" y="T7"/>
                  </a:cxn>
                  <a:cxn ang="0">
                    <a:pos x="T8" y="T9"/>
                  </a:cxn>
                  <a:cxn ang="0">
                    <a:pos x="T10" y="T11"/>
                  </a:cxn>
                </a:cxnLst>
                <a:rect l="0" t="0" r="r" b="b"/>
                <a:pathLst>
                  <a:path w="333" h="117">
                    <a:moveTo>
                      <a:pt x="0" y="0"/>
                    </a:moveTo>
                    <a:cubicBezTo>
                      <a:pt x="68" y="116"/>
                      <a:pt x="68" y="116"/>
                      <a:pt x="68" y="116"/>
                    </a:cubicBezTo>
                    <a:cubicBezTo>
                      <a:pt x="333" y="117"/>
                      <a:pt x="333" y="117"/>
                      <a:pt x="333" y="117"/>
                    </a:cubicBezTo>
                    <a:cubicBezTo>
                      <a:pt x="250" y="101"/>
                      <a:pt x="178" y="74"/>
                      <a:pt x="124" y="41"/>
                    </a:cubicBezTo>
                    <a:cubicBezTo>
                      <a:pt x="24" y="41"/>
                      <a:pt x="24" y="41"/>
                      <a:pt x="24" y="41"/>
                    </a:cubicBezTo>
                    <a:cubicBezTo>
                      <a:pt x="0" y="0"/>
                      <a:pt x="0" y="0"/>
                      <a:pt x="0" y="0"/>
                    </a:cubicBezTo>
                  </a:path>
                </a:pathLst>
              </a:custGeom>
              <a:solidFill>
                <a:srgbClr val="D95F8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6" name="íṥḷîďè">
                <a:extLst>
                  <a:ext uri="{FF2B5EF4-FFF2-40B4-BE49-F238E27FC236}">
                    <a16:creationId xmlns:a16="http://schemas.microsoft.com/office/drawing/2014/main" id="{F6D5C6CF-09B6-464D-811F-DD91F1985E21}"/>
                  </a:ext>
                </a:extLst>
              </p:cNvPr>
              <p:cNvSpPr/>
              <p:nvPr/>
            </p:nvSpPr>
            <p:spPr bwMode="auto">
              <a:xfrm>
                <a:off x="6649429" y="3546311"/>
                <a:ext cx="367112" cy="135252"/>
              </a:xfrm>
              <a:custGeom>
                <a:avLst/>
                <a:gdLst>
                  <a:gd name="T0" fmla="*/ 68 w 128"/>
                  <a:gd name="T1" fmla="*/ 0 h 47"/>
                  <a:gd name="T2" fmla="*/ 0 w 128"/>
                  <a:gd name="T3" fmla="*/ 0 h 47"/>
                  <a:gd name="T4" fmla="*/ 4 w 128"/>
                  <a:gd name="T5" fmla="*/ 6 h 47"/>
                  <a:gd name="T6" fmla="*/ 28 w 128"/>
                  <a:gd name="T7" fmla="*/ 47 h 47"/>
                  <a:gd name="T8" fmla="*/ 128 w 128"/>
                  <a:gd name="T9" fmla="*/ 47 h 47"/>
                  <a:gd name="T10" fmla="*/ 68 w 128"/>
                  <a:gd name="T11" fmla="*/ 0 h 47"/>
                </a:gdLst>
                <a:ahLst/>
                <a:cxnLst>
                  <a:cxn ang="0">
                    <a:pos x="T0" y="T1"/>
                  </a:cxn>
                  <a:cxn ang="0">
                    <a:pos x="T2" y="T3"/>
                  </a:cxn>
                  <a:cxn ang="0">
                    <a:pos x="T4" y="T5"/>
                  </a:cxn>
                  <a:cxn ang="0">
                    <a:pos x="T6" y="T7"/>
                  </a:cxn>
                  <a:cxn ang="0">
                    <a:pos x="T8" y="T9"/>
                  </a:cxn>
                  <a:cxn ang="0">
                    <a:pos x="T10" y="T11"/>
                  </a:cxn>
                </a:cxnLst>
                <a:rect l="0" t="0" r="r" b="b"/>
                <a:pathLst>
                  <a:path w="128" h="47">
                    <a:moveTo>
                      <a:pt x="68" y="0"/>
                    </a:moveTo>
                    <a:cubicBezTo>
                      <a:pt x="0" y="0"/>
                      <a:pt x="0" y="0"/>
                      <a:pt x="0" y="0"/>
                    </a:cubicBezTo>
                    <a:cubicBezTo>
                      <a:pt x="4" y="6"/>
                      <a:pt x="4" y="6"/>
                      <a:pt x="4" y="6"/>
                    </a:cubicBezTo>
                    <a:cubicBezTo>
                      <a:pt x="28" y="47"/>
                      <a:pt x="28" y="47"/>
                      <a:pt x="28" y="47"/>
                    </a:cubicBezTo>
                    <a:cubicBezTo>
                      <a:pt x="128" y="47"/>
                      <a:pt x="128" y="47"/>
                      <a:pt x="128" y="47"/>
                    </a:cubicBezTo>
                    <a:cubicBezTo>
                      <a:pt x="104" y="33"/>
                      <a:pt x="84" y="17"/>
                      <a:pt x="68" y="0"/>
                    </a:cubicBezTo>
                  </a:path>
                </a:pathLst>
              </a:custGeom>
              <a:solidFill>
                <a:srgbClr val="0031A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7" name="îṡlíḋé">
                <a:extLst>
                  <a:ext uri="{FF2B5EF4-FFF2-40B4-BE49-F238E27FC236}">
                    <a16:creationId xmlns:a16="http://schemas.microsoft.com/office/drawing/2014/main" id="{54140F74-A21D-6B4B-A73B-2DBFDDF9552C}"/>
                  </a:ext>
                </a:extLst>
              </p:cNvPr>
              <p:cNvSpPr/>
              <p:nvPr/>
            </p:nvSpPr>
            <p:spPr bwMode="auto">
              <a:xfrm>
                <a:off x="8338696" y="2845210"/>
                <a:ext cx="146293" cy="208399"/>
              </a:xfrm>
              <a:custGeom>
                <a:avLst/>
                <a:gdLst>
                  <a:gd name="T0" fmla="*/ 15 w 51"/>
                  <a:gd name="T1" fmla="*/ 46 h 73"/>
                  <a:gd name="T2" fmla="*/ 15 w 51"/>
                  <a:gd name="T3" fmla="*/ 25 h 73"/>
                  <a:gd name="T4" fmla="*/ 22 w 51"/>
                  <a:gd name="T5" fmla="*/ 18 h 73"/>
                  <a:gd name="T6" fmla="*/ 30 w 51"/>
                  <a:gd name="T7" fmla="*/ 18 h 73"/>
                  <a:gd name="T8" fmla="*/ 36 w 51"/>
                  <a:gd name="T9" fmla="*/ 22 h 73"/>
                  <a:gd name="T10" fmla="*/ 37 w 51"/>
                  <a:gd name="T11" fmla="*/ 22 h 73"/>
                  <a:gd name="T12" fmla="*/ 37 w 51"/>
                  <a:gd name="T13" fmla="*/ 22 h 73"/>
                  <a:gd name="T14" fmla="*/ 37 w 51"/>
                  <a:gd name="T15" fmla="*/ 25 h 73"/>
                  <a:gd name="T16" fmla="*/ 37 w 51"/>
                  <a:gd name="T17" fmla="*/ 47 h 73"/>
                  <a:gd name="T18" fmla="*/ 36 w 51"/>
                  <a:gd name="T19" fmla="*/ 51 h 73"/>
                  <a:gd name="T20" fmla="*/ 36 w 51"/>
                  <a:gd name="T21" fmla="*/ 54 h 73"/>
                  <a:gd name="T22" fmla="*/ 30 w 51"/>
                  <a:gd name="T23" fmla="*/ 54 h 73"/>
                  <a:gd name="T24" fmla="*/ 30 w 51"/>
                  <a:gd name="T25" fmla="*/ 54 h 73"/>
                  <a:gd name="T26" fmla="*/ 22 w 51"/>
                  <a:gd name="T27" fmla="*/ 54 h 73"/>
                  <a:gd name="T28" fmla="*/ 22 w 51"/>
                  <a:gd name="T29" fmla="*/ 54 h 73"/>
                  <a:gd name="T30" fmla="*/ 17 w 51"/>
                  <a:gd name="T31" fmla="*/ 54 h 73"/>
                  <a:gd name="T32" fmla="*/ 17 w 51"/>
                  <a:gd name="T33" fmla="*/ 51 h 73"/>
                  <a:gd name="T34" fmla="*/ 15 w 51"/>
                  <a:gd name="T35" fmla="*/ 49 h 73"/>
                  <a:gd name="T36" fmla="*/ 14 w 51"/>
                  <a:gd name="T37" fmla="*/ 48 h 73"/>
                  <a:gd name="T38" fmla="*/ 15 w 51"/>
                  <a:gd name="T39" fmla="*/ 46 h 73"/>
                  <a:gd name="T40" fmla="*/ 51 w 51"/>
                  <a:gd name="T41" fmla="*/ 0 h 73"/>
                  <a:gd name="T42" fmla="*/ 0 w 51"/>
                  <a:gd name="T43" fmla="*/ 0 h 73"/>
                  <a:gd name="T44" fmla="*/ 0 w 51"/>
                  <a:gd name="T45" fmla="*/ 73 h 73"/>
                  <a:gd name="T46" fmla="*/ 51 w 51"/>
                  <a:gd name="T47" fmla="*/ 73 h 73"/>
                  <a:gd name="T48" fmla="*/ 51 w 51"/>
                  <a:gd name="T49"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 h="73">
                    <a:moveTo>
                      <a:pt x="15" y="46"/>
                    </a:moveTo>
                    <a:cubicBezTo>
                      <a:pt x="15" y="25"/>
                      <a:pt x="15" y="25"/>
                      <a:pt x="15" y="25"/>
                    </a:cubicBezTo>
                    <a:cubicBezTo>
                      <a:pt x="15" y="21"/>
                      <a:pt x="18" y="18"/>
                      <a:pt x="22" y="18"/>
                    </a:cubicBezTo>
                    <a:cubicBezTo>
                      <a:pt x="30" y="18"/>
                      <a:pt x="30" y="18"/>
                      <a:pt x="30" y="18"/>
                    </a:cubicBezTo>
                    <a:cubicBezTo>
                      <a:pt x="33" y="18"/>
                      <a:pt x="35" y="20"/>
                      <a:pt x="36" y="22"/>
                    </a:cubicBezTo>
                    <a:cubicBezTo>
                      <a:pt x="37" y="22"/>
                      <a:pt x="37" y="22"/>
                      <a:pt x="37" y="22"/>
                    </a:cubicBezTo>
                    <a:cubicBezTo>
                      <a:pt x="37" y="22"/>
                      <a:pt x="37" y="22"/>
                      <a:pt x="37" y="22"/>
                    </a:cubicBezTo>
                    <a:cubicBezTo>
                      <a:pt x="37" y="23"/>
                      <a:pt x="37" y="24"/>
                      <a:pt x="37" y="25"/>
                    </a:cubicBezTo>
                    <a:cubicBezTo>
                      <a:pt x="37" y="47"/>
                      <a:pt x="37" y="47"/>
                      <a:pt x="37" y="47"/>
                    </a:cubicBezTo>
                    <a:cubicBezTo>
                      <a:pt x="37" y="48"/>
                      <a:pt x="37" y="50"/>
                      <a:pt x="36" y="51"/>
                    </a:cubicBezTo>
                    <a:cubicBezTo>
                      <a:pt x="36" y="54"/>
                      <a:pt x="36" y="54"/>
                      <a:pt x="36" y="54"/>
                    </a:cubicBezTo>
                    <a:cubicBezTo>
                      <a:pt x="30" y="54"/>
                      <a:pt x="30" y="54"/>
                      <a:pt x="30" y="54"/>
                    </a:cubicBezTo>
                    <a:cubicBezTo>
                      <a:pt x="30" y="54"/>
                      <a:pt x="30" y="54"/>
                      <a:pt x="30" y="54"/>
                    </a:cubicBezTo>
                    <a:cubicBezTo>
                      <a:pt x="22" y="54"/>
                      <a:pt x="22" y="54"/>
                      <a:pt x="22" y="54"/>
                    </a:cubicBezTo>
                    <a:cubicBezTo>
                      <a:pt x="22" y="54"/>
                      <a:pt x="22" y="54"/>
                      <a:pt x="22" y="54"/>
                    </a:cubicBezTo>
                    <a:cubicBezTo>
                      <a:pt x="17" y="54"/>
                      <a:pt x="17" y="54"/>
                      <a:pt x="17" y="54"/>
                    </a:cubicBezTo>
                    <a:cubicBezTo>
                      <a:pt x="17" y="51"/>
                      <a:pt x="17" y="51"/>
                      <a:pt x="17" y="51"/>
                    </a:cubicBezTo>
                    <a:cubicBezTo>
                      <a:pt x="16" y="51"/>
                      <a:pt x="16" y="50"/>
                      <a:pt x="15" y="49"/>
                    </a:cubicBezTo>
                    <a:cubicBezTo>
                      <a:pt x="14" y="48"/>
                      <a:pt x="14" y="48"/>
                      <a:pt x="14" y="48"/>
                    </a:cubicBezTo>
                    <a:cubicBezTo>
                      <a:pt x="15" y="46"/>
                      <a:pt x="15" y="46"/>
                      <a:pt x="15" y="46"/>
                    </a:cubicBezTo>
                    <a:moveTo>
                      <a:pt x="51" y="0"/>
                    </a:moveTo>
                    <a:cubicBezTo>
                      <a:pt x="0" y="0"/>
                      <a:pt x="0" y="0"/>
                      <a:pt x="0" y="0"/>
                    </a:cubicBezTo>
                    <a:cubicBezTo>
                      <a:pt x="0" y="73"/>
                      <a:pt x="0" y="73"/>
                      <a:pt x="0" y="73"/>
                    </a:cubicBezTo>
                    <a:cubicBezTo>
                      <a:pt x="51" y="73"/>
                      <a:pt x="51" y="73"/>
                      <a:pt x="51" y="73"/>
                    </a:cubicBezTo>
                    <a:cubicBezTo>
                      <a:pt x="51" y="0"/>
                      <a:pt x="51" y="0"/>
                      <a:pt x="51" y="0"/>
                    </a:cubicBezTo>
                  </a:path>
                </a:pathLst>
              </a:custGeom>
              <a:solidFill>
                <a:srgbClr val="4C6CB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8" name="i$1ídé">
                <a:extLst>
                  <a:ext uri="{FF2B5EF4-FFF2-40B4-BE49-F238E27FC236}">
                    <a16:creationId xmlns:a16="http://schemas.microsoft.com/office/drawing/2014/main" id="{839769FD-12B9-CC4E-B003-D8E1F3436C6D}"/>
                  </a:ext>
                </a:extLst>
              </p:cNvPr>
              <p:cNvSpPr/>
              <p:nvPr/>
            </p:nvSpPr>
            <p:spPr bwMode="auto">
              <a:xfrm>
                <a:off x="8338696" y="3107432"/>
                <a:ext cx="146293" cy="329849"/>
              </a:xfrm>
              <a:prstGeom prst="rect">
                <a:avLst/>
              </a:prstGeom>
              <a:solidFill>
                <a:srgbClr val="4C6CB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779" name="íṡlîdé">
                <a:extLst>
                  <a:ext uri="{FF2B5EF4-FFF2-40B4-BE49-F238E27FC236}">
                    <a16:creationId xmlns:a16="http://schemas.microsoft.com/office/drawing/2014/main" id="{765DA73E-AC45-3148-B3C8-3CD46EDC4859}"/>
                  </a:ext>
                </a:extLst>
              </p:cNvPr>
              <p:cNvSpPr/>
              <p:nvPr/>
            </p:nvSpPr>
            <p:spPr bwMode="auto">
              <a:xfrm>
                <a:off x="8338696" y="3107432"/>
                <a:ext cx="146293" cy="329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780" name="îṥlíḓè">
                <a:extLst>
                  <a:ext uri="{FF2B5EF4-FFF2-40B4-BE49-F238E27FC236}">
                    <a16:creationId xmlns:a16="http://schemas.microsoft.com/office/drawing/2014/main" id="{74C6BF92-8347-394C-B43A-10B45871461C}"/>
                  </a:ext>
                </a:extLst>
              </p:cNvPr>
              <p:cNvSpPr/>
              <p:nvPr/>
            </p:nvSpPr>
            <p:spPr bwMode="auto">
              <a:xfrm>
                <a:off x="8338696" y="3053608"/>
                <a:ext cx="146293" cy="53825"/>
              </a:xfrm>
              <a:custGeom>
                <a:avLst/>
                <a:gdLst>
                  <a:gd name="T0" fmla="*/ 106 w 106"/>
                  <a:gd name="T1" fmla="*/ 0 h 39"/>
                  <a:gd name="T2" fmla="*/ 106 w 106"/>
                  <a:gd name="T3" fmla="*/ 0 h 39"/>
                  <a:gd name="T4" fmla="*/ 0 w 106"/>
                  <a:gd name="T5" fmla="*/ 0 h 39"/>
                  <a:gd name="T6" fmla="*/ 0 w 106"/>
                  <a:gd name="T7" fmla="*/ 39 h 39"/>
                  <a:gd name="T8" fmla="*/ 106 w 106"/>
                  <a:gd name="T9" fmla="*/ 39 h 39"/>
                  <a:gd name="T10" fmla="*/ 106 w 106"/>
                  <a:gd name="T11" fmla="*/ 0 h 39"/>
                </a:gdLst>
                <a:ahLst/>
                <a:cxnLst>
                  <a:cxn ang="0">
                    <a:pos x="T0" y="T1"/>
                  </a:cxn>
                  <a:cxn ang="0">
                    <a:pos x="T2" y="T3"/>
                  </a:cxn>
                  <a:cxn ang="0">
                    <a:pos x="T4" y="T5"/>
                  </a:cxn>
                  <a:cxn ang="0">
                    <a:pos x="T6" y="T7"/>
                  </a:cxn>
                  <a:cxn ang="0">
                    <a:pos x="T8" y="T9"/>
                  </a:cxn>
                  <a:cxn ang="0">
                    <a:pos x="T10" y="T11"/>
                  </a:cxn>
                </a:cxnLst>
                <a:rect l="0" t="0" r="r" b="b"/>
                <a:pathLst>
                  <a:path w="106" h="39">
                    <a:moveTo>
                      <a:pt x="106" y="0"/>
                    </a:moveTo>
                    <a:lnTo>
                      <a:pt x="106" y="0"/>
                    </a:lnTo>
                    <a:lnTo>
                      <a:pt x="0" y="0"/>
                    </a:lnTo>
                    <a:lnTo>
                      <a:pt x="0" y="39"/>
                    </a:lnTo>
                    <a:lnTo>
                      <a:pt x="106" y="39"/>
                    </a:lnTo>
                    <a:lnTo>
                      <a:pt x="106" y="0"/>
                    </a:lnTo>
                    <a:close/>
                  </a:path>
                </a:pathLst>
              </a:custGeom>
              <a:solidFill>
                <a:srgbClr val="0031A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1" name="íṣlíḍé">
                <a:extLst>
                  <a:ext uri="{FF2B5EF4-FFF2-40B4-BE49-F238E27FC236}">
                    <a16:creationId xmlns:a16="http://schemas.microsoft.com/office/drawing/2014/main" id="{90C3A72C-CE3F-3C4B-BD7F-C08F03BA2C34}"/>
                  </a:ext>
                </a:extLst>
              </p:cNvPr>
              <p:cNvSpPr/>
              <p:nvPr/>
            </p:nvSpPr>
            <p:spPr bwMode="auto">
              <a:xfrm>
                <a:off x="8338696" y="3053608"/>
                <a:ext cx="146293" cy="53825"/>
              </a:xfrm>
              <a:custGeom>
                <a:avLst/>
                <a:gdLst>
                  <a:gd name="T0" fmla="*/ 106 w 106"/>
                  <a:gd name="T1" fmla="*/ 0 h 39"/>
                  <a:gd name="T2" fmla="*/ 106 w 106"/>
                  <a:gd name="T3" fmla="*/ 0 h 39"/>
                  <a:gd name="T4" fmla="*/ 0 w 106"/>
                  <a:gd name="T5" fmla="*/ 0 h 39"/>
                  <a:gd name="T6" fmla="*/ 0 w 106"/>
                  <a:gd name="T7" fmla="*/ 39 h 39"/>
                  <a:gd name="T8" fmla="*/ 106 w 106"/>
                  <a:gd name="T9" fmla="*/ 39 h 39"/>
                  <a:gd name="T10" fmla="*/ 106 w 106"/>
                  <a:gd name="T11" fmla="*/ 0 h 39"/>
                </a:gdLst>
                <a:ahLst/>
                <a:cxnLst>
                  <a:cxn ang="0">
                    <a:pos x="T0" y="T1"/>
                  </a:cxn>
                  <a:cxn ang="0">
                    <a:pos x="T2" y="T3"/>
                  </a:cxn>
                  <a:cxn ang="0">
                    <a:pos x="T4" y="T5"/>
                  </a:cxn>
                  <a:cxn ang="0">
                    <a:pos x="T6" y="T7"/>
                  </a:cxn>
                  <a:cxn ang="0">
                    <a:pos x="T8" y="T9"/>
                  </a:cxn>
                  <a:cxn ang="0">
                    <a:pos x="T10" y="T11"/>
                  </a:cxn>
                </a:cxnLst>
                <a:rect l="0" t="0" r="r" b="b"/>
                <a:pathLst>
                  <a:path w="106" h="39">
                    <a:moveTo>
                      <a:pt x="106" y="0"/>
                    </a:moveTo>
                    <a:lnTo>
                      <a:pt x="106" y="0"/>
                    </a:lnTo>
                    <a:lnTo>
                      <a:pt x="0" y="0"/>
                    </a:lnTo>
                    <a:lnTo>
                      <a:pt x="0" y="39"/>
                    </a:lnTo>
                    <a:lnTo>
                      <a:pt x="106" y="39"/>
                    </a:lnTo>
                    <a:lnTo>
                      <a:pt x="1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2" name="íṩḻiḋe">
                <a:extLst>
                  <a:ext uri="{FF2B5EF4-FFF2-40B4-BE49-F238E27FC236}">
                    <a16:creationId xmlns:a16="http://schemas.microsoft.com/office/drawing/2014/main" id="{6C6754D4-9D7B-1F47-9AC4-DE5C4F46953E}"/>
                  </a:ext>
                </a:extLst>
              </p:cNvPr>
              <p:cNvSpPr/>
              <p:nvPr/>
            </p:nvSpPr>
            <p:spPr bwMode="auto">
              <a:xfrm>
                <a:off x="8338696" y="3437282"/>
                <a:ext cx="146293" cy="5520"/>
              </a:xfrm>
              <a:custGeom>
                <a:avLst/>
                <a:gdLst>
                  <a:gd name="T0" fmla="*/ 106 w 106"/>
                  <a:gd name="T1" fmla="*/ 0 h 4"/>
                  <a:gd name="T2" fmla="*/ 106 w 106"/>
                  <a:gd name="T3" fmla="*/ 0 h 4"/>
                  <a:gd name="T4" fmla="*/ 0 w 106"/>
                  <a:gd name="T5" fmla="*/ 0 h 4"/>
                  <a:gd name="T6" fmla="*/ 0 w 106"/>
                  <a:gd name="T7" fmla="*/ 4 h 4"/>
                  <a:gd name="T8" fmla="*/ 106 w 106"/>
                  <a:gd name="T9" fmla="*/ 4 h 4"/>
                  <a:gd name="T10" fmla="*/ 106 w 106"/>
                  <a:gd name="T11" fmla="*/ 0 h 4"/>
                </a:gdLst>
                <a:ahLst/>
                <a:cxnLst>
                  <a:cxn ang="0">
                    <a:pos x="T0" y="T1"/>
                  </a:cxn>
                  <a:cxn ang="0">
                    <a:pos x="T2" y="T3"/>
                  </a:cxn>
                  <a:cxn ang="0">
                    <a:pos x="T4" y="T5"/>
                  </a:cxn>
                  <a:cxn ang="0">
                    <a:pos x="T6" y="T7"/>
                  </a:cxn>
                  <a:cxn ang="0">
                    <a:pos x="T8" y="T9"/>
                  </a:cxn>
                  <a:cxn ang="0">
                    <a:pos x="T10" y="T11"/>
                  </a:cxn>
                </a:cxnLst>
                <a:rect l="0" t="0" r="r" b="b"/>
                <a:pathLst>
                  <a:path w="106" h="4">
                    <a:moveTo>
                      <a:pt x="106" y="0"/>
                    </a:moveTo>
                    <a:lnTo>
                      <a:pt x="106" y="0"/>
                    </a:lnTo>
                    <a:lnTo>
                      <a:pt x="0" y="0"/>
                    </a:lnTo>
                    <a:lnTo>
                      <a:pt x="0" y="4"/>
                    </a:lnTo>
                    <a:lnTo>
                      <a:pt x="106" y="4"/>
                    </a:lnTo>
                    <a:lnTo>
                      <a:pt x="106" y="0"/>
                    </a:lnTo>
                    <a:close/>
                  </a:path>
                </a:pathLst>
              </a:custGeom>
              <a:solidFill>
                <a:srgbClr val="D95F8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3" name="íśḻïďè">
                <a:extLst>
                  <a:ext uri="{FF2B5EF4-FFF2-40B4-BE49-F238E27FC236}">
                    <a16:creationId xmlns:a16="http://schemas.microsoft.com/office/drawing/2014/main" id="{A1C01FFD-F6FC-B546-88CD-0741E03D722E}"/>
                  </a:ext>
                </a:extLst>
              </p:cNvPr>
              <p:cNvSpPr/>
              <p:nvPr/>
            </p:nvSpPr>
            <p:spPr bwMode="auto">
              <a:xfrm>
                <a:off x="8338696" y="3437282"/>
                <a:ext cx="146293" cy="5520"/>
              </a:xfrm>
              <a:custGeom>
                <a:avLst/>
                <a:gdLst>
                  <a:gd name="T0" fmla="*/ 106 w 106"/>
                  <a:gd name="T1" fmla="*/ 0 h 4"/>
                  <a:gd name="T2" fmla="*/ 106 w 106"/>
                  <a:gd name="T3" fmla="*/ 0 h 4"/>
                  <a:gd name="T4" fmla="*/ 0 w 106"/>
                  <a:gd name="T5" fmla="*/ 0 h 4"/>
                  <a:gd name="T6" fmla="*/ 0 w 106"/>
                  <a:gd name="T7" fmla="*/ 4 h 4"/>
                  <a:gd name="T8" fmla="*/ 106 w 106"/>
                  <a:gd name="T9" fmla="*/ 4 h 4"/>
                  <a:gd name="T10" fmla="*/ 106 w 106"/>
                  <a:gd name="T11" fmla="*/ 0 h 4"/>
                </a:gdLst>
                <a:ahLst/>
                <a:cxnLst>
                  <a:cxn ang="0">
                    <a:pos x="T0" y="T1"/>
                  </a:cxn>
                  <a:cxn ang="0">
                    <a:pos x="T2" y="T3"/>
                  </a:cxn>
                  <a:cxn ang="0">
                    <a:pos x="T4" y="T5"/>
                  </a:cxn>
                  <a:cxn ang="0">
                    <a:pos x="T6" y="T7"/>
                  </a:cxn>
                  <a:cxn ang="0">
                    <a:pos x="T8" y="T9"/>
                  </a:cxn>
                  <a:cxn ang="0">
                    <a:pos x="T10" y="T11"/>
                  </a:cxn>
                </a:cxnLst>
                <a:rect l="0" t="0" r="r" b="b"/>
                <a:pathLst>
                  <a:path w="106" h="4">
                    <a:moveTo>
                      <a:pt x="106" y="0"/>
                    </a:moveTo>
                    <a:lnTo>
                      <a:pt x="106" y="0"/>
                    </a:lnTo>
                    <a:lnTo>
                      <a:pt x="0" y="0"/>
                    </a:lnTo>
                    <a:lnTo>
                      <a:pt x="0" y="4"/>
                    </a:lnTo>
                    <a:lnTo>
                      <a:pt x="106" y="4"/>
                    </a:lnTo>
                    <a:lnTo>
                      <a:pt x="1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4" name="ís1iḑe">
                <a:extLst>
                  <a:ext uri="{FF2B5EF4-FFF2-40B4-BE49-F238E27FC236}">
                    <a16:creationId xmlns:a16="http://schemas.microsoft.com/office/drawing/2014/main" id="{147BDFFD-3172-BE4C-99B4-62262AE238BE}"/>
                  </a:ext>
                </a:extLst>
              </p:cNvPr>
              <p:cNvSpPr/>
              <p:nvPr/>
            </p:nvSpPr>
            <p:spPr bwMode="auto">
              <a:xfrm>
                <a:off x="8381480" y="2896275"/>
                <a:ext cx="63486" cy="103509"/>
              </a:xfrm>
              <a:custGeom>
                <a:avLst/>
                <a:gdLst>
                  <a:gd name="T0" fmla="*/ 15 w 22"/>
                  <a:gd name="T1" fmla="*/ 36 h 36"/>
                  <a:gd name="T2" fmla="*/ 7 w 22"/>
                  <a:gd name="T3" fmla="*/ 36 h 36"/>
                  <a:gd name="T4" fmla="*/ 0 w 22"/>
                  <a:gd name="T5" fmla="*/ 29 h 36"/>
                  <a:gd name="T6" fmla="*/ 0 w 22"/>
                  <a:gd name="T7" fmla="*/ 7 h 36"/>
                  <a:gd name="T8" fmla="*/ 7 w 22"/>
                  <a:gd name="T9" fmla="*/ 0 h 36"/>
                  <a:gd name="T10" fmla="*/ 15 w 22"/>
                  <a:gd name="T11" fmla="*/ 0 h 36"/>
                  <a:gd name="T12" fmla="*/ 22 w 22"/>
                  <a:gd name="T13" fmla="*/ 7 h 36"/>
                  <a:gd name="T14" fmla="*/ 22 w 22"/>
                  <a:gd name="T15" fmla="*/ 29 h 36"/>
                  <a:gd name="T16" fmla="*/ 15 w 22"/>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36">
                    <a:moveTo>
                      <a:pt x="15" y="36"/>
                    </a:moveTo>
                    <a:cubicBezTo>
                      <a:pt x="7" y="36"/>
                      <a:pt x="7" y="36"/>
                      <a:pt x="7" y="36"/>
                    </a:cubicBezTo>
                    <a:cubicBezTo>
                      <a:pt x="3" y="36"/>
                      <a:pt x="0" y="33"/>
                      <a:pt x="0" y="29"/>
                    </a:cubicBezTo>
                    <a:cubicBezTo>
                      <a:pt x="0" y="7"/>
                      <a:pt x="0" y="7"/>
                      <a:pt x="0" y="7"/>
                    </a:cubicBezTo>
                    <a:cubicBezTo>
                      <a:pt x="0" y="3"/>
                      <a:pt x="3" y="0"/>
                      <a:pt x="7" y="0"/>
                    </a:cubicBezTo>
                    <a:cubicBezTo>
                      <a:pt x="15" y="0"/>
                      <a:pt x="15" y="0"/>
                      <a:pt x="15" y="0"/>
                    </a:cubicBezTo>
                    <a:cubicBezTo>
                      <a:pt x="19" y="0"/>
                      <a:pt x="22" y="3"/>
                      <a:pt x="22" y="7"/>
                    </a:cubicBezTo>
                    <a:cubicBezTo>
                      <a:pt x="22" y="29"/>
                      <a:pt x="22" y="29"/>
                      <a:pt x="22" y="29"/>
                    </a:cubicBezTo>
                    <a:cubicBezTo>
                      <a:pt x="22" y="33"/>
                      <a:pt x="19" y="36"/>
                      <a:pt x="15" y="36"/>
                    </a:cubicBezTo>
                  </a:path>
                </a:pathLst>
              </a:custGeom>
              <a:solidFill>
                <a:srgbClr val="BFCEE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5" name="íṧľíďè">
                <a:extLst>
                  <a:ext uri="{FF2B5EF4-FFF2-40B4-BE49-F238E27FC236}">
                    <a16:creationId xmlns:a16="http://schemas.microsoft.com/office/drawing/2014/main" id="{0EB030C8-5789-1A45-BDDB-D336F99E1DA5}"/>
                  </a:ext>
                </a:extLst>
              </p:cNvPr>
              <p:cNvSpPr/>
              <p:nvPr/>
            </p:nvSpPr>
            <p:spPr bwMode="auto">
              <a:xfrm>
                <a:off x="8387000" y="2990123"/>
                <a:ext cx="55205" cy="9661"/>
              </a:xfrm>
              <a:custGeom>
                <a:avLst/>
                <a:gdLst>
                  <a:gd name="T0" fmla="*/ 19 w 19"/>
                  <a:gd name="T1" fmla="*/ 0 h 3"/>
                  <a:gd name="T2" fmla="*/ 13 w 19"/>
                  <a:gd name="T3" fmla="*/ 3 h 3"/>
                  <a:gd name="T4" fmla="*/ 19 w 19"/>
                  <a:gd name="T5" fmla="*/ 3 h 3"/>
                  <a:gd name="T6" fmla="*/ 19 w 19"/>
                  <a:gd name="T7" fmla="*/ 0 h 3"/>
                  <a:gd name="T8" fmla="*/ 0 w 19"/>
                  <a:gd name="T9" fmla="*/ 0 h 3"/>
                  <a:gd name="T10" fmla="*/ 0 w 19"/>
                  <a:gd name="T11" fmla="*/ 3 h 3"/>
                  <a:gd name="T12" fmla="*/ 5 w 19"/>
                  <a:gd name="T13" fmla="*/ 3 h 3"/>
                  <a:gd name="T14" fmla="*/ 0 w 19"/>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3">
                    <a:moveTo>
                      <a:pt x="19" y="0"/>
                    </a:moveTo>
                    <a:cubicBezTo>
                      <a:pt x="17" y="2"/>
                      <a:pt x="15" y="3"/>
                      <a:pt x="13" y="3"/>
                    </a:cubicBezTo>
                    <a:cubicBezTo>
                      <a:pt x="19" y="3"/>
                      <a:pt x="19" y="3"/>
                      <a:pt x="19" y="3"/>
                    </a:cubicBezTo>
                    <a:cubicBezTo>
                      <a:pt x="19" y="0"/>
                      <a:pt x="19" y="0"/>
                      <a:pt x="19" y="0"/>
                    </a:cubicBezTo>
                    <a:moveTo>
                      <a:pt x="0" y="0"/>
                    </a:moveTo>
                    <a:cubicBezTo>
                      <a:pt x="0" y="3"/>
                      <a:pt x="0" y="3"/>
                      <a:pt x="0" y="3"/>
                    </a:cubicBezTo>
                    <a:cubicBezTo>
                      <a:pt x="5" y="3"/>
                      <a:pt x="5" y="3"/>
                      <a:pt x="5" y="3"/>
                    </a:cubicBezTo>
                    <a:cubicBezTo>
                      <a:pt x="3" y="3"/>
                      <a:pt x="1" y="2"/>
                      <a:pt x="0" y="0"/>
                    </a:cubicBezTo>
                  </a:path>
                </a:pathLst>
              </a:custGeom>
              <a:solidFill>
                <a:srgbClr val="415C9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6" name="iṩḷïdé">
                <a:extLst>
                  <a:ext uri="{FF2B5EF4-FFF2-40B4-BE49-F238E27FC236}">
                    <a16:creationId xmlns:a16="http://schemas.microsoft.com/office/drawing/2014/main" id="{3EE6E198-8A4F-1549-AD90-0F7DCE3A1C03}"/>
                  </a:ext>
                </a:extLst>
              </p:cNvPr>
              <p:cNvSpPr/>
              <p:nvPr/>
            </p:nvSpPr>
            <p:spPr bwMode="auto">
              <a:xfrm>
                <a:off x="8387000" y="2970801"/>
                <a:ext cx="55205" cy="28983"/>
              </a:xfrm>
              <a:custGeom>
                <a:avLst/>
                <a:gdLst>
                  <a:gd name="T0" fmla="*/ 19 w 19"/>
                  <a:gd name="T1" fmla="*/ 0 h 10"/>
                  <a:gd name="T2" fmla="*/ 7 w 19"/>
                  <a:gd name="T3" fmla="*/ 0 h 10"/>
                  <a:gd name="T4" fmla="*/ 3 w 19"/>
                  <a:gd name="T5" fmla="*/ 8 h 10"/>
                  <a:gd name="T6" fmla="*/ 0 w 19"/>
                  <a:gd name="T7" fmla="*/ 6 h 10"/>
                  <a:gd name="T8" fmla="*/ 0 w 19"/>
                  <a:gd name="T9" fmla="*/ 7 h 10"/>
                  <a:gd name="T10" fmla="*/ 5 w 19"/>
                  <a:gd name="T11" fmla="*/ 10 h 10"/>
                  <a:gd name="T12" fmla="*/ 13 w 19"/>
                  <a:gd name="T13" fmla="*/ 10 h 10"/>
                  <a:gd name="T14" fmla="*/ 19 w 19"/>
                  <a:gd name="T15" fmla="*/ 7 h 10"/>
                  <a:gd name="T16" fmla="*/ 19 w 19"/>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0">
                    <a:moveTo>
                      <a:pt x="19" y="0"/>
                    </a:moveTo>
                    <a:cubicBezTo>
                      <a:pt x="7" y="0"/>
                      <a:pt x="7" y="0"/>
                      <a:pt x="7" y="0"/>
                    </a:cubicBezTo>
                    <a:cubicBezTo>
                      <a:pt x="3" y="8"/>
                      <a:pt x="3" y="8"/>
                      <a:pt x="3" y="8"/>
                    </a:cubicBezTo>
                    <a:cubicBezTo>
                      <a:pt x="0" y="6"/>
                      <a:pt x="0" y="6"/>
                      <a:pt x="0" y="6"/>
                    </a:cubicBezTo>
                    <a:cubicBezTo>
                      <a:pt x="0" y="7"/>
                      <a:pt x="0" y="7"/>
                      <a:pt x="0" y="7"/>
                    </a:cubicBezTo>
                    <a:cubicBezTo>
                      <a:pt x="1" y="9"/>
                      <a:pt x="3" y="10"/>
                      <a:pt x="5" y="10"/>
                    </a:cubicBezTo>
                    <a:cubicBezTo>
                      <a:pt x="13" y="10"/>
                      <a:pt x="13" y="10"/>
                      <a:pt x="13" y="10"/>
                    </a:cubicBezTo>
                    <a:cubicBezTo>
                      <a:pt x="15" y="10"/>
                      <a:pt x="17" y="9"/>
                      <a:pt x="19" y="7"/>
                    </a:cubicBezTo>
                    <a:cubicBezTo>
                      <a:pt x="19" y="0"/>
                      <a:pt x="19" y="0"/>
                      <a:pt x="19" y="0"/>
                    </a:cubicBezTo>
                  </a:path>
                </a:pathLst>
              </a:custGeom>
              <a:solidFill>
                <a:srgbClr val="A3AFC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7" name="íšḷídé">
                <a:extLst>
                  <a:ext uri="{FF2B5EF4-FFF2-40B4-BE49-F238E27FC236}">
                    <a16:creationId xmlns:a16="http://schemas.microsoft.com/office/drawing/2014/main" id="{C81DA939-17CD-2C44-8022-1B0EC2315D95}"/>
                  </a:ext>
                </a:extLst>
              </p:cNvPr>
              <p:cNvSpPr/>
              <p:nvPr/>
            </p:nvSpPr>
            <p:spPr bwMode="auto">
              <a:xfrm>
                <a:off x="8378719" y="2907315"/>
                <a:ext cx="66246" cy="77287"/>
              </a:xfrm>
              <a:custGeom>
                <a:avLst/>
                <a:gdLst>
                  <a:gd name="T0" fmla="*/ 1 w 23"/>
                  <a:gd name="T1" fmla="*/ 24 h 27"/>
                  <a:gd name="T2" fmla="*/ 0 w 23"/>
                  <a:gd name="T3" fmla="*/ 26 h 27"/>
                  <a:gd name="T4" fmla="*/ 1 w 23"/>
                  <a:gd name="T5" fmla="*/ 27 h 27"/>
                  <a:gd name="T6" fmla="*/ 1 w 23"/>
                  <a:gd name="T7" fmla="*/ 25 h 27"/>
                  <a:gd name="T8" fmla="*/ 1 w 23"/>
                  <a:gd name="T9" fmla="*/ 24 h 27"/>
                  <a:gd name="T10" fmla="*/ 22 w 23"/>
                  <a:gd name="T11" fmla="*/ 0 h 27"/>
                  <a:gd name="T12" fmla="*/ 23 w 23"/>
                  <a:gd name="T13" fmla="*/ 0 h 27"/>
                  <a:gd name="T14" fmla="*/ 23 w 23"/>
                  <a:gd name="T15" fmla="*/ 0 h 27"/>
                  <a:gd name="T16" fmla="*/ 22 w 23"/>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7">
                    <a:moveTo>
                      <a:pt x="1" y="24"/>
                    </a:moveTo>
                    <a:cubicBezTo>
                      <a:pt x="0" y="26"/>
                      <a:pt x="0" y="26"/>
                      <a:pt x="0" y="26"/>
                    </a:cubicBezTo>
                    <a:cubicBezTo>
                      <a:pt x="1" y="27"/>
                      <a:pt x="1" y="27"/>
                      <a:pt x="1" y="27"/>
                    </a:cubicBezTo>
                    <a:cubicBezTo>
                      <a:pt x="1" y="26"/>
                      <a:pt x="1" y="26"/>
                      <a:pt x="1" y="25"/>
                    </a:cubicBezTo>
                    <a:cubicBezTo>
                      <a:pt x="1" y="24"/>
                      <a:pt x="1" y="24"/>
                      <a:pt x="1" y="24"/>
                    </a:cubicBezTo>
                    <a:moveTo>
                      <a:pt x="22" y="0"/>
                    </a:moveTo>
                    <a:cubicBezTo>
                      <a:pt x="22" y="0"/>
                      <a:pt x="23" y="0"/>
                      <a:pt x="23" y="0"/>
                    </a:cubicBezTo>
                    <a:cubicBezTo>
                      <a:pt x="23" y="0"/>
                      <a:pt x="23" y="0"/>
                      <a:pt x="23" y="0"/>
                    </a:cubicBezTo>
                    <a:cubicBezTo>
                      <a:pt x="22" y="0"/>
                      <a:pt x="22" y="0"/>
                      <a:pt x="22" y="0"/>
                    </a:cubicBezTo>
                  </a:path>
                </a:pathLst>
              </a:custGeom>
              <a:solidFill>
                <a:srgbClr val="A1B2D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8" name="î$1idê">
                <a:extLst>
                  <a:ext uri="{FF2B5EF4-FFF2-40B4-BE49-F238E27FC236}">
                    <a16:creationId xmlns:a16="http://schemas.microsoft.com/office/drawing/2014/main" id="{CA719D45-AEAA-404B-ACF6-764BD310AEFF}"/>
                  </a:ext>
                </a:extLst>
              </p:cNvPr>
              <p:cNvSpPr/>
              <p:nvPr/>
            </p:nvSpPr>
            <p:spPr bwMode="auto">
              <a:xfrm>
                <a:off x="8381480" y="2896275"/>
                <a:ext cx="63486" cy="91088"/>
              </a:xfrm>
              <a:custGeom>
                <a:avLst/>
                <a:gdLst>
                  <a:gd name="T0" fmla="*/ 15 w 22"/>
                  <a:gd name="T1" fmla="*/ 0 h 32"/>
                  <a:gd name="T2" fmla="*/ 0 w 22"/>
                  <a:gd name="T3" fmla="*/ 28 h 32"/>
                  <a:gd name="T4" fmla="*/ 0 w 22"/>
                  <a:gd name="T5" fmla="*/ 29 h 32"/>
                  <a:gd name="T6" fmla="*/ 0 w 22"/>
                  <a:gd name="T7" fmla="*/ 31 h 32"/>
                  <a:gd name="T8" fmla="*/ 2 w 22"/>
                  <a:gd name="T9" fmla="*/ 32 h 32"/>
                  <a:gd name="T10" fmla="*/ 2 w 22"/>
                  <a:gd name="T11" fmla="*/ 26 h 32"/>
                  <a:gd name="T12" fmla="*/ 9 w 22"/>
                  <a:gd name="T13" fmla="*/ 26 h 32"/>
                  <a:gd name="T14" fmla="*/ 22 w 22"/>
                  <a:gd name="T15" fmla="*/ 4 h 32"/>
                  <a:gd name="T16" fmla="*/ 21 w 22"/>
                  <a:gd name="T17" fmla="*/ 4 h 32"/>
                  <a:gd name="T18" fmla="*/ 15 w 22"/>
                  <a:gd name="T1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32">
                    <a:moveTo>
                      <a:pt x="15" y="0"/>
                    </a:moveTo>
                    <a:cubicBezTo>
                      <a:pt x="0" y="28"/>
                      <a:pt x="0" y="28"/>
                      <a:pt x="0" y="28"/>
                    </a:cubicBezTo>
                    <a:cubicBezTo>
                      <a:pt x="0" y="29"/>
                      <a:pt x="0" y="29"/>
                      <a:pt x="0" y="29"/>
                    </a:cubicBezTo>
                    <a:cubicBezTo>
                      <a:pt x="0" y="30"/>
                      <a:pt x="0" y="30"/>
                      <a:pt x="0" y="31"/>
                    </a:cubicBezTo>
                    <a:cubicBezTo>
                      <a:pt x="2" y="32"/>
                      <a:pt x="2" y="32"/>
                      <a:pt x="2" y="32"/>
                    </a:cubicBezTo>
                    <a:cubicBezTo>
                      <a:pt x="2" y="26"/>
                      <a:pt x="2" y="26"/>
                      <a:pt x="2" y="26"/>
                    </a:cubicBezTo>
                    <a:cubicBezTo>
                      <a:pt x="9" y="26"/>
                      <a:pt x="9" y="26"/>
                      <a:pt x="9" y="26"/>
                    </a:cubicBezTo>
                    <a:cubicBezTo>
                      <a:pt x="22" y="4"/>
                      <a:pt x="22" y="4"/>
                      <a:pt x="22" y="4"/>
                    </a:cubicBezTo>
                    <a:cubicBezTo>
                      <a:pt x="22" y="4"/>
                      <a:pt x="21" y="4"/>
                      <a:pt x="21" y="4"/>
                    </a:cubicBezTo>
                    <a:cubicBezTo>
                      <a:pt x="15" y="0"/>
                      <a:pt x="15" y="0"/>
                      <a:pt x="15" y="0"/>
                    </a:cubicBezTo>
                  </a:path>
                </a:pathLst>
              </a:custGeom>
              <a:solidFill>
                <a:srgbClr val="DAE3F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9" name="îšļîḓé">
                <a:extLst>
                  <a:ext uri="{FF2B5EF4-FFF2-40B4-BE49-F238E27FC236}">
                    <a16:creationId xmlns:a16="http://schemas.microsoft.com/office/drawing/2014/main" id="{A4BCE6A4-7489-BE4F-9722-048D1765EF7E}"/>
                  </a:ext>
                </a:extLst>
              </p:cNvPr>
              <p:cNvSpPr/>
              <p:nvPr/>
            </p:nvSpPr>
            <p:spPr bwMode="auto">
              <a:xfrm>
                <a:off x="8387000" y="2970801"/>
                <a:ext cx="20702" cy="22082"/>
              </a:xfrm>
              <a:custGeom>
                <a:avLst/>
                <a:gdLst>
                  <a:gd name="T0" fmla="*/ 15 w 15"/>
                  <a:gd name="T1" fmla="*/ 0 h 16"/>
                  <a:gd name="T2" fmla="*/ 0 w 15"/>
                  <a:gd name="T3" fmla="*/ 0 h 16"/>
                  <a:gd name="T4" fmla="*/ 0 w 15"/>
                  <a:gd name="T5" fmla="*/ 12 h 16"/>
                  <a:gd name="T6" fmla="*/ 6 w 15"/>
                  <a:gd name="T7" fmla="*/ 16 h 16"/>
                  <a:gd name="T8" fmla="*/ 15 w 15"/>
                  <a:gd name="T9" fmla="*/ 0 h 16"/>
                </a:gdLst>
                <a:ahLst/>
                <a:cxnLst>
                  <a:cxn ang="0">
                    <a:pos x="T0" y="T1"/>
                  </a:cxn>
                  <a:cxn ang="0">
                    <a:pos x="T2" y="T3"/>
                  </a:cxn>
                  <a:cxn ang="0">
                    <a:pos x="T4" y="T5"/>
                  </a:cxn>
                  <a:cxn ang="0">
                    <a:pos x="T6" y="T7"/>
                  </a:cxn>
                  <a:cxn ang="0">
                    <a:pos x="T8" y="T9"/>
                  </a:cxn>
                </a:cxnLst>
                <a:rect l="0" t="0" r="r" b="b"/>
                <a:pathLst>
                  <a:path w="15" h="16">
                    <a:moveTo>
                      <a:pt x="15" y="0"/>
                    </a:moveTo>
                    <a:lnTo>
                      <a:pt x="0" y="0"/>
                    </a:lnTo>
                    <a:lnTo>
                      <a:pt x="0" y="12"/>
                    </a:lnTo>
                    <a:lnTo>
                      <a:pt x="6" y="16"/>
                    </a:lnTo>
                    <a:lnTo>
                      <a:pt x="15" y="0"/>
                    </a:lnTo>
                    <a:close/>
                  </a:path>
                </a:pathLst>
              </a:custGeom>
              <a:solidFill>
                <a:srgbClr val="CCD3E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0" name="ísḻïďé">
                <a:extLst>
                  <a:ext uri="{FF2B5EF4-FFF2-40B4-BE49-F238E27FC236}">
                    <a16:creationId xmlns:a16="http://schemas.microsoft.com/office/drawing/2014/main" id="{2C906D0F-DA27-7D46-8512-55C3C10CBE30}"/>
                  </a:ext>
                </a:extLst>
              </p:cNvPr>
              <p:cNvSpPr/>
              <p:nvPr/>
            </p:nvSpPr>
            <p:spPr bwMode="auto">
              <a:xfrm>
                <a:off x="8387000" y="2970801"/>
                <a:ext cx="20702" cy="22082"/>
              </a:xfrm>
              <a:custGeom>
                <a:avLst/>
                <a:gdLst>
                  <a:gd name="T0" fmla="*/ 15 w 15"/>
                  <a:gd name="T1" fmla="*/ 0 h 16"/>
                  <a:gd name="T2" fmla="*/ 0 w 15"/>
                  <a:gd name="T3" fmla="*/ 0 h 16"/>
                  <a:gd name="T4" fmla="*/ 0 w 15"/>
                  <a:gd name="T5" fmla="*/ 12 h 16"/>
                  <a:gd name="T6" fmla="*/ 6 w 15"/>
                  <a:gd name="T7" fmla="*/ 16 h 16"/>
                  <a:gd name="T8" fmla="*/ 15 w 15"/>
                  <a:gd name="T9" fmla="*/ 0 h 16"/>
                </a:gdLst>
                <a:ahLst/>
                <a:cxnLst>
                  <a:cxn ang="0">
                    <a:pos x="T0" y="T1"/>
                  </a:cxn>
                  <a:cxn ang="0">
                    <a:pos x="T2" y="T3"/>
                  </a:cxn>
                  <a:cxn ang="0">
                    <a:pos x="T4" y="T5"/>
                  </a:cxn>
                  <a:cxn ang="0">
                    <a:pos x="T6" y="T7"/>
                  </a:cxn>
                  <a:cxn ang="0">
                    <a:pos x="T8" y="T9"/>
                  </a:cxn>
                </a:cxnLst>
                <a:rect l="0" t="0" r="r" b="b"/>
                <a:pathLst>
                  <a:path w="15" h="16">
                    <a:moveTo>
                      <a:pt x="15" y="0"/>
                    </a:moveTo>
                    <a:lnTo>
                      <a:pt x="0" y="0"/>
                    </a:lnTo>
                    <a:lnTo>
                      <a:pt x="0" y="12"/>
                    </a:lnTo>
                    <a:lnTo>
                      <a:pt x="6" y="16"/>
                    </a:lnTo>
                    <a:lnTo>
                      <a:pt x="1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1" name="íSľîdê">
                <a:extLst>
                  <a:ext uri="{FF2B5EF4-FFF2-40B4-BE49-F238E27FC236}">
                    <a16:creationId xmlns:a16="http://schemas.microsoft.com/office/drawing/2014/main" id="{FD940E6C-7E89-8641-A311-73C82B551B53}"/>
                  </a:ext>
                </a:extLst>
              </p:cNvPr>
              <p:cNvSpPr/>
              <p:nvPr/>
            </p:nvSpPr>
            <p:spPr bwMode="auto">
              <a:xfrm>
                <a:off x="8373199" y="2887994"/>
                <a:ext cx="80047" cy="120071"/>
              </a:xfrm>
              <a:custGeom>
                <a:avLst/>
                <a:gdLst>
                  <a:gd name="T0" fmla="*/ 18 w 28"/>
                  <a:gd name="T1" fmla="*/ 42 h 42"/>
                  <a:gd name="T2" fmla="*/ 10 w 28"/>
                  <a:gd name="T3" fmla="*/ 42 h 42"/>
                  <a:gd name="T4" fmla="*/ 0 w 28"/>
                  <a:gd name="T5" fmla="*/ 32 h 42"/>
                  <a:gd name="T6" fmla="*/ 0 w 28"/>
                  <a:gd name="T7" fmla="*/ 10 h 42"/>
                  <a:gd name="T8" fmla="*/ 10 w 28"/>
                  <a:gd name="T9" fmla="*/ 0 h 42"/>
                  <a:gd name="T10" fmla="*/ 18 w 28"/>
                  <a:gd name="T11" fmla="*/ 0 h 42"/>
                  <a:gd name="T12" fmla="*/ 28 w 28"/>
                  <a:gd name="T13" fmla="*/ 10 h 42"/>
                  <a:gd name="T14" fmla="*/ 28 w 28"/>
                  <a:gd name="T15" fmla="*/ 32 h 42"/>
                  <a:gd name="T16" fmla="*/ 18 w 28"/>
                  <a:gd name="T17" fmla="*/ 42 h 42"/>
                  <a:gd name="T18" fmla="*/ 10 w 28"/>
                  <a:gd name="T19" fmla="*/ 6 h 42"/>
                  <a:gd name="T20" fmla="*/ 6 w 28"/>
                  <a:gd name="T21" fmla="*/ 10 h 42"/>
                  <a:gd name="T22" fmla="*/ 6 w 28"/>
                  <a:gd name="T23" fmla="*/ 32 h 42"/>
                  <a:gd name="T24" fmla="*/ 10 w 28"/>
                  <a:gd name="T25" fmla="*/ 36 h 42"/>
                  <a:gd name="T26" fmla="*/ 18 w 28"/>
                  <a:gd name="T27" fmla="*/ 36 h 42"/>
                  <a:gd name="T28" fmla="*/ 23 w 28"/>
                  <a:gd name="T29" fmla="*/ 32 h 42"/>
                  <a:gd name="T30" fmla="*/ 23 w 28"/>
                  <a:gd name="T31" fmla="*/ 10 h 42"/>
                  <a:gd name="T32" fmla="*/ 18 w 28"/>
                  <a:gd name="T33" fmla="*/ 6 h 42"/>
                  <a:gd name="T34" fmla="*/ 10 w 28"/>
                  <a:gd name="T35"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 h="42">
                    <a:moveTo>
                      <a:pt x="18" y="42"/>
                    </a:moveTo>
                    <a:cubicBezTo>
                      <a:pt x="10" y="42"/>
                      <a:pt x="10" y="42"/>
                      <a:pt x="10" y="42"/>
                    </a:cubicBezTo>
                    <a:cubicBezTo>
                      <a:pt x="5" y="42"/>
                      <a:pt x="0" y="37"/>
                      <a:pt x="0" y="32"/>
                    </a:cubicBezTo>
                    <a:cubicBezTo>
                      <a:pt x="0" y="10"/>
                      <a:pt x="0" y="10"/>
                      <a:pt x="0" y="10"/>
                    </a:cubicBezTo>
                    <a:cubicBezTo>
                      <a:pt x="0" y="5"/>
                      <a:pt x="5" y="0"/>
                      <a:pt x="10" y="0"/>
                    </a:cubicBezTo>
                    <a:cubicBezTo>
                      <a:pt x="18" y="0"/>
                      <a:pt x="18" y="0"/>
                      <a:pt x="18" y="0"/>
                    </a:cubicBezTo>
                    <a:cubicBezTo>
                      <a:pt x="24" y="0"/>
                      <a:pt x="28" y="5"/>
                      <a:pt x="28" y="10"/>
                    </a:cubicBezTo>
                    <a:cubicBezTo>
                      <a:pt x="28" y="32"/>
                      <a:pt x="28" y="32"/>
                      <a:pt x="28" y="32"/>
                    </a:cubicBezTo>
                    <a:cubicBezTo>
                      <a:pt x="28" y="37"/>
                      <a:pt x="24" y="42"/>
                      <a:pt x="18" y="42"/>
                    </a:cubicBezTo>
                    <a:close/>
                    <a:moveTo>
                      <a:pt x="10" y="6"/>
                    </a:moveTo>
                    <a:cubicBezTo>
                      <a:pt x="8" y="6"/>
                      <a:pt x="6" y="8"/>
                      <a:pt x="6" y="10"/>
                    </a:cubicBezTo>
                    <a:cubicBezTo>
                      <a:pt x="6" y="32"/>
                      <a:pt x="6" y="32"/>
                      <a:pt x="6" y="32"/>
                    </a:cubicBezTo>
                    <a:cubicBezTo>
                      <a:pt x="6" y="34"/>
                      <a:pt x="8" y="36"/>
                      <a:pt x="10" y="36"/>
                    </a:cubicBezTo>
                    <a:cubicBezTo>
                      <a:pt x="18" y="36"/>
                      <a:pt x="18" y="36"/>
                      <a:pt x="18" y="36"/>
                    </a:cubicBezTo>
                    <a:cubicBezTo>
                      <a:pt x="21" y="36"/>
                      <a:pt x="23" y="34"/>
                      <a:pt x="23" y="32"/>
                    </a:cubicBezTo>
                    <a:cubicBezTo>
                      <a:pt x="23" y="10"/>
                      <a:pt x="23" y="10"/>
                      <a:pt x="23" y="10"/>
                    </a:cubicBezTo>
                    <a:cubicBezTo>
                      <a:pt x="23" y="8"/>
                      <a:pt x="21" y="6"/>
                      <a:pt x="18" y="6"/>
                    </a:cubicBezTo>
                    <a:lnTo>
                      <a:pt x="10" y="6"/>
                    </a:lnTo>
                    <a:close/>
                  </a:path>
                </a:pathLst>
              </a:custGeom>
              <a:solidFill>
                <a:srgbClr val="597FD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2" name="íṣliḋe">
                <a:extLst>
                  <a:ext uri="{FF2B5EF4-FFF2-40B4-BE49-F238E27FC236}">
                    <a16:creationId xmlns:a16="http://schemas.microsoft.com/office/drawing/2014/main" id="{73016EC3-547D-094A-ADFE-9AF43D9E9989}"/>
                  </a:ext>
                </a:extLst>
              </p:cNvPr>
              <p:cNvSpPr/>
              <p:nvPr/>
            </p:nvSpPr>
            <p:spPr bwMode="auto">
              <a:xfrm>
                <a:off x="8022648" y="2792765"/>
                <a:ext cx="313288" cy="52445"/>
              </a:xfrm>
              <a:prstGeom prst="rect">
                <a:avLst/>
              </a:prstGeom>
              <a:solidFill>
                <a:srgbClr val="0039B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793" name="îsḻîḑè">
                <a:extLst>
                  <a:ext uri="{FF2B5EF4-FFF2-40B4-BE49-F238E27FC236}">
                    <a16:creationId xmlns:a16="http://schemas.microsoft.com/office/drawing/2014/main" id="{F370DDDB-D669-D846-888B-2460E51220DD}"/>
                  </a:ext>
                </a:extLst>
              </p:cNvPr>
              <p:cNvSpPr/>
              <p:nvPr/>
            </p:nvSpPr>
            <p:spPr bwMode="auto">
              <a:xfrm>
                <a:off x="8022648" y="2792765"/>
                <a:ext cx="313288" cy="52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794" name="i$ļîḑe">
                <a:extLst>
                  <a:ext uri="{FF2B5EF4-FFF2-40B4-BE49-F238E27FC236}">
                    <a16:creationId xmlns:a16="http://schemas.microsoft.com/office/drawing/2014/main" id="{9F64DA1E-9AC0-CE47-B606-0DE37CBC12AC}"/>
                  </a:ext>
                </a:extLst>
              </p:cNvPr>
              <p:cNvSpPr/>
              <p:nvPr/>
            </p:nvSpPr>
            <p:spPr bwMode="auto">
              <a:xfrm>
                <a:off x="8335936" y="2792765"/>
                <a:ext cx="178036" cy="52445"/>
              </a:xfrm>
              <a:prstGeom prst="rect">
                <a:avLst/>
              </a:prstGeom>
              <a:solidFill>
                <a:srgbClr val="0039B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795" name="ïṩļiḍe">
                <a:extLst>
                  <a:ext uri="{FF2B5EF4-FFF2-40B4-BE49-F238E27FC236}">
                    <a16:creationId xmlns:a16="http://schemas.microsoft.com/office/drawing/2014/main" id="{9C43665A-E73F-0145-AAE6-C9D789608FC7}"/>
                  </a:ext>
                </a:extLst>
              </p:cNvPr>
              <p:cNvSpPr/>
              <p:nvPr/>
            </p:nvSpPr>
            <p:spPr bwMode="auto">
              <a:xfrm>
                <a:off x="8335936" y="2792765"/>
                <a:ext cx="178036" cy="52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796" name="îṥḻide">
                <a:extLst>
                  <a:ext uri="{FF2B5EF4-FFF2-40B4-BE49-F238E27FC236}">
                    <a16:creationId xmlns:a16="http://schemas.microsoft.com/office/drawing/2014/main" id="{19EB2351-FF1C-F74F-8D3A-4212B6633CAD}"/>
                  </a:ext>
                </a:extLst>
              </p:cNvPr>
              <p:cNvSpPr/>
              <p:nvPr/>
            </p:nvSpPr>
            <p:spPr bwMode="auto">
              <a:xfrm>
                <a:off x="8335936" y="2792765"/>
                <a:ext cx="178036" cy="52445"/>
              </a:xfrm>
              <a:prstGeom prst="rect">
                <a:avLst/>
              </a:prstGeom>
              <a:solidFill>
                <a:srgbClr val="0031A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797" name="iS1iďé">
                <a:extLst>
                  <a:ext uri="{FF2B5EF4-FFF2-40B4-BE49-F238E27FC236}">
                    <a16:creationId xmlns:a16="http://schemas.microsoft.com/office/drawing/2014/main" id="{1C0E94AC-43F3-7F45-97E2-C5EB528C5116}"/>
                  </a:ext>
                </a:extLst>
              </p:cNvPr>
              <p:cNvSpPr/>
              <p:nvPr/>
            </p:nvSpPr>
            <p:spPr bwMode="auto">
              <a:xfrm>
                <a:off x="8335936" y="2792765"/>
                <a:ext cx="178036" cy="52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798" name="îṥļídé">
                <a:extLst>
                  <a:ext uri="{FF2B5EF4-FFF2-40B4-BE49-F238E27FC236}">
                    <a16:creationId xmlns:a16="http://schemas.microsoft.com/office/drawing/2014/main" id="{5BA0E258-624A-F14A-B17B-BB8AAE215308}"/>
                  </a:ext>
                </a:extLst>
              </p:cNvPr>
              <p:cNvSpPr/>
              <p:nvPr/>
            </p:nvSpPr>
            <p:spPr bwMode="auto">
              <a:xfrm>
                <a:off x="4079645" y="3889961"/>
                <a:ext cx="385054" cy="160094"/>
              </a:xfrm>
              <a:custGeom>
                <a:avLst/>
                <a:gdLst>
                  <a:gd name="T0" fmla="*/ 134 w 134"/>
                  <a:gd name="T1" fmla="*/ 0 h 56"/>
                  <a:gd name="T2" fmla="*/ 120 w 134"/>
                  <a:gd name="T3" fmla="*/ 0 h 56"/>
                  <a:gd name="T4" fmla="*/ 121 w 134"/>
                  <a:gd name="T5" fmla="*/ 3 h 56"/>
                  <a:gd name="T6" fmla="*/ 110 w 134"/>
                  <a:gd name="T7" fmla="*/ 14 h 56"/>
                  <a:gd name="T8" fmla="*/ 16 w 134"/>
                  <a:gd name="T9" fmla="*/ 14 h 56"/>
                  <a:gd name="T10" fmla="*/ 5 w 134"/>
                  <a:gd name="T11" fmla="*/ 3 h 56"/>
                  <a:gd name="T12" fmla="*/ 6 w 134"/>
                  <a:gd name="T13" fmla="*/ 0 h 56"/>
                  <a:gd name="T14" fmla="*/ 0 w 134"/>
                  <a:gd name="T15" fmla="*/ 0 h 56"/>
                  <a:gd name="T16" fmla="*/ 0 w 134"/>
                  <a:gd name="T17" fmla="*/ 56 h 56"/>
                  <a:gd name="T18" fmla="*/ 134 w 134"/>
                  <a:gd name="T19" fmla="*/ 56 h 56"/>
                  <a:gd name="T20" fmla="*/ 134 w 134"/>
                  <a:gd name="T2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 h="56">
                    <a:moveTo>
                      <a:pt x="134" y="0"/>
                    </a:moveTo>
                    <a:cubicBezTo>
                      <a:pt x="120" y="0"/>
                      <a:pt x="120" y="0"/>
                      <a:pt x="120" y="0"/>
                    </a:cubicBezTo>
                    <a:cubicBezTo>
                      <a:pt x="121" y="1"/>
                      <a:pt x="121" y="2"/>
                      <a:pt x="121" y="3"/>
                    </a:cubicBezTo>
                    <a:cubicBezTo>
                      <a:pt x="121" y="9"/>
                      <a:pt x="116" y="14"/>
                      <a:pt x="110" y="14"/>
                    </a:cubicBezTo>
                    <a:cubicBezTo>
                      <a:pt x="16" y="14"/>
                      <a:pt x="16" y="14"/>
                      <a:pt x="16" y="14"/>
                    </a:cubicBezTo>
                    <a:cubicBezTo>
                      <a:pt x="10" y="14"/>
                      <a:pt x="5" y="9"/>
                      <a:pt x="5" y="3"/>
                    </a:cubicBezTo>
                    <a:cubicBezTo>
                      <a:pt x="5" y="2"/>
                      <a:pt x="5" y="1"/>
                      <a:pt x="6" y="0"/>
                    </a:cubicBezTo>
                    <a:cubicBezTo>
                      <a:pt x="0" y="0"/>
                      <a:pt x="0" y="0"/>
                      <a:pt x="0" y="0"/>
                    </a:cubicBezTo>
                    <a:cubicBezTo>
                      <a:pt x="0" y="56"/>
                      <a:pt x="0" y="56"/>
                      <a:pt x="0" y="56"/>
                    </a:cubicBezTo>
                    <a:cubicBezTo>
                      <a:pt x="134" y="56"/>
                      <a:pt x="134" y="56"/>
                      <a:pt x="134" y="56"/>
                    </a:cubicBezTo>
                    <a:cubicBezTo>
                      <a:pt x="134" y="0"/>
                      <a:pt x="134" y="0"/>
                      <a:pt x="134" y="0"/>
                    </a:cubicBezTo>
                  </a:path>
                </a:pathLst>
              </a:custGeom>
              <a:solidFill>
                <a:srgbClr val="79A1F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9" name="îṧļîḓê">
                <a:extLst>
                  <a:ext uri="{FF2B5EF4-FFF2-40B4-BE49-F238E27FC236}">
                    <a16:creationId xmlns:a16="http://schemas.microsoft.com/office/drawing/2014/main" id="{AB21C13C-1BAA-194A-BB66-F0407E33397D}"/>
                  </a:ext>
                </a:extLst>
              </p:cNvPr>
              <p:cNvSpPr/>
              <p:nvPr/>
            </p:nvSpPr>
            <p:spPr bwMode="auto">
              <a:xfrm>
                <a:off x="4888396" y="3889961"/>
                <a:ext cx="321568" cy="160094"/>
              </a:xfrm>
              <a:custGeom>
                <a:avLst/>
                <a:gdLst>
                  <a:gd name="T0" fmla="*/ 1 w 112"/>
                  <a:gd name="T1" fmla="*/ 0 h 56"/>
                  <a:gd name="T2" fmla="*/ 0 w 112"/>
                  <a:gd name="T3" fmla="*/ 0 h 56"/>
                  <a:gd name="T4" fmla="*/ 0 w 112"/>
                  <a:gd name="T5" fmla="*/ 56 h 56"/>
                  <a:gd name="T6" fmla="*/ 112 w 112"/>
                  <a:gd name="T7" fmla="*/ 56 h 56"/>
                  <a:gd name="T8" fmla="*/ 112 w 112"/>
                  <a:gd name="T9" fmla="*/ 12 h 56"/>
                  <a:gd name="T10" fmla="*/ 105 w 112"/>
                  <a:gd name="T11" fmla="*/ 14 h 56"/>
                  <a:gd name="T12" fmla="*/ 11 w 112"/>
                  <a:gd name="T13" fmla="*/ 14 h 56"/>
                  <a:gd name="T14" fmla="*/ 0 w 112"/>
                  <a:gd name="T15" fmla="*/ 3 h 56"/>
                  <a:gd name="T16" fmla="*/ 1 w 112"/>
                  <a:gd name="T1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56">
                    <a:moveTo>
                      <a:pt x="1" y="0"/>
                    </a:moveTo>
                    <a:cubicBezTo>
                      <a:pt x="0" y="0"/>
                      <a:pt x="0" y="0"/>
                      <a:pt x="0" y="0"/>
                    </a:cubicBezTo>
                    <a:cubicBezTo>
                      <a:pt x="0" y="56"/>
                      <a:pt x="0" y="56"/>
                      <a:pt x="0" y="56"/>
                    </a:cubicBezTo>
                    <a:cubicBezTo>
                      <a:pt x="112" y="56"/>
                      <a:pt x="112" y="56"/>
                      <a:pt x="112" y="56"/>
                    </a:cubicBezTo>
                    <a:cubicBezTo>
                      <a:pt x="112" y="12"/>
                      <a:pt x="112" y="12"/>
                      <a:pt x="112" y="12"/>
                    </a:cubicBezTo>
                    <a:cubicBezTo>
                      <a:pt x="110" y="13"/>
                      <a:pt x="108" y="14"/>
                      <a:pt x="105" y="14"/>
                    </a:cubicBezTo>
                    <a:cubicBezTo>
                      <a:pt x="11" y="14"/>
                      <a:pt x="11" y="14"/>
                      <a:pt x="11" y="14"/>
                    </a:cubicBezTo>
                    <a:cubicBezTo>
                      <a:pt x="5" y="14"/>
                      <a:pt x="0" y="9"/>
                      <a:pt x="0" y="3"/>
                    </a:cubicBezTo>
                    <a:cubicBezTo>
                      <a:pt x="0" y="2"/>
                      <a:pt x="1" y="1"/>
                      <a:pt x="1" y="0"/>
                    </a:cubicBezTo>
                  </a:path>
                </a:pathLst>
              </a:custGeom>
              <a:solidFill>
                <a:srgbClr val="79A1F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0" name="ïŝľíḓé">
                <a:extLst>
                  <a:ext uri="{FF2B5EF4-FFF2-40B4-BE49-F238E27FC236}">
                    <a16:creationId xmlns:a16="http://schemas.microsoft.com/office/drawing/2014/main" id="{4C96AC0F-D0A5-8D42-BCC6-64003C7B069F}"/>
                  </a:ext>
                </a:extLst>
              </p:cNvPr>
              <p:cNvSpPr/>
              <p:nvPr/>
            </p:nvSpPr>
            <p:spPr bwMode="auto">
              <a:xfrm>
                <a:off x="4685518" y="3749189"/>
                <a:ext cx="739744" cy="140772"/>
              </a:xfrm>
              <a:custGeom>
                <a:avLst/>
                <a:gdLst>
                  <a:gd name="T0" fmla="*/ 72 w 258"/>
                  <a:gd name="T1" fmla="*/ 0 h 49"/>
                  <a:gd name="T2" fmla="*/ 25 w 258"/>
                  <a:gd name="T3" fmla="*/ 0 h 49"/>
                  <a:gd name="T4" fmla="*/ 0 w 258"/>
                  <a:gd name="T5" fmla="*/ 24 h 49"/>
                  <a:gd name="T6" fmla="*/ 25 w 258"/>
                  <a:gd name="T7" fmla="*/ 49 h 49"/>
                  <a:gd name="T8" fmla="*/ 71 w 258"/>
                  <a:gd name="T9" fmla="*/ 49 h 49"/>
                  <a:gd name="T10" fmla="*/ 71 w 258"/>
                  <a:gd name="T11" fmla="*/ 41 h 49"/>
                  <a:gd name="T12" fmla="*/ 56 w 258"/>
                  <a:gd name="T13" fmla="*/ 41 h 49"/>
                  <a:gd name="T14" fmla="*/ 39 w 258"/>
                  <a:gd name="T15" fmla="*/ 24 h 49"/>
                  <a:gd name="T16" fmla="*/ 56 w 258"/>
                  <a:gd name="T17" fmla="*/ 7 h 49"/>
                  <a:gd name="T18" fmla="*/ 72 w 258"/>
                  <a:gd name="T19" fmla="*/ 7 h 49"/>
                  <a:gd name="T20" fmla="*/ 72 w 258"/>
                  <a:gd name="T21" fmla="*/ 0 h 49"/>
                  <a:gd name="T22" fmla="*/ 234 w 258"/>
                  <a:gd name="T23" fmla="*/ 0 h 49"/>
                  <a:gd name="T24" fmla="*/ 183 w 258"/>
                  <a:gd name="T25" fmla="*/ 0 h 49"/>
                  <a:gd name="T26" fmla="*/ 183 w 258"/>
                  <a:gd name="T27" fmla="*/ 7 h 49"/>
                  <a:gd name="T28" fmla="*/ 203 w 258"/>
                  <a:gd name="T29" fmla="*/ 7 h 49"/>
                  <a:gd name="T30" fmla="*/ 220 w 258"/>
                  <a:gd name="T31" fmla="*/ 24 h 49"/>
                  <a:gd name="T32" fmla="*/ 203 w 258"/>
                  <a:gd name="T33" fmla="*/ 41 h 49"/>
                  <a:gd name="T34" fmla="*/ 183 w 258"/>
                  <a:gd name="T35" fmla="*/ 41 h 49"/>
                  <a:gd name="T36" fmla="*/ 183 w 258"/>
                  <a:gd name="T37" fmla="*/ 43 h 49"/>
                  <a:gd name="T38" fmla="*/ 187 w 258"/>
                  <a:gd name="T39" fmla="*/ 49 h 49"/>
                  <a:gd name="T40" fmla="*/ 234 w 258"/>
                  <a:gd name="T41" fmla="*/ 49 h 49"/>
                  <a:gd name="T42" fmla="*/ 258 w 258"/>
                  <a:gd name="T43" fmla="*/ 24 h 49"/>
                  <a:gd name="T44" fmla="*/ 234 w 258"/>
                  <a:gd name="T4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8" h="49">
                    <a:moveTo>
                      <a:pt x="72" y="0"/>
                    </a:moveTo>
                    <a:cubicBezTo>
                      <a:pt x="25" y="0"/>
                      <a:pt x="25" y="0"/>
                      <a:pt x="25" y="0"/>
                    </a:cubicBezTo>
                    <a:cubicBezTo>
                      <a:pt x="11" y="0"/>
                      <a:pt x="0" y="11"/>
                      <a:pt x="0" y="24"/>
                    </a:cubicBezTo>
                    <a:cubicBezTo>
                      <a:pt x="0" y="38"/>
                      <a:pt x="11" y="49"/>
                      <a:pt x="25" y="49"/>
                    </a:cubicBezTo>
                    <a:cubicBezTo>
                      <a:pt x="71" y="49"/>
                      <a:pt x="71" y="49"/>
                      <a:pt x="71" y="49"/>
                    </a:cubicBezTo>
                    <a:cubicBezTo>
                      <a:pt x="71" y="41"/>
                      <a:pt x="71" y="41"/>
                      <a:pt x="71" y="41"/>
                    </a:cubicBezTo>
                    <a:cubicBezTo>
                      <a:pt x="56" y="41"/>
                      <a:pt x="56" y="41"/>
                      <a:pt x="56" y="41"/>
                    </a:cubicBezTo>
                    <a:cubicBezTo>
                      <a:pt x="47" y="41"/>
                      <a:pt x="39" y="34"/>
                      <a:pt x="39" y="24"/>
                    </a:cubicBezTo>
                    <a:cubicBezTo>
                      <a:pt x="39" y="15"/>
                      <a:pt x="47" y="7"/>
                      <a:pt x="56" y="7"/>
                    </a:cubicBezTo>
                    <a:cubicBezTo>
                      <a:pt x="72" y="7"/>
                      <a:pt x="72" y="7"/>
                      <a:pt x="72" y="7"/>
                    </a:cubicBezTo>
                    <a:cubicBezTo>
                      <a:pt x="72" y="0"/>
                      <a:pt x="72" y="0"/>
                      <a:pt x="72" y="0"/>
                    </a:cubicBezTo>
                    <a:moveTo>
                      <a:pt x="234" y="0"/>
                    </a:moveTo>
                    <a:cubicBezTo>
                      <a:pt x="183" y="0"/>
                      <a:pt x="183" y="0"/>
                      <a:pt x="183" y="0"/>
                    </a:cubicBezTo>
                    <a:cubicBezTo>
                      <a:pt x="183" y="7"/>
                      <a:pt x="183" y="7"/>
                      <a:pt x="183" y="7"/>
                    </a:cubicBezTo>
                    <a:cubicBezTo>
                      <a:pt x="203" y="7"/>
                      <a:pt x="203" y="7"/>
                      <a:pt x="203" y="7"/>
                    </a:cubicBezTo>
                    <a:cubicBezTo>
                      <a:pt x="212" y="7"/>
                      <a:pt x="220" y="15"/>
                      <a:pt x="220" y="24"/>
                    </a:cubicBezTo>
                    <a:cubicBezTo>
                      <a:pt x="220" y="34"/>
                      <a:pt x="212" y="41"/>
                      <a:pt x="203" y="41"/>
                    </a:cubicBezTo>
                    <a:cubicBezTo>
                      <a:pt x="183" y="41"/>
                      <a:pt x="183" y="41"/>
                      <a:pt x="183" y="41"/>
                    </a:cubicBezTo>
                    <a:cubicBezTo>
                      <a:pt x="183" y="43"/>
                      <a:pt x="183" y="43"/>
                      <a:pt x="183" y="43"/>
                    </a:cubicBezTo>
                    <a:cubicBezTo>
                      <a:pt x="185" y="45"/>
                      <a:pt x="186" y="47"/>
                      <a:pt x="187" y="49"/>
                    </a:cubicBezTo>
                    <a:cubicBezTo>
                      <a:pt x="234" y="49"/>
                      <a:pt x="234" y="49"/>
                      <a:pt x="234" y="49"/>
                    </a:cubicBezTo>
                    <a:cubicBezTo>
                      <a:pt x="247" y="49"/>
                      <a:pt x="258" y="38"/>
                      <a:pt x="258" y="24"/>
                    </a:cubicBezTo>
                    <a:cubicBezTo>
                      <a:pt x="258" y="11"/>
                      <a:pt x="247" y="0"/>
                      <a:pt x="234" y="0"/>
                    </a:cubicBezTo>
                  </a:path>
                </a:pathLst>
              </a:custGeom>
              <a:solidFill>
                <a:srgbClr val="A7C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1" name="iś1iḍê">
                <a:extLst>
                  <a:ext uri="{FF2B5EF4-FFF2-40B4-BE49-F238E27FC236}">
                    <a16:creationId xmlns:a16="http://schemas.microsoft.com/office/drawing/2014/main" id="{A0760BAE-058B-174C-8DEA-FA05A0B0D344}"/>
                  </a:ext>
                </a:extLst>
              </p:cNvPr>
              <p:cNvSpPr/>
              <p:nvPr/>
            </p:nvSpPr>
            <p:spPr bwMode="auto">
              <a:xfrm>
                <a:off x="4888396" y="3867879"/>
                <a:ext cx="321568" cy="22082"/>
              </a:xfrm>
              <a:custGeom>
                <a:avLst/>
                <a:gdLst>
                  <a:gd name="T0" fmla="*/ 11 w 112"/>
                  <a:gd name="T1" fmla="*/ 0 h 8"/>
                  <a:gd name="T2" fmla="*/ 0 w 112"/>
                  <a:gd name="T3" fmla="*/ 0 h 8"/>
                  <a:gd name="T4" fmla="*/ 0 w 112"/>
                  <a:gd name="T5" fmla="*/ 8 h 8"/>
                  <a:gd name="T6" fmla="*/ 1 w 112"/>
                  <a:gd name="T7" fmla="*/ 8 h 8"/>
                  <a:gd name="T8" fmla="*/ 11 w 112"/>
                  <a:gd name="T9" fmla="*/ 0 h 8"/>
                  <a:gd name="T10" fmla="*/ 112 w 112"/>
                  <a:gd name="T11" fmla="*/ 0 h 8"/>
                  <a:gd name="T12" fmla="*/ 105 w 112"/>
                  <a:gd name="T13" fmla="*/ 0 h 8"/>
                  <a:gd name="T14" fmla="*/ 112 w 112"/>
                  <a:gd name="T15" fmla="*/ 2 h 8"/>
                  <a:gd name="T16" fmla="*/ 112 w 112"/>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8">
                    <a:moveTo>
                      <a:pt x="11" y="0"/>
                    </a:moveTo>
                    <a:cubicBezTo>
                      <a:pt x="0" y="0"/>
                      <a:pt x="0" y="0"/>
                      <a:pt x="0" y="0"/>
                    </a:cubicBezTo>
                    <a:cubicBezTo>
                      <a:pt x="0" y="8"/>
                      <a:pt x="0" y="8"/>
                      <a:pt x="0" y="8"/>
                    </a:cubicBezTo>
                    <a:cubicBezTo>
                      <a:pt x="1" y="8"/>
                      <a:pt x="1" y="8"/>
                      <a:pt x="1" y="8"/>
                    </a:cubicBezTo>
                    <a:cubicBezTo>
                      <a:pt x="2" y="3"/>
                      <a:pt x="7" y="0"/>
                      <a:pt x="11" y="0"/>
                    </a:cubicBezTo>
                    <a:moveTo>
                      <a:pt x="112" y="0"/>
                    </a:moveTo>
                    <a:cubicBezTo>
                      <a:pt x="105" y="0"/>
                      <a:pt x="105" y="0"/>
                      <a:pt x="105" y="0"/>
                    </a:cubicBezTo>
                    <a:cubicBezTo>
                      <a:pt x="108" y="0"/>
                      <a:pt x="110" y="1"/>
                      <a:pt x="112" y="2"/>
                    </a:cubicBezTo>
                    <a:cubicBezTo>
                      <a:pt x="112" y="0"/>
                      <a:pt x="112" y="0"/>
                      <a:pt x="112" y="0"/>
                    </a:cubicBezTo>
                  </a:path>
                </a:pathLst>
              </a:custGeom>
              <a:solidFill>
                <a:srgbClr val="9CBAF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2" name="iṩ1ïḍé">
                <a:extLst>
                  <a:ext uri="{FF2B5EF4-FFF2-40B4-BE49-F238E27FC236}">
                    <a16:creationId xmlns:a16="http://schemas.microsoft.com/office/drawing/2014/main" id="{E52118CE-FD60-8B45-92CD-F841913E9B6E}"/>
                  </a:ext>
                </a:extLst>
              </p:cNvPr>
              <p:cNvSpPr/>
              <p:nvPr/>
            </p:nvSpPr>
            <p:spPr bwMode="auto">
              <a:xfrm>
                <a:off x="4797308" y="3769890"/>
                <a:ext cx="518925" cy="97989"/>
              </a:xfrm>
              <a:custGeom>
                <a:avLst/>
                <a:gdLst>
                  <a:gd name="T0" fmla="*/ 33 w 181"/>
                  <a:gd name="T1" fmla="*/ 0 h 34"/>
                  <a:gd name="T2" fmla="*/ 17 w 181"/>
                  <a:gd name="T3" fmla="*/ 0 h 34"/>
                  <a:gd name="T4" fmla="*/ 0 w 181"/>
                  <a:gd name="T5" fmla="*/ 17 h 34"/>
                  <a:gd name="T6" fmla="*/ 17 w 181"/>
                  <a:gd name="T7" fmla="*/ 34 h 34"/>
                  <a:gd name="T8" fmla="*/ 32 w 181"/>
                  <a:gd name="T9" fmla="*/ 34 h 34"/>
                  <a:gd name="T10" fmla="*/ 32 w 181"/>
                  <a:gd name="T11" fmla="*/ 12 h 34"/>
                  <a:gd name="T12" fmla="*/ 33 w 181"/>
                  <a:gd name="T13" fmla="*/ 12 h 34"/>
                  <a:gd name="T14" fmla="*/ 33 w 181"/>
                  <a:gd name="T15" fmla="*/ 0 h 34"/>
                  <a:gd name="T16" fmla="*/ 164 w 181"/>
                  <a:gd name="T17" fmla="*/ 0 h 34"/>
                  <a:gd name="T18" fmla="*/ 144 w 181"/>
                  <a:gd name="T19" fmla="*/ 0 h 34"/>
                  <a:gd name="T20" fmla="*/ 144 w 181"/>
                  <a:gd name="T21" fmla="*/ 17 h 34"/>
                  <a:gd name="T22" fmla="*/ 144 w 181"/>
                  <a:gd name="T23" fmla="*/ 17 h 34"/>
                  <a:gd name="T24" fmla="*/ 144 w 181"/>
                  <a:gd name="T25" fmla="*/ 34 h 34"/>
                  <a:gd name="T26" fmla="*/ 164 w 181"/>
                  <a:gd name="T27" fmla="*/ 34 h 34"/>
                  <a:gd name="T28" fmla="*/ 181 w 181"/>
                  <a:gd name="T29" fmla="*/ 17 h 34"/>
                  <a:gd name="T30" fmla="*/ 164 w 181"/>
                  <a:gd name="T3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1" h="34">
                    <a:moveTo>
                      <a:pt x="33" y="0"/>
                    </a:moveTo>
                    <a:cubicBezTo>
                      <a:pt x="17" y="0"/>
                      <a:pt x="17" y="0"/>
                      <a:pt x="17" y="0"/>
                    </a:cubicBezTo>
                    <a:cubicBezTo>
                      <a:pt x="8" y="0"/>
                      <a:pt x="0" y="8"/>
                      <a:pt x="0" y="17"/>
                    </a:cubicBezTo>
                    <a:cubicBezTo>
                      <a:pt x="0" y="27"/>
                      <a:pt x="8" y="34"/>
                      <a:pt x="17" y="34"/>
                    </a:cubicBezTo>
                    <a:cubicBezTo>
                      <a:pt x="32" y="34"/>
                      <a:pt x="32" y="34"/>
                      <a:pt x="32" y="34"/>
                    </a:cubicBezTo>
                    <a:cubicBezTo>
                      <a:pt x="32" y="12"/>
                      <a:pt x="32" y="12"/>
                      <a:pt x="32" y="12"/>
                    </a:cubicBezTo>
                    <a:cubicBezTo>
                      <a:pt x="33" y="12"/>
                      <a:pt x="33" y="12"/>
                      <a:pt x="33" y="12"/>
                    </a:cubicBezTo>
                    <a:cubicBezTo>
                      <a:pt x="33" y="0"/>
                      <a:pt x="33" y="0"/>
                      <a:pt x="33" y="0"/>
                    </a:cubicBezTo>
                    <a:moveTo>
                      <a:pt x="164" y="0"/>
                    </a:moveTo>
                    <a:cubicBezTo>
                      <a:pt x="144" y="0"/>
                      <a:pt x="144" y="0"/>
                      <a:pt x="144" y="0"/>
                    </a:cubicBezTo>
                    <a:cubicBezTo>
                      <a:pt x="144" y="17"/>
                      <a:pt x="144" y="17"/>
                      <a:pt x="144" y="17"/>
                    </a:cubicBezTo>
                    <a:cubicBezTo>
                      <a:pt x="144" y="17"/>
                      <a:pt x="144" y="17"/>
                      <a:pt x="144" y="17"/>
                    </a:cubicBezTo>
                    <a:cubicBezTo>
                      <a:pt x="144" y="34"/>
                      <a:pt x="144" y="34"/>
                      <a:pt x="144" y="34"/>
                    </a:cubicBezTo>
                    <a:cubicBezTo>
                      <a:pt x="164" y="34"/>
                      <a:pt x="164" y="34"/>
                      <a:pt x="164" y="34"/>
                    </a:cubicBezTo>
                    <a:cubicBezTo>
                      <a:pt x="173" y="34"/>
                      <a:pt x="181" y="27"/>
                      <a:pt x="181" y="17"/>
                    </a:cubicBezTo>
                    <a:cubicBezTo>
                      <a:pt x="181" y="8"/>
                      <a:pt x="173" y="0"/>
                      <a:pt x="164" y="0"/>
                    </a:cubicBezTo>
                  </a:path>
                </a:pathLst>
              </a:custGeom>
              <a:solidFill>
                <a:srgbClr val="C4D6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3" name="íşlide">
                <a:extLst>
                  <a:ext uri="{FF2B5EF4-FFF2-40B4-BE49-F238E27FC236}">
                    <a16:creationId xmlns:a16="http://schemas.microsoft.com/office/drawing/2014/main" id="{6F275A0F-7986-C943-AC47-2356D1B89FB3}"/>
                  </a:ext>
                </a:extLst>
              </p:cNvPr>
              <p:cNvSpPr/>
              <p:nvPr/>
            </p:nvSpPr>
            <p:spPr bwMode="auto">
              <a:xfrm>
                <a:off x="4888396" y="3804394"/>
                <a:ext cx="321568" cy="63486"/>
              </a:xfrm>
              <a:custGeom>
                <a:avLst/>
                <a:gdLst>
                  <a:gd name="T0" fmla="*/ 2 w 233"/>
                  <a:gd name="T1" fmla="*/ 0 h 46"/>
                  <a:gd name="T2" fmla="*/ 0 w 233"/>
                  <a:gd name="T3" fmla="*/ 0 h 46"/>
                  <a:gd name="T4" fmla="*/ 0 w 233"/>
                  <a:gd name="T5" fmla="*/ 46 h 46"/>
                  <a:gd name="T6" fmla="*/ 23 w 233"/>
                  <a:gd name="T7" fmla="*/ 46 h 46"/>
                  <a:gd name="T8" fmla="*/ 23 w 233"/>
                  <a:gd name="T9" fmla="*/ 46 h 46"/>
                  <a:gd name="T10" fmla="*/ 219 w 233"/>
                  <a:gd name="T11" fmla="*/ 46 h 46"/>
                  <a:gd name="T12" fmla="*/ 219 w 233"/>
                  <a:gd name="T13" fmla="*/ 46 h 46"/>
                  <a:gd name="T14" fmla="*/ 233 w 233"/>
                  <a:gd name="T15" fmla="*/ 46 h 46"/>
                  <a:gd name="T16" fmla="*/ 233 w 233"/>
                  <a:gd name="T17" fmla="*/ 10 h 46"/>
                  <a:gd name="T18" fmla="*/ 86 w 233"/>
                  <a:gd name="T19" fmla="*/ 10 h 46"/>
                  <a:gd name="T20" fmla="*/ 2 w 233"/>
                  <a:gd name="T21" fmla="*/ 10 h 46"/>
                  <a:gd name="T22" fmla="*/ 2 w 233"/>
                  <a:gd name="T2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3" h="46">
                    <a:moveTo>
                      <a:pt x="2" y="0"/>
                    </a:moveTo>
                    <a:lnTo>
                      <a:pt x="0" y="0"/>
                    </a:lnTo>
                    <a:lnTo>
                      <a:pt x="0" y="46"/>
                    </a:lnTo>
                    <a:lnTo>
                      <a:pt x="23" y="46"/>
                    </a:lnTo>
                    <a:lnTo>
                      <a:pt x="23" y="46"/>
                    </a:lnTo>
                    <a:lnTo>
                      <a:pt x="219" y="46"/>
                    </a:lnTo>
                    <a:lnTo>
                      <a:pt x="219" y="46"/>
                    </a:lnTo>
                    <a:lnTo>
                      <a:pt x="233" y="46"/>
                    </a:lnTo>
                    <a:lnTo>
                      <a:pt x="233" y="10"/>
                    </a:lnTo>
                    <a:lnTo>
                      <a:pt x="86" y="10"/>
                    </a:lnTo>
                    <a:lnTo>
                      <a:pt x="2" y="10"/>
                    </a:lnTo>
                    <a:lnTo>
                      <a:pt x="2" y="0"/>
                    </a:lnTo>
                    <a:close/>
                  </a:path>
                </a:pathLst>
              </a:custGeom>
              <a:solidFill>
                <a:srgbClr val="BDD1F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4" name="íśľïḍé">
                <a:extLst>
                  <a:ext uri="{FF2B5EF4-FFF2-40B4-BE49-F238E27FC236}">
                    <a16:creationId xmlns:a16="http://schemas.microsoft.com/office/drawing/2014/main" id="{716A991D-085E-524F-A830-587F8DF822F9}"/>
                  </a:ext>
                </a:extLst>
              </p:cNvPr>
              <p:cNvSpPr/>
              <p:nvPr/>
            </p:nvSpPr>
            <p:spPr bwMode="auto">
              <a:xfrm>
                <a:off x="4888396" y="3804394"/>
                <a:ext cx="321568" cy="63486"/>
              </a:xfrm>
              <a:custGeom>
                <a:avLst/>
                <a:gdLst>
                  <a:gd name="T0" fmla="*/ 2 w 233"/>
                  <a:gd name="T1" fmla="*/ 0 h 46"/>
                  <a:gd name="T2" fmla="*/ 0 w 233"/>
                  <a:gd name="T3" fmla="*/ 0 h 46"/>
                  <a:gd name="T4" fmla="*/ 0 w 233"/>
                  <a:gd name="T5" fmla="*/ 46 h 46"/>
                  <a:gd name="T6" fmla="*/ 23 w 233"/>
                  <a:gd name="T7" fmla="*/ 46 h 46"/>
                  <a:gd name="T8" fmla="*/ 23 w 233"/>
                  <a:gd name="T9" fmla="*/ 46 h 46"/>
                  <a:gd name="T10" fmla="*/ 219 w 233"/>
                  <a:gd name="T11" fmla="*/ 46 h 46"/>
                  <a:gd name="T12" fmla="*/ 219 w 233"/>
                  <a:gd name="T13" fmla="*/ 46 h 46"/>
                  <a:gd name="T14" fmla="*/ 233 w 233"/>
                  <a:gd name="T15" fmla="*/ 46 h 46"/>
                  <a:gd name="T16" fmla="*/ 233 w 233"/>
                  <a:gd name="T17" fmla="*/ 10 h 46"/>
                  <a:gd name="T18" fmla="*/ 86 w 233"/>
                  <a:gd name="T19" fmla="*/ 10 h 46"/>
                  <a:gd name="T20" fmla="*/ 2 w 233"/>
                  <a:gd name="T21" fmla="*/ 10 h 46"/>
                  <a:gd name="T22" fmla="*/ 2 w 233"/>
                  <a:gd name="T2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3" h="46">
                    <a:moveTo>
                      <a:pt x="2" y="0"/>
                    </a:moveTo>
                    <a:lnTo>
                      <a:pt x="0" y="0"/>
                    </a:lnTo>
                    <a:lnTo>
                      <a:pt x="0" y="46"/>
                    </a:lnTo>
                    <a:lnTo>
                      <a:pt x="23" y="46"/>
                    </a:lnTo>
                    <a:lnTo>
                      <a:pt x="23" y="46"/>
                    </a:lnTo>
                    <a:lnTo>
                      <a:pt x="219" y="46"/>
                    </a:lnTo>
                    <a:lnTo>
                      <a:pt x="219" y="46"/>
                    </a:lnTo>
                    <a:lnTo>
                      <a:pt x="233" y="46"/>
                    </a:lnTo>
                    <a:lnTo>
                      <a:pt x="233" y="10"/>
                    </a:lnTo>
                    <a:lnTo>
                      <a:pt x="86" y="10"/>
                    </a:lnTo>
                    <a:lnTo>
                      <a:pt x="2"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5" name="î$ḷiḋè">
                <a:extLst>
                  <a:ext uri="{FF2B5EF4-FFF2-40B4-BE49-F238E27FC236}">
                    <a16:creationId xmlns:a16="http://schemas.microsoft.com/office/drawing/2014/main" id="{21472BF3-E33E-4F46-B414-E2326C7B284D}"/>
                  </a:ext>
                </a:extLst>
              </p:cNvPr>
              <p:cNvSpPr/>
              <p:nvPr/>
            </p:nvSpPr>
            <p:spPr bwMode="auto">
              <a:xfrm>
                <a:off x="5209963" y="3889961"/>
                <a:ext cx="11041" cy="34503"/>
              </a:xfrm>
              <a:custGeom>
                <a:avLst/>
                <a:gdLst>
                  <a:gd name="T0" fmla="*/ 4 w 4"/>
                  <a:gd name="T1" fmla="*/ 0 h 12"/>
                  <a:gd name="T2" fmla="*/ 0 w 4"/>
                  <a:gd name="T3" fmla="*/ 0 h 12"/>
                  <a:gd name="T4" fmla="*/ 0 w 4"/>
                  <a:gd name="T5" fmla="*/ 12 h 12"/>
                  <a:gd name="T6" fmla="*/ 4 w 4"/>
                  <a:gd name="T7" fmla="*/ 3 h 12"/>
                  <a:gd name="T8" fmla="*/ 4 w 4"/>
                  <a:gd name="T9" fmla="*/ 0 h 12"/>
                </a:gdLst>
                <a:ahLst/>
                <a:cxnLst>
                  <a:cxn ang="0">
                    <a:pos x="T0" y="T1"/>
                  </a:cxn>
                  <a:cxn ang="0">
                    <a:pos x="T2" y="T3"/>
                  </a:cxn>
                  <a:cxn ang="0">
                    <a:pos x="T4" y="T5"/>
                  </a:cxn>
                  <a:cxn ang="0">
                    <a:pos x="T6" y="T7"/>
                  </a:cxn>
                  <a:cxn ang="0">
                    <a:pos x="T8" y="T9"/>
                  </a:cxn>
                </a:cxnLst>
                <a:rect l="0" t="0" r="r" b="b"/>
                <a:pathLst>
                  <a:path w="4" h="12">
                    <a:moveTo>
                      <a:pt x="4" y="0"/>
                    </a:moveTo>
                    <a:cubicBezTo>
                      <a:pt x="0" y="0"/>
                      <a:pt x="0" y="0"/>
                      <a:pt x="0" y="0"/>
                    </a:cubicBezTo>
                    <a:cubicBezTo>
                      <a:pt x="0" y="12"/>
                      <a:pt x="0" y="12"/>
                      <a:pt x="0" y="12"/>
                    </a:cubicBezTo>
                    <a:cubicBezTo>
                      <a:pt x="3" y="10"/>
                      <a:pt x="4" y="7"/>
                      <a:pt x="4" y="3"/>
                    </a:cubicBezTo>
                    <a:cubicBezTo>
                      <a:pt x="4" y="2"/>
                      <a:pt x="4" y="1"/>
                      <a:pt x="4" y="0"/>
                    </a:cubicBezTo>
                  </a:path>
                </a:pathLst>
              </a:custGeom>
              <a:solidFill>
                <a:srgbClr val="789A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6" name="îṧlíďé">
                <a:extLst>
                  <a:ext uri="{FF2B5EF4-FFF2-40B4-BE49-F238E27FC236}">
                    <a16:creationId xmlns:a16="http://schemas.microsoft.com/office/drawing/2014/main" id="{1EB84FCA-E342-4349-A75B-342CE11B25D4}"/>
                  </a:ext>
                </a:extLst>
              </p:cNvPr>
              <p:cNvSpPr/>
              <p:nvPr/>
            </p:nvSpPr>
            <p:spPr bwMode="auto">
              <a:xfrm>
                <a:off x="4888396" y="3889961"/>
                <a:ext cx="321568" cy="40024"/>
              </a:xfrm>
              <a:custGeom>
                <a:avLst/>
                <a:gdLst>
                  <a:gd name="T0" fmla="*/ 112 w 112"/>
                  <a:gd name="T1" fmla="*/ 0 h 14"/>
                  <a:gd name="T2" fmla="*/ 1 w 112"/>
                  <a:gd name="T3" fmla="*/ 0 h 14"/>
                  <a:gd name="T4" fmla="*/ 0 w 112"/>
                  <a:gd name="T5" fmla="*/ 3 h 14"/>
                  <a:gd name="T6" fmla="*/ 11 w 112"/>
                  <a:gd name="T7" fmla="*/ 14 h 14"/>
                  <a:gd name="T8" fmla="*/ 105 w 112"/>
                  <a:gd name="T9" fmla="*/ 14 h 14"/>
                  <a:gd name="T10" fmla="*/ 112 w 112"/>
                  <a:gd name="T11" fmla="*/ 12 h 14"/>
                  <a:gd name="T12" fmla="*/ 112 w 112"/>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12" h="14">
                    <a:moveTo>
                      <a:pt x="112" y="0"/>
                    </a:moveTo>
                    <a:cubicBezTo>
                      <a:pt x="1" y="0"/>
                      <a:pt x="1" y="0"/>
                      <a:pt x="1" y="0"/>
                    </a:cubicBezTo>
                    <a:cubicBezTo>
                      <a:pt x="1" y="1"/>
                      <a:pt x="0" y="2"/>
                      <a:pt x="0" y="3"/>
                    </a:cubicBezTo>
                    <a:cubicBezTo>
                      <a:pt x="0" y="9"/>
                      <a:pt x="5" y="14"/>
                      <a:pt x="11" y="14"/>
                    </a:cubicBezTo>
                    <a:cubicBezTo>
                      <a:pt x="105" y="14"/>
                      <a:pt x="105" y="14"/>
                      <a:pt x="105" y="14"/>
                    </a:cubicBezTo>
                    <a:cubicBezTo>
                      <a:pt x="108" y="14"/>
                      <a:pt x="110" y="13"/>
                      <a:pt x="112" y="12"/>
                    </a:cubicBezTo>
                    <a:cubicBezTo>
                      <a:pt x="112" y="0"/>
                      <a:pt x="112" y="0"/>
                      <a:pt x="112" y="0"/>
                    </a:cubicBezTo>
                  </a:path>
                </a:pathLst>
              </a:custGeom>
              <a:solidFill>
                <a:srgbClr val="6C8FD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7" name="íṡ1ïḋé">
                <a:extLst>
                  <a:ext uri="{FF2B5EF4-FFF2-40B4-BE49-F238E27FC236}">
                    <a16:creationId xmlns:a16="http://schemas.microsoft.com/office/drawing/2014/main" id="{875E1392-6355-6942-AD2F-FA71E8D18DEB}"/>
                  </a:ext>
                </a:extLst>
              </p:cNvPr>
              <p:cNvSpPr/>
              <p:nvPr/>
            </p:nvSpPr>
            <p:spPr bwMode="auto">
              <a:xfrm>
                <a:off x="5209963" y="3873400"/>
                <a:ext cx="11041" cy="16561"/>
              </a:xfrm>
              <a:custGeom>
                <a:avLst/>
                <a:gdLst>
                  <a:gd name="T0" fmla="*/ 0 w 4"/>
                  <a:gd name="T1" fmla="*/ 0 h 6"/>
                  <a:gd name="T2" fmla="*/ 0 w 4"/>
                  <a:gd name="T3" fmla="*/ 6 h 6"/>
                  <a:gd name="T4" fmla="*/ 4 w 4"/>
                  <a:gd name="T5" fmla="*/ 6 h 6"/>
                  <a:gd name="T6" fmla="*/ 0 w 4"/>
                  <a:gd name="T7" fmla="*/ 0 h 6"/>
                </a:gdLst>
                <a:ahLst/>
                <a:cxnLst>
                  <a:cxn ang="0">
                    <a:pos x="T0" y="T1"/>
                  </a:cxn>
                  <a:cxn ang="0">
                    <a:pos x="T2" y="T3"/>
                  </a:cxn>
                  <a:cxn ang="0">
                    <a:pos x="T4" y="T5"/>
                  </a:cxn>
                  <a:cxn ang="0">
                    <a:pos x="T6" y="T7"/>
                  </a:cxn>
                </a:cxnLst>
                <a:rect l="0" t="0" r="r" b="b"/>
                <a:pathLst>
                  <a:path w="4" h="6">
                    <a:moveTo>
                      <a:pt x="0" y="0"/>
                    </a:moveTo>
                    <a:cubicBezTo>
                      <a:pt x="0" y="6"/>
                      <a:pt x="0" y="6"/>
                      <a:pt x="0" y="6"/>
                    </a:cubicBezTo>
                    <a:cubicBezTo>
                      <a:pt x="4" y="6"/>
                      <a:pt x="4" y="6"/>
                      <a:pt x="4" y="6"/>
                    </a:cubicBezTo>
                    <a:cubicBezTo>
                      <a:pt x="3" y="4"/>
                      <a:pt x="2" y="2"/>
                      <a:pt x="0" y="0"/>
                    </a:cubicBezTo>
                  </a:path>
                </a:pathLst>
              </a:custGeom>
              <a:solidFill>
                <a:srgbClr val="93AC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8" name="îṧľïḋê">
                <a:extLst>
                  <a:ext uri="{FF2B5EF4-FFF2-40B4-BE49-F238E27FC236}">
                    <a16:creationId xmlns:a16="http://schemas.microsoft.com/office/drawing/2014/main" id="{403DD405-E39E-DC41-8B84-12527134F663}"/>
                  </a:ext>
                </a:extLst>
              </p:cNvPr>
              <p:cNvSpPr/>
              <p:nvPr/>
            </p:nvSpPr>
            <p:spPr bwMode="auto">
              <a:xfrm>
                <a:off x="4891156" y="3867879"/>
                <a:ext cx="318808" cy="22082"/>
              </a:xfrm>
              <a:custGeom>
                <a:avLst/>
                <a:gdLst>
                  <a:gd name="T0" fmla="*/ 104 w 111"/>
                  <a:gd name="T1" fmla="*/ 0 h 8"/>
                  <a:gd name="T2" fmla="*/ 10 w 111"/>
                  <a:gd name="T3" fmla="*/ 0 h 8"/>
                  <a:gd name="T4" fmla="*/ 0 w 111"/>
                  <a:gd name="T5" fmla="*/ 8 h 8"/>
                  <a:gd name="T6" fmla="*/ 111 w 111"/>
                  <a:gd name="T7" fmla="*/ 8 h 8"/>
                  <a:gd name="T8" fmla="*/ 111 w 111"/>
                  <a:gd name="T9" fmla="*/ 2 h 8"/>
                  <a:gd name="T10" fmla="*/ 104 w 111"/>
                  <a:gd name="T11" fmla="*/ 0 h 8"/>
                </a:gdLst>
                <a:ahLst/>
                <a:cxnLst>
                  <a:cxn ang="0">
                    <a:pos x="T0" y="T1"/>
                  </a:cxn>
                  <a:cxn ang="0">
                    <a:pos x="T2" y="T3"/>
                  </a:cxn>
                  <a:cxn ang="0">
                    <a:pos x="T4" y="T5"/>
                  </a:cxn>
                  <a:cxn ang="0">
                    <a:pos x="T6" y="T7"/>
                  </a:cxn>
                  <a:cxn ang="0">
                    <a:pos x="T8" y="T9"/>
                  </a:cxn>
                  <a:cxn ang="0">
                    <a:pos x="T10" y="T11"/>
                  </a:cxn>
                </a:cxnLst>
                <a:rect l="0" t="0" r="r" b="b"/>
                <a:pathLst>
                  <a:path w="111" h="8">
                    <a:moveTo>
                      <a:pt x="104" y="0"/>
                    </a:moveTo>
                    <a:cubicBezTo>
                      <a:pt x="10" y="0"/>
                      <a:pt x="10" y="0"/>
                      <a:pt x="10" y="0"/>
                    </a:cubicBezTo>
                    <a:cubicBezTo>
                      <a:pt x="6" y="0"/>
                      <a:pt x="1" y="3"/>
                      <a:pt x="0" y="8"/>
                    </a:cubicBezTo>
                    <a:cubicBezTo>
                      <a:pt x="111" y="8"/>
                      <a:pt x="111" y="8"/>
                      <a:pt x="111" y="8"/>
                    </a:cubicBezTo>
                    <a:cubicBezTo>
                      <a:pt x="111" y="2"/>
                      <a:pt x="111" y="2"/>
                      <a:pt x="111" y="2"/>
                    </a:cubicBezTo>
                    <a:cubicBezTo>
                      <a:pt x="109" y="1"/>
                      <a:pt x="107" y="0"/>
                      <a:pt x="104" y="0"/>
                    </a:cubicBezTo>
                  </a:path>
                </a:pathLst>
              </a:custGeom>
              <a:solidFill>
                <a:srgbClr val="89A4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9" name="íšļíďé">
                <a:extLst>
                  <a:ext uri="{FF2B5EF4-FFF2-40B4-BE49-F238E27FC236}">
                    <a16:creationId xmlns:a16="http://schemas.microsoft.com/office/drawing/2014/main" id="{C483AFD8-893F-934A-B408-0F65C0ED2397}"/>
                  </a:ext>
                </a:extLst>
              </p:cNvPr>
              <p:cNvSpPr/>
              <p:nvPr/>
            </p:nvSpPr>
            <p:spPr bwMode="auto">
              <a:xfrm>
                <a:off x="3890568" y="3749189"/>
                <a:ext cx="739744" cy="140772"/>
              </a:xfrm>
              <a:custGeom>
                <a:avLst/>
                <a:gdLst>
                  <a:gd name="T0" fmla="*/ 65 w 258"/>
                  <a:gd name="T1" fmla="*/ 0 h 49"/>
                  <a:gd name="T2" fmla="*/ 24 w 258"/>
                  <a:gd name="T3" fmla="*/ 0 h 49"/>
                  <a:gd name="T4" fmla="*/ 0 w 258"/>
                  <a:gd name="T5" fmla="*/ 24 h 49"/>
                  <a:gd name="T6" fmla="*/ 24 w 258"/>
                  <a:gd name="T7" fmla="*/ 49 h 49"/>
                  <a:gd name="T8" fmla="*/ 66 w 258"/>
                  <a:gd name="T9" fmla="*/ 49 h 49"/>
                  <a:gd name="T10" fmla="*/ 66 w 258"/>
                  <a:gd name="T11" fmla="*/ 41 h 49"/>
                  <a:gd name="T12" fmla="*/ 56 w 258"/>
                  <a:gd name="T13" fmla="*/ 41 h 49"/>
                  <a:gd name="T14" fmla="*/ 39 w 258"/>
                  <a:gd name="T15" fmla="*/ 24 h 49"/>
                  <a:gd name="T16" fmla="*/ 56 w 258"/>
                  <a:gd name="T17" fmla="*/ 7 h 49"/>
                  <a:gd name="T18" fmla="*/ 65 w 258"/>
                  <a:gd name="T19" fmla="*/ 7 h 49"/>
                  <a:gd name="T20" fmla="*/ 65 w 258"/>
                  <a:gd name="T21" fmla="*/ 0 h 49"/>
                  <a:gd name="T22" fmla="*/ 234 w 258"/>
                  <a:gd name="T23" fmla="*/ 0 h 49"/>
                  <a:gd name="T24" fmla="*/ 199 w 258"/>
                  <a:gd name="T25" fmla="*/ 0 h 49"/>
                  <a:gd name="T26" fmla="*/ 199 w 258"/>
                  <a:gd name="T27" fmla="*/ 7 h 49"/>
                  <a:gd name="T28" fmla="*/ 202 w 258"/>
                  <a:gd name="T29" fmla="*/ 7 h 49"/>
                  <a:gd name="T30" fmla="*/ 219 w 258"/>
                  <a:gd name="T31" fmla="*/ 24 h 49"/>
                  <a:gd name="T32" fmla="*/ 202 w 258"/>
                  <a:gd name="T33" fmla="*/ 41 h 49"/>
                  <a:gd name="T34" fmla="*/ 200 w 258"/>
                  <a:gd name="T35" fmla="*/ 41 h 49"/>
                  <a:gd name="T36" fmla="*/ 200 w 258"/>
                  <a:gd name="T37" fmla="*/ 49 h 49"/>
                  <a:gd name="T38" fmla="*/ 234 w 258"/>
                  <a:gd name="T39" fmla="*/ 49 h 49"/>
                  <a:gd name="T40" fmla="*/ 258 w 258"/>
                  <a:gd name="T41" fmla="*/ 24 h 49"/>
                  <a:gd name="T42" fmla="*/ 234 w 258"/>
                  <a:gd name="T4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8" h="49">
                    <a:moveTo>
                      <a:pt x="65" y="0"/>
                    </a:moveTo>
                    <a:cubicBezTo>
                      <a:pt x="24" y="0"/>
                      <a:pt x="24" y="0"/>
                      <a:pt x="24" y="0"/>
                    </a:cubicBezTo>
                    <a:cubicBezTo>
                      <a:pt x="11" y="0"/>
                      <a:pt x="0" y="11"/>
                      <a:pt x="0" y="24"/>
                    </a:cubicBezTo>
                    <a:cubicBezTo>
                      <a:pt x="0" y="38"/>
                      <a:pt x="11" y="49"/>
                      <a:pt x="24" y="49"/>
                    </a:cubicBezTo>
                    <a:cubicBezTo>
                      <a:pt x="66" y="49"/>
                      <a:pt x="66" y="49"/>
                      <a:pt x="66" y="49"/>
                    </a:cubicBezTo>
                    <a:cubicBezTo>
                      <a:pt x="66" y="41"/>
                      <a:pt x="66" y="41"/>
                      <a:pt x="66" y="41"/>
                    </a:cubicBezTo>
                    <a:cubicBezTo>
                      <a:pt x="56" y="41"/>
                      <a:pt x="56" y="41"/>
                      <a:pt x="56" y="41"/>
                    </a:cubicBezTo>
                    <a:cubicBezTo>
                      <a:pt x="46" y="41"/>
                      <a:pt x="39" y="34"/>
                      <a:pt x="39" y="24"/>
                    </a:cubicBezTo>
                    <a:cubicBezTo>
                      <a:pt x="39" y="15"/>
                      <a:pt x="46" y="7"/>
                      <a:pt x="56" y="7"/>
                    </a:cubicBezTo>
                    <a:cubicBezTo>
                      <a:pt x="65" y="7"/>
                      <a:pt x="65" y="7"/>
                      <a:pt x="65" y="7"/>
                    </a:cubicBezTo>
                    <a:cubicBezTo>
                      <a:pt x="65" y="0"/>
                      <a:pt x="65" y="0"/>
                      <a:pt x="65" y="0"/>
                    </a:cubicBezTo>
                    <a:moveTo>
                      <a:pt x="234" y="0"/>
                    </a:moveTo>
                    <a:cubicBezTo>
                      <a:pt x="199" y="0"/>
                      <a:pt x="199" y="0"/>
                      <a:pt x="199" y="0"/>
                    </a:cubicBezTo>
                    <a:cubicBezTo>
                      <a:pt x="199" y="7"/>
                      <a:pt x="199" y="7"/>
                      <a:pt x="199" y="7"/>
                    </a:cubicBezTo>
                    <a:cubicBezTo>
                      <a:pt x="202" y="7"/>
                      <a:pt x="202" y="7"/>
                      <a:pt x="202" y="7"/>
                    </a:cubicBezTo>
                    <a:cubicBezTo>
                      <a:pt x="212" y="7"/>
                      <a:pt x="219" y="15"/>
                      <a:pt x="219" y="24"/>
                    </a:cubicBezTo>
                    <a:cubicBezTo>
                      <a:pt x="219" y="34"/>
                      <a:pt x="212" y="41"/>
                      <a:pt x="202" y="41"/>
                    </a:cubicBezTo>
                    <a:cubicBezTo>
                      <a:pt x="200" y="41"/>
                      <a:pt x="200" y="41"/>
                      <a:pt x="200" y="41"/>
                    </a:cubicBezTo>
                    <a:cubicBezTo>
                      <a:pt x="200" y="49"/>
                      <a:pt x="200" y="49"/>
                      <a:pt x="200" y="49"/>
                    </a:cubicBezTo>
                    <a:cubicBezTo>
                      <a:pt x="234" y="49"/>
                      <a:pt x="234" y="49"/>
                      <a:pt x="234" y="49"/>
                    </a:cubicBezTo>
                    <a:cubicBezTo>
                      <a:pt x="247" y="49"/>
                      <a:pt x="258" y="38"/>
                      <a:pt x="258" y="24"/>
                    </a:cubicBezTo>
                    <a:cubicBezTo>
                      <a:pt x="258" y="11"/>
                      <a:pt x="247" y="0"/>
                      <a:pt x="234" y="0"/>
                    </a:cubicBezTo>
                  </a:path>
                </a:pathLst>
              </a:custGeom>
              <a:solidFill>
                <a:srgbClr val="A7C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0" name="i$ḻîḓe">
                <a:extLst>
                  <a:ext uri="{FF2B5EF4-FFF2-40B4-BE49-F238E27FC236}">
                    <a16:creationId xmlns:a16="http://schemas.microsoft.com/office/drawing/2014/main" id="{B03BE7CA-E659-DC45-B64A-31B9CB29A355}"/>
                  </a:ext>
                </a:extLst>
              </p:cNvPr>
              <p:cNvSpPr/>
              <p:nvPr/>
            </p:nvSpPr>
            <p:spPr bwMode="auto">
              <a:xfrm>
                <a:off x="4079645" y="3867879"/>
                <a:ext cx="385054" cy="22082"/>
              </a:xfrm>
              <a:custGeom>
                <a:avLst/>
                <a:gdLst>
                  <a:gd name="T0" fmla="*/ 16 w 134"/>
                  <a:gd name="T1" fmla="*/ 0 h 8"/>
                  <a:gd name="T2" fmla="*/ 0 w 134"/>
                  <a:gd name="T3" fmla="*/ 0 h 8"/>
                  <a:gd name="T4" fmla="*/ 0 w 134"/>
                  <a:gd name="T5" fmla="*/ 8 h 8"/>
                  <a:gd name="T6" fmla="*/ 6 w 134"/>
                  <a:gd name="T7" fmla="*/ 8 h 8"/>
                  <a:gd name="T8" fmla="*/ 16 w 134"/>
                  <a:gd name="T9" fmla="*/ 0 h 8"/>
                  <a:gd name="T10" fmla="*/ 134 w 134"/>
                  <a:gd name="T11" fmla="*/ 0 h 8"/>
                  <a:gd name="T12" fmla="*/ 110 w 134"/>
                  <a:gd name="T13" fmla="*/ 0 h 8"/>
                  <a:gd name="T14" fmla="*/ 120 w 134"/>
                  <a:gd name="T15" fmla="*/ 8 h 8"/>
                  <a:gd name="T16" fmla="*/ 134 w 134"/>
                  <a:gd name="T17" fmla="*/ 8 h 8"/>
                  <a:gd name="T18" fmla="*/ 134 w 134"/>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4" h="8">
                    <a:moveTo>
                      <a:pt x="16" y="0"/>
                    </a:moveTo>
                    <a:cubicBezTo>
                      <a:pt x="0" y="0"/>
                      <a:pt x="0" y="0"/>
                      <a:pt x="0" y="0"/>
                    </a:cubicBezTo>
                    <a:cubicBezTo>
                      <a:pt x="0" y="8"/>
                      <a:pt x="0" y="8"/>
                      <a:pt x="0" y="8"/>
                    </a:cubicBezTo>
                    <a:cubicBezTo>
                      <a:pt x="6" y="8"/>
                      <a:pt x="6" y="8"/>
                      <a:pt x="6" y="8"/>
                    </a:cubicBezTo>
                    <a:cubicBezTo>
                      <a:pt x="7" y="3"/>
                      <a:pt x="11" y="0"/>
                      <a:pt x="16" y="0"/>
                    </a:cubicBezTo>
                    <a:moveTo>
                      <a:pt x="134" y="0"/>
                    </a:moveTo>
                    <a:cubicBezTo>
                      <a:pt x="110" y="0"/>
                      <a:pt x="110" y="0"/>
                      <a:pt x="110" y="0"/>
                    </a:cubicBezTo>
                    <a:cubicBezTo>
                      <a:pt x="115" y="0"/>
                      <a:pt x="119" y="3"/>
                      <a:pt x="120" y="8"/>
                    </a:cubicBezTo>
                    <a:cubicBezTo>
                      <a:pt x="134" y="8"/>
                      <a:pt x="134" y="8"/>
                      <a:pt x="134" y="8"/>
                    </a:cubicBezTo>
                    <a:cubicBezTo>
                      <a:pt x="134" y="0"/>
                      <a:pt x="134" y="0"/>
                      <a:pt x="134" y="0"/>
                    </a:cubicBezTo>
                  </a:path>
                </a:pathLst>
              </a:custGeom>
              <a:solidFill>
                <a:srgbClr val="9CBAF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1" name="iS1îdé">
                <a:extLst>
                  <a:ext uri="{FF2B5EF4-FFF2-40B4-BE49-F238E27FC236}">
                    <a16:creationId xmlns:a16="http://schemas.microsoft.com/office/drawing/2014/main" id="{0A3937A4-FBF1-3644-A928-7BBFD8A7F4B5}"/>
                  </a:ext>
                </a:extLst>
              </p:cNvPr>
              <p:cNvSpPr/>
              <p:nvPr/>
            </p:nvSpPr>
            <p:spPr bwMode="auto">
              <a:xfrm>
                <a:off x="4002358" y="3769890"/>
                <a:ext cx="516165" cy="97989"/>
              </a:xfrm>
              <a:custGeom>
                <a:avLst/>
                <a:gdLst>
                  <a:gd name="T0" fmla="*/ 26 w 180"/>
                  <a:gd name="T1" fmla="*/ 0 h 34"/>
                  <a:gd name="T2" fmla="*/ 17 w 180"/>
                  <a:gd name="T3" fmla="*/ 0 h 34"/>
                  <a:gd name="T4" fmla="*/ 0 w 180"/>
                  <a:gd name="T5" fmla="*/ 17 h 34"/>
                  <a:gd name="T6" fmla="*/ 17 w 180"/>
                  <a:gd name="T7" fmla="*/ 34 h 34"/>
                  <a:gd name="T8" fmla="*/ 27 w 180"/>
                  <a:gd name="T9" fmla="*/ 34 h 34"/>
                  <a:gd name="T10" fmla="*/ 27 w 180"/>
                  <a:gd name="T11" fmla="*/ 17 h 34"/>
                  <a:gd name="T12" fmla="*/ 26 w 180"/>
                  <a:gd name="T13" fmla="*/ 17 h 34"/>
                  <a:gd name="T14" fmla="*/ 26 w 180"/>
                  <a:gd name="T15" fmla="*/ 0 h 34"/>
                  <a:gd name="T16" fmla="*/ 163 w 180"/>
                  <a:gd name="T17" fmla="*/ 0 h 34"/>
                  <a:gd name="T18" fmla="*/ 160 w 180"/>
                  <a:gd name="T19" fmla="*/ 0 h 34"/>
                  <a:gd name="T20" fmla="*/ 160 w 180"/>
                  <a:gd name="T21" fmla="*/ 12 h 34"/>
                  <a:gd name="T22" fmla="*/ 161 w 180"/>
                  <a:gd name="T23" fmla="*/ 12 h 34"/>
                  <a:gd name="T24" fmla="*/ 161 w 180"/>
                  <a:gd name="T25" fmla="*/ 34 h 34"/>
                  <a:gd name="T26" fmla="*/ 163 w 180"/>
                  <a:gd name="T27" fmla="*/ 34 h 34"/>
                  <a:gd name="T28" fmla="*/ 180 w 180"/>
                  <a:gd name="T29" fmla="*/ 17 h 34"/>
                  <a:gd name="T30" fmla="*/ 163 w 180"/>
                  <a:gd name="T3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0" h="34">
                    <a:moveTo>
                      <a:pt x="26" y="0"/>
                    </a:moveTo>
                    <a:cubicBezTo>
                      <a:pt x="17" y="0"/>
                      <a:pt x="17" y="0"/>
                      <a:pt x="17" y="0"/>
                    </a:cubicBezTo>
                    <a:cubicBezTo>
                      <a:pt x="7" y="0"/>
                      <a:pt x="0" y="8"/>
                      <a:pt x="0" y="17"/>
                    </a:cubicBezTo>
                    <a:cubicBezTo>
                      <a:pt x="0" y="27"/>
                      <a:pt x="7" y="34"/>
                      <a:pt x="17" y="34"/>
                    </a:cubicBezTo>
                    <a:cubicBezTo>
                      <a:pt x="27" y="34"/>
                      <a:pt x="27" y="34"/>
                      <a:pt x="27" y="34"/>
                    </a:cubicBezTo>
                    <a:cubicBezTo>
                      <a:pt x="27" y="17"/>
                      <a:pt x="27" y="17"/>
                      <a:pt x="27" y="17"/>
                    </a:cubicBezTo>
                    <a:cubicBezTo>
                      <a:pt x="26" y="17"/>
                      <a:pt x="26" y="17"/>
                      <a:pt x="26" y="17"/>
                    </a:cubicBezTo>
                    <a:cubicBezTo>
                      <a:pt x="26" y="0"/>
                      <a:pt x="26" y="0"/>
                      <a:pt x="26" y="0"/>
                    </a:cubicBezTo>
                    <a:moveTo>
                      <a:pt x="163" y="0"/>
                    </a:moveTo>
                    <a:cubicBezTo>
                      <a:pt x="160" y="0"/>
                      <a:pt x="160" y="0"/>
                      <a:pt x="160" y="0"/>
                    </a:cubicBezTo>
                    <a:cubicBezTo>
                      <a:pt x="160" y="12"/>
                      <a:pt x="160" y="12"/>
                      <a:pt x="160" y="12"/>
                    </a:cubicBezTo>
                    <a:cubicBezTo>
                      <a:pt x="161" y="12"/>
                      <a:pt x="161" y="12"/>
                      <a:pt x="161" y="12"/>
                    </a:cubicBezTo>
                    <a:cubicBezTo>
                      <a:pt x="161" y="34"/>
                      <a:pt x="161" y="34"/>
                      <a:pt x="161" y="34"/>
                    </a:cubicBezTo>
                    <a:cubicBezTo>
                      <a:pt x="163" y="34"/>
                      <a:pt x="163" y="34"/>
                      <a:pt x="163" y="34"/>
                    </a:cubicBezTo>
                    <a:cubicBezTo>
                      <a:pt x="173" y="34"/>
                      <a:pt x="180" y="27"/>
                      <a:pt x="180" y="17"/>
                    </a:cubicBezTo>
                    <a:cubicBezTo>
                      <a:pt x="180" y="8"/>
                      <a:pt x="173" y="0"/>
                      <a:pt x="163" y="0"/>
                    </a:cubicBezTo>
                  </a:path>
                </a:pathLst>
              </a:custGeom>
              <a:solidFill>
                <a:srgbClr val="C4D6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2" name="íṧḻïḓé">
                <a:extLst>
                  <a:ext uri="{FF2B5EF4-FFF2-40B4-BE49-F238E27FC236}">
                    <a16:creationId xmlns:a16="http://schemas.microsoft.com/office/drawing/2014/main" id="{A2B3BAA2-0147-8D45-8150-AC8DC56D7230}"/>
                  </a:ext>
                </a:extLst>
              </p:cNvPr>
              <p:cNvSpPr/>
              <p:nvPr/>
            </p:nvSpPr>
            <p:spPr bwMode="auto">
              <a:xfrm>
                <a:off x="4079645" y="3804394"/>
                <a:ext cx="385054" cy="63486"/>
              </a:xfrm>
              <a:custGeom>
                <a:avLst/>
                <a:gdLst>
                  <a:gd name="T0" fmla="*/ 279 w 279"/>
                  <a:gd name="T1" fmla="*/ 0 h 46"/>
                  <a:gd name="T2" fmla="*/ 277 w 279"/>
                  <a:gd name="T3" fmla="*/ 0 h 46"/>
                  <a:gd name="T4" fmla="*/ 277 w 279"/>
                  <a:gd name="T5" fmla="*/ 10 h 46"/>
                  <a:gd name="T6" fmla="*/ 129 w 279"/>
                  <a:gd name="T7" fmla="*/ 10 h 46"/>
                  <a:gd name="T8" fmla="*/ 0 w 279"/>
                  <a:gd name="T9" fmla="*/ 10 h 46"/>
                  <a:gd name="T10" fmla="*/ 0 w 279"/>
                  <a:gd name="T11" fmla="*/ 46 h 46"/>
                  <a:gd name="T12" fmla="*/ 34 w 279"/>
                  <a:gd name="T13" fmla="*/ 46 h 46"/>
                  <a:gd name="T14" fmla="*/ 34 w 279"/>
                  <a:gd name="T15" fmla="*/ 46 h 46"/>
                  <a:gd name="T16" fmla="*/ 229 w 279"/>
                  <a:gd name="T17" fmla="*/ 46 h 46"/>
                  <a:gd name="T18" fmla="*/ 229 w 279"/>
                  <a:gd name="T19" fmla="*/ 46 h 46"/>
                  <a:gd name="T20" fmla="*/ 279 w 279"/>
                  <a:gd name="T21" fmla="*/ 46 h 46"/>
                  <a:gd name="T22" fmla="*/ 279 w 279"/>
                  <a:gd name="T2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9" h="46">
                    <a:moveTo>
                      <a:pt x="279" y="0"/>
                    </a:moveTo>
                    <a:lnTo>
                      <a:pt x="277" y="0"/>
                    </a:lnTo>
                    <a:lnTo>
                      <a:pt x="277" y="10"/>
                    </a:lnTo>
                    <a:lnTo>
                      <a:pt x="129" y="10"/>
                    </a:lnTo>
                    <a:lnTo>
                      <a:pt x="0" y="10"/>
                    </a:lnTo>
                    <a:lnTo>
                      <a:pt x="0" y="46"/>
                    </a:lnTo>
                    <a:lnTo>
                      <a:pt x="34" y="46"/>
                    </a:lnTo>
                    <a:lnTo>
                      <a:pt x="34" y="46"/>
                    </a:lnTo>
                    <a:lnTo>
                      <a:pt x="229" y="46"/>
                    </a:lnTo>
                    <a:lnTo>
                      <a:pt x="229" y="46"/>
                    </a:lnTo>
                    <a:lnTo>
                      <a:pt x="279" y="46"/>
                    </a:lnTo>
                    <a:lnTo>
                      <a:pt x="279" y="0"/>
                    </a:lnTo>
                    <a:close/>
                  </a:path>
                </a:pathLst>
              </a:custGeom>
              <a:solidFill>
                <a:srgbClr val="BDD1F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3" name="ïṣḻïḍé">
                <a:extLst>
                  <a:ext uri="{FF2B5EF4-FFF2-40B4-BE49-F238E27FC236}">
                    <a16:creationId xmlns:a16="http://schemas.microsoft.com/office/drawing/2014/main" id="{B51A2A86-637A-9A4A-9156-B3548BB7EB76}"/>
                  </a:ext>
                </a:extLst>
              </p:cNvPr>
              <p:cNvSpPr/>
              <p:nvPr/>
            </p:nvSpPr>
            <p:spPr bwMode="auto">
              <a:xfrm>
                <a:off x="4079645" y="3804394"/>
                <a:ext cx="385054" cy="63486"/>
              </a:xfrm>
              <a:custGeom>
                <a:avLst/>
                <a:gdLst>
                  <a:gd name="T0" fmla="*/ 279 w 279"/>
                  <a:gd name="T1" fmla="*/ 0 h 46"/>
                  <a:gd name="T2" fmla="*/ 277 w 279"/>
                  <a:gd name="T3" fmla="*/ 0 h 46"/>
                  <a:gd name="T4" fmla="*/ 277 w 279"/>
                  <a:gd name="T5" fmla="*/ 10 h 46"/>
                  <a:gd name="T6" fmla="*/ 129 w 279"/>
                  <a:gd name="T7" fmla="*/ 10 h 46"/>
                  <a:gd name="T8" fmla="*/ 0 w 279"/>
                  <a:gd name="T9" fmla="*/ 10 h 46"/>
                  <a:gd name="T10" fmla="*/ 0 w 279"/>
                  <a:gd name="T11" fmla="*/ 46 h 46"/>
                  <a:gd name="T12" fmla="*/ 34 w 279"/>
                  <a:gd name="T13" fmla="*/ 46 h 46"/>
                  <a:gd name="T14" fmla="*/ 34 w 279"/>
                  <a:gd name="T15" fmla="*/ 46 h 46"/>
                  <a:gd name="T16" fmla="*/ 229 w 279"/>
                  <a:gd name="T17" fmla="*/ 46 h 46"/>
                  <a:gd name="T18" fmla="*/ 229 w 279"/>
                  <a:gd name="T19" fmla="*/ 46 h 46"/>
                  <a:gd name="T20" fmla="*/ 279 w 279"/>
                  <a:gd name="T21" fmla="*/ 46 h 46"/>
                  <a:gd name="T22" fmla="*/ 279 w 279"/>
                  <a:gd name="T2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9" h="46">
                    <a:moveTo>
                      <a:pt x="279" y="0"/>
                    </a:moveTo>
                    <a:lnTo>
                      <a:pt x="277" y="0"/>
                    </a:lnTo>
                    <a:lnTo>
                      <a:pt x="277" y="10"/>
                    </a:lnTo>
                    <a:lnTo>
                      <a:pt x="129" y="10"/>
                    </a:lnTo>
                    <a:lnTo>
                      <a:pt x="0" y="10"/>
                    </a:lnTo>
                    <a:lnTo>
                      <a:pt x="0" y="46"/>
                    </a:lnTo>
                    <a:lnTo>
                      <a:pt x="34" y="46"/>
                    </a:lnTo>
                    <a:lnTo>
                      <a:pt x="34" y="46"/>
                    </a:lnTo>
                    <a:lnTo>
                      <a:pt x="229" y="46"/>
                    </a:lnTo>
                    <a:lnTo>
                      <a:pt x="229" y="46"/>
                    </a:lnTo>
                    <a:lnTo>
                      <a:pt x="279" y="46"/>
                    </a:lnTo>
                    <a:lnTo>
                      <a:pt x="2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4" name="íṥḻïḓè">
                <a:extLst>
                  <a:ext uri="{FF2B5EF4-FFF2-40B4-BE49-F238E27FC236}">
                    <a16:creationId xmlns:a16="http://schemas.microsoft.com/office/drawing/2014/main" id="{75904447-47A7-C141-A51A-D638BCEDFB3A}"/>
                  </a:ext>
                </a:extLst>
              </p:cNvPr>
              <p:cNvSpPr/>
              <p:nvPr/>
            </p:nvSpPr>
            <p:spPr bwMode="auto">
              <a:xfrm>
                <a:off x="4094826" y="3889961"/>
                <a:ext cx="332609" cy="40024"/>
              </a:xfrm>
              <a:custGeom>
                <a:avLst/>
                <a:gdLst>
                  <a:gd name="T0" fmla="*/ 115 w 116"/>
                  <a:gd name="T1" fmla="*/ 0 h 14"/>
                  <a:gd name="T2" fmla="*/ 1 w 116"/>
                  <a:gd name="T3" fmla="*/ 0 h 14"/>
                  <a:gd name="T4" fmla="*/ 0 w 116"/>
                  <a:gd name="T5" fmla="*/ 3 h 14"/>
                  <a:gd name="T6" fmla="*/ 11 w 116"/>
                  <a:gd name="T7" fmla="*/ 14 h 14"/>
                  <a:gd name="T8" fmla="*/ 105 w 116"/>
                  <a:gd name="T9" fmla="*/ 14 h 14"/>
                  <a:gd name="T10" fmla="*/ 116 w 116"/>
                  <a:gd name="T11" fmla="*/ 3 h 14"/>
                  <a:gd name="T12" fmla="*/ 115 w 11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16" h="14">
                    <a:moveTo>
                      <a:pt x="115" y="0"/>
                    </a:moveTo>
                    <a:cubicBezTo>
                      <a:pt x="1" y="0"/>
                      <a:pt x="1" y="0"/>
                      <a:pt x="1" y="0"/>
                    </a:cubicBezTo>
                    <a:cubicBezTo>
                      <a:pt x="0" y="1"/>
                      <a:pt x="0" y="2"/>
                      <a:pt x="0" y="3"/>
                    </a:cubicBezTo>
                    <a:cubicBezTo>
                      <a:pt x="0" y="9"/>
                      <a:pt x="5" y="14"/>
                      <a:pt x="11" y="14"/>
                    </a:cubicBezTo>
                    <a:cubicBezTo>
                      <a:pt x="105" y="14"/>
                      <a:pt x="105" y="14"/>
                      <a:pt x="105" y="14"/>
                    </a:cubicBezTo>
                    <a:cubicBezTo>
                      <a:pt x="111" y="14"/>
                      <a:pt x="116" y="9"/>
                      <a:pt x="116" y="3"/>
                    </a:cubicBezTo>
                    <a:cubicBezTo>
                      <a:pt x="116" y="2"/>
                      <a:pt x="116" y="1"/>
                      <a:pt x="115" y="0"/>
                    </a:cubicBezTo>
                  </a:path>
                </a:pathLst>
              </a:custGeom>
              <a:solidFill>
                <a:srgbClr val="6C8FD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5" name="îśḻîḋê">
                <a:extLst>
                  <a:ext uri="{FF2B5EF4-FFF2-40B4-BE49-F238E27FC236}">
                    <a16:creationId xmlns:a16="http://schemas.microsoft.com/office/drawing/2014/main" id="{40E574C6-9C25-A24A-B3FC-7A168C169CA6}"/>
                  </a:ext>
                </a:extLst>
              </p:cNvPr>
              <p:cNvSpPr/>
              <p:nvPr/>
            </p:nvSpPr>
            <p:spPr bwMode="auto">
              <a:xfrm>
                <a:off x="4097586" y="3867879"/>
                <a:ext cx="327089" cy="22082"/>
              </a:xfrm>
              <a:custGeom>
                <a:avLst/>
                <a:gdLst>
                  <a:gd name="T0" fmla="*/ 104 w 114"/>
                  <a:gd name="T1" fmla="*/ 0 h 8"/>
                  <a:gd name="T2" fmla="*/ 10 w 114"/>
                  <a:gd name="T3" fmla="*/ 0 h 8"/>
                  <a:gd name="T4" fmla="*/ 0 w 114"/>
                  <a:gd name="T5" fmla="*/ 8 h 8"/>
                  <a:gd name="T6" fmla="*/ 114 w 114"/>
                  <a:gd name="T7" fmla="*/ 8 h 8"/>
                  <a:gd name="T8" fmla="*/ 104 w 114"/>
                  <a:gd name="T9" fmla="*/ 0 h 8"/>
                </a:gdLst>
                <a:ahLst/>
                <a:cxnLst>
                  <a:cxn ang="0">
                    <a:pos x="T0" y="T1"/>
                  </a:cxn>
                  <a:cxn ang="0">
                    <a:pos x="T2" y="T3"/>
                  </a:cxn>
                  <a:cxn ang="0">
                    <a:pos x="T4" y="T5"/>
                  </a:cxn>
                  <a:cxn ang="0">
                    <a:pos x="T6" y="T7"/>
                  </a:cxn>
                  <a:cxn ang="0">
                    <a:pos x="T8" y="T9"/>
                  </a:cxn>
                </a:cxnLst>
                <a:rect l="0" t="0" r="r" b="b"/>
                <a:pathLst>
                  <a:path w="114" h="8">
                    <a:moveTo>
                      <a:pt x="104" y="0"/>
                    </a:moveTo>
                    <a:cubicBezTo>
                      <a:pt x="10" y="0"/>
                      <a:pt x="10" y="0"/>
                      <a:pt x="10" y="0"/>
                    </a:cubicBezTo>
                    <a:cubicBezTo>
                      <a:pt x="5" y="0"/>
                      <a:pt x="1" y="3"/>
                      <a:pt x="0" y="8"/>
                    </a:cubicBezTo>
                    <a:cubicBezTo>
                      <a:pt x="114" y="8"/>
                      <a:pt x="114" y="8"/>
                      <a:pt x="114" y="8"/>
                    </a:cubicBezTo>
                    <a:cubicBezTo>
                      <a:pt x="113" y="3"/>
                      <a:pt x="109" y="0"/>
                      <a:pt x="104" y="0"/>
                    </a:cubicBezTo>
                  </a:path>
                </a:pathLst>
              </a:custGeom>
              <a:solidFill>
                <a:srgbClr val="89A4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6" name="îšḷïḓè">
                <a:extLst>
                  <a:ext uri="{FF2B5EF4-FFF2-40B4-BE49-F238E27FC236}">
                    <a16:creationId xmlns:a16="http://schemas.microsoft.com/office/drawing/2014/main" id="{A27EB0F5-8E31-F74A-B57D-ADBE09948861}"/>
                  </a:ext>
                </a:extLst>
              </p:cNvPr>
              <p:cNvSpPr/>
              <p:nvPr/>
            </p:nvSpPr>
            <p:spPr bwMode="auto">
              <a:xfrm>
                <a:off x="4851132" y="2480858"/>
                <a:ext cx="189077" cy="178036"/>
              </a:xfrm>
              <a:custGeom>
                <a:avLst/>
                <a:gdLst>
                  <a:gd name="T0" fmla="*/ 61 w 66"/>
                  <a:gd name="T1" fmla="*/ 62 h 62"/>
                  <a:gd name="T2" fmla="*/ 57 w 66"/>
                  <a:gd name="T3" fmla="*/ 57 h 62"/>
                  <a:gd name="T4" fmla="*/ 57 w 66"/>
                  <a:gd name="T5" fmla="*/ 29 h 62"/>
                  <a:gd name="T6" fmla="*/ 37 w 66"/>
                  <a:gd name="T7" fmla="*/ 9 h 62"/>
                  <a:gd name="T8" fmla="*/ 37 w 66"/>
                  <a:gd name="T9" fmla="*/ 9 h 62"/>
                  <a:gd name="T10" fmla="*/ 32 w 66"/>
                  <a:gd name="T11" fmla="*/ 9 h 62"/>
                  <a:gd name="T12" fmla="*/ 4 w 66"/>
                  <a:gd name="T13" fmla="*/ 9 h 62"/>
                  <a:gd name="T14" fmla="*/ 0 w 66"/>
                  <a:gd name="T15" fmla="*/ 5 h 62"/>
                  <a:gd name="T16" fmla="*/ 4 w 66"/>
                  <a:gd name="T17" fmla="*/ 0 h 62"/>
                  <a:gd name="T18" fmla="*/ 37 w 66"/>
                  <a:gd name="T19" fmla="*/ 0 h 62"/>
                  <a:gd name="T20" fmla="*/ 66 w 66"/>
                  <a:gd name="T21" fmla="*/ 29 h 62"/>
                  <a:gd name="T22" fmla="*/ 66 w 66"/>
                  <a:gd name="T23" fmla="*/ 57 h 62"/>
                  <a:gd name="T24" fmla="*/ 61 w 66"/>
                  <a:gd name="T25"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62">
                    <a:moveTo>
                      <a:pt x="61" y="62"/>
                    </a:moveTo>
                    <a:cubicBezTo>
                      <a:pt x="59" y="62"/>
                      <a:pt x="57" y="60"/>
                      <a:pt x="57" y="57"/>
                    </a:cubicBezTo>
                    <a:cubicBezTo>
                      <a:pt x="57" y="29"/>
                      <a:pt x="57" y="29"/>
                      <a:pt x="57" y="29"/>
                    </a:cubicBezTo>
                    <a:cubicBezTo>
                      <a:pt x="57" y="18"/>
                      <a:pt x="48" y="9"/>
                      <a:pt x="37" y="9"/>
                    </a:cubicBezTo>
                    <a:cubicBezTo>
                      <a:pt x="37" y="9"/>
                      <a:pt x="37" y="9"/>
                      <a:pt x="37" y="9"/>
                    </a:cubicBezTo>
                    <a:cubicBezTo>
                      <a:pt x="36" y="9"/>
                      <a:pt x="34" y="9"/>
                      <a:pt x="32" y="9"/>
                    </a:cubicBezTo>
                    <a:cubicBezTo>
                      <a:pt x="4" y="9"/>
                      <a:pt x="4" y="9"/>
                      <a:pt x="4" y="9"/>
                    </a:cubicBezTo>
                    <a:cubicBezTo>
                      <a:pt x="1" y="9"/>
                      <a:pt x="0" y="7"/>
                      <a:pt x="0" y="5"/>
                    </a:cubicBezTo>
                    <a:cubicBezTo>
                      <a:pt x="0" y="2"/>
                      <a:pt x="1" y="0"/>
                      <a:pt x="4" y="0"/>
                    </a:cubicBezTo>
                    <a:cubicBezTo>
                      <a:pt x="4" y="0"/>
                      <a:pt x="37" y="0"/>
                      <a:pt x="37" y="0"/>
                    </a:cubicBezTo>
                    <a:cubicBezTo>
                      <a:pt x="53" y="0"/>
                      <a:pt x="66" y="13"/>
                      <a:pt x="66" y="29"/>
                    </a:cubicBezTo>
                    <a:cubicBezTo>
                      <a:pt x="66" y="57"/>
                      <a:pt x="66" y="57"/>
                      <a:pt x="66" y="57"/>
                    </a:cubicBezTo>
                    <a:cubicBezTo>
                      <a:pt x="66" y="60"/>
                      <a:pt x="64" y="62"/>
                      <a:pt x="61" y="62"/>
                    </a:cubicBezTo>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7" name="íṧļïḑè">
                <a:extLst>
                  <a:ext uri="{FF2B5EF4-FFF2-40B4-BE49-F238E27FC236}">
                    <a16:creationId xmlns:a16="http://schemas.microsoft.com/office/drawing/2014/main" id="{0E2662D5-A3AB-944C-86A5-5ACE123A89BB}"/>
                  </a:ext>
                </a:extLst>
              </p:cNvPr>
              <p:cNvSpPr/>
              <p:nvPr/>
            </p:nvSpPr>
            <p:spPr bwMode="auto">
              <a:xfrm>
                <a:off x="5238946" y="2315243"/>
                <a:ext cx="1054412" cy="472001"/>
              </a:xfrm>
              <a:custGeom>
                <a:avLst/>
                <a:gdLst>
                  <a:gd name="T0" fmla="*/ 29 w 368"/>
                  <a:gd name="T1" fmla="*/ 165 h 165"/>
                  <a:gd name="T2" fmla="*/ 17 w 368"/>
                  <a:gd name="T3" fmla="*/ 162 h 165"/>
                  <a:gd name="T4" fmla="*/ 2 w 368"/>
                  <a:gd name="T5" fmla="*/ 146 h 165"/>
                  <a:gd name="T6" fmla="*/ 4 w 368"/>
                  <a:gd name="T7" fmla="*/ 124 h 165"/>
                  <a:gd name="T8" fmla="*/ 20 w 368"/>
                  <a:gd name="T9" fmla="*/ 110 h 165"/>
                  <a:gd name="T10" fmla="*/ 327 w 368"/>
                  <a:gd name="T11" fmla="*/ 5 h 165"/>
                  <a:gd name="T12" fmla="*/ 363 w 368"/>
                  <a:gd name="T13" fmla="*/ 22 h 165"/>
                  <a:gd name="T14" fmla="*/ 346 w 368"/>
                  <a:gd name="T15" fmla="*/ 58 h 165"/>
                  <a:gd name="T16" fmla="*/ 38 w 368"/>
                  <a:gd name="T17" fmla="*/ 164 h 165"/>
                  <a:gd name="T18" fmla="*/ 29 w 368"/>
                  <a:gd name="T19" fmla="*/ 165 h 165"/>
                  <a:gd name="T20" fmla="*/ 337 w 368"/>
                  <a:gd name="T21" fmla="*/ 12 h 165"/>
                  <a:gd name="T22" fmla="*/ 330 w 368"/>
                  <a:gd name="T23" fmla="*/ 13 h 165"/>
                  <a:gd name="T24" fmla="*/ 23 w 368"/>
                  <a:gd name="T25" fmla="*/ 118 h 165"/>
                  <a:gd name="T26" fmla="*/ 12 w 368"/>
                  <a:gd name="T27" fmla="*/ 128 h 165"/>
                  <a:gd name="T28" fmla="*/ 11 w 368"/>
                  <a:gd name="T29" fmla="*/ 143 h 165"/>
                  <a:gd name="T30" fmla="*/ 21 w 368"/>
                  <a:gd name="T31" fmla="*/ 154 h 165"/>
                  <a:gd name="T32" fmla="*/ 36 w 368"/>
                  <a:gd name="T33" fmla="*/ 155 h 165"/>
                  <a:gd name="T34" fmla="*/ 343 w 368"/>
                  <a:gd name="T35" fmla="*/ 50 h 165"/>
                  <a:gd name="T36" fmla="*/ 355 w 368"/>
                  <a:gd name="T37" fmla="*/ 25 h 165"/>
                  <a:gd name="T38" fmla="*/ 337 w 368"/>
                  <a:gd name="T39" fmla="*/ 1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8" h="165">
                    <a:moveTo>
                      <a:pt x="29" y="165"/>
                    </a:moveTo>
                    <a:cubicBezTo>
                      <a:pt x="25" y="165"/>
                      <a:pt x="21" y="164"/>
                      <a:pt x="17" y="162"/>
                    </a:cubicBezTo>
                    <a:cubicBezTo>
                      <a:pt x="10" y="159"/>
                      <a:pt x="5" y="153"/>
                      <a:pt x="2" y="146"/>
                    </a:cubicBezTo>
                    <a:cubicBezTo>
                      <a:pt x="0" y="139"/>
                      <a:pt x="1" y="131"/>
                      <a:pt x="4" y="124"/>
                    </a:cubicBezTo>
                    <a:cubicBezTo>
                      <a:pt x="7" y="118"/>
                      <a:pt x="13" y="112"/>
                      <a:pt x="20" y="110"/>
                    </a:cubicBezTo>
                    <a:cubicBezTo>
                      <a:pt x="327" y="5"/>
                      <a:pt x="327" y="5"/>
                      <a:pt x="327" y="5"/>
                    </a:cubicBezTo>
                    <a:cubicBezTo>
                      <a:pt x="342" y="0"/>
                      <a:pt x="358" y="8"/>
                      <a:pt x="363" y="22"/>
                    </a:cubicBezTo>
                    <a:cubicBezTo>
                      <a:pt x="368" y="37"/>
                      <a:pt x="361" y="53"/>
                      <a:pt x="346" y="58"/>
                    </a:cubicBezTo>
                    <a:cubicBezTo>
                      <a:pt x="38" y="164"/>
                      <a:pt x="38" y="164"/>
                      <a:pt x="38" y="164"/>
                    </a:cubicBezTo>
                    <a:cubicBezTo>
                      <a:pt x="35" y="165"/>
                      <a:pt x="32" y="165"/>
                      <a:pt x="29" y="165"/>
                    </a:cubicBezTo>
                    <a:close/>
                    <a:moveTo>
                      <a:pt x="337" y="12"/>
                    </a:moveTo>
                    <a:cubicBezTo>
                      <a:pt x="335" y="12"/>
                      <a:pt x="332" y="12"/>
                      <a:pt x="330" y="13"/>
                    </a:cubicBezTo>
                    <a:cubicBezTo>
                      <a:pt x="23" y="118"/>
                      <a:pt x="23" y="118"/>
                      <a:pt x="23" y="118"/>
                    </a:cubicBezTo>
                    <a:cubicBezTo>
                      <a:pt x="18" y="120"/>
                      <a:pt x="14" y="124"/>
                      <a:pt x="12" y="128"/>
                    </a:cubicBezTo>
                    <a:cubicBezTo>
                      <a:pt x="9" y="133"/>
                      <a:pt x="9" y="138"/>
                      <a:pt x="11" y="143"/>
                    </a:cubicBezTo>
                    <a:cubicBezTo>
                      <a:pt x="12" y="148"/>
                      <a:pt x="16" y="152"/>
                      <a:pt x="21" y="154"/>
                    </a:cubicBezTo>
                    <a:cubicBezTo>
                      <a:pt x="25" y="157"/>
                      <a:pt x="31" y="157"/>
                      <a:pt x="36" y="155"/>
                    </a:cubicBezTo>
                    <a:cubicBezTo>
                      <a:pt x="343" y="50"/>
                      <a:pt x="343" y="50"/>
                      <a:pt x="343" y="50"/>
                    </a:cubicBezTo>
                    <a:cubicBezTo>
                      <a:pt x="353" y="46"/>
                      <a:pt x="359" y="35"/>
                      <a:pt x="355" y="25"/>
                    </a:cubicBezTo>
                    <a:cubicBezTo>
                      <a:pt x="352" y="17"/>
                      <a:pt x="345" y="12"/>
                      <a:pt x="337" y="12"/>
                    </a:cubicBez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8" name="ïŝliḍè">
                <a:extLst>
                  <a:ext uri="{FF2B5EF4-FFF2-40B4-BE49-F238E27FC236}">
                    <a16:creationId xmlns:a16="http://schemas.microsoft.com/office/drawing/2014/main" id="{27A6F4B7-F825-0841-9219-7C49DC4CCAD7}"/>
                  </a:ext>
                </a:extLst>
              </p:cNvPr>
              <p:cNvSpPr/>
              <p:nvPr/>
            </p:nvSpPr>
            <p:spPr bwMode="auto">
              <a:xfrm>
                <a:off x="5287250" y="2638192"/>
                <a:ext cx="189077" cy="97989"/>
              </a:xfrm>
              <a:custGeom>
                <a:avLst/>
                <a:gdLst>
                  <a:gd name="T0" fmla="*/ 63 w 66"/>
                  <a:gd name="T1" fmla="*/ 34 h 34"/>
                  <a:gd name="T2" fmla="*/ 62 w 66"/>
                  <a:gd name="T3" fmla="*/ 34 h 34"/>
                  <a:gd name="T4" fmla="*/ 1 w 66"/>
                  <a:gd name="T5" fmla="*/ 4 h 34"/>
                  <a:gd name="T6" fmla="*/ 0 w 66"/>
                  <a:gd name="T7" fmla="*/ 2 h 34"/>
                  <a:gd name="T8" fmla="*/ 3 w 66"/>
                  <a:gd name="T9" fmla="*/ 0 h 34"/>
                  <a:gd name="T10" fmla="*/ 64 w 66"/>
                  <a:gd name="T11" fmla="*/ 30 h 34"/>
                  <a:gd name="T12" fmla="*/ 65 w 66"/>
                  <a:gd name="T13" fmla="*/ 33 h 34"/>
                  <a:gd name="T14" fmla="*/ 63 w 66"/>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34">
                    <a:moveTo>
                      <a:pt x="63" y="34"/>
                    </a:moveTo>
                    <a:cubicBezTo>
                      <a:pt x="62" y="34"/>
                      <a:pt x="62" y="34"/>
                      <a:pt x="62" y="34"/>
                    </a:cubicBezTo>
                    <a:cubicBezTo>
                      <a:pt x="1" y="4"/>
                      <a:pt x="1" y="4"/>
                      <a:pt x="1" y="4"/>
                    </a:cubicBezTo>
                    <a:cubicBezTo>
                      <a:pt x="0" y="4"/>
                      <a:pt x="0" y="3"/>
                      <a:pt x="0" y="2"/>
                    </a:cubicBezTo>
                    <a:cubicBezTo>
                      <a:pt x="1" y="0"/>
                      <a:pt x="2" y="0"/>
                      <a:pt x="3" y="0"/>
                    </a:cubicBezTo>
                    <a:cubicBezTo>
                      <a:pt x="64" y="30"/>
                      <a:pt x="64" y="30"/>
                      <a:pt x="64" y="30"/>
                    </a:cubicBezTo>
                    <a:cubicBezTo>
                      <a:pt x="65" y="31"/>
                      <a:pt x="66" y="32"/>
                      <a:pt x="65" y="33"/>
                    </a:cubicBezTo>
                    <a:cubicBezTo>
                      <a:pt x="65" y="34"/>
                      <a:pt x="64" y="34"/>
                      <a:pt x="63" y="34"/>
                    </a:cubicBez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9" name="îṩḷiḋe">
                <a:extLst>
                  <a:ext uri="{FF2B5EF4-FFF2-40B4-BE49-F238E27FC236}">
                    <a16:creationId xmlns:a16="http://schemas.microsoft.com/office/drawing/2014/main" id="{B1CCFE81-6118-5A4E-8542-752B46EA6C29}"/>
                  </a:ext>
                </a:extLst>
              </p:cNvPr>
              <p:cNvSpPr/>
              <p:nvPr/>
            </p:nvSpPr>
            <p:spPr bwMode="auto">
              <a:xfrm>
                <a:off x="5330034" y="2592648"/>
                <a:ext cx="100749" cy="189077"/>
              </a:xfrm>
              <a:custGeom>
                <a:avLst/>
                <a:gdLst>
                  <a:gd name="T0" fmla="*/ 3 w 35"/>
                  <a:gd name="T1" fmla="*/ 66 h 66"/>
                  <a:gd name="T2" fmla="*/ 2 w 35"/>
                  <a:gd name="T3" fmla="*/ 66 h 66"/>
                  <a:gd name="T4" fmla="*/ 1 w 35"/>
                  <a:gd name="T5" fmla="*/ 63 h 66"/>
                  <a:gd name="T6" fmla="*/ 31 w 35"/>
                  <a:gd name="T7" fmla="*/ 2 h 66"/>
                  <a:gd name="T8" fmla="*/ 34 w 35"/>
                  <a:gd name="T9" fmla="*/ 1 h 66"/>
                  <a:gd name="T10" fmla="*/ 35 w 35"/>
                  <a:gd name="T11" fmla="*/ 4 h 66"/>
                  <a:gd name="T12" fmla="*/ 5 w 35"/>
                  <a:gd name="T13" fmla="*/ 65 h 66"/>
                  <a:gd name="T14" fmla="*/ 3 w 35"/>
                  <a:gd name="T15" fmla="*/ 66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66">
                    <a:moveTo>
                      <a:pt x="3" y="66"/>
                    </a:moveTo>
                    <a:cubicBezTo>
                      <a:pt x="2" y="66"/>
                      <a:pt x="2" y="66"/>
                      <a:pt x="2" y="66"/>
                    </a:cubicBezTo>
                    <a:cubicBezTo>
                      <a:pt x="1" y="65"/>
                      <a:pt x="0" y="64"/>
                      <a:pt x="1" y="63"/>
                    </a:cubicBezTo>
                    <a:cubicBezTo>
                      <a:pt x="31" y="2"/>
                      <a:pt x="31" y="2"/>
                      <a:pt x="31" y="2"/>
                    </a:cubicBezTo>
                    <a:cubicBezTo>
                      <a:pt x="31" y="1"/>
                      <a:pt x="32" y="0"/>
                      <a:pt x="34" y="1"/>
                    </a:cubicBezTo>
                    <a:cubicBezTo>
                      <a:pt x="35" y="2"/>
                      <a:pt x="35" y="3"/>
                      <a:pt x="35" y="4"/>
                    </a:cubicBezTo>
                    <a:cubicBezTo>
                      <a:pt x="5" y="65"/>
                      <a:pt x="5" y="65"/>
                      <a:pt x="5" y="65"/>
                    </a:cubicBezTo>
                    <a:cubicBezTo>
                      <a:pt x="5" y="65"/>
                      <a:pt x="4" y="66"/>
                      <a:pt x="3" y="66"/>
                    </a:cubicBez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0" name="íślïdê">
                <a:extLst>
                  <a:ext uri="{FF2B5EF4-FFF2-40B4-BE49-F238E27FC236}">
                    <a16:creationId xmlns:a16="http://schemas.microsoft.com/office/drawing/2014/main" id="{869A0541-FA70-8240-823C-C84E6E76FF7B}"/>
                  </a:ext>
                </a:extLst>
              </p:cNvPr>
              <p:cNvSpPr/>
              <p:nvPr/>
            </p:nvSpPr>
            <p:spPr bwMode="auto">
              <a:xfrm>
                <a:off x="5414221" y="2595408"/>
                <a:ext cx="189077" cy="96608"/>
              </a:xfrm>
              <a:custGeom>
                <a:avLst/>
                <a:gdLst>
                  <a:gd name="T0" fmla="*/ 64 w 66"/>
                  <a:gd name="T1" fmla="*/ 34 h 34"/>
                  <a:gd name="T2" fmla="*/ 63 w 66"/>
                  <a:gd name="T3" fmla="*/ 34 h 34"/>
                  <a:gd name="T4" fmla="*/ 2 w 66"/>
                  <a:gd name="T5" fmla="*/ 4 h 34"/>
                  <a:gd name="T6" fmla="*/ 1 w 66"/>
                  <a:gd name="T7" fmla="*/ 1 h 34"/>
                  <a:gd name="T8" fmla="*/ 4 w 66"/>
                  <a:gd name="T9" fmla="*/ 0 h 34"/>
                  <a:gd name="T10" fmla="*/ 64 w 66"/>
                  <a:gd name="T11" fmla="*/ 30 h 34"/>
                  <a:gd name="T12" fmla="*/ 65 w 66"/>
                  <a:gd name="T13" fmla="*/ 33 h 34"/>
                  <a:gd name="T14" fmla="*/ 64 w 66"/>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34">
                    <a:moveTo>
                      <a:pt x="64" y="34"/>
                    </a:moveTo>
                    <a:cubicBezTo>
                      <a:pt x="63" y="34"/>
                      <a:pt x="63" y="34"/>
                      <a:pt x="63" y="34"/>
                    </a:cubicBezTo>
                    <a:cubicBezTo>
                      <a:pt x="2" y="4"/>
                      <a:pt x="2" y="4"/>
                      <a:pt x="2" y="4"/>
                    </a:cubicBezTo>
                    <a:cubicBezTo>
                      <a:pt x="1" y="4"/>
                      <a:pt x="0" y="2"/>
                      <a:pt x="1" y="1"/>
                    </a:cubicBezTo>
                    <a:cubicBezTo>
                      <a:pt x="1" y="0"/>
                      <a:pt x="3" y="0"/>
                      <a:pt x="4" y="0"/>
                    </a:cubicBezTo>
                    <a:cubicBezTo>
                      <a:pt x="64" y="30"/>
                      <a:pt x="64" y="30"/>
                      <a:pt x="64" y="30"/>
                    </a:cubicBezTo>
                    <a:cubicBezTo>
                      <a:pt x="66" y="30"/>
                      <a:pt x="66" y="32"/>
                      <a:pt x="65" y="33"/>
                    </a:cubicBezTo>
                    <a:cubicBezTo>
                      <a:pt x="65" y="34"/>
                      <a:pt x="64" y="34"/>
                      <a:pt x="64" y="34"/>
                    </a:cubicBez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1" name="ïṥļidê">
                <a:extLst>
                  <a:ext uri="{FF2B5EF4-FFF2-40B4-BE49-F238E27FC236}">
                    <a16:creationId xmlns:a16="http://schemas.microsoft.com/office/drawing/2014/main" id="{9B95A19B-C155-054F-B577-7E45D2208ED0}"/>
                  </a:ext>
                </a:extLst>
              </p:cNvPr>
              <p:cNvSpPr/>
              <p:nvPr/>
            </p:nvSpPr>
            <p:spPr bwMode="auto">
              <a:xfrm>
                <a:off x="5459765" y="2549864"/>
                <a:ext cx="100749" cy="189077"/>
              </a:xfrm>
              <a:custGeom>
                <a:avLst/>
                <a:gdLst>
                  <a:gd name="T0" fmla="*/ 2 w 35"/>
                  <a:gd name="T1" fmla="*/ 66 h 66"/>
                  <a:gd name="T2" fmla="*/ 1 w 35"/>
                  <a:gd name="T3" fmla="*/ 65 h 66"/>
                  <a:gd name="T4" fmla="*/ 0 w 35"/>
                  <a:gd name="T5" fmla="*/ 62 h 66"/>
                  <a:gd name="T6" fmla="*/ 30 w 35"/>
                  <a:gd name="T7" fmla="*/ 2 h 66"/>
                  <a:gd name="T8" fmla="*/ 33 w 35"/>
                  <a:gd name="T9" fmla="*/ 1 h 66"/>
                  <a:gd name="T10" fmla="*/ 34 w 35"/>
                  <a:gd name="T11" fmla="*/ 4 h 66"/>
                  <a:gd name="T12" fmla="*/ 4 w 35"/>
                  <a:gd name="T13" fmla="*/ 64 h 66"/>
                  <a:gd name="T14" fmla="*/ 2 w 35"/>
                  <a:gd name="T15" fmla="*/ 66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66">
                    <a:moveTo>
                      <a:pt x="2" y="66"/>
                    </a:moveTo>
                    <a:cubicBezTo>
                      <a:pt x="1" y="65"/>
                      <a:pt x="1" y="65"/>
                      <a:pt x="1" y="65"/>
                    </a:cubicBezTo>
                    <a:cubicBezTo>
                      <a:pt x="0" y="65"/>
                      <a:pt x="0" y="64"/>
                      <a:pt x="0" y="62"/>
                    </a:cubicBezTo>
                    <a:cubicBezTo>
                      <a:pt x="30" y="2"/>
                      <a:pt x="30" y="2"/>
                      <a:pt x="30" y="2"/>
                    </a:cubicBezTo>
                    <a:cubicBezTo>
                      <a:pt x="31" y="1"/>
                      <a:pt x="32" y="0"/>
                      <a:pt x="33" y="1"/>
                    </a:cubicBezTo>
                    <a:cubicBezTo>
                      <a:pt x="34" y="1"/>
                      <a:pt x="35" y="3"/>
                      <a:pt x="34" y="4"/>
                    </a:cubicBezTo>
                    <a:cubicBezTo>
                      <a:pt x="4" y="64"/>
                      <a:pt x="4" y="64"/>
                      <a:pt x="4" y="64"/>
                    </a:cubicBezTo>
                    <a:cubicBezTo>
                      <a:pt x="4" y="65"/>
                      <a:pt x="3" y="66"/>
                      <a:pt x="2" y="66"/>
                    </a:cubicBez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2" name="ïSḻîḋé">
                <a:extLst>
                  <a:ext uri="{FF2B5EF4-FFF2-40B4-BE49-F238E27FC236}">
                    <a16:creationId xmlns:a16="http://schemas.microsoft.com/office/drawing/2014/main" id="{D045CEFE-78D6-C148-953D-0C957EF77C3C}"/>
                  </a:ext>
                </a:extLst>
              </p:cNvPr>
              <p:cNvSpPr/>
              <p:nvPr/>
            </p:nvSpPr>
            <p:spPr bwMode="auto">
              <a:xfrm>
                <a:off x="5542573" y="2552624"/>
                <a:ext cx="186317" cy="96608"/>
              </a:xfrm>
              <a:custGeom>
                <a:avLst/>
                <a:gdLst>
                  <a:gd name="T0" fmla="*/ 63 w 65"/>
                  <a:gd name="T1" fmla="*/ 34 h 34"/>
                  <a:gd name="T2" fmla="*/ 62 w 65"/>
                  <a:gd name="T3" fmla="*/ 34 h 34"/>
                  <a:gd name="T4" fmla="*/ 1 w 65"/>
                  <a:gd name="T5" fmla="*/ 4 h 34"/>
                  <a:gd name="T6" fmla="*/ 0 w 65"/>
                  <a:gd name="T7" fmla="*/ 1 h 34"/>
                  <a:gd name="T8" fmla="*/ 3 w 65"/>
                  <a:gd name="T9" fmla="*/ 0 h 34"/>
                  <a:gd name="T10" fmla="*/ 64 w 65"/>
                  <a:gd name="T11" fmla="*/ 30 h 34"/>
                  <a:gd name="T12" fmla="*/ 65 w 65"/>
                  <a:gd name="T13" fmla="*/ 33 h 34"/>
                  <a:gd name="T14" fmla="*/ 63 w 65"/>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34">
                    <a:moveTo>
                      <a:pt x="63" y="34"/>
                    </a:moveTo>
                    <a:cubicBezTo>
                      <a:pt x="62" y="34"/>
                      <a:pt x="62" y="34"/>
                      <a:pt x="62" y="34"/>
                    </a:cubicBezTo>
                    <a:cubicBezTo>
                      <a:pt x="1" y="4"/>
                      <a:pt x="1" y="4"/>
                      <a:pt x="1" y="4"/>
                    </a:cubicBezTo>
                    <a:cubicBezTo>
                      <a:pt x="0" y="3"/>
                      <a:pt x="0" y="2"/>
                      <a:pt x="0" y="1"/>
                    </a:cubicBezTo>
                    <a:cubicBezTo>
                      <a:pt x="1" y="0"/>
                      <a:pt x="2" y="0"/>
                      <a:pt x="3" y="0"/>
                    </a:cubicBezTo>
                    <a:cubicBezTo>
                      <a:pt x="64" y="30"/>
                      <a:pt x="64" y="30"/>
                      <a:pt x="64" y="30"/>
                    </a:cubicBezTo>
                    <a:cubicBezTo>
                      <a:pt x="65" y="30"/>
                      <a:pt x="65" y="32"/>
                      <a:pt x="65" y="33"/>
                    </a:cubicBezTo>
                    <a:cubicBezTo>
                      <a:pt x="65" y="33"/>
                      <a:pt x="64" y="34"/>
                      <a:pt x="63" y="34"/>
                    </a:cubicBez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3" name="ïṥḻîďe">
                <a:extLst>
                  <a:ext uri="{FF2B5EF4-FFF2-40B4-BE49-F238E27FC236}">
                    <a16:creationId xmlns:a16="http://schemas.microsoft.com/office/drawing/2014/main" id="{7527EADA-5AFC-194D-B7C1-8EE1D1391871}"/>
                  </a:ext>
                </a:extLst>
              </p:cNvPr>
              <p:cNvSpPr/>
              <p:nvPr/>
            </p:nvSpPr>
            <p:spPr bwMode="auto">
              <a:xfrm>
                <a:off x="5585356" y="2507081"/>
                <a:ext cx="100749" cy="184936"/>
              </a:xfrm>
              <a:custGeom>
                <a:avLst/>
                <a:gdLst>
                  <a:gd name="T0" fmla="*/ 3 w 35"/>
                  <a:gd name="T1" fmla="*/ 65 h 65"/>
                  <a:gd name="T2" fmla="*/ 2 w 35"/>
                  <a:gd name="T3" fmla="*/ 65 h 65"/>
                  <a:gd name="T4" fmla="*/ 1 w 35"/>
                  <a:gd name="T5" fmla="*/ 62 h 65"/>
                  <a:gd name="T6" fmla="*/ 31 w 35"/>
                  <a:gd name="T7" fmla="*/ 2 h 65"/>
                  <a:gd name="T8" fmla="*/ 33 w 35"/>
                  <a:gd name="T9" fmla="*/ 1 h 65"/>
                  <a:gd name="T10" fmla="*/ 34 w 35"/>
                  <a:gd name="T11" fmla="*/ 4 h 65"/>
                  <a:gd name="T12" fmla="*/ 5 w 35"/>
                  <a:gd name="T13" fmla="*/ 64 h 65"/>
                  <a:gd name="T14" fmla="*/ 3 w 35"/>
                  <a:gd name="T15" fmla="*/ 65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65">
                    <a:moveTo>
                      <a:pt x="3" y="65"/>
                    </a:moveTo>
                    <a:cubicBezTo>
                      <a:pt x="2" y="65"/>
                      <a:pt x="2" y="65"/>
                      <a:pt x="2" y="65"/>
                    </a:cubicBezTo>
                    <a:cubicBezTo>
                      <a:pt x="1" y="65"/>
                      <a:pt x="0" y="63"/>
                      <a:pt x="1" y="62"/>
                    </a:cubicBezTo>
                    <a:cubicBezTo>
                      <a:pt x="31" y="2"/>
                      <a:pt x="31" y="2"/>
                      <a:pt x="31" y="2"/>
                    </a:cubicBezTo>
                    <a:cubicBezTo>
                      <a:pt x="31" y="0"/>
                      <a:pt x="32" y="0"/>
                      <a:pt x="33" y="1"/>
                    </a:cubicBezTo>
                    <a:cubicBezTo>
                      <a:pt x="35" y="1"/>
                      <a:pt x="35" y="2"/>
                      <a:pt x="34" y="4"/>
                    </a:cubicBezTo>
                    <a:cubicBezTo>
                      <a:pt x="5" y="64"/>
                      <a:pt x="5" y="64"/>
                      <a:pt x="5" y="64"/>
                    </a:cubicBezTo>
                    <a:cubicBezTo>
                      <a:pt x="4" y="65"/>
                      <a:pt x="4" y="65"/>
                      <a:pt x="3" y="65"/>
                    </a:cubicBez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4" name="iṣḻîḋê">
                <a:extLst>
                  <a:ext uri="{FF2B5EF4-FFF2-40B4-BE49-F238E27FC236}">
                    <a16:creationId xmlns:a16="http://schemas.microsoft.com/office/drawing/2014/main" id="{013E9317-14DB-FB4D-BCE5-A74307C90FF4}"/>
                  </a:ext>
                </a:extLst>
              </p:cNvPr>
              <p:cNvSpPr/>
              <p:nvPr/>
            </p:nvSpPr>
            <p:spPr bwMode="auto">
              <a:xfrm>
                <a:off x="5668163" y="2507081"/>
                <a:ext cx="190457" cy="99369"/>
              </a:xfrm>
              <a:custGeom>
                <a:avLst/>
                <a:gdLst>
                  <a:gd name="T0" fmla="*/ 63 w 66"/>
                  <a:gd name="T1" fmla="*/ 35 h 35"/>
                  <a:gd name="T2" fmla="*/ 62 w 66"/>
                  <a:gd name="T3" fmla="*/ 34 h 35"/>
                  <a:gd name="T4" fmla="*/ 2 w 66"/>
                  <a:gd name="T5" fmla="*/ 5 h 35"/>
                  <a:gd name="T6" fmla="*/ 1 w 66"/>
                  <a:gd name="T7" fmla="*/ 2 h 35"/>
                  <a:gd name="T8" fmla="*/ 4 w 66"/>
                  <a:gd name="T9" fmla="*/ 1 h 35"/>
                  <a:gd name="T10" fmla="*/ 64 w 66"/>
                  <a:gd name="T11" fmla="*/ 31 h 35"/>
                  <a:gd name="T12" fmla="*/ 65 w 66"/>
                  <a:gd name="T13" fmla="*/ 33 h 35"/>
                  <a:gd name="T14" fmla="*/ 63 w 66"/>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35">
                    <a:moveTo>
                      <a:pt x="63" y="35"/>
                    </a:moveTo>
                    <a:cubicBezTo>
                      <a:pt x="62" y="34"/>
                      <a:pt x="62" y="34"/>
                      <a:pt x="62" y="34"/>
                    </a:cubicBezTo>
                    <a:cubicBezTo>
                      <a:pt x="2" y="5"/>
                      <a:pt x="2" y="5"/>
                      <a:pt x="2" y="5"/>
                    </a:cubicBezTo>
                    <a:cubicBezTo>
                      <a:pt x="1" y="4"/>
                      <a:pt x="0" y="3"/>
                      <a:pt x="1" y="2"/>
                    </a:cubicBezTo>
                    <a:cubicBezTo>
                      <a:pt x="1" y="1"/>
                      <a:pt x="3" y="0"/>
                      <a:pt x="4" y="1"/>
                    </a:cubicBezTo>
                    <a:cubicBezTo>
                      <a:pt x="64" y="31"/>
                      <a:pt x="64" y="31"/>
                      <a:pt x="64" y="31"/>
                    </a:cubicBezTo>
                    <a:cubicBezTo>
                      <a:pt x="65" y="31"/>
                      <a:pt x="66" y="32"/>
                      <a:pt x="65" y="33"/>
                    </a:cubicBezTo>
                    <a:cubicBezTo>
                      <a:pt x="65" y="34"/>
                      <a:pt x="64" y="35"/>
                      <a:pt x="63" y="35"/>
                    </a:cubicBez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5" name="iṥļîḑè">
                <a:extLst>
                  <a:ext uri="{FF2B5EF4-FFF2-40B4-BE49-F238E27FC236}">
                    <a16:creationId xmlns:a16="http://schemas.microsoft.com/office/drawing/2014/main" id="{422F5573-FDA2-F54E-BCE8-2A7804859A39}"/>
                  </a:ext>
                </a:extLst>
              </p:cNvPr>
              <p:cNvSpPr/>
              <p:nvPr/>
            </p:nvSpPr>
            <p:spPr bwMode="auto">
              <a:xfrm>
                <a:off x="5715087" y="2462917"/>
                <a:ext cx="96608" cy="186317"/>
              </a:xfrm>
              <a:custGeom>
                <a:avLst/>
                <a:gdLst>
                  <a:gd name="T0" fmla="*/ 2 w 34"/>
                  <a:gd name="T1" fmla="*/ 65 h 65"/>
                  <a:gd name="T2" fmla="*/ 1 w 34"/>
                  <a:gd name="T3" fmla="*/ 65 h 65"/>
                  <a:gd name="T4" fmla="*/ 0 w 34"/>
                  <a:gd name="T5" fmla="*/ 62 h 65"/>
                  <a:gd name="T6" fmla="*/ 30 w 34"/>
                  <a:gd name="T7" fmla="*/ 1 h 65"/>
                  <a:gd name="T8" fmla="*/ 33 w 34"/>
                  <a:gd name="T9" fmla="*/ 0 h 65"/>
                  <a:gd name="T10" fmla="*/ 34 w 34"/>
                  <a:gd name="T11" fmla="*/ 3 h 65"/>
                  <a:gd name="T12" fmla="*/ 4 w 34"/>
                  <a:gd name="T13" fmla="*/ 64 h 65"/>
                  <a:gd name="T14" fmla="*/ 2 w 34"/>
                  <a:gd name="T15" fmla="*/ 65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65">
                    <a:moveTo>
                      <a:pt x="2" y="65"/>
                    </a:moveTo>
                    <a:cubicBezTo>
                      <a:pt x="1" y="65"/>
                      <a:pt x="1" y="65"/>
                      <a:pt x="1" y="65"/>
                    </a:cubicBezTo>
                    <a:cubicBezTo>
                      <a:pt x="0" y="64"/>
                      <a:pt x="0" y="63"/>
                      <a:pt x="0" y="62"/>
                    </a:cubicBezTo>
                    <a:cubicBezTo>
                      <a:pt x="30" y="1"/>
                      <a:pt x="30" y="1"/>
                      <a:pt x="30" y="1"/>
                    </a:cubicBezTo>
                    <a:cubicBezTo>
                      <a:pt x="30" y="0"/>
                      <a:pt x="32" y="0"/>
                      <a:pt x="33" y="0"/>
                    </a:cubicBezTo>
                    <a:cubicBezTo>
                      <a:pt x="34" y="1"/>
                      <a:pt x="34" y="2"/>
                      <a:pt x="34" y="3"/>
                    </a:cubicBezTo>
                    <a:cubicBezTo>
                      <a:pt x="4" y="64"/>
                      <a:pt x="4" y="64"/>
                      <a:pt x="4" y="64"/>
                    </a:cubicBezTo>
                    <a:cubicBezTo>
                      <a:pt x="4" y="65"/>
                      <a:pt x="3" y="65"/>
                      <a:pt x="2" y="65"/>
                    </a:cubicBez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6" name="iŝḷïďe">
                <a:extLst>
                  <a:ext uri="{FF2B5EF4-FFF2-40B4-BE49-F238E27FC236}">
                    <a16:creationId xmlns:a16="http://schemas.microsoft.com/office/drawing/2014/main" id="{DBDD0F6A-99DB-D74C-9845-C7D9CF9DC75F}"/>
                  </a:ext>
                </a:extLst>
              </p:cNvPr>
              <p:cNvSpPr/>
              <p:nvPr/>
            </p:nvSpPr>
            <p:spPr bwMode="auto">
              <a:xfrm>
                <a:off x="5797894" y="2462917"/>
                <a:ext cx="186317" cy="97989"/>
              </a:xfrm>
              <a:custGeom>
                <a:avLst/>
                <a:gdLst>
                  <a:gd name="T0" fmla="*/ 63 w 65"/>
                  <a:gd name="T1" fmla="*/ 34 h 34"/>
                  <a:gd name="T2" fmla="*/ 62 w 65"/>
                  <a:gd name="T3" fmla="*/ 34 h 34"/>
                  <a:gd name="T4" fmla="*/ 1 w 65"/>
                  <a:gd name="T5" fmla="*/ 5 h 34"/>
                  <a:gd name="T6" fmla="*/ 0 w 65"/>
                  <a:gd name="T7" fmla="*/ 2 h 34"/>
                  <a:gd name="T8" fmla="*/ 3 w 65"/>
                  <a:gd name="T9" fmla="*/ 1 h 34"/>
                  <a:gd name="T10" fmla="*/ 64 w 65"/>
                  <a:gd name="T11" fmla="*/ 30 h 34"/>
                  <a:gd name="T12" fmla="*/ 65 w 65"/>
                  <a:gd name="T13" fmla="*/ 33 h 34"/>
                  <a:gd name="T14" fmla="*/ 63 w 65"/>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34">
                    <a:moveTo>
                      <a:pt x="63" y="34"/>
                    </a:moveTo>
                    <a:cubicBezTo>
                      <a:pt x="62" y="34"/>
                      <a:pt x="62" y="34"/>
                      <a:pt x="62" y="34"/>
                    </a:cubicBezTo>
                    <a:cubicBezTo>
                      <a:pt x="1" y="5"/>
                      <a:pt x="1" y="5"/>
                      <a:pt x="1" y="5"/>
                    </a:cubicBezTo>
                    <a:cubicBezTo>
                      <a:pt x="0" y="4"/>
                      <a:pt x="0" y="3"/>
                      <a:pt x="0" y="2"/>
                    </a:cubicBezTo>
                    <a:cubicBezTo>
                      <a:pt x="1" y="1"/>
                      <a:pt x="2" y="0"/>
                      <a:pt x="3" y="1"/>
                    </a:cubicBezTo>
                    <a:cubicBezTo>
                      <a:pt x="64" y="30"/>
                      <a:pt x="64" y="30"/>
                      <a:pt x="64" y="30"/>
                    </a:cubicBezTo>
                    <a:cubicBezTo>
                      <a:pt x="65" y="31"/>
                      <a:pt x="65" y="32"/>
                      <a:pt x="65" y="33"/>
                    </a:cubicBezTo>
                    <a:cubicBezTo>
                      <a:pt x="64" y="34"/>
                      <a:pt x="64" y="34"/>
                      <a:pt x="63" y="34"/>
                    </a:cubicBez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7" name="ïŝļídè">
                <a:extLst>
                  <a:ext uri="{FF2B5EF4-FFF2-40B4-BE49-F238E27FC236}">
                    <a16:creationId xmlns:a16="http://schemas.microsoft.com/office/drawing/2014/main" id="{C5EB3A95-0273-3D4B-BE44-B41511E2F7DF}"/>
                  </a:ext>
                </a:extLst>
              </p:cNvPr>
              <p:cNvSpPr/>
              <p:nvPr/>
            </p:nvSpPr>
            <p:spPr bwMode="auto">
              <a:xfrm>
                <a:off x="5840679" y="2420133"/>
                <a:ext cx="100749" cy="186317"/>
              </a:xfrm>
              <a:custGeom>
                <a:avLst/>
                <a:gdLst>
                  <a:gd name="T0" fmla="*/ 3 w 35"/>
                  <a:gd name="T1" fmla="*/ 65 h 65"/>
                  <a:gd name="T2" fmla="*/ 2 w 35"/>
                  <a:gd name="T3" fmla="*/ 65 h 65"/>
                  <a:gd name="T4" fmla="*/ 1 w 35"/>
                  <a:gd name="T5" fmla="*/ 62 h 65"/>
                  <a:gd name="T6" fmla="*/ 30 w 35"/>
                  <a:gd name="T7" fmla="*/ 1 h 65"/>
                  <a:gd name="T8" fmla="*/ 33 w 35"/>
                  <a:gd name="T9" fmla="*/ 0 h 65"/>
                  <a:gd name="T10" fmla="*/ 34 w 35"/>
                  <a:gd name="T11" fmla="*/ 3 h 65"/>
                  <a:gd name="T12" fmla="*/ 5 w 35"/>
                  <a:gd name="T13" fmla="*/ 64 h 65"/>
                  <a:gd name="T14" fmla="*/ 3 w 35"/>
                  <a:gd name="T15" fmla="*/ 65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65">
                    <a:moveTo>
                      <a:pt x="3" y="65"/>
                    </a:moveTo>
                    <a:cubicBezTo>
                      <a:pt x="2" y="65"/>
                      <a:pt x="2" y="65"/>
                      <a:pt x="2" y="65"/>
                    </a:cubicBezTo>
                    <a:cubicBezTo>
                      <a:pt x="1" y="64"/>
                      <a:pt x="0" y="63"/>
                      <a:pt x="1" y="62"/>
                    </a:cubicBezTo>
                    <a:cubicBezTo>
                      <a:pt x="30" y="1"/>
                      <a:pt x="30" y="1"/>
                      <a:pt x="30" y="1"/>
                    </a:cubicBezTo>
                    <a:cubicBezTo>
                      <a:pt x="31" y="0"/>
                      <a:pt x="32" y="0"/>
                      <a:pt x="33" y="0"/>
                    </a:cubicBezTo>
                    <a:cubicBezTo>
                      <a:pt x="34" y="1"/>
                      <a:pt x="35" y="2"/>
                      <a:pt x="34" y="3"/>
                    </a:cubicBezTo>
                    <a:cubicBezTo>
                      <a:pt x="5" y="64"/>
                      <a:pt x="5" y="64"/>
                      <a:pt x="5" y="64"/>
                    </a:cubicBezTo>
                    <a:cubicBezTo>
                      <a:pt x="4" y="64"/>
                      <a:pt x="3" y="65"/>
                      <a:pt x="3" y="65"/>
                    </a:cubicBez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8" name="íš1iḋé">
                <a:extLst>
                  <a:ext uri="{FF2B5EF4-FFF2-40B4-BE49-F238E27FC236}">
                    <a16:creationId xmlns:a16="http://schemas.microsoft.com/office/drawing/2014/main" id="{CAC0FBB9-4C05-4D43-A341-E41BF2A45086}"/>
                  </a:ext>
                </a:extLst>
              </p:cNvPr>
              <p:cNvSpPr/>
              <p:nvPr/>
            </p:nvSpPr>
            <p:spPr bwMode="auto">
              <a:xfrm>
                <a:off x="5923486" y="2420133"/>
                <a:ext cx="190457" cy="97989"/>
              </a:xfrm>
              <a:custGeom>
                <a:avLst/>
                <a:gdLst>
                  <a:gd name="T0" fmla="*/ 63 w 66"/>
                  <a:gd name="T1" fmla="*/ 34 h 34"/>
                  <a:gd name="T2" fmla="*/ 62 w 66"/>
                  <a:gd name="T3" fmla="*/ 34 h 34"/>
                  <a:gd name="T4" fmla="*/ 2 w 66"/>
                  <a:gd name="T5" fmla="*/ 4 h 34"/>
                  <a:gd name="T6" fmla="*/ 1 w 66"/>
                  <a:gd name="T7" fmla="*/ 1 h 34"/>
                  <a:gd name="T8" fmla="*/ 4 w 66"/>
                  <a:gd name="T9" fmla="*/ 0 h 34"/>
                  <a:gd name="T10" fmla="*/ 64 w 66"/>
                  <a:gd name="T11" fmla="*/ 30 h 34"/>
                  <a:gd name="T12" fmla="*/ 65 w 66"/>
                  <a:gd name="T13" fmla="*/ 33 h 34"/>
                  <a:gd name="T14" fmla="*/ 63 w 66"/>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34">
                    <a:moveTo>
                      <a:pt x="63" y="34"/>
                    </a:moveTo>
                    <a:cubicBezTo>
                      <a:pt x="62" y="34"/>
                      <a:pt x="62" y="34"/>
                      <a:pt x="62" y="34"/>
                    </a:cubicBezTo>
                    <a:cubicBezTo>
                      <a:pt x="2" y="4"/>
                      <a:pt x="2" y="4"/>
                      <a:pt x="2" y="4"/>
                    </a:cubicBezTo>
                    <a:cubicBezTo>
                      <a:pt x="1" y="4"/>
                      <a:pt x="0" y="2"/>
                      <a:pt x="1" y="1"/>
                    </a:cubicBezTo>
                    <a:cubicBezTo>
                      <a:pt x="1" y="0"/>
                      <a:pt x="3" y="0"/>
                      <a:pt x="4" y="0"/>
                    </a:cubicBezTo>
                    <a:cubicBezTo>
                      <a:pt x="64" y="30"/>
                      <a:pt x="64" y="30"/>
                      <a:pt x="64" y="30"/>
                    </a:cubicBezTo>
                    <a:cubicBezTo>
                      <a:pt x="65" y="31"/>
                      <a:pt x="66" y="32"/>
                      <a:pt x="65" y="33"/>
                    </a:cubicBezTo>
                    <a:cubicBezTo>
                      <a:pt x="65" y="34"/>
                      <a:pt x="64" y="34"/>
                      <a:pt x="63" y="34"/>
                    </a:cubicBez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9" name="iŝliḑè">
                <a:extLst>
                  <a:ext uri="{FF2B5EF4-FFF2-40B4-BE49-F238E27FC236}">
                    <a16:creationId xmlns:a16="http://schemas.microsoft.com/office/drawing/2014/main" id="{80EE1892-1752-0C4E-AA34-F7A2F636924A}"/>
                  </a:ext>
                </a:extLst>
              </p:cNvPr>
              <p:cNvSpPr/>
              <p:nvPr/>
            </p:nvSpPr>
            <p:spPr bwMode="auto">
              <a:xfrm>
                <a:off x="5970410" y="2374589"/>
                <a:ext cx="96608" cy="189077"/>
              </a:xfrm>
              <a:custGeom>
                <a:avLst/>
                <a:gdLst>
                  <a:gd name="T0" fmla="*/ 2 w 34"/>
                  <a:gd name="T1" fmla="*/ 66 h 66"/>
                  <a:gd name="T2" fmla="*/ 1 w 34"/>
                  <a:gd name="T3" fmla="*/ 65 h 66"/>
                  <a:gd name="T4" fmla="*/ 0 w 34"/>
                  <a:gd name="T5" fmla="*/ 63 h 66"/>
                  <a:gd name="T6" fmla="*/ 30 w 34"/>
                  <a:gd name="T7" fmla="*/ 2 h 66"/>
                  <a:gd name="T8" fmla="*/ 33 w 34"/>
                  <a:gd name="T9" fmla="*/ 1 h 66"/>
                  <a:gd name="T10" fmla="*/ 34 w 34"/>
                  <a:gd name="T11" fmla="*/ 4 h 66"/>
                  <a:gd name="T12" fmla="*/ 4 w 34"/>
                  <a:gd name="T13" fmla="*/ 64 h 66"/>
                  <a:gd name="T14" fmla="*/ 2 w 34"/>
                  <a:gd name="T15" fmla="*/ 66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66">
                    <a:moveTo>
                      <a:pt x="2" y="66"/>
                    </a:moveTo>
                    <a:cubicBezTo>
                      <a:pt x="1" y="65"/>
                      <a:pt x="1" y="65"/>
                      <a:pt x="1" y="65"/>
                    </a:cubicBezTo>
                    <a:cubicBezTo>
                      <a:pt x="0" y="65"/>
                      <a:pt x="0" y="64"/>
                      <a:pt x="0" y="63"/>
                    </a:cubicBezTo>
                    <a:cubicBezTo>
                      <a:pt x="30" y="2"/>
                      <a:pt x="30" y="2"/>
                      <a:pt x="30" y="2"/>
                    </a:cubicBezTo>
                    <a:cubicBezTo>
                      <a:pt x="30" y="1"/>
                      <a:pt x="32" y="0"/>
                      <a:pt x="33" y="1"/>
                    </a:cubicBezTo>
                    <a:cubicBezTo>
                      <a:pt x="34" y="1"/>
                      <a:pt x="34" y="3"/>
                      <a:pt x="34" y="4"/>
                    </a:cubicBezTo>
                    <a:cubicBezTo>
                      <a:pt x="4" y="64"/>
                      <a:pt x="4" y="64"/>
                      <a:pt x="4" y="64"/>
                    </a:cubicBezTo>
                    <a:cubicBezTo>
                      <a:pt x="4" y="65"/>
                      <a:pt x="3" y="66"/>
                      <a:pt x="2" y="66"/>
                    </a:cubicBez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0" name="ï$ľïḋè">
                <a:extLst>
                  <a:ext uri="{FF2B5EF4-FFF2-40B4-BE49-F238E27FC236}">
                    <a16:creationId xmlns:a16="http://schemas.microsoft.com/office/drawing/2014/main" id="{E620093C-7951-D545-9253-810CC2C4B65F}"/>
                  </a:ext>
                </a:extLst>
              </p:cNvPr>
              <p:cNvSpPr/>
              <p:nvPr/>
            </p:nvSpPr>
            <p:spPr bwMode="auto">
              <a:xfrm>
                <a:off x="6053217" y="2377349"/>
                <a:ext cx="186317" cy="97989"/>
              </a:xfrm>
              <a:custGeom>
                <a:avLst/>
                <a:gdLst>
                  <a:gd name="T0" fmla="*/ 63 w 65"/>
                  <a:gd name="T1" fmla="*/ 34 h 34"/>
                  <a:gd name="T2" fmla="*/ 62 w 65"/>
                  <a:gd name="T3" fmla="*/ 34 h 34"/>
                  <a:gd name="T4" fmla="*/ 1 w 65"/>
                  <a:gd name="T5" fmla="*/ 4 h 34"/>
                  <a:gd name="T6" fmla="*/ 0 w 65"/>
                  <a:gd name="T7" fmla="*/ 1 h 34"/>
                  <a:gd name="T8" fmla="*/ 3 w 65"/>
                  <a:gd name="T9" fmla="*/ 0 h 34"/>
                  <a:gd name="T10" fmla="*/ 64 w 65"/>
                  <a:gd name="T11" fmla="*/ 30 h 34"/>
                  <a:gd name="T12" fmla="*/ 65 w 65"/>
                  <a:gd name="T13" fmla="*/ 33 h 34"/>
                  <a:gd name="T14" fmla="*/ 63 w 65"/>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34">
                    <a:moveTo>
                      <a:pt x="63" y="34"/>
                    </a:moveTo>
                    <a:cubicBezTo>
                      <a:pt x="62" y="34"/>
                      <a:pt x="62" y="34"/>
                      <a:pt x="62" y="34"/>
                    </a:cubicBezTo>
                    <a:cubicBezTo>
                      <a:pt x="1" y="4"/>
                      <a:pt x="1" y="4"/>
                      <a:pt x="1" y="4"/>
                    </a:cubicBezTo>
                    <a:cubicBezTo>
                      <a:pt x="0" y="4"/>
                      <a:pt x="0" y="2"/>
                      <a:pt x="0" y="1"/>
                    </a:cubicBezTo>
                    <a:cubicBezTo>
                      <a:pt x="1" y="0"/>
                      <a:pt x="2" y="0"/>
                      <a:pt x="3" y="0"/>
                    </a:cubicBezTo>
                    <a:cubicBezTo>
                      <a:pt x="64" y="30"/>
                      <a:pt x="64" y="30"/>
                      <a:pt x="64" y="30"/>
                    </a:cubicBezTo>
                    <a:cubicBezTo>
                      <a:pt x="65" y="30"/>
                      <a:pt x="65" y="32"/>
                      <a:pt x="65" y="33"/>
                    </a:cubicBezTo>
                    <a:cubicBezTo>
                      <a:pt x="64" y="34"/>
                      <a:pt x="64" y="34"/>
                      <a:pt x="63" y="34"/>
                    </a:cubicBez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1" name="iśľîḑé">
                <a:extLst>
                  <a:ext uri="{FF2B5EF4-FFF2-40B4-BE49-F238E27FC236}">
                    <a16:creationId xmlns:a16="http://schemas.microsoft.com/office/drawing/2014/main" id="{3D1809D7-369C-A54D-9998-53A6EC35988A}"/>
                  </a:ext>
                </a:extLst>
              </p:cNvPr>
              <p:cNvSpPr/>
              <p:nvPr/>
            </p:nvSpPr>
            <p:spPr bwMode="auto">
              <a:xfrm>
                <a:off x="6096000" y="2331805"/>
                <a:ext cx="100749" cy="186317"/>
              </a:xfrm>
              <a:custGeom>
                <a:avLst/>
                <a:gdLst>
                  <a:gd name="T0" fmla="*/ 3 w 35"/>
                  <a:gd name="T1" fmla="*/ 65 h 65"/>
                  <a:gd name="T2" fmla="*/ 2 w 35"/>
                  <a:gd name="T3" fmla="*/ 65 h 65"/>
                  <a:gd name="T4" fmla="*/ 1 w 35"/>
                  <a:gd name="T5" fmla="*/ 62 h 65"/>
                  <a:gd name="T6" fmla="*/ 30 w 35"/>
                  <a:gd name="T7" fmla="*/ 2 h 65"/>
                  <a:gd name="T8" fmla="*/ 33 w 35"/>
                  <a:gd name="T9" fmla="*/ 1 h 65"/>
                  <a:gd name="T10" fmla="*/ 34 w 35"/>
                  <a:gd name="T11" fmla="*/ 4 h 65"/>
                  <a:gd name="T12" fmla="*/ 5 w 35"/>
                  <a:gd name="T13" fmla="*/ 64 h 65"/>
                  <a:gd name="T14" fmla="*/ 3 w 35"/>
                  <a:gd name="T15" fmla="*/ 65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65">
                    <a:moveTo>
                      <a:pt x="3" y="65"/>
                    </a:moveTo>
                    <a:cubicBezTo>
                      <a:pt x="2" y="65"/>
                      <a:pt x="2" y="65"/>
                      <a:pt x="2" y="65"/>
                    </a:cubicBezTo>
                    <a:cubicBezTo>
                      <a:pt x="0" y="65"/>
                      <a:pt x="0" y="63"/>
                      <a:pt x="1" y="62"/>
                    </a:cubicBezTo>
                    <a:cubicBezTo>
                      <a:pt x="30" y="2"/>
                      <a:pt x="30" y="2"/>
                      <a:pt x="30" y="2"/>
                    </a:cubicBezTo>
                    <a:cubicBezTo>
                      <a:pt x="31" y="1"/>
                      <a:pt x="32" y="0"/>
                      <a:pt x="33" y="1"/>
                    </a:cubicBezTo>
                    <a:cubicBezTo>
                      <a:pt x="34" y="1"/>
                      <a:pt x="35" y="3"/>
                      <a:pt x="34" y="4"/>
                    </a:cubicBezTo>
                    <a:cubicBezTo>
                      <a:pt x="5" y="64"/>
                      <a:pt x="5" y="64"/>
                      <a:pt x="5" y="64"/>
                    </a:cubicBezTo>
                    <a:cubicBezTo>
                      <a:pt x="4" y="65"/>
                      <a:pt x="3" y="65"/>
                      <a:pt x="3" y="65"/>
                    </a:cubicBez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2" name="ï$ļïḓè">
                <a:extLst>
                  <a:ext uri="{FF2B5EF4-FFF2-40B4-BE49-F238E27FC236}">
                    <a16:creationId xmlns:a16="http://schemas.microsoft.com/office/drawing/2014/main" id="{52A0A55F-9DB2-6F46-BD70-742E64795C57}"/>
                  </a:ext>
                </a:extLst>
              </p:cNvPr>
              <p:cNvSpPr/>
              <p:nvPr/>
            </p:nvSpPr>
            <p:spPr bwMode="auto">
              <a:xfrm>
                <a:off x="6213311" y="2262799"/>
                <a:ext cx="209778" cy="209778"/>
              </a:xfrm>
              <a:custGeom>
                <a:avLst/>
                <a:gdLst>
                  <a:gd name="T0" fmla="*/ 47 w 73"/>
                  <a:gd name="T1" fmla="*/ 67 h 73"/>
                  <a:gd name="T2" fmla="*/ 6 w 73"/>
                  <a:gd name="T3" fmla="*/ 47 h 73"/>
                  <a:gd name="T4" fmla="*/ 26 w 73"/>
                  <a:gd name="T5" fmla="*/ 6 h 73"/>
                  <a:gd name="T6" fmla="*/ 67 w 73"/>
                  <a:gd name="T7" fmla="*/ 26 h 73"/>
                  <a:gd name="T8" fmla="*/ 47 w 73"/>
                  <a:gd name="T9" fmla="*/ 67 h 73"/>
                </a:gdLst>
                <a:ahLst/>
                <a:cxnLst>
                  <a:cxn ang="0">
                    <a:pos x="T0" y="T1"/>
                  </a:cxn>
                  <a:cxn ang="0">
                    <a:pos x="T2" y="T3"/>
                  </a:cxn>
                  <a:cxn ang="0">
                    <a:pos x="T4" y="T5"/>
                  </a:cxn>
                  <a:cxn ang="0">
                    <a:pos x="T6" y="T7"/>
                  </a:cxn>
                  <a:cxn ang="0">
                    <a:pos x="T8" y="T9"/>
                  </a:cxn>
                </a:cxnLst>
                <a:rect l="0" t="0" r="r" b="b"/>
                <a:pathLst>
                  <a:path w="73" h="73">
                    <a:moveTo>
                      <a:pt x="47" y="67"/>
                    </a:moveTo>
                    <a:cubicBezTo>
                      <a:pt x="30" y="73"/>
                      <a:pt x="11" y="64"/>
                      <a:pt x="6" y="47"/>
                    </a:cubicBezTo>
                    <a:cubicBezTo>
                      <a:pt x="0" y="30"/>
                      <a:pt x="9" y="12"/>
                      <a:pt x="26" y="6"/>
                    </a:cubicBezTo>
                    <a:cubicBezTo>
                      <a:pt x="43" y="0"/>
                      <a:pt x="61" y="9"/>
                      <a:pt x="67" y="26"/>
                    </a:cubicBezTo>
                    <a:cubicBezTo>
                      <a:pt x="73" y="43"/>
                      <a:pt x="64" y="62"/>
                      <a:pt x="47" y="67"/>
                    </a:cubicBez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3" name="íṧļíḋè">
                <a:extLst>
                  <a:ext uri="{FF2B5EF4-FFF2-40B4-BE49-F238E27FC236}">
                    <a16:creationId xmlns:a16="http://schemas.microsoft.com/office/drawing/2014/main" id="{3B77208C-4AF0-F94A-A88D-0069398EBA31}"/>
                  </a:ext>
                </a:extLst>
              </p:cNvPr>
              <p:cNvSpPr/>
              <p:nvPr/>
            </p:nvSpPr>
            <p:spPr bwMode="auto">
              <a:xfrm>
                <a:off x="5106455" y="2643712"/>
                <a:ext cx="207018" cy="207018"/>
              </a:xfrm>
              <a:custGeom>
                <a:avLst/>
                <a:gdLst>
                  <a:gd name="T0" fmla="*/ 47 w 72"/>
                  <a:gd name="T1" fmla="*/ 67 h 72"/>
                  <a:gd name="T2" fmla="*/ 6 w 72"/>
                  <a:gd name="T3" fmla="*/ 46 h 72"/>
                  <a:gd name="T4" fmla="*/ 26 w 72"/>
                  <a:gd name="T5" fmla="*/ 5 h 72"/>
                  <a:gd name="T6" fmla="*/ 67 w 72"/>
                  <a:gd name="T7" fmla="*/ 26 h 72"/>
                  <a:gd name="T8" fmla="*/ 47 w 72"/>
                  <a:gd name="T9" fmla="*/ 67 h 72"/>
                </a:gdLst>
                <a:ahLst/>
                <a:cxnLst>
                  <a:cxn ang="0">
                    <a:pos x="T0" y="T1"/>
                  </a:cxn>
                  <a:cxn ang="0">
                    <a:pos x="T2" y="T3"/>
                  </a:cxn>
                  <a:cxn ang="0">
                    <a:pos x="T4" y="T5"/>
                  </a:cxn>
                  <a:cxn ang="0">
                    <a:pos x="T6" y="T7"/>
                  </a:cxn>
                  <a:cxn ang="0">
                    <a:pos x="T8" y="T9"/>
                  </a:cxn>
                </a:cxnLst>
                <a:rect l="0" t="0" r="r" b="b"/>
                <a:pathLst>
                  <a:path w="72" h="72">
                    <a:moveTo>
                      <a:pt x="47" y="67"/>
                    </a:moveTo>
                    <a:cubicBezTo>
                      <a:pt x="30" y="72"/>
                      <a:pt x="11" y="63"/>
                      <a:pt x="6" y="46"/>
                    </a:cubicBezTo>
                    <a:cubicBezTo>
                      <a:pt x="0" y="30"/>
                      <a:pt x="9" y="11"/>
                      <a:pt x="26" y="5"/>
                    </a:cubicBezTo>
                    <a:cubicBezTo>
                      <a:pt x="43" y="0"/>
                      <a:pt x="61" y="9"/>
                      <a:pt x="67" y="26"/>
                    </a:cubicBezTo>
                    <a:cubicBezTo>
                      <a:pt x="72" y="42"/>
                      <a:pt x="63" y="61"/>
                      <a:pt x="47" y="67"/>
                    </a:cubicBezTo>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4" name="îşľïḍê">
                <a:extLst>
                  <a:ext uri="{FF2B5EF4-FFF2-40B4-BE49-F238E27FC236}">
                    <a16:creationId xmlns:a16="http://schemas.microsoft.com/office/drawing/2014/main" id="{515206E2-8A43-BB4C-B55F-BAC6FEFDB7CF}"/>
                  </a:ext>
                </a:extLst>
              </p:cNvPr>
              <p:cNvSpPr/>
              <p:nvPr/>
            </p:nvSpPr>
            <p:spPr bwMode="auto">
              <a:xfrm>
                <a:off x="6245053" y="2297302"/>
                <a:ext cx="140772" cy="135252"/>
              </a:xfrm>
              <a:custGeom>
                <a:avLst/>
                <a:gdLst>
                  <a:gd name="T0" fmla="*/ 24 w 49"/>
                  <a:gd name="T1" fmla="*/ 47 h 47"/>
                  <a:gd name="T2" fmla="*/ 15 w 49"/>
                  <a:gd name="T3" fmla="*/ 45 h 47"/>
                  <a:gd name="T4" fmla="*/ 4 w 49"/>
                  <a:gd name="T5" fmla="*/ 32 h 47"/>
                  <a:gd name="T6" fmla="*/ 17 w 49"/>
                  <a:gd name="T7" fmla="*/ 4 h 47"/>
                  <a:gd name="T8" fmla="*/ 45 w 49"/>
                  <a:gd name="T9" fmla="*/ 18 h 47"/>
                  <a:gd name="T10" fmla="*/ 32 w 49"/>
                  <a:gd name="T11" fmla="*/ 46 h 47"/>
                  <a:gd name="T12" fmla="*/ 24 w 49"/>
                  <a:gd name="T13" fmla="*/ 47 h 47"/>
                  <a:gd name="T14" fmla="*/ 24 w 49"/>
                  <a:gd name="T15" fmla="*/ 6 h 47"/>
                  <a:gd name="T16" fmla="*/ 19 w 49"/>
                  <a:gd name="T17" fmla="*/ 7 h 47"/>
                  <a:gd name="T18" fmla="*/ 7 w 49"/>
                  <a:gd name="T19" fmla="*/ 31 h 47"/>
                  <a:gd name="T20" fmla="*/ 16 w 49"/>
                  <a:gd name="T21" fmla="*/ 41 h 47"/>
                  <a:gd name="T22" fmla="*/ 30 w 49"/>
                  <a:gd name="T23" fmla="*/ 42 h 47"/>
                  <a:gd name="T24" fmla="*/ 42 w 49"/>
                  <a:gd name="T25" fmla="*/ 19 h 47"/>
                  <a:gd name="T26" fmla="*/ 24 w 49"/>
                  <a:gd name="T27"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 h="47">
                    <a:moveTo>
                      <a:pt x="24" y="47"/>
                    </a:moveTo>
                    <a:cubicBezTo>
                      <a:pt x="21" y="47"/>
                      <a:pt x="18" y="46"/>
                      <a:pt x="15" y="45"/>
                    </a:cubicBezTo>
                    <a:cubicBezTo>
                      <a:pt x="9" y="42"/>
                      <a:pt x="5" y="37"/>
                      <a:pt x="4" y="32"/>
                    </a:cubicBezTo>
                    <a:cubicBezTo>
                      <a:pt x="0" y="20"/>
                      <a:pt x="6" y="8"/>
                      <a:pt x="17" y="4"/>
                    </a:cubicBezTo>
                    <a:cubicBezTo>
                      <a:pt x="29" y="0"/>
                      <a:pt x="41" y="6"/>
                      <a:pt x="45" y="18"/>
                    </a:cubicBezTo>
                    <a:cubicBezTo>
                      <a:pt x="49" y="29"/>
                      <a:pt x="43" y="42"/>
                      <a:pt x="32" y="46"/>
                    </a:cubicBezTo>
                    <a:cubicBezTo>
                      <a:pt x="29" y="46"/>
                      <a:pt x="27" y="47"/>
                      <a:pt x="24" y="47"/>
                    </a:cubicBezTo>
                    <a:close/>
                    <a:moveTo>
                      <a:pt x="24" y="6"/>
                    </a:moveTo>
                    <a:cubicBezTo>
                      <a:pt x="22" y="6"/>
                      <a:pt x="20" y="7"/>
                      <a:pt x="19" y="7"/>
                    </a:cubicBezTo>
                    <a:cubicBezTo>
                      <a:pt x="9" y="11"/>
                      <a:pt x="4" y="21"/>
                      <a:pt x="7" y="31"/>
                    </a:cubicBezTo>
                    <a:cubicBezTo>
                      <a:pt x="9" y="35"/>
                      <a:pt x="12" y="39"/>
                      <a:pt x="16" y="41"/>
                    </a:cubicBezTo>
                    <a:cubicBezTo>
                      <a:pt x="21" y="43"/>
                      <a:pt x="26" y="44"/>
                      <a:pt x="30" y="42"/>
                    </a:cubicBezTo>
                    <a:cubicBezTo>
                      <a:pt x="40" y="39"/>
                      <a:pt x="45" y="28"/>
                      <a:pt x="42" y="19"/>
                    </a:cubicBezTo>
                    <a:cubicBezTo>
                      <a:pt x="39" y="11"/>
                      <a:pt x="32" y="6"/>
                      <a:pt x="24" y="6"/>
                    </a:cubicBezTo>
                    <a:close/>
                  </a:path>
                </a:pathLst>
              </a:custGeom>
              <a:solidFill>
                <a:srgbClr val="D6DFF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5" name="iṧ1íďê">
                <a:extLst>
                  <a:ext uri="{FF2B5EF4-FFF2-40B4-BE49-F238E27FC236}">
                    <a16:creationId xmlns:a16="http://schemas.microsoft.com/office/drawing/2014/main" id="{19F9E6A2-CE0A-5443-AEC7-5A72AF451347}"/>
                  </a:ext>
                </a:extLst>
              </p:cNvPr>
              <p:cNvSpPr/>
              <p:nvPr/>
            </p:nvSpPr>
            <p:spPr bwMode="auto">
              <a:xfrm>
                <a:off x="6290598" y="2340086"/>
                <a:ext cx="52445" cy="52445"/>
              </a:xfrm>
              <a:custGeom>
                <a:avLst/>
                <a:gdLst>
                  <a:gd name="T0" fmla="*/ 11 w 18"/>
                  <a:gd name="T1" fmla="*/ 17 h 18"/>
                  <a:gd name="T2" fmla="*/ 1 w 18"/>
                  <a:gd name="T3" fmla="*/ 12 h 18"/>
                  <a:gd name="T4" fmla="*/ 6 w 18"/>
                  <a:gd name="T5" fmla="*/ 1 h 18"/>
                  <a:gd name="T6" fmla="*/ 17 w 18"/>
                  <a:gd name="T7" fmla="*/ 6 h 18"/>
                  <a:gd name="T8" fmla="*/ 11 w 18"/>
                  <a:gd name="T9" fmla="*/ 17 h 18"/>
                </a:gdLst>
                <a:ahLst/>
                <a:cxnLst>
                  <a:cxn ang="0">
                    <a:pos x="T0" y="T1"/>
                  </a:cxn>
                  <a:cxn ang="0">
                    <a:pos x="T2" y="T3"/>
                  </a:cxn>
                  <a:cxn ang="0">
                    <a:pos x="T4" y="T5"/>
                  </a:cxn>
                  <a:cxn ang="0">
                    <a:pos x="T6" y="T7"/>
                  </a:cxn>
                  <a:cxn ang="0">
                    <a:pos x="T8" y="T9"/>
                  </a:cxn>
                </a:cxnLst>
                <a:rect l="0" t="0" r="r" b="b"/>
                <a:pathLst>
                  <a:path w="18" h="18">
                    <a:moveTo>
                      <a:pt x="11" y="17"/>
                    </a:moveTo>
                    <a:cubicBezTo>
                      <a:pt x="7" y="18"/>
                      <a:pt x="3" y="16"/>
                      <a:pt x="1" y="12"/>
                    </a:cubicBezTo>
                    <a:cubicBezTo>
                      <a:pt x="0" y="7"/>
                      <a:pt x="2" y="3"/>
                      <a:pt x="6" y="1"/>
                    </a:cubicBezTo>
                    <a:cubicBezTo>
                      <a:pt x="10" y="0"/>
                      <a:pt x="15" y="2"/>
                      <a:pt x="17" y="6"/>
                    </a:cubicBezTo>
                    <a:cubicBezTo>
                      <a:pt x="18" y="10"/>
                      <a:pt x="16" y="15"/>
                      <a:pt x="11" y="17"/>
                    </a:cubicBezTo>
                    <a:close/>
                  </a:path>
                </a:pathLst>
              </a:custGeom>
              <a:solidFill>
                <a:srgbClr val="BFCEE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6" name="îsľiḋê">
                <a:extLst>
                  <a:ext uri="{FF2B5EF4-FFF2-40B4-BE49-F238E27FC236}">
                    <a16:creationId xmlns:a16="http://schemas.microsoft.com/office/drawing/2014/main" id="{94619528-2D53-3D48-A079-C40793B4914E}"/>
                  </a:ext>
                </a:extLst>
              </p:cNvPr>
              <p:cNvSpPr/>
              <p:nvPr/>
            </p:nvSpPr>
            <p:spPr bwMode="auto">
              <a:xfrm>
                <a:off x="5055390" y="2709958"/>
                <a:ext cx="180796" cy="237381"/>
              </a:xfrm>
              <a:custGeom>
                <a:avLst/>
                <a:gdLst>
                  <a:gd name="T0" fmla="*/ 61 w 63"/>
                  <a:gd name="T1" fmla="*/ 80 h 83"/>
                  <a:gd name="T2" fmla="*/ 61 w 63"/>
                  <a:gd name="T3" fmla="*/ 13 h 83"/>
                  <a:gd name="T4" fmla="*/ 59 w 63"/>
                  <a:gd name="T5" fmla="*/ 2 h 83"/>
                  <a:gd name="T6" fmla="*/ 46 w 63"/>
                  <a:gd name="T7" fmla="*/ 2 h 83"/>
                  <a:gd name="T8" fmla="*/ 0 w 63"/>
                  <a:gd name="T9" fmla="*/ 45 h 83"/>
                  <a:gd name="T10" fmla="*/ 0 w 63"/>
                  <a:gd name="T11" fmla="*/ 46 h 83"/>
                  <a:gd name="T12" fmla="*/ 17 w 63"/>
                  <a:gd name="T13" fmla="*/ 82 h 83"/>
                  <a:gd name="T14" fmla="*/ 41 w 63"/>
                  <a:gd name="T15" fmla="*/ 81 h 83"/>
                  <a:gd name="T16" fmla="*/ 61 w 63"/>
                  <a:gd name="T17" fmla="*/ 8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83">
                    <a:moveTo>
                      <a:pt x="61" y="80"/>
                    </a:moveTo>
                    <a:cubicBezTo>
                      <a:pt x="62" y="79"/>
                      <a:pt x="61" y="14"/>
                      <a:pt x="61" y="13"/>
                    </a:cubicBezTo>
                    <a:cubicBezTo>
                      <a:pt x="60" y="8"/>
                      <a:pt x="63" y="4"/>
                      <a:pt x="59" y="2"/>
                    </a:cubicBezTo>
                    <a:cubicBezTo>
                      <a:pt x="55" y="0"/>
                      <a:pt x="50" y="0"/>
                      <a:pt x="46" y="2"/>
                    </a:cubicBezTo>
                    <a:cubicBezTo>
                      <a:pt x="41" y="5"/>
                      <a:pt x="11" y="36"/>
                      <a:pt x="0" y="45"/>
                    </a:cubicBezTo>
                    <a:cubicBezTo>
                      <a:pt x="0" y="46"/>
                      <a:pt x="0" y="46"/>
                      <a:pt x="0" y="46"/>
                    </a:cubicBezTo>
                    <a:cubicBezTo>
                      <a:pt x="13" y="52"/>
                      <a:pt x="3" y="75"/>
                      <a:pt x="17" y="82"/>
                    </a:cubicBezTo>
                    <a:cubicBezTo>
                      <a:pt x="19" y="83"/>
                      <a:pt x="31" y="82"/>
                      <a:pt x="41" y="81"/>
                    </a:cubicBezTo>
                    <a:cubicBezTo>
                      <a:pt x="51" y="80"/>
                      <a:pt x="59" y="79"/>
                      <a:pt x="61" y="80"/>
                    </a:cubicBezTo>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7" name="ïṧlîḋe">
                <a:extLst>
                  <a:ext uri="{FF2B5EF4-FFF2-40B4-BE49-F238E27FC236}">
                    <a16:creationId xmlns:a16="http://schemas.microsoft.com/office/drawing/2014/main" id="{5409BBDC-A0C1-8D4F-AB3E-0EE2C3288B05}"/>
                  </a:ext>
                </a:extLst>
              </p:cNvPr>
              <p:cNvSpPr/>
              <p:nvPr/>
            </p:nvSpPr>
            <p:spPr bwMode="auto">
              <a:xfrm>
                <a:off x="6305779" y="2358028"/>
                <a:ext cx="24842" cy="529966"/>
              </a:xfrm>
              <a:custGeom>
                <a:avLst/>
                <a:gdLst>
                  <a:gd name="T0" fmla="*/ 3 w 9"/>
                  <a:gd name="T1" fmla="*/ 185 h 185"/>
                  <a:gd name="T2" fmla="*/ 3 w 9"/>
                  <a:gd name="T3" fmla="*/ 185 h 185"/>
                  <a:gd name="T4" fmla="*/ 0 w 9"/>
                  <a:gd name="T5" fmla="*/ 181 h 185"/>
                  <a:gd name="T6" fmla="*/ 1 w 9"/>
                  <a:gd name="T7" fmla="*/ 3 h 185"/>
                  <a:gd name="T8" fmla="*/ 5 w 9"/>
                  <a:gd name="T9" fmla="*/ 0 h 185"/>
                  <a:gd name="T10" fmla="*/ 9 w 9"/>
                  <a:gd name="T11" fmla="*/ 4 h 185"/>
                  <a:gd name="T12" fmla="*/ 7 w 9"/>
                  <a:gd name="T13" fmla="*/ 181 h 185"/>
                  <a:gd name="T14" fmla="*/ 3 w 9"/>
                  <a:gd name="T15" fmla="*/ 185 h 1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85">
                    <a:moveTo>
                      <a:pt x="3" y="185"/>
                    </a:moveTo>
                    <a:cubicBezTo>
                      <a:pt x="3" y="185"/>
                      <a:pt x="3" y="185"/>
                      <a:pt x="3" y="185"/>
                    </a:cubicBezTo>
                    <a:cubicBezTo>
                      <a:pt x="1" y="185"/>
                      <a:pt x="0" y="183"/>
                      <a:pt x="0" y="181"/>
                    </a:cubicBezTo>
                    <a:cubicBezTo>
                      <a:pt x="1" y="3"/>
                      <a:pt x="1" y="3"/>
                      <a:pt x="1" y="3"/>
                    </a:cubicBezTo>
                    <a:cubicBezTo>
                      <a:pt x="1" y="1"/>
                      <a:pt x="3" y="0"/>
                      <a:pt x="5" y="0"/>
                    </a:cubicBezTo>
                    <a:cubicBezTo>
                      <a:pt x="7" y="0"/>
                      <a:pt x="9" y="1"/>
                      <a:pt x="9" y="4"/>
                    </a:cubicBezTo>
                    <a:cubicBezTo>
                      <a:pt x="7" y="181"/>
                      <a:pt x="7" y="181"/>
                      <a:pt x="7" y="181"/>
                    </a:cubicBezTo>
                    <a:cubicBezTo>
                      <a:pt x="7" y="184"/>
                      <a:pt x="5" y="185"/>
                      <a:pt x="3" y="185"/>
                    </a:cubicBezTo>
                  </a:path>
                </a:pathLst>
              </a:custGeom>
              <a:solidFill>
                <a:srgbClr val="3361C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8" name="iṡ1iḓê">
                <a:extLst>
                  <a:ext uri="{FF2B5EF4-FFF2-40B4-BE49-F238E27FC236}">
                    <a16:creationId xmlns:a16="http://schemas.microsoft.com/office/drawing/2014/main" id="{25B72C58-5DB5-C244-B8D2-36B041AC61FC}"/>
                  </a:ext>
                </a:extLst>
              </p:cNvPr>
              <p:cNvSpPr/>
              <p:nvPr/>
            </p:nvSpPr>
            <p:spPr bwMode="auto">
              <a:xfrm>
                <a:off x="4568208" y="1292575"/>
                <a:ext cx="180796" cy="17113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9" name="ïṥḻidè">
                <a:extLst>
                  <a:ext uri="{FF2B5EF4-FFF2-40B4-BE49-F238E27FC236}">
                    <a16:creationId xmlns:a16="http://schemas.microsoft.com/office/drawing/2014/main" id="{07A38768-99EF-9245-896C-4AE894B0658E}"/>
                  </a:ext>
                </a:extLst>
              </p:cNvPr>
              <p:cNvSpPr/>
              <p:nvPr/>
            </p:nvSpPr>
            <p:spPr bwMode="auto">
              <a:xfrm>
                <a:off x="4409494" y="1561698"/>
                <a:ext cx="488563" cy="1082014"/>
              </a:xfrm>
              <a:custGeom>
                <a:avLst/>
                <a:gdLst>
                  <a:gd name="T0" fmla="*/ 166 w 170"/>
                  <a:gd name="T1" fmla="*/ 378 h 378"/>
                  <a:gd name="T2" fmla="*/ 4 w 170"/>
                  <a:gd name="T3" fmla="*/ 378 h 378"/>
                  <a:gd name="T4" fmla="*/ 1 w 170"/>
                  <a:gd name="T5" fmla="*/ 377 h 378"/>
                  <a:gd name="T6" fmla="*/ 0 w 170"/>
                  <a:gd name="T7" fmla="*/ 373 h 378"/>
                  <a:gd name="T8" fmla="*/ 81 w 170"/>
                  <a:gd name="T9" fmla="*/ 4 h 378"/>
                  <a:gd name="T10" fmla="*/ 85 w 170"/>
                  <a:gd name="T11" fmla="*/ 0 h 378"/>
                  <a:gd name="T12" fmla="*/ 89 w 170"/>
                  <a:gd name="T13" fmla="*/ 4 h 378"/>
                  <a:gd name="T14" fmla="*/ 170 w 170"/>
                  <a:gd name="T15" fmla="*/ 373 h 378"/>
                  <a:gd name="T16" fmla="*/ 169 w 170"/>
                  <a:gd name="T17" fmla="*/ 377 h 378"/>
                  <a:gd name="T18" fmla="*/ 166 w 170"/>
                  <a:gd name="T19" fmla="*/ 378 h 378"/>
                  <a:gd name="T20" fmla="*/ 10 w 170"/>
                  <a:gd name="T21" fmla="*/ 369 h 378"/>
                  <a:gd name="T22" fmla="*/ 160 w 170"/>
                  <a:gd name="T23" fmla="*/ 369 h 378"/>
                  <a:gd name="T24" fmla="*/ 85 w 170"/>
                  <a:gd name="T25" fmla="*/ 25 h 378"/>
                  <a:gd name="T26" fmla="*/ 10 w 170"/>
                  <a:gd name="T27" fmla="*/ 369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 h="378">
                    <a:moveTo>
                      <a:pt x="166" y="378"/>
                    </a:moveTo>
                    <a:cubicBezTo>
                      <a:pt x="4" y="378"/>
                      <a:pt x="4" y="378"/>
                      <a:pt x="4" y="378"/>
                    </a:cubicBezTo>
                    <a:cubicBezTo>
                      <a:pt x="3" y="378"/>
                      <a:pt x="2" y="378"/>
                      <a:pt x="1" y="377"/>
                    </a:cubicBezTo>
                    <a:cubicBezTo>
                      <a:pt x="0" y="376"/>
                      <a:pt x="0" y="374"/>
                      <a:pt x="0" y="373"/>
                    </a:cubicBezTo>
                    <a:cubicBezTo>
                      <a:pt x="81" y="4"/>
                      <a:pt x="81" y="4"/>
                      <a:pt x="81" y="4"/>
                    </a:cubicBezTo>
                    <a:cubicBezTo>
                      <a:pt x="81" y="2"/>
                      <a:pt x="83" y="0"/>
                      <a:pt x="85" y="0"/>
                    </a:cubicBezTo>
                    <a:cubicBezTo>
                      <a:pt x="87" y="0"/>
                      <a:pt x="89" y="2"/>
                      <a:pt x="89" y="4"/>
                    </a:cubicBezTo>
                    <a:cubicBezTo>
                      <a:pt x="170" y="373"/>
                      <a:pt x="170" y="373"/>
                      <a:pt x="170" y="373"/>
                    </a:cubicBezTo>
                    <a:cubicBezTo>
                      <a:pt x="170" y="374"/>
                      <a:pt x="170" y="376"/>
                      <a:pt x="169" y="377"/>
                    </a:cubicBezTo>
                    <a:cubicBezTo>
                      <a:pt x="168" y="378"/>
                      <a:pt x="167" y="378"/>
                      <a:pt x="166" y="378"/>
                    </a:cubicBezTo>
                    <a:moveTo>
                      <a:pt x="10" y="369"/>
                    </a:moveTo>
                    <a:cubicBezTo>
                      <a:pt x="160" y="369"/>
                      <a:pt x="160" y="369"/>
                      <a:pt x="160" y="369"/>
                    </a:cubicBezTo>
                    <a:cubicBezTo>
                      <a:pt x="85" y="25"/>
                      <a:pt x="85" y="25"/>
                      <a:pt x="85" y="25"/>
                    </a:cubicBezTo>
                    <a:cubicBezTo>
                      <a:pt x="10" y="369"/>
                      <a:pt x="10" y="369"/>
                      <a:pt x="10" y="369"/>
                    </a:cubicBezTo>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0" name="i$ḻîḍê">
                <a:extLst>
                  <a:ext uri="{FF2B5EF4-FFF2-40B4-BE49-F238E27FC236}">
                    <a16:creationId xmlns:a16="http://schemas.microsoft.com/office/drawing/2014/main" id="{6FDDF9B7-3E11-A846-B6D7-C80BCD977AEE}"/>
                  </a:ext>
                </a:extLst>
              </p:cNvPr>
              <p:cNvSpPr/>
              <p:nvPr/>
            </p:nvSpPr>
            <p:spPr bwMode="auto">
              <a:xfrm>
                <a:off x="4645495" y="1567218"/>
                <a:ext cx="59346" cy="1065453"/>
              </a:xfrm>
              <a:custGeom>
                <a:avLst/>
                <a:gdLst>
                  <a:gd name="T0" fmla="*/ 18 w 21"/>
                  <a:gd name="T1" fmla="*/ 372 h 372"/>
                  <a:gd name="T2" fmla="*/ 14 w 21"/>
                  <a:gd name="T3" fmla="*/ 369 h 372"/>
                  <a:gd name="T4" fmla="*/ 0 w 21"/>
                  <a:gd name="T5" fmla="*/ 4 h 372"/>
                  <a:gd name="T6" fmla="*/ 4 w 21"/>
                  <a:gd name="T7" fmla="*/ 0 h 372"/>
                  <a:gd name="T8" fmla="*/ 7 w 21"/>
                  <a:gd name="T9" fmla="*/ 3 h 372"/>
                  <a:gd name="T10" fmla="*/ 21 w 21"/>
                  <a:gd name="T11" fmla="*/ 369 h 372"/>
                  <a:gd name="T12" fmla="*/ 18 w 21"/>
                  <a:gd name="T13" fmla="*/ 372 h 372"/>
                  <a:gd name="T14" fmla="*/ 18 w 21"/>
                  <a:gd name="T15" fmla="*/ 372 h 3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372">
                    <a:moveTo>
                      <a:pt x="18" y="372"/>
                    </a:moveTo>
                    <a:cubicBezTo>
                      <a:pt x="16" y="372"/>
                      <a:pt x="14" y="371"/>
                      <a:pt x="14" y="369"/>
                    </a:cubicBezTo>
                    <a:cubicBezTo>
                      <a:pt x="0" y="4"/>
                      <a:pt x="0" y="4"/>
                      <a:pt x="0" y="4"/>
                    </a:cubicBezTo>
                    <a:cubicBezTo>
                      <a:pt x="0" y="1"/>
                      <a:pt x="1" y="0"/>
                      <a:pt x="4" y="0"/>
                    </a:cubicBezTo>
                    <a:cubicBezTo>
                      <a:pt x="6" y="0"/>
                      <a:pt x="7" y="1"/>
                      <a:pt x="7" y="3"/>
                    </a:cubicBezTo>
                    <a:cubicBezTo>
                      <a:pt x="21" y="369"/>
                      <a:pt x="21" y="369"/>
                      <a:pt x="21" y="369"/>
                    </a:cubicBezTo>
                    <a:cubicBezTo>
                      <a:pt x="21" y="371"/>
                      <a:pt x="20" y="372"/>
                      <a:pt x="18" y="372"/>
                    </a:cubicBezTo>
                    <a:cubicBezTo>
                      <a:pt x="18" y="372"/>
                      <a:pt x="18" y="372"/>
                      <a:pt x="18" y="372"/>
                    </a:cubicBezTo>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1" name="íṥľïdé">
                <a:extLst>
                  <a:ext uri="{FF2B5EF4-FFF2-40B4-BE49-F238E27FC236}">
                    <a16:creationId xmlns:a16="http://schemas.microsoft.com/office/drawing/2014/main" id="{F9F6FE6F-784E-3E47-83D3-9C5D7AEEE000}"/>
                  </a:ext>
                </a:extLst>
              </p:cNvPr>
              <p:cNvSpPr/>
              <p:nvPr/>
            </p:nvSpPr>
            <p:spPr bwMode="auto">
              <a:xfrm>
                <a:off x="4602710" y="1567218"/>
                <a:ext cx="59346" cy="1065453"/>
              </a:xfrm>
              <a:custGeom>
                <a:avLst/>
                <a:gdLst>
                  <a:gd name="T0" fmla="*/ 3 w 21"/>
                  <a:gd name="T1" fmla="*/ 372 h 372"/>
                  <a:gd name="T2" fmla="*/ 3 w 21"/>
                  <a:gd name="T3" fmla="*/ 372 h 372"/>
                  <a:gd name="T4" fmla="*/ 0 w 21"/>
                  <a:gd name="T5" fmla="*/ 369 h 372"/>
                  <a:gd name="T6" fmla="*/ 14 w 21"/>
                  <a:gd name="T7" fmla="*/ 3 h 372"/>
                  <a:gd name="T8" fmla="*/ 18 w 21"/>
                  <a:gd name="T9" fmla="*/ 0 h 372"/>
                  <a:gd name="T10" fmla="*/ 21 w 21"/>
                  <a:gd name="T11" fmla="*/ 4 h 372"/>
                  <a:gd name="T12" fmla="*/ 7 w 21"/>
                  <a:gd name="T13" fmla="*/ 369 h 372"/>
                  <a:gd name="T14" fmla="*/ 3 w 21"/>
                  <a:gd name="T15" fmla="*/ 372 h 3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372">
                    <a:moveTo>
                      <a:pt x="3" y="372"/>
                    </a:moveTo>
                    <a:cubicBezTo>
                      <a:pt x="3" y="372"/>
                      <a:pt x="3" y="372"/>
                      <a:pt x="3" y="372"/>
                    </a:cubicBezTo>
                    <a:cubicBezTo>
                      <a:pt x="1" y="372"/>
                      <a:pt x="0" y="371"/>
                      <a:pt x="0" y="369"/>
                    </a:cubicBezTo>
                    <a:cubicBezTo>
                      <a:pt x="14" y="3"/>
                      <a:pt x="14" y="3"/>
                      <a:pt x="14" y="3"/>
                    </a:cubicBezTo>
                    <a:cubicBezTo>
                      <a:pt x="14" y="1"/>
                      <a:pt x="15" y="0"/>
                      <a:pt x="18" y="0"/>
                    </a:cubicBezTo>
                    <a:cubicBezTo>
                      <a:pt x="20" y="0"/>
                      <a:pt x="21" y="1"/>
                      <a:pt x="21" y="4"/>
                    </a:cubicBezTo>
                    <a:cubicBezTo>
                      <a:pt x="7" y="369"/>
                      <a:pt x="7" y="369"/>
                      <a:pt x="7" y="369"/>
                    </a:cubicBezTo>
                    <a:cubicBezTo>
                      <a:pt x="7" y="371"/>
                      <a:pt x="6" y="372"/>
                      <a:pt x="3" y="372"/>
                    </a:cubicBezTo>
                  </a:path>
                </a:pathLst>
              </a:custGeom>
              <a:solidFill>
                <a:srgbClr val="3361C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2" name="ï$ļîḍè">
                <a:extLst>
                  <a:ext uri="{FF2B5EF4-FFF2-40B4-BE49-F238E27FC236}">
                    <a16:creationId xmlns:a16="http://schemas.microsoft.com/office/drawing/2014/main" id="{8180D696-AA3B-164E-9C42-8FF0028BE5FB}"/>
                  </a:ext>
                </a:extLst>
              </p:cNvPr>
              <p:cNvSpPr/>
              <p:nvPr/>
            </p:nvSpPr>
            <p:spPr bwMode="auto">
              <a:xfrm>
                <a:off x="4464698" y="2420133"/>
                <a:ext cx="430598" cy="209778"/>
              </a:xfrm>
              <a:custGeom>
                <a:avLst/>
                <a:gdLst>
                  <a:gd name="T0" fmla="*/ 148 w 150"/>
                  <a:gd name="T1" fmla="*/ 73 h 73"/>
                  <a:gd name="T2" fmla="*/ 147 w 150"/>
                  <a:gd name="T3" fmla="*/ 73 h 73"/>
                  <a:gd name="T4" fmla="*/ 74 w 150"/>
                  <a:gd name="T5" fmla="*/ 39 h 73"/>
                  <a:gd name="T6" fmla="*/ 1 w 150"/>
                  <a:gd name="T7" fmla="*/ 4 h 73"/>
                  <a:gd name="T8" fmla="*/ 0 w 150"/>
                  <a:gd name="T9" fmla="*/ 2 h 73"/>
                  <a:gd name="T10" fmla="*/ 3 w 150"/>
                  <a:gd name="T11" fmla="*/ 0 h 73"/>
                  <a:gd name="T12" fmla="*/ 76 w 150"/>
                  <a:gd name="T13" fmla="*/ 35 h 73"/>
                  <a:gd name="T14" fmla="*/ 148 w 150"/>
                  <a:gd name="T15" fmla="*/ 69 h 73"/>
                  <a:gd name="T16" fmla="*/ 150 w 150"/>
                  <a:gd name="T17" fmla="*/ 72 h 73"/>
                  <a:gd name="T18" fmla="*/ 148 w 150"/>
                  <a:gd name="T19"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 h="73">
                    <a:moveTo>
                      <a:pt x="148" y="73"/>
                    </a:moveTo>
                    <a:cubicBezTo>
                      <a:pt x="147" y="73"/>
                      <a:pt x="147" y="73"/>
                      <a:pt x="147" y="73"/>
                    </a:cubicBezTo>
                    <a:cubicBezTo>
                      <a:pt x="127" y="64"/>
                      <a:pt x="100" y="51"/>
                      <a:pt x="74" y="39"/>
                    </a:cubicBezTo>
                    <a:cubicBezTo>
                      <a:pt x="48" y="26"/>
                      <a:pt x="21" y="13"/>
                      <a:pt x="1" y="4"/>
                    </a:cubicBezTo>
                    <a:cubicBezTo>
                      <a:pt x="0" y="4"/>
                      <a:pt x="0" y="3"/>
                      <a:pt x="0" y="2"/>
                    </a:cubicBezTo>
                    <a:cubicBezTo>
                      <a:pt x="1" y="0"/>
                      <a:pt x="2" y="0"/>
                      <a:pt x="3" y="0"/>
                    </a:cubicBezTo>
                    <a:cubicBezTo>
                      <a:pt x="23" y="9"/>
                      <a:pt x="50" y="22"/>
                      <a:pt x="76" y="35"/>
                    </a:cubicBezTo>
                    <a:cubicBezTo>
                      <a:pt x="102" y="47"/>
                      <a:pt x="129" y="60"/>
                      <a:pt x="148" y="69"/>
                    </a:cubicBezTo>
                    <a:cubicBezTo>
                      <a:pt x="150" y="69"/>
                      <a:pt x="150" y="70"/>
                      <a:pt x="150" y="72"/>
                    </a:cubicBezTo>
                    <a:cubicBezTo>
                      <a:pt x="149" y="72"/>
                      <a:pt x="148" y="73"/>
                      <a:pt x="148" y="73"/>
                    </a:cubicBez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3" name="i$ḷíḓe">
                <a:extLst>
                  <a:ext uri="{FF2B5EF4-FFF2-40B4-BE49-F238E27FC236}">
                    <a16:creationId xmlns:a16="http://schemas.microsoft.com/office/drawing/2014/main" id="{5D518B49-E6D4-1944-AF67-878A17727F97}"/>
                  </a:ext>
                </a:extLst>
              </p:cNvPr>
              <p:cNvSpPr/>
              <p:nvPr/>
            </p:nvSpPr>
            <p:spPr bwMode="auto">
              <a:xfrm>
                <a:off x="4496442" y="2449116"/>
                <a:ext cx="354691" cy="186317"/>
              </a:xfrm>
              <a:custGeom>
                <a:avLst/>
                <a:gdLst>
                  <a:gd name="T0" fmla="*/ 3 w 124"/>
                  <a:gd name="T1" fmla="*/ 65 h 65"/>
                  <a:gd name="T2" fmla="*/ 1 w 124"/>
                  <a:gd name="T3" fmla="*/ 64 h 65"/>
                  <a:gd name="T4" fmla="*/ 2 w 124"/>
                  <a:gd name="T5" fmla="*/ 61 h 65"/>
                  <a:gd name="T6" fmla="*/ 121 w 124"/>
                  <a:gd name="T7" fmla="*/ 1 h 65"/>
                  <a:gd name="T8" fmla="*/ 124 w 124"/>
                  <a:gd name="T9" fmla="*/ 1 h 65"/>
                  <a:gd name="T10" fmla="*/ 123 w 124"/>
                  <a:gd name="T11" fmla="*/ 4 h 65"/>
                  <a:gd name="T12" fmla="*/ 4 w 124"/>
                  <a:gd name="T13" fmla="*/ 65 h 65"/>
                  <a:gd name="T14" fmla="*/ 3 w 124"/>
                  <a:gd name="T15" fmla="*/ 65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 h="65">
                    <a:moveTo>
                      <a:pt x="3" y="65"/>
                    </a:moveTo>
                    <a:cubicBezTo>
                      <a:pt x="2" y="65"/>
                      <a:pt x="1" y="65"/>
                      <a:pt x="1" y="64"/>
                    </a:cubicBezTo>
                    <a:cubicBezTo>
                      <a:pt x="0" y="63"/>
                      <a:pt x="1" y="62"/>
                      <a:pt x="2" y="61"/>
                    </a:cubicBezTo>
                    <a:cubicBezTo>
                      <a:pt x="43" y="42"/>
                      <a:pt x="83" y="22"/>
                      <a:pt x="121" y="1"/>
                    </a:cubicBezTo>
                    <a:cubicBezTo>
                      <a:pt x="122" y="0"/>
                      <a:pt x="123" y="0"/>
                      <a:pt x="124" y="1"/>
                    </a:cubicBezTo>
                    <a:cubicBezTo>
                      <a:pt x="124" y="2"/>
                      <a:pt x="124" y="4"/>
                      <a:pt x="123" y="4"/>
                    </a:cubicBezTo>
                    <a:cubicBezTo>
                      <a:pt x="85" y="26"/>
                      <a:pt x="45" y="46"/>
                      <a:pt x="4" y="65"/>
                    </a:cubicBezTo>
                    <a:lnTo>
                      <a:pt x="3" y="65"/>
                    </a:ln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4" name="ïSḻíḑè">
                <a:extLst>
                  <a:ext uri="{FF2B5EF4-FFF2-40B4-BE49-F238E27FC236}">
                    <a16:creationId xmlns:a16="http://schemas.microsoft.com/office/drawing/2014/main" id="{08571938-CC67-F549-B451-DA9502C83E4E}"/>
                  </a:ext>
                </a:extLst>
              </p:cNvPr>
              <p:cNvSpPr/>
              <p:nvPr/>
            </p:nvSpPr>
            <p:spPr bwMode="auto">
              <a:xfrm>
                <a:off x="4501962" y="2228296"/>
                <a:ext cx="338130" cy="172515"/>
              </a:xfrm>
              <a:custGeom>
                <a:avLst/>
                <a:gdLst>
                  <a:gd name="T0" fmla="*/ 116 w 118"/>
                  <a:gd name="T1" fmla="*/ 60 h 60"/>
                  <a:gd name="T2" fmla="*/ 115 w 118"/>
                  <a:gd name="T3" fmla="*/ 60 h 60"/>
                  <a:gd name="T4" fmla="*/ 1 w 118"/>
                  <a:gd name="T5" fmla="*/ 4 h 60"/>
                  <a:gd name="T6" fmla="*/ 0 w 118"/>
                  <a:gd name="T7" fmla="*/ 1 h 60"/>
                  <a:gd name="T8" fmla="*/ 3 w 118"/>
                  <a:gd name="T9" fmla="*/ 0 h 60"/>
                  <a:gd name="T10" fmla="*/ 117 w 118"/>
                  <a:gd name="T11" fmla="*/ 56 h 60"/>
                  <a:gd name="T12" fmla="*/ 118 w 118"/>
                  <a:gd name="T13" fmla="*/ 59 h 60"/>
                  <a:gd name="T14" fmla="*/ 116 w 118"/>
                  <a:gd name="T15" fmla="*/ 6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8" h="60">
                    <a:moveTo>
                      <a:pt x="116" y="60"/>
                    </a:moveTo>
                    <a:cubicBezTo>
                      <a:pt x="115" y="60"/>
                      <a:pt x="115" y="60"/>
                      <a:pt x="115" y="60"/>
                    </a:cubicBezTo>
                    <a:cubicBezTo>
                      <a:pt x="1" y="4"/>
                      <a:pt x="1" y="4"/>
                      <a:pt x="1" y="4"/>
                    </a:cubicBezTo>
                    <a:cubicBezTo>
                      <a:pt x="0" y="4"/>
                      <a:pt x="0" y="3"/>
                      <a:pt x="0" y="1"/>
                    </a:cubicBezTo>
                    <a:cubicBezTo>
                      <a:pt x="1" y="0"/>
                      <a:pt x="2" y="0"/>
                      <a:pt x="3" y="0"/>
                    </a:cubicBezTo>
                    <a:cubicBezTo>
                      <a:pt x="117" y="56"/>
                      <a:pt x="117" y="56"/>
                      <a:pt x="117" y="56"/>
                    </a:cubicBezTo>
                    <a:cubicBezTo>
                      <a:pt x="118" y="57"/>
                      <a:pt x="118" y="58"/>
                      <a:pt x="118" y="59"/>
                    </a:cubicBezTo>
                    <a:cubicBezTo>
                      <a:pt x="117" y="60"/>
                      <a:pt x="116" y="60"/>
                      <a:pt x="116" y="60"/>
                    </a:cubicBez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5" name="ïṣ1idê">
                <a:extLst>
                  <a:ext uri="{FF2B5EF4-FFF2-40B4-BE49-F238E27FC236}">
                    <a16:creationId xmlns:a16="http://schemas.microsoft.com/office/drawing/2014/main" id="{6A09DFE9-FC15-8544-BA6A-8D9E226D7232}"/>
                  </a:ext>
                </a:extLst>
              </p:cNvPr>
              <p:cNvSpPr/>
              <p:nvPr/>
            </p:nvSpPr>
            <p:spPr bwMode="auto">
              <a:xfrm>
                <a:off x="4464698" y="2257278"/>
                <a:ext cx="346411" cy="154573"/>
              </a:xfrm>
              <a:custGeom>
                <a:avLst/>
                <a:gdLst>
                  <a:gd name="T0" fmla="*/ 2 w 121"/>
                  <a:gd name="T1" fmla="*/ 54 h 54"/>
                  <a:gd name="T2" fmla="*/ 0 w 121"/>
                  <a:gd name="T3" fmla="*/ 53 h 54"/>
                  <a:gd name="T4" fmla="*/ 2 w 121"/>
                  <a:gd name="T5" fmla="*/ 50 h 54"/>
                  <a:gd name="T6" fmla="*/ 118 w 121"/>
                  <a:gd name="T7" fmla="*/ 1 h 54"/>
                  <a:gd name="T8" fmla="*/ 120 w 121"/>
                  <a:gd name="T9" fmla="*/ 2 h 54"/>
                  <a:gd name="T10" fmla="*/ 119 w 121"/>
                  <a:gd name="T11" fmla="*/ 5 h 54"/>
                  <a:gd name="T12" fmla="*/ 3 w 121"/>
                  <a:gd name="T13" fmla="*/ 54 h 54"/>
                  <a:gd name="T14" fmla="*/ 2 w 121"/>
                  <a:gd name="T15" fmla="*/ 54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4">
                    <a:moveTo>
                      <a:pt x="2" y="54"/>
                    </a:moveTo>
                    <a:cubicBezTo>
                      <a:pt x="2" y="54"/>
                      <a:pt x="1" y="54"/>
                      <a:pt x="0" y="53"/>
                    </a:cubicBezTo>
                    <a:cubicBezTo>
                      <a:pt x="0" y="52"/>
                      <a:pt x="0" y="50"/>
                      <a:pt x="2" y="50"/>
                    </a:cubicBezTo>
                    <a:cubicBezTo>
                      <a:pt x="118" y="1"/>
                      <a:pt x="118" y="1"/>
                      <a:pt x="118" y="1"/>
                    </a:cubicBezTo>
                    <a:cubicBezTo>
                      <a:pt x="119" y="0"/>
                      <a:pt x="120" y="1"/>
                      <a:pt x="120" y="2"/>
                    </a:cubicBezTo>
                    <a:cubicBezTo>
                      <a:pt x="121" y="3"/>
                      <a:pt x="120" y="4"/>
                      <a:pt x="119" y="5"/>
                    </a:cubicBezTo>
                    <a:cubicBezTo>
                      <a:pt x="3" y="54"/>
                      <a:pt x="3" y="54"/>
                      <a:pt x="3" y="54"/>
                    </a:cubicBezTo>
                    <a:lnTo>
                      <a:pt x="2" y="54"/>
                    </a:ln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6" name="ïṩľídé">
                <a:extLst>
                  <a:ext uri="{FF2B5EF4-FFF2-40B4-BE49-F238E27FC236}">
                    <a16:creationId xmlns:a16="http://schemas.microsoft.com/office/drawing/2014/main" id="{87195F2D-8E6D-F44A-9A62-57BAF75AFE48}"/>
                  </a:ext>
                </a:extLst>
              </p:cNvPr>
              <p:cNvSpPr/>
              <p:nvPr/>
            </p:nvSpPr>
            <p:spPr bwMode="auto">
              <a:xfrm>
                <a:off x="4539225" y="2059922"/>
                <a:ext cx="260843" cy="143533"/>
              </a:xfrm>
              <a:custGeom>
                <a:avLst/>
                <a:gdLst>
                  <a:gd name="T0" fmla="*/ 88 w 91"/>
                  <a:gd name="T1" fmla="*/ 50 h 50"/>
                  <a:gd name="T2" fmla="*/ 87 w 91"/>
                  <a:gd name="T3" fmla="*/ 50 h 50"/>
                  <a:gd name="T4" fmla="*/ 2 w 91"/>
                  <a:gd name="T5" fmla="*/ 4 h 50"/>
                  <a:gd name="T6" fmla="*/ 1 w 91"/>
                  <a:gd name="T7" fmla="*/ 1 h 50"/>
                  <a:gd name="T8" fmla="*/ 4 w 91"/>
                  <a:gd name="T9" fmla="*/ 0 h 50"/>
                  <a:gd name="T10" fmla="*/ 89 w 91"/>
                  <a:gd name="T11" fmla="*/ 46 h 50"/>
                  <a:gd name="T12" fmla="*/ 90 w 91"/>
                  <a:gd name="T13" fmla="*/ 49 h 50"/>
                  <a:gd name="T14" fmla="*/ 88 w 91"/>
                  <a:gd name="T15" fmla="*/ 5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1" h="50">
                    <a:moveTo>
                      <a:pt x="88" y="50"/>
                    </a:moveTo>
                    <a:cubicBezTo>
                      <a:pt x="87" y="50"/>
                      <a:pt x="87" y="50"/>
                      <a:pt x="87" y="50"/>
                    </a:cubicBezTo>
                    <a:cubicBezTo>
                      <a:pt x="2" y="4"/>
                      <a:pt x="2" y="4"/>
                      <a:pt x="2" y="4"/>
                    </a:cubicBezTo>
                    <a:cubicBezTo>
                      <a:pt x="1" y="3"/>
                      <a:pt x="0" y="2"/>
                      <a:pt x="1" y="1"/>
                    </a:cubicBezTo>
                    <a:cubicBezTo>
                      <a:pt x="2" y="0"/>
                      <a:pt x="3" y="0"/>
                      <a:pt x="4" y="0"/>
                    </a:cubicBezTo>
                    <a:cubicBezTo>
                      <a:pt x="89" y="46"/>
                      <a:pt x="89" y="46"/>
                      <a:pt x="89" y="46"/>
                    </a:cubicBezTo>
                    <a:cubicBezTo>
                      <a:pt x="90" y="47"/>
                      <a:pt x="91" y="48"/>
                      <a:pt x="90" y="49"/>
                    </a:cubicBezTo>
                    <a:cubicBezTo>
                      <a:pt x="90" y="50"/>
                      <a:pt x="89" y="50"/>
                      <a:pt x="88" y="50"/>
                    </a:cubicBez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7" name="îṡlíḋé">
                <a:extLst>
                  <a:ext uri="{FF2B5EF4-FFF2-40B4-BE49-F238E27FC236}">
                    <a16:creationId xmlns:a16="http://schemas.microsoft.com/office/drawing/2014/main" id="{11FC3CDF-6081-A04E-9E15-DC79D283286D}"/>
                  </a:ext>
                </a:extLst>
              </p:cNvPr>
              <p:cNvSpPr/>
              <p:nvPr/>
            </p:nvSpPr>
            <p:spPr bwMode="auto">
              <a:xfrm>
                <a:off x="4507482" y="2094424"/>
                <a:ext cx="269124" cy="114550"/>
              </a:xfrm>
              <a:custGeom>
                <a:avLst/>
                <a:gdLst>
                  <a:gd name="T0" fmla="*/ 3 w 94"/>
                  <a:gd name="T1" fmla="*/ 40 h 40"/>
                  <a:gd name="T2" fmla="*/ 1 w 94"/>
                  <a:gd name="T3" fmla="*/ 39 h 40"/>
                  <a:gd name="T4" fmla="*/ 2 w 94"/>
                  <a:gd name="T5" fmla="*/ 36 h 40"/>
                  <a:gd name="T6" fmla="*/ 91 w 94"/>
                  <a:gd name="T7" fmla="*/ 0 h 40"/>
                  <a:gd name="T8" fmla="*/ 93 w 94"/>
                  <a:gd name="T9" fmla="*/ 1 h 40"/>
                  <a:gd name="T10" fmla="*/ 92 w 94"/>
                  <a:gd name="T11" fmla="*/ 4 h 40"/>
                  <a:gd name="T12" fmla="*/ 3 w 9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94" h="40">
                    <a:moveTo>
                      <a:pt x="3" y="40"/>
                    </a:moveTo>
                    <a:cubicBezTo>
                      <a:pt x="2" y="40"/>
                      <a:pt x="1" y="40"/>
                      <a:pt x="1" y="39"/>
                    </a:cubicBezTo>
                    <a:cubicBezTo>
                      <a:pt x="0" y="38"/>
                      <a:pt x="1" y="36"/>
                      <a:pt x="2" y="36"/>
                    </a:cubicBezTo>
                    <a:cubicBezTo>
                      <a:pt x="91" y="0"/>
                      <a:pt x="91" y="0"/>
                      <a:pt x="91" y="0"/>
                    </a:cubicBezTo>
                    <a:cubicBezTo>
                      <a:pt x="92" y="0"/>
                      <a:pt x="93" y="0"/>
                      <a:pt x="93" y="1"/>
                    </a:cubicBezTo>
                    <a:cubicBezTo>
                      <a:pt x="94" y="2"/>
                      <a:pt x="93" y="4"/>
                      <a:pt x="92" y="4"/>
                    </a:cubicBezTo>
                    <a:cubicBezTo>
                      <a:pt x="3" y="40"/>
                      <a:pt x="3" y="40"/>
                      <a:pt x="3" y="40"/>
                    </a:cubicBez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8" name="is1îdê">
                <a:extLst>
                  <a:ext uri="{FF2B5EF4-FFF2-40B4-BE49-F238E27FC236}">
                    <a16:creationId xmlns:a16="http://schemas.microsoft.com/office/drawing/2014/main" id="{15FEB67C-6387-8846-BE81-6BCBB507839E}"/>
                  </a:ext>
                </a:extLst>
              </p:cNvPr>
              <p:cNvSpPr/>
              <p:nvPr/>
            </p:nvSpPr>
            <p:spPr bwMode="auto">
              <a:xfrm>
                <a:off x="4565448" y="1939851"/>
                <a:ext cx="194597" cy="99369"/>
              </a:xfrm>
              <a:custGeom>
                <a:avLst/>
                <a:gdLst>
                  <a:gd name="T0" fmla="*/ 66 w 68"/>
                  <a:gd name="T1" fmla="*/ 35 h 35"/>
                  <a:gd name="T2" fmla="*/ 65 w 68"/>
                  <a:gd name="T3" fmla="*/ 35 h 35"/>
                  <a:gd name="T4" fmla="*/ 2 w 68"/>
                  <a:gd name="T5" fmla="*/ 4 h 35"/>
                  <a:gd name="T6" fmla="*/ 1 w 68"/>
                  <a:gd name="T7" fmla="*/ 1 h 35"/>
                  <a:gd name="T8" fmla="*/ 4 w 68"/>
                  <a:gd name="T9" fmla="*/ 0 h 35"/>
                  <a:gd name="T10" fmla="*/ 67 w 68"/>
                  <a:gd name="T11" fmla="*/ 31 h 35"/>
                  <a:gd name="T12" fmla="*/ 68 w 68"/>
                  <a:gd name="T13" fmla="*/ 34 h 35"/>
                  <a:gd name="T14" fmla="*/ 66 w 68"/>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35">
                    <a:moveTo>
                      <a:pt x="66" y="35"/>
                    </a:moveTo>
                    <a:cubicBezTo>
                      <a:pt x="65" y="35"/>
                      <a:pt x="65" y="35"/>
                      <a:pt x="65" y="35"/>
                    </a:cubicBezTo>
                    <a:cubicBezTo>
                      <a:pt x="2" y="4"/>
                      <a:pt x="2" y="4"/>
                      <a:pt x="2" y="4"/>
                    </a:cubicBezTo>
                    <a:cubicBezTo>
                      <a:pt x="1" y="4"/>
                      <a:pt x="0" y="2"/>
                      <a:pt x="1" y="1"/>
                    </a:cubicBezTo>
                    <a:cubicBezTo>
                      <a:pt x="1" y="0"/>
                      <a:pt x="3" y="0"/>
                      <a:pt x="4" y="0"/>
                    </a:cubicBezTo>
                    <a:cubicBezTo>
                      <a:pt x="67" y="31"/>
                      <a:pt x="67" y="31"/>
                      <a:pt x="67" y="31"/>
                    </a:cubicBezTo>
                    <a:cubicBezTo>
                      <a:pt x="68" y="31"/>
                      <a:pt x="68" y="33"/>
                      <a:pt x="68" y="34"/>
                    </a:cubicBezTo>
                    <a:cubicBezTo>
                      <a:pt x="67" y="34"/>
                      <a:pt x="67" y="35"/>
                      <a:pt x="66" y="35"/>
                    </a:cubicBez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9" name="îṧľïḑè">
                <a:extLst>
                  <a:ext uri="{FF2B5EF4-FFF2-40B4-BE49-F238E27FC236}">
                    <a16:creationId xmlns:a16="http://schemas.microsoft.com/office/drawing/2014/main" id="{B50F5595-BACE-574B-9AA6-68C29C2373BF}"/>
                  </a:ext>
                </a:extLst>
              </p:cNvPr>
              <p:cNvSpPr/>
              <p:nvPr/>
            </p:nvSpPr>
            <p:spPr bwMode="auto">
              <a:xfrm>
                <a:off x="4555786" y="1953652"/>
                <a:ext cx="189077" cy="91088"/>
              </a:xfrm>
              <a:custGeom>
                <a:avLst/>
                <a:gdLst>
                  <a:gd name="T0" fmla="*/ 2 w 66"/>
                  <a:gd name="T1" fmla="*/ 32 h 32"/>
                  <a:gd name="T2" fmla="*/ 0 w 66"/>
                  <a:gd name="T3" fmla="*/ 31 h 32"/>
                  <a:gd name="T4" fmla="*/ 1 w 66"/>
                  <a:gd name="T5" fmla="*/ 28 h 32"/>
                  <a:gd name="T6" fmla="*/ 63 w 66"/>
                  <a:gd name="T7" fmla="*/ 0 h 32"/>
                  <a:gd name="T8" fmla="*/ 66 w 66"/>
                  <a:gd name="T9" fmla="*/ 1 h 32"/>
                  <a:gd name="T10" fmla="*/ 65 w 66"/>
                  <a:gd name="T11" fmla="*/ 4 h 32"/>
                  <a:gd name="T12" fmla="*/ 3 w 66"/>
                  <a:gd name="T13" fmla="*/ 32 h 32"/>
                  <a:gd name="T14" fmla="*/ 2 w 66"/>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32">
                    <a:moveTo>
                      <a:pt x="2" y="32"/>
                    </a:moveTo>
                    <a:cubicBezTo>
                      <a:pt x="1" y="32"/>
                      <a:pt x="0" y="32"/>
                      <a:pt x="0" y="31"/>
                    </a:cubicBezTo>
                    <a:cubicBezTo>
                      <a:pt x="0" y="30"/>
                      <a:pt x="0" y="29"/>
                      <a:pt x="1" y="28"/>
                    </a:cubicBezTo>
                    <a:cubicBezTo>
                      <a:pt x="63" y="0"/>
                      <a:pt x="63" y="0"/>
                      <a:pt x="63" y="0"/>
                    </a:cubicBezTo>
                    <a:cubicBezTo>
                      <a:pt x="64" y="0"/>
                      <a:pt x="65" y="0"/>
                      <a:pt x="66" y="1"/>
                    </a:cubicBezTo>
                    <a:cubicBezTo>
                      <a:pt x="66" y="3"/>
                      <a:pt x="66" y="4"/>
                      <a:pt x="65" y="4"/>
                    </a:cubicBezTo>
                    <a:cubicBezTo>
                      <a:pt x="3" y="32"/>
                      <a:pt x="3" y="32"/>
                      <a:pt x="3" y="32"/>
                    </a:cubicBezTo>
                    <a:lnTo>
                      <a:pt x="2" y="32"/>
                    </a:ln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0" name="ïsḻidé">
                <a:extLst>
                  <a:ext uri="{FF2B5EF4-FFF2-40B4-BE49-F238E27FC236}">
                    <a16:creationId xmlns:a16="http://schemas.microsoft.com/office/drawing/2014/main" id="{179D6C85-6264-5D4A-AB4E-C12276722603}"/>
                  </a:ext>
                </a:extLst>
              </p:cNvPr>
              <p:cNvSpPr/>
              <p:nvPr/>
            </p:nvSpPr>
            <p:spPr bwMode="auto">
              <a:xfrm>
                <a:off x="4587529" y="1833582"/>
                <a:ext cx="140772" cy="62106"/>
              </a:xfrm>
              <a:custGeom>
                <a:avLst/>
                <a:gdLst>
                  <a:gd name="T0" fmla="*/ 46 w 49"/>
                  <a:gd name="T1" fmla="*/ 22 h 22"/>
                  <a:gd name="T2" fmla="*/ 45 w 49"/>
                  <a:gd name="T3" fmla="*/ 22 h 22"/>
                  <a:gd name="T4" fmla="*/ 23 w 49"/>
                  <a:gd name="T5" fmla="*/ 13 h 22"/>
                  <a:gd name="T6" fmla="*/ 1 w 49"/>
                  <a:gd name="T7" fmla="*/ 5 h 22"/>
                  <a:gd name="T8" fmla="*/ 0 w 49"/>
                  <a:gd name="T9" fmla="*/ 2 h 22"/>
                  <a:gd name="T10" fmla="*/ 3 w 49"/>
                  <a:gd name="T11" fmla="*/ 1 h 22"/>
                  <a:gd name="T12" fmla="*/ 25 w 49"/>
                  <a:gd name="T13" fmla="*/ 9 h 22"/>
                  <a:gd name="T14" fmla="*/ 47 w 49"/>
                  <a:gd name="T15" fmla="*/ 18 h 22"/>
                  <a:gd name="T16" fmla="*/ 48 w 49"/>
                  <a:gd name="T17" fmla="*/ 21 h 22"/>
                  <a:gd name="T18" fmla="*/ 46 w 49"/>
                  <a:gd name="T1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22">
                    <a:moveTo>
                      <a:pt x="46" y="22"/>
                    </a:moveTo>
                    <a:cubicBezTo>
                      <a:pt x="45" y="22"/>
                      <a:pt x="45" y="22"/>
                      <a:pt x="45" y="22"/>
                    </a:cubicBezTo>
                    <a:cubicBezTo>
                      <a:pt x="38" y="19"/>
                      <a:pt x="30" y="16"/>
                      <a:pt x="23" y="13"/>
                    </a:cubicBezTo>
                    <a:cubicBezTo>
                      <a:pt x="16" y="10"/>
                      <a:pt x="9" y="8"/>
                      <a:pt x="1" y="5"/>
                    </a:cubicBezTo>
                    <a:cubicBezTo>
                      <a:pt x="0" y="4"/>
                      <a:pt x="0" y="3"/>
                      <a:pt x="0" y="2"/>
                    </a:cubicBezTo>
                    <a:cubicBezTo>
                      <a:pt x="1" y="1"/>
                      <a:pt x="2" y="0"/>
                      <a:pt x="3" y="1"/>
                    </a:cubicBezTo>
                    <a:cubicBezTo>
                      <a:pt x="11" y="4"/>
                      <a:pt x="18" y="6"/>
                      <a:pt x="25" y="9"/>
                    </a:cubicBezTo>
                    <a:cubicBezTo>
                      <a:pt x="32" y="12"/>
                      <a:pt x="39" y="15"/>
                      <a:pt x="47" y="18"/>
                    </a:cubicBezTo>
                    <a:cubicBezTo>
                      <a:pt x="48" y="18"/>
                      <a:pt x="49" y="20"/>
                      <a:pt x="48" y="21"/>
                    </a:cubicBezTo>
                    <a:cubicBezTo>
                      <a:pt x="48" y="22"/>
                      <a:pt x="47" y="22"/>
                      <a:pt x="46" y="22"/>
                    </a:cubicBez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1" name="îṥ1îďê">
                <a:extLst>
                  <a:ext uri="{FF2B5EF4-FFF2-40B4-BE49-F238E27FC236}">
                    <a16:creationId xmlns:a16="http://schemas.microsoft.com/office/drawing/2014/main" id="{3FC53364-87CF-BB4F-97E5-6D47F58A52C2}"/>
                  </a:ext>
                </a:extLst>
              </p:cNvPr>
              <p:cNvSpPr/>
              <p:nvPr/>
            </p:nvSpPr>
            <p:spPr bwMode="auto">
              <a:xfrm>
                <a:off x="4579249" y="1833582"/>
                <a:ext cx="140772" cy="62106"/>
              </a:xfrm>
              <a:custGeom>
                <a:avLst/>
                <a:gdLst>
                  <a:gd name="T0" fmla="*/ 3 w 49"/>
                  <a:gd name="T1" fmla="*/ 22 h 22"/>
                  <a:gd name="T2" fmla="*/ 1 w 49"/>
                  <a:gd name="T3" fmla="*/ 21 h 22"/>
                  <a:gd name="T4" fmla="*/ 2 w 49"/>
                  <a:gd name="T5" fmla="*/ 18 h 22"/>
                  <a:gd name="T6" fmla="*/ 24 w 49"/>
                  <a:gd name="T7" fmla="*/ 9 h 22"/>
                  <a:gd name="T8" fmla="*/ 46 w 49"/>
                  <a:gd name="T9" fmla="*/ 1 h 22"/>
                  <a:gd name="T10" fmla="*/ 49 w 49"/>
                  <a:gd name="T11" fmla="*/ 2 h 22"/>
                  <a:gd name="T12" fmla="*/ 48 w 49"/>
                  <a:gd name="T13" fmla="*/ 5 h 22"/>
                  <a:gd name="T14" fmla="*/ 26 w 49"/>
                  <a:gd name="T15" fmla="*/ 13 h 22"/>
                  <a:gd name="T16" fmla="*/ 3 w 49"/>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2">
                    <a:moveTo>
                      <a:pt x="3" y="22"/>
                    </a:moveTo>
                    <a:cubicBezTo>
                      <a:pt x="2" y="22"/>
                      <a:pt x="1" y="22"/>
                      <a:pt x="1" y="21"/>
                    </a:cubicBezTo>
                    <a:cubicBezTo>
                      <a:pt x="0" y="20"/>
                      <a:pt x="1" y="18"/>
                      <a:pt x="2" y="18"/>
                    </a:cubicBezTo>
                    <a:cubicBezTo>
                      <a:pt x="10" y="15"/>
                      <a:pt x="17" y="12"/>
                      <a:pt x="24" y="9"/>
                    </a:cubicBezTo>
                    <a:cubicBezTo>
                      <a:pt x="31" y="6"/>
                      <a:pt x="38" y="4"/>
                      <a:pt x="46" y="1"/>
                    </a:cubicBezTo>
                    <a:cubicBezTo>
                      <a:pt x="47" y="0"/>
                      <a:pt x="48" y="1"/>
                      <a:pt x="49" y="2"/>
                    </a:cubicBezTo>
                    <a:cubicBezTo>
                      <a:pt x="49" y="3"/>
                      <a:pt x="49" y="4"/>
                      <a:pt x="48" y="5"/>
                    </a:cubicBezTo>
                    <a:cubicBezTo>
                      <a:pt x="40" y="8"/>
                      <a:pt x="33" y="10"/>
                      <a:pt x="26" y="13"/>
                    </a:cubicBezTo>
                    <a:cubicBezTo>
                      <a:pt x="18" y="16"/>
                      <a:pt x="11" y="19"/>
                      <a:pt x="3" y="22"/>
                    </a:cubicBez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2" name="ïṣ1iḑè">
                <a:extLst>
                  <a:ext uri="{FF2B5EF4-FFF2-40B4-BE49-F238E27FC236}">
                    <a16:creationId xmlns:a16="http://schemas.microsoft.com/office/drawing/2014/main" id="{D9F88EAA-2D95-B548-A508-0AA51DB9F00B}"/>
                  </a:ext>
                </a:extLst>
              </p:cNvPr>
              <p:cNvSpPr/>
              <p:nvPr/>
            </p:nvSpPr>
            <p:spPr bwMode="auto">
              <a:xfrm>
                <a:off x="4576489" y="1647265"/>
                <a:ext cx="157334" cy="45544"/>
              </a:xfrm>
              <a:prstGeom prst="rect">
                <a:avLst/>
              </a:prstGeom>
              <a:solidFill>
                <a:srgbClr val="0039B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853" name="ïṩḷíḋè">
                <a:extLst>
                  <a:ext uri="{FF2B5EF4-FFF2-40B4-BE49-F238E27FC236}">
                    <a16:creationId xmlns:a16="http://schemas.microsoft.com/office/drawing/2014/main" id="{A3BFFACA-970E-E949-B953-4829846CD04C}"/>
                  </a:ext>
                </a:extLst>
              </p:cNvPr>
              <p:cNvSpPr/>
              <p:nvPr/>
            </p:nvSpPr>
            <p:spPr bwMode="auto">
              <a:xfrm>
                <a:off x="4576489" y="1647265"/>
                <a:ext cx="157334" cy="45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854" name="i$ľiḓè">
                <a:extLst>
                  <a:ext uri="{FF2B5EF4-FFF2-40B4-BE49-F238E27FC236}">
                    <a16:creationId xmlns:a16="http://schemas.microsoft.com/office/drawing/2014/main" id="{739BB873-186B-804A-A6EC-9068FCA97967}"/>
                  </a:ext>
                </a:extLst>
              </p:cNvPr>
              <p:cNvSpPr/>
              <p:nvPr/>
            </p:nvSpPr>
            <p:spPr bwMode="auto">
              <a:xfrm>
                <a:off x="4584769" y="1495452"/>
                <a:ext cx="140772" cy="154573"/>
              </a:xfrm>
              <a:custGeom>
                <a:avLst/>
                <a:gdLst>
                  <a:gd name="T0" fmla="*/ 102 w 102"/>
                  <a:gd name="T1" fmla="*/ 112 h 112"/>
                  <a:gd name="T2" fmla="*/ 0 w 102"/>
                  <a:gd name="T3" fmla="*/ 112 h 112"/>
                  <a:gd name="T4" fmla="*/ 29 w 102"/>
                  <a:gd name="T5" fmla="*/ 0 h 112"/>
                  <a:gd name="T6" fmla="*/ 73 w 102"/>
                  <a:gd name="T7" fmla="*/ 0 h 112"/>
                  <a:gd name="T8" fmla="*/ 102 w 102"/>
                  <a:gd name="T9" fmla="*/ 112 h 112"/>
                </a:gdLst>
                <a:ahLst/>
                <a:cxnLst>
                  <a:cxn ang="0">
                    <a:pos x="T0" y="T1"/>
                  </a:cxn>
                  <a:cxn ang="0">
                    <a:pos x="T2" y="T3"/>
                  </a:cxn>
                  <a:cxn ang="0">
                    <a:pos x="T4" y="T5"/>
                  </a:cxn>
                  <a:cxn ang="0">
                    <a:pos x="T6" y="T7"/>
                  </a:cxn>
                  <a:cxn ang="0">
                    <a:pos x="T8" y="T9"/>
                  </a:cxn>
                </a:cxnLst>
                <a:rect l="0" t="0" r="r" b="b"/>
                <a:pathLst>
                  <a:path w="102" h="112">
                    <a:moveTo>
                      <a:pt x="102" y="112"/>
                    </a:moveTo>
                    <a:lnTo>
                      <a:pt x="0" y="112"/>
                    </a:lnTo>
                    <a:lnTo>
                      <a:pt x="29" y="0"/>
                    </a:lnTo>
                    <a:lnTo>
                      <a:pt x="73" y="0"/>
                    </a:lnTo>
                    <a:lnTo>
                      <a:pt x="102" y="112"/>
                    </a:ln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5" name="îšḻiḍê">
                <a:extLst>
                  <a:ext uri="{FF2B5EF4-FFF2-40B4-BE49-F238E27FC236}">
                    <a16:creationId xmlns:a16="http://schemas.microsoft.com/office/drawing/2014/main" id="{98954832-893F-A441-98B8-599C0AC78DC5}"/>
                  </a:ext>
                </a:extLst>
              </p:cNvPr>
              <p:cNvSpPr/>
              <p:nvPr/>
            </p:nvSpPr>
            <p:spPr bwMode="auto">
              <a:xfrm>
                <a:off x="4584769" y="1495452"/>
                <a:ext cx="140772" cy="154573"/>
              </a:xfrm>
              <a:custGeom>
                <a:avLst/>
                <a:gdLst>
                  <a:gd name="T0" fmla="*/ 102 w 102"/>
                  <a:gd name="T1" fmla="*/ 112 h 112"/>
                  <a:gd name="T2" fmla="*/ 0 w 102"/>
                  <a:gd name="T3" fmla="*/ 112 h 112"/>
                  <a:gd name="T4" fmla="*/ 29 w 102"/>
                  <a:gd name="T5" fmla="*/ 0 h 112"/>
                  <a:gd name="T6" fmla="*/ 73 w 102"/>
                  <a:gd name="T7" fmla="*/ 0 h 112"/>
                  <a:gd name="T8" fmla="*/ 102 w 102"/>
                  <a:gd name="T9" fmla="*/ 112 h 112"/>
                </a:gdLst>
                <a:ahLst/>
                <a:cxnLst>
                  <a:cxn ang="0">
                    <a:pos x="T0" y="T1"/>
                  </a:cxn>
                  <a:cxn ang="0">
                    <a:pos x="T2" y="T3"/>
                  </a:cxn>
                  <a:cxn ang="0">
                    <a:pos x="T4" y="T5"/>
                  </a:cxn>
                  <a:cxn ang="0">
                    <a:pos x="T6" y="T7"/>
                  </a:cxn>
                  <a:cxn ang="0">
                    <a:pos x="T8" y="T9"/>
                  </a:cxn>
                </a:cxnLst>
                <a:rect l="0" t="0" r="r" b="b"/>
                <a:pathLst>
                  <a:path w="102" h="112">
                    <a:moveTo>
                      <a:pt x="102" y="112"/>
                    </a:moveTo>
                    <a:lnTo>
                      <a:pt x="0" y="112"/>
                    </a:lnTo>
                    <a:lnTo>
                      <a:pt x="29" y="0"/>
                    </a:lnTo>
                    <a:lnTo>
                      <a:pt x="73" y="0"/>
                    </a:lnTo>
                    <a:lnTo>
                      <a:pt x="102" y="1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6" name="îṣlîďê">
                <a:extLst>
                  <a:ext uri="{FF2B5EF4-FFF2-40B4-BE49-F238E27FC236}">
                    <a16:creationId xmlns:a16="http://schemas.microsoft.com/office/drawing/2014/main" id="{22411972-E360-2B45-883A-2015065442A1}"/>
                  </a:ext>
                </a:extLst>
              </p:cNvPr>
              <p:cNvSpPr/>
              <p:nvPr/>
            </p:nvSpPr>
            <p:spPr bwMode="auto">
              <a:xfrm>
                <a:off x="4674477" y="1647265"/>
                <a:ext cx="59346" cy="45544"/>
              </a:xfrm>
              <a:custGeom>
                <a:avLst/>
                <a:gdLst>
                  <a:gd name="T0" fmla="*/ 43 w 43"/>
                  <a:gd name="T1" fmla="*/ 0 h 33"/>
                  <a:gd name="T2" fmla="*/ 37 w 43"/>
                  <a:gd name="T3" fmla="*/ 0 h 33"/>
                  <a:gd name="T4" fmla="*/ 37 w 43"/>
                  <a:gd name="T5" fmla="*/ 2 h 33"/>
                  <a:gd name="T6" fmla="*/ 0 w 43"/>
                  <a:gd name="T7" fmla="*/ 2 h 33"/>
                  <a:gd name="T8" fmla="*/ 4 w 43"/>
                  <a:gd name="T9" fmla="*/ 33 h 33"/>
                  <a:gd name="T10" fmla="*/ 43 w 43"/>
                  <a:gd name="T11" fmla="*/ 33 h 33"/>
                  <a:gd name="T12" fmla="*/ 43 w 43"/>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43" h="33">
                    <a:moveTo>
                      <a:pt x="43" y="0"/>
                    </a:moveTo>
                    <a:lnTo>
                      <a:pt x="37" y="0"/>
                    </a:lnTo>
                    <a:lnTo>
                      <a:pt x="37" y="2"/>
                    </a:lnTo>
                    <a:lnTo>
                      <a:pt x="0" y="2"/>
                    </a:lnTo>
                    <a:lnTo>
                      <a:pt x="4" y="33"/>
                    </a:lnTo>
                    <a:lnTo>
                      <a:pt x="43" y="33"/>
                    </a:lnTo>
                    <a:lnTo>
                      <a:pt x="43" y="0"/>
                    </a:lnTo>
                    <a:close/>
                  </a:path>
                </a:pathLst>
              </a:custGeom>
              <a:solidFill>
                <a:srgbClr val="0031A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7" name="íṩliḑè">
                <a:extLst>
                  <a:ext uri="{FF2B5EF4-FFF2-40B4-BE49-F238E27FC236}">
                    <a16:creationId xmlns:a16="http://schemas.microsoft.com/office/drawing/2014/main" id="{A4F63DAB-9088-D74C-A4EE-3F6CE582BD08}"/>
                  </a:ext>
                </a:extLst>
              </p:cNvPr>
              <p:cNvSpPr/>
              <p:nvPr/>
            </p:nvSpPr>
            <p:spPr bwMode="auto">
              <a:xfrm>
                <a:off x="4674477" y="1647265"/>
                <a:ext cx="59346" cy="45544"/>
              </a:xfrm>
              <a:custGeom>
                <a:avLst/>
                <a:gdLst>
                  <a:gd name="T0" fmla="*/ 43 w 43"/>
                  <a:gd name="T1" fmla="*/ 0 h 33"/>
                  <a:gd name="T2" fmla="*/ 37 w 43"/>
                  <a:gd name="T3" fmla="*/ 0 h 33"/>
                  <a:gd name="T4" fmla="*/ 37 w 43"/>
                  <a:gd name="T5" fmla="*/ 2 h 33"/>
                  <a:gd name="T6" fmla="*/ 0 w 43"/>
                  <a:gd name="T7" fmla="*/ 2 h 33"/>
                  <a:gd name="T8" fmla="*/ 4 w 43"/>
                  <a:gd name="T9" fmla="*/ 33 h 33"/>
                  <a:gd name="T10" fmla="*/ 43 w 43"/>
                  <a:gd name="T11" fmla="*/ 33 h 33"/>
                  <a:gd name="T12" fmla="*/ 43 w 43"/>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43" h="33">
                    <a:moveTo>
                      <a:pt x="43" y="0"/>
                    </a:moveTo>
                    <a:lnTo>
                      <a:pt x="37" y="0"/>
                    </a:lnTo>
                    <a:lnTo>
                      <a:pt x="37" y="2"/>
                    </a:lnTo>
                    <a:lnTo>
                      <a:pt x="0" y="2"/>
                    </a:lnTo>
                    <a:lnTo>
                      <a:pt x="4" y="33"/>
                    </a:lnTo>
                    <a:lnTo>
                      <a:pt x="43" y="33"/>
                    </a:lnTo>
                    <a:lnTo>
                      <a:pt x="4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8" name="îṡ1ïḋe">
                <a:extLst>
                  <a:ext uri="{FF2B5EF4-FFF2-40B4-BE49-F238E27FC236}">
                    <a16:creationId xmlns:a16="http://schemas.microsoft.com/office/drawing/2014/main" id="{A0185BCA-50C3-EE42-BB57-77E8495C62CA}"/>
                  </a:ext>
                </a:extLst>
              </p:cNvPr>
              <p:cNvSpPr/>
              <p:nvPr/>
            </p:nvSpPr>
            <p:spPr bwMode="auto">
              <a:xfrm>
                <a:off x="4651015" y="1495452"/>
                <a:ext cx="74526" cy="154573"/>
              </a:xfrm>
              <a:custGeom>
                <a:avLst/>
                <a:gdLst>
                  <a:gd name="T0" fmla="*/ 25 w 54"/>
                  <a:gd name="T1" fmla="*/ 0 h 112"/>
                  <a:gd name="T2" fmla="*/ 0 w 54"/>
                  <a:gd name="T3" fmla="*/ 0 h 112"/>
                  <a:gd name="T4" fmla="*/ 17 w 54"/>
                  <a:gd name="T5" fmla="*/ 112 h 112"/>
                  <a:gd name="T6" fmla="*/ 54 w 54"/>
                  <a:gd name="T7" fmla="*/ 112 h 112"/>
                  <a:gd name="T8" fmla="*/ 54 w 54"/>
                  <a:gd name="T9" fmla="*/ 110 h 112"/>
                  <a:gd name="T10" fmla="*/ 54 w 54"/>
                  <a:gd name="T11" fmla="*/ 110 h 112"/>
                  <a:gd name="T12" fmla="*/ 25 w 54"/>
                  <a:gd name="T13" fmla="*/ 0 h 112"/>
                </a:gdLst>
                <a:ahLst/>
                <a:cxnLst>
                  <a:cxn ang="0">
                    <a:pos x="T0" y="T1"/>
                  </a:cxn>
                  <a:cxn ang="0">
                    <a:pos x="T2" y="T3"/>
                  </a:cxn>
                  <a:cxn ang="0">
                    <a:pos x="T4" y="T5"/>
                  </a:cxn>
                  <a:cxn ang="0">
                    <a:pos x="T6" y="T7"/>
                  </a:cxn>
                  <a:cxn ang="0">
                    <a:pos x="T8" y="T9"/>
                  </a:cxn>
                  <a:cxn ang="0">
                    <a:pos x="T10" y="T11"/>
                  </a:cxn>
                  <a:cxn ang="0">
                    <a:pos x="T12" y="T13"/>
                  </a:cxn>
                </a:cxnLst>
                <a:rect l="0" t="0" r="r" b="b"/>
                <a:pathLst>
                  <a:path w="54" h="112">
                    <a:moveTo>
                      <a:pt x="25" y="0"/>
                    </a:moveTo>
                    <a:lnTo>
                      <a:pt x="0" y="0"/>
                    </a:lnTo>
                    <a:lnTo>
                      <a:pt x="17" y="112"/>
                    </a:lnTo>
                    <a:lnTo>
                      <a:pt x="54" y="112"/>
                    </a:lnTo>
                    <a:lnTo>
                      <a:pt x="54" y="110"/>
                    </a:lnTo>
                    <a:lnTo>
                      <a:pt x="54" y="110"/>
                    </a:lnTo>
                    <a:lnTo>
                      <a:pt x="25" y="0"/>
                    </a:lnTo>
                    <a:close/>
                  </a:path>
                </a:pathLst>
              </a:custGeom>
              <a:solidFill>
                <a:srgbClr val="0031A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9" name="îṥḻîḓê">
                <a:extLst>
                  <a:ext uri="{FF2B5EF4-FFF2-40B4-BE49-F238E27FC236}">
                    <a16:creationId xmlns:a16="http://schemas.microsoft.com/office/drawing/2014/main" id="{17A00BF1-E310-4B4B-AA32-F311644BDCD7}"/>
                  </a:ext>
                </a:extLst>
              </p:cNvPr>
              <p:cNvSpPr/>
              <p:nvPr/>
            </p:nvSpPr>
            <p:spPr bwMode="auto">
              <a:xfrm>
                <a:off x="4651015" y="1495452"/>
                <a:ext cx="74526" cy="154573"/>
              </a:xfrm>
              <a:custGeom>
                <a:avLst/>
                <a:gdLst>
                  <a:gd name="T0" fmla="*/ 25 w 54"/>
                  <a:gd name="T1" fmla="*/ 0 h 112"/>
                  <a:gd name="T2" fmla="*/ 0 w 54"/>
                  <a:gd name="T3" fmla="*/ 0 h 112"/>
                  <a:gd name="T4" fmla="*/ 17 w 54"/>
                  <a:gd name="T5" fmla="*/ 112 h 112"/>
                  <a:gd name="T6" fmla="*/ 54 w 54"/>
                  <a:gd name="T7" fmla="*/ 112 h 112"/>
                  <a:gd name="T8" fmla="*/ 54 w 54"/>
                  <a:gd name="T9" fmla="*/ 110 h 112"/>
                  <a:gd name="T10" fmla="*/ 54 w 54"/>
                  <a:gd name="T11" fmla="*/ 110 h 112"/>
                  <a:gd name="T12" fmla="*/ 25 w 54"/>
                  <a:gd name="T13" fmla="*/ 0 h 112"/>
                </a:gdLst>
                <a:ahLst/>
                <a:cxnLst>
                  <a:cxn ang="0">
                    <a:pos x="T0" y="T1"/>
                  </a:cxn>
                  <a:cxn ang="0">
                    <a:pos x="T2" y="T3"/>
                  </a:cxn>
                  <a:cxn ang="0">
                    <a:pos x="T4" y="T5"/>
                  </a:cxn>
                  <a:cxn ang="0">
                    <a:pos x="T6" y="T7"/>
                  </a:cxn>
                  <a:cxn ang="0">
                    <a:pos x="T8" y="T9"/>
                  </a:cxn>
                  <a:cxn ang="0">
                    <a:pos x="T10" y="T11"/>
                  </a:cxn>
                  <a:cxn ang="0">
                    <a:pos x="T12" y="T13"/>
                  </a:cxn>
                </a:cxnLst>
                <a:rect l="0" t="0" r="r" b="b"/>
                <a:pathLst>
                  <a:path w="54" h="112">
                    <a:moveTo>
                      <a:pt x="25" y="0"/>
                    </a:moveTo>
                    <a:lnTo>
                      <a:pt x="0" y="0"/>
                    </a:lnTo>
                    <a:lnTo>
                      <a:pt x="17" y="112"/>
                    </a:lnTo>
                    <a:lnTo>
                      <a:pt x="54" y="112"/>
                    </a:lnTo>
                    <a:lnTo>
                      <a:pt x="54" y="110"/>
                    </a:lnTo>
                    <a:lnTo>
                      <a:pt x="54" y="110"/>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0" name="iṩḷïdê">
                <a:extLst>
                  <a:ext uri="{FF2B5EF4-FFF2-40B4-BE49-F238E27FC236}">
                    <a16:creationId xmlns:a16="http://schemas.microsoft.com/office/drawing/2014/main" id="{DA7238F9-83ED-8B4F-B92A-FB60CA08AE33}"/>
                  </a:ext>
                </a:extLst>
              </p:cNvPr>
              <p:cNvSpPr/>
              <p:nvPr/>
            </p:nvSpPr>
            <p:spPr bwMode="auto">
              <a:xfrm>
                <a:off x="4530944" y="1114539"/>
                <a:ext cx="258083" cy="329849"/>
              </a:xfrm>
              <a:custGeom>
                <a:avLst/>
                <a:gdLst>
                  <a:gd name="T0" fmla="*/ 45 w 90"/>
                  <a:gd name="T1" fmla="*/ 0 h 115"/>
                  <a:gd name="T2" fmla="*/ 0 w 90"/>
                  <a:gd name="T3" fmla="*/ 75 h 115"/>
                  <a:gd name="T4" fmla="*/ 25 w 90"/>
                  <a:gd name="T5" fmla="*/ 115 h 115"/>
                  <a:gd name="T6" fmla="*/ 21 w 90"/>
                  <a:gd name="T7" fmla="*/ 102 h 115"/>
                  <a:gd name="T8" fmla="*/ 45 w 90"/>
                  <a:gd name="T9" fmla="*/ 61 h 115"/>
                  <a:gd name="T10" fmla="*/ 69 w 90"/>
                  <a:gd name="T11" fmla="*/ 102 h 115"/>
                  <a:gd name="T12" fmla="*/ 66 w 90"/>
                  <a:gd name="T13" fmla="*/ 115 h 115"/>
                  <a:gd name="T14" fmla="*/ 90 w 90"/>
                  <a:gd name="T15" fmla="*/ 75 h 115"/>
                  <a:gd name="T16" fmla="*/ 45 w 90"/>
                  <a:gd name="T17"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15">
                    <a:moveTo>
                      <a:pt x="45" y="0"/>
                    </a:moveTo>
                    <a:cubicBezTo>
                      <a:pt x="45" y="0"/>
                      <a:pt x="0" y="50"/>
                      <a:pt x="0" y="75"/>
                    </a:cubicBezTo>
                    <a:cubicBezTo>
                      <a:pt x="0" y="92"/>
                      <a:pt x="10" y="107"/>
                      <a:pt x="25" y="115"/>
                    </a:cubicBezTo>
                    <a:cubicBezTo>
                      <a:pt x="22" y="111"/>
                      <a:pt x="21" y="107"/>
                      <a:pt x="21" y="102"/>
                    </a:cubicBezTo>
                    <a:cubicBezTo>
                      <a:pt x="21" y="89"/>
                      <a:pt x="45" y="61"/>
                      <a:pt x="45" y="61"/>
                    </a:cubicBezTo>
                    <a:cubicBezTo>
                      <a:pt x="45" y="61"/>
                      <a:pt x="69" y="89"/>
                      <a:pt x="69" y="102"/>
                    </a:cubicBezTo>
                    <a:cubicBezTo>
                      <a:pt x="69" y="107"/>
                      <a:pt x="68" y="111"/>
                      <a:pt x="66" y="115"/>
                    </a:cubicBezTo>
                    <a:cubicBezTo>
                      <a:pt x="80" y="107"/>
                      <a:pt x="90" y="92"/>
                      <a:pt x="90" y="75"/>
                    </a:cubicBezTo>
                    <a:cubicBezTo>
                      <a:pt x="90" y="50"/>
                      <a:pt x="45" y="0"/>
                      <a:pt x="45" y="0"/>
                    </a:cubicBezTo>
                    <a:close/>
                  </a:path>
                </a:pathLst>
              </a:custGeom>
              <a:solidFill>
                <a:srgbClr val="FF70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1" name="iṧlíḍe">
                <a:extLst>
                  <a:ext uri="{FF2B5EF4-FFF2-40B4-BE49-F238E27FC236}">
                    <a16:creationId xmlns:a16="http://schemas.microsoft.com/office/drawing/2014/main" id="{BBA3D490-95C0-5A4E-8E80-AD195097DFA5}"/>
                  </a:ext>
                </a:extLst>
              </p:cNvPr>
              <p:cNvSpPr/>
              <p:nvPr/>
            </p:nvSpPr>
            <p:spPr bwMode="auto">
              <a:xfrm>
                <a:off x="4922898" y="2667175"/>
                <a:ext cx="241521" cy="258083"/>
              </a:xfrm>
              <a:prstGeom prst="rect">
                <a:avLst/>
              </a:prstGeom>
              <a:solidFill>
                <a:srgbClr val="597FD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862" name="iSļiďê">
                <a:extLst>
                  <a:ext uri="{FF2B5EF4-FFF2-40B4-BE49-F238E27FC236}">
                    <a16:creationId xmlns:a16="http://schemas.microsoft.com/office/drawing/2014/main" id="{3C69CD6D-B5B3-9841-BB06-540D60D2D78C}"/>
                  </a:ext>
                </a:extLst>
              </p:cNvPr>
              <p:cNvSpPr/>
              <p:nvPr/>
            </p:nvSpPr>
            <p:spPr bwMode="auto">
              <a:xfrm>
                <a:off x="4922898" y="2667175"/>
                <a:ext cx="241521" cy="258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863" name="iSļiḍè">
                <a:extLst>
                  <a:ext uri="{FF2B5EF4-FFF2-40B4-BE49-F238E27FC236}">
                    <a16:creationId xmlns:a16="http://schemas.microsoft.com/office/drawing/2014/main" id="{BED9BC94-E1CB-BC45-86F0-E9667C5E4F7E}"/>
                  </a:ext>
                </a:extLst>
              </p:cNvPr>
              <p:cNvSpPr/>
              <p:nvPr/>
            </p:nvSpPr>
            <p:spPr bwMode="auto">
              <a:xfrm>
                <a:off x="5164420" y="2680976"/>
                <a:ext cx="0" cy="55205"/>
              </a:xfrm>
              <a:custGeom>
                <a:avLst/>
                <a:gdLst>
                  <a:gd name="T0" fmla="*/ 0 h 19"/>
                  <a:gd name="T1" fmla="*/ 0 h 19"/>
                  <a:gd name="T2" fmla="*/ 19 h 19"/>
                  <a:gd name="T3" fmla="*/ 19 h 19"/>
                  <a:gd name="T4" fmla="*/ 0 h 19"/>
                </a:gdLst>
                <a:ahLst/>
                <a:cxnLst>
                  <a:cxn ang="0">
                    <a:pos x="0" y="T0"/>
                  </a:cxn>
                  <a:cxn ang="0">
                    <a:pos x="0" y="T1"/>
                  </a:cxn>
                  <a:cxn ang="0">
                    <a:pos x="0" y="T2"/>
                  </a:cxn>
                  <a:cxn ang="0">
                    <a:pos x="0" y="T3"/>
                  </a:cxn>
                  <a:cxn ang="0">
                    <a:pos x="0" y="T4"/>
                  </a:cxn>
                </a:cxnLst>
                <a:rect l="0" t="0" r="r" b="b"/>
                <a:pathLst>
                  <a:path h="19">
                    <a:moveTo>
                      <a:pt x="0" y="0"/>
                    </a:moveTo>
                    <a:cubicBezTo>
                      <a:pt x="0" y="0"/>
                      <a:pt x="0" y="0"/>
                      <a:pt x="0" y="0"/>
                    </a:cubicBezTo>
                    <a:cubicBezTo>
                      <a:pt x="0" y="19"/>
                      <a:pt x="0" y="19"/>
                      <a:pt x="0" y="19"/>
                    </a:cubicBezTo>
                    <a:cubicBezTo>
                      <a:pt x="0" y="19"/>
                      <a:pt x="0" y="19"/>
                      <a:pt x="0" y="19"/>
                    </a:cubicBezTo>
                    <a:cubicBezTo>
                      <a:pt x="0" y="0"/>
                      <a:pt x="0" y="0"/>
                      <a:pt x="0" y="0"/>
                    </a:cubicBezTo>
                  </a:path>
                </a:pathLst>
              </a:custGeom>
              <a:solidFill>
                <a:srgbClr val="0031A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4" name="iṥḷïḑê">
                <a:extLst>
                  <a:ext uri="{FF2B5EF4-FFF2-40B4-BE49-F238E27FC236}">
                    <a16:creationId xmlns:a16="http://schemas.microsoft.com/office/drawing/2014/main" id="{D8A73DCF-AC7E-1244-ACB8-E0F616E54161}"/>
                  </a:ext>
                </a:extLst>
              </p:cNvPr>
              <p:cNvSpPr/>
              <p:nvPr/>
            </p:nvSpPr>
            <p:spPr bwMode="auto">
              <a:xfrm>
                <a:off x="5164420" y="2736181"/>
                <a:ext cx="0" cy="189077"/>
              </a:xfrm>
              <a:custGeom>
                <a:avLst/>
                <a:gdLst>
                  <a:gd name="T0" fmla="*/ 0 h 66"/>
                  <a:gd name="T1" fmla="*/ 0 h 66"/>
                  <a:gd name="T2" fmla="*/ 66 h 66"/>
                  <a:gd name="T3" fmla="*/ 66 h 66"/>
                  <a:gd name="T4" fmla="*/ 0 h 66"/>
                </a:gdLst>
                <a:ahLst/>
                <a:cxnLst>
                  <a:cxn ang="0">
                    <a:pos x="0" y="T0"/>
                  </a:cxn>
                  <a:cxn ang="0">
                    <a:pos x="0" y="T1"/>
                  </a:cxn>
                  <a:cxn ang="0">
                    <a:pos x="0" y="T2"/>
                  </a:cxn>
                  <a:cxn ang="0">
                    <a:pos x="0" y="T3"/>
                  </a:cxn>
                  <a:cxn ang="0">
                    <a:pos x="0" y="T4"/>
                  </a:cxn>
                </a:cxnLst>
                <a:rect l="0" t="0" r="r" b="b"/>
                <a:pathLst>
                  <a:path h="66">
                    <a:moveTo>
                      <a:pt x="0" y="0"/>
                    </a:moveTo>
                    <a:cubicBezTo>
                      <a:pt x="0" y="0"/>
                      <a:pt x="0" y="0"/>
                      <a:pt x="0" y="0"/>
                    </a:cubicBezTo>
                    <a:cubicBezTo>
                      <a:pt x="0" y="66"/>
                      <a:pt x="0" y="66"/>
                      <a:pt x="0" y="66"/>
                    </a:cubicBezTo>
                    <a:cubicBezTo>
                      <a:pt x="0" y="66"/>
                      <a:pt x="0" y="66"/>
                      <a:pt x="0" y="66"/>
                    </a:cubicBezTo>
                    <a:cubicBezTo>
                      <a:pt x="0" y="0"/>
                      <a:pt x="0" y="0"/>
                      <a:pt x="0" y="0"/>
                    </a:cubicBezTo>
                  </a:path>
                </a:pathLst>
              </a:custGeom>
              <a:solidFill>
                <a:srgbClr val="0031A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5" name="iSḷíḑè">
                <a:extLst>
                  <a:ext uri="{FF2B5EF4-FFF2-40B4-BE49-F238E27FC236}">
                    <a16:creationId xmlns:a16="http://schemas.microsoft.com/office/drawing/2014/main" id="{26E54F63-C556-2347-A354-4488F23D24B4}"/>
                  </a:ext>
                </a:extLst>
              </p:cNvPr>
              <p:cNvSpPr/>
              <p:nvPr/>
            </p:nvSpPr>
            <p:spPr bwMode="auto">
              <a:xfrm>
                <a:off x="5026408" y="2680976"/>
                <a:ext cx="138012" cy="244282"/>
              </a:xfrm>
              <a:custGeom>
                <a:avLst/>
                <a:gdLst>
                  <a:gd name="T0" fmla="*/ 100 w 100"/>
                  <a:gd name="T1" fmla="*/ 0 h 177"/>
                  <a:gd name="T2" fmla="*/ 0 w 100"/>
                  <a:gd name="T3" fmla="*/ 0 h 177"/>
                  <a:gd name="T4" fmla="*/ 0 w 100"/>
                  <a:gd name="T5" fmla="*/ 177 h 177"/>
                  <a:gd name="T6" fmla="*/ 100 w 100"/>
                  <a:gd name="T7" fmla="*/ 177 h 177"/>
                  <a:gd name="T8" fmla="*/ 100 w 100"/>
                  <a:gd name="T9" fmla="*/ 40 h 177"/>
                  <a:gd name="T10" fmla="*/ 100 w 100"/>
                  <a:gd name="T11" fmla="*/ 0 h 177"/>
                </a:gdLst>
                <a:ahLst/>
                <a:cxnLst>
                  <a:cxn ang="0">
                    <a:pos x="T0" y="T1"/>
                  </a:cxn>
                  <a:cxn ang="0">
                    <a:pos x="T2" y="T3"/>
                  </a:cxn>
                  <a:cxn ang="0">
                    <a:pos x="T4" y="T5"/>
                  </a:cxn>
                  <a:cxn ang="0">
                    <a:pos x="T6" y="T7"/>
                  </a:cxn>
                  <a:cxn ang="0">
                    <a:pos x="T8" y="T9"/>
                  </a:cxn>
                  <a:cxn ang="0">
                    <a:pos x="T10" y="T11"/>
                  </a:cxn>
                </a:cxnLst>
                <a:rect l="0" t="0" r="r" b="b"/>
                <a:pathLst>
                  <a:path w="100" h="177">
                    <a:moveTo>
                      <a:pt x="100" y="0"/>
                    </a:moveTo>
                    <a:lnTo>
                      <a:pt x="0" y="0"/>
                    </a:lnTo>
                    <a:lnTo>
                      <a:pt x="0" y="177"/>
                    </a:lnTo>
                    <a:lnTo>
                      <a:pt x="100" y="177"/>
                    </a:lnTo>
                    <a:lnTo>
                      <a:pt x="100" y="40"/>
                    </a:lnTo>
                    <a:lnTo>
                      <a:pt x="100" y="0"/>
                    </a:lnTo>
                    <a:close/>
                  </a:path>
                </a:pathLst>
              </a:custGeom>
              <a:solidFill>
                <a:srgbClr val="4C6CB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6" name="ïṥlídê">
                <a:extLst>
                  <a:ext uri="{FF2B5EF4-FFF2-40B4-BE49-F238E27FC236}">
                    <a16:creationId xmlns:a16="http://schemas.microsoft.com/office/drawing/2014/main" id="{61F5E020-3D94-9940-9AF3-A98396BDD18C}"/>
                  </a:ext>
                </a:extLst>
              </p:cNvPr>
              <p:cNvSpPr/>
              <p:nvPr/>
            </p:nvSpPr>
            <p:spPr bwMode="auto">
              <a:xfrm>
                <a:off x="5026408" y="2680976"/>
                <a:ext cx="138012" cy="244282"/>
              </a:xfrm>
              <a:custGeom>
                <a:avLst/>
                <a:gdLst>
                  <a:gd name="T0" fmla="*/ 100 w 100"/>
                  <a:gd name="T1" fmla="*/ 0 h 177"/>
                  <a:gd name="T2" fmla="*/ 0 w 100"/>
                  <a:gd name="T3" fmla="*/ 0 h 177"/>
                  <a:gd name="T4" fmla="*/ 0 w 100"/>
                  <a:gd name="T5" fmla="*/ 177 h 177"/>
                  <a:gd name="T6" fmla="*/ 100 w 100"/>
                  <a:gd name="T7" fmla="*/ 177 h 177"/>
                  <a:gd name="T8" fmla="*/ 100 w 100"/>
                  <a:gd name="T9" fmla="*/ 40 h 177"/>
                  <a:gd name="T10" fmla="*/ 100 w 100"/>
                  <a:gd name="T11" fmla="*/ 0 h 177"/>
                </a:gdLst>
                <a:ahLst/>
                <a:cxnLst>
                  <a:cxn ang="0">
                    <a:pos x="T0" y="T1"/>
                  </a:cxn>
                  <a:cxn ang="0">
                    <a:pos x="T2" y="T3"/>
                  </a:cxn>
                  <a:cxn ang="0">
                    <a:pos x="T4" y="T5"/>
                  </a:cxn>
                  <a:cxn ang="0">
                    <a:pos x="T6" y="T7"/>
                  </a:cxn>
                  <a:cxn ang="0">
                    <a:pos x="T8" y="T9"/>
                  </a:cxn>
                  <a:cxn ang="0">
                    <a:pos x="T10" y="T11"/>
                  </a:cxn>
                </a:cxnLst>
                <a:rect l="0" t="0" r="r" b="b"/>
                <a:pathLst>
                  <a:path w="100" h="177">
                    <a:moveTo>
                      <a:pt x="100" y="0"/>
                    </a:moveTo>
                    <a:lnTo>
                      <a:pt x="0" y="0"/>
                    </a:lnTo>
                    <a:lnTo>
                      <a:pt x="0" y="177"/>
                    </a:lnTo>
                    <a:lnTo>
                      <a:pt x="100" y="177"/>
                    </a:lnTo>
                    <a:lnTo>
                      <a:pt x="100" y="40"/>
                    </a:lnTo>
                    <a:lnTo>
                      <a:pt x="10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7" name="íṩḻiďe">
                <a:extLst>
                  <a:ext uri="{FF2B5EF4-FFF2-40B4-BE49-F238E27FC236}">
                    <a16:creationId xmlns:a16="http://schemas.microsoft.com/office/drawing/2014/main" id="{C0A60215-CDFD-6A4F-B604-E8806DDF2206}"/>
                  </a:ext>
                </a:extLst>
              </p:cNvPr>
              <p:cNvSpPr/>
              <p:nvPr/>
            </p:nvSpPr>
            <p:spPr bwMode="auto">
              <a:xfrm>
                <a:off x="4257680" y="3101912"/>
                <a:ext cx="204258" cy="716283"/>
              </a:xfrm>
              <a:prstGeom prst="rect">
                <a:avLst/>
              </a:prstGeom>
              <a:solidFill>
                <a:srgbClr val="0D43C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868" name="íṩļiḑé">
                <a:extLst>
                  <a:ext uri="{FF2B5EF4-FFF2-40B4-BE49-F238E27FC236}">
                    <a16:creationId xmlns:a16="http://schemas.microsoft.com/office/drawing/2014/main" id="{9747DAD9-C5DB-E440-B246-0387E1D369BD}"/>
                  </a:ext>
                </a:extLst>
              </p:cNvPr>
              <p:cNvSpPr/>
              <p:nvPr/>
            </p:nvSpPr>
            <p:spPr bwMode="auto">
              <a:xfrm>
                <a:off x="4257680" y="3101912"/>
                <a:ext cx="204258" cy="716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869" name="iS1íḓé">
                <a:extLst>
                  <a:ext uri="{FF2B5EF4-FFF2-40B4-BE49-F238E27FC236}">
                    <a16:creationId xmlns:a16="http://schemas.microsoft.com/office/drawing/2014/main" id="{7A1FF045-E5DB-8B4B-BA6C-C463F6FE372F}"/>
                  </a:ext>
                </a:extLst>
              </p:cNvPr>
              <p:cNvSpPr/>
              <p:nvPr/>
            </p:nvSpPr>
            <p:spPr bwMode="auto">
              <a:xfrm>
                <a:off x="4281143" y="3322731"/>
                <a:ext cx="100749" cy="66246"/>
              </a:xfrm>
              <a:custGeom>
                <a:avLst/>
                <a:gdLst>
                  <a:gd name="T0" fmla="*/ 0 w 73"/>
                  <a:gd name="T1" fmla="*/ 0 h 48"/>
                  <a:gd name="T2" fmla="*/ 0 w 73"/>
                  <a:gd name="T3" fmla="*/ 0 h 48"/>
                  <a:gd name="T4" fmla="*/ 0 w 73"/>
                  <a:gd name="T5" fmla="*/ 8 h 48"/>
                  <a:gd name="T6" fmla="*/ 0 w 73"/>
                  <a:gd name="T7" fmla="*/ 8 h 48"/>
                  <a:gd name="T8" fmla="*/ 0 w 73"/>
                  <a:gd name="T9" fmla="*/ 0 h 48"/>
                  <a:gd name="T10" fmla="*/ 73 w 73"/>
                  <a:gd name="T11" fmla="*/ 0 h 48"/>
                  <a:gd name="T12" fmla="*/ 27 w 73"/>
                  <a:gd name="T13" fmla="*/ 0 h 48"/>
                  <a:gd name="T14" fmla="*/ 27 w 73"/>
                  <a:gd name="T15" fmla="*/ 23 h 48"/>
                  <a:gd name="T16" fmla="*/ 73 w 73"/>
                  <a:gd name="T17" fmla="*/ 48 h 48"/>
                  <a:gd name="T18" fmla="*/ 73 w 73"/>
                  <a:gd name="T1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48">
                    <a:moveTo>
                      <a:pt x="0" y="0"/>
                    </a:moveTo>
                    <a:lnTo>
                      <a:pt x="0" y="0"/>
                    </a:lnTo>
                    <a:lnTo>
                      <a:pt x="0" y="8"/>
                    </a:lnTo>
                    <a:lnTo>
                      <a:pt x="0" y="8"/>
                    </a:lnTo>
                    <a:lnTo>
                      <a:pt x="0" y="0"/>
                    </a:lnTo>
                    <a:close/>
                    <a:moveTo>
                      <a:pt x="73" y="0"/>
                    </a:moveTo>
                    <a:lnTo>
                      <a:pt x="27" y="0"/>
                    </a:lnTo>
                    <a:lnTo>
                      <a:pt x="27" y="23"/>
                    </a:lnTo>
                    <a:lnTo>
                      <a:pt x="73" y="48"/>
                    </a:lnTo>
                    <a:lnTo>
                      <a:pt x="73" y="0"/>
                    </a:lnTo>
                    <a:close/>
                  </a:path>
                </a:pathLst>
              </a:custGeom>
              <a:solidFill>
                <a:srgbClr val="0B39A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0" name="íś1iḋè">
                <a:extLst>
                  <a:ext uri="{FF2B5EF4-FFF2-40B4-BE49-F238E27FC236}">
                    <a16:creationId xmlns:a16="http://schemas.microsoft.com/office/drawing/2014/main" id="{DE311000-27BB-7E49-8F25-1AA820D0E307}"/>
                  </a:ext>
                </a:extLst>
              </p:cNvPr>
              <p:cNvSpPr/>
              <p:nvPr/>
            </p:nvSpPr>
            <p:spPr bwMode="auto">
              <a:xfrm>
                <a:off x="4281143" y="3322731"/>
                <a:ext cx="100749" cy="66246"/>
              </a:xfrm>
              <a:custGeom>
                <a:avLst/>
                <a:gdLst>
                  <a:gd name="T0" fmla="*/ 0 w 73"/>
                  <a:gd name="T1" fmla="*/ 0 h 48"/>
                  <a:gd name="T2" fmla="*/ 0 w 73"/>
                  <a:gd name="T3" fmla="*/ 0 h 48"/>
                  <a:gd name="T4" fmla="*/ 0 w 73"/>
                  <a:gd name="T5" fmla="*/ 8 h 48"/>
                  <a:gd name="T6" fmla="*/ 0 w 73"/>
                  <a:gd name="T7" fmla="*/ 8 h 48"/>
                  <a:gd name="T8" fmla="*/ 0 w 73"/>
                  <a:gd name="T9" fmla="*/ 0 h 48"/>
                  <a:gd name="T10" fmla="*/ 73 w 73"/>
                  <a:gd name="T11" fmla="*/ 0 h 48"/>
                  <a:gd name="T12" fmla="*/ 27 w 73"/>
                  <a:gd name="T13" fmla="*/ 0 h 48"/>
                  <a:gd name="T14" fmla="*/ 27 w 73"/>
                  <a:gd name="T15" fmla="*/ 23 h 48"/>
                  <a:gd name="T16" fmla="*/ 73 w 73"/>
                  <a:gd name="T17" fmla="*/ 48 h 48"/>
                  <a:gd name="T18" fmla="*/ 73 w 73"/>
                  <a:gd name="T1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48">
                    <a:moveTo>
                      <a:pt x="0" y="0"/>
                    </a:moveTo>
                    <a:lnTo>
                      <a:pt x="0" y="0"/>
                    </a:lnTo>
                    <a:lnTo>
                      <a:pt x="0" y="8"/>
                    </a:lnTo>
                    <a:lnTo>
                      <a:pt x="0" y="8"/>
                    </a:lnTo>
                    <a:lnTo>
                      <a:pt x="0" y="0"/>
                    </a:lnTo>
                    <a:moveTo>
                      <a:pt x="73" y="0"/>
                    </a:moveTo>
                    <a:lnTo>
                      <a:pt x="27" y="0"/>
                    </a:lnTo>
                    <a:lnTo>
                      <a:pt x="27" y="23"/>
                    </a:lnTo>
                    <a:lnTo>
                      <a:pt x="73" y="48"/>
                    </a:lnTo>
                    <a:lnTo>
                      <a:pt x="7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1" name="iṣľidè">
                <a:extLst>
                  <a:ext uri="{FF2B5EF4-FFF2-40B4-BE49-F238E27FC236}">
                    <a16:creationId xmlns:a16="http://schemas.microsoft.com/office/drawing/2014/main" id="{86DD475F-127D-4D48-8EF9-F250EC8011C7}"/>
                  </a:ext>
                </a:extLst>
              </p:cNvPr>
              <p:cNvSpPr/>
              <p:nvPr/>
            </p:nvSpPr>
            <p:spPr bwMode="auto">
              <a:xfrm>
                <a:off x="4381891" y="3388977"/>
                <a:ext cx="80047" cy="429218"/>
              </a:xfrm>
              <a:custGeom>
                <a:avLst/>
                <a:gdLst>
                  <a:gd name="T0" fmla="*/ 0 w 58"/>
                  <a:gd name="T1" fmla="*/ 0 h 311"/>
                  <a:gd name="T2" fmla="*/ 0 w 58"/>
                  <a:gd name="T3" fmla="*/ 311 h 311"/>
                  <a:gd name="T4" fmla="*/ 58 w 58"/>
                  <a:gd name="T5" fmla="*/ 311 h 311"/>
                  <a:gd name="T6" fmla="*/ 58 w 58"/>
                  <a:gd name="T7" fmla="*/ 301 h 311"/>
                  <a:gd name="T8" fmla="*/ 58 w 58"/>
                  <a:gd name="T9" fmla="*/ 276 h 311"/>
                  <a:gd name="T10" fmla="*/ 58 w 58"/>
                  <a:gd name="T11" fmla="*/ 261 h 311"/>
                  <a:gd name="T12" fmla="*/ 58 w 58"/>
                  <a:gd name="T13" fmla="*/ 106 h 311"/>
                  <a:gd name="T14" fmla="*/ 58 w 58"/>
                  <a:gd name="T15" fmla="*/ 31 h 311"/>
                  <a:gd name="T16" fmla="*/ 0 w 58"/>
                  <a:gd name="T17"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311">
                    <a:moveTo>
                      <a:pt x="0" y="0"/>
                    </a:moveTo>
                    <a:lnTo>
                      <a:pt x="0" y="311"/>
                    </a:lnTo>
                    <a:lnTo>
                      <a:pt x="58" y="311"/>
                    </a:lnTo>
                    <a:lnTo>
                      <a:pt x="58" y="301"/>
                    </a:lnTo>
                    <a:lnTo>
                      <a:pt x="58" y="276"/>
                    </a:lnTo>
                    <a:lnTo>
                      <a:pt x="58" y="261"/>
                    </a:lnTo>
                    <a:lnTo>
                      <a:pt x="58" y="106"/>
                    </a:lnTo>
                    <a:lnTo>
                      <a:pt x="58" y="31"/>
                    </a:lnTo>
                    <a:lnTo>
                      <a:pt x="0" y="0"/>
                    </a:lnTo>
                    <a:close/>
                  </a:path>
                </a:pathLst>
              </a:custGeom>
              <a:solidFill>
                <a:srgbClr val="0B39A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2" name="íŝ1ïḓê">
                <a:extLst>
                  <a:ext uri="{FF2B5EF4-FFF2-40B4-BE49-F238E27FC236}">
                    <a16:creationId xmlns:a16="http://schemas.microsoft.com/office/drawing/2014/main" id="{735FB754-8107-2547-AED8-6ABF445B848D}"/>
                  </a:ext>
                </a:extLst>
              </p:cNvPr>
              <p:cNvSpPr/>
              <p:nvPr/>
            </p:nvSpPr>
            <p:spPr bwMode="auto">
              <a:xfrm>
                <a:off x="4381891" y="3388977"/>
                <a:ext cx="80047" cy="429218"/>
              </a:xfrm>
              <a:custGeom>
                <a:avLst/>
                <a:gdLst>
                  <a:gd name="T0" fmla="*/ 0 w 58"/>
                  <a:gd name="T1" fmla="*/ 0 h 311"/>
                  <a:gd name="T2" fmla="*/ 0 w 58"/>
                  <a:gd name="T3" fmla="*/ 311 h 311"/>
                  <a:gd name="T4" fmla="*/ 58 w 58"/>
                  <a:gd name="T5" fmla="*/ 311 h 311"/>
                  <a:gd name="T6" fmla="*/ 58 w 58"/>
                  <a:gd name="T7" fmla="*/ 301 h 311"/>
                  <a:gd name="T8" fmla="*/ 58 w 58"/>
                  <a:gd name="T9" fmla="*/ 276 h 311"/>
                  <a:gd name="T10" fmla="*/ 58 w 58"/>
                  <a:gd name="T11" fmla="*/ 261 h 311"/>
                  <a:gd name="T12" fmla="*/ 58 w 58"/>
                  <a:gd name="T13" fmla="*/ 106 h 311"/>
                  <a:gd name="T14" fmla="*/ 58 w 58"/>
                  <a:gd name="T15" fmla="*/ 31 h 311"/>
                  <a:gd name="T16" fmla="*/ 0 w 58"/>
                  <a:gd name="T17"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311">
                    <a:moveTo>
                      <a:pt x="0" y="0"/>
                    </a:moveTo>
                    <a:lnTo>
                      <a:pt x="0" y="311"/>
                    </a:lnTo>
                    <a:lnTo>
                      <a:pt x="58" y="311"/>
                    </a:lnTo>
                    <a:lnTo>
                      <a:pt x="58" y="301"/>
                    </a:lnTo>
                    <a:lnTo>
                      <a:pt x="58" y="276"/>
                    </a:lnTo>
                    <a:lnTo>
                      <a:pt x="58" y="261"/>
                    </a:lnTo>
                    <a:lnTo>
                      <a:pt x="58" y="106"/>
                    </a:lnTo>
                    <a:lnTo>
                      <a:pt x="58" y="3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3" name="íşḷîḋe">
                <a:extLst>
                  <a:ext uri="{FF2B5EF4-FFF2-40B4-BE49-F238E27FC236}">
                    <a16:creationId xmlns:a16="http://schemas.microsoft.com/office/drawing/2014/main" id="{4A521769-C019-FA4A-981C-E836F7C89E70}"/>
                  </a:ext>
                </a:extLst>
              </p:cNvPr>
              <p:cNvSpPr/>
              <p:nvPr/>
            </p:nvSpPr>
            <p:spPr bwMode="auto">
              <a:xfrm>
                <a:off x="4381891" y="3322731"/>
                <a:ext cx="80047" cy="109030"/>
              </a:xfrm>
              <a:custGeom>
                <a:avLst/>
                <a:gdLst>
                  <a:gd name="T0" fmla="*/ 58 w 58"/>
                  <a:gd name="T1" fmla="*/ 0 h 79"/>
                  <a:gd name="T2" fmla="*/ 0 w 58"/>
                  <a:gd name="T3" fmla="*/ 0 h 79"/>
                  <a:gd name="T4" fmla="*/ 0 w 58"/>
                  <a:gd name="T5" fmla="*/ 48 h 79"/>
                  <a:gd name="T6" fmla="*/ 58 w 58"/>
                  <a:gd name="T7" fmla="*/ 79 h 79"/>
                  <a:gd name="T8" fmla="*/ 58 w 58"/>
                  <a:gd name="T9" fmla="*/ 0 h 79"/>
                </a:gdLst>
                <a:ahLst/>
                <a:cxnLst>
                  <a:cxn ang="0">
                    <a:pos x="T0" y="T1"/>
                  </a:cxn>
                  <a:cxn ang="0">
                    <a:pos x="T2" y="T3"/>
                  </a:cxn>
                  <a:cxn ang="0">
                    <a:pos x="T4" y="T5"/>
                  </a:cxn>
                  <a:cxn ang="0">
                    <a:pos x="T6" y="T7"/>
                  </a:cxn>
                  <a:cxn ang="0">
                    <a:pos x="T8" y="T9"/>
                  </a:cxn>
                </a:cxnLst>
                <a:rect l="0" t="0" r="r" b="b"/>
                <a:pathLst>
                  <a:path w="58" h="79">
                    <a:moveTo>
                      <a:pt x="58" y="0"/>
                    </a:moveTo>
                    <a:lnTo>
                      <a:pt x="0" y="0"/>
                    </a:lnTo>
                    <a:lnTo>
                      <a:pt x="0" y="48"/>
                    </a:lnTo>
                    <a:lnTo>
                      <a:pt x="58" y="79"/>
                    </a:lnTo>
                    <a:lnTo>
                      <a:pt x="58" y="0"/>
                    </a:lnTo>
                    <a:close/>
                  </a:path>
                </a:pathLst>
              </a:custGeom>
              <a:solidFill>
                <a:srgbClr val="093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4" name="íşļiḋé">
                <a:extLst>
                  <a:ext uri="{FF2B5EF4-FFF2-40B4-BE49-F238E27FC236}">
                    <a16:creationId xmlns:a16="http://schemas.microsoft.com/office/drawing/2014/main" id="{E6482284-E167-B047-84A1-348B699CA01A}"/>
                  </a:ext>
                </a:extLst>
              </p:cNvPr>
              <p:cNvSpPr/>
              <p:nvPr/>
            </p:nvSpPr>
            <p:spPr bwMode="auto">
              <a:xfrm>
                <a:off x="4381891" y="3322731"/>
                <a:ext cx="80047" cy="109030"/>
              </a:xfrm>
              <a:custGeom>
                <a:avLst/>
                <a:gdLst>
                  <a:gd name="T0" fmla="*/ 58 w 58"/>
                  <a:gd name="T1" fmla="*/ 0 h 79"/>
                  <a:gd name="T2" fmla="*/ 0 w 58"/>
                  <a:gd name="T3" fmla="*/ 0 h 79"/>
                  <a:gd name="T4" fmla="*/ 0 w 58"/>
                  <a:gd name="T5" fmla="*/ 48 h 79"/>
                  <a:gd name="T6" fmla="*/ 58 w 58"/>
                  <a:gd name="T7" fmla="*/ 79 h 79"/>
                  <a:gd name="T8" fmla="*/ 58 w 58"/>
                  <a:gd name="T9" fmla="*/ 0 h 79"/>
                </a:gdLst>
                <a:ahLst/>
                <a:cxnLst>
                  <a:cxn ang="0">
                    <a:pos x="T0" y="T1"/>
                  </a:cxn>
                  <a:cxn ang="0">
                    <a:pos x="T2" y="T3"/>
                  </a:cxn>
                  <a:cxn ang="0">
                    <a:pos x="T4" y="T5"/>
                  </a:cxn>
                  <a:cxn ang="0">
                    <a:pos x="T6" y="T7"/>
                  </a:cxn>
                  <a:cxn ang="0">
                    <a:pos x="T8" y="T9"/>
                  </a:cxn>
                </a:cxnLst>
                <a:rect l="0" t="0" r="r" b="b"/>
                <a:pathLst>
                  <a:path w="58" h="79">
                    <a:moveTo>
                      <a:pt x="58" y="0"/>
                    </a:moveTo>
                    <a:lnTo>
                      <a:pt x="0" y="0"/>
                    </a:lnTo>
                    <a:lnTo>
                      <a:pt x="0" y="48"/>
                    </a:lnTo>
                    <a:lnTo>
                      <a:pt x="58" y="79"/>
                    </a:lnTo>
                    <a:lnTo>
                      <a:pt x="5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5" name="íṥḷîdê">
                <a:extLst>
                  <a:ext uri="{FF2B5EF4-FFF2-40B4-BE49-F238E27FC236}">
                    <a16:creationId xmlns:a16="http://schemas.microsoft.com/office/drawing/2014/main" id="{13F10ACD-D116-F541-91A6-F1347B35B8D4}"/>
                  </a:ext>
                </a:extLst>
              </p:cNvPr>
              <p:cNvSpPr/>
              <p:nvPr/>
            </p:nvSpPr>
            <p:spPr bwMode="auto">
              <a:xfrm>
                <a:off x="4281143" y="3333772"/>
                <a:ext cx="37264" cy="484423"/>
              </a:xfrm>
              <a:custGeom>
                <a:avLst/>
                <a:gdLst>
                  <a:gd name="T0" fmla="*/ 0 w 27"/>
                  <a:gd name="T1" fmla="*/ 0 h 351"/>
                  <a:gd name="T2" fmla="*/ 0 w 27"/>
                  <a:gd name="T3" fmla="*/ 351 h 351"/>
                  <a:gd name="T4" fmla="*/ 27 w 27"/>
                  <a:gd name="T5" fmla="*/ 351 h 351"/>
                  <a:gd name="T6" fmla="*/ 27 w 27"/>
                  <a:gd name="T7" fmla="*/ 15 h 351"/>
                  <a:gd name="T8" fmla="*/ 0 w 27"/>
                  <a:gd name="T9" fmla="*/ 0 h 351"/>
                </a:gdLst>
                <a:ahLst/>
                <a:cxnLst>
                  <a:cxn ang="0">
                    <a:pos x="T0" y="T1"/>
                  </a:cxn>
                  <a:cxn ang="0">
                    <a:pos x="T2" y="T3"/>
                  </a:cxn>
                  <a:cxn ang="0">
                    <a:pos x="T4" y="T5"/>
                  </a:cxn>
                  <a:cxn ang="0">
                    <a:pos x="T6" y="T7"/>
                  </a:cxn>
                  <a:cxn ang="0">
                    <a:pos x="T8" y="T9"/>
                  </a:cxn>
                </a:cxnLst>
                <a:rect l="0" t="0" r="r" b="b"/>
                <a:pathLst>
                  <a:path w="27" h="351">
                    <a:moveTo>
                      <a:pt x="0" y="0"/>
                    </a:moveTo>
                    <a:lnTo>
                      <a:pt x="0" y="351"/>
                    </a:lnTo>
                    <a:lnTo>
                      <a:pt x="27" y="351"/>
                    </a:lnTo>
                    <a:lnTo>
                      <a:pt x="27" y="15"/>
                    </a:lnTo>
                    <a:lnTo>
                      <a:pt x="0" y="0"/>
                    </a:lnTo>
                    <a:close/>
                  </a:path>
                </a:pathLst>
              </a:custGeom>
              <a:solidFill>
                <a:srgbClr val="0A329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6" name="îSlîďe">
                <a:extLst>
                  <a:ext uri="{FF2B5EF4-FFF2-40B4-BE49-F238E27FC236}">
                    <a16:creationId xmlns:a16="http://schemas.microsoft.com/office/drawing/2014/main" id="{6C277EF2-EB00-3F4F-A0DD-CE8F1A68799B}"/>
                  </a:ext>
                </a:extLst>
              </p:cNvPr>
              <p:cNvSpPr/>
              <p:nvPr/>
            </p:nvSpPr>
            <p:spPr bwMode="auto">
              <a:xfrm>
                <a:off x="4281143" y="3333772"/>
                <a:ext cx="37264" cy="484423"/>
              </a:xfrm>
              <a:custGeom>
                <a:avLst/>
                <a:gdLst>
                  <a:gd name="T0" fmla="*/ 0 w 27"/>
                  <a:gd name="T1" fmla="*/ 0 h 351"/>
                  <a:gd name="T2" fmla="*/ 0 w 27"/>
                  <a:gd name="T3" fmla="*/ 351 h 351"/>
                  <a:gd name="T4" fmla="*/ 27 w 27"/>
                  <a:gd name="T5" fmla="*/ 351 h 351"/>
                  <a:gd name="T6" fmla="*/ 27 w 27"/>
                  <a:gd name="T7" fmla="*/ 15 h 351"/>
                  <a:gd name="T8" fmla="*/ 0 w 27"/>
                  <a:gd name="T9" fmla="*/ 0 h 351"/>
                </a:gdLst>
                <a:ahLst/>
                <a:cxnLst>
                  <a:cxn ang="0">
                    <a:pos x="T0" y="T1"/>
                  </a:cxn>
                  <a:cxn ang="0">
                    <a:pos x="T2" y="T3"/>
                  </a:cxn>
                  <a:cxn ang="0">
                    <a:pos x="T4" y="T5"/>
                  </a:cxn>
                  <a:cxn ang="0">
                    <a:pos x="T6" y="T7"/>
                  </a:cxn>
                  <a:cxn ang="0">
                    <a:pos x="T8" y="T9"/>
                  </a:cxn>
                </a:cxnLst>
                <a:rect l="0" t="0" r="r" b="b"/>
                <a:pathLst>
                  <a:path w="27" h="351">
                    <a:moveTo>
                      <a:pt x="0" y="0"/>
                    </a:moveTo>
                    <a:lnTo>
                      <a:pt x="0" y="351"/>
                    </a:lnTo>
                    <a:lnTo>
                      <a:pt x="27" y="351"/>
                    </a:lnTo>
                    <a:lnTo>
                      <a:pt x="27" y="1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7" name="î$ľiḑê">
                <a:extLst>
                  <a:ext uri="{FF2B5EF4-FFF2-40B4-BE49-F238E27FC236}">
                    <a16:creationId xmlns:a16="http://schemas.microsoft.com/office/drawing/2014/main" id="{34849D5C-3BB9-614A-AB06-8BD395F6368D}"/>
                  </a:ext>
                </a:extLst>
              </p:cNvPr>
              <p:cNvSpPr/>
              <p:nvPr/>
            </p:nvSpPr>
            <p:spPr bwMode="auto">
              <a:xfrm>
                <a:off x="4281143" y="3322731"/>
                <a:ext cx="37264" cy="31743"/>
              </a:xfrm>
              <a:custGeom>
                <a:avLst/>
                <a:gdLst>
                  <a:gd name="T0" fmla="*/ 27 w 27"/>
                  <a:gd name="T1" fmla="*/ 0 h 23"/>
                  <a:gd name="T2" fmla="*/ 0 w 27"/>
                  <a:gd name="T3" fmla="*/ 0 h 23"/>
                  <a:gd name="T4" fmla="*/ 0 w 27"/>
                  <a:gd name="T5" fmla="*/ 8 h 23"/>
                  <a:gd name="T6" fmla="*/ 27 w 27"/>
                  <a:gd name="T7" fmla="*/ 23 h 23"/>
                  <a:gd name="T8" fmla="*/ 27 w 27"/>
                  <a:gd name="T9" fmla="*/ 0 h 23"/>
                </a:gdLst>
                <a:ahLst/>
                <a:cxnLst>
                  <a:cxn ang="0">
                    <a:pos x="T0" y="T1"/>
                  </a:cxn>
                  <a:cxn ang="0">
                    <a:pos x="T2" y="T3"/>
                  </a:cxn>
                  <a:cxn ang="0">
                    <a:pos x="T4" y="T5"/>
                  </a:cxn>
                  <a:cxn ang="0">
                    <a:pos x="T6" y="T7"/>
                  </a:cxn>
                  <a:cxn ang="0">
                    <a:pos x="T8" y="T9"/>
                  </a:cxn>
                </a:cxnLst>
                <a:rect l="0" t="0" r="r" b="b"/>
                <a:pathLst>
                  <a:path w="27" h="23">
                    <a:moveTo>
                      <a:pt x="27" y="0"/>
                    </a:moveTo>
                    <a:lnTo>
                      <a:pt x="0" y="0"/>
                    </a:lnTo>
                    <a:lnTo>
                      <a:pt x="0" y="8"/>
                    </a:lnTo>
                    <a:lnTo>
                      <a:pt x="27" y="23"/>
                    </a:lnTo>
                    <a:lnTo>
                      <a:pt x="27" y="0"/>
                    </a:lnTo>
                    <a:close/>
                  </a:path>
                </a:pathLst>
              </a:custGeom>
              <a:solidFill>
                <a:srgbClr val="082B7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8" name="îṡlidê">
                <a:extLst>
                  <a:ext uri="{FF2B5EF4-FFF2-40B4-BE49-F238E27FC236}">
                    <a16:creationId xmlns:a16="http://schemas.microsoft.com/office/drawing/2014/main" id="{1AD168FC-C5C4-5A4C-9C31-46860F1F66EB}"/>
                  </a:ext>
                </a:extLst>
              </p:cNvPr>
              <p:cNvSpPr/>
              <p:nvPr/>
            </p:nvSpPr>
            <p:spPr bwMode="auto">
              <a:xfrm>
                <a:off x="4281143" y="3322731"/>
                <a:ext cx="37264" cy="31743"/>
              </a:xfrm>
              <a:custGeom>
                <a:avLst/>
                <a:gdLst>
                  <a:gd name="T0" fmla="*/ 27 w 27"/>
                  <a:gd name="T1" fmla="*/ 0 h 23"/>
                  <a:gd name="T2" fmla="*/ 0 w 27"/>
                  <a:gd name="T3" fmla="*/ 0 h 23"/>
                  <a:gd name="T4" fmla="*/ 0 w 27"/>
                  <a:gd name="T5" fmla="*/ 8 h 23"/>
                  <a:gd name="T6" fmla="*/ 27 w 27"/>
                  <a:gd name="T7" fmla="*/ 23 h 23"/>
                  <a:gd name="T8" fmla="*/ 27 w 27"/>
                  <a:gd name="T9" fmla="*/ 0 h 23"/>
                </a:gdLst>
                <a:ahLst/>
                <a:cxnLst>
                  <a:cxn ang="0">
                    <a:pos x="T0" y="T1"/>
                  </a:cxn>
                  <a:cxn ang="0">
                    <a:pos x="T2" y="T3"/>
                  </a:cxn>
                  <a:cxn ang="0">
                    <a:pos x="T4" y="T5"/>
                  </a:cxn>
                  <a:cxn ang="0">
                    <a:pos x="T6" y="T7"/>
                  </a:cxn>
                  <a:cxn ang="0">
                    <a:pos x="T8" y="T9"/>
                  </a:cxn>
                </a:cxnLst>
                <a:rect l="0" t="0" r="r" b="b"/>
                <a:pathLst>
                  <a:path w="27" h="23">
                    <a:moveTo>
                      <a:pt x="27" y="0"/>
                    </a:moveTo>
                    <a:lnTo>
                      <a:pt x="0" y="0"/>
                    </a:lnTo>
                    <a:lnTo>
                      <a:pt x="0" y="8"/>
                    </a:lnTo>
                    <a:lnTo>
                      <a:pt x="27" y="23"/>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9" name="ïŝḻiďè">
                <a:extLst>
                  <a:ext uri="{FF2B5EF4-FFF2-40B4-BE49-F238E27FC236}">
                    <a16:creationId xmlns:a16="http://schemas.microsoft.com/office/drawing/2014/main" id="{D24271C5-B1C6-2741-AA07-E4377215F065}"/>
                  </a:ext>
                </a:extLst>
              </p:cNvPr>
              <p:cNvSpPr/>
              <p:nvPr/>
            </p:nvSpPr>
            <p:spPr bwMode="auto">
              <a:xfrm>
                <a:off x="5007086" y="3101912"/>
                <a:ext cx="202878" cy="716283"/>
              </a:xfrm>
              <a:prstGeom prst="rect">
                <a:avLst/>
              </a:prstGeom>
              <a:solidFill>
                <a:srgbClr val="0D43C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880" name="ïsľïḓè">
                <a:extLst>
                  <a:ext uri="{FF2B5EF4-FFF2-40B4-BE49-F238E27FC236}">
                    <a16:creationId xmlns:a16="http://schemas.microsoft.com/office/drawing/2014/main" id="{52F75641-2152-8C44-AA89-F720D1AF0B80}"/>
                  </a:ext>
                </a:extLst>
              </p:cNvPr>
              <p:cNvSpPr/>
              <p:nvPr/>
            </p:nvSpPr>
            <p:spPr bwMode="auto">
              <a:xfrm>
                <a:off x="5007086" y="3101912"/>
                <a:ext cx="202878" cy="716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881" name="îŝļidé">
                <a:extLst>
                  <a:ext uri="{FF2B5EF4-FFF2-40B4-BE49-F238E27FC236}">
                    <a16:creationId xmlns:a16="http://schemas.microsoft.com/office/drawing/2014/main" id="{090C4FC7-CE2E-D34A-872D-0F15392CB37C}"/>
                  </a:ext>
                </a:extLst>
              </p:cNvPr>
              <p:cNvSpPr/>
              <p:nvPr/>
            </p:nvSpPr>
            <p:spPr bwMode="auto">
              <a:xfrm>
                <a:off x="5095414" y="3322731"/>
                <a:ext cx="37264" cy="66246"/>
              </a:xfrm>
              <a:custGeom>
                <a:avLst/>
                <a:gdLst>
                  <a:gd name="T0" fmla="*/ 27 w 27"/>
                  <a:gd name="T1" fmla="*/ 0 h 48"/>
                  <a:gd name="T2" fmla="*/ 0 w 27"/>
                  <a:gd name="T3" fmla="*/ 0 h 48"/>
                  <a:gd name="T4" fmla="*/ 0 w 27"/>
                  <a:gd name="T5" fmla="*/ 33 h 48"/>
                  <a:gd name="T6" fmla="*/ 27 w 27"/>
                  <a:gd name="T7" fmla="*/ 48 h 48"/>
                  <a:gd name="T8" fmla="*/ 27 w 27"/>
                  <a:gd name="T9" fmla="*/ 0 h 48"/>
                </a:gdLst>
                <a:ahLst/>
                <a:cxnLst>
                  <a:cxn ang="0">
                    <a:pos x="T0" y="T1"/>
                  </a:cxn>
                  <a:cxn ang="0">
                    <a:pos x="T2" y="T3"/>
                  </a:cxn>
                  <a:cxn ang="0">
                    <a:pos x="T4" y="T5"/>
                  </a:cxn>
                  <a:cxn ang="0">
                    <a:pos x="T6" y="T7"/>
                  </a:cxn>
                  <a:cxn ang="0">
                    <a:pos x="T8" y="T9"/>
                  </a:cxn>
                </a:cxnLst>
                <a:rect l="0" t="0" r="r" b="b"/>
                <a:pathLst>
                  <a:path w="27" h="48">
                    <a:moveTo>
                      <a:pt x="27" y="0"/>
                    </a:moveTo>
                    <a:lnTo>
                      <a:pt x="0" y="0"/>
                    </a:lnTo>
                    <a:lnTo>
                      <a:pt x="0" y="33"/>
                    </a:lnTo>
                    <a:lnTo>
                      <a:pt x="27" y="48"/>
                    </a:lnTo>
                    <a:lnTo>
                      <a:pt x="27" y="0"/>
                    </a:lnTo>
                    <a:close/>
                  </a:path>
                </a:pathLst>
              </a:custGeom>
              <a:solidFill>
                <a:srgbClr val="0B39A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2" name="îṧ1îďe">
                <a:extLst>
                  <a:ext uri="{FF2B5EF4-FFF2-40B4-BE49-F238E27FC236}">
                    <a16:creationId xmlns:a16="http://schemas.microsoft.com/office/drawing/2014/main" id="{925ADD8E-43E3-0046-8C05-4D55D8DFE170}"/>
                  </a:ext>
                </a:extLst>
              </p:cNvPr>
              <p:cNvSpPr/>
              <p:nvPr/>
            </p:nvSpPr>
            <p:spPr bwMode="auto">
              <a:xfrm>
                <a:off x="5095414" y="3322731"/>
                <a:ext cx="37264" cy="66246"/>
              </a:xfrm>
              <a:custGeom>
                <a:avLst/>
                <a:gdLst>
                  <a:gd name="T0" fmla="*/ 27 w 27"/>
                  <a:gd name="T1" fmla="*/ 0 h 48"/>
                  <a:gd name="T2" fmla="*/ 0 w 27"/>
                  <a:gd name="T3" fmla="*/ 0 h 48"/>
                  <a:gd name="T4" fmla="*/ 0 w 27"/>
                  <a:gd name="T5" fmla="*/ 33 h 48"/>
                  <a:gd name="T6" fmla="*/ 27 w 27"/>
                  <a:gd name="T7" fmla="*/ 48 h 48"/>
                  <a:gd name="T8" fmla="*/ 27 w 27"/>
                  <a:gd name="T9" fmla="*/ 0 h 48"/>
                </a:gdLst>
                <a:ahLst/>
                <a:cxnLst>
                  <a:cxn ang="0">
                    <a:pos x="T0" y="T1"/>
                  </a:cxn>
                  <a:cxn ang="0">
                    <a:pos x="T2" y="T3"/>
                  </a:cxn>
                  <a:cxn ang="0">
                    <a:pos x="T4" y="T5"/>
                  </a:cxn>
                  <a:cxn ang="0">
                    <a:pos x="T6" y="T7"/>
                  </a:cxn>
                  <a:cxn ang="0">
                    <a:pos x="T8" y="T9"/>
                  </a:cxn>
                </a:cxnLst>
                <a:rect l="0" t="0" r="r" b="b"/>
                <a:pathLst>
                  <a:path w="27" h="48">
                    <a:moveTo>
                      <a:pt x="27" y="0"/>
                    </a:moveTo>
                    <a:lnTo>
                      <a:pt x="0" y="0"/>
                    </a:lnTo>
                    <a:lnTo>
                      <a:pt x="0" y="33"/>
                    </a:lnTo>
                    <a:lnTo>
                      <a:pt x="27" y="48"/>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3" name="îslîḍê">
                <a:extLst>
                  <a:ext uri="{FF2B5EF4-FFF2-40B4-BE49-F238E27FC236}">
                    <a16:creationId xmlns:a16="http://schemas.microsoft.com/office/drawing/2014/main" id="{5DE6AC13-8080-BC48-A360-D719E9177698}"/>
                  </a:ext>
                </a:extLst>
              </p:cNvPr>
              <p:cNvSpPr/>
              <p:nvPr/>
            </p:nvSpPr>
            <p:spPr bwMode="auto">
              <a:xfrm>
                <a:off x="5132677" y="3388977"/>
                <a:ext cx="77287" cy="429218"/>
              </a:xfrm>
              <a:custGeom>
                <a:avLst/>
                <a:gdLst>
                  <a:gd name="T0" fmla="*/ 0 w 56"/>
                  <a:gd name="T1" fmla="*/ 0 h 311"/>
                  <a:gd name="T2" fmla="*/ 0 w 56"/>
                  <a:gd name="T3" fmla="*/ 311 h 311"/>
                  <a:gd name="T4" fmla="*/ 56 w 56"/>
                  <a:gd name="T5" fmla="*/ 311 h 311"/>
                  <a:gd name="T6" fmla="*/ 56 w 56"/>
                  <a:gd name="T7" fmla="*/ 276 h 311"/>
                  <a:gd name="T8" fmla="*/ 56 w 56"/>
                  <a:gd name="T9" fmla="*/ 261 h 311"/>
                  <a:gd name="T10" fmla="*/ 56 w 56"/>
                  <a:gd name="T11" fmla="*/ 31 h 311"/>
                  <a:gd name="T12" fmla="*/ 0 w 56"/>
                  <a:gd name="T13" fmla="*/ 0 h 311"/>
                </a:gdLst>
                <a:ahLst/>
                <a:cxnLst>
                  <a:cxn ang="0">
                    <a:pos x="T0" y="T1"/>
                  </a:cxn>
                  <a:cxn ang="0">
                    <a:pos x="T2" y="T3"/>
                  </a:cxn>
                  <a:cxn ang="0">
                    <a:pos x="T4" y="T5"/>
                  </a:cxn>
                  <a:cxn ang="0">
                    <a:pos x="T6" y="T7"/>
                  </a:cxn>
                  <a:cxn ang="0">
                    <a:pos x="T8" y="T9"/>
                  </a:cxn>
                  <a:cxn ang="0">
                    <a:pos x="T10" y="T11"/>
                  </a:cxn>
                  <a:cxn ang="0">
                    <a:pos x="T12" y="T13"/>
                  </a:cxn>
                </a:cxnLst>
                <a:rect l="0" t="0" r="r" b="b"/>
                <a:pathLst>
                  <a:path w="56" h="311">
                    <a:moveTo>
                      <a:pt x="0" y="0"/>
                    </a:moveTo>
                    <a:lnTo>
                      <a:pt x="0" y="311"/>
                    </a:lnTo>
                    <a:lnTo>
                      <a:pt x="56" y="311"/>
                    </a:lnTo>
                    <a:lnTo>
                      <a:pt x="56" y="276"/>
                    </a:lnTo>
                    <a:lnTo>
                      <a:pt x="56" y="261"/>
                    </a:lnTo>
                    <a:lnTo>
                      <a:pt x="56" y="31"/>
                    </a:lnTo>
                    <a:lnTo>
                      <a:pt x="0" y="0"/>
                    </a:lnTo>
                    <a:close/>
                  </a:path>
                </a:pathLst>
              </a:custGeom>
              <a:solidFill>
                <a:srgbClr val="0B39A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4" name="íṡľïďè">
                <a:extLst>
                  <a:ext uri="{FF2B5EF4-FFF2-40B4-BE49-F238E27FC236}">
                    <a16:creationId xmlns:a16="http://schemas.microsoft.com/office/drawing/2014/main" id="{59BE126E-956B-7347-A178-882A3CEAA8C8}"/>
                  </a:ext>
                </a:extLst>
              </p:cNvPr>
              <p:cNvSpPr/>
              <p:nvPr/>
            </p:nvSpPr>
            <p:spPr bwMode="auto">
              <a:xfrm>
                <a:off x="5132677" y="3388977"/>
                <a:ext cx="77287" cy="429218"/>
              </a:xfrm>
              <a:custGeom>
                <a:avLst/>
                <a:gdLst>
                  <a:gd name="T0" fmla="*/ 0 w 56"/>
                  <a:gd name="T1" fmla="*/ 0 h 311"/>
                  <a:gd name="T2" fmla="*/ 0 w 56"/>
                  <a:gd name="T3" fmla="*/ 311 h 311"/>
                  <a:gd name="T4" fmla="*/ 56 w 56"/>
                  <a:gd name="T5" fmla="*/ 311 h 311"/>
                  <a:gd name="T6" fmla="*/ 56 w 56"/>
                  <a:gd name="T7" fmla="*/ 276 h 311"/>
                  <a:gd name="T8" fmla="*/ 56 w 56"/>
                  <a:gd name="T9" fmla="*/ 261 h 311"/>
                  <a:gd name="T10" fmla="*/ 56 w 56"/>
                  <a:gd name="T11" fmla="*/ 31 h 311"/>
                  <a:gd name="T12" fmla="*/ 0 w 56"/>
                  <a:gd name="T13" fmla="*/ 0 h 311"/>
                </a:gdLst>
                <a:ahLst/>
                <a:cxnLst>
                  <a:cxn ang="0">
                    <a:pos x="T0" y="T1"/>
                  </a:cxn>
                  <a:cxn ang="0">
                    <a:pos x="T2" y="T3"/>
                  </a:cxn>
                  <a:cxn ang="0">
                    <a:pos x="T4" y="T5"/>
                  </a:cxn>
                  <a:cxn ang="0">
                    <a:pos x="T6" y="T7"/>
                  </a:cxn>
                  <a:cxn ang="0">
                    <a:pos x="T8" y="T9"/>
                  </a:cxn>
                  <a:cxn ang="0">
                    <a:pos x="T10" y="T11"/>
                  </a:cxn>
                  <a:cxn ang="0">
                    <a:pos x="T12" y="T13"/>
                  </a:cxn>
                </a:cxnLst>
                <a:rect l="0" t="0" r="r" b="b"/>
                <a:pathLst>
                  <a:path w="56" h="311">
                    <a:moveTo>
                      <a:pt x="0" y="0"/>
                    </a:moveTo>
                    <a:lnTo>
                      <a:pt x="0" y="311"/>
                    </a:lnTo>
                    <a:lnTo>
                      <a:pt x="56" y="311"/>
                    </a:lnTo>
                    <a:lnTo>
                      <a:pt x="56" y="276"/>
                    </a:lnTo>
                    <a:lnTo>
                      <a:pt x="56" y="261"/>
                    </a:lnTo>
                    <a:lnTo>
                      <a:pt x="56" y="3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5" name="ïṣ1ïḓê">
                <a:extLst>
                  <a:ext uri="{FF2B5EF4-FFF2-40B4-BE49-F238E27FC236}">
                    <a16:creationId xmlns:a16="http://schemas.microsoft.com/office/drawing/2014/main" id="{A7579220-64C1-FB46-8109-8365084404F5}"/>
                  </a:ext>
                </a:extLst>
              </p:cNvPr>
              <p:cNvSpPr/>
              <p:nvPr/>
            </p:nvSpPr>
            <p:spPr bwMode="auto">
              <a:xfrm>
                <a:off x="5132677" y="3322731"/>
                <a:ext cx="77287" cy="109030"/>
              </a:xfrm>
              <a:custGeom>
                <a:avLst/>
                <a:gdLst>
                  <a:gd name="T0" fmla="*/ 56 w 56"/>
                  <a:gd name="T1" fmla="*/ 0 h 79"/>
                  <a:gd name="T2" fmla="*/ 0 w 56"/>
                  <a:gd name="T3" fmla="*/ 0 h 79"/>
                  <a:gd name="T4" fmla="*/ 0 w 56"/>
                  <a:gd name="T5" fmla="*/ 48 h 79"/>
                  <a:gd name="T6" fmla="*/ 56 w 56"/>
                  <a:gd name="T7" fmla="*/ 79 h 79"/>
                  <a:gd name="T8" fmla="*/ 56 w 56"/>
                  <a:gd name="T9" fmla="*/ 71 h 79"/>
                  <a:gd name="T10" fmla="*/ 56 w 56"/>
                  <a:gd name="T11" fmla="*/ 0 h 79"/>
                </a:gdLst>
                <a:ahLst/>
                <a:cxnLst>
                  <a:cxn ang="0">
                    <a:pos x="T0" y="T1"/>
                  </a:cxn>
                  <a:cxn ang="0">
                    <a:pos x="T2" y="T3"/>
                  </a:cxn>
                  <a:cxn ang="0">
                    <a:pos x="T4" y="T5"/>
                  </a:cxn>
                  <a:cxn ang="0">
                    <a:pos x="T6" y="T7"/>
                  </a:cxn>
                  <a:cxn ang="0">
                    <a:pos x="T8" y="T9"/>
                  </a:cxn>
                  <a:cxn ang="0">
                    <a:pos x="T10" y="T11"/>
                  </a:cxn>
                </a:cxnLst>
                <a:rect l="0" t="0" r="r" b="b"/>
                <a:pathLst>
                  <a:path w="56" h="79">
                    <a:moveTo>
                      <a:pt x="56" y="0"/>
                    </a:moveTo>
                    <a:lnTo>
                      <a:pt x="0" y="0"/>
                    </a:lnTo>
                    <a:lnTo>
                      <a:pt x="0" y="48"/>
                    </a:lnTo>
                    <a:lnTo>
                      <a:pt x="56" y="79"/>
                    </a:lnTo>
                    <a:lnTo>
                      <a:pt x="56" y="71"/>
                    </a:lnTo>
                    <a:lnTo>
                      <a:pt x="56" y="0"/>
                    </a:lnTo>
                    <a:close/>
                  </a:path>
                </a:pathLst>
              </a:custGeom>
              <a:solidFill>
                <a:srgbClr val="093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6" name="ïšľïḑê">
                <a:extLst>
                  <a:ext uri="{FF2B5EF4-FFF2-40B4-BE49-F238E27FC236}">
                    <a16:creationId xmlns:a16="http://schemas.microsoft.com/office/drawing/2014/main" id="{2CF19D1E-BF56-B747-9D53-6760F468442B}"/>
                  </a:ext>
                </a:extLst>
              </p:cNvPr>
              <p:cNvSpPr/>
              <p:nvPr/>
            </p:nvSpPr>
            <p:spPr bwMode="auto">
              <a:xfrm>
                <a:off x="5132677" y="3322731"/>
                <a:ext cx="77287" cy="109030"/>
              </a:xfrm>
              <a:custGeom>
                <a:avLst/>
                <a:gdLst>
                  <a:gd name="T0" fmla="*/ 56 w 56"/>
                  <a:gd name="T1" fmla="*/ 0 h 79"/>
                  <a:gd name="T2" fmla="*/ 0 w 56"/>
                  <a:gd name="T3" fmla="*/ 0 h 79"/>
                  <a:gd name="T4" fmla="*/ 0 w 56"/>
                  <a:gd name="T5" fmla="*/ 48 h 79"/>
                  <a:gd name="T6" fmla="*/ 56 w 56"/>
                  <a:gd name="T7" fmla="*/ 79 h 79"/>
                  <a:gd name="T8" fmla="*/ 56 w 56"/>
                  <a:gd name="T9" fmla="*/ 71 h 79"/>
                  <a:gd name="T10" fmla="*/ 56 w 56"/>
                  <a:gd name="T11" fmla="*/ 0 h 79"/>
                </a:gdLst>
                <a:ahLst/>
                <a:cxnLst>
                  <a:cxn ang="0">
                    <a:pos x="T0" y="T1"/>
                  </a:cxn>
                  <a:cxn ang="0">
                    <a:pos x="T2" y="T3"/>
                  </a:cxn>
                  <a:cxn ang="0">
                    <a:pos x="T4" y="T5"/>
                  </a:cxn>
                  <a:cxn ang="0">
                    <a:pos x="T6" y="T7"/>
                  </a:cxn>
                  <a:cxn ang="0">
                    <a:pos x="T8" y="T9"/>
                  </a:cxn>
                  <a:cxn ang="0">
                    <a:pos x="T10" y="T11"/>
                  </a:cxn>
                </a:cxnLst>
                <a:rect l="0" t="0" r="r" b="b"/>
                <a:pathLst>
                  <a:path w="56" h="79">
                    <a:moveTo>
                      <a:pt x="56" y="0"/>
                    </a:moveTo>
                    <a:lnTo>
                      <a:pt x="0" y="0"/>
                    </a:lnTo>
                    <a:lnTo>
                      <a:pt x="0" y="48"/>
                    </a:lnTo>
                    <a:lnTo>
                      <a:pt x="56" y="79"/>
                    </a:lnTo>
                    <a:lnTo>
                      <a:pt x="56" y="71"/>
                    </a:lnTo>
                    <a:lnTo>
                      <a:pt x="5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7" name="iṩlîḋè">
                <a:extLst>
                  <a:ext uri="{FF2B5EF4-FFF2-40B4-BE49-F238E27FC236}">
                    <a16:creationId xmlns:a16="http://schemas.microsoft.com/office/drawing/2014/main" id="{84C4CD66-350E-A64A-9CAE-AB576BCEBC8E}"/>
                  </a:ext>
                </a:extLst>
              </p:cNvPr>
              <p:cNvSpPr/>
              <p:nvPr/>
            </p:nvSpPr>
            <p:spPr bwMode="auto">
              <a:xfrm>
                <a:off x="4076885" y="3101912"/>
                <a:ext cx="204258" cy="716283"/>
              </a:xfrm>
              <a:prstGeom prst="rect">
                <a:avLst/>
              </a:prstGeom>
              <a:solidFill>
                <a:srgbClr val="0039B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888" name="îṡḻïḋê">
                <a:extLst>
                  <a:ext uri="{FF2B5EF4-FFF2-40B4-BE49-F238E27FC236}">
                    <a16:creationId xmlns:a16="http://schemas.microsoft.com/office/drawing/2014/main" id="{9C6A65BE-7D02-9743-8D6B-ABD682D615E6}"/>
                  </a:ext>
                </a:extLst>
              </p:cNvPr>
              <p:cNvSpPr/>
              <p:nvPr/>
            </p:nvSpPr>
            <p:spPr bwMode="auto">
              <a:xfrm>
                <a:off x="4076885" y="3101912"/>
                <a:ext cx="204258" cy="716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889" name="ïsḷíḑè">
                <a:extLst>
                  <a:ext uri="{FF2B5EF4-FFF2-40B4-BE49-F238E27FC236}">
                    <a16:creationId xmlns:a16="http://schemas.microsoft.com/office/drawing/2014/main" id="{2C4B9C66-CAC3-8F46-B51F-B90D2652C1AE}"/>
                  </a:ext>
                </a:extLst>
              </p:cNvPr>
              <p:cNvSpPr/>
              <p:nvPr/>
            </p:nvSpPr>
            <p:spPr bwMode="auto">
              <a:xfrm>
                <a:off x="4891156" y="3101912"/>
                <a:ext cx="204258" cy="716283"/>
              </a:xfrm>
              <a:prstGeom prst="rect">
                <a:avLst/>
              </a:prstGeom>
              <a:solidFill>
                <a:srgbClr val="0039B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890" name="iŝḻíḍé">
                <a:extLst>
                  <a:ext uri="{FF2B5EF4-FFF2-40B4-BE49-F238E27FC236}">
                    <a16:creationId xmlns:a16="http://schemas.microsoft.com/office/drawing/2014/main" id="{A88FEA0A-BA5A-FD4A-B2B7-F91C5F2C2D6D}"/>
                  </a:ext>
                </a:extLst>
              </p:cNvPr>
              <p:cNvSpPr/>
              <p:nvPr/>
            </p:nvSpPr>
            <p:spPr bwMode="auto">
              <a:xfrm>
                <a:off x="4891156" y="3101912"/>
                <a:ext cx="204258" cy="716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891" name="îṧ1íḑê">
                <a:extLst>
                  <a:ext uri="{FF2B5EF4-FFF2-40B4-BE49-F238E27FC236}">
                    <a16:creationId xmlns:a16="http://schemas.microsoft.com/office/drawing/2014/main" id="{18D870E4-393A-B94D-B265-52A9C663518F}"/>
                  </a:ext>
                </a:extLst>
              </p:cNvPr>
              <p:cNvSpPr/>
              <p:nvPr/>
            </p:nvSpPr>
            <p:spPr bwMode="auto">
              <a:xfrm>
                <a:off x="4076885" y="3322731"/>
                <a:ext cx="126971" cy="66246"/>
              </a:xfrm>
              <a:custGeom>
                <a:avLst/>
                <a:gdLst>
                  <a:gd name="T0" fmla="*/ 92 w 92"/>
                  <a:gd name="T1" fmla="*/ 0 h 48"/>
                  <a:gd name="T2" fmla="*/ 0 w 92"/>
                  <a:gd name="T3" fmla="*/ 0 h 48"/>
                  <a:gd name="T4" fmla="*/ 92 w 92"/>
                  <a:gd name="T5" fmla="*/ 48 h 48"/>
                  <a:gd name="T6" fmla="*/ 92 w 92"/>
                  <a:gd name="T7" fmla="*/ 0 h 48"/>
                </a:gdLst>
                <a:ahLst/>
                <a:cxnLst>
                  <a:cxn ang="0">
                    <a:pos x="T0" y="T1"/>
                  </a:cxn>
                  <a:cxn ang="0">
                    <a:pos x="T2" y="T3"/>
                  </a:cxn>
                  <a:cxn ang="0">
                    <a:pos x="T4" y="T5"/>
                  </a:cxn>
                  <a:cxn ang="0">
                    <a:pos x="T6" y="T7"/>
                  </a:cxn>
                </a:cxnLst>
                <a:rect l="0" t="0" r="r" b="b"/>
                <a:pathLst>
                  <a:path w="92" h="48">
                    <a:moveTo>
                      <a:pt x="92" y="0"/>
                    </a:moveTo>
                    <a:lnTo>
                      <a:pt x="0" y="0"/>
                    </a:lnTo>
                    <a:lnTo>
                      <a:pt x="92" y="48"/>
                    </a:lnTo>
                    <a:lnTo>
                      <a:pt x="92" y="0"/>
                    </a:lnTo>
                    <a:close/>
                  </a:path>
                </a:pathLst>
              </a:custGeom>
              <a:solidFill>
                <a:srgbClr val="0031A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2" name="îŝļíḑê">
                <a:extLst>
                  <a:ext uri="{FF2B5EF4-FFF2-40B4-BE49-F238E27FC236}">
                    <a16:creationId xmlns:a16="http://schemas.microsoft.com/office/drawing/2014/main" id="{066C875D-843F-5E4B-9D8D-DE4F397EE553}"/>
                  </a:ext>
                </a:extLst>
              </p:cNvPr>
              <p:cNvSpPr/>
              <p:nvPr/>
            </p:nvSpPr>
            <p:spPr bwMode="auto">
              <a:xfrm>
                <a:off x="4076885" y="3322731"/>
                <a:ext cx="126971" cy="66246"/>
              </a:xfrm>
              <a:custGeom>
                <a:avLst/>
                <a:gdLst>
                  <a:gd name="T0" fmla="*/ 92 w 92"/>
                  <a:gd name="T1" fmla="*/ 0 h 48"/>
                  <a:gd name="T2" fmla="*/ 0 w 92"/>
                  <a:gd name="T3" fmla="*/ 0 h 48"/>
                  <a:gd name="T4" fmla="*/ 92 w 92"/>
                  <a:gd name="T5" fmla="*/ 48 h 48"/>
                  <a:gd name="T6" fmla="*/ 92 w 92"/>
                  <a:gd name="T7" fmla="*/ 0 h 48"/>
                </a:gdLst>
                <a:ahLst/>
                <a:cxnLst>
                  <a:cxn ang="0">
                    <a:pos x="T0" y="T1"/>
                  </a:cxn>
                  <a:cxn ang="0">
                    <a:pos x="T2" y="T3"/>
                  </a:cxn>
                  <a:cxn ang="0">
                    <a:pos x="T4" y="T5"/>
                  </a:cxn>
                  <a:cxn ang="0">
                    <a:pos x="T6" y="T7"/>
                  </a:cxn>
                </a:cxnLst>
                <a:rect l="0" t="0" r="r" b="b"/>
                <a:pathLst>
                  <a:path w="92" h="48">
                    <a:moveTo>
                      <a:pt x="92" y="0"/>
                    </a:moveTo>
                    <a:lnTo>
                      <a:pt x="0" y="0"/>
                    </a:lnTo>
                    <a:lnTo>
                      <a:pt x="92" y="48"/>
                    </a:lnTo>
                    <a:lnTo>
                      <a:pt x="9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3" name="îṣ1iḋè">
                <a:extLst>
                  <a:ext uri="{FF2B5EF4-FFF2-40B4-BE49-F238E27FC236}">
                    <a16:creationId xmlns:a16="http://schemas.microsoft.com/office/drawing/2014/main" id="{00E44B6B-C1DB-7040-A718-CADB8383AC5F}"/>
                  </a:ext>
                </a:extLst>
              </p:cNvPr>
              <p:cNvSpPr/>
              <p:nvPr/>
            </p:nvSpPr>
            <p:spPr bwMode="auto">
              <a:xfrm>
                <a:off x="4891156" y="3322731"/>
                <a:ext cx="126971" cy="66246"/>
              </a:xfrm>
              <a:custGeom>
                <a:avLst/>
                <a:gdLst>
                  <a:gd name="T0" fmla="*/ 92 w 92"/>
                  <a:gd name="T1" fmla="*/ 0 h 48"/>
                  <a:gd name="T2" fmla="*/ 0 w 92"/>
                  <a:gd name="T3" fmla="*/ 0 h 48"/>
                  <a:gd name="T4" fmla="*/ 92 w 92"/>
                  <a:gd name="T5" fmla="*/ 48 h 48"/>
                  <a:gd name="T6" fmla="*/ 92 w 92"/>
                  <a:gd name="T7" fmla="*/ 0 h 48"/>
                </a:gdLst>
                <a:ahLst/>
                <a:cxnLst>
                  <a:cxn ang="0">
                    <a:pos x="T0" y="T1"/>
                  </a:cxn>
                  <a:cxn ang="0">
                    <a:pos x="T2" y="T3"/>
                  </a:cxn>
                  <a:cxn ang="0">
                    <a:pos x="T4" y="T5"/>
                  </a:cxn>
                  <a:cxn ang="0">
                    <a:pos x="T6" y="T7"/>
                  </a:cxn>
                </a:cxnLst>
                <a:rect l="0" t="0" r="r" b="b"/>
                <a:pathLst>
                  <a:path w="92" h="48">
                    <a:moveTo>
                      <a:pt x="92" y="0"/>
                    </a:moveTo>
                    <a:lnTo>
                      <a:pt x="0" y="0"/>
                    </a:lnTo>
                    <a:lnTo>
                      <a:pt x="92" y="48"/>
                    </a:lnTo>
                    <a:lnTo>
                      <a:pt x="92" y="0"/>
                    </a:lnTo>
                    <a:close/>
                  </a:path>
                </a:pathLst>
              </a:custGeom>
              <a:solidFill>
                <a:srgbClr val="0031A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4" name="íšlíďé">
                <a:extLst>
                  <a:ext uri="{FF2B5EF4-FFF2-40B4-BE49-F238E27FC236}">
                    <a16:creationId xmlns:a16="http://schemas.microsoft.com/office/drawing/2014/main" id="{563C8F1B-30DF-8041-B702-48342FAE0243}"/>
                  </a:ext>
                </a:extLst>
              </p:cNvPr>
              <p:cNvSpPr/>
              <p:nvPr/>
            </p:nvSpPr>
            <p:spPr bwMode="auto">
              <a:xfrm>
                <a:off x="4891156" y="3322731"/>
                <a:ext cx="126971" cy="66246"/>
              </a:xfrm>
              <a:custGeom>
                <a:avLst/>
                <a:gdLst>
                  <a:gd name="T0" fmla="*/ 92 w 92"/>
                  <a:gd name="T1" fmla="*/ 0 h 48"/>
                  <a:gd name="T2" fmla="*/ 0 w 92"/>
                  <a:gd name="T3" fmla="*/ 0 h 48"/>
                  <a:gd name="T4" fmla="*/ 92 w 92"/>
                  <a:gd name="T5" fmla="*/ 48 h 48"/>
                  <a:gd name="T6" fmla="*/ 92 w 92"/>
                  <a:gd name="T7" fmla="*/ 0 h 48"/>
                </a:gdLst>
                <a:ahLst/>
                <a:cxnLst>
                  <a:cxn ang="0">
                    <a:pos x="T0" y="T1"/>
                  </a:cxn>
                  <a:cxn ang="0">
                    <a:pos x="T2" y="T3"/>
                  </a:cxn>
                  <a:cxn ang="0">
                    <a:pos x="T4" y="T5"/>
                  </a:cxn>
                  <a:cxn ang="0">
                    <a:pos x="T6" y="T7"/>
                  </a:cxn>
                </a:cxnLst>
                <a:rect l="0" t="0" r="r" b="b"/>
                <a:pathLst>
                  <a:path w="92" h="48">
                    <a:moveTo>
                      <a:pt x="92" y="0"/>
                    </a:moveTo>
                    <a:lnTo>
                      <a:pt x="0" y="0"/>
                    </a:lnTo>
                    <a:lnTo>
                      <a:pt x="92" y="48"/>
                    </a:lnTo>
                    <a:lnTo>
                      <a:pt x="9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5" name="ïṡľiďê">
                <a:extLst>
                  <a:ext uri="{FF2B5EF4-FFF2-40B4-BE49-F238E27FC236}">
                    <a16:creationId xmlns:a16="http://schemas.microsoft.com/office/drawing/2014/main" id="{B654EAF6-EE15-3342-A97B-3899F066533D}"/>
                  </a:ext>
                </a:extLst>
              </p:cNvPr>
              <p:cNvSpPr/>
              <p:nvPr/>
            </p:nvSpPr>
            <p:spPr bwMode="auto">
              <a:xfrm>
                <a:off x="4203856" y="3388977"/>
                <a:ext cx="77287" cy="429218"/>
              </a:xfrm>
              <a:custGeom>
                <a:avLst/>
                <a:gdLst>
                  <a:gd name="T0" fmla="*/ 0 w 56"/>
                  <a:gd name="T1" fmla="*/ 0 h 311"/>
                  <a:gd name="T2" fmla="*/ 0 w 56"/>
                  <a:gd name="T3" fmla="*/ 311 h 311"/>
                  <a:gd name="T4" fmla="*/ 56 w 56"/>
                  <a:gd name="T5" fmla="*/ 311 h 311"/>
                  <a:gd name="T6" fmla="*/ 56 w 56"/>
                  <a:gd name="T7" fmla="*/ 31 h 311"/>
                  <a:gd name="T8" fmla="*/ 0 w 56"/>
                  <a:gd name="T9" fmla="*/ 0 h 311"/>
                </a:gdLst>
                <a:ahLst/>
                <a:cxnLst>
                  <a:cxn ang="0">
                    <a:pos x="T0" y="T1"/>
                  </a:cxn>
                  <a:cxn ang="0">
                    <a:pos x="T2" y="T3"/>
                  </a:cxn>
                  <a:cxn ang="0">
                    <a:pos x="T4" y="T5"/>
                  </a:cxn>
                  <a:cxn ang="0">
                    <a:pos x="T6" y="T7"/>
                  </a:cxn>
                  <a:cxn ang="0">
                    <a:pos x="T8" y="T9"/>
                  </a:cxn>
                </a:cxnLst>
                <a:rect l="0" t="0" r="r" b="b"/>
                <a:pathLst>
                  <a:path w="56" h="311">
                    <a:moveTo>
                      <a:pt x="0" y="0"/>
                    </a:moveTo>
                    <a:lnTo>
                      <a:pt x="0" y="311"/>
                    </a:lnTo>
                    <a:lnTo>
                      <a:pt x="56" y="311"/>
                    </a:lnTo>
                    <a:lnTo>
                      <a:pt x="56" y="31"/>
                    </a:lnTo>
                    <a:lnTo>
                      <a:pt x="0" y="0"/>
                    </a:lnTo>
                    <a:close/>
                  </a:path>
                </a:pathLst>
              </a:custGeom>
              <a:solidFill>
                <a:srgbClr val="0031A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6" name="iş1îdé">
                <a:extLst>
                  <a:ext uri="{FF2B5EF4-FFF2-40B4-BE49-F238E27FC236}">
                    <a16:creationId xmlns:a16="http://schemas.microsoft.com/office/drawing/2014/main" id="{EFC804A3-4679-A04B-9BFE-C46BE8A99332}"/>
                  </a:ext>
                </a:extLst>
              </p:cNvPr>
              <p:cNvSpPr/>
              <p:nvPr/>
            </p:nvSpPr>
            <p:spPr bwMode="auto">
              <a:xfrm>
                <a:off x="4203856" y="3388977"/>
                <a:ext cx="77287" cy="429218"/>
              </a:xfrm>
              <a:custGeom>
                <a:avLst/>
                <a:gdLst>
                  <a:gd name="T0" fmla="*/ 0 w 56"/>
                  <a:gd name="T1" fmla="*/ 0 h 311"/>
                  <a:gd name="T2" fmla="*/ 0 w 56"/>
                  <a:gd name="T3" fmla="*/ 311 h 311"/>
                  <a:gd name="T4" fmla="*/ 56 w 56"/>
                  <a:gd name="T5" fmla="*/ 311 h 311"/>
                  <a:gd name="T6" fmla="*/ 56 w 56"/>
                  <a:gd name="T7" fmla="*/ 31 h 311"/>
                  <a:gd name="T8" fmla="*/ 0 w 56"/>
                  <a:gd name="T9" fmla="*/ 0 h 311"/>
                </a:gdLst>
                <a:ahLst/>
                <a:cxnLst>
                  <a:cxn ang="0">
                    <a:pos x="T0" y="T1"/>
                  </a:cxn>
                  <a:cxn ang="0">
                    <a:pos x="T2" y="T3"/>
                  </a:cxn>
                  <a:cxn ang="0">
                    <a:pos x="T4" y="T5"/>
                  </a:cxn>
                  <a:cxn ang="0">
                    <a:pos x="T6" y="T7"/>
                  </a:cxn>
                  <a:cxn ang="0">
                    <a:pos x="T8" y="T9"/>
                  </a:cxn>
                </a:cxnLst>
                <a:rect l="0" t="0" r="r" b="b"/>
                <a:pathLst>
                  <a:path w="56" h="311">
                    <a:moveTo>
                      <a:pt x="0" y="0"/>
                    </a:moveTo>
                    <a:lnTo>
                      <a:pt x="0" y="311"/>
                    </a:lnTo>
                    <a:lnTo>
                      <a:pt x="56" y="311"/>
                    </a:lnTo>
                    <a:lnTo>
                      <a:pt x="56" y="3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7" name="iṡḷïḋé">
                <a:extLst>
                  <a:ext uri="{FF2B5EF4-FFF2-40B4-BE49-F238E27FC236}">
                    <a16:creationId xmlns:a16="http://schemas.microsoft.com/office/drawing/2014/main" id="{A0296C79-5E26-E14C-8751-29C3B04AD484}"/>
                  </a:ext>
                </a:extLst>
              </p:cNvPr>
              <p:cNvSpPr/>
              <p:nvPr/>
            </p:nvSpPr>
            <p:spPr bwMode="auto">
              <a:xfrm>
                <a:off x="4203856" y="3322731"/>
                <a:ext cx="77287" cy="109030"/>
              </a:xfrm>
              <a:custGeom>
                <a:avLst/>
                <a:gdLst>
                  <a:gd name="T0" fmla="*/ 56 w 56"/>
                  <a:gd name="T1" fmla="*/ 0 h 79"/>
                  <a:gd name="T2" fmla="*/ 0 w 56"/>
                  <a:gd name="T3" fmla="*/ 0 h 79"/>
                  <a:gd name="T4" fmla="*/ 0 w 56"/>
                  <a:gd name="T5" fmla="*/ 48 h 79"/>
                  <a:gd name="T6" fmla="*/ 56 w 56"/>
                  <a:gd name="T7" fmla="*/ 79 h 79"/>
                  <a:gd name="T8" fmla="*/ 56 w 56"/>
                  <a:gd name="T9" fmla="*/ 8 h 79"/>
                  <a:gd name="T10" fmla="*/ 56 w 56"/>
                  <a:gd name="T11" fmla="*/ 0 h 79"/>
                </a:gdLst>
                <a:ahLst/>
                <a:cxnLst>
                  <a:cxn ang="0">
                    <a:pos x="T0" y="T1"/>
                  </a:cxn>
                  <a:cxn ang="0">
                    <a:pos x="T2" y="T3"/>
                  </a:cxn>
                  <a:cxn ang="0">
                    <a:pos x="T4" y="T5"/>
                  </a:cxn>
                  <a:cxn ang="0">
                    <a:pos x="T6" y="T7"/>
                  </a:cxn>
                  <a:cxn ang="0">
                    <a:pos x="T8" y="T9"/>
                  </a:cxn>
                  <a:cxn ang="0">
                    <a:pos x="T10" y="T11"/>
                  </a:cxn>
                </a:cxnLst>
                <a:rect l="0" t="0" r="r" b="b"/>
                <a:pathLst>
                  <a:path w="56" h="79">
                    <a:moveTo>
                      <a:pt x="56" y="0"/>
                    </a:moveTo>
                    <a:lnTo>
                      <a:pt x="0" y="0"/>
                    </a:lnTo>
                    <a:lnTo>
                      <a:pt x="0" y="48"/>
                    </a:lnTo>
                    <a:lnTo>
                      <a:pt x="56" y="79"/>
                    </a:lnTo>
                    <a:lnTo>
                      <a:pt x="56" y="8"/>
                    </a:lnTo>
                    <a:lnTo>
                      <a:pt x="56" y="0"/>
                    </a:lnTo>
                    <a:close/>
                  </a:path>
                </a:pathLst>
              </a:custGeom>
              <a:solidFill>
                <a:srgbClr val="002A8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8" name="iṥļïďê">
                <a:extLst>
                  <a:ext uri="{FF2B5EF4-FFF2-40B4-BE49-F238E27FC236}">
                    <a16:creationId xmlns:a16="http://schemas.microsoft.com/office/drawing/2014/main" id="{A9222258-CB2C-5F42-8B2B-F90E9EA6A740}"/>
                  </a:ext>
                </a:extLst>
              </p:cNvPr>
              <p:cNvSpPr/>
              <p:nvPr/>
            </p:nvSpPr>
            <p:spPr bwMode="auto">
              <a:xfrm>
                <a:off x="4203856" y="3322731"/>
                <a:ext cx="77287" cy="109030"/>
              </a:xfrm>
              <a:custGeom>
                <a:avLst/>
                <a:gdLst>
                  <a:gd name="T0" fmla="*/ 56 w 56"/>
                  <a:gd name="T1" fmla="*/ 0 h 79"/>
                  <a:gd name="T2" fmla="*/ 0 w 56"/>
                  <a:gd name="T3" fmla="*/ 0 h 79"/>
                  <a:gd name="T4" fmla="*/ 0 w 56"/>
                  <a:gd name="T5" fmla="*/ 48 h 79"/>
                  <a:gd name="T6" fmla="*/ 56 w 56"/>
                  <a:gd name="T7" fmla="*/ 79 h 79"/>
                  <a:gd name="T8" fmla="*/ 56 w 56"/>
                  <a:gd name="T9" fmla="*/ 8 h 79"/>
                  <a:gd name="T10" fmla="*/ 56 w 56"/>
                  <a:gd name="T11" fmla="*/ 0 h 79"/>
                </a:gdLst>
                <a:ahLst/>
                <a:cxnLst>
                  <a:cxn ang="0">
                    <a:pos x="T0" y="T1"/>
                  </a:cxn>
                  <a:cxn ang="0">
                    <a:pos x="T2" y="T3"/>
                  </a:cxn>
                  <a:cxn ang="0">
                    <a:pos x="T4" y="T5"/>
                  </a:cxn>
                  <a:cxn ang="0">
                    <a:pos x="T6" y="T7"/>
                  </a:cxn>
                  <a:cxn ang="0">
                    <a:pos x="T8" y="T9"/>
                  </a:cxn>
                  <a:cxn ang="0">
                    <a:pos x="T10" y="T11"/>
                  </a:cxn>
                </a:cxnLst>
                <a:rect l="0" t="0" r="r" b="b"/>
                <a:pathLst>
                  <a:path w="56" h="79">
                    <a:moveTo>
                      <a:pt x="56" y="0"/>
                    </a:moveTo>
                    <a:lnTo>
                      <a:pt x="0" y="0"/>
                    </a:lnTo>
                    <a:lnTo>
                      <a:pt x="0" y="48"/>
                    </a:lnTo>
                    <a:lnTo>
                      <a:pt x="56" y="79"/>
                    </a:lnTo>
                    <a:lnTo>
                      <a:pt x="56" y="8"/>
                    </a:lnTo>
                    <a:lnTo>
                      <a:pt x="5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9" name="íṧľíḓé">
                <a:extLst>
                  <a:ext uri="{FF2B5EF4-FFF2-40B4-BE49-F238E27FC236}">
                    <a16:creationId xmlns:a16="http://schemas.microsoft.com/office/drawing/2014/main" id="{0968BDCD-9418-2F4B-AC14-DAD1561F7736}"/>
                  </a:ext>
                </a:extLst>
              </p:cNvPr>
              <p:cNvSpPr/>
              <p:nvPr/>
            </p:nvSpPr>
            <p:spPr bwMode="auto">
              <a:xfrm>
                <a:off x="5018127" y="3388977"/>
                <a:ext cx="77287" cy="423697"/>
              </a:xfrm>
              <a:custGeom>
                <a:avLst/>
                <a:gdLst>
                  <a:gd name="T0" fmla="*/ 0 w 56"/>
                  <a:gd name="T1" fmla="*/ 0 h 307"/>
                  <a:gd name="T2" fmla="*/ 0 w 56"/>
                  <a:gd name="T3" fmla="*/ 307 h 307"/>
                  <a:gd name="T4" fmla="*/ 56 w 56"/>
                  <a:gd name="T5" fmla="*/ 307 h 307"/>
                  <a:gd name="T6" fmla="*/ 56 w 56"/>
                  <a:gd name="T7" fmla="*/ 31 h 307"/>
                  <a:gd name="T8" fmla="*/ 0 w 56"/>
                  <a:gd name="T9" fmla="*/ 0 h 307"/>
                </a:gdLst>
                <a:ahLst/>
                <a:cxnLst>
                  <a:cxn ang="0">
                    <a:pos x="T0" y="T1"/>
                  </a:cxn>
                  <a:cxn ang="0">
                    <a:pos x="T2" y="T3"/>
                  </a:cxn>
                  <a:cxn ang="0">
                    <a:pos x="T4" y="T5"/>
                  </a:cxn>
                  <a:cxn ang="0">
                    <a:pos x="T6" y="T7"/>
                  </a:cxn>
                  <a:cxn ang="0">
                    <a:pos x="T8" y="T9"/>
                  </a:cxn>
                </a:cxnLst>
                <a:rect l="0" t="0" r="r" b="b"/>
                <a:pathLst>
                  <a:path w="56" h="307">
                    <a:moveTo>
                      <a:pt x="0" y="0"/>
                    </a:moveTo>
                    <a:lnTo>
                      <a:pt x="0" y="307"/>
                    </a:lnTo>
                    <a:lnTo>
                      <a:pt x="56" y="307"/>
                    </a:lnTo>
                    <a:lnTo>
                      <a:pt x="56" y="31"/>
                    </a:lnTo>
                    <a:lnTo>
                      <a:pt x="0" y="0"/>
                    </a:lnTo>
                    <a:close/>
                  </a:path>
                </a:pathLst>
              </a:custGeom>
              <a:solidFill>
                <a:srgbClr val="0031A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0" name="i$ḻíḍè">
                <a:extLst>
                  <a:ext uri="{FF2B5EF4-FFF2-40B4-BE49-F238E27FC236}">
                    <a16:creationId xmlns:a16="http://schemas.microsoft.com/office/drawing/2014/main" id="{56C8D226-F7F8-C645-AD3F-E5BD9211ED06}"/>
                  </a:ext>
                </a:extLst>
              </p:cNvPr>
              <p:cNvSpPr/>
              <p:nvPr/>
            </p:nvSpPr>
            <p:spPr bwMode="auto">
              <a:xfrm>
                <a:off x="5018127" y="3388977"/>
                <a:ext cx="77287" cy="423697"/>
              </a:xfrm>
              <a:custGeom>
                <a:avLst/>
                <a:gdLst>
                  <a:gd name="T0" fmla="*/ 0 w 56"/>
                  <a:gd name="T1" fmla="*/ 0 h 307"/>
                  <a:gd name="T2" fmla="*/ 0 w 56"/>
                  <a:gd name="T3" fmla="*/ 307 h 307"/>
                  <a:gd name="T4" fmla="*/ 56 w 56"/>
                  <a:gd name="T5" fmla="*/ 307 h 307"/>
                  <a:gd name="T6" fmla="*/ 56 w 56"/>
                  <a:gd name="T7" fmla="*/ 31 h 307"/>
                  <a:gd name="T8" fmla="*/ 0 w 56"/>
                  <a:gd name="T9" fmla="*/ 0 h 307"/>
                </a:gdLst>
                <a:ahLst/>
                <a:cxnLst>
                  <a:cxn ang="0">
                    <a:pos x="T0" y="T1"/>
                  </a:cxn>
                  <a:cxn ang="0">
                    <a:pos x="T2" y="T3"/>
                  </a:cxn>
                  <a:cxn ang="0">
                    <a:pos x="T4" y="T5"/>
                  </a:cxn>
                  <a:cxn ang="0">
                    <a:pos x="T6" y="T7"/>
                  </a:cxn>
                  <a:cxn ang="0">
                    <a:pos x="T8" y="T9"/>
                  </a:cxn>
                </a:cxnLst>
                <a:rect l="0" t="0" r="r" b="b"/>
                <a:pathLst>
                  <a:path w="56" h="307">
                    <a:moveTo>
                      <a:pt x="0" y="0"/>
                    </a:moveTo>
                    <a:lnTo>
                      <a:pt x="0" y="307"/>
                    </a:lnTo>
                    <a:lnTo>
                      <a:pt x="56" y="307"/>
                    </a:lnTo>
                    <a:lnTo>
                      <a:pt x="56" y="3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1" name="îṥḷîḍé">
                <a:extLst>
                  <a:ext uri="{FF2B5EF4-FFF2-40B4-BE49-F238E27FC236}">
                    <a16:creationId xmlns:a16="http://schemas.microsoft.com/office/drawing/2014/main" id="{44BEA83A-AC66-6D46-8F94-EE8EF861DBD3}"/>
                  </a:ext>
                </a:extLst>
              </p:cNvPr>
              <p:cNvSpPr/>
              <p:nvPr/>
            </p:nvSpPr>
            <p:spPr bwMode="auto">
              <a:xfrm>
                <a:off x="5018127" y="3322731"/>
                <a:ext cx="77287" cy="109030"/>
              </a:xfrm>
              <a:custGeom>
                <a:avLst/>
                <a:gdLst>
                  <a:gd name="T0" fmla="*/ 56 w 56"/>
                  <a:gd name="T1" fmla="*/ 0 h 79"/>
                  <a:gd name="T2" fmla="*/ 0 w 56"/>
                  <a:gd name="T3" fmla="*/ 0 h 79"/>
                  <a:gd name="T4" fmla="*/ 0 w 56"/>
                  <a:gd name="T5" fmla="*/ 48 h 79"/>
                  <a:gd name="T6" fmla="*/ 56 w 56"/>
                  <a:gd name="T7" fmla="*/ 79 h 79"/>
                  <a:gd name="T8" fmla="*/ 56 w 56"/>
                  <a:gd name="T9" fmla="*/ 33 h 79"/>
                  <a:gd name="T10" fmla="*/ 56 w 56"/>
                  <a:gd name="T11" fmla="*/ 0 h 79"/>
                </a:gdLst>
                <a:ahLst/>
                <a:cxnLst>
                  <a:cxn ang="0">
                    <a:pos x="T0" y="T1"/>
                  </a:cxn>
                  <a:cxn ang="0">
                    <a:pos x="T2" y="T3"/>
                  </a:cxn>
                  <a:cxn ang="0">
                    <a:pos x="T4" y="T5"/>
                  </a:cxn>
                  <a:cxn ang="0">
                    <a:pos x="T6" y="T7"/>
                  </a:cxn>
                  <a:cxn ang="0">
                    <a:pos x="T8" y="T9"/>
                  </a:cxn>
                  <a:cxn ang="0">
                    <a:pos x="T10" y="T11"/>
                  </a:cxn>
                </a:cxnLst>
                <a:rect l="0" t="0" r="r" b="b"/>
                <a:pathLst>
                  <a:path w="56" h="79">
                    <a:moveTo>
                      <a:pt x="56" y="0"/>
                    </a:moveTo>
                    <a:lnTo>
                      <a:pt x="0" y="0"/>
                    </a:lnTo>
                    <a:lnTo>
                      <a:pt x="0" y="48"/>
                    </a:lnTo>
                    <a:lnTo>
                      <a:pt x="56" y="79"/>
                    </a:lnTo>
                    <a:lnTo>
                      <a:pt x="56" y="33"/>
                    </a:lnTo>
                    <a:lnTo>
                      <a:pt x="56" y="0"/>
                    </a:lnTo>
                    <a:close/>
                  </a:path>
                </a:pathLst>
              </a:custGeom>
              <a:solidFill>
                <a:srgbClr val="002A8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2" name="ïšļîďê">
                <a:extLst>
                  <a:ext uri="{FF2B5EF4-FFF2-40B4-BE49-F238E27FC236}">
                    <a16:creationId xmlns:a16="http://schemas.microsoft.com/office/drawing/2014/main" id="{12DFFCB8-23F1-9B42-AF13-AD35FD47F0D8}"/>
                  </a:ext>
                </a:extLst>
              </p:cNvPr>
              <p:cNvSpPr/>
              <p:nvPr/>
            </p:nvSpPr>
            <p:spPr bwMode="auto">
              <a:xfrm>
                <a:off x="5018127" y="3322731"/>
                <a:ext cx="77287" cy="109030"/>
              </a:xfrm>
              <a:custGeom>
                <a:avLst/>
                <a:gdLst>
                  <a:gd name="T0" fmla="*/ 56 w 56"/>
                  <a:gd name="T1" fmla="*/ 0 h 79"/>
                  <a:gd name="T2" fmla="*/ 0 w 56"/>
                  <a:gd name="T3" fmla="*/ 0 h 79"/>
                  <a:gd name="T4" fmla="*/ 0 w 56"/>
                  <a:gd name="T5" fmla="*/ 48 h 79"/>
                  <a:gd name="T6" fmla="*/ 56 w 56"/>
                  <a:gd name="T7" fmla="*/ 79 h 79"/>
                  <a:gd name="T8" fmla="*/ 56 w 56"/>
                  <a:gd name="T9" fmla="*/ 33 h 79"/>
                  <a:gd name="T10" fmla="*/ 56 w 56"/>
                  <a:gd name="T11" fmla="*/ 0 h 79"/>
                </a:gdLst>
                <a:ahLst/>
                <a:cxnLst>
                  <a:cxn ang="0">
                    <a:pos x="T0" y="T1"/>
                  </a:cxn>
                  <a:cxn ang="0">
                    <a:pos x="T2" y="T3"/>
                  </a:cxn>
                  <a:cxn ang="0">
                    <a:pos x="T4" y="T5"/>
                  </a:cxn>
                  <a:cxn ang="0">
                    <a:pos x="T6" y="T7"/>
                  </a:cxn>
                  <a:cxn ang="0">
                    <a:pos x="T8" y="T9"/>
                  </a:cxn>
                  <a:cxn ang="0">
                    <a:pos x="T10" y="T11"/>
                  </a:cxn>
                </a:cxnLst>
                <a:rect l="0" t="0" r="r" b="b"/>
                <a:pathLst>
                  <a:path w="56" h="79">
                    <a:moveTo>
                      <a:pt x="56" y="0"/>
                    </a:moveTo>
                    <a:lnTo>
                      <a:pt x="0" y="0"/>
                    </a:lnTo>
                    <a:lnTo>
                      <a:pt x="0" y="48"/>
                    </a:lnTo>
                    <a:lnTo>
                      <a:pt x="56" y="79"/>
                    </a:lnTo>
                    <a:lnTo>
                      <a:pt x="56" y="33"/>
                    </a:lnTo>
                    <a:lnTo>
                      <a:pt x="5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3" name="îṥļîdè">
                <a:extLst>
                  <a:ext uri="{FF2B5EF4-FFF2-40B4-BE49-F238E27FC236}">
                    <a16:creationId xmlns:a16="http://schemas.microsoft.com/office/drawing/2014/main" id="{67795CE6-B232-EA42-8B69-3290457F7B6B}"/>
                  </a:ext>
                </a:extLst>
              </p:cNvPr>
              <p:cNvSpPr/>
              <p:nvPr/>
            </p:nvSpPr>
            <p:spPr bwMode="auto">
              <a:xfrm>
                <a:off x="4225938" y="2188272"/>
                <a:ext cx="247042" cy="463720"/>
              </a:xfrm>
              <a:custGeom>
                <a:avLst/>
                <a:gdLst>
                  <a:gd name="T0" fmla="*/ 179 w 179"/>
                  <a:gd name="T1" fmla="*/ 336 h 336"/>
                  <a:gd name="T2" fmla="*/ 0 w 179"/>
                  <a:gd name="T3" fmla="*/ 336 h 336"/>
                  <a:gd name="T4" fmla="*/ 21 w 179"/>
                  <a:gd name="T5" fmla="*/ 0 h 336"/>
                  <a:gd name="T6" fmla="*/ 158 w 179"/>
                  <a:gd name="T7" fmla="*/ 0 h 336"/>
                  <a:gd name="T8" fmla="*/ 179 w 179"/>
                  <a:gd name="T9" fmla="*/ 336 h 336"/>
                </a:gdLst>
                <a:ahLst/>
                <a:cxnLst>
                  <a:cxn ang="0">
                    <a:pos x="T0" y="T1"/>
                  </a:cxn>
                  <a:cxn ang="0">
                    <a:pos x="T2" y="T3"/>
                  </a:cxn>
                  <a:cxn ang="0">
                    <a:pos x="T4" y="T5"/>
                  </a:cxn>
                  <a:cxn ang="0">
                    <a:pos x="T6" y="T7"/>
                  </a:cxn>
                  <a:cxn ang="0">
                    <a:pos x="T8" y="T9"/>
                  </a:cxn>
                </a:cxnLst>
                <a:rect l="0" t="0" r="r" b="b"/>
                <a:pathLst>
                  <a:path w="179" h="336">
                    <a:moveTo>
                      <a:pt x="179" y="336"/>
                    </a:moveTo>
                    <a:lnTo>
                      <a:pt x="0" y="336"/>
                    </a:lnTo>
                    <a:lnTo>
                      <a:pt x="21" y="0"/>
                    </a:lnTo>
                    <a:lnTo>
                      <a:pt x="158" y="0"/>
                    </a:lnTo>
                    <a:lnTo>
                      <a:pt x="179" y="336"/>
                    </a:lnTo>
                    <a:close/>
                  </a:path>
                </a:pathLst>
              </a:custGeom>
              <a:solidFill>
                <a:srgbClr val="FF70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4" name="iSľíḓe">
                <a:extLst>
                  <a:ext uri="{FF2B5EF4-FFF2-40B4-BE49-F238E27FC236}">
                    <a16:creationId xmlns:a16="http://schemas.microsoft.com/office/drawing/2014/main" id="{88B07985-E108-D34C-B478-288FD56C30F4}"/>
                  </a:ext>
                </a:extLst>
              </p:cNvPr>
              <p:cNvSpPr/>
              <p:nvPr/>
            </p:nvSpPr>
            <p:spPr bwMode="auto">
              <a:xfrm>
                <a:off x="4225938" y="2188272"/>
                <a:ext cx="247042" cy="463720"/>
              </a:xfrm>
              <a:custGeom>
                <a:avLst/>
                <a:gdLst>
                  <a:gd name="T0" fmla="*/ 179 w 179"/>
                  <a:gd name="T1" fmla="*/ 336 h 336"/>
                  <a:gd name="T2" fmla="*/ 0 w 179"/>
                  <a:gd name="T3" fmla="*/ 336 h 336"/>
                  <a:gd name="T4" fmla="*/ 21 w 179"/>
                  <a:gd name="T5" fmla="*/ 0 h 336"/>
                  <a:gd name="T6" fmla="*/ 158 w 179"/>
                  <a:gd name="T7" fmla="*/ 0 h 336"/>
                  <a:gd name="T8" fmla="*/ 179 w 179"/>
                  <a:gd name="T9" fmla="*/ 336 h 336"/>
                </a:gdLst>
                <a:ahLst/>
                <a:cxnLst>
                  <a:cxn ang="0">
                    <a:pos x="T0" y="T1"/>
                  </a:cxn>
                  <a:cxn ang="0">
                    <a:pos x="T2" y="T3"/>
                  </a:cxn>
                  <a:cxn ang="0">
                    <a:pos x="T4" y="T5"/>
                  </a:cxn>
                  <a:cxn ang="0">
                    <a:pos x="T6" y="T7"/>
                  </a:cxn>
                  <a:cxn ang="0">
                    <a:pos x="T8" y="T9"/>
                  </a:cxn>
                </a:cxnLst>
                <a:rect l="0" t="0" r="r" b="b"/>
                <a:pathLst>
                  <a:path w="179" h="336">
                    <a:moveTo>
                      <a:pt x="179" y="336"/>
                    </a:moveTo>
                    <a:lnTo>
                      <a:pt x="0" y="336"/>
                    </a:lnTo>
                    <a:lnTo>
                      <a:pt x="21" y="0"/>
                    </a:lnTo>
                    <a:lnTo>
                      <a:pt x="158" y="0"/>
                    </a:lnTo>
                    <a:lnTo>
                      <a:pt x="179" y="3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5" name="íṣlíḍê">
                <a:extLst>
                  <a:ext uri="{FF2B5EF4-FFF2-40B4-BE49-F238E27FC236}">
                    <a16:creationId xmlns:a16="http://schemas.microsoft.com/office/drawing/2014/main" id="{AAE791F7-FCB8-5943-98F4-BED251B71EDF}"/>
                  </a:ext>
                </a:extLst>
              </p:cNvPr>
              <p:cNvSpPr/>
              <p:nvPr/>
            </p:nvSpPr>
            <p:spPr bwMode="auto">
              <a:xfrm>
                <a:off x="4379131" y="2188272"/>
                <a:ext cx="85567" cy="324329"/>
              </a:xfrm>
              <a:custGeom>
                <a:avLst/>
                <a:gdLst>
                  <a:gd name="T0" fmla="*/ 47 w 62"/>
                  <a:gd name="T1" fmla="*/ 0 h 235"/>
                  <a:gd name="T2" fmla="*/ 10 w 62"/>
                  <a:gd name="T3" fmla="*/ 0 h 235"/>
                  <a:gd name="T4" fmla="*/ 0 w 62"/>
                  <a:gd name="T5" fmla="*/ 235 h 235"/>
                  <a:gd name="T6" fmla="*/ 47 w 62"/>
                  <a:gd name="T7" fmla="*/ 235 h 235"/>
                  <a:gd name="T8" fmla="*/ 62 w 62"/>
                  <a:gd name="T9" fmla="*/ 235 h 235"/>
                  <a:gd name="T10" fmla="*/ 62 w 62"/>
                  <a:gd name="T11" fmla="*/ 224 h 235"/>
                  <a:gd name="T12" fmla="*/ 58 w 62"/>
                  <a:gd name="T13" fmla="*/ 158 h 235"/>
                  <a:gd name="T14" fmla="*/ 47 w 62"/>
                  <a:gd name="T15" fmla="*/ 0 h 2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235">
                    <a:moveTo>
                      <a:pt x="47" y="0"/>
                    </a:moveTo>
                    <a:lnTo>
                      <a:pt x="10" y="0"/>
                    </a:lnTo>
                    <a:lnTo>
                      <a:pt x="0" y="235"/>
                    </a:lnTo>
                    <a:lnTo>
                      <a:pt x="47" y="235"/>
                    </a:lnTo>
                    <a:lnTo>
                      <a:pt x="62" y="235"/>
                    </a:lnTo>
                    <a:lnTo>
                      <a:pt x="62" y="224"/>
                    </a:lnTo>
                    <a:lnTo>
                      <a:pt x="58" y="158"/>
                    </a:lnTo>
                    <a:lnTo>
                      <a:pt x="47" y="0"/>
                    </a:lnTo>
                    <a:close/>
                  </a:path>
                </a:pathLst>
              </a:custGeom>
              <a:solidFill>
                <a:srgbClr val="D95F8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6" name="îṧ1íḍê">
                <a:extLst>
                  <a:ext uri="{FF2B5EF4-FFF2-40B4-BE49-F238E27FC236}">
                    <a16:creationId xmlns:a16="http://schemas.microsoft.com/office/drawing/2014/main" id="{1EAAE062-2BDB-5143-BFCF-512DB30CBEEC}"/>
                  </a:ext>
                </a:extLst>
              </p:cNvPr>
              <p:cNvSpPr/>
              <p:nvPr/>
            </p:nvSpPr>
            <p:spPr bwMode="auto">
              <a:xfrm>
                <a:off x="4379131" y="2188272"/>
                <a:ext cx="85567" cy="324329"/>
              </a:xfrm>
              <a:custGeom>
                <a:avLst/>
                <a:gdLst>
                  <a:gd name="T0" fmla="*/ 47 w 62"/>
                  <a:gd name="T1" fmla="*/ 0 h 235"/>
                  <a:gd name="T2" fmla="*/ 10 w 62"/>
                  <a:gd name="T3" fmla="*/ 0 h 235"/>
                  <a:gd name="T4" fmla="*/ 0 w 62"/>
                  <a:gd name="T5" fmla="*/ 235 h 235"/>
                  <a:gd name="T6" fmla="*/ 47 w 62"/>
                  <a:gd name="T7" fmla="*/ 235 h 235"/>
                  <a:gd name="T8" fmla="*/ 62 w 62"/>
                  <a:gd name="T9" fmla="*/ 235 h 235"/>
                  <a:gd name="T10" fmla="*/ 62 w 62"/>
                  <a:gd name="T11" fmla="*/ 224 h 235"/>
                  <a:gd name="T12" fmla="*/ 58 w 62"/>
                  <a:gd name="T13" fmla="*/ 158 h 235"/>
                  <a:gd name="T14" fmla="*/ 47 w 62"/>
                  <a:gd name="T15" fmla="*/ 0 h 2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235">
                    <a:moveTo>
                      <a:pt x="47" y="0"/>
                    </a:moveTo>
                    <a:lnTo>
                      <a:pt x="10" y="0"/>
                    </a:lnTo>
                    <a:lnTo>
                      <a:pt x="0" y="235"/>
                    </a:lnTo>
                    <a:lnTo>
                      <a:pt x="47" y="235"/>
                    </a:lnTo>
                    <a:lnTo>
                      <a:pt x="62" y="235"/>
                    </a:lnTo>
                    <a:lnTo>
                      <a:pt x="62" y="224"/>
                    </a:lnTo>
                    <a:lnTo>
                      <a:pt x="58" y="158"/>
                    </a:lnTo>
                    <a:lnTo>
                      <a:pt x="4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7" name="ïṥ1idê">
                <a:extLst>
                  <a:ext uri="{FF2B5EF4-FFF2-40B4-BE49-F238E27FC236}">
                    <a16:creationId xmlns:a16="http://schemas.microsoft.com/office/drawing/2014/main" id="{23ABE3AB-5AA6-8243-8153-914C2CA3D52F}"/>
                  </a:ext>
                </a:extLst>
              </p:cNvPr>
              <p:cNvSpPr/>
              <p:nvPr/>
            </p:nvSpPr>
            <p:spPr bwMode="auto">
              <a:xfrm>
                <a:off x="4163832" y="2614730"/>
                <a:ext cx="862576" cy="310527"/>
              </a:xfrm>
              <a:prstGeom prst="rect">
                <a:avLst/>
              </a:prstGeom>
              <a:solidFill>
                <a:srgbClr val="597FD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08" name="íṧḻîḓe">
                <a:extLst>
                  <a:ext uri="{FF2B5EF4-FFF2-40B4-BE49-F238E27FC236}">
                    <a16:creationId xmlns:a16="http://schemas.microsoft.com/office/drawing/2014/main" id="{FC25E0BF-89EE-8042-87D3-FA5F5B13A62D}"/>
                  </a:ext>
                </a:extLst>
              </p:cNvPr>
              <p:cNvSpPr/>
              <p:nvPr/>
            </p:nvSpPr>
            <p:spPr bwMode="auto">
              <a:xfrm>
                <a:off x="4163832" y="2614730"/>
                <a:ext cx="862576" cy="3105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09" name="iṥ1íḍè">
                <a:extLst>
                  <a:ext uri="{FF2B5EF4-FFF2-40B4-BE49-F238E27FC236}">
                    <a16:creationId xmlns:a16="http://schemas.microsoft.com/office/drawing/2014/main" id="{92BBA384-173A-7F4F-A0AE-A7668771D94A}"/>
                  </a:ext>
                </a:extLst>
              </p:cNvPr>
              <p:cNvSpPr/>
              <p:nvPr/>
            </p:nvSpPr>
            <p:spPr bwMode="auto">
              <a:xfrm>
                <a:off x="4140371" y="2614730"/>
                <a:ext cx="1024049" cy="66246"/>
              </a:xfrm>
              <a:prstGeom prst="rect">
                <a:avLst/>
              </a:prstGeom>
              <a:solidFill>
                <a:srgbClr val="0039B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10" name="ïsḻîḋê">
                <a:extLst>
                  <a:ext uri="{FF2B5EF4-FFF2-40B4-BE49-F238E27FC236}">
                    <a16:creationId xmlns:a16="http://schemas.microsoft.com/office/drawing/2014/main" id="{8B37D30C-56AF-5241-8ED6-A62E8449DA06}"/>
                  </a:ext>
                </a:extLst>
              </p:cNvPr>
              <p:cNvSpPr/>
              <p:nvPr/>
            </p:nvSpPr>
            <p:spPr bwMode="auto">
              <a:xfrm>
                <a:off x="4140371" y="2614730"/>
                <a:ext cx="1024049" cy="662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11" name="íṩľîďe">
                <a:extLst>
                  <a:ext uri="{FF2B5EF4-FFF2-40B4-BE49-F238E27FC236}">
                    <a16:creationId xmlns:a16="http://schemas.microsoft.com/office/drawing/2014/main" id="{B1E322E3-787D-DD43-9CE4-5F9FE116742B}"/>
                  </a:ext>
                </a:extLst>
              </p:cNvPr>
              <p:cNvSpPr/>
              <p:nvPr/>
            </p:nvSpPr>
            <p:spPr bwMode="auto">
              <a:xfrm>
                <a:off x="4243879" y="2741701"/>
                <a:ext cx="168375" cy="109030"/>
              </a:xfrm>
              <a:prstGeom prst="rect">
                <a:avLst/>
              </a:prstGeom>
              <a:solidFill>
                <a:srgbClr val="BFCEE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12" name="ïślïďé">
                <a:extLst>
                  <a:ext uri="{FF2B5EF4-FFF2-40B4-BE49-F238E27FC236}">
                    <a16:creationId xmlns:a16="http://schemas.microsoft.com/office/drawing/2014/main" id="{F91926C9-C99C-364D-A218-24B3E1D0DC21}"/>
                  </a:ext>
                </a:extLst>
              </p:cNvPr>
              <p:cNvSpPr/>
              <p:nvPr/>
            </p:nvSpPr>
            <p:spPr bwMode="auto">
              <a:xfrm>
                <a:off x="4243879" y="2741701"/>
                <a:ext cx="168375" cy="109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13" name="işḻîḋê">
                <a:extLst>
                  <a:ext uri="{FF2B5EF4-FFF2-40B4-BE49-F238E27FC236}">
                    <a16:creationId xmlns:a16="http://schemas.microsoft.com/office/drawing/2014/main" id="{EDA005B6-02F3-5A49-9069-0EFC13E5A451}"/>
                  </a:ext>
                </a:extLst>
              </p:cNvPr>
              <p:cNvSpPr/>
              <p:nvPr/>
            </p:nvSpPr>
            <p:spPr bwMode="auto">
              <a:xfrm>
                <a:off x="4243879" y="2741701"/>
                <a:ext cx="143533" cy="109030"/>
              </a:xfrm>
              <a:custGeom>
                <a:avLst/>
                <a:gdLst>
                  <a:gd name="T0" fmla="*/ 104 w 104"/>
                  <a:gd name="T1" fmla="*/ 0 h 79"/>
                  <a:gd name="T2" fmla="*/ 62 w 104"/>
                  <a:gd name="T3" fmla="*/ 0 h 79"/>
                  <a:gd name="T4" fmla="*/ 0 w 104"/>
                  <a:gd name="T5" fmla="*/ 79 h 79"/>
                  <a:gd name="T6" fmla="*/ 41 w 104"/>
                  <a:gd name="T7" fmla="*/ 79 h 79"/>
                  <a:gd name="T8" fmla="*/ 104 w 104"/>
                  <a:gd name="T9" fmla="*/ 0 h 79"/>
                </a:gdLst>
                <a:ahLst/>
                <a:cxnLst>
                  <a:cxn ang="0">
                    <a:pos x="T0" y="T1"/>
                  </a:cxn>
                  <a:cxn ang="0">
                    <a:pos x="T2" y="T3"/>
                  </a:cxn>
                  <a:cxn ang="0">
                    <a:pos x="T4" y="T5"/>
                  </a:cxn>
                  <a:cxn ang="0">
                    <a:pos x="T6" y="T7"/>
                  </a:cxn>
                  <a:cxn ang="0">
                    <a:pos x="T8" y="T9"/>
                  </a:cxn>
                </a:cxnLst>
                <a:rect l="0" t="0" r="r" b="b"/>
                <a:pathLst>
                  <a:path w="104" h="79">
                    <a:moveTo>
                      <a:pt x="104" y="0"/>
                    </a:moveTo>
                    <a:lnTo>
                      <a:pt x="62" y="0"/>
                    </a:lnTo>
                    <a:lnTo>
                      <a:pt x="0" y="79"/>
                    </a:lnTo>
                    <a:lnTo>
                      <a:pt x="41" y="79"/>
                    </a:lnTo>
                    <a:lnTo>
                      <a:pt x="104" y="0"/>
                    </a:lnTo>
                    <a:close/>
                  </a:path>
                </a:pathLst>
              </a:custGeom>
              <a:solidFill>
                <a:srgbClr val="DAE3F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4" name="išḻïḋê">
                <a:extLst>
                  <a:ext uri="{FF2B5EF4-FFF2-40B4-BE49-F238E27FC236}">
                    <a16:creationId xmlns:a16="http://schemas.microsoft.com/office/drawing/2014/main" id="{1D730231-9D81-EB45-8DCD-D0CD3BFA444B}"/>
                  </a:ext>
                </a:extLst>
              </p:cNvPr>
              <p:cNvSpPr/>
              <p:nvPr/>
            </p:nvSpPr>
            <p:spPr bwMode="auto">
              <a:xfrm>
                <a:off x="4243879" y="2741701"/>
                <a:ext cx="143533" cy="109030"/>
              </a:xfrm>
              <a:custGeom>
                <a:avLst/>
                <a:gdLst>
                  <a:gd name="T0" fmla="*/ 104 w 104"/>
                  <a:gd name="T1" fmla="*/ 0 h 79"/>
                  <a:gd name="T2" fmla="*/ 62 w 104"/>
                  <a:gd name="T3" fmla="*/ 0 h 79"/>
                  <a:gd name="T4" fmla="*/ 0 w 104"/>
                  <a:gd name="T5" fmla="*/ 79 h 79"/>
                  <a:gd name="T6" fmla="*/ 41 w 104"/>
                  <a:gd name="T7" fmla="*/ 79 h 79"/>
                  <a:gd name="T8" fmla="*/ 104 w 104"/>
                  <a:gd name="T9" fmla="*/ 0 h 79"/>
                </a:gdLst>
                <a:ahLst/>
                <a:cxnLst>
                  <a:cxn ang="0">
                    <a:pos x="T0" y="T1"/>
                  </a:cxn>
                  <a:cxn ang="0">
                    <a:pos x="T2" y="T3"/>
                  </a:cxn>
                  <a:cxn ang="0">
                    <a:pos x="T4" y="T5"/>
                  </a:cxn>
                  <a:cxn ang="0">
                    <a:pos x="T6" y="T7"/>
                  </a:cxn>
                  <a:cxn ang="0">
                    <a:pos x="T8" y="T9"/>
                  </a:cxn>
                </a:cxnLst>
                <a:rect l="0" t="0" r="r" b="b"/>
                <a:pathLst>
                  <a:path w="104" h="79">
                    <a:moveTo>
                      <a:pt x="104" y="0"/>
                    </a:moveTo>
                    <a:lnTo>
                      <a:pt x="62" y="0"/>
                    </a:lnTo>
                    <a:lnTo>
                      <a:pt x="0" y="79"/>
                    </a:lnTo>
                    <a:lnTo>
                      <a:pt x="41" y="79"/>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5" name="ï$ľïḑe">
                <a:extLst>
                  <a:ext uri="{FF2B5EF4-FFF2-40B4-BE49-F238E27FC236}">
                    <a16:creationId xmlns:a16="http://schemas.microsoft.com/office/drawing/2014/main" id="{FE0F575E-9D79-4645-8DC5-E57C9D97CB65}"/>
                  </a:ext>
                </a:extLst>
              </p:cNvPr>
              <p:cNvSpPr/>
              <p:nvPr/>
            </p:nvSpPr>
            <p:spPr bwMode="auto">
              <a:xfrm>
                <a:off x="4235598" y="2733420"/>
                <a:ext cx="186317" cy="125591"/>
              </a:xfrm>
              <a:custGeom>
                <a:avLst/>
                <a:gdLst>
                  <a:gd name="T0" fmla="*/ 135 w 135"/>
                  <a:gd name="T1" fmla="*/ 91 h 91"/>
                  <a:gd name="T2" fmla="*/ 0 w 135"/>
                  <a:gd name="T3" fmla="*/ 91 h 91"/>
                  <a:gd name="T4" fmla="*/ 0 w 135"/>
                  <a:gd name="T5" fmla="*/ 0 h 91"/>
                  <a:gd name="T6" fmla="*/ 135 w 135"/>
                  <a:gd name="T7" fmla="*/ 0 h 91"/>
                  <a:gd name="T8" fmla="*/ 135 w 135"/>
                  <a:gd name="T9" fmla="*/ 91 h 91"/>
                  <a:gd name="T10" fmla="*/ 12 w 135"/>
                  <a:gd name="T11" fmla="*/ 78 h 91"/>
                  <a:gd name="T12" fmla="*/ 122 w 135"/>
                  <a:gd name="T13" fmla="*/ 78 h 91"/>
                  <a:gd name="T14" fmla="*/ 122 w 135"/>
                  <a:gd name="T15" fmla="*/ 12 h 91"/>
                  <a:gd name="T16" fmla="*/ 12 w 135"/>
                  <a:gd name="T17" fmla="*/ 12 h 91"/>
                  <a:gd name="T18" fmla="*/ 12 w 135"/>
                  <a:gd name="T19" fmla="*/ 7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91">
                    <a:moveTo>
                      <a:pt x="135" y="91"/>
                    </a:moveTo>
                    <a:lnTo>
                      <a:pt x="0" y="91"/>
                    </a:lnTo>
                    <a:lnTo>
                      <a:pt x="0" y="0"/>
                    </a:lnTo>
                    <a:lnTo>
                      <a:pt x="135" y="0"/>
                    </a:lnTo>
                    <a:lnTo>
                      <a:pt x="135" y="91"/>
                    </a:lnTo>
                    <a:close/>
                    <a:moveTo>
                      <a:pt x="12" y="78"/>
                    </a:moveTo>
                    <a:lnTo>
                      <a:pt x="122" y="78"/>
                    </a:lnTo>
                    <a:lnTo>
                      <a:pt x="122" y="12"/>
                    </a:lnTo>
                    <a:lnTo>
                      <a:pt x="12" y="12"/>
                    </a:lnTo>
                    <a:lnTo>
                      <a:pt x="12" y="78"/>
                    </a:lnTo>
                    <a:close/>
                  </a:path>
                </a:pathLst>
              </a:custGeom>
              <a:solidFill>
                <a:srgbClr val="2657C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6" name="ïsľíḑé">
                <a:extLst>
                  <a:ext uri="{FF2B5EF4-FFF2-40B4-BE49-F238E27FC236}">
                    <a16:creationId xmlns:a16="http://schemas.microsoft.com/office/drawing/2014/main" id="{E1F9715A-92D5-CB45-8E3A-A01719AE8123}"/>
                  </a:ext>
                </a:extLst>
              </p:cNvPr>
              <p:cNvSpPr/>
              <p:nvPr/>
            </p:nvSpPr>
            <p:spPr bwMode="auto">
              <a:xfrm>
                <a:off x="4510243" y="2741701"/>
                <a:ext cx="169755" cy="202878"/>
              </a:xfrm>
              <a:prstGeom prst="rect">
                <a:avLst/>
              </a:prstGeom>
              <a:solidFill>
                <a:srgbClr val="0039B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17" name="îŝḻîḓè">
                <a:extLst>
                  <a:ext uri="{FF2B5EF4-FFF2-40B4-BE49-F238E27FC236}">
                    <a16:creationId xmlns:a16="http://schemas.microsoft.com/office/drawing/2014/main" id="{ED0B5B1F-9C30-8445-B930-C517C67B8A6E}"/>
                  </a:ext>
                </a:extLst>
              </p:cNvPr>
              <p:cNvSpPr/>
              <p:nvPr/>
            </p:nvSpPr>
            <p:spPr bwMode="auto">
              <a:xfrm>
                <a:off x="4776606" y="2741701"/>
                <a:ext cx="169755" cy="109030"/>
              </a:xfrm>
              <a:prstGeom prst="rect">
                <a:avLst/>
              </a:prstGeom>
              <a:solidFill>
                <a:srgbClr val="BFCEE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18" name="ïśļíḋè">
                <a:extLst>
                  <a:ext uri="{FF2B5EF4-FFF2-40B4-BE49-F238E27FC236}">
                    <a16:creationId xmlns:a16="http://schemas.microsoft.com/office/drawing/2014/main" id="{8A98705A-107C-1141-BEC4-F2B571FBA5E9}"/>
                  </a:ext>
                </a:extLst>
              </p:cNvPr>
              <p:cNvSpPr/>
              <p:nvPr/>
            </p:nvSpPr>
            <p:spPr bwMode="auto">
              <a:xfrm>
                <a:off x="4776606" y="2741701"/>
                <a:ext cx="169755" cy="109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19" name="íśḻïḍè">
                <a:extLst>
                  <a:ext uri="{FF2B5EF4-FFF2-40B4-BE49-F238E27FC236}">
                    <a16:creationId xmlns:a16="http://schemas.microsoft.com/office/drawing/2014/main" id="{563999FD-CDA4-1147-93C4-17C8676B07EA}"/>
                  </a:ext>
                </a:extLst>
              </p:cNvPr>
              <p:cNvSpPr/>
              <p:nvPr/>
            </p:nvSpPr>
            <p:spPr bwMode="auto">
              <a:xfrm>
                <a:off x="4776606" y="2741701"/>
                <a:ext cx="143533" cy="109030"/>
              </a:xfrm>
              <a:custGeom>
                <a:avLst/>
                <a:gdLst>
                  <a:gd name="T0" fmla="*/ 104 w 104"/>
                  <a:gd name="T1" fmla="*/ 0 h 79"/>
                  <a:gd name="T2" fmla="*/ 63 w 104"/>
                  <a:gd name="T3" fmla="*/ 0 h 79"/>
                  <a:gd name="T4" fmla="*/ 0 w 104"/>
                  <a:gd name="T5" fmla="*/ 79 h 79"/>
                  <a:gd name="T6" fmla="*/ 42 w 104"/>
                  <a:gd name="T7" fmla="*/ 79 h 79"/>
                  <a:gd name="T8" fmla="*/ 104 w 104"/>
                  <a:gd name="T9" fmla="*/ 0 h 79"/>
                </a:gdLst>
                <a:ahLst/>
                <a:cxnLst>
                  <a:cxn ang="0">
                    <a:pos x="T0" y="T1"/>
                  </a:cxn>
                  <a:cxn ang="0">
                    <a:pos x="T2" y="T3"/>
                  </a:cxn>
                  <a:cxn ang="0">
                    <a:pos x="T4" y="T5"/>
                  </a:cxn>
                  <a:cxn ang="0">
                    <a:pos x="T6" y="T7"/>
                  </a:cxn>
                  <a:cxn ang="0">
                    <a:pos x="T8" y="T9"/>
                  </a:cxn>
                </a:cxnLst>
                <a:rect l="0" t="0" r="r" b="b"/>
                <a:pathLst>
                  <a:path w="104" h="79">
                    <a:moveTo>
                      <a:pt x="104" y="0"/>
                    </a:moveTo>
                    <a:lnTo>
                      <a:pt x="63" y="0"/>
                    </a:lnTo>
                    <a:lnTo>
                      <a:pt x="0" y="79"/>
                    </a:lnTo>
                    <a:lnTo>
                      <a:pt x="42" y="79"/>
                    </a:lnTo>
                    <a:lnTo>
                      <a:pt x="104" y="0"/>
                    </a:lnTo>
                    <a:close/>
                  </a:path>
                </a:pathLst>
              </a:custGeom>
              <a:solidFill>
                <a:srgbClr val="DAE3F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0" name="ïṩ1íḓé">
                <a:extLst>
                  <a:ext uri="{FF2B5EF4-FFF2-40B4-BE49-F238E27FC236}">
                    <a16:creationId xmlns:a16="http://schemas.microsoft.com/office/drawing/2014/main" id="{28809ED7-93AB-7E44-B790-B722DC874DAC}"/>
                  </a:ext>
                </a:extLst>
              </p:cNvPr>
              <p:cNvSpPr/>
              <p:nvPr/>
            </p:nvSpPr>
            <p:spPr bwMode="auto">
              <a:xfrm>
                <a:off x="4776606" y="2741701"/>
                <a:ext cx="143533" cy="109030"/>
              </a:xfrm>
              <a:custGeom>
                <a:avLst/>
                <a:gdLst>
                  <a:gd name="T0" fmla="*/ 104 w 104"/>
                  <a:gd name="T1" fmla="*/ 0 h 79"/>
                  <a:gd name="T2" fmla="*/ 63 w 104"/>
                  <a:gd name="T3" fmla="*/ 0 h 79"/>
                  <a:gd name="T4" fmla="*/ 0 w 104"/>
                  <a:gd name="T5" fmla="*/ 79 h 79"/>
                  <a:gd name="T6" fmla="*/ 42 w 104"/>
                  <a:gd name="T7" fmla="*/ 79 h 79"/>
                  <a:gd name="T8" fmla="*/ 104 w 104"/>
                  <a:gd name="T9" fmla="*/ 0 h 79"/>
                </a:gdLst>
                <a:ahLst/>
                <a:cxnLst>
                  <a:cxn ang="0">
                    <a:pos x="T0" y="T1"/>
                  </a:cxn>
                  <a:cxn ang="0">
                    <a:pos x="T2" y="T3"/>
                  </a:cxn>
                  <a:cxn ang="0">
                    <a:pos x="T4" y="T5"/>
                  </a:cxn>
                  <a:cxn ang="0">
                    <a:pos x="T6" y="T7"/>
                  </a:cxn>
                  <a:cxn ang="0">
                    <a:pos x="T8" y="T9"/>
                  </a:cxn>
                </a:cxnLst>
                <a:rect l="0" t="0" r="r" b="b"/>
                <a:pathLst>
                  <a:path w="104" h="79">
                    <a:moveTo>
                      <a:pt x="104" y="0"/>
                    </a:moveTo>
                    <a:lnTo>
                      <a:pt x="63" y="0"/>
                    </a:lnTo>
                    <a:lnTo>
                      <a:pt x="0" y="79"/>
                    </a:lnTo>
                    <a:lnTo>
                      <a:pt x="42" y="79"/>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1" name="îSḷïďé">
                <a:extLst>
                  <a:ext uri="{FF2B5EF4-FFF2-40B4-BE49-F238E27FC236}">
                    <a16:creationId xmlns:a16="http://schemas.microsoft.com/office/drawing/2014/main" id="{FFADBDE8-43D8-2141-B7BB-016B4F6E2F81}"/>
                  </a:ext>
                </a:extLst>
              </p:cNvPr>
              <p:cNvSpPr/>
              <p:nvPr/>
            </p:nvSpPr>
            <p:spPr bwMode="auto">
              <a:xfrm>
                <a:off x="4768325" y="2733420"/>
                <a:ext cx="186317" cy="125591"/>
              </a:xfrm>
              <a:custGeom>
                <a:avLst/>
                <a:gdLst>
                  <a:gd name="T0" fmla="*/ 135 w 135"/>
                  <a:gd name="T1" fmla="*/ 91 h 91"/>
                  <a:gd name="T2" fmla="*/ 0 w 135"/>
                  <a:gd name="T3" fmla="*/ 91 h 91"/>
                  <a:gd name="T4" fmla="*/ 0 w 135"/>
                  <a:gd name="T5" fmla="*/ 0 h 91"/>
                  <a:gd name="T6" fmla="*/ 135 w 135"/>
                  <a:gd name="T7" fmla="*/ 0 h 91"/>
                  <a:gd name="T8" fmla="*/ 135 w 135"/>
                  <a:gd name="T9" fmla="*/ 91 h 91"/>
                  <a:gd name="T10" fmla="*/ 13 w 135"/>
                  <a:gd name="T11" fmla="*/ 78 h 91"/>
                  <a:gd name="T12" fmla="*/ 123 w 135"/>
                  <a:gd name="T13" fmla="*/ 78 h 91"/>
                  <a:gd name="T14" fmla="*/ 123 w 135"/>
                  <a:gd name="T15" fmla="*/ 12 h 91"/>
                  <a:gd name="T16" fmla="*/ 13 w 135"/>
                  <a:gd name="T17" fmla="*/ 12 h 91"/>
                  <a:gd name="T18" fmla="*/ 13 w 135"/>
                  <a:gd name="T19" fmla="*/ 7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91">
                    <a:moveTo>
                      <a:pt x="135" y="91"/>
                    </a:moveTo>
                    <a:lnTo>
                      <a:pt x="0" y="91"/>
                    </a:lnTo>
                    <a:lnTo>
                      <a:pt x="0" y="0"/>
                    </a:lnTo>
                    <a:lnTo>
                      <a:pt x="135" y="0"/>
                    </a:lnTo>
                    <a:lnTo>
                      <a:pt x="135" y="91"/>
                    </a:lnTo>
                    <a:close/>
                    <a:moveTo>
                      <a:pt x="13" y="78"/>
                    </a:moveTo>
                    <a:lnTo>
                      <a:pt x="123" y="78"/>
                    </a:lnTo>
                    <a:lnTo>
                      <a:pt x="123" y="12"/>
                    </a:lnTo>
                    <a:lnTo>
                      <a:pt x="13" y="12"/>
                    </a:lnTo>
                    <a:lnTo>
                      <a:pt x="13" y="78"/>
                    </a:lnTo>
                    <a:close/>
                  </a:path>
                </a:pathLst>
              </a:custGeom>
              <a:solidFill>
                <a:srgbClr val="2657C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2" name="išľíďè">
                <a:extLst>
                  <a:ext uri="{FF2B5EF4-FFF2-40B4-BE49-F238E27FC236}">
                    <a16:creationId xmlns:a16="http://schemas.microsoft.com/office/drawing/2014/main" id="{08E18882-B9CA-1F44-8B49-09E9FA8F95B8}"/>
                  </a:ext>
                </a:extLst>
              </p:cNvPr>
              <p:cNvSpPr/>
              <p:nvPr/>
            </p:nvSpPr>
            <p:spPr bwMode="auto">
              <a:xfrm>
                <a:off x="4501962" y="2733420"/>
                <a:ext cx="186317" cy="219440"/>
              </a:xfrm>
              <a:custGeom>
                <a:avLst/>
                <a:gdLst>
                  <a:gd name="T0" fmla="*/ 135 w 135"/>
                  <a:gd name="T1" fmla="*/ 159 h 159"/>
                  <a:gd name="T2" fmla="*/ 0 w 135"/>
                  <a:gd name="T3" fmla="*/ 159 h 159"/>
                  <a:gd name="T4" fmla="*/ 0 w 135"/>
                  <a:gd name="T5" fmla="*/ 0 h 159"/>
                  <a:gd name="T6" fmla="*/ 135 w 135"/>
                  <a:gd name="T7" fmla="*/ 0 h 159"/>
                  <a:gd name="T8" fmla="*/ 135 w 135"/>
                  <a:gd name="T9" fmla="*/ 159 h 159"/>
                  <a:gd name="T10" fmla="*/ 12 w 135"/>
                  <a:gd name="T11" fmla="*/ 147 h 159"/>
                  <a:gd name="T12" fmla="*/ 122 w 135"/>
                  <a:gd name="T13" fmla="*/ 147 h 159"/>
                  <a:gd name="T14" fmla="*/ 122 w 135"/>
                  <a:gd name="T15" fmla="*/ 12 h 159"/>
                  <a:gd name="T16" fmla="*/ 12 w 135"/>
                  <a:gd name="T17" fmla="*/ 12 h 159"/>
                  <a:gd name="T18" fmla="*/ 12 w 135"/>
                  <a:gd name="T19" fmla="*/ 14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159">
                    <a:moveTo>
                      <a:pt x="135" y="159"/>
                    </a:moveTo>
                    <a:lnTo>
                      <a:pt x="0" y="159"/>
                    </a:lnTo>
                    <a:lnTo>
                      <a:pt x="0" y="0"/>
                    </a:lnTo>
                    <a:lnTo>
                      <a:pt x="135" y="0"/>
                    </a:lnTo>
                    <a:lnTo>
                      <a:pt x="135" y="159"/>
                    </a:lnTo>
                    <a:close/>
                    <a:moveTo>
                      <a:pt x="12" y="147"/>
                    </a:moveTo>
                    <a:lnTo>
                      <a:pt x="122" y="147"/>
                    </a:lnTo>
                    <a:lnTo>
                      <a:pt x="122" y="12"/>
                    </a:lnTo>
                    <a:lnTo>
                      <a:pt x="12" y="12"/>
                    </a:lnTo>
                    <a:lnTo>
                      <a:pt x="12" y="147"/>
                    </a:lnTo>
                    <a:close/>
                  </a:path>
                </a:pathLst>
              </a:custGeom>
              <a:solidFill>
                <a:srgbClr val="2657C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3" name="iṥ1îde">
                <a:extLst>
                  <a:ext uri="{FF2B5EF4-FFF2-40B4-BE49-F238E27FC236}">
                    <a16:creationId xmlns:a16="http://schemas.microsoft.com/office/drawing/2014/main" id="{1AF8746C-4E3F-1E4D-BCF2-CC30C6F68493}"/>
                  </a:ext>
                </a:extLst>
              </p:cNvPr>
              <p:cNvSpPr/>
              <p:nvPr/>
            </p:nvSpPr>
            <p:spPr bwMode="auto">
              <a:xfrm>
                <a:off x="5026408" y="2614730"/>
                <a:ext cx="138012" cy="66246"/>
              </a:xfrm>
              <a:custGeom>
                <a:avLst/>
                <a:gdLst>
                  <a:gd name="T0" fmla="*/ 100 w 100"/>
                  <a:gd name="T1" fmla="*/ 0 h 48"/>
                  <a:gd name="T2" fmla="*/ 10 w 100"/>
                  <a:gd name="T3" fmla="*/ 0 h 48"/>
                  <a:gd name="T4" fmla="*/ 0 w 100"/>
                  <a:gd name="T5" fmla="*/ 0 h 48"/>
                  <a:gd name="T6" fmla="*/ 0 w 100"/>
                  <a:gd name="T7" fmla="*/ 48 h 48"/>
                  <a:gd name="T8" fmla="*/ 100 w 100"/>
                  <a:gd name="T9" fmla="*/ 48 h 48"/>
                  <a:gd name="T10" fmla="*/ 100 w 100"/>
                  <a:gd name="T11" fmla="*/ 38 h 48"/>
                  <a:gd name="T12" fmla="*/ 100 w 100"/>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100" h="48">
                    <a:moveTo>
                      <a:pt x="100" y="0"/>
                    </a:moveTo>
                    <a:lnTo>
                      <a:pt x="10" y="0"/>
                    </a:lnTo>
                    <a:lnTo>
                      <a:pt x="0" y="0"/>
                    </a:lnTo>
                    <a:lnTo>
                      <a:pt x="0" y="48"/>
                    </a:lnTo>
                    <a:lnTo>
                      <a:pt x="100" y="48"/>
                    </a:lnTo>
                    <a:lnTo>
                      <a:pt x="100" y="38"/>
                    </a:lnTo>
                    <a:lnTo>
                      <a:pt x="100" y="0"/>
                    </a:lnTo>
                    <a:close/>
                  </a:path>
                </a:pathLst>
              </a:custGeom>
              <a:solidFill>
                <a:srgbClr val="0031A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4" name="íṡḻiḍè">
                <a:extLst>
                  <a:ext uri="{FF2B5EF4-FFF2-40B4-BE49-F238E27FC236}">
                    <a16:creationId xmlns:a16="http://schemas.microsoft.com/office/drawing/2014/main" id="{B52B61CE-E7A1-C54F-BEF3-585453DE83AB}"/>
                  </a:ext>
                </a:extLst>
              </p:cNvPr>
              <p:cNvSpPr/>
              <p:nvPr/>
            </p:nvSpPr>
            <p:spPr bwMode="auto">
              <a:xfrm>
                <a:off x="5026408" y="2614730"/>
                <a:ext cx="138012" cy="66246"/>
              </a:xfrm>
              <a:custGeom>
                <a:avLst/>
                <a:gdLst>
                  <a:gd name="T0" fmla="*/ 100 w 100"/>
                  <a:gd name="T1" fmla="*/ 0 h 48"/>
                  <a:gd name="T2" fmla="*/ 10 w 100"/>
                  <a:gd name="T3" fmla="*/ 0 h 48"/>
                  <a:gd name="T4" fmla="*/ 0 w 100"/>
                  <a:gd name="T5" fmla="*/ 0 h 48"/>
                  <a:gd name="T6" fmla="*/ 0 w 100"/>
                  <a:gd name="T7" fmla="*/ 48 h 48"/>
                  <a:gd name="T8" fmla="*/ 100 w 100"/>
                  <a:gd name="T9" fmla="*/ 48 h 48"/>
                  <a:gd name="T10" fmla="*/ 100 w 100"/>
                  <a:gd name="T11" fmla="*/ 38 h 48"/>
                  <a:gd name="T12" fmla="*/ 100 w 100"/>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100" h="48">
                    <a:moveTo>
                      <a:pt x="100" y="0"/>
                    </a:moveTo>
                    <a:lnTo>
                      <a:pt x="10" y="0"/>
                    </a:lnTo>
                    <a:lnTo>
                      <a:pt x="0" y="0"/>
                    </a:lnTo>
                    <a:lnTo>
                      <a:pt x="0" y="48"/>
                    </a:lnTo>
                    <a:lnTo>
                      <a:pt x="100" y="48"/>
                    </a:lnTo>
                    <a:lnTo>
                      <a:pt x="100" y="38"/>
                    </a:lnTo>
                    <a:lnTo>
                      <a:pt x="10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5" name="íSḷiḑe">
                <a:extLst>
                  <a:ext uri="{FF2B5EF4-FFF2-40B4-BE49-F238E27FC236}">
                    <a16:creationId xmlns:a16="http://schemas.microsoft.com/office/drawing/2014/main" id="{0182E033-957E-844D-862A-8F389D0CEDD3}"/>
                  </a:ext>
                </a:extLst>
              </p:cNvPr>
              <p:cNvSpPr/>
              <p:nvPr/>
            </p:nvSpPr>
            <p:spPr bwMode="auto">
              <a:xfrm>
                <a:off x="4114148" y="2609210"/>
                <a:ext cx="114550" cy="12422"/>
              </a:xfrm>
              <a:custGeom>
                <a:avLst/>
                <a:gdLst>
                  <a:gd name="T0" fmla="*/ 38 w 40"/>
                  <a:gd name="T1" fmla="*/ 4 h 4"/>
                  <a:gd name="T2" fmla="*/ 2 w 40"/>
                  <a:gd name="T3" fmla="*/ 4 h 4"/>
                  <a:gd name="T4" fmla="*/ 0 w 40"/>
                  <a:gd name="T5" fmla="*/ 2 h 4"/>
                  <a:gd name="T6" fmla="*/ 2 w 40"/>
                  <a:gd name="T7" fmla="*/ 0 h 4"/>
                  <a:gd name="T8" fmla="*/ 38 w 40"/>
                  <a:gd name="T9" fmla="*/ 0 h 4"/>
                  <a:gd name="T10" fmla="*/ 40 w 40"/>
                  <a:gd name="T11" fmla="*/ 2 h 4"/>
                  <a:gd name="T12" fmla="*/ 38 w 4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40" h="4">
                    <a:moveTo>
                      <a:pt x="38" y="4"/>
                    </a:moveTo>
                    <a:cubicBezTo>
                      <a:pt x="2" y="4"/>
                      <a:pt x="2" y="4"/>
                      <a:pt x="2" y="4"/>
                    </a:cubicBezTo>
                    <a:cubicBezTo>
                      <a:pt x="1" y="4"/>
                      <a:pt x="0" y="3"/>
                      <a:pt x="0" y="2"/>
                    </a:cubicBezTo>
                    <a:cubicBezTo>
                      <a:pt x="0" y="1"/>
                      <a:pt x="1" y="0"/>
                      <a:pt x="2" y="0"/>
                    </a:cubicBezTo>
                    <a:cubicBezTo>
                      <a:pt x="38" y="0"/>
                      <a:pt x="38" y="0"/>
                      <a:pt x="38" y="0"/>
                    </a:cubicBezTo>
                    <a:cubicBezTo>
                      <a:pt x="39" y="0"/>
                      <a:pt x="40" y="1"/>
                      <a:pt x="40" y="2"/>
                    </a:cubicBezTo>
                    <a:cubicBezTo>
                      <a:pt x="40" y="3"/>
                      <a:pt x="39" y="4"/>
                      <a:pt x="38" y="4"/>
                    </a:cubicBez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6" name="ísḻidé">
                <a:extLst>
                  <a:ext uri="{FF2B5EF4-FFF2-40B4-BE49-F238E27FC236}">
                    <a16:creationId xmlns:a16="http://schemas.microsoft.com/office/drawing/2014/main" id="{874FBC2E-E180-FF42-B953-20F9CDE47961}"/>
                  </a:ext>
                </a:extLst>
              </p:cNvPr>
              <p:cNvSpPr/>
              <p:nvPr/>
            </p:nvSpPr>
            <p:spPr bwMode="auto">
              <a:xfrm>
                <a:off x="4103107" y="2678216"/>
                <a:ext cx="111790" cy="11041"/>
              </a:xfrm>
              <a:custGeom>
                <a:avLst/>
                <a:gdLst>
                  <a:gd name="T0" fmla="*/ 37 w 39"/>
                  <a:gd name="T1" fmla="*/ 4 h 4"/>
                  <a:gd name="T2" fmla="*/ 2 w 39"/>
                  <a:gd name="T3" fmla="*/ 4 h 4"/>
                  <a:gd name="T4" fmla="*/ 0 w 39"/>
                  <a:gd name="T5" fmla="*/ 2 h 4"/>
                  <a:gd name="T6" fmla="*/ 2 w 39"/>
                  <a:gd name="T7" fmla="*/ 0 h 4"/>
                  <a:gd name="T8" fmla="*/ 37 w 39"/>
                  <a:gd name="T9" fmla="*/ 0 h 4"/>
                  <a:gd name="T10" fmla="*/ 39 w 39"/>
                  <a:gd name="T11" fmla="*/ 2 h 4"/>
                  <a:gd name="T12" fmla="*/ 37 w 39"/>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9" h="4">
                    <a:moveTo>
                      <a:pt x="37" y="4"/>
                    </a:moveTo>
                    <a:cubicBezTo>
                      <a:pt x="2" y="4"/>
                      <a:pt x="2" y="4"/>
                      <a:pt x="2" y="4"/>
                    </a:cubicBezTo>
                    <a:cubicBezTo>
                      <a:pt x="1" y="4"/>
                      <a:pt x="0" y="3"/>
                      <a:pt x="0" y="2"/>
                    </a:cubicBezTo>
                    <a:cubicBezTo>
                      <a:pt x="0" y="1"/>
                      <a:pt x="1" y="0"/>
                      <a:pt x="2" y="0"/>
                    </a:cubicBezTo>
                    <a:cubicBezTo>
                      <a:pt x="37" y="0"/>
                      <a:pt x="37" y="0"/>
                      <a:pt x="37" y="0"/>
                    </a:cubicBezTo>
                    <a:cubicBezTo>
                      <a:pt x="38" y="0"/>
                      <a:pt x="39" y="1"/>
                      <a:pt x="39" y="2"/>
                    </a:cubicBezTo>
                    <a:cubicBezTo>
                      <a:pt x="39" y="3"/>
                      <a:pt x="38" y="4"/>
                      <a:pt x="37" y="4"/>
                    </a:cubicBez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7" name="îşľïḍè">
                <a:extLst>
                  <a:ext uri="{FF2B5EF4-FFF2-40B4-BE49-F238E27FC236}">
                    <a16:creationId xmlns:a16="http://schemas.microsoft.com/office/drawing/2014/main" id="{9049AF16-B24D-8E47-B150-77333148EE8E}"/>
                  </a:ext>
                </a:extLst>
              </p:cNvPr>
              <p:cNvSpPr/>
              <p:nvPr/>
            </p:nvSpPr>
            <p:spPr bwMode="auto">
              <a:xfrm>
                <a:off x="4089306" y="2747222"/>
                <a:ext cx="114550" cy="11041"/>
              </a:xfrm>
              <a:custGeom>
                <a:avLst/>
                <a:gdLst>
                  <a:gd name="T0" fmla="*/ 38 w 40"/>
                  <a:gd name="T1" fmla="*/ 4 h 4"/>
                  <a:gd name="T2" fmla="*/ 3 w 40"/>
                  <a:gd name="T3" fmla="*/ 4 h 4"/>
                  <a:gd name="T4" fmla="*/ 0 w 40"/>
                  <a:gd name="T5" fmla="*/ 2 h 4"/>
                  <a:gd name="T6" fmla="*/ 3 w 40"/>
                  <a:gd name="T7" fmla="*/ 0 h 4"/>
                  <a:gd name="T8" fmla="*/ 38 w 40"/>
                  <a:gd name="T9" fmla="*/ 0 h 4"/>
                  <a:gd name="T10" fmla="*/ 40 w 40"/>
                  <a:gd name="T11" fmla="*/ 2 h 4"/>
                  <a:gd name="T12" fmla="*/ 38 w 4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40" h="4">
                    <a:moveTo>
                      <a:pt x="38" y="4"/>
                    </a:moveTo>
                    <a:cubicBezTo>
                      <a:pt x="3" y="4"/>
                      <a:pt x="3" y="4"/>
                      <a:pt x="3" y="4"/>
                    </a:cubicBezTo>
                    <a:cubicBezTo>
                      <a:pt x="1" y="4"/>
                      <a:pt x="0" y="3"/>
                      <a:pt x="0" y="2"/>
                    </a:cubicBezTo>
                    <a:cubicBezTo>
                      <a:pt x="0" y="1"/>
                      <a:pt x="1" y="0"/>
                      <a:pt x="3" y="0"/>
                    </a:cubicBezTo>
                    <a:cubicBezTo>
                      <a:pt x="38" y="0"/>
                      <a:pt x="38" y="0"/>
                      <a:pt x="38" y="0"/>
                    </a:cubicBezTo>
                    <a:cubicBezTo>
                      <a:pt x="39" y="0"/>
                      <a:pt x="40" y="1"/>
                      <a:pt x="40" y="2"/>
                    </a:cubicBezTo>
                    <a:cubicBezTo>
                      <a:pt x="40" y="3"/>
                      <a:pt x="39" y="4"/>
                      <a:pt x="38" y="4"/>
                    </a:cubicBez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8" name="işľíḓê">
                <a:extLst>
                  <a:ext uri="{FF2B5EF4-FFF2-40B4-BE49-F238E27FC236}">
                    <a16:creationId xmlns:a16="http://schemas.microsoft.com/office/drawing/2014/main" id="{EB46DF25-C2F1-AC4E-BD0D-7C7660D65217}"/>
                  </a:ext>
                </a:extLst>
              </p:cNvPr>
              <p:cNvSpPr/>
              <p:nvPr/>
            </p:nvSpPr>
            <p:spPr bwMode="auto">
              <a:xfrm>
                <a:off x="4076885" y="2816228"/>
                <a:ext cx="111790" cy="11041"/>
              </a:xfrm>
              <a:custGeom>
                <a:avLst/>
                <a:gdLst>
                  <a:gd name="T0" fmla="*/ 37 w 39"/>
                  <a:gd name="T1" fmla="*/ 4 h 4"/>
                  <a:gd name="T2" fmla="*/ 2 w 39"/>
                  <a:gd name="T3" fmla="*/ 4 h 4"/>
                  <a:gd name="T4" fmla="*/ 0 w 39"/>
                  <a:gd name="T5" fmla="*/ 2 h 4"/>
                  <a:gd name="T6" fmla="*/ 2 w 39"/>
                  <a:gd name="T7" fmla="*/ 0 h 4"/>
                  <a:gd name="T8" fmla="*/ 37 w 39"/>
                  <a:gd name="T9" fmla="*/ 0 h 4"/>
                  <a:gd name="T10" fmla="*/ 39 w 39"/>
                  <a:gd name="T11" fmla="*/ 2 h 4"/>
                  <a:gd name="T12" fmla="*/ 37 w 39"/>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9" h="4">
                    <a:moveTo>
                      <a:pt x="37" y="4"/>
                    </a:moveTo>
                    <a:cubicBezTo>
                      <a:pt x="2" y="4"/>
                      <a:pt x="2" y="4"/>
                      <a:pt x="2" y="4"/>
                    </a:cubicBezTo>
                    <a:cubicBezTo>
                      <a:pt x="1" y="4"/>
                      <a:pt x="0" y="3"/>
                      <a:pt x="0" y="2"/>
                    </a:cubicBezTo>
                    <a:cubicBezTo>
                      <a:pt x="0" y="1"/>
                      <a:pt x="1" y="0"/>
                      <a:pt x="2" y="0"/>
                    </a:cubicBezTo>
                    <a:cubicBezTo>
                      <a:pt x="37" y="0"/>
                      <a:pt x="37" y="0"/>
                      <a:pt x="37" y="0"/>
                    </a:cubicBezTo>
                    <a:cubicBezTo>
                      <a:pt x="38" y="0"/>
                      <a:pt x="39" y="1"/>
                      <a:pt x="39" y="2"/>
                    </a:cubicBezTo>
                    <a:cubicBezTo>
                      <a:pt x="39" y="3"/>
                      <a:pt x="38" y="4"/>
                      <a:pt x="37" y="4"/>
                    </a:cubicBez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9" name="iśľidè">
                <a:extLst>
                  <a:ext uri="{FF2B5EF4-FFF2-40B4-BE49-F238E27FC236}">
                    <a16:creationId xmlns:a16="http://schemas.microsoft.com/office/drawing/2014/main" id="{E1934363-A2F4-4548-9607-B3DDF1BAA51C}"/>
                  </a:ext>
                </a:extLst>
              </p:cNvPr>
              <p:cNvSpPr/>
              <p:nvPr/>
            </p:nvSpPr>
            <p:spPr bwMode="auto">
              <a:xfrm>
                <a:off x="4065844" y="2885234"/>
                <a:ext cx="111790" cy="11041"/>
              </a:xfrm>
              <a:custGeom>
                <a:avLst/>
                <a:gdLst>
                  <a:gd name="T0" fmla="*/ 37 w 39"/>
                  <a:gd name="T1" fmla="*/ 4 h 4"/>
                  <a:gd name="T2" fmla="*/ 2 w 39"/>
                  <a:gd name="T3" fmla="*/ 4 h 4"/>
                  <a:gd name="T4" fmla="*/ 0 w 39"/>
                  <a:gd name="T5" fmla="*/ 2 h 4"/>
                  <a:gd name="T6" fmla="*/ 2 w 39"/>
                  <a:gd name="T7" fmla="*/ 0 h 4"/>
                  <a:gd name="T8" fmla="*/ 37 w 39"/>
                  <a:gd name="T9" fmla="*/ 0 h 4"/>
                  <a:gd name="T10" fmla="*/ 39 w 39"/>
                  <a:gd name="T11" fmla="*/ 2 h 4"/>
                  <a:gd name="T12" fmla="*/ 37 w 39"/>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9" h="4">
                    <a:moveTo>
                      <a:pt x="37" y="4"/>
                    </a:moveTo>
                    <a:cubicBezTo>
                      <a:pt x="2" y="4"/>
                      <a:pt x="2" y="4"/>
                      <a:pt x="2" y="4"/>
                    </a:cubicBezTo>
                    <a:cubicBezTo>
                      <a:pt x="1" y="4"/>
                      <a:pt x="0" y="3"/>
                      <a:pt x="0" y="2"/>
                    </a:cubicBezTo>
                    <a:cubicBezTo>
                      <a:pt x="0" y="1"/>
                      <a:pt x="1" y="0"/>
                      <a:pt x="2" y="0"/>
                    </a:cubicBezTo>
                    <a:cubicBezTo>
                      <a:pt x="37" y="0"/>
                      <a:pt x="37" y="0"/>
                      <a:pt x="37" y="0"/>
                    </a:cubicBezTo>
                    <a:cubicBezTo>
                      <a:pt x="38" y="0"/>
                      <a:pt x="39" y="1"/>
                      <a:pt x="39" y="2"/>
                    </a:cubicBezTo>
                    <a:cubicBezTo>
                      <a:pt x="39" y="3"/>
                      <a:pt x="38" y="4"/>
                      <a:pt x="37" y="4"/>
                    </a:cubicBez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0" name="îŝļíḓê">
                <a:extLst>
                  <a:ext uri="{FF2B5EF4-FFF2-40B4-BE49-F238E27FC236}">
                    <a16:creationId xmlns:a16="http://schemas.microsoft.com/office/drawing/2014/main" id="{0EA8267F-E4C5-3B42-B158-E46ABD695929}"/>
                  </a:ext>
                </a:extLst>
              </p:cNvPr>
              <p:cNvSpPr/>
              <p:nvPr/>
            </p:nvSpPr>
            <p:spPr bwMode="auto">
              <a:xfrm>
                <a:off x="4049283" y="2600929"/>
                <a:ext cx="85567" cy="349171"/>
              </a:xfrm>
              <a:custGeom>
                <a:avLst/>
                <a:gdLst>
                  <a:gd name="T0" fmla="*/ 5 w 30"/>
                  <a:gd name="T1" fmla="*/ 122 h 122"/>
                  <a:gd name="T2" fmla="*/ 4 w 30"/>
                  <a:gd name="T3" fmla="*/ 122 h 122"/>
                  <a:gd name="T4" fmla="*/ 0 w 30"/>
                  <a:gd name="T5" fmla="*/ 117 h 122"/>
                  <a:gd name="T6" fmla="*/ 20 w 30"/>
                  <a:gd name="T7" fmla="*/ 4 h 122"/>
                  <a:gd name="T8" fmla="*/ 26 w 30"/>
                  <a:gd name="T9" fmla="*/ 0 h 122"/>
                  <a:gd name="T10" fmla="*/ 29 w 30"/>
                  <a:gd name="T11" fmla="*/ 5 h 122"/>
                  <a:gd name="T12" fmla="*/ 9 w 30"/>
                  <a:gd name="T13" fmla="*/ 118 h 122"/>
                  <a:gd name="T14" fmla="*/ 5 w 30"/>
                  <a:gd name="T15" fmla="*/ 122 h 1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22">
                    <a:moveTo>
                      <a:pt x="5" y="122"/>
                    </a:moveTo>
                    <a:cubicBezTo>
                      <a:pt x="4" y="122"/>
                      <a:pt x="4" y="122"/>
                      <a:pt x="4" y="122"/>
                    </a:cubicBezTo>
                    <a:cubicBezTo>
                      <a:pt x="2" y="121"/>
                      <a:pt x="0" y="119"/>
                      <a:pt x="0" y="117"/>
                    </a:cubicBezTo>
                    <a:cubicBezTo>
                      <a:pt x="20" y="4"/>
                      <a:pt x="20" y="4"/>
                      <a:pt x="20" y="4"/>
                    </a:cubicBezTo>
                    <a:cubicBezTo>
                      <a:pt x="21" y="1"/>
                      <a:pt x="23" y="0"/>
                      <a:pt x="26" y="0"/>
                    </a:cubicBezTo>
                    <a:cubicBezTo>
                      <a:pt x="28" y="1"/>
                      <a:pt x="30" y="3"/>
                      <a:pt x="29" y="5"/>
                    </a:cubicBezTo>
                    <a:cubicBezTo>
                      <a:pt x="9" y="118"/>
                      <a:pt x="9" y="118"/>
                      <a:pt x="9" y="118"/>
                    </a:cubicBezTo>
                    <a:cubicBezTo>
                      <a:pt x="9" y="120"/>
                      <a:pt x="7" y="122"/>
                      <a:pt x="5" y="122"/>
                    </a:cubicBez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1" name="işliďê">
                <a:extLst>
                  <a:ext uri="{FF2B5EF4-FFF2-40B4-BE49-F238E27FC236}">
                    <a16:creationId xmlns:a16="http://schemas.microsoft.com/office/drawing/2014/main" id="{4D891AD0-B27D-CD4A-8FA3-C8152423AB91}"/>
                  </a:ext>
                </a:extLst>
              </p:cNvPr>
              <p:cNvSpPr/>
              <p:nvPr/>
            </p:nvSpPr>
            <p:spPr bwMode="auto">
              <a:xfrm>
                <a:off x="4148651" y="2600929"/>
                <a:ext cx="86948" cy="349171"/>
              </a:xfrm>
              <a:custGeom>
                <a:avLst/>
                <a:gdLst>
                  <a:gd name="T0" fmla="*/ 5 w 30"/>
                  <a:gd name="T1" fmla="*/ 122 h 122"/>
                  <a:gd name="T2" fmla="*/ 4 w 30"/>
                  <a:gd name="T3" fmla="*/ 122 h 122"/>
                  <a:gd name="T4" fmla="*/ 0 w 30"/>
                  <a:gd name="T5" fmla="*/ 117 h 122"/>
                  <a:gd name="T6" fmla="*/ 21 w 30"/>
                  <a:gd name="T7" fmla="*/ 4 h 122"/>
                  <a:gd name="T8" fmla="*/ 26 w 30"/>
                  <a:gd name="T9" fmla="*/ 0 h 122"/>
                  <a:gd name="T10" fmla="*/ 29 w 30"/>
                  <a:gd name="T11" fmla="*/ 5 h 122"/>
                  <a:gd name="T12" fmla="*/ 9 w 30"/>
                  <a:gd name="T13" fmla="*/ 118 h 122"/>
                  <a:gd name="T14" fmla="*/ 5 w 30"/>
                  <a:gd name="T15" fmla="*/ 122 h 1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22">
                    <a:moveTo>
                      <a:pt x="5" y="122"/>
                    </a:moveTo>
                    <a:cubicBezTo>
                      <a:pt x="4" y="122"/>
                      <a:pt x="4" y="122"/>
                      <a:pt x="4" y="122"/>
                    </a:cubicBezTo>
                    <a:cubicBezTo>
                      <a:pt x="2" y="121"/>
                      <a:pt x="0" y="119"/>
                      <a:pt x="0" y="117"/>
                    </a:cubicBezTo>
                    <a:cubicBezTo>
                      <a:pt x="21" y="4"/>
                      <a:pt x="21" y="4"/>
                      <a:pt x="21" y="4"/>
                    </a:cubicBezTo>
                    <a:cubicBezTo>
                      <a:pt x="21" y="1"/>
                      <a:pt x="23" y="0"/>
                      <a:pt x="26" y="0"/>
                    </a:cubicBezTo>
                    <a:cubicBezTo>
                      <a:pt x="28" y="1"/>
                      <a:pt x="30" y="3"/>
                      <a:pt x="29" y="5"/>
                    </a:cubicBezTo>
                    <a:cubicBezTo>
                      <a:pt x="9" y="118"/>
                      <a:pt x="9" y="118"/>
                      <a:pt x="9" y="118"/>
                    </a:cubicBezTo>
                    <a:cubicBezTo>
                      <a:pt x="9" y="120"/>
                      <a:pt x="7" y="122"/>
                      <a:pt x="5" y="122"/>
                    </a:cubicBez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2" name="îşľíďe">
                <a:extLst>
                  <a:ext uri="{FF2B5EF4-FFF2-40B4-BE49-F238E27FC236}">
                    <a16:creationId xmlns:a16="http://schemas.microsoft.com/office/drawing/2014/main" id="{706710D2-5BB5-0B4C-98AB-2F79705C0532}"/>
                  </a:ext>
                </a:extLst>
              </p:cNvPr>
              <p:cNvSpPr/>
              <p:nvPr/>
            </p:nvSpPr>
            <p:spPr bwMode="auto">
              <a:xfrm>
                <a:off x="4372231" y="2512601"/>
                <a:ext cx="207018" cy="102129"/>
              </a:xfrm>
              <a:prstGeom prst="rect">
                <a:avLst/>
              </a:prstGeom>
              <a:solidFill>
                <a:srgbClr val="597FD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33" name="îṩ1îďé">
                <a:extLst>
                  <a:ext uri="{FF2B5EF4-FFF2-40B4-BE49-F238E27FC236}">
                    <a16:creationId xmlns:a16="http://schemas.microsoft.com/office/drawing/2014/main" id="{17251870-3D2F-9C47-AEC1-6D1AC9CEB6FA}"/>
                  </a:ext>
                </a:extLst>
              </p:cNvPr>
              <p:cNvSpPr/>
              <p:nvPr/>
            </p:nvSpPr>
            <p:spPr bwMode="auto">
              <a:xfrm>
                <a:off x="4372231" y="2512601"/>
                <a:ext cx="207018" cy="102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34" name="ïšlïdè">
                <a:extLst>
                  <a:ext uri="{FF2B5EF4-FFF2-40B4-BE49-F238E27FC236}">
                    <a16:creationId xmlns:a16="http://schemas.microsoft.com/office/drawing/2014/main" id="{19F61E6E-4B02-2E4D-962C-3FC0C8530902}"/>
                  </a:ext>
                </a:extLst>
              </p:cNvPr>
              <p:cNvSpPr/>
              <p:nvPr/>
            </p:nvSpPr>
            <p:spPr bwMode="auto">
              <a:xfrm>
                <a:off x="4372231" y="2512601"/>
                <a:ext cx="71766" cy="102129"/>
              </a:xfrm>
              <a:prstGeom prst="rect">
                <a:avLst/>
              </a:prstGeom>
              <a:solidFill>
                <a:srgbClr val="4C6CB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35" name="îṡ1îḍè">
                <a:extLst>
                  <a:ext uri="{FF2B5EF4-FFF2-40B4-BE49-F238E27FC236}">
                    <a16:creationId xmlns:a16="http://schemas.microsoft.com/office/drawing/2014/main" id="{323337F2-FB11-834F-BB38-BECA85ACAF9D}"/>
                  </a:ext>
                </a:extLst>
              </p:cNvPr>
              <p:cNvSpPr/>
              <p:nvPr/>
            </p:nvSpPr>
            <p:spPr bwMode="auto">
              <a:xfrm>
                <a:off x="4372231" y="2512601"/>
                <a:ext cx="71766" cy="102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36" name="i$lîďè">
                <a:extLst>
                  <a:ext uri="{FF2B5EF4-FFF2-40B4-BE49-F238E27FC236}">
                    <a16:creationId xmlns:a16="http://schemas.microsoft.com/office/drawing/2014/main" id="{1503FD1C-72B6-6F4F-86F5-412D103FF143}"/>
                  </a:ext>
                </a:extLst>
              </p:cNvPr>
              <p:cNvSpPr/>
              <p:nvPr/>
            </p:nvSpPr>
            <p:spPr bwMode="auto">
              <a:xfrm>
                <a:off x="4012019" y="2981842"/>
                <a:ext cx="1240729" cy="284305"/>
              </a:xfrm>
              <a:prstGeom prst="rect">
                <a:avLst/>
              </a:prstGeom>
              <a:solidFill>
                <a:srgbClr val="FF709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37" name="iṧ1îďê">
                <a:extLst>
                  <a:ext uri="{FF2B5EF4-FFF2-40B4-BE49-F238E27FC236}">
                    <a16:creationId xmlns:a16="http://schemas.microsoft.com/office/drawing/2014/main" id="{B7706B9B-F9B1-644F-B011-9F67DDF10942}"/>
                  </a:ext>
                </a:extLst>
              </p:cNvPr>
              <p:cNvSpPr/>
              <p:nvPr/>
            </p:nvSpPr>
            <p:spPr bwMode="auto">
              <a:xfrm>
                <a:off x="4012019" y="2981842"/>
                <a:ext cx="1240729" cy="284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38" name="íŝlíḑé">
                <a:extLst>
                  <a:ext uri="{FF2B5EF4-FFF2-40B4-BE49-F238E27FC236}">
                    <a16:creationId xmlns:a16="http://schemas.microsoft.com/office/drawing/2014/main" id="{28BC064B-F20D-8E4D-9DA0-761314963A52}"/>
                  </a:ext>
                </a:extLst>
              </p:cNvPr>
              <p:cNvSpPr/>
              <p:nvPr/>
            </p:nvSpPr>
            <p:spPr bwMode="auto">
              <a:xfrm>
                <a:off x="3985797" y="2925257"/>
                <a:ext cx="1293173" cy="67626"/>
              </a:xfrm>
              <a:prstGeom prst="rect">
                <a:avLst/>
              </a:prstGeom>
              <a:solidFill>
                <a:srgbClr val="0039B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39" name="ísḷiḑê">
                <a:extLst>
                  <a:ext uri="{FF2B5EF4-FFF2-40B4-BE49-F238E27FC236}">
                    <a16:creationId xmlns:a16="http://schemas.microsoft.com/office/drawing/2014/main" id="{B5CEC436-2671-D84D-92FA-CD0B16F88DFB}"/>
                  </a:ext>
                </a:extLst>
              </p:cNvPr>
              <p:cNvSpPr/>
              <p:nvPr/>
            </p:nvSpPr>
            <p:spPr bwMode="auto">
              <a:xfrm>
                <a:off x="3985797" y="2925257"/>
                <a:ext cx="1293173" cy="676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40" name="îśḻiḍè">
                <a:extLst>
                  <a:ext uri="{FF2B5EF4-FFF2-40B4-BE49-F238E27FC236}">
                    <a16:creationId xmlns:a16="http://schemas.microsoft.com/office/drawing/2014/main" id="{E1F191F7-47C7-D34C-9F23-97C686332825}"/>
                  </a:ext>
                </a:extLst>
              </p:cNvPr>
              <p:cNvSpPr/>
              <p:nvPr/>
            </p:nvSpPr>
            <p:spPr bwMode="auto">
              <a:xfrm>
                <a:off x="3985797" y="3266147"/>
                <a:ext cx="1293173" cy="56585"/>
              </a:xfrm>
              <a:prstGeom prst="rect">
                <a:avLst/>
              </a:prstGeom>
              <a:solidFill>
                <a:srgbClr val="0039B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41" name="ïSļiḋé">
                <a:extLst>
                  <a:ext uri="{FF2B5EF4-FFF2-40B4-BE49-F238E27FC236}">
                    <a16:creationId xmlns:a16="http://schemas.microsoft.com/office/drawing/2014/main" id="{D179364A-11B4-5D45-8FFC-7069EBA6E1F5}"/>
                  </a:ext>
                </a:extLst>
              </p:cNvPr>
              <p:cNvSpPr/>
              <p:nvPr/>
            </p:nvSpPr>
            <p:spPr bwMode="auto">
              <a:xfrm>
                <a:off x="3985797" y="3266147"/>
                <a:ext cx="1293173" cy="565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42" name="ïšļîḑe">
                <a:extLst>
                  <a:ext uri="{FF2B5EF4-FFF2-40B4-BE49-F238E27FC236}">
                    <a16:creationId xmlns:a16="http://schemas.microsoft.com/office/drawing/2014/main" id="{CC6F8E7B-FBA9-0F4B-97BD-C9E2765EAB86}"/>
                  </a:ext>
                </a:extLst>
              </p:cNvPr>
              <p:cNvSpPr/>
              <p:nvPr/>
            </p:nvSpPr>
            <p:spPr bwMode="auto">
              <a:xfrm>
                <a:off x="4012019" y="2992883"/>
                <a:ext cx="1088915" cy="57965"/>
              </a:xfrm>
              <a:prstGeom prst="rect">
                <a:avLst/>
              </a:prstGeom>
              <a:solidFill>
                <a:srgbClr val="D95F8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43" name="íṡḻíḋè">
                <a:extLst>
                  <a:ext uri="{FF2B5EF4-FFF2-40B4-BE49-F238E27FC236}">
                    <a16:creationId xmlns:a16="http://schemas.microsoft.com/office/drawing/2014/main" id="{9E1F9DCE-BC24-CC49-B771-15ACBB5C2DF8}"/>
                  </a:ext>
                </a:extLst>
              </p:cNvPr>
              <p:cNvSpPr/>
              <p:nvPr/>
            </p:nvSpPr>
            <p:spPr bwMode="auto">
              <a:xfrm>
                <a:off x="4012019" y="2992883"/>
                <a:ext cx="1088915" cy="57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44" name="ïṡḻíḋè">
                <a:extLst>
                  <a:ext uri="{FF2B5EF4-FFF2-40B4-BE49-F238E27FC236}">
                    <a16:creationId xmlns:a16="http://schemas.microsoft.com/office/drawing/2014/main" id="{A0347A1C-033D-3C4A-8920-7F0236DC4C6B}"/>
                  </a:ext>
                </a:extLst>
              </p:cNvPr>
              <p:cNvSpPr/>
              <p:nvPr/>
            </p:nvSpPr>
            <p:spPr bwMode="auto">
              <a:xfrm>
                <a:off x="5100934" y="3050848"/>
                <a:ext cx="151813" cy="212539"/>
              </a:xfrm>
              <a:prstGeom prst="rect">
                <a:avLst/>
              </a:prstGeom>
              <a:solidFill>
                <a:srgbClr val="D95F8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45" name="îSḷídé">
                <a:extLst>
                  <a:ext uri="{FF2B5EF4-FFF2-40B4-BE49-F238E27FC236}">
                    <a16:creationId xmlns:a16="http://schemas.microsoft.com/office/drawing/2014/main" id="{3918D099-3721-404D-933B-CF66054A57F8}"/>
                  </a:ext>
                </a:extLst>
              </p:cNvPr>
              <p:cNvSpPr/>
              <p:nvPr/>
            </p:nvSpPr>
            <p:spPr bwMode="auto">
              <a:xfrm>
                <a:off x="5100934" y="3050848"/>
                <a:ext cx="151813" cy="212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46" name="íSľîḓê">
                <a:extLst>
                  <a:ext uri="{FF2B5EF4-FFF2-40B4-BE49-F238E27FC236}">
                    <a16:creationId xmlns:a16="http://schemas.microsoft.com/office/drawing/2014/main" id="{D1052BB8-A4B5-1D4A-8C4F-FFFD0AE52147}"/>
                  </a:ext>
                </a:extLst>
              </p:cNvPr>
              <p:cNvSpPr/>
              <p:nvPr/>
            </p:nvSpPr>
            <p:spPr bwMode="auto">
              <a:xfrm>
                <a:off x="5100934" y="2992883"/>
                <a:ext cx="151813" cy="57965"/>
              </a:xfrm>
              <a:prstGeom prst="rect">
                <a:avLst/>
              </a:prstGeom>
              <a:solidFill>
                <a:srgbClr val="B9516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47" name="íśľîḑé">
                <a:extLst>
                  <a:ext uri="{FF2B5EF4-FFF2-40B4-BE49-F238E27FC236}">
                    <a16:creationId xmlns:a16="http://schemas.microsoft.com/office/drawing/2014/main" id="{35761F17-3A67-4149-A3D5-A341F4DBF15E}"/>
                  </a:ext>
                </a:extLst>
              </p:cNvPr>
              <p:cNvSpPr/>
              <p:nvPr/>
            </p:nvSpPr>
            <p:spPr bwMode="auto">
              <a:xfrm>
                <a:off x="5100934" y="2992883"/>
                <a:ext cx="151813" cy="57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48" name="iŝļîḑe">
                <a:extLst>
                  <a:ext uri="{FF2B5EF4-FFF2-40B4-BE49-F238E27FC236}">
                    <a16:creationId xmlns:a16="http://schemas.microsoft.com/office/drawing/2014/main" id="{6E8EF60C-099F-6D44-B213-D24C6A998F95}"/>
                  </a:ext>
                </a:extLst>
              </p:cNvPr>
              <p:cNvSpPr/>
              <p:nvPr/>
            </p:nvSpPr>
            <p:spPr bwMode="auto">
              <a:xfrm>
                <a:off x="4898056" y="2952859"/>
                <a:ext cx="111790" cy="12422"/>
              </a:xfrm>
              <a:custGeom>
                <a:avLst/>
                <a:gdLst>
                  <a:gd name="T0" fmla="*/ 37 w 39"/>
                  <a:gd name="T1" fmla="*/ 4 h 4"/>
                  <a:gd name="T2" fmla="*/ 2 w 39"/>
                  <a:gd name="T3" fmla="*/ 4 h 4"/>
                  <a:gd name="T4" fmla="*/ 0 w 39"/>
                  <a:gd name="T5" fmla="*/ 2 h 4"/>
                  <a:gd name="T6" fmla="*/ 2 w 39"/>
                  <a:gd name="T7" fmla="*/ 0 h 4"/>
                  <a:gd name="T8" fmla="*/ 37 w 39"/>
                  <a:gd name="T9" fmla="*/ 0 h 4"/>
                  <a:gd name="T10" fmla="*/ 39 w 39"/>
                  <a:gd name="T11" fmla="*/ 2 h 4"/>
                  <a:gd name="T12" fmla="*/ 37 w 39"/>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9" h="4">
                    <a:moveTo>
                      <a:pt x="37" y="4"/>
                    </a:moveTo>
                    <a:cubicBezTo>
                      <a:pt x="2" y="4"/>
                      <a:pt x="2" y="4"/>
                      <a:pt x="2" y="4"/>
                    </a:cubicBezTo>
                    <a:cubicBezTo>
                      <a:pt x="1" y="4"/>
                      <a:pt x="0" y="3"/>
                      <a:pt x="0" y="2"/>
                    </a:cubicBezTo>
                    <a:cubicBezTo>
                      <a:pt x="0" y="1"/>
                      <a:pt x="1" y="0"/>
                      <a:pt x="2" y="0"/>
                    </a:cubicBezTo>
                    <a:cubicBezTo>
                      <a:pt x="37" y="0"/>
                      <a:pt x="37" y="0"/>
                      <a:pt x="37" y="0"/>
                    </a:cubicBezTo>
                    <a:cubicBezTo>
                      <a:pt x="38" y="0"/>
                      <a:pt x="39" y="1"/>
                      <a:pt x="39" y="2"/>
                    </a:cubicBezTo>
                    <a:cubicBezTo>
                      <a:pt x="39" y="3"/>
                      <a:pt x="38" y="4"/>
                      <a:pt x="37" y="4"/>
                    </a:cubicBez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9" name="ïSḻîde">
                <a:extLst>
                  <a:ext uri="{FF2B5EF4-FFF2-40B4-BE49-F238E27FC236}">
                    <a16:creationId xmlns:a16="http://schemas.microsoft.com/office/drawing/2014/main" id="{37432ED3-438A-234C-BEBE-2058A2A5BB1A}"/>
                  </a:ext>
                </a:extLst>
              </p:cNvPr>
              <p:cNvSpPr/>
              <p:nvPr/>
            </p:nvSpPr>
            <p:spPr bwMode="auto">
              <a:xfrm>
                <a:off x="4898056" y="3021865"/>
                <a:ext cx="111790" cy="11041"/>
              </a:xfrm>
              <a:custGeom>
                <a:avLst/>
                <a:gdLst>
                  <a:gd name="T0" fmla="*/ 37 w 39"/>
                  <a:gd name="T1" fmla="*/ 4 h 4"/>
                  <a:gd name="T2" fmla="*/ 2 w 39"/>
                  <a:gd name="T3" fmla="*/ 4 h 4"/>
                  <a:gd name="T4" fmla="*/ 0 w 39"/>
                  <a:gd name="T5" fmla="*/ 2 h 4"/>
                  <a:gd name="T6" fmla="*/ 2 w 39"/>
                  <a:gd name="T7" fmla="*/ 0 h 4"/>
                  <a:gd name="T8" fmla="*/ 37 w 39"/>
                  <a:gd name="T9" fmla="*/ 0 h 4"/>
                  <a:gd name="T10" fmla="*/ 39 w 39"/>
                  <a:gd name="T11" fmla="*/ 2 h 4"/>
                  <a:gd name="T12" fmla="*/ 37 w 39"/>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9" h="4">
                    <a:moveTo>
                      <a:pt x="37" y="4"/>
                    </a:moveTo>
                    <a:cubicBezTo>
                      <a:pt x="2" y="4"/>
                      <a:pt x="2" y="4"/>
                      <a:pt x="2" y="4"/>
                    </a:cubicBezTo>
                    <a:cubicBezTo>
                      <a:pt x="1" y="4"/>
                      <a:pt x="0" y="3"/>
                      <a:pt x="0" y="2"/>
                    </a:cubicBezTo>
                    <a:cubicBezTo>
                      <a:pt x="0" y="1"/>
                      <a:pt x="1" y="0"/>
                      <a:pt x="2" y="0"/>
                    </a:cubicBezTo>
                    <a:cubicBezTo>
                      <a:pt x="37" y="0"/>
                      <a:pt x="37" y="0"/>
                      <a:pt x="37" y="0"/>
                    </a:cubicBezTo>
                    <a:cubicBezTo>
                      <a:pt x="38" y="0"/>
                      <a:pt x="39" y="1"/>
                      <a:pt x="39" y="2"/>
                    </a:cubicBezTo>
                    <a:cubicBezTo>
                      <a:pt x="39" y="3"/>
                      <a:pt x="38" y="4"/>
                      <a:pt x="37" y="4"/>
                    </a:cubicBez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0" name="îṩḻiḑè">
                <a:extLst>
                  <a:ext uri="{FF2B5EF4-FFF2-40B4-BE49-F238E27FC236}">
                    <a16:creationId xmlns:a16="http://schemas.microsoft.com/office/drawing/2014/main" id="{AC974090-E076-C441-ACE7-CFB11ED9870F}"/>
                  </a:ext>
                </a:extLst>
              </p:cNvPr>
              <p:cNvSpPr/>
              <p:nvPr/>
            </p:nvSpPr>
            <p:spPr bwMode="auto">
              <a:xfrm>
                <a:off x="4898056" y="3090871"/>
                <a:ext cx="111790" cy="11041"/>
              </a:xfrm>
              <a:custGeom>
                <a:avLst/>
                <a:gdLst>
                  <a:gd name="T0" fmla="*/ 37 w 39"/>
                  <a:gd name="T1" fmla="*/ 4 h 4"/>
                  <a:gd name="T2" fmla="*/ 2 w 39"/>
                  <a:gd name="T3" fmla="*/ 4 h 4"/>
                  <a:gd name="T4" fmla="*/ 0 w 39"/>
                  <a:gd name="T5" fmla="*/ 2 h 4"/>
                  <a:gd name="T6" fmla="*/ 2 w 39"/>
                  <a:gd name="T7" fmla="*/ 0 h 4"/>
                  <a:gd name="T8" fmla="*/ 37 w 39"/>
                  <a:gd name="T9" fmla="*/ 0 h 4"/>
                  <a:gd name="T10" fmla="*/ 39 w 39"/>
                  <a:gd name="T11" fmla="*/ 2 h 4"/>
                  <a:gd name="T12" fmla="*/ 37 w 39"/>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9" h="4">
                    <a:moveTo>
                      <a:pt x="37" y="4"/>
                    </a:moveTo>
                    <a:cubicBezTo>
                      <a:pt x="2" y="4"/>
                      <a:pt x="2" y="4"/>
                      <a:pt x="2" y="4"/>
                    </a:cubicBezTo>
                    <a:cubicBezTo>
                      <a:pt x="1" y="4"/>
                      <a:pt x="0" y="3"/>
                      <a:pt x="0" y="2"/>
                    </a:cubicBezTo>
                    <a:cubicBezTo>
                      <a:pt x="0" y="1"/>
                      <a:pt x="1" y="0"/>
                      <a:pt x="2" y="0"/>
                    </a:cubicBezTo>
                    <a:cubicBezTo>
                      <a:pt x="37" y="0"/>
                      <a:pt x="37" y="0"/>
                      <a:pt x="37" y="0"/>
                    </a:cubicBezTo>
                    <a:cubicBezTo>
                      <a:pt x="38" y="0"/>
                      <a:pt x="39" y="1"/>
                      <a:pt x="39" y="2"/>
                    </a:cubicBezTo>
                    <a:cubicBezTo>
                      <a:pt x="39" y="3"/>
                      <a:pt x="38" y="4"/>
                      <a:pt x="37" y="4"/>
                    </a:cubicBez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1" name="ïśḷiḋè">
                <a:extLst>
                  <a:ext uri="{FF2B5EF4-FFF2-40B4-BE49-F238E27FC236}">
                    <a16:creationId xmlns:a16="http://schemas.microsoft.com/office/drawing/2014/main" id="{2101A899-F2AC-504D-8B24-02BC4BDBA561}"/>
                  </a:ext>
                </a:extLst>
              </p:cNvPr>
              <p:cNvSpPr/>
              <p:nvPr/>
            </p:nvSpPr>
            <p:spPr bwMode="auto">
              <a:xfrm>
                <a:off x="4898056" y="3157117"/>
                <a:ext cx="114550" cy="13801"/>
              </a:xfrm>
              <a:custGeom>
                <a:avLst/>
                <a:gdLst>
                  <a:gd name="T0" fmla="*/ 37 w 40"/>
                  <a:gd name="T1" fmla="*/ 5 h 5"/>
                  <a:gd name="T2" fmla="*/ 2 w 40"/>
                  <a:gd name="T3" fmla="*/ 5 h 5"/>
                  <a:gd name="T4" fmla="*/ 0 w 40"/>
                  <a:gd name="T5" fmla="*/ 3 h 5"/>
                  <a:gd name="T6" fmla="*/ 2 w 40"/>
                  <a:gd name="T7" fmla="*/ 0 h 5"/>
                  <a:gd name="T8" fmla="*/ 37 w 40"/>
                  <a:gd name="T9" fmla="*/ 0 h 5"/>
                  <a:gd name="T10" fmla="*/ 40 w 40"/>
                  <a:gd name="T11" fmla="*/ 3 h 5"/>
                  <a:gd name="T12" fmla="*/ 37 w 40"/>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40" h="5">
                    <a:moveTo>
                      <a:pt x="37" y="5"/>
                    </a:moveTo>
                    <a:cubicBezTo>
                      <a:pt x="2" y="5"/>
                      <a:pt x="2" y="5"/>
                      <a:pt x="2" y="5"/>
                    </a:cubicBezTo>
                    <a:cubicBezTo>
                      <a:pt x="1" y="5"/>
                      <a:pt x="0" y="4"/>
                      <a:pt x="0" y="3"/>
                    </a:cubicBezTo>
                    <a:cubicBezTo>
                      <a:pt x="0" y="1"/>
                      <a:pt x="1" y="0"/>
                      <a:pt x="2" y="0"/>
                    </a:cubicBezTo>
                    <a:cubicBezTo>
                      <a:pt x="37" y="0"/>
                      <a:pt x="37" y="0"/>
                      <a:pt x="37" y="0"/>
                    </a:cubicBezTo>
                    <a:cubicBezTo>
                      <a:pt x="39" y="0"/>
                      <a:pt x="40" y="1"/>
                      <a:pt x="40" y="3"/>
                    </a:cubicBezTo>
                    <a:cubicBezTo>
                      <a:pt x="40" y="4"/>
                      <a:pt x="39" y="5"/>
                      <a:pt x="37" y="5"/>
                    </a:cubicBez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2" name="ïšļiḋe">
                <a:extLst>
                  <a:ext uri="{FF2B5EF4-FFF2-40B4-BE49-F238E27FC236}">
                    <a16:creationId xmlns:a16="http://schemas.microsoft.com/office/drawing/2014/main" id="{DC3564FB-1E19-1848-99ED-1549413CB2EA}"/>
                  </a:ext>
                </a:extLst>
              </p:cNvPr>
              <p:cNvSpPr/>
              <p:nvPr/>
            </p:nvSpPr>
            <p:spPr bwMode="auto">
              <a:xfrm>
                <a:off x="4898056" y="3226123"/>
                <a:ext cx="114550" cy="13801"/>
              </a:xfrm>
              <a:custGeom>
                <a:avLst/>
                <a:gdLst>
                  <a:gd name="T0" fmla="*/ 38 w 40"/>
                  <a:gd name="T1" fmla="*/ 5 h 5"/>
                  <a:gd name="T2" fmla="*/ 3 w 40"/>
                  <a:gd name="T3" fmla="*/ 5 h 5"/>
                  <a:gd name="T4" fmla="*/ 0 w 40"/>
                  <a:gd name="T5" fmla="*/ 2 h 5"/>
                  <a:gd name="T6" fmla="*/ 3 w 40"/>
                  <a:gd name="T7" fmla="*/ 0 h 5"/>
                  <a:gd name="T8" fmla="*/ 38 w 40"/>
                  <a:gd name="T9" fmla="*/ 0 h 5"/>
                  <a:gd name="T10" fmla="*/ 40 w 40"/>
                  <a:gd name="T11" fmla="*/ 2 h 5"/>
                  <a:gd name="T12" fmla="*/ 38 w 40"/>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40" h="5">
                    <a:moveTo>
                      <a:pt x="38" y="5"/>
                    </a:moveTo>
                    <a:cubicBezTo>
                      <a:pt x="3" y="5"/>
                      <a:pt x="3" y="5"/>
                      <a:pt x="3" y="5"/>
                    </a:cubicBezTo>
                    <a:cubicBezTo>
                      <a:pt x="1" y="5"/>
                      <a:pt x="0" y="4"/>
                      <a:pt x="0" y="2"/>
                    </a:cubicBezTo>
                    <a:cubicBezTo>
                      <a:pt x="0" y="1"/>
                      <a:pt x="1" y="0"/>
                      <a:pt x="3" y="0"/>
                    </a:cubicBezTo>
                    <a:cubicBezTo>
                      <a:pt x="38" y="0"/>
                      <a:pt x="38" y="0"/>
                      <a:pt x="38" y="0"/>
                    </a:cubicBezTo>
                    <a:cubicBezTo>
                      <a:pt x="39" y="0"/>
                      <a:pt x="40" y="1"/>
                      <a:pt x="40" y="2"/>
                    </a:cubicBezTo>
                    <a:cubicBezTo>
                      <a:pt x="40" y="4"/>
                      <a:pt x="39" y="5"/>
                      <a:pt x="38" y="5"/>
                    </a:cubicBez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3" name="ïṡḷiḍé">
                <a:extLst>
                  <a:ext uri="{FF2B5EF4-FFF2-40B4-BE49-F238E27FC236}">
                    <a16:creationId xmlns:a16="http://schemas.microsoft.com/office/drawing/2014/main" id="{2E07C1C0-DCE0-054E-A559-88188CEE5D9F}"/>
                  </a:ext>
                </a:extLst>
              </p:cNvPr>
              <p:cNvSpPr/>
              <p:nvPr/>
            </p:nvSpPr>
            <p:spPr bwMode="auto">
              <a:xfrm>
                <a:off x="4991904" y="2944578"/>
                <a:ext cx="26223" cy="349171"/>
              </a:xfrm>
              <a:custGeom>
                <a:avLst/>
                <a:gdLst>
                  <a:gd name="T0" fmla="*/ 5 w 9"/>
                  <a:gd name="T1" fmla="*/ 122 h 122"/>
                  <a:gd name="T2" fmla="*/ 0 w 9"/>
                  <a:gd name="T3" fmla="*/ 117 h 122"/>
                  <a:gd name="T4" fmla="*/ 0 w 9"/>
                  <a:gd name="T5" fmla="*/ 4 h 122"/>
                  <a:gd name="T6" fmla="*/ 5 w 9"/>
                  <a:gd name="T7" fmla="*/ 0 h 122"/>
                  <a:gd name="T8" fmla="*/ 5 w 9"/>
                  <a:gd name="T9" fmla="*/ 0 h 122"/>
                  <a:gd name="T10" fmla="*/ 9 w 9"/>
                  <a:gd name="T11" fmla="*/ 4 h 122"/>
                  <a:gd name="T12" fmla="*/ 9 w 9"/>
                  <a:gd name="T13" fmla="*/ 117 h 122"/>
                  <a:gd name="T14" fmla="*/ 5 w 9"/>
                  <a:gd name="T15" fmla="*/ 122 h 1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22">
                    <a:moveTo>
                      <a:pt x="5" y="122"/>
                    </a:moveTo>
                    <a:cubicBezTo>
                      <a:pt x="2" y="122"/>
                      <a:pt x="0" y="120"/>
                      <a:pt x="0" y="117"/>
                    </a:cubicBezTo>
                    <a:cubicBezTo>
                      <a:pt x="0" y="4"/>
                      <a:pt x="0" y="4"/>
                      <a:pt x="0" y="4"/>
                    </a:cubicBezTo>
                    <a:cubicBezTo>
                      <a:pt x="0" y="2"/>
                      <a:pt x="2" y="0"/>
                      <a:pt x="5" y="0"/>
                    </a:cubicBezTo>
                    <a:cubicBezTo>
                      <a:pt x="5" y="0"/>
                      <a:pt x="5" y="0"/>
                      <a:pt x="5" y="0"/>
                    </a:cubicBezTo>
                    <a:cubicBezTo>
                      <a:pt x="7" y="0"/>
                      <a:pt x="9" y="2"/>
                      <a:pt x="9" y="4"/>
                    </a:cubicBezTo>
                    <a:cubicBezTo>
                      <a:pt x="9" y="117"/>
                      <a:pt x="9" y="117"/>
                      <a:pt x="9" y="117"/>
                    </a:cubicBezTo>
                    <a:cubicBezTo>
                      <a:pt x="9" y="120"/>
                      <a:pt x="7" y="122"/>
                      <a:pt x="5" y="122"/>
                    </a:cubicBez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4" name="ïşľîḑe">
                <a:extLst>
                  <a:ext uri="{FF2B5EF4-FFF2-40B4-BE49-F238E27FC236}">
                    <a16:creationId xmlns:a16="http://schemas.microsoft.com/office/drawing/2014/main" id="{224FF39C-8EC1-524E-83F9-A8E0EF153277}"/>
                  </a:ext>
                </a:extLst>
              </p:cNvPr>
              <p:cNvSpPr/>
              <p:nvPr/>
            </p:nvSpPr>
            <p:spPr bwMode="auto">
              <a:xfrm>
                <a:off x="4891155" y="2944578"/>
                <a:ext cx="26223" cy="349171"/>
              </a:xfrm>
              <a:custGeom>
                <a:avLst/>
                <a:gdLst>
                  <a:gd name="T0" fmla="*/ 5 w 9"/>
                  <a:gd name="T1" fmla="*/ 122 h 122"/>
                  <a:gd name="T2" fmla="*/ 0 w 9"/>
                  <a:gd name="T3" fmla="*/ 117 h 122"/>
                  <a:gd name="T4" fmla="*/ 0 w 9"/>
                  <a:gd name="T5" fmla="*/ 4 h 122"/>
                  <a:gd name="T6" fmla="*/ 4 w 9"/>
                  <a:gd name="T7" fmla="*/ 0 h 122"/>
                  <a:gd name="T8" fmla="*/ 4 w 9"/>
                  <a:gd name="T9" fmla="*/ 0 h 122"/>
                  <a:gd name="T10" fmla="*/ 9 w 9"/>
                  <a:gd name="T11" fmla="*/ 4 h 122"/>
                  <a:gd name="T12" fmla="*/ 9 w 9"/>
                  <a:gd name="T13" fmla="*/ 117 h 122"/>
                  <a:gd name="T14" fmla="*/ 5 w 9"/>
                  <a:gd name="T15" fmla="*/ 122 h 1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22">
                    <a:moveTo>
                      <a:pt x="5" y="122"/>
                    </a:moveTo>
                    <a:cubicBezTo>
                      <a:pt x="2" y="122"/>
                      <a:pt x="0" y="120"/>
                      <a:pt x="0" y="117"/>
                    </a:cubicBezTo>
                    <a:cubicBezTo>
                      <a:pt x="0" y="4"/>
                      <a:pt x="0" y="4"/>
                      <a:pt x="0" y="4"/>
                    </a:cubicBezTo>
                    <a:cubicBezTo>
                      <a:pt x="0" y="2"/>
                      <a:pt x="2" y="0"/>
                      <a:pt x="4" y="0"/>
                    </a:cubicBezTo>
                    <a:cubicBezTo>
                      <a:pt x="4" y="0"/>
                      <a:pt x="4" y="0"/>
                      <a:pt x="4" y="0"/>
                    </a:cubicBezTo>
                    <a:cubicBezTo>
                      <a:pt x="7" y="0"/>
                      <a:pt x="9" y="2"/>
                      <a:pt x="9" y="4"/>
                    </a:cubicBezTo>
                    <a:cubicBezTo>
                      <a:pt x="9" y="117"/>
                      <a:pt x="9" y="117"/>
                      <a:pt x="9" y="117"/>
                    </a:cubicBezTo>
                    <a:cubicBezTo>
                      <a:pt x="9" y="120"/>
                      <a:pt x="7" y="122"/>
                      <a:pt x="5" y="122"/>
                    </a:cubicBez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5" name="îṧ1iďe">
                <a:extLst>
                  <a:ext uri="{FF2B5EF4-FFF2-40B4-BE49-F238E27FC236}">
                    <a16:creationId xmlns:a16="http://schemas.microsoft.com/office/drawing/2014/main" id="{A5B4D663-F3B4-4940-9114-97E99DEFFAC3}"/>
                  </a:ext>
                </a:extLst>
              </p:cNvPr>
              <p:cNvSpPr/>
              <p:nvPr/>
            </p:nvSpPr>
            <p:spPr bwMode="auto">
              <a:xfrm>
                <a:off x="4105867" y="3133654"/>
                <a:ext cx="553429" cy="180796"/>
              </a:xfrm>
              <a:custGeom>
                <a:avLst/>
                <a:gdLst>
                  <a:gd name="T0" fmla="*/ 188 w 193"/>
                  <a:gd name="T1" fmla="*/ 63 h 63"/>
                  <a:gd name="T2" fmla="*/ 4 w 193"/>
                  <a:gd name="T3" fmla="*/ 63 h 63"/>
                  <a:gd name="T4" fmla="*/ 0 w 193"/>
                  <a:gd name="T5" fmla="*/ 58 h 63"/>
                  <a:gd name="T6" fmla="*/ 0 w 193"/>
                  <a:gd name="T7" fmla="*/ 21 h 63"/>
                  <a:gd name="T8" fmla="*/ 21 w 193"/>
                  <a:gd name="T9" fmla="*/ 0 h 63"/>
                  <a:gd name="T10" fmla="*/ 172 w 193"/>
                  <a:gd name="T11" fmla="*/ 0 h 63"/>
                  <a:gd name="T12" fmla="*/ 193 w 193"/>
                  <a:gd name="T13" fmla="*/ 21 h 63"/>
                  <a:gd name="T14" fmla="*/ 193 w 193"/>
                  <a:gd name="T15" fmla="*/ 58 h 63"/>
                  <a:gd name="T16" fmla="*/ 188 w 193"/>
                  <a:gd name="T17" fmla="*/ 63 h 63"/>
                  <a:gd name="T18" fmla="*/ 9 w 193"/>
                  <a:gd name="T19" fmla="*/ 54 h 63"/>
                  <a:gd name="T20" fmla="*/ 184 w 193"/>
                  <a:gd name="T21" fmla="*/ 54 h 63"/>
                  <a:gd name="T22" fmla="*/ 184 w 193"/>
                  <a:gd name="T23" fmla="*/ 21 h 63"/>
                  <a:gd name="T24" fmla="*/ 172 w 193"/>
                  <a:gd name="T25" fmla="*/ 9 h 63"/>
                  <a:gd name="T26" fmla="*/ 21 w 193"/>
                  <a:gd name="T27" fmla="*/ 9 h 63"/>
                  <a:gd name="T28" fmla="*/ 9 w 193"/>
                  <a:gd name="T29" fmla="*/ 21 h 63"/>
                  <a:gd name="T30" fmla="*/ 9 w 193"/>
                  <a:gd name="T31" fmla="*/ 54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3" h="63">
                    <a:moveTo>
                      <a:pt x="188" y="63"/>
                    </a:moveTo>
                    <a:cubicBezTo>
                      <a:pt x="4" y="63"/>
                      <a:pt x="4" y="63"/>
                      <a:pt x="4" y="63"/>
                    </a:cubicBezTo>
                    <a:cubicBezTo>
                      <a:pt x="2" y="63"/>
                      <a:pt x="0" y="61"/>
                      <a:pt x="0" y="58"/>
                    </a:cubicBezTo>
                    <a:cubicBezTo>
                      <a:pt x="0" y="21"/>
                      <a:pt x="0" y="21"/>
                      <a:pt x="0" y="21"/>
                    </a:cubicBezTo>
                    <a:cubicBezTo>
                      <a:pt x="0" y="9"/>
                      <a:pt x="9" y="0"/>
                      <a:pt x="21" y="0"/>
                    </a:cubicBezTo>
                    <a:cubicBezTo>
                      <a:pt x="172" y="0"/>
                      <a:pt x="172" y="0"/>
                      <a:pt x="172" y="0"/>
                    </a:cubicBezTo>
                    <a:cubicBezTo>
                      <a:pt x="183" y="0"/>
                      <a:pt x="193" y="9"/>
                      <a:pt x="193" y="21"/>
                    </a:cubicBezTo>
                    <a:cubicBezTo>
                      <a:pt x="193" y="58"/>
                      <a:pt x="193" y="58"/>
                      <a:pt x="193" y="58"/>
                    </a:cubicBezTo>
                    <a:cubicBezTo>
                      <a:pt x="193" y="61"/>
                      <a:pt x="191" y="63"/>
                      <a:pt x="188" y="63"/>
                    </a:cubicBezTo>
                    <a:close/>
                    <a:moveTo>
                      <a:pt x="9" y="54"/>
                    </a:moveTo>
                    <a:cubicBezTo>
                      <a:pt x="184" y="54"/>
                      <a:pt x="184" y="54"/>
                      <a:pt x="184" y="54"/>
                    </a:cubicBezTo>
                    <a:cubicBezTo>
                      <a:pt x="184" y="21"/>
                      <a:pt x="184" y="21"/>
                      <a:pt x="184" y="21"/>
                    </a:cubicBezTo>
                    <a:cubicBezTo>
                      <a:pt x="184" y="14"/>
                      <a:pt x="179" y="9"/>
                      <a:pt x="172" y="9"/>
                    </a:cubicBezTo>
                    <a:cubicBezTo>
                      <a:pt x="21" y="9"/>
                      <a:pt x="21" y="9"/>
                      <a:pt x="21" y="9"/>
                    </a:cubicBezTo>
                    <a:cubicBezTo>
                      <a:pt x="14" y="9"/>
                      <a:pt x="9" y="14"/>
                      <a:pt x="9" y="21"/>
                    </a:cubicBezTo>
                    <a:lnTo>
                      <a:pt x="9" y="54"/>
                    </a:lnTo>
                    <a:close/>
                  </a:path>
                </a:pathLst>
              </a:custGeom>
              <a:solidFill>
                <a:srgbClr val="0039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6" name="isḷiḓè">
                <a:extLst>
                  <a:ext uri="{FF2B5EF4-FFF2-40B4-BE49-F238E27FC236}">
                    <a16:creationId xmlns:a16="http://schemas.microsoft.com/office/drawing/2014/main" id="{18778917-45FC-0B47-9D6E-CB9FA0A8185C}"/>
                  </a:ext>
                </a:extLst>
              </p:cNvPr>
              <p:cNvSpPr/>
              <p:nvPr/>
            </p:nvSpPr>
            <p:spPr bwMode="auto">
              <a:xfrm>
                <a:off x="6116702" y="2845210"/>
                <a:ext cx="394714" cy="222200"/>
              </a:xfrm>
              <a:prstGeom prst="rect">
                <a:avLst/>
              </a:prstGeom>
              <a:solidFill>
                <a:srgbClr val="FF709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57" name="ïşľiḓê">
                <a:extLst>
                  <a:ext uri="{FF2B5EF4-FFF2-40B4-BE49-F238E27FC236}">
                    <a16:creationId xmlns:a16="http://schemas.microsoft.com/office/drawing/2014/main" id="{E7401D75-E84C-EA44-A00B-D1B9D09D02EE}"/>
                  </a:ext>
                </a:extLst>
              </p:cNvPr>
              <p:cNvSpPr/>
              <p:nvPr/>
            </p:nvSpPr>
            <p:spPr bwMode="auto">
              <a:xfrm>
                <a:off x="6116702" y="2845210"/>
                <a:ext cx="394714" cy="222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58" name="îŝḷïḑé">
                <a:extLst>
                  <a:ext uri="{FF2B5EF4-FFF2-40B4-BE49-F238E27FC236}">
                    <a16:creationId xmlns:a16="http://schemas.microsoft.com/office/drawing/2014/main" id="{01D85511-DFEF-E442-9D6D-7E44F7E12F45}"/>
                  </a:ext>
                </a:extLst>
              </p:cNvPr>
              <p:cNvSpPr/>
              <p:nvPr/>
            </p:nvSpPr>
            <p:spPr bwMode="auto">
              <a:xfrm>
                <a:off x="6141544" y="2856251"/>
                <a:ext cx="12422" cy="202878"/>
              </a:xfrm>
              <a:custGeom>
                <a:avLst/>
                <a:gdLst>
                  <a:gd name="T0" fmla="*/ 2 w 4"/>
                  <a:gd name="T1" fmla="*/ 0 h 71"/>
                  <a:gd name="T2" fmla="*/ 0 w 4"/>
                  <a:gd name="T3" fmla="*/ 1 h 71"/>
                  <a:gd name="T4" fmla="*/ 0 w 4"/>
                  <a:gd name="T5" fmla="*/ 70 h 71"/>
                  <a:gd name="T6" fmla="*/ 2 w 4"/>
                  <a:gd name="T7" fmla="*/ 71 h 71"/>
                  <a:gd name="T8" fmla="*/ 4 w 4"/>
                  <a:gd name="T9" fmla="*/ 70 h 71"/>
                  <a:gd name="T10" fmla="*/ 4 w 4"/>
                  <a:gd name="T11" fmla="*/ 1 h 71"/>
                  <a:gd name="T12" fmla="*/ 2 w 4"/>
                  <a:gd name="T13" fmla="*/ 0 h 71"/>
                </a:gdLst>
                <a:ahLst/>
                <a:cxnLst>
                  <a:cxn ang="0">
                    <a:pos x="T0" y="T1"/>
                  </a:cxn>
                  <a:cxn ang="0">
                    <a:pos x="T2" y="T3"/>
                  </a:cxn>
                  <a:cxn ang="0">
                    <a:pos x="T4" y="T5"/>
                  </a:cxn>
                  <a:cxn ang="0">
                    <a:pos x="T6" y="T7"/>
                  </a:cxn>
                  <a:cxn ang="0">
                    <a:pos x="T8" y="T9"/>
                  </a:cxn>
                  <a:cxn ang="0">
                    <a:pos x="T10" y="T11"/>
                  </a:cxn>
                  <a:cxn ang="0">
                    <a:pos x="T12" y="T13"/>
                  </a:cxn>
                </a:cxnLst>
                <a:rect l="0" t="0" r="r" b="b"/>
                <a:pathLst>
                  <a:path w="4" h="71">
                    <a:moveTo>
                      <a:pt x="2" y="0"/>
                    </a:moveTo>
                    <a:cubicBezTo>
                      <a:pt x="1" y="0"/>
                      <a:pt x="0" y="0"/>
                      <a:pt x="0" y="1"/>
                    </a:cubicBezTo>
                    <a:cubicBezTo>
                      <a:pt x="0" y="70"/>
                      <a:pt x="0" y="70"/>
                      <a:pt x="0" y="70"/>
                    </a:cubicBezTo>
                    <a:cubicBezTo>
                      <a:pt x="0" y="71"/>
                      <a:pt x="1" y="71"/>
                      <a:pt x="2" y="71"/>
                    </a:cubicBezTo>
                    <a:cubicBezTo>
                      <a:pt x="3" y="71"/>
                      <a:pt x="4" y="71"/>
                      <a:pt x="4" y="70"/>
                    </a:cubicBezTo>
                    <a:cubicBezTo>
                      <a:pt x="4" y="1"/>
                      <a:pt x="4" y="1"/>
                      <a:pt x="4" y="1"/>
                    </a:cubicBezTo>
                    <a:cubicBezTo>
                      <a:pt x="4" y="0"/>
                      <a:pt x="3" y="0"/>
                      <a:pt x="2" y="0"/>
                    </a:cubicBezTo>
                  </a:path>
                </a:pathLst>
              </a:custGeom>
              <a:solidFill>
                <a:srgbClr val="FF82A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9" name="íṩ1íḍé">
                <a:extLst>
                  <a:ext uri="{FF2B5EF4-FFF2-40B4-BE49-F238E27FC236}">
                    <a16:creationId xmlns:a16="http://schemas.microsoft.com/office/drawing/2014/main" id="{4DFD8136-64D8-2F45-9C2B-AB1D8A544815}"/>
                  </a:ext>
                </a:extLst>
              </p:cNvPr>
              <p:cNvSpPr/>
              <p:nvPr/>
            </p:nvSpPr>
            <p:spPr bwMode="auto">
              <a:xfrm>
                <a:off x="6173287" y="2856251"/>
                <a:ext cx="8281" cy="202878"/>
              </a:xfrm>
              <a:custGeom>
                <a:avLst/>
                <a:gdLst>
                  <a:gd name="T0" fmla="*/ 2 w 3"/>
                  <a:gd name="T1" fmla="*/ 0 h 71"/>
                  <a:gd name="T2" fmla="*/ 0 w 3"/>
                  <a:gd name="T3" fmla="*/ 1 h 71"/>
                  <a:gd name="T4" fmla="*/ 0 w 3"/>
                  <a:gd name="T5" fmla="*/ 70 h 71"/>
                  <a:gd name="T6" fmla="*/ 2 w 3"/>
                  <a:gd name="T7" fmla="*/ 71 h 71"/>
                  <a:gd name="T8" fmla="*/ 3 w 3"/>
                  <a:gd name="T9" fmla="*/ 70 h 71"/>
                  <a:gd name="T10" fmla="*/ 3 w 3"/>
                  <a:gd name="T11" fmla="*/ 1 h 71"/>
                  <a:gd name="T12" fmla="*/ 2 w 3"/>
                  <a:gd name="T13" fmla="*/ 0 h 71"/>
                </a:gdLst>
                <a:ahLst/>
                <a:cxnLst>
                  <a:cxn ang="0">
                    <a:pos x="T0" y="T1"/>
                  </a:cxn>
                  <a:cxn ang="0">
                    <a:pos x="T2" y="T3"/>
                  </a:cxn>
                  <a:cxn ang="0">
                    <a:pos x="T4" y="T5"/>
                  </a:cxn>
                  <a:cxn ang="0">
                    <a:pos x="T6" y="T7"/>
                  </a:cxn>
                  <a:cxn ang="0">
                    <a:pos x="T8" y="T9"/>
                  </a:cxn>
                  <a:cxn ang="0">
                    <a:pos x="T10" y="T11"/>
                  </a:cxn>
                  <a:cxn ang="0">
                    <a:pos x="T12" y="T13"/>
                  </a:cxn>
                </a:cxnLst>
                <a:rect l="0" t="0" r="r" b="b"/>
                <a:pathLst>
                  <a:path w="3" h="71">
                    <a:moveTo>
                      <a:pt x="2" y="0"/>
                    </a:moveTo>
                    <a:cubicBezTo>
                      <a:pt x="1" y="0"/>
                      <a:pt x="0" y="0"/>
                      <a:pt x="0" y="1"/>
                    </a:cubicBezTo>
                    <a:cubicBezTo>
                      <a:pt x="0" y="70"/>
                      <a:pt x="0" y="70"/>
                      <a:pt x="0" y="70"/>
                    </a:cubicBezTo>
                    <a:cubicBezTo>
                      <a:pt x="0" y="71"/>
                      <a:pt x="1" y="71"/>
                      <a:pt x="2" y="71"/>
                    </a:cubicBezTo>
                    <a:cubicBezTo>
                      <a:pt x="3" y="71"/>
                      <a:pt x="3" y="71"/>
                      <a:pt x="3" y="70"/>
                    </a:cubicBezTo>
                    <a:cubicBezTo>
                      <a:pt x="3" y="1"/>
                      <a:pt x="3" y="1"/>
                      <a:pt x="3" y="1"/>
                    </a:cubicBezTo>
                    <a:cubicBezTo>
                      <a:pt x="3" y="0"/>
                      <a:pt x="3" y="0"/>
                      <a:pt x="2" y="0"/>
                    </a:cubicBezTo>
                  </a:path>
                </a:pathLst>
              </a:custGeom>
              <a:solidFill>
                <a:srgbClr val="FF82A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0" name="ïṡḷîḍè">
                <a:extLst>
                  <a:ext uri="{FF2B5EF4-FFF2-40B4-BE49-F238E27FC236}">
                    <a16:creationId xmlns:a16="http://schemas.microsoft.com/office/drawing/2014/main" id="{7AE46A59-9E9A-8E4B-A53B-288BE17E8568}"/>
                  </a:ext>
                </a:extLst>
              </p:cNvPr>
              <p:cNvSpPr/>
              <p:nvPr/>
            </p:nvSpPr>
            <p:spPr bwMode="auto">
              <a:xfrm>
                <a:off x="6202269" y="2856251"/>
                <a:ext cx="11041" cy="202878"/>
              </a:xfrm>
              <a:custGeom>
                <a:avLst/>
                <a:gdLst>
                  <a:gd name="T0" fmla="*/ 2 w 4"/>
                  <a:gd name="T1" fmla="*/ 0 h 71"/>
                  <a:gd name="T2" fmla="*/ 0 w 4"/>
                  <a:gd name="T3" fmla="*/ 1 h 71"/>
                  <a:gd name="T4" fmla="*/ 0 w 4"/>
                  <a:gd name="T5" fmla="*/ 70 h 71"/>
                  <a:gd name="T6" fmla="*/ 2 w 4"/>
                  <a:gd name="T7" fmla="*/ 71 h 71"/>
                  <a:gd name="T8" fmla="*/ 4 w 4"/>
                  <a:gd name="T9" fmla="*/ 70 h 71"/>
                  <a:gd name="T10" fmla="*/ 4 w 4"/>
                  <a:gd name="T11" fmla="*/ 1 h 71"/>
                  <a:gd name="T12" fmla="*/ 2 w 4"/>
                  <a:gd name="T13" fmla="*/ 0 h 71"/>
                </a:gdLst>
                <a:ahLst/>
                <a:cxnLst>
                  <a:cxn ang="0">
                    <a:pos x="T0" y="T1"/>
                  </a:cxn>
                  <a:cxn ang="0">
                    <a:pos x="T2" y="T3"/>
                  </a:cxn>
                  <a:cxn ang="0">
                    <a:pos x="T4" y="T5"/>
                  </a:cxn>
                  <a:cxn ang="0">
                    <a:pos x="T6" y="T7"/>
                  </a:cxn>
                  <a:cxn ang="0">
                    <a:pos x="T8" y="T9"/>
                  </a:cxn>
                  <a:cxn ang="0">
                    <a:pos x="T10" y="T11"/>
                  </a:cxn>
                  <a:cxn ang="0">
                    <a:pos x="T12" y="T13"/>
                  </a:cxn>
                </a:cxnLst>
                <a:rect l="0" t="0" r="r" b="b"/>
                <a:pathLst>
                  <a:path w="4" h="71">
                    <a:moveTo>
                      <a:pt x="2" y="0"/>
                    </a:moveTo>
                    <a:cubicBezTo>
                      <a:pt x="1" y="0"/>
                      <a:pt x="0" y="0"/>
                      <a:pt x="0" y="1"/>
                    </a:cubicBezTo>
                    <a:cubicBezTo>
                      <a:pt x="0" y="70"/>
                      <a:pt x="0" y="70"/>
                      <a:pt x="0" y="70"/>
                    </a:cubicBezTo>
                    <a:cubicBezTo>
                      <a:pt x="0" y="71"/>
                      <a:pt x="1" y="71"/>
                      <a:pt x="2" y="71"/>
                    </a:cubicBezTo>
                    <a:cubicBezTo>
                      <a:pt x="3" y="71"/>
                      <a:pt x="4" y="71"/>
                      <a:pt x="4" y="70"/>
                    </a:cubicBezTo>
                    <a:cubicBezTo>
                      <a:pt x="4" y="1"/>
                      <a:pt x="4" y="1"/>
                      <a:pt x="4" y="1"/>
                    </a:cubicBezTo>
                    <a:cubicBezTo>
                      <a:pt x="4" y="0"/>
                      <a:pt x="3" y="0"/>
                      <a:pt x="2" y="0"/>
                    </a:cubicBezTo>
                  </a:path>
                </a:pathLst>
              </a:custGeom>
              <a:solidFill>
                <a:srgbClr val="FF82A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1" name="íṣḻíde">
                <a:extLst>
                  <a:ext uri="{FF2B5EF4-FFF2-40B4-BE49-F238E27FC236}">
                    <a16:creationId xmlns:a16="http://schemas.microsoft.com/office/drawing/2014/main" id="{AA9A0AE1-AECD-C34B-9882-0E7544E79A27}"/>
                  </a:ext>
                </a:extLst>
              </p:cNvPr>
              <p:cNvSpPr/>
              <p:nvPr/>
            </p:nvSpPr>
            <p:spPr bwMode="auto">
              <a:xfrm>
                <a:off x="6234012" y="2856251"/>
                <a:ext cx="11041" cy="202878"/>
              </a:xfrm>
              <a:custGeom>
                <a:avLst/>
                <a:gdLst>
                  <a:gd name="T0" fmla="*/ 2 w 4"/>
                  <a:gd name="T1" fmla="*/ 0 h 71"/>
                  <a:gd name="T2" fmla="*/ 0 w 4"/>
                  <a:gd name="T3" fmla="*/ 1 h 71"/>
                  <a:gd name="T4" fmla="*/ 0 w 4"/>
                  <a:gd name="T5" fmla="*/ 70 h 71"/>
                  <a:gd name="T6" fmla="*/ 2 w 4"/>
                  <a:gd name="T7" fmla="*/ 71 h 71"/>
                  <a:gd name="T8" fmla="*/ 4 w 4"/>
                  <a:gd name="T9" fmla="*/ 70 h 71"/>
                  <a:gd name="T10" fmla="*/ 4 w 4"/>
                  <a:gd name="T11" fmla="*/ 1 h 71"/>
                  <a:gd name="T12" fmla="*/ 2 w 4"/>
                  <a:gd name="T13" fmla="*/ 0 h 71"/>
                </a:gdLst>
                <a:ahLst/>
                <a:cxnLst>
                  <a:cxn ang="0">
                    <a:pos x="T0" y="T1"/>
                  </a:cxn>
                  <a:cxn ang="0">
                    <a:pos x="T2" y="T3"/>
                  </a:cxn>
                  <a:cxn ang="0">
                    <a:pos x="T4" y="T5"/>
                  </a:cxn>
                  <a:cxn ang="0">
                    <a:pos x="T6" y="T7"/>
                  </a:cxn>
                  <a:cxn ang="0">
                    <a:pos x="T8" y="T9"/>
                  </a:cxn>
                  <a:cxn ang="0">
                    <a:pos x="T10" y="T11"/>
                  </a:cxn>
                  <a:cxn ang="0">
                    <a:pos x="T12" y="T13"/>
                  </a:cxn>
                </a:cxnLst>
                <a:rect l="0" t="0" r="r" b="b"/>
                <a:pathLst>
                  <a:path w="4" h="71">
                    <a:moveTo>
                      <a:pt x="2" y="0"/>
                    </a:moveTo>
                    <a:cubicBezTo>
                      <a:pt x="1" y="0"/>
                      <a:pt x="0" y="0"/>
                      <a:pt x="0" y="1"/>
                    </a:cubicBezTo>
                    <a:cubicBezTo>
                      <a:pt x="0" y="70"/>
                      <a:pt x="0" y="70"/>
                      <a:pt x="0" y="70"/>
                    </a:cubicBezTo>
                    <a:cubicBezTo>
                      <a:pt x="0" y="71"/>
                      <a:pt x="1" y="71"/>
                      <a:pt x="2" y="71"/>
                    </a:cubicBezTo>
                    <a:cubicBezTo>
                      <a:pt x="3" y="71"/>
                      <a:pt x="4" y="71"/>
                      <a:pt x="4" y="70"/>
                    </a:cubicBezTo>
                    <a:cubicBezTo>
                      <a:pt x="4" y="1"/>
                      <a:pt x="4" y="1"/>
                      <a:pt x="4" y="1"/>
                    </a:cubicBezTo>
                    <a:cubicBezTo>
                      <a:pt x="4" y="0"/>
                      <a:pt x="3" y="0"/>
                      <a:pt x="2" y="0"/>
                    </a:cubicBezTo>
                  </a:path>
                </a:pathLst>
              </a:custGeom>
              <a:solidFill>
                <a:srgbClr val="FF82A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2" name="íṧļíḋè">
                <a:extLst>
                  <a:ext uri="{FF2B5EF4-FFF2-40B4-BE49-F238E27FC236}">
                    <a16:creationId xmlns:a16="http://schemas.microsoft.com/office/drawing/2014/main" id="{005E777E-3CC0-5540-A524-8AF573ADD3C0}"/>
                  </a:ext>
                </a:extLst>
              </p:cNvPr>
              <p:cNvSpPr/>
              <p:nvPr/>
            </p:nvSpPr>
            <p:spPr bwMode="auto">
              <a:xfrm>
                <a:off x="6262995" y="2856251"/>
                <a:ext cx="11041" cy="202878"/>
              </a:xfrm>
              <a:custGeom>
                <a:avLst/>
                <a:gdLst>
                  <a:gd name="T0" fmla="*/ 2 w 4"/>
                  <a:gd name="T1" fmla="*/ 0 h 71"/>
                  <a:gd name="T2" fmla="*/ 0 w 4"/>
                  <a:gd name="T3" fmla="*/ 1 h 71"/>
                  <a:gd name="T4" fmla="*/ 0 w 4"/>
                  <a:gd name="T5" fmla="*/ 70 h 71"/>
                  <a:gd name="T6" fmla="*/ 2 w 4"/>
                  <a:gd name="T7" fmla="*/ 71 h 71"/>
                  <a:gd name="T8" fmla="*/ 4 w 4"/>
                  <a:gd name="T9" fmla="*/ 70 h 71"/>
                  <a:gd name="T10" fmla="*/ 4 w 4"/>
                  <a:gd name="T11" fmla="*/ 1 h 71"/>
                  <a:gd name="T12" fmla="*/ 2 w 4"/>
                  <a:gd name="T13" fmla="*/ 0 h 71"/>
                </a:gdLst>
                <a:ahLst/>
                <a:cxnLst>
                  <a:cxn ang="0">
                    <a:pos x="T0" y="T1"/>
                  </a:cxn>
                  <a:cxn ang="0">
                    <a:pos x="T2" y="T3"/>
                  </a:cxn>
                  <a:cxn ang="0">
                    <a:pos x="T4" y="T5"/>
                  </a:cxn>
                  <a:cxn ang="0">
                    <a:pos x="T6" y="T7"/>
                  </a:cxn>
                  <a:cxn ang="0">
                    <a:pos x="T8" y="T9"/>
                  </a:cxn>
                  <a:cxn ang="0">
                    <a:pos x="T10" y="T11"/>
                  </a:cxn>
                  <a:cxn ang="0">
                    <a:pos x="T12" y="T13"/>
                  </a:cxn>
                </a:cxnLst>
                <a:rect l="0" t="0" r="r" b="b"/>
                <a:pathLst>
                  <a:path w="4" h="71">
                    <a:moveTo>
                      <a:pt x="2" y="0"/>
                    </a:moveTo>
                    <a:cubicBezTo>
                      <a:pt x="1" y="0"/>
                      <a:pt x="0" y="0"/>
                      <a:pt x="0" y="1"/>
                    </a:cubicBezTo>
                    <a:cubicBezTo>
                      <a:pt x="0" y="70"/>
                      <a:pt x="0" y="70"/>
                      <a:pt x="0" y="70"/>
                    </a:cubicBezTo>
                    <a:cubicBezTo>
                      <a:pt x="0" y="71"/>
                      <a:pt x="1" y="71"/>
                      <a:pt x="2" y="71"/>
                    </a:cubicBezTo>
                    <a:cubicBezTo>
                      <a:pt x="3" y="71"/>
                      <a:pt x="4" y="71"/>
                      <a:pt x="4" y="70"/>
                    </a:cubicBezTo>
                    <a:cubicBezTo>
                      <a:pt x="4" y="1"/>
                      <a:pt x="4" y="1"/>
                      <a:pt x="4" y="1"/>
                    </a:cubicBezTo>
                    <a:cubicBezTo>
                      <a:pt x="4" y="0"/>
                      <a:pt x="3" y="0"/>
                      <a:pt x="2" y="0"/>
                    </a:cubicBezTo>
                  </a:path>
                </a:pathLst>
              </a:custGeom>
              <a:solidFill>
                <a:srgbClr val="FF82A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3" name="iṧlîdê">
                <a:extLst>
                  <a:ext uri="{FF2B5EF4-FFF2-40B4-BE49-F238E27FC236}">
                    <a16:creationId xmlns:a16="http://schemas.microsoft.com/office/drawing/2014/main" id="{C22826D5-698C-B044-AF26-E4D6E5061992}"/>
                  </a:ext>
                </a:extLst>
              </p:cNvPr>
              <p:cNvSpPr/>
              <p:nvPr/>
            </p:nvSpPr>
            <p:spPr bwMode="auto">
              <a:xfrm>
                <a:off x="6293357" y="2856251"/>
                <a:ext cx="12422" cy="202878"/>
              </a:xfrm>
              <a:custGeom>
                <a:avLst/>
                <a:gdLst>
                  <a:gd name="T0" fmla="*/ 2 w 4"/>
                  <a:gd name="T1" fmla="*/ 0 h 71"/>
                  <a:gd name="T2" fmla="*/ 0 w 4"/>
                  <a:gd name="T3" fmla="*/ 1 h 71"/>
                  <a:gd name="T4" fmla="*/ 0 w 4"/>
                  <a:gd name="T5" fmla="*/ 70 h 71"/>
                  <a:gd name="T6" fmla="*/ 2 w 4"/>
                  <a:gd name="T7" fmla="*/ 71 h 71"/>
                  <a:gd name="T8" fmla="*/ 4 w 4"/>
                  <a:gd name="T9" fmla="*/ 70 h 71"/>
                  <a:gd name="T10" fmla="*/ 4 w 4"/>
                  <a:gd name="T11" fmla="*/ 1 h 71"/>
                  <a:gd name="T12" fmla="*/ 2 w 4"/>
                  <a:gd name="T13" fmla="*/ 0 h 71"/>
                </a:gdLst>
                <a:ahLst/>
                <a:cxnLst>
                  <a:cxn ang="0">
                    <a:pos x="T0" y="T1"/>
                  </a:cxn>
                  <a:cxn ang="0">
                    <a:pos x="T2" y="T3"/>
                  </a:cxn>
                  <a:cxn ang="0">
                    <a:pos x="T4" y="T5"/>
                  </a:cxn>
                  <a:cxn ang="0">
                    <a:pos x="T6" y="T7"/>
                  </a:cxn>
                  <a:cxn ang="0">
                    <a:pos x="T8" y="T9"/>
                  </a:cxn>
                  <a:cxn ang="0">
                    <a:pos x="T10" y="T11"/>
                  </a:cxn>
                  <a:cxn ang="0">
                    <a:pos x="T12" y="T13"/>
                  </a:cxn>
                </a:cxnLst>
                <a:rect l="0" t="0" r="r" b="b"/>
                <a:pathLst>
                  <a:path w="4" h="71">
                    <a:moveTo>
                      <a:pt x="2" y="0"/>
                    </a:moveTo>
                    <a:cubicBezTo>
                      <a:pt x="1" y="0"/>
                      <a:pt x="0" y="0"/>
                      <a:pt x="0" y="1"/>
                    </a:cubicBezTo>
                    <a:cubicBezTo>
                      <a:pt x="0" y="70"/>
                      <a:pt x="0" y="70"/>
                      <a:pt x="0" y="70"/>
                    </a:cubicBezTo>
                    <a:cubicBezTo>
                      <a:pt x="0" y="71"/>
                      <a:pt x="1" y="71"/>
                      <a:pt x="2" y="71"/>
                    </a:cubicBezTo>
                    <a:cubicBezTo>
                      <a:pt x="3" y="71"/>
                      <a:pt x="4" y="71"/>
                      <a:pt x="4" y="70"/>
                    </a:cubicBezTo>
                    <a:cubicBezTo>
                      <a:pt x="4" y="1"/>
                      <a:pt x="4" y="1"/>
                      <a:pt x="4" y="1"/>
                    </a:cubicBezTo>
                    <a:cubicBezTo>
                      <a:pt x="4" y="0"/>
                      <a:pt x="3" y="0"/>
                      <a:pt x="2" y="0"/>
                    </a:cubicBezTo>
                  </a:path>
                </a:pathLst>
              </a:custGeom>
              <a:solidFill>
                <a:srgbClr val="FF82A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4" name="íŝ1íḓé">
                <a:extLst>
                  <a:ext uri="{FF2B5EF4-FFF2-40B4-BE49-F238E27FC236}">
                    <a16:creationId xmlns:a16="http://schemas.microsoft.com/office/drawing/2014/main" id="{147D0577-C55F-C448-971E-FC87E234629A}"/>
                  </a:ext>
                </a:extLst>
              </p:cNvPr>
              <p:cNvSpPr/>
              <p:nvPr/>
            </p:nvSpPr>
            <p:spPr bwMode="auto">
              <a:xfrm>
                <a:off x="6325100" y="2856251"/>
                <a:ext cx="9661" cy="202878"/>
              </a:xfrm>
              <a:custGeom>
                <a:avLst/>
                <a:gdLst>
                  <a:gd name="T0" fmla="*/ 1 w 3"/>
                  <a:gd name="T1" fmla="*/ 0 h 71"/>
                  <a:gd name="T2" fmla="*/ 0 w 3"/>
                  <a:gd name="T3" fmla="*/ 1 h 71"/>
                  <a:gd name="T4" fmla="*/ 0 w 3"/>
                  <a:gd name="T5" fmla="*/ 70 h 71"/>
                  <a:gd name="T6" fmla="*/ 1 w 3"/>
                  <a:gd name="T7" fmla="*/ 71 h 71"/>
                  <a:gd name="T8" fmla="*/ 3 w 3"/>
                  <a:gd name="T9" fmla="*/ 70 h 71"/>
                  <a:gd name="T10" fmla="*/ 3 w 3"/>
                  <a:gd name="T11" fmla="*/ 1 h 71"/>
                  <a:gd name="T12" fmla="*/ 1 w 3"/>
                  <a:gd name="T13" fmla="*/ 0 h 71"/>
                </a:gdLst>
                <a:ahLst/>
                <a:cxnLst>
                  <a:cxn ang="0">
                    <a:pos x="T0" y="T1"/>
                  </a:cxn>
                  <a:cxn ang="0">
                    <a:pos x="T2" y="T3"/>
                  </a:cxn>
                  <a:cxn ang="0">
                    <a:pos x="T4" y="T5"/>
                  </a:cxn>
                  <a:cxn ang="0">
                    <a:pos x="T6" y="T7"/>
                  </a:cxn>
                  <a:cxn ang="0">
                    <a:pos x="T8" y="T9"/>
                  </a:cxn>
                  <a:cxn ang="0">
                    <a:pos x="T10" y="T11"/>
                  </a:cxn>
                  <a:cxn ang="0">
                    <a:pos x="T12" y="T13"/>
                  </a:cxn>
                </a:cxnLst>
                <a:rect l="0" t="0" r="r" b="b"/>
                <a:pathLst>
                  <a:path w="3" h="71">
                    <a:moveTo>
                      <a:pt x="1" y="0"/>
                    </a:moveTo>
                    <a:cubicBezTo>
                      <a:pt x="0" y="0"/>
                      <a:pt x="0" y="0"/>
                      <a:pt x="0" y="1"/>
                    </a:cubicBezTo>
                    <a:cubicBezTo>
                      <a:pt x="0" y="70"/>
                      <a:pt x="0" y="70"/>
                      <a:pt x="0" y="70"/>
                    </a:cubicBezTo>
                    <a:cubicBezTo>
                      <a:pt x="0" y="71"/>
                      <a:pt x="0" y="71"/>
                      <a:pt x="1" y="71"/>
                    </a:cubicBezTo>
                    <a:cubicBezTo>
                      <a:pt x="2" y="71"/>
                      <a:pt x="3" y="71"/>
                      <a:pt x="3" y="70"/>
                    </a:cubicBezTo>
                    <a:cubicBezTo>
                      <a:pt x="3" y="1"/>
                      <a:pt x="3" y="1"/>
                      <a:pt x="3" y="1"/>
                    </a:cubicBezTo>
                    <a:cubicBezTo>
                      <a:pt x="3" y="0"/>
                      <a:pt x="2" y="0"/>
                      <a:pt x="1" y="0"/>
                    </a:cubicBezTo>
                  </a:path>
                </a:pathLst>
              </a:custGeom>
              <a:solidFill>
                <a:srgbClr val="FF82A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5" name="iŝḷiḋè">
                <a:extLst>
                  <a:ext uri="{FF2B5EF4-FFF2-40B4-BE49-F238E27FC236}">
                    <a16:creationId xmlns:a16="http://schemas.microsoft.com/office/drawing/2014/main" id="{ED4C32F6-FB36-E542-9817-693D6A2F8661}"/>
                  </a:ext>
                </a:extLst>
              </p:cNvPr>
              <p:cNvSpPr/>
              <p:nvPr/>
            </p:nvSpPr>
            <p:spPr bwMode="auto">
              <a:xfrm>
                <a:off x="6354082" y="2856251"/>
                <a:ext cx="11041" cy="202878"/>
              </a:xfrm>
              <a:custGeom>
                <a:avLst/>
                <a:gdLst>
                  <a:gd name="T0" fmla="*/ 2 w 4"/>
                  <a:gd name="T1" fmla="*/ 0 h 71"/>
                  <a:gd name="T2" fmla="*/ 0 w 4"/>
                  <a:gd name="T3" fmla="*/ 1 h 71"/>
                  <a:gd name="T4" fmla="*/ 0 w 4"/>
                  <a:gd name="T5" fmla="*/ 70 h 71"/>
                  <a:gd name="T6" fmla="*/ 2 w 4"/>
                  <a:gd name="T7" fmla="*/ 71 h 71"/>
                  <a:gd name="T8" fmla="*/ 4 w 4"/>
                  <a:gd name="T9" fmla="*/ 70 h 71"/>
                  <a:gd name="T10" fmla="*/ 4 w 4"/>
                  <a:gd name="T11" fmla="*/ 1 h 71"/>
                  <a:gd name="T12" fmla="*/ 2 w 4"/>
                  <a:gd name="T13" fmla="*/ 0 h 71"/>
                </a:gdLst>
                <a:ahLst/>
                <a:cxnLst>
                  <a:cxn ang="0">
                    <a:pos x="T0" y="T1"/>
                  </a:cxn>
                  <a:cxn ang="0">
                    <a:pos x="T2" y="T3"/>
                  </a:cxn>
                  <a:cxn ang="0">
                    <a:pos x="T4" y="T5"/>
                  </a:cxn>
                  <a:cxn ang="0">
                    <a:pos x="T6" y="T7"/>
                  </a:cxn>
                  <a:cxn ang="0">
                    <a:pos x="T8" y="T9"/>
                  </a:cxn>
                  <a:cxn ang="0">
                    <a:pos x="T10" y="T11"/>
                  </a:cxn>
                  <a:cxn ang="0">
                    <a:pos x="T12" y="T13"/>
                  </a:cxn>
                </a:cxnLst>
                <a:rect l="0" t="0" r="r" b="b"/>
                <a:pathLst>
                  <a:path w="4" h="71">
                    <a:moveTo>
                      <a:pt x="2" y="0"/>
                    </a:moveTo>
                    <a:cubicBezTo>
                      <a:pt x="1" y="0"/>
                      <a:pt x="0" y="0"/>
                      <a:pt x="0" y="1"/>
                    </a:cubicBezTo>
                    <a:cubicBezTo>
                      <a:pt x="0" y="70"/>
                      <a:pt x="0" y="70"/>
                      <a:pt x="0" y="70"/>
                    </a:cubicBezTo>
                    <a:cubicBezTo>
                      <a:pt x="0" y="71"/>
                      <a:pt x="1" y="71"/>
                      <a:pt x="2" y="71"/>
                    </a:cubicBezTo>
                    <a:cubicBezTo>
                      <a:pt x="3" y="71"/>
                      <a:pt x="4" y="71"/>
                      <a:pt x="4" y="70"/>
                    </a:cubicBezTo>
                    <a:cubicBezTo>
                      <a:pt x="4" y="1"/>
                      <a:pt x="4" y="1"/>
                      <a:pt x="4" y="1"/>
                    </a:cubicBezTo>
                    <a:cubicBezTo>
                      <a:pt x="4" y="0"/>
                      <a:pt x="3" y="0"/>
                      <a:pt x="2" y="0"/>
                    </a:cubicBezTo>
                  </a:path>
                </a:pathLst>
              </a:custGeom>
              <a:solidFill>
                <a:srgbClr val="FF82A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6" name="î$ļïḑe">
                <a:extLst>
                  <a:ext uri="{FF2B5EF4-FFF2-40B4-BE49-F238E27FC236}">
                    <a16:creationId xmlns:a16="http://schemas.microsoft.com/office/drawing/2014/main" id="{A77CFAB5-2633-594A-8DBD-4F2A70AE2ED7}"/>
                  </a:ext>
                </a:extLst>
              </p:cNvPr>
              <p:cNvSpPr/>
              <p:nvPr/>
            </p:nvSpPr>
            <p:spPr bwMode="auto">
              <a:xfrm>
                <a:off x="6385826" y="2856251"/>
                <a:ext cx="8281" cy="202878"/>
              </a:xfrm>
              <a:custGeom>
                <a:avLst/>
                <a:gdLst>
                  <a:gd name="T0" fmla="*/ 2 w 3"/>
                  <a:gd name="T1" fmla="*/ 0 h 71"/>
                  <a:gd name="T2" fmla="*/ 0 w 3"/>
                  <a:gd name="T3" fmla="*/ 1 h 71"/>
                  <a:gd name="T4" fmla="*/ 0 w 3"/>
                  <a:gd name="T5" fmla="*/ 70 h 71"/>
                  <a:gd name="T6" fmla="*/ 2 w 3"/>
                  <a:gd name="T7" fmla="*/ 71 h 71"/>
                  <a:gd name="T8" fmla="*/ 3 w 3"/>
                  <a:gd name="T9" fmla="*/ 71 h 71"/>
                  <a:gd name="T10" fmla="*/ 3 w 3"/>
                  <a:gd name="T11" fmla="*/ 0 h 71"/>
                  <a:gd name="T12" fmla="*/ 2 w 3"/>
                  <a:gd name="T13" fmla="*/ 0 h 71"/>
                </a:gdLst>
                <a:ahLst/>
                <a:cxnLst>
                  <a:cxn ang="0">
                    <a:pos x="T0" y="T1"/>
                  </a:cxn>
                  <a:cxn ang="0">
                    <a:pos x="T2" y="T3"/>
                  </a:cxn>
                  <a:cxn ang="0">
                    <a:pos x="T4" y="T5"/>
                  </a:cxn>
                  <a:cxn ang="0">
                    <a:pos x="T6" y="T7"/>
                  </a:cxn>
                  <a:cxn ang="0">
                    <a:pos x="T8" y="T9"/>
                  </a:cxn>
                  <a:cxn ang="0">
                    <a:pos x="T10" y="T11"/>
                  </a:cxn>
                  <a:cxn ang="0">
                    <a:pos x="T12" y="T13"/>
                  </a:cxn>
                </a:cxnLst>
                <a:rect l="0" t="0" r="r" b="b"/>
                <a:pathLst>
                  <a:path w="3" h="71">
                    <a:moveTo>
                      <a:pt x="2" y="0"/>
                    </a:moveTo>
                    <a:cubicBezTo>
                      <a:pt x="1" y="0"/>
                      <a:pt x="0" y="0"/>
                      <a:pt x="0" y="1"/>
                    </a:cubicBezTo>
                    <a:cubicBezTo>
                      <a:pt x="0" y="70"/>
                      <a:pt x="0" y="70"/>
                      <a:pt x="0" y="70"/>
                    </a:cubicBezTo>
                    <a:cubicBezTo>
                      <a:pt x="0" y="71"/>
                      <a:pt x="1" y="71"/>
                      <a:pt x="2" y="71"/>
                    </a:cubicBezTo>
                    <a:cubicBezTo>
                      <a:pt x="2" y="71"/>
                      <a:pt x="2" y="71"/>
                      <a:pt x="3" y="71"/>
                    </a:cubicBezTo>
                    <a:cubicBezTo>
                      <a:pt x="3" y="0"/>
                      <a:pt x="3" y="0"/>
                      <a:pt x="3" y="0"/>
                    </a:cubicBezTo>
                    <a:cubicBezTo>
                      <a:pt x="2" y="0"/>
                      <a:pt x="2" y="0"/>
                      <a:pt x="2" y="0"/>
                    </a:cubicBezTo>
                  </a:path>
                </a:pathLst>
              </a:custGeom>
              <a:solidFill>
                <a:srgbClr val="FF82A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7" name="ïsļîḑê">
                <a:extLst>
                  <a:ext uri="{FF2B5EF4-FFF2-40B4-BE49-F238E27FC236}">
                    <a16:creationId xmlns:a16="http://schemas.microsoft.com/office/drawing/2014/main" id="{BCEB5E13-E5A7-DE4B-8BDC-1531EA677B2A}"/>
                  </a:ext>
                </a:extLst>
              </p:cNvPr>
              <p:cNvSpPr/>
              <p:nvPr/>
            </p:nvSpPr>
            <p:spPr bwMode="auto">
              <a:xfrm>
                <a:off x="6394106" y="2845210"/>
                <a:ext cx="117311" cy="222200"/>
              </a:xfrm>
              <a:custGeom>
                <a:avLst/>
                <a:gdLst>
                  <a:gd name="T0" fmla="*/ 9 w 41"/>
                  <a:gd name="T1" fmla="*/ 75 h 78"/>
                  <a:gd name="T2" fmla="*/ 7 w 41"/>
                  <a:gd name="T3" fmla="*/ 74 h 78"/>
                  <a:gd name="T4" fmla="*/ 7 w 41"/>
                  <a:gd name="T5" fmla="*/ 5 h 78"/>
                  <a:gd name="T6" fmla="*/ 9 w 41"/>
                  <a:gd name="T7" fmla="*/ 4 h 78"/>
                  <a:gd name="T8" fmla="*/ 11 w 41"/>
                  <a:gd name="T9" fmla="*/ 5 h 78"/>
                  <a:gd name="T10" fmla="*/ 11 w 41"/>
                  <a:gd name="T11" fmla="*/ 74 h 78"/>
                  <a:gd name="T12" fmla="*/ 9 w 41"/>
                  <a:gd name="T13" fmla="*/ 75 h 78"/>
                  <a:gd name="T14" fmla="*/ 20 w 41"/>
                  <a:gd name="T15" fmla="*/ 75 h 78"/>
                  <a:gd name="T16" fmla="*/ 18 w 41"/>
                  <a:gd name="T17" fmla="*/ 74 h 78"/>
                  <a:gd name="T18" fmla="*/ 18 w 41"/>
                  <a:gd name="T19" fmla="*/ 5 h 78"/>
                  <a:gd name="T20" fmla="*/ 20 w 41"/>
                  <a:gd name="T21" fmla="*/ 4 h 78"/>
                  <a:gd name="T22" fmla="*/ 22 w 41"/>
                  <a:gd name="T23" fmla="*/ 5 h 78"/>
                  <a:gd name="T24" fmla="*/ 22 w 41"/>
                  <a:gd name="T25" fmla="*/ 74 h 78"/>
                  <a:gd name="T26" fmla="*/ 20 w 41"/>
                  <a:gd name="T27" fmla="*/ 75 h 78"/>
                  <a:gd name="T28" fmla="*/ 30 w 41"/>
                  <a:gd name="T29" fmla="*/ 75 h 78"/>
                  <a:gd name="T30" fmla="*/ 28 w 41"/>
                  <a:gd name="T31" fmla="*/ 74 h 78"/>
                  <a:gd name="T32" fmla="*/ 28 w 41"/>
                  <a:gd name="T33" fmla="*/ 5 h 78"/>
                  <a:gd name="T34" fmla="*/ 30 w 41"/>
                  <a:gd name="T35" fmla="*/ 4 h 78"/>
                  <a:gd name="T36" fmla="*/ 32 w 41"/>
                  <a:gd name="T37" fmla="*/ 5 h 78"/>
                  <a:gd name="T38" fmla="*/ 32 w 41"/>
                  <a:gd name="T39" fmla="*/ 74 h 78"/>
                  <a:gd name="T40" fmla="*/ 30 w 41"/>
                  <a:gd name="T41" fmla="*/ 75 h 78"/>
                  <a:gd name="T42" fmla="*/ 41 w 41"/>
                  <a:gd name="T43" fmla="*/ 0 h 78"/>
                  <a:gd name="T44" fmla="*/ 0 w 41"/>
                  <a:gd name="T45" fmla="*/ 0 h 78"/>
                  <a:gd name="T46" fmla="*/ 0 w 41"/>
                  <a:gd name="T47" fmla="*/ 4 h 78"/>
                  <a:gd name="T48" fmla="*/ 0 w 41"/>
                  <a:gd name="T49" fmla="*/ 5 h 78"/>
                  <a:gd name="T50" fmla="*/ 0 w 41"/>
                  <a:gd name="T51" fmla="*/ 74 h 78"/>
                  <a:gd name="T52" fmla="*/ 0 w 41"/>
                  <a:gd name="T53" fmla="*/ 75 h 78"/>
                  <a:gd name="T54" fmla="*/ 0 w 41"/>
                  <a:gd name="T55" fmla="*/ 78 h 78"/>
                  <a:gd name="T56" fmla="*/ 41 w 41"/>
                  <a:gd name="T57" fmla="*/ 78 h 78"/>
                  <a:gd name="T58" fmla="*/ 41 w 41"/>
                  <a:gd name="T5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1" h="78">
                    <a:moveTo>
                      <a:pt x="9" y="75"/>
                    </a:moveTo>
                    <a:cubicBezTo>
                      <a:pt x="8" y="75"/>
                      <a:pt x="7" y="75"/>
                      <a:pt x="7" y="74"/>
                    </a:cubicBezTo>
                    <a:cubicBezTo>
                      <a:pt x="7" y="5"/>
                      <a:pt x="7" y="5"/>
                      <a:pt x="7" y="5"/>
                    </a:cubicBezTo>
                    <a:cubicBezTo>
                      <a:pt x="7" y="4"/>
                      <a:pt x="8" y="4"/>
                      <a:pt x="9" y="4"/>
                    </a:cubicBezTo>
                    <a:cubicBezTo>
                      <a:pt x="10" y="4"/>
                      <a:pt x="11" y="4"/>
                      <a:pt x="11" y="5"/>
                    </a:cubicBezTo>
                    <a:cubicBezTo>
                      <a:pt x="11" y="74"/>
                      <a:pt x="11" y="74"/>
                      <a:pt x="11" y="74"/>
                    </a:cubicBezTo>
                    <a:cubicBezTo>
                      <a:pt x="11" y="75"/>
                      <a:pt x="10" y="75"/>
                      <a:pt x="9" y="75"/>
                    </a:cubicBezTo>
                    <a:moveTo>
                      <a:pt x="20" y="75"/>
                    </a:moveTo>
                    <a:cubicBezTo>
                      <a:pt x="19" y="75"/>
                      <a:pt x="18" y="75"/>
                      <a:pt x="18" y="74"/>
                    </a:cubicBezTo>
                    <a:cubicBezTo>
                      <a:pt x="18" y="5"/>
                      <a:pt x="18" y="5"/>
                      <a:pt x="18" y="5"/>
                    </a:cubicBezTo>
                    <a:cubicBezTo>
                      <a:pt x="18" y="4"/>
                      <a:pt x="19" y="4"/>
                      <a:pt x="20" y="4"/>
                    </a:cubicBezTo>
                    <a:cubicBezTo>
                      <a:pt x="21" y="4"/>
                      <a:pt x="22" y="4"/>
                      <a:pt x="22" y="5"/>
                    </a:cubicBezTo>
                    <a:cubicBezTo>
                      <a:pt x="22" y="74"/>
                      <a:pt x="22" y="74"/>
                      <a:pt x="22" y="74"/>
                    </a:cubicBezTo>
                    <a:cubicBezTo>
                      <a:pt x="22" y="75"/>
                      <a:pt x="21" y="75"/>
                      <a:pt x="20" y="75"/>
                    </a:cubicBezTo>
                    <a:moveTo>
                      <a:pt x="30" y="75"/>
                    </a:moveTo>
                    <a:cubicBezTo>
                      <a:pt x="29" y="75"/>
                      <a:pt x="28" y="75"/>
                      <a:pt x="28" y="74"/>
                    </a:cubicBezTo>
                    <a:cubicBezTo>
                      <a:pt x="28" y="5"/>
                      <a:pt x="28" y="5"/>
                      <a:pt x="28" y="5"/>
                    </a:cubicBezTo>
                    <a:cubicBezTo>
                      <a:pt x="28" y="4"/>
                      <a:pt x="29" y="4"/>
                      <a:pt x="30" y="4"/>
                    </a:cubicBezTo>
                    <a:cubicBezTo>
                      <a:pt x="31" y="4"/>
                      <a:pt x="32" y="4"/>
                      <a:pt x="32" y="5"/>
                    </a:cubicBezTo>
                    <a:cubicBezTo>
                      <a:pt x="32" y="74"/>
                      <a:pt x="32" y="74"/>
                      <a:pt x="32" y="74"/>
                    </a:cubicBezTo>
                    <a:cubicBezTo>
                      <a:pt x="32" y="75"/>
                      <a:pt x="31" y="75"/>
                      <a:pt x="30" y="75"/>
                    </a:cubicBezTo>
                    <a:moveTo>
                      <a:pt x="41" y="0"/>
                    </a:moveTo>
                    <a:cubicBezTo>
                      <a:pt x="0" y="0"/>
                      <a:pt x="0" y="0"/>
                      <a:pt x="0" y="0"/>
                    </a:cubicBezTo>
                    <a:cubicBezTo>
                      <a:pt x="0" y="4"/>
                      <a:pt x="0" y="4"/>
                      <a:pt x="0" y="4"/>
                    </a:cubicBezTo>
                    <a:cubicBezTo>
                      <a:pt x="0" y="4"/>
                      <a:pt x="0" y="5"/>
                      <a:pt x="0" y="5"/>
                    </a:cubicBezTo>
                    <a:cubicBezTo>
                      <a:pt x="0" y="74"/>
                      <a:pt x="0" y="74"/>
                      <a:pt x="0" y="74"/>
                    </a:cubicBezTo>
                    <a:cubicBezTo>
                      <a:pt x="0" y="74"/>
                      <a:pt x="0" y="75"/>
                      <a:pt x="0" y="75"/>
                    </a:cubicBezTo>
                    <a:cubicBezTo>
                      <a:pt x="0" y="78"/>
                      <a:pt x="0" y="78"/>
                      <a:pt x="0" y="78"/>
                    </a:cubicBezTo>
                    <a:cubicBezTo>
                      <a:pt x="41" y="78"/>
                      <a:pt x="41" y="78"/>
                      <a:pt x="41" y="78"/>
                    </a:cubicBezTo>
                    <a:cubicBezTo>
                      <a:pt x="41" y="0"/>
                      <a:pt x="41" y="0"/>
                      <a:pt x="41" y="0"/>
                    </a:cubicBezTo>
                  </a:path>
                </a:pathLst>
              </a:custGeom>
              <a:solidFill>
                <a:srgbClr val="D95F8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8" name="iS1ïḋé">
                <a:extLst>
                  <a:ext uri="{FF2B5EF4-FFF2-40B4-BE49-F238E27FC236}">
                    <a16:creationId xmlns:a16="http://schemas.microsoft.com/office/drawing/2014/main" id="{91D9688F-C08E-A143-973D-47E2965286D1}"/>
                  </a:ext>
                </a:extLst>
              </p:cNvPr>
              <p:cNvSpPr/>
              <p:nvPr/>
            </p:nvSpPr>
            <p:spPr bwMode="auto">
              <a:xfrm>
                <a:off x="6394106" y="2856251"/>
                <a:ext cx="0" cy="202878"/>
              </a:xfrm>
              <a:custGeom>
                <a:avLst/>
                <a:gdLst>
                  <a:gd name="T0" fmla="*/ 0 h 71"/>
                  <a:gd name="T1" fmla="*/ 71 h 71"/>
                  <a:gd name="T2" fmla="*/ 70 h 71"/>
                  <a:gd name="T3" fmla="*/ 1 h 71"/>
                  <a:gd name="T4" fmla="*/ 0 h 71"/>
                </a:gdLst>
                <a:ahLst/>
                <a:cxnLst>
                  <a:cxn ang="0">
                    <a:pos x="0" y="T0"/>
                  </a:cxn>
                  <a:cxn ang="0">
                    <a:pos x="0" y="T1"/>
                  </a:cxn>
                  <a:cxn ang="0">
                    <a:pos x="0" y="T2"/>
                  </a:cxn>
                  <a:cxn ang="0">
                    <a:pos x="0" y="T3"/>
                  </a:cxn>
                  <a:cxn ang="0">
                    <a:pos x="0" y="T4"/>
                  </a:cxn>
                </a:cxnLst>
                <a:rect l="0" t="0" r="r" b="b"/>
                <a:pathLst>
                  <a:path h="71">
                    <a:moveTo>
                      <a:pt x="0" y="0"/>
                    </a:moveTo>
                    <a:cubicBezTo>
                      <a:pt x="0" y="71"/>
                      <a:pt x="0" y="71"/>
                      <a:pt x="0" y="71"/>
                    </a:cubicBezTo>
                    <a:cubicBezTo>
                      <a:pt x="0" y="71"/>
                      <a:pt x="0" y="70"/>
                      <a:pt x="0" y="70"/>
                    </a:cubicBezTo>
                    <a:cubicBezTo>
                      <a:pt x="0" y="1"/>
                      <a:pt x="0" y="1"/>
                      <a:pt x="0" y="1"/>
                    </a:cubicBezTo>
                    <a:cubicBezTo>
                      <a:pt x="0" y="1"/>
                      <a:pt x="0" y="0"/>
                      <a:pt x="0" y="0"/>
                    </a:cubicBezTo>
                  </a:path>
                </a:pathLst>
              </a:custGeom>
              <a:solidFill>
                <a:srgbClr val="D96F8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9" name="íślïḍé">
                <a:extLst>
                  <a:ext uri="{FF2B5EF4-FFF2-40B4-BE49-F238E27FC236}">
                    <a16:creationId xmlns:a16="http://schemas.microsoft.com/office/drawing/2014/main" id="{C0B0A640-074B-DB41-AF6E-53D635E356AC}"/>
                  </a:ext>
                </a:extLst>
              </p:cNvPr>
              <p:cNvSpPr/>
              <p:nvPr/>
            </p:nvSpPr>
            <p:spPr bwMode="auto">
              <a:xfrm>
                <a:off x="6414808" y="2856251"/>
                <a:ext cx="11041" cy="202878"/>
              </a:xfrm>
              <a:custGeom>
                <a:avLst/>
                <a:gdLst>
                  <a:gd name="T0" fmla="*/ 2 w 4"/>
                  <a:gd name="T1" fmla="*/ 0 h 71"/>
                  <a:gd name="T2" fmla="*/ 0 w 4"/>
                  <a:gd name="T3" fmla="*/ 1 h 71"/>
                  <a:gd name="T4" fmla="*/ 0 w 4"/>
                  <a:gd name="T5" fmla="*/ 70 h 71"/>
                  <a:gd name="T6" fmla="*/ 2 w 4"/>
                  <a:gd name="T7" fmla="*/ 71 h 71"/>
                  <a:gd name="T8" fmla="*/ 4 w 4"/>
                  <a:gd name="T9" fmla="*/ 70 h 71"/>
                  <a:gd name="T10" fmla="*/ 4 w 4"/>
                  <a:gd name="T11" fmla="*/ 1 h 71"/>
                  <a:gd name="T12" fmla="*/ 2 w 4"/>
                  <a:gd name="T13" fmla="*/ 0 h 71"/>
                </a:gdLst>
                <a:ahLst/>
                <a:cxnLst>
                  <a:cxn ang="0">
                    <a:pos x="T0" y="T1"/>
                  </a:cxn>
                  <a:cxn ang="0">
                    <a:pos x="T2" y="T3"/>
                  </a:cxn>
                  <a:cxn ang="0">
                    <a:pos x="T4" y="T5"/>
                  </a:cxn>
                  <a:cxn ang="0">
                    <a:pos x="T6" y="T7"/>
                  </a:cxn>
                  <a:cxn ang="0">
                    <a:pos x="T8" y="T9"/>
                  </a:cxn>
                  <a:cxn ang="0">
                    <a:pos x="T10" y="T11"/>
                  </a:cxn>
                  <a:cxn ang="0">
                    <a:pos x="T12" y="T13"/>
                  </a:cxn>
                </a:cxnLst>
                <a:rect l="0" t="0" r="r" b="b"/>
                <a:pathLst>
                  <a:path w="4" h="71">
                    <a:moveTo>
                      <a:pt x="2" y="0"/>
                    </a:moveTo>
                    <a:cubicBezTo>
                      <a:pt x="1" y="0"/>
                      <a:pt x="0" y="0"/>
                      <a:pt x="0" y="1"/>
                    </a:cubicBezTo>
                    <a:cubicBezTo>
                      <a:pt x="0" y="70"/>
                      <a:pt x="0" y="70"/>
                      <a:pt x="0" y="70"/>
                    </a:cubicBezTo>
                    <a:cubicBezTo>
                      <a:pt x="0" y="71"/>
                      <a:pt x="1" y="71"/>
                      <a:pt x="2" y="71"/>
                    </a:cubicBezTo>
                    <a:cubicBezTo>
                      <a:pt x="3" y="71"/>
                      <a:pt x="4" y="71"/>
                      <a:pt x="4" y="70"/>
                    </a:cubicBezTo>
                    <a:cubicBezTo>
                      <a:pt x="4" y="1"/>
                      <a:pt x="4" y="1"/>
                      <a:pt x="4" y="1"/>
                    </a:cubicBezTo>
                    <a:cubicBezTo>
                      <a:pt x="4" y="0"/>
                      <a:pt x="3" y="0"/>
                      <a:pt x="2" y="0"/>
                    </a:cubicBezTo>
                  </a:path>
                </a:pathLst>
              </a:custGeom>
              <a:solidFill>
                <a:srgbClr val="D96F8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0" name="í$ḻíḋè">
                <a:extLst>
                  <a:ext uri="{FF2B5EF4-FFF2-40B4-BE49-F238E27FC236}">
                    <a16:creationId xmlns:a16="http://schemas.microsoft.com/office/drawing/2014/main" id="{FC304A41-3393-9340-8623-6862CBF9CD7B}"/>
                  </a:ext>
                </a:extLst>
              </p:cNvPr>
              <p:cNvSpPr/>
              <p:nvPr/>
            </p:nvSpPr>
            <p:spPr bwMode="auto">
              <a:xfrm>
                <a:off x="6446551" y="2856251"/>
                <a:ext cx="11041" cy="202878"/>
              </a:xfrm>
              <a:custGeom>
                <a:avLst/>
                <a:gdLst>
                  <a:gd name="T0" fmla="*/ 2 w 4"/>
                  <a:gd name="T1" fmla="*/ 0 h 71"/>
                  <a:gd name="T2" fmla="*/ 0 w 4"/>
                  <a:gd name="T3" fmla="*/ 1 h 71"/>
                  <a:gd name="T4" fmla="*/ 0 w 4"/>
                  <a:gd name="T5" fmla="*/ 70 h 71"/>
                  <a:gd name="T6" fmla="*/ 2 w 4"/>
                  <a:gd name="T7" fmla="*/ 71 h 71"/>
                  <a:gd name="T8" fmla="*/ 4 w 4"/>
                  <a:gd name="T9" fmla="*/ 70 h 71"/>
                  <a:gd name="T10" fmla="*/ 4 w 4"/>
                  <a:gd name="T11" fmla="*/ 1 h 71"/>
                  <a:gd name="T12" fmla="*/ 2 w 4"/>
                  <a:gd name="T13" fmla="*/ 0 h 71"/>
                </a:gdLst>
                <a:ahLst/>
                <a:cxnLst>
                  <a:cxn ang="0">
                    <a:pos x="T0" y="T1"/>
                  </a:cxn>
                  <a:cxn ang="0">
                    <a:pos x="T2" y="T3"/>
                  </a:cxn>
                  <a:cxn ang="0">
                    <a:pos x="T4" y="T5"/>
                  </a:cxn>
                  <a:cxn ang="0">
                    <a:pos x="T6" y="T7"/>
                  </a:cxn>
                  <a:cxn ang="0">
                    <a:pos x="T8" y="T9"/>
                  </a:cxn>
                  <a:cxn ang="0">
                    <a:pos x="T10" y="T11"/>
                  </a:cxn>
                  <a:cxn ang="0">
                    <a:pos x="T12" y="T13"/>
                  </a:cxn>
                </a:cxnLst>
                <a:rect l="0" t="0" r="r" b="b"/>
                <a:pathLst>
                  <a:path w="4" h="71">
                    <a:moveTo>
                      <a:pt x="2" y="0"/>
                    </a:moveTo>
                    <a:cubicBezTo>
                      <a:pt x="1" y="0"/>
                      <a:pt x="0" y="0"/>
                      <a:pt x="0" y="1"/>
                    </a:cubicBezTo>
                    <a:cubicBezTo>
                      <a:pt x="0" y="70"/>
                      <a:pt x="0" y="70"/>
                      <a:pt x="0" y="70"/>
                    </a:cubicBezTo>
                    <a:cubicBezTo>
                      <a:pt x="0" y="71"/>
                      <a:pt x="1" y="71"/>
                      <a:pt x="2" y="71"/>
                    </a:cubicBezTo>
                    <a:cubicBezTo>
                      <a:pt x="3" y="71"/>
                      <a:pt x="4" y="71"/>
                      <a:pt x="4" y="70"/>
                    </a:cubicBezTo>
                    <a:cubicBezTo>
                      <a:pt x="4" y="1"/>
                      <a:pt x="4" y="1"/>
                      <a:pt x="4" y="1"/>
                    </a:cubicBezTo>
                    <a:cubicBezTo>
                      <a:pt x="4" y="0"/>
                      <a:pt x="3" y="0"/>
                      <a:pt x="2" y="0"/>
                    </a:cubicBezTo>
                  </a:path>
                </a:pathLst>
              </a:custGeom>
              <a:solidFill>
                <a:srgbClr val="D96F8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1" name="íśļíḓe">
                <a:extLst>
                  <a:ext uri="{FF2B5EF4-FFF2-40B4-BE49-F238E27FC236}">
                    <a16:creationId xmlns:a16="http://schemas.microsoft.com/office/drawing/2014/main" id="{DE84DE50-FAB2-824A-A55A-9B835085B35B}"/>
                  </a:ext>
                </a:extLst>
              </p:cNvPr>
              <p:cNvSpPr/>
              <p:nvPr/>
            </p:nvSpPr>
            <p:spPr bwMode="auto">
              <a:xfrm>
                <a:off x="6474153" y="2856251"/>
                <a:ext cx="12422" cy="202878"/>
              </a:xfrm>
              <a:custGeom>
                <a:avLst/>
                <a:gdLst>
                  <a:gd name="T0" fmla="*/ 2 w 4"/>
                  <a:gd name="T1" fmla="*/ 0 h 71"/>
                  <a:gd name="T2" fmla="*/ 0 w 4"/>
                  <a:gd name="T3" fmla="*/ 1 h 71"/>
                  <a:gd name="T4" fmla="*/ 0 w 4"/>
                  <a:gd name="T5" fmla="*/ 70 h 71"/>
                  <a:gd name="T6" fmla="*/ 2 w 4"/>
                  <a:gd name="T7" fmla="*/ 71 h 71"/>
                  <a:gd name="T8" fmla="*/ 4 w 4"/>
                  <a:gd name="T9" fmla="*/ 70 h 71"/>
                  <a:gd name="T10" fmla="*/ 4 w 4"/>
                  <a:gd name="T11" fmla="*/ 1 h 71"/>
                  <a:gd name="T12" fmla="*/ 2 w 4"/>
                  <a:gd name="T13" fmla="*/ 0 h 71"/>
                </a:gdLst>
                <a:ahLst/>
                <a:cxnLst>
                  <a:cxn ang="0">
                    <a:pos x="T0" y="T1"/>
                  </a:cxn>
                  <a:cxn ang="0">
                    <a:pos x="T2" y="T3"/>
                  </a:cxn>
                  <a:cxn ang="0">
                    <a:pos x="T4" y="T5"/>
                  </a:cxn>
                  <a:cxn ang="0">
                    <a:pos x="T6" y="T7"/>
                  </a:cxn>
                  <a:cxn ang="0">
                    <a:pos x="T8" y="T9"/>
                  </a:cxn>
                  <a:cxn ang="0">
                    <a:pos x="T10" y="T11"/>
                  </a:cxn>
                  <a:cxn ang="0">
                    <a:pos x="T12" y="T13"/>
                  </a:cxn>
                </a:cxnLst>
                <a:rect l="0" t="0" r="r" b="b"/>
                <a:pathLst>
                  <a:path w="4" h="71">
                    <a:moveTo>
                      <a:pt x="2" y="0"/>
                    </a:moveTo>
                    <a:cubicBezTo>
                      <a:pt x="1" y="0"/>
                      <a:pt x="0" y="0"/>
                      <a:pt x="0" y="1"/>
                    </a:cubicBezTo>
                    <a:cubicBezTo>
                      <a:pt x="0" y="70"/>
                      <a:pt x="0" y="70"/>
                      <a:pt x="0" y="70"/>
                    </a:cubicBezTo>
                    <a:cubicBezTo>
                      <a:pt x="0" y="71"/>
                      <a:pt x="1" y="71"/>
                      <a:pt x="2" y="71"/>
                    </a:cubicBezTo>
                    <a:cubicBezTo>
                      <a:pt x="3" y="71"/>
                      <a:pt x="4" y="71"/>
                      <a:pt x="4" y="70"/>
                    </a:cubicBezTo>
                    <a:cubicBezTo>
                      <a:pt x="4" y="1"/>
                      <a:pt x="4" y="1"/>
                      <a:pt x="4" y="1"/>
                    </a:cubicBezTo>
                    <a:cubicBezTo>
                      <a:pt x="4" y="0"/>
                      <a:pt x="3" y="0"/>
                      <a:pt x="2" y="0"/>
                    </a:cubicBezTo>
                  </a:path>
                </a:pathLst>
              </a:custGeom>
              <a:solidFill>
                <a:srgbClr val="D96F8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2" name="ïsliḓê">
                <a:extLst>
                  <a:ext uri="{FF2B5EF4-FFF2-40B4-BE49-F238E27FC236}">
                    <a16:creationId xmlns:a16="http://schemas.microsoft.com/office/drawing/2014/main" id="{C252EC01-5F24-8842-B020-117EB014A16F}"/>
                  </a:ext>
                </a:extLst>
              </p:cNvPr>
              <p:cNvSpPr/>
              <p:nvPr/>
            </p:nvSpPr>
            <p:spPr bwMode="auto">
              <a:xfrm>
                <a:off x="3980276" y="4781518"/>
                <a:ext cx="593452" cy="586552"/>
              </a:xfrm>
              <a:custGeom>
                <a:avLst/>
                <a:gdLst>
                  <a:gd name="T0" fmla="*/ 206 w 207"/>
                  <a:gd name="T1" fmla="*/ 96 h 205"/>
                  <a:gd name="T2" fmla="*/ 201 w 207"/>
                  <a:gd name="T3" fmla="*/ 70 h 205"/>
                  <a:gd name="T4" fmla="*/ 198 w 207"/>
                  <a:gd name="T5" fmla="*/ 67 h 205"/>
                  <a:gd name="T6" fmla="*/ 173 w 207"/>
                  <a:gd name="T7" fmla="*/ 72 h 205"/>
                  <a:gd name="T8" fmla="*/ 159 w 207"/>
                  <a:gd name="T9" fmla="*/ 50 h 205"/>
                  <a:gd name="T10" fmla="*/ 172 w 207"/>
                  <a:gd name="T11" fmla="*/ 29 h 205"/>
                  <a:gd name="T12" fmla="*/ 171 w 207"/>
                  <a:gd name="T13" fmla="*/ 25 h 205"/>
                  <a:gd name="T14" fmla="*/ 149 w 207"/>
                  <a:gd name="T15" fmla="*/ 10 h 205"/>
                  <a:gd name="T16" fmla="*/ 145 w 207"/>
                  <a:gd name="T17" fmla="*/ 11 h 205"/>
                  <a:gd name="T18" fmla="*/ 131 w 207"/>
                  <a:gd name="T19" fmla="*/ 32 h 205"/>
                  <a:gd name="T20" fmla="*/ 105 w 207"/>
                  <a:gd name="T21" fmla="*/ 26 h 205"/>
                  <a:gd name="T22" fmla="*/ 100 w 207"/>
                  <a:gd name="T23" fmla="*/ 3 h 205"/>
                  <a:gd name="T24" fmla="*/ 97 w 207"/>
                  <a:gd name="T25" fmla="*/ 0 h 205"/>
                  <a:gd name="T26" fmla="*/ 71 w 207"/>
                  <a:gd name="T27" fmla="*/ 5 h 205"/>
                  <a:gd name="T28" fmla="*/ 68 w 207"/>
                  <a:gd name="T29" fmla="*/ 9 h 205"/>
                  <a:gd name="T30" fmla="*/ 73 w 207"/>
                  <a:gd name="T31" fmla="*/ 33 h 205"/>
                  <a:gd name="T32" fmla="*/ 51 w 207"/>
                  <a:gd name="T33" fmla="*/ 47 h 205"/>
                  <a:gd name="T34" fmla="*/ 30 w 207"/>
                  <a:gd name="T35" fmla="*/ 34 h 205"/>
                  <a:gd name="T36" fmla="*/ 26 w 207"/>
                  <a:gd name="T37" fmla="*/ 35 h 205"/>
                  <a:gd name="T38" fmla="*/ 11 w 207"/>
                  <a:gd name="T39" fmla="*/ 57 h 205"/>
                  <a:gd name="T40" fmla="*/ 12 w 207"/>
                  <a:gd name="T41" fmla="*/ 61 h 205"/>
                  <a:gd name="T42" fmla="*/ 32 w 207"/>
                  <a:gd name="T43" fmla="*/ 75 h 205"/>
                  <a:gd name="T44" fmla="*/ 27 w 207"/>
                  <a:gd name="T45" fmla="*/ 101 h 205"/>
                  <a:gd name="T46" fmla="*/ 3 w 207"/>
                  <a:gd name="T47" fmla="*/ 106 h 205"/>
                  <a:gd name="T48" fmla="*/ 1 w 207"/>
                  <a:gd name="T49" fmla="*/ 109 h 205"/>
                  <a:gd name="T50" fmla="*/ 6 w 207"/>
                  <a:gd name="T51" fmla="*/ 135 h 205"/>
                  <a:gd name="T52" fmla="*/ 9 w 207"/>
                  <a:gd name="T53" fmla="*/ 138 h 205"/>
                  <a:gd name="T54" fmla="*/ 33 w 207"/>
                  <a:gd name="T55" fmla="*/ 133 h 205"/>
                  <a:gd name="T56" fmla="*/ 48 w 207"/>
                  <a:gd name="T57" fmla="*/ 155 h 205"/>
                  <a:gd name="T58" fmla="*/ 35 w 207"/>
                  <a:gd name="T59" fmla="*/ 176 h 205"/>
                  <a:gd name="T60" fmla="*/ 35 w 207"/>
                  <a:gd name="T61" fmla="*/ 180 h 205"/>
                  <a:gd name="T62" fmla="*/ 58 w 207"/>
                  <a:gd name="T63" fmla="*/ 195 h 205"/>
                  <a:gd name="T64" fmla="*/ 62 w 207"/>
                  <a:gd name="T65" fmla="*/ 194 h 205"/>
                  <a:gd name="T66" fmla="*/ 75 w 207"/>
                  <a:gd name="T67" fmla="*/ 174 h 205"/>
                  <a:gd name="T68" fmla="*/ 102 w 207"/>
                  <a:gd name="T69" fmla="*/ 179 h 205"/>
                  <a:gd name="T70" fmla="*/ 106 w 207"/>
                  <a:gd name="T71" fmla="*/ 203 h 205"/>
                  <a:gd name="T72" fmla="*/ 110 w 207"/>
                  <a:gd name="T73" fmla="*/ 205 h 205"/>
                  <a:gd name="T74" fmla="*/ 136 w 207"/>
                  <a:gd name="T75" fmla="*/ 200 h 205"/>
                  <a:gd name="T76" fmla="*/ 139 w 207"/>
                  <a:gd name="T77" fmla="*/ 196 h 205"/>
                  <a:gd name="T78" fmla="*/ 134 w 207"/>
                  <a:gd name="T79" fmla="*/ 173 h 205"/>
                  <a:gd name="T80" fmla="*/ 156 w 207"/>
                  <a:gd name="T81" fmla="*/ 158 h 205"/>
                  <a:gd name="T82" fmla="*/ 177 w 207"/>
                  <a:gd name="T83" fmla="*/ 171 h 205"/>
                  <a:gd name="T84" fmla="*/ 181 w 207"/>
                  <a:gd name="T85" fmla="*/ 171 h 205"/>
                  <a:gd name="T86" fmla="*/ 196 w 207"/>
                  <a:gd name="T87" fmla="*/ 148 h 205"/>
                  <a:gd name="T88" fmla="*/ 195 w 207"/>
                  <a:gd name="T89" fmla="*/ 144 h 205"/>
                  <a:gd name="T90" fmla="*/ 174 w 207"/>
                  <a:gd name="T91" fmla="*/ 131 h 205"/>
                  <a:gd name="T92" fmla="*/ 180 w 207"/>
                  <a:gd name="T93" fmla="*/ 104 h 205"/>
                  <a:gd name="T94" fmla="*/ 204 w 207"/>
                  <a:gd name="T95" fmla="*/ 100 h 205"/>
                  <a:gd name="T96" fmla="*/ 206 w 207"/>
                  <a:gd name="T97" fmla="*/ 96 h 205"/>
                  <a:gd name="T98" fmla="*/ 104 w 207"/>
                  <a:gd name="T99" fmla="*/ 141 h 205"/>
                  <a:gd name="T100" fmla="*/ 66 w 207"/>
                  <a:gd name="T101" fmla="*/ 102 h 205"/>
                  <a:gd name="T102" fmla="*/ 104 w 207"/>
                  <a:gd name="T103" fmla="*/ 64 h 205"/>
                  <a:gd name="T104" fmla="*/ 143 w 207"/>
                  <a:gd name="T105" fmla="*/ 102 h 205"/>
                  <a:gd name="T106" fmla="*/ 104 w 207"/>
                  <a:gd name="T107" fmla="*/ 141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7" h="205">
                    <a:moveTo>
                      <a:pt x="206" y="96"/>
                    </a:moveTo>
                    <a:cubicBezTo>
                      <a:pt x="201" y="70"/>
                      <a:pt x="201" y="70"/>
                      <a:pt x="201" y="70"/>
                    </a:cubicBezTo>
                    <a:cubicBezTo>
                      <a:pt x="201" y="68"/>
                      <a:pt x="199" y="67"/>
                      <a:pt x="198" y="67"/>
                    </a:cubicBezTo>
                    <a:cubicBezTo>
                      <a:pt x="173" y="72"/>
                      <a:pt x="173" y="72"/>
                      <a:pt x="173" y="72"/>
                    </a:cubicBezTo>
                    <a:cubicBezTo>
                      <a:pt x="170" y="64"/>
                      <a:pt x="165" y="56"/>
                      <a:pt x="159" y="50"/>
                    </a:cubicBezTo>
                    <a:cubicBezTo>
                      <a:pt x="172" y="29"/>
                      <a:pt x="172" y="29"/>
                      <a:pt x="172" y="29"/>
                    </a:cubicBezTo>
                    <a:cubicBezTo>
                      <a:pt x="173" y="28"/>
                      <a:pt x="173" y="26"/>
                      <a:pt x="171" y="25"/>
                    </a:cubicBezTo>
                    <a:cubicBezTo>
                      <a:pt x="149" y="10"/>
                      <a:pt x="149" y="10"/>
                      <a:pt x="149" y="10"/>
                    </a:cubicBezTo>
                    <a:cubicBezTo>
                      <a:pt x="148" y="9"/>
                      <a:pt x="146" y="10"/>
                      <a:pt x="145" y="11"/>
                    </a:cubicBezTo>
                    <a:cubicBezTo>
                      <a:pt x="131" y="32"/>
                      <a:pt x="131" y="32"/>
                      <a:pt x="131" y="32"/>
                    </a:cubicBezTo>
                    <a:cubicBezTo>
                      <a:pt x="123" y="28"/>
                      <a:pt x="114" y="26"/>
                      <a:pt x="105" y="26"/>
                    </a:cubicBezTo>
                    <a:cubicBezTo>
                      <a:pt x="100" y="3"/>
                      <a:pt x="100" y="3"/>
                      <a:pt x="100" y="3"/>
                    </a:cubicBezTo>
                    <a:cubicBezTo>
                      <a:pt x="100" y="1"/>
                      <a:pt x="99" y="0"/>
                      <a:pt x="97" y="0"/>
                    </a:cubicBezTo>
                    <a:cubicBezTo>
                      <a:pt x="71" y="5"/>
                      <a:pt x="71" y="5"/>
                      <a:pt x="71" y="5"/>
                    </a:cubicBezTo>
                    <a:cubicBezTo>
                      <a:pt x="69" y="6"/>
                      <a:pt x="68" y="7"/>
                      <a:pt x="68" y="9"/>
                    </a:cubicBezTo>
                    <a:cubicBezTo>
                      <a:pt x="73" y="33"/>
                      <a:pt x="73" y="33"/>
                      <a:pt x="73" y="33"/>
                    </a:cubicBezTo>
                    <a:cubicBezTo>
                      <a:pt x="65" y="36"/>
                      <a:pt x="57" y="41"/>
                      <a:pt x="51" y="47"/>
                    </a:cubicBezTo>
                    <a:cubicBezTo>
                      <a:pt x="30" y="34"/>
                      <a:pt x="30" y="34"/>
                      <a:pt x="30" y="34"/>
                    </a:cubicBezTo>
                    <a:cubicBezTo>
                      <a:pt x="29" y="33"/>
                      <a:pt x="27" y="33"/>
                      <a:pt x="26" y="35"/>
                    </a:cubicBezTo>
                    <a:cubicBezTo>
                      <a:pt x="11" y="57"/>
                      <a:pt x="11" y="57"/>
                      <a:pt x="11" y="57"/>
                    </a:cubicBezTo>
                    <a:cubicBezTo>
                      <a:pt x="10" y="58"/>
                      <a:pt x="11" y="60"/>
                      <a:pt x="12" y="61"/>
                    </a:cubicBezTo>
                    <a:cubicBezTo>
                      <a:pt x="32" y="75"/>
                      <a:pt x="32" y="75"/>
                      <a:pt x="32" y="75"/>
                    </a:cubicBezTo>
                    <a:cubicBezTo>
                      <a:pt x="29" y="83"/>
                      <a:pt x="27" y="92"/>
                      <a:pt x="27" y="101"/>
                    </a:cubicBezTo>
                    <a:cubicBezTo>
                      <a:pt x="3" y="106"/>
                      <a:pt x="3" y="106"/>
                      <a:pt x="3" y="106"/>
                    </a:cubicBezTo>
                    <a:cubicBezTo>
                      <a:pt x="1" y="106"/>
                      <a:pt x="0" y="108"/>
                      <a:pt x="1" y="109"/>
                    </a:cubicBezTo>
                    <a:cubicBezTo>
                      <a:pt x="6" y="135"/>
                      <a:pt x="6" y="135"/>
                      <a:pt x="6" y="135"/>
                    </a:cubicBezTo>
                    <a:cubicBezTo>
                      <a:pt x="6" y="137"/>
                      <a:pt x="8" y="138"/>
                      <a:pt x="9" y="138"/>
                    </a:cubicBezTo>
                    <a:cubicBezTo>
                      <a:pt x="33" y="133"/>
                      <a:pt x="33" y="133"/>
                      <a:pt x="33" y="133"/>
                    </a:cubicBezTo>
                    <a:cubicBezTo>
                      <a:pt x="37" y="141"/>
                      <a:pt x="42" y="149"/>
                      <a:pt x="48" y="155"/>
                    </a:cubicBezTo>
                    <a:cubicBezTo>
                      <a:pt x="35" y="176"/>
                      <a:pt x="35" y="176"/>
                      <a:pt x="35" y="176"/>
                    </a:cubicBezTo>
                    <a:cubicBezTo>
                      <a:pt x="34" y="177"/>
                      <a:pt x="34" y="179"/>
                      <a:pt x="35" y="180"/>
                    </a:cubicBezTo>
                    <a:cubicBezTo>
                      <a:pt x="58" y="195"/>
                      <a:pt x="58" y="195"/>
                      <a:pt x="58" y="195"/>
                    </a:cubicBezTo>
                    <a:cubicBezTo>
                      <a:pt x="59" y="196"/>
                      <a:pt x="61" y="195"/>
                      <a:pt x="62" y="194"/>
                    </a:cubicBezTo>
                    <a:cubicBezTo>
                      <a:pt x="75" y="174"/>
                      <a:pt x="75" y="174"/>
                      <a:pt x="75" y="174"/>
                    </a:cubicBezTo>
                    <a:cubicBezTo>
                      <a:pt x="84" y="177"/>
                      <a:pt x="93" y="179"/>
                      <a:pt x="102" y="179"/>
                    </a:cubicBezTo>
                    <a:cubicBezTo>
                      <a:pt x="106" y="203"/>
                      <a:pt x="106" y="203"/>
                      <a:pt x="106" y="203"/>
                    </a:cubicBezTo>
                    <a:cubicBezTo>
                      <a:pt x="107" y="204"/>
                      <a:pt x="108" y="205"/>
                      <a:pt x="110" y="205"/>
                    </a:cubicBezTo>
                    <a:cubicBezTo>
                      <a:pt x="136" y="200"/>
                      <a:pt x="136" y="200"/>
                      <a:pt x="136" y="200"/>
                    </a:cubicBezTo>
                    <a:cubicBezTo>
                      <a:pt x="138" y="200"/>
                      <a:pt x="139" y="198"/>
                      <a:pt x="139" y="196"/>
                    </a:cubicBezTo>
                    <a:cubicBezTo>
                      <a:pt x="134" y="173"/>
                      <a:pt x="134" y="173"/>
                      <a:pt x="134" y="173"/>
                    </a:cubicBezTo>
                    <a:cubicBezTo>
                      <a:pt x="142" y="169"/>
                      <a:pt x="150" y="164"/>
                      <a:pt x="156" y="158"/>
                    </a:cubicBezTo>
                    <a:cubicBezTo>
                      <a:pt x="177" y="171"/>
                      <a:pt x="177" y="171"/>
                      <a:pt x="177" y="171"/>
                    </a:cubicBezTo>
                    <a:cubicBezTo>
                      <a:pt x="178" y="172"/>
                      <a:pt x="180" y="172"/>
                      <a:pt x="181" y="171"/>
                    </a:cubicBezTo>
                    <a:cubicBezTo>
                      <a:pt x="196" y="148"/>
                      <a:pt x="196" y="148"/>
                      <a:pt x="196" y="148"/>
                    </a:cubicBezTo>
                    <a:cubicBezTo>
                      <a:pt x="197" y="147"/>
                      <a:pt x="196" y="145"/>
                      <a:pt x="195" y="144"/>
                    </a:cubicBezTo>
                    <a:cubicBezTo>
                      <a:pt x="174" y="131"/>
                      <a:pt x="174" y="131"/>
                      <a:pt x="174" y="131"/>
                    </a:cubicBezTo>
                    <a:cubicBezTo>
                      <a:pt x="178" y="122"/>
                      <a:pt x="180" y="113"/>
                      <a:pt x="180" y="104"/>
                    </a:cubicBezTo>
                    <a:cubicBezTo>
                      <a:pt x="204" y="100"/>
                      <a:pt x="204" y="100"/>
                      <a:pt x="204" y="100"/>
                    </a:cubicBezTo>
                    <a:cubicBezTo>
                      <a:pt x="205" y="99"/>
                      <a:pt x="207" y="98"/>
                      <a:pt x="206" y="96"/>
                    </a:cubicBezTo>
                    <a:close/>
                    <a:moveTo>
                      <a:pt x="104" y="141"/>
                    </a:moveTo>
                    <a:cubicBezTo>
                      <a:pt x="83" y="141"/>
                      <a:pt x="66" y="124"/>
                      <a:pt x="66" y="102"/>
                    </a:cubicBezTo>
                    <a:cubicBezTo>
                      <a:pt x="66" y="81"/>
                      <a:pt x="83" y="64"/>
                      <a:pt x="104" y="64"/>
                    </a:cubicBezTo>
                    <a:cubicBezTo>
                      <a:pt x="126" y="64"/>
                      <a:pt x="143" y="81"/>
                      <a:pt x="143" y="102"/>
                    </a:cubicBezTo>
                    <a:cubicBezTo>
                      <a:pt x="143" y="124"/>
                      <a:pt x="126" y="141"/>
                      <a:pt x="104" y="141"/>
                    </a:cubicBezTo>
                    <a:close/>
                  </a:path>
                </a:pathLst>
              </a:custGeom>
              <a:solidFill>
                <a:srgbClr val="597FD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3" name="íṥlíḋé">
                <a:extLst>
                  <a:ext uri="{FF2B5EF4-FFF2-40B4-BE49-F238E27FC236}">
                    <a16:creationId xmlns:a16="http://schemas.microsoft.com/office/drawing/2014/main" id="{DE383846-C186-BA47-B985-932F978CD0F1}"/>
                  </a:ext>
                </a:extLst>
              </p:cNvPr>
              <p:cNvSpPr/>
              <p:nvPr/>
            </p:nvSpPr>
            <p:spPr bwMode="auto">
              <a:xfrm>
                <a:off x="3727714" y="4526196"/>
                <a:ext cx="1091676" cy="1091676"/>
              </a:xfrm>
              <a:custGeom>
                <a:avLst/>
                <a:gdLst>
                  <a:gd name="T0" fmla="*/ 191 w 381"/>
                  <a:gd name="T1" fmla="*/ 381 h 381"/>
                  <a:gd name="T2" fmla="*/ 0 w 381"/>
                  <a:gd name="T3" fmla="*/ 190 h 381"/>
                  <a:gd name="T4" fmla="*/ 191 w 381"/>
                  <a:gd name="T5" fmla="*/ 0 h 381"/>
                  <a:gd name="T6" fmla="*/ 381 w 381"/>
                  <a:gd name="T7" fmla="*/ 190 h 381"/>
                  <a:gd name="T8" fmla="*/ 191 w 381"/>
                  <a:gd name="T9" fmla="*/ 381 h 381"/>
                  <a:gd name="T10" fmla="*/ 191 w 381"/>
                  <a:gd name="T11" fmla="*/ 22 h 381"/>
                  <a:gd name="T12" fmla="*/ 23 w 381"/>
                  <a:gd name="T13" fmla="*/ 190 h 381"/>
                  <a:gd name="T14" fmla="*/ 191 w 381"/>
                  <a:gd name="T15" fmla="*/ 358 h 381"/>
                  <a:gd name="T16" fmla="*/ 359 w 381"/>
                  <a:gd name="T17" fmla="*/ 190 h 381"/>
                  <a:gd name="T18" fmla="*/ 191 w 381"/>
                  <a:gd name="T19" fmla="*/ 22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1" h="381">
                    <a:moveTo>
                      <a:pt x="191" y="381"/>
                    </a:moveTo>
                    <a:cubicBezTo>
                      <a:pt x="86" y="381"/>
                      <a:pt x="0" y="295"/>
                      <a:pt x="0" y="190"/>
                    </a:cubicBezTo>
                    <a:cubicBezTo>
                      <a:pt x="0" y="85"/>
                      <a:pt x="86" y="0"/>
                      <a:pt x="191" y="0"/>
                    </a:cubicBezTo>
                    <a:cubicBezTo>
                      <a:pt x="296" y="0"/>
                      <a:pt x="381" y="85"/>
                      <a:pt x="381" y="190"/>
                    </a:cubicBezTo>
                    <a:cubicBezTo>
                      <a:pt x="381" y="295"/>
                      <a:pt x="296" y="381"/>
                      <a:pt x="191" y="381"/>
                    </a:cubicBezTo>
                    <a:close/>
                    <a:moveTo>
                      <a:pt x="191" y="22"/>
                    </a:moveTo>
                    <a:cubicBezTo>
                      <a:pt x="98" y="22"/>
                      <a:pt x="23" y="98"/>
                      <a:pt x="23" y="190"/>
                    </a:cubicBezTo>
                    <a:cubicBezTo>
                      <a:pt x="23" y="283"/>
                      <a:pt x="98" y="358"/>
                      <a:pt x="191" y="358"/>
                    </a:cubicBezTo>
                    <a:cubicBezTo>
                      <a:pt x="283" y="358"/>
                      <a:pt x="359" y="283"/>
                      <a:pt x="359" y="190"/>
                    </a:cubicBezTo>
                    <a:cubicBezTo>
                      <a:pt x="359" y="98"/>
                      <a:pt x="283" y="22"/>
                      <a:pt x="191" y="22"/>
                    </a:cubicBezTo>
                    <a:close/>
                  </a:path>
                </a:pathLst>
              </a:custGeom>
              <a:solidFill>
                <a:srgbClr val="597FD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4" name="íśľiḓê">
                <a:extLst>
                  <a:ext uri="{FF2B5EF4-FFF2-40B4-BE49-F238E27FC236}">
                    <a16:creationId xmlns:a16="http://schemas.microsoft.com/office/drawing/2014/main" id="{6520D495-97CA-4B4B-A910-1BBC7AC947D2}"/>
                  </a:ext>
                </a:extLst>
              </p:cNvPr>
              <p:cNvSpPr/>
              <p:nvPr/>
            </p:nvSpPr>
            <p:spPr bwMode="auto">
              <a:xfrm>
                <a:off x="6409287" y="856456"/>
                <a:ext cx="1665806" cy="1661665"/>
              </a:xfrm>
              <a:custGeom>
                <a:avLst/>
                <a:gdLst>
                  <a:gd name="T0" fmla="*/ 290 w 581"/>
                  <a:gd name="T1" fmla="*/ 580 h 580"/>
                  <a:gd name="T2" fmla="*/ 0 w 581"/>
                  <a:gd name="T3" fmla="*/ 290 h 580"/>
                  <a:gd name="T4" fmla="*/ 290 w 581"/>
                  <a:gd name="T5" fmla="*/ 0 h 580"/>
                  <a:gd name="T6" fmla="*/ 581 w 581"/>
                  <a:gd name="T7" fmla="*/ 290 h 580"/>
                  <a:gd name="T8" fmla="*/ 290 w 581"/>
                  <a:gd name="T9" fmla="*/ 580 h 580"/>
                  <a:gd name="T10" fmla="*/ 290 w 581"/>
                  <a:gd name="T11" fmla="*/ 22 h 580"/>
                  <a:gd name="T12" fmla="*/ 22 w 581"/>
                  <a:gd name="T13" fmla="*/ 290 h 580"/>
                  <a:gd name="T14" fmla="*/ 290 w 581"/>
                  <a:gd name="T15" fmla="*/ 558 h 580"/>
                  <a:gd name="T16" fmla="*/ 558 w 581"/>
                  <a:gd name="T17" fmla="*/ 290 h 580"/>
                  <a:gd name="T18" fmla="*/ 290 w 581"/>
                  <a:gd name="T19" fmla="*/ 22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1" h="580">
                    <a:moveTo>
                      <a:pt x="290" y="580"/>
                    </a:moveTo>
                    <a:cubicBezTo>
                      <a:pt x="130" y="580"/>
                      <a:pt x="0" y="450"/>
                      <a:pt x="0" y="290"/>
                    </a:cubicBezTo>
                    <a:cubicBezTo>
                      <a:pt x="0" y="130"/>
                      <a:pt x="130" y="0"/>
                      <a:pt x="290" y="0"/>
                    </a:cubicBezTo>
                    <a:cubicBezTo>
                      <a:pt x="450" y="0"/>
                      <a:pt x="581" y="130"/>
                      <a:pt x="581" y="290"/>
                    </a:cubicBezTo>
                    <a:cubicBezTo>
                      <a:pt x="581" y="450"/>
                      <a:pt x="450" y="580"/>
                      <a:pt x="290" y="580"/>
                    </a:cubicBezTo>
                    <a:close/>
                    <a:moveTo>
                      <a:pt x="290" y="22"/>
                    </a:moveTo>
                    <a:cubicBezTo>
                      <a:pt x="143" y="22"/>
                      <a:pt x="22" y="142"/>
                      <a:pt x="22" y="290"/>
                    </a:cubicBezTo>
                    <a:cubicBezTo>
                      <a:pt x="22" y="438"/>
                      <a:pt x="143" y="558"/>
                      <a:pt x="290" y="558"/>
                    </a:cubicBezTo>
                    <a:cubicBezTo>
                      <a:pt x="438" y="558"/>
                      <a:pt x="558" y="438"/>
                      <a:pt x="558" y="290"/>
                    </a:cubicBezTo>
                    <a:cubicBezTo>
                      <a:pt x="558" y="142"/>
                      <a:pt x="438" y="22"/>
                      <a:pt x="290" y="22"/>
                    </a:cubicBezTo>
                    <a:close/>
                  </a:path>
                </a:pathLst>
              </a:custGeom>
              <a:solidFill>
                <a:srgbClr val="597FD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5" name="ïṧḷïḑè">
                <a:extLst>
                  <a:ext uri="{FF2B5EF4-FFF2-40B4-BE49-F238E27FC236}">
                    <a16:creationId xmlns:a16="http://schemas.microsoft.com/office/drawing/2014/main" id="{6986FED9-EC64-7246-84F3-623F444921A2}"/>
                  </a:ext>
                </a:extLst>
              </p:cNvPr>
              <p:cNvSpPr/>
              <p:nvPr/>
            </p:nvSpPr>
            <p:spPr bwMode="auto">
              <a:xfrm>
                <a:off x="6646668" y="1077275"/>
                <a:ext cx="1204845" cy="1203465"/>
              </a:xfrm>
              <a:custGeom>
                <a:avLst/>
                <a:gdLst>
                  <a:gd name="T0" fmla="*/ 210 w 420"/>
                  <a:gd name="T1" fmla="*/ 420 h 420"/>
                  <a:gd name="T2" fmla="*/ 0 w 420"/>
                  <a:gd name="T3" fmla="*/ 210 h 420"/>
                  <a:gd name="T4" fmla="*/ 210 w 420"/>
                  <a:gd name="T5" fmla="*/ 0 h 420"/>
                  <a:gd name="T6" fmla="*/ 420 w 420"/>
                  <a:gd name="T7" fmla="*/ 210 h 420"/>
                  <a:gd name="T8" fmla="*/ 210 w 420"/>
                  <a:gd name="T9" fmla="*/ 420 h 420"/>
                  <a:gd name="T10" fmla="*/ 210 w 420"/>
                  <a:gd name="T11" fmla="*/ 23 h 420"/>
                  <a:gd name="T12" fmla="*/ 23 w 420"/>
                  <a:gd name="T13" fmla="*/ 210 h 420"/>
                  <a:gd name="T14" fmla="*/ 210 w 420"/>
                  <a:gd name="T15" fmla="*/ 398 h 420"/>
                  <a:gd name="T16" fmla="*/ 398 w 420"/>
                  <a:gd name="T17" fmla="*/ 210 h 420"/>
                  <a:gd name="T18" fmla="*/ 210 w 420"/>
                  <a:gd name="T19" fmla="*/ 23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0" h="420">
                    <a:moveTo>
                      <a:pt x="210" y="420"/>
                    </a:moveTo>
                    <a:cubicBezTo>
                      <a:pt x="95" y="420"/>
                      <a:pt x="0" y="326"/>
                      <a:pt x="0" y="210"/>
                    </a:cubicBezTo>
                    <a:cubicBezTo>
                      <a:pt x="0" y="94"/>
                      <a:pt x="95" y="0"/>
                      <a:pt x="210" y="0"/>
                    </a:cubicBezTo>
                    <a:cubicBezTo>
                      <a:pt x="326" y="0"/>
                      <a:pt x="420" y="94"/>
                      <a:pt x="420" y="210"/>
                    </a:cubicBezTo>
                    <a:cubicBezTo>
                      <a:pt x="420" y="326"/>
                      <a:pt x="326" y="420"/>
                      <a:pt x="210" y="420"/>
                    </a:cubicBezTo>
                    <a:close/>
                    <a:moveTo>
                      <a:pt x="210" y="23"/>
                    </a:moveTo>
                    <a:cubicBezTo>
                      <a:pt x="107" y="23"/>
                      <a:pt x="23" y="107"/>
                      <a:pt x="23" y="210"/>
                    </a:cubicBezTo>
                    <a:cubicBezTo>
                      <a:pt x="23" y="314"/>
                      <a:pt x="107" y="398"/>
                      <a:pt x="210" y="398"/>
                    </a:cubicBezTo>
                    <a:cubicBezTo>
                      <a:pt x="314" y="398"/>
                      <a:pt x="398" y="314"/>
                      <a:pt x="398" y="210"/>
                    </a:cubicBezTo>
                    <a:cubicBezTo>
                      <a:pt x="398" y="107"/>
                      <a:pt x="314" y="23"/>
                      <a:pt x="210" y="23"/>
                    </a:cubicBezTo>
                    <a:close/>
                  </a:path>
                </a:pathLst>
              </a:custGeom>
              <a:solidFill>
                <a:srgbClr val="597FD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6" name="íṩḷiḋè">
                <a:extLst>
                  <a:ext uri="{FF2B5EF4-FFF2-40B4-BE49-F238E27FC236}">
                    <a16:creationId xmlns:a16="http://schemas.microsoft.com/office/drawing/2014/main" id="{596EDC55-CD76-D44C-B866-8E577304A1B0}"/>
                  </a:ext>
                </a:extLst>
              </p:cNvPr>
              <p:cNvSpPr/>
              <p:nvPr/>
            </p:nvSpPr>
            <p:spPr bwMode="auto">
              <a:xfrm>
                <a:off x="6896470" y="1317416"/>
                <a:ext cx="721803" cy="724564"/>
              </a:xfrm>
              <a:custGeom>
                <a:avLst/>
                <a:gdLst>
                  <a:gd name="T0" fmla="*/ 126 w 252"/>
                  <a:gd name="T1" fmla="*/ 253 h 253"/>
                  <a:gd name="T2" fmla="*/ 0 w 252"/>
                  <a:gd name="T3" fmla="*/ 126 h 253"/>
                  <a:gd name="T4" fmla="*/ 126 w 252"/>
                  <a:gd name="T5" fmla="*/ 0 h 253"/>
                  <a:gd name="T6" fmla="*/ 252 w 252"/>
                  <a:gd name="T7" fmla="*/ 126 h 253"/>
                  <a:gd name="T8" fmla="*/ 126 w 252"/>
                  <a:gd name="T9" fmla="*/ 253 h 253"/>
                  <a:gd name="T10" fmla="*/ 126 w 252"/>
                  <a:gd name="T11" fmla="*/ 22 h 253"/>
                  <a:gd name="T12" fmla="*/ 22 w 252"/>
                  <a:gd name="T13" fmla="*/ 126 h 253"/>
                  <a:gd name="T14" fmla="*/ 126 w 252"/>
                  <a:gd name="T15" fmla="*/ 230 h 253"/>
                  <a:gd name="T16" fmla="*/ 230 w 252"/>
                  <a:gd name="T17" fmla="*/ 126 h 253"/>
                  <a:gd name="T18" fmla="*/ 126 w 252"/>
                  <a:gd name="T19" fmla="*/ 22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2" h="253">
                    <a:moveTo>
                      <a:pt x="126" y="253"/>
                    </a:moveTo>
                    <a:cubicBezTo>
                      <a:pt x="56" y="253"/>
                      <a:pt x="0" y="196"/>
                      <a:pt x="0" y="126"/>
                    </a:cubicBezTo>
                    <a:cubicBezTo>
                      <a:pt x="0" y="56"/>
                      <a:pt x="56" y="0"/>
                      <a:pt x="126" y="0"/>
                    </a:cubicBezTo>
                    <a:cubicBezTo>
                      <a:pt x="196" y="0"/>
                      <a:pt x="252" y="56"/>
                      <a:pt x="252" y="126"/>
                    </a:cubicBezTo>
                    <a:cubicBezTo>
                      <a:pt x="252" y="196"/>
                      <a:pt x="196" y="253"/>
                      <a:pt x="126" y="253"/>
                    </a:cubicBezTo>
                    <a:close/>
                    <a:moveTo>
                      <a:pt x="126" y="22"/>
                    </a:moveTo>
                    <a:cubicBezTo>
                      <a:pt x="68" y="22"/>
                      <a:pt x="22" y="69"/>
                      <a:pt x="22" y="126"/>
                    </a:cubicBezTo>
                    <a:cubicBezTo>
                      <a:pt x="22" y="184"/>
                      <a:pt x="68" y="230"/>
                      <a:pt x="126" y="230"/>
                    </a:cubicBezTo>
                    <a:cubicBezTo>
                      <a:pt x="183" y="230"/>
                      <a:pt x="230" y="184"/>
                      <a:pt x="230" y="126"/>
                    </a:cubicBezTo>
                    <a:cubicBezTo>
                      <a:pt x="230" y="69"/>
                      <a:pt x="183" y="22"/>
                      <a:pt x="126" y="22"/>
                    </a:cubicBezTo>
                    <a:close/>
                  </a:path>
                </a:pathLst>
              </a:custGeom>
              <a:solidFill>
                <a:srgbClr val="597FD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7" name="íṣlïďe">
                <a:extLst>
                  <a:ext uri="{FF2B5EF4-FFF2-40B4-BE49-F238E27FC236}">
                    <a16:creationId xmlns:a16="http://schemas.microsoft.com/office/drawing/2014/main" id="{E480F751-4A2F-9A46-A764-36D3EF8077DB}"/>
                  </a:ext>
                </a:extLst>
              </p:cNvPr>
              <p:cNvSpPr/>
              <p:nvPr/>
            </p:nvSpPr>
            <p:spPr bwMode="auto">
              <a:xfrm>
                <a:off x="7151792" y="1572739"/>
                <a:ext cx="205638" cy="205638"/>
              </a:xfrm>
              <a:prstGeom prst="ellipse">
                <a:avLst/>
              </a:prstGeom>
              <a:solidFill>
                <a:srgbClr val="597FD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8" name="íṡļíḑê">
                <a:extLst>
                  <a:ext uri="{FF2B5EF4-FFF2-40B4-BE49-F238E27FC236}">
                    <a16:creationId xmlns:a16="http://schemas.microsoft.com/office/drawing/2014/main" id="{818719A8-1B05-FF45-A39E-D2DBA16F458A}"/>
                  </a:ext>
                </a:extLst>
              </p:cNvPr>
              <p:cNvSpPr/>
              <p:nvPr/>
            </p:nvSpPr>
            <p:spPr bwMode="auto">
              <a:xfrm>
                <a:off x="6864727" y="1077275"/>
                <a:ext cx="207018" cy="208399"/>
              </a:xfrm>
              <a:prstGeom prst="ellipse">
                <a:avLst/>
              </a:prstGeom>
              <a:solidFill>
                <a:srgbClr val="597FD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9" name="îSḻiďe">
                <a:extLst>
                  <a:ext uri="{FF2B5EF4-FFF2-40B4-BE49-F238E27FC236}">
                    <a16:creationId xmlns:a16="http://schemas.microsoft.com/office/drawing/2014/main" id="{FD325886-1BF4-7C40-84B4-E02AABCA3D09}"/>
                  </a:ext>
                </a:extLst>
              </p:cNvPr>
              <p:cNvSpPr/>
              <p:nvPr/>
            </p:nvSpPr>
            <p:spPr bwMode="auto">
              <a:xfrm>
                <a:off x="7223558" y="1071755"/>
                <a:ext cx="618294" cy="618294"/>
              </a:xfrm>
              <a:custGeom>
                <a:avLst/>
                <a:gdLst>
                  <a:gd name="T0" fmla="*/ 33 w 448"/>
                  <a:gd name="T1" fmla="*/ 448 h 448"/>
                  <a:gd name="T2" fmla="*/ 0 w 448"/>
                  <a:gd name="T3" fmla="*/ 415 h 448"/>
                  <a:gd name="T4" fmla="*/ 415 w 448"/>
                  <a:gd name="T5" fmla="*/ 0 h 448"/>
                  <a:gd name="T6" fmla="*/ 448 w 448"/>
                  <a:gd name="T7" fmla="*/ 33 h 448"/>
                  <a:gd name="T8" fmla="*/ 33 w 448"/>
                  <a:gd name="T9" fmla="*/ 448 h 448"/>
                </a:gdLst>
                <a:ahLst/>
                <a:cxnLst>
                  <a:cxn ang="0">
                    <a:pos x="T0" y="T1"/>
                  </a:cxn>
                  <a:cxn ang="0">
                    <a:pos x="T2" y="T3"/>
                  </a:cxn>
                  <a:cxn ang="0">
                    <a:pos x="T4" y="T5"/>
                  </a:cxn>
                  <a:cxn ang="0">
                    <a:pos x="T6" y="T7"/>
                  </a:cxn>
                  <a:cxn ang="0">
                    <a:pos x="T8" y="T9"/>
                  </a:cxn>
                </a:cxnLst>
                <a:rect l="0" t="0" r="r" b="b"/>
                <a:pathLst>
                  <a:path w="448" h="448">
                    <a:moveTo>
                      <a:pt x="33" y="448"/>
                    </a:moveTo>
                    <a:lnTo>
                      <a:pt x="0" y="415"/>
                    </a:lnTo>
                    <a:lnTo>
                      <a:pt x="415" y="0"/>
                    </a:lnTo>
                    <a:lnTo>
                      <a:pt x="448" y="33"/>
                    </a:lnTo>
                    <a:lnTo>
                      <a:pt x="33" y="448"/>
                    </a:lnTo>
                    <a:close/>
                  </a:path>
                </a:pathLst>
              </a:custGeom>
              <a:solidFill>
                <a:srgbClr val="597FD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nvGrpSpPr>
            <p:cNvPr id="980" name="组合 979"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95300FEB-D910-B845-9A26-4CD7BECBF066}"/>
                </a:ext>
              </a:extLst>
            </p:cNvPr>
            <p:cNvGrpSpPr>
              <a:grpSpLocks noChangeAspect="1"/>
            </p:cNvGrpSpPr>
            <p:nvPr/>
          </p:nvGrpSpPr>
          <p:grpSpPr>
            <a:xfrm flipH="1">
              <a:off x="3120151" y="3554204"/>
              <a:ext cx="1865954" cy="1697704"/>
              <a:chOff x="3125788" y="1206500"/>
              <a:chExt cx="5940426" cy="4457700"/>
            </a:xfrm>
          </p:grpSpPr>
          <p:sp>
            <p:nvSpPr>
              <p:cNvPr id="981" name="iśľïḍe">
                <a:extLst>
                  <a:ext uri="{FF2B5EF4-FFF2-40B4-BE49-F238E27FC236}">
                    <a16:creationId xmlns:a16="http://schemas.microsoft.com/office/drawing/2014/main" id="{1AC294B3-222E-C145-92B2-AAC08F56CF0F}"/>
                  </a:ext>
                </a:extLst>
              </p:cNvPr>
              <p:cNvSpPr/>
              <p:nvPr/>
            </p:nvSpPr>
            <p:spPr bwMode="auto">
              <a:xfrm>
                <a:off x="7348538" y="3675063"/>
                <a:ext cx="334963" cy="200025"/>
              </a:xfrm>
              <a:prstGeom prst="rect">
                <a:avLst/>
              </a:prstGeom>
              <a:solidFill>
                <a:srgbClr val="00A49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82" name="ïŝlíde">
                <a:extLst>
                  <a:ext uri="{FF2B5EF4-FFF2-40B4-BE49-F238E27FC236}">
                    <a16:creationId xmlns:a16="http://schemas.microsoft.com/office/drawing/2014/main" id="{2151375A-8CA2-454F-84FF-342537938276}"/>
                  </a:ext>
                </a:extLst>
              </p:cNvPr>
              <p:cNvSpPr/>
              <p:nvPr/>
            </p:nvSpPr>
            <p:spPr bwMode="auto">
              <a:xfrm>
                <a:off x="7154863" y="3941763"/>
                <a:ext cx="333375" cy="200025"/>
              </a:xfrm>
              <a:prstGeom prst="rect">
                <a:avLst/>
              </a:prstGeom>
              <a:solidFill>
                <a:srgbClr val="00A49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83" name="íṧ1ïḑé">
                <a:extLst>
                  <a:ext uri="{FF2B5EF4-FFF2-40B4-BE49-F238E27FC236}">
                    <a16:creationId xmlns:a16="http://schemas.microsoft.com/office/drawing/2014/main" id="{E55F08A0-EEF1-E346-8605-99B80288342B}"/>
                  </a:ext>
                </a:extLst>
              </p:cNvPr>
              <p:cNvSpPr/>
              <p:nvPr/>
            </p:nvSpPr>
            <p:spPr bwMode="auto">
              <a:xfrm>
                <a:off x="7543801" y="3941763"/>
                <a:ext cx="333375" cy="200025"/>
              </a:xfrm>
              <a:prstGeom prst="rect">
                <a:avLst/>
              </a:prstGeom>
              <a:solidFill>
                <a:srgbClr val="00A49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84" name="ïṣľîḑe">
                <a:extLst>
                  <a:ext uri="{FF2B5EF4-FFF2-40B4-BE49-F238E27FC236}">
                    <a16:creationId xmlns:a16="http://schemas.microsoft.com/office/drawing/2014/main" id="{D6892CD5-72D4-584F-B730-25407F73879C}"/>
                  </a:ext>
                </a:extLst>
              </p:cNvPr>
              <p:cNvSpPr/>
              <p:nvPr/>
            </p:nvSpPr>
            <p:spPr bwMode="auto">
              <a:xfrm>
                <a:off x="3246438" y="5541963"/>
                <a:ext cx="1730375" cy="115888"/>
              </a:xfrm>
              <a:prstGeom prst="ellipse">
                <a:avLst/>
              </a:prstGeom>
              <a:solidFill>
                <a:srgbClr val="F4EED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5" name="íṣliḋe">
                <a:extLst>
                  <a:ext uri="{FF2B5EF4-FFF2-40B4-BE49-F238E27FC236}">
                    <a16:creationId xmlns:a16="http://schemas.microsoft.com/office/drawing/2014/main" id="{7FEDA269-2CD6-FF41-8764-F23D29B7BC45}"/>
                  </a:ext>
                </a:extLst>
              </p:cNvPr>
              <p:cNvSpPr/>
              <p:nvPr/>
            </p:nvSpPr>
            <p:spPr bwMode="auto">
              <a:xfrm>
                <a:off x="7343776" y="5541963"/>
                <a:ext cx="1722438" cy="115888"/>
              </a:xfrm>
              <a:prstGeom prst="ellipse">
                <a:avLst/>
              </a:prstGeom>
              <a:solidFill>
                <a:srgbClr val="00A49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6" name="îS1îḑe">
                <a:extLst>
                  <a:ext uri="{FF2B5EF4-FFF2-40B4-BE49-F238E27FC236}">
                    <a16:creationId xmlns:a16="http://schemas.microsoft.com/office/drawing/2014/main" id="{F2955ECB-C2DB-7C49-A20F-F630390C9BB7}"/>
                  </a:ext>
                </a:extLst>
              </p:cNvPr>
              <p:cNvSpPr/>
              <p:nvPr/>
            </p:nvSpPr>
            <p:spPr bwMode="auto">
              <a:xfrm>
                <a:off x="3719513" y="1296988"/>
                <a:ext cx="3794125" cy="2522538"/>
              </a:xfrm>
              <a:prstGeom prst="rect">
                <a:avLst/>
              </a:prstGeom>
              <a:solidFill>
                <a:srgbClr val="EF65A5"/>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87" name="íṩľiḍé">
                <a:extLst>
                  <a:ext uri="{FF2B5EF4-FFF2-40B4-BE49-F238E27FC236}">
                    <a16:creationId xmlns:a16="http://schemas.microsoft.com/office/drawing/2014/main" id="{17AB5A77-28BE-314D-A777-1ECCEFA63EC4}"/>
                  </a:ext>
                </a:extLst>
              </p:cNvPr>
              <p:cNvSpPr/>
              <p:nvPr/>
            </p:nvSpPr>
            <p:spPr bwMode="auto">
              <a:xfrm>
                <a:off x="3719513" y="1296988"/>
                <a:ext cx="3794125" cy="2522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88" name="iśliḍè">
                <a:extLst>
                  <a:ext uri="{FF2B5EF4-FFF2-40B4-BE49-F238E27FC236}">
                    <a16:creationId xmlns:a16="http://schemas.microsoft.com/office/drawing/2014/main" id="{270D7E45-8728-5B41-85DD-B09BFE7E36C0}"/>
                  </a:ext>
                </a:extLst>
              </p:cNvPr>
              <p:cNvSpPr/>
              <p:nvPr/>
            </p:nvSpPr>
            <p:spPr bwMode="auto">
              <a:xfrm>
                <a:off x="3805238" y="1400175"/>
                <a:ext cx="3622675" cy="23225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89" name="iṣľîdé">
                <a:extLst>
                  <a:ext uri="{FF2B5EF4-FFF2-40B4-BE49-F238E27FC236}">
                    <a16:creationId xmlns:a16="http://schemas.microsoft.com/office/drawing/2014/main" id="{D49B6227-737D-D742-BA89-471E85039983}"/>
                  </a:ext>
                </a:extLst>
              </p:cNvPr>
              <p:cNvSpPr/>
              <p:nvPr/>
            </p:nvSpPr>
            <p:spPr bwMode="auto">
              <a:xfrm>
                <a:off x="3805238" y="1400175"/>
                <a:ext cx="3622675" cy="232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90" name="ïṣḷíḍé">
                <a:extLst>
                  <a:ext uri="{FF2B5EF4-FFF2-40B4-BE49-F238E27FC236}">
                    <a16:creationId xmlns:a16="http://schemas.microsoft.com/office/drawing/2014/main" id="{42A8E9F2-0286-7946-8B1A-27CC9BCBE78F}"/>
                  </a:ext>
                </a:extLst>
              </p:cNvPr>
              <p:cNvSpPr/>
              <p:nvPr/>
            </p:nvSpPr>
            <p:spPr bwMode="auto">
              <a:xfrm>
                <a:off x="6961188" y="1927225"/>
                <a:ext cx="30163" cy="1401763"/>
              </a:xfrm>
              <a:prstGeom prst="rect">
                <a:avLst/>
              </a:prstGeom>
              <a:solidFill>
                <a:srgbClr val="EBE0B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91" name="ïšľiďê">
                <a:extLst>
                  <a:ext uri="{FF2B5EF4-FFF2-40B4-BE49-F238E27FC236}">
                    <a16:creationId xmlns:a16="http://schemas.microsoft.com/office/drawing/2014/main" id="{9340BB66-6982-AA4D-9A9F-995D1AF690E9}"/>
                  </a:ext>
                </a:extLst>
              </p:cNvPr>
              <p:cNvSpPr/>
              <p:nvPr/>
            </p:nvSpPr>
            <p:spPr bwMode="auto">
              <a:xfrm>
                <a:off x="6542088" y="1927225"/>
                <a:ext cx="23813" cy="1401763"/>
              </a:xfrm>
              <a:prstGeom prst="rect">
                <a:avLst/>
              </a:prstGeom>
              <a:solidFill>
                <a:srgbClr val="EBE0B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92" name="ïṧ1iḑe">
                <a:extLst>
                  <a:ext uri="{FF2B5EF4-FFF2-40B4-BE49-F238E27FC236}">
                    <a16:creationId xmlns:a16="http://schemas.microsoft.com/office/drawing/2014/main" id="{F9D48C2D-F529-244B-917C-656768F94667}"/>
                  </a:ext>
                </a:extLst>
              </p:cNvPr>
              <p:cNvSpPr/>
              <p:nvPr/>
            </p:nvSpPr>
            <p:spPr bwMode="auto">
              <a:xfrm>
                <a:off x="6116638" y="1927225"/>
                <a:ext cx="30163" cy="1401763"/>
              </a:xfrm>
              <a:prstGeom prst="rect">
                <a:avLst/>
              </a:prstGeom>
              <a:solidFill>
                <a:srgbClr val="EBE0B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93" name="iṧlïḑè">
                <a:extLst>
                  <a:ext uri="{FF2B5EF4-FFF2-40B4-BE49-F238E27FC236}">
                    <a16:creationId xmlns:a16="http://schemas.microsoft.com/office/drawing/2014/main" id="{468BA89B-A07D-0F42-80D5-6C0F0B9DEF8A}"/>
                  </a:ext>
                </a:extLst>
              </p:cNvPr>
              <p:cNvSpPr/>
              <p:nvPr/>
            </p:nvSpPr>
            <p:spPr bwMode="auto">
              <a:xfrm>
                <a:off x="5692776" y="1927225"/>
                <a:ext cx="30163" cy="1401763"/>
              </a:xfrm>
              <a:prstGeom prst="rect">
                <a:avLst/>
              </a:prstGeom>
              <a:solidFill>
                <a:srgbClr val="EBE0B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94" name="ï$lïďé">
                <a:extLst>
                  <a:ext uri="{FF2B5EF4-FFF2-40B4-BE49-F238E27FC236}">
                    <a16:creationId xmlns:a16="http://schemas.microsoft.com/office/drawing/2014/main" id="{41E8001D-F53D-EC47-A7D9-45791DC32044}"/>
                  </a:ext>
                </a:extLst>
              </p:cNvPr>
              <p:cNvSpPr/>
              <p:nvPr/>
            </p:nvSpPr>
            <p:spPr bwMode="auto">
              <a:xfrm>
                <a:off x="5273676" y="1927225"/>
                <a:ext cx="23813" cy="1401763"/>
              </a:xfrm>
              <a:prstGeom prst="rect">
                <a:avLst/>
              </a:prstGeom>
              <a:solidFill>
                <a:srgbClr val="EBE0B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95" name="îşḻíḑe">
                <a:extLst>
                  <a:ext uri="{FF2B5EF4-FFF2-40B4-BE49-F238E27FC236}">
                    <a16:creationId xmlns:a16="http://schemas.microsoft.com/office/drawing/2014/main" id="{5620DB8D-ACB7-DF47-B096-7D54D3806C06}"/>
                  </a:ext>
                </a:extLst>
              </p:cNvPr>
              <p:cNvSpPr/>
              <p:nvPr/>
            </p:nvSpPr>
            <p:spPr bwMode="auto">
              <a:xfrm>
                <a:off x="4848226" y="1927225"/>
                <a:ext cx="30163" cy="1401763"/>
              </a:xfrm>
              <a:prstGeom prst="rect">
                <a:avLst/>
              </a:prstGeom>
              <a:solidFill>
                <a:srgbClr val="EBE0B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96" name="ís1îḋé">
                <a:extLst>
                  <a:ext uri="{FF2B5EF4-FFF2-40B4-BE49-F238E27FC236}">
                    <a16:creationId xmlns:a16="http://schemas.microsoft.com/office/drawing/2014/main" id="{6033B2E0-D608-E547-A8C3-86F21598C0F9}"/>
                  </a:ext>
                </a:extLst>
              </p:cNvPr>
              <p:cNvSpPr/>
              <p:nvPr/>
            </p:nvSpPr>
            <p:spPr bwMode="auto">
              <a:xfrm>
                <a:off x="4848226" y="1927225"/>
                <a:ext cx="30163" cy="1401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97" name="išľíḋé">
                <a:extLst>
                  <a:ext uri="{FF2B5EF4-FFF2-40B4-BE49-F238E27FC236}">
                    <a16:creationId xmlns:a16="http://schemas.microsoft.com/office/drawing/2014/main" id="{F7455ED8-2A4E-9847-85E6-2D926005E141}"/>
                  </a:ext>
                </a:extLst>
              </p:cNvPr>
              <p:cNvSpPr/>
              <p:nvPr/>
            </p:nvSpPr>
            <p:spPr bwMode="auto">
              <a:xfrm>
                <a:off x="4970463" y="1630363"/>
                <a:ext cx="2330450" cy="1795463"/>
              </a:xfrm>
              <a:custGeom>
                <a:avLst/>
                <a:gdLst>
                  <a:gd name="T0" fmla="*/ 382 w 384"/>
                  <a:gd name="T1" fmla="*/ 222 h 296"/>
                  <a:gd name="T2" fmla="*/ 353 w 384"/>
                  <a:gd name="T3" fmla="*/ 112 h 296"/>
                  <a:gd name="T4" fmla="*/ 345 w 384"/>
                  <a:gd name="T5" fmla="*/ 87 h 296"/>
                  <a:gd name="T6" fmla="*/ 334 w 384"/>
                  <a:gd name="T7" fmla="*/ 73 h 296"/>
                  <a:gd name="T8" fmla="*/ 306 w 384"/>
                  <a:gd name="T9" fmla="*/ 90 h 296"/>
                  <a:gd name="T10" fmla="*/ 298 w 384"/>
                  <a:gd name="T11" fmla="*/ 114 h 296"/>
                  <a:gd name="T12" fmla="*/ 287 w 384"/>
                  <a:gd name="T13" fmla="*/ 138 h 296"/>
                  <a:gd name="T14" fmla="*/ 270 w 384"/>
                  <a:gd name="T15" fmla="*/ 122 h 296"/>
                  <a:gd name="T16" fmla="*/ 262 w 384"/>
                  <a:gd name="T17" fmla="*/ 100 h 296"/>
                  <a:gd name="T18" fmla="*/ 236 w 384"/>
                  <a:gd name="T19" fmla="*/ 73 h 296"/>
                  <a:gd name="T20" fmla="*/ 209 w 384"/>
                  <a:gd name="T21" fmla="*/ 97 h 296"/>
                  <a:gd name="T22" fmla="*/ 201 w 384"/>
                  <a:gd name="T23" fmla="*/ 135 h 296"/>
                  <a:gd name="T24" fmla="*/ 195 w 384"/>
                  <a:gd name="T25" fmla="*/ 193 h 296"/>
                  <a:gd name="T26" fmla="*/ 186 w 384"/>
                  <a:gd name="T27" fmla="*/ 250 h 296"/>
                  <a:gd name="T28" fmla="*/ 153 w 384"/>
                  <a:gd name="T29" fmla="*/ 275 h 296"/>
                  <a:gd name="T30" fmla="*/ 121 w 384"/>
                  <a:gd name="T31" fmla="*/ 237 h 296"/>
                  <a:gd name="T32" fmla="*/ 102 w 384"/>
                  <a:gd name="T33" fmla="*/ 187 h 296"/>
                  <a:gd name="T34" fmla="*/ 79 w 384"/>
                  <a:gd name="T35" fmla="*/ 86 h 296"/>
                  <a:gd name="T36" fmla="*/ 65 w 384"/>
                  <a:gd name="T37" fmla="*/ 30 h 296"/>
                  <a:gd name="T38" fmla="*/ 33 w 384"/>
                  <a:gd name="T39" fmla="*/ 2 h 296"/>
                  <a:gd name="T40" fmla="*/ 9 w 384"/>
                  <a:gd name="T41" fmla="*/ 37 h 296"/>
                  <a:gd name="T42" fmla="*/ 0 w 384"/>
                  <a:gd name="T43" fmla="*/ 101 h 296"/>
                  <a:gd name="T44" fmla="*/ 12 w 384"/>
                  <a:gd name="T45" fmla="*/ 101 h 296"/>
                  <a:gd name="T46" fmla="*/ 19 w 384"/>
                  <a:gd name="T47" fmla="*/ 46 h 296"/>
                  <a:gd name="T48" fmla="*/ 25 w 384"/>
                  <a:gd name="T49" fmla="*/ 21 h 296"/>
                  <a:gd name="T50" fmla="*/ 48 w 384"/>
                  <a:gd name="T51" fmla="*/ 21 h 296"/>
                  <a:gd name="T52" fmla="*/ 56 w 384"/>
                  <a:gd name="T53" fmla="*/ 42 h 296"/>
                  <a:gd name="T54" fmla="*/ 63 w 384"/>
                  <a:gd name="T55" fmla="*/ 66 h 296"/>
                  <a:gd name="T56" fmla="*/ 73 w 384"/>
                  <a:gd name="T57" fmla="*/ 114 h 296"/>
                  <a:gd name="T58" fmla="*/ 97 w 384"/>
                  <a:gd name="T59" fmla="*/ 209 h 296"/>
                  <a:gd name="T60" fmla="*/ 115 w 384"/>
                  <a:gd name="T61" fmla="*/ 252 h 296"/>
                  <a:gd name="T62" fmla="*/ 143 w 384"/>
                  <a:gd name="T63" fmla="*/ 283 h 296"/>
                  <a:gd name="T64" fmla="*/ 198 w 384"/>
                  <a:gd name="T65" fmla="*/ 252 h 296"/>
                  <a:gd name="T66" fmla="*/ 206 w 384"/>
                  <a:gd name="T67" fmla="*/ 203 h 296"/>
                  <a:gd name="T68" fmla="*/ 211 w 384"/>
                  <a:gd name="T69" fmla="*/ 148 h 296"/>
                  <a:gd name="T70" fmla="*/ 218 w 384"/>
                  <a:gd name="T71" fmla="*/ 105 h 296"/>
                  <a:gd name="T72" fmla="*/ 228 w 384"/>
                  <a:gd name="T73" fmla="*/ 90 h 296"/>
                  <a:gd name="T74" fmla="*/ 237 w 384"/>
                  <a:gd name="T75" fmla="*/ 84 h 296"/>
                  <a:gd name="T76" fmla="*/ 247 w 384"/>
                  <a:gd name="T77" fmla="*/ 95 h 296"/>
                  <a:gd name="T78" fmla="*/ 256 w 384"/>
                  <a:gd name="T79" fmla="*/ 117 h 296"/>
                  <a:gd name="T80" fmla="*/ 264 w 384"/>
                  <a:gd name="T81" fmla="*/ 137 h 296"/>
                  <a:gd name="T82" fmla="*/ 293 w 384"/>
                  <a:gd name="T83" fmla="*/ 148 h 296"/>
                  <a:gd name="T84" fmla="*/ 312 w 384"/>
                  <a:gd name="T85" fmla="*/ 108 h 296"/>
                  <a:gd name="T86" fmla="*/ 326 w 384"/>
                  <a:gd name="T87" fmla="*/ 84 h 296"/>
                  <a:gd name="T88" fmla="*/ 340 w 384"/>
                  <a:gd name="T89" fmla="*/ 107 h 296"/>
                  <a:gd name="T90" fmla="*/ 371 w 384"/>
                  <a:gd name="T91" fmla="*/ 225 h 296"/>
                  <a:gd name="T92" fmla="*/ 382 w 384"/>
                  <a:gd name="T93" fmla="*/ 22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84" h="296">
                    <a:moveTo>
                      <a:pt x="382" y="222"/>
                    </a:moveTo>
                    <a:cubicBezTo>
                      <a:pt x="374" y="185"/>
                      <a:pt x="365" y="148"/>
                      <a:pt x="353" y="112"/>
                    </a:cubicBezTo>
                    <a:cubicBezTo>
                      <a:pt x="351" y="104"/>
                      <a:pt x="348" y="95"/>
                      <a:pt x="345" y="87"/>
                    </a:cubicBezTo>
                    <a:cubicBezTo>
                      <a:pt x="343" y="81"/>
                      <a:pt x="340" y="76"/>
                      <a:pt x="334" y="73"/>
                    </a:cubicBezTo>
                    <a:cubicBezTo>
                      <a:pt x="321" y="67"/>
                      <a:pt x="310" y="79"/>
                      <a:pt x="306" y="90"/>
                    </a:cubicBezTo>
                    <a:cubicBezTo>
                      <a:pt x="303" y="98"/>
                      <a:pt x="300" y="106"/>
                      <a:pt x="298" y="114"/>
                    </a:cubicBezTo>
                    <a:cubicBezTo>
                      <a:pt x="296" y="120"/>
                      <a:pt x="294" y="134"/>
                      <a:pt x="287" y="138"/>
                    </a:cubicBezTo>
                    <a:cubicBezTo>
                      <a:pt x="277" y="142"/>
                      <a:pt x="272" y="128"/>
                      <a:pt x="270" y="122"/>
                    </a:cubicBezTo>
                    <a:cubicBezTo>
                      <a:pt x="267" y="114"/>
                      <a:pt x="265" y="107"/>
                      <a:pt x="262" y="100"/>
                    </a:cubicBezTo>
                    <a:cubicBezTo>
                      <a:pt x="257" y="89"/>
                      <a:pt x="251" y="71"/>
                      <a:pt x="236" y="73"/>
                    </a:cubicBezTo>
                    <a:cubicBezTo>
                      <a:pt x="224" y="74"/>
                      <a:pt x="214" y="86"/>
                      <a:pt x="209" y="97"/>
                    </a:cubicBezTo>
                    <a:cubicBezTo>
                      <a:pt x="204" y="109"/>
                      <a:pt x="202" y="122"/>
                      <a:pt x="201" y="135"/>
                    </a:cubicBezTo>
                    <a:cubicBezTo>
                      <a:pt x="199" y="154"/>
                      <a:pt x="197" y="174"/>
                      <a:pt x="195" y="193"/>
                    </a:cubicBezTo>
                    <a:cubicBezTo>
                      <a:pt x="193" y="212"/>
                      <a:pt x="192" y="232"/>
                      <a:pt x="186" y="250"/>
                    </a:cubicBezTo>
                    <a:cubicBezTo>
                      <a:pt x="181" y="263"/>
                      <a:pt x="170" y="279"/>
                      <a:pt x="153" y="275"/>
                    </a:cubicBezTo>
                    <a:cubicBezTo>
                      <a:pt x="136" y="271"/>
                      <a:pt x="127" y="252"/>
                      <a:pt x="121" y="237"/>
                    </a:cubicBezTo>
                    <a:cubicBezTo>
                      <a:pt x="113" y="221"/>
                      <a:pt x="107" y="204"/>
                      <a:pt x="102" y="187"/>
                    </a:cubicBezTo>
                    <a:cubicBezTo>
                      <a:pt x="92" y="154"/>
                      <a:pt x="86" y="120"/>
                      <a:pt x="79" y="86"/>
                    </a:cubicBezTo>
                    <a:cubicBezTo>
                      <a:pt x="75" y="67"/>
                      <a:pt x="71" y="48"/>
                      <a:pt x="65" y="30"/>
                    </a:cubicBezTo>
                    <a:cubicBezTo>
                      <a:pt x="60" y="16"/>
                      <a:pt x="50" y="0"/>
                      <a:pt x="33" y="2"/>
                    </a:cubicBezTo>
                    <a:cubicBezTo>
                      <a:pt x="16" y="4"/>
                      <a:pt x="11" y="22"/>
                      <a:pt x="9" y="37"/>
                    </a:cubicBezTo>
                    <a:cubicBezTo>
                      <a:pt x="6" y="58"/>
                      <a:pt x="3" y="80"/>
                      <a:pt x="0" y="101"/>
                    </a:cubicBezTo>
                    <a:cubicBezTo>
                      <a:pt x="0" y="109"/>
                      <a:pt x="11" y="109"/>
                      <a:pt x="12" y="101"/>
                    </a:cubicBezTo>
                    <a:cubicBezTo>
                      <a:pt x="15" y="83"/>
                      <a:pt x="17" y="65"/>
                      <a:pt x="19" y="46"/>
                    </a:cubicBezTo>
                    <a:cubicBezTo>
                      <a:pt x="20" y="38"/>
                      <a:pt x="21" y="28"/>
                      <a:pt x="25" y="21"/>
                    </a:cubicBezTo>
                    <a:cubicBezTo>
                      <a:pt x="31" y="12"/>
                      <a:pt x="41" y="12"/>
                      <a:pt x="48" y="21"/>
                    </a:cubicBezTo>
                    <a:cubicBezTo>
                      <a:pt x="52" y="27"/>
                      <a:pt x="54" y="35"/>
                      <a:pt x="56" y="42"/>
                    </a:cubicBezTo>
                    <a:cubicBezTo>
                      <a:pt x="59" y="50"/>
                      <a:pt x="61" y="58"/>
                      <a:pt x="63" y="66"/>
                    </a:cubicBezTo>
                    <a:cubicBezTo>
                      <a:pt x="66" y="82"/>
                      <a:pt x="70" y="98"/>
                      <a:pt x="73" y="114"/>
                    </a:cubicBezTo>
                    <a:cubicBezTo>
                      <a:pt x="79" y="146"/>
                      <a:pt x="86" y="178"/>
                      <a:pt x="97" y="209"/>
                    </a:cubicBezTo>
                    <a:cubicBezTo>
                      <a:pt x="102" y="224"/>
                      <a:pt x="108" y="239"/>
                      <a:pt x="115" y="252"/>
                    </a:cubicBezTo>
                    <a:cubicBezTo>
                      <a:pt x="122" y="265"/>
                      <a:pt x="130" y="277"/>
                      <a:pt x="143" y="283"/>
                    </a:cubicBezTo>
                    <a:cubicBezTo>
                      <a:pt x="169" y="296"/>
                      <a:pt x="190" y="275"/>
                      <a:pt x="198" y="252"/>
                    </a:cubicBezTo>
                    <a:cubicBezTo>
                      <a:pt x="203" y="236"/>
                      <a:pt x="204" y="219"/>
                      <a:pt x="206" y="203"/>
                    </a:cubicBezTo>
                    <a:cubicBezTo>
                      <a:pt x="208" y="185"/>
                      <a:pt x="210" y="166"/>
                      <a:pt x="211" y="148"/>
                    </a:cubicBezTo>
                    <a:cubicBezTo>
                      <a:pt x="213" y="134"/>
                      <a:pt x="213" y="119"/>
                      <a:pt x="218" y="105"/>
                    </a:cubicBezTo>
                    <a:cubicBezTo>
                      <a:pt x="220" y="100"/>
                      <a:pt x="224" y="94"/>
                      <a:pt x="228" y="90"/>
                    </a:cubicBezTo>
                    <a:cubicBezTo>
                      <a:pt x="230" y="88"/>
                      <a:pt x="234" y="84"/>
                      <a:pt x="237" y="84"/>
                    </a:cubicBezTo>
                    <a:cubicBezTo>
                      <a:pt x="242" y="84"/>
                      <a:pt x="245" y="92"/>
                      <a:pt x="247" y="95"/>
                    </a:cubicBezTo>
                    <a:cubicBezTo>
                      <a:pt x="251" y="102"/>
                      <a:pt x="254" y="110"/>
                      <a:pt x="256" y="117"/>
                    </a:cubicBezTo>
                    <a:cubicBezTo>
                      <a:pt x="258" y="124"/>
                      <a:pt x="260" y="131"/>
                      <a:pt x="264" y="137"/>
                    </a:cubicBezTo>
                    <a:cubicBezTo>
                      <a:pt x="270" y="147"/>
                      <a:pt x="282" y="154"/>
                      <a:pt x="293" y="148"/>
                    </a:cubicBezTo>
                    <a:cubicBezTo>
                      <a:pt x="306" y="141"/>
                      <a:pt x="308" y="121"/>
                      <a:pt x="312" y="108"/>
                    </a:cubicBezTo>
                    <a:cubicBezTo>
                      <a:pt x="314" y="101"/>
                      <a:pt x="317" y="85"/>
                      <a:pt x="326" y="84"/>
                    </a:cubicBezTo>
                    <a:cubicBezTo>
                      <a:pt x="335" y="82"/>
                      <a:pt x="338" y="102"/>
                      <a:pt x="340" y="107"/>
                    </a:cubicBezTo>
                    <a:cubicBezTo>
                      <a:pt x="352" y="146"/>
                      <a:pt x="362" y="186"/>
                      <a:pt x="371" y="225"/>
                    </a:cubicBezTo>
                    <a:cubicBezTo>
                      <a:pt x="372" y="233"/>
                      <a:pt x="384" y="230"/>
                      <a:pt x="382" y="222"/>
                    </a:cubicBezTo>
                  </a:path>
                </a:pathLst>
              </a:custGeom>
              <a:solidFill>
                <a:srgbClr val="EF65A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8" name="i$1iḍè">
                <a:extLst>
                  <a:ext uri="{FF2B5EF4-FFF2-40B4-BE49-F238E27FC236}">
                    <a16:creationId xmlns:a16="http://schemas.microsoft.com/office/drawing/2014/main" id="{A6F6BDA0-F00C-504F-82A7-05FA2D7E6A73}"/>
                  </a:ext>
                </a:extLst>
              </p:cNvPr>
              <p:cNvSpPr/>
              <p:nvPr/>
            </p:nvSpPr>
            <p:spPr bwMode="auto">
              <a:xfrm>
                <a:off x="6991351" y="1557338"/>
                <a:ext cx="254000" cy="255588"/>
              </a:xfrm>
              <a:custGeom>
                <a:avLst/>
                <a:gdLst>
                  <a:gd name="T0" fmla="*/ 160 w 160"/>
                  <a:gd name="T1" fmla="*/ 0 h 161"/>
                  <a:gd name="T2" fmla="*/ 160 w 160"/>
                  <a:gd name="T3" fmla="*/ 107 h 161"/>
                  <a:gd name="T4" fmla="*/ 107 w 160"/>
                  <a:gd name="T5" fmla="*/ 161 h 161"/>
                  <a:gd name="T6" fmla="*/ 0 w 160"/>
                  <a:gd name="T7" fmla="*/ 161 h 161"/>
                  <a:gd name="T8" fmla="*/ 0 w 160"/>
                  <a:gd name="T9" fmla="*/ 0 h 161"/>
                  <a:gd name="T10" fmla="*/ 160 w 160"/>
                  <a:gd name="T11" fmla="*/ 0 h 161"/>
                </a:gdLst>
                <a:ahLst/>
                <a:cxnLst>
                  <a:cxn ang="0">
                    <a:pos x="T0" y="T1"/>
                  </a:cxn>
                  <a:cxn ang="0">
                    <a:pos x="T2" y="T3"/>
                  </a:cxn>
                  <a:cxn ang="0">
                    <a:pos x="T4" y="T5"/>
                  </a:cxn>
                  <a:cxn ang="0">
                    <a:pos x="T6" y="T7"/>
                  </a:cxn>
                  <a:cxn ang="0">
                    <a:pos x="T8" y="T9"/>
                  </a:cxn>
                  <a:cxn ang="0">
                    <a:pos x="T10" y="T11"/>
                  </a:cxn>
                </a:cxnLst>
                <a:rect l="0" t="0" r="r" b="b"/>
                <a:pathLst>
                  <a:path w="160" h="161">
                    <a:moveTo>
                      <a:pt x="160" y="0"/>
                    </a:moveTo>
                    <a:lnTo>
                      <a:pt x="160" y="107"/>
                    </a:lnTo>
                    <a:lnTo>
                      <a:pt x="107" y="161"/>
                    </a:lnTo>
                    <a:lnTo>
                      <a:pt x="0" y="161"/>
                    </a:lnTo>
                    <a:lnTo>
                      <a:pt x="0" y="0"/>
                    </a:lnTo>
                    <a:lnTo>
                      <a:pt x="160" y="0"/>
                    </a:lnTo>
                    <a:close/>
                  </a:path>
                </a:pathLst>
              </a:custGeom>
              <a:solidFill>
                <a:srgbClr val="00BEB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9" name="í$1íḋe">
                <a:extLst>
                  <a:ext uri="{FF2B5EF4-FFF2-40B4-BE49-F238E27FC236}">
                    <a16:creationId xmlns:a16="http://schemas.microsoft.com/office/drawing/2014/main" id="{61035A18-B00A-B74C-9AF9-954FD5A35CB5}"/>
                  </a:ext>
                </a:extLst>
              </p:cNvPr>
              <p:cNvSpPr/>
              <p:nvPr/>
            </p:nvSpPr>
            <p:spPr bwMode="auto">
              <a:xfrm>
                <a:off x="7161213" y="1727200"/>
                <a:ext cx="84138" cy="85725"/>
              </a:xfrm>
              <a:custGeom>
                <a:avLst/>
                <a:gdLst>
                  <a:gd name="T0" fmla="*/ 53 w 53"/>
                  <a:gd name="T1" fmla="*/ 0 h 54"/>
                  <a:gd name="T2" fmla="*/ 0 w 53"/>
                  <a:gd name="T3" fmla="*/ 54 h 54"/>
                  <a:gd name="T4" fmla="*/ 0 w 53"/>
                  <a:gd name="T5" fmla="*/ 0 h 54"/>
                  <a:gd name="T6" fmla="*/ 53 w 53"/>
                  <a:gd name="T7" fmla="*/ 0 h 54"/>
                </a:gdLst>
                <a:ahLst/>
                <a:cxnLst>
                  <a:cxn ang="0">
                    <a:pos x="T0" y="T1"/>
                  </a:cxn>
                  <a:cxn ang="0">
                    <a:pos x="T2" y="T3"/>
                  </a:cxn>
                  <a:cxn ang="0">
                    <a:pos x="T4" y="T5"/>
                  </a:cxn>
                  <a:cxn ang="0">
                    <a:pos x="T6" y="T7"/>
                  </a:cxn>
                </a:cxnLst>
                <a:rect l="0" t="0" r="r" b="b"/>
                <a:pathLst>
                  <a:path w="53" h="54">
                    <a:moveTo>
                      <a:pt x="53" y="0"/>
                    </a:moveTo>
                    <a:lnTo>
                      <a:pt x="0" y="54"/>
                    </a:lnTo>
                    <a:lnTo>
                      <a:pt x="0" y="0"/>
                    </a:lnTo>
                    <a:lnTo>
                      <a:pt x="53" y="0"/>
                    </a:lnTo>
                    <a:close/>
                  </a:path>
                </a:pathLst>
              </a:custGeom>
              <a:solidFill>
                <a:srgbClr val="00A49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0" name="îş1ïḍê">
                <a:extLst>
                  <a:ext uri="{FF2B5EF4-FFF2-40B4-BE49-F238E27FC236}">
                    <a16:creationId xmlns:a16="http://schemas.microsoft.com/office/drawing/2014/main" id="{3C6EE654-2164-C84B-894F-69C18EB5B21E}"/>
                  </a:ext>
                </a:extLst>
              </p:cNvPr>
              <p:cNvSpPr/>
              <p:nvPr/>
            </p:nvSpPr>
            <p:spPr bwMode="auto">
              <a:xfrm>
                <a:off x="6621463" y="1557338"/>
                <a:ext cx="254000" cy="255588"/>
              </a:xfrm>
              <a:prstGeom prst="rect">
                <a:avLst/>
              </a:prstGeom>
              <a:solidFill>
                <a:srgbClr val="FF674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001" name="iṩ1iḑè">
                <a:extLst>
                  <a:ext uri="{FF2B5EF4-FFF2-40B4-BE49-F238E27FC236}">
                    <a16:creationId xmlns:a16="http://schemas.microsoft.com/office/drawing/2014/main" id="{1D617273-611F-F843-A58F-F0E89A1450BC}"/>
                  </a:ext>
                </a:extLst>
              </p:cNvPr>
              <p:cNvSpPr/>
              <p:nvPr/>
            </p:nvSpPr>
            <p:spPr bwMode="auto">
              <a:xfrm>
                <a:off x="4514851" y="3492500"/>
                <a:ext cx="2773363" cy="23813"/>
              </a:xfrm>
              <a:prstGeom prst="rect">
                <a:avLst/>
              </a:prstGeom>
              <a:solidFill>
                <a:srgbClr val="EBE0B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002" name="iṥļîḓé">
                <a:extLst>
                  <a:ext uri="{FF2B5EF4-FFF2-40B4-BE49-F238E27FC236}">
                    <a16:creationId xmlns:a16="http://schemas.microsoft.com/office/drawing/2014/main" id="{9491200A-887E-744C-A0A9-1437DCD024D3}"/>
                  </a:ext>
                </a:extLst>
              </p:cNvPr>
              <p:cNvSpPr/>
              <p:nvPr/>
            </p:nvSpPr>
            <p:spPr bwMode="auto">
              <a:xfrm>
                <a:off x="3992563" y="1763713"/>
                <a:ext cx="522288" cy="49213"/>
              </a:xfrm>
              <a:prstGeom prst="rect">
                <a:avLst/>
              </a:prstGeom>
              <a:solidFill>
                <a:srgbClr val="EBE0B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003" name="ïŝḻîḓé">
                <a:extLst>
                  <a:ext uri="{FF2B5EF4-FFF2-40B4-BE49-F238E27FC236}">
                    <a16:creationId xmlns:a16="http://schemas.microsoft.com/office/drawing/2014/main" id="{F553D279-D7D7-A044-BBED-4E7B9D645D37}"/>
                  </a:ext>
                </a:extLst>
              </p:cNvPr>
              <p:cNvSpPr/>
              <p:nvPr/>
            </p:nvSpPr>
            <p:spPr bwMode="auto">
              <a:xfrm>
                <a:off x="3992563" y="1909763"/>
                <a:ext cx="522288" cy="49213"/>
              </a:xfrm>
              <a:prstGeom prst="rect">
                <a:avLst/>
              </a:prstGeom>
              <a:solidFill>
                <a:srgbClr val="EBE0B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004" name="íṥļîďè">
                <a:extLst>
                  <a:ext uri="{FF2B5EF4-FFF2-40B4-BE49-F238E27FC236}">
                    <a16:creationId xmlns:a16="http://schemas.microsoft.com/office/drawing/2014/main" id="{9CC3E253-9831-2D47-9529-CC603F3657B3}"/>
                  </a:ext>
                </a:extLst>
              </p:cNvPr>
              <p:cNvSpPr/>
              <p:nvPr/>
            </p:nvSpPr>
            <p:spPr bwMode="auto">
              <a:xfrm>
                <a:off x="3992563" y="2049463"/>
                <a:ext cx="522288" cy="47625"/>
              </a:xfrm>
              <a:prstGeom prst="rect">
                <a:avLst/>
              </a:prstGeom>
              <a:solidFill>
                <a:srgbClr val="EBE0B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005" name="ïşḷïḋè">
                <a:extLst>
                  <a:ext uri="{FF2B5EF4-FFF2-40B4-BE49-F238E27FC236}">
                    <a16:creationId xmlns:a16="http://schemas.microsoft.com/office/drawing/2014/main" id="{11C2E123-6223-B24C-88D9-C129745A32BB}"/>
                  </a:ext>
                </a:extLst>
              </p:cNvPr>
              <p:cNvSpPr/>
              <p:nvPr/>
            </p:nvSpPr>
            <p:spPr bwMode="auto">
              <a:xfrm>
                <a:off x="3992563" y="2195513"/>
                <a:ext cx="522288" cy="47625"/>
              </a:xfrm>
              <a:prstGeom prst="rect">
                <a:avLst/>
              </a:prstGeom>
              <a:solidFill>
                <a:srgbClr val="EBE0B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006" name="î$ľîḋê">
                <a:extLst>
                  <a:ext uri="{FF2B5EF4-FFF2-40B4-BE49-F238E27FC236}">
                    <a16:creationId xmlns:a16="http://schemas.microsoft.com/office/drawing/2014/main" id="{953D5934-475A-2C4D-8CBD-5B33EC2E39DB}"/>
                  </a:ext>
                </a:extLst>
              </p:cNvPr>
              <p:cNvSpPr/>
              <p:nvPr/>
            </p:nvSpPr>
            <p:spPr bwMode="auto">
              <a:xfrm>
                <a:off x="4035426" y="1570038"/>
                <a:ext cx="90488" cy="90488"/>
              </a:xfrm>
              <a:prstGeom prst="ellipse">
                <a:avLst/>
              </a:prstGeom>
              <a:solidFill>
                <a:srgbClr val="5202B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7" name="íşļîdê">
                <a:extLst>
                  <a:ext uri="{FF2B5EF4-FFF2-40B4-BE49-F238E27FC236}">
                    <a16:creationId xmlns:a16="http://schemas.microsoft.com/office/drawing/2014/main" id="{0EA571E5-6188-4546-B2EC-1BCD7792C767}"/>
                  </a:ext>
                </a:extLst>
              </p:cNvPr>
              <p:cNvSpPr/>
              <p:nvPr/>
            </p:nvSpPr>
            <p:spPr bwMode="auto">
              <a:xfrm>
                <a:off x="4211638" y="1570038"/>
                <a:ext cx="90488" cy="90488"/>
              </a:xfrm>
              <a:prstGeom prst="ellipse">
                <a:avLst/>
              </a:prstGeom>
              <a:solidFill>
                <a:srgbClr val="5202B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8" name="ïšľíḑé">
                <a:extLst>
                  <a:ext uri="{FF2B5EF4-FFF2-40B4-BE49-F238E27FC236}">
                    <a16:creationId xmlns:a16="http://schemas.microsoft.com/office/drawing/2014/main" id="{933BB12E-4434-4743-864A-8948F21E5151}"/>
                  </a:ext>
                </a:extLst>
              </p:cNvPr>
              <p:cNvSpPr/>
              <p:nvPr/>
            </p:nvSpPr>
            <p:spPr bwMode="auto">
              <a:xfrm>
                <a:off x="4381501" y="1570038"/>
                <a:ext cx="90488" cy="90488"/>
              </a:xfrm>
              <a:prstGeom prst="ellipse">
                <a:avLst/>
              </a:prstGeom>
              <a:solidFill>
                <a:srgbClr val="5202B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9" name="iş1íḍê">
                <a:extLst>
                  <a:ext uri="{FF2B5EF4-FFF2-40B4-BE49-F238E27FC236}">
                    <a16:creationId xmlns:a16="http://schemas.microsoft.com/office/drawing/2014/main" id="{D0AE4C6D-92B9-FF4E-9C4A-DA62C1352132}"/>
                  </a:ext>
                </a:extLst>
              </p:cNvPr>
              <p:cNvSpPr/>
              <p:nvPr/>
            </p:nvSpPr>
            <p:spPr bwMode="auto">
              <a:xfrm>
                <a:off x="3719513" y="2509838"/>
                <a:ext cx="449263" cy="1309688"/>
              </a:xfrm>
              <a:custGeom>
                <a:avLst/>
                <a:gdLst>
                  <a:gd name="T0" fmla="*/ 14 w 74"/>
                  <a:gd name="T1" fmla="*/ 72 h 216"/>
                  <a:gd name="T2" fmla="*/ 4 w 74"/>
                  <a:gd name="T3" fmla="*/ 78 h 216"/>
                  <a:gd name="T4" fmla="*/ 0 w 74"/>
                  <a:gd name="T5" fmla="*/ 80 h 216"/>
                  <a:gd name="T6" fmla="*/ 0 w 74"/>
                  <a:gd name="T7" fmla="*/ 216 h 216"/>
                  <a:gd name="T8" fmla="*/ 74 w 74"/>
                  <a:gd name="T9" fmla="*/ 216 h 216"/>
                  <a:gd name="T10" fmla="*/ 68 w 74"/>
                  <a:gd name="T11" fmla="*/ 200 h 216"/>
                  <a:gd name="T12" fmla="*/ 14 w 74"/>
                  <a:gd name="T13" fmla="*/ 200 h 216"/>
                  <a:gd name="T14" fmla="*/ 14 w 74"/>
                  <a:gd name="T15" fmla="*/ 72 h 216"/>
                  <a:gd name="T16" fmla="*/ 5 w 74"/>
                  <a:gd name="T17" fmla="*/ 48 h 216"/>
                  <a:gd name="T18" fmla="*/ 5 w 74"/>
                  <a:gd name="T19" fmla="*/ 48 h 216"/>
                  <a:gd name="T20" fmla="*/ 5 w 74"/>
                  <a:gd name="T21" fmla="*/ 48 h 216"/>
                  <a:gd name="T22" fmla="*/ 5 w 74"/>
                  <a:gd name="T23" fmla="*/ 48 h 216"/>
                  <a:gd name="T24" fmla="*/ 14 w 74"/>
                  <a:gd name="T25" fmla="*/ 4 h 216"/>
                  <a:gd name="T26" fmla="*/ 10 w 74"/>
                  <a:gd name="T27" fmla="*/ 6 h 216"/>
                  <a:gd name="T28" fmla="*/ 0 w 74"/>
                  <a:gd name="T29" fmla="*/ 14 h 216"/>
                  <a:gd name="T30" fmla="*/ 0 w 74"/>
                  <a:gd name="T31" fmla="*/ 50 h 216"/>
                  <a:gd name="T32" fmla="*/ 2 w 74"/>
                  <a:gd name="T33" fmla="*/ 54 h 216"/>
                  <a:gd name="T34" fmla="*/ 3 w 74"/>
                  <a:gd name="T35" fmla="*/ 50 h 216"/>
                  <a:gd name="T36" fmla="*/ 2 w 74"/>
                  <a:gd name="T37" fmla="*/ 54 h 216"/>
                  <a:gd name="T38" fmla="*/ 10 w 74"/>
                  <a:gd name="T39" fmla="*/ 62 h 216"/>
                  <a:gd name="T40" fmla="*/ 14 w 74"/>
                  <a:gd name="T41" fmla="*/ 62 h 216"/>
                  <a:gd name="T42" fmla="*/ 14 w 74"/>
                  <a:gd name="T43" fmla="*/ 62 h 216"/>
                  <a:gd name="T44" fmla="*/ 14 w 74"/>
                  <a:gd name="T45" fmla="*/ 64 h 216"/>
                  <a:gd name="T46" fmla="*/ 14 w 74"/>
                  <a:gd name="T47" fmla="*/ 4 h 216"/>
                  <a:gd name="T48" fmla="*/ 14 w 74"/>
                  <a:gd name="T49" fmla="*/ 0 h 216"/>
                  <a:gd name="T50" fmla="*/ 0 w 74"/>
                  <a:gd name="T51" fmla="*/ 9 h 216"/>
                  <a:gd name="T52" fmla="*/ 0 w 74"/>
                  <a:gd name="T53" fmla="*/ 13 h 216"/>
                  <a:gd name="T54" fmla="*/ 14 w 74"/>
                  <a:gd name="T55" fmla="*/ 3 h 216"/>
                  <a:gd name="T56" fmla="*/ 14 w 74"/>
                  <a:gd name="T57"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216">
                    <a:moveTo>
                      <a:pt x="14" y="72"/>
                    </a:moveTo>
                    <a:cubicBezTo>
                      <a:pt x="11" y="73"/>
                      <a:pt x="8" y="75"/>
                      <a:pt x="4" y="78"/>
                    </a:cubicBezTo>
                    <a:cubicBezTo>
                      <a:pt x="4" y="78"/>
                      <a:pt x="3" y="79"/>
                      <a:pt x="0" y="80"/>
                    </a:cubicBezTo>
                    <a:cubicBezTo>
                      <a:pt x="0" y="216"/>
                      <a:pt x="0" y="216"/>
                      <a:pt x="0" y="216"/>
                    </a:cubicBezTo>
                    <a:cubicBezTo>
                      <a:pt x="74" y="216"/>
                      <a:pt x="74" y="216"/>
                      <a:pt x="74" y="216"/>
                    </a:cubicBezTo>
                    <a:cubicBezTo>
                      <a:pt x="72" y="211"/>
                      <a:pt x="70" y="206"/>
                      <a:pt x="68" y="200"/>
                    </a:cubicBezTo>
                    <a:cubicBezTo>
                      <a:pt x="14" y="200"/>
                      <a:pt x="14" y="200"/>
                      <a:pt x="14" y="200"/>
                    </a:cubicBezTo>
                    <a:cubicBezTo>
                      <a:pt x="14" y="72"/>
                      <a:pt x="14" y="72"/>
                      <a:pt x="14" y="72"/>
                    </a:cubicBezTo>
                    <a:moveTo>
                      <a:pt x="5" y="48"/>
                    </a:moveTo>
                    <a:cubicBezTo>
                      <a:pt x="5" y="48"/>
                      <a:pt x="5" y="48"/>
                      <a:pt x="5" y="48"/>
                    </a:cubicBezTo>
                    <a:cubicBezTo>
                      <a:pt x="5" y="48"/>
                      <a:pt x="5" y="48"/>
                      <a:pt x="5" y="48"/>
                    </a:cubicBezTo>
                    <a:cubicBezTo>
                      <a:pt x="5" y="48"/>
                      <a:pt x="5" y="48"/>
                      <a:pt x="5" y="48"/>
                    </a:cubicBezTo>
                    <a:moveTo>
                      <a:pt x="14" y="4"/>
                    </a:moveTo>
                    <a:cubicBezTo>
                      <a:pt x="13" y="5"/>
                      <a:pt x="12" y="5"/>
                      <a:pt x="10" y="6"/>
                    </a:cubicBezTo>
                    <a:cubicBezTo>
                      <a:pt x="6" y="8"/>
                      <a:pt x="2" y="11"/>
                      <a:pt x="0" y="14"/>
                    </a:cubicBezTo>
                    <a:cubicBezTo>
                      <a:pt x="0" y="50"/>
                      <a:pt x="0" y="50"/>
                      <a:pt x="0" y="50"/>
                    </a:cubicBezTo>
                    <a:cubicBezTo>
                      <a:pt x="1" y="53"/>
                      <a:pt x="2" y="54"/>
                      <a:pt x="2" y="54"/>
                    </a:cubicBezTo>
                    <a:cubicBezTo>
                      <a:pt x="2" y="54"/>
                      <a:pt x="2" y="53"/>
                      <a:pt x="3" y="50"/>
                    </a:cubicBezTo>
                    <a:cubicBezTo>
                      <a:pt x="3" y="52"/>
                      <a:pt x="2" y="53"/>
                      <a:pt x="2" y="54"/>
                    </a:cubicBezTo>
                    <a:cubicBezTo>
                      <a:pt x="2" y="59"/>
                      <a:pt x="6" y="62"/>
                      <a:pt x="10" y="62"/>
                    </a:cubicBezTo>
                    <a:cubicBezTo>
                      <a:pt x="12" y="62"/>
                      <a:pt x="13" y="62"/>
                      <a:pt x="14" y="62"/>
                    </a:cubicBezTo>
                    <a:cubicBezTo>
                      <a:pt x="14" y="62"/>
                      <a:pt x="14" y="62"/>
                      <a:pt x="14" y="62"/>
                    </a:cubicBezTo>
                    <a:cubicBezTo>
                      <a:pt x="14" y="63"/>
                      <a:pt x="14" y="64"/>
                      <a:pt x="14" y="64"/>
                    </a:cubicBezTo>
                    <a:cubicBezTo>
                      <a:pt x="14" y="4"/>
                      <a:pt x="14" y="4"/>
                      <a:pt x="14" y="4"/>
                    </a:cubicBezTo>
                    <a:moveTo>
                      <a:pt x="14" y="0"/>
                    </a:moveTo>
                    <a:cubicBezTo>
                      <a:pt x="8" y="2"/>
                      <a:pt x="3" y="5"/>
                      <a:pt x="0" y="9"/>
                    </a:cubicBezTo>
                    <a:cubicBezTo>
                      <a:pt x="0" y="13"/>
                      <a:pt x="0" y="13"/>
                      <a:pt x="0" y="13"/>
                    </a:cubicBezTo>
                    <a:cubicBezTo>
                      <a:pt x="4" y="8"/>
                      <a:pt x="8" y="4"/>
                      <a:pt x="14" y="3"/>
                    </a:cubicBezTo>
                    <a:cubicBezTo>
                      <a:pt x="14" y="0"/>
                      <a:pt x="14" y="0"/>
                      <a:pt x="14" y="0"/>
                    </a:cubicBezTo>
                  </a:path>
                </a:pathLst>
              </a:custGeom>
              <a:solidFill>
                <a:srgbClr val="DC609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0" name="íṩľîḋé">
                <a:extLst>
                  <a:ext uri="{FF2B5EF4-FFF2-40B4-BE49-F238E27FC236}">
                    <a16:creationId xmlns:a16="http://schemas.microsoft.com/office/drawing/2014/main" id="{2768723F-4B94-B743-A793-77314A85E309}"/>
                  </a:ext>
                </a:extLst>
              </p:cNvPr>
              <p:cNvSpPr/>
              <p:nvPr/>
            </p:nvSpPr>
            <p:spPr bwMode="auto">
              <a:xfrm>
                <a:off x="3805238" y="2255838"/>
                <a:ext cx="1208088" cy="1466850"/>
              </a:xfrm>
              <a:custGeom>
                <a:avLst/>
                <a:gdLst>
                  <a:gd name="T0" fmla="*/ 153 w 199"/>
                  <a:gd name="T1" fmla="*/ 11 h 242"/>
                  <a:gd name="T2" fmla="*/ 150 w 199"/>
                  <a:gd name="T3" fmla="*/ 12 h 242"/>
                  <a:gd name="T4" fmla="*/ 147 w 199"/>
                  <a:gd name="T5" fmla="*/ 24 h 242"/>
                  <a:gd name="T6" fmla="*/ 147 w 199"/>
                  <a:gd name="T7" fmla="*/ 44 h 242"/>
                  <a:gd name="T8" fmla="*/ 146 w 199"/>
                  <a:gd name="T9" fmla="*/ 45 h 242"/>
                  <a:gd name="T10" fmla="*/ 146 w 199"/>
                  <a:gd name="T11" fmla="*/ 46 h 242"/>
                  <a:gd name="T12" fmla="*/ 146 w 199"/>
                  <a:gd name="T13" fmla="*/ 47 h 242"/>
                  <a:gd name="T14" fmla="*/ 145 w 199"/>
                  <a:gd name="T15" fmla="*/ 49 h 242"/>
                  <a:gd name="T16" fmla="*/ 145 w 199"/>
                  <a:gd name="T17" fmla="*/ 52 h 242"/>
                  <a:gd name="T18" fmla="*/ 144 w 199"/>
                  <a:gd name="T19" fmla="*/ 54 h 242"/>
                  <a:gd name="T20" fmla="*/ 143 w 199"/>
                  <a:gd name="T21" fmla="*/ 57 h 242"/>
                  <a:gd name="T22" fmla="*/ 142 w 199"/>
                  <a:gd name="T23" fmla="*/ 59 h 242"/>
                  <a:gd name="T24" fmla="*/ 142 w 199"/>
                  <a:gd name="T25" fmla="*/ 62 h 242"/>
                  <a:gd name="T26" fmla="*/ 141 w 199"/>
                  <a:gd name="T27" fmla="*/ 65 h 242"/>
                  <a:gd name="T28" fmla="*/ 139 w 199"/>
                  <a:gd name="T29" fmla="*/ 68 h 242"/>
                  <a:gd name="T30" fmla="*/ 95 w 199"/>
                  <a:gd name="T31" fmla="*/ 127 h 242"/>
                  <a:gd name="T32" fmla="*/ 35 w 199"/>
                  <a:gd name="T33" fmla="*/ 121 h 242"/>
                  <a:gd name="T34" fmla="*/ 30 w 199"/>
                  <a:gd name="T35" fmla="*/ 111 h 242"/>
                  <a:gd name="T36" fmla="*/ 33 w 199"/>
                  <a:gd name="T37" fmla="*/ 111 h 242"/>
                  <a:gd name="T38" fmla="*/ 40 w 199"/>
                  <a:gd name="T39" fmla="*/ 58 h 242"/>
                  <a:gd name="T40" fmla="*/ 22 w 199"/>
                  <a:gd name="T41" fmla="*/ 44 h 242"/>
                  <a:gd name="T42" fmla="*/ 0 w 199"/>
                  <a:gd name="T43" fmla="*/ 42 h 242"/>
                  <a:gd name="T44" fmla="*/ 9 w 199"/>
                  <a:gd name="T45" fmla="*/ 43 h 242"/>
                  <a:gd name="T46" fmla="*/ 0 w 199"/>
                  <a:gd name="T47" fmla="*/ 46 h 242"/>
                  <a:gd name="T48" fmla="*/ 1 w 199"/>
                  <a:gd name="T49" fmla="*/ 114 h 242"/>
                  <a:gd name="T50" fmla="*/ 0 w 199"/>
                  <a:gd name="T51" fmla="*/ 242 h 242"/>
                  <a:gd name="T52" fmla="*/ 51 w 199"/>
                  <a:gd name="T53" fmla="*/ 187 h 242"/>
                  <a:gd name="T54" fmla="*/ 68 w 199"/>
                  <a:gd name="T55" fmla="*/ 178 h 242"/>
                  <a:gd name="T56" fmla="*/ 156 w 199"/>
                  <a:gd name="T57" fmla="*/ 78 h 242"/>
                  <a:gd name="T58" fmla="*/ 157 w 199"/>
                  <a:gd name="T59" fmla="*/ 75 h 242"/>
                  <a:gd name="T60" fmla="*/ 158 w 199"/>
                  <a:gd name="T61" fmla="*/ 71 h 242"/>
                  <a:gd name="T62" fmla="*/ 158 w 199"/>
                  <a:gd name="T63" fmla="*/ 69 h 242"/>
                  <a:gd name="T64" fmla="*/ 159 w 199"/>
                  <a:gd name="T65" fmla="*/ 65 h 242"/>
                  <a:gd name="T66" fmla="*/ 159 w 199"/>
                  <a:gd name="T67" fmla="*/ 62 h 242"/>
                  <a:gd name="T68" fmla="*/ 160 w 199"/>
                  <a:gd name="T69" fmla="*/ 60 h 242"/>
                  <a:gd name="T70" fmla="*/ 160 w 199"/>
                  <a:gd name="T71" fmla="*/ 55 h 242"/>
                  <a:gd name="T72" fmla="*/ 161 w 199"/>
                  <a:gd name="T73" fmla="*/ 53 h 242"/>
                  <a:gd name="T74" fmla="*/ 161 w 199"/>
                  <a:gd name="T75" fmla="*/ 50 h 242"/>
                  <a:gd name="T76" fmla="*/ 161 w 199"/>
                  <a:gd name="T77" fmla="*/ 48 h 242"/>
                  <a:gd name="T78" fmla="*/ 161 w 199"/>
                  <a:gd name="T79" fmla="*/ 46 h 242"/>
                  <a:gd name="T80" fmla="*/ 161 w 199"/>
                  <a:gd name="T81" fmla="*/ 46 h 242"/>
                  <a:gd name="T82" fmla="*/ 172 w 199"/>
                  <a:gd name="T83" fmla="*/ 36 h 242"/>
                  <a:gd name="T84" fmla="*/ 168 w 199"/>
                  <a:gd name="T85" fmla="*/ 15 h 242"/>
                  <a:gd name="T86" fmla="*/ 192 w 199"/>
                  <a:gd name="T87" fmla="*/ 0 h 242"/>
                  <a:gd name="T88" fmla="*/ 185 w 199"/>
                  <a:gd name="T89" fmla="*/ 5 h 242"/>
                  <a:gd name="T90" fmla="*/ 177 w 199"/>
                  <a:gd name="T91" fmla="*/ 16 h 242"/>
                  <a:gd name="T92" fmla="*/ 195 w 199"/>
                  <a:gd name="T93" fmla="*/ 8 h 242"/>
                  <a:gd name="T94" fmla="*/ 198 w 199"/>
                  <a:gd name="T95" fmla="*/ 4 h 242"/>
                  <a:gd name="T96" fmla="*/ 192 w 199"/>
                  <a:gd name="T9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9" h="242">
                    <a:moveTo>
                      <a:pt x="155" y="11"/>
                    </a:moveTo>
                    <a:cubicBezTo>
                      <a:pt x="154" y="11"/>
                      <a:pt x="154" y="11"/>
                      <a:pt x="153" y="11"/>
                    </a:cubicBezTo>
                    <a:cubicBezTo>
                      <a:pt x="152" y="11"/>
                      <a:pt x="152" y="11"/>
                      <a:pt x="151" y="12"/>
                    </a:cubicBezTo>
                    <a:cubicBezTo>
                      <a:pt x="150" y="12"/>
                      <a:pt x="150" y="12"/>
                      <a:pt x="150" y="12"/>
                    </a:cubicBezTo>
                    <a:cubicBezTo>
                      <a:pt x="150" y="13"/>
                      <a:pt x="150" y="13"/>
                      <a:pt x="150" y="13"/>
                    </a:cubicBezTo>
                    <a:cubicBezTo>
                      <a:pt x="146" y="16"/>
                      <a:pt x="147" y="24"/>
                      <a:pt x="147" y="24"/>
                    </a:cubicBezTo>
                    <a:cubicBezTo>
                      <a:pt x="138" y="29"/>
                      <a:pt x="147" y="43"/>
                      <a:pt x="147" y="43"/>
                    </a:cubicBezTo>
                    <a:cubicBezTo>
                      <a:pt x="147" y="43"/>
                      <a:pt x="147" y="44"/>
                      <a:pt x="147" y="44"/>
                    </a:cubicBezTo>
                    <a:cubicBezTo>
                      <a:pt x="147" y="44"/>
                      <a:pt x="147" y="44"/>
                      <a:pt x="147" y="44"/>
                    </a:cubicBezTo>
                    <a:cubicBezTo>
                      <a:pt x="146" y="45"/>
                      <a:pt x="146" y="45"/>
                      <a:pt x="146" y="45"/>
                    </a:cubicBezTo>
                    <a:cubicBezTo>
                      <a:pt x="146" y="45"/>
                      <a:pt x="146" y="45"/>
                      <a:pt x="146" y="45"/>
                    </a:cubicBezTo>
                    <a:cubicBezTo>
                      <a:pt x="146" y="46"/>
                      <a:pt x="146" y="46"/>
                      <a:pt x="146" y="46"/>
                    </a:cubicBezTo>
                    <a:cubicBezTo>
                      <a:pt x="146" y="47"/>
                      <a:pt x="146" y="47"/>
                      <a:pt x="146" y="47"/>
                    </a:cubicBezTo>
                    <a:cubicBezTo>
                      <a:pt x="146" y="47"/>
                      <a:pt x="146" y="47"/>
                      <a:pt x="146" y="47"/>
                    </a:cubicBezTo>
                    <a:cubicBezTo>
                      <a:pt x="146" y="48"/>
                      <a:pt x="146" y="48"/>
                      <a:pt x="146" y="48"/>
                    </a:cubicBezTo>
                    <a:cubicBezTo>
                      <a:pt x="145" y="49"/>
                      <a:pt x="145" y="49"/>
                      <a:pt x="145" y="49"/>
                    </a:cubicBezTo>
                    <a:cubicBezTo>
                      <a:pt x="145" y="50"/>
                      <a:pt x="145" y="50"/>
                      <a:pt x="145" y="50"/>
                    </a:cubicBezTo>
                    <a:cubicBezTo>
                      <a:pt x="145" y="51"/>
                      <a:pt x="145" y="51"/>
                      <a:pt x="145" y="52"/>
                    </a:cubicBezTo>
                    <a:cubicBezTo>
                      <a:pt x="145" y="52"/>
                      <a:pt x="144" y="53"/>
                      <a:pt x="144" y="53"/>
                    </a:cubicBezTo>
                    <a:cubicBezTo>
                      <a:pt x="144" y="54"/>
                      <a:pt x="144" y="54"/>
                      <a:pt x="144" y="54"/>
                    </a:cubicBezTo>
                    <a:cubicBezTo>
                      <a:pt x="144" y="55"/>
                      <a:pt x="144" y="55"/>
                      <a:pt x="144" y="56"/>
                    </a:cubicBezTo>
                    <a:cubicBezTo>
                      <a:pt x="144" y="56"/>
                      <a:pt x="143" y="56"/>
                      <a:pt x="143" y="57"/>
                    </a:cubicBezTo>
                    <a:cubicBezTo>
                      <a:pt x="143" y="57"/>
                      <a:pt x="143" y="58"/>
                      <a:pt x="143" y="58"/>
                    </a:cubicBezTo>
                    <a:cubicBezTo>
                      <a:pt x="143" y="59"/>
                      <a:pt x="143" y="59"/>
                      <a:pt x="142" y="59"/>
                    </a:cubicBezTo>
                    <a:cubicBezTo>
                      <a:pt x="142" y="60"/>
                      <a:pt x="142" y="60"/>
                      <a:pt x="142" y="61"/>
                    </a:cubicBezTo>
                    <a:cubicBezTo>
                      <a:pt x="142" y="61"/>
                      <a:pt x="142" y="62"/>
                      <a:pt x="142" y="62"/>
                    </a:cubicBezTo>
                    <a:cubicBezTo>
                      <a:pt x="141" y="63"/>
                      <a:pt x="141" y="63"/>
                      <a:pt x="141" y="64"/>
                    </a:cubicBezTo>
                    <a:cubicBezTo>
                      <a:pt x="141" y="64"/>
                      <a:pt x="141" y="65"/>
                      <a:pt x="141" y="65"/>
                    </a:cubicBezTo>
                    <a:cubicBezTo>
                      <a:pt x="140" y="66"/>
                      <a:pt x="140" y="66"/>
                      <a:pt x="140" y="67"/>
                    </a:cubicBezTo>
                    <a:cubicBezTo>
                      <a:pt x="140" y="67"/>
                      <a:pt x="140" y="68"/>
                      <a:pt x="139" y="68"/>
                    </a:cubicBezTo>
                    <a:cubicBezTo>
                      <a:pt x="139" y="69"/>
                      <a:pt x="139" y="70"/>
                      <a:pt x="139" y="71"/>
                    </a:cubicBezTo>
                    <a:cubicBezTo>
                      <a:pt x="131" y="92"/>
                      <a:pt x="117" y="119"/>
                      <a:pt x="95" y="127"/>
                    </a:cubicBezTo>
                    <a:cubicBezTo>
                      <a:pt x="86" y="129"/>
                      <a:pt x="78" y="131"/>
                      <a:pt x="71" y="131"/>
                    </a:cubicBezTo>
                    <a:cubicBezTo>
                      <a:pt x="54" y="131"/>
                      <a:pt x="41" y="125"/>
                      <a:pt x="35" y="121"/>
                    </a:cubicBezTo>
                    <a:cubicBezTo>
                      <a:pt x="33" y="119"/>
                      <a:pt x="31" y="119"/>
                      <a:pt x="31" y="118"/>
                    </a:cubicBezTo>
                    <a:cubicBezTo>
                      <a:pt x="31" y="116"/>
                      <a:pt x="30" y="114"/>
                      <a:pt x="30" y="111"/>
                    </a:cubicBezTo>
                    <a:cubicBezTo>
                      <a:pt x="30" y="111"/>
                      <a:pt x="30" y="111"/>
                      <a:pt x="30" y="111"/>
                    </a:cubicBezTo>
                    <a:cubicBezTo>
                      <a:pt x="31" y="111"/>
                      <a:pt x="32" y="111"/>
                      <a:pt x="33" y="111"/>
                    </a:cubicBezTo>
                    <a:cubicBezTo>
                      <a:pt x="58" y="107"/>
                      <a:pt x="42" y="64"/>
                      <a:pt x="42" y="64"/>
                    </a:cubicBezTo>
                    <a:cubicBezTo>
                      <a:pt x="42" y="64"/>
                      <a:pt x="42" y="61"/>
                      <a:pt x="40" y="58"/>
                    </a:cubicBezTo>
                    <a:cubicBezTo>
                      <a:pt x="40" y="58"/>
                      <a:pt x="39" y="56"/>
                      <a:pt x="36" y="52"/>
                    </a:cubicBezTo>
                    <a:cubicBezTo>
                      <a:pt x="33" y="49"/>
                      <a:pt x="29" y="45"/>
                      <a:pt x="22" y="44"/>
                    </a:cubicBezTo>
                    <a:cubicBezTo>
                      <a:pt x="18" y="41"/>
                      <a:pt x="14" y="40"/>
                      <a:pt x="9" y="40"/>
                    </a:cubicBezTo>
                    <a:cubicBezTo>
                      <a:pt x="6" y="40"/>
                      <a:pt x="3" y="41"/>
                      <a:pt x="0" y="42"/>
                    </a:cubicBezTo>
                    <a:cubicBezTo>
                      <a:pt x="0" y="45"/>
                      <a:pt x="0" y="45"/>
                      <a:pt x="0" y="45"/>
                    </a:cubicBezTo>
                    <a:cubicBezTo>
                      <a:pt x="3" y="44"/>
                      <a:pt x="6" y="43"/>
                      <a:pt x="9" y="43"/>
                    </a:cubicBezTo>
                    <a:cubicBezTo>
                      <a:pt x="9" y="43"/>
                      <a:pt x="10" y="43"/>
                      <a:pt x="10" y="43"/>
                    </a:cubicBezTo>
                    <a:cubicBezTo>
                      <a:pt x="7" y="44"/>
                      <a:pt x="4" y="45"/>
                      <a:pt x="0" y="46"/>
                    </a:cubicBezTo>
                    <a:cubicBezTo>
                      <a:pt x="0" y="106"/>
                      <a:pt x="0" y="106"/>
                      <a:pt x="0" y="106"/>
                    </a:cubicBezTo>
                    <a:cubicBezTo>
                      <a:pt x="0" y="109"/>
                      <a:pt x="0" y="111"/>
                      <a:pt x="1" y="114"/>
                    </a:cubicBezTo>
                    <a:cubicBezTo>
                      <a:pt x="1" y="114"/>
                      <a:pt x="0" y="114"/>
                      <a:pt x="0" y="114"/>
                    </a:cubicBezTo>
                    <a:cubicBezTo>
                      <a:pt x="0" y="242"/>
                      <a:pt x="0" y="242"/>
                      <a:pt x="0" y="242"/>
                    </a:cubicBezTo>
                    <a:cubicBezTo>
                      <a:pt x="54" y="242"/>
                      <a:pt x="54" y="242"/>
                      <a:pt x="54" y="242"/>
                    </a:cubicBezTo>
                    <a:cubicBezTo>
                      <a:pt x="50" y="225"/>
                      <a:pt x="47" y="206"/>
                      <a:pt x="51" y="187"/>
                    </a:cubicBezTo>
                    <a:cubicBezTo>
                      <a:pt x="52" y="184"/>
                      <a:pt x="52" y="181"/>
                      <a:pt x="53" y="178"/>
                    </a:cubicBezTo>
                    <a:cubicBezTo>
                      <a:pt x="57" y="178"/>
                      <a:pt x="62" y="178"/>
                      <a:pt x="68" y="178"/>
                    </a:cubicBezTo>
                    <a:cubicBezTo>
                      <a:pt x="71" y="178"/>
                      <a:pt x="75" y="178"/>
                      <a:pt x="80" y="178"/>
                    </a:cubicBezTo>
                    <a:cubicBezTo>
                      <a:pt x="128" y="175"/>
                      <a:pt x="148" y="117"/>
                      <a:pt x="156" y="78"/>
                    </a:cubicBezTo>
                    <a:cubicBezTo>
                      <a:pt x="157" y="77"/>
                      <a:pt x="157" y="76"/>
                      <a:pt x="157" y="75"/>
                    </a:cubicBezTo>
                    <a:cubicBezTo>
                      <a:pt x="157" y="75"/>
                      <a:pt x="157" y="75"/>
                      <a:pt x="157" y="75"/>
                    </a:cubicBezTo>
                    <a:cubicBezTo>
                      <a:pt x="157" y="74"/>
                      <a:pt x="157" y="73"/>
                      <a:pt x="158" y="72"/>
                    </a:cubicBezTo>
                    <a:cubicBezTo>
                      <a:pt x="158" y="71"/>
                      <a:pt x="158" y="71"/>
                      <a:pt x="158" y="71"/>
                    </a:cubicBezTo>
                    <a:cubicBezTo>
                      <a:pt x="158" y="70"/>
                      <a:pt x="158" y="70"/>
                      <a:pt x="158" y="69"/>
                    </a:cubicBezTo>
                    <a:cubicBezTo>
                      <a:pt x="158" y="69"/>
                      <a:pt x="158" y="69"/>
                      <a:pt x="158" y="69"/>
                    </a:cubicBezTo>
                    <a:cubicBezTo>
                      <a:pt x="158" y="67"/>
                      <a:pt x="159" y="66"/>
                      <a:pt x="159" y="65"/>
                    </a:cubicBezTo>
                    <a:cubicBezTo>
                      <a:pt x="159" y="65"/>
                      <a:pt x="159" y="65"/>
                      <a:pt x="159" y="65"/>
                    </a:cubicBezTo>
                    <a:cubicBezTo>
                      <a:pt x="159" y="65"/>
                      <a:pt x="159" y="64"/>
                      <a:pt x="159" y="63"/>
                    </a:cubicBezTo>
                    <a:cubicBezTo>
                      <a:pt x="159" y="62"/>
                      <a:pt x="159" y="62"/>
                      <a:pt x="159" y="62"/>
                    </a:cubicBezTo>
                    <a:cubicBezTo>
                      <a:pt x="159" y="62"/>
                      <a:pt x="160" y="61"/>
                      <a:pt x="160" y="60"/>
                    </a:cubicBezTo>
                    <a:cubicBezTo>
                      <a:pt x="160" y="60"/>
                      <a:pt x="160" y="60"/>
                      <a:pt x="160" y="60"/>
                    </a:cubicBezTo>
                    <a:cubicBezTo>
                      <a:pt x="160" y="58"/>
                      <a:pt x="160" y="57"/>
                      <a:pt x="160" y="55"/>
                    </a:cubicBezTo>
                    <a:cubicBezTo>
                      <a:pt x="160" y="55"/>
                      <a:pt x="160" y="55"/>
                      <a:pt x="160" y="55"/>
                    </a:cubicBezTo>
                    <a:cubicBezTo>
                      <a:pt x="160" y="54"/>
                      <a:pt x="161" y="54"/>
                      <a:pt x="161" y="53"/>
                    </a:cubicBezTo>
                    <a:cubicBezTo>
                      <a:pt x="161" y="53"/>
                      <a:pt x="161" y="53"/>
                      <a:pt x="161" y="53"/>
                    </a:cubicBezTo>
                    <a:cubicBezTo>
                      <a:pt x="161" y="52"/>
                      <a:pt x="161" y="51"/>
                      <a:pt x="161" y="50"/>
                    </a:cubicBezTo>
                    <a:cubicBezTo>
                      <a:pt x="161" y="50"/>
                      <a:pt x="161" y="50"/>
                      <a:pt x="161" y="50"/>
                    </a:cubicBezTo>
                    <a:cubicBezTo>
                      <a:pt x="161" y="49"/>
                      <a:pt x="161" y="49"/>
                      <a:pt x="161" y="48"/>
                    </a:cubicBezTo>
                    <a:cubicBezTo>
                      <a:pt x="161" y="48"/>
                      <a:pt x="161" y="48"/>
                      <a:pt x="161" y="48"/>
                    </a:cubicBezTo>
                    <a:cubicBezTo>
                      <a:pt x="161" y="48"/>
                      <a:pt x="161" y="47"/>
                      <a:pt x="161" y="47"/>
                    </a:cubicBezTo>
                    <a:cubicBezTo>
                      <a:pt x="161" y="46"/>
                      <a:pt x="161" y="46"/>
                      <a:pt x="161" y="46"/>
                    </a:cubicBezTo>
                    <a:cubicBezTo>
                      <a:pt x="161" y="46"/>
                      <a:pt x="161" y="46"/>
                      <a:pt x="161" y="46"/>
                    </a:cubicBezTo>
                    <a:cubicBezTo>
                      <a:pt x="161" y="46"/>
                      <a:pt x="161" y="46"/>
                      <a:pt x="161" y="46"/>
                    </a:cubicBezTo>
                    <a:cubicBezTo>
                      <a:pt x="161" y="46"/>
                      <a:pt x="161" y="46"/>
                      <a:pt x="161" y="46"/>
                    </a:cubicBezTo>
                    <a:cubicBezTo>
                      <a:pt x="166" y="42"/>
                      <a:pt x="170" y="39"/>
                      <a:pt x="172" y="36"/>
                    </a:cubicBezTo>
                    <a:cubicBezTo>
                      <a:pt x="172" y="12"/>
                      <a:pt x="172" y="12"/>
                      <a:pt x="172" y="12"/>
                    </a:cubicBezTo>
                    <a:cubicBezTo>
                      <a:pt x="168" y="15"/>
                      <a:pt x="168" y="15"/>
                      <a:pt x="168" y="15"/>
                    </a:cubicBezTo>
                    <a:cubicBezTo>
                      <a:pt x="164" y="12"/>
                      <a:pt x="158" y="11"/>
                      <a:pt x="155" y="11"/>
                    </a:cubicBezTo>
                    <a:moveTo>
                      <a:pt x="192" y="0"/>
                    </a:moveTo>
                    <a:cubicBezTo>
                      <a:pt x="191" y="0"/>
                      <a:pt x="191" y="0"/>
                      <a:pt x="191" y="0"/>
                    </a:cubicBezTo>
                    <a:cubicBezTo>
                      <a:pt x="187" y="0"/>
                      <a:pt x="185" y="5"/>
                      <a:pt x="185" y="5"/>
                    </a:cubicBezTo>
                    <a:cubicBezTo>
                      <a:pt x="177" y="9"/>
                      <a:pt x="177" y="9"/>
                      <a:pt x="177" y="9"/>
                    </a:cubicBezTo>
                    <a:cubicBezTo>
                      <a:pt x="177" y="16"/>
                      <a:pt x="177" y="16"/>
                      <a:pt x="177" y="16"/>
                    </a:cubicBezTo>
                    <a:cubicBezTo>
                      <a:pt x="188" y="9"/>
                      <a:pt x="188" y="9"/>
                      <a:pt x="188" y="9"/>
                    </a:cubicBezTo>
                    <a:cubicBezTo>
                      <a:pt x="188" y="9"/>
                      <a:pt x="191" y="8"/>
                      <a:pt x="195" y="8"/>
                    </a:cubicBezTo>
                    <a:cubicBezTo>
                      <a:pt x="197" y="8"/>
                      <a:pt x="198" y="6"/>
                      <a:pt x="199" y="4"/>
                    </a:cubicBezTo>
                    <a:cubicBezTo>
                      <a:pt x="199" y="4"/>
                      <a:pt x="198" y="4"/>
                      <a:pt x="198" y="4"/>
                    </a:cubicBezTo>
                    <a:cubicBezTo>
                      <a:pt x="195" y="4"/>
                      <a:pt x="193" y="3"/>
                      <a:pt x="192" y="0"/>
                    </a:cubicBezTo>
                    <a:cubicBezTo>
                      <a:pt x="192" y="0"/>
                      <a:pt x="192" y="0"/>
                      <a:pt x="192" y="0"/>
                    </a:cubicBezTo>
                  </a:path>
                </a:pathLst>
              </a:custGeom>
              <a:solidFill>
                <a:srgbClr val="EAEAEB">
                  <a:alpha val="23000"/>
                </a:srgbClr>
              </a:solidFill>
              <a:ln>
                <a:noFill/>
              </a:ln>
            </p:spPr>
            <p:txBody>
              <a:bodyPr anchor="ctr"/>
              <a:lstStyle/>
              <a:p>
                <a:pPr algn="ctr"/>
                <a:endParaRPr/>
              </a:p>
            </p:txBody>
          </p:sp>
          <p:sp>
            <p:nvSpPr>
              <p:cNvPr id="1011" name="î$ľídé">
                <a:extLst>
                  <a:ext uri="{FF2B5EF4-FFF2-40B4-BE49-F238E27FC236}">
                    <a16:creationId xmlns:a16="http://schemas.microsoft.com/office/drawing/2014/main" id="{D303ADB6-C41E-7645-8188-4EFCB2C2AC2B}"/>
                  </a:ext>
                </a:extLst>
              </p:cNvPr>
              <p:cNvSpPr/>
              <p:nvPr/>
            </p:nvSpPr>
            <p:spPr bwMode="auto">
              <a:xfrm>
                <a:off x="4848226" y="2309813"/>
                <a:ext cx="30163" cy="163513"/>
              </a:xfrm>
              <a:custGeom>
                <a:avLst/>
                <a:gdLst>
                  <a:gd name="T0" fmla="*/ 5 w 5"/>
                  <a:gd name="T1" fmla="*/ 0 h 27"/>
                  <a:gd name="T2" fmla="*/ 0 w 5"/>
                  <a:gd name="T3" fmla="*/ 3 h 27"/>
                  <a:gd name="T4" fmla="*/ 0 w 5"/>
                  <a:gd name="T5" fmla="*/ 27 h 27"/>
                  <a:gd name="T6" fmla="*/ 1 w 5"/>
                  <a:gd name="T7" fmla="*/ 26 h 27"/>
                  <a:gd name="T8" fmla="*/ 4 w 5"/>
                  <a:gd name="T9" fmla="*/ 17 h 27"/>
                  <a:gd name="T10" fmla="*/ 4 w 5"/>
                  <a:gd name="T11" fmla="*/ 16 h 27"/>
                  <a:gd name="T12" fmla="*/ 3 w 5"/>
                  <a:gd name="T13" fmla="*/ 13 h 27"/>
                  <a:gd name="T14" fmla="*/ 3 w 5"/>
                  <a:gd name="T15" fmla="*/ 12 h 27"/>
                  <a:gd name="T16" fmla="*/ 1 w 5"/>
                  <a:gd name="T17" fmla="*/ 9 h 27"/>
                  <a:gd name="T18" fmla="*/ 5 w 5"/>
                  <a:gd name="T19" fmla="*/ 7 h 27"/>
                  <a:gd name="T20" fmla="*/ 5 w 5"/>
                  <a:gd name="T2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27">
                    <a:moveTo>
                      <a:pt x="5" y="0"/>
                    </a:moveTo>
                    <a:cubicBezTo>
                      <a:pt x="0" y="3"/>
                      <a:pt x="0" y="3"/>
                      <a:pt x="0" y="3"/>
                    </a:cubicBezTo>
                    <a:cubicBezTo>
                      <a:pt x="0" y="27"/>
                      <a:pt x="0" y="27"/>
                      <a:pt x="0" y="27"/>
                    </a:cubicBezTo>
                    <a:cubicBezTo>
                      <a:pt x="0" y="26"/>
                      <a:pt x="0" y="26"/>
                      <a:pt x="1" y="26"/>
                    </a:cubicBezTo>
                    <a:cubicBezTo>
                      <a:pt x="3" y="23"/>
                      <a:pt x="4" y="20"/>
                      <a:pt x="4" y="17"/>
                    </a:cubicBezTo>
                    <a:cubicBezTo>
                      <a:pt x="4" y="17"/>
                      <a:pt x="4" y="16"/>
                      <a:pt x="4" y="16"/>
                    </a:cubicBezTo>
                    <a:cubicBezTo>
                      <a:pt x="4" y="15"/>
                      <a:pt x="4" y="14"/>
                      <a:pt x="3" y="13"/>
                    </a:cubicBezTo>
                    <a:cubicBezTo>
                      <a:pt x="3" y="12"/>
                      <a:pt x="3" y="12"/>
                      <a:pt x="3" y="12"/>
                    </a:cubicBezTo>
                    <a:cubicBezTo>
                      <a:pt x="2" y="11"/>
                      <a:pt x="2" y="10"/>
                      <a:pt x="1" y="9"/>
                    </a:cubicBezTo>
                    <a:cubicBezTo>
                      <a:pt x="5" y="7"/>
                      <a:pt x="5" y="7"/>
                      <a:pt x="5" y="7"/>
                    </a:cubicBezTo>
                    <a:cubicBezTo>
                      <a:pt x="5" y="0"/>
                      <a:pt x="5" y="0"/>
                      <a:pt x="5" y="0"/>
                    </a:cubicBezTo>
                  </a:path>
                </a:pathLst>
              </a:custGeom>
              <a:solidFill>
                <a:srgbClr val="D8CF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2" name="íśľidê">
                <a:extLst>
                  <a:ext uri="{FF2B5EF4-FFF2-40B4-BE49-F238E27FC236}">
                    <a16:creationId xmlns:a16="http://schemas.microsoft.com/office/drawing/2014/main" id="{A196466F-20F1-F14F-B233-1710DF7EE942}"/>
                  </a:ext>
                </a:extLst>
              </p:cNvPr>
              <p:cNvSpPr/>
              <p:nvPr/>
            </p:nvSpPr>
            <p:spPr bwMode="auto">
              <a:xfrm>
                <a:off x="4970463" y="2243138"/>
                <a:ext cx="47625" cy="36513"/>
              </a:xfrm>
              <a:custGeom>
                <a:avLst/>
                <a:gdLst>
                  <a:gd name="T0" fmla="*/ 8 w 8"/>
                  <a:gd name="T1" fmla="*/ 0 h 6"/>
                  <a:gd name="T2" fmla="*/ 4 w 8"/>
                  <a:gd name="T3" fmla="*/ 3 h 6"/>
                  <a:gd name="T4" fmla="*/ 2 w 8"/>
                  <a:gd name="T5" fmla="*/ 2 h 6"/>
                  <a:gd name="T6" fmla="*/ 0 w 8"/>
                  <a:gd name="T7" fmla="*/ 2 h 6"/>
                  <a:gd name="T8" fmla="*/ 6 w 8"/>
                  <a:gd name="T9" fmla="*/ 6 h 6"/>
                  <a:gd name="T10" fmla="*/ 7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cubicBezTo>
                      <a:pt x="7" y="2"/>
                      <a:pt x="6" y="3"/>
                      <a:pt x="4" y="3"/>
                    </a:cubicBezTo>
                    <a:cubicBezTo>
                      <a:pt x="4" y="3"/>
                      <a:pt x="3" y="3"/>
                      <a:pt x="2" y="2"/>
                    </a:cubicBezTo>
                    <a:cubicBezTo>
                      <a:pt x="2" y="2"/>
                      <a:pt x="1" y="2"/>
                      <a:pt x="0" y="2"/>
                    </a:cubicBezTo>
                    <a:cubicBezTo>
                      <a:pt x="1" y="5"/>
                      <a:pt x="3" y="6"/>
                      <a:pt x="6" y="6"/>
                    </a:cubicBezTo>
                    <a:cubicBezTo>
                      <a:pt x="6" y="6"/>
                      <a:pt x="7" y="6"/>
                      <a:pt x="7" y="6"/>
                    </a:cubicBezTo>
                    <a:cubicBezTo>
                      <a:pt x="8" y="3"/>
                      <a:pt x="8" y="0"/>
                      <a:pt x="8" y="0"/>
                    </a:cubicBezTo>
                  </a:path>
                </a:pathLst>
              </a:custGeom>
              <a:solidFill>
                <a:srgbClr val="DC609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3" name="išľîḓe">
                <a:extLst>
                  <a:ext uri="{FF2B5EF4-FFF2-40B4-BE49-F238E27FC236}">
                    <a16:creationId xmlns:a16="http://schemas.microsoft.com/office/drawing/2014/main" id="{63B8A48C-F8F2-B74F-8777-C0AD5CD7C9F2}"/>
                  </a:ext>
                </a:extLst>
              </p:cNvPr>
              <p:cNvSpPr/>
              <p:nvPr/>
            </p:nvSpPr>
            <p:spPr bwMode="auto">
              <a:xfrm>
                <a:off x="3822701" y="2303463"/>
                <a:ext cx="1141413" cy="1042988"/>
              </a:xfrm>
              <a:custGeom>
                <a:avLst/>
                <a:gdLst>
                  <a:gd name="T0" fmla="*/ 22 w 188"/>
                  <a:gd name="T1" fmla="*/ 108 h 172"/>
                  <a:gd name="T2" fmla="*/ 87 w 188"/>
                  <a:gd name="T3" fmla="*/ 117 h 172"/>
                  <a:gd name="T4" fmla="*/ 140 w 188"/>
                  <a:gd name="T5" fmla="*/ 33 h 172"/>
                  <a:gd name="T6" fmla="*/ 140 w 188"/>
                  <a:gd name="T7" fmla="*/ 14 h 172"/>
                  <a:gd name="T8" fmla="*/ 146 w 188"/>
                  <a:gd name="T9" fmla="*/ 1 h 172"/>
                  <a:gd name="T10" fmla="*/ 154 w 188"/>
                  <a:gd name="T11" fmla="*/ 36 h 172"/>
                  <a:gd name="T12" fmla="*/ 72 w 188"/>
                  <a:gd name="T13" fmla="*/ 168 h 172"/>
                  <a:gd name="T14" fmla="*/ 13 w 188"/>
                  <a:gd name="T15" fmla="*/ 136 h 172"/>
                  <a:gd name="T16" fmla="*/ 22 w 188"/>
                  <a:gd name="T17" fmla="*/ 10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172">
                    <a:moveTo>
                      <a:pt x="22" y="108"/>
                    </a:moveTo>
                    <a:cubicBezTo>
                      <a:pt x="22" y="108"/>
                      <a:pt x="50" y="129"/>
                      <a:pt x="87" y="117"/>
                    </a:cubicBezTo>
                    <a:cubicBezTo>
                      <a:pt x="125" y="104"/>
                      <a:pt x="140" y="33"/>
                      <a:pt x="140" y="33"/>
                    </a:cubicBezTo>
                    <a:cubicBezTo>
                      <a:pt x="140" y="33"/>
                      <a:pt x="131" y="19"/>
                      <a:pt x="140" y="14"/>
                    </a:cubicBezTo>
                    <a:cubicBezTo>
                      <a:pt x="140" y="14"/>
                      <a:pt x="138" y="2"/>
                      <a:pt x="146" y="1"/>
                    </a:cubicBezTo>
                    <a:cubicBezTo>
                      <a:pt x="155" y="0"/>
                      <a:pt x="188" y="10"/>
                      <a:pt x="154" y="36"/>
                    </a:cubicBezTo>
                    <a:cubicBezTo>
                      <a:pt x="154" y="36"/>
                      <a:pt x="145" y="163"/>
                      <a:pt x="72" y="168"/>
                    </a:cubicBezTo>
                    <a:cubicBezTo>
                      <a:pt x="0" y="172"/>
                      <a:pt x="13" y="136"/>
                      <a:pt x="13" y="136"/>
                    </a:cubicBezTo>
                    <a:lnTo>
                      <a:pt x="22" y="108"/>
                    </a:lnTo>
                    <a:close/>
                  </a:path>
                </a:pathLst>
              </a:custGeom>
              <a:solidFill>
                <a:srgbClr val="00A49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4" name="ïṩliḓe">
                <a:extLst>
                  <a:ext uri="{FF2B5EF4-FFF2-40B4-BE49-F238E27FC236}">
                    <a16:creationId xmlns:a16="http://schemas.microsoft.com/office/drawing/2014/main" id="{A11E7C33-D269-4D4B-B3CF-1727785398D4}"/>
                  </a:ext>
                </a:extLst>
              </p:cNvPr>
              <p:cNvSpPr/>
              <p:nvPr/>
            </p:nvSpPr>
            <p:spPr bwMode="auto">
              <a:xfrm>
                <a:off x="4618038" y="2303463"/>
                <a:ext cx="346075" cy="412750"/>
              </a:xfrm>
              <a:custGeom>
                <a:avLst/>
                <a:gdLst>
                  <a:gd name="T0" fmla="*/ 15 w 57"/>
                  <a:gd name="T1" fmla="*/ 1 h 68"/>
                  <a:gd name="T2" fmla="*/ 9 w 57"/>
                  <a:gd name="T3" fmla="*/ 14 h 68"/>
                  <a:gd name="T4" fmla="*/ 9 w 57"/>
                  <a:gd name="T5" fmla="*/ 33 h 68"/>
                  <a:gd name="T6" fmla="*/ 0 w 57"/>
                  <a:gd name="T7" fmla="*/ 63 h 68"/>
                  <a:gd name="T8" fmla="*/ 18 w 57"/>
                  <a:gd name="T9" fmla="*/ 68 h 68"/>
                  <a:gd name="T10" fmla="*/ 23 w 57"/>
                  <a:gd name="T11" fmla="*/ 36 h 68"/>
                  <a:gd name="T12" fmla="*/ 15 w 57"/>
                  <a:gd name="T13" fmla="*/ 1 h 68"/>
                </a:gdLst>
                <a:ahLst/>
                <a:cxnLst>
                  <a:cxn ang="0">
                    <a:pos x="T0" y="T1"/>
                  </a:cxn>
                  <a:cxn ang="0">
                    <a:pos x="T2" y="T3"/>
                  </a:cxn>
                  <a:cxn ang="0">
                    <a:pos x="T4" y="T5"/>
                  </a:cxn>
                  <a:cxn ang="0">
                    <a:pos x="T6" y="T7"/>
                  </a:cxn>
                  <a:cxn ang="0">
                    <a:pos x="T8" y="T9"/>
                  </a:cxn>
                  <a:cxn ang="0">
                    <a:pos x="T10" y="T11"/>
                  </a:cxn>
                  <a:cxn ang="0">
                    <a:pos x="T12" y="T13"/>
                  </a:cxn>
                </a:cxnLst>
                <a:rect l="0" t="0" r="r" b="b"/>
                <a:pathLst>
                  <a:path w="57" h="68">
                    <a:moveTo>
                      <a:pt x="15" y="1"/>
                    </a:moveTo>
                    <a:cubicBezTo>
                      <a:pt x="7" y="2"/>
                      <a:pt x="9" y="14"/>
                      <a:pt x="9" y="14"/>
                    </a:cubicBezTo>
                    <a:cubicBezTo>
                      <a:pt x="0" y="19"/>
                      <a:pt x="9" y="33"/>
                      <a:pt x="9" y="33"/>
                    </a:cubicBezTo>
                    <a:cubicBezTo>
                      <a:pt x="9" y="33"/>
                      <a:pt x="6" y="47"/>
                      <a:pt x="0" y="63"/>
                    </a:cubicBezTo>
                    <a:cubicBezTo>
                      <a:pt x="6" y="65"/>
                      <a:pt x="12" y="67"/>
                      <a:pt x="18" y="68"/>
                    </a:cubicBezTo>
                    <a:cubicBezTo>
                      <a:pt x="22" y="50"/>
                      <a:pt x="23" y="36"/>
                      <a:pt x="23" y="36"/>
                    </a:cubicBezTo>
                    <a:cubicBezTo>
                      <a:pt x="57" y="10"/>
                      <a:pt x="24" y="0"/>
                      <a:pt x="15" y="1"/>
                    </a:cubicBezTo>
                    <a:close/>
                  </a:path>
                </a:pathLst>
              </a:custGeom>
              <a:solidFill>
                <a:srgbClr val="F4EED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5" name="isḷídê">
                <a:extLst>
                  <a:ext uri="{FF2B5EF4-FFF2-40B4-BE49-F238E27FC236}">
                    <a16:creationId xmlns:a16="http://schemas.microsoft.com/office/drawing/2014/main" id="{9B4381AF-082E-864E-81B4-5CC3A5BEF3FF}"/>
                  </a:ext>
                </a:extLst>
              </p:cNvPr>
              <p:cNvSpPr/>
              <p:nvPr/>
            </p:nvSpPr>
            <p:spPr bwMode="auto">
              <a:xfrm>
                <a:off x="3313113" y="2595563"/>
                <a:ext cx="388938" cy="1012825"/>
              </a:xfrm>
              <a:custGeom>
                <a:avLst/>
                <a:gdLst>
                  <a:gd name="T0" fmla="*/ 36 w 64"/>
                  <a:gd name="T1" fmla="*/ 3 h 167"/>
                  <a:gd name="T2" fmla="*/ 21 w 64"/>
                  <a:gd name="T3" fmla="*/ 20 h 167"/>
                  <a:gd name="T4" fmla="*/ 24 w 64"/>
                  <a:gd name="T5" fmla="*/ 44 h 167"/>
                  <a:gd name="T6" fmla="*/ 8 w 64"/>
                  <a:gd name="T7" fmla="*/ 74 h 167"/>
                  <a:gd name="T8" fmla="*/ 4 w 64"/>
                  <a:gd name="T9" fmla="*/ 111 h 167"/>
                  <a:gd name="T10" fmla="*/ 18 w 64"/>
                  <a:gd name="T11" fmla="*/ 138 h 167"/>
                  <a:gd name="T12" fmla="*/ 17 w 64"/>
                  <a:gd name="T13" fmla="*/ 167 h 167"/>
                  <a:gd name="T14" fmla="*/ 54 w 64"/>
                  <a:gd name="T15" fmla="*/ 134 h 167"/>
                  <a:gd name="T16" fmla="*/ 57 w 64"/>
                  <a:gd name="T17" fmla="*/ 85 h 167"/>
                  <a:gd name="T18" fmla="*/ 51 w 64"/>
                  <a:gd name="T19" fmla="*/ 51 h 167"/>
                  <a:gd name="T20" fmla="*/ 53 w 64"/>
                  <a:gd name="T21" fmla="*/ 42 h 167"/>
                  <a:gd name="T22" fmla="*/ 50 w 64"/>
                  <a:gd name="T23" fmla="*/ 28 h 167"/>
                  <a:gd name="T24" fmla="*/ 49 w 64"/>
                  <a:gd name="T25" fmla="*/ 14 h 167"/>
                  <a:gd name="T26" fmla="*/ 54 w 64"/>
                  <a:gd name="T27" fmla="*/ 11 h 167"/>
                  <a:gd name="T28" fmla="*/ 60 w 64"/>
                  <a:gd name="T29" fmla="*/ 10 h 167"/>
                  <a:gd name="T30" fmla="*/ 58 w 64"/>
                  <a:gd name="T31" fmla="*/ 3 h 167"/>
                  <a:gd name="T32" fmla="*/ 36 w 64"/>
                  <a:gd name="T33" fmla="*/ 3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167">
                    <a:moveTo>
                      <a:pt x="36" y="3"/>
                    </a:moveTo>
                    <a:cubicBezTo>
                      <a:pt x="29" y="6"/>
                      <a:pt x="22" y="12"/>
                      <a:pt x="21" y="20"/>
                    </a:cubicBezTo>
                    <a:cubicBezTo>
                      <a:pt x="20" y="28"/>
                      <a:pt x="25" y="36"/>
                      <a:pt x="24" y="44"/>
                    </a:cubicBezTo>
                    <a:cubicBezTo>
                      <a:pt x="24" y="55"/>
                      <a:pt x="14" y="64"/>
                      <a:pt x="8" y="74"/>
                    </a:cubicBezTo>
                    <a:cubicBezTo>
                      <a:pt x="2" y="85"/>
                      <a:pt x="0" y="99"/>
                      <a:pt x="4" y="111"/>
                    </a:cubicBezTo>
                    <a:cubicBezTo>
                      <a:pt x="8" y="121"/>
                      <a:pt x="14" y="129"/>
                      <a:pt x="18" y="138"/>
                    </a:cubicBezTo>
                    <a:cubicBezTo>
                      <a:pt x="22" y="147"/>
                      <a:pt x="24" y="159"/>
                      <a:pt x="17" y="167"/>
                    </a:cubicBezTo>
                    <a:cubicBezTo>
                      <a:pt x="33" y="162"/>
                      <a:pt x="47" y="149"/>
                      <a:pt x="54" y="134"/>
                    </a:cubicBezTo>
                    <a:cubicBezTo>
                      <a:pt x="61" y="119"/>
                      <a:pt x="62" y="101"/>
                      <a:pt x="57" y="85"/>
                    </a:cubicBezTo>
                    <a:cubicBezTo>
                      <a:pt x="53" y="74"/>
                      <a:pt x="48" y="62"/>
                      <a:pt x="51" y="51"/>
                    </a:cubicBezTo>
                    <a:cubicBezTo>
                      <a:pt x="51" y="48"/>
                      <a:pt x="53" y="45"/>
                      <a:pt x="53" y="42"/>
                    </a:cubicBezTo>
                    <a:cubicBezTo>
                      <a:pt x="54" y="38"/>
                      <a:pt x="52" y="33"/>
                      <a:pt x="50" y="28"/>
                    </a:cubicBezTo>
                    <a:cubicBezTo>
                      <a:pt x="48" y="24"/>
                      <a:pt x="47" y="19"/>
                      <a:pt x="49" y="14"/>
                    </a:cubicBezTo>
                    <a:cubicBezTo>
                      <a:pt x="50" y="13"/>
                      <a:pt x="52" y="11"/>
                      <a:pt x="54" y="11"/>
                    </a:cubicBezTo>
                    <a:cubicBezTo>
                      <a:pt x="56" y="10"/>
                      <a:pt x="59" y="11"/>
                      <a:pt x="60" y="10"/>
                    </a:cubicBezTo>
                    <a:cubicBezTo>
                      <a:pt x="64" y="9"/>
                      <a:pt x="61" y="5"/>
                      <a:pt x="58" y="3"/>
                    </a:cubicBezTo>
                    <a:cubicBezTo>
                      <a:pt x="53" y="0"/>
                      <a:pt x="42" y="1"/>
                      <a:pt x="36" y="3"/>
                    </a:cubicBezTo>
                    <a:close/>
                  </a:path>
                </a:pathLst>
              </a:custGeom>
              <a:solidFill>
                <a:srgbClr val="0E0E1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6" name="íṧḷïďê">
                <a:extLst>
                  <a:ext uri="{FF2B5EF4-FFF2-40B4-BE49-F238E27FC236}">
                    <a16:creationId xmlns:a16="http://schemas.microsoft.com/office/drawing/2014/main" id="{469CB137-66CC-4046-99D8-D5D6AA2C4B38}"/>
                  </a:ext>
                </a:extLst>
              </p:cNvPr>
              <p:cNvSpPr/>
              <p:nvPr/>
            </p:nvSpPr>
            <p:spPr bwMode="auto">
              <a:xfrm>
                <a:off x="3695701" y="5457825"/>
                <a:ext cx="273050" cy="169863"/>
              </a:xfrm>
              <a:custGeom>
                <a:avLst/>
                <a:gdLst>
                  <a:gd name="T0" fmla="*/ 3 w 45"/>
                  <a:gd name="T1" fmla="*/ 0 h 28"/>
                  <a:gd name="T2" fmla="*/ 2 w 45"/>
                  <a:gd name="T3" fmla="*/ 8 h 28"/>
                  <a:gd name="T4" fmla="*/ 0 w 45"/>
                  <a:gd name="T5" fmla="*/ 18 h 28"/>
                  <a:gd name="T6" fmla="*/ 41 w 45"/>
                  <a:gd name="T7" fmla="*/ 28 h 28"/>
                  <a:gd name="T8" fmla="*/ 44 w 45"/>
                  <a:gd name="T9" fmla="*/ 24 h 28"/>
                  <a:gd name="T10" fmla="*/ 36 w 45"/>
                  <a:gd name="T11" fmla="*/ 16 h 28"/>
                  <a:gd name="T12" fmla="*/ 20 w 45"/>
                  <a:gd name="T13" fmla="*/ 5 h 28"/>
                  <a:gd name="T14" fmla="*/ 3 w 45"/>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28">
                    <a:moveTo>
                      <a:pt x="3" y="0"/>
                    </a:moveTo>
                    <a:cubicBezTo>
                      <a:pt x="2" y="8"/>
                      <a:pt x="2" y="8"/>
                      <a:pt x="2" y="8"/>
                    </a:cubicBezTo>
                    <a:cubicBezTo>
                      <a:pt x="0" y="18"/>
                      <a:pt x="0" y="18"/>
                      <a:pt x="0" y="18"/>
                    </a:cubicBezTo>
                    <a:cubicBezTo>
                      <a:pt x="41" y="28"/>
                      <a:pt x="41" y="28"/>
                      <a:pt x="41" y="28"/>
                    </a:cubicBezTo>
                    <a:cubicBezTo>
                      <a:pt x="44" y="28"/>
                      <a:pt x="45" y="26"/>
                      <a:pt x="44" y="24"/>
                    </a:cubicBezTo>
                    <a:cubicBezTo>
                      <a:pt x="42" y="21"/>
                      <a:pt x="39" y="18"/>
                      <a:pt x="36" y="16"/>
                    </a:cubicBezTo>
                    <a:cubicBezTo>
                      <a:pt x="29" y="10"/>
                      <a:pt x="20" y="5"/>
                      <a:pt x="20" y="5"/>
                    </a:cubicBezTo>
                    <a:lnTo>
                      <a:pt x="3" y="0"/>
                    </a:lnTo>
                    <a:close/>
                  </a:path>
                </a:pathLst>
              </a:custGeom>
              <a:solidFill>
                <a:srgbClr val="00A49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7" name="íṥḷïḋè">
                <a:extLst>
                  <a:ext uri="{FF2B5EF4-FFF2-40B4-BE49-F238E27FC236}">
                    <a16:creationId xmlns:a16="http://schemas.microsoft.com/office/drawing/2014/main" id="{8EBD469E-095C-954C-94D4-196E39F2D01A}"/>
                  </a:ext>
                </a:extLst>
              </p:cNvPr>
              <p:cNvSpPr/>
              <p:nvPr/>
            </p:nvSpPr>
            <p:spPr bwMode="auto">
              <a:xfrm>
                <a:off x="4144963" y="5457825"/>
                <a:ext cx="285750" cy="109538"/>
              </a:xfrm>
              <a:custGeom>
                <a:avLst/>
                <a:gdLst>
                  <a:gd name="T0" fmla="*/ 0 w 47"/>
                  <a:gd name="T1" fmla="*/ 0 h 18"/>
                  <a:gd name="T2" fmla="*/ 1 w 47"/>
                  <a:gd name="T3" fmla="*/ 8 h 18"/>
                  <a:gd name="T4" fmla="*/ 1 w 47"/>
                  <a:gd name="T5" fmla="*/ 18 h 18"/>
                  <a:gd name="T6" fmla="*/ 43 w 47"/>
                  <a:gd name="T7" fmla="*/ 18 h 18"/>
                  <a:gd name="T8" fmla="*/ 45 w 47"/>
                  <a:gd name="T9" fmla="*/ 14 h 18"/>
                  <a:gd name="T10" fmla="*/ 36 w 47"/>
                  <a:gd name="T11" fmla="*/ 8 h 18"/>
                  <a:gd name="T12" fmla="*/ 18 w 47"/>
                  <a:gd name="T13" fmla="*/ 1 h 18"/>
                  <a:gd name="T14" fmla="*/ 0 w 47"/>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18">
                    <a:moveTo>
                      <a:pt x="0" y="0"/>
                    </a:moveTo>
                    <a:cubicBezTo>
                      <a:pt x="1" y="8"/>
                      <a:pt x="1" y="8"/>
                      <a:pt x="1" y="8"/>
                    </a:cubicBezTo>
                    <a:cubicBezTo>
                      <a:pt x="1" y="18"/>
                      <a:pt x="1" y="18"/>
                      <a:pt x="1" y="18"/>
                    </a:cubicBezTo>
                    <a:cubicBezTo>
                      <a:pt x="43" y="18"/>
                      <a:pt x="43" y="18"/>
                      <a:pt x="43" y="18"/>
                    </a:cubicBezTo>
                    <a:cubicBezTo>
                      <a:pt x="46" y="18"/>
                      <a:pt x="47" y="16"/>
                      <a:pt x="45" y="14"/>
                    </a:cubicBezTo>
                    <a:cubicBezTo>
                      <a:pt x="43" y="12"/>
                      <a:pt x="39" y="10"/>
                      <a:pt x="36" y="8"/>
                    </a:cubicBezTo>
                    <a:cubicBezTo>
                      <a:pt x="27" y="4"/>
                      <a:pt x="18" y="1"/>
                      <a:pt x="18" y="1"/>
                    </a:cubicBezTo>
                    <a:lnTo>
                      <a:pt x="0" y="0"/>
                    </a:lnTo>
                    <a:close/>
                  </a:path>
                </a:pathLst>
              </a:custGeom>
              <a:solidFill>
                <a:srgbClr val="00A49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8" name="iSḷíḋé">
                <a:extLst>
                  <a:ext uri="{FF2B5EF4-FFF2-40B4-BE49-F238E27FC236}">
                    <a16:creationId xmlns:a16="http://schemas.microsoft.com/office/drawing/2014/main" id="{A3C0B6B4-989A-3B47-BC2D-A4AA7A03E5B1}"/>
                  </a:ext>
                </a:extLst>
              </p:cNvPr>
              <p:cNvSpPr/>
              <p:nvPr/>
            </p:nvSpPr>
            <p:spPr bwMode="auto">
              <a:xfrm>
                <a:off x="3671888" y="3825875"/>
                <a:ext cx="679450" cy="1668463"/>
              </a:xfrm>
              <a:custGeom>
                <a:avLst/>
                <a:gdLst>
                  <a:gd name="T0" fmla="*/ 5 w 112"/>
                  <a:gd name="T1" fmla="*/ 14 h 275"/>
                  <a:gd name="T2" fmla="*/ 14 w 112"/>
                  <a:gd name="T3" fmla="*/ 138 h 275"/>
                  <a:gd name="T4" fmla="*/ 5 w 112"/>
                  <a:gd name="T5" fmla="*/ 272 h 275"/>
                  <a:gd name="T6" fmla="*/ 28 w 112"/>
                  <a:gd name="T7" fmla="*/ 275 h 275"/>
                  <a:gd name="T8" fmla="*/ 58 w 112"/>
                  <a:gd name="T9" fmla="*/ 165 h 275"/>
                  <a:gd name="T10" fmla="*/ 58 w 112"/>
                  <a:gd name="T11" fmla="*/ 84 h 275"/>
                  <a:gd name="T12" fmla="*/ 78 w 112"/>
                  <a:gd name="T13" fmla="*/ 150 h 275"/>
                  <a:gd name="T14" fmla="*/ 76 w 112"/>
                  <a:gd name="T15" fmla="*/ 270 h 275"/>
                  <a:gd name="T16" fmla="*/ 98 w 112"/>
                  <a:gd name="T17" fmla="*/ 270 h 275"/>
                  <a:gd name="T18" fmla="*/ 112 w 112"/>
                  <a:gd name="T19" fmla="*/ 138 h 275"/>
                  <a:gd name="T20" fmla="*/ 82 w 112"/>
                  <a:gd name="T21" fmla="*/ 0 h 275"/>
                  <a:gd name="T22" fmla="*/ 5 w 112"/>
                  <a:gd name="T23" fmla="*/ 14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 h="275">
                    <a:moveTo>
                      <a:pt x="5" y="14"/>
                    </a:moveTo>
                    <a:cubicBezTo>
                      <a:pt x="5" y="14"/>
                      <a:pt x="0" y="80"/>
                      <a:pt x="14" y="138"/>
                    </a:cubicBezTo>
                    <a:cubicBezTo>
                      <a:pt x="5" y="272"/>
                      <a:pt x="5" y="272"/>
                      <a:pt x="5" y="272"/>
                    </a:cubicBezTo>
                    <a:cubicBezTo>
                      <a:pt x="28" y="275"/>
                      <a:pt x="28" y="275"/>
                      <a:pt x="28" y="275"/>
                    </a:cubicBezTo>
                    <a:cubicBezTo>
                      <a:pt x="28" y="275"/>
                      <a:pt x="51" y="186"/>
                      <a:pt x="58" y="165"/>
                    </a:cubicBezTo>
                    <a:cubicBezTo>
                      <a:pt x="66" y="142"/>
                      <a:pt x="58" y="84"/>
                      <a:pt x="58" y="84"/>
                    </a:cubicBezTo>
                    <a:cubicBezTo>
                      <a:pt x="58" y="84"/>
                      <a:pt x="78" y="129"/>
                      <a:pt x="78" y="150"/>
                    </a:cubicBezTo>
                    <a:cubicBezTo>
                      <a:pt x="78" y="171"/>
                      <a:pt x="76" y="270"/>
                      <a:pt x="76" y="270"/>
                    </a:cubicBezTo>
                    <a:cubicBezTo>
                      <a:pt x="76" y="270"/>
                      <a:pt x="91" y="274"/>
                      <a:pt x="98" y="270"/>
                    </a:cubicBezTo>
                    <a:cubicBezTo>
                      <a:pt x="106" y="266"/>
                      <a:pt x="112" y="138"/>
                      <a:pt x="112" y="138"/>
                    </a:cubicBezTo>
                    <a:cubicBezTo>
                      <a:pt x="82" y="0"/>
                      <a:pt x="82" y="0"/>
                      <a:pt x="82" y="0"/>
                    </a:cubicBezTo>
                    <a:cubicBezTo>
                      <a:pt x="82" y="0"/>
                      <a:pt x="48" y="10"/>
                      <a:pt x="5" y="14"/>
                    </a:cubicBezTo>
                    <a:close/>
                  </a:path>
                </a:pathLst>
              </a:custGeom>
              <a:solidFill>
                <a:srgbClr val="0E0E1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9" name="íŝḷíḓê">
                <a:extLst>
                  <a:ext uri="{FF2B5EF4-FFF2-40B4-BE49-F238E27FC236}">
                    <a16:creationId xmlns:a16="http://schemas.microsoft.com/office/drawing/2014/main" id="{324D6730-BCBC-F047-A3C3-47187AE6F968}"/>
                  </a:ext>
                </a:extLst>
              </p:cNvPr>
              <p:cNvSpPr/>
              <p:nvPr/>
            </p:nvSpPr>
            <p:spPr bwMode="auto">
              <a:xfrm>
                <a:off x="3519488" y="2922588"/>
                <a:ext cx="715963" cy="1212850"/>
              </a:xfrm>
              <a:custGeom>
                <a:avLst/>
                <a:gdLst>
                  <a:gd name="T0" fmla="*/ 48 w 118"/>
                  <a:gd name="T1" fmla="*/ 0 h 200"/>
                  <a:gd name="T2" fmla="*/ 6 w 118"/>
                  <a:gd name="T3" fmla="*/ 52 h 200"/>
                  <a:gd name="T4" fmla="*/ 8 w 118"/>
                  <a:gd name="T5" fmla="*/ 171 h 200"/>
                  <a:gd name="T6" fmla="*/ 31 w 118"/>
                  <a:gd name="T7" fmla="*/ 200 h 200"/>
                  <a:gd name="T8" fmla="*/ 34 w 118"/>
                  <a:gd name="T9" fmla="*/ 181 h 200"/>
                  <a:gd name="T10" fmla="*/ 44 w 118"/>
                  <a:gd name="T11" fmla="*/ 197 h 200"/>
                  <a:gd name="T12" fmla="*/ 118 w 118"/>
                  <a:gd name="T13" fmla="*/ 178 h 200"/>
                  <a:gd name="T14" fmla="*/ 94 w 118"/>
                  <a:gd name="T15" fmla="*/ 75 h 200"/>
                  <a:gd name="T16" fmla="*/ 74 w 118"/>
                  <a:gd name="T17" fmla="*/ 6 h 200"/>
                  <a:gd name="T18" fmla="*/ 48 w 118"/>
                  <a:gd name="T1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200">
                    <a:moveTo>
                      <a:pt x="48" y="0"/>
                    </a:moveTo>
                    <a:cubicBezTo>
                      <a:pt x="48" y="0"/>
                      <a:pt x="18" y="7"/>
                      <a:pt x="6" y="52"/>
                    </a:cubicBezTo>
                    <a:cubicBezTo>
                      <a:pt x="0" y="75"/>
                      <a:pt x="8" y="171"/>
                      <a:pt x="8" y="171"/>
                    </a:cubicBezTo>
                    <a:cubicBezTo>
                      <a:pt x="8" y="171"/>
                      <a:pt x="12" y="200"/>
                      <a:pt x="31" y="200"/>
                    </a:cubicBezTo>
                    <a:cubicBezTo>
                      <a:pt x="34" y="181"/>
                      <a:pt x="34" y="181"/>
                      <a:pt x="34" y="181"/>
                    </a:cubicBezTo>
                    <a:cubicBezTo>
                      <a:pt x="44" y="197"/>
                      <a:pt x="44" y="197"/>
                      <a:pt x="44" y="197"/>
                    </a:cubicBezTo>
                    <a:cubicBezTo>
                      <a:pt x="118" y="178"/>
                      <a:pt x="118" y="178"/>
                      <a:pt x="118" y="178"/>
                    </a:cubicBezTo>
                    <a:cubicBezTo>
                      <a:pt x="118" y="178"/>
                      <a:pt x="84" y="125"/>
                      <a:pt x="94" y="75"/>
                    </a:cubicBezTo>
                    <a:cubicBezTo>
                      <a:pt x="104" y="25"/>
                      <a:pt x="74" y="6"/>
                      <a:pt x="74" y="6"/>
                    </a:cubicBezTo>
                    <a:cubicBezTo>
                      <a:pt x="74" y="6"/>
                      <a:pt x="56" y="19"/>
                      <a:pt x="48" y="0"/>
                    </a:cubicBezTo>
                    <a:close/>
                  </a:path>
                </a:pathLst>
              </a:custGeom>
              <a:solidFill>
                <a:srgbClr val="00BEB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0" name="íṥļidê">
                <a:extLst>
                  <a:ext uri="{FF2B5EF4-FFF2-40B4-BE49-F238E27FC236}">
                    <a16:creationId xmlns:a16="http://schemas.microsoft.com/office/drawing/2014/main" id="{7BC79878-C2F3-DC45-89DB-F32DBC368C8B}"/>
                  </a:ext>
                </a:extLst>
              </p:cNvPr>
              <p:cNvSpPr/>
              <p:nvPr/>
            </p:nvSpPr>
            <p:spPr bwMode="auto">
              <a:xfrm>
                <a:off x="3744913" y="2503488"/>
                <a:ext cx="387350" cy="431800"/>
              </a:xfrm>
              <a:custGeom>
                <a:avLst/>
                <a:gdLst>
                  <a:gd name="T0" fmla="*/ 48 w 64"/>
                  <a:gd name="T1" fmla="*/ 21 h 71"/>
                  <a:gd name="T2" fmla="*/ 39 w 64"/>
                  <a:gd name="T3" fmla="*/ 68 h 71"/>
                  <a:gd name="T4" fmla="*/ 2 w 64"/>
                  <a:gd name="T5" fmla="*/ 44 h 71"/>
                  <a:gd name="T6" fmla="*/ 21 w 64"/>
                  <a:gd name="T7" fmla="*/ 6 h 71"/>
                  <a:gd name="T8" fmla="*/ 48 w 64"/>
                  <a:gd name="T9" fmla="*/ 21 h 71"/>
                </a:gdLst>
                <a:ahLst/>
                <a:cxnLst>
                  <a:cxn ang="0">
                    <a:pos x="T0" y="T1"/>
                  </a:cxn>
                  <a:cxn ang="0">
                    <a:pos x="T2" y="T3"/>
                  </a:cxn>
                  <a:cxn ang="0">
                    <a:pos x="T4" y="T5"/>
                  </a:cxn>
                  <a:cxn ang="0">
                    <a:pos x="T6" y="T7"/>
                  </a:cxn>
                  <a:cxn ang="0">
                    <a:pos x="T8" y="T9"/>
                  </a:cxn>
                </a:cxnLst>
                <a:rect l="0" t="0" r="r" b="b"/>
                <a:pathLst>
                  <a:path w="64" h="71">
                    <a:moveTo>
                      <a:pt x="48" y="21"/>
                    </a:moveTo>
                    <a:cubicBezTo>
                      <a:pt x="48" y="21"/>
                      <a:pt x="64" y="64"/>
                      <a:pt x="39" y="68"/>
                    </a:cubicBezTo>
                    <a:cubicBezTo>
                      <a:pt x="14" y="71"/>
                      <a:pt x="2" y="55"/>
                      <a:pt x="2" y="44"/>
                    </a:cubicBezTo>
                    <a:cubicBezTo>
                      <a:pt x="2" y="33"/>
                      <a:pt x="0" y="12"/>
                      <a:pt x="21" y="6"/>
                    </a:cubicBezTo>
                    <a:cubicBezTo>
                      <a:pt x="42" y="0"/>
                      <a:pt x="48" y="21"/>
                      <a:pt x="48" y="21"/>
                    </a:cubicBezTo>
                    <a:close/>
                  </a:path>
                </a:pathLst>
              </a:custGeom>
              <a:solidFill>
                <a:srgbClr val="F4EED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1" name="îṧlîďè">
                <a:extLst>
                  <a:ext uri="{FF2B5EF4-FFF2-40B4-BE49-F238E27FC236}">
                    <a16:creationId xmlns:a16="http://schemas.microsoft.com/office/drawing/2014/main" id="{A16496B9-622F-7B4D-861F-47EF577ED1F6}"/>
                  </a:ext>
                </a:extLst>
              </p:cNvPr>
              <p:cNvSpPr/>
              <p:nvPr/>
            </p:nvSpPr>
            <p:spPr bwMode="auto">
              <a:xfrm>
                <a:off x="3708401" y="2776538"/>
                <a:ext cx="96838" cy="96838"/>
              </a:xfrm>
              <a:prstGeom prst="ellipse">
                <a:avLst/>
              </a:prstGeom>
              <a:solidFill>
                <a:srgbClr val="F4EED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2" name="iśḻîḋe">
                <a:extLst>
                  <a:ext uri="{FF2B5EF4-FFF2-40B4-BE49-F238E27FC236}">
                    <a16:creationId xmlns:a16="http://schemas.microsoft.com/office/drawing/2014/main" id="{3CF83EDA-BE60-8246-9035-4B0CD0BAE121}"/>
                  </a:ext>
                </a:extLst>
              </p:cNvPr>
              <p:cNvSpPr/>
              <p:nvPr/>
            </p:nvSpPr>
            <p:spPr bwMode="auto">
              <a:xfrm>
                <a:off x="3556001" y="2436813"/>
                <a:ext cx="466725" cy="388938"/>
              </a:xfrm>
              <a:custGeom>
                <a:avLst/>
                <a:gdLst>
                  <a:gd name="T0" fmla="*/ 28 w 77"/>
                  <a:gd name="T1" fmla="*/ 58 h 64"/>
                  <a:gd name="T2" fmla="*/ 39 w 77"/>
                  <a:gd name="T3" fmla="*/ 58 h 64"/>
                  <a:gd name="T4" fmla="*/ 65 w 77"/>
                  <a:gd name="T5" fmla="*/ 29 h 64"/>
                  <a:gd name="T6" fmla="*/ 77 w 77"/>
                  <a:gd name="T7" fmla="*/ 26 h 64"/>
                  <a:gd name="T8" fmla="*/ 33 w 77"/>
                  <a:gd name="T9" fmla="*/ 16 h 64"/>
                  <a:gd name="T10" fmla="*/ 25 w 77"/>
                  <a:gd name="T11" fmla="*/ 64 h 64"/>
                  <a:gd name="T12" fmla="*/ 28 w 77"/>
                  <a:gd name="T13" fmla="*/ 58 h 64"/>
                </a:gdLst>
                <a:ahLst/>
                <a:cxnLst>
                  <a:cxn ang="0">
                    <a:pos x="T0" y="T1"/>
                  </a:cxn>
                  <a:cxn ang="0">
                    <a:pos x="T2" y="T3"/>
                  </a:cxn>
                  <a:cxn ang="0">
                    <a:pos x="T4" y="T5"/>
                  </a:cxn>
                  <a:cxn ang="0">
                    <a:pos x="T6" y="T7"/>
                  </a:cxn>
                  <a:cxn ang="0">
                    <a:pos x="T8" y="T9"/>
                  </a:cxn>
                  <a:cxn ang="0">
                    <a:pos x="T10" y="T11"/>
                  </a:cxn>
                  <a:cxn ang="0">
                    <a:pos x="T12" y="T13"/>
                  </a:cxn>
                </a:cxnLst>
                <a:rect l="0" t="0" r="r" b="b"/>
                <a:pathLst>
                  <a:path w="77" h="64">
                    <a:moveTo>
                      <a:pt x="28" y="58"/>
                    </a:moveTo>
                    <a:cubicBezTo>
                      <a:pt x="28" y="58"/>
                      <a:pt x="34" y="54"/>
                      <a:pt x="39" y="58"/>
                    </a:cubicBezTo>
                    <a:cubicBezTo>
                      <a:pt x="39" y="58"/>
                      <a:pt x="68" y="45"/>
                      <a:pt x="65" y="29"/>
                    </a:cubicBezTo>
                    <a:cubicBezTo>
                      <a:pt x="65" y="29"/>
                      <a:pt x="70" y="25"/>
                      <a:pt x="77" y="26"/>
                    </a:cubicBezTo>
                    <a:cubicBezTo>
                      <a:pt x="77" y="26"/>
                      <a:pt x="66" y="0"/>
                      <a:pt x="33" y="16"/>
                    </a:cubicBezTo>
                    <a:cubicBezTo>
                      <a:pt x="0" y="32"/>
                      <a:pt x="25" y="64"/>
                      <a:pt x="25" y="64"/>
                    </a:cubicBezTo>
                    <a:cubicBezTo>
                      <a:pt x="25" y="64"/>
                      <a:pt x="25" y="61"/>
                      <a:pt x="28" y="58"/>
                    </a:cubicBezTo>
                    <a:close/>
                  </a:path>
                </a:pathLst>
              </a:custGeom>
              <a:solidFill>
                <a:srgbClr val="0E0E1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3" name="íşliďé">
                <a:extLst>
                  <a:ext uri="{FF2B5EF4-FFF2-40B4-BE49-F238E27FC236}">
                    <a16:creationId xmlns:a16="http://schemas.microsoft.com/office/drawing/2014/main" id="{A9363E18-2A8A-044D-A858-3E433A41CB03}"/>
                  </a:ext>
                </a:extLst>
              </p:cNvPr>
              <p:cNvSpPr/>
              <p:nvPr/>
            </p:nvSpPr>
            <p:spPr bwMode="auto">
              <a:xfrm>
                <a:off x="3775076" y="2819400"/>
                <a:ext cx="193675" cy="206375"/>
              </a:xfrm>
              <a:custGeom>
                <a:avLst/>
                <a:gdLst>
                  <a:gd name="T0" fmla="*/ 32 w 32"/>
                  <a:gd name="T1" fmla="*/ 31 h 34"/>
                  <a:gd name="T2" fmla="*/ 7 w 32"/>
                  <a:gd name="T3" fmla="*/ 31 h 34"/>
                  <a:gd name="T4" fmla="*/ 2 w 32"/>
                  <a:gd name="T5" fmla="*/ 21 h 34"/>
                  <a:gd name="T6" fmla="*/ 1 w 32"/>
                  <a:gd name="T7" fmla="*/ 9 h 34"/>
                  <a:gd name="T8" fmla="*/ 0 w 32"/>
                  <a:gd name="T9" fmla="*/ 6 h 34"/>
                  <a:gd name="T10" fmla="*/ 0 w 32"/>
                  <a:gd name="T11" fmla="*/ 0 h 34"/>
                  <a:gd name="T12" fmla="*/ 28 w 32"/>
                  <a:gd name="T13" fmla="*/ 1 h 34"/>
                  <a:gd name="T14" fmla="*/ 31 w 32"/>
                  <a:gd name="T15" fmla="*/ 16 h 34"/>
                  <a:gd name="T16" fmla="*/ 32 w 32"/>
                  <a:gd name="T17" fmla="*/ 25 h 34"/>
                  <a:gd name="T18" fmla="*/ 32 w 32"/>
                  <a:gd name="T19" fmla="*/ 3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4">
                    <a:moveTo>
                      <a:pt x="32" y="31"/>
                    </a:moveTo>
                    <a:cubicBezTo>
                      <a:pt x="29" y="32"/>
                      <a:pt x="12" y="34"/>
                      <a:pt x="7" y="31"/>
                    </a:cubicBezTo>
                    <a:cubicBezTo>
                      <a:pt x="4" y="30"/>
                      <a:pt x="3" y="25"/>
                      <a:pt x="2" y="21"/>
                    </a:cubicBezTo>
                    <a:cubicBezTo>
                      <a:pt x="1" y="17"/>
                      <a:pt x="1" y="12"/>
                      <a:pt x="1" y="9"/>
                    </a:cubicBezTo>
                    <a:cubicBezTo>
                      <a:pt x="0" y="7"/>
                      <a:pt x="0" y="6"/>
                      <a:pt x="0" y="6"/>
                    </a:cubicBezTo>
                    <a:cubicBezTo>
                      <a:pt x="0" y="0"/>
                      <a:pt x="0" y="0"/>
                      <a:pt x="0" y="0"/>
                    </a:cubicBezTo>
                    <a:cubicBezTo>
                      <a:pt x="28" y="1"/>
                      <a:pt x="28" y="1"/>
                      <a:pt x="28" y="1"/>
                    </a:cubicBezTo>
                    <a:cubicBezTo>
                      <a:pt x="28" y="1"/>
                      <a:pt x="30" y="9"/>
                      <a:pt x="31" y="16"/>
                    </a:cubicBezTo>
                    <a:cubicBezTo>
                      <a:pt x="31" y="19"/>
                      <a:pt x="32" y="22"/>
                      <a:pt x="32" y="25"/>
                    </a:cubicBezTo>
                    <a:cubicBezTo>
                      <a:pt x="32" y="28"/>
                      <a:pt x="32" y="31"/>
                      <a:pt x="32" y="31"/>
                    </a:cubicBezTo>
                    <a:close/>
                  </a:path>
                </a:pathLst>
              </a:custGeom>
              <a:solidFill>
                <a:srgbClr val="F4EED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4" name="íšḻidè">
                <a:extLst>
                  <a:ext uri="{FF2B5EF4-FFF2-40B4-BE49-F238E27FC236}">
                    <a16:creationId xmlns:a16="http://schemas.microsoft.com/office/drawing/2014/main" id="{39EA324C-018A-D743-862E-23F673F06A96}"/>
                  </a:ext>
                </a:extLst>
              </p:cNvPr>
              <p:cNvSpPr/>
              <p:nvPr/>
            </p:nvSpPr>
            <p:spPr bwMode="auto">
              <a:xfrm>
                <a:off x="3779838" y="2873375"/>
                <a:ext cx="188913" cy="98425"/>
              </a:xfrm>
              <a:custGeom>
                <a:avLst/>
                <a:gdLst>
                  <a:gd name="T0" fmla="*/ 31 w 31"/>
                  <a:gd name="T1" fmla="*/ 16 h 16"/>
                  <a:gd name="T2" fmla="*/ 1 w 31"/>
                  <a:gd name="T3" fmla="*/ 12 h 16"/>
                  <a:gd name="T4" fmla="*/ 0 w 31"/>
                  <a:gd name="T5" fmla="*/ 0 h 16"/>
                  <a:gd name="T6" fmla="*/ 30 w 31"/>
                  <a:gd name="T7" fmla="*/ 7 h 16"/>
                  <a:gd name="T8" fmla="*/ 31 w 31"/>
                  <a:gd name="T9" fmla="*/ 16 h 16"/>
                </a:gdLst>
                <a:ahLst/>
                <a:cxnLst>
                  <a:cxn ang="0">
                    <a:pos x="T0" y="T1"/>
                  </a:cxn>
                  <a:cxn ang="0">
                    <a:pos x="T2" y="T3"/>
                  </a:cxn>
                  <a:cxn ang="0">
                    <a:pos x="T4" y="T5"/>
                  </a:cxn>
                  <a:cxn ang="0">
                    <a:pos x="T6" y="T7"/>
                  </a:cxn>
                  <a:cxn ang="0">
                    <a:pos x="T8" y="T9"/>
                  </a:cxn>
                </a:cxnLst>
                <a:rect l="0" t="0" r="r" b="b"/>
                <a:pathLst>
                  <a:path w="31" h="16">
                    <a:moveTo>
                      <a:pt x="31" y="16"/>
                    </a:moveTo>
                    <a:cubicBezTo>
                      <a:pt x="1" y="12"/>
                      <a:pt x="1" y="12"/>
                      <a:pt x="1" y="12"/>
                    </a:cubicBezTo>
                    <a:cubicBezTo>
                      <a:pt x="0" y="8"/>
                      <a:pt x="0" y="3"/>
                      <a:pt x="0" y="0"/>
                    </a:cubicBezTo>
                    <a:cubicBezTo>
                      <a:pt x="1" y="2"/>
                      <a:pt x="10" y="12"/>
                      <a:pt x="30" y="7"/>
                    </a:cubicBezTo>
                    <a:cubicBezTo>
                      <a:pt x="30" y="10"/>
                      <a:pt x="31" y="13"/>
                      <a:pt x="31" y="16"/>
                    </a:cubicBezTo>
                    <a:close/>
                  </a:path>
                </a:pathLst>
              </a:custGeom>
              <a:solidFill>
                <a:srgbClr val="EBE0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5" name="iş1ïḍè">
                <a:extLst>
                  <a:ext uri="{FF2B5EF4-FFF2-40B4-BE49-F238E27FC236}">
                    <a16:creationId xmlns:a16="http://schemas.microsoft.com/office/drawing/2014/main" id="{8A594F9D-E8A2-934A-B2A1-75EEC84F1A9E}"/>
                  </a:ext>
                </a:extLst>
              </p:cNvPr>
              <p:cNvSpPr/>
              <p:nvPr/>
            </p:nvSpPr>
            <p:spPr bwMode="auto">
              <a:xfrm>
                <a:off x="3568701" y="4019550"/>
                <a:ext cx="236538" cy="165100"/>
              </a:xfrm>
              <a:custGeom>
                <a:avLst/>
                <a:gdLst>
                  <a:gd name="T0" fmla="*/ 5 w 39"/>
                  <a:gd name="T1" fmla="*/ 27 h 27"/>
                  <a:gd name="T2" fmla="*/ 5 w 39"/>
                  <a:gd name="T3" fmla="*/ 20 h 27"/>
                  <a:gd name="T4" fmla="*/ 20 w 39"/>
                  <a:gd name="T5" fmla="*/ 5 h 27"/>
                  <a:gd name="T6" fmla="*/ 35 w 39"/>
                  <a:gd name="T7" fmla="*/ 20 h 27"/>
                  <a:gd name="T8" fmla="*/ 35 w 39"/>
                  <a:gd name="T9" fmla="*/ 27 h 27"/>
                  <a:gd name="T10" fmla="*/ 39 w 39"/>
                  <a:gd name="T11" fmla="*/ 27 h 27"/>
                  <a:gd name="T12" fmla="*/ 39 w 39"/>
                  <a:gd name="T13" fmla="*/ 20 h 27"/>
                  <a:gd name="T14" fmla="*/ 20 w 39"/>
                  <a:gd name="T15" fmla="*/ 0 h 27"/>
                  <a:gd name="T16" fmla="*/ 0 w 39"/>
                  <a:gd name="T17" fmla="*/ 20 h 27"/>
                  <a:gd name="T18" fmla="*/ 0 w 39"/>
                  <a:gd name="T19" fmla="*/ 27 h 27"/>
                  <a:gd name="T20" fmla="*/ 5 w 39"/>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 h="27">
                    <a:moveTo>
                      <a:pt x="5" y="27"/>
                    </a:moveTo>
                    <a:cubicBezTo>
                      <a:pt x="5" y="20"/>
                      <a:pt x="5" y="20"/>
                      <a:pt x="5" y="20"/>
                    </a:cubicBezTo>
                    <a:cubicBezTo>
                      <a:pt x="5" y="11"/>
                      <a:pt x="11" y="5"/>
                      <a:pt x="20" y="5"/>
                    </a:cubicBezTo>
                    <a:cubicBezTo>
                      <a:pt x="28" y="5"/>
                      <a:pt x="35" y="11"/>
                      <a:pt x="35" y="20"/>
                    </a:cubicBezTo>
                    <a:cubicBezTo>
                      <a:pt x="35" y="27"/>
                      <a:pt x="35" y="27"/>
                      <a:pt x="35" y="27"/>
                    </a:cubicBezTo>
                    <a:cubicBezTo>
                      <a:pt x="39" y="27"/>
                      <a:pt x="39" y="27"/>
                      <a:pt x="39" y="27"/>
                    </a:cubicBezTo>
                    <a:cubicBezTo>
                      <a:pt x="39" y="20"/>
                      <a:pt x="39" y="20"/>
                      <a:pt x="39" y="20"/>
                    </a:cubicBezTo>
                    <a:cubicBezTo>
                      <a:pt x="39" y="9"/>
                      <a:pt x="31" y="0"/>
                      <a:pt x="20" y="0"/>
                    </a:cubicBezTo>
                    <a:cubicBezTo>
                      <a:pt x="9" y="0"/>
                      <a:pt x="0" y="9"/>
                      <a:pt x="0" y="20"/>
                    </a:cubicBezTo>
                    <a:cubicBezTo>
                      <a:pt x="0" y="27"/>
                      <a:pt x="0" y="27"/>
                      <a:pt x="0" y="27"/>
                    </a:cubicBezTo>
                    <a:lnTo>
                      <a:pt x="5" y="27"/>
                    </a:lnTo>
                    <a:close/>
                  </a:path>
                </a:pathLst>
              </a:custGeom>
              <a:solidFill>
                <a:srgbClr val="EBE0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6" name="íṡľïḋè">
                <a:extLst>
                  <a:ext uri="{FF2B5EF4-FFF2-40B4-BE49-F238E27FC236}">
                    <a16:creationId xmlns:a16="http://schemas.microsoft.com/office/drawing/2014/main" id="{AF121559-B422-E046-9F01-C2F354B993AD}"/>
                  </a:ext>
                </a:extLst>
              </p:cNvPr>
              <p:cNvSpPr/>
              <p:nvPr/>
            </p:nvSpPr>
            <p:spPr bwMode="auto">
              <a:xfrm>
                <a:off x="3482976" y="4152900"/>
                <a:ext cx="406400" cy="436563"/>
              </a:xfrm>
              <a:custGeom>
                <a:avLst/>
                <a:gdLst>
                  <a:gd name="T0" fmla="*/ 67 w 67"/>
                  <a:gd name="T1" fmla="*/ 0 h 72"/>
                  <a:gd name="T2" fmla="*/ 67 w 67"/>
                  <a:gd name="T3" fmla="*/ 68 h 72"/>
                  <a:gd name="T4" fmla="*/ 63 w 67"/>
                  <a:gd name="T5" fmla="*/ 72 h 72"/>
                  <a:gd name="T6" fmla="*/ 5 w 67"/>
                  <a:gd name="T7" fmla="*/ 72 h 72"/>
                  <a:gd name="T8" fmla="*/ 0 w 67"/>
                  <a:gd name="T9" fmla="*/ 68 h 72"/>
                  <a:gd name="T10" fmla="*/ 0 w 67"/>
                  <a:gd name="T11" fmla="*/ 0 h 72"/>
                  <a:gd name="T12" fmla="*/ 67 w 67"/>
                  <a:gd name="T13" fmla="*/ 0 h 72"/>
                </a:gdLst>
                <a:ahLst/>
                <a:cxnLst>
                  <a:cxn ang="0">
                    <a:pos x="T0" y="T1"/>
                  </a:cxn>
                  <a:cxn ang="0">
                    <a:pos x="T2" y="T3"/>
                  </a:cxn>
                  <a:cxn ang="0">
                    <a:pos x="T4" y="T5"/>
                  </a:cxn>
                  <a:cxn ang="0">
                    <a:pos x="T6" y="T7"/>
                  </a:cxn>
                  <a:cxn ang="0">
                    <a:pos x="T8" y="T9"/>
                  </a:cxn>
                  <a:cxn ang="0">
                    <a:pos x="T10" y="T11"/>
                  </a:cxn>
                  <a:cxn ang="0">
                    <a:pos x="T12" y="T13"/>
                  </a:cxn>
                </a:cxnLst>
                <a:rect l="0" t="0" r="r" b="b"/>
                <a:pathLst>
                  <a:path w="67" h="72">
                    <a:moveTo>
                      <a:pt x="67" y="0"/>
                    </a:moveTo>
                    <a:cubicBezTo>
                      <a:pt x="67" y="68"/>
                      <a:pt x="67" y="68"/>
                      <a:pt x="67" y="68"/>
                    </a:cubicBezTo>
                    <a:cubicBezTo>
                      <a:pt x="67" y="70"/>
                      <a:pt x="65" y="72"/>
                      <a:pt x="63" y="72"/>
                    </a:cubicBezTo>
                    <a:cubicBezTo>
                      <a:pt x="5" y="72"/>
                      <a:pt x="5" y="72"/>
                      <a:pt x="5" y="72"/>
                    </a:cubicBezTo>
                    <a:cubicBezTo>
                      <a:pt x="2" y="72"/>
                      <a:pt x="0" y="70"/>
                      <a:pt x="0" y="68"/>
                    </a:cubicBezTo>
                    <a:cubicBezTo>
                      <a:pt x="0" y="0"/>
                      <a:pt x="0" y="0"/>
                      <a:pt x="0" y="0"/>
                    </a:cubicBezTo>
                    <a:lnTo>
                      <a:pt x="67" y="0"/>
                    </a:lnTo>
                    <a:close/>
                  </a:path>
                </a:pathLst>
              </a:custGeom>
              <a:solidFill>
                <a:srgbClr val="F4EED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7" name="iṥlíḋê">
                <a:extLst>
                  <a:ext uri="{FF2B5EF4-FFF2-40B4-BE49-F238E27FC236}">
                    <a16:creationId xmlns:a16="http://schemas.microsoft.com/office/drawing/2014/main" id="{65B27978-FCB9-FB43-9AFC-353049FEC738}"/>
                  </a:ext>
                </a:extLst>
              </p:cNvPr>
              <p:cNvSpPr/>
              <p:nvPr/>
            </p:nvSpPr>
            <p:spPr bwMode="auto">
              <a:xfrm>
                <a:off x="3482976" y="4152900"/>
                <a:ext cx="406400" cy="255588"/>
              </a:xfrm>
              <a:custGeom>
                <a:avLst/>
                <a:gdLst>
                  <a:gd name="T0" fmla="*/ 67 w 67"/>
                  <a:gd name="T1" fmla="*/ 0 h 42"/>
                  <a:gd name="T2" fmla="*/ 67 w 67"/>
                  <a:gd name="T3" fmla="*/ 16 h 42"/>
                  <a:gd name="T4" fmla="*/ 67 w 67"/>
                  <a:gd name="T5" fmla="*/ 16 h 42"/>
                  <a:gd name="T6" fmla="*/ 53 w 67"/>
                  <a:gd name="T7" fmla="*/ 14 h 42"/>
                  <a:gd name="T8" fmla="*/ 41 w 67"/>
                  <a:gd name="T9" fmla="*/ 26 h 42"/>
                  <a:gd name="T10" fmla="*/ 26 w 67"/>
                  <a:gd name="T11" fmla="*/ 26 h 42"/>
                  <a:gd name="T12" fmla="*/ 22 w 67"/>
                  <a:gd name="T13" fmla="*/ 22 h 42"/>
                  <a:gd name="T14" fmla="*/ 13 w 67"/>
                  <a:gd name="T15" fmla="*/ 27 h 42"/>
                  <a:gd name="T16" fmla="*/ 9 w 67"/>
                  <a:gd name="T17" fmla="*/ 38 h 42"/>
                  <a:gd name="T18" fmla="*/ 6 w 67"/>
                  <a:gd name="T19" fmla="*/ 41 h 42"/>
                  <a:gd name="T20" fmla="*/ 0 w 67"/>
                  <a:gd name="T21" fmla="*/ 41 h 42"/>
                  <a:gd name="T22" fmla="*/ 0 w 67"/>
                  <a:gd name="T23" fmla="*/ 0 h 42"/>
                  <a:gd name="T24" fmla="*/ 67 w 67"/>
                  <a:gd name="T25"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42">
                    <a:moveTo>
                      <a:pt x="67" y="0"/>
                    </a:moveTo>
                    <a:cubicBezTo>
                      <a:pt x="67" y="16"/>
                      <a:pt x="67" y="16"/>
                      <a:pt x="67" y="16"/>
                    </a:cubicBezTo>
                    <a:cubicBezTo>
                      <a:pt x="67" y="16"/>
                      <a:pt x="67" y="16"/>
                      <a:pt x="67" y="16"/>
                    </a:cubicBezTo>
                    <a:cubicBezTo>
                      <a:pt x="63" y="18"/>
                      <a:pt x="58" y="13"/>
                      <a:pt x="53" y="14"/>
                    </a:cubicBezTo>
                    <a:cubicBezTo>
                      <a:pt x="47" y="15"/>
                      <a:pt x="45" y="22"/>
                      <a:pt x="41" y="26"/>
                    </a:cubicBezTo>
                    <a:cubicBezTo>
                      <a:pt x="37" y="30"/>
                      <a:pt x="30" y="30"/>
                      <a:pt x="26" y="26"/>
                    </a:cubicBezTo>
                    <a:cubicBezTo>
                      <a:pt x="25" y="25"/>
                      <a:pt x="24" y="23"/>
                      <a:pt x="22" y="22"/>
                    </a:cubicBezTo>
                    <a:cubicBezTo>
                      <a:pt x="18" y="20"/>
                      <a:pt x="14" y="23"/>
                      <a:pt x="13" y="27"/>
                    </a:cubicBezTo>
                    <a:cubicBezTo>
                      <a:pt x="11" y="30"/>
                      <a:pt x="10" y="34"/>
                      <a:pt x="9" y="38"/>
                    </a:cubicBezTo>
                    <a:cubicBezTo>
                      <a:pt x="8" y="39"/>
                      <a:pt x="7" y="41"/>
                      <a:pt x="6" y="41"/>
                    </a:cubicBezTo>
                    <a:cubicBezTo>
                      <a:pt x="4" y="42"/>
                      <a:pt x="2" y="42"/>
                      <a:pt x="0" y="41"/>
                    </a:cubicBezTo>
                    <a:cubicBezTo>
                      <a:pt x="0" y="0"/>
                      <a:pt x="0" y="0"/>
                      <a:pt x="0" y="0"/>
                    </a:cubicBezTo>
                    <a:lnTo>
                      <a:pt x="67" y="0"/>
                    </a:lnTo>
                    <a:close/>
                  </a:path>
                </a:pathLst>
              </a:custGeom>
              <a:solidFill>
                <a:srgbClr val="F065A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8" name="îṧļîďé">
                <a:extLst>
                  <a:ext uri="{FF2B5EF4-FFF2-40B4-BE49-F238E27FC236}">
                    <a16:creationId xmlns:a16="http://schemas.microsoft.com/office/drawing/2014/main" id="{C3901B78-FF0E-E946-A325-CD912A1B0F93}"/>
                  </a:ext>
                </a:extLst>
              </p:cNvPr>
              <p:cNvSpPr/>
              <p:nvPr/>
            </p:nvSpPr>
            <p:spPr bwMode="auto">
              <a:xfrm>
                <a:off x="3276601" y="2971800"/>
                <a:ext cx="455613" cy="1157288"/>
              </a:xfrm>
              <a:custGeom>
                <a:avLst/>
                <a:gdLst>
                  <a:gd name="T0" fmla="*/ 55 w 75"/>
                  <a:gd name="T1" fmla="*/ 191 h 191"/>
                  <a:gd name="T2" fmla="*/ 73 w 75"/>
                  <a:gd name="T3" fmla="*/ 180 h 191"/>
                  <a:gd name="T4" fmla="*/ 52 w 75"/>
                  <a:gd name="T5" fmla="*/ 174 h 191"/>
                  <a:gd name="T6" fmla="*/ 29 w 75"/>
                  <a:gd name="T7" fmla="*/ 124 h 191"/>
                  <a:gd name="T8" fmla="*/ 43 w 75"/>
                  <a:gd name="T9" fmla="*/ 92 h 191"/>
                  <a:gd name="T10" fmla="*/ 56 w 75"/>
                  <a:gd name="T11" fmla="*/ 66 h 191"/>
                  <a:gd name="T12" fmla="*/ 64 w 75"/>
                  <a:gd name="T13" fmla="*/ 39 h 191"/>
                  <a:gd name="T14" fmla="*/ 73 w 75"/>
                  <a:gd name="T15" fmla="*/ 1 h 191"/>
                  <a:gd name="T16" fmla="*/ 73 w 75"/>
                  <a:gd name="T17" fmla="*/ 0 h 191"/>
                  <a:gd name="T18" fmla="*/ 9 w 75"/>
                  <a:gd name="T19" fmla="*/ 72 h 191"/>
                  <a:gd name="T20" fmla="*/ 3 w 75"/>
                  <a:gd name="T21" fmla="*/ 106 h 191"/>
                  <a:gd name="T22" fmla="*/ 55 w 75"/>
                  <a:gd name="T23"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91">
                    <a:moveTo>
                      <a:pt x="55" y="191"/>
                    </a:moveTo>
                    <a:cubicBezTo>
                      <a:pt x="55" y="191"/>
                      <a:pt x="75" y="190"/>
                      <a:pt x="73" y="180"/>
                    </a:cubicBezTo>
                    <a:cubicBezTo>
                      <a:pt x="72" y="172"/>
                      <a:pt x="52" y="174"/>
                      <a:pt x="52" y="174"/>
                    </a:cubicBezTo>
                    <a:cubicBezTo>
                      <a:pt x="52" y="174"/>
                      <a:pt x="29" y="154"/>
                      <a:pt x="29" y="124"/>
                    </a:cubicBezTo>
                    <a:cubicBezTo>
                      <a:pt x="29" y="111"/>
                      <a:pt x="35" y="100"/>
                      <a:pt x="43" y="92"/>
                    </a:cubicBezTo>
                    <a:cubicBezTo>
                      <a:pt x="51" y="83"/>
                      <a:pt x="56" y="66"/>
                      <a:pt x="56" y="66"/>
                    </a:cubicBezTo>
                    <a:cubicBezTo>
                      <a:pt x="56" y="66"/>
                      <a:pt x="62" y="52"/>
                      <a:pt x="64" y="39"/>
                    </a:cubicBezTo>
                    <a:cubicBezTo>
                      <a:pt x="66" y="26"/>
                      <a:pt x="69" y="14"/>
                      <a:pt x="73" y="1"/>
                    </a:cubicBezTo>
                    <a:cubicBezTo>
                      <a:pt x="73" y="0"/>
                      <a:pt x="73" y="0"/>
                      <a:pt x="73" y="0"/>
                    </a:cubicBezTo>
                    <a:cubicBezTo>
                      <a:pt x="73" y="0"/>
                      <a:pt x="26" y="21"/>
                      <a:pt x="9" y="72"/>
                    </a:cubicBezTo>
                    <a:cubicBezTo>
                      <a:pt x="6" y="82"/>
                      <a:pt x="3" y="94"/>
                      <a:pt x="3" y="106"/>
                    </a:cubicBezTo>
                    <a:cubicBezTo>
                      <a:pt x="0" y="170"/>
                      <a:pt x="55" y="191"/>
                      <a:pt x="55" y="191"/>
                    </a:cubicBezTo>
                    <a:close/>
                  </a:path>
                </a:pathLst>
              </a:custGeom>
              <a:solidFill>
                <a:srgbClr val="F4EED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9" name="íśļïḓe">
                <a:extLst>
                  <a:ext uri="{FF2B5EF4-FFF2-40B4-BE49-F238E27FC236}">
                    <a16:creationId xmlns:a16="http://schemas.microsoft.com/office/drawing/2014/main" id="{D9CCD90D-15F1-6A42-9910-B7A4D9A02183}"/>
                  </a:ext>
                </a:extLst>
              </p:cNvPr>
              <p:cNvSpPr/>
              <p:nvPr/>
            </p:nvSpPr>
            <p:spPr bwMode="auto">
              <a:xfrm>
                <a:off x="3282951" y="2971800"/>
                <a:ext cx="436563" cy="1047750"/>
              </a:xfrm>
              <a:custGeom>
                <a:avLst/>
                <a:gdLst>
                  <a:gd name="T0" fmla="*/ 8 w 72"/>
                  <a:gd name="T1" fmla="*/ 72 h 173"/>
                  <a:gd name="T2" fmla="*/ 2 w 72"/>
                  <a:gd name="T3" fmla="*/ 106 h 173"/>
                  <a:gd name="T4" fmla="*/ 27 w 72"/>
                  <a:gd name="T5" fmla="*/ 173 h 173"/>
                  <a:gd name="T6" fmla="*/ 39 w 72"/>
                  <a:gd name="T7" fmla="*/ 159 h 173"/>
                  <a:gd name="T8" fmla="*/ 28 w 72"/>
                  <a:gd name="T9" fmla="*/ 124 h 173"/>
                  <a:gd name="T10" fmla="*/ 42 w 72"/>
                  <a:gd name="T11" fmla="*/ 92 h 173"/>
                  <a:gd name="T12" fmla="*/ 55 w 72"/>
                  <a:gd name="T13" fmla="*/ 66 h 173"/>
                  <a:gd name="T14" fmla="*/ 63 w 72"/>
                  <a:gd name="T15" fmla="*/ 39 h 173"/>
                  <a:gd name="T16" fmla="*/ 72 w 72"/>
                  <a:gd name="T17" fmla="*/ 1 h 173"/>
                  <a:gd name="T18" fmla="*/ 72 w 72"/>
                  <a:gd name="T19" fmla="*/ 0 h 173"/>
                  <a:gd name="T20" fmla="*/ 8 w 72"/>
                  <a:gd name="T21" fmla="*/ 7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173">
                    <a:moveTo>
                      <a:pt x="8" y="72"/>
                    </a:moveTo>
                    <a:cubicBezTo>
                      <a:pt x="5" y="82"/>
                      <a:pt x="2" y="94"/>
                      <a:pt x="2" y="106"/>
                    </a:cubicBezTo>
                    <a:cubicBezTo>
                      <a:pt x="0" y="139"/>
                      <a:pt x="14" y="160"/>
                      <a:pt x="27" y="173"/>
                    </a:cubicBezTo>
                    <a:cubicBezTo>
                      <a:pt x="32" y="169"/>
                      <a:pt x="35" y="164"/>
                      <a:pt x="39" y="159"/>
                    </a:cubicBezTo>
                    <a:cubicBezTo>
                      <a:pt x="33" y="151"/>
                      <a:pt x="28" y="138"/>
                      <a:pt x="28" y="124"/>
                    </a:cubicBezTo>
                    <a:cubicBezTo>
                      <a:pt x="28" y="111"/>
                      <a:pt x="34" y="100"/>
                      <a:pt x="42" y="92"/>
                    </a:cubicBezTo>
                    <a:cubicBezTo>
                      <a:pt x="50" y="83"/>
                      <a:pt x="55" y="66"/>
                      <a:pt x="55" y="66"/>
                    </a:cubicBezTo>
                    <a:cubicBezTo>
                      <a:pt x="55" y="66"/>
                      <a:pt x="61" y="52"/>
                      <a:pt x="63" y="39"/>
                    </a:cubicBezTo>
                    <a:cubicBezTo>
                      <a:pt x="65" y="26"/>
                      <a:pt x="68" y="14"/>
                      <a:pt x="72" y="1"/>
                    </a:cubicBezTo>
                    <a:cubicBezTo>
                      <a:pt x="72" y="0"/>
                      <a:pt x="72" y="0"/>
                      <a:pt x="72" y="0"/>
                    </a:cubicBezTo>
                    <a:cubicBezTo>
                      <a:pt x="72" y="0"/>
                      <a:pt x="25" y="21"/>
                      <a:pt x="8" y="72"/>
                    </a:cubicBezTo>
                    <a:close/>
                  </a:path>
                </a:pathLst>
              </a:custGeom>
              <a:solidFill>
                <a:srgbClr val="00A49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0" name="iṥḷîḑê">
                <a:extLst>
                  <a:ext uri="{FF2B5EF4-FFF2-40B4-BE49-F238E27FC236}">
                    <a16:creationId xmlns:a16="http://schemas.microsoft.com/office/drawing/2014/main" id="{13868FCE-1467-A447-9B99-0143418DA106}"/>
                  </a:ext>
                </a:extLst>
              </p:cNvPr>
              <p:cNvSpPr/>
              <p:nvPr/>
            </p:nvSpPr>
            <p:spPr bwMode="auto">
              <a:xfrm>
                <a:off x="4708526" y="2266950"/>
                <a:ext cx="212725" cy="139700"/>
              </a:xfrm>
              <a:custGeom>
                <a:avLst/>
                <a:gdLst>
                  <a:gd name="T0" fmla="*/ 5 w 35"/>
                  <a:gd name="T1" fmla="*/ 23 h 23"/>
                  <a:gd name="T2" fmla="*/ 0 w 35"/>
                  <a:gd name="T3" fmla="*/ 20 h 23"/>
                  <a:gd name="T4" fmla="*/ 32 w 35"/>
                  <a:gd name="T5" fmla="*/ 0 h 23"/>
                  <a:gd name="T6" fmla="*/ 35 w 35"/>
                  <a:gd name="T7" fmla="*/ 5 h 23"/>
                  <a:gd name="T8" fmla="*/ 5 w 35"/>
                  <a:gd name="T9" fmla="*/ 23 h 23"/>
                </a:gdLst>
                <a:ahLst/>
                <a:cxnLst>
                  <a:cxn ang="0">
                    <a:pos x="T0" y="T1"/>
                  </a:cxn>
                  <a:cxn ang="0">
                    <a:pos x="T2" y="T3"/>
                  </a:cxn>
                  <a:cxn ang="0">
                    <a:pos x="T4" y="T5"/>
                  </a:cxn>
                  <a:cxn ang="0">
                    <a:pos x="T6" y="T7"/>
                  </a:cxn>
                  <a:cxn ang="0">
                    <a:pos x="T8" y="T9"/>
                  </a:cxn>
                </a:cxnLst>
                <a:rect l="0" t="0" r="r" b="b"/>
                <a:pathLst>
                  <a:path w="35" h="23">
                    <a:moveTo>
                      <a:pt x="5" y="23"/>
                    </a:moveTo>
                    <a:cubicBezTo>
                      <a:pt x="6" y="21"/>
                      <a:pt x="0" y="20"/>
                      <a:pt x="0" y="20"/>
                    </a:cubicBezTo>
                    <a:cubicBezTo>
                      <a:pt x="32" y="0"/>
                      <a:pt x="32" y="0"/>
                      <a:pt x="32" y="0"/>
                    </a:cubicBezTo>
                    <a:cubicBezTo>
                      <a:pt x="35" y="5"/>
                      <a:pt x="35" y="5"/>
                      <a:pt x="35" y="5"/>
                    </a:cubicBezTo>
                    <a:lnTo>
                      <a:pt x="5" y="23"/>
                    </a:lnTo>
                    <a:close/>
                  </a:path>
                </a:pathLst>
              </a:custGeom>
              <a:solidFill>
                <a:srgbClr val="0E0E1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1" name="ísḷíḍê">
                <a:extLst>
                  <a:ext uri="{FF2B5EF4-FFF2-40B4-BE49-F238E27FC236}">
                    <a16:creationId xmlns:a16="http://schemas.microsoft.com/office/drawing/2014/main" id="{978BD301-78FF-3A4A-A6A1-CB67CFBE63B6}"/>
                  </a:ext>
                </a:extLst>
              </p:cNvPr>
              <p:cNvSpPr/>
              <p:nvPr/>
            </p:nvSpPr>
            <p:spPr bwMode="auto">
              <a:xfrm>
                <a:off x="4903788" y="2230438"/>
                <a:ext cx="90488" cy="68263"/>
              </a:xfrm>
              <a:custGeom>
                <a:avLst/>
                <a:gdLst>
                  <a:gd name="T0" fmla="*/ 0 w 15"/>
                  <a:gd name="T1" fmla="*/ 6 h 11"/>
                  <a:gd name="T2" fmla="*/ 6 w 15"/>
                  <a:gd name="T3" fmla="*/ 2 h 11"/>
                  <a:gd name="T4" fmla="*/ 15 w 15"/>
                  <a:gd name="T5" fmla="*/ 0 h 11"/>
                  <a:gd name="T6" fmla="*/ 10 w 15"/>
                  <a:gd name="T7" fmla="*/ 10 h 11"/>
                  <a:gd name="T8" fmla="*/ 3 w 15"/>
                  <a:gd name="T9" fmla="*/ 11 h 11"/>
                  <a:gd name="T10" fmla="*/ 0 w 15"/>
                  <a:gd name="T11" fmla="*/ 6 h 11"/>
                </a:gdLst>
                <a:ahLst/>
                <a:cxnLst>
                  <a:cxn ang="0">
                    <a:pos x="T0" y="T1"/>
                  </a:cxn>
                  <a:cxn ang="0">
                    <a:pos x="T2" y="T3"/>
                  </a:cxn>
                  <a:cxn ang="0">
                    <a:pos x="T4" y="T5"/>
                  </a:cxn>
                  <a:cxn ang="0">
                    <a:pos x="T6" y="T7"/>
                  </a:cxn>
                  <a:cxn ang="0">
                    <a:pos x="T8" y="T9"/>
                  </a:cxn>
                  <a:cxn ang="0">
                    <a:pos x="T10" y="T11"/>
                  </a:cxn>
                </a:cxnLst>
                <a:rect l="0" t="0" r="r" b="b"/>
                <a:pathLst>
                  <a:path w="15" h="11">
                    <a:moveTo>
                      <a:pt x="0" y="6"/>
                    </a:moveTo>
                    <a:cubicBezTo>
                      <a:pt x="0" y="6"/>
                      <a:pt x="2" y="2"/>
                      <a:pt x="6" y="2"/>
                    </a:cubicBezTo>
                    <a:cubicBezTo>
                      <a:pt x="10" y="2"/>
                      <a:pt x="12" y="5"/>
                      <a:pt x="15" y="0"/>
                    </a:cubicBezTo>
                    <a:cubicBezTo>
                      <a:pt x="15" y="0"/>
                      <a:pt x="15" y="9"/>
                      <a:pt x="10" y="10"/>
                    </a:cubicBezTo>
                    <a:cubicBezTo>
                      <a:pt x="5" y="10"/>
                      <a:pt x="3" y="11"/>
                      <a:pt x="3" y="11"/>
                    </a:cubicBezTo>
                    <a:lnTo>
                      <a:pt x="0" y="6"/>
                    </a:lnTo>
                    <a:close/>
                  </a:path>
                </a:pathLst>
              </a:custGeom>
              <a:solidFill>
                <a:srgbClr val="3535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2" name="îṣḷïďè">
                <a:extLst>
                  <a:ext uri="{FF2B5EF4-FFF2-40B4-BE49-F238E27FC236}">
                    <a16:creationId xmlns:a16="http://schemas.microsoft.com/office/drawing/2014/main" id="{0A143FE8-7EEC-614E-9861-85707500B99A}"/>
                  </a:ext>
                </a:extLst>
              </p:cNvPr>
              <p:cNvSpPr/>
              <p:nvPr/>
            </p:nvSpPr>
            <p:spPr bwMode="auto">
              <a:xfrm>
                <a:off x="3362326" y="2673350"/>
                <a:ext cx="144463" cy="412750"/>
              </a:xfrm>
              <a:custGeom>
                <a:avLst/>
                <a:gdLst>
                  <a:gd name="T0" fmla="*/ 22 w 24"/>
                  <a:gd name="T1" fmla="*/ 0 h 68"/>
                  <a:gd name="T2" fmla="*/ 21 w 24"/>
                  <a:gd name="T3" fmla="*/ 0 h 68"/>
                  <a:gd name="T4" fmla="*/ 9 w 24"/>
                  <a:gd name="T5" fmla="*/ 29 h 68"/>
                  <a:gd name="T6" fmla="*/ 9 w 24"/>
                  <a:gd name="T7" fmla="*/ 44 h 68"/>
                  <a:gd name="T8" fmla="*/ 0 w 24"/>
                  <a:gd name="T9" fmla="*/ 67 h 68"/>
                  <a:gd name="T10" fmla="*/ 1 w 24"/>
                  <a:gd name="T11" fmla="*/ 68 h 68"/>
                  <a:gd name="T12" fmla="*/ 10 w 24"/>
                  <a:gd name="T13" fmla="*/ 33 h 68"/>
                  <a:gd name="T14" fmla="*/ 21 w 24"/>
                  <a:gd name="T15" fmla="*/ 12 h 68"/>
                  <a:gd name="T16" fmla="*/ 22 w 24"/>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68">
                    <a:moveTo>
                      <a:pt x="22" y="0"/>
                    </a:moveTo>
                    <a:cubicBezTo>
                      <a:pt x="22" y="0"/>
                      <a:pt x="21" y="0"/>
                      <a:pt x="21" y="0"/>
                    </a:cubicBezTo>
                    <a:cubicBezTo>
                      <a:pt x="23" y="12"/>
                      <a:pt x="11" y="18"/>
                      <a:pt x="9" y="29"/>
                    </a:cubicBezTo>
                    <a:cubicBezTo>
                      <a:pt x="8" y="34"/>
                      <a:pt x="9" y="39"/>
                      <a:pt x="9" y="44"/>
                    </a:cubicBezTo>
                    <a:cubicBezTo>
                      <a:pt x="9" y="52"/>
                      <a:pt x="6" y="60"/>
                      <a:pt x="0" y="67"/>
                    </a:cubicBezTo>
                    <a:cubicBezTo>
                      <a:pt x="0" y="68"/>
                      <a:pt x="0" y="68"/>
                      <a:pt x="1" y="68"/>
                    </a:cubicBezTo>
                    <a:cubicBezTo>
                      <a:pt x="10" y="57"/>
                      <a:pt x="9" y="47"/>
                      <a:pt x="10" y="33"/>
                    </a:cubicBezTo>
                    <a:cubicBezTo>
                      <a:pt x="10" y="24"/>
                      <a:pt x="16" y="20"/>
                      <a:pt x="21" y="12"/>
                    </a:cubicBezTo>
                    <a:cubicBezTo>
                      <a:pt x="23" y="8"/>
                      <a:pt x="24" y="5"/>
                      <a:pt x="22" y="0"/>
                    </a:cubicBezTo>
                    <a:close/>
                  </a:path>
                </a:pathLst>
              </a:custGeom>
              <a:solidFill>
                <a:srgbClr val="11111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3" name="íSļïḑe">
                <a:extLst>
                  <a:ext uri="{FF2B5EF4-FFF2-40B4-BE49-F238E27FC236}">
                    <a16:creationId xmlns:a16="http://schemas.microsoft.com/office/drawing/2014/main" id="{0C5374FB-F1CD-0647-BAA3-654A2398B0BF}"/>
                  </a:ext>
                </a:extLst>
              </p:cNvPr>
              <p:cNvSpPr/>
              <p:nvPr/>
            </p:nvSpPr>
            <p:spPr bwMode="auto">
              <a:xfrm>
                <a:off x="3652838" y="2449513"/>
                <a:ext cx="266700" cy="187325"/>
              </a:xfrm>
              <a:custGeom>
                <a:avLst/>
                <a:gdLst>
                  <a:gd name="T0" fmla="*/ 44 w 44"/>
                  <a:gd name="T1" fmla="*/ 10 h 31"/>
                  <a:gd name="T2" fmla="*/ 0 w 44"/>
                  <a:gd name="T3" fmla="*/ 30 h 31"/>
                  <a:gd name="T4" fmla="*/ 1 w 44"/>
                  <a:gd name="T5" fmla="*/ 30 h 31"/>
                  <a:gd name="T6" fmla="*/ 43 w 44"/>
                  <a:gd name="T7" fmla="*/ 12 h 31"/>
                  <a:gd name="T8" fmla="*/ 44 w 44"/>
                  <a:gd name="T9" fmla="*/ 10 h 31"/>
                </a:gdLst>
                <a:ahLst/>
                <a:cxnLst>
                  <a:cxn ang="0">
                    <a:pos x="T0" y="T1"/>
                  </a:cxn>
                  <a:cxn ang="0">
                    <a:pos x="T2" y="T3"/>
                  </a:cxn>
                  <a:cxn ang="0">
                    <a:pos x="T4" y="T5"/>
                  </a:cxn>
                  <a:cxn ang="0">
                    <a:pos x="T6" y="T7"/>
                  </a:cxn>
                  <a:cxn ang="0">
                    <a:pos x="T8" y="T9"/>
                  </a:cxn>
                </a:cxnLst>
                <a:rect l="0" t="0" r="r" b="b"/>
                <a:pathLst>
                  <a:path w="44" h="31">
                    <a:moveTo>
                      <a:pt x="44" y="10"/>
                    </a:moveTo>
                    <a:cubicBezTo>
                      <a:pt x="27" y="0"/>
                      <a:pt x="4" y="11"/>
                      <a:pt x="0" y="30"/>
                    </a:cubicBezTo>
                    <a:cubicBezTo>
                      <a:pt x="0" y="31"/>
                      <a:pt x="1" y="31"/>
                      <a:pt x="1" y="30"/>
                    </a:cubicBezTo>
                    <a:cubicBezTo>
                      <a:pt x="9" y="11"/>
                      <a:pt x="24" y="6"/>
                      <a:pt x="43" y="12"/>
                    </a:cubicBezTo>
                    <a:cubicBezTo>
                      <a:pt x="44" y="12"/>
                      <a:pt x="44" y="10"/>
                      <a:pt x="44" y="10"/>
                    </a:cubicBezTo>
                    <a:close/>
                  </a:path>
                </a:pathLst>
              </a:custGeom>
              <a:solidFill>
                <a:srgbClr val="11111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4" name="ïṩ1íḍe">
                <a:extLst>
                  <a:ext uri="{FF2B5EF4-FFF2-40B4-BE49-F238E27FC236}">
                    <a16:creationId xmlns:a16="http://schemas.microsoft.com/office/drawing/2014/main" id="{A199349F-1503-C14B-A63E-4A29F1BC2FEE}"/>
                  </a:ext>
                </a:extLst>
              </p:cNvPr>
              <p:cNvSpPr/>
              <p:nvPr/>
            </p:nvSpPr>
            <p:spPr bwMode="auto">
              <a:xfrm>
                <a:off x="8096251" y="2025650"/>
                <a:ext cx="612775" cy="1400175"/>
              </a:xfrm>
              <a:custGeom>
                <a:avLst/>
                <a:gdLst>
                  <a:gd name="T0" fmla="*/ 43 w 101"/>
                  <a:gd name="T1" fmla="*/ 192 h 231"/>
                  <a:gd name="T2" fmla="*/ 13 w 101"/>
                  <a:gd name="T3" fmla="*/ 116 h 231"/>
                  <a:gd name="T4" fmla="*/ 18 w 101"/>
                  <a:gd name="T5" fmla="*/ 15 h 231"/>
                  <a:gd name="T6" fmla="*/ 1 w 101"/>
                  <a:gd name="T7" fmla="*/ 13 h 231"/>
                  <a:gd name="T8" fmla="*/ 13 w 101"/>
                  <a:gd name="T9" fmla="*/ 5 h 231"/>
                  <a:gd name="T10" fmla="*/ 26 w 101"/>
                  <a:gd name="T11" fmla="*/ 2 h 231"/>
                  <a:gd name="T12" fmla="*/ 39 w 101"/>
                  <a:gd name="T13" fmla="*/ 117 h 231"/>
                  <a:gd name="T14" fmla="*/ 94 w 101"/>
                  <a:gd name="T15" fmla="*/ 192 h 231"/>
                  <a:gd name="T16" fmla="*/ 62 w 101"/>
                  <a:gd name="T17" fmla="*/ 231 h 231"/>
                  <a:gd name="T18" fmla="*/ 43 w 101"/>
                  <a:gd name="T19" fmla="*/ 192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231">
                    <a:moveTo>
                      <a:pt x="43" y="192"/>
                    </a:moveTo>
                    <a:cubicBezTo>
                      <a:pt x="43" y="192"/>
                      <a:pt x="12" y="126"/>
                      <a:pt x="13" y="116"/>
                    </a:cubicBezTo>
                    <a:cubicBezTo>
                      <a:pt x="14" y="107"/>
                      <a:pt x="18" y="15"/>
                      <a:pt x="18" y="15"/>
                    </a:cubicBezTo>
                    <a:cubicBezTo>
                      <a:pt x="18" y="15"/>
                      <a:pt x="0" y="16"/>
                      <a:pt x="1" y="13"/>
                    </a:cubicBezTo>
                    <a:cubicBezTo>
                      <a:pt x="1" y="9"/>
                      <a:pt x="13" y="5"/>
                      <a:pt x="13" y="5"/>
                    </a:cubicBezTo>
                    <a:cubicBezTo>
                      <a:pt x="13" y="5"/>
                      <a:pt x="20" y="0"/>
                      <a:pt x="26" y="2"/>
                    </a:cubicBezTo>
                    <a:cubicBezTo>
                      <a:pt x="33" y="4"/>
                      <a:pt x="39" y="117"/>
                      <a:pt x="39" y="117"/>
                    </a:cubicBezTo>
                    <a:cubicBezTo>
                      <a:pt x="39" y="117"/>
                      <a:pt x="101" y="173"/>
                      <a:pt x="94" y="192"/>
                    </a:cubicBezTo>
                    <a:cubicBezTo>
                      <a:pt x="87" y="210"/>
                      <a:pt x="62" y="231"/>
                      <a:pt x="62" y="231"/>
                    </a:cubicBezTo>
                    <a:lnTo>
                      <a:pt x="43" y="192"/>
                    </a:lnTo>
                    <a:close/>
                  </a:path>
                </a:pathLst>
              </a:custGeom>
              <a:solidFill>
                <a:srgbClr val="F4EED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5" name="îṡļiḓé">
                <a:extLst>
                  <a:ext uri="{FF2B5EF4-FFF2-40B4-BE49-F238E27FC236}">
                    <a16:creationId xmlns:a16="http://schemas.microsoft.com/office/drawing/2014/main" id="{64EBDED4-808B-C74E-B543-F0D3C892D7E1}"/>
                  </a:ext>
                </a:extLst>
              </p:cNvPr>
              <p:cNvSpPr/>
              <p:nvPr/>
            </p:nvSpPr>
            <p:spPr bwMode="auto">
              <a:xfrm>
                <a:off x="8167688" y="2419350"/>
                <a:ext cx="541338" cy="1006475"/>
              </a:xfrm>
              <a:custGeom>
                <a:avLst/>
                <a:gdLst>
                  <a:gd name="T0" fmla="*/ 27 w 89"/>
                  <a:gd name="T1" fmla="*/ 52 h 166"/>
                  <a:gd name="T2" fmla="*/ 24 w 89"/>
                  <a:gd name="T3" fmla="*/ 0 h 166"/>
                  <a:gd name="T4" fmla="*/ 3 w 89"/>
                  <a:gd name="T5" fmla="*/ 6 h 166"/>
                  <a:gd name="T6" fmla="*/ 1 w 89"/>
                  <a:gd name="T7" fmla="*/ 51 h 166"/>
                  <a:gd name="T8" fmla="*/ 31 w 89"/>
                  <a:gd name="T9" fmla="*/ 127 h 166"/>
                  <a:gd name="T10" fmla="*/ 50 w 89"/>
                  <a:gd name="T11" fmla="*/ 166 h 166"/>
                  <a:gd name="T12" fmla="*/ 82 w 89"/>
                  <a:gd name="T13" fmla="*/ 127 h 166"/>
                  <a:gd name="T14" fmla="*/ 27 w 89"/>
                  <a:gd name="T15" fmla="*/ 52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 h="166">
                    <a:moveTo>
                      <a:pt x="27" y="52"/>
                    </a:moveTo>
                    <a:cubicBezTo>
                      <a:pt x="27" y="52"/>
                      <a:pt x="26" y="27"/>
                      <a:pt x="24" y="0"/>
                    </a:cubicBezTo>
                    <a:cubicBezTo>
                      <a:pt x="3" y="6"/>
                      <a:pt x="3" y="6"/>
                      <a:pt x="3" y="6"/>
                    </a:cubicBezTo>
                    <a:cubicBezTo>
                      <a:pt x="3" y="27"/>
                      <a:pt x="2" y="47"/>
                      <a:pt x="1" y="51"/>
                    </a:cubicBezTo>
                    <a:cubicBezTo>
                      <a:pt x="0" y="61"/>
                      <a:pt x="31" y="127"/>
                      <a:pt x="31" y="127"/>
                    </a:cubicBezTo>
                    <a:cubicBezTo>
                      <a:pt x="50" y="166"/>
                      <a:pt x="50" y="166"/>
                      <a:pt x="50" y="166"/>
                    </a:cubicBezTo>
                    <a:cubicBezTo>
                      <a:pt x="50" y="166"/>
                      <a:pt x="75" y="145"/>
                      <a:pt x="82" y="127"/>
                    </a:cubicBezTo>
                    <a:cubicBezTo>
                      <a:pt x="89" y="108"/>
                      <a:pt x="27" y="52"/>
                      <a:pt x="27" y="52"/>
                    </a:cubicBezTo>
                    <a:close/>
                  </a:path>
                </a:pathLst>
              </a:custGeom>
              <a:solidFill>
                <a:srgbClr val="E3493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6" name="îṡḻíde">
                <a:extLst>
                  <a:ext uri="{FF2B5EF4-FFF2-40B4-BE49-F238E27FC236}">
                    <a16:creationId xmlns:a16="http://schemas.microsoft.com/office/drawing/2014/main" id="{0B386EE0-C9D8-BB48-8383-67BBBEEB2BA7}"/>
                  </a:ext>
                </a:extLst>
              </p:cNvPr>
              <p:cNvSpPr/>
              <p:nvPr/>
            </p:nvSpPr>
            <p:spPr bwMode="auto">
              <a:xfrm>
                <a:off x="7427913" y="2152650"/>
                <a:ext cx="85725" cy="1309688"/>
              </a:xfrm>
              <a:prstGeom prst="rect">
                <a:avLst/>
              </a:prstGeom>
              <a:solidFill>
                <a:srgbClr val="DC609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037" name="i$ľîďè">
                <a:extLst>
                  <a:ext uri="{FF2B5EF4-FFF2-40B4-BE49-F238E27FC236}">
                    <a16:creationId xmlns:a16="http://schemas.microsoft.com/office/drawing/2014/main" id="{DADED5BD-C067-2B49-966C-36846415C30A}"/>
                  </a:ext>
                </a:extLst>
              </p:cNvPr>
              <p:cNvSpPr/>
              <p:nvPr/>
            </p:nvSpPr>
            <p:spPr bwMode="auto">
              <a:xfrm>
                <a:off x="7427913" y="2152650"/>
                <a:ext cx="85725" cy="130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038" name="ïṥľíḑé">
                <a:extLst>
                  <a:ext uri="{FF2B5EF4-FFF2-40B4-BE49-F238E27FC236}">
                    <a16:creationId xmlns:a16="http://schemas.microsoft.com/office/drawing/2014/main" id="{0857A529-4E6F-BF4A-82F2-631F579D07CC}"/>
                  </a:ext>
                </a:extLst>
              </p:cNvPr>
              <p:cNvSpPr/>
              <p:nvPr/>
            </p:nvSpPr>
            <p:spPr bwMode="auto">
              <a:xfrm>
                <a:off x="7112001" y="2152650"/>
                <a:ext cx="315913" cy="1309688"/>
              </a:xfrm>
              <a:custGeom>
                <a:avLst/>
                <a:gdLst>
                  <a:gd name="T0" fmla="*/ 52 w 52"/>
                  <a:gd name="T1" fmla="*/ 0 h 216"/>
                  <a:gd name="T2" fmla="*/ 0 w 52"/>
                  <a:gd name="T3" fmla="*/ 0 h 216"/>
                  <a:gd name="T4" fmla="*/ 0 w 52"/>
                  <a:gd name="T5" fmla="*/ 24 h 216"/>
                  <a:gd name="T6" fmla="*/ 0 w 52"/>
                  <a:gd name="T7" fmla="*/ 26 h 216"/>
                  <a:gd name="T8" fmla="*/ 29 w 52"/>
                  <a:gd name="T9" fmla="*/ 136 h 216"/>
                  <a:gd name="T10" fmla="*/ 23 w 52"/>
                  <a:gd name="T11" fmla="*/ 144 h 216"/>
                  <a:gd name="T12" fmla="*/ 18 w 52"/>
                  <a:gd name="T13" fmla="*/ 139 h 216"/>
                  <a:gd name="T14" fmla="*/ 0 w 52"/>
                  <a:gd name="T15" fmla="*/ 66 h 216"/>
                  <a:gd name="T16" fmla="*/ 0 w 52"/>
                  <a:gd name="T17" fmla="*/ 216 h 216"/>
                  <a:gd name="T18" fmla="*/ 52 w 52"/>
                  <a:gd name="T19" fmla="*/ 216 h 216"/>
                  <a:gd name="T20" fmla="*/ 52 w 52"/>
                  <a:gd name="T21"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216">
                    <a:moveTo>
                      <a:pt x="52" y="0"/>
                    </a:moveTo>
                    <a:cubicBezTo>
                      <a:pt x="0" y="0"/>
                      <a:pt x="0" y="0"/>
                      <a:pt x="0" y="0"/>
                    </a:cubicBezTo>
                    <a:cubicBezTo>
                      <a:pt x="0" y="24"/>
                      <a:pt x="0" y="24"/>
                      <a:pt x="0" y="24"/>
                    </a:cubicBezTo>
                    <a:cubicBezTo>
                      <a:pt x="0" y="25"/>
                      <a:pt x="0" y="25"/>
                      <a:pt x="0" y="26"/>
                    </a:cubicBezTo>
                    <a:cubicBezTo>
                      <a:pt x="12" y="62"/>
                      <a:pt x="21" y="99"/>
                      <a:pt x="29" y="136"/>
                    </a:cubicBezTo>
                    <a:cubicBezTo>
                      <a:pt x="30" y="141"/>
                      <a:pt x="26" y="144"/>
                      <a:pt x="23" y="144"/>
                    </a:cubicBezTo>
                    <a:cubicBezTo>
                      <a:pt x="21" y="144"/>
                      <a:pt x="18" y="142"/>
                      <a:pt x="18" y="139"/>
                    </a:cubicBezTo>
                    <a:cubicBezTo>
                      <a:pt x="13" y="115"/>
                      <a:pt x="7" y="90"/>
                      <a:pt x="0" y="66"/>
                    </a:cubicBezTo>
                    <a:cubicBezTo>
                      <a:pt x="0" y="216"/>
                      <a:pt x="0" y="216"/>
                      <a:pt x="0" y="216"/>
                    </a:cubicBezTo>
                    <a:cubicBezTo>
                      <a:pt x="52" y="216"/>
                      <a:pt x="52" y="216"/>
                      <a:pt x="52" y="216"/>
                    </a:cubicBezTo>
                    <a:cubicBezTo>
                      <a:pt x="52" y="0"/>
                      <a:pt x="52" y="0"/>
                      <a:pt x="52" y="0"/>
                    </a:cubicBezTo>
                  </a:path>
                </a:pathLst>
              </a:custGeom>
              <a:solidFill>
                <a:srgbClr val="EAEAE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9" name="îSḻîḓe">
                <a:extLst>
                  <a:ext uri="{FF2B5EF4-FFF2-40B4-BE49-F238E27FC236}">
                    <a16:creationId xmlns:a16="http://schemas.microsoft.com/office/drawing/2014/main" id="{D2FA5EA3-9080-E546-B8FB-4E917FDAC2F8}"/>
                  </a:ext>
                </a:extLst>
              </p:cNvPr>
              <p:cNvSpPr/>
              <p:nvPr/>
            </p:nvSpPr>
            <p:spPr bwMode="auto">
              <a:xfrm>
                <a:off x="7112001" y="2298700"/>
                <a:ext cx="182563" cy="727075"/>
              </a:xfrm>
              <a:custGeom>
                <a:avLst/>
                <a:gdLst>
                  <a:gd name="T0" fmla="*/ 0 w 30"/>
                  <a:gd name="T1" fmla="*/ 0 h 120"/>
                  <a:gd name="T2" fmla="*/ 0 w 30"/>
                  <a:gd name="T3" fmla="*/ 42 h 120"/>
                  <a:gd name="T4" fmla="*/ 18 w 30"/>
                  <a:gd name="T5" fmla="*/ 115 h 120"/>
                  <a:gd name="T6" fmla="*/ 23 w 30"/>
                  <a:gd name="T7" fmla="*/ 120 h 120"/>
                  <a:gd name="T8" fmla="*/ 29 w 30"/>
                  <a:gd name="T9" fmla="*/ 112 h 120"/>
                  <a:gd name="T10" fmla="*/ 0 w 30"/>
                  <a:gd name="T11" fmla="*/ 2 h 120"/>
                  <a:gd name="T12" fmla="*/ 0 w 30"/>
                  <a:gd name="T13" fmla="*/ 0 h 120"/>
                </a:gdLst>
                <a:ahLst/>
                <a:cxnLst>
                  <a:cxn ang="0">
                    <a:pos x="T0" y="T1"/>
                  </a:cxn>
                  <a:cxn ang="0">
                    <a:pos x="T2" y="T3"/>
                  </a:cxn>
                  <a:cxn ang="0">
                    <a:pos x="T4" y="T5"/>
                  </a:cxn>
                  <a:cxn ang="0">
                    <a:pos x="T6" y="T7"/>
                  </a:cxn>
                  <a:cxn ang="0">
                    <a:pos x="T8" y="T9"/>
                  </a:cxn>
                  <a:cxn ang="0">
                    <a:pos x="T10" y="T11"/>
                  </a:cxn>
                  <a:cxn ang="0">
                    <a:pos x="T12" y="T13"/>
                  </a:cxn>
                </a:cxnLst>
                <a:rect l="0" t="0" r="r" b="b"/>
                <a:pathLst>
                  <a:path w="30" h="120">
                    <a:moveTo>
                      <a:pt x="0" y="0"/>
                    </a:moveTo>
                    <a:cubicBezTo>
                      <a:pt x="0" y="42"/>
                      <a:pt x="0" y="42"/>
                      <a:pt x="0" y="42"/>
                    </a:cubicBezTo>
                    <a:cubicBezTo>
                      <a:pt x="7" y="66"/>
                      <a:pt x="13" y="91"/>
                      <a:pt x="18" y="115"/>
                    </a:cubicBezTo>
                    <a:cubicBezTo>
                      <a:pt x="18" y="118"/>
                      <a:pt x="21" y="120"/>
                      <a:pt x="23" y="120"/>
                    </a:cubicBezTo>
                    <a:cubicBezTo>
                      <a:pt x="26" y="120"/>
                      <a:pt x="30" y="117"/>
                      <a:pt x="29" y="112"/>
                    </a:cubicBezTo>
                    <a:cubicBezTo>
                      <a:pt x="21" y="75"/>
                      <a:pt x="12" y="38"/>
                      <a:pt x="0" y="2"/>
                    </a:cubicBezTo>
                    <a:cubicBezTo>
                      <a:pt x="0" y="1"/>
                      <a:pt x="0" y="1"/>
                      <a:pt x="0" y="0"/>
                    </a:cubicBezTo>
                  </a:path>
                </a:pathLst>
              </a:custGeom>
              <a:solidFill>
                <a:srgbClr val="DC609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40" name="ïşļîḓê">
                <a:extLst>
                  <a:ext uri="{FF2B5EF4-FFF2-40B4-BE49-F238E27FC236}">
                    <a16:creationId xmlns:a16="http://schemas.microsoft.com/office/drawing/2014/main" id="{301C7932-4609-FE48-9191-A434065FE524}"/>
                  </a:ext>
                </a:extLst>
              </p:cNvPr>
              <p:cNvSpPr/>
              <p:nvPr/>
            </p:nvSpPr>
            <p:spPr bwMode="auto">
              <a:xfrm>
                <a:off x="7161213" y="2116138"/>
                <a:ext cx="1042988" cy="1309688"/>
              </a:xfrm>
              <a:prstGeom prst="rect">
                <a:avLst/>
              </a:prstGeom>
              <a:solidFill>
                <a:srgbClr val="3E039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041" name="iṩḻiḋè">
                <a:extLst>
                  <a:ext uri="{FF2B5EF4-FFF2-40B4-BE49-F238E27FC236}">
                    <a16:creationId xmlns:a16="http://schemas.microsoft.com/office/drawing/2014/main" id="{6AEB1C90-79BC-2740-9CB5-BA773575E9EC}"/>
                  </a:ext>
                </a:extLst>
              </p:cNvPr>
              <p:cNvSpPr/>
              <p:nvPr/>
            </p:nvSpPr>
            <p:spPr bwMode="auto">
              <a:xfrm>
                <a:off x="7337426" y="2432050"/>
                <a:ext cx="692150" cy="47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042" name="ísḻîďè">
                <a:extLst>
                  <a:ext uri="{FF2B5EF4-FFF2-40B4-BE49-F238E27FC236}">
                    <a16:creationId xmlns:a16="http://schemas.microsoft.com/office/drawing/2014/main" id="{ACFA7B9D-2035-0B4E-9C31-80C3798E23A1}"/>
                  </a:ext>
                </a:extLst>
              </p:cNvPr>
              <p:cNvSpPr/>
              <p:nvPr/>
            </p:nvSpPr>
            <p:spPr bwMode="auto">
              <a:xfrm>
                <a:off x="7573963" y="2432050"/>
                <a:ext cx="455613" cy="47625"/>
              </a:xfrm>
              <a:prstGeom prst="rect">
                <a:avLst/>
              </a:prstGeom>
              <a:solidFill>
                <a:srgbClr val="00BEB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043" name="ïśľîḍê">
                <a:extLst>
                  <a:ext uri="{FF2B5EF4-FFF2-40B4-BE49-F238E27FC236}">
                    <a16:creationId xmlns:a16="http://schemas.microsoft.com/office/drawing/2014/main" id="{8BB547CB-EA2E-4E47-A48F-0B7F8BBF1533}"/>
                  </a:ext>
                </a:extLst>
              </p:cNvPr>
              <p:cNvSpPr/>
              <p:nvPr/>
            </p:nvSpPr>
            <p:spPr bwMode="auto">
              <a:xfrm>
                <a:off x="7337426" y="2770188"/>
                <a:ext cx="692150"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044" name="îṩḻïḑé">
                <a:extLst>
                  <a:ext uri="{FF2B5EF4-FFF2-40B4-BE49-F238E27FC236}">
                    <a16:creationId xmlns:a16="http://schemas.microsoft.com/office/drawing/2014/main" id="{BF882313-F451-5746-9D90-CDDD50155A15}"/>
                  </a:ext>
                </a:extLst>
              </p:cNvPr>
              <p:cNvSpPr/>
              <p:nvPr/>
            </p:nvSpPr>
            <p:spPr bwMode="auto">
              <a:xfrm>
                <a:off x="7470776" y="2770188"/>
                <a:ext cx="558800" cy="49213"/>
              </a:xfrm>
              <a:prstGeom prst="rect">
                <a:avLst/>
              </a:prstGeom>
              <a:solidFill>
                <a:srgbClr val="00BEB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045" name="ïSļîḍe">
                <a:extLst>
                  <a:ext uri="{FF2B5EF4-FFF2-40B4-BE49-F238E27FC236}">
                    <a16:creationId xmlns:a16="http://schemas.microsoft.com/office/drawing/2014/main" id="{1B5A5CC2-EBB2-5D46-B97B-8504E843AA6D}"/>
                  </a:ext>
                </a:extLst>
              </p:cNvPr>
              <p:cNvSpPr/>
              <p:nvPr/>
            </p:nvSpPr>
            <p:spPr bwMode="auto">
              <a:xfrm>
                <a:off x="7337426" y="2262188"/>
                <a:ext cx="692150" cy="47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046" name="íṥľíḍè">
                <a:extLst>
                  <a:ext uri="{FF2B5EF4-FFF2-40B4-BE49-F238E27FC236}">
                    <a16:creationId xmlns:a16="http://schemas.microsoft.com/office/drawing/2014/main" id="{D5568EFB-91CC-8B4A-9A16-CF97860D7E40}"/>
                  </a:ext>
                </a:extLst>
              </p:cNvPr>
              <p:cNvSpPr/>
              <p:nvPr/>
            </p:nvSpPr>
            <p:spPr bwMode="auto">
              <a:xfrm>
                <a:off x="7810501" y="2262188"/>
                <a:ext cx="219075" cy="47625"/>
              </a:xfrm>
              <a:prstGeom prst="rect">
                <a:avLst/>
              </a:prstGeom>
              <a:solidFill>
                <a:srgbClr val="00BEB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047" name="íşlïḓè">
                <a:extLst>
                  <a:ext uri="{FF2B5EF4-FFF2-40B4-BE49-F238E27FC236}">
                    <a16:creationId xmlns:a16="http://schemas.microsoft.com/office/drawing/2014/main" id="{6AAED44A-6107-194A-AAF7-17C8F95E6004}"/>
                  </a:ext>
                </a:extLst>
              </p:cNvPr>
              <p:cNvSpPr/>
              <p:nvPr/>
            </p:nvSpPr>
            <p:spPr bwMode="auto">
              <a:xfrm>
                <a:off x="7337426" y="2601913"/>
                <a:ext cx="692150" cy="47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048" name="ïSlîḓé">
                <a:extLst>
                  <a:ext uri="{FF2B5EF4-FFF2-40B4-BE49-F238E27FC236}">
                    <a16:creationId xmlns:a16="http://schemas.microsoft.com/office/drawing/2014/main" id="{306DFF48-A8CC-A344-B879-42FF83A8FB1E}"/>
                  </a:ext>
                </a:extLst>
              </p:cNvPr>
              <p:cNvSpPr/>
              <p:nvPr/>
            </p:nvSpPr>
            <p:spPr bwMode="auto">
              <a:xfrm>
                <a:off x="7731126" y="2601913"/>
                <a:ext cx="298450" cy="47625"/>
              </a:xfrm>
              <a:prstGeom prst="rect">
                <a:avLst/>
              </a:prstGeom>
              <a:solidFill>
                <a:srgbClr val="00BEB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049" name="î$ļïďè">
                <a:extLst>
                  <a:ext uri="{FF2B5EF4-FFF2-40B4-BE49-F238E27FC236}">
                    <a16:creationId xmlns:a16="http://schemas.microsoft.com/office/drawing/2014/main" id="{9BFC178C-7479-0F4F-A94C-64F683638CC2}"/>
                  </a:ext>
                </a:extLst>
              </p:cNvPr>
              <p:cNvSpPr/>
              <p:nvPr/>
            </p:nvSpPr>
            <p:spPr bwMode="auto">
              <a:xfrm>
                <a:off x="7810501" y="2946400"/>
                <a:ext cx="66675" cy="666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050" name="i$ḻiḋe">
                <a:extLst>
                  <a:ext uri="{FF2B5EF4-FFF2-40B4-BE49-F238E27FC236}">
                    <a16:creationId xmlns:a16="http://schemas.microsoft.com/office/drawing/2014/main" id="{0A1C27AC-40A2-3B46-B464-55F7B78193DA}"/>
                  </a:ext>
                </a:extLst>
              </p:cNvPr>
              <p:cNvSpPr/>
              <p:nvPr/>
            </p:nvSpPr>
            <p:spPr bwMode="auto">
              <a:xfrm>
                <a:off x="7920038" y="2946400"/>
                <a:ext cx="73025" cy="66675"/>
              </a:xfrm>
              <a:prstGeom prst="rect">
                <a:avLst/>
              </a:prstGeom>
              <a:solidFill>
                <a:srgbClr val="E3493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051" name="ïŝḷîdè">
                <a:extLst>
                  <a:ext uri="{FF2B5EF4-FFF2-40B4-BE49-F238E27FC236}">
                    <a16:creationId xmlns:a16="http://schemas.microsoft.com/office/drawing/2014/main" id="{BDA3B9F9-BAC6-194E-8854-797E970AB896}"/>
                  </a:ext>
                </a:extLst>
              </p:cNvPr>
              <p:cNvSpPr/>
              <p:nvPr/>
            </p:nvSpPr>
            <p:spPr bwMode="auto">
              <a:xfrm>
                <a:off x="8029576" y="2946400"/>
                <a:ext cx="71438" cy="66675"/>
              </a:xfrm>
              <a:prstGeom prst="rect">
                <a:avLst/>
              </a:prstGeom>
              <a:solidFill>
                <a:srgbClr val="E3493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052" name="ïśḷiḋè">
                <a:extLst>
                  <a:ext uri="{FF2B5EF4-FFF2-40B4-BE49-F238E27FC236}">
                    <a16:creationId xmlns:a16="http://schemas.microsoft.com/office/drawing/2014/main" id="{E5713B04-71A0-6745-B55C-90430F362A61}"/>
                  </a:ext>
                </a:extLst>
              </p:cNvPr>
              <p:cNvSpPr/>
              <p:nvPr/>
            </p:nvSpPr>
            <p:spPr bwMode="auto">
              <a:xfrm>
                <a:off x="7810501" y="3073400"/>
                <a:ext cx="66675" cy="730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053" name="îṧļídé">
                <a:extLst>
                  <a:ext uri="{FF2B5EF4-FFF2-40B4-BE49-F238E27FC236}">
                    <a16:creationId xmlns:a16="http://schemas.microsoft.com/office/drawing/2014/main" id="{44547A2C-8087-0845-AC46-9C102DE943C5}"/>
                  </a:ext>
                </a:extLst>
              </p:cNvPr>
              <p:cNvSpPr/>
              <p:nvPr/>
            </p:nvSpPr>
            <p:spPr bwMode="auto">
              <a:xfrm>
                <a:off x="7920038" y="3073400"/>
                <a:ext cx="73025" cy="73025"/>
              </a:xfrm>
              <a:prstGeom prst="rect">
                <a:avLst/>
              </a:prstGeom>
              <a:solidFill>
                <a:srgbClr val="E3493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054" name="í$liďe">
                <a:extLst>
                  <a:ext uri="{FF2B5EF4-FFF2-40B4-BE49-F238E27FC236}">
                    <a16:creationId xmlns:a16="http://schemas.microsoft.com/office/drawing/2014/main" id="{1ED933F1-8D0A-5342-8A21-BA9BF4FC7801}"/>
                  </a:ext>
                </a:extLst>
              </p:cNvPr>
              <p:cNvSpPr/>
              <p:nvPr/>
            </p:nvSpPr>
            <p:spPr bwMode="auto">
              <a:xfrm>
                <a:off x="8029576" y="3073400"/>
                <a:ext cx="71438" cy="73025"/>
              </a:xfrm>
              <a:prstGeom prst="rect">
                <a:avLst/>
              </a:prstGeom>
              <a:solidFill>
                <a:srgbClr val="E3493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055" name="îŝļiḍè">
                <a:extLst>
                  <a:ext uri="{FF2B5EF4-FFF2-40B4-BE49-F238E27FC236}">
                    <a16:creationId xmlns:a16="http://schemas.microsoft.com/office/drawing/2014/main" id="{791F85D5-32DE-E840-8034-B8FF127518EF}"/>
                  </a:ext>
                </a:extLst>
              </p:cNvPr>
              <p:cNvSpPr/>
              <p:nvPr/>
            </p:nvSpPr>
            <p:spPr bwMode="auto">
              <a:xfrm>
                <a:off x="7810501" y="3208338"/>
                <a:ext cx="66675" cy="714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056" name="î$ḷide">
                <a:extLst>
                  <a:ext uri="{FF2B5EF4-FFF2-40B4-BE49-F238E27FC236}">
                    <a16:creationId xmlns:a16="http://schemas.microsoft.com/office/drawing/2014/main" id="{75C5E314-B2B2-FC43-BBE0-42C1E040ED45}"/>
                  </a:ext>
                </a:extLst>
              </p:cNvPr>
              <p:cNvSpPr/>
              <p:nvPr/>
            </p:nvSpPr>
            <p:spPr bwMode="auto">
              <a:xfrm>
                <a:off x="7920038" y="3208338"/>
                <a:ext cx="73025" cy="714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057" name="î$ḻïḑè">
                <a:extLst>
                  <a:ext uri="{FF2B5EF4-FFF2-40B4-BE49-F238E27FC236}">
                    <a16:creationId xmlns:a16="http://schemas.microsoft.com/office/drawing/2014/main" id="{C26E6705-AC9E-3D4D-BA69-39344505ECD8}"/>
                  </a:ext>
                </a:extLst>
              </p:cNvPr>
              <p:cNvSpPr/>
              <p:nvPr/>
            </p:nvSpPr>
            <p:spPr bwMode="auto">
              <a:xfrm>
                <a:off x="8029576" y="3208338"/>
                <a:ext cx="71438" cy="714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058" name="îŝḻide">
                <a:extLst>
                  <a:ext uri="{FF2B5EF4-FFF2-40B4-BE49-F238E27FC236}">
                    <a16:creationId xmlns:a16="http://schemas.microsoft.com/office/drawing/2014/main" id="{051DA256-480C-4043-9057-1FCCE215C881}"/>
                  </a:ext>
                </a:extLst>
              </p:cNvPr>
              <p:cNvSpPr/>
              <p:nvPr/>
            </p:nvSpPr>
            <p:spPr bwMode="auto">
              <a:xfrm>
                <a:off x="7264401" y="2959100"/>
                <a:ext cx="309563" cy="174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059" name="îṣ1íḓe">
                <a:extLst>
                  <a:ext uri="{FF2B5EF4-FFF2-40B4-BE49-F238E27FC236}">
                    <a16:creationId xmlns:a16="http://schemas.microsoft.com/office/drawing/2014/main" id="{27FF55C6-1F93-9C4C-98AA-411B5DABDE3F}"/>
                  </a:ext>
                </a:extLst>
              </p:cNvPr>
              <p:cNvSpPr/>
              <p:nvPr/>
            </p:nvSpPr>
            <p:spPr bwMode="auto">
              <a:xfrm>
                <a:off x="7264401" y="3013075"/>
                <a:ext cx="309563" cy="254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060" name="ïṧḷîdè">
                <a:extLst>
                  <a:ext uri="{FF2B5EF4-FFF2-40B4-BE49-F238E27FC236}">
                    <a16:creationId xmlns:a16="http://schemas.microsoft.com/office/drawing/2014/main" id="{BB50B2C7-67E9-684A-97A8-D2DBBDB760C3}"/>
                  </a:ext>
                </a:extLst>
              </p:cNvPr>
              <p:cNvSpPr/>
              <p:nvPr/>
            </p:nvSpPr>
            <p:spPr bwMode="auto">
              <a:xfrm>
                <a:off x="7264401" y="3073400"/>
                <a:ext cx="309563" cy="190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061" name="îṧḻîḍe">
                <a:extLst>
                  <a:ext uri="{FF2B5EF4-FFF2-40B4-BE49-F238E27FC236}">
                    <a16:creationId xmlns:a16="http://schemas.microsoft.com/office/drawing/2014/main" id="{593AE7F8-46CD-8B41-B0F2-474F905097B8}"/>
                  </a:ext>
                </a:extLst>
              </p:cNvPr>
              <p:cNvSpPr/>
              <p:nvPr/>
            </p:nvSpPr>
            <p:spPr bwMode="auto">
              <a:xfrm>
                <a:off x="7264401" y="3128963"/>
                <a:ext cx="193675" cy="174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062" name="îṣḷîďê">
                <a:extLst>
                  <a:ext uri="{FF2B5EF4-FFF2-40B4-BE49-F238E27FC236}">
                    <a16:creationId xmlns:a16="http://schemas.microsoft.com/office/drawing/2014/main" id="{F47B215D-A901-6A4B-9899-E4191682EDD0}"/>
                  </a:ext>
                </a:extLst>
              </p:cNvPr>
              <p:cNvSpPr/>
              <p:nvPr/>
            </p:nvSpPr>
            <p:spPr bwMode="auto">
              <a:xfrm>
                <a:off x="8513763" y="5499100"/>
                <a:ext cx="273050" cy="165100"/>
              </a:xfrm>
              <a:custGeom>
                <a:avLst/>
                <a:gdLst>
                  <a:gd name="T0" fmla="*/ 42 w 45"/>
                  <a:gd name="T1" fmla="*/ 0 h 27"/>
                  <a:gd name="T2" fmla="*/ 43 w 45"/>
                  <a:gd name="T3" fmla="*/ 7 h 27"/>
                  <a:gd name="T4" fmla="*/ 45 w 45"/>
                  <a:gd name="T5" fmla="*/ 17 h 27"/>
                  <a:gd name="T6" fmla="*/ 4 w 45"/>
                  <a:gd name="T7" fmla="*/ 27 h 27"/>
                  <a:gd name="T8" fmla="*/ 1 w 45"/>
                  <a:gd name="T9" fmla="*/ 23 h 27"/>
                  <a:gd name="T10" fmla="*/ 9 w 45"/>
                  <a:gd name="T11" fmla="*/ 15 h 27"/>
                  <a:gd name="T12" fmla="*/ 25 w 45"/>
                  <a:gd name="T13" fmla="*/ 4 h 27"/>
                  <a:gd name="T14" fmla="*/ 42 w 45"/>
                  <a:gd name="T15" fmla="*/ 0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27">
                    <a:moveTo>
                      <a:pt x="42" y="0"/>
                    </a:moveTo>
                    <a:cubicBezTo>
                      <a:pt x="43" y="7"/>
                      <a:pt x="43" y="7"/>
                      <a:pt x="43" y="7"/>
                    </a:cubicBezTo>
                    <a:cubicBezTo>
                      <a:pt x="45" y="17"/>
                      <a:pt x="45" y="17"/>
                      <a:pt x="45" y="17"/>
                    </a:cubicBezTo>
                    <a:cubicBezTo>
                      <a:pt x="4" y="27"/>
                      <a:pt x="4" y="27"/>
                      <a:pt x="4" y="27"/>
                    </a:cubicBezTo>
                    <a:cubicBezTo>
                      <a:pt x="1" y="27"/>
                      <a:pt x="0" y="25"/>
                      <a:pt x="1" y="23"/>
                    </a:cubicBezTo>
                    <a:cubicBezTo>
                      <a:pt x="3" y="20"/>
                      <a:pt x="6" y="17"/>
                      <a:pt x="9" y="15"/>
                    </a:cubicBezTo>
                    <a:cubicBezTo>
                      <a:pt x="16" y="9"/>
                      <a:pt x="25" y="4"/>
                      <a:pt x="25" y="4"/>
                    </a:cubicBezTo>
                    <a:lnTo>
                      <a:pt x="4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3" name="îṥļïḍè">
                <a:extLst>
                  <a:ext uri="{FF2B5EF4-FFF2-40B4-BE49-F238E27FC236}">
                    <a16:creationId xmlns:a16="http://schemas.microsoft.com/office/drawing/2014/main" id="{DA3AE7B1-C5A5-174C-BD47-B24FCB667CB0}"/>
                  </a:ext>
                </a:extLst>
              </p:cNvPr>
              <p:cNvSpPr/>
              <p:nvPr/>
            </p:nvSpPr>
            <p:spPr bwMode="auto">
              <a:xfrm>
                <a:off x="8053388" y="5499100"/>
                <a:ext cx="284163" cy="109538"/>
              </a:xfrm>
              <a:custGeom>
                <a:avLst/>
                <a:gdLst>
                  <a:gd name="T0" fmla="*/ 47 w 47"/>
                  <a:gd name="T1" fmla="*/ 0 h 18"/>
                  <a:gd name="T2" fmla="*/ 47 w 47"/>
                  <a:gd name="T3" fmla="*/ 7 h 18"/>
                  <a:gd name="T4" fmla="*/ 46 w 47"/>
                  <a:gd name="T5" fmla="*/ 17 h 18"/>
                  <a:gd name="T6" fmla="*/ 4 w 47"/>
                  <a:gd name="T7" fmla="*/ 18 h 18"/>
                  <a:gd name="T8" fmla="*/ 2 w 47"/>
                  <a:gd name="T9" fmla="*/ 13 h 18"/>
                  <a:gd name="T10" fmla="*/ 11 w 47"/>
                  <a:gd name="T11" fmla="*/ 7 h 18"/>
                  <a:gd name="T12" fmla="*/ 29 w 47"/>
                  <a:gd name="T13" fmla="*/ 0 h 18"/>
                  <a:gd name="T14" fmla="*/ 47 w 47"/>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18">
                    <a:moveTo>
                      <a:pt x="47" y="0"/>
                    </a:moveTo>
                    <a:cubicBezTo>
                      <a:pt x="47" y="7"/>
                      <a:pt x="47" y="7"/>
                      <a:pt x="47" y="7"/>
                    </a:cubicBezTo>
                    <a:cubicBezTo>
                      <a:pt x="46" y="17"/>
                      <a:pt x="46" y="17"/>
                      <a:pt x="46" y="17"/>
                    </a:cubicBezTo>
                    <a:cubicBezTo>
                      <a:pt x="4" y="18"/>
                      <a:pt x="4" y="18"/>
                      <a:pt x="4" y="18"/>
                    </a:cubicBezTo>
                    <a:cubicBezTo>
                      <a:pt x="1" y="18"/>
                      <a:pt x="0" y="15"/>
                      <a:pt x="2" y="13"/>
                    </a:cubicBezTo>
                    <a:cubicBezTo>
                      <a:pt x="4" y="11"/>
                      <a:pt x="8" y="9"/>
                      <a:pt x="11" y="7"/>
                    </a:cubicBezTo>
                    <a:cubicBezTo>
                      <a:pt x="20" y="3"/>
                      <a:pt x="29" y="0"/>
                      <a:pt x="29" y="0"/>
                    </a:cubicBezTo>
                    <a:lnTo>
                      <a:pt x="4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4" name="iṥļîḍê">
                <a:extLst>
                  <a:ext uri="{FF2B5EF4-FFF2-40B4-BE49-F238E27FC236}">
                    <a16:creationId xmlns:a16="http://schemas.microsoft.com/office/drawing/2014/main" id="{C787381E-7CAB-284F-9EC7-12511DDEC08A}"/>
                  </a:ext>
                </a:extLst>
              </p:cNvPr>
              <p:cNvSpPr/>
              <p:nvPr/>
            </p:nvSpPr>
            <p:spPr bwMode="auto">
              <a:xfrm>
                <a:off x="8132763" y="3868738"/>
                <a:ext cx="679450" cy="1662113"/>
              </a:xfrm>
              <a:custGeom>
                <a:avLst/>
                <a:gdLst>
                  <a:gd name="T0" fmla="*/ 112 w 112"/>
                  <a:gd name="T1" fmla="*/ 14 h 274"/>
                  <a:gd name="T2" fmla="*/ 92 w 112"/>
                  <a:gd name="T3" fmla="*/ 137 h 274"/>
                  <a:gd name="T4" fmla="*/ 107 w 112"/>
                  <a:gd name="T5" fmla="*/ 271 h 274"/>
                  <a:gd name="T6" fmla="*/ 84 w 112"/>
                  <a:gd name="T7" fmla="*/ 274 h 274"/>
                  <a:gd name="T8" fmla="*/ 54 w 112"/>
                  <a:gd name="T9" fmla="*/ 165 h 274"/>
                  <a:gd name="T10" fmla="*/ 54 w 112"/>
                  <a:gd name="T11" fmla="*/ 83 h 274"/>
                  <a:gd name="T12" fmla="*/ 34 w 112"/>
                  <a:gd name="T13" fmla="*/ 149 h 274"/>
                  <a:gd name="T14" fmla="*/ 36 w 112"/>
                  <a:gd name="T15" fmla="*/ 269 h 274"/>
                  <a:gd name="T16" fmla="*/ 14 w 112"/>
                  <a:gd name="T17" fmla="*/ 269 h 274"/>
                  <a:gd name="T18" fmla="*/ 0 w 112"/>
                  <a:gd name="T19" fmla="*/ 138 h 274"/>
                  <a:gd name="T20" fmla="*/ 30 w 112"/>
                  <a:gd name="T21" fmla="*/ 0 h 274"/>
                  <a:gd name="T22" fmla="*/ 112 w 112"/>
                  <a:gd name="T23" fmla="*/ 1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 h="274">
                    <a:moveTo>
                      <a:pt x="112" y="14"/>
                    </a:moveTo>
                    <a:cubicBezTo>
                      <a:pt x="112" y="14"/>
                      <a:pt x="107" y="79"/>
                      <a:pt x="92" y="137"/>
                    </a:cubicBezTo>
                    <a:cubicBezTo>
                      <a:pt x="107" y="271"/>
                      <a:pt x="107" y="271"/>
                      <a:pt x="107" y="271"/>
                    </a:cubicBezTo>
                    <a:cubicBezTo>
                      <a:pt x="84" y="274"/>
                      <a:pt x="84" y="274"/>
                      <a:pt x="84" y="274"/>
                    </a:cubicBezTo>
                    <a:cubicBezTo>
                      <a:pt x="84" y="274"/>
                      <a:pt x="61" y="185"/>
                      <a:pt x="54" y="165"/>
                    </a:cubicBezTo>
                    <a:cubicBezTo>
                      <a:pt x="46" y="141"/>
                      <a:pt x="54" y="83"/>
                      <a:pt x="54" y="83"/>
                    </a:cubicBezTo>
                    <a:cubicBezTo>
                      <a:pt x="54" y="83"/>
                      <a:pt x="34" y="128"/>
                      <a:pt x="34" y="149"/>
                    </a:cubicBezTo>
                    <a:cubicBezTo>
                      <a:pt x="34" y="170"/>
                      <a:pt x="36" y="269"/>
                      <a:pt x="36" y="269"/>
                    </a:cubicBezTo>
                    <a:cubicBezTo>
                      <a:pt x="36" y="269"/>
                      <a:pt x="21" y="273"/>
                      <a:pt x="14" y="269"/>
                    </a:cubicBezTo>
                    <a:cubicBezTo>
                      <a:pt x="6" y="265"/>
                      <a:pt x="0" y="138"/>
                      <a:pt x="0" y="138"/>
                    </a:cubicBezTo>
                    <a:cubicBezTo>
                      <a:pt x="30" y="0"/>
                      <a:pt x="30" y="0"/>
                      <a:pt x="30" y="0"/>
                    </a:cubicBezTo>
                    <a:cubicBezTo>
                      <a:pt x="30" y="0"/>
                      <a:pt x="69" y="10"/>
                      <a:pt x="112" y="14"/>
                    </a:cubicBezTo>
                    <a:close/>
                  </a:path>
                </a:pathLst>
              </a:custGeom>
              <a:solidFill>
                <a:srgbClr val="0E0E1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5" name="iśľîde">
                <a:extLst>
                  <a:ext uri="{FF2B5EF4-FFF2-40B4-BE49-F238E27FC236}">
                    <a16:creationId xmlns:a16="http://schemas.microsoft.com/office/drawing/2014/main" id="{E42A10E9-2BE4-504C-A8D9-78B1CB691C19}"/>
                  </a:ext>
                </a:extLst>
              </p:cNvPr>
              <p:cNvSpPr/>
              <p:nvPr/>
            </p:nvSpPr>
            <p:spPr bwMode="auto">
              <a:xfrm>
                <a:off x="8253413" y="2952750"/>
                <a:ext cx="655638" cy="1098550"/>
              </a:xfrm>
              <a:custGeom>
                <a:avLst/>
                <a:gdLst>
                  <a:gd name="T0" fmla="*/ 102 w 108"/>
                  <a:gd name="T1" fmla="*/ 170 h 181"/>
                  <a:gd name="T2" fmla="*/ 102 w 108"/>
                  <a:gd name="T3" fmla="*/ 45 h 181"/>
                  <a:gd name="T4" fmla="*/ 63 w 108"/>
                  <a:gd name="T5" fmla="*/ 1 h 181"/>
                  <a:gd name="T6" fmla="*/ 37 w 108"/>
                  <a:gd name="T7" fmla="*/ 7 h 181"/>
                  <a:gd name="T8" fmla="*/ 17 w 108"/>
                  <a:gd name="T9" fmla="*/ 76 h 181"/>
                  <a:gd name="T10" fmla="*/ 0 w 108"/>
                  <a:gd name="T11" fmla="*/ 156 h 181"/>
                  <a:gd name="T12" fmla="*/ 102 w 108"/>
                  <a:gd name="T13" fmla="*/ 170 h 181"/>
                </a:gdLst>
                <a:ahLst/>
                <a:cxnLst>
                  <a:cxn ang="0">
                    <a:pos x="T0" y="T1"/>
                  </a:cxn>
                  <a:cxn ang="0">
                    <a:pos x="T2" y="T3"/>
                  </a:cxn>
                  <a:cxn ang="0">
                    <a:pos x="T4" y="T5"/>
                  </a:cxn>
                  <a:cxn ang="0">
                    <a:pos x="T6" y="T7"/>
                  </a:cxn>
                  <a:cxn ang="0">
                    <a:pos x="T8" y="T9"/>
                  </a:cxn>
                  <a:cxn ang="0">
                    <a:pos x="T10" y="T11"/>
                  </a:cxn>
                  <a:cxn ang="0">
                    <a:pos x="T12" y="T13"/>
                  </a:cxn>
                </a:cxnLst>
                <a:rect l="0" t="0" r="r" b="b"/>
                <a:pathLst>
                  <a:path w="108" h="181">
                    <a:moveTo>
                      <a:pt x="102" y="170"/>
                    </a:moveTo>
                    <a:cubicBezTo>
                      <a:pt x="104" y="156"/>
                      <a:pt x="108" y="66"/>
                      <a:pt x="102" y="45"/>
                    </a:cubicBezTo>
                    <a:cubicBezTo>
                      <a:pt x="90" y="0"/>
                      <a:pt x="63" y="1"/>
                      <a:pt x="63" y="1"/>
                    </a:cubicBezTo>
                    <a:cubicBezTo>
                      <a:pt x="54" y="20"/>
                      <a:pt x="37" y="7"/>
                      <a:pt x="37" y="7"/>
                    </a:cubicBezTo>
                    <a:cubicBezTo>
                      <a:pt x="37" y="7"/>
                      <a:pt x="6" y="26"/>
                      <a:pt x="17" y="76"/>
                    </a:cubicBezTo>
                    <a:cubicBezTo>
                      <a:pt x="23" y="109"/>
                      <a:pt x="10" y="138"/>
                      <a:pt x="0" y="156"/>
                    </a:cubicBezTo>
                    <a:cubicBezTo>
                      <a:pt x="30" y="176"/>
                      <a:pt x="68" y="181"/>
                      <a:pt x="102" y="170"/>
                    </a:cubicBezTo>
                    <a:close/>
                  </a:path>
                </a:pathLst>
              </a:custGeom>
              <a:solidFill>
                <a:srgbClr val="FF67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6" name="íš1îḋê">
                <a:extLst>
                  <a:ext uri="{FF2B5EF4-FFF2-40B4-BE49-F238E27FC236}">
                    <a16:creationId xmlns:a16="http://schemas.microsoft.com/office/drawing/2014/main" id="{574CD805-5C0D-364F-B725-ACB83DEDCA48}"/>
                  </a:ext>
                </a:extLst>
              </p:cNvPr>
              <p:cNvSpPr/>
              <p:nvPr/>
            </p:nvSpPr>
            <p:spPr bwMode="auto">
              <a:xfrm>
                <a:off x="8313738" y="2540000"/>
                <a:ext cx="382588" cy="431800"/>
              </a:xfrm>
              <a:custGeom>
                <a:avLst/>
                <a:gdLst>
                  <a:gd name="T0" fmla="*/ 15 w 63"/>
                  <a:gd name="T1" fmla="*/ 21 h 71"/>
                  <a:gd name="T2" fmla="*/ 25 w 63"/>
                  <a:gd name="T3" fmla="*/ 68 h 71"/>
                  <a:gd name="T4" fmla="*/ 61 w 63"/>
                  <a:gd name="T5" fmla="*/ 44 h 71"/>
                  <a:gd name="T6" fmla="*/ 43 w 63"/>
                  <a:gd name="T7" fmla="*/ 6 h 71"/>
                  <a:gd name="T8" fmla="*/ 15 w 63"/>
                  <a:gd name="T9" fmla="*/ 21 h 71"/>
                </a:gdLst>
                <a:ahLst/>
                <a:cxnLst>
                  <a:cxn ang="0">
                    <a:pos x="T0" y="T1"/>
                  </a:cxn>
                  <a:cxn ang="0">
                    <a:pos x="T2" y="T3"/>
                  </a:cxn>
                  <a:cxn ang="0">
                    <a:pos x="T4" y="T5"/>
                  </a:cxn>
                  <a:cxn ang="0">
                    <a:pos x="T6" y="T7"/>
                  </a:cxn>
                  <a:cxn ang="0">
                    <a:pos x="T8" y="T9"/>
                  </a:cxn>
                </a:cxnLst>
                <a:rect l="0" t="0" r="r" b="b"/>
                <a:pathLst>
                  <a:path w="63" h="71">
                    <a:moveTo>
                      <a:pt x="15" y="21"/>
                    </a:moveTo>
                    <a:cubicBezTo>
                      <a:pt x="15" y="21"/>
                      <a:pt x="0" y="64"/>
                      <a:pt x="25" y="68"/>
                    </a:cubicBezTo>
                    <a:cubicBezTo>
                      <a:pt x="49" y="71"/>
                      <a:pt x="61" y="55"/>
                      <a:pt x="61" y="44"/>
                    </a:cubicBezTo>
                    <a:cubicBezTo>
                      <a:pt x="61" y="33"/>
                      <a:pt x="63" y="12"/>
                      <a:pt x="43" y="6"/>
                    </a:cubicBezTo>
                    <a:cubicBezTo>
                      <a:pt x="22" y="0"/>
                      <a:pt x="15" y="21"/>
                      <a:pt x="15" y="21"/>
                    </a:cubicBezTo>
                    <a:close/>
                  </a:path>
                </a:pathLst>
              </a:custGeom>
              <a:solidFill>
                <a:srgbClr val="F4EED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7" name="î$lïḍè">
                <a:extLst>
                  <a:ext uri="{FF2B5EF4-FFF2-40B4-BE49-F238E27FC236}">
                    <a16:creationId xmlns:a16="http://schemas.microsoft.com/office/drawing/2014/main" id="{380AECB7-D922-3447-A41A-6973C0F7BE70}"/>
                  </a:ext>
                </a:extLst>
              </p:cNvPr>
              <p:cNvSpPr/>
              <p:nvPr/>
            </p:nvSpPr>
            <p:spPr bwMode="auto">
              <a:xfrm>
                <a:off x="8636001" y="2813050"/>
                <a:ext cx="96838" cy="96838"/>
              </a:xfrm>
              <a:prstGeom prst="ellipse">
                <a:avLst/>
              </a:prstGeom>
              <a:solidFill>
                <a:srgbClr val="F4EED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8" name="ísḷiḓè">
                <a:extLst>
                  <a:ext uri="{FF2B5EF4-FFF2-40B4-BE49-F238E27FC236}">
                    <a16:creationId xmlns:a16="http://schemas.microsoft.com/office/drawing/2014/main" id="{3F43AAB4-DF07-5B47-B551-CB09FB93C850}"/>
                  </a:ext>
                </a:extLst>
              </p:cNvPr>
              <p:cNvSpPr/>
              <p:nvPr/>
            </p:nvSpPr>
            <p:spPr bwMode="auto">
              <a:xfrm>
                <a:off x="8423276" y="2473325"/>
                <a:ext cx="461963" cy="388938"/>
              </a:xfrm>
              <a:custGeom>
                <a:avLst/>
                <a:gdLst>
                  <a:gd name="T0" fmla="*/ 49 w 76"/>
                  <a:gd name="T1" fmla="*/ 58 h 64"/>
                  <a:gd name="T2" fmla="*/ 38 w 76"/>
                  <a:gd name="T3" fmla="*/ 58 h 64"/>
                  <a:gd name="T4" fmla="*/ 12 w 76"/>
                  <a:gd name="T5" fmla="*/ 29 h 64"/>
                  <a:gd name="T6" fmla="*/ 0 w 76"/>
                  <a:gd name="T7" fmla="*/ 26 h 64"/>
                  <a:gd name="T8" fmla="*/ 43 w 76"/>
                  <a:gd name="T9" fmla="*/ 16 h 64"/>
                  <a:gd name="T10" fmla="*/ 51 w 76"/>
                  <a:gd name="T11" fmla="*/ 64 h 64"/>
                  <a:gd name="T12" fmla="*/ 49 w 76"/>
                  <a:gd name="T13" fmla="*/ 58 h 64"/>
                </a:gdLst>
                <a:ahLst/>
                <a:cxnLst>
                  <a:cxn ang="0">
                    <a:pos x="T0" y="T1"/>
                  </a:cxn>
                  <a:cxn ang="0">
                    <a:pos x="T2" y="T3"/>
                  </a:cxn>
                  <a:cxn ang="0">
                    <a:pos x="T4" y="T5"/>
                  </a:cxn>
                  <a:cxn ang="0">
                    <a:pos x="T6" y="T7"/>
                  </a:cxn>
                  <a:cxn ang="0">
                    <a:pos x="T8" y="T9"/>
                  </a:cxn>
                  <a:cxn ang="0">
                    <a:pos x="T10" y="T11"/>
                  </a:cxn>
                  <a:cxn ang="0">
                    <a:pos x="T12" y="T13"/>
                  </a:cxn>
                </a:cxnLst>
                <a:rect l="0" t="0" r="r" b="b"/>
                <a:pathLst>
                  <a:path w="76" h="64">
                    <a:moveTo>
                      <a:pt x="49" y="58"/>
                    </a:moveTo>
                    <a:cubicBezTo>
                      <a:pt x="49" y="58"/>
                      <a:pt x="43" y="55"/>
                      <a:pt x="38" y="58"/>
                    </a:cubicBezTo>
                    <a:cubicBezTo>
                      <a:pt x="38" y="58"/>
                      <a:pt x="9" y="45"/>
                      <a:pt x="12" y="29"/>
                    </a:cubicBezTo>
                    <a:cubicBezTo>
                      <a:pt x="12" y="29"/>
                      <a:pt x="6" y="25"/>
                      <a:pt x="0" y="26"/>
                    </a:cubicBezTo>
                    <a:cubicBezTo>
                      <a:pt x="0" y="26"/>
                      <a:pt x="10" y="0"/>
                      <a:pt x="43" y="16"/>
                    </a:cubicBezTo>
                    <a:cubicBezTo>
                      <a:pt x="76" y="32"/>
                      <a:pt x="51" y="64"/>
                      <a:pt x="51" y="64"/>
                    </a:cubicBezTo>
                    <a:cubicBezTo>
                      <a:pt x="51" y="64"/>
                      <a:pt x="52" y="61"/>
                      <a:pt x="49" y="58"/>
                    </a:cubicBezTo>
                    <a:close/>
                  </a:path>
                </a:pathLst>
              </a:custGeom>
              <a:solidFill>
                <a:srgbClr val="0E0E1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9" name="ísľíḍè">
                <a:extLst>
                  <a:ext uri="{FF2B5EF4-FFF2-40B4-BE49-F238E27FC236}">
                    <a16:creationId xmlns:a16="http://schemas.microsoft.com/office/drawing/2014/main" id="{8E045989-BB2F-CD40-8F0F-049F2E4C6FAF}"/>
                  </a:ext>
                </a:extLst>
              </p:cNvPr>
              <p:cNvSpPr/>
              <p:nvPr/>
            </p:nvSpPr>
            <p:spPr bwMode="auto">
              <a:xfrm>
                <a:off x="8472488" y="2855913"/>
                <a:ext cx="193675" cy="212725"/>
              </a:xfrm>
              <a:custGeom>
                <a:avLst/>
                <a:gdLst>
                  <a:gd name="T0" fmla="*/ 32 w 32"/>
                  <a:gd name="T1" fmla="*/ 0 h 35"/>
                  <a:gd name="T2" fmla="*/ 32 w 32"/>
                  <a:gd name="T3" fmla="*/ 6 h 35"/>
                  <a:gd name="T4" fmla="*/ 32 w 32"/>
                  <a:gd name="T5" fmla="*/ 9 h 35"/>
                  <a:gd name="T6" fmla="*/ 31 w 32"/>
                  <a:gd name="T7" fmla="*/ 18 h 35"/>
                  <a:gd name="T8" fmla="*/ 26 w 32"/>
                  <a:gd name="T9" fmla="*/ 31 h 35"/>
                  <a:gd name="T10" fmla="*/ 1 w 32"/>
                  <a:gd name="T11" fmla="*/ 31 h 35"/>
                  <a:gd name="T12" fmla="*/ 1 w 32"/>
                  <a:gd name="T13" fmla="*/ 23 h 35"/>
                  <a:gd name="T14" fmla="*/ 2 w 32"/>
                  <a:gd name="T15" fmla="*/ 16 h 35"/>
                  <a:gd name="T16" fmla="*/ 2 w 32"/>
                  <a:gd name="T17" fmla="*/ 16 h 35"/>
                  <a:gd name="T18" fmla="*/ 4 w 32"/>
                  <a:gd name="T19" fmla="*/ 1 h 35"/>
                  <a:gd name="T20" fmla="*/ 32 w 32"/>
                  <a:gd name="T2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35">
                    <a:moveTo>
                      <a:pt x="32" y="0"/>
                    </a:moveTo>
                    <a:cubicBezTo>
                      <a:pt x="32" y="6"/>
                      <a:pt x="32" y="6"/>
                      <a:pt x="32" y="6"/>
                    </a:cubicBezTo>
                    <a:cubicBezTo>
                      <a:pt x="32" y="6"/>
                      <a:pt x="32" y="7"/>
                      <a:pt x="32" y="9"/>
                    </a:cubicBezTo>
                    <a:cubicBezTo>
                      <a:pt x="32" y="11"/>
                      <a:pt x="31" y="15"/>
                      <a:pt x="31" y="18"/>
                    </a:cubicBezTo>
                    <a:cubicBezTo>
                      <a:pt x="30" y="24"/>
                      <a:pt x="28" y="29"/>
                      <a:pt x="26" y="31"/>
                    </a:cubicBezTo>
                    <a:cubicBezTo>
                      <a:pt x="21" y="35"/>
                      <a:pt x="3" y="33"/>
                      <a:pt x="1" y="31"/>
                    </a:cubicBezTo>
                    <a:cubicBezTo>
                      <a:pt x="0" y="31"/>
                      <a:pt x="0" y="27"/>
                      <a:pt x="1" y="23"/>
                    </a:cubicBezTo>
                    <a:cubicBezTo>
                      <a:pt x="1" y="21"/>
                      <a:pt x="1" y="19"/>
                      <a:pt x="2" y="16"/>
                    </a:cubicBezTo>
                    <a:cubicBezTo>
                      <a:pt x="2" y="16"/>
                      <a:pt x="2" y="16"/>
                      <a:pt x="2" y="16"/>
                    </a:cubicBezTo>
                    <a:cubicBezTo>
                      <a:pt x="3" y="9"/>
                      <a:pt x="4" y="1"/>
                      <a:pt x="4" y="1"/>
                    </a:cubicBezTo>
                    <a:lnTo>
                      <a:pt x="32" y="0"/>
                    </a:lnTo>
                    <a:close/>
                  </a:path>
                </a:pathLst>
              </a:custGeom>
              <a:solidFill>
                <a:srgbClr val="F4EED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0" name="ïsliḍe">
                <a:extLst>
                  <a:ext uri="{FF2B5EF4-FFF2-40B4-BE49-F238E27FC236}">
                    <a16:creationId xmlns:a16="http://schemas.microsoft.com/office/drawing/2014/main" id="{A59CF36A-075C-2A4E-A9CE-89ACA020787E}"/>
                  </a:ext>
                </a:extLst>
              </p:cNvPr>
              <p:cNvSpPr/>
              <p:nvPr/>
            </p:nvSpPr>
            <p:spPr bwMode="auto">
              <a:xfrm>
                <a:off x="8477251" y="2909888"/>
                <a:ext cx="188913" cy="92075"/>
              </a:xfrm>
              <a:custGeom>
                <a:avLst/>
                <a:gdLst>
                  <a:gd name="T0" fmla="*/ 31 w 31"/>
                  <a:gd name="T1" fmla="*/ 0 h 15"/>
                  <a:gd name="T2" fmla="*/ 30 w 31"/>
                  <a:gd name="T3" fmla="*/ 9 h 15"/>
                  <a:gd name="T4" fmla="*/ 0 w 31"/>
                  <a:gd name="T5" fmla="*/ 14 h 15"/>
                  <a:gd name="T6" fmla="*/ 1 w 31"/>
                  <a:gd name="T7" fmla="*/ 7 h 15"/>
                  <a:gd name="T8" fmla="*/ 1 w 31"/>
                  <a:gd name="T9" fmla="*/ 7 h 15"/>
                  <a:gd name="T10" fmla="*/ 31 w 31"/>
                  <a:gd name="T11" fmla="*/ 0 h 15"/>
                </a:gdLst>
                <a:ahLst/>
                <a:cxnLst>
                  <a:cxn ang="0">
                    <a:pos x="T0" y="T1"/>
                  </a:cxn>
                  <a:cxn ang="0">
                    <a:pos x="T2" y="T3"/>
                  </a:cxn>
                  <a:cxn ang="0">
                    <a:pos x="T4" y="T5"/>
                  </a:cxn>
                  <a:cxn ang="0">
                    <a:pos x="T6" y="T7"/>
                  </a:cxn>
                  <a:cxn ang="0">
                    <a:pos x="T8" y="T9"/>
                  </a:cxn>
                  <a:cxn ang="0">
                    <a:pos x="T10" y="T11"/>
                  </a:cxn>
                </a:cxnLst>
                <a:rect l="0" t="0" r="r" b="b"/>
                <a:pathLst>
                  <a:path w="31" h="15">
                    <a:moveTo>
                      <a:pt x="31" y="0"/>
                    </a:moveTo>
                    <a:cubicBezTo>
                      <a:pt x="31" y="2"/>
                      <a:pt x="30" y="6"/>
                      <a:pt x="30" y="9"/>
                    </a:cubicBezTo>
                    <a:cubicBezTo>
                      <a:pt x="22" y="11"/>
                      <a:pt x="8" y="15"/>
                      <a:pt x="0" y="14"/>
                    </a:cubicBezTo>
                    <a:cubicBezTo>
                      <a:pt x="0" y="12"/>
                      <a:pt x="0" y="10"/>
                      <a:pt x="1" y="7"/>
                    </a:cubicBezTo>
                    <a:cubicBezTo>
                      <a:pt x="1" y="7"/>
                      <a:pt x="1" y="7"/>
                      <a:pt x="1" y="7"/>
                    </a:cubicBezTo>
                    <a:cubicBezTo>
                      <a:pt x="2" y="7"/>
                      <a:pt x="27" y="6"/>
                      <a:pt x="31" y="0"/>
                    </a:cubicBezTo>
                    <a:close/>
                  </a:path>
                </a:pathLst>
              </a:custGeom>
              <a:solidFill>
                <a:srgbClr val="EBE0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1" name="îSļíḋê">
                <a:extLst>
                  <a:ext uri="{FF2B5EF4-FFF2-40B4-BE49-F238E27FC236}">
                    <a16:creationId xmlns:a16="http://schemas.microsoft.com/office/drawing/2014/main" id="{1CB23C40-0989-0545-AC69-9783BF6B8C21}"/>
                  </a:ext>
                </a:extLst>
              </p:cNvPr>
              <p:cNvSpPr/>
              <p:nvPr/>
            </p:nvSpPr>
            <p:spPr bwMode="auto">
              <a:xfrm>
                <a:off x="8296276" y="2559050"/>
                <a:ext cx="485775" cy="254000"/>
              </a:xfrm>
              <a:custGeom>
                <a:avLst/>
                <a:gdLst>
                  <a:gd name="T0" fmla="*/ 77 w 80"/>
                  <a:gd name="T1" fmla="*/ 42 h 42"/>
                  <a:gd name="T2" fmla="*/ 80 w 80"/>
                  <a:gd name="T3" fmla="*/ 37 h 42"/>
                  <a:gd name="T4" fmla="*/ 3 w 80"/>
                  <a:gd name="T5" fmla="*/ 3 h 42"/>
                  <a:gd name="T6" fmla="*/ 77 w 80"/>
                  <a:gd name="T7" fmla="*/ 42 h 42"/>
                </a:gdLst>
                <a:ahLst/>
                <a:cxnLst>
                  <a:cxn ang="0">
                    <a:pos x="T0" y="T1"/>
                  </a:cxn>
                  <a:cxn ang="0">
                    <a:pos x="T2" y="T3"/>
                  </a:cxn>
                  <a:cxn ang="0">
                    <a:pos x="T4" y="T5"/>
                  </a:cxn>
                  <a:cxn ang="0">
                    <a:pos x="T6" y="T7"/>
                  </a:cxn>
                </a:cxnLst>
                <a:rect l="0" t="0" r="r" b="b"/>
                <a:pathLst>
                  <a:path w="80" h="42">
                    <a:moveTo>
                      <a:pt x="77" y="42"/>
                    </a:moveTo>
                    <a:cubicBezTo>
                      <a:pt x="77" y="42"/>
                      <a:pt x="80" y="40"/>
                      <a:pt x="80" y="37"/>
                    </a:cubicBezTo>
                    <a:cubicBezTo>
                      <a:pt x="80" y="37"/>
                      <a:pt x="7" y="0"/>
                      <a:pt x="3" y="3"/>
                    </a:cubicBezTo>
                    <a:cubicBezTo>
                      <a:pt x="0" y="5"/>
                      <a:pt x="77" y="42"/>
                      <a:pt x="77" y="42"/>
                    </a:cubicBezTo>
                    <a:close/>
                  </a:path>
                </a:pathLst>
              </a:custGeom>
              <a:solidFill>
                <a:srgbClr val="E3493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2" name="ïSlïḋe">
                <a:extLst>
                  <a:ext uri="{FF2B5EF4-FFF2-40B4-BE49-F238E27FC236}">
                    <a16:creationId xmlns:a16="http://schemas.microsoft.com/office/drawing/2014/main" id="{DEF985D2-BEDC-E74F-9D1A-36D4A8AB03E6}"/>
                  </a:ext>
                </a:extLst>
              </p:cNvPr>
              <p:cNvSpPr/>
              <p:nvPr/>
            </p:nvSpPr>
            <p:spPr bwMode="auto">
              <a:xfrm>
                <a:off x="8435976" y="2498725"/>
                <a:ext cx="363538" cy="277813"/>
              </a:xfrm>
              <a:custGeom>
                <a:avLst/>
                <a:gdLst>
                  <a:gd name="T0" fmla="*/ 57 w 60"/>
                  <a:gd name="T1" fmla="*/ 46 h 46"/>
                  <a:gd name="T2" fmla="*/ 0 w 60"/>
                  <a:gd name="T3" fmla="*/ 19 h 46"/>
                  <a:gd name="T4" fmla="*/ 41 w 60"/>
                  <a:gd name="T5" fmla="*/ 12 h 46"/>
                  <a:gd name="T6" fmla="*/ 57 w 60"/>
                  <a:gd name="T7" fmla="*/ 46 h 46"/>
                </a:gdLst>
                <a:ahLst/>
                <a:cxnLst>
                  <a:cxn ang="0">
                    <a:pos x="T0" y="T1"/>
                  </a:cxn>
                  <a:cxn ang="0">
                    <a:pos x="T2" y="T3"/>
                  </a:cxn>
                  <a:cxn ang="0">
                    <a:pos x="T4" y="T5"/>
                  </a:cxn>
                  <a:cxn ang="0">
                    <a:pos x="T6" y="T7"/>
                  </a:cxn>
                </a:cxnLst>
                <a:rect l="0" t="0" r="r" b="b"/>
                <a:pathLst>
                  <a:path w="60" h="46">
                    <a:moveTo>
                      <a:pt x="57" y="46"/>
                    </a:moveTo>
                    <a:cubicBezTo>
                      <a:pt x="51" y="44"/>
                      <a:pt x="20" y="28"/>
                      <a:pt x="0" y="19"/>
                    </a:cubicBezTo>
                    <a:cubicBezTo>
                      <a:pt x="4" y="13"/>
                      <a:pt x="16" y="0"/>
                      <a:pt x="41" y="12"/>
                    </a:cubicBezTo>
                    <a:cubicBezTo>
                      <a:pt x="60" y="21"/>
                      <a:pt x="60" y="36"/>
                      <a:pt x="57" y="46"/>
                    </a:cubicBezTo>
                    <a:close/>
                  </a:path>
                </a:pathLst>
              </a:custGeom>
              <a:solidFill>
                <a:srgbClr val="FF67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3" name="iṡ1iḋè">
                <a:extLst>
                  <a:ext uri="{FF2B5EF4-FFF2-40B4-BE49-F238E27FC236}">
                    <a16:creationId xmlns:a16="http://schemas.microsoft.com/office/drawing/2014/main" id="{D9DFFA44-6FF5-AC49-AB3F-E9967909A315}"/>
                  </a:ext>
                </a:extLst>
              </p:cNvPr>
              <p:cNvSpPr/>
              <p:nvPr/>
            </p:nvSpPr>
            <p:spPr bwMode="auto">
              <a:xfrm>
                <a:off x="7488238" y="2989263"/>
                <a:ext cx="1431925" cy="619125"/>
              </a:xfrm>
              <a:custGeom>
                <a:avLst/>
                <a:gdLst>
                  <a:gd name="T0" fmla="*/ 171 w 236"/>
                  <a:gd name="T1" fmla="*/ 66 h 102"/>
                  <a:gd name="T2" fmla="*/ 39 w 236"/>
                  <a:gd name="T3" fmla="*/ 72 h 102"/>
                  <a:gd name="T4" fmla="*/ 28 w 236"/>
                  <a:gd name="T5" fmla="*/ 60 h 102"/>
                  <a:gd name="T6" fmla="*/ 30 w 236"/>
                  <a:gd name="T7" fmla="*/ 72 h 102"/>
                  <a:gd name="T8" fmla="*/ 10 w 236"/>
                  <a:gd name="T9" fmla="*/ 81 h 102"/>
                  <a:gd name="T10" fmla="*/ 38 w 236"/>
                  <a:gd name="T11" fmla="*/ 83 h 102"/>
                  <a:gd name="T12" fmla="*/ 178 w 236"/>
                  <a:gd name="T13" fmla="*/ 95 h 102"/>
                  <a:gd name="T14" fmla="*/ 219 w 236"/>
                  <a:gd name="T15" fmla="*/ 22 h 102"/>
                  <a:gd name="T16" fmla="*/ 171 w 236"/>
                  <a:gd name="T17" fmla="*/ 66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102">
                    <a:moveTo>
                      <a:pt x="171" y="66"/>
                    </a:moveTo>
                    <a:cubicBezTo>
                      <a:pt x="171" y="66"/>
                      <a:pt x="68" y="73"/>
                      <a:pt x="39" y="72"/>
                    </a:cubicBezTo>
                    <a:cubicBezTo>
                      <a:pt x="39" y="72"/>
                      <a:pt x="28" y="56"/>
                      <a:pt x="28" y="60"/>
                    </a:cubicBezTo>
                    <a:cubicBezTo>
                      <a:pt x="27" y="65"/>
                      <a:pt x="30" y="72"/>
                      <a:pt x="30" y="72"/>
                    </a:cubicBezTo>
                    <a:cubicBezTo>
                      <a:pt x="30" y="72"/>
                      <a:pt x="0" y="68"/>
                      <a:pt x="10" y="81"/>
                    </a:cubicBezTo>
                    <a:cubicBezTo>
                      <a:pt x="21" y="94"/>
                      <a:pt x="38" y="83"/>
                      <a:pt x="38" y="83"/>
                    </a:cubicBezTo>
                    <a:cubicBezTo>
                      <a:pt x="38" y="83"/>
                      <a:pt x="158" y="102"/>
                      <a:pt x="178" y="95"/>
                    </a:cubicBezTo>
                    <a:cubicBezTo>
                      <a:pt x="197" y="88"/>
                      <a:pt x="236" y="44"/>
                      <a:pt x="219" y="22"/>
                    </a:cubicBezTo>
                    <a:cubicBezTo>
                      <a:pt x="202" y="0"/>
                      <a:pt x="181" y="28"/>
                      <a:pt x="171" y="66"/>
                    </a:cubicBezTo>
                    <a:close/>
                  </a:path>
                </a:pathLst>
              </a:custGeom>
              <a:solidFill>
                <a:srgbClr val="F4EED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4" name="iSļiḋê">
                <a:extLst>
                  <a:ext uri="{FF2B5EF4-FFF2-40B4-BE49-F238E27FC236}">
                    <a16:creationId xmlns:a16="http://schemas.microsoft.com/office/drawing/2014/main" id="{CB17DC24-903E-DE40-AC43-2A06D1E5AB25}"/>
                  </a:ext>
                </a:extLst>
              </p:cNvPr>
              <p:cNvSpPr/>
              <p:nvPr/>
            </p:nvSpPr>
            <p:spPr bwMode="auto">
              <a:xfrm>
                <a:off x="8083551" y="2989263"/>
                <a:ext cx="836613" cy="600075"/>
              </a:xfrm>
              <a:custGeom>
                <a:avLst/>
                <a:gdLst>
                  <a:gd name="T0" fmla="*/ 121 w 138"/>
                  <a:gd name="T1" fmla="*/ 22 h 99"/>
                  <a:gd name="T2" fmla="*/ 73 w 138"/>
                  <a:gd name="T3" fmla="*/ 66 h 99"/>
                  <a:gd name="T4" fmla="*/ 0 w 138"/>
                  <a:gd name="T5" fmla="*/ 70 h 99"/>
                  <a:gd name="T6" fmla="*/ 1 w 138"/>
                  <a:gd name="T7" fmla="*/ 92 h 99"/>
                  <a:gd name="T8" fmla="*/ 80 w 138"/>
                  <a:gd name="T9" fmla="*/ 95 h 99"/>
                  <a:gd name="T10" fmla="*/ 121 w 138"/>
                  <a:gd name="T11" fmla="*/ 22 h 99"/>
                </a:gdLst>
                <a:ahLst/>
                <a:cxnLst>
                  <a:cxn ang="0">
                    <a:pos x="T0" y="T1"/>
                  </a:cxn>
                  <a:cxn ang="0">
                    <a:pos x="T2" y="T3"/>
                  </a:cxn>
                  <a:cxn ang="0">
                    <a:pos x="T4" y="T5"/>
                  </a:cxn>
                  <a:cxn ang="0">
                    <a:pos x="T6" y="T7"/>
                  </a:cxn>
                  <a:cxn ang="0">
                    <a:pos x="T8" y="T9"/>
                  </a:cxn>
                  <a:cxn ang="0">
                    <a:pos x="T10" y="T11"/>
                  </a:cxn>
                </a:cxnLst>
                <a:rect l="0" t="0" r="r" b="b"/>
                <a:pathLst>
                  <a:path w="138" h="99">
                    <a:moveTo>
                      <a:pt x="121" y="22"/>
                    </a:moveTo>
                    <a:cubicBezTo>
                      <a:pt x="104" y="0"/>
                      <a:pt x="83" y="28"/>
                      <a:pt x="73" y="66"/>
                    </a:cubicBezTo>
                    <a:cubicBezTo>
                      <a:pt x="73" y="66"/>
                      <a:pt x="36" y="68"/>
                      <a:pt x="0" y="70"/>
                    </a:cubicBezTo>
                    <a:cubicBezTo>
                      <a:pt x="1" y="92"/>
                      <a:pt x="1" y="92"/>
                      <a:pt x="1" y="92"/>
                    </a:cubicBezTo>
                    <a:cubicBezTo>
                      <a:pt x="32" y="95"/>
                      <a:pt x="69" y="99"/>
                      <a:pt x="80" y="95"/>
                    </a:cubicBezTo>
                    <a:cubicBezTo>
                      <a:pt x="99" y="88"/>
                      <a:pt x="138" y="44"/>
                      <a:pt x="121" y="22"/>
                    </a:cubicBezTo>
                    <a:close/>
                  </a:path>
                </a:pathLst>
              </a:custGeom>
              <a:solidFill>
                <a:srgbClr val="E3493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5" name="îšľîḑe">
                <a:extLst>
                  <a:ext uri="{FF2B5EF4-FFF2-40B4-BE49-F238E27FC236}">
                    <a16:creationId xmlns:a16="http://schemas.microsoft.com/office/drawing/2014/main" id="{D33602C5-01E6-934C-9CB4-B80384002C86}"/>
                  </a:ext>
                </a:extLst>
              </p:cNvPr>
              <p:cNvSpPr/>
              <p:nvPr/>
            </p:nvSpPr>
            <p:spPr bwMode="auto">
              <a:xfrm>
                <a:off x="5473701" y="4518025"/>
                <a:ext cx="285750" cy="284163"/>
              </a:xfrm>
              <a:custGeom>
                <a:avLst/>
                <a:gdLst>
                  <a:gd name="T0" fmla="*/ 23 w 47"/>
                  <a:gd name="T1" fmla="*/ 47 h 47"/>
                  <a:gd name="T2" fmla="*/ 0 w 47"/>
                  <a:gd name="T3" fmla="*/ 24 h 47"/>
                  <a:gd name="T4" fmla="*/ 23 w 47"/>
                  <a:gd name="T5" fmla="*/ 0 h 47"/>
                  <a:gd name="T6" fmla="*/ 47 w 47"/>
                  <a:gd name="T7" fmla="*/ 24 h 47"/>
                  <a:gd name="T8" fmla="*/ 23 w 47"/>
                  <a:gd name="T9" fmla="*/ 47 h 47"/>
                  <a:gd name="T10" fmla="*/ 23 w 47"/>
                  <a:gd name="T11" fmla="*/ 12 h 47"/>
                  <a:gd name="T12" fmla="*/ 12 w 47"/>
                  <a:gd name="T13" fmla="*/ 24 h 47"/>
                  <a:gd name="T14" fmla="*/ 23 w 47"/>
                  <a:gd name="T15" fmla="*/ 35 h 47"/>
                  <a:gd name="T16" fmla="*/ 35 w 47"/>
                  <a:gd name="T17" fmla="*/ 24 h 47"/>
                  <a:gd name="T18" fmla="*/ 23 w 47"/>
                  <a:gd name="T19"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47">
                    <a:moveTo>
                      <a:pt x="23" y="47"/>
                    </a:moveTo>
                    <a:cubicBezTo>
                      <a:pt x="11" y="47"/>
                      <a:pt x="0" y="36"/>
                      <a:pt x="0" y="24"/>
                    </a:cubicBezTo>
                    <a:cubicBezTo>
                      <a:pt x="0" y="11"/>
                      <a:pt x="11" y="0"/>
                      <a:pt x="23" y="0"/>
                    </a:cubicBezTo>
                    <a:cubicBezTo>
                      <a:pt x="36" y="0"/>
                      <a:pt x="47" y="11"/>
                      <a:pt x="47" y="24"/>
                    </a:cubicBezTo>
                    <a:cubicBezTo>
                      <a:pt x="47" y="36"/>
                      <a:pt x="36" y="47"/>
                      <a:pt x="23" y="47"/>
                    </a:cubicBezTo>
                    <a:close/>
                    <a:moveTo>
                      <a:pt x="23" y="12"/>
                    </a:moveTo>
                    <a:cubicBezTo>
                      <a:pt x="17" y="12"/>
                      <a:pt x="12" y="17"/>
                      <a:pt x="12" y="24"/>
                    </a:cubicBezTo>
                    <a:cubicBezTo>
                      <a:pt x="12" y="30"/>
                      <a:pt x="17" y="35"/>
                      <a:pt x="23" y="35"/>
                    </a:cubicBezTo>
                    <a:cubicBezTo>
                      <a:pt x="30" y="35"/>
                      <a:pt x="35" y="30"/>
                      <a:pt x="35" y="24"/>
                    </a:cubicBezTo>
                    <a:cubicBezTo>
                      <a:pt x="35" y="17"/>
                      <a:pt x="30" y="12"/>
                      <a:pt x="23" y="12"/>
                    </a:cubicBezTo>
                    <a:close/>
                  </a:path>
                </a:pathLst>
              </a:custGeom>
              <a:solidFill>
                <a:srgbClr val="00A49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6" name="íṩḻidè">
                <a:extLst>
                  <a:ext uri="{FF2B5EF4-FFF2-40B4-BE49-F238E27FC236}">
                    <a16:creationId xmlns:a16="http://schemas.microsoft.com/office/drawing/2014/main" id="{883D82B2-E7FA-354D-AF66-F8397F223C66}"/>
                  </a:ext>
                </a:extLst>
              </p:cNvPr>
              <p:cNvSpPr/>
              <p:nvPr/>
            </p:nvSpPr>
            <p:spPr bwMode="auto">
              <a:xfrm>
                <a:off x="3125788" y="2219325"/>
                <a:ext cx="193675" cy="193675"/>
              </a:xfrm>
              <a:custGeom>
                <a:avLst/>
                <a:gdLst>
                  <a:gd name="T0" fmla="*/ 122 w 122"/>
                  <a:gd name="T1" fmla="*/ 122 h 122"/>
                  <a:gd name="T2" fmla="*/ 0 w 122"/>
                  <a:gd name="T3" fmla="*/ 122 h 122"/>
                  <a:gd name="T4" fmla="*/ 0 w 122"/>
                  <a:gd name="T5" fmla="*/ 0 h 122"/>
                  <a:gd name="T6" fmla="*/ 45 w 122"/>
                  <a:gd name="T7" fmla="*/ 0 h 122"/>
                  <a:gd name="T8" fmla="*/ 45 w 122"/>
                  <a:gd name="T9" fmla="*/ 76 h 122"/>
                  <a:gd name="T10" fmla="*/ 122 w 122"/>
                  <a:gd name="T11" fmla="*/ 76 h 122"/>
                  <a:gd name="T12" fmla="*/ 122 w 122"/>
                  <a:gd name="T13" fmla="*/ 122 h 122"/>
                </a:gdLst>
                <a:ahLst/>
                <a:cxnLst>
                  <a:cxn ang="0">
                    <a:pos x="T0" y="T1"/>
                  </a:cxn>
                  <a:cxn ang="0">
                    <a:pos x="T2" y="T3"/>
                  </a:cxn>
                  <a:cxn ang="0">
                    <a:pos x="T4" y="T5"/>
                  </a:cxn>
                  <a:cxn ang="0">
                    <a:pos x="T6" y="T7"/>
                  </a:cxn>
                  <a:cxn ang="0">
                    <a:pos x="T8" y="T9"/>
                  </a:cxn>
                  <a:cxn ang="0">
                    <a:pos x="T10" y="T11"/>
                  </a:cxn>
                  <a:cxn ang="0">
                    <a:pos x="T12" y="T13"/>
                  </a:cxn>
                </a:cxnLst>
                <a:rect l="0" t="0" r="r" b="b"/>
                <a:pathLst>
                  <a:path w="122" h="122">
                    <a:moveTo>
                      <a:pt x="122" y="122"/>
                    </a:moveTo>
                    <a:lnTo>
                      <a:pt x="0" y="122"/>
                    </a:lnTo>
                    <a:lnTo>
                      <a:pt x="0" y="0"/>
                    </a:lnTo>
                    <a:lnTo>
                      <a:pt x="45" y="0"/>
                    </a:lnTo>
                    <a:lnTo>
                      <a:pt x="45" y="76"/>
                    </a:lnTo>
                    <a:lnTo>
                      <a:pt x="122" y="76"/>
                    </a:lnTo>
                    <a:lnTo>
                      <a:pt x="122" y="122"/>
                    </a:lnTo>
                    <a:close/>
                  </a:path>
                </a:pathLst>
              </a:custGeom>
              <a:solidFill>
                <a:srgbClr val="00BEB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7" name="ïšḻïḍé">
                <a:extLst>
                  <a:ext uri="{FF2B5EF4-FFF2-40B4-BE49-F238E27FC236}">
                    <a16:creationId xmlns:a16="http://schemas.microsoft.com/office/drawing/2014/main" id="{EC94B1BB-BFBC-854C-AF4A-F5CD3D32C18D}"/>
                  </a:ext>
                </a:extLst>
              </p:cNvPr>
              <p:cNvSpPr/>
              <p:nvPr/>
            </p:nvSpPr>
            <p:spPr bwMode="auto">
              <a:xfrm>
                <a:off x="8101013" y="1333500"/>
                <a:ext cx="231775" cy="363538"/>
              </a:xfrm>
              <a:custGeom>
                <a:avLst/>
                <a:gdLst>
                  <a:gd name="T0" fmla="*/ 16 w 38"/>
                  <a:gd name="T1" fmla="*/ 10 h 60"/>
                  <a:gd name="T2" fmla="*/ 19 w 38"/>
                  <a:gd name="T3" fmla="*/ 0 h 60"/>
                  <a:gd name="T4" fmla="*/ 22 w 38"/>
                  <a:gd name="T5" fmla="*/ 10 h 60"/>
                  <a:gd name="T6" fmla="*/ 38 w 38"/>
                  <a:gd name="T7" fmla="*/ 30 h 60"/>
                  <a:gd name="T8" fmla="*/ 22 w 38"/>
                  <a:gd name="T9" fmla="*/ 50 h 60"/>
                  <a:gd name="T10" fmla="*/ 19 w 38"/>
                  <a:gd name="T11" fmla="*/ 60 h 60"/>
                  <a:gd name="T12" fmla="*/ 16 w 38"/>
                  <a:gd name="T13" fmla="*/ 50 h 60"/>
                  <a:gd name="T14" fmla="*/ 0 w 38"/>
                  <a:gd name="T15" fmla="*/ 30 h 60"/>
                  <a:gd name="T16" fmla="*/ 16 w 38"/>
                  <a:gd name="T17" fmla="*/ 1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60">
                    <a:moveTo>
                      <a:pt x="16" y="10"/>
                    </a:moveTo>
                    <a:cubicBezTo>
                      <a:pt x="19" y="0"/>
                      <a:pt x="19" y="0"/>
                      <a:pt x="19" y="0"/>
                    </a:cubicBezTo>
                    <a:cubicBezTo>
                      <a:pt x="22" y="10"/>
                      <a:pt x="22" y="10"/>
                      <a:pt x="22" y="10"/>
                    </a:cubicBezTo>
                    <a:cubicBezTo>
                      <a:pt x="24" y="19"/>
                      <a:pt x="30" y="26"/>
                      <a:pt x="38" y="30"/>
                    </a:cubicBezTo>
                    <a:cubicBezTo>
                      <a:pt x="30" y="34"/>
                      <a:pt x="24" y="41"/>
                      <a:pt x="22" y="50"/>
                    </a:cubicBezTo>
                    <a:cubicBezTo>
                      <a:pt x="19" y="60"/>
                      <a:pt x="19" y="60"/>
                      <a:pt x="19" y="60"/>
                    </a:cubicBezTo>
                    <a:cubicBezTo>
                      <a:pt x="16" y="50"/>
                      <a:pt x="16" y="50"/>
                      <a:pt x="16" y="50"/>
                    </a:cubicBezTo>
                    <a:cubicBezTo>
                      <a:pt x="14" y="41"/>
                      <a:pt x="8" y="34"/>
                      <a:pt x="0" y="30"/>
                    </a:cubicBezTo>
                    <a:cubicBezTo>
                      <a:pt x="8" y="26"/>
                      <a:pt x="14" y="19"/>
                      <a:pt x="16" y="10"/>
                    </a:cubicBezTo>
                    <a:close/>
                  </a:path>
                </a:pathLst>
              </a:custGeom>
              <a:solidFill>
                <a:srgbClr val="EF65A5"/>
              </a:solidFill>
              <a:ln>
                <a:noFill/>
              </a:ln>
            </p:spPr>
            <p:txBody>
              <a:bodyPr anchor="ctr"/>
              <a:lstStyle/>
              <a:p>
                <a:pPr algn="ctr"/>
                <a:endParaRPr/>
              </a:p>
            </p:txBody>
          </p:sp>
          <p:sp>
            <p:nvSpPr>
              <p:cNvPr id="1078" name="ïṣḻíḍe">
                <a:extLst>
                  <a:ext uri="{FF2B5EF4-FFF2-40B4-BE49-F238E27FC236}">
                    <a16:creationId xmlns:a16="http://schemas.microsoft.com/office/drawing/2014/main" id="{933D1332-7A7E-444A-916F-27A0FD36BC17}"/>
                  </a:ext>
                </a:extLst>
              </p:cNvPr>
              <p:cNvSpPr/>
              <p:nvPr/>
            </p:nvSpPr>
            <p:spPr bwMode="auto">
              <a:xfrm>
                <a:off x="7840663" y="1206500"/>
                <a:ext cx="157163" cy="254000"/>
              </a:xfrm>
              <a:custGeom>
                <a:avLst/>
                <a:gdLst>
                  <a:gd name="T0" fmla="*/ 15 w 26"/>
                  <a:gd name="T1" fmla="*/ 7 h 42"/>
                  <a:gd name="T2" fmla="*/ 13 w 26"/>
                  <a:gd name="T3" fmla="*/ 0 h 42"/>
                  <a:gd name="T4" fmla="*/ 11 w 26"/>
                  <a:gd name="T5" fmla="*/ 7 h 42"/>
                  <a:gd name="T6" fmla="*/ 0 w 26"/>
                  <a:gd name="T7" fmla="*/ 21 h 42"/>
                  <a:gd name="T8" fmla="*/ 11 w 26"/>
                  <a:gd name="T9" fmla="*/ 35 h 42"/>
                  <a:gd name="T10" fmla="*/ 13 w 26"/>
                  <a:gd name="T11" fmla="*/ 42 h 42"/>
                  <a:gd name="T12" fmla="*/ 15 w 26"/>
                  <a:gd name="T13" fmla="*/ 35 h 42"/>
                  <a:gd name="T14" fmla="*/ 26 w 26"/>
                  <a:gd name="T15" fmla="*/ 21 h 42"/>
                  <a:gd name="T16" fmla="*/ 15 w 26"/>
                  <a:gd name="T17" fmla="*/ 7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42">
                    <a:moveTo>
                      <a:pt x="15" y="7"/>
                    </a:moveTo>
                    <a:cubicBezTo>
                      <a:pt x="13" y="0"/>
                      <a:pt x="13" y="0"/>
                      <a:pt x="13" y="0"/>
                    </a:cubicBezTo>
                    <a:cubicBezTo>
                      <a:pt x="11" y="7"/>
                      <a:pt x="11" y="7"/>
                      <a:pt x="11" y="7"/>
                    </a:cubicBezTo>
                    <a:cubicBezTo>
                      <a:pt x="9" y="13"/>
                      <a:pt x="5" y="18"/>
                      <a:pt x="0" y="21"/>
                    </a:cubicBezTo>
                    <a:cubicBezTo>
                      <a:pt x="5" y="24"/>
                      <a:pt x="9" y="29"/>
                      <a:pt x="11" y="35"/>
                    </a:cubicBezTo>
                    <a:cubicBezTo>
                      <a:pt x="13" y="42"/>
                      <a:pt x="13" y="42"/>
                      <a:pt x="13" y="42"/>
                    </a:cubicBezTo>
                    <a:cubicBezTo>
                      <a:pt x="15" y="35"/>
                      <a:pt x="15" y="35"/>
                      <a:pt x="15" y="35"/>
                    </a:cubicBezTo>
                    <a:cubicBezTo>
                      <a:pt x="17" y="29"/>
                      <a:pt x="21" y="24"/>
                      <a:pt x="26" y="21"/>
                    </a:cubicBezTo>
                    <a:cubicBezTo>
                      <a:pt x="21" y="18"/>
                      <a:pt x="17" y="13"/>
                      <a:pt x="15" y="7"/>
                    </a:cubicBezTo>
                    <a:close/>
                  </a:path>
                </a:pathLst>
              </a:custGeom>
              <a:solidFill>
                <a:srgbClr val="EF65A5"/>
              </a:solidFill>
              <a:ln>
                <a:noFill/>
              </a:ln>
            </p:spPr>
            <p:txBody>
              <a:bodyPr anchor="ctr"/>
              <a:lstStyle/>
              <a:p>
                <a:pPr algn="ctr"/>
                <a:endParaRPr/>
              </a:p>
            </p:txBody>
          </p:sp>
          <p:sp>
            <p:nvSpPr>
              <p:cNvPr id="1079" name="íṧḻïdè">
                <a:extLst>
                  <a:ext uri="{FF2B5EF4-FFF2-40B4-BE49-F238E27FC236}">
                    <a16:creationId xmlns:a16="http://schemas.microsoft.com/office/drawing/2014/main" id="{0DED42A8-911C-3645-9A43-96AC3C14831E}"/>
                  </a:ext>
                </a:extLst>
              </p:cNvPr>
              <p:cNvSpPr/>
              <p:nvPr/>
            </p:nvSpPr>
            <p:spPr bwMode="auto">
              <a:xfrm>
                <a:off x="3143251" y="1370013"/>
                <a:ext cx="182563" cy="290513"/>
              </a:xfrm>
              <a:custGeom>
                <a:avLst/>
                <a:gdLst>
                  <a:gd name="T0" fmla="*/ 17 w 30"/>
                  <a:gd name="T1" fmla="*/ 40 h 48"/>
                  <a:gd name="T2" fmla="*/ 15 w 30"/>
                  <a:gd name="T3" fmla="*/ 48 h 48"/>
                  <a:gd name="T4" fmla="*/ 13 w 30"/>
                  <a:gd name="T5" fmla="*/ 40 h 48"/>
                  <a:gd name="T6" fmla="*/ 0 w 30"/>
                  <a:gd name="T7" fmla="*/ 24 h 48"/>
                  <a:gd name="T8" fmla="*/ 13 w 30"/>
                  <a:gd name="T9" fmla="*/ 8 h 48"/>
                  <a:gd name="T10" fmla="*/ 15 w 30"/>
                  <a:gd name="T11" fmla="*/ 0 h 48"/>
                  <a:gd name="T12" fmla="*/ 17 w 30"/>
                  <a:gd name="T13" fmla="*/ 8 h 48"/>
                  <a:gd name="T14" fmla="*/ 30 w 30"/>
                  <a:gd name="T15" fmla="*/ 24 h 48"/>
                  <a:gd name="T16" fmla="*/ 17 w 30"/>
                  <a:gd name="T17"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48">
                    <a:moveTo>
                      <a:pt x="17" y="40"/>
                    </a:moveTo>
                    <a:cubicBezTo>
                      <a:pt x="15" y="48"/>
                      <a:pt x="15" y="48"/>
                      <a:pt x="15" y="48"/>
                    </a:cubicBezTo>
                    <a:cubicBezTo>
                      <a:pt x="13" y="40"/>
                      <a:pt x="13" y="40"/>
                      <a:pt x="13" y="40"/>
                    </a:cubicBezTo>
                    <a:cubicBezTo>
                      <a:pt x="11" y="33"/>
                      <a:pt x="6" y="27"/>
                      <a:pt x="0" y="24"/>
                    </a:cubicBezTo>
                    <a:cubicBezTo>
                      <a:pt x="6" y="21"/>
                      <a:pt x="11" y="15"/>
                      <a:pt x="13" y="8"/>
                    </a:cubicBezTo>
                    <a:cubicBezTo>
                      <a:pt x="15" y="0"/>
                      <a:pt x="15" y="0"/>
                      <a:pt x="15" y="0"/>
                    </a:cubicBezTo>
                    <a:cubicBezTo>
                      <a:pt x="17" y="8"/>
                      <a:pt x="17" y="8"/>
                      <a:pt x="17" y="8"/>
                    </a:cubicBezTo>
                    <a:cubicBezTo>
                      <a:pt x="19" y="15"/>
                      <a:pt x="23" y="21"/>
                      <a:pt x="30" y="24"/>
                    </a:cubicBezTo>
                    <a:cubicBezTo>
                      <a:pt x="23" y="27"/>
                      <a:pt x="19" y="33"/>
                      <a:pt x="17" y="40"/>
                    </a:cubicBezTo>
                    <a:close/>
                  </a:path>
                </a:pathLst>
              </a:custGeom>
              <a:solidFill>
                <a:srgbClr val="EF65A5"/>
              </a:solidFill>
              <a:ln>
                <a:noFill/>
              </a:ln>
            </p:spPr>
            <p:txBody>
              <a:bodyPr anchor="ctr"/>
              <a:lstStyle/>
              <a:p>
                <a:pPr algn="ctr"/>
                <a:endParaRPr/>
              </a:p>
            </p:txBody>
          </p:sp>
          <p:sp>
            <p:nvSpPr>
              <p:cNvPr id="1080" name="íṣḷîḓè">
                <a:extLst>
                  <a:ext uri="{FF2B5EF4-FFF2-40B4-BE49-F238E27FC236}">
                    <a16:creationId xmlns:a16="http://schemas.microsoft.com/office/drawing/2014/main" id="{836A5C91-05BB-624A-8B1E-78A722D2F090}"/>
                  </a:ext>
                </a:extLst>
              </p:cNvPr>
              <p:cNvSpPr/>
              <p:nvPr/>
            </p:nvSpPr>
            <p:spPr bwMode="auto">
              <a:xfrm>
                <a:off x="3379788" y="1655763"/>
                <a:ext cx="127000" cy="204788"/>
              </a:xfrm>
              <a:custGeom>
                <a:avLst/>
                <a:gdLst>
                  <a:gd name="T0" fmla="*/ 9 w 21"/>
                  <a:gd name="T1" fmla="*/ 28 h 34"/>
                  <a:gd name="T2" fmla="*/ 11 w 21"/>
                  <a:gd name="T3" fmla="*/ 34 h 34"/>
                  <a:gd name="T4" fmla="*/ 12 w 21"/>
                  <a:gd name="T5" fmla="*/ 28 h 34"/>
                  <a:gd name="T6" fmla="*/ 21 w 21"/>
                  <a:gd name="T7" fmla="*/ 17 h 34"/>
                  <a:gd name="T8" fmla="*/ 12 w 21"/>
                  <a:gd name="T9" fmla="*/ 6 h 34"/>
                  <a:gd name="T10" fmla="*/ 11 w 21"/>
                  <a:gd name="T11" fmla="*/ 0 h 34"/>
                  <a:gd name="T12" fmla="*/ 9 w 21"/>
                  <a:gd name="T13" fmla="*/ 6 h 34"/>
                  <a:gd name="T14" fmla="*/ 0 w 21"/>
                  <a:gd name="T15" fmla="*/ 17 h 34"/>
                  <a:gd name="T16" fmla="*/ 9 w 21"/>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34">
                    <a:moveTo>
                      <a:pt x="9" y="28"/>
                    </a:moveTo>
                    <a:cubicBezTo>
                      <a:pt x="11" y="34"/>
                      <a:pt x="11" y="34"/>
                      <a:pt x="11" y="34"/>
                    </a:cubicBezTo>
                    <a:cubicBezTo>
                      <a:pt x="12" y="28"/>
                      <a:pt x="12" y="28"/>
                      <a:pt x="12" y="28"/>
                    </a:cubicBezTo>
                    <a:cubicBezTo>
                      <a:pt x="14" y="23"/>
                      <a:pt x="17" y="19"/>
                      <a:pt x="21" y="17"/>
                    </a:cubicBezTo>
                    <a:cubicBezTo>
                      <a:pt x="17" y="15"/>
                      <a:pt x="14" y="11"/>
                      <a:pt x="12" y="6"/>
                    </a:cubicBezTo>
                    <a:cubicBezTo>
                      <a:pt x="11" y="0"/>
                      <a:pt x="11" y="0"/>
                      <a:pt x="11" y="0"/>
                    </a:cubicBezTo>
                    <a:cubicBezTo>
                      <a:pt x="9" y="6"/>
                      <a:pt x="9" y="6"/>
                      <a:pt x="9" y="6"/>
                    </a:cubicBezTo>
                    <a:cubicBezTo>
                      <a:pt x="8" y="11"/>
                      <a:pt x="5" y="15"/>
                      <a:pt x="0" y="17"/>
                    </a:cubicBezTo>
                    <a:cubicBezTo>
                      <a:pt x="5" y="19"/>
                      <a:pt x="8" y="23"/>
                      <a:pt x="9" y="28"/>
                    </a:cubicBezTo>
                    <a:close/>
                  </a:path>
                </a:pathLst>
              </a:custGeom>
              <a:solidFill>
                <a:srgbClr val="EF65A5"/>
              </a:solidFill>
              <a:ln>
                <a:noFill/>
              </a:ln>
            </p:spPr>
            <p:txBody>
              <a:bodyPr anchor="ctr"/>
              <a:lstStyle/>
              <a:p>
                <a:pPr algn="ctr"/>
                <a:endParaRPr/>
              </a:p>
            </p:txBody>
          </p:sp>
          <p:sp>
            <p:nvSpPr>
              <p:cNvPr id="1081" name="îsľiḍê">
                <a:extLst>
                  <a:ext uri="{FF2B5EF4-FFF2-40B4-BE49-F238E27FC236}">
                    <a16:creationId xmlns:a16="http://schemas.microsoft.com/office/drawing/2014/main" id="{84964864-6CEE-DC4D-832C-7918820A4525}"/>
                  </a:ext>
                </a:extLst>
              </p:cNvPr>
              <p:cNvSpPr/>
              <p:nvPr/>
            </p:nvSpPr>
            <p:spPr bwMode="auto">
              <a:xfrm>
                <a:off x="5176838" y="5541963"/>
                <a:ext cx="1722438" cy="85725"/>
              </a:xfrm>
              <a:prstGeom prst="ellipse">
                <a:avLst/>
              </a:prstGeom>
              <a:solidFill>
                <a:srgbClr val="00A49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2" name="iṧlïdè">
                <a:extLst>
                  <a:ext uri="{FF2B5EF4-FFF2-40B4-BE49-F238E27FC236}">
                    <a16:creationId xmlns:a16="http://schemas.microsoft.com/office/drawing/2014/main" id="{2AAFAD91-7F57-3B4B-82BA-47AD1225842F}"/>
                  </a:ext>
                </a:extLst>
              </p:cNvPr>
              <p:cNvSpPr/>
              <p:nvPr/>
            </p:nvSpPr>
            <p:spPr bwMode="auto">
              <a:xfrm>
                <a:off x="5826126" y="5068888"/>
                <a:ext cx="1038225" cy="461963"/>
              </a:xfrm>
              <a:custGeom>
                <a:avLst/>
                <a:gdLst>
                  <a:gd name="T0" fmla="*/ 119 w 171"/>
                  <a:gd name="T1" fmla="*/ 0 h 76"/>
                  <a:gd name="T2" fmla="*/ 71 w 171"/>
                  <a:gd name="T3" fmla="*/ 18 h 76"/>
                  <a:gd name="T4" fmla="*/ 52 w 171"/>
                  <a:gd name="T5" fmla="*/ 16 h 76"/>
                  <a:gd name="T6" fmla="*/ 20 w 171"/>
                  <a:gd name="T7" fmla="*/ 23 h 76"/>
                  <a:gd name="T8" fmla="*/ 0 w 171"/>
                  <a:gd name="T9" fmla="*/ 46 h 76"/>
                  <a:gd name="T10" fmla="*/ 52 w 171"/>
                  <a:gd name="T11" fmla="*/ 76 h 76"/>
                  <a:gd name="T12" fmla="*/ 96 w 171"/>
                  <a:gd name="T13" fmla="*/ 63 h 76"/>
                  <a:gd name="T14" fmla="*/ 101 w 171"/>
                  <a:gd name="T15" fmla="*/ 57 h 76"/>
                  <a:gd name="T16" fmla="*/ 119 w 171"/>
                  <a:gd name="T17" fmla="*/ 59 h 76"/>
                  <a:gd name="T18" fmla="*/ 162 w 171"/>
                  <a:gd name="T19" fmla="*/ 46 h 76"/>
                  <a:gd name="T20" fmla="*/ 171 w 171"/>
                  <a:gd name="T21" fmla="*/ 30 h 76"/>
                  <a:gd name="T22" fmla="*/ 119 w 171"/>
                  <a:gd name="T2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76">
                    <a:moveTo>
                      <a:pt x="119" y="0"/>
                    </a:moveTo>
                    <a:cubicBezTo>
                      <a:pt x="97" y="0"/>
                      <a:pt x="79" y="7"/>
                      <a:pt x="71" y="18"/>
                    </a:cubicBezTo>
                    <a:cubicBezTo>
                      <a:pt x="65" y="17"/>
                      <a:pt x="59" y="16"/>
                      <a:pt x="52" y="16"/>
                    </a:cubicBezTo>
                    <a:cubicBezTo>
                      <a:pt x="40" y="16"/>
                      <a:pt x="29" y="19"/>
                      <a:pt x="20" y="23"/>
                    </a:cubicBezTo>
                    <a:cubicBezTo>
                      <a:pt x="8" y="28"/>
                      <a:pt x="0" y="37"/>
                      <a:pt x="0" y="46"/>
                    </a:cubicBezTo>
                    <a:cubicBezTo>
                      <a:pt x="0" y="62"/>
                      <a:pt x="24" y="76"/>
                      <a:pt x="52" y="76"/>
                    </a:cubicBezTo>
                    <a:cubicBezTo>
                      <a:pt x="70" y="76"/>
                      <a:pt x="86" y="71"/>
                      <a:pt x="96" y="63"/>
                    </a:cubicBezTo>
                    <a:cubicBezTo>
                      <a:pt x="98" y="61"/>
                      <a:pt x="99" y="59"/>
                      <a:pt x="101" y="57"/>
                    </a:cubicBezTo>
                    <a:cubicBezTo>
                      <a:pt x="106" y="59"/>
                      <a:pt x="113" y="59"/>
                      <a:pt x="119" y="59"/>
                    </a:cubicBezTo>
                    <a:cubicBezTo>
                      <a:pt x="137" y="59"/>
                      <a:pt x="153" y="54"/>
                      <a:pt x="162" y="46"/>
                    </a:cubicBezTo>
                    <a:cubicBezTo>
                      <a:pt x="168" y="41"/>
                      <a:pt x="171" y="36"/>
                      <a:pt x="171" y="30"/>
                    </a:cubicBezTo>
                    <a:cubicBezTo>
                      <a:pt x="171" y="13"/>
                      <a:pt x="148" y="0"/>
                      <a:pt x="119" y="0"/>
                    </a:cubicBezTo>
                    <a:close/>
                  </a:path>
                </a:pathLst>
              </a:custGeom>
              <a:solidFill>
                <a:srgbClr val="00A49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3" name="îśḷïdé">
                <a:extLst>
                  <a:ext uri="{FF2B5EF4-FFF2-40B4-BE49-F238E27FC236}">
                    <a16:creationId xmlns:a16="http://schemas.microsoft.com/office/drawing/2014/main" id="{89A85CBA-E229-9B4C-B331-0E3DAD7A8CCA}"/>
                  </a:ext>
                </a:extLst>
              </p:cNvPr>
              <p:cNvSpPr/>
              <p:nvPr/>
            </p:nvSpPr>
            <p:spPr bwMode="auto">
              <a:xfrm>
                <a:off x="5802313" y="5118100"/>
                <a:ext cx="630238" cy="357188"/>
              </a:xfrm>
              <a:custGeom>
                <a:avLst/>
                <a:gdLst>
                  <a:gd name="T0" fmla="*/ 104 w 104"/>
                  <a:gd name="T1" fmla="*/ 30 h 59"/>
                  <a:gd name="T2" fmla="*/ 95 w 104"/>
                  <a:gd name="T3" fmla="*/ 46 h 59"/>
                  <a:gd name="T4" fmla="*/ 52 w 104"/>
                  <a:gd name="T5" fmla="*/ 59 h 59"/>
                  <a:gd name="T6" fmla="*/ 0 w 104"/>
                  <a:gd name="T7" fmla="*/ 30 h 59"/>
                  <a:gd name="T8" fmla="*/ 20 w 104"/>
                  <a:gd name="T9" fmla="*/ 6 h 59"/>
                  <a:gd name="T10" fmla="*/ 52 w 104"/>
                  <a:gd name="T11" fmla="*/ 0 h 59"/>
                  <a:gd name="T12" fmla="*/ 104 w 104"/>
                  <a:gd name="T13" fmla="*/ 30 h 59"/>
                </a:gdLst>
                <a:ahLst/>
                <a:cxnLst>
                  <a:cxn ang="0">
                    <a:pos x="T0" y="T1"/>
                  </a:cxn>
                  <a:cxn ang="0">
                    <a:pos x="T2" y="T3"/>
                  </a:cxn>
                  <a:cxn ang="0">
                    <a:pos x="T4" y="T5"/>
                  </a:cxn>
                  <a:cxn ang="0">
                    <a:pos x="T6" y="T7"/>
                  </a:cxn>
                  <a:cxn ang="0">
                    <a:pos x="T8" y="T9"/>
                  </a:cxn>
                  <a:cxn ang="0">
                    <a:pos x="T10" y="T11"/>
                  </a:cxn>
                  <a:cxn ang="0">
                    <a:pos x="T12" y="T13"/>
                  </a:cxn>
                </a:cxnLst>
                <a:rect l="0" t="0" r="r" b="b"/>
                <a:pathLst>
                  <a:path w="104" h="59">
                    <a:moveTo>
                      <a:pt x="104" y="30"/>
                    </a:moveTo>
                    <a:cubicBezTo>
                      <a:pt x="104" y="36"/>
                      <a:pt x="101" y="41"/>
                      <a:pt x="95" y="46"/>
                    </a:cubicBezTo>
                    <a:cubicBezTo>
                      <a:pt x="86" y="54"/>
                      <a:pt x="70" y="59"/>
                      <a:pt x="52" y="59"/>
                    </a:cubicBezTo>
                    <a:cubicBezTo>
                      <a:pt x="23" y="59"/>
                      <a:pt x="0" y="46"/>
                      <a:pt x="0" y="30"/>
                    </a:cubicBezTo>
                    <a:cubicBezTo>
                      <a:pt x="0" y="20"/>
                      <a:pt x="8" y="12"/>
                      <a:pt x="20" y="6"/>
                    </a:cubicBezTo>
                    <a:cubicBezTo>
                      <a:pt x="29" y="2"/>
                      <a:pt x="40" y="0"/>
                      <a:pt x="52" y="0"/>
                    </a:cubicBezTo>
                    <a:cubicBezTo>
                      <a:pt x="81" y="0"/>
                      <a:pt x="104" y="13"/>
                      <a:pt x="104" y="30"/>
                    </a:cubicBezTo>
                    <a:close/>
                  </a:path>
                </a:pathLst>
              </a:custGeom>
              <a:solidFill>
                <a:srgbClr val="3E039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4" name="iṡľíḍê">
                <a:extLst>
                  <a:ext uri="{FF2B5EF4-FFF2-40B4-BE49-F238E27FC236}">
                    <a16:creationId xmlns:a16="http://schemas.microsoft.com/office/drawing/2014/main" id="{DCAE173F-03CB-B642-8752-74ADB624BC2B}"/>
                  </a:ext>
                </a:extLst>
              </p:cNvPr>
              <p:cNvSpPr/>
              <p:nvPr/>
            </p:nvSpPr>
            <p:spPr bwMode="auto">
              <a:xfrm>
                <a:off x="5922963" y="5118100"/>
                <a:ext cx="193675" cy="180975"/>
              </a:xfrm>
              <a:custGeom>
                <a:avLst/>
                <a:gdLst>
                  <a:gd name="T0" fmla="*/ 32 w 32"/>
                  <a:gd name="T1" fmla="*/ 0 h 30"/>
                  <a:gd name="T2" fmla="*/ 32 w 32"/>
                  <a:gd name="T3" fmla="*/ 30 h 30"/>
                  <a:gd name="T4" fmla="*/ 0 w 32"/>
                  <a:gd name="T5" fmla="*/ 6 h 30"/>
                  <a:gd name="T6" fmla="*/ 32 w 32"/>
                  <a:gd name="T7" fmla="*/ 0 h 30"/>
                </a:gdLst>
                <a:ahLst/>
                <a:cxnLst>
                  <a:cxn ang="0">
                    <a:pos x="T0" y="T1"/>
                  </a:cxn>
                  <a:cxn ang="0">
                    <a:pos x="T2" y="T3"/>
                  </a:cxn>
                  <a:cxn ang="0">
                    <a:pos x="T4" y="T5"/>
                  </a:cxn>
                  <a:cxn ang="0">
                    <a:pos x="T6" y="T7"/>
                  </a:cxn>
                </a:cxnLst>
                <a:rect l="0" t="0" r="r" b="b"/>
                <a:pathLst>
                  <a:path w="32" h="30">
                    <a:moveTo>
                      <a:pt x="32" y="0"/>
                    </a:moveTo>
                    <a:cubicBezTo>
                      <a:pt x="32" y="30"/>
                      <a:pt x="32" y="30"/>
                      <a:pt x="32" y="30"/>
                    </a:cubicBezTo>
                    <a:cubicBezTo>
                      <a:pt x="0" y="6"/>
                      <a:pt x="0" y="6"/>
                      <a:pt x="0" y="6"/>
                    </a:cubicBezTo>
                    <a:cubicBezTo>
                      <a:pt x="9" y="2"/>
                      <a:pt x="20" y="0"/>
                      <a:pt x="3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5" name="iṥlîḓè">
                <a:extLst>
                  <a:ext uri="{FF2B5EF4-FFF2-40B4-BE49-F238E27FC236}">
                    <a16:creationId xmlns:a16="http://schemas.microsoft.com/office/drawing/2014/main" id="{2F3881F9-91BF-2D46-A0A1-93D1EF4202F8}"/>
                  </a:ext>
                </a:extLst>
              </p:cNvPr>
              <p:cNvSpPr/>
              <p:nvPr/>
            </p:nvSpPr>
            <p:spPr bwMode="auto">
              <a:xfrm>
                <a:off x="6208713" y="5014913"/>
                <a:ext cx="630238" cy="363538"/>
              </a:xfrm>
              <a:custGeom>
                <a:avLst/>
                <a:gdLst>
                  <a:gd name="T0" fmla="*/ 104 w 104"/>
                  <a:gd name="T1" fmla="*/ 30 h 60"/>
                  <a:gd name="T2" fmla="*/ 95 w 104"/>
                  <a:gd name="T3" fmla="*/ 47 h 60"/>
                  <a:gd name="T4" fmla="*/ 52 w 104"/>
                  <a:gd name="T5" fmla="*/ 60 h 60"/>
                  <a:gd name="T6" fmla="*/ 0 w 104"/>
                  <a:gd name="T7" fmla="*/ 30 h 60"/>
                  <a:gd name="T8" fmla="*/ 52 w 104"/>
                  <a:gd name="T9" fmla="*/ 0 h 60"/>
                  <a:gd name="T10" fmla="*/ 104 w 104"/>
                  <a:gd name="T11" fmla="*/ 30 h 60"/>
                </a:gdLst>
                <a:ahLst/>
                <a:cxnLst>
                  <a:cxn ang="0">
                    <a:pos x="T0" y="T1"/>
                  </a:cxn>
                  <a:cxn ang="0">
                    <a:pos x="T2" y="T3"/>
                  </a:cxn>
                  <a:cxn ang="0">
                    <a:pos x="T4" y="T5"/>
                  </a:cxn>
                  <a:cxn ang="0">
                    <a:pos x="T6" y="T7"/>
                  </a:cxn>
                  <a:cxn ang="0">
                    <a:pos x="T8" y="T9"/>
                  </a:cxn>
                  <a:cxn ang="0">
                    <a:pos x="T10" y="T11"/>
                  </a:cxn>
                </a:cxnLst>
                <a:rect l="0" t="0" r="r" b="b"/>
                <a:pathLst>
                  <a:path w="104" h="60">
                    <a:moveTo>
                      <a:pt x="104" y="30"/>
                    </a:moveTo>
                    <a:cubicBezTo>
                      <a:pt x="104" y="36"/>
                      <a:pt x="101" y="42"/>
                      <a:pt x="95" y="47"/>
                    </a:cubicBezTo>
                    <a:cubicBezTo>
                      <a:pt x="86" y="55"/>
                      <a:pt x="70" y="60"/>
                      <a:pt x="52" y="60"/>
                    </a:cubicBezTo>
                    <a:cubicBezTo>
                      <a:pt x="23" y="60"/>
                      <a:pt x="0" y="47"/>
                      <a:pt x="0" y="30"/>
                    </a:cubicBezTo>
                    <a:cubicBezTo>
                      <a:pt x="0" y="14"/>
                      <a:pt x="23" y="0"/>
                      <a:pt x="52" y="0"/>
                    </a:cubicBezTo>
                    <a:cubicBezTo>
                      <a:pt x="81" y="0"/>
                      <a:pt x="104" y="14"/>
                      <a:pt x="104" y="30"/>
                    </a:cubicBezTo>
                    <a:close/>
                  </a:path>
                </a:pathLst>
              </a:custGeom>
              <a:solidFill>
                <a:srgbClr val="EF65A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6" name="îṡ1îḋe">
                <a:extLst>
                  <a:ext uri="{FF2B5EF4-FFF2-40B4-BE49-F238E27FC236}">
                    <a16:creationId xmlns:a16="http://schemas.microsoft.com/office/drawing/2014/main" id="{3F4773E3-46D9-534E-B288-1B81FF9791D0}"/>
                  </a:ext>
                </a:extLst>
              </p:cNvPr>
              <p:cNvSpPr/>
              <p:nvPr/>
            </p:nvSpPr>
            <p:spPr bwMode="auto">
              <a:xfrm>
                <a:off x="6523038" y="5014913"/>
                <a:ext cx="315913" cy="284163"/>
              </a:xfrm>
              <a:custGeom>
                <a:avLst/>
                <a:gdLst>
                  <a:gd name="T0" fmla="*/ 52 w 52"/>
                  <a:gd name="T1" fmla="*/ 30 h 47"/>
                  <a:gd name="T2" fmla="*/ 43 w 52"/>
                  <a:gd name="T3" fmla="*/ 47 h 47"/>
                  <a:gd name="T4" fmla="*/ 0 w 52"/>
                  <a:gd name="T5" fmla="*/ 30 h 47"/>
                  <a:gd name="T6" fmla="*/ 0 w 52"/>
                  <a:gd name="T7" fmla="*/ 0 h 47"/>
                  <a:gd name="T8" fmla="*/ 52 w 52"/>
                  <a:gd name="T9" fmla="*/ 30 h 47"/>
                </a:gdLst>
                <a:ahLst/>
                <a:cxnLst>
                  <a:cxn ang="0">
                    <a:pos x="T0" y="T1"/>
                  </a:cxn>
                  <a:cxn ang="0">
                    <a:pos x="T2" y="T3"/>
                  </a:cxn>
                  <a:cxn ang="0">
                    <a:pos x="T4" y="T5"/>
                  </a:cxn>
                  <a:cxn ang="0">
                    <a:pos x="T6" y="T7"/>
                  </a:cxn>
                  <a:cxn ang="0">
                    <a:pos x="T8" y="T9"/>
                  </a:cxn>
                </a:cxnLst>
                <a:rect l="0" t="0" r="r" b="b"/>
                <a:pathLst>
                  <a:path w="52" h="47">
                    <a:moveTo>
                      <a:pt x="52" y="30"/>
                    </a:moveTo>
                    <a:cubicBezTo>
                      <a:pt x="52" y="36"/>
                      <a:pt x="49" y="42"/>
                      <a:pt x="43" y="47"/>
                    </a:cubicBezTo>
                    <a:cubicBezTo>
                      <a:pt x="0" y="30"/>
                      <a:pt x="0" y="30"/>
                      <a:pt x="0" y="30"/>
                    </a:cubicBezTo>
                    <a:cubicBezTo>
                      <a:pt x="0" y="0"/>
                      <a:pt x="0" y="0"/>
                      <a:pt x="0" y="0"/>
                    </a:cubicBezTo>
                    <a:cubicBezTo>
                      <a:pt x="29" y="0"/>
                      <a:pt x="52" y="14"/>
                      <a:pt x="52" y="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7" name="íšlïdé">
                <a:extLst>
                  <a:ext uri="{FF2B5EF4-FFF2-40B4-BE49-F238E27FC236}">
                    <a16:creationId xmlns:a16="http://schemas.microsoft.com/office/drawing/2014/main" id="{732A62A2-52B4-534A-86BF-E715D8F6057D}"/>
                  </a:ext>
                </a:extLst>
              </p:cNvPr>
              <p:cNvSpPr/>
              <p:nvPr/>
            </p:nvSpPr>
            <p:spPr bwMode="auto">
              <a:xfrm>
                <a:off x="5267326" y="5530850"/>
                <a:ext cx="1401763" cy="23813"/>
              </a:xfrm>
              <a:prstGeom prst="rect">
                <a:avLst/>
              </a:prstGeom>
              <a:solidFill>
                <a:srgbClr val="EBE0B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088" name="îṥḷîḍê">
                <a:extLst>
                  <a:ext uri="{FF2B5EF4-FFF2-40B4-BE49-F238E27FC236}">
                    <a16:creationId xmlns:a16="http://schemas.microsoft.com/office/drawing/2014/main" id="{1016C253-2255-F044-8559-EAEB98A4817C}"/>
                  </a:ext>
                </a:extLst>
              </p:cNvPr>
              <p:cNvSpPr/>
              <p:nvPr/>
            </p:nvSpPr>
            <p:spPr bwMode="auto">
              <a:xfrm>
                <a:off x="5649913" y="5397500"/>
                <a:ext cx="1395413" cy="127000"/>
              </a:xfrm>
              <a:custGeom>
                <a:avLst/>
                <a:gdLst>
                  <a:gd name="T0" fmla="*/ 879 w 879"/>
                  <a:gd name="T1" fmla="*/ 61 h 80"/>
                  <a:gd name="T2" fmla="*/ 0 w 879"/>
                  <a:gd name="T3" fmla="*/ 0 h 80"/>
                  <a:gd name="T4" fmla="*/ 0 w 879"/>
                  <a:gd name="T5" fmla="*/ 19 h 80"/>
                  <a:gd name="T6" fmla="*/ 879 w 879"/>
                  <a:gd name="T7" fmla="*/ 80 h 80"/>
                  <a:gd name="T8" fmla="*/ 879 w 879"/>
                  <a:gd name="T9" fmla="*/ 61 h 80"/>
                </a:gdLst>
                <a:ahLst/>
                <a:cxnLst>
                  <a:cxn ang="0">
                    <a:pos x="T0" y="T1"/>
                  </a:cxn>
                  <a:cxn ang="0">
                    <a:pos x="T2" y="T3"/>
                  </a:cxn>
                  <a:cxn ang="0">
                    <a:pos x="T4" y="T5"/>
                  </a:cxn>
                  <a:cxn ang="0">
                    <a:pos x="T6" y="T7"/>
                  </a:cxn>
                  <a:cxn ang="0">
                    <a:pos x="T8" y="T9"/>
                  </a:cxn>
                </a:cxnLst>
                <a:rect l="0" t="0" r="r" b="b"/>
                <a:pathLst>
                  <a:path w="879" h="80">
                    <a:moveTo>
                      <a:pt x="879" y="61"/>
                    </a:moveTo>
                    <a:lnTo>
                      <a:pt x="0" y="0"/>
                    </a:lnTo>
                    <a:lnTo>
                      <a:pt x="0" y="19"/>
                    </a:lnTo>
                    <a:lnTo>
                      <a:pt x="879" y="80"/>
                    </a:lnTo>
                    <a:lnTo>
                      <a:pt x="879" y="61"/>
                    </a:lnTo>
                    <a:close/>
                  </a:path>
                </a:pathLst>
              </a:custGeom>
              <a:solidFill>
                <a:srgbClr val="EBE0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mc:AlternateContent xmlns:mc="http://schemas.openxmlformats.org/markup-compatibility/2006" xmlns:a14="http://schemas.microsoft.com/office/drawing/2010/main">
          <mc:Choice Requires="a14">
            <p:sp>
              <p:nvSpPr>
                <p:cNvPr id="1089" name="文本框 1088">
                  <a:extLst>
                    <a:ext uri="{FF2B5EF4-FFF2-40B4-BE49-F238E27FC236}">
                      <a16:creationId xmlns:a16="http://schemas.microsoft.com/office/drawing/2014/main" id="{A3F63763-3A57-1B48-BFC9-0BC92DA025BD}"/>
                    </a:ext>
                  </a:extLst>
                </p:cNvPr>
                <p:cNvSpPr txBox="1"/>
                <p:nvPr/>
              </p:nvSpPr>
              <p:spPr>
                <a:xfrm>
                  <a:off x="2438242" y="4157506"/>
                  <a:ext cx="668768" cy="571563"/>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kumimoji="1" lang="en-US" altLang="zh-CN" sz="3600" i="1" smtClean="0">
                            <a:solidFill>
                              <a:schemeClr val="tx1"/>
                            </a:solidFill>
                            <a:latin typeface="Cambria Math" panose="02040503050406030204" pitchFamily="18" charset="0"/>
                            <a:ea typeface="Cambria Math" panose="02040503050406030204" pitchFamily="18" charset="0"/>
                          </a:rPr>
                          <m:t>×</m:t>
                        </m:r>
                      </m:oMath>
                    </m:oMathPara>
                  </a14:m>
                  <a:endParaRPr kumimoji="1" lang="zh-CN" altLang="en-US" sz="3600" dirty="0">
                    <a:solidFill>
                      <a:schemeClr val="tx1"/>
                    </a:solidFill>
                  </a:endParaRPr>
                </a:p>
              </p:txBody>
            </p:sp>
          </mc:Choice>
          <mc:Fallback xmlns="">
            <p:sp>
              <p:nvSpPr>
                <p:cNvPr id="1089" name="文本框 1088">
                  <a:extLst>
                    <a:ext uri="{FF2B5EF4-FFF2-40B4-BE49-F238E27FC236}">
                      <a16:creationId xmlns:a16="http://schemas.microsoft.com/office/drawing/2014/main" id="{A3F63763-3A57-1B48-BFC9-0BC92DA025BD}"/>
                    </a:ext>
                  </a:extLst>
                </p:cNvPr>
                <p:cNvSpPr txBox="1">
                  <a:spLocks noRot="1" noChangeAspect="1" noMove="1" noResize="1" noEditPoints="1" noAdjustHandles="1" noChangeArrowheads="1" noChangeShapeType="1" noTextEdit="1"/>
                </p:cNvSpPr>
                <p:nvPr/>
              </p:nvSpPr>
              <p:spPr>
                <a:xfrm>
                  <a:off x="2438242" y="4157506"/>
                  <a:ext cx="668768" cy="571563"/>
                </a:xfrm>
                <a:prstGeom prst="rect">
                  <a:avLst/>
                </a:prstGeom>
                <a:blipFill>
                  <a:blip r:embed="rId11"/>
                  <a:stretch>
                    <a:fillRect b="-6522"/>
                  </a:stretch>
                </a:blipFill>
              </p:spPr>
              <p:txBody>
                <a:bodyPr/>
                <a:lstStyle/>
                <a:p>
                  <a:r>
                    <a:rPr lang="zh-CN" altLang="en-US">
                      <a:noFill/>
                    </a:rPr>
                    <a:t> </a:t>
                  </a:r>
                </a:p>
              </p:txBody>
            </p:sp>
          </mc:Fallback>
        </mc:AlternateContent>
        <p:grpSp>
          <p:nvGrpSpPr>
            <p:cNvPr id="1090" name="组合 1089"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7E180A58-E3B7-FA49-93DC-E69F2D38D905}"/>
                </a:ext>
              </a:extLst>
            </p:cNvPr>
            <p:cNvGrpSpPr>
              <a:grpSpLocks noChangeAspect="1"/>
            </p:cNvGrpSpPr>
            <p:nvPr/>
          </p:nvGrpSpPr>
          <p:grpSpPr>
            <a:xfrm>
              <a:off x="5887844" y="3452329"/>
              <a:ext cx="1755472" cy="1811045"/>
              <a:chOff x="3102769" y="1200151"/>
              <a:chExt cx="5986463" cy="4941887"/>
            </a:xfrm>
          </p:grpSpPr>
          <p:sp>
            <p:nvSpPr>
              <p:cNvPr id="1091" name="ïṣ1îḑè">
                <a:extLst>
                  <a:ext uri="{FF2B5EF4-FFF2-40B4-BE49-F238E27FC236}">
                    <a16:creationId xmlns:a16="http://schemas.microsoft.com/office/drawing/2014/main" id="{D5FEB852-618A-5748-A04C-2D4FA9D5D51A}"/>
                  </a:ext>
                </a:extLst>
              </p:cNvPr>
              <p:cNvSpPr/>
              <p:nvPr/>
            </p:nvSpPr>
            <p:spPr bwMode="auto">
              <a:xfrm>
                <a:off x="5655469" y="1200151"/>
                <a:ext cx="3187700" cy="3846512"/>
              </a:xfrm>
              <a:custGeom>
                <a:avLst/>
                <a:gdLst>
                  <a:gd name="T0" fmla="*/ 1964 w 2008"/>
                  <a:gd name="T1" fmla="*/ 0 h 2423"/>
                  <a:gd name="T2" fmla="*/ 0 w 2008"/>
                  <a:gd name="T3" fmla="*/ 0 h 2423"/>
                  <a:gd name="T4" fmla="*/ 0 w 2008"/>
                  <a:gd name="T5" fmla="*/ 2423 h 2423"/>
                  <a:gd name="T6" fmla="*/ 2008 w 2008"/>
                  <a:gd name="T7" fmla="*/ 2423 h 2423"/>
                  <a:gd name="T8" fmla="*/ 2008 w 2008"/>
                  <a:gd name="T9" fmla="*/ 0 h 2423"/>
                  <a:gd name="T10" fmla="*/ 1964 w 2008"/>
                  <a:gd name="T11" fmla="*/ 0 h 2423"/>
                </a:gdLst>
                <a:ahLst/>
                <a:cxnLst>
                  <a:cxn ang="0">
                    <a:pos x="T0" y="T1"/>
                  </a:cxn>
                  <a:cxn ang="0">
                    <a:pos x="T2" y="T3"/>
                  </a:cxn>
                  <a:cxn ang="0">
                    <a:pos x="T4" y="T5"/>
                  </a:cxn>
                  <a:cxn ang="0">
                    <a:pos x="T6" y="T7"/>
                  </a:cxn>
                  <a:cxn ang="0">
                    <a:pos x="T8" y="T9"/>
                  </a:cxn>
                  <a:cxn ang="0">
                    <a:pos x="T10" y="T11"/>
                  </a:cxn>
                </a:cxnLst>
                <a:rect l="0" t="0" r="r" b="b"/>
                <a:pathLst>
                  <a:path w="2008" h="2423">
                    <a:moveTo>
                      <a:pt x="1964" y="0"/>
                    </a:moveTo>
                    <a:lnTo>
                      <a:pt x="0" y="0"/>
                    </a:lnTo>
                    <a:lnTo>
                      <a:pt x="0" y="2423"/>
                    </a:lnTo>
                    <a:lnTo>
                      <a:pt x="2008" y="2423"/>
                    </a:lnTo>
                    <a:lnTo>
                      <a:pt x="2008" y="0"/>
                    </a:lnTo>
                    <a:lnTo>
                      <a:pt x="1964" y="0"/>
                    </a:lnTo>
                    <a:close/>
                  </a:path>
                </a:pathLst>
              </a:custGeom>
              <a:solidFill>
                <a:srgbClr val="F4F4F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2" name="îś1íḓè">
                <a:extLst>
                  <a:ext uri="{FF2B5EF4-FFF2-40B4-BE49-F238E27FC236}">
                    <a16:creationId xmlns:a16="http://schemas.microsoft.com/office/drawing/2014/main" id="{F7CA3FFE-FA55-3548-A8B7-72F4F654CDCB}"/>
                  </a:ext>
                </a:extLst>
              </p:cNvPr>
              <p:cNvSpPr/>
              <p:nvPr/>
            </p:nvSpPr>
            <p:spPr bwMode="auto">
              <a:xfrm>
                <a:off x="5655469" y="1200151"/>
                <a:ext cx="3187700" cy="215900"/>
              </a:xfrm>
              <a:prstGeom prst="rect">
                <a:avLst/>
              </a:prstGeom>
              <a:solidFill>
                <a:srgbClr val="05618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093" name="ïṡ1îḋe">
                <a:extLst>
                  <a:ext uri="{FF2B5EF4-FFF2-40B4-BE49-F238E27FC236}">
                    <a16:creationId xmlns:a16="http://schemas.microsoft.com/office/drawing/2014/main" id="{1593E8E1-3194-3A44-8BED-8C658B54BE10}"/>
                  </a:ext>
                </a:extLst>
              </p:cNvPr>
              <p:cNvSpPr/>
              <p:nvPr/>
            </p:nvSpPr>
            <p:spPr bwMode="auto">
              <a:xfrm>
                <a:off x="8606632" y="1263651"/>
                <a:ext cx="92075" cy="92075"/>
              </a:xfrm>
              <a:prstGeom prst="ellipse">
                <a:avLst/>
              </a:pr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4" name="ïśľïďe">
                <a:extLst>
                  <a:ext uri="{FF2B5EF4-FFF2-40B4-BE49-F238E27FC236}">
                    <a16:creationId xmlns:a16="http://schemas.microsoft.com/office/drawing/2014/main" id="{FC095713-9CC7-8545-B079-7B254163B4BB}"/>
                  </a:ext>
                </a:extLst>
              </p:cNvPr>
              <p:cNvSpPr/>
              <p:nvPr/>
            </p:nvSpPr>
            <p:spPr bwMode="auto">
              <a:xfrm>
                <a:off x="8425657" y="1263651"/>
                <a:ext cx="93663" cy="92075"/>
              </a:xfrm>
              <a:prstGeom prst="ellipse">
                <a:avLst/>
              </a:pr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5" name="îşḻîďe">
                <a:extLst>
                  <a:ext uri="{FF2B5EF4-FFF2-40B4-BE49-F238E27FC236}">
                    <a16:creationId xmlns:a16="http://schemas.microsoft.com/office/drawing/2014/main" id="{902253E3-DEFD-1544-A424-2A21E2F62D46}"/>
                  </a:ext>
                </a:extLst>
              </p:cNvPr>
              <p:cNvSpPr/>
              <p:nvPr/>
            </p:nvSpPr>
            <p:spPr bwMode="auto">
              <a:xfrm>
                <a:off x="8246269" y="1263651"/>
                <a:ext cx="93663" cy="92075"/>
              </a:xfrm>
              <a:prstGeom prst="ellipse">
                <a:avLst/>
              </a:pr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6" name="iṡḷïde">
                <a:extLst>
                  <a:ext uri="{FF2B5EF4-FFF2-40B4-BE49-F238E27FC236}">
                    <a16:creationId xmlns:a16="http://schemas.microsoft.com/office/drawing/2014/main" id="{FE48D88D-4CFC-3444-AFF3-1C6FC032EAC8}"/>
                  </a:ext>
                </a:extLst>
              </p:cNvPr>
              <p:cNvSpPr/>
              <p:nvPr/>
            </p:nvSpPr>
            <p:spPr bwMode="auto">
              <a:xfrm>
                <a:off x="5769769" y="1263651"/>
                <a:ext cx="706438" cy="92075"/>
              </a:xfrm>
              <a:custGeom>
                <a:avLst/>
                <a:gdLst>
                  <a:gd name="T0" fmla="*/ 546 w 546"/>
                  <a:gd name="T1" fmla="*/ 35 h 71"/>
                  <a:gd name="T2" fmla="*/ 510 w 546"/>
                  <a:gd name="T3" fmla="*/ 71 h 71"/>
                  <a:gd name="T4" fmla="*/ 36 w 546"/>
                  <a:gd name="T5" fmla="*/ 71 h 71"/>
                  <a:gd name="T6" fmla="*/ 0 w 546"/>
                  <a:gd name="T7" fmla="*/ 35 h 71"/>
                  <a:gd name="T8" fmla="*/ 0 w 546"/>
                  <a:gd name="T9" fmla="*/ 35 h 71"/>
                  <a:gd name="T10" fmla="*/ 36 w 546"/>
                  <a:gd name="T11" fmla="*/ 0 h 71"/>
                  <a:gd name="T12" fmla="*/ 510 w 546"/>
                  <a:gd name="T13" fmla="*/ 0 h 71"/>
                  <a:gd name="T14" fmla="*/ 546 w 546"/>
                  <a:gd name="T15" fmla="*/ 35 h 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6" h="71">
                    <a:moveTo>
                      <a:pt x="546" y="35"/>
                    </a:moveTo>
                    <a:cubicBezTo>
                      <a:pt x="546" y="55"/>
                      <a:pt x="530" y="71"/>
                      <a:pt x="510" y="71"/>
                    </a:cubicBezTo>
                    <a:cubicBezTo>
                      <a:pt x="36" y="71"/>
                      <a:pt x="36" y="71"/>
                      <a:pt x="36" y="71"/>
                    </a:cubicBezTo>
                    <a:cubicBezTo>
                      <a:pt x="16" y="71"/>
                      <a:pt x="0" y="55"/>
                      <a:pt x="0" y="35"/>
                    </a:cubicBezTo>
                    <a:cubicBezTo>
                      <a:pt x="0" y="35"/>
                      <a:pt x="0" y="35"/>
                      <a:pt x="0" y="35"/>
                    </a:cubicBezTo>
                    <a:cubicBezTo>
                      <a:pt x="0" y="16"/>
                      <a:pt x="16" y="0"/>
                      <a:pt x="36" y="0"/>
                    </a:cubicBezTo>
                    <a:cubicBezTo>
                      <a:pt x="510" y="0"/>
                      <a:pt x="510" y="0"/>
                      <a:pt x="510" y="0"/>
                    </a:cubicBezTo>
                    <a:cubicBezTo>
                      <a:pt x="530" y="0"/>
                      <a:pt x="546" y="16"/>
                      <a:pt x="546" y="35"/>
                    </a:cubicBez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7" name="iṧḻïḋè">
                <a:extLst>
                  <a:ext uri="{FF2B5EF4-FFF2-40B4-BE49-F238E27FC236}">
                    <a16:creationId xmlns:a16="http://schemas.microsoft.com/office/drawing/2014/main" id="{EB238C2B-22DC-1E49-B4E4-8C3DEE9FD83B}"/>
                  </a:ext>
                </a:extLst>
              </p:cNvPr>
              <p:cNvSpPr/>
              <p:nvPr/>
            </p:nvSpPr>
            <p:spPr bwMode="auto">
              <a:xfrm>
                <a:off x="5655469" y="1416051"/>
                <a:ext cx="3187700" cy="1239837"/>
              </a:xfrm>
              <a:prstGeom prst="rect">
                <a:avLst/>
              </a:prstGeom>
              <a:solidFill>
                <a:srgbClr val="F0DBA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098" name="ïšlíḋê">
                <a:extLst>
                  <a:ext uri="{FF2B5EF4-FFF2-40B4-BE49-F238E27FC236}">
                    <a16:creationId xmlns:a16="http://schemas.microsoft.com/office/drawing/2014/main" id="{86805B9B-CB1E-B24F-BFCD-041F69788142}"/>
                  </a:ext>
                </a:extLst>
              </p:cNvPr>
              <p:cNvSpPr/>
              <p:nvPr/>
            </p:nvSpPr>
            <p:spPr bwMode="auto">
              <a:xfrm>
                <a:off x="6142832" y="1616076"/>
                <a:ext cx="2212975" cy="746125"/>
              </a:xfrm>
              <a:prstGeom prst="rect">
                <a:avLst/>
              </a:prstGeom>
              <a:solidFill>
                <a:srgbClr val="C6C6C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099" name="îṣḷiḑê">
                <a:extLst>
                  <a:ext uri="{FF2B5EF4-FFF2-40B4-BE49-F238E27FC236}">
                    <a16:creationId xmlns:a16="http://schemas.microsoft.com/office/drawing/2014/main" id="{67779C40-9DD7-9E43-A5E0-91262275A8D3}"/>
                  </a:ext>
                </a:extLst>
              </p:cNvPr>
              <p:cNvSpPr/>
              <p:nvPr/>
            </p:nvSpPr>
            <p:spPr bwMode="auto">
              <a:xfrm>
                <a:off x="6142832" y="1651001"/>
                <a:ext cx="2212975" cy="711200"/>
              </a:xfrm>
              <a:custGeom>
                <a:avLst/>
                <a:gdLst>
                  <a:gd name="T0" fmla="*/ 0 w 1394"/>
                  <a:gd name="T1" fmla="*/ 448 h 448"/>
                  <a:gd name="T2" fmla="*/ 227 w 1394"/>
                  <a:gd name="T3" fmla="*/ 230 h 448"/>
                  <a:gd name="T4" fmla="*/ 294 w 1394"/>
                  <a:gd name="T5" fmla="*/ 301 h 448"/>
                  <a:gd name="T6" fmla="*/ 533 w 1394"/>
                  <a:gd name="T7" fmla="*/ 133 h 448"/>
                  <a:gd name="T8" fmla="*/ 737 w 1394"/>
                  <a:gd name="T9" fmla="*/ 290 h 448"/>
                  <a:gd name="T10" fmla="*/ 944 w 1394"/>
                  <a:gd name="T11" fmla="*/ 61 h 448"/>
                  <a:gd name="T12" fmla="*/ 1104 w 1394"/>
                  <a:gd name="T13" fmla="*/ 242 h 448"/>
                  <a:gd name="T14" fmla="*/ 1318 w 1394"/>
                  <a:gd name="T15" fmla="*/ 0 h 448"/>
                  <a:gd name="T16" fmla="*/ 1394 w 1394"/>
                  <a:gd name="T17" fmla="*/ 200 h 448"/>
                  <a:gd name="T18" fmla="*/ 1394 w 1394"/>
                  <a:gd name="T19" fmla="*/ 448 h 448"/>
                  <a:gd name="T20" fmla="*/ 0 w 1394"/>
                  <a:gd name="T21" fmla="*/ 448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94" h="448">
                    <a:moveTo>
                      <a:pt x="0" y="448"/>
                    </a:moveTo>
                    <a:lnTo>
                      <a:pt x="227" y="230"/>
                    </a:lnTo>
                    <a:lnTo>
                      <a:pt x="294" y="301"/>
                    </a:lnTo>
                    <a:lnTo>
                      <a:pt x="533" y="133"/>
                    </a:lnTo>
                    <a:lnTo>
                      <a:pt x="737" y="290"/>
                    </a:lnTo>
                    <a:lnTo>
                      <a:pt x="944" y="61"/>
                    </a:lnTo>
                    <a:lnTo>
                      <a:pt x="1104" y="242"/>
                    </a:lnTo>
                    <a:lnTo>
                      <a:pt x="1318" y="0"/>
                    </a:lnTo>
                    <a:lnTo>
                      <a:pt x="1394" y="200"/>
                    </a:lnTo>
                    <a:lnTo>
                      <a:pt x="1394" y="448"/>
                    </a:lnTo>
                    <a:lnTo>
                      <a:pt x="0" y="448"/>
                    </a:lnTo>
                    <a:close/>
                  </a:path>
                </a:pathLst>
              </a:custGeom>
              <a:solidFill>
                <a:srgbClr val="553A1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0" name="işḷiďé">
                <a:extLst>
                  <a:ext uri="{FF2B5EF4-FFF2-40B4-BE49-F238E27FC236}">
                    <a16:creationId xmlns:a16="http://schemas.microsoft.com/office/drawing/2014/main" id="{9C0FD72A-2920-0B48-B8C4-79C0EC9938B2}"/>
                  </a:ext>
                </a:extLst>
              </p:cNvPr>
              <p:cNvSpPr/>
              <p:nvPr/>
            </p:nvSpPr>
            <p:spPr bwMode="auto">
              <a:xfrm>
                <a:off x="6142832" y="1820863"/>
                <a:ext cx="2212975" cy="541337"/>
              </a:xfrm>
              <a:custGeom>
                <a:avLst/>
                <a:gdLst>
                  <a:gd name="T0" fmla="*/ 0 w 1394"/>
                  <a:gd name="T1" fmla="*/ 341 h 341"/>
                  <a:gd name="T2" fmla="*/ 123 w 1394"/>
                  <a:gd name="T3" fmla="*/ 90 h 341"/>
                  <a:gd name="T4" fmla="*/ 245 w 1394"/>
                  <a:gd name="T5" fmla="*/ 277 h 341"/>
                  <a:gd name="T6" fmla="*/ 372 w 1394"/>
                  <a:gd name="T7" fmla="*/ 186 h 341"/>
                  <a:gd name="T8" fmla="*/ 516 w 1394"/>
                  <a:gd name="T9" fmla="*/ 279 h 341"/>
                  <a:gd name="T10" fmla="*/ 798 w 1394"/>
                  <a:gd name="T11" fmla="*/ 57 h 341"/>
                  <a:gd name="T12" fmla="*/ 991 w 1394"/>
                  <a:gd name="T13" fmla="*/ 263 h 341"/>
                  <a:gd name="T14" fmla="*/ 1158 w 1394"/>
                  <a:gd name="T15" fmla="*/ 0 h 341"/>
                  <a:gd name="T16" fmla="*/ 1394 w 1394"/>
                  <a:gd name="T17" fmla="*/ 341 h 341"/>
                  <a:gd name="T18" fmla="*/ 0 w 1394"/>
                  <a:gd name="T19"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94" h="341">
                    <a:moveTo>
                      <a:pt x="0" y="341"/>
                    </a:moveTo>
                    <a:lnTo>
                      <a:pt x="123" y="90"/>
                    </a:lnTo>
                    <a:lnTo>
                      <a:pt x="245" y="277"/>
                    </a:lnTo>
                    <a:lnTo>
                      <a:pt x="372" y="186"/>
                    </a:lnTo>
                    <a:lnTo>
                      <a:pt x="516" y="279"/>
                    </a:lnTo>
                    <a:lnTo>
                      <a:pt x="798" y="57"/>
                    </a:lnTo>
                    <a:lnTo>
                      <a:pt x="991" y="263"/>
                    </a:lnTo>
                    <a:lnTo>
                      <a:pt x="1158" y="0"/>
                    </a:lnTo>
                    <a:lnTo>
                      <a:pt x="1394" y="341"/>
                    </a:lnTo>
                    <a:lnTo>
                      <a:pt x="0" y="341"/>
                    </a:lnTo>
                    <a:close/>
                  </a:path>
                </a:pathLst>
              </a:custGeom>
              <a:solidFill>
                <a:srgbClr val="FFC00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1" name="íšľiḋè">
                <a:extLst>
                  <a:ext uri="{FF2B5EF4-FFF2-40B4-BE49-F238E27FC236}">
                    <a16:creationId xmlns:a16="http://schemas.microsoft.com/office/drawing/2014/main" id="{DC9E7671-F139-7146-A09A-C38879398E52}"/>
                  </a:ext>
                </a:extLst>
              </p:cNvPr>
              <p:cNvSpPr/>
              <p:nvPr/>
            </p:nvSpPr>
            <p:spPr bwMode="auto">
              <a:xfrm>
                <a:off x="6142832" y="2747963"/>
                <a:ext cx="1262063" cy="296862"/>
              </a:xfrm>
              <a:prstGeom prst="rect">
                <a:avLst/>
              </a:prstGeom>
              <a:solidFill>
                <a:srgbClr val="BC162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02" name="îSľïḋè">
                <a:extLst>
                  <a:ext uri="{FF2B5EF4-FFF2-40B4-BE49-F238E27FC236}">
                    <a16:creationId xmlns:a16="http://schemas.microsoft.com/office/drawing/2014/main" id="{5172799F-A2D5-614D-B20C-C3DFE9ED85EC}"/>
                  </a:ext>
                </a:extLst>
              </p:cNvPr>
              <p:cNvSpPr/>
              <p:nvPr/>
            </p:nvSpPr>
            <p:spPr bwMode="auto">
              <a:xfrm>
                <a:off x="6142832" y="3089276"/>
                <a:ext cx="1262063" cy="96837"/>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03" name="iş1ïde">
                <a:extLst>
                  <a:ext uri="{FF2B5EF4-FFF2-40B4-BE49-F238E27FC236}">
                    <a16:creationId xmlns:a16="http://schemas.microsoft.com/office/drawing/2014/main" id="{F7FE3044-FF64-2C4D-BF4E-D1FA54043874}"/>
                  </a:ext>
                </a:extLst>
              </p:cNvPr>
              <p:cNvSpPr/>
              <p:nvPr/>
            </p:nvSpPr>
            <p:spPr bwMode="auto">
              <a:xfrm>
                <a:off x="6142832" y="3222626"/>
                <a:ext cx="1262063" cy="95250"/>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04" name="îṡḷidè">
                <a:extLst>
                  <a:ext uri="{FF2B5EF4-FFF2-40B4-BE49-F238E27FC236}">
                    <a16:creationId xmlns:a16="http://schemas.microsoft.com/office/drawing/2014/main" id="{BF24D422-58B4-7044-925F-11E82EFBDA4A}"/>
                  </a:ext>
                </a:extLst>
              </p:cNvPr>
              <p:cNvSpPr/>
              <p:nvPr/>
            </p:nvSpPr>
            <p:spPr bwMode="auto">
              <a:xfrm>
                <a:off x="7514432" y="2747963"/>
                <a:ext cx="1106488" cy="88900"/>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05" name="í$ḷîḑe">
                <a:extLst>
                  <a:ext uri="{FF2B5EF4-FFF2-40B4-BE49-F238E27FC236}">
                    <a16:creationId xmlns:a16="http://schemas.microsoft.com/office/drawing/2014/main" id="{31567CFB-D1B1-B642-A1DD-24A4F66AD3C3}"/>
                  </a:ext>
                </a:extLst>
              </p:cNvPr>
              <p:cNvSpPr/>
              <p:nvPr/>
            </p:nvSpPr>
            <p:spPr bwMode="auto">
              <a:xfrm>
                <a:off x="7514432" y="2871788"/>
                <a:ext cx="1106488" cy="446087"/>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06" name="í$ḻiḍè">
                <a:extLst>
                  <a:ext uri="{FF2B5EF4-FFF2-40B4-BE49-F238E27FC236}">
                    <a16:creationId xmlns:a16="http://schemas.microsoft.com/office/drawing/2014/main" id="{58886CD2-09C0-6A4E-956B-9C5285A189F0}"/>
                  </a:ext>
                </a:extLst>
              </p:cNvPr>
              <p:cNvSpPr/>
              <p:nvPr/>
            </p:nvSpPr>
            <p:spPr bwMode="auto">
              <a:xfrm>
                <a:off x="6142832" y="3475038"/>
                <a:ext cx="1262063" cy="638175"/>
              </a:xfrm>
              <a:prstGeom prst="rect">
                <a:avLst/>
              </a:prstGeom>
              <a:solidFill>
                <a:srgbClr val="83311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07" name="iṧḷïḑe">
                <a:extLst>
                  <a:ext uri="{FF2B5EF4-FFF2-40B4-BE49-F238E27FC236}">
                    <a16:creationId xmlns:a16="http://schemas.microsoft.com/office/drawing/2014/main" id="{1241026E-E25F-8A49-AC82-785E736D7F2E}"/>
                  </a:ext>
                </a:extLst>
              </p:cNvPr>
              <p:cNvSpPr/>
              <p:nvPr/>
            </p:nvSpPr>
            <p:spPr bwMode="auto">
              <a:xfrm>
                <a:off x="6538119" y="3576638"/>
                <a:ext cx="450850" cy="450850"/>
              </a:xfrm>
              <a:prstGeom prst="ellipse">
                <a:avLst/>
              </a:prstGeom>
              <a:solidFill>
                <a:srgbClr val="FFC00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8" name="íṣľíḓé">
                <a:extLst>
                  <a:ext uri="{FF2B5EF4-FFF2-40B4-BE49-F238E27FC236}">
                    <a16:creationId xmlns:a16="http://schemas.microsoft.com/office/drawing/2014/main" id="{2002B9E5-D939-4645-8BDA-1FBD573DB522}"/>
                  </a:ext>
                </a:extLst>
              </p:cNvPr>
              <p:cNvSpPr/>
              <p:nvPr/>
            </p:nvSpPr>
            <p:spPr bwMode="auto">
              <a:xfrm>
                <a:off x="7539832" y="3449638"/>
                <a:ext cx="1055688" cy="166687"/>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09" name="ïśḻîḋè">
                <a:extLst>
                  <a:ext uri="{FF2B5EF4-FFF2-40B4-BE49-F238E27FC236}">
                    <a16:creationId xmlns:a16="http://schemas.microsoft.com/office/drawing/2014/main" id="{3BD473AC-5B6A-F340-8E4D-15AC0E88690B}"/>
                  </a:ext>
                </a:extLst>
              </p:cNvPr>
              <p:cNvSpPr/>
              <p:nvPr/>
            </p:nvSpPr>
            <p:spPr bwMode="auto">
              <a:xfrm>
                <a:off x="7539832" y="3668713"/>
                <a:ext cx="1055688" cy="166687"/>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10" name="ï$ḷïďe">
                <a:extLst>
                  <a:ext uri="{FF2B5EF4-FFF2-40B4-BE49-F238E27FC236}">
                    <a16:creationId xmlns:a16="http://schemas.microsoft.com/office/drawing/2014/main" id="{CDB023F8-9324-4348-9F85-02A749B57FC4}"/>
                  </a:ext>
                </a:extLst>
              </p:cNvPr>
              <p:cNvSpPr/>
              <p:nvPr/>
            </p:nvSpPr>
            <p:spPr bwMode="auto">
              <a:xfrm>
                <a:off x="7539832" y="3889376"/>
                <a:ext cx="1055688" cy="166687"/>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11" name="îşľíḑe">
                <a:extLst>
                  <a:ext uri="{FF2B5EF4-FFF2-40B4-BE49-F238E27FC236}">
                    <a16:creationId xmlns:a16="http://schemas.microsoft.com/office/drawing/2014/main" id="{1D40A338-2048-6849-84ED-03CB006F2D82}"/>
                  </a:ext>
                </a:extLst>
              </p:cNvPr>
              <p:cNvSpPr/>
              <p:nvPr/>
            </p:nvSpPr>
            <p:spPr bwMode="auto">
              <a:xfrm>
                <a:off x="7539832" y="4110038"/>
                <a:ext cx="1055688" cy="166687"/>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12" name="îsļïďe">
                <a:extLst>
                  <a:ext uri="{FF2B5EF4-FFF2-40B4-BE49-F238E27FC236}">
                    <a16:creationId xmlns:a16="http://schemas.microsoft.com/office/drawing/2014/main" id="{02537BD7-4664-B840-A6AB-AB9ABE97AB6C}"/>
                  </a:ext>
                </a:extLst>
              </p:cNvPr>
              <p:cNvSpPr/>
              <p:nvPr/>
            </p:nvSpPr>
            <p:spPr bwMode="auto">
              <a:xfrm>
                <a:off x="4872832" y="5454651"/>
                <a:ext cx="1049338" cy="628650"/>
              </a:xfrm>
              <a:custGeom>
                <a:avLst/>
                <a:gdLst>
                  <a:gd name="T0" fmla="*/ 676 w 809"/>
                  <a:gd name="T1" fmla="*/ 45 h 486"/>
                  <a:gd name="T2" fmla="*/ 613 w 809"/>
                  <a:gd name="T3" fmla="*/ 0 h 486"/>
                  <a:gd name="T4" fmla="*/ 170 w 809"/>
                  <a:gd name="T5" fmla="*/ 0 h 486"/>
                  <a:gd name="T6" fmla="*/ 108 w 809"/>
                  <a:gd name="T7" fmla="*/ 45 h 486"/>
                  <a:gd name="T8" fmla="*/ 0 w 809"/>
                  <a:gd name="T9" fmla="*/ 441 h 486"/>
                  <a:gd name="T10" fmla="*/ 63 w 809"/>
                  <a:gd name="T11" fmla="*/ 486 h 486"/>
                  <a:gd name="T12" fmla="*/ 747 w 809"/>
                  <a:gd name="T13" fmla="*/ 486 h 486"/>
                  <a:gd name="T14" fmla="*/ 809 w 809"/>
                  <a:gd name="T15" fmla="*/ 441 h 486"/>
                  <a:gd name="T16" fmla="*/ 676 w 809"/>
                  <a:gd name="T17" fmla="*/ 45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9" h="486">
                    <a:moveTo>
                      <a:pt x="676" y="45"/>
                    </a:moveTo>
                    <a:cubicBezTo>
                      <a:pt x="676" y="20"/>
                      <a:pt x="648" y="0"/>
                      <a:pt x="613" y="0"/>
                    </a:cubicBezTo>
                    <a:cubicBezTo>
                      <a:pt x="170" y="0"/>
                      <a:pt x="170" y="0"/>
                      <a:pt x="170" y="0"/>
                    </a:cubicBezTo>
                    <a:cubicBezTo>
                      <a:pt x="136" y="0"/>
                      <a:pt x="108" y="20"/>
                      <a:pt x="108" y="45"/>
                    </a:cubicBezTo>
                    <a:cubicBezTo>
                      <a:pt x="0" y="441"/>
                      <a:pt x="0" y="441"/>
                      <a:pt x="0" y="441"/>
                    </a:cubicBezTo>
                    <a:cubicBezTo>
                      <a:pt x="0" y="466"/>
                      <a:pt x="29" y="486"/>
                      <a:pt x="63" y="486"/>
                    </a:cubicBezTo>
                    <a:cubicBezTo>
                      <a:pt x="747" y="486"/>
                      <a:pt x="747" y="486"/>
                      <a:pt x="747" y="486"/>
                    </a:cubicBezTo>
                    <a:cubicBezTo>
                      <a:pt x="781" y="486"/>
                      <a:pt x="809" y="466"/>
                      <a:pt x="809" y="441"/>
                    </a:cubicBezTo>
                    <a:lnTo>
                      <a:pt x="676" y="45"/>
                    </a:lnTo>
                    <a:close/>
                  </a:path>
                </a:pathLst>
              </a:custGeom>
              <a:solidFill>
                <a:srgbClr val="D7D7D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3" name="íṧḷîḓè">
                <a:extLst>
                  <a:ext uri="{FF2B5EF4-FFF2-40B4-BE49-F238E27FC236}">
                    <a16:creationId xmlns:a16="http://schemas.microsoft.com/office/drawing/2014/main" id="{B5A66FD0-D12C-8845-94A0-7772B3035D4F}"/>
                  </a:ext>
                </a:extLst>
              </p:cNvPr>
              <p:cNvSpPr/>
              <p:nvPr/>
            </p:nvSpPr>
            <p:spPr bwMode="auto">
              <a:xfrm>
                <a:off x="3366294" y="2682876"/>
                <a:ext cx="4132263" cy="2849562"/>
              </a:xfrm>
              <a:custGeom>
                <a:avLst/>
                <a:gdLst>
                  <a:gd name="T0" fmla="*/ 3189 w 3189"/>
                  <a:gd name="T1" fmla="*/ 2136 h 2199"/>
                  <a:gd name="T2" fmla="*/ 3127 w 3189"/>
                  <a:gd name="T3" fmla="*/ 2199 h 2199"/>
                  <a:gd name="T4" fmla="*/ 63 w 3189"/>
                  <a:gd name="T5" fmla="*/ 2199 h 2199"/>
                  <a:gd name="T6" fmla="*/ 0 w 3189"/>
                  <a:gd name="T7" fmla="*/ 2136 h 2199"/>
                  <a:gd name="T8" fmla="*/ 0 w 3189"/>
                  <a:gd name="T9" fmla="*/ 62 h 2199"/>
                  <a:gd name="T10" fmla="*/ 63 w 3189"/>
                  <a:gd name="T11" fmla="*/ 0 h 2199"/>
                  <a:gd name="T12" fmla="*/ 3127 w 3189"/>
                  <a:gd name="T13" fmla="*/ 0 h 2199"/>
                  <a:gd name="T14" fmla="*/ 3189 w 3189"/>
                  <a:gd name="T15" fmla="*/ 62 h 2199"/>
                  <a:gd name="T16" fmla="*/ 3189 w 3189"/>
                  <a:gd name="T17" fmla="*/ 2136 h 2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89" h="2199">
                    <a:moveTo>
                      <a:pt x="3189" y="2136"/>
                    </a:moveTo>
                    <a:cubicBezTo>
                      <a:pt x="3189" y="2171"/>
                      <a:pt x="3161" y="2199"/>
                      <a:pt x="3127" y="2199"/>
                    </a:cubicBezTo>
                    <a:cubicBezTo>
                      <a:pt x="63" y="2199"/>
                      <a:pt x="63" y="2199"/>
                      <a:pt x="63" y="2199"/>
                    </a:cubicBezTo>
                    <a:cubicBezTo>
                      <a:pt x="28" y="2199"/>
                      <a:pt x="0" y="2171"/>
                      <a:pt x="0" y="2136"/>
                    </a:cubicBezTo>
                    <a:cubicBezTo>
                      <a:pt x="0" y="62"/>
                      <a:pt x="0" y="62"/>
                      <a:pt x="0" y="62"/>
                    </a:cubicBezTo>
                    <a:cubicBezTo>
                      <a:pt x="0" y="28"/>
                      <a:pt x="28" y="0"/>
                      <a:pt x="63" y="0"/>
                    </a:cubicBezTo>
                    <a:cubicBezTo>
                      <a:pt x="3127" y="0"/>
                      <a:pt x="3127" y="0"/>
                      <a:pt x="3127" y="0"/>
                    </a:cubicBezTo>
                    <a:cubicBezTo>
                      <a:pt x="3161" y="0"/>
                      <a:pt x="3189" y="28"/>
                      <a:pt x="3189" y="62"/>
                    </a:cubicBezTo>
                    <a:lnTo>
                      <a:pt x="3189" y="2136"/>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4" name="ïšľiďè">
                <a:extLst>
                  <a:ext uri="{FF2B5EF4-FFF2-40B4-BE49-F238E27FC236}">
                    <a16:creationId xmlns:a16="http://schemas.microsoft.com/office/drawing/2014/main" id="{0C87CE63-A7EB-254B-888C-180E4CC03242}"/>
                  </a:ext>
                </a:extLst>
              </p:cNvPr>
              <p:cNvSpPr/>
              <p:nvPr/>
            </p:nvSpPr>
            <p:spPr bwMode="auto">
              <a:xfrm>
                <a:off x="3366294" y="2840038"/>
                <a:ext cx="4132263" cy="2293937"/>
              </a:xfrm>
              <a:prstGeom prst="rect">
                <a:avLst/>
              </a:prstGeom>
              <a:solidFill>
                <a:srgbClr val="706F6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15" name="iṧḻídè">
                <a:extLst>
                  <a:ext uri="{FF2B5EF4-FFF2-40B4-BE49-F238E27FC236}">
                    <a16:creationId xmlns:a16="http://schemas.microsoft.com/office/drawing/2014/main" id="{5FEEBCF4-DA2E-0F41-8013-DF90997AE22C}"/>
                  </a:ext>
                </a:extLst>
              </p:cNvPr>
              <p:cNvSpPr/>
              <p:nvPr/>
            </p:nvSpPr>
            <p:spPr bwMode="auto">
              <a:xfrm>
                <a:off x="4483894" y="5873751"/>
                <a:ext cx="1836738" cy="244475"/>
              </a:xfrm>
              <a:custGeom>
                <a:avLst/>
                <a:gdLst>
                  <a:gd name="T0" fmla="*/ 1417 w 1417"/>
                  <a:gd name="T1" fmla="*/ 126 h 189"/>
                  <a:gd name="T2" fmla="*/ 1354 w 1417"/>
                  <a:gd name="T3" fmla="*/ 189 h 189"/>
                  <a:gd name="T4" fmla="*/ 63 w 1417"/>
                  <a:gd name="T5" fmla="*/ 189 h 189"/>
                  <a:gd name="T6" fmla="*/ 0 w 1417"/>
                  <a:gd name="T7" fmla="*/ 126 h 189"/>
                  <a:gd name="T8" fmla="*/ 0 w 1417"/>
                  <a:gd name="T9" fmla="*/ 63 h 189"/>
                  <a:gd name="T10" fmla="*/ 63 w 1417"/>
                  <a:gd name="T11" fmla="*/ 0 h 189"/>
                  <a:gd name="T12" fmla="*/ 1354 w 1417"/>
                  <a:gd name="T13" fmla="*/ 0 h 189"/>
                  <a:gd name="T14" fmla="*/ 1417 w 1417"/>
                  <a:gd name="T15" fmla="*/ 63 h 189"/>
                  <a:gd name="T16" fmla="*/ 1417 w 1417"/>
                  <a:gd name="T17" fmla="*/ 126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7" h="189">
                    <a:moveTo>
                      <a:pt x="1417" y="126"/>
                    </a:moveTo>
                    <a:cubicBezTo>
                      <a:pt x="1417" y="161"/>
                      <a:pt x="1389" y="189"/>
                      <a:pt x="1354" y="189"/>
                    </a:cubicBezTo>
                    <a:cubicBezTo>
                      <a:pt x="63" y="189"/>
                      <a:pt x="63" y="189"/>
                      <a:pt x="63" y="189"/>
                    </a:cubicBezTo>
                    <a:cubicBezTo>
                      <a:pt x="28" y="189"/>
                      <a:pt x="0" y="161"/>
                      <a:pt x="0" y="126"/>
                    </a:cubicBezTo>
                    <a:cubicBezTo>
                      <a:pt x="0" y="63"/>
                      <a:pt x="0" y="63"/>
                      <a:pt x="0" y="63"/>
                    </a:cubicBezTo>
                    <a:cubicBezTo>
                      <a:pt x="0" y="28"/>
                      <a:pt x="28" y="0"/>
                      <a:pt x="63" y="0"/>
                    </a:cubicBezTo>
                    <a:cubicBezTo>
                      <a:pt x="1354" y="0"/>
                      <a:pt x="1354" y="0"/>
                      <a:pt x="1354" y="0"/>
                    </a:cubicBezTo>
                    <a:cubicBezTo>
                      <a:pt x="1389" y="0"/>
                      <a:pt x="1417" y="28"/>
                      <a:pt x="1417" y="63"/>
                    </a:cubicBezTo>
                    <a:lnTo>
                      <a:pt x="1417" y="126"/>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6" name="íSḻîḍé">
                <a:extLst>
                  <a:ext uri="{FF2B5EF4-FFF2-40B4-BE49-F238E27FC236}">
                    <a16:creationId xmlns:a16="http://schemas.microsoft.com/office/drawing/2014/main" id="{B1186C64-2172-7740-84BD-ED6FDF1BB615}"/>
                  </a:ext>
                </a:extLst>
              </p:cNvPr>
              <p:cNvSpPr/>
              <p:nvPr/>
            </p:nvSpPr>
            <p:spPr bwMode="auto">
              <a:xfrm>
                <a:off x="3366294" y="3003551"/>
                <a:ext cx="4132263" cy="1927225"/>
              </a:xfrm>
              <a:custGeom>
                <a:avLst/>
                <a:gdLst>
                  <a:gd name="T0" fmla="*/ 2570 w 2603"/>
                  <a:gd name="T1" fmla="*/ 0 h 1214"/>
                  <a:gd name="T2" fmla="*/ 0 w 2603"/>
                  <a:gd name="T3" fmla="*/ 0 h 1214"/>
                  <a:gd name="T4" fmla="*/ 0 w 2603"/>
                  <a:gd name="T5" fmla="*/ 1214 h 1214"/>
                  <a:gd name="T6" fmla="*/ 1780 w 2603"/>
                  <a:gd name="T7" fmla="*/ 1214 h 1214"/>
                  <a:gd name="T8" fmla="*/ 2040 w 2603"/>
                  <a:gd name="T9" fmla="*/ 1214 h 1214"/>
                  <a:gd name="T10" fmla="*/ 2603 w 2603"/>
                  <a:gd name="T11" fmla="*/ 1214 h 1214"/>
                  <a:gd name="T12" fmla="*/ 2603 w 2603"/>
                  <a:gd name="T13" fmla="*/ 530 h 1214"/>
                  <a:gd name="T14" fmla="*/ 2603 w 2603"/>
                  <a:gd name="T15" fmla="*/ 215 h 1214"/>
                  <a:gd name="T16" fmla="*/ 2603 w 2603"/>
                  <a:gd name="T17" fmla="*/ 121 h 1214"/>
                  <a:gd name="T18" fmla="*/ 2603 w 2603"/>
                  <a:gd name="T19" fmla="*/ 0 h 1214"/>
                  <a:gd name="T20" fmla="*/ 2570 w 2603"/>
                  <a:gd name="T21" fmla="*/ 0 h 1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03" h="1214">
                    <a:moveTo>
                      <a:pt x="2570" y="0"/>
                    </a:moveTo>
                    <a:lnTo>
                      <a:pt x="0" y="0"/>
                    </a:lnTo>
                    <a:lnTo>
                      <a:pt x="0" y="1214"/>
                    </a:lnTo>
                    <a:lnTo>
                      <a:pt x="1780" y="1214"/>
                    </a:lnTo>
                    <a:lnTo>
                      <a:pt x="2040" y="1214"/>
                    </a:lnTo>
                    <a:lnTo>
                      <a:pt x="2603" y="1214"/>
                    </a:lnTo>
                    <a:lnTo>
                      <a:pt x="2603" y="530"/>
                    </a:lnTo>
                    <a:lnTo>
                      <a:pt x="2603" y="215"/>
                    </a:lnTo>
                    <a:lnTo>
                      <a:pt x="2603" y="121"/>
                    </a:lnTo>
                    <a:lnTo>
                      <a:pt x="2603" y="0"/>
                    </a:lnTo>
                    <a:lnTo>
                      <a:pt x="2570" y="0"/>
                    </a:lnTo>
                    <a:close/>
                  </a:path>
                </a:pathLst>
              </a:custGeom>
              <a:solidFill>
                <a:srgbClr val="F6F6F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7" name="îS1íďé">
                <a:extLst>
                  <a:ext uri="{FF2B5EF4-FFF2-40B4-BE49-F238E27FC236}">
                    <a16:creationId xmlns:a16="http://schemas.microsoft.com/office/drawing/2014/main" id="{FEF5FEF0-1349-3543-A47C-34AC85988A37}"/>
                  </a:ext>
                </a:extLst>
              </p:cNvPr>
              <p:cNvSpPr/>
              <p:nvPr/>
            </p:nvSpPr>
            <p:spPr bwMode="auto">
              <a:xfrm>
                <a:off x="3366294" y="3003551"/>
                <a:ext cx="4132263" cy="166687"/>
              </a:xfrm>
              <a:prstGeom prst="rect">
                <a:avLst/>
              </a:prstGeom>
              <a:solidFill>
                <a:srgbClr val="8EC4A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18" name="iSľïḋé">
                <a:extLst>
                  <a:ext uri="{FF2B5EF4-FFF2-40B4-BE49-F238E27FC236}">
                    <a16:creationId xmlns:a16="http://schemas.microsoft.com/office/drawing/2014/main" id="{BB9A03C2-A82C-D549-88F6-E65A44789075}"/>
                  </a:ext>
                </a:extLst>
              </p:cNvPr>
              <p:cNvSpPr/>
              <p:nvPr/>
            </p:nvSpPr>
            <p:spPr bwMode="auto">
              <a:xfrm>
                <a:off x="7315994" y="3052763"/>
                <a:ext cx="71438" cy="71437"/>
              </a:xfrm>
              <a:prstGeom prst="ellipse">
                <a:avLst/>
              </a:pr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9" name="îṩľídê">
                <a:extLst>
                  <a:ext uri="{FF2B5EF4-FFF2-40B4-BE49-F238E27FC236}">
                    <a16:creationId xmlns:a16="http://schemas.microsoft.com/office/drawing/2014/main" id="{401F60F5-1B70-F540-8F34-DF1B04EC1F10}"/>
                  </a:ext>
                </a:extLst>
              </p:cNvPr>
              <p:cNvSpPr/>
              <p:nvPr/>
            </p:nvSpPr>
            <p:spPr bwMode="auto">
              <a:xfrm>
                <a:off x="7177882" y="3052763"/>
                <a:ext cx="71438" cy="71437"/>
              </a:xfrm>
              <a:prstGeom prst="ellipse">
                <a:avLst/>
              </a:pr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20" name="îś1iḋê">
                <a:extLst>
                  <a:ext uri="{FF2B5EF4-FFF2-40B4-BE49-F238E27FC236}">
                    <a16:creationId xmlns:a16="http://schemas.microsoft.com/office/drawing/2014/main" id="{9AB7781B-227D-A64D-A31C-B8EADE3B13E6}"/>
                  </a:ext>
                </a:extLst>
              </p:cNvPr>
              <p:cNvSpPr/>
              <p:nvPr/>
            </p:nvSpPr>
            <p:spPr bwMode="auto">
              <a:xfrm>
                <a:off x="7039769" y="3052763"/>
                <a:ext cx="71438" cy="71437"/>
              </a:xfrm>
              <a:prstGeom prst="ellipse">
                <a:avLst/>
              </a:pr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21" name="isḻíḍê">
                <a:extLst>
                  <a:ext uri="{FF2B5EF4-FFF2-40B4-BE49-F238E27FC236}">
                    <a16:creationId xmlns:a16="http://schemas.microsoft.com/office/drawing/2014/main" id="{516B4AC9-3542-7C41-A894-43926F895F66}"/>
                  </a:ext>
                </a:extLst>
              </p:cNvPr>
              <p:cNvSpPr/>
              <p:nvPr/>
            </p:nvSpPr>
            <p:spPr bwMode="auto">
              <a:xfrm>
                <a:off x="3580607" y="3052763"/>
                <a:ext cx="547688" cy="71437"/>
              </a:xfrm>
              <a:custGeom>
                <a:avLst/>
                <a:gdLst>
                  <a:gd name="T0" fmla="*/ 422 w 422"/>
                  <a:gd name="T1" fmla="*/ 27 h 55"/>
                  <a:gd name="T2" fmla="*/ 394 w 422"/>
                  <a:gd name="T3" fmla="*/ 55 h 55"/>
                  <a:gd name="T4" fmla="*/ 27 w 422"/>
                  <a:gd name="T5" fmla="*/ 55 h 55"/>
                  <a:gd name="T6" fmla="*/ 0 w 422"/>
                  <a:gd name="T7" fmla="*/ 27 h 55"/>
                  <a:gd name="T8" fmla="*/ 0 w 422"/>
                  <a:gd name="T9" fmla="*/ 27 h 55"/>
                  <a:gd name="T10" fmla="*/ 27 w 422"/>
                  <a:gd name="T11" fmla="*/ 0 h 55"/>
                  <a:gd name="T12" fmla="*/ 394 w 422"/>
                  <a:gd name="T13" fmla="*/ 0 h 55"/>
                  <a:gd name="T14" fmla="*/ 422 w 422"/>
                  <a:gd name="T15" fmla="*/ 27 h 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2" h="55">
                    <a:moveTo>
                      <a:pt x="422" y="27"/>
                    </a:moveTo>
                    <a:cubicBezTo>
                      <a:pt x="422" y="43"/>
                      <a:pt x="409" y="55"/>
                      <a:pt x="394" y="55"/>
                    </a:cubicBezTo>
                    <a:cubicBezTo>
                      <a:pt x="27" y="55"/>
                      <a:pt x="27" y="55"/>
                      <a:pt x="27" y="55"/>
                    </a:cubicBezTo>
                    <a:cubicBezTo>
                      <a:pt x="12" y="55"/>
                      <a:pt x="0" y="43"/>
                      <a:pt x="0" y="27"/>
                    </a:cubicBezTo>
                    <a:cubicBezTo>
                      <a:pt x="0" y="27"/>
                      <a:pt x="0" y="27"/>
                      <a:pt x="0" y="27"/>
                    </a:cubicBezTo>
                    <a:cubicBezTo>
                      <a:pt x="0" y="12"/>
                      <a:pt x="12" y="0"/>
                      <a:pt x="27" y="0"/>
                    </a:cubicBezTo>
                    <a:cubicBezTo>
                      <a:pt x="394" y="0"/>
                      <a:pt x="394" y="0"/>
                      <a:pt x="394" y="0"/>
                    </a:cubicBezTo>
                    <a:cubicBezTo>
                      <a:pt x="409" y="0"/>
                      <a:pt x="422" y="12"/>
                      <a:pt x="422" y="27"/>
                    </a:cubicBez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22" name="íṧľiďé">
                <a:extLst>
                  <a:ext uri="{FF2B5EF4-FFF2-40B4-BE49-F238E27FC236}">
                    <a16:creationId xmlns:a16="http://schemas.microsoft.com/office/drawing/2014/main" id="{3DCA44DC-F330-2A4A-ADF6-56102B17551A}"/>
                  </a:ext>
                </a:extLst>
              </p:cNvPr>
              <p:cNvSpPr/>
              <p:nvPr/>
            </p:nvSpPr>
            <p:spPr bwMode="auto">
              <a:xfrm>
                <a:off x="3580607" y="3376613"/>
                <a:ext cx="3705225" cy="498475"/>
              </a:xfrm>
              <a:prstGeom prst="rect">
                <a:avLst/>
              </a:prstGeom>
              <a:solidFill>
                <a:srgbClr val="70BE5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23" name="íṣ1îḋê">
                <a:extLst>
                  <a:ext uri="{FF2B5EF4-FFF2-40B4-BE49-F238E27FC236}">
                    <a16:creationId xmlns:a16="http://schemas.microsoft.com/office/drawing/2014/main" id="{49AE4E54-AA28-3641-AD29-99187EC00536}"/>
                  </a:ext>
                </a:extLst>
              </p:cNvPr>
              <p:cNvSpPr/>
              <p:nvPr/>
            </p:nvSpPr>
            <p:spPr bwMode="auto">
              <a:xfrm>
                <a:off x="6593682" y="3951288"/>
                <a:ext cx="692150" cy="444500"/>
              </a:xfrm>
              <a:prstGeom prst="rect">
                <a:avLst/>
              </a:prstGeom>
              <a:solidFill>
                <a:srgbClr val="FFC00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24" name="ïśļíḓé">
                <a:extLst>
                  <a:ext uri="{FF2B5EF4-FFF2-40B4-BE49-F238E27FC236}">
                    <a16:creationId xmlns:a16="http://schemas.microsoft.com/office/drawing/2014/main" id="{6FA8494B-CE9A-9B4F-A229-E7AF7861FB93}"/>
                  </a:ext>
                </a:extLst>
              </p:cNvPr>
              <p:cNvSpPr/>
              <p:nvPr/>
            </p:nvSpPr>
            <p:spPr bwMode="auto">
              <a:xfrm>
                <a:off x="6593682" y="4471988"/>
                <a:ext cx="692150" cy="442912"/>
              </a:xfrm>
              <a:prstGeom prst="rect">
                <a:avLst/>
              </a:prstGeom>
              <a:solidFill>
                <a:srgbClr val="FFC00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25" name="ïs1ïďe">
                <a:extLst>
                  <a:ext uri="{FF2B5EF4-FFF2-40B4-BE49-F238E27FC236}">
                    <a16:creationId xmlns:a16="http://schemas.microsoft.com/office/drawing/2014/main" id="{8AD34A37-C94B-584C-8364-43A342AD4C8D}"/>
                  </a:ext>
                </a:extLst>
              </p:cNvPr>
              <p:cNvSpPr/>
              <p:nvPr/>
            </p:nvSpPr>
            <p:spPr bwMode="auto">
              <a:xfrm>
                <a:off x="5698332" y="3951288"/>
                <a:ext cx="692150" cy="444500"/>
              </a:xfrm>
              <a:prstGeom prst="rect">
                <a:avLst/>
              </a:prstGeom>
              <a:solidFill>
                <a:srgbClr val="FFC00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26" name="îṩḻiḋé">
                <a:extLst>
                  <a:ext uri="{FF2B5EF4-FFF2-40B4-BE49-F238E27FC236}">
                    <a16:creationId xmlns:a16="http://schemas.microsoft.com/office/drawing/2014/main" id="{5709945A-E9CF-F34E-A163-512A13C58874}"/>
                  </a:ext>
                </a:extLst>
              </p:cNvPr>
              <p:cNvSpPr/>
              <p:nvPr/>
            </p:nvSpPr>
            <p:spPr bwMode="auto">
              <a:xfrm>
                <a:off x="5698332" y="4471988"/>
                <a:ext cx="692150" cy="442912"/>
              </a:xfrm>
              <a:prstGeom prst="rect">
                <a:avLst/>
              </a:prstGeom>
              <a:solidFill>
                <a:srgbClr val="FFC00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27" name="ïŝļîḍè">
                <a:extLst>
                  <a:ext uri="{FF2B5EF4-FFF2-40B4-BE49-F238E27FC236}">
                    <a16:creationId xmlns:a16="http://schemas.microsoft.com/office/drawing/2014/main" id="{50898F2F-460A-FA4E-8A0E-1BE3BC15F788}"/>
                  </a:ext>
                </a:extLst>
              </p:cNvPr>
              <p:cNvSpPr/>
              <p:nvPr/>
            </p:nvSpPr>
            <p:spPr bwMode="auto">
              <a:xfrm>
                <a:off x="4804569" y="3951288"/>
                <a:ext cx="692150" cy="444500"/>
              </a:xfrm>
              <a:prstGeom prst="rect">
                <a:avLst/>
              </a:prstGeom>
              <a:solidFill>
                <a:srgbClr val="FFC00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28" name="iṥļîďè">
                <a:extLst>
                  <a:ext uri="{FF2B5EF4-FFF2-40B4-BE49-F238E27FC236}">
                    <a16:creationId xmlns:a16="http://schemas.microsoft.com/office/drawing/2014/main" id="{86E2E3F2-989A-A14E-9ABB-6F0F91D2281E}"/>
                  </a:ext>
                </a:extLst>
              </p:cNvPr>
              <p:cNvSpPr/>
              <p:nvPr/>
            </p:nvSpPr>
            <p:spPr bwMode="auto">
              <a:xfrm>
                <a:off x="4804569" y="4471988"/>
                <a:ext cx="692150" cy="442912"/>
              </a:xfrm>
              <a:prstGeom prst="rect">
                <a:avLst/>
              </a:prstGeom>
              <a:solidFill>
                <a:srgbClr val="FFC00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29" name="ïS1iḋê">
                <a:extLst>
                  <a:ext uri="{FF2B5EF4-FFF2-40B4-BE49-F238E27FC236}">
                    <a16:creationId xmlns:a16="http://schemas.microsoft.com/office/drawing/2014/main" id="{961855B1-96B7-B74C-A4F2-6059C74A049B}"/>
                  </a:ext>
                </a:extLst>
              </p:cNvPr>
              <p:cNvSpPr/>
              <p:nvPr/>
            </p:nvSpPr>
            <p:spPr bwMode="auto">
              <a:xfrm>
                <a:off x="3580607" y="3951288"/>
                <a:ext cx="1057275" cy="166687"/>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30" name="íṧľíḍè">
                <a:extLst>
                  <a:ext uri="{FF2B5EF4-FFF2-40B4-BE49-F238E27FC236}">
                    <a16:creationId xmlns:a16="http://schemas.microsoft.com/office/drawing/2014/main" id="{C50BDCDC-BEE0-C44C-9EB9-F0EC54B763E5}"/>
                  </a:ext>
                </a:extLst>
              </p:cNvPr>
              <p:cNvSpPr/>
              <p:nvPr/>
            </p:nvSpPr>
            <p:spPr bwMode="auto">
              <a:xfrm>
                <a:off x="3580607" y="4171951"/>
                <a:ext cx="1057275" cy="166687"/>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31" name="ïṡḷíḍè">
                <a:extLst>
                  <a:ext uri="{FF2B5EF4-FFF2-40B4-BE49-F238E27FC236}">
                    <a16:creationId xmlns:a16="http://schemas.microsoft.com/office/drawing/2014/main" id="{C90DF414-0CF0-9A4C-B59B-E1B700E08AE4}"/>
                  </a:ext>
                </a:extLst>
              </p:cNvPr>
              <p:cNvSpPr/>
              <p:nvPr/>
            </p:nvSpPr>
            <p:spPr bwMode="auto">
              <a:xfrm>
                <a:off x="3580607" y="4392613"/>
                <a:ext cx="1057275" cy="165100"/>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32" name="ï$ľíďè">
                <a:extLst>
                  <a:ext uri="{FF2B5EF4-FFF2-40B4-BE49-F238E27FC236}">
                    <a16:creationId xmlns:a16="http://schemas.microsoft.com/office/drawing/2014/main" id="{AA9B3F70-4095-A946-BACB-318626D1226A}"/>
                  </a:ext>
                </a:extLst>
              </p:cNvPr>
              <p:cNvSpPr/>
              <p:nvPr/>
            </p:nvSpPr>
            <p:spPr bwMode="auto">
              <a:xfrm>
                <a:off x="3580607" y="4613276"/>
                <a:ext cx="1057275" cy="165100"/>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33" name="íṡḻiḋe">
                <a:extLst>
                  <a:ext uri="{FF2B5EF4-FFF2-40B4-BE49-F238E27FC236}">
                    <a16:creationId xmlns:a16="http://schemas.microsoft.com/office/drawing/2014/main" id="{E5A1DD43-80D5-0F4C-B354-0039AC75C1EF}"/>
                  </a:ext>
                </a:extLst>
              </p:cNvPr>
              <p:cNvSpPr/>
              <p:nvPr/>
            </p:nvSpPr>
            <p:spPr bwMode="auto">
              <a:xfrm>
                <a:off x="3547269" y="2697163"/>
                <a:ext cx="5541963" cy="2098675"/>
              </a:xfrm>
              <a:custGeom>
                <a:avLst/>
                <a:gdLst>
                  <a:gd name="T0" fmla="*/ 3779 w 4276"/>
                  <a:gd name="T1" fmla="*/ 2 h 1619"/>
                  <a:gd name="T2" fmla="*/ 3909 w 4276"/>
                  <a:gd name="T3" fmla="*/ 182 h 1619"/>
                  <a:gd name="T4" fmla="*/ 2880 w 4276"/>
                  <a:gd name="T5" fmla="*/ 919 h 1619"/>
                  <a:gd name="T6" fmla="*/ 2608 w 4276"/>
                  <a:gd name="T7" fmla="*/ 258 h 1619"/>
                  <a:gd name="T8" fmla="*/ 1796 w 4276"/>
                  <a:gd name="T9" fmla="*/ 1331 h 1619"/>
                  <a:gd name="T10" fmla="*/ 1186 w 4276"/>
                  <a:gd name="T11" fmla="*/ 371 h 1619"/>
                  <a:gd name="T12" fmla="*/ 233 w 4276"/>
                  <a:gd name="T13" fmla="*/ 1305 h 1619"/>
                  <a:gd name="T14" fmla="*/ 176 w 4276"/>
                  <a:gd name="T15" fmla="*/ 1290 h 1619"/>
                  <a:gd name="T16" fmla="*/ 5 w 4276"/>
                  <a:gd name="T17" fmla="*/ 1442 h 1619"/>
                  <a:gd name="T18" fmla="*/ 157 w 4276"/>
                  <a:gd name="T19" fmla="*/ 1613 h 1619"/>
                  <a:gd name="T20" fmla="*/ 328 w 4276"/>
                  <a:gd name="T21" fmla="*/ 1462 h 1619"/>
                  <a:gd name="T22" fmla="*/ 310 w 4276"/>
                  <a:gd name="T23" fmla="*/ 1377 h 1619"/>
                  <a:gd name="T24" fmla="*/ 1160 w 4276"/>
                  <a:gd name="T25" fmla="*/ 559 h 1619"/>
                  <a:gd name="T26" fmla="*/ 1822 w 4276"/>
                  <a:gd name="T27" fmla="*/ 1553 h 1619"/>
                  <a:gd name="T28" fmla="*/ 2577 w 4276"/>
                  <a:gd name="T29" fmla="*/ 476 h 1619"/>
                  <a:gd name="T30" fmla="*/ 2851 w 4276"/>
                  <a:gd name="T31" fmla="*/ 1110 h 1619"/>
                  <a:gd name="T32" fmla="*/ 3974 w 4276"/>
                  <a:gd name="T33" fmla="*/ 273 h 1619"/>
                  <a:gd name="T34" fmla="*/ 4086 w 4276"/>
                  <a:gd name="T35" fmla="*/ 428 h 1619"/>
                  <a:gd name="T36" fmla="*/ 4276 w 4276"/>
                  <a:gd name="T37" fmla="*/ 0 h 1619"/>
                  <a:gd name="T38" fmla="*/ 3779 w 4276"/>
                  <a:gd name="T39" fmla="*/ 2 h 1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76" h="1619">
                    <a:moveTo>
                      <a:pt x="3779" y="2"/>
                    </a:moveTo>
                    <a:cubicBezTo>
                      <a:pt x="3909" y="182"/>
                      <a:pt x="3909" y="182"/>
                      <a:pt x="3909" y="182"/>
                    </a:cubicBezTo>
                    <a:cubicBezTo>
                      <a:pt x="2880" y="919"/>
                      <a:pt x="2880" y="919"/>
                      <a:pt x="2880" y="919"/>
                    </a:cubicBezTo>
                    <a:cubicBezTo>
                      <a:pt x="2608" y="258"/>
                      <a:pt x="2608" y="258"/>
                      <a:pt x="2608" y="258"/>
                    </a:cubicBezTo>
                    <a:cubicBezTo>
                      <a:pt x="1796" y="1331"/>
                      <a:pt x="1796" y="1331"/>
                      <a:pt x="1796" y="1331"/>
                    </a:cubicBezTo>
                    <a:cubicBezTo>
                      <a:pt x="1186" y="371"/>
                      <a:pt x="1186" y="371"/>
                      <a:pt x="1186" y="371"/>
                    </a:cubicBezTo>
                    <a:cubicBezTo>
                      <a:pt x="233" y="1305"/>
                      <a:pt x="233" y="1305"/>
                      <a:pt x="233" y="1305"/>
                    </a:cubicBezTo>
                    <a:cubicBezTo>
                      <a:pt x="216" y="1297"/>
                      <a:pt x="197" y="1292"/>
                      <a:pt x="176" y="1290"/>
                    </a:cubicBezTo>
                    <a:cubicBezTo>
                      <a:pt x="87" y="1285"/>
                      <a:pt x="10" y="1353"/>
                      <a:pt x="5" y="1442"/>
                    </a:cubicBezTo>
                    <a:cubicBezTo>
                      <a:pt x="0" y="1531"/>
                      <a:pt x="68" y="1608"/>
                      <a:pt x="157" y="1613"/>
                    </a:cubicBezTo>
                    <a:cubicBezTo>
                      <a:pt x="246" y="1619"/>
                      <a:pt x="323" y="1551"/>
                      <a:pt x="328" y="1462"/>
                    </a:cubicBezTo>
                    <a:cubicBezTo>
                      <a:pt x="330" y="1431"/>
                      <a:pt x="323" y="1403"/>
                      <a:pt x="310" y="1377"/>
                    </a:cubicBezTo>
                    <a:cubicBezTo>
                      <a:pt x="1160" y="559"/>
                      <a:pt x="1160" y="559"/>
                      <a:pt x="1160" y="559"/>
                    </a:cubicBezTo>
                    <a:cubicBezTo>
                      <a:pt x="1822" y="1553"/>
                      <a:pt x="1822" y="1553"/>
                      <a:pt x="1822" y="1553"/>
                    </a:cubicBezTo>
                    <a:cubicBezTo>
                      <a:pt x="2577" y="476"/>
                      <a:pt x="2577" y="476"/>
                      <a:pt x="2577" y="476"/>
                    </a:cubicBezTo>
                    <a:cubicBezTo>
                      <a:pt x="2851" y="1110"/>
                      <a:pt x="2851" y="1110"/>
                      <a:pt x="2851" y="1110"/>
                    </a:cubicBezTo>
                    <a:cubicBezTo>
                      <a:pt x="3974" y="273"/>
                      <a:pt x="3974" y="273"/>
                      <a:pt x="3974" y="273"/>
                    </a:cubicBezTo>
                    <a:cubicBezTo>
                      <a:pt x="4086" y="428"/>
                      <a:pt x="4086" y="428"/>
                      <a:pt x="4086" y="428"/>
                    </a:cubicBezTo>
                    <a:cubicBezTo>
                      <a:pt x="4276" y="0"/>
                      <a:pt x="4276" y="0"/>
                      <a:pt x="4276" y="0"/>
                    </a:cubicBezTo>
                    <a:lnTo>
                      <a:pt x="3779" y="2"/>
                    </a:lnTo>
                    <a:close/>
                  </a:path>
                </a:pathLst>
              </a:custGeom>
              <a:solidFill>
                <a:srgbClr val="BC162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34" name="i$1îdê">
                <a:extLst>
                  <a:ext uri="{FF2B5EF4-FFF2-40B4-BE49-F238E27FC236}">
                    <a16:creationId xmlns:a16="http://schemas.microsoft.com/office/drawing/2014/main" id="{194BA36F-2D35-AA47-B6BB-BE2EA653E9C4}"/>
                  </a:ext>
                </a:extLst>
              </p:cNvPr>
              <p:cNvSpPr/>
              <p:nvPr/>
            </p:nvSpPr>
            <p:spPr bwMode="auto">
              <a:xfrm>
                <a:off x="6704807" y="4213226"/>
                <a:ext cx="1668463" cy="1668462"/>
              </a:xfrm>
              <a:prstGeom prst="ellipse">
                <a:avLst/>
              </a:prstGeom>
              <a:solidFill>
                <a:srgbClr val="F7841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35" name="ïṩ1ïďè">
                <a:extLst>
                  <a:ext uri="{FF2B5EF4-FFF2-40B4-BE49-F238E27FC236}">
                    <a16:creationId xmlns:a16="http://schemas.microsoft.com/office/drawing/2014/main" id="{CC972748-943E-C841-A66F-3ADD32C696E8}"/>
                  </a:ext>
                </a:extLst>
              </p:cNvPr>
              <p:cNvSpPr/>
              <p:nvPr/>
            </p:nvSpPr>
            <p:spPr bwMode="auto">
              <a:xfrm>
                <a:off x="6854032" y="4568826"/>
                <a:ext cx="1389063" cy="1058862"/>
              </a:xfrm>
              <a:custGeom>
                <a:avLst/>
                <a:gdLst>
                  <a:gd name="T0" fmla="*/ 463 w 1072"/>
                  <a:gd name="T1" fmla="*/ 817 h 817"/>
                  <a:gd name="T2" fmla="*/ 400 w 1072"/>
                  <a:gd name="T3" fmla="*/ 796 h 817"/>
                  <a:gd name="T4" fmla="*/ 53 w 1072"/>
                  <a:gd name="T5" fmla="*/ 524 h 817"/>
                  <a:gd name="T6" fmla="*/ 35 w 1072"/>
                  <a:gd name="T7" fmla="*/ 379 h 817"/>
                  <a:gd name="T8" fmla="*/ 180 w 1072"/>
                  <a:gd name="T9" fmla="*/ 362 h 817"/>
                  <a:gd name="T10" fmla="*/ 448 w 1072"/>
                  <a:gd name="T11" fmla="*/ 572 h 817"/>
                  <a:gd name="T12" fmla="*/ 877 w 1072"/>
                  <a:gd name="T13" fmla="*/ 50 h 817"/>
                  <a:gd name="T14" fmla="*/ 1022 w 1072"/>
                  <a:gd name="T15" fmla="*/ 36 h 817"/>
                  <a:gd name="T16" fmla="*/ 1036 w 1072"/>
                  <a:gd name="T17" fmla="*/ 180 h 817"/>
                  <a:gd name="T18" fmla="*/ 543 w 1072"/>
                  <a:gd name="T19" fmla="*/ 780 h 817"/>
                  <a:gd name="T20" fmla="*/ 463 w 1072"/>
                  <a:gd name="T21" fmla="*/ 817 h 8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72" h="817">
                    <a:moveTo>
                      <a:pt x="463" y="817"/>
                    </a:moveTo>
                    <a:cubicBezTo>
                      <a:pt x="441" y="817"/>
                      <a:pt x="419" y="810"/>
                      <a:pt x="400" y="796"/>
                    </a:cubicBezTo>
                    <a:cubicBezTo>
                      <a:pt x="53" y="524"/>
                      <a:pt x="53" y="524"/>
                      <a:pt x="53" y="524"/>
                    </a:cubicBezTo>
                    <a:cubicBezTo>
                      <a:pt x="8" y="489"/>
                      <a:pt x="0" y="424"/>
                      <a:pt x="35" y="379"/>
                    </a:cubicBezTo>
                    <a:cubicBezTo>
                      <a:pt x="70" y="335"/>
                      <a:pt x="135" y="327"/>
                      <a:pt x="180" y="362"/>
                    </a:cubicBezTo>
                    <a:cubicBezTo>
                      <a:pt x="448" y="572"/>
                      <a:pt x="448" y="572"/>
                      <a:pt x="448" y="572"/>
                    </a:cubicBezTo>
                    <a:cubicBezTo>
                      <a:pt x="877" y="50"/>
                      <a:pt x="877" y="50"/>
                      <a:pt x="877" y="50"/>
                    </a:cubicBezTo>
                    <a:cubicBezTo>
                      <a:pt x="913" y="6"/>
                      <a:pt x="978" y="0"/>
                      <a:pt x="1022" y="36"/>
                    </a:cubicBezTo>
                    <a:cubicBezTo>
                      <a:pt x="1066" y="72"/>
                      <a:pt x="1072" y="137"/>
                      <a:pt x="1036" y="180"/>
                    </a:cubicBezTo>
                    <a:cubicBezTo>
                      <a:pt x="543" y="780"/>
                      <a:pt x="543" y="780"/>
                      <a:pt x="543" y="780"/>
                    </a:cubicBezTo>
                    <a:cubicBezTo>
                      <a:pt x="522" y="805"/>
                      <a:pt x="493" y="817"/>
                      <a:pt x="463" y="817"/>
                    </a:cubicBezTo>
                    <a:close/>
                  </a:path>
                </a:pathLst>
              </a:custGeom>
              <a:solidFill>
                <a:srgbClr val="F6F6F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36" name="íṩlíḓe">
                <a:extLst>
                  <a:ext uri="{FF2B5EF4-FFF2-40B4-BE49-F238E27FC236}">
                    <a16:creationId xmlns:a16="http://schemas.microsoft.com/office/drawing/2014/main" id="{F757792D-7F5D-5844-A619-E7E4BE65517A}"/>
                  </a:ext>
                </a:extLst>
              </p:cNvPr>
              <p:cNvSpPr/>
              <p:nvPr/>
            </p:nvSpPr>
            <p:spPr bwMode="auto">
              <a:xfrm>
                <a:off x="4234657" y="4557713"/>
                <a:ext cx="1250950" cy="1477962"/>
              </a:xfrm>
              <a:custGeom>
                <a:avLst/>
                <a:gdLst>
                  <a:gd name="T0" fmla="*/ 891 w 965"/>
                  <a:gd name="T1" fmla="*/ 624 h 1140"/>
                  <a:gd name="T2" fmla="*/ 965 w 965"/>
                  <a:gd name="T3" fmla="*/ 550 h 1140"/>
                  <a:gd name="T4" fmla="*/ 965 w 965"/>
                  <a:gd name="T5" fmla="*/ 532 h 1140"/>
                  <a:gd name="T6" fmla="*/ 891 w 965"/>
                  <a:gd name="T7" fmla="*/ 458 h 1140"/>
                  <a:gd name="T8" fmla="*/ 676 w 965"/>
                  <a:gd name="T9" fmla="*/ 458 h 1140"/>
                  <a:gd name="T10" fmla="*/ 582 w 965"/>
                  <a:gd name="T11" fmla="*/ 458 h 1140"/>
                  <a:gd name="T12" fmla="*/ 597 w 965"/>
                  <a:gd name="T13" fmla="*/ 439 h 1140"/>
                  <a:gd name="T14" fmla="*/ 695 w 965"/>
                  <a:gd name="T15" fmla="*/ 184 h 1140"/>
                  <a:gd name="T16" fmla="*/ 509 w 965"/>
                  <a:gd name="T17" fmla="*/ 170 h 1140"/>
                  <a:gd name="T18" fmla="*/ 65 w 965"/>
                  <a:gd name="T19" fmla="*/ 521 h 1140"/>
                  <a:gd name="T20" fmla="*/ 0 w 965"/>
                  <a:gd name="T21" fmla="*/ 604 h 1140"/>
                  <a:gd name="T22" fmla="*/ 0 w 965"/>
                  <a:gd name="T23" fmla="*/ 1022 h 1140"/>
                  <a:gd name="T24" fmla="*/ 65 w 965"/>
                  <a:gd name="T25" fmla="*/ 1085 h 1140"/>
                  <a:gd name="T26" fmla="*/ 280 w 965"/>
                  <a:gd name="T27" fmla="*/ 1136 h 1140"/>
                  <a:gd name="T28" fmla="*/ 281 w 965"/>
                  <a:gd name="T29" fmla="*/ 1136 h 1140"/>
                  <a:gd name="T30" fmla="*/ 302 w 965"/>
                  <a:gd name="T31" fmla="*/ 1140 h 1140"/>
                  <a:gd name="T32" fmla="*/ 481 w 965"/>
                  <a:gd name="T33" fmla="*/ 1140 h 1140"/>
                  <a:gd name="T34" fmla="*/ 676 w 965"/>
                  <a:gd name="T35" fmla="*/ 1140 h 1140"/>
                  <a:gd name="T36" fmla="*/ 837 w 965"/>
                  <a:gd name="T37" fmla="*/ 1140 h 1140"/>
                  <a:gd name="T38" fmla="*/ 911 w 965"/>
                  <a:gd name="T39" fmla="*/ 1066 h 1140"/>
                  <a:gd name="T40" fmla="*/ 911 w 965"/>
                  <a:gd name="T41" fmla="*/ 1048 h 1140"/>
                  <a:gd name="T42" fmla="*/ 837 w 965"/>
                  <a:gd name="T43" fmla="*/ 975 h 1140"/>
                  <a:gd name="T44" fmla="*/ 740 w 965"/>
                  <a:gd name="T45" fmla="*/ 975 h 1140"/>
                  <a:gd name="T46" fmla="*/ 740 w 965"/>
                  <a:gd name="T47" fmla="*/ 968 h 1140"/>
                  <a:gd name="T48" fmla="*/ 891 w 965"/>
                  <a:gd name="T49" fmla="*/ 968 h 1140"/>
                  <a:gd name="T50" fmla="*/ 965 w 965"/>
                  <a:gd name="T51" fmla="*/ 894 h 1140"/>
                  <a:gd name="T52" fmla="*/ 965 w 965"/>
                  <a:gd name="T53" fmla="*/ 876 h 1140"/>
                  <a:gd name="T54" fmla="*/ 891 w 965"/>
                  <a:gd name="T55" fmla="*/ 803 h 1140"/>
                  <a:gd name="T56" fmla="*/ 740 w 965"/>
                  <a:gd name="T57" fmla="*/ 803 h 1140"/>
                  <a:gd name="T58" fmla="*/ 740 w 965"/>
                  <a:gd name="T59" fmla="*/ 796 h 1140"/>
                  <a:gd name="T60" fmla="*/ 891 w 965"/>
                  <a:gd name="T61" fmla="*/ 796 h 1140"/>
                  <a:gd name="T62" fmla="*/ 965 w 965"/>
                  <a:gd name="T63" fmla="*/ 722 h 1140"/>
                  <a:gd name="T64" fmla="*/ 965 w 965"/>
                  <a:gd name="T65" fmla="*/ 704 h 1140"/>
                  <a:gd name="T66" fmla="*/ 891 w 965"/>
                  <a:gd name="T67" fmla="*/ 630 h 1140"/>
                  <a:gd name="T68" fmla="*/ 740 w 965"/>
                  <a:gd name="T69" fmla="*/ 630 h 1140"/>
                  <a:gd name="T70" fmla="*/ 740 w 965"/>
                  <a:gd name="T71" fmla="*/ 624 h 1140"/>
                  <a:gd name="T72" fmla="*/ 891 w 965"/>
                  <a:gd name="T73" fmla="*/ 624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65" h="1140">
                    <a:moveTo>
                      <a:pt x="891" y="624"/>
                    </a:moveTo>
                    <a:cubicBezTo>
                      <a:pt x="932" y="624"/>
                      <a:pt x="965" y="591"/>
                      <a:pt x="965" y="550"/>
                    </a:cubicBezTo>
                    <a:cubicBezTo>
                      <a:pt x="965" y="532"/>
                      <a:pt x="965" y="532"/>
                      <a:pt x="965" y="532"/>
                    </a:cubicBezTo>
                    <a:cubicBezTo>
                      <a:pt x="965" y="491"/>
                      <a:pt x="932" y="458"/>
                      <a:pt x="891" y="458"/>
                    </a:cubicBezTo>
                    <a:cubicBezTo>
                      <a:pt x="676" y="458"/>
                      <a:pt x="676" y="458"/>
                      <a:pt x="676" y="458"/>
                    </a:cubicBezTo>
                    <a:cubicBezTo>
                      <a:pt x="582" y="458"/>
                      <a:pt x="582" y="458"/>
                      <a:pt x="582" y="458"/>
                    </a:cubicBezTo>
                    <a:cubicBezTo>
                      <a:pt x="597" y="439"/>
                      <a:pt x="597" y="439"/>
                      <a:pt x="597" y="439"/>
                    </a:cubicBezTo>
                    <a:cubicBezTo>
                      <a:pt x="629" y="397"/>
                      <a:pt x="700" y="281"/>
                      <a:pt x="695" y="184"/>
                    </a:cubicBezTo>
                    <a:cubicBezTo>
                      <a:pt x="693" y="152"/>
                      <a:pt x="640" y="0"/>
                      <a:pt x="509" y="170"/>
                    </a:cubicBezTo>
                    <a:cubicBezTo>
                      <a:pt x="207" y="562"/>
                      <a:pt x="65" y="521"/>
                      <a:pt x="65" y="521"/>
                    </a:cubicBezTo>
                    <a:cubicBezTo>
                      <a:pt x="29" y="538"/>
                      <a:pt x="0" y="569"/>
                      <a:pt x="0" y="604"/>
                    </a:cubicBezTo>
                    <a:cubicBezTo>
                      <a:pt x="0" y="1022"/>
                      <a:pt x="0" y="1022"/>
                      <a:pt x="0" y="1022"/>
                    </a:cubicBezTo>
                    <a:cubicBezTo>
                      <a:pt x="0" y="1057"/>
                      <a:pt x="20" y="1067"/>
                      <a:pt x="65" y="1085"/>
                    </a:cubicBezTo>
                    <a:cubicBezTo>
                      <a:pt x="280" y="1136"/>
                      <a:pt x="280" y="1136"/>
                      <a:pt x="280" y="1136"/>
                    </a:cubicBezTo>
                    <a:cubicBezTo>
                      <a:pt x="280" y="1136"/>
                      <a:pt x="281" y="1136"/>
                      <a:pt x="281" y="1136"/>
                    </a:cubicBezTo>
                    <a:cubicBezTo>
                      <a:pt x="288" y="1138"/>
                      <a:pt x="294" y="1140"/>
                      <a:pt x="302" y="1140"/>
                    </a:cubicBezTo>
                    <a:cubicBezTo>
                      <a:pt x="481" y="1140"/>
                      <a:pt x="481" y="1140"/>
                      <a:pt x="481" y="1140"/>
                    </a:cubicBezTo>
                    <a:cubicBezTo>
                      <a:pt x="676" y="1140"/>
                      <a:pt x="676" y="1140"/>
                      <a:pt x="676" y="1140"/>
                    </a:cubicBezTo>
                    <a:cubicBezTo>
                      <a:pt x="837" y="1140"/>
                      <a:pt x="837" y="1140"/>
                      <a:pt x="837" y="1140"/>
                    </a:cubicBezTo>
                    <a:cubicBezTo>
                      <a:pt x="878" y="1140"/>
                      <a:pt x="911" y="1107"/>
                      <a:pt x="911" y="1066"/>
                    </a:cubicBezTo>
                    <a:cubicBezTo>
                      <a:pt x="911" y="1048"/>
                      <a:pt x="911" y="1048"/>
                      <a:pt x="911" y="1048"/>
                    </a:cubicBezTo>
                    <a:cubicBezTo>
                      <a:pt x="911" y="1007"/>
                      <a:pt x="878" y="975"/>
                      <a:pt x="837" y="975"/>
                    </a:cubicBezTo>
                    <a:cubicBezTo>
                      <a:pt x="740" y="975"/>
                      <a:pt x="740" y="975"/>
                      <a:pt x="740" y="975"/>
                    </a:cubicBezTo>
                    <a:cubicBezTo>
                      <a:pt x="740" y="968"/>
                      <a:pt x="740" y="968"/>
                      <a:pt x="740" y="968"/>
                    </a:cubicBezTo>
                    <a:cubicBezTo>
                      <a:pt x="891" y="968"/>
                      <a:pt x="891" y="968"/>
                      <a:pt x="891" y="968"/>
                    </a:cubicBezTo>
                    <a:cubicBezTo>
                      <a:pt x="932" y="968"/>
                      <a:pt x="965" y="935"/>
                      <a:pt x="965" y="894"/>
                    </a:cubicBezTo>
                    <a:cubicBezTo>
                      <a:pt x="965" y="876"/>
                      <a:pt x="965" y="876"/>
                      <a:pt x="965" y="876"/>
                    </a:cubicBezTo>
                    <a:cubicBezTo>
                      <a:pt x="965" y="835"/>
                      <a:pt x="932" y="803"/>
                      <a:pt x="891" y="803"/>
                    </a:cubicBezTo>
                    <a:cubicBezTo>
                      <a:pt x="740" y="803"/>
                      <a:pt x="740" y="803"/>
                      <a:pt x="740" y="803"/>
                    </a:cubicBezTo>
                    <a:cubicBezTo>
                      <a:pt x="740" y="796"/>
                      <a:pt x="740" y="796"/>
                      <a:pt x="740" y="796"/>
                    </a:cubicBezTo>
                    <a:cubicBezTo>
                      <a:pt x="891" y="796"/>
                      <a:pt x="891" y="796"/>
                      <a:pt x="891" y="796"/>
                    </a:cubicBezTo>
                    <a:cubicBezTo>
                      <a:pt x="932" y="796"/>
                      <a:pt x="965" y="763"/>
                      <a:pt x="965" y="722"/>
                    </a:cubicBezTo>
                    <a:cubicBezTo>
                      <a:pt x="965" y="704"/>
                      <a:pt x="965" y="704"/>
                      <a:pt x="965" y="704"/>
                    </a:cubicBezTo>
                    <a:cubicBezTo>
                      <a:pt x="965" y="663"/>
                      <a:pt x="932" y="630"/>
                      <a:pt x="891" y="630"/>
                    </a:cubicBezTo>
                    <a:cubicBezTo>
                      <a:pt x="740" y="630"/>
                      <a:pt x="740" y="630"/>
                      <a:pt x="740" y="630"/>
                    </a:cubicBezTo>
                    <a:cubicBezTo>
                      <a:pt x="740" y="624"/>
                      <a:pt x="740" y="624"/>
                      <a:pt x="740" y="624"/>
                    </a:cubicBezTo>
                    <a:lnTo>
                      <a:pt x="891" y="624"/>
                    </a:lnTo>
                    <a:close/>
                  </a:path>
                </a:pathLst>
              </a:custGeom>
              <a:solidFill>
                <a:srgbClr val="F9D5B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37" name="îš1iḓê">
                <a:extLst>
                  <a:ext uri="{FF2B5EF4-FFF2-40B4-BE49-F238E27FC236}">
                    <a16:creationId xmlns:a16="http://schemas.microsoft.com/office/drawing/2014/main" id="{7DCCC1CB-AA72-F14C-9101-284EA8F69C02}"/>
                  </a:ext>
                </a:extLst>
              </p:cNvPr>
              <p:cNvSpPr/>
              <p:nvPr/>
            </p:nvSpPr>
            <p:spPr bwMode="auto">
              <a:xfrm>
                <a:off x="4140994" y="5156201"/>
                <a:ext cx="174625" cy="879475"/>
              </a:xfrm>
              <a:prstGeom prst="rect">
                <a:avLst/>
              </a:prstGeom>
              <a:solidFill>
                <a:srgbClr val="F6F6F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38" name="ïṣ1îďê">
                <a:extLst>
                  <a:ext uri="{FF2B5EF4-FFF2-40B4-BE49-F238E27FC236}">
                    <a16:creationId xmlns:a16="http://schemas.microsoft.com/office/drawing/2014/main" id="{86C4756A-2FC4-564F-BBEA-D9A45A9670D1}"/>
                  </a:ext>
                </a:extLst>
              </p:cNvPr>
              <p:cNvSpPr/>
              <p:nvPr/>
            </p:nvSpPr>
            <p:spPr bwMode="auto">
              <a:xfrm>
                <a:off x="3102769" y="5045076"/>
                <a:ext cx="1038225" cy="1096962"/>
              </a:xfrm>
              <a:prstGeom prst="rect">
                <a:avLst/>
              </a:prstGeom>
              <a:solidFill>
                <a:srgbClr val="F7841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grpSp>
        <p:grpSp>
          <p:nvGrpSpPr>
            <p:cNvPr id="1141" name="组合 1140">
              <a:extLst>
                <a:ext uri="{FF2B5EF4-FFF2-40B4-BE49-F238E27FC236}">
                  <a16:creationId xmlns:a16="http://schemas.microsoft.com/office/drawing/2014/main" id="{57CA9840-4CB7-BA49-AE0D-6ACD5A53AF9F}"/>
                </a:ext>
              </a:extLst>
            </p:cNvPr>
            <p:cNvGrpSpPr/>
            <p:nvPr/>
          </p:nvGrpSpPr>
          <p:grpSpPr>
            <a:xfrm>
              <a:off x="5027502" y="4175567"/>
              <a:ext cx="835557" cy="574850"/>
              <a:chOff x="4928887" y="4245117"/>
              <a:chExt cx="918116" cy="650048"/>
            </a:xfrm>
            <a:gradFill flip="none" rotWithShape="1">
              <a:gsLst>
                <a:gs pos="0">
                  <a:schemeClr val="bg1"/>
                </a:gs>
                <a:gs pos="0">
                  <a:schemeClr val="accent1">
                    <a:lumMod val="45000"/>
                    <a:lumOff val="55000"/>
                  </a:schemeClr>
                </a:gs>
                <a:gs pos="44000">
                  <a:srgbClr val="475B7C"/>
                </a:gs>
                <a:gs pos="100000">
                  <a:srgbClr val="475B7C"/>
                </a:gs>
              </a:gsLst>
              <a:lin ang="0" scaled="1"/>
              <a:tileRect/>
            </a:gradFill>
          </p:grpSpPr>
          <p:sp>
            <p:nvSpPr>
              <p:cNvPr id="1139" name="燕尾形 1138">
                <a:extLst>
                  <a:ext uri="{FF2B5EF4-FFF2-40B4-BE49-F238E27FC236}">
                    <a16:creationId xmlns:a16="http://schemas.microsoft.com/office/drawing/2014/main" id="{3656C34F-30B7-1048-9F59-AE634A2BF050}"/>
                  </a:ext>
                </a:extLst>
              </p:cNvPr>
              <p:cNvSpPr/>
              <p:nvPr/>
            </p:nvSpPr>
            <p:spPr>
              <a:xfrm>
                <a:off x="5289442" y="4248834"/>
                <a:ext cx="557561" cy="646331"/>
              </a:xfrm>
              <a:prstGeom prst="chevron">
                <a:avLst/>
              </a:prstGeom>
              <a:grpFill/>
              <a:ln>
                <a:solidFill>
                  <a:srgbClr val="475B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solidFill>
                    <a:schemeClr val="tx1"/>
                  </a:solidFill>
                </a:endParaRPr>
              </a:p>
            </p:txBody>
          </p:sp>
          <p:sp>
            <p:nvSpPr>
              <p:cNvPr id="1140" name="燕尾形 1139">
                <a:extLst>
                  <a:ext uri="{FF2B5EF4-FFF2-40B4-BE49-F238E27FC236}">
                    <a16:creationId xmlns:a16="http://schemas.microsoft.com/office/drawing/2014/main" id="{B5BCB40B-63A3-FE46-9735-807C83C43B35}"/>
                  </a:ext>
                </a:extLst>
              </p:cNvPr>
              <p:cNvSpPr/>
              <p:nvPr/>
            </p:nvSpPr>
            <p:spPr>
              <a:xfrm>
                <a:off x="4928887" y="4245117"/>
                <a:ext cx="557561" cy="646331"/>
              </a:xfrm>
              <a:prstGeom prst="chevron">
                <a:avLst/>
              </a:prstGeom>
              <a:grpFill/>
              <a:ln>
                <a:solidFill>
                  <a:srgbClr val="475B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solidFill>
                    <a:schemeClr val="tx1"/>
                  </a:solidFill>
                </a:endParaRPr>
              </a:p>
            </p:txBody>
          </p:sp>
        </p:grpSp>
        <p:sp>
          <p:nvSpPr>
            <p:cNvPr id="1143" name="文本框 1142">
              <a:extLst>
                <a:ext uri="{FF2B5EF4-FFF2-40B4-BE49-F238E27FC236}">
                  <a16:creationId xmlns:a16="http://schemas.microsoft.com/office/drawing/2014/main" id="{31B187B4-E605-C241-A480-7FB0D73E71D4}"/>
                </a:ext>
              </a:extLst>
            </p:cNvPr>
            <p:cNvSpPr txBox="1"/>
            <p:nvPr/>
          </p:nvSpPr>
          <p:spPr>
            <a:xfrm>
              <a:off x="595016" y="2870601"/>
              <a:ext cx="2219743" cy="461665"/>
            </a:xfrm>
            <a:prstGeom prst="rect">
              <a:avLst/>
            </a:prstGeom>
            <a:noFill/>
          </p:spPr>
          <p:txBody>
            <a:bodyPr wrap="square" rtlCol="0">
              <a:spAutoFit/>
            </a:bodyPr>
            <a:lstStyle/>
            <a:p>
              <a:r>
                <a:rPr kumimoji="1" lang="en-US" altLang="zh-CN" sz="2400" b="1" dirty="0">
                  <a:latin typeface="Times New Roman" panose="02020603050405020304" pitchFamily="18" charset="0"/>
                  <a:cs typeface="Times New Roman" panose="02020603050405020304" pitchFamily="18" charset="0"/>
                </a:rPr>
                <a:t>RSRS</a:t>
              </a:r>
              <a:r>
                <a:rPr kumimoji="1" lang="zh-CN" altLang="en-US" sz="2400" b="1" dirty="0">
                  <a:latin typeface="Times New Roman" panose="02020603050405020304" pitchFamily="18" charset="0"/>
                  <a:cs typeface="Times New Roman" panose="02020603050405020304" pitchFamily="18" charset="0"/>
                </a:rPr>
                <a:t> </a:t>
              </a:r>
              <a:r>
                <a:rPr kumimoji="1" lang="en-US" altLang="zh-CN" sz="2400" b="1" dirty="0">
                  <a:latin typeface="Times New Roman" panose="02020603050405020304" pitchFamily="18" charset="0"/>
                  <a:cs typeface="Times New Roman" panose="02020603050405020304" pitchFamily="18" charset="0"/>
                </a:rPr>
                <a:t>Strategy</a:t>
              </a:r>
              <a:endParaRPr kumimoji="1" lang="zh-CN" altLang="en-US" sz="2400" b="1" dirty="0">
                <a:latin typeface="Times New Roman" panose="02020603050405020304" pitchFamily="18" charset="0"/>
                <a:cs typeface="Times New Roman" panose="02020603050405020304" pitchFamily="18" charset="0"/>
              </a:endParaRPr>
            </a:p>
          </p:txBody>
        </p:sp>
        <p:sp>
          <p:nvSpPr>
            <p:cNvPr id="1144" name="文本框 1143">
              <a:extLst>
                <a:ext uri="{FF2B5EF4-FFF2-40B4-BE49-F238E27FC236}">
                  <a16:creationId xmlns:a16="http://schemas.microsoft.com/office/drawing/2014/main" id="{1E0341D2-EC90-4A4E-BAB1-1B2CC6C73492}"/>
                </a:ext>
              </a:extLst>
            </p:cNvPr>
            <p:cNvSpPr txBox="1"/>
            <p:nvPr/>
          </p:nvSpPr>
          <p:spPr>
            <a:xfrm>
              <a:off x="3293268" y="2709285"/>
              <a:ext cx="2148006" cy="830997"/>
            </a:xfrm>
            <a:prstGeom prst="rect">
              <a:avLst/>
            </a:prstGeom>
            <a:noFill/>
          </p:spPr>
          <p:txBody>
            <a:bodyPr wrap="square" rtlCol="0">
              <a:spAutoFit/>
            </a:bodyPr>
            <a:lstStyle/>
            <a:p>
              <a:r>
                <a:rPr kumimoji="1" lang="en-US" altLang="zh-CN" sz="2400" b="1" dirty="0">
                  <a:latin typeface="Times New Roman" panose="02020603050405020304" pitchFamily="18" charset="0"/>
                  <a:cs typeface="Times New Roman" panose="02020603050405020304" pitchFamily="18" charset="0"/>
                </a:rPr>
                <a:t>Bull</a:t>
              </a:r>
              <a:r>
                <a:rPr kumimoji="1" lang="zh-CN" altLang="en-US" sz="2400" b="1" dirty="0">
                  <a:latin typeface="Times New Roman" panose="02020603050405020304" pitchFamily="18" charset="0"/>
                  <a:cs typeface="Times New Roman" panose="02020603050405020304" pitchFamily="18" charset="0"/>
                </a:rPr>
                <a:t> </a:t>
              </a:r>
              <a:r>
                <a:rPr kumimoji="1" lang="en-US" altLang="zh-CN" sz="2400" b="1" dirty="0">
                  <a:latin typeface="Times New Roman" panose="02020603050405020304" pitchFamily="18" charset="0"/>
                  <a:cs typeface="Times New Roman" panose="02020603050405020304" pitchFamily="18" charset="0"/>
                </a:rPr>
                <a:t>&amp;</a:t>
              </a:r>
              <a:r>
                <a:rPr kumimoji="1" lang="zh-CN" altLang="en-US" sz="2400" b="1" dirty="0">
                  <a:latin typeface="Times New Roman" panose="02020603050405020304" pitchFamily="18" charset="0"/>
                  <a:cs typeface="Times New Roman" panose="02020603050405020304" pitchFamily="18" charset="0"/>
                </a:rPr>
                <a:t> </a:t>
              </a:r>
              <a:r>
                <a:rPr kumimoji="1" lang="en-US" altLang="zh-CN" sz="2400" b="1" dirty="0">
                  <a:latin typeface="Times New Roman" panose="02020603050405020304" pitchFamily="18" charset="0"/>
                  <a:cs typeface="Times New Roman" panose="02020603050405020304" pitchFamily="18" charset="0"/>
                </a:rPr>
                <a:t>Bear</a:t>
              </a:r>
              <a:r>
                <a:rPr kumimoji="1" lang="zh-CN" altLang="en-US" sz="2400" b="1" dirty="0">
                  <a:latin typeface="Times New Roman" panose="02020603050405020304" pitchFamily="18" charset="0"/>
                  <a:cs typeface="Times New Roman" panose="02020603050405020304" pitchFamily="18" charset="0"/>
                </a:rPr>
                <a:t> </a:t>
              </a:r>
              <a:r>
                <a:rPr kumimoji="1" lang="en-US" altLang="zh-CN" sz="2400" b="1" dirty="0">
                  <a:latin typeface="Times New Roman" panose="02020603050405020304" pitchFamily="18" charset="0"/>
                  <a:cs typeface="Times New Roman" panose="02020603050405020304" pitchFamily="18" charset="0"/>
                </a:rPr>
                <a:t>Indicator</a:t>
              </a:r>
              <a:endParaRPr kumimoji="1" lang="zh-CN" altLang="en-US" sz="2400" b="1" dirty="0">
                <a:latin typeface="Times New Roman" panose="02020603050405020304" pitchFamily="18" charset="0"/>
                <a:cs typeface="Times New Roman" panose="02020603050405020304" pitchFamily="18" charset="0"/>
              </a:endParaRPr>
            </a:p>
          </p:txBody>
        </p:sp>
        <p:sp>
          <p:nvSpPr>
            <p:cNvPr id="1145" name="文本框 1144">
              <a:extLst>
                <a:ext uri="{FF2B5EF4-FFF2-40B4-BE49-F238E27FC236}">
                  <a16:creationId xmlns:a16="http://schemas.microsoft.com/office/drawing/2014/main" id="{A8F143C1-D221-B346-8AF7-20B1D407C959}"/>
                </a:ext>
              </a:extLst>
            </p:cNvPr>
            <p:cNvSpPr txBox="1"/>
            <p:nvPr/>
          </p:nvSpPr>
          <p:spPr>
            <a:xfrm>
              <a:off x="5412526" y="2892902"/>
              <a:ext cx="2148006" cy="461665"/>
            </a:xfrm>
            <a:prstGeom prst="rect">
              <a:avLst/>
            </a:prstGeom>
            <a:noFill/>
          </p:spPr>
          <p:txBody>
            <a:bodyPr wrap="square" rtlCol="0">
              <a:spAutoFit/>
            </a:bodyPr>
            <a:lstStyle/>
            <a:p>
              <a:r>
                <a:rPr kumimoji="1" lang="en-US" altLang="zh-CN" sz="2400" b="1" dirty="0">
                  <a:solidFill>
                    <a:srgbClr val="C00000"/>
                  </a:solidFill>
                  <a:latin typeface="Times New Roman" panose="02020603050405020304" pitchFamily="18" charset="0"/>
                  <a:cs typeface="Times New Roman" panose="02020603050405020304" pitchFamily="18" charset="0"/>
                </a:rPr>
                <a:t>Timing</a:t>
              </a:r>
              <a:r>
                <a:rPr kumimoji="1" lang="zh-CN" altLang="en-US" sz="2400" b="1" dirty="0">
                  <a:solidFill>
                    <a:srgbClr val="C00000"/>
                  </a:solidFill>
                  <a:latin typeface="Times New Roman" panose="02020603050405020304" pitchFamily="18" charset="0"/>
                  <a:cs typeface="Times New Roman" panose="02020603050405020304" pitchFamily="18" charset="0"/>
                </a:rPr>
                <a:t> </a:t>
              </a:r>
              <a:r>
                <a:rPr kumimoji="1" lang="en-US" altLang="zh-CN" sz="2400" b="1" dirty="0">
                  <a:solidFill>
                    <a:srgbClr val="C00000"/>
                  </a:solidFill>
                  <a:latin typeface="Times New Roman" panose="02020603050405020304" pitchFamily="18" charset="0"/>
                  <a:cs typeface="Times New Roman" panose="02020603050405020304" pitchFamily="18" charset="0"/>
                </a:rPr>
                <a:t>Model</a:t>
              </a:r>
              <a:endParaRPr kumimoji="1" lang="zh-CN" altLang="en-US" sz="2400" b="1" dirty="0">
                <a:solidFill>
                  <a:srgbClr val="C00000"/>
                </a:solidFill>
                <a:latin typeface="Times New Roman" panose="02020603050405020304" pitchFamily="18" charset="0"/>
                <a:cs typeface="Times New Roman" panose="02020603050405020304" pitchFamily="18" charset="0"/>
              </a:endParaRPr>
            </a:p>
          </p:txBody>
        </p:sp>
      </p:grpSp>
      <p:sp>
        <p:nvSpPr>
          <p:cNvPr id="1147" name="文本框 1146">
            <a:extLst>
              <a:ext uri="{FF2B5EF4-FFF2-40B4-BE49-F238E27FC236}">
                <a16:creationId xmlns:a16="http://schemas.microsoft.com/office/drawing/2014/main" id="{973325FA-AF6D-8243-A01A-62517FF165D7}"/>
              </a:ext>
            </a:extLst>
          </p:cNvPr>
          <p:cNvSpPr txBox="1"/>
          <p:nvPr/>
        </p:nvSpPr>
        <p:spPr>
          <a:xfrm>
            <a:off x="9233209" y="1825888"/>
            <a:ext cx="6266986" cy="954107"/>
          </a:xfrm>
          <a:prstGeom prst="rect">
            <a:avLst/>
          </a:prstGeom>
          <a:noFill/>
        </p:spPr>
        <p:txBody>
          <a:bodyPr wrap="square" rtlCol="0">
            <a:spAutoFit/>
          </a:bodyPr>
          <a:lstStyle/>
          <a:p>
            <a:r>
              <a:rPr kumimoji="1" lang="en-US" altLang="zh-CN" sz="2800" b="1" dirty="0">
                <a:solidFill>
                  <a:schemeClr val="bg1"/>
                </a:solidFill>
                <a:latin typeface="Times New Roman" panose="02020603050405020304" pitchFamily="18" charset="0"/>
                <a:cs typeface="Times New Roman" panose="02020603050405020304" pitchFamily="18" charset="0"/>
              </a:rPr>
              <a:t>Research</a:t>
            </a:r>
            <a:r>
              <a:rPr kumimoji="1" lang="zh-CN" altLang="en-US" sz="2800" b="1" dirty="0">
                <a:solidFill>
                  <a:schemeClr val="bg1"/>
                </a:solidFill>
                <a:latin typeface="Times New Roman" panose="02020603050405020304" pitchFamily="18" charset="0"/>
                <a:cs typeface="Times New Roman" panose="02020603050405020304" pitchFamily="18" charset="0"/>
              </a:rPr>
              <a:t> </a:t>
            </a:r>
            <a:r>
              <a:rPr kumimoji="1" lang="en-US" altLang="zh-CN" sz="2800" b="1" dirty="0">
                <a:solidFill>
                  <a:schemeClr val="bg1"/>
                </a:solidFill>
                <a:latin typeface="Times New Roman" panose="02020603050405020304" pitchFamily="18" charset="0"/>
                <a:cs typeface="Times New Roman" panose="02020603050405020304" pitchFamily="18" charset="0"/>
              </a:rPr>
              <a:t>Background</a:t>
            </a:r>
            <a:r>
              <a:rPr kumimoji="1" lang="zh-CN" altLang="en-US" sz="2800" b="1" dirty="0">
                <a:solidFill>
                  <a:schemeClr val="bg1"/>
                </a:solidFill>
                <a:latin typeface="Times New Roman" panose="02020603050405020304" pitchFamily="18" charset="0"/>
                <a:cs typeface="Times New Roman" panose="02020603050405020304" pitchFamily="18" charset="0"/>
              </a:rPr>
              <a:t>、</a:t>
            </a:r>
            <a:r>
              <a:rPr kumimoji="1" lang="en-US" altLang="zh-CN" sz="2800" b="1" dirty="0">
                <a:solidFill>
                  <a:schemeClr val="bg1"/>
                </a:solidFill>
                <a:latin typeface="Times New Roman" panose="02020603050405020304" pitchFamily="18" charset="0"/>
                <a:cs typeface="Times New Roman" panose="02020603050405020304" pitchFamily="18" charset="0"/>
              </a:rPr>
              <a:t> Purpose</a:t>
            </a:r>
            <a:r>
              <a:rPr kumimoji="1" lang="zh-CN" altLang="en-US" sz="2800" b="1" dirty="0">
                <a:solidFill>
                  <a:schemeClr val="bg1"/>
                </a:solidFill>
                <a:latin typeface="Times New Roman" panose="02020603050405020304" pitchFamily="18" charset="0"/>
                <a:cs typeface="Times New Roman" panose="02020603050405020304" pitchFamily="18" charset="0"/>
              </a:rPr>
              <a:t> </a:t>
            </a:r>
            <a:r>
              <a:rPr kumimoji="1" lang="en-US" altLang="zh-CN" sz="2800" b="1" dirty="0">
                <a:solidFill>
                  <a:schemeClr val="bg1"/>
                </a:solidFill>
                <a:latin typeface="Times New Roman" panose="02020603050405020304" pitchFamily="18" charset="0"/>
                <a:cs typeface="Times New Roman" panose="02020603050405020304" pitchFamily="18" charset="0"/>
              </a:rPr>
              <a:t>&amp;</a:t>
            </a:r>
            <a:r>
              <a:rPr kumimoji="1" lang="zh-CN" altLang="en-US" sz="2800" b="1" dirty="0">
                <a:solidFill>
                  <a:schemeClr val="bg1"/>
                </a:solidFill>
                <a:latin typeface="Times New Roman" panose="02020603050405020304" pitchFamily="18" charset="0"/>
                <a:cs typeface="Times New Roman" panose="02020603050405020304" pitchFamily="18" charset="0"/>
              </a:rPr>
              <a:t> </a:t>
            </a:r>
            <a:r>
              <a:rPr kumimoji="1" lang="en-US" altLang="zh-CN" sz="2800" b="1" dirty="0">
                <a:solidFill>
                  <a:schemeClr val="bg1"/>
                </a:solidFill>
                <a:latin typeface="Times New Roman" panose="02020603050405020304" pitchFamily="18" charset="0"/>
                <a:cs typeface="Times New Roman" panose="02020603050405020304" pitchFamily="18" charset="0"/>
              </a:rPr>
              <a:t>Significance</a:t>
            </a:r>
            <a:endParaRPr kumimoji="1" lang="zh-CN" altLang="en-US" sz="2800" b="1" dirty="0">
              <a:solidFill>
                <a:schemeClr val="bg1"/>
              </a:solidFill>
              <a:latin typeface="Times New Roman" panose="02020603050405020304" pitchFamily="18" charset="0"/>
              <a:cs typeface="Times New Roman" panose="02020603050405020304" pitchFamily="18" charset="0"/>
            </a:endParaRPr>
          </a:p>
        </p:txBody>
      </p:sp>
      <p:sp>
        <p:nvSpPr>
          <p:cNvPr id="1148" name="文本框 1147">
            <a:extLst>
              <a:ext uri="{FF2B5EF4-FFF2-40B4-BE49-F238E27FC236}">
                <a16:creationId xmlns:a16="http://schemas.microsoft.com/office/drawing/2014/main" id="{BEA4C4E6-904D-8E4C-A0C1-1E48A4B56B9C}"/>
              </a:ext>
            </a:extLst>
          </p:cNvPr>
          <p:cNvSpPr txBox="1"/>
          <p:nvPr/>
        </p:nvSpPr>
        <p:spPr>
          <a:xfrm>
            <a:off x="9255512" y="3790520"/>
            <a:ext cx="6266986" cy="523220"/>
          </a:xfrm>
          <a:prstGeom prst="rect">
            <a:avLst/>
          </a:prstGeom>
          <a:noFill/>
        </p:spPr>
        <p:txBody>
          <a:bodyPr wrap="square" rtlCol="0">
            <a:spAutoFit/>
          </a:bodyPr>
          <a:lstStyle/>
          <a:p>
            <a:r>
              <a:rPr kumimoji="1" lang="en-US" altLang="zh-CN" sz="2800" b="1" dirty="0">
                <a:solidFill>
                  <a:schemeClr val="bg1"/>
                </a:solidFill>
                <a:latin typeface="Times New Roman" panose="02020603050405020304" pitchFamily="18" charset="0"/>
                <a:cs typeface="Times New Roman" panose="02020603050405020304" pitchFamily="18" charset="0"/>
              </a:rPr>
              <a:t>Literature</a:t>
            </a:r>
            <a:r>
              <a:rPr kumimoji="1" lang="zh-CN" altLang="en-US" sz="2800" b="1" dirty="0">
                <a:solidFill>
                  <a:schemeClr val="bg1"/>
                </a:solidFill>
                <a:latin typeface="Times New Roman" panose="02020603050405020304" pitchFamily="18" charset="0"/>
                <a:cs typeface="Times New Roman" panose="02020603050405020304" pitchFamily="18" charset="0"/>
              </a:rPr>
              <a:t> </a:t>
            </a:r>
            <a:r>
              <a:rPr kumimoji="1" lang="en-US" altLang="zh-CN" sz="2800" b="1" dirty="0">
                <a:solidFill>
                  <a:schemeClr val="bg1"/>
                </a:solidFill>
                <a:latin typeface="Times New Roman" panose="02020603050405020304" pitchFamily="18" charset="0"/>
                <a:cs typeface="Times New Roman" panose="02020603050405020304" pitchFamily="18" charset="0"/>
              </a:rPr>
              <a:t>review</a:t>
            </a:r>
            <a:endParaRPr kumimoji="1" lang="zh-CN" altLang="en-US" sz="2800" b="1" dirty="0">
              <a:solidFill>
                <a:schemeClr val="bg1"/>
              </a:solidFill>
              <a:latin typeface="Times New Roman" panose="02020603050405020304" pitchFamily="18" charset="0"/>
              <a:cs typeface="Times New Roman" panose="02020603050405020304" pitchFamily="18" charset="0"/>
            </a:endParaRPr>
          </a:p>
        </p:txBody>
      </p:sp>
      <p:sp>
        <p:nvSpPr>
          <p:cNvPr id="1149" name="文本框 1148">
            <a:extLst>
              <a:ext uri="{FF2B5EF4-FFF2-40B4-BE49-F238E27FC236}">
                <a16:creationId xmlns:a16="http://schemas.microsoft.com/office/drawing/2014/main" id="{138A2EE0-E2B7-B446-BC4E-BE413B98C2BC}"/>
              </a:ext>
            </a:extLst>
          </p:cNvPr>
          <p:cNvSpPr txBox="1"/>
          <p:nvPr/>
        </p:nvSpPr>
        <p:spPr>
          <a:xfrm>
            <a:off x="9255512" y="5616988"/>
            <a:ext cx="6266986" cy="523220"/>
          </a:xfrm>
          <a:prstGeom prst="rect">
            <a:avLst/>
          </a:prstGeom>
          <a:noFill/>
        </p:spPr>
        <p:txBody>
          <a:bodyPr wrap="square" rtlCol="0">
            <a:spAutoFit/>
          </a:bodyPr>
          <a:lstStyle/>
          <a:p>
            <a:r>
              <a:rPr kumimoji="1" lang="en-US" altLang="zh-CN" sz="2800" b="1" dirty="0">
                <a:solidFill>
                  <a:schemeClr val="bg1"/>
                </a:solidFill>
                <a:latin typeface="Times New Roman" panose="02020603050405020304" pitchFamily="18" charset="0"/>
                <a:cs typeface="Times New Roman" panose="02020603050405020304" pitchFamily="18" charset="0"/>
              </a:rPr>
              <a:t>Research</a:t>
            </a:r>
            <a:r>
              <a:rPr kumimoji="1" lang="zh-CN" altLang="en-US" sz="2800" b="1" dirty="0">
                <a:solidFill>
                  <a:schemeClr val="bg1"/>
                </a:solidFill>
                <a:latin typeface="Times New Roman" panose="02020603050405020304" pitchFamily="18" charset="0"/>
                <a:cs typeface="Times New Roman" panose="02020603050405020304" pitchFamily="18" charset="0"/>
              </a:rPr>
              <a:t> </a:t>
            </a:r>
            <a:r>
              <a:rPr kumimoji="1" lang="en-US" altLang="zh-CN" sz="2800" b="1" dirty="0">
                <a:solidFill>
                  <a:schemeClr val="bg1"/>
                </a:solidFill>
                <a:latin typeface="Times New Roman" panose="02020603050405020304" pitchFamily="18" charset="0"/>
                <a:cs typeface="Times New Roman" panose="02020603050405020304" pitchFamily="18" charset="0"/>
              </a:rPr>
              <a:t>Content</a:t>
            </a:r>
            <a:r>
              <a:rPr kumimoji="1" lang="zh-CN" altLang="en-US" sz="2800" b="1" dirty="0">
                <a:solidFill>
                  <a:schemeClr val="bg1"/>
                </a:solidFill>
                <a:latin typeface="Times New Roman" panose="02020603050405020304" pitchFamily="18" charset="0"/>
                <a:cs typeface="Times New Roman" panose="02020603050405020304" pitchFamily="18" charset="0"/>
              </a:rPr>
              <a:t>  </a:t>
            </a:r>
          </a:p>
        </p:txBody>
      </p:sp>
      <p:sp>
        <p:nvSpPr>
          <p:cNvPr id="1150" name="文本框 1149">
            <a:extLst>
              <a:ext uri="{FF2B5EF4-FFF2-40B4-BE49-F238E27FC236}">
                <a16:creationId xmlns:a16="http://schemas.microsoft.com/office/drawing/2014/main" id="{933A667A-7D8F-164F-98EC-2877E8567EDE}"/>
              </a:ext>
            </a:extLst>
          </p:cNvPr>
          <p:cNvSpPr txBox="1"/>
          <p:nvPr/>
        </p:nvSpPr>
        <p:spPr>
          <a:xfrm>
            <a:off x="9233209" y="7308928"/>
            <a:ext cx="6441341" cy="523220"/>
          </a:xfrm>
          <a:prstGeom prst="rect">
            <a:avLst/>
          </a:prstGeom>
          <a:noFill/>
        </p:spPr>
        <p:txBody>
          <a:bodyPr wrap="square" rtlCol="0">
            <a:spAutoFit/>
          </a:bodyPr>
          <a:lstStyle/>
          <a:p>
            <a:r>
              <a:rPr kumimoji="1" lang="zh-CN" altLang="zh-CN" sz="2800" b="1" dirty="0">
                <a:solidFill>
                  <a:schemeClr val="bg1"/>
                </a:solidFill>
                <a:latin typeface="Times New Roman" panose="02020603050405020304" pitchFamily="18" charset="0"/>
                <a:cs typeface="Times New Roman" panose="02020603050405020304" pitchFamily="18" charset="0"/>
              </a:rPr>
              <a:t>Timing</a:t>
            </a:r>
            <a:r>
              <a:rPr lang="zh-CN" altLang="zh-CN" b="1" dirty="0"/>
              <a:t> </a:t>
            </a:r>
            <a:r>
              <a:rPr kumimoji="1" lang="zh-CN" altLang="zh-CN" sz="2800" b="1" dirty="0">
                <a:solidFill>
                  <a:schemeClr val="bg1"/>
                </a:solidFill>
                <a:latin typeface="Times New Roman" panose="02020603050405020304" pitchFamily="18" charset="0"/>
                <a:cs typeface="Times New Roman" panose="02020603050405020304" pitchFamily="18" charset="0"/>
              </a:rPr>
              <a:t>logic implementation</a:t>
            </a:r>
            <a:endParaRPr kumimoji="1" lang="zh-CN" altLang="en-US" sz="2800" b="1" dirty="0">
              <a:solidFill>
                <a:schemeClr val="bg1"/>
              </a:solidFill>
              <a:latin typeface="Times New Roman" panose="02020603050405020304" pitchFamily="18" charset="0"/>
              <a:cs typeface="Times New Roman" panose="02020603050405020304" pitchFamily="18" charset="0"/>
            </a:endParaRPr>
          </a:p>
        </p:txBody>
      </p:sp>
      <p:sp>
        <p:nvSpPr>
          <p:cNvPr id="1151" name="标题 1150">
            <a:extLst>
              <a:ext uri="{FF2B5EF4-FFF2-40B4-BE49-F238E27FC236}">
                <a16:creationId xmlns:a16="http://schemas.microsoft.com/office/drawing/2014/main" id="{156E37A6-5471-4146-AF2E-374332545189}"/>
              </a:ext>
            </a:extLst>
          </p:cNvPr>
          <p:cNvSpPr>
            <a:spLocks noGrp="1"/>
          </p:cNvSpPr>
          <p:nvPr>
            <p:ph type="title"/>
          </p:nvPr>
        </p:nvSpPr>
        <p:spPr/>
        <p:txBody>
          <a:bodyPr/>
          <a:lstStyle/>
          <a:p>
            <a:pPr algn="l"/>
            <a:r>
              <a:rPr lang="en-US" altLang="zh-CN" b="1" dirty="0">
                <a:solidFill>
                  <a:srgbClr val="C00000"/>
                </a:solidFill>
                <a:latin typeface="Times New Roman" panose="02020603050405020304" pitchFamily="18" charset="0"/>
                <a:cs typeface="Times New Roman" panose="02020603050405020304" pitchFamily="18" charset="0"/>
              </a:rPr>
              <a:t>Introduction</a:t>
            </a:r>
            <a:endParaRPr lang="zh-CN" altLang="en-US" b="1" dirty="0">
              <a:solidFill>
                <a:srgbClr val="C00000"/>
              </a:solidFill>
              <a:latin typeface="Times New Roman" panose="02020603050405020304" pitchFamily="18" charset="0"/>
              <a:cs typeface="Times New Roman" panose="02020603050405020304" pitchFamily="18" charset="0"/>
            </a:endParaRPr>
          </a:p>
        </p:txBody>
      </p:sp>
      <p:pic>
        <p:nvPicPr>
          <p:cNvPr id="1154" name="Picture 9">
            <a:extLst>
              <a:ext uri="{FF2B5EF4-FFF2-40B4-BE49-F238E27FC236}">
                <a16:creationId xmlns:a16="http://schemas.microsoft.com/office/drawing/2014/main" id="{B82096D6-5FA8-F34B-B490-E1CD9F4CCB55}"/>
              </a:ext>
            </a:extLst>
          </p:cNvPr>
          <p:cNvPicPr>
            <a:picLocks noChangeAspect="1"/>
          </p:cNvPicPr>
          <p:nvPr/>
        </p:nvPicPr>
        <p:blipFill>
          <a:blip r:embed="rId12"/>
          <a:stretch>
            <a:fillRect/>
          </a:stretch>
        </p:blipFill>
        <p:spPr>
          <a:xfrm>
            <a:off x="13119100" y="533400"/>
            <a:ext cx="2540000" cy="101600"/>
          </a:xfrm>
          <a:prstGeom prst="rect">
            <a:avLst/>
          </a:prstGeom>
        </p:spPr>
      </p:pic>
      <p:sp>
        <p:nvSpPr>
          <p:cNvPr id="1155" name="TextBox 7">
            <a:extLst>
              <a:ext uri="{FF2B5EF4-FFF2-40B4-BE49-F238E27FC236}">
                <a16:creationId xmlns:a16="http://schemas.microsoft.com/office/drawing/2014/main" id="{538770EF-D48D-B34E-9815-D2C907D9CDB0}"/>
              </a:ext>
            </a:extLst>
          </p:cNvPr>
          <p:cNvSpPr txBox="1"/>
          <p:nvPr/>
        </p:nvSpPr>
        <p:spPr>
          <a:xfrm>
            <a:off x="10195886" y="718701"/>
            <a:ext cx="5672225" cy="726511"/>
          </a:xfrm>
          <a:prstGeom prst="rect">
            <a:avLst/>
          </a:prstGeom>
        </p:spPr>
        <p:txBody>
          <a:bodyPr lIns="0" tIns="0" rIns="0" bIns="0" rtlCol="0" anchor="t"/>
          <a:lstStyle/>
          <a:p>
            <a:pPr>
              <a:lnSpc>
                <a:spcPct val="90000"/>
              </a:lnSpc>
            </a:pPr>
            <a:r>
              <a:rPr lang="en-US" sz="4000" b="1" dirty="0">
                <a:solidFill>
                  <a:srgbClr val="475B7C"/>
                </a:solidFill>
                <a:latin typeface="Times New Roman" panose="02020603050405020304" pitchFamily="18" charset="0"/>
                <a:cs typeface="Times New Roman" panose="02020603050405020304" pitchFamily="18" charset="0"/>
              </a:rPr>
              <a:t>Background</a:t>
            </a:r>
            <a:r>
              <a:rPr lang="zh-CN" altLang="en-US" sz="4000" b="1" dirty="0">
                <a:solidFill>
                  <a:srgbClr val="475B7C"/>
                </a:solidFill>
                <a:latin typeface="Times New Roman" panose="02020603050405020304" pitchFamily="18" charset="0"/>
                <a:cs typeface="Times New Roman" panose="02020603050405020304" pitchFamily="18" charset="0"/>
              </a:rPr>
              <a:t> </a:t>
            </a:r>
            <a:r>
              <a:rPr lang="en-US" altLang="zh-CN" sz="4000" b="1" dirty="0">
                <a:solidFill>
                  <a:srgbClr val="475B7C"/>
                </a:solidFill>
                <a:latin typeface="Times New Roman" panose="02020603050405020304" pitchFamily="18" charset="0"/>
                <a:cs typeface="Times New Roman" panose="02020603050405020304" pitchFamily="18" charset="0"/>
              </a:rPr>
              <a:t>&amp;</a:t>
            </a:r>
            <a:r>
              <a:rPr lang="en-US" sz="4000" b="1" dirty="0">
                <a:solidFill>
                  <a:srgbClr val="475B7C"/>
                </a:solidFill>
                <a:latin typeface="Times New Roman" panose="02020603050405020304" pitchFamily="18" charset="0"/>
                <a:cs typeface="Times New Roman" panose="02020603050405020304" pitchFamily="18" charset="0"/>
              </a:rPr>
              <a:t> Research</a:t>
            </a:r>
            <a:r>
              <a:rPr lang="zh-CN" altLang="en-US" sz="4000" b="1" dirty="0">
                <a:solidFill>
                  <a:srgbClr val="475B7C"/>
                </a:solidFill>
                <a:latin typeface="Times New Roman" panose="02020603050405020304" pitchFamily="18" charset="0"/>
                <a:cs typeface="Times New Roman" panose="02020603050405020304" pitchFamily="18" charset="0"/>
              </a:rPr>
              <a:t> </a:t>
            </a:r>
            <a:endParaRPr lang="en-US" sz="4000" b="1" dirty="0">
              <a:solidFill>
                <a:srgbClr val="475B7C"/>
              </a:solidFill>
              <a:latin typeface="Times New Roman" panose="02020603050405020304" pitchFamily="18" charset="0"/>
              <a:cs typeface="Times New Roman" panose="02020603050405020304" pitchFamily="18" charset="0"/>
            </a:endParaRPr>
          </a:p>
        </p:txBody>
      </p:sp>
      <p:sp>
        <p:nvSpPr>
          <p:cNvPr id="1156" name="accept-circular-button-outline_58679">
            <a:extLst>
              <a:ext uri="{FF2B5EF4-FFF2-40B4-BE49-F238E27FC236}">
                <a16:creationId xmlns:a16="http://schemas.microsoft.com/office/drawing/2014/main" id="{218521AB-619A-E34E-B05C-25E296B58E1F}"/>
              </a:ext>
            </a:extLst>
          </p:cNvPr>
          <p:cNvSpPr>
            <a:spLocks noChangeAspect="1"/>
          </p:cNvSpPr>
          <p:nvPr/>
        </p:nvSpPr>
        <p:spPr>
          <a:xfrm>
            <a:off x="7460894" y="3812822"/>
            <a:ext cx="358232" cy="357734"/>
          </a:xfrm>
          <a:custGeom>
            <a:avLst/>
            <a:gdLst>
              <a:gd name="connsiteX0" fmla="*/ 443164 w 609403"/>
              <a:gd name="connsiteY0" fmla="*/ 187725 h 608556"/>
              <a:gd name="connsiteX1" fmla="*/ 458558 w 609403"/>
              <a:gd name="connsiteY1" fmla="*/ 194090 h 608556"/>
              <a:gd name="connsiteX2" fmla="*/ 464856 w 609403"/>
              <a:gd name="connsiteY2" fmla="*/ 209382 h 608556"/>
              <a:gd name="connsiteX3" fmla="*/ 458558 w 609403"/>
              <a:gd name="connsiteY3" fmla="*/ 224674 h 608556"/>
              <a:gd name="connsiteX4" fmla="*/ 268385 w 609403"/>
              <a:gd name="connsiteY4" fmla="*/ 414466 h 608556"/>
              <a:gd name="connsiteX5" fmla="*/ 253068 w 609403"/>
              <a:gd name="connsiteY5" fmla="*/ 420831 h 608556"/>
              <a:gd name="connsiteX6" fmla="*/ 237752 w 609403"/>
              <a:gd name="connsiteY6" fmla="*/ 414466 h 608556"/>
              <a:gd name="connsiteX7" fmla="*/ 150906 w 609403"/>
              <a:gd name="connsiteY7" fmla="*/ 327837 h 608556"/>
              <a:gd name="connsiteX8" fmla="*/ 150906 w 609403"/>
              <a:gd name="connsiteY8" fmla="*/ 297175 h 608556"/>
              <a:gd name="connsiteX9" fmla="*/ 166223 w 609403"/>
              <a:gd name="connsiteY9" fmla="*/ 290810 h 608556"/>
              <a:gd name="connsiteX10" fmla="*/ 181617 w 609403"/>
              <a:gd name="connsiteY10" fmla="*/ 297175 h 608556"/>
              <a:gd name="connsiteX11" fmla="*/ 253068 w 609403"/>
              <a:gd name="connsiteY11" fmla="*/ 368590 h 608556"/>
              <a:gd name="connsiteX12" fmla="*/ 427847 w 609403"/>
              <a:gd name="connsiteY12" fmla="*/ 194090 h 608556"/>
              <a:gd name="connsiteX13" fmla="*/ 443164 w 609403"/>
              <a:gd name="connsiteY13" fmla="*/ 187725 h 608556"/>
              <a:gd name="connsiteX14" fmla="*/ 443184 w 609403"/>
              <a:gd name="connsiteY14" fmla="*/ 187195 h 608556"/>
              <a:gd name="connsiteX15" fmla="*/ 427451 w 609403"/>
              <a:gd name="connsiteY15" fmla="*/ 193714 h 608556"/>
              <a:gd name="connsiteX16" fmla="*/ 253077 w 609403"/>
              <a:gd name="connsiteY16" fmla="*/ 367795 h 608556"/>
              <a:gd name="connsiteX17" fmla="*/ 181944 w 609403"/>
              <a:gd name="connsiteY17" fmla="*/ 296781 h 608556"/>
              <a:gd name="connsiteX18" fmla="*/ 150614 w 609403"/>
              <a:gd name="connsiteY18" fmla="*/ 296781 h 608556"/>
              <a:gd name="connsiteX19" fmla="*/ 150614 w 609403"/>
              <a:gd name="connsiteY19" fmla="*/ 328136 h 608556"/>
              <a:gd name="connsiteX20" fmla="*/ 237374 w 609403"/>
              <a:gd name="connsiteY20" fmla="*/ 414827 h 608556"/>
              <a:gd name="connsiteX21" fmla="*/ 253077 w 609403"/>
              <a:gd name="connsiteY21" fmla="*/ 421346 h 608556"/>
              <a:gd name="connsiteX22" fmla="*/ 268781 w 609403"/>
              <a:gd name="connsiteY22" fmla="*/ 414827 h 608556"/>
              <a:gd name="connsiteX23" fmla="*/ 458859 w 609403"/>
              <a:gd name="connsiteY23" fmla="*/ 225069 h 608556"/>
              <a:gd name="connsiteX24" fmla="*/ 458859 w 609403"/>
              <a:gd name="connsiteY24" fmla="*/ 193714 h 608556"/>
              <a:gd name="connsiteX25" fmla="*/ 443184 w 609403"/>
              <a:gd name="connsiteY25" fmla="*/ 187195 h 608556"/>
              <a:gd name="connsiteX26" fmla="*/ 443164 w 609403"/>
              <a:gd name="connsiteY26" fmla="*/ 186716 h 608556"/>
              <a:gd name="connsiteX27" fmla="*/ 459258 w 609403"/>
              <a:gd name="connsiteY27" fmla="*/ 193314 h 608556"/>
              <a:gd name="connsiteX28" fmla="*/ 465944 w 609403"/>
              <a:gd name="connsiteY28" fmla="*/ 209382 h 608556"/>
              <a:gd name="connsiteX29" fmla="*/ 459258 w 609403"/>
              <a:gd name="connsiteY29" fmla="*/ 225373 h 608556"/>
              <a:gd name="connsiteX30" fmla="*/ 269162 w 609403"/>
              <a:gd name="connsiteY30" fmla="*/ 415242 h 608556"/>
              <a:gd name="connsiteX31" fmla="*/ 253068 w 609403"/>
              <a:gd name="connsiteY31" fmla="*/ 421840 h 608556"/>
              <a:gd name="connsiteX32" fmla="*/ 237052 w 609403"/>
              <a:gd name="connsiteY32" fmla="*/ 415242 h 608556"/>
              <a:gd name="connsiteX33" fmla="*/ 150206 w 609403"/>
              <a:gd name="connsiteY33" fmla="*/ 328536 h 608556"/>
              <a:gd name="connsiteX34" fmla="*/ 150206 w 609403"/>
              <a:gd name="connsiteY34" fmla="*/ 296477 h 608556"/>
              <a:gd name="connsiteX35" fmla="*/ 166223 w 609403"/>
              <a:gd name="connsiteY35" fmla="*/ 289801 h 608556"/>
              <a:gd name="connsiteX36" fmla="*/ 182317 w 609403"/>
              <a:gd name="connsiteY36" fmla="*/ 296477 h 608556"/>
              <a:gd name="connsiteX37" fmla="*/ 253068 w 609403"/>
              <a:gd name="connsiteY37" fmla="*/ 367115 h 608556"/>
              <a:gd name="connsiteX38" fmla="*/ 427147 w 609403"/>
              <a:gd name="connsiteY38" fmla="*/ 193314 h 608556"/>
              <a:gd name="connsiteX39" fmla="*/ 443164 w 609403"/>
              <a:gd name="connsiteY39" fmla="*/ 186716 h 608556"/>
              <a:gd name="connsiteX40" fmla="*/ 304663 w 609403"/>
              <a:gd name="connsiteY40" fmla="*/ 45415 h 608556"/>
              <a:gd name="connsiteX41" fmla="*/ 121352 w 609403"/>
              <a:gd name="connsiteY41" fmla="*/ 121183 h 608556"/>
              <a:gd name="connsiteX42" fmla="*/ 45478 w 609403"/>
              <a:gd name="connsiteY42" fmla="*/ 304239 h 608556"/>
              <a:gd name="connsiteX43" fmla="*/ 121352 w 609403"/>
              <a:gd name="connsiteY43" fmla="*/ 487295 h 608556"/>
              <a:gd name="connsiteX44" fmla="*/ 304663 w 609403"/>
              <a:gd name="connsiteY44" fmla="*/ 563141 h 608556"/>
              <a:gd name="connsiteX45" fmla="*/ 487973 w 609403"/>
              <a:gd name="connsiteY45" fmla="*/ 487295 h 608556"/>
              <a:gd name="connsiteX46" fmla="*/ 563925 w 609403"/>
              <a:gd name="connsiteY46" fmla="*/ 304239 h 608556"/>
              <a:gd name="connsiteX47" fmla="*/ 487973 w 609403"/>
              <a:gd name="connsiteY47" fmla="*/ 121183 h 608556"/>
              <a:gd name="connsiteX48" fmla="*/ 304663 w 609403"/>
              <a:gd name="connsiteY48" fmla="*/ 45415 h 608556"/>
              <a:gd name="connsiteX49" fmla="*/ 304699 w 609403"/>
              <a:gd name="connsiteY49" fmla="*/ 44890 h 608556"/>
              <a:gd name="connsiteX50" fmla="*/ 564518 w 609403"/>
              <a:gd name="connsiteY50" fmla="*/ 304240 h 608556"/>
              <a:gd name="connsiteX51" fmla="*/ 304699 w 609403"/>
              <a:gd name="connsiteY51" fmla="*/ 563667 h 608556"/>
              <a:gd name="connsiteX52" fmla="*/ 44957 w 609403"/>
              <a:gd name="connsiteY52" fmla="*/ 304240 h 608556"/>
              <a:gd name="connsiteX53" fmla="*/ 304699 w 609403"/>
              <a:gd name="connsiteY53" fmla="*/ 44890 h 608556"/>
              <a:gd name="connsiteX54" fmla="*/ 304663 w 609403"/>
              <a:gd name="connsiteY54" fmla="*/ 44328 h 608556"/>
              <a:gd name="connsiteX55" fmla="*/ 120652 w 609403"/>
              <a:gd name="connsiteY55" fmla="*/ 120485 h 608556"/>
              <a:gd name="connsiteX56" fmla="*/ 44389 w 609403"/>
              <a:gd name="connsiteY56" fmla="*/ 304239 h 608556"/>
              <a:gd name="connsiteX57" fmla="*/ 120652 w 609403"/>
              <a:gd name="connsiteY57" fmla="*/ 488071 h 608556"/>
              <a:gd name="connsiteX58" fmla="*/ 304663 w 609403"/>
              <a:gd name="connsiteY58" fmla="*/ 564228 h 608556"/>
              <a:gd name="connsiteX59" fmla="*/ 488751 w 609403"/>
              <a:gd name="connsiteY59" fmla="*/ 488071 h 608556"/>
              <a:gd name="connsiteX60" fmla="*/ 565014 w 609403"/>
              <a:gd name="connsiteY60" fmla="*/ 304239 h 608556"/>
              <a:gd name="connsiteX61" fmla="*/ 488751 w 609403"/>
              <a:gd name="connsiteY61" fmla="*/ 120485 h 608556"/>
              <a:gd name="connsiteX62" fmla="*/ 304663 w 609403"/>
              <a:gd name="connsiteY62" fmla="*/ 44328 h 608556"/>
              <a:gd name="connsiteX63" fmla="*/ 304663 w 609403"/>
              <a:gd name="connsiteY63" fmla="*/ 1009 h 608556"/>
              <a:gd name="connsiteX64" fmla="*/ 422905 w 609403"/>
              <a:gd name="connsiteY64" fmla="*/ 24920 h 608556"/>
              <a:gd name="connsiteX65" fmla="*/ 519380 w 609403"/>
              <a:gd name="connsiteY65" fmla="*/ 89820 h 608556"/>
              <a:gd name="connsiteX66" fmla="*/ 584449 w 609403"/>
              <a:gd name="connsiteY66" fmla="*/ 186239 h 608556"/>
              <a:gd name="connsiteX67" fmla="*/ 608315 w 609403"/>
              <a:gd name="connsiteY67" fmla="*/ 304239 h 608556"/>
              <a:gd name="connsiteX68" fmla="*/ 584449 w 609403"/>
              <a:gd name="connsiteY68" fmla="*/ 422317 h 608556"/>
              <a:gd name="connsiteX69" fmla="*/ 519380 w 609403"/>
              <a:gd name="connsiteY69" fmla="*/ 518658 h 608556"/>
              <a:gd name="connsiteX70" fmla="*/ 422905 w 609403"/>
              <a:gd name="connsiteY70" fmla="*/ 583636 h 608556"/>
              <a:gd name="connsiteX71" fmla="*/ 304663 w 609403"/>
              <a:gd name="connsiteY71" fmla="*/ 607469 h 608556"/>
              <a:gd name="connsiteX72" fmla="*/ 186498 w 609403"/>
              <a:gd name="connsiteY72" fmla="*/ 583636 h 608556"/>
              <a:gd name="connsiteX73" fmla="*/ 89945 w 609403"/>
              <a:gd name="connsiteY73" fmla="*/ 518658 h 608556"/>
              <a:gd name="connsiteX74" fmla="*/ 24954 w 609403"/>
              <a:gd name="connsiteY74" fmla="*/ 422317 h 608556"/>
              <a:gd name="connsiteX75" fmla="*/ 1011 w 609403"/>
              <a:gd name="connsiteY75" fmla="*/ 304239 h 608556"/>
              <a:gd name="connsiteX76" fmla="*/ 24954 w 609403"/>
              <a:gd name="connsiteY76" fmla="*/ 186239 h 608556"/>
              <a:gd name="connsiteX77" fmla="*/ 89945 w 609403"/>
              <a:gd name="connsiteY77" fmla="*/ 89820 h 608556"/>
              <a:gd name="connsiteX78" fmla="*/ 186498 w 609403"/>
              <a:gd name="connsiteY78" fmla="*/ 24920 h 608556"/>
              <a:gd name="connsiteX79" fmla="*/ 304663 w 609403"/>
              <a:gd name="connsiteY79" fmla="*/ 1009 h 608556"/>
              <a:gd name="connsiteX80" fmla="*/ 304699 w 609403"/>
              <a:gd name="connsiteY80" fmla="*/ 565 h 608556"/>
              <a:gd name="connsiteX81" fmla="*/ 186295 w 609403"/>
              <a:gd name="connsiteY81" fmla="*/ 24396 h 608556"/>
              <a:gd name="connsiteX82" fmla="*/ 89659 w 609403"/>
              <a:gd name="connsiteY82" fmla="*/ 89525 h 608556"/>
              <a:gd name="connsiteX83" fmla="*/ 24432 w 609403"/>
              <a:gd name="connsiteY83" fmla="*/ 186015 h 608556"/>
              <a:gd name="connsiteX84" fmla="*/ 565 w 609403"/>
              <a:gd name="connsiteY84" fmla="*/ 304240 h 608556"/>
              <a:gd name="connsiteX85" fmla="*/ 24432 w 609403"/>
              <a:gd name="connsiteY85" fmla="*/ 422542 h 608556"/>
              <a:gd name="connsiteX86" fmla="*/ 89659 w 609403"/>
              <a:gd name="connsiteY86" fmla="*/ 519032 h 608556"/>
              <a:gd name="connsiteX87" fmla="*/ 186295 w 609403"/>
              <a:gd name="connsiteY87" fmla="*/ 584083 h 608556"/>
              <a:gd name="connsiteX88" fmla="*/ 304699 w 609403"/>
              <a:gd name="connsiteY88" fmla="*/ 607992 h 608556"/>
              <a:gd name="connsiteX89" fmla="*/ 423180 w 609403"/>
              <a:gd name="connsiteY89" fmla="*/ 584083 h 608556"/>
              <a:gd name="connsiteX90" fmla="*/ 519816 w 609403"/>
              <a:gd name="connsiteY90" fmla="*/ 519032 h 608556"/>
              <a:gd name="connsiteX91" fmla="*/ 584965 w 609403"/>
              <a:gd name="connsiteY91" fmla="*/ 422542 h 608556"/>
              <a:gd name="connsiteX92" fmla="*/ 608910 w 609403"/>
              <a:gd name="connsiteY92" fmla="*/ 304240 h 608556"/>
              <a:gd name="connsiteX93" fmla="*/ 584965 w 609403"/>
              <a:gd name="connsiteY93" fmla="*/ 186015 h 608556"/>
              <a:gd name="connsiteX94" fmla="*/ 519816 w 609403"/>
              <a:gd name="connsiteY94" fmla="*/ 89525 h 608556"/>
              <a:gd name="connsiteX95" fmla="*/ 423180 w 609403"/>
              <a:gd name="connsiteY95" fmla="*/ 24396 h 608556"/>
              <a:gd name="connsiteX96" fmla="*/ 304699 w 609403"/>
              <a:gd name="connsiteY96" fmla="*/ 565 h 608556"/>
              <a:gd name="connsiteX97" fmla="*/ 304663 w 609403"/>
              <a:gd name="connsiteY97" fmla="*/ 0 h 608556"/>
              <a:gd name="connsiteX98" fmla="*/ 423294 w 609403"/>
              <a:gd name="connsiteY98" fmla="*/ 23911 h 608556"/>
              <a:gd name="connsiteX99" fmla="*/ 520158 w 609403"/>
              <a:gd name="connsiteY99" fmla="*/ 89121 h 608556"/>
              <a:gd name="connsiteX100" fmla="*/ 585459 w 609403"/>
              <a:gd name="connsiteY100" fmla="*/ 185851 h 608556"/>
              <a:gd name="connsiteX101" fmla="*/ 609403 w 609403"/>
              <a:gd name="connsiteY101" fmla="*/ 304239 h 608556"/>
              <a:gd name="connsiteX102" fmla="*/ 585459 w 609403"/>
              <a:gd name="connsiteY102" fmla="*/ 422705 h 608556"/>
              <a:gd name="connsiteX103" fmla="*/ 520158 w 609403"/>
              <a:gd name="connsiteY103" fmla="*/ 519435 h 608556"/>
              <a:gd name="connsiteX104" fmla="*/ 423294 w 609403"/>
              <a:gd name="connsiteY104" fmla="*/ 584645 h 608556"/>
              <a:gd name="connsiteX105" fmla="*/ 304663 w 609403"/>
              <a:gd name="connsiteY105" fmla="*/ 608556 h 608556"/>
              <a:gd name="connsiteX106" fmla="*/ 186109 w 609403"/>
              <a:gd name="connsiteY106" fmla="*/ 584645 h 608556"/>
              <a:gd name="connsiteX107" fmla="*/ 89245 w 609403"/>
              <a:gd name="connsiteY107" fmla="*/ 519435 h 608556"/>
              <a:gd name="connsiteX108" fmla="*/ 23944 w 609403"/>
              <a:gd name="connsiteY108" fmla="*/ 422705 h 608556"/>
              <a:gd name="connsiteX109" fmla="*/ 0 w 609403"/>
              <a:gd name="connsiteY109" fmla="*/ 304239 h 608556"/>
              <a:gd name="connsiteX110" fmla="*/ 23944 w 609403"/>
              <a:gd name="connsiteY110" fmla="*/ 185851 h 608556"/>
              <a:gd name="connsiteX111" fmla="*/ 89245 w 609403"/>
              <a:gd name="connsiteY111" fmla="*/ 89121 h 608556"/>
              <a:gd name="connsiteX112" fmla="*/ 186109 w 609403"/>
              <a:gd name="connsiteY112" fmla="*/ 23911 h 608556"/>
              <a:gd name="connsiteX113" fmla="*/ 304663 w 609403"/>
              <a:gd name="connsiteY113" fmla="*/ 0 h 608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609403" h="608556">
                <a:moveTo>
                  <a:pt x="443164" y="187725"/>
                </a:moveTo>
                <a:cubicBezTo>
                  <a:pt x="448995" y="187725"/>
                  <a:pt x="454437" y="189976"/>
                  <a:pt x="458558" y="194090"/>
                </a:cubicBezTo>
                <a:cubicBezTo>
                  <a:pt x="462601" y="198127"/>
                  <a:pt x="464856" y="203560"/>
                  <a:pt x="464856" y="209382"/>
                </a:cubicBezTo>
                <a:cubicBezTo>
                  <a:pt x="464856" y="215126"/>
                  <a:pt x="462601" y="220560"/>
                  <a:pt x="458558" y="224674"/>
                </a:cubicBezTo>
                <a:lnTo>
                  <a:pt x="268385" y="414466"/>
                </a:lnTo>
                <a:cubicBezTo>
                  <a:pt x="264342" y="418580"/>
                  <a:pt x="258899" y="420831"/>
                  <a:pt x="253068" y="420831"/>
                </a:cubicBezTo>
                <a:cubicBezTo>
                  <a:pt x="247315" y="420831"/>
                  <a:pt x="241872" y="418580"/>
                  <a:pt x="237752" y="414466"/>
                </a:cubicBezTo>
                <a:lnTo>
                  <a:pt x="150906" y="327837"/>
                </a:lnTo>
                <a:cubicBezTo>
                  <a:pt x="142509" y="319376"/>
                  <a:pt x="142509" y="305636"/>
                  <a:pt x="150906" y="297175"/>
                </a:cubicBezTo>
                <a:cubicBezTo>
                  <a:pt x="155027" y="293061"/>
                  <a:pt x="160469" y="290810"/>
                  <a:pt x="166223" y="290810"/>
                </a:cubicBezTo>
                <a:cubicBezTo>
                  <a:pt x="172054" y="290810"/>
                  <a:pt x="177496" y="293061"/>
                  <a:pt x="181617" y="297175"/>
                </a:cubicBezTo>
                <a:lnTo>
                  <a:pt x="253068" y="368590"/>
                </a:lnTo>
                <a:lnTo>
                  <a:pt x="427847" y="194090"/>
                </a:lnTo>
                <a:cubicBezTo>
                  <a:pt x="431968" y="189976"/>
                  <a:pt x="437410" y="187725"/>
                  <a:pt x="443164" y="187725"/>
                </a:cubicBezTo>
                <a:close/>
                <a:moveTo>
                  <a:pt x="443184" y="187195"/>
                </a:moveTo>
                <a:cubicBezTo>
                  <a:pt x="437500" y="187195"/>
                  <a:pt x="431805" y="189368"/>
                  <a:pt x="427451" y="193714"/>
                </a:cubicBezTo>
                <a:lnTo>
                  <a:pt x="253077" y="367795"/>
                </a:lnTo>
                <a:lnTo>
                  <a:pt x="181944" y="296781"/>
                </a:lnTo>
                <a:cubicBezTo>
                  <a:pt x="173315" y="288166"/>
                  <a:pt x="159243" y="288166"/>
                  <a:pt x="150614" y="296781"/>
                </a:cubicBezTo>
                <a:cubicBezTo>
                  <a:pt x="141907" y="305474"/>
                  <a:pt x="141907" y="319521"/>
                  <a:pt x="150614" y="328136"/>
                </a:cubicBezTo>
                <a:lnTo>
                  <a:pt x="237374" y="414827"/>
                </a:lnTo>
                <a:cubicBezTo>
                  <a:pt x="241572" y="418940"/>
                  <a:pt x="247169" y="421346"/>
                  <a:pt x="253077" y="421346"/>
                </a:cubicBezTo>
                <a:cubicBezTo>
                  <a:pt x="258986" y="421346"/>
                  <a:pt x="264661" y="418940"/>
                  <a:pt x="268781" y="414827"/>
                </a:cubicBezTo>
                <a:lnTo>
                  <a:pt x="458859" y="225069"/>
                </a:lnTo>
                <a:cubicBezTo>
                  <a:pt x="467566" y="216377"/>
                  <a:pt x="467566" y="202329"/>
                  <a:pt x="458859" y="193714"/>
                </a:cubicBezTo>
                <a:cubicBezTo>
                  <a:pt x="454544" y="189368"/>
                  <a:pt x="448869" y="187195"/>
                  <a:pt x="443184" y="187195"/>
                </a:cubicBezTo>
                <a:close/>
                <a:moveTo>
                  <a:pt x="443164" y="186716"/>
                </a:moveTo>
                <a:cubicBezTo>
                  <a:pt x="449228" y="186716"/>
                  <a:pt x="454982" y="189045"/>
                  <a:pt x="459258" y="193314"/>
                </a:cubicBezTo>
                <a:cubicBezTo>
                  <a:pt x="463534" y="197583"/>
                  <a:pt x="465944" y="203328"/>
                  <a:pt x="465944" y="209382"/>
                </a:cubicBezTo>
                <a:cubicBezTo>
                  <a:pt x="465944" y="215437"/>
                  <a:pt x="463534" y="221104"/>
                  <a:pt x="459258" y="225373"/>
                </a:cubicBezTo>
                <a:lnTo>
                  <a:pt x="269162" y="415242"/>
                </a:lnTo>
                <a:cubicBezTo>
                  <a:pt x="264886" y="419511"/>
                  <a:pt x="259132" y="421840"/>
                  <a:pt x="253068" y="421840"/>
                </a:cubicBezTo>
                <a:cubicBezTo>
                  <a:pt x="247004" y="421840"/>
                  <a:pt x="241328" y="419511"/>
                  <a:pt x="237052" y="415242"/>
                </a:cubicBezTo>
                <a:lnTo>
                  <a:pt x="150206" y="328536"/>
                </a:lnTo>
                <a:cubicBezTo>
                  <a:pt x="141343" y="319686"/>
                  <a:pt x="141343" y="305326"/>
                  <a:pt x="150206" y="296477"/>
                </a:cubicBezTo>
                <a:cubicBezTo>
                  <a:pt x="154483" y="292130"/>
                  <a:pt x="160158" y="289801"/>
                  <a:pt x="166223" y="289801"/>
                </a:cubicBezTo>
                <a:cubicBezTo>
                  <a:pt x="172365" y="289801"/>
                  <a:pt x="178040" y="292130"/>
                  <a:pt x="182317" y="296477"/>
                </a:cubicBezTo>
                <a:lnTo>
                  <a:pt x="253068" y="367115"/>
                </a:lnTo>
                <a:lnTo>
                  <a:pt x="427147" y="193314"/>
                </a:lnTo>
                <a:cubicBezTo>
                  <a:pt x="431424" y="189045"/>
                  <a:pt x="437099" y="186716"/>
                  <a:pt x="443164" y="186716"/>
                </a:cubicBezTo>
                <a:close/>
                <a:moveTo>
                  <a:pt x="304663" y="45415"/>
                </a:moveTo>
                <a:cubicBezTo>
                  <a:pt x="235474" y="45415"/>
                  <a:pt x="170328" y="72275"/>
                  <a:pt x="121352" y="121183"/>
                </a:cubicBezTo>
                <a:cubicBezTo>
                  <a:pt x="72376" y="170091"/>
                  <a:pt x="45478" y="235147"/>
                  <a:pt x="45478" y="304239"/>
                </a:cubicBezTo>
                <a:cubicBezTo>
                  <a:pt x="45478" y="373409"/>
                  <a:pt x="72376" y="438465"/>
                  <a:pt x="121352" y="487295"/>
                </a:cubicBezTo>
                <a:cubicBezTo>
                  <a:pt x="170328" y="536203"/>
                  <a:pt x="235474" y="563141"/>
                  <a:pt x="304663" y="563141"/>
                </a:cubicBezTo>
                <a:cubicBezTo>
                  <a:pt x="373929" y="563141"/>
                  <a:pt x="439075" y="536203"/>
                  <a:pt x="487973" y="487295"/>
                </a:cubicBezTo>
                <a:cubicBezTo>
                  <a:pt x="536950" y="438465"/>
                  <a:pt x="563925" y="373409"/>
                  <a:pt x="563925" y="304239"/>
                </a:cubicBezTo>
                <a:cubicBezTo>
                  <a:pt x="563925" y="235147"/>
                  <a:pt x="536950" y="170091"/>
                  <a:pt x="487973" y="121183"/>
                </a:cubicBezTo>
                <a:cubicBezTo>
                  <a:pt x="439075" y="72275"/>
                  <a:pt x="373929" y="45415"/>
                  <a:pt x="304663" y="45415"/>
                </a:cubicBezTo>
                <a:close/>
                <a:moveTo>
                  <a:pt x="304699" y="44890"/>
                </a:moveTo>
                <a:cubicBezTo>
                  <a:pt x="448214" y="44890"/>
                  <a:pt x="564518" y="161019"/>
                  <a:pt x="564518" y="304240"/>
                </a:cubicBezTo>
                <a:cubicBezTo>
                  <a:pt x="564518" y="447538"/>
                  <a:pt x="448214" y="563667"/>
                  <a:pt x="304699" y="563667"/>
                </a:cubicBezTo>
                <a:cubicBezTo>
                  <a:pt x="161261" y="563667"/>
                  <a:pt x="44957" y="447538"/>
                  <a:pt x="44957" y="304240"/>
                </a:cubicBezTo>
                <a:cubicBezTo>
                  <a:pt x="44957" y="161019"/>
                  <a:pt x="161261" y="44890"/>
                  <a:pt x="304699" y="44890"/>
                </a:cubicBezTo>
                <a:close/>
                <a:moveTo>
                  <a:pt x="304663" y="44328"/>
                </a:moveTo>
                <a:cubicBezTo>
                  <a:pt x="235163" y="44328"/>
                  <a:pt x="169784" y="71344"/>
                  <a:pt x="120652" y="120485"/>
                </a:cubicBezTo>
                <a:cubicBezTo>
                  <a:pt x="71443" y="169548"/>
                  <a:pt x="44389" y="234836"/>
                  <a:pt x="44389" y="304239"/>
                </a:cubicBezTo>
                <a:cubicBezTo>
                  <a:pt x="44389" y="373720"/>
                  <a:pt x="71443" y="439008"/>
                  <a:pt x="120652" y="488071"/>
                </a:cubicBezTo>
                <a:cubicBezTo>
                  <a:pt x="169784" y="537135"/>
                  <a:pt x="235163" y="564228"/>
                  <a:pt x="304663" y="564228"/>
                </a:cubicBezTo>
                <a:cubicBezTo>
                  <a:pt x="374240" y="564228"/>
                  <a:pt x="439619" y="537135"/>
                  <a:pt x="488751" y="488071"/>
                </a:cubicBezTo>
                <a:cubicBezTo>
                  <a:pt x="537882" y="439008"/>
                  <a:pt x="565014" y="373720"/>
                  <a:pt x="565014" y="304239"/>
                </a:cubicBezTo>
                <a:cubicBezTo>
                  <a:pt x="565014" y="234836"/>
                  <a:pt x="537882" y="169548"/>
                  <a:pt x="488751" y="120485"/>
                </a:cubicBezTo>
                <a:cubicBezTo>
                  <a:pt x="439619" y="71344"/>
                  <a:pt x="374240" y="44328"/>
                  <a:pt x="304663" y="44328"/>
                </a:cubicBezTo>
                <a:close/>
                <a:moveTo>
                  <a:pt x="304663" y="1009"/>
                </a:moveTo>
                <a:cubicBezTo>
                  <a:pt x="345632" y="1009"/>
                  <a:pt x="385434" y="9083"/>
                  <a:pt x="422905" y="24920"/>
                </a:cubicBezTo>
                <a:cubicBezTo>
                  <a:pt x="459054" y="40136"/>
                  <a:pt x="491549" y="62028"/>
                  <a:pt x="519380" y="89820"/>
                </a:cubicBezTo>
                <a:cubicBezTo>
                  <a:pt x="547289" y="117690"/>
                  <a:pt x="569212" y="150140"/>
                  <a:pt x="584449" y="186239"/>
                </a:cubicBezTo>
                <a:cubicBezTo>
                  <a:pt x="600308" y="223657"/>
                  <a:pt x="608315" y="263327"/>
                  <a:pt x="608315" y="304239"/>
                </a:cubicBezTo>
                <a:cubicBezTo>
                  <a:pt x="608315" y="345151"/>
                  <a:pt x="600308" y="384899"/>
                  <a:pt x="584449" y="422317"/>
                </a:cubicBezTo>
                <a:cubicBezTo>
                  <a:pt x="569212" y="458416"/>
                  <a:pt x="547289" y="490866"/>
                  <a:pt x="519380" y="518658"/>
                </a:cubicBezTo>
                <a:cubicBezTo>
                  <a:pt x="491549" y="546528"/>
                  <a:pt x="459054" y="568343"/>
                  <a:pt x="422905" y="583636"/>
                </a:cubicBezTo>
                <a:cubicBezTo>
                  <a:pt x="385434" y="599473"/>
                  <a:pt x="345632" y="607469"/>
                  <a:pt x="304663" y="607469"/>
                </a:cubicBezTo>
                <a:cubicBezTo>
                  <a:pt x="263694" y="607469"/>
                  <a:pt x="223969" y="599473"/>
                  <a:pt x="186498" y="583636"/>
                </a:cubicBezTo>
                <a:cubicBezTo>
                  <a:pt x="150349" y="568343"/>
                  <a:pt x="117854" y="546528"/>
                  <a:pt x="89945" y="518658"/>
                </a:cubicBezTo>
                <a:cubicBezTo>
                  <a:pt x="62114" y="490866"/>
                  <a:pt x="40191" y="458416"/>
                  <a:pt x="24954" y="422317"/>
                </a:cubicBezTo>
                <a:cubicBezTo>
                  <a:pt x="9096" y="384899"/>
                  <a:pt x="1011" y="345151"/>
                  <a:pt x="1011" y="304239"/>
                </a:cubicBezTo>
                <a:cubicBezTo>
                  <a:pt x="1011" y="263327"/>
                  <a:pt x="9096" y="223657"/>
                  <a:pt x="24954" y="186239"/>
                </a:cubicBezTo>
                <a:cubicBezTo>
                  <a:pt x="40191" y="150140"/>
                  <a:pt x="62114" y="117690"/>
                  <a:pt x="89945" y="89820"/>
                </a:cubicBezTo>
                <a:cubicBezTo>
                  <a:pt x="117854" y="62028"/>
                  <a:pt x="150349" y="40136"/>
                  <a:pt x="186498" y="24920"/>
                </a:cubicBezTo>
                <a:cubicBezTo>
                  <a:pt x="223969" y="9083"/>
                  <a:pt x="263694" y="1009"/>
                  <a:pt x="304663" y="1009"/>
                </a:cubicBezTo>
                <a:close/>
                <a:moveTo>
                  <a:pt x="304699" y="565"/>
                </a:moveTo>
                <a:cubicBezTo>
                  <a:pt x="263650" y="565"/>
                  <a:pt x="223845" y="8561"/>
                  <a:pt x="186295" y="24396"/>
                </a:cubicBezTo>
                <a:cubicBezTo>
                  <a:pt x="150066" y="39689"/>
                  <a:pt x="117569" y="61657"/>
                  <a:pt x="89659" y="89525"/>
                </a:cubicBezTo>
                <a:cubicBezTo>
                  <a:pt x="61749" y="117393"/>
                  <a:pt x="39748" y="149841"/>
                  <a:pt x="24432" y="186015"/>
                </a:cubicBezTo>
                <a:cubicBezTo>
                  <a:pt x="8573" y="223508"/>
                  <a:pt x="565" y="263253"/>
                  <a:pt x="565" y="304240"/>
                </a:cubicBezTo>
                <a:cubicBezTo>
                  <a:pt x="565" y="345226"/>
                  <a:pt x="8573" y="385049"/>
                  <a:pt x="24432" y="422542"/>
                </a:cubicBezTo>
                <a:cubicBezTo>
                  <a:pt x="39748" y="458716"/>
                  <a:pt x="61749" y="491164"/>
                  <a:pt x="89659" y="519032"/>
                </a:cubicBezTo>
                <a:cubicBezTo>
                  <a:pt x="117569" y="546900"/>
                  <a:pt x="150066" y="568791"/>
                  <a:pt x="186295" y="584083"/>
                </a:cubicBezTo>
                <a:cubicBezTo>
                  <a:pt x="223845" y="599997"/>
                  <a:pt x="263650" y="607992"/>
                  <a:pt x="304699" y="607992"/>
                </a:cubicBezTo>
                <a:cubicBezTo>
                  <a:pt x="345747" y="607992"/>
                  <a:pt x="385630" y="599997"/>
                  <a:pt x="423180" y="584083"/>
                </a:cubicBezTo>
                <a:cubicBezTo>
                  <a:pt x="459409" y="568791"/>
                  <a:pt x="491906" y="546900"/>
                  <a:pt x="519816" y="519032"/>
                </a:cubicBezTo>
                <a:cubicBezTo>
                  <a:pt x="547726" y="491164"/>
                  <a:pt x="569649" y="458716"/>
                  <a:pt x="584965" y="422542"/>
                </a:cubicBezTo>
                <a:cubicBezTo>
                  <a:pt x="600902" y="385049"/>
                  <a:pt x="608910" y="345226"/>
                  <a:pt x="608910" y="304240"/>
                </a:cubicBezTo>
                <a:cubicBezTo>
                  <a:pt x="608910" y="263253"/>
                  <a:pt x="600902" y="223508"/>
                  <a:pt x="584965" y="186015"/>
                </a:cubicBezTo>
                <a:cubicBezTo>
                  <a:pt x="569649" y="149841"/>
                  <a:pt x="547726" y="117393"/>
                  <a:pt x="519816" y="89525"/>
                </a:cubicBezTo>
                <a:cubicBezTo>
                  <a:pt x="491906" y="61657"/>
                  <a:pt x="459409" y="39689"/>
                  <a:pt x="423180" y="24396"/>
                </a:cubicBezTo>
                <a:cubicBezTo>
                  <a:pt x="385630" y="8561"/>
                  <a:pt x="345747" y="565"/>
                  <a:pt x="304699" y="565"/>
                </a:cubicBezTo>
                <a:close/>
                <a:moveTo>
                  <a:pt x="304663" y="0"/>
                </a:moveTo>
                <a:cubicBezTo>
                  <a:pt x="345787" y="0"/>
                  <a:pt x="385745" y="8074"/>
                  <a:pt x="423294" y="23911"/>
                </a:cubicBezTo>
                <a:cubicBezTo>
                  <a:pt x="459598" y="39282"/>
                  <a:pt x="492171" y="61174"/>
                  <a:pt x="520158" y="89121"/>
                </a:cubicBezTo>
                <a:cubicBezTo>
                  <a:pt x="548144" y="117069"/>
                  <a:pt x="570067" y="149597"/>
                  <a:pt x="585459" y="185851"/>
                </a:cubicBezTo>
                <a:cubicBezTo>
                  <a:pt x="601318" y="223347"/>
                  <a:pt x="609403" y="263250"/>
                  <a:pt x="609403" y="304239"/>
                </a:cubicBezTo>
                <a:cubicBezTo>
                  <a:pt x="609403" y="345306"/>
                  <a:pt x="601318" y="385209"/>
                  <a:pt x="585459" y="422705"/>
                </a:cubicBezTo>
                <a:cubicBezTo>
                  <a:pt x="570067" y="458959"/>
                  <a:pt x="548144" y="491487"/>
                  <a:pt x="520158" y="519435"/>
                </a:cubicBezTo>
                <a:cubicBezTo>
                  <a:pt x="492171" y="547382"/>
                  <a:pt x="459598" y="569274"/>
                  <a:pt x="423294" y="584645"/>
                </a:cubicBezTo>
                <a:cubicBezTo>
                  <a:pt x="385745" y="600482"/>
                  <a:pt x="345787" y="608556"/>
                  <a:pt x="304663" y="608556"/>
                </a:cubicBezTo>
                <a:cubicBezTo>
                  <a:pt x="263616" y="608556"/>
                  <a:pt x="223658" y="600482"/>
                  <a:pt x="186109" y="584645"/>
                </a:cubicBezTo>
                <a:cubicBezTo>
                  <a:pt x="149805" y="569274"/>
                  <a:pt x="117232" y="547382"/>
                  <a:pt x="89245" y="519435"/>
                </a:cubicBezTo>
                <a:cubicBezTo>
                  <a:pt x="61259" y="491487"/>
                  <a:pt x="39336" y="458959"/>
                  <a:pt x="23944" y="422705"/>
                </a:cubicBezTo>
                <a:cubicBezTo>
                  <a:pt x="8085" y="385209"/>
                  <a:pt x="0" y="345306"/>
                  <a:pt x="0" y="304239"/>
                </a:cubicBezTo>
                <a:cubicBezTo>
                  <a:pt x="0" y="263250"/>
                  <a:pt x="8085" y="223347"/>
                  <a:pt x="23944" y="185851"/>
                </a:cubicBezTo>
                <a:cubicBezTo>
                  <a:pt x="39336" y="149597"/>
                  <a:pt x="61259" y="117069"/>
                  <a:pt x="89245" y="89121"/>
                </a:cubicBezTo>
                <a:cubicBezTo>
                  <a:pt x="117232" y="61174"/>
                  <a:pt x="149805" y="39282"/>
                  <a:pt x="186109" y="23911"/>
                </a:cubicBezTo>
                <a:cubicBezTo>
                  <a:pt x="223658" y="8074"/>
                  <a:pt x="263616" y="0"/>
                  <a:pt x="304663" y="0"/>
                </a:cubicBezTo>
                <a:close/>
              </a:path>
            </a:pathLst>
          </a:custGeom>
          <a:solidFill>
            <a:srgbClr val="008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C00000"/>
              </a:solidFill>
            </a:endParaRPr>
          </a:p>
        </p:txBody>
      </p:sp>
      <p:sp>
        <p:nvSpPr>
          <p:cNvPr id="1161" name="sad_2219">
            <a:extLst>
              <a:ext uri="{FF2B5EF4-FFF2-40B4-BE49-F238E27FC236}">
                <a16:creationId xmlns:a16="http://schemas.microsoft.com/office/drawing/2014/main" id="{F0898CCA-E4DF-0C4B-877F-691A7D07D227}"/>
              </a:ext>
            </a:extLst>
          </p:cNvPr>
          <p:cNvSpPr/>
          <p:nvPr/>
        </p:nvSpPr>
        <p:spPr>
          <a:xfrm>
            <a:off x="4875721" y="7481589"/>
            <a:ext cx="609685" cy="608783"/>
          </a:xfrm>
          <a:custGeom>
            <a:avLst/>
            <a:gdLst>
              <a:gd name="connsiteX0" fmla="*/ 280014 w 560027"/>
              <a:gd name="connsiteY0" fmla="*/ 326990 h 559338"/>
              <a:gd name="connsiteX1" fmla="*/ 357604 w 560027"/>
              <a:gd name="connsiteY1" fmla="*/ 357029 h 559338"/>
              <a:gd name="connsiteX2" fmla="*/ 392088 w 560027"/>
              <a:gd name="connsiteY2" fmla="*/ 421400 h 559338"/>
              <a:gd name="connsiteX3" fmla="*/ 333895 w 560027"/>
              <a:gd name="connsiteY3" fmla="*/ 389215 h 559338"/>
              <a:gd name="connsiteX4" fmla="*/ 282169 w 560027"/>
              <a:gd name="connsiteY4" fmla="*/ 376341 h 559338"/>
              <a:gd name="connsiteX5" fmla="*/ 228287 w 560027"/>
              <a:gd name="connsiteY5" fmla="*/ 391360 h 559338"/>
              <a:gd name="connsiteX6" fmla="*/ 167939 w 560027"/>
              <a:gd name="connsiteY6" fmla="*/ 421400 h 559338"/>
              <a:gd name="connsiteX7" fmla="*/ 206734 w 560027"/>
              <a:gd name="connsiteY7" fmla="*/ 359175 h 559338"/>
              <a:gd name="connsiteX8" fmla="*/ 280014 w 560027"/>
              <a:gd name="connsiteY8" fmla="*/ 326990 h 559338"/>
              <a:gd name="connsiteX9" fmla="*/ 376915 w 560027"/>
              <a:gd name="connsiteY9" fmla="*/ 150697 h 559338"/>
              <a:gd name="connsiteX10" fmla="*/ 422090 w 560027"/>
              <a:gd name="connsiteY10" fmla="*/ 195872 h 559338"/>
              <a:gd name="connsiteX11" fmla="*/ 376915 w 560027"/>
              <a:gd name="connsiteY11" fmla="*/ 241047 h 559338"/>
              <a:gd name="connsiteX12" fmla="*/ 331740 w 560027"/>
              <a:gd name="connsiteY12" fmla="*/ 195872 h 559338"/>
              <a:gd name="connsiteX13" fmla="*/ 376915 w 560027"/>
              <a:gd name="connsiteY13" fmla="*/ 150697 h 559338"/>
              <a:gd name="connsiteX14" fmla="*/ 186389 w 560027"/>
              <a:gd name="connsiteY14" fmla="*/ 150697 h 559338"/>
              <a:gd name="connsiteX15" fmla="*/ 232771 w 560027"/>
              <a:gd name="connsiteY15" fmla="*/ 195872 h 559338"/>
              <a:gd name="connsiteX16" fmla="*/ 186389 w 560027"/>
              <a:gd name="connsiteY16" fmla="*/ 241047 h 559338"/>
              <a:gd name="connsiteX17" fmla="*/ 140007 w 560027"/>
              <a:gd name="connsiteY17" fmla="*/ 195872 h 559338"/>
              <a:gd name="connsiteX18" fmla="*/ 186389 w 560027"/>
              <a:gd name="connsiteY18" fmla="*/ 150697 h 559338"/>
              <a:gd name="connsiteX19" fmla="*/ 280014 w 560027"/>
              <a:gd name="connsiteY19" fmla="*/ 32270 h 559338"/>
              <a:gd name="connsiteX20" fmla="*/ 32309 w 560027"/>
              <a:gd name="connsiteY20" fmla="*/ 279669 h 559338"/>
              <a:gd name="connsiteX21" fmla="*/ 280014 w 560027"/>
              <a:gd name="connsiteY21" fmla="*/ 527068 h 559338"/>
              <a:gd name="connsiteX22" fmla="*/ 527718 w 560027"/>
              <a:gd name="connsiteY22" fmla="*/ 279669 h 559338"/>
              <a:gd name="connsiteX23" fmla="*/ 280014 w 560027"/>
              <a:gd name="connsiteY23" fmla="*/ 32270 h 559338"/>
              <a:gd name="connsiteX24" fmla="*/ 280014 w 560027"/>
              <a:gd name="connsiteY24" fmla="*/ 0 h 559338"/>
              <a:gd name="connsiteX25" fmla="*/ 560027 w 560027"/>
              <a:gd name="connsiteY25" fmla="*/ 279669 h 559338"/>
              <a:gd name="connsiteX26" fmla="*/ 280014 w 560027"/>
              <a:gd name="connsiteY26" fmla="*/ 559338 h 559338"/>
              <a:gd name="connsiteX27" fmla="*/ 0 w 560027"/>
              <a:gd name="connsiteY27" fmla="*/ 279669 h 559338"/>
              <a:gd name="connsiteX28" fmla="*/ 280014 w 560027"/>
              <a:gd name="connsiteY28" fmla="*/ 0 h 559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60027" h="559338">
                <a:moveTo>
                  <a:pt x="280014" y="326990"/>
                </a:moveTo>
                <a:cubicBezTo>
                  <a:pt x="310187" y="324844"/>
                  <a:pt x="338206" y="337718"/>
                  <a:pt x="357604" y="357029"/>
                </a:cubicBezTo>
                <a:cubicBezTo>
                  <a:pt x="374846" y="374195"/>
                  <a:pt x="387777" y="397797"/>
                  <a:pt x="392088" y="421400"/>
                </a:cubicBezTo>
                <a:cubicBezTo>
                  <a:pt x="370535" y="408526"/>
                  <a:pt x="353293" y="397797"/>
                  <a:pt x="333895" y="389215"/>
                </a:cubicBezTo>
                <a:cubicBezTo>
                  <a:pt x="316653" y="380632"/>
                  <a:pt x="299411" y="376341"/>
                  <a:pt x="282169" y="376341"/>
                </a:cubicBezTo>
                <a:cubicBezTo>
                  <a:pt x="264927" y="376341"/>
                  <a:pt x="247684" y="382778"/>
                  <a:pt x="228287" y="391360"/>
                </a:cubicBezTo>
                <a:cubicBezTo>
                  <a:pt x="208889" y="399943"/>
                  <a:pt x="189492" y="410672"/>
                  <a:pt x="167939" y="421400"/>
                </a:cubicBezTo>
                <a:cubicBezTo>
                  <a:pt x="174405" y="397797"/>
                  <a:pt x="187337" y="376341"/>
                  <a:pt x="206734" y="359175"/>
                </a:cubicBezTo>
                <a:cubicBezTo>
                  <a:pt x="226132" y="342010"/>
                  <a:pt x="251995" y="329135"/>
                  <a:pt x="280014" y="326990"/>
                </a:cubicBezTo>
                <a:close/>
                <a:moveTo>
                  <a:pt x="376915" y="150697"/>
                </a:moveTo>
                <a:cubicBezTo>
                  <a:pt x="401864" y="150697"/>
                  <a:pt x="422090" y="170923"/>
                  <a:pt x="422090" y="195872"/>
                </a:cubicBezTo>
                <a:cubicBezTo>
                  <a:pt x="422090" y="220821"/>
                  <a:pt x="401864" y="241047"/>
                  <a:pt x="376915" y="241047"/>
                </a:cubicBezTo>
                <a:cubicBezTo>
                  <a:pt x="351966" y="241047"/>
                  <a:pt x="331740" y="220821"/>
                  <a:pt x="331740" y="195872"/>
                </a:cubicBezTo>
                <a:cubicBezTo>
                  <a:pt x="331740" y="170923"/>
                  <a:pt x="351966" y="150697"/>
                  <a:pt x="376915" y="150697"/>
                </a:cubicBezTo>
                <a:close/>
                <a:moveTo>
                  <a:pt x="186389" y="150697"/>
                </a:moveTo>
                <a:cubicBezTo>
                  <a:pt x="212005" y="150697"/>
                  <a:pt x="232771" y="170923"/>
                  <a:pt x="232771" y="195872"/>
                </a:cubicBezTo>
                <a:cubicBezTo>
                  <a:pt x="232771" y="220821"/>
                  <a:pt x="212005" y="241047"/>
                  <a:pt x="186389" y="241047"/>
                </a:cubicBezTo>
                <a:cubicBezTo>
                  <a:pt x="160773" y="241047"/>
                  <a:pt x="140007" y="220821"/>
                  <a:pt x="140007" y="195872"/>
                </a:cubicBezTo>
                <a:cubicBezTo>
                  <a:pt x="140007" y="170923"/>
                  <a:pt x="160773" y="150697"/>
                  <a:pt x="186389" y="150697"/>
                </a:cubicBezTo>
                <a:close/>
                <a:moveTo>
                  <a:pt x="280014" y="32270"/>
                </a:moveTo>
                <a:cubicBezTo>
                  <a:pt x="144315" y="32270"/>
                  <a:pt x="32309" y="144137"/>
                  <a:pt x="32309" y="279669"/>
                </a:cubicBezTo>
                <a:cubicBezTo>
                  <a:pt x="32309" y="415201"/>
                  <a:pt x="144315" y="527068"/>
                  <a:pt x="280014" y="527068"/>
                </a:cubicBezTo>
                <a:cubicBezTo>
                  <a:pt x="415712" y="527068"/>
                  <a:pt x="527718" y="415201"/>
                  <a:pt x="527718" y="279669"/>
                </a:cubicBezTo>
                <a:cubicBezTo>
                  <a:pt x="527718" y="144137"/>
                  <a:pt x="415712" y="32270"/>
                  <a:pt x="280014" y="32270"/>
                </a:cubicBezTo>
                <a:close/>
                <a:moveTo>
                  <a:pt x="280014" y="0"/>
                </a:moveTo>
                <a:cubicBezTo>
                  <a:pt x="435098" y="0"/>
                  <a:pt x="560027" y="124775"/>
                  <a:pt x="560027" y="279669"/>
                </a:cubicBezTo>
                <a:cubicBezTo>
                  <a:pt x="560027" y="434563"/>
                  <a:pt x="435098" y="559338"/>
                  <a:pt x="280014" y="559338"/>
                </a:cubicBezTo>
                <a:cubicBezTo>
                  <a:pt x="124929" y="559338"/>
                  <a:pt x="0" y="434563"/>
                  <a:pt x="0" y="279669"/>
                </a:cubicBezTo>
                <a:cubicBezTo>
                  <a:pt x="0" y="124775"/>
                  <a:pt x="124929" y="0"/>
                  <a:pt x="280014"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5" name="smiley-with-closed-eyes-rounded-square-face_42862">
            <a:extLst>
              <a:ext uri="{FF2B5EF4-FFF2-40B4-BE49-F238E27FC236}">
                <a16:creationId xmlns:a16="http://schemas.microsoft.com/office/drawing/2014/main" id="{BC489E15-3113-3E42-8522-3FDDE261F602}"/>
              </a:ext>
            </a:extLst>
          </p:cNvPr>
          <p:cNvSpPr>
            <a:spLocks noChangeAspect="1"/>
          </p:cNvSpPr>
          <p:nvPr/>
        </p:nvSpPr>
        <p:spPr>
          <a:xfrm>
            <a:off x="4845469" y="6553877"/>
            <a:ext cx="681502" cy="713487"/>
          </a:xfrm>
          <a:custGeom>
            <a:avLst/>
            <a:gdLst>
              <a:gd name="T0" fmla="*/ 1276 w 1552"/>
              <a:gd name="T1" fmla="*/ 276 h 1552"/>
              <a:gd name="T2" fmla="*/ 276 w 1552"/>
              <a:gd name="T3" fmla="*/ 276 h 1552"/>
              <a:gd name="T4" fmla="*/ 276 w 1552"/>
              <a:gd name="T5" fmla="*/ 1276 h 1552"/>
              <a:gd name="T6" fmla="*/ 1276 w 1552"/>
              <a:gd name="T7" fmla="*/ 1276 h 1552"/>
              <a:gd name="T8" fmla="*/ 1276 w 1552"/>
              <a:gd name="T9" fmla="*/ 276 h 1552"/>
              <a:gd name="T10" fmla="*/ 1199 w 1552"/>
              <a:gd name="T11" fmla="*/ 1199 h 1552"/>
              <a:gd name="T12" fmla="*/ 353 w 1552"/>
              <a:gd name="T13" fmla="*/ 1199 h 1552"/>
              <a:gd name="T14" fmla="*/ 353 w 1552"/>
              <a:gd name="T15" fmla="*/ 353 h 1552"/>
              <a:gd name="T16" fmla="*/ 1199 w 1552"/>
              <a:gd name="T17" fmla="*/ 353 h 1552"/>
              <a:gd name="T18" fmla="*/ 1199 w 1552"/>
              <a:gd name="T19" fmla="*/ 1199 h 1552"/>
              <a:gd name="T20" fmla="*/ 513 w 1552"/>
              <a:gd name="T21" fmla="*/ 661 h 1552"/>
              <a:gd name="T22" fmla="*/ 466 w 1552"/>
              <a:gd name="T23" fmla="*/ 661 h 1552"/>
              <a:gd name="T24" fmla="*/ 456 w 1552"/>
              <a:gd name="T25" fmla="*/ 654 h 1552"/>
              <a:gd name="T26" fmla="*/ 455 w 1552"/>
              <a:gd name="T27" fmla="*/ 650 h 1552"/>
              <a:gd name="T28" fmla="*/ 457 w 1552"/>
              <a:gd name="T29" fmla="*/ 643 h 1552"/>
              <a:gd name="T30" fmla="*/ 560 w 1552"/>
              <a:gd name="T31" fmla="*/ 513 h 1552"/>
              <a:gd name="T32" fmla="*/ 568 w 1552"/>
              <a:gd name="T33" fmla="*/ 509 h 1552"/>
              <a:gd name="T34" fmla="*/ 577 w 1552"/>
              <a:gd name="T35" fmla="*/ 513 h 1552"/>
              <a:gd name="T36" fmla="*/ 679 w 1552"/>
              <a:gd name="T37" fmla="*/ 643 h 1552"/>
              <a:gd name="T38" fmla="*/ 681 w 1552"/>
              <a:gd name="T39" fmla="*/ 654 h 1552"/>
              <a:gd name="T40" fmla="*/ 671 w 1552"/>
              <a:gd name="T41" fmla="*/ 661 h 1552"/>
              <a:gd name="T42" fmla="*/ 623 w 1552"/>
              <a:gd name="T43" fmla="*/ 661 h 1552"/>
              <a:gd name="T44" fmla="*/ 617 w 1552"/>
              <a:gd name="T45" fmla="*/ 658 h 1552"/>
              <a:gd name="T46" fmla="*/ 568 w 1552"/>
              <a:gd name="T47" fmla="*/ 595 h 1552"/>
              <a:gd name="T48" fmla="*/ 519 w 1552"/>
              <a:gd name="T49" fmla="*/ 658 h 1552"/>
              <a:gd name="T50" fmla="*/ 513 w 1552"/>
              <a:gd name="T51" fmla="*/ 661 h 1552"/>
              <a:gd name="T52" fmla="*/ 1108 w 1552"/>
              <a:gd name="T53" fmla="*/ 643 h 1552"/>
              <a:gd name="T54" fmla="*/ 1109 w 1552"/>
              <a:gd name="T55" fmla="*/ 654 h 1552"/>
              <a:gd name="T56" fmla="*/ 1099 w 1552"/>
              <a:gd name="T57" fmla="*/ 661 h 1552"/>
              <a:gd name="T58" fmla="*/ 1052 w 1552"/>
              <a:gd name="T59" fmla="*/ 661 h 1552"/>
              <a:gd name="T60" fmla="*/ 1046 w 1552"/>
              <a:gd name="T61" fmla="*/ 658 h 1552"/>
              <a:gd name="T62" fmla="*/ 996 w 1552"/>
              <a:gd name="T63" fmla="*/ 595 h 1552"/>
              <a:gd name="T64" fmla="*/ 947 w 1552"/>
              <a:gd name="T65" fmla="*/ 658 h 1552"/>
              <a:gd name="T66" fmla="*/ 941 w 1552"/>
              <a:gd name="T67" fmla="*/ 661 h 1552"/>
              <a:gd name="T68" fmla="*/ 894 w 1552"/>
              <a:gd name="T69" fmla="*/ 661 h 1552"/>
              <a:gd name="T70" fmla="*/ 884 w 1552"/>
              <a:gd name="T71" fmla="*/ 654 h 1552"/>
              <a:gd name="T72" fmla="*/ 883 w 1552"/>
              <a:gd name="T73" fmla="*/ 650 h 1552"/>
              <a:gd name="T74" fmla="*/ 885 w 1552"/>
              <a:gd name="T75" fmla="*/ 643 h 1552"/>
              <a:gd name="T76" fmla="*/ 988 w 1552"/>
              <a:gd name="T77" fmla="*/ 513 h 1552"/>
              <a:gd name="T78" fmla="*/ 996 w 1552"/>
              <a:gd name="T79" fmla="*/ 509 h 1552"/>
              <a:gd name="T80" fmla="*/ 1005 w 1552"/>
              <a:gd name="T81" fmla="*/ 513 h 1552"/>
              <a:gd name="T82" fmla="*/ 1108 w 1552"/>
              <a:gd name="T83" fmla="*/ 643 h 1552"/>
              <a:gd name="T84" fmla="*/ 1083 w 1552"/>
              <a:gd name="T85" fmla="*/ 923 h 1552"/>
              <a:gd name="T86" fmla="*/ 777 w 1552"/>
              <a:gd name="T87" fmla="*/ 1118 h 1552"/>
              <a:gd name="T88" fmla="*/ 469 w 1552"/>
              <a:gd name="T89" fmla="*/ 922 h 1552"/>
              <a:gd name="T90" fmla="*/ 491 w 1552"/>
              <a:gd name="T91" fmla="*/ 870 h 1552"/>
              <a:gd name="T92" fmla="*/ 506 w 1552"/>
              <a:gd name="T93" fmla="*/ 867 h 1552"/>
              <a:gd name="T94" fmla="*/ 543 w 1552"/>
              <a:gd name="T95" fmla="*/ 892 h 1552"/>
              <a:gd name="T96" fmla="*/ 777 w 1552"/>
              <a:gd name="T97" fmla="*/ 1038 h 1552"/>
              <a:gd name="T98" fmla="*/ 1009 w 1552"/>
              <a:gd name="T99" fmla="*/ 891 h 1552"/>
              <a:gd name="T100" fmla="*/ 1062 w 1552"/>
              <a:gd name="T101" fmla="*/ 871 h 1552"/>
              <a:gd name="T102" fmla="*/ 1083 w 1552"/>
              <a:gd name="T103" fmla="*/ 923 h 1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52" h="1552">
                <a:moveTo>
                  <a:pt x="1276" y="276"/>
                </a:moveTo>
                <a:cubicBezTo>
                  <a:pt x="1000" y="0"/>
                  <a:pt x="552" y="0"/>
                  <a:pt x="276" y="276"/>
                </a:cubicBezTo>
                <a:cubicBezTo>
                  <a:pt x="0" y="552"/>
                  <a:pt x="0" y="1000"/>
                  <a:pt x="276" y="1276"/>
                </a:cubicBezTo>
                <a:cubicBezTo>
                  <a:pt x="552" y="1552"/>
                  <a:pt x="1000" y="1552"/>
                  <a:pt x="1276" y="1276"/>
                </a:cubicBezTo>
                <a:cubicBezTo>
                  <a:pt x="1552" y="1000"/>
                  <a:pt x="1552" y="552"/>
                  <a:pt x="1276" y="276"/>
                </a:cubicBezTo>
                <a:close/>
                <a:moveTo>
                  <a:pt x="1199" y="1199"/>
                </a:moveTo>
                <a:cubicBezTo>
                  <a:pt x="966" y="1432"/>
                  <a:pt x="586" y="1432"/>
                  <a:pt x="353" y="1199"/>
                </a:cubicBezTo>
                <a:cubicBezTo>
                  <a:pt x="120" y="966"/>
                  <a:pt x="120" y="586"/>
                  <a:pt x="353" y="353"/>
                </a:cubicBezTo>
                <a:cubicBezTo>
                  <a:pt x="586" y="120"/>
                  <a:pt x="966" y="120"/>
                  <a:pt x="1199" y="353"/>
                </a:cubicBezTo>
                <a:cubicBezTo>
                  <a:pt x="1432" y="586"/>
                  <a:pt x="1432" y="966"/>
                  <a:pt x="1199" y="1199"/>
                </a:cubicBezTo>
                <a:close/>
                <a:moveTo>
                  <a:pt x="513" y="661"/>
                </a:moveTo>
                <a:lnTo>
                  <a:pt x="466" y="661"/>
                </a:lnTo>
                <a:cubicBezTo>
                  <a:pt x="461" y="661"/>
                  <a:pt x="458" y="658"/>
                  <a:pt x="456" y="654"/>
                </a:cubicBezTo>
                <a:cubicBezTo>
                  <a:pt x="455" y="653"/>
                  <a:pt x="455" y="651"/>
                  <a:pt x="455" y="650"/>
                </a:cubicBezTo>
                <a:cubicBezTo>
                  <a:pt x="455" y="647"/>
                  <a:pt x="456" y="645"/>
                  <a:pt x="457" y="643"/>
                </a:cubicBezTo>
                <a:lnTo>
                  <a:pt x="560" y="513"/>
                </a:lnTo>
                <a:cubicBezTo>
                  <a:pt x="562" y="510"/>
                  <a:pt x="565" y="509"/>
                  <a:pt x="568" y="509"/>
                </a:cubicBezTo>
                <a:cubicBezTo>
                  <a:pt x="572" y="509"/>
                  <a:pt x="575" y="510"/>
                  <a:pt x="577" y="513"/>
                </a:cubicBezTo>
                <a:lnTo>
                  <a:pt x="679" y="643"/>
                </a:lnTo>
                <a:cubicBezTo>
                  <a:pt x="682" y="646"/>
                  <a:pt x="682" y="651"/>
                  <a:pt x="681" y="654"/>
                </a:cubicBezTo>
                <a:cubicBezTo>
                  <a:pt x="679" y="658"/>
                  <a:pt x="675" y="661"/>
                  <a:pt x="671" y="661"/>
                </a:cubicBezTo>
                <a:lnTo>
                  <a:pt x="623" y="661"/>
                </a:lnTo>
                <a:cubicBezTo>
                  <a:pt x="621" y="661"/>
                  <a:pt x="619" y="659"/>
                  <a:pt x="617" y="658"/>
                </a:cubicBezTo>
                <a:lnTo>
                  <a:pt x="568" y="595"/>
                </a:lnTo>
                <a:lnTo>
                  <a:pt x="519" y="658"/>
                </a:lnTo>
                <a:cubicBezTo>
                  <a:pt x="518" y="659"/>
                  <a:pt x="515" y="661"/>
                  <a:pt x="513" y="661"/>
                </a:cubicBezTo>
                <a:close/>
                <a:moveTo>
                  <a:pt x="1108" y="643"/>
                </a:moveTo>
                <a:cubicBezTo>
                  <a:pt x="1110" y="646"/>
                  <a:pt x="1111" y="651"/>
                  <a:pt x="1109" y="654"/>
                </a:cubicBezTo>
                <a:cubicBezTo>
                  <a:pt x="1107" y="658"/>
                  <a:pt x="1103" y="661"/>
                  <a:pt x="1099" y="661"/>
                </a:cubicBezTo>
                <a:lnTo>
                  <a:pt x="1052" y="661"/>
                </a:lnTo>
                <a:cubicBezTo>
                  <a:pt x="1049" y="661"/>
                  <a:pt x="1047" y="659"/>
                  <a:pt x="1046" y="658"/>
                </a:cubicBezTo>
                <a:lnTo>
                  <a:pt x="996" y="595"/>
                </a:lnTo>
                <a:lnTo>
                  <a:pt x="947" y="658"/>
                </a:lnTo>
                <a:cubicBezTo>
                  <a:pt x="946" y="659"/>
                  <a:pt x="944" y="661"/>
                  <a:pt x="941" y="661"/>
                </a:cubicBezTo>
                <a:lnTo>
                  <a:pt x="894" y="661"/>
                </a:lnTo>
                <a:cubicBezTo>
                  <a:pt x="890" y="661"/>
                  <a:pt x="886" y="658"/>
                  <a:pt x="884" y="654"/>
                </a:cubicBezTo>
                <a:cubicBezTo>
                  <a:pt x="883" y="653"/>
                  <a:pt x="883" y="651"/>
                  <a:pt x="883" y="650"/>
                </a:cubicBezTo>
                <a:cubicBezTo>
                  <a:pt x="883" y="647"/>
                  <a:pt x="884" y="645"/>
                  <a:pt x="885" y="643"/>
                </a:cubicBezTo>
                <a:lnTo>
                  <a:pt x="988" y="513"/>
                </a:lnTo>
                <a:cubicBezTo>
                  <a:pt x="990" y="510"/>
                  <a:pt x="993" y="509"/>
                  <a:pt x="996" y="509"/>
                </a:cubicBezTo>
                <a:cubicBezTo>
                  <a:pt x="1000" y="509"/>
                  <a:pt x="1003" y="510"/>
                  <a:pt x="1005" y="513"/>
                </a:cubicBezTo>
                <a:lnTo>
                  <a:pt x="1108" y="643"/>
                </a:lnTo>
                <a:close/>
                <a:moveTo>
                  <a:pt x="1083" y="923"/>
                </a:moveTo>
                <a:cubicBezTo>
                  <a:pt x="1031" y="1042"/>
                  <a:pt x="911" y="1118"/>
                  <a:pt x="777" y="1118"/>
                </a:cubicBezTo>
                <a:cubicBezTo>
                  <a:pt x="640" y="1118"/>
                  <a:pt x="519" y="1041"/>
                  <a:pt x="469" y="922"/>
                </a:cubicBezTo>
                <a:cubicBezTo>
                  <a:pt x="461" y="902"/>
                  <a:pt x="471" y="878"/>
                  <a:pt x="491" y="870"/>
                </a:cubicBezTo>
                <a:cubicBezTo>
                  <a:pt x="496" y="868"/>
                  <a:pt x="501" y="867"/>
                  <a:pt x="506" y="867"/>
                </a:cubicBezTo>
                <a:cubicBezTo>
                  <a:pt x="522" y="867"/>
                  <a:pt x="537" y="876"/>
                  <a:pt x="543" y="892"/>
                </a:cubicBezTo>
                <a:cubicBezTo>
                  <a:pt x="580" y="981"/>
                  <a:pt x="672" y="1038"/>
                  <a:pt x="777" y="1038"/>
                </a:cubicBezTo>
                <a:cubicBezTo>
                  <a:pt x="879" y="1038"/>
                  <a:pt x="971" y="981"/>
                  <a:pt x="1009" y="891"/>
                </a:cubicBezTo>
                <a:cubicBezTo>
                  <a:pt x="1018" y="871"/>
                  <a:pt x="1041" y="862"/>
                  <a:pt x="1062" y="871"/>
                </a:cubicBezTo>
                <a:cubicBezTo>
                  <a:pt x="1082" y="879"/>
                  <a:pt x="1091" y="903"/>
                  <a:pt x="1083" y="923"/>
                </a:cubicBezTo>
                <a:close/>
              </a:path>
            </a:pathLst>
          </a:custGeom>
          <a:solidFill>
            <a:srgbClr val="BA9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组合 19">
            <a:extLst>
              <a:ext uri="{FF2B5EF4-FFF2-40B4-BE49-F238E27FC236}">
                <a16:creationId xmlns:a16="http://schemas.microsoft.com/office/drawing/2014/main" id="{8A288040-1293-5F49-B1DC-FAB417FA56E5}"/>
              </a:ext>
            </a:extLst>
          </p:cNvPr>
          <p:cNvGrpSpPr/>
          <p:nvPr/>
        </p:nvGrpSpPr>
        <p:grpSpPr>
          <a:xfrm>
            <a:off x="1876483" y="1870949"/>
            <a:ext cx="2933700" cy="2933700"/>
            <a:chOff x="2273300" y="3111500"/>
            <a:chExt cx="2933700" cy="2933700"/>
          </a:xfrm>
        </p:grpSpPr>
        <p:pic>
          <p:nvPicPr>
            <p:cNvPr id="4" name="Picture 4"/>
            <p:cNvPicPr>
              <a:picLocks noChangeAspect="1"/>
            </p:cNvPicPr>
            <p:nvPr/>
          </p:nvPicPr>
          <p:blipFill>
            <a:blip r:embed="rId2"/>
            <a:stretch>
              <a:fillRect/>
            </a:stretch>
          </p:blipFill>
          <p:spPr>
            <a:xfrm>
              <a:off x="2273300" y="3111500"/>
              <a:ext cx="2933700" cy="2933700"/>
            </a:xfrm>
            <a:prstGeom prst="rect">
              <a:avLst/>
            </a:prstGeom>
          </p:spPr>
        </p:pic>
        <p:sp>
          <p:nvSpPr>
            <p:cNvPr id="6" name="TextBox 6"/>
            <p:cNvSpPr txBox="1"/>
            <p:nvPr/>
          </p:nvSpPr>
          <p:spPr>
            <a:xfrm>
              <a:off x="2487463" y="4595362"/>
              <a:ext cx="2608891" cy="952500"/>
            </a:xfrm>
            <a:prstGeom prst="rect">
              <a:avLst/>
            </a:prstGeom>
          </p:spPr>
          <p:txBody>
            <a:bodyPr lIns="0" tIns="0" rIns="0" bIns="0" rtlCol="0" anchor="t"/>
            <a:lstStyle/>
            <a:p>
              <a:pPr algn="ctr">
                <a:lnSpc>
                  <a:spcPct val="105000"/>
                </a:lnSpc>
              </a:pPr>
              <a:r>
                <a:rPr lang="en-US" sz="4000" dirty="0">
                  <a:solidFill>
                    <a:srgbClr val="FAFDFF"/>
                  </a:solidFill>
                  <a:latin typeface="Times New Roman" panose="02020603050405020304" pitchFamily="18" charset="0"/>
                  <a:cs typeface="Times New Roman" panose="02020603050405020304" pitchFamily="18" charset="0"/>
                </a:rPr>
                <a:t>Purpose</a:t>
              </a:r>
            </a:p>
          </p:txBody>
        </p:sp>
      </p:grpSp>
      <p:grpSp>
        <p:nvGrpSpPr>
          <p:cNvPr id="19" name="组合 18">
            <a:extLst>
              <a:ext uri="{FF2B5EF4-FFF2-40B4-BE49-F238E27FC236}">
                <a16:creationId xmlns:a16="http://schemas.microsoft.com/office/drawing/2014/main" id="{A7F6CF9C-764B-1841-9145-D5C434A8281F}"/>
              </a:ext>
            </a:extLst>
          </p:cNvPr>
          <p:cNvGrpSpPr/>
          <p:nvPr/>
        </p:nvGrpSpPr>
        <p:grpSpPr>
          <a:xfrm>
            <a:off x="1934592" y="5279102"/>
            <a:ext cx="2933700" cy="2933700"/>
            <a:chOff x="5207000" y="3111500"/>
            <a:chExt cx="2933700" cy="2933700"/>
          </a:xfrm>
        </p:grpSpPr>
        <p:pic>
          <p:nvPicPr>
            <p:cNvPr id="3" name="Picture 3"/>
            <p:cNvPicPr>
              <a:picLocks noChangeAspect="1"/>
            </p:cNvPicPr>
            <p:nvPr/>
          </p:nvPicPr>
          <p:blipFill>
            <a:blip r:embed="rId3"/>
            <a:stretch>
              <a:fillRect/>
            </a:stretch>
          </p:blipFill>
          <p:spPr>
            <a:xfrm>
              <a:off x="5207000" y="3111500"/>
              <a:ext cx="2933700" cy="2933700"/>
            </a:xfrm>
            <a:prstGeom prst="rect">
              <a:avLst/>
            </a:prstGeom>
          </p:spPr>
        </p:pic>
        <p:sp>
          <p:nvSpPr>
            <p:cNvPr id="8" name="TextBox 8"/>
            <p:cNvSpPr txBox="1"/>
            <p:nvPr/>
          </p:nvSpPr>
          <p:spPr>
            <a:xfrm>
              <a:off x="5363053" y="4584700"/>
              <a:ext cx="2719537" cy="952500"/>
            </a:xfrm>
            <a:prstGeom prst="rect">
              <a:avLst/>
            </a:prstGeom>
          </p:spPr>
          <p:txBody>
            <a:bodyPr lIns="0" tIns="0" rIns="0" bIns="0" rtlCol="0" anchor="t"/>
            <a:lstStyle/>
            <a:p>
              <a:pPr algn="ctr">
                <a:lnSpc>
                  <a:spcPct val="105000"/>
                </a:lnSpc>
              </a:pPr>
              <a:r>
                <a:rPr lang="en-US" sz="4000" dirty="0" err="1">
                  <a:solidFill>
                    <a:srgbClr val="FFFFFF"/>
                  </a:solidFill>
                  <a:latin typeface="Times New Roman" panose="02020603050405020304" pitchFamily="18" charset="0"/>
                  <a:cs typeface="Times New Roman" panose="02020603050405020304" pitchFamily="18" charset="0"/>
                </a:rPr>
                <a:t>Siginificance</a:t>
              </a:r>
              <a:endParaRPr lang="en-US" sz="1800" dirty="0">
                <a:solidFill>
                  <a:srgbClr val="FFFFFF"/>
                </a:solidFill>
                <a:latin typeface="Times New Roman" panose="02020603050405020304" pitchFamily="18" charset="0"/>
                <a:cs typeface="Times New Roman" panose="02020603050405020304" pitchFamily="18" charset="0"/>
              </a:endParaRPr>
            </a:p>
          </p:txBody>
        </p:sp>
      </p:grpSp>
      <p:sp>
        <p:nvSpPr>
          <p:cNvPr id="14" name="TextBox 14"/>
          <p:cNvSpPr txBox="1"/>
          <p:nvPr/>
        </p:nvSpPr>
        <p:spPr>
          <a:xfrm>
            <a:off x="13610685" y="679701"/>
            <a:ext cx="4454825" cy="558797"/>
          </a:xfrm>
          <a:prstGeom prst="rect">
            <a:avLst/>
          </a:prstGeom>
        </p:spPr>
        <p:txBody>
          <a:bodyPr lIns="0" tIns="0" rIns="0" bIns="0" rtlCol="0" anchor="t"/>
          <a:lstStyle/>
          <a:p>
            <a:r>
              <a:rPr kumimoji="1" lang="en-US" altLang="zh-CN" sz="4000" b="1" dirty="0">
                <a:solidFill>
                  <a:srgbClr val="475B7C"/>
                </a:solidFill>
                <a:latin typeface="Times New Roman" panose="02020603050405020304" pitchFamily="18" charset="0"/>
                <a:cs typeface="Times New Roman" panose="02020603050405020304" pitchFamily="18" charset="0"/>
              </a:rPr>
              <a:t>RSRS</a:t>
            </a:r>
            <a:r>
              <a:rPr kumimoji="1" lang="zh-CN" altLang="en-US" sz="4000" b="1" dirty="0">
                <a:solidFill>
                  <a:srgbClr val="475B7C"/>
                </a:solidFill>
                <a:latin typeface="Times New Roman" panose="02020603050405020304" pitchFamily="18" charset="0"/>
                <a:cs typeface="Times New Roman" panose="02020603050405020304" pitchFamily="18" charset="0"/>
              </a:rPr>
              <a:t> </a:t>
            </a:r>
            <a:endParaRPr kumimoji="1" lang="en-US" altLang="zh-CN" sz="4000" b="1" dirty="0">
              <a:solidFill>
                <a:srgbClr val="475B7C"/>
              </a:solidFill>
              <a:latin typeface="Times New Roman" panose="02020603050405020304" pitchFamily="18" charset="0"/>
              <a:cs typeface="Times New Roman" panose="02020603050405020304" pitchFamily="18" charset="0"/>
            </a:endParaRPr>
          </a:p>
        </p:txBody>
      </p:sp>
      <p:pic>
        <p:nvPicPr>
          <p:cNvPr id="15" name="Picture 15"/>
          <p:cNvPicPr>
            <a:picLocks noChangeAspect="1"/>
          </p:cNvPicPr>
          <p:nvPr/>
        </p:nvPicPr>
        <p:blipFill>
          <a:blip r:embed="rId4"/>
          <a:stretch>
            <a:fillRect/>
          </a:stretch>
        </p:blipFill>
        <p:spPr>
          <a:xfrm>
            <a:off x="13119100" y="533400"/>
            <a:ext cx="2540000" cy="101600"/>
          </a:xfrm>
          <a:prstGeom prst="rect">
            <a:avLst/>
          </a:prstGeom>
        </p:spPr>
      </p:pic>
      <p:sp>
        <p:nvSpPr>
          <p:cNvPr id="16" name="AutoShape 16"/>
          <p:cNvSpPr/>
          <p:nvPr/>
        </p:nvSpPr>
        <p:spPr>
          <a:xfrm rot="10800000">
            <a:off x="6057900" y="0"/>
            <a:ext cx="4152900" cy="736600"/>
          </a:xfrm>
          <a:prstGeom prst="rect">
            <a:avLst/>
          </a:prstGeom>
          <a:blipFill>
            <a:blip r:embed="rId5" cstate="print">
              <a:alphaModFix amt="30000"/>
            </a:blip>
            <a:srcRect/>
            <a:stretch>
              <a:fillRect/>
            </a:stretch>
          </a:blipFill>
        </p:spPr>
        <p:txBody>
          <a:bodyPr/>
          <a:lstStyle/>
          <a:p>
            <a:endParaRPr lang="zh-CN" altLang="en-US"/>
          </a:p>
        </p:txBody>
      </p:sp>
      <p:sp>
        <p:nvSpPr>
          <p:cNvPr id="17" name="AutoShape 17"/>
          <p:cNvSpPr/>
          <p:nvPr/>
        </p:nvSpPr>
        <p:spPr>
          <a:xfrm>
            <a:off x="6057900" y="8407400"/>
            <a:ext cx="4152900" cy="736600"/>
          </a:xfrm>
          <a:prstGeom prst="rect">
            <a:avLst/>
          </a:prstGeom>
          <a:blipFill>
            <a:blip r:embed="rId5" cstate="print">
              <a:alphaModFix amt="30000"/>
            </a:blip>
            <a:srcRect/>
            <a:stretch>
              <a:fillRect/>
            </a:stretch>
          </a:blipFill>
        </p:spPr>
        <p:txBody>
          <a:bodyPr/>
          <a:lstStyle/>
          <a:p>
            <a:endParaRPr lang="zh-CN" altLang="en-US"/>
          </a:p>
        </p:txBody>
      </p:sp>
      <p:cxnSp>
        <p:nvCxnSpPr>
          <p:cNvPr id="22" name="直线连接符 21">
            <a:extLst>
              <a:ext uri="{FF2B5EF4-FFF2-40B4-BE49-F238E27FC236}">
                <a16:creationId xmlns:a16="http://schemas.microsoft.com/office/drawing/2014/main" id="{4AAE5E3D-0DC9-7F40-8BA4-839D13E1CE95}"/>
              </a:ext>
            </a:extLst>
          </p:cNvPr>
          <p:cNvCxnSpPr/>
          <p:nvPr/>
        </p:nvCxnSpPr>
        <p:spPr>
          <a:xfrm>
            <a:off x="1104182" y="5102261"/>
            <a:ext cx="14889192"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5" name="文本框 24">
            <a:extLst>
              <a:ext uri="{FF2B5EF4-FFF2-40B4-BE49-F238E27FC236}">
                <a16:creationId xmlns:a16="http://schemas.microsoft.com/office/drawing/2014/main" id="{89667CD3-E194-3646-98D4-A3A6F60D4D97}"/>
              </a:ext>
            </a:extLst>
          </p:cNvPr>
          <p:cNvSpPr txBox="1"/>
          <p:nvPr/>
        </p:nvSpPr>
        <p:spPr>
          <a:xfrm>
            <a:off x="5262113" y="1607362"/>
            <a:ext cx="10575985" cy="3420000"/>
          </a:xfrm>
          <a:prstGeom prst="rect">
            <a:avLst/>
          </a:prstGeom>
          <a:noFill/>
          <a:ln>
            <a:solidFill>
              <a:srgbClr val="475B7C"/>
            </a:solidFill>
          </a:ln>
        </p:spPr>
        <p:txBody>
          <a:bodyPr wrap="square" rtlCol="0">
            <a:spAutoFit/>
          </a:bodyPr>
          <a:lstStyle/>
          <a:p>
            <a:endParaRPr kumimoji="1" lang="zh-CN" altLang="en-US" dirty="0"/>
          </a:p>
        </p:txBody>
      </p:sp>
      <p:sp>
        <p:nvSpPr>
          <p:cNvPr id="26" name="文本框 25">
            <a:extLst>
              <a:ext uri="{FF2B5EF4-FFF2-40B4-BE49-F238E27FC236}">
                <a16:creationId xmlns:a16="http://schemas.microsoft.com/office/drawing/2014/main" id="{331E0561-C433-C24C-B723-BA16B1E3D9A5}"/>
              </a:ext>
            </a:extLst>
          </p:cNvPr>
          <p:cNvSpPr txBox="1"/>
          <p:nvPr/>
        </p:nvSpPr>
        <p:spPr>
          <a:xfrm>
            <a:off x="5262113" y="5171034"/>
            <a:ext cx="10575985" cy="3420000"/>
          </a:xfrm>
          <a:prstGeom prst="rect">
            <a:avLst/>
          </a:prstGeom>
          <a:noFill/>
          <a:ln>
            <a:solidFill>
              <a:srgbClr val="475B7C"/>
            </a:solidFill>
          </a:ln>
        </p:spPr>
        <p:txBody>
          <a:bodyPr wrap="square" rtlCol="0">
            <a:spAutoFit/>
          </a:bodyPr>
          <a:lstStyle/>
          <a:p>
            <a:endParaRPr kumimoji="1" lang="zh-CN" altLang="en-US" dirty="0"/>
          </a:p>
        </p:txBody>
      </p:sp>
      <p:sp>
        <p:nvSpPr>
          <p:cNvPr id="28" name="physics-formula-of-energy-in-a-square_46164">
            <a:extLst>
              <a:ext uri="{FF2B5EF4-FFF2-40B4-BE49-F238E27FC236}">
                <a16:creationId xmlns:a16="http://schemas.microsoft.com/office/drawing/2014/main" id="{BBC267B2-AE04-274C-B877-63D58B609171}"/>
              </a:ext>
            </a:extLst>
          </p:cNvPr>
          <p:cNvSpPr>
            <a:spLocks noChangeAspect="1"/>
          </p:cNvSpPr>
          <p:nvPr/>
        </p:nvSpPr>
        <p:spPr>
          <a:xfrm>
            <a:off x="3154391" y="2755985"/>
            <a:ext cx="589113" cy="588404"/>
          </a:xfrm>
          <a:custGeom>
            <a:avLst/>
            <a:gdLst>
              <a:gd name="T0" fmla="*/ 0 w 667"/>
              <a:gd name="T1" fmla="*/ 578 h 667"/>
              <a:gd name="T2" fmla="*/ 667 w 667"/>
              <a:gd name="T3" fmla="*/ 88 h 667"/>
              <a:gd name="T4" fmla="*/ 195 w 667"/>
              <a:gd name="T5" fmla="*/ 393 h 667"/>
              <a:gd name="T6" fmla="*/ 107 w 667"/>
              <a:gd name="T7" fmla="*/ 423 h 667"/>
              <a:gd name="T8" fmla="*/ 78 w 667"/>
              <a:gd name="T9" fmla="*/ 364 h 667"/>
              <a:gd name="T10" fmla="*/ 68 w 667"/>
              <a:gd name="T11" fmla="*/ 327 h 667"/>
              <a:gd name="T12" fmla="*/ 77 w 667"/>
              <a:gd name="T13" fmla="*/ 310 h 667"/>
              <a:gd name="T14" fmla="*/ 68 w 667"/>
              <a:gd name="T15" fmla="*/ 274 h 667"/>
              <a:gd name="T16" fmla="*/ 88 w 667"/>
              <a:gd name="T17" fmla="*/ 250 h 667"/>
              <a:gd name="T18" fmla="*/ 126 w 667"/>
              <a:gd name="T19" fmla="*/ 248 h 667"/>
              <a:gd name="T20" fmla="*/ 175 w 667"/>
              <a:gd name="T21" fmla="*/ 244 h 667"/>
              <a:gd name="T22" fmla="*/ 189 w 667"/>
              <a:gd name="T23" fmla="*/ 254 h 667"/>
              <a:gd name="T24" fmla="*/ 148 w 667"/>
              <a:gd name="T25" fmla="*/ 275 h 667"/>
              <a:gd name="T26" fmla="*/ 113 w 667"/>
              <a:gd name="T27" fmla="*/ 278 h 667"/>
              <a:gd name="T28" fmla="*/ 163 w 667"/>
              <a:gd name="T29" fmla="*/ 300 h 667"/>
              <a:gd name="T30" fmla="*/ 187 w 667"/>
              <a:gd name="T31" fmla="*/ 305 h 667"/>
              <a:gd name="T32" fmla="*/ 180 w 667"/>
              <a:gd name="T33" fmla="*/ 320 h 667"/>
              <a:gd name="T34" fmla="*/ 134 w 667"/>
              <a:gd name="T35" fmla="*/ 328 h 667"/>
              <a:gd name="T36" fmla="*/ 109 w 667"/>
              <a:gd name="T37" fmla="*/ 333 h 667"/>
              <a:gd name="T38" fmla="*/ 106 w 667"/>
              <a:gd name="T39" fmla="*/ 382 h 667"/>
              <a:gd name="T40" fmla="*/ 149 w 667"/>
              <a:gd name="T41" fmla="*/ 381 h 667"/>
              <a:gd name="T42" fmla="*/ 213 w 667"/>
              <a:gd name="T43" fmla="*/ 371 h 667"/>
              <a:gd name="T44" fmla="*/ 317 w 667"/>
              <a:gd name="T45" fmla="*/ 386 h 667"/>
              <a:gd name="T46" fmla="*/ 242 w 667"/>
              <a:gd name="T47" fmla="*/ 399 h 667"/>
              <a:gd name="T48" fmla="*/ 232 w 667"/>
              <a:gd name="T49" fmla="*/ 378 h 667"/>
              <a:gd name="T50" fmla="*/ 317 w 667"/>
              <a:gd name="T51" fmla="*/ 385 h 667"/>
              <a:gd name="T52" fmla="*/ 294 w 667"/>
              <a:gd name="T53" fmla="*/ 362 h 667"/>
              <a:gd name="T54" fmla="*/ 234 w 667"/>
              <a:gd name="T55" fmla="*/ 359 h 667"/>
              <a:gd name="T56" fmla="*/ 242 w 667"/>
              <a:gd name="T57" fmla="*/ 333 h 667"/>
              <a:gd name="T58" fmla="*/ 321 w 667"/>
              <a:gd name="T59" fmla="*/ 350 h 667"/>
              <a:gd name="T60" fmla="*/ 456 w 667"/>
              <a:gd name="T61" fmla="*/ 425 h 667"/>
              <a:gd name="T62" fmla="*/ 421 w 667"/>
              <a:gd name="T63" fmla="*/ 385 h 667"/>
              <a:gd name="T64" fmla="*/ 382 w 667"/>
              <a:gd name="T65" fmla="*/ 397 h 667"/>
              <a:gd name="T66" fmla="*/ 351 w 667"/>
              <a:gd name="T67" fmla="*/ 423 h 667"/>
              <a:gd name="T68" fmla="*/ 335 w 667"/>
              <a:gd name="T69" fmla="*/ 412 h 667"/>
              <a:gd name="T70" fmla="*/ 339 w 667"/>
              <a:gd name="T71" fmla="*/ 355 h 667"/>
              <a:gd name="T72" fmla="*/ 367 w 667"/>
              <a:gd name="T73" fmla="*/ 334 h 667"/>
              <a:gd name="T74" fmla="*/ 400 w 667"/>
              <a:gd name="T75" fmla="*/ 379 h 667"/>
              <a:gd name="T76" fmla="*/ 460 w 667"/>
              <a:gd name="T77" fmla="*/ 394 h 667"/>
              <a:gd name="T78" fmla="*/ 512 w 667"/>
              <a:gd name="T79" fmla="*/ 426 h 667"/>
              <a:gd name="T80" fmla="*/ 483 w 667"/>
              <a:gd name="T81" fmla="*/ 362 h 667"/>
              <a:gd name="T82" fmla="*/ 532 w 667"/>
              <a:gd name="T83" fmla="*/ 340 h 667"/>
              <a:gd name="T84" fmla="*/ 502 w 667"/>
              <a:gd name="T85" fmla="*/ 380 h 667"/>
              <a:gd name="T86" fmla="*/ 547 w 667"/>
              <a:gd name="T87" fmla="*/ 388 h 667"/>
              <a:gd name="T88" fmla="*/ 538 w 667"/>
              <a:gd name="T89" fmla="*/ 421 h 667"/>
              <a:gd name="T90" fmla="*/ 575 w 667"/>
              <a:gd name="T91" fmla="*/ 327 h 667"/>
              <a:gd name="T92" fmla="*/ 550 w 667"/>
              <a:gd name="T93" fmla="*/ 312 h 667"/>
              <a:gd name="T94" fmla="*/ 580 w 667"/>
              <a:gd name="T95" fmla="*/ 277 h 667"/>
              <a:gd name="T96" fmla="*/ 559 w 667"/>
              <a:gd name="T97" fmla="*/ 288 h 667"/>
              <a:gd name="T98" fmla="*/ 552 w 667"/>
              <a:gd name="T99" fmla="*/ 285 h 667"/>
              <a:gd name="T100" fmla="*/ 579 w 667"/>
              <a:gd name="T101" fmla="*/ 264 h 667"/>
              <a:gd name="T102" fmla="*/ 580 w 667"/>
              <a:gd name="T103" fmla="*/ 301 h 667"/>
              <a:gd name="T104" fmla="*/ 589 w 667"/>
              <a:gd name="T105" fmla="*/ 315 h 667"/>
              <a:gd name="T106" fmla="*/ 600 w 667"/>
              <a:gd name="T107" fmla="*/ 319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7" h="667">
                <a:moveTo>
                  <a:pt x="578" y="0"/>
                </a:moveTo>
                <a:lnTo>
                  <a:pt x="88" y="0"/>
                </a:lnTo>
                <a:cubicBezTo>
                  <a:pt x="40" y="0"/>
                  <a:pt x="0" y="40"/>
                  <a:pt x="0" y="88"/>
                </a:cubicBezTo>
                <a:lnTo>
                  <a:pt x="0" y="578"/>
                </a:lnTo>
                <a:cubicBezTo>
                  <a:pt x="0" y="627"/>
                  <a:pt x="40" y="667"/>
                  <a:pt x="88" y="667"/>
                </a:cubicBezTo>
                <a:lnTo>
                  <a:pt x="578" y="667"/>
                </a:lnTo>
                <a:cubicBezTo>
                  <a:pt x="627" y="667"/>
                  <a:pt x="667" y="627"/>
                  <a:pt x="667" y="578"/>
                </a:cubicBezTo>
                <a:lnTo>
                  <a:pt x="667" y="88"/>
                </a:lnTo>
                <a:cubicBezTo>
                  <a:pt x="667" y="40"/>
                  <a:pt x="627" y="0"/>
                  <a:pt x="578" y="0"/>
                </a:cubicBezTo>
                <a:close/>
                <a:moveTo>
                  <a:pt x="220" y="383"/>
                </a:moveTo>
                <a:cubicBezTo>
                  <a:pt x="220" y="385"/>
                  <a:pt x="219" y="386"/>
                  <a:pt x="218" y="387"/>
                </a:cubicBezTo>
                <a:cubicBezTo>
                  <a:pt x="216" y="390"/>
                  <a:pt x="208" y="392"/>
                  <a:pt x="195" y="393"/>
                </a:cubicBezTo>
                <a:cubicBezTo>
                  <a:pt x="191" y="393"/>
                  <a:pt x="188" y="393"/>
                  <a:pt x="187" y="393"/>
                </a:cubicBezTo>
                <a:cubicBezTo>
                  <a:pt x="174" y="396"/>
                  <a:pt x="159" y="402"/>
                  <a:pt x="143" y="411"/>
                </a:cubicBezTo>
                <a:lnTo>
                  <a:pt x="141" y="411"/>
                </a:lnTo>
                <a:cubicBezTo>
                  <a:pt x="127" y="419"/>
                  <a:pt x="115" y="423"/>
                  <a:pt x="107" y="423"/>
                </a:cubicBezTo>
                <a:lnTo>
                  <a:pt x="106" y="423"/>
                </a:lnTo>
                <a:lnTo>
                  <a:pt x="104" y="423"/>
                </a:lnTo>
                <a:cubicBezTo>
                  <a:pt x="91" y="422"/>
                  <a:pt x="83" y="409"/>
                  <a:pt x="80" y="386"/>
                </a:cubicBezTo>
                <a:cubicBezTo>
                  <a:pt x="79" y="379"/>
                  <a:pt x="78" y="372"/>
                  <a:pt x="78" y="364"/>
                </a:cubicBezTo>
                <a:cubicBezTo>
                  <a:pt x="78" y="361"/>
                  <a:pt x="78" y="358"/>
                  <a:pt x="78" y="356"/>
                </a:cubicBezTo>
                <a:cubicBezTo>
                  <a:pt x="79" y="350"/>
                  <a:pt x="79" y="344"/>
                  <a:pt x="79" y="337"/>
                </a:cubicBezTo>
                <a:cubicBezTo>
                  <a:pt x="74" y="337"/>
                  <a:pt x="71" y="335"/>
                  <a:pt x="69" y="332"/>
                </a:cubicBezTo>
                <a:cubicBezTo>
                  <a:pt x="68" y="330"/>
                  <a:pt x="68" y="329"/>
                  <a:pt x="68" y="327"/>
                </a:cubicBezTo>
                <a:cubicBezTo>
                  <a:pt x="68" y="327"/>
                  <a:pt x="68" y="326"/>
                  <a:pt x="68" y="326"/>
                </a:cubicBezTo>
                <a:cubicBezTo>
                  <a:pt x="68" y="325"/>
                  <a:pt x="68" y="324"/>
                  <a:pt x="69" y="322"/>
                </a:cubicBezTo>
                <a:cubicBezTo>
                  <a:pt x="70" y="320"/>
                  <a:pt x="71" y="317"/>
                  <a:pt x="74" y="314"/>
                </a:cubicBezTo>
                <a:cubicBezTo>
                  <a:pt x="76" y="312"/>
                  <a:pt x="77" y="311"/>
                  <a:pt x="77" y="310"/>
                </a:cubicBezTo>
                <a:cubicBezTo>
                  <a:pt x="79" y="306"/>
                  <a:pt x="81" y="300"/>
                  <a:pt x="82" y="291"/>
                </a:cubicBezTo>
                <a:cubicBezTo>
                  <a:pt x="83" y="287"/>
                  <a:pt x="83" y="283"/>
                  <a:pt x="84" y="281"/>
                </a:cubicBezTo>
                <a:cubicBezTo>
                  <a:pt x="82" y="281"/>
                  <a:pt x="81" y="281"/>
                  <a:pt x="80" y="281"/>
                </a:cubicBezTo>
                <a:cubicBezTo>
                  <a:pt x="74" y="280"/>
                  <a:pt x="69" y="278"/>
                  <a:pt x="68" y="274"/>
                </a:cubicBezTo>
                <a:cubicBezTo>
                  <a:pt x="67" y="273"/>
                  <a:pt x="67" y="272"/>
                  <a:pt x="67" y="270"/>
                </a:cubicBezTo>
                <a:cubicBezTo>
                  <a:pt x="67" y="270"/>
                  <a:pt x="67" y="269"/>
                  <a:pt x="67" y="269"/>
                </a:cubicBezTo>
                <a:cubicBezTo>
                  <a:pt x="67" y="267"/>
                  <a:pt x="68" y="264"/>
                  <a:pt x="69" y="262"/>
                </a:cubicBezTo>
                <a:cubicBezTo>
                  <a:pt x="72" y="257"/>
                  <a:pt x="78" y="253"/>
                  <a:pt x="88" y="250"/>
                </a:cubicBezTo>
                <a:cubicBezTo>
                  <a:pt x="93" y="249"/>
                  <a:pt x="97" y="247"/>
                  <a:pt x="99" y="246"/>
                </a:cubicBezTo>
                <a:cubicBezTo>
                  <a:pt x="105" y="242"/>
                  <a:pt x="109" y="240"/>
                  <a:pt x="113" y="240"/>
                </a:cubicBezTo>
                <a:cubicBezTo>
                  <a:pt x="113" y="240"/>
                  <a:pt x="114" y="240"/>
                  <a:pt x="114" y="241"/>
                </a:cubicBezTo>
                <a:cubicBezTo>
                  <a:pt x="117" y="241"/>
                  <a:pt x="122" y="243"/>
                  <a:pt x="126" y="248"/>
                </a:cubicBezTo>
                <a:cubicBezTo>
                  <a:pt x="128" y="249"/>
                  <a:pt x="130" y="250"/>
                  <a:pt x="133" y="250"/>
                </a:cubicBezTo>
                <a:cubicBezTo>
                  <a:pt x="134" y="250"/>
                  <a:pt x="135" y="251"/>
                  <a:pt x="136" y="251"/>
                </a:cubicBezTo>
                <a:cubicBezTo>
                  <a:pt x="142" y="251"/>
                  <a:pt x="148" y="250"/>
                  <a:pt x="156" y="247"/>
                </a:cubicBezTo>
                <a:cubicBezTo>
                  <a:pt x="165" y="245"/>
                  <a:pt x="171" y="244"/>
                  <a:pt x="175" y="244"/>
                </a:cubicBezTo>
                <a:cubicBezTo>
                  <a:pt x="176" y="244"/>
                  <a:pt x="177" y="244"/>
                  <a:pt x="177" y="245"/>
                </a:cubicBezTo>
                <a:lnTo>
                  <a:pt x="178" y="245"/>
                </a:lnTo>
                <a:cubicBezTo>
                  <a:pt x="184" y="245"/>
                  <a:pt x="188" y="248"/>
                  <a:pt x="189" y="252"/>
                </a:cubicBezTo>
                <a:cubicBezTo>
                  <a:pt x="189" y="253"/>
                  <a:pt x="189" y="253"/>
                  <a:pt x="189" y="254"/>
                </a:cubicBezTo>
                <a:cubicBezTo>
                  <a:pt x="189" y="255"/>
                  <a:pt x="189" y="255"/>
                  <a:pt x="189" y="255"/>
                </a:cubicBezTo>
                <a:cubicBezTo>
                  <a:pt x="189" y="257"/>
                  <a:pt x="188" y="258"/>
                  <a:pt x="187" y="260"/>
                </a:cubicBezTo>
                <a:cubicBezTo>
                  <a:pt x="186" y="263"/>
                  <a:pt x="183" y="265"/>
                  <a:pt x="181" y="267"/>
                </a:cubicBezTo>
                <a:cubicBezTo>
                  <a:pt x="173" y="272"/>
                  <a:pt x="163" y="275"/>
                  <a:pt x="148" y="275"/>
                </a:cubicBezTo>
                <a:cubicBezTo>
                  <a:pt x="147" y="275"/>
                  <a:pt x="146" y="275"/>
                  <a:pt x="144" y="275"/>
                </a:cubicBezTo>
                <a:cubicBezTo>
                  <a:pt x="143" y="275"/>
                  <a:pt x="141" y="275"/>
                  <a:pt x="138" y="274"/>
                </a:cubicBezTo>
                <a:cubicBezTo>
                  <a:pt x="134" y="274"/>
                  <a:pt x="131" y="274"/>
                  <a:pt x="128" y="274"/>
                </a:cubicBezTo>
                <a:cubicBezTo>
                  <a:pt x="120" y="274"/>
                  <a:pt x="115" y="275"/>
                  <a:pt x="113" y="278"/>
                </a:cubicBezTo>
                <a:cubicBezTo>
                  <a:pt x="111" y="282"/>
                  <a:pt x="110" y="288"/>
                  <a:pt x="109" y="296"/>
                </a:cubicBezTo>
                <a:cubicBezTo>
                  <a:pt x="109" y="297"/>
                  <a:pt x="109" y="299"/>
                  <a:pt x="108" y="301"/>
                </a:cubicBezTo>
                <a:cubicBezTo>
                  <a:pt x="108" y="302"/>
                  <a:pt x="108" y="303"/>
                  <a:pt x="108" y="304"/>
                </a:cubicBezTo>
                <a:cubicBezTo>
                  <a:pt x="128" y="301"/>
                  <a:pt x="146" y="300"/>
                  <a:pt x="163" y="300"/>
                </a:cubicBezTo>
                <a:cubicBezTo>
                  <a:pt x="163" y="300"/>
                  <a:pt x="164" y="300"/>
                  <a:pt x="166" y="300"/>
                </a:cubicBezTo>
                <a:cubicBezTo>
                  <a:pt x="167" y="300"/>
                  <a:pt x="169" y="300"/>
                  <a:pt x="171" y="300"/>
                </a:cubicBezTo>
                <a:cubicBezTo>
                  <a:pt x="173" y="300"/>
                  <a:pt x="175" y="300"/>
                  <a:pt x="177" y="300"/>
                </a:cubicBezTo>
                <a:cubicBezTo>
                  <a:pt x="182" y="301"/>
                  <a:pt x="185" y="302"/>
                  <a:pt x="187" y="305"/>
                </a:cubicBezTo>
                <a:cubicBezTo>
                  <a:pt x="188" y="306"/>
                  <a:pt x="189" y="308"/>
                  <a:pt x="189" y="309"/>
                </a:cubicBezTo>
                <a:lnTo>
                  <a:pt x="189" y="310"/>
                </a:lnTo>
                <a:cubicBezTo>
                  <a:pt x="189" y="310"/>
                  <a:pt x="189" y="311"/>
                  <a:pt x="188" y="311"/>
                </a:cubicBezTo>
                <a:cubicBezTo>
                  <a:pt x="187" y="315"/>
                  <a:pt x="184" y="318"/>
                  <a:pt x="180" y="320"/>
                </a:cubicBezTo>
                <a:cubicBezTo>
                  <a:pt x="176" y="323"/>
                  <a:pt x="173" y="324"/>
                  <a:pt x="170" y="325"/>
                </a:cubicBezTo>
                <a:cubicBezTo>
                  <a:pt x="163" y="327"/>
                  <a:pt x="153" y="328"/>
                  <a:pt x="139" y="328"/>
                </a:cubicBezTo>
                <a:lnTo>
                  <a:pt x="138" y="328"/>
                </a:lnTo>
                <a:lnTo>
                  <a:pt x="134" y="328"/>
                </a:lnTo>
                <a:cubicBezTo>
                  <a:pt x="133" y="328"/>
                  <a:pt x="131" y="328"/>
                  <a:pt x="129" y="327"/>
                </a:cubicBezTo>
                <a:cubicBezTo>
                  <a:pt x="127" y="327"/>
                  <a:pt x="125" y="327"/>
                  <a:pt x="123" y="327"/>
                </a:cubicBezTo>
                <a:cubicBezTo>
                  <a:pt x="121" y="327"/>
                  <a:pt x="119" y="327"/>
                  <a:pt x="118" y="328"/>
                </a:cubicBezTo>
                <a:cubicBezTo>
                  <a:pt x="113" y="328"/>
                  <a:pt x="110" y="330"/>
                  <a:pt x="109" y="333"/>
                </a:cubicBezTo>
                <a:cubicBezTo>
                  <a:pt x="106" y="337"/>
                  <a:pt x="105" y="344"/>
                  <a:pt x="104" y="353"/>
                </a:cubicBezTo>
                <a:lnTo>
                  <a:pt x="103" y="355"/>
                </a:lnTo>
                <a:cubicBezTo>
                  <a:pt x="103" y="358"/>
                  <a:pt x="103" y="362"/>
                  <a:pt x="103" y="365"/>
                </a:cubicBezTo>
                <a:cubicBezTo>
                  <a:pt x="103" y="372"/>
                  <a:pt x="104" y="377"/>
                  <a:pt x="106" y="382"/>
                </a:cubicBezTo>
                <a:cubicBezTo>
                  <a:pt x="107" y="385"/>
                  <a:pt x="110" y="388"/>
                  <a:pt x="113" y="388"/>
                </a:cubicBezTo>
                <a:cubicBezTo>
                  <a:pt x="113" y="389"/>
                  <a:pt x="114" y="389"/>
                  <a:pt x="115" y="389"/>
                </a:cubicBezTo>
                <a:cubicBezTo>
                  <a:pt x="116" y="389"/>
                  <a:pt x="117" y="389"/>
                  <a:pt x="118" y="389"/>
                </a:cubicBezTo>
                <a:cubicBezTo>
                  <a:pt x="125" y="389"/>
                  <a:pt x="135" y="386"/>
                  <a:pt x="149" y="381"/>
                </a:cubicBezTo>
                <a:cubicBezTo>
                  <a:pt x="153" y="380"/>
                  <a:pt x="156" y="379"/>
                  <a:pt x="158" y="378"/>
                </a:cubicBezTo>
                <a:cubicBezTo>
                  <a:pt x="174" y="372"/>
                  <a:pt x="188" y="370"/>
                  <a:pt x="199" y="370"/>
                </a:cubicBezTo>
                <a:cubicBezTo>
                  <a:pt x="202" y="370"/>
                  <a:pt x="204" y="370"/>
                  <a:pt x="207" y="370"/>
                </a:cubicBezTo>
                <a:cubicBezTo>
                  <a:pt x="209" y="370"/>
                  <a:pt x="211" y="371"/>
                  <a:pt x="213" y="371"/>
                </a:cubicBezTo>
                <a:cubicBezTo>
                  <a:pt x="216" y="372"/>
                  <a:pt x="218" y="374"/>
                  <a:pt x="219" y="378"/>
                </a:cubicBezTo>
                <a:cubicBezTo>
                  <a:pt x="220" y="379"/>
                  <a:pt x="220" y="381"/>
                  <a:pt x="220" y="382"/>
                </a:cubicBezTo>
                <a:cubicBezTo>
                  <a:pt x="220" y="383"/>
                  <a:pt x="220" y="383"/>
                  <a:pt x="220" y="383"/>
                </a:cubicBezTo>
                <a:close/>
                <a:moveTo>
                  <a:pt x="317" y="386"/>
                </a:moveTo>
                <a:cubicBezTo>
                  <a:pt x="316" y="389"/>
                  <a:pt x="313" y="393"/>
                  <a:pt x="307" y="396"/>
                </a:cubicBezTo>
                <a:cubicBezTo>
                  <a:pt x="302" y="399"/>
                  <a:pt x="297" y="401"/>
                  <a:pt x="292" y="401"/>
                </a:cubicBezTo>
                <a:lnTo>
                  <a:pt x="291" y="401"/>
                </a:lnTo>
                <a:cubicBezTo>
                  <a:pt x="280" y="400"/>
                  <a:pt x="264" y="399"/>
                  <a:pt x="242" y="399"/>
                </a:cubicBezTo>
                <a:cubicBezTo>
                  <a:pt x="235" y="399"/>
                  <a:pt x="231" y="398"/>
                  <a:pt x="228" y="395"/>
                </a:cubicBezTo>
                <a:cubicBezTo>
                  <a:pt x="226" y="394"/>
                  <a:pt x="225" y="391"/>
                  <a:pt x="225" y="389"/>
                </a:cubicBezTo>
                <a:lnTo>
                  <a:pt x="225" y="389"/>
                </a:lnTo>
                <a:cubicBezTo>
                  <a:pt x="225" y="385"/>
                  <a:pt x="227" y="381"/>
                  <a:pt x="232" y="378"/>
                </a:cubicBezTo>
                <a:cubicBezTo>
                  <a:pt x="236" y="374"/>
                  <a:pt x="242" y="372"/>
                  <a:pt x="249" y="372"/>
                </a:cubicBezTo>
                <a:lnTo>
                  <a:pt x="264" y="372"/>
                </a:lnTo>
                <a:cubicBezTo>
                  <a:pt x="283" y="372"/>
                  <a:pt x="298" y="373"/>
                  <a:pt x="308" y="376"/>
                </a:cubicBezTo>
                <a:cubicBezTo>
                  <a:pt x="314" y="378"/>
                  <a:pt x="317" y="381"/>
                  <a:pt x="317" y="385"/>
                </a:cubicBezTo>
                <a:cubicBezTo>
                  <a:pt x="317" y="385"/>
                  <a:pt x="317" y="385"/>
                  <a:pt x="317" y="386"/>
                </a:cubicBezTo>
                <a:close/>
                <a:moveTo>
                  <a:pt x="321" y="351"/>
                </a:moveTo>
                <a:cubicBezTo>
                  <a:pt x="321" y="355"/>
                  <a:pt x="318" y="358"/>
                  <a:pt x="310" y="360"/>
                </a:cubicBezTo>
                <a:cubicBezTo>
                  <a:pt x="306" y="361"/>
                  <a:pt x="300" y="362"/>
                  <a:pt x="294" y="362"/>
                </a:cubicBezTo>
                <a:cubicBezTo>
                  <a:pt x="289" y="362"/>
                  <a:pt x="281" y="361"/>
                  <a:pt x="271" y="360"/>
                </a:cubicBezTo>
                <a:cubicBezTo>
                  <a:pt x="262" y="359"/>
                  <a:pt x="255" y="359"/>
                  <a:pt x="251" y="359"/>
                </a:cubicBezTo>
                <a:cubicBezTo>
                  <a:pt x="250" y="359"/>
                  <a:pt x="248" y="359"/>
                  <a:pt x="245" y="359"/>
                </a:cubicBezTo>
                <a:cubicBezTo>
                  <a:pt x="240" y="359"/>
                  <a:pt x="237" y="359"/>
                  <a:pt x="234" y="359"/>
                </a:cubicBezTo>
                <a:cubicBezTo>
                  <a:pt x="226" y="359"/>
                  <a:pt x="220" y="358"/>
                  <a:pt x="218" y="354"/>
                </a:cubicBezTo>
                <a:cubicBezTo>
                  <a:pt x="217" y="353"/>
                  <a:pt x="216" y="351"/>
                  <a:pt x="216" y="349"/>
                </a:cubicBezTo>
                <a:cubicBezTo>
                  <a:pt x="216" y="348"/>
                  <a:pt x="217" y="346"/>
                  <a:pt x="218" y="344"/>
                </a:cubicBezTo>
                <a:cubicBezTo>
                  <a:pt x="221" y="337"/>
                  <a:pt x="229" y="333"/>
                  <a:pt x="242" y="333"/>
                </a:cubicBezTo>
                <a:lnTo>
                  <a:pt x="258" y="333"/>
                </a:lnTo>
                <a:cubicBezTo>
                  <a:pt x="275" y="333"/>
                  <a:pt x="288" y="334"/>
                  <a:pt x="297" y="335"/>
                </a:cubicBezTo>
                <a:cubicBezTo>
                  <a:pt x="302" y="335"/>
                  <a:pt x="306" y="337"/>
                  <a:pt x="312" y="340"/>
                </a:cubicBezTo>
                <a:cubicBezTo>
                  <a:pt x="318" y="343"/>
                  <a:pt x="321" y="347"/>
                  <a:pt x="321" y="350"/>
                </a:cubicBezTo>
                <a:lnTo>
                  <a:pt x="321" y="351"/>
                </a:lnTo>
                <a:lnTo>
                  <a:pt x="321" y="351"/>
                </a:lnTo>
                <a:close/>
                <a:moveTo>
                  <a:pt x="461" y="426"/>
                </a:moveTo>
                <a:cubicBezTo>
                  <a:pt x="459" y="426"/>
                  <a:pt x="458" y="425"/>
                  <a:pt x="456" y="425"/>
                </a:cubicBezTo>
                <a:cubicBezTo>
                  <a:pt x="449" y="423"/>
                  <a:pt x="444" y="420"/>
                  <a:pt x="442" y="416"/>
                </a:cubicBezTo>
                <a:cubicBezTo>
                  <a:pt x="438" y="412"/>
                  <a:pt x="435" y="404"/>
                  <a:pt x="433" y="394"/>
                </a:cubicBezTo>
                <a:cubicBezTo>
                  <a:pt x="430" y="383"/>
                  <a:pt x="427" y="375"/>
                  <a:pt x="425" y="371"/>
                </a:cubicBezTo>
                <a:cubicBezTo>
                  <a:pt x="425" y="371"/>
                  <a:pt x="423" y="376"/>
                  <a:pt x="421" y="385"/>
                </a:cubicBezTo>
                <a:cubicBezTo>
                  <a:pt x="419" y="393"/>
                  <a:pt x="417" y="399"/>
                  <a:pt x="415" y="403"/>
                </a:cubicBezTo>
                <a:cubicBezTo>
                  <a:pt x="409" y="418"/>
                  <a:pt x="402" y="426"/>
                  <a:pt x="395" y="426"/>
                </a:cubicBezTo>
                <a:lnTo>
                  <a:pt x="395" y="426"/>
                </a:lnTo>
                <a:cubicBezTo>
                  <a:pt x="389" y="426"/>
                  <a:pt x="385" y="417"/>
                  <a:pt x="382" y="397"/>
                </a:cubicBezTo>
                <a:cubicBezTo>
                  <a:pt x="379" y="384"/>
                  <a:pt x="378" y="377"/>
                  <a:pt x="378" y="377"/>
                </a:cubicBezTo>
                <a:cubicBezTo>
                  <a:pt x="377" y="371"/>
                  <a:pt x="376" y="368"/>
                  <a:pt x="374" y="368"/>
                </a:cubicBezTo>
                <a:cubicBezTo>
                  <a:pt x="374" y="368"/>
                  <a:pt x="369" y="381"/>
                  <a:pt x="360" y="407"/>
                </a:cubicBezTo>
                <a:cubicBezTo>
                  <a:pt x="357" y="415"/>
                  <a:pt x="354" y="420"/>
                  <a:pt x="351" y="423"/>
                </a:cubicBezTo>
                <a:cubicBezTo>
                  <a:pt x="349" y="424"/>
                  <a:pt x="347" y="425"/>
                  <a:pt x="345" y="425"/>
                </a:cubicBezTo>
                <a:cubicBezTo>
                  <a:pt x="342" y="425"/>
                  <a:pt x="338" y="424"/>
                  <a:pt x="335" y="421"/>
                </a:cubicBezTo>
                <a:lnTo>
                  <a:pt x="335" y="421"/>
                </a:lnTo>
                <a:cubicBezTo>
                  <a:pt x="335" y="421"/>
                  <a:pt x="335" y="418"/>
                  <a:pt x="335" y="412"/>
                </a:cubicBezTo>
                <a:cubicBezTo>
                  <a:pt x="335" y="404"/>
                  <a:pt x="335" y="390"/>
                  <a:pt x="334" y="371"/>
                </a:cubicBezTo>
                <a:lnTo>
                  <a:pt x="334" y="371"/>
                </a:lnTo>
                <a:cubicBezTo>
                  <a:pt x="334" y="368"/>
                  <a:pt x="335" y="366"/>
                  <a:pt x="337" y="363"/>
                </a:cubicBezTo>
                <a:cubicBezTo>
                  <a:pt x="338" y="360"/>
                  <a:pt x="339" y="357"/>
                  <a:pt x="339" y="355"/>
                </a:cubicBezTo>
                <a:cubicBezTo>
                  <a:pt x="339" y="351"/>
                  <a:pt x="341" y="349"/>
                  <a:pt x="346" y="349"/>
                </a:cubicBezTo>
                <a:cubicBezTo>
                  <a:pt x="351" y="349"/>
                  <a:pt x="354" y="349"/>
                  <a:pt x="354" y="349"/>
                </a:cubicBezTo>
                <a:cubicBezTo>
                  <a:pt x="355" y="347"/>
                  <a:pt x="358" y="345"/>
                  <a:pt x="360" y="341"/>
                </a:cubicBezTo>
                <a:cubicBezTo>
                  <a:pt x="363" y="338"/>
                  <a:pt x="365" y="336"/>
                  <a:pt x="367" y="334"/>
                </a:cubicBezTo>
                <a:cubicBezTo>
                  <a:pt x="369" y="332"/>
                  <a:pt x="372" y="331"/>
                  <a:pt x="375" y="331"/>
                </a:cubicBezTo>
                <a:cubicBezTo>
                  <a:pt x="377" y="331"/>
                  <a:pt x="380" y="332"/>
                  <a:pt x="383" y="333"/>
                </a:cubicBezTo>
                <a:cubicBezTo>
                  <a:pt x="387" y="336"/>
                  <a:pt x="390" y="343"/>
                  <a:pt x="394" y="355"/>
                </a:cubicBezTo>
                <a:cubicBezTo>
                  <a:pt x="398" y="371"/>
                  <a:pt x="400" y="379"/>
                  <a:pt x="400" y="379"/>
                </a:cubicBezTo>
                <a:cubicBezTo>
                  <a:pt x="401" y="378"/>
                  <a:pt x="404" y="368"/>
                  <a:pt x="409" y="350"/>
                </a:cubicBezTo>
                <a:cubicBezTo>
                  <a:pt x="413" y="337"/>
                  <a:pt x="417" y="330"/>
                  <a:pt x="423" y="327"/>
                </a:cubicBezTo>
                <a:cubicBezTo>
                  <a:pt x="435" y="329"/>
                  <a:pt x="444" y="342"/>
                  <a:pt x="452" y="365"/>
                </a:cubicBezTo>
                <a:cubicBezTo>
                  <a:pt x="454" y="371"/>
                  <a:pt x="457" y="381"/>
                  <a:pt x="460" y="394"/>
                </a:cubicBezTo>
                <a:cubicBezTo>
                  <a:pt x="463" y="406"/>
                  <a:pt x="466" y="413"/>
                  <a:pt x="467" y="418"/>
                </a:cubicBezTo>
                <a:cubicBezTo>
                  <a:pt x="467" y="423"/>
                  <a:pt x="465" y="426"/>
                  <a:pt x="461" y="426"/>
                </a:cubicBezTo>
                <a:close/>
                <a:moveTo>
                  <a:pt x="538" y="421"/>
                </a:moveTo>
                <a:cubicBezTo>
                  <a:pt x="528" y="424"/>
                  <a:pt x="520" y="426"/>
                  <a:pt x="512" y="426"/>
                </a:cubicBezTo>
                <a:cubicBezTo>
                  <a:pt x="501" y="426"/>
                  <a:pt x="491" y="422"/>
                  <a:pt x="485" y="413"/>
                </a:cubicBezTo>
                <a:cubicBezTo>
                  <a:pt x="480" y="407"/>
                  <a:pt x="478" y="398"/>
                  <a:pt x="478" y="389"/>
                </a:cubicBezTo>
                <a:lnTo>
                  <a:pt x="478" y="387"/>
                </a:lnTo>
                <a:cubicBezTo>
                  <a:pt x="478" y="378"/>
                  <a:pt x="479" y="370"/>
                  <a:pt x="483" y="362"/>
                </a:cubicBezTo>
                <a:cubicBezTo>
                  <a:pt x="486" y="353"/>
                  <a:pt x="491" y="345"/>
                  <a:pt x="497" y="340"/>
                </a:cubicBezTo>
                <a:cubicBezTo>
                  <a:pt x="504" y="334"/>
                  <a:pt x="511" y="331"/>
                  <a:pt x="518" y="331"/>
                </a:cubicBezTo>
                <a:lnTo>
                  <a:pt x="519" y="331"/>
                </a:lnTo>
                <a:cubicBezTo>
                  <a:pt x="526" y="331"/>
                  <a:pt x="530" y="334"/>
                  <a:pt x="532" y="340"/>
                </a:cubicBezTo>
                <a:cubicBezTo>
                  <a:pt x="533" y="341"/>
                  <a:pt x="533" y="343"/>
                  <a:pt x="533" y="344"/>
                </a:cubicBezTo>
                <a:cubicBezTo>
                  <a:pt x="533" y="348"/>
                  <a:pt x="531" y="351"/>
                  <a:pt x="526" y="354"/>
                </a:cubicBezTo>
                <a:cubicBezTo>
                  <a:pt x="516" y="360"/>
                  <a:pt x="510" y="364"/>
                  <a:pt x="508" y="367"/>
                </a:cubicBezTo>
                <a:cubicBezTo>
                  <a:pt x="504" y="371"/>
                  <a:pt x="502" y="375"/>
                  <a:pt x="502" y="380"/>
                </a:cubicBezTo>
                <a:cubicBezTo>
                  <a:pt x="502" y="383"/>
                  <a:pt x="502" y="386"/>
                  <a:pt x="503" y="388"/>
                </a:cubicBezTo>
                <a:cubicBezTo>
                  <a:pt x="505" y="395"/>
                  <a:pt x="510" y="398"/>
                  <a:pt x="517" y="398"/>
                </a:cubicBezTo>
                <a:cubicBezTo>
                  <a:pt x="518" y="398"/>
                  <a:pt x="519" y="398"/>
                  <a:pt x="520" y="398"/>
                </a:cubicBezTo>
                <a:cubicBezTo>
                  <a:pt x="526" y="397"/>
                  <a:pt x="535" y="394"/>
                  <a:pt x="547" y="388"/>
                </a:cubicBezTo>
                <a:cubicBezTo>
                  <a:pt x="560" y="382"/>
                  <a:pt x="568" y="379"/>
                  <a:pt x="572" y="378"/>
                </a:cubicBezTo>
                <a:cubicBezTo>
                  <a:pt x="574" y="378"/>
                  <a:pt x="575" y="378"/>
                  <a:pt x="576" y="378"/>
                </a:cubicBezTo>
                <a:cubicBezTo>
                  <a:pt x="581" y="378"/>
                  <a:pt x="584" y="381"/>
                  <a:pt x="584" y="387"/>
                </a:cubicBezTo>
                <a:cubicBezTo>
                  <a:pt x="582" y="398"/>
                  <a:pt x="567" y="410"/>
                  <a:pt x="538" y="421"/>
                </a:cubicBezTo>
                <a:close/>
                <a:moveTo>
                  <a:pt x="600" y="322"/>
                </a:moveTo>
                <a:cubicBezTo>
                  <a:pt x="599" y="324"/>
                  <a:pt x="597" y="325"/>
                  <a:pt x="594" y="326"/>
                </a:cubicBezTo>
                <a:cubicBezTo>
                  <a:pt x="592" y="326"/>
                  <a:pt x="590" y="326"/>
                  <a:pt x="587" y="327"/>
                </a:cubicBezTo>
                <a:cubicBezTo>
                  <a:pt x="583" y="327"/>
                  <a:pt x="579" y="327"/>
                  <a:pt x="575" y="327"/>
                </a:cubicBezTo>
                <a:cubicBezTo>
                  <a:pt x="569" y="327"/>
                  <a:pt x="562" y="327"/>
                  <a:pt x="554" y="326"/>
                </a:cubicBezTo>
                <a:cubicBezTo>
                  <a:pt x="549" y="325"/>
                  <a:pt x="547" y="323"/>
                  <a:pt x="546" y="321"/>
                </a:cubicBezTo>
                <a:cubicBezTo>
                  <a:pt x="546" y="320"/>
                  <a:pt x="546" y="319"/>
                  <a:pt x="546" y="319"/>
                </a:cubicBezTo>
                <a:cubicBezTo>
                  <a:pt x="546" y="316"/>
                  <a:pt x="547" y="314"/>
                  <a:pt x="550" y="312"/>
                </a:cubicBezTo>
                <a:cubicBezTo>
                  <a:pt x="563" y="303"/>
                  <a:pt x="573" y="294"/>
                  <a:pt x="580" y="284"/>
                </a:cubicBezTo>
                <a:cubicBezTo>
                  <a:pt x="581" y="283"/>
                  <a:pt x="581" y="281"/>
                  <a:pt x="582" y="280"/>
                </a:cubicBezTo>
                <a:lnTo>
                  <a:pt x="582" y="280"/>
                </a:lnTo>
                <a:cubicBezTo>
                  <a:pt x="582" y="278"/>
                  <a:pt x="581" y="277"/>
                  <a:pt x="580" y="277"/>
                </a:cubicBezTo>
                <a:cubicBezTo>
                  <a:pt x="579" y="276"/>
                  <a:pt x="578" y="275"/>
                  <a:pt x="576" y="275"/>
                </a:cubicBezTo>
                <a:cubicBezTo>
                  <a:pt x="575" y="275"/>
                  <a:pt x="573" y="275"/>
                  <a:pt x="572" y="276"/>
                </a:cubicBezTo>
                <a:cubicBezTo>
                  <a:pt x="568" y="277"/>
                  <a:pt x="564" y="281"/>
                  <a:pt x="561" y="286"/>
                </a:cubicBezTo>
                <a:cubicBezTo>
                  <a:pt x="561" y="287"/>
                  <a:pt x="560" y="288"/>
                  <a:pt x="559" y="288"/>
                </a:cubicBezTo>
                <a:cubicBezTo>
                  <a:pt x="558" y="289"/>
                  <a:pt x="557" y="289"/>
                  <a:pt x="556" y="289"/>
                </a:cubicBezTo>
                <a:cubicBezTo>
                  <a:pt x="556" y="289"/>
                  <a:pt x="556" y="289"/>
                  <a:pt x="556" y="289"/>
                </a:cubicBezTo>
                <a:cubicBezTo>
                  <a:pt x="554" y="289"/>
                  <a:pt x="553" y="288"/>
                  <a:pt x="553" y="287"/>
                </a:cubicBezTo>
                <a:cubicBezTo>
                  <a:pt x="552" y="287"/>
                  <a:pt x="552" y="286"/>
                  <a:pt x="552" y="285"/>
                </a:cubicBezTo>
                <a:cubicBezTo>
                  <a:pt x="552" y="285"/>
                  <a:pt x="552" y="285"/>
                  <a:pt x="552" y="284"/>
                </a:cubicBezTo>
                <a:cubicBezTo>
                  <a:pt x="553" y="278"/>
                  <a:pt x="556" y="274"/>
                  <a:pt x="562" y="270"/>
                </a:cubicBezTo>
                <a:cubicBezTo>
                  <a:pt x="567" y="266"/>
                  <a:pt x="573" y="264"/>
                  <a:pt x="579" y="264"/>
                </a:cubicBezTo>
                <a:lnTo>
                  <a:pt x="579" y="264"/>
                </a:lnTo>
                <a:cubicBezTo>
                  <a:pt x="585" y="264"/>
                  <a:pt x="589" y="266"/>
                  <a:pt x="592" y="271"/>
                </a:cubicBezTo>
                <a:cubicBezTo>
                  <a:pt x="593" y="273"/>
                  <a:pt x="594" y="276"/>
                  <a:pt x="594" y="278"/>
                </a:cubicBezTo>
                <a:cubicBezTo>
                  <a:pt x="594" y="280"/>
                  <a:pt x="593" y="283"/>
                  <a:pt x="593" y="285"/>
                </a:cubicBezTo>
                <a:cubicBezTo>
                  <a:pt x="590" y="290"/>
                  <a:pt x="586" y="296"/>
                  <a:pt x="580" y="301"/>
                </a:cubicBezTo>
                <a:cubicBezTo>
                  <a:pt x="572" y="308"/>
                  <a:pt x="567" y="313"/>
                  <a:pt x="565" y="314"/>
                </a:cubicBezTo>
                <a:cubicBezTo>
                  <a:pt x="572" y="315"/>
                  <a:pt x="578" y="316"/>
                  <a:pt x="582" y="316"/>
                </a:cubicBezTo>
                <a:lnTo>
                  <a:pt x="582" y="316"/>
                </a:lnTo>
                <a:cubicBezTo>
                  <a:pt x="583" y="316"/>
                  <a:pt x="585" y="316"/>
                  <a:pt x="589" y="315"/>
                </a:cubicBezTo>
                <a:cubicBezTo>
                  <a:pt x="591" y="315"/>
                  <a:pt x="592" y="315"/>
                  <a:pt x="594" y="315"/>
                </a:cubicBezTo>
                <a:cubicBezTo>
                  <a:pt x="594" y="315"/>
                  <a:pt x="595" y="315"/>
                  <a:pt x="596" y="315"/>
                </a:cubicBezTo>
                <a:cubicBezTo>
                  <a:pt x="598" y="315"/>
                  <a:pt x="599" y="316"/>
                  <a:pt x="600" y="317"/>
                </a:cubicBezTo>
                <a:cubicBezTo>
                  <a:pt x="600" y="318"/>
                  <a:pt x="600" y="318"/>
                  <a:pt x="600" y="319"/>
                </a:cubicBezTo>
                <a:cubicBezTo>
                  <a:pt x="600" y="320"/>
                  <a:pt x="600" y="321"/>
                  <a:pt x="600" y="322"/>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rogrammer_376186">
            <a:extLst>
              <a:ext uri="{FF2B5EF4-FFF2-40B4-BE49-F238E27FC236}">
                <a16:creationId xmlns:a16="http://schemas.microsoft.com/office/drawing/2014/main" id="{F6E24D76-0776-EC4B-B82A-773E77B14049}"/>
              </a:ext>
            </a:extLst>
          </p:cNvPr>
          <p:cNvSpPr>
            <a:spLocks noChangeAspect="1"/>
          </p:cNvSpPr>
          <p:nvPr/>
        </p:nvSpPr>
        <p:spPr>
          <a:xfrm>
            <a:off x="3193532" y="6042018"/>
            <a:ext cx="499560" cy="609685"/>
          </a:xfrm>
          <a:custGeom>
            <a:avLst/>
            <a:gdLst>
              <a:gd name="connsiteX0" fmla="*/ 262319 w 497133"/>
              <a:gd name="connsiteY0" fmla="*/ 331311 h 606722"/>
              <a:gd name="connsiteX1" fmla="*/ 230542 w 497133"/>
              <a:gd name="connsiteY1" fmla="*/ 353973 h 606722"/>
              <a:gd name="connsiteX2" fmla="*/ 212116 w 497133"/>
              <a:gd name="connsiteY2" fmla="*/ 464262 h 606722"/>
              <a:gd name="connsiteX3" fmla="*/ 234814 w 497133"/>
              <a:gd name="connsiteY3" fmla="*/ 495989 h 606722"/>
              <a:gd name="connsiteX4" fmla="*/ 239354 w 497133"/>
              <a:gd name="connsiteY4" fmla="*/ 496433 h 606722"/>
              <a:gd name="connsiteX5" fmla="*/ 266591 w 497133"/>
              <a:gd name="connsiteY5" fmla="*/ 473327 h 606722"/>
              <a:gd name="connsiteX6" fmla="*/ 285017 w 497133"/>
              <a:gd name="connsiteY6" fmla="*/ 363038 h 606722"/>
              <a:gd name="connsiteX7" fmla="*/ 262319 w 497133"/>
              <a:gd name="connsiteY7" fmla="*/ 331311 h 606722"/>
              <a:gd name="connsiteX8" fmla="*/ 331437 w 497133"/>
              <a:gd name="connsiteY8" fmla="*/ 330911 h 606722"/>
              <a:gd name="connsiteX9" fmla="*/ 311899 w 497133"/>
              <a:gd name="connsiteY9" fmla="*/ 339043 h 606722"/>
              <a:gd name="connsiteX10" fmla="*/ 311899 w 497133"/>
              <a:gd name="connsiteY10" fmla="*/ 377968 h 606722"/>
              <a:gd name="connsiteX11" fmla="*/ 347593 w 497133"/>
              <a:gd name="connsiteY11" fmla="*/ 413695 h 606722"/>
              <a:gd name="connsiteX12" fmla="*/ 311899 w 497133"/>
              <a:gd name="connsiteY12" fmla="*/ 449332 h 606722"/>
              <a:gd name="connsiteX13" fmla="*/ 311899 w 497133"/>
              <a:gd name="connsiteY13" fmla="*/ 488346 h 606722"/>
              <a:gd name="connsiteX14" fmla="*/ 331392 w 497133"/>
              <a:gd name="connsiteY14" fmla="*/ 496345 h 606722"/>
              <a:gd name="connsiteX15" fmla="*/ 350975 w 497133"/>
              <a:gd name="connsiteY15" fmla="*/ 488346 h 606722"/>
              <a:gd name="connsiteX16" fmla="*/ 406163 w 497133"/>
              <a:gd name="connsiteY16" fmla="*/ 433157 h 606722"/>
              <a:gd name="connsiteX17" fmla="*/ 406163 w 497133"/>
              <a:gd name="connsiteY17" fmla="*/ 394143 h 606722"/>
              <a:gd name="connsiteX18" fmla="*/ 350975 w 497133"/>
              <a:gd name="connsiteY18" fmla="*/ 339043 h 606722"/>
              <a:gd name="connsiteX19" fmla="*/ 331437 w 497133"/>
              <a:gd name="connsiteY19" fmla="*/ 330911 h 606722"/>
              <a:gd name="connsiteX20" fmla="*/ 165696 w 497133"/>
              <a:gd name="connsiteY20" fmla="*/ 330911 h 606722"/>
              <a:gd name="connsiteX21" fmla="*/ 146158 w 497133"/>
              <a:gd name="connsiteY21" fmla="*/ 339043 h 606722"/>
              <a:gd name="connsiteX22" fmla="*/ 90881 w 497133"/>
              <a:gd name="connsiteY22" fmla="*/ 394143 h 606722"/>
              <a:gd name="connsiteX23" fmla="*/ 90881 w 497133"/>
              <a:gd name="connsiteY23" fmla="*/ 433157 h 606722"/>
              <a:gd name="connsiteX24" fmla="*/ 146158 w 497133"/>
              <a:gd name="connsiteY24" fmla="*/ 488346 h 606722"/>
              <a:gd name="connsiteX25" fmla="*/ 165652 w 497133"/>
              <a:gd name="connsiteY25" fmla="*/ 496345 h 606722"/>
              <a:gd name="connsiteX26" fmla="*/ 185234 w 497133"/>
              <a:gd name="connsiteY26" fmla="*/ 488346 h 606722"/>
              <a:gd name="connsiteX27" fmla="*/ 185234 w 497133"/>
              <a:gd name="connsiteY27" fmla="*/ 449332 h 606722"/>
              <a:gd name="connsiteX28" fmla="*/ 149540 w 497133"/>
              <a:gd name="connsiteY28" fmla="*/ 413695 h 606722"/>
              <a:gd name="connsiteX29" fmla="*/ 185234 w 497133"/>
              <a:gd name="connsiteY29" fmla="*/ 377968 h 606722"/>
              <a:gd name="connsiteX30" fmla="*/ 185234 w 497133"/>
              <a:gd name="connsiteY30" fmla="*/ 339043 h 606722"/>
              <a:gd name="connsiteX31" fmla="*/ 165696 w 497133"/>
              <a:gd name="connsiteY31" fmla="*/ 330911 h 606722"/>
              <a:gd name="connsiteX32" fmla="*/ 312957 w 497133"/>
              <a:gd name="connsiteY32" fmla="*/ 16159 h 606722"/>
              <a:gd name="connsiteX33" fmla="*/ 480903 w 497133"/>
              <a:gd name="connsiteY33" fmla="*/ 183893 h 606722"/>
              <a:gd name="connsiteX34" fmla="*/ 441831 w 497133"/>
              <a:gd name="connsiteY34" fmla="*/ 183893 h 606722"/>
              <a:gd name="connsiteX35" fmla="*/ 402849 w 497133"/>
              <a:gd name="connsiteY35" fmla="*/ 183893 h 606722"/>
              <a:gd name="connsiteX36" fmla="*/ 312957 w 497133"/>
              <a:gd name="connsiteY36" fmla="*/ 183893 h 606722"/>
              <a:gd name="connsiteX37" fmla="*/ 312957 w 497133"/>
              <a:gd name="connsiteY37" fmla="*/ 94115 h 606722"/>
              <a:gd name="connsiteX38" fmla="*/ 312957 w 497133"/>
              <a:gd name="connsiteY38" fmla="*/ 55182 h 606722"/>
              <a:gd name="connsiteX39" fmla="*/ 27594 w 497133"/>
              <a:gd name="connsiteY39" fmla="*/ 0 h 606722"/>
              <a:gd name="connsiteX40" fmla="*/ 257779 w 497133"/>
              <a:gd name="connsiteY40" fmla="*/ 0 h 606722"/>
              <a:gd name="connsiteX41" fmla="*/ 257779 w 497133"/>
              <a:gd name="connsiteY41" fmla="*/ 27550 h 606722"/>
              <a:gd name="connsiteX42" fmla="*/ 257779 w 497133"/>
              <a:gd name="connsiteY42" fmla="*/ 55189 h 606722"/>
              <a:gd name="connsiteX43" fmla="*/ 257779 w 497133"/>
              <a:gd name="connsiteY43" fmla="*/ 211424 h 606722"/>
              <a:gd name="connsiteX44" fmla="*/ 285373 w 497133"/>
              <a:gd name="connsiteY44" fmla="*/ 238974 h 606722"/>
              <a:gd name="connsiteX45" fmla="*/ 441856 w 497133"/>
              <a:gd name="connsiteY45" fmla="*/ 238974 h 606722"/>
              <a:gd name="connsiteX46" fmla="*/ 469539 w 497133"/>
              <a:gd name="connsiteY46" fmla="*/ 238974 h 606722"/>
              <a:gd name="connsiteX47" fmla="*/ 497133 w 497133"/>
              <a:gd name="connsiteY47" fmla="*/ 238974 h 606722"/>
              <a:gd name="connsiteX48" fmla="*/ 497133 w 497133"/>
              <a:gd name="connsiteY48" fmla="*/ 579083 h 606722"/>
              <a:gd name="connsiteX49" fmla="*/ 469539 w 497133"/>
              <a:gd name="connsiteY49" fmla="*/ 606722 h 606722"/>
              <a:gd name="connsiteX50" fmla="*/ 27594 w 497133"/>
              <a:gd name="connsiteY50" fmla="*/ 606722 h 606722"/>
              <a:gd name="connsiteX51" fmla="*/ 0 w 497133"/>
              <a:gd name="connsiteY51" fmla="*/ 579083 h 606722"/>
              <a:gd name="connsiteX52" fmla="*/ 0 w 497133"/>
              <a:gd name="connsiteY52" fmla="*/ 27550 h 606722"/>
              <a:gd name="connsiteX53" fmla="*/ 27594 w 497133"/>
              <a:gd name="connsiteY53"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497133" h="606722">
                <a:moveTo>
                  <a:pt x="262319" y="331311"/>
                </a:moveTo>
                <a:cubicBezTo>
                  <a:pt x="247276" y="328823"/>
                  <a:pt x="233034" y="338954"/>
                  <a:pt x="230542" y="353973"/>
                </a:cubicBezTo>
                <a:lnTo>
                  <a:pt x="212116" y="464262"/>
                </a:lnTo>
                <a:cubicBezTo>
                  <a:pt x="209624" y="479281"/>
                  <a:pt x="219771" y="493501"/>
                  <a:pt x="234814" y="495989"/>
                </a:cubicBezTo>
                <a:cubicBezTo>
                  <a:pt x="236327" y="496256"/>
                  <a:pt x="237841" y="496433"/>
                  <a:pt x="239354" y="496433"/>
                </a:cubicBezTo>
                <a:cubicBezTo>
                  <a:pt x="252617" y="496433"/>
                  <a:pt x="264366" y="486835"/>
                  <a:pt x="266591" y="473327"/>
                </a:cubicBezTo>
                <a:lnTo>
                  <a:pt x="285017" y="363038"/>
                </a:lnTo>
                <a:cubicBezTo>
                  <a:pt x="287509" y="348019"/>
                  <a:pt x="277362" y="333800"/>
                  <a:pt x="262319" y="331311"/>
                </a:cubicBezTo>
                <a:close/>
                <a:moveTo>
                  <a:pt x="331437" y="330911"/>
                </a:moveTo>
                <a:cubicBezTo>
                  <a:pt x="324361" y="330911"/>
                  <a:pt x="317284" y="333622"/>
                  <a:pt x="311899" y="339043"/>
                </a:cubicBezTo>
                <a:cubicBezTo>
                  <a:pt x="301128" y="349796"/>
                  <a:pt x="301128" y="367215"/>
                  <a:pt x="311899" y="377968"/>
                </a:cubicBezTo>
                <a:lnTo>
                  <a:pt x="347593" y="413695"/>
                </a:lnTo>
                <a:lnTo>
                  <a:pt x="311899" y="449332"/>
                </a:lnTo>
                <a:cubicBezTo>
                  <a:pt x="301128" y="460085"/>
                  <a:pt x="301128" y="477504"/>
                  <a:pt x="311899" y="488346"/>
                </a:cubicBezTo>
                <a:cubicBezTo>
                  <a:pt x="317239" y="493678"/>
                  <a:pt x="324360" y="496345"/>
                  <a:pt x="331392" y="496345"/>
                </a:cubicBezTo>
                <a:cubicBezTo>
                  <a:pt x="338513" y="496345"/>
                  <a:pt x="345545" y="493678"/>
                  <a:pt x="350975" y="488346"/>
                </a:cubicBezTo>
                <a:lnTo>
                  <a:pt x="406163" y="433157"/>
                </a:lnTo>
                <a:cubicBezTo>
                  <a:pt x="416933" y="422404"/>
                  <a:pt x="416933" y="404896"/>
                  <a:pt x="406163" y="394143"/>
                </a:cubicBezTo>
                <a:lnTo>
                  <a:pt x="350975" y="339043"/>
                </a:lnTo>
                <a:cubicBezTo>
                  <a:pt x="345590" y="333622"/>
                  <a:pt x="338514" y="330911"/>
                  <a:pt x="331437" y="330911"/>
                </a:cubicBezTo>
                <a:close/>
                <a:moveTo>
                  <a:pt x="165696" y="330911"/>
                </a:moveTo>
                <a:cubicBezTo>
                  <a:pt x="158620" y="330911"/>
                  <a:pt x="151543" y="333622"/>
                  <a:pt x="146158" y="339043"/>
                </a:cubicBezTo>
                <a:lnTo>
                  <a:pt x="90881" y="394143"/>
                </a:lnTo>
                <a:cubicBezTo>
                  <a:pt x="80111" y="404896"/>
                  <a:pt x="80111" y="422404"/>
                  <a:pt x="90881" y="433157"/>
                </a:cubicBezTo>
                <a:lnTo>
                  <a:pt x="146158" y="488346"/>
                </a:lnTo>
                <a:cubicBezTo>
                  <a:pt x="151588" y="493678"/>
                  <a:pt x="158620" y="496345"/>
                  <a:pt x="165652" y="496345"/>
                </a:cubicBezTo>
                <a:cubicBezTo>
                  <a:pt x="172773" y="496345"/>
                  <a:pt x="179805" y="493678"/>
                  <a:pt x="185234" y="488346"/>
                </a:cubicBezTo>
                <a:cubicBezTo>
                  <a:pt x="196005" y="477504"/>
                  <a:pt x="196005" y="460085"/>
                  <a:pt x="185234" y="449332"/>
                </a:cubicBezTo>
                <a:lnTo>
                  <a:pt x="149540" y="413695"/>
                </a:lnTo>
                <a:lnTo>
                  <a:pt x="185234" y="377968"/>
                </a:lnTo>
                <a:cubicBezTo>
                  <a:pt x="196005" y="367215"/>
                  <a:pt x="196005" y="349796"/>
                  <a:pt x="185234" y="339043"/>
                </a:cubicBezTo>
                <a:cubicBezTo>
                  <a:pt x="179849" y="333622"/>
                  <a:pt x="172773" y="330911"/>
                  <a:pt x="165696" y="330911"/>
                </a:cubicBezTo>
                <a:close/>
                <a:moveTo>
                  <a:pt x="312957" y="16159"/>
                </a:moveTo>
                <a:lnTo>
                  <a:pt x="480903" y="183893"/>
                </a:lnTo>
                <a:lnTo>
                  <a:pt x="441831" y="183893"/>
                </a:lnTo>
                <a:lnTo>
                  <a:pt x="402849" y="183893"/>
                </a:lnTo>
                <a:lnTo>
                  <a:pt x="312957" y="183893"/>
                </a:lnTo>
                <a:lnTo>
                  <a:pt x="312957" y="94115"/>
                </a:lnTo>
                <a:lnTo>
                  <a:pt x="312957" y="55182"/>
                </a:lnTo>
                <a:close/>
                <a:moveTo>
                  <a:pt x="27594" y="0"/>
                </a:moveTo>
                <a:lnTo>
                  <a:pt x="257779" y="0"/>
                </a:lnTo>
                <a:lnTo>
                  <a:pt x="257779" y="27550"/>
                </a:lnTo>
                <a:lnTo>
                  <a:pt x="257779" y="55189"/>
                </a:lnTo>
                <a:lnTo>
                  <a:pt x="257779" y="211424"/>
                </a:lnTo>
                <a:cubicBezTo>
                  <a:pt x="257779" y="226621"/>
                  <a:pt x="270152" y="238974"/>
                  <a:pt x="285373" y="238974"/>
                </a:cubicBezTo>
                <a:lnTo>
                  <a:pt x="441856" y="238974"/>
                </a:lnTo>
                <a:lnTo>
                  <a:pt x="469539" y="238974"/>
                </a:lnTo>
                <a:lnTo>
                  <a:pt x="497133" y="238974"/>
                </a:lnTo>
                <a:lnTo>
                  <a:pt x="497133" y="579083"/>
                </a:lnTo>
                <a:cubicBezTo>
                  <a:pt x="497133" y="594369"/>
                  <a:pt x="484760" y="606722"/>
                  <a:pt x="469539" y="606722"/>
                </a:cubicBezTo>
                <a:lnTo>
                  <a:pt x="27594" y="606722"/>
                </a:lnTo>
                <a:cubicBezTo>
                  <a:pt x="12373" y="606722"/>
                  <a:pt x="0" y="594369"/>
                  <a:pt x="0" y="579083"/>
                </a:cubicBezTo>
                <a:lnTo>
                  <a:pt x="0" y="27550"/>
                </a:lnTo>
                <a:cubicBezTo>
                  <a:pt x="0" y="12353"/>
                  <a:pt x="12373" y="0"/>
                  <a:pt x="2759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文本框 30">
            <a:extLst>
              <a:ext uri="{FF2B5EF4-FFF2-40B4-BE49-F238E27FC236}">
                <a16:creationId xmlns:a16="http://schemas.microsoft.com/office/drawing/2014/main" id="{49C6851D-0B8E-1C42-8D96-2649D4037A72}"/>
              </a:ext>
            </a:extLst>
          </p:cNvPr>
          <p:cNvSpPr txBox="1"/>
          <p:nvPr/>
        </p:nvSpPr>
        <p:spPr>
          <a:xfrm>
            <a:off x="5262112" y="1579153"/>
            <a:ext cx="10189953" cy="400110"/>
          </a:xfrm>
          <a:prstGeom prst="rect">
            <a:avLst/>
          </a:prstGeom>
          <a:noFill/>
        </p:spPr>
        <p:txBody>
          <a:bodyPr wrap="square" rtlCol="0">
            <a:spAutoFit/>
          </a:bodyPr>
          <a:lstStyle/>
          <a:p>
            <a:r>
              <a:rPr kumimoji="1" lang="en-US" altLang="zh-CN" sz="2000" b="1" dirty="0">
                <a:latin typeface="Times New Roman" panose="02020603050405020304" pitchFamily="18" charset="0"/>
                <a:cs typeface="Times New Roman" panose="02020603050405020304" pitchFamily="18" charset="0"/>
              </a:rPr>
              <a:t>How</a:t>
            </a:r>
            <a:r>
              <a:rPr lang="zh-CN" altLang="zh-CN" dirty="0"/>
              <a:t> </a:t>
            </a:r>
            <a:r>
              <a:rPr kumimoji="1" lang="zh-CN" altLang="zh-CN" sz="2000" b="1" dirty="0">
                <a:latin typeface="Times New Roman" panose="02020603050405020304" pitchFamily="18" charset="0"/>
                <a:cs typeface="Times New Roman" panose="02020603050405020304" pitchFamily="18" charset="0"/>
              </a:rPr>
              <a:t>to deal with the impact of technical indicators when the market style changes</a:t>
            </a:r>
            <a:r>
              <a:rPr kumimoji="1" lang="zh-CN" altLang="en-US" sz="2000" b="1" dirty="0">
                <a:latin typeface="Times New Roman" panose="02020603050405020304" pitchFamily="18" charset="0"/>
                <a:cs typeface="Times New Roman" panose="02020603050405020304" pitchFamily="18" charset="0"/>
              </a:rPr>
              <a:t>？</a:t>
            </a:r>
            <a:r>
              <a:rPr kumimoji="1" lang="zh-CN" altLang="zh-CN" sz="2000" b="1" dirty="0">
                <a:latin typeface="Times New Roman" panose="02020603050405020304" pitchFamily="18" charset="0"/>
                <a:cs typeface="Times New Roman" panose="02020603050405020304" pitchFamily="18" charset="0"/>
              </a:rPr>
              <a:t> </a:t>
            </a:r>
            <a:endParaRPr kumimoji="1" lang="zh-CN" altLang="en-US" sz="2000" b="1" dirty="0">
              <a:latin typeface="Times New Roman" panose="02020603050405020304" pitchFamily="18" charset="0"/>
              <a:cs typeface="Times New Roman" panose="02020603050405020304" pitchFamily="18" charset="0"/>
            </a:endParaRPr>
          </a:p>
        </p:txBody>
      </p:sp>
      <p:sp>
        <p:nvSpPr>
          <p:cNvPr id="32" name="文本框 31">
            <a:extLst>
              <a:ext uri="{FF2B5EF4-FFF2-40B4-BE49-F238E27FC236}">
                <a16:creationId xmlns:a16="http://schemas.microsoft.com/office/drawing/2014/main" id="{7EF2E7D5-F6B9-4A4F-8C3D-6DB0261C432C}"/>
              </a:ext>
            </a:extLst>
          </p:cNvPr>
          <p:cNvSpPr txBox="1"/>
          <p:nvPr/>
        </p:nvSpPr>
        <p:spPr>
          <a:xfrm>
            <a:off x="5262113" y="5182334"/>
            <a:ext cx="1314210" cy="400110"/>
          </a:xfrm>
          <a:prstGeom prst="rect">
            <a:avLst/>
          </a:prstGeom>
          <a:noFill/>
        </p:spPr>
        <p:txBody>
          <a:bodyPr wrap="square" rtlCol="0">
            <a:spAutoFit/>
          </a:bodyPr>
          <a:lstStyle/>
          <a:p>
            <a:r>
              <a:rPr kumimoji="1" lang="en-US" altLang="zh-CN" sz="2000" b="1" dirty="0">
                <a:latin typeface="Times New Roman" panose="02020603050405020304" pitchFamily="18" charset="0"/>
                <a:cs typeface="Times New Roman" panose="02020603050405020304" pitchFamily="18" charset="0"/>
              </a:rPr>
              <a:t>RSRS</a:t>
            </a:r>
            <a:endParaRPr kumimoji="1" lang="zh-CN" altLang="en-US" b="1" dirty="0">
              <a:latin typeface="Times New Roman" panose="02020603050405020304" pitchFamily="18" charset="0"/>
              <a:cs typeface="Times New Roman" panose="02020603050405020304" pitchFamily="18" charset="0"/>
            </a:endParaRPr>
          </a:p>
        </p:txBody>
      </p:sp>
      <p:sp>
        <p:nvSpPr>
          <p:cNvPr id="35" name="文本框 34">
            <a:extLst>
              <a:ext uri="{FF2B5EF4-FFF2-40B4-BE49-F238E27FC236}">
                <a16:creationId xmlns:a16="http://schemas.microsoft.com/office/drawing/2014/main" id="{3A0B3F52-CA2D-6C40-8716-E2A87306EEEF}"/>
              </a:ext>
            </a:extLst>
          </p:cNvPr>
          <p:cNvSpPr txBox="1"/>
          <p:nvPr/>
        </p:nvSpPr>
        <p:spPr>
          <a:xfrm>
            <a:off x="5469147" y="2101777"/>
            <a:ext cx="10189953" cy="1323439"/>
          </a:xfrm>
          <a:prstGeom prst="rect">
            <a:avLst/>
          </a:prstGeom>
          <a:noFill/>
        </p:spPr>
        <p:txBody>
          <a:bodyPr wrap="square" rtlCol="0">
            <a:spAutoFit/>
          </a:bodyPr>
          <a:lstStyle/>
          <a:p>
            <a:pPr marL="285750" lvl="0" indent="-285750">
              <a:buFont typeface="Wingdings" pitchFamily="2" charset="2"/>
              <a:buChar char="Ø"/>
            </a:pPr>
            <a:r>
              <a:rPr lang="zh-CN" altLang="zh-CN" sz="2000" dirty="0"/>
              <a:t>One solution is to face it head-on, devise a logic that can predict to a certain extent whether the future market will be trending or fluctuating.</a:t>
            </a:r>
          </a:p>
          <a:p>
            <a:pPr marL="285750" lvl="0" indent="-285750">
              <a:buFont typeface="Wingdings" pitchFamily="2" charset="2"/>
              <a:buChar char="Ø"/>
            </a:pPr>
            <a:r>
              <a:rPr lang="zh-CN" altLang="zh-CN" sz="2000" dirty="0"/>
              <a:t>Another solution is to bypass him. When constructing indicators, the timing logic behind it does not rely on the assumption of current market conditions.</a:t>
            </a:r>
          </a:p>
        </p:txBody>
      </p:sp>
      <p:sp>
        <p:nvSpPr>
          <p:cNvPr id="36" name="圆角矩形 35">
            <a:extLst>
              <a:ext uri="{FF2B5EF4-FFF2-40B4-BE49-F238E27FC236}">
                <a16:creationId xmlns:a16="http://schemas.microsoft.com/office/drawing/2014/main" id="{ECEAC95C-DE36-C543-80EB-DE3BBFBAEE8D}"/>
              </a:ext>
            </a:extLst>
          </p:cNvPr>
          <p:cNvSpPr/>
          <p:nvPr/>
        </p:nvSpPr>
        <p:spPr>
          <a:xfrm>
            <a:off x="1104182" y="1607362"/>
            <a:ext cx="310550" cy="3494899"/>
          </a:xfrm>
          <a:prstGeom prst="roundRect">
            <a:avLst/>
          </a:prstGeom>
          <a:solidFill>
            <a:srgbClr val="BA996A"/>
          </a:solidFill>
          <a:ln>
            <a:solidFill>
              <a:srgbClr val="BA99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7" name="圆角矩形 36">
            <a:extLst>
              <a:ext uri="{FF2B5EF4-FFF2-40B4-BE49-F238E27FC236}">
                <a16:creationId xmlns:a16="http://schemas.microsoft.com/office/drawing/2014/main" id="{09FED13B-7FAA-6740-B506-F4A9CCBA1AA8}"/>
              </a:ext>
            </a:extLst>
          </p:cNvPr>
          <p:cNvSpPr/>
          <p:nvPr/>
        </p:nvSpPr>
        <p:spPr>
          <a:xfrm>
            <a:off x="1104182" y="5122151"/>
            <a:ext cx="310550" cy="3494899"/>
          </a:xfrm>
          <a:prstGeom prst="roundRect">
            <a:avLst/>
          </a:prstGeom>
          <a:solidFill>
            <a:srgbClr val="475B7C"/>
          </a:solidFill>
          <a:ln>
            <a:solidFill>
              <a:srgbClr val="BA99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39" name="直线连接符 38">
            <a:extLst>
              <a:ext uri="{FF2B5EF4-FFF2-40B4-BE49-F238E27FC236}">
                <a16:creationId xmlns:a16="http://schemas.microsoft.com/office/drawing/2014/main" id="{7BD0E342-58E4-1A45-A371-648F63364019}"/>
              </a:ext>
            </a:extLst>
          </p:cNvPr>
          <p:cNvCxnSpPr/>
          <p:nvPr/>
        </p:nvCxnSpPr>
        <p:spPr>
          <a:xfrm>
            <a:off x="5037826" y="1779208"/>
            <a:ext cx="0" cy="6796141"/>
          </a:xfrm>
          <a:prstGeom prst="line">
            <a:avLst/>
          </a:prstGeom>
          <a:ln w="15875">
            <a:headEnd type="triangle"/>
            <a:tailEnd type="triangle"/>
          </a:ln>
        </p:spPr>
        <p:style>
          <a:lnRef idx="1">
            <a:schemeClr val="accent1"/>
          </a:lnRef>
          <a:fillRef idx="0">
            <a:schemeClr val="accent1"/>
          </a:fillRef>
          <a:effectRef idx="0">
            <a:schemeClr val="accent1"/>
          </a:effectRef>
          <a:fontRef idx="minor">
            <a:schemeClr val="tx1"/>
          </a:fontRef>
        </p:style>
      </p:cxnSp>
      <p:sp>
        <p:nvSpPr>
          <p:cNvPr id="40" name="文本框 39">
            <a:extLst>
              <a:ext uri="{FF2B5EF4-FFF2-40B4-BE49-F238E27FC236}">
                <a16:creationId xmlns:a16="http://schemas.microsoft.com/office/drawing/2014/main" id="{FFEFC9DB-6C17-7C45-840C-926E576EBDE1}"/>
              </a:ext>
            </a:extLst>
          </p:cNvPr>
          <p:cNvSpPr txBox="1"/>
          <p:nvPr/>
        </p:nvSpPr>
        <p:spPr>
          <a:xfrm>
            <a:off x="5348376" y="5428059"/>
            <a:ext cx="10714007" cy="3600986"/>
          </a:xfrm>
          <a:prstGeom prst="rect">
            <a:avLst/>
          </a:prstGeom>
          <a:noFill/>
        </p:spPr>
        <p:txBody>
          <a:bodyPr wrap="square" rtlCol="0">
            <a:spAutoFit/>
          </a:bodyPr>
          <a:lstStyle/>
          <a:p>
            <a:pPr marL="285750" indent="-285750">
              <a:buFont typeface="Arial" panose="020B0604020202020204" pitchFamily="34" charset="0"/>
              <a:buChar char="•"/>
            </a:pPr>
            <a:r>
              <a:rPr lang="en-US" altLang="zh-CN" sz="2000" dirty="0"/>
              <a:t>“R</a:t>
            </a:r>
            <a:r>
              <a:rPr lang="zh-CN" altLang="zh-CN" sz="2000" dirty="0"/>
              <a:t>esistance point</a:t>
            </a:r>
            <a:r>
              <a:rPr lang="en-US" altLang="zh-CN" sz="2000" dirty="0"/>
              <a:t>”&amp; “S</a:t>
            </a:r>
            <a:r>
              <a:rPr lang="zh-CN" altLang="zh-CN" sz="2000" dirty="0"/>
              <a:t>upport point</a:t>
            </a:r>
            <a:r>
              <a:rPr lang="en-US" altLang="zh-CN" sz="2000" dirty="0"/>
              <a:t>”</a:t>
            </a:r>
          </a:p>
          <a:p>
            <a:pPr marL="285750" indent="-285750">
              <a:buFont typeface="Arial" panose="020B0604020202020204" pitchFamily="34" charset="0"/>
              <a:buChar char="•"/>
            </a:pPr>
            <a:r>
              <a:rPr lang="zh-CN" altLang="zh-CN" sz="2000" dirty="0"/>
              <a:t>Therefore, we can think of resistance and support levels as </a:t>
            </a:r>
            <a:r>
              <a:rPr lang="zh-CN" altLang="zh-CN" sz="2000" b="1" i="1" u="sng" dirty="0"/>
              <a:t>variables.</a:t>
            </a:r>
            <a:endParaRPr lang="en-US" altLang="zh-CN" sz="2000" b="1" i="1" u="sng" dirty="0"/>
          </a:p>
          <a:p>
            <a:pPr marL="285750" indent="-285750">
              <a:buFont typeface="Arial" panose="020B0604020202020204" pitchFamily="34" charset="0"/>
              <a:buChar char="•"/>
            </a:pPr>
            <a:r>
              <a:rPr lang="zh-CN" altLang="zh-CN" sz="2000" dirty="0"/>
              <a:t>It is a variable, two main concepts - </a:t>
            </a:r>
            <a:r>
              <a:rPr lang="zh-CN" altLang="zh-CN" sz="2000" b="1" i="1" u="sng" dirty="0"/>
              <a:t>expectation and variance.</a:t>
            </a:r>
            <a:endParaRPr lang="en-US" altLang="zh-CN" sz="2000" b="1" i="1" u="sng" dirty="0"/>
          </a:p>
          <a:p>
            <a:pPr marL="285750" indent="-285750">
              <a:buFont typeface="Arial" panose="020B0604020202020204" pitchFamily="34" charset="0"/>
              <a:buChar char="•"/>
            </a:pPr>
            <a:r>
              <a:rPr lang="zh-CN" altLang="zh-CN" sz="2000" dirty="0"/>
              <a:t>when we can compare the strength of resistance and support, then a natural timing logic is: </a:t>
            </a:r>
            <a:endParaRPr lang="en-US" altLang="zh-CN" sz="2000" dirty="0"/>
          </a:p>
          <a:p>
            <a:pPr marL="285750" indent="-285750">
              <a:buFont typeface="Arial" panose="020B0604020202020204" pitchFamily="34" charset="0"/>
              <a:buChar char="•"/>
            </a:pPr>
            <a:r>
              <a:rPr lang="zh-CN" altLang="zh-CN" sz="2000" dirty="0"/>
              <a:t>if the current market support level is </a:t>
            </a:r>
            <a:r>
              <a:rPr lang="zh-CN" altLang="zh-CN" sz="2000" b="1" u="sng" dirty="0"/>
              <a:t>stronger</a:t>
            </a:r>
            <a:r>
              <a:rPr lang="zh-CN" altLang="zh-CN" sz="2000" dirty="0"/>
              <a:t> than the resistance level, then the market is more like </a:t>
            </a:r>
            <a:r>
              <a:rPr lang="zh-CN" altLang="zh-CN" sz="2000" b="1" u="sng" dirty="0"/>
              <a:t>a bull market</a:t>
            </a:r>
            <a:r>
              <a:rPr lang="zh-CN" altLang="zh-CN" sz="2000" dirty="0"/>
              <a:t>;</a:t>
            </a:r>
            <a:endParaRPr lang="en-US" altLang="zh-CN" sz="2000" dirty="0"/>
          </a:p>
          <a:p>
            <a:pPr marL="285750" indent="-285750">
              <a:buFont typeface="Arial" panose="020B0604020202020204" pitchFamily="34" charset="0"/>
              <a:buChar char="•"/>
            </a:pPr>
            <a:r>
              <a:rPr lang="zh-CN" altLang="zh-CN" sz="2000" dirty="0"/>
              <a:t>if the current market support level strength </a:t>
            </a:r>
            <a:r>
              <a:rPr lang="zh-CN" altLang="zh-CN" sz="2000" b="1" u="sng" dirty="0"/>
              <a:t>Less</a:t>
            </a:r>
            <a:r>
              <a:rPr lang="zh-CN" altLang="zh-CN" sz="2000" dirty="0"/>
              <a:t> than the strength of the resistance level, then the market is more inclined to develop into a </a:t>
            </a:r>
            <a:r>
              <a:rPr lang="zh-CN" altLang="zh-CN" sz="2000" b="1" u="sng" dirty="0"/>
              <a:t>bear market</a:t>
            </a:r>
            <a:r>
              <a:rPr lang="en-US" altLang="zh-CN" sz="2000" dirty="0"/>
              <a:t>.</a:t>
            </a:r>
          </a:p>
          <a:p>
            <a:r>
              <a:rPr lang="zh-CN" altLang="zh-CN" sz="2400" dirty="0">
                <a:solidFill>
                  <a:srgbClr val="C00000"/>
                </a:solidFill>
              </a:rPr>
              <a:t> This logic does not need to judge whether the current market is falling, fluctuating or rising</a:t>
            </a:r>
            <a:r>
              <a:rPr lang="en-US" altLang="zh-CN" sz="2400" dirty="0">
                <a:solidFill>
                  <a:srgbClr val="C00000"/>
                </a:solidFill>
              </a:rPr>
              <a:t>!</a:t>
            </a:r>
            <a:endParaRPr lang="zh-CN" altLang="zh-CN" sz="2400" dirty="0">
              <a:solidFill>
                <a:srgbClr val="C00000"/>
              </a:solidFill>
            </a:endParaRPr>
          </a:p>
          <a:p>
            <a:pPr marL="285750" indent="-285750">
              <a:buFont typeface="Arial" panose="020B0604020202020204" pitchFamily="34" charset="0"/>
              <a:buChar char="•"/>
            </a:pPr>
            <a:endParaRPr kumimoji="1" lang="zh-CN" altLang="en-US" sz="2000" dirty="0"/>
          </a:p>
        </p:txBody>
      </p:sp>
      <p:sp>
        <p:nvSpPr>
          <p:cNvPr id="42" name="标题 1150">
            <a:extLst>
              <a:ext uri="{FF2B5EF4-FFF2-40B4-BE49-F238E27FC236}">
                <a16:creationId xmlns:a16="http://schemas.microsoft.com/office/drawing/2014/main" id="{220921C5-3D27-494C-A6D6-F69F2840D7D9}"/>
              </a:ext>
            </a:extLst>
          </p:cNvPr>
          <p:cNvSpPr txBox="1">
            <a:spLocks/>
          </p:cNvSpPr>
          <p:nvPr/>
        </p:nvSpPr>
        <p:spPr>
          <a:xfrm>
            <a:off x="609600" y="427038"/>
            <a:ext cx="8229600" cy="1143000"/>
          </a:xfrm>
          <a:prstGeom prst="rect">
            <a:avLst/>
          </a:prstGeom>
        </p:spPr>
        <p:txBody>
          <a:bodyPr vert="horz" lIns="91440" tIns="45720" rIns="91440" bIns="45720" rtlCol="0" anchor="ctr">
            <a:normAutofit fontScale="925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altLang="zh-CN" b="1" dirty="0">
                <a:solidFill>
                  <a:srgbClr val="C00000"/>
                </a:solidFill>
                <a:latin typeface="Times New Roman" panose="02020603050405020304" pitchFamily="18" charset="0"/>
                <a:cs typeface="Times New Roman" panose="02020603050405020304" pitchFamily="18" charset="0"/>
              </a:rPr>
              <a:t>Research</a:t>
            </a:r>
            <a:r>
              <a:rPr lang="zh-CN" altLang="en-US" b="1" dirty="0">
                <a:solidFill>
                  <a:srgbClr val="C00000"/>
                </a:solidFill>
                <a:latin typeface="Times New Roman" panose="02020603050405020304" pitchFamily="18" charset="0"/>
                <a:cs typeface="Times New Roman" panose="02020603050405020304" pitchFamily="18" charset="0"/>
              </a:rPr>
              <a:t> </a:t>
            </a:r>
            <a:r>
              <a:rPr lang="en-US" altLang="zh-CN" b="1" dirty="0">
                <a:solidFill>
                  <a:srgbClr val="C00000"/>
                </a:solidFill>
                <a:latin typeface="Times New Roman" panose="02020603050405020304" pitchFamily="18" charset="0"/>
                <a:cs typeface="Times New Roman" panose="02020603050405020304" pitchFamily="18" charset="0"/>
              </a:rPr>
              <a:t>Purpose and </a:t>
            </a:r>
            <a:r>
              <a:rPr lang="en-US" altLang="zh-CN" b="1" dirty="0" err="1">
                <a:solidFill>
                  <a:srgbClr val="C00000"/>
                </a:solidFill>
                <a:latin typeface="Times New Roman" panose="02020603050405020304" pitchFamily="18" charset="0"/>
                <a:cs typeface="Times New Roman" panose="02020603050405020304" pitchFamily="18" charset="0"/>
              </a:rPr>
              <a:t>Siginificance</a:t>
            </a:r>
            <a:endParaRPr lang="zh-CN" altLang="en-US" b="1" dirty="0">
              <a:solidFill>
                <a:srgbClr val="C00000"/>
              </a:solidFill>
              <a:latin typeface="Times New Roman" panose="02020603050405020304" pitchFamily="18" charset="0"/>
              <a:cs typeface="Times New Roman" panose="02020603050405020304" pitchFamily="18" charset="0"/>
            </a:endParaRPr>
          </a:p>
        </p:txBody>
      </p:sp>
      <p:sp>
        <p:nvSpPr>
          <p:cNvPr id="27" name="文本框 26">
            <a:extLst>
              <a:ext uri="{FF2B5EF4-FFF2-40B4-BE49-F238E27FC236}">
                <a16:creationId xmlns:a16="http://schemas.microsoft.com/office/drawing/2014/main" id="{66E78BF6-B60C-FBB5-3C41-95E736762393}"/>
              </a:ext>
            </a:extLst>
          </p:cNvPr>
          <p:cNvSpPr txBox="1"/>
          <p:nvPr/>
        </p:nvSpPr>
        <p:spPr>
          <a:xfrm>
            <a:off x="5687568" y="3369597"/>
            <a:ext cx="9895332" cy="1631216"/>
          </a:xfrm>
          <a:prstGeom prst="rect">
            <a:avLst/>
          </a:prstGeom>
          <a:noFill/>
        </p:spPr>
        <p:txBody>
          <a:bodyPr wrap="square" rtlCol="0">
            <a:spAutoFit/>
          </a:bodyPr>
          <a:lstStyle/>
          <a:p>
            <a:r>
              <a:rPr lang="zh-CN" altLang="zh-CN" sz="2000" b="1" dirty="0">
                <a:solidFill>
                  <a:schemeClr val="accent3"/>
                </a:solidFill>
              </a:rPr>
              <a:t>The purpose of this study is to </a:t>
            </a:r>
            <a:r>
              <a:rPr lang="zh-CN" altLang="zh-CN" sz="2000" b="1" i="1" u="sng" dirty="0">
                <a:solidFill>
                  <a:schemeClr val="accent3"/>
                </a:solidFill>
              </a:rPr>
              <a:t>maximize</a:t>
            </a:r>
            <a:r>
              <a:rPr lang="zh-CN" altLang="zh-CN" sz="2000" b="1" dirty="0">
                <a:solidFill>
                  <a:schemeClr val="accent3"/>
                </a:solidFill>
              </a:rPr>
              <a:t> the ability to predict the future market, </a:t>
            </a:r>
            <a:r>
              <a:rPr lang="zh-CN" altLang="zh-CN" sz="2000" b="1" i="1" u="sng" dirty="0">
                <a:solidFill>
                  <a:schemeClr val="accent3"/>
                </a:solidFill>
              </a:rPr>
              <a:t>reduce</a:t>
            </a:r>
            <a:r>
              <a:rPr lang="zh-CN" altLang="zh-CN" sz="2000" b="1" dirty="0">
                <a:solidFill>
                  <a:schemeClr val="accent3"/>
                </a:solidFill>
              </a:rPr>
              <a:t> investment risks, and find a timing logic that is </a:t>
            </a:r>
            <a:r>
              <a:rPr lang="zh-CN" altLang="zh-CN" sz="2000" b="1" i="1" u="sng" dirty="0">
                <a:solidFill>
                  <a:schemeClr val="accent3"/>
                </a:solidFill>
              </a:rPr>
              <a:t>feasible in both trending and volatile markets </a:t>
            </a:r>
            <a:r>
              <a:rPr lang="en-US" altLang="zh-CN" sz="2000" b="1" dirty="0">
                <a:solidFill>
                  <a:schemeClr val="accent3"/>
                </a:solidFill>
              </a:rPr>
              <a:t>.</a:t>
            </a:r>
          </a:p>
          <a:p>
            <a:pPr marL="285750" indent="-285750">
              <a:buFont typeface="Wingdings" pitchFamily="2" charset="2"/>
              <a:buChar char="Ø"/>
            </a:pPr>
            <a:r>
              <a:rPr lang="en-US" altLang="zh-CN" sz="2000" dirty="0"/>
              <a:t>F</a:t>
            </a:r>
            <a:r>
              <a:rPr lang="zh-CN" altLang="zh-CN" sz="2000" dirty="0"/>
              <a:t>irst</a:t>
            </a:r>
            <a:r>
              <a:rPr lang="en-US" altLang="zh-CN" sz="2000" dirty="0"/>
              <a:t>,</a:t>
            </a:r>
            <a:r>
              <a:rPr lang="zh-CN" altLang="zh-CN" sz="2000" dirty="0"/>
              <a:t>to determine whether the market outlook is a trend market or a volatile market</a:t>
            </a:r>
            <a:endParaRPr lang="en-US" altLang="zh-CN" sz="2000" dirty="0"/>
          </a:p>
          <a:p>
            <a:pPr marL="285750" indent="-285750">
              <a:buFont typeface="Wingdings" pitchFamily="2" charset="2"/>
              <a:buChar char="Ø"/>
            </a:pPr>
            <a:r>
              <a:rPr lang="zh-CN" altLang="zh-CN" sz="2000" dirty="0"/>
              <a:t>second, to determine the current support and resistance levels.</a:t>
            </a:r>
          </a:p>
        </p:txBody>
      </p:sp>
    </p:spTree>
    <p:extLst>
      <p:ext uri="{BB962C8B-B14F-4D97-AF65-F5344CB8AC3E}">
        <p14:creationId xmlns:p14="http://schemas.microsoft.com/office/powerpoint/2010/main" val="15418022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9" name="矩形 478">
            <a:extLst>
              <a:ext uri="{FF2B5EF4-FFF2-40B4-BE49-F238E27FC236}">
                <a16:creationId xmlns:a16="http://schemas.microsoft.com/office/drawing/2014/main" id="{EC18E537-7ACF-0146-AECE-775D592B9773}"/>
              </a:ext>
            </a:extLst>
          </p:cNvPr>
          <p:cNvSpPr/>
          <p:nvPr/>
        </p:nvSpPr>
        <p:spPr bwMode="auto">
          <a:xfrm>
            <a:off x="1975517" y="3217420"/>
            <a:ext cx="3323342" cy="5499542"/>
          </a:xfrm>
          <a:prstGeom prst="rect">
            <a:avLst/>
          </a:prstGeom>
          <a:solidFill>
            <a:schemeClr val="bg1"/>
          </a:solidFill>
          <a:ln w="3175" cmpd="sng">
            <a:solidFill>
              <a:srgbClr val="475B7C"/>
            </a:solidFill>
            <a:prstDash val="dash"/>
            <a:miter lim="800000"/>
          </a:ln>
        </p:spPr>
        <p:txBody>
          <a:bodyPr rot="0" spcFirstLastPara="0" vertOverflow="overflow" horzOverflow="overflow" vert="horz" wrap="square" lIns="72000" tIns="36000" rIns="72000" bIns="36000" numCol="1" spcCol="0" rtlCol="0" fromWordArt="0" anchor="ctr" anchorCtr="0" forceAA="0" compatLnSpc="1">
            <a:noAutofit/>
          </a:bodyPr>
          <a:lstStyle/>
          <a:p>
            <a:pPr algn="ctr" fontAlgn="base">
              <a:spcBef>
                <a:spcPts val="100"/>
              </a:spcBef>
              <a:spcAft>
                <a:spcPct val="0"/>
              </a:spcAft>
              <a:buSzPct val="100000"/>
            </a:pPr>
            <a:endParaRPr lang="en-US" sz="1600" b="1" dirty="0">
              <a:solidFill>
                <a:schemeClr val="bg1"/>
              </a:solidFill>
              <a:latin typeface="楷体" panose="02010609060101010101" pitchFamily="49" charset="-122"/>
              <a:ea typeface="楷体" panose="02010609060101010101" pitchFamily="49" charset="-122"/>
            </a:endParaRPr>
          </a:p>
        </p:txBody>
      </p:sp>
      <p:sp>
        <p:nvSpPr>
          <p:cNvPr id="433" name="矩形 432">
            <a:extLst>
              <a:ext uri="{FF2B5EF4-FFF2-40B4-BE49-F238E27FC236}">
                <a16:creationId xmlns:a16="http://schemas.microsoft.com/office/drawing/2014/main" id="{CA7ED4BA-1167-A740-8554-37E0316FEA2E}"/>
              </a:ext>
            </a:extLst>
          </p:cNvPr>
          <p:cNvSpPr/>
          <p:nvPr/>
        </p:nvSpPr>
        <p:spPr bwMode="auto">
          <a:xfrm>
            <a:off x="4172315" y="1338022"/>
            <a:ext cx="7502778" cy="614925"/>
          </a:xfrm>
          <a:prstGeom prst="rect">
            <a:avLst/>
          </a:prstGeom>
          <a:solidFill>
            <a:srgbClr val="475B7C"/>
          </a:solidFill>
          <a:ln w="9525" cmpd="sng">
            <a:noFill/>
            <a:miter lim="800000"/>
          </a:ln>
        </p:spPr>
        <p:txBody>
          <a:bodyPr rot="0" spcFirstLastPara="0" vertOverflow="overflow" horzOverflow="overflow" vert="horz" wrap="square" lIns="72000" tIns="36000" rIns="72000" bIns="36000" numCol="1" spcCol="0" rtlCol="0" fromWordArt="0" anchor="ctr" anchorCtr="0" forceAA="0" compatLnSpc="1">
            <a:noAutofit/>
          </a:bodyPr>
          <a:lstStyle/>
          <a:p>
            <a:pPr algn="ctr" fontAlgn="base">
              <a:spcBef>
                <a:spcPts val="100"/>
              </a:spcBef>
              <a:spcAft>
                <a:spcPct val="0"/>
              </a:spcAft>
              <a:buSzPct val="100000"/>
            </a:pPr>
            <a:r>
              <a:rPr lang="en-US" altLang="zh-CN" sz="2400" b="1" dirty="0">
                <a:solidFill>
                  <a:schemeClr val="bg1"/>
                </a:solidFill>
                <a:latin typeface="Times New Roman" panose="02020603050405020304" pitchFamily="18" charset="0"/>
                <a:ea typeface="楷体" panose="02010609060101010101" pitchFamily="49" charset="-122"/>
                <a:cs typeface="Times New Roman" panose="02020603050405020304" pitchFamily="18" charset="0"/>
              </a:rPr>
              <a:t>Literature</a:t>
            </a:r>
            <a:r>
              <a:rPr lang="zh-CN" altLang="en-US" sz="2400" b="1" dirty="0">
                <a:solidFill>
                  <a:schemeClr val="bg1"/>
                </a:solidFill>
                <a:latin typeface="Times New Roman" panose="02020603050405020304" pitchFamily="18" charset="0"/>
                <a:ea typeface="楷体" panose="02010609060101010101" pitchFamily="49" charset="-122"/>
                <a:cs typeface="Times New Roman" panose="02020603050405020304" pitchFamily="18" charset="0"/>
              </a:rPr>
              <a:t> </a:t>
            </a:r>
            <a:r>
              <a:rPr lang="en-US" altLang="zh-CN" sz="2400" b="1" dirty="0">
                <a:solidFill>
                  <a:schemeClr val="bg1"/>
                </a:solidFill>
                <a:latin typeface="Times New Roman" panose="02020603050405020304" pitchFamily="18" charset="0"/>
                <a:ea typeface="楷体" panose="02010609060101010101" pitchFamily="49" charset="-122"/>
                <a:cs typeface="Times New Roman" panose="02020603050405020304" pitchFamily="18" charset="0"/>
              </a:rPr>
              <a:t>Review</a:t>
            </a:r>
            <a:endParaRPr lang="en-US" sz="2400" b="1" dirty="0">
              <a:solidFill>
                <a:schemeClr val="bg1"/>
              </a:solidFill>
              <a:latin typeface="Times New Roman" panose="02020603050405020304" pitchFamily="18" charset="0"/>
              <a:ea typeface="楷体" panose="02010609060101010101" pitchFamily="49" charset="-122"/>
              <a:cs typeface="Times New Roman" panose="02020603050405020304" pitchFamily="18" charset="0"/>
            </a:endParaRPr>
          </a:p>
        </p:txBody>
      </p:sp>
      <p:sp>
        <p:nvSpPr>
          <p:cNvPr id="435" name="矩形 434">
            <a:extLst>
              <a:ext uri="{FF2B5EF4-FFF2-40B4-BE49-F238E27FC236}">
                <a16:creationId xmlns:a16="http://schemas.microsoft.com/office/drawing/2014/main" id="{D4A7043C-312B-BE40-9DCE-282BC7364A04}"/>
              </a:ext>
            </a:extLst>
          </p:cNvPr>
          <p:cNvSpPr/>
          <p:nvPr/>
        </p:nvSpPr>
        <p:spPr bwMode="auto">
          <a:xfrm>
            <a:off x="1984075" y="2467489"/>
            <a:ext cx="3323342" cy="614925"/>
          </a:xfrm>
          <a:prstGeom prst="rect">
            <a:avLst/>
          </a:prstGeom>
          <a:solidFill>
            <a:srgbClr val="BA996A"/>
          </a:solidFill>
          <a:ln w="9525" cmpd="sng">
            <a:noFill/>
            <a:miter lim="800000"/>
          </a:ln>
        </p:spPr>
        <p:txBody>
          <a:bodyPr rot="0" spcFirstLastPara="0" vertOverflow="overflow" horzOverflow="overflow" vert="horz" wrap="square" lIns="72000" tIns="36000" rIns="72000" bIns="36000" numCol="1" spcCol="0" rtlCol="0" fromWordArt="0" anchor="ctr" anchorCtr="0" forceAA="0" compatLnSpc="1">
            <a:noAutofit/>
          </a:bodyPr>
          <a:lstStyle/>
          <a:p>
            <a:pPr algn="ctr" fontAlgn="base">
              <a:spcBef>
                <a:spcPts val="100"/>
              </a:spcBef>
              <a:spcAft>
                <a:spcPct val="0"/>
              </a:spcAft>
              <a:buSzPct val="100000"/>
            </a:pPr>
            <a:r>
              <a:rPr lang="en-US" altLang="zh-CN" sz="1600" b="1" dirty="0">
                <a:solidFill>
                  <a:schemeClr val="bg1"/>
                </a:solidFill>
                <a:latin typeface="Times New Roman" panose="02020603050405020304" pitchFamily="18" charset="0"/>
                <a:cs typeface="Times New Roman" panose="02020603050405020304" pitchFamily="18" charset="0"/>
              </a:rPr>
              <a:t> Based on macro-fundamental economic indicators</a:t>
            </a:r>
            <a:endParaRPr lang="en-US" sz="1600" b="1" dirty="0">
              <a:solidFill>
                <a:schemeClr val="bg1"/>
              </a:solidFill>
              <a:latin typeface="Times New Roman" panose="02020603050405020304" pitchFamily="18" charset="0"/>
              <a:ea typeface="楷体" panose="02010609060101010101" pitchFamily="49" charset="-122"/>
              <a:cs typeface="Times New Roman" panose="02020603050405020304" pitchFamily="18" charset="0"/>
            </a:endParaRPr>
          </a:p>
        </p:txBody>
      </p:sp>
      <p:sp>
        <p:nvSpPr>
          <p:cNvPr id="436" name="矩形 435">
            <a:extLst>
              <a:ext uri="{FF2B5EF4-FFF2-40B4-BE49-F238E27FC236}">
                <a16:creationId xmlns:a16="http://schemas.microsoft.com/office/drawing/2014/main" id="{DD663C8C-3863-E548-AF21-2ECB5B2FB9B7}"/>
              </a:ext>
            </a:extLst>
          </p:cNvPr>
          <p:cNvSpPr/>
          <p:nvPr/>
        </p:nvSpPr>
        <p:spPr bwMode="auto">
          <a:xfrm>
            <a:off x="10561091" y="2486580"/>
            <a:ext cx="3323342" cy="614925"/>
          </a:xfrm>
          <a:prstGeom prst="rect">
            <a:avLst/>
          </a:prstGeom>
          <a:solidFill>
            <a:srgbClr val="BA996A"/>
          </a:solidFill>
          <a:ln w="9525" cmpd="sng">
            <a:noFill/>
            <a:miter lim="800000"/>
          </a:ln>
        </p:spPr>
        <p:txBody>
          <a:bodyPr rot="0" spcFirstLastPara="0" vertOverflow="overflow" horzOverflow="overflow" vert="horz" wrap="square" lIns="72000" tIns="36000" rIns="72000" bIns="36000" numCol="1" spcCol="0" rtlCol="0" fromWordArt="0" anchor="ctr" anchorCtr="0" forceAA="0" compatLnSpc="1">
            <a:noAutofit/>
          </a:bodyPr>
          <a:lstStyle/>
          <a:p>
            <a:pPr algn="ctr" fontAlgn="base">
              <a:spcBef>
                <a:spcPts val="100"/>
              </a:spcBef>
              <a:spcAft>
                <a:spcPct val="0"/>
              </a:spcAft>
              <a:buSzPct val="100000"/>
            </a:pPr>
            <a:r>
              <a:rPr lang="en-US" altLang="zh-CN" sz="1600" b="1" dirty="0">
                <a:solidFill>
                  <a:schemeClr val="bg1"/>
                </a:solidFill>
                <a:latin typeface="Times New Roman" panose="02020603050405020304" pitchFamily="18" charset="0"/>
                <a:cs typeface="Times New Roman" panose="02020603050405020304" pitchFamily="18" charset="0"/>
              </a:rPr>
              <a:t>Based on market price and volume information</a:t>
            </a:r>
            <a:r>
              <a:rPr lang="zh-CN" altLang="zh-CN" sz="1600" b="1" dirty="0">
                <a:solidFill>
                  <a:schemeClr val="bg1"/>
                </a:solidFill>
                <a:latin typeface="Times New Roman" panose="02020603050405020304" pitchFamily="18" charset="0"/>
                <a:cs typeface="Times New Roman" panose="02020603050405020304" pitchFamily="18" charset="0"/>
              </a:rPr>
              <a:t> </a:t>
            </a:r>
            <a:endParaRPr lang="en-US" sz="1600" b="1" dirty="0">
              <a:solidFill>
                <a:schemeClr val="bg1"/>
              </a:solidFill>
              <a:latin typeface="Times New Roman" panose="02020603050405020304" pitchFamily="18" charset="0"/>
              <a:ea typeface="楷体" panose="02010609060101010101" pitchFamily="49" charset="-122"/>
              <a:cs typeface="Times New Roman" panose="02020603050405020304" pitchFamily="18" charset="0"/>
            </a:endParaRPr>
          </a:p>
        </p:txBody>
      </p:sp>
      <p:sp>
        <p:nvSpPr>
          <p:cNvPr id="437" name="矩形 436">
            <a:extLst>
              <a:ext uri="{FF2B5EF4-FFF2-40B4-BE49-F238E27FC236}">
                <a16:creationId xmlns:a16="http://schemas.microsoft.com/office/drawing/2014/main" id="{4886EAD5-F4D6-FB4D-B7DA-56F44B2E08EC}"/>
              </a:ext>
            </a:extLst>
          </p:cNvPr>
          <p:cNvSpPr/>
          <p:nvPr/>
        </p:nvSpPr>
        <p:spPr bwMode="auto">
          <a:xfrm>
            <a:off x="6262847" y="2484383"/>
            <a:ext cx="3323342" cy="614925"/>
          </a:xfrm>
          <a:prstGeom prst="rect">
            <a:avLst/>
          </a:prstGeom>
          <a:solidFill>
            <a:srgbClr val="BA996A"/>
          </a:solidFill>
          <a:ln w="9525" cmpd="sng">
            <a:noFill/>
            <a:miter lim="800000"/>
          </a:ln>
        </p:spPr>
        <p:txBody>
          <a:bodyPr rot="0" spcFirstLastPara="0" vertOverflow="overflow" horzOverflow="overflow" vert="horz" wrap="square" lIns="72000" tIns="36000" rIns="72000" bIns="36000" numCol="1" spcCol="0" rtlCol="0" fromWordArt="0" anchor="ctr" anchorCtr="0" forceAA="0" compatLnSpc="1">
            <a:noAutofit/>
          </a:bodyPr>
          <a:lstStyle/>
          <a:p>
            <a:pPr algn="ctr" fontAlgn="base">
              <a:spcBef>
                <a:spcPts val="100"/>
              </a:spcBef>
              <a:spcAft>
                <a:spcPct val="0"/>
              </a:spcAft>
              <a:buSzPct val="100000"/>
            </a:pPr>
            <a:r>
              <a:rPr lang="en-US" altLang="zh-CN" sz="1600" b="1" dirty="0">
                <a:solidFill>
                  <a:schemeClr val="bg1"/>
                </a:solidFill>
              </a:rPr>
              <a:t>Based on the mental</a:t>
            </a:r>
            <a:r>
              <a:rPr lang="zh-CN" altLang="en-US" sz="1600" b="1" dirty="0">
                <a:solidFill>
                  <a:schemeClr val="bg1"/>
                </a:solidFill>
              </a:rPr>
              <a:t> </a:t>
            </a:r>
            <a:r>
              <a:rPr lang="en-US" altLang="zh-CN" sz="1600" b="1" dirty="0">
                <a:solidFill>
                  <a:schemeClr val="bg1"/>
                </a:solidFill>
              </a:rPr>
              <a:t>of</a:t>
            </a:r>
            <a:r>
              <a:rPr lang="zh-CN" altLang="en-US" sz="1600" b="1" dirty="0">
                <a:solidFill>
                  <a:schemeClr val="bg1"/>
                </a:solidFill>
              </a:rPr>
              <a:t> </a:t>
            </a:r>
            <a:r>
              <a:rPr lang="en-US" altLang="zh-CN" sz="1600" b="1" dirty="0">
                <a:solidFill>
                  <a:schemeClr val="bg1"/>
                </a:solidFill>
              </a:rPr>
              <a:t>hedging of returns and risks.</a:t>
            </a:r>
            <a:r>
              <a:rPr lang="zh-CN" altLang="zh-CN" sz="1600" b="1" dirty="0">
                <a:solidFill>
                  <a:schemeClr val="bg1"/>
                </a:solidFill>
              </a:rPr>
              <a:t> </a:t>
            </a:r>
            <a:endParaRPr lang="en-US" sz="1600" b="1" dirty="0">
              <a:solidFill>
                <a:schemeClr val="bg1"/>
              </a:solidFill>
              <a:latin typeface="楷体" panose="02010609060101010101" pitchFamily="49" charset="-122"/>
              <a:ea typeface="楷体" panose="02010609060101010101" pitchFamily="49" charset="-122"/>
            </a:endParaRPr>
          </a:p>
        </p:txBody>
      </p:sp>
      <p:sp>
        <p:nvSpPr>
          <p:cNvPr id="443" name="文本框 442">
            <a:extLst>
              <a:ext uri="{FF2B5EF4-FFF2-40B4-BE49-F238E27FC236}">
                <a16:creationId xmlns:a16="http://schemas.microsoft.com/office/drawing/2014/main" id="{F2B606F3-A135-0643-B50E-743EA5C0D45E}"/>
              </a:ext>
            </a:extLst>
          </p:cNvPr>
          <p:cNvSpPr txBox="1"/>
          <p:nvPr/>
        </p:nvSpPr>
        <p:spPr>
          <a:xfrm>
            <a:off x="2098790" y="3330872"/>
            <a:ext cx="3208626" cy="553998"/>
          </a:xfrm>
          <a:prstGeom prst="rect">
            <a:avLst/>
          </a:prstGeom>
          <a:noFill/>
        </p:spPr>
        <p:txBody>
          <a:bodyPr wrap="square" lIns="0" tIns="0" rIns="0" bIns="0" rtlCol="0">
            <a:spAutoFit/>
          </a:bodyPr>
          <a:lstStyle/>
          <a:p>
            <a:pPr marL="285750" indent="-285750">
              <a:spcBef>
                <a:spcPts val="600"/>
              </a:spcBef>
              <a:buSzPct val="100000"/>
              <a:buFont typeface="Wingdings" pitchFamily="2" charset="2"/>
              <a:buChar char="Ø"/>
            </a:pPr>
            <a:r>
              <a:rPr lang="en-US" altLang="zh-CN" b="1" dirty="0">
                <a:latin typeface="Times New Roman" panose="02020603050405020304" pitchFamily="18" charset="0"/>
                <a:ea typeface="楷体" panose="02010609060101010101" pitchFamily="49" charset="-122"/>
                <a:cs typeface="Times New Roman" panose="02020603050405020304" pitchFamily="18" charset="0"/>
              </a:rPr>
              <a:t>early</a:t>
            </a:r>
            <a:r>
              <a:rPr lang="zh-CN" altLang="en-US" b="1" dirty="0">
                <a:latin typeface="Times New Roman" panose="02020603050405020304" pitchFamily="18" charset="0"/>
                <a:ea typeface="楷体" panose="02010609060101010101" pitchFamily="49" charset="-122"/>
                <a:cs typeface="Times New Roman" panose="02020603050405020304" pitchFamily="18" charset="0"/>
              </a:rPr>
              <a:t> </a:t>
            </a:r>
            <a:r>
              <a:rPr lang="en-US" altLang="zh-CN" b="1" dirty="0">
                <a:latin typeface="Times New Roman" panose="02020603050405020304" pitchFamily="18" charset="0"/>
                <a:ea typeface="楷体" panose="02010609060101010101" pitchFamily="49" charset="-122"/>
                <a:cs typeface="Times New Roman" panose="02020603050405020304" pitchFamily="18" charset="0"/>
              </a:rPr>
              <a:t>Traditional</a:t>
            </a:r>
            <a:r>
              <a:rPr lang="zh-CN" altLang="en-US" b="1" dirty="0">
                <a:latin typeface="Times New Roman" panose="02020603050405020304" pitchFamily="18" charset="0"/>
                <a:ea typeface="楷体" panose="02010609060101010101" pitchFamily="49" charset="-122"/>
                <a:cs typeface="Times New Roman" panose="02020603050405020304" pitchFamily="18" charset="0"/>
              </a:rPr>
              <a:t> </a:t>
            </a:r>
            <a:r>
              <a:rPr lang="en-US" altLang="zh-CN" b="1" dirty="0">
                <a:latin typeface="Times New Roman" panose="02020603050405020304" pitchFamily="18" charset="0"/>
                <a:ea typeface="楷体" panose="02010609060101010101" pitchFamily="49" charset="-122"/>
                <a:cs typeface="Times New Roman" panose="02020603050405020304" pitchFamily="18" charset="0"/>
              </a:rPr>
              <a:t>Timing</a:t>
            </a:r>
            <a:r>
              <a:rPr lang="zh-CN" altLang="en-US" b="1" dirty="0">
                <a:latin typeface="Times New Roman" panose="02020603050405020304" pitchFamily="18" charset="0"/>
                <a:ea typeface="楷体" panose="02010609060101010101" pitchFamily="49" charset="-122"/>
                <a:cs typeface="Times New Roman" panose="02020603050405020304" pitchFamily="18" charset="0"/>
              </a:rPr>
              <a:t> </a:t>
            </a:r>
            <a:r>
              <a:rPr lang="en-US" altLang="zh-CN" b="1" dirty="0">
                <a:latin typeface="Times New Roman" panose="02020603050405020304" pitchFamily="18" charset="0"/>
                <a:ea typeface="楷体" panose="02010609060101010101" pitchFamily="49" charset="-122"/>
                <a:cs typeface="Times New Roman" panose="02020603050405020304" pitchFamily="18" charset="0"/>
              </a:rPr>
              <a:t>Manner</a:t>
            </a:r>
            <a:endParaRPr lang="en-US" b="1" dirty="0">
              <a:solidFill>
                <a:srgbClr val="313131"/>
              </a:solidFill>
              <a:latin typeface="Times New Roman" panose="02020603050405020304" pitchFamily="18" charset="0"/>
              <a:ea typeface="楷体" panose="02010609060101010101" pitchFamily="49" charset="-122"/>
              <a:cs typeface="Times New Roman" panose="02020603050405020304" pitchFamily="18" charset="0"/>
            </a:endParaRPr>
          </a:p>
        </p:txBody>
      </p:sp>
      <p:cxnSp>
        <p:nvCxnSpPr>
          <p:cNvPr id="462" name="肘形连接符 461">
            <a:extLst>
              <a:ext uri="{FF2B5EF4-FFF2-40B4-BE49-F238E27FC236}">
                <a16:creationId xmlns:a16="http://schemas.microsoft.com/office/drawing/2014/main" id="{C9DB6197-2EA9-0640-8304-231A75279797}"/>
              </a:ext>
            </a:extLst>
          </p:cNvPr>
          <p:cNvCxnSpPr>
            <a:cxnSpLocks/>
            <a:stCxn id="433" idx="2"/>
            <a:endCxn id="437" idx="0"/>
          </p:cNvCxnSpPr>
          <p:nvPr/>
        </p:nvCxnSpPr>
        <p:spPr>
          <a:xfrm rot="16200000" flipH="1">
            <a:off x="7658393" y="2218258"/>
            <a:ext cx="531436" cy="814"/>
          </a:xfrm>
          <a:prstGeom prst="bentConnector3">
            <a:avLst/>
          </a:prstGeom>
          <a:ln w="19050">
            <a:solidFill>
              <a:srgbClr val="475B7C"/>
            </a:solidFill>
          </a:ln>
        </p:spPr>
        <p:style>
          <a:lnRef idx="1">
            <a:schemeClr val="accent1"/>
          </a:lnRef>
          <a:fillRef idx="0">
            <a:schemeClr val="accent1"/>
          </a:fillRef>
          <a:effectRef idx="0">
            <a:schemeClr val="accent1"/>
          </a:effectRef>
          <a:fontRef idx="minor">
            <a:schemeClr val="tx1"/>
          </a:fontRef>
        </p:style>
      </p:cxnSp>
      <p:cxnSp>
        <p:nvCxnSpPr>
          <p:cNvPr id="473" name="肘形连接符 472">
            <a:extLst>
              <a:ext uri="{FF2B5EF4-FFF2-40B4-BE49-F238E27FC236}">
                <a16:creationId xmlns:a16="http://schemas.microsoft.com/office/drawing/2014/main" id="{59FBF614-AC1F-6949-9A2C-BBFF0A7FB648}"/>
              </a:ext>
            </a:extLst>
          </p:cNvPr>
          <p:cNvCxnSpPr>
            <a:cxnSpLocks/>
            <a:stCxn id="433" idx="2"/>
            <a:endCxn id="435" idx="0"/>
          </p:cNvCxnSpPr>
          <p:nvPr/>
        </p:nvCxnSpPr>
        <p:spPr>
          <a:xfrm rot="5400000">
            <a:off x="5527455" y="71238"/>
            <a:ext cx="514541" cy="4277959"/>
          </a:xfrm>
          <a:prstGeom prst="bentConnector3">
            <a:avLst/>
          </a:prstGeom>
          <a:ln w="19050">
            <a:solidFill>
              <a:srgbClr val="475B7C"/>
            </a:solidFill>
          </a:ln>
        </p:spPr>
        <p:style>
          <a:lnRef idx="1">
            <a:schemeClr val="accent1"/>
          </a:lnRef>
          <a:fillRef idx="0">
            <a:schemeClr val="accent1"/>
          </a:fillRef>
          <a:effectRef idx="0">
            <a:schemeClr val="accent1"/>
          </a:effectRef>
          <a:fontRef idx="minor">
            <a:schemeClr val="tx1"/>
          </a:fontRef>
        </p:style>
      </p:cxnSp>
      <p:sp>
        <p:nvSpPr>
          <p:cNvPr id="475" name="标题 1150">
            <a:extLst>
              <a:ext uri="{FF2B5EF4-FFF2-40B4-BE49-F238E27FC236}">
                <a16:creationId xmlns:a16="http://schemas.microsoft.com/office/drawing/2014/main" id="{6E60B783-F05D-DD4B-8132-2C90F84F0E06}"/>
              </a:ext>
            </a:extLst>
          </p:cNvPr>
          <p:cNvSpPr txBox="1">
            <a:spLocks/>
          </p:cNvSpPr>
          <p:nvPr/>
        </p:nvSpPr>
        <p:spPr>
          <a:xfrm>
            <a:off x="609600" y="427038"/>
            <a:ext cx="8229600" cy="11430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altLang="zh-CN" b="1" dirty="0">
                <a:solidFill>
                  <a:srgbClr val="C00000"/>
                </a:solidFill>
                <a:latin typeface="Times New Roman" panose="02020603050405020304" pitchFamily="18" charset="0"/>
                <a:cs typeface="Times New Roman" panose="02020603050405020304" pitchFamily="18" charset="0"/>
              </a:rPr>
              <a:t>Introduction</a:t>
            </a:r>
            <a:endParaRPr lang="zh-CN" altLang="en-US" b="1" dirty="0">
              <a:solidFill>
                <a:srgbClr val="C00000"/>
              </a:solidFill>
              <a:latin typeface="Times New Roman" panose="02020603050405020304" pitchFamily="18" charset="0"/>
              <a:cs typeface="Times New Roman" panose="02020603050405020304" pitchFamily="18" charset="0"/>
            </a:endParaRPr>
          </a:p>
        </p:txBody>
      </p:sp>
      <mc:AlternateContent xmlns:mc="http://schemas.openxmlformats.org/markup-compatibility/2006" xmlns:a14="http://schemas.microsoft.com/office/drawing/2010/main">
        <mc:Choice Requires="a14">
          <p:sp>
            <p:nvSpPr>
              <p:cNvPr id="483" name="文本框 482">
                <a:extLst>
                  <a:ext uri="{FF2B5EF4-FFF2-40B4-BE49-F238E27FC236}">
                    <a16:creationId xmlns:a16="http://schemas.microsoft.com/office/drawing/2014/main" id="{ED3C961D-FB3E-EB4A-A8C7-E26EA13D91AE}"/>
                  </a:ext>
                </a:extLst>
              </p:cNvPr>
              <p:cNvSpPr txBox="1"/>
              <p:nvPr/>
            </p:nvSpPr>
            <p:spPr>
              <a:xfrm>
                <a:off x="2098789" y="3884870"/>
                <a:ext cx="3200069" cy="4832092"/>
              </a:xfrm>
              <a:prstGeom prst="rect">
                <a:avLst/>
              </a:prstGeom>
              <a:noFill/>
            </p:spPr>
            <p:txBody>
              <a:bodyPr wrap="square" rtlCol="0">
                <a:spAutoFit/>
              </a:bodyPr>
              <a:lstStyle/>
              <a:p>
                <a:pPr marL="285750" indent="-285750">
                  <a:buFont typeface="Arial" panose="020B0604020202020204" pitchFamily="34" charset="0"/>
                  <a:buChar char="•"/>
                </a:pPr>
                <a:r>
                  <a:rPr lang="zh-CN" altLang="zh-CN" sz="1400" dirty="0"/>
                  <a:t>1952, Markowitz first established a mean-variance model.</a:t>
                </a:r>
                <a:endParaRPr lang="en-US" altLang="zh-CN" sz="1400" dirty="0"/>
              </a:p>
              <a:p>
                <a:pPr marL="285750" indent="-285750">
                  <a:buFont typeface="Arial" panose="020B0604020202020204" pitchFamily="34" charset="0"/>
                  <a:buChar char="•"/>
                </a:pPr>
                <a:r>
                  <a:rPr lang="zh-CN" altLang="zh-CN" sz="1400" dirty="0"/>
                  <a:t>1964 Sharpe</a:t>
                </a:r>
                <a:r>
                  <a:rPr lang="en-US" altLang="zh-CN" sz="1400" dirty="0"/>
                  <a:t> </a:t>
                </a:r>
                <a:r>
                  <a:rPr lang="zh-CN" altLang="zh-CN" sz="1400" dirty="0"/>
                  <a:t>proposed the Capital Asset Pricing Model (CAPM)</a:t>
                </a:r>
                <a:endParaRPr lang="en-US" altLang="zh-CN" sz="1400" dirty="0"/>
              </a:p>
              <a:p>
                <a:pPr marL="285750" indent="-285750">
                  <a:buFont typeface="Arial" panose="020B0604020202020204" pitchFamily="34" charset="0"/>
                  <a:buChar char="•"/>
                </a:pPr>
                <a:r>
                  <a:rPr lang="en-US" altLang="zh-CN" sz="1400" dirty="0"/>
                  <a:t>1968</a:t>
                </a:r>
                <a:r>
                  <a:rPr lang="zh-CN" altLang="zh-CN" sz="1400" dirty="0"/>
                  <a:t> Jensen proposed the use of </a:t>
                </a:r>
                <a14:m>
                  <m:oMath xmlns:m="http://schemas.openxmlformats.org/officeDocument/2006/math">
                    <m:r>
                      <a:rPr lang="zh-CN" altLang="en-US" sz="1400" i="1">
                        <a:latin typeface="Cambria Math" panose="02040503050406030204" pitchFamily="18" charset="0"/>
                      </a:rPr>
                      <m:t>𝛼</m:t>
                    </m:r>
                  </m:oMath>
                </a14:m>
                <a:r>
                  <a:rPr lang="zh-CN" altLang="zh-CN" sz="1400" dirty="0"/>
                  <a:t> Indicator measurement</a:t>
                </a:r>
                <a:endParaRPr lang="en-US" altLang="zh-CN" sz="1400" dirty="0"/>
              </a:p>
              <a:p>
                <a:pPr marL="285750" indent="-285750">
                  <a:buFont typeface="Arial" panose="020B0604020202020204" pitchFamily="34" charset="0"/>
                  <a:buChar char="•"/>
                </a:pPr>
                <a:r>
                  <a:rPr lang="en-US" altLang="zh-CN" sz="1400" dirty="0"/>
                  <a:t>1965 </a:t>
                </a:r>
                <a:r>
                  <a:rPr lang="zh-CN" altLang="zh-CN" sz="1400" dirty="0"/>
                  <a:t>Fama  proposed the Efficient Market Hypothesis (EMH) </a:t>
                </a:r>
                <a:endParaRPr lang="en-US" altLang="zh-CN" sz="1400" dirty="0"/>
              </a:p>
              <a:p>
                <a:pPr marL="285750" indent="-285750">
                  <a:buFont typeface="Arial" panose="020B0604020202020204" pitchFamily="34" charset="0"/>
                  <a:buChar char="•"/>
                </a:pPr>
                <a:r>
                  <a:rPr lang="zh-CN" altLang="zh-CN" sz="1400" dirty="0"/>
                  <a:t>1973, Black </a:t>
                </a:r>
                <a:r>
                  <a:rPr lang="en-US" altLang="zh-CN" sz="1400" dirty="0"/>
                  <a:t>&amp;</a:t>
                </a:r>
                <a:r>
                  <a:rPr lang="zh-CN" altLang="zh-CN" sz="1400" dirty="0"/>
                  <a:t>Litterman established the Black-Litterman model. </a:t>
                </a:r>
                <a:endParaRPr lang="en-US" altLang="zh-CN" sz="1400" dirty="0"/>
              </a:p>
              <a:p>
                <a:pPr marL="285750" indent="-285750">
                  <a:buFont typeface="Arial" panose="020B0604020202020204" pitchFamily="34" charset="0"/>
                  <a:buChar char="•"/>
                </a:pPr>
                <a:r>
                  <a:rPr lang="en-US" altLang="zh-CN" sz="1400" dirty="0"/>
                  <a:t>2005, Sorensen, Hua &amp; Qian proposed that the </a:t>
                </a:r>
                <a14:m>
                  <m:oMath xmlns:m="http://schemas.openxmlformats.org/officeDocument/2006/math">
                    <m:r>
                      <a:rPr lang="en-US" altLang="zh-CN" sz="1400" i="1">
                        <a:latin typeface="Cambria Math" panose="02040503050406030204" pitchFamily="18" charset="0"/>
                      </a:rPr>
                      <m:t>𝛼</m:t>
                    </m:r>
                    <m:r>
                      <a:rPr lang="en-US" altLang="zh-CN" sz="1400" i="1">
                        <a:latin typeface="Cambria Math" panose="02040503050406030204" pitchFamily="18" charset="0"/>
                      </a:rPr>
                      <m:t> </m:t>
                    </m:r>
                  </m:oMath>
                </a14:m>
                <a:r>
                  <a:rPr lang="en-US" altLang="zh-CN" sz="1400" dirty="0"/>
                  <a:t>quantification model cannot always </a:t>
                </a:r>
                <a:r>
                  <a:rPr lang="en-US" altLang="zh-CN" sz="1400" dirty="0" err="1"/>
                  <a:t>beIt</a:t>
                </a:r>
                <a:endParaRPr lang="en-US" altLang="zh-CN" sz="1400" dirty="0"/>
              </a:p>
              <a:p>
                <a:pPr marL="285750" indent="-285750">
                  <a:buFont typeface="Arial" panose="020B0604020202020204" pitchFamily="34" charset="0"/>
                  <a:buChar char="•"/>
                </a:pPr>
                <a:r>
                  <a:rPr lang="en-US" altLang="zh-CN" sz="1400" dirty="0"/>
                  <a:t>2017 Brooks proposed that the long-term returns of the macro-momentum strategy are considerable and stable. </a:t>
                </a:r>
              </a:p>
              <a:p>
                <a:pPr marL="285750" indent="-285750">
                  <a:buFont typeface="Arial" panose="020B0604020202020204" pitchFamily="34" charset="0"/>
                  <a:buChar char="•"/>
                </a:pPr>
                <a:r>
                  <a:rPr lang="en-US" altLang="zh-CN" sz="1400" dirty="0"/>
                  <a:t>2018 Zhang Chao use  six effective factors to establish a multiple regression model to predict the future trend of the Shanghai Composite Index. </a:t>
                </a:r>
                <a:endParaRPr kumimoji="1" lang="zh-CN" altLang="en-US" sz="1400" dirty="0"/>
              </a:p>
            </p:txBody>
          </p:sp>
        </mc:Choice>
        <mc:Fallback xmlns="">
          <p:sp>
            <p:nvSpPr>
              <p:cNvPr id="483" name="文本框 482">
                <a:extLst>
                  <a:ext uri="{FF2B5EF4-FFF2-40B4-BE49-F238E27FC236}">
                    <a16:creationId xmlns:a16="http://schemas.microsoft.com/office/drawing/2014/main" id="{ED3C961D-FB3E-EB4A-A8C7-E26EA13D91AE}"/>
                  </a:ext>
                </a:extLst>
              </p:cNvPr>
              <p:cNvSpPr txBox="1">
                <a:spLocks noRot="1" noChangeAspect="1" noMove="1" noResize="1" noEditPoints="1" noAdjustHandles="1" noChangeArrowheads="1" noChangeShapeType="1" noTextEdit="1"/>
              </p:cNvSpPr>
              <p:nvPr/>
            </p:nvSpPr>
            <p:spPr>
              <a:xfrm>
                <a:off x="2098789" y="3884870"/>
                <a:ext cx="3200069" cy="4832092"/>
              </a:xfrm>
              <a:prstGeom prst="rect">
                <a:avLst/>
              </a:prstGeom>
              <a:blipFill>
                <a:blip r:embed="rId3"/>
                <a:stretch>
                  <a:fillRect l="-395" t="-262" r="-1186" b="-524"/>
                </a:stretch>
              </a:blipFill>
            </p:spPr>
            <p:txBody>
              <a:bodyPr/>
              <a:lstStyle/>
              <a:p>
                <a:r>
                  <a:rPr lang="zh-CN" altLang="en-US">
                    <a:noFill/>
                  </a:rPr>
                  <a:t> </a:t>
                </a:r>
              </a:p>
            </p:txBody>
          </p:sp>
        </mc:Fallback>
      </mc:AlternateContent>
      <p:grpSp>
        <p:nvGrpSpPr>
          <p:cNvPr id="6" name="组合 5">
            <a:extLst>
              <a:ext uri="{FF2B5EF4-FFF2-40B4-BE49-F238E27FC236}">
                <a16:creationId xmlns:a16="http://schemas.microsoft.com/office/drawing/2014/main" id="{48F7BAC8-ACB2-A8B2-D687-4424E190CE30}"/>
              </a:ext>
            </a:extLst>
          </p:cNvPr>
          <p:cNvGrpSpPr/>
          <p:nvPr/>
        </p:nvGrpSpPr>
        <p:grpSpPr>
          <a:xfrm>
            <a:off x="10554211" y="3217420"/>
            <a:ext cx="3323342" cy="5479244"/>
            <a:chOff x="6215225" y="3237718"/>
            <a:chExt cx="3323342" cy="5479244"/>
          </a:xfrm>
        </p:grpSpPr>
        <p:sp>
          <p:nvSpPr>
            <p:cNvPr id="440" name="矩形 439">
              <a:extLst>
                <a:ext uri="{FF2B5EF4-FFF2-40B4-BE49-F238E27FC236}">
                  <a16:creationId xmlns:a16="http://schemas.microsoft.com/office/drawing/2014/main" id="{D978000A-7CCA-5143-8C84-84A1E85D3FB7}"/>
                </a:ext>
              </a:extLst>
            </p:cNvPr>
            <p:cNvSpPr/>
            <p:nvPr/>
          </p:nvSpPr>
          <p:spPr bwMode="auto">
            <a:xfrm>
              <a:off x="6215225" y="3237718"/>
              <a:ext cx="3323342" cy="5479244"/>
            </a:xfrm>
            <a:prstGeom prst="rect">
              <a:avLst/>
            </a:prstGeom>
            <a:solidFill>
              <a:schemeClr val="bg1"/>
            </a:solidFill>
            <a:ln w="3175" cmpd="sng">
              <a:solidFill>
                <a:srgbClr val="475B7C"/>
              </a:solidFill>
              <a:prstDash val="dash"/>
              <a:miter lim="800000"/>
            </a:ln>
          </p:spPr>
          <p:txBody>
            <a:bodyPr rot="0" spcFirstLastPara="0" vertOverflow="overflow" horzOverflow="overflow" vert="horz" wrap="square" lIns="72000" tIns="36000" rIns="72000" bIns="36000" numCol="1" spcCol="0" rtlCol="0" fromWordArt="0" anchor="ctr" anchorCtr="0" forceAA="0" compatLnSpc="1">
              <a:noAutofit/>
            </a:bodyPr>
            <a:lstStyle/>
            <a:p>
              <a:pPr algn="ctr" fontAlgn="base">
                <a:spcBef>
                  <a:spcPts val="100"/>
                </a:spcBef>
                <a:spcAft>
                  <a:spcPct val="0"/>
                </a:spcAft>
                <a:buSzPct val="100000"/>
              </a:pPr>
              <a:endParaRPr lang="en-US" sz="1600" b="1" dirty="0">
                <a:solidFill>
                  <a:schemeClr val="bg1"/>
                </a:solidFill>
                <a:latin typeface="楷体" panose="02010609060101010101" pitchFamily="49" charset="-122"/>
                <a:ea typeface="楷体" panose="02010609060101010101" pitchFamily="49" charset="-122"/>
              </a:endParaRPr>
            </a:p>
          </p:txBody>
        </p:sp>
        <p:sp>
          <p:nvSpPr>
            <p:cNvPr id="444" name="文本框 443">
              <a:extLst>
                <a:ext uri="{FF2B5EF4-FFF2-40B4-BE49-F238E27FC236}">
                  <a16:creationId xmlns:a16="http://schemas.microsoft.com/office/drawing/2014/main" id="{A7D51AE2-B9F1-CC48-B269-8D90B9DEE3AE}"/>
                </a:ext>
              </a:extLst>
            </p:cNvPr>
            <p:cNvSpPr txBox="1"/>
            <p:nvPr/>
          </p:nvSpPr>
          <p:spPr>
            <a:xfrm>
              <a:off x="6329941" y="3330872"/>
              <a:ext cx="3093908" cy="215444"/>
            </a:xfrm>
            <a:prstGeom prst="rect">
              <a:avLst/>
            </a:prstGeom>
            <a:noFill/>
          </p:spPr>
          <p:txBody>
            <a:bodyPr wrap="square" lIns="0" tIns="0" rIns="0" bIns="0" rtlCol="0">
              <a:spAutoFit/>
            </a:bodyPr>
            <a:lstStyle/>
            <a:p>
              <a:pPr>
                <a:spcBef>
                  <a:spcPts val="600"/>
                </a:spcBef>
                <a:buSzPct val="100000"/>
              </a:pPr>
              <a:endParaRPr lang="en-US" sz="1400" b="1" dirty="0">
                <a:solidFill>
                  <a:srgbClr val="313131"/>
                </a:solidFill>
                <a:latin typeface="楷体" panose="02010609060101010101" pitchFamily="49" charset="-122"/>
                <a:ea typeface="楷体" panose="02010609060101010101" pitchFamily="49" charset="-122"/>
              </a:endParaRPr>
            </a:p>
          </p:txBody>
        </p:sp>
        <p:sp>
          <p:nvSpPr>
            <p:cNvPr id="476" name="文本框 475">
              <a:extLst>
                <a:ext uri="{FF2B5EF4-FFF2-40B4-BE49-F238E27FC236}">
                  <a16:creationId xmlns:a16="http://schemas.microsoft.com/office/drawing/2014/main" id="{846B6C9A-8AD6-5647-8A24-7B5648335E9F}"/>
                </a:ext>
              </a:extLst>
            </p:cNvPr>
            <p:cNvSpPr txBox="1"/>
            <p:nvPr/>
          </p:nvSpPr>
          <p:spPr>
            <a:xfrm>
              <a:off x="6332560" y="3325904"/>
              <a:ext cx="3093908" cy="2092881"/>
            </a:xfrm>
            <a:prstGeom prst="rect">
              <a:avLst/>
            </a:prstGeom>
            <a:noFill/>
          </p:spPr>
          <p:txBody>
            <a:bodyPr wrap="square" lIns="0" tIns="0" rIns="0" bIns="0" rtlCol="0">
              <a:spAutoFit/>
            </a:bodyPr>
            <a:lstStyle/>
            <a:p>
              <a:pPr marL="285750" indent="-285750">
                <a:spcBef>
                  <a:spcPts val="600"/>
                </a:spcBef>
                <a:buSzPct val="100000"/>
                <a:buFont typeface="Wingdings" pitchFamily="2" charset="2"/>
                <a:buChar char="Ø"/>
              </a:pPr>
              <a:r>
                <a:rPr lang="zh-CN" altLang="zh-CN" b="1" dirty="0">
                  <a:latin typeface="Times New Roman" panose="02020603050405020304" pitchFamily="18" charset="0"/>
                  <a:cs typeface="Times New Roman" panose="02020603050405020304" pitchFamily="18" charset="0"/>
                </a:rPr>
                <a:t>more direct response to the market</a:t>
              </a:r>
              <a:endParaRPr lang="en-US" altLang="zh-CN" b="1" dirty="0">
                <a:latin typeface="Times New Roman" panose="02020603050405020304" pitchFamily="18" charset="0"/>
                <a:cs typeface="Times New Roman" panose="02020603050405020304" pitchFamily="18" charset="0"/>
              </a:endParaRPr>
            </a:p>
            <a:p>
              <a:pPr marL="285750" indent="-285750">
                <a:spcBef>
                  <a:spcPts val="600"/>
                </a:spcBef>
                <a:buSzPct val="100000"/>
                <a:buFont typeface="Wingdings" pitchFamily="2" charset="2"/>
                <a:buChar char="Ø"/>
              </a:pPr>
              <a:r>
                <a:rPr lang="en-US" altLang="zh-CN" b="1" dirty="0">
                  <a:latin typeface="Times New Roman" panose="02020603050405020304" pitchFamily="18" charset="0"/>
                  <a:cs typeface="Times New Roman" panose="02020603050405020304" pitchFamily="18" charset="0"/>
                </a:rPr>
                <a:t>t</a:t>
              </a:r>
              <a:r>
                <a:rPr lang="zh-CN" altLang="zh-CN" b="1" dirty="0">
                  <a:latin typeface="Times New Roman" panose="02020603050405020304" pitchFamily="18" charset="0"/>
                  <a:cs typeface="Times New Roman" panose="02020603050405020304" pitchFamily="18" charset="0"/>
                </a:rPr>
                <a:t>he analysis results are </a:t>
              </a:r>
              <a:r>
                <a:rPr lang="en-US" altLang="zh-CN" b="1" dirty="0">
                  <a:latin typeface="Times New Roman" panose="02020603050405020304" pitchFamily="18" charset="0"/>
                  <a:cs typeface="Times New Roman" panose="02020603050405020304" pitchFamily="18" charset="0"/>
                </a:rPr>
                <a:t>c</a:t>
              </a:r>
              <a:r>
                <a:rPr lang="zh-CN" altLang="zh-CN" b="1" dirty="0">
                  <a:latin typeface="Times New Roman" panose="02020603050405020304" pitchFamily="18" charset="0"/>
                  <a:cs typeface="Times New Roman" panose="02020603050405020304" pitchFamily="18" charset="0"/>
                </a:rPr>
                <a:t>loser to the actual market phenomenon,</a:t>
              </a:r>
              <a:endParaRPr lang="en-US" altLang="zh-CN" b="1" dirty="0">
                <a:latin typeface="Times New Roman" panose="02020603050405020304" pitchFamily="18" charset="0"/>
                <a:cs typeface="Times New Roman" panose="02020603050405020304" pitchFamily="18" charset="0"/>
              </a:endParaRPr>
            </a:p>
            <a:p>
              <a:pPr marL="285750" indent="-285750">
                <a:spcBef>
                  <a:spcPts val="600"/>
                </a:spcBef>
                <a:buSzPct val="100000"/>
                <a:buFont typeface="Wingdings" pitchFamily="2" charset="2"/>
                <a:buChar char="Ø"/>
              </a:pPr>
              <a:r>
                <a:rPr lang="en-US" altLang="zh-CN" b="1" dirty="0">
                  <a:latin typeface="Times New Roman" panose="02020603050405020304" pitchFamily="18" charset="0"/>
                  <a:cs typeface="Times New Roman" panose="02020603050405020304" pitchFamily="18" charset="0"/>
                </a:rPr>
                <a:t>t</a:t>
              </a:r>
              <a:r>
                <a:rPr lang="zh-CN" altLang="zh-CN" b="1" dirty="0">
                  <a:latin typeface="Times New Roman" panose="02020603050405020304" pitchFamily="18" charset="0"/>
                  <a:cs typeface="Times New Roman" panose="02020603050405020304" pitchFamily="18" charset="0"/>
                </a:rPr>
                <a:t>he strategy win rate is higher. </a:t>
              </a:r>
              <a:endParaRPr lang="en-US" b="1" dirty="0">
                <a:solidFill>
                  <a:srgbClr val="313131"/>
                </a:solidFill>
                <a:latin typeface="Times New Roman" panose="02020603050405020304" pitchFamily="18" charset="0"/>
                <a:ea typeface="楷体" panose="02010609060101010101" pitchFamily="49" charset="-122"/>
                <a:cs typeface="Times New Roman" panose="02020603050405020304" pitchFamily="18" charset="0"/>
              </a:endParaRPr>
            </a:p>
          </p:txBody>
        </p:sp>
        <p:sp>
          <p:nvSpPr>
            <p:cNvPr id="484" name="文本框 483">
              <a:extLst>
                <a:ext uri="{FF2B5EF4-FFF2-40B4-BE49-F238E27FC236}">
                  <a16:creationId xmlns:a16="http://schemas.microsoft.com/office/drawing/2014/main" id="{DFEEF439-43D1-AC4D-BD27-A812A7ABAEA7}"/>
                </a:ext>
              </a:extLst>
            </p:cNvPr>
            <p:cNvSpPr txBox="1"/>
            <p:nvPr/>
          </p:nvSpPr>
          <p:spPr>
            <a:xfrm>
              <a:off x="6262847" y="5584799"/>
              <a:ext cx="3275720" cy="954107"/>
            </a:xfrm>
            <a:prstGeom prst="rect">
              <a:avLst/>
            </a:prstGeom>
            <a:noFill/>
          </p:spPr>
          <p:txBody>
            <a:bodyPr wrap="square" rtlCol="0">
              <a:spAutoFit/>
            </a:bodyPr>
            <a:lstStyle/>
            <a:p>
              <a:pPr marL="285750" indent="-285750">
                <a:buFont typeface="Arial" panose="020B0604020202020204" pitchFamily="34" charset="0"/>
                <a:buChar char="•"/>
              </a:pPr>
              <a:r>
                <a:rPr lang="en-US" altLang="zh-CN" sz="1400" dirty="0"/>
                <a:t>2012,</a:t>
              </a:r>
              <a:r>
                <a:rPr lang="zh-CN" altLang="zh-CN" sz="1400" dirty="0"/>
                <a:t>Moskowitz et al. (2012) elaborated on a typical representative of trend-following timing strategies-Time Series Momentum</a:t>
              </a:r>
              <a:endParaRPr kumimoji="1" lang="zh-CN" altLang="en-US" sz="1100" dirty="0"/>
            </a:p>
          </p:txBody>
        </p:sp>
      </p:grpSp>
      <p:grpSp>
        <p:nvGrpSpPr>
          <p:cNvPr id="7" name="组合 6">
            <a:extLst>
              <a:ext uri="{FF2B5EF4-FFF2-40B4-BE49-F238E27FC236}">
                <a16:creationId xmlns:a16="http://schemas.microsoft.com/office/drawing/2014/main" id="{B7EA3FA1-B206-F4D8-7E46-A4F9F5FF014A}"/>
              </a:ext>
            </a:extLst>
          </p:cNvPr>
          <p:cNvGrpSpPr/>
          <p:nvPr/>
        </p:nvGrpSpPr>
        <p:grpSpPr>
          <a:xfrm>
            <a:off x="6269142" y="3227569"/>
            <a:ext cx="3323342" cy="5479244"/>
            <a:chOff x="10446375" y="3237718"/>
            <a:chExt cx="3323342" cy="5479244"/>
          </a:xfrm>
        </p:grpSpPr>
        <p:sp>
          <p:nvSpPr>
            <p:cNvPr id="441" name="矩形 440">
              <a:extLst>
                <a:ext uri="{FF2B5EF4-FFF2-40B4-BE49-F238E27FC236}">
                  <a16:creationId xmlns:a16="http://schemas.microsoft.com/office/drawing/2014/main" id="{E9B82572-A1EB-AD43-A809-2ED7AB6F09DC}"/>
                </a:ext>
              </a:extLst>
            </p:cNvPr>
            <p:cNvSpPr/>
            <p:nvPr/>
          </p:nvSpPr>
          <p:spPr bwMode="auto">
            <a:xfrm>
              <a:off x="10446375" y="3237718"/>
              <a:ext cx="3323342" cy="5479244"/>
            </a:xfrm>
            <a:prstGeom prst="rect">
              <a:avLst/>
            </a:prstGeom>
            <a:solidFill>
              <a:schemeClr val="bg1"/>
            </a:solidFill>
            <a:ln w="3175" cmpd="sng">
              <a:solidFill>
                <a:srgbClr val="475B7C"/>
              </a:solidFill>
              <a:prstDash val="dash"/>
              <a:miter lim="800000"/>
            </a:ln>
          </p:spPr>
          <p:txBody>
            <a:bodyPr rot="0" spcFirstLastPara="0" vertOverflow="overflow" horzOverflow="overflow" vert="horz" wrap="square" lIns="72000" tIns="36000" rIns="72000" bIns="36000" numCol="1" spcCol="0" rtlCol="0" fromWordArt="0" anchor="ctr" anchorCtr="0" forceAA="0" compatLnSpc="1">
              <a:noAutofit/>
            </a:bodyPr>
            <a:lstStyle/>
            <a:p>
              <a:pPr algn="ctr" fontAlgn="base">
                <a:spcBef>
                  <a:spcPts val="100"/>
                </a:spcBef>
                <a:spcAft>
                  <a:spcPct val="0"/>
                </a:spcAft>
                <a:buSzPct val="100000"/>
              </a:pPr>
              <a:endParaRPr lang="en-US" sz="1200" b="1" dirty="0">
                <a:solidFill>
                  <a:schemeClr val="bg1"/>
                </a:solidFill>
                <a:latin typeface="楷体" panose="02010609060101010101" pitchFamily="49" charset="-122"/>
                <a:ea typeface="楷体" panose="02010609060101010101" pitchFamily="49" charset="-122"/>
              </a:endParaRPr>
            </a:p>
          </p:txBody>
        </p:sp>
        <p:sp>
          <p:nvSpPr>
            <p:cNvPr id="445" name="文本框 444">
              <a:extLst>
                <a:ext uri="{FF2B5EF4-FFF2-40B4-BE49-F238E27FC236}">
                  <a16:creationId xmlns:a16="http://schemas.microsoft.com/office/drawing/2014/main" id="{1EB0A3DE-866E-E449-B227-3EBAB09E124A}"/>
                </a:ext>
              </a:extLst>
            </p:cNvPr>
            <p:cNvSpPr txBox="1"/>
            <p:nvPr/>
          </p:nvSpPr>
          <p:spPr>
            <a:xfrm>
              <a:off x="10561091" y="3330872"/>
              <a:ext cx="3093908" cy="215444"/>
            </a:xfrm>
            <a:prstGeom prst="rect">
              <a:avLst/>
            </a:prstGeom>
            <a:noFill/>
          </p:spPr>
          <p:txBody>
            <a:bodyPr wrap="square" lIns="0" tIns="0" rIns="0" bIns="0" rtlCol="0">
              <a:spAutoFit/>
            </a:bodyPr>
            <a:lstStyle/>
            <a:p>
              <a:pPr>
                <a:spcBef>
                  <a:spcPts val="600"/>
                </a:spcBef>
                <a:buSzPct val="100000"/>
              </a:pPr>
              <a:endParaRPr lang="en-US" sz="1400" b="1" dirty="0">
                <a:solidFill>
                  <a:srgbClr val="313131"/>
                </a:solidFill>
                <a:latin typeface="楷体" panose="02010609060101010101" pitchFamily="49" charset="-122"/>
                <a:ea typeface="楷体" panose="02010609060101010101" pitchFamily="49" charset="-122"/>
              </a:endParaRPr>
            </a:p>
          </p:txBody>
        </p:sp>
        <mc:AlternateContent xmlns:mc="http://schemas.openxmlformats.org/markup-compatibility/2006" xmlns:a14="http://schemas.microsoft.com/office/drawing/2010/main">
          <mc:Choice Requires="a14">
            <p:sp>
              <p:nvSpPr>
                <p:cNvPr id="478" name="文本框 477">
                  <a:extLst>
                    <a:ext uri="{FF2B5EF4-FFF2-40B4-BE49-F238E27FC236}">
                      <a16:creationId xmlns:a16="http://schemas.microsoft.com/office/drawing/2014/main" id="{BEBCBB60-F042-E34F-85FD-E883EE065F6C}"/>
                    </a:ext>
                  </a:extLst>
                </p:cNvPr>
                <p:cNvSpPr txBox="1"/>
                <p:nvPr/>
              </p:nvSpPr>
              <p:spPr>
                <a:xfrm>
                  <a:off x="10468575" y="3339183"/>
                  <a:ext cx="3301141" cy="1631216"/>
                </a:xfrm>
                <a:prstGeom prst="rect">
                  <a:avLst/>
                </a:prstGeom>
                <a:noFill/>
              </p:spPr>
              <p:txBody>
                <a:bodyPr wrap="square">
                  <a:spAutoFit/>
                </a:bodyPr>
                <a:lstStyle/>
                <a:p>
                  <a:pPr marL="285750" indent="-285750">
                    <a:spcBef>
                      <a:spcPts val="600"/>
                    </a:spcBef>
                    <a:buSzPct val="100000"/>
                    <a:buFont typeface="Wingdings" pitchFamily="2" charset="2"/>
                    <a:buChar char="Ø"/>
                  </a:pPr>
                  <a:r>
                    <a:rPr lang="zh-CN" altLang="zh-CN" b="1" dirty="0">
                      <a:latin typeface="Times New Roman" panose="02020603050405020304" pitchFamily="18" charset="0"/>
                      <a:cs typeface="Times New Roman" panose="02020603050405020304" pitchFamily="18" charset="0"/>
                    </a:rPr>
                    <a:t>the </a:t>
                  </a:r>
                  <a:r>
                    <a:rPr lang="en-US" altLang="zh-CN" b="1" dirty="0">
                      <a:latin typeface="Times New Roman" panose="02020603050405020304" pitchFamily="18" charset="0"/>
                      <a:cs typeface="Times New Roman" panose="02020603050405020304" pitchFamily="18" charset="0"/>
                    </a:rPr>
                    <a:t>hot</a:t>
                  </a:r>
                  <a:r>
                    <a:rPr lang="zh-CN" altLang="en-US" b="1" dirty="0">
                      <a:latin typeface="Times New Roman" panose="02020603050405020304" pitchFamily="18" charset="0"/>
                      <a:cs typeface="Times New Roman" panose="02020603050405020304" pitchFamily="18" charset="0"/>
                    </a:rPr>
                    <a:t> </a:t>
                  </a:r>
                  <a:r>
                    <a:rPr lang="en-US" altLang="zh-CN" b="1" dirty="0">
                      <a:latin typeface="Times New Roman" panose="02020603050405020304" pitchFamily="18" charset="0"/>
                      <a:cs typeface="Times New Roman" panose="02020603050405020304" pitchFamily="18" charset="0"/>
                    </a:rPr>
                    <a:t>topic</a:t>
                  </a:r>
                  <a:r>
                    <a:rPr lang="zh-CN" altLang="en-US" b="1" dirty="0">
                      <a:latin typeface="Times New Roman" panose="02020603050405020304" pitchFamily="18" charset="0"/>
                      <a:cs typeface="Times New Roman" panose="02020603050405020304" pitchFamily="18" charset="0"/>
                    </a:rPr>
                    <a:t> </a:t>
                  </a:r>
                  <a:r>
                    <a:rPr lang="en-US" altLang="zh-CN" b="1" dirty="0">
                      <a:latin typeface="Times New Roman" panose="02020603050405020304" pitchFamily="18" charset="0"/>
                      <a:cs typeface="Times New Roman" panose="02020603050405020304" pitchFamily="18" charset="0"/>
                    </a:rPr>
                    <a:t>research</a:t>
                  </a:r>
                  <a:r>
                    <a:rPr lang="zh-CN" altLang="en-US" b="1" dirty="0">
                      <a:latin typeface="Times New Roman" panose="02020603050405020304" pitchFamily="18" charset="0"/>
                      <a:cs typeface="Times New Roman" panose="02020603050405020304" pitchFamily="18" charset="0"/>
                    </a:rPr>
                    <a:t> </a:t>
                  </a:r>
                  <a:r>
                    <a:rPr lang="en-US" altLang="zh-CN" b="1" dirty="0">
                      <a:latin typeface="Times New Roman" panose="02020603050405020304" pitchFamily="18" charset="0"/>
                      <a:cs typeface="Times New Roman" panose="02020603050405020304" pitchFamily="18" charset="0"/>
                    </a:rPr>
                    <a:t>now</a:t>
                  </a:r>
                </a:p>
                <a:p>
                  <a:pPr marL="285750" indent="-285750">
                    <a:spcBef>
                      <a:spcPts val="600"/>
                    </a:spcBef>
                    <a:buSzPct val="100000"/>
                    <a:buFont typeface="Wingdings" pitchFamily="2" charset="2"/>
                    <a:buChar char="Ø"/>
                  </a:pPr>
                  <a:r>
                    <a:rPr lang="zh-CN" altLang="zh-CN" b="1" dirty="0">
                      <a:latin typeface="Times New Roman" panose="02020603050405020304" pitchFamily="18" charset="0"/>
                      <a:cs typeface="Times New Roman" panose="02020603050405020304" pitchFamily="18" charset="0"/>
                    </a:rPr>
                    <a:t>the strategy </a:t>
                  </a:r>
                  <a:r>
                    <a:rPr lang="en-US" altLang="zh-CN" b="1" dirty="0">
                      <a:latin typeface="Times New Roman" panose="02020603050405020304" pitchFamily="18" charset="0"/>
                      <a:cs typeface="Times New Roman" panose="02020603050405020304" pitchFamily="18" charset="0"/>
                    </a:rPr>
                    <a:t>focus</a:t>
                  </a:r>
                  <a:r>
                    <a:rPr lang="zh-CN" altLang="en-US" b="1" dirty="0">
                      <a:latin typeface="Times New Roman" panose="02020603050405020304" pitchFamily="18" charset="0"/>
                      <a:cs typeface="Times New Roman" panose="02020603050405020304" pitchFamily="18" charset="0"/>
                    </a:rPr>
                    <a:t> </a:t>
                  </a:r>
                  <a:r>
                    <a:rPr lang="en-US" altLang="zh-CN" b="1" dirty="0">
                      <a:latin typeface="Times New Roman" panose="02020603050405020304" pitchFamily="18" charset="0"/>
                      <a:cs typeface="Times New Roman" panose="02020603050405020304" pitchFamily="18" charset="0"/>
                    </a:rPr>
                    <a:t>on</a:t>
                  </a:r>
                  <a:r>
                    <a:rPr lang="zh-CN" altLang="en-US" b="1" dirty="0">
                      <a:latin typeface="Times New Roman" panose="02020603050405020304" pitchFamily="18" charset="0"/>
                      <a:cs typeface="Times New Roman" panose="02020603050405020304" pitchFamily="18" charset="0"/>
                    </a:rPr>
                    <a:t> </a:t>
                  </a:r>
                  <a:r>
                    <a:rPr lang="en-US" altLang="zh-CN" b="1" dirty="0">
                      <a:latin typeface="Times New Roman" panose="02020603050405020304" pitchFamily="18" charset="0"/>
                      <a:cs typeface="Times New Roman" panose="02020603050405020304" pitchFamily="18" charset="0"/>
                    </a:rPr>
                    <a:t>returns</a:t>
                  </a:r>
                  <a:r>
                    <a:rPr lang="zh-CN" altLang="en-US" b="1" dirty="0">
                      <a:latin typeface="Times New Roman" panose="02020603050405020304" pitchFamily="18" charset="0"/>
                      <a:cs typeface="Times New Roman" panose="02020603050405020304" pitchFamily="18" charset="0"/>
                    </a:rPr>
                    <a:t> </a:t>
                  </a:r>
                  <a:r>
                    <a:rPr lang="en-US" altLang="zh-CN" b="1" dirty="0">
                      <a:latin typeface="Times New Roman" panose="02020603050405020304" pitchFamily="18" charset="0"/>
                      <a:cs typeface="Times New Roman" panose="02020603050405020304" pitchFamily="18" charset="0"/>
                    </a:rPr>
                    <a:t>and</a:t>
                  </a:r>
                  <a:r>
                    <a:rPr lang="zh-CN" altLang="en-US" b="1" dirty="0">
                      <a:latin typeface="Times New Roman" panose="02020603050405020304" pitchFamily="18" charset="0"/>
                      <a:cs typeface="Times New Roman" panose="02020603050405020304" pitchFamily="18" charset="0"/>
                    </a:rPr>
                    <a:t> </a:t>
                  </a:r>
                  <a:r>
                    <a:rPr lang="en-US" altLang="zh-CN" b="1" dirty="0">
                      <a:latin typeface="Times New Roman" panose="02020603050405020304" pitchFamily="18" charset="0"/>
                      <a:cs typeface="Times New Roman" panose="02020603050405020304" pitchFamily="18" charset="0"/>
                    </a:rPr>
                    <a:t>risks</a:t>
                  </a:r>
                  <a:r>
                    <a:rPr lang="zh-CN" altLang="zh-CN" b="1" dirty="0">
                      <a:latin typeface="Times New Roman" panose="02020603050405020304" pitchFamily="18" charset="0"/>
                      <a:cs typeface="Times New Roman" panose="02020603050405020304" pitchFamily="18" charset="0"/>
                    </a:rPr>
                    <a:t> </a:t>
                  </a:r>
                  <a:endParaRPr lang="en-US" altLang="zh-CN" b="1" dirty="0">
                    <a:latin typeface="Times New Roman" panose="02020603050405020304" pitchFamily="18" charset="0"/>
                    <a:cs typeface="Times New Roman" panose="02020603050405020304" pitchFamily="18" charset="0"/>
                  </a:endParaRPr>
                </a:p>
                <a:p>
                  <a:pPr marL="285750" indent="-285750">
                    <a:spcBef>
                      <a:spcPts val="600"/>
                    </a:spcBef>
                    <a:buSzPct val="100000"/>
                    <a:buFont typeface="Wingdings" pitchFamily="2" charset="2"/>
                    <a:buChar char="Ø"/>
                  </a:pPr>
                  <a:r>
                    <a:rPr lang="en-US" altLang="zh-CN" b="1" dirty="0">
                      <a:solidFill>
                        <a:srgbClr val="313131"/>
                      </a:solidFill>
                      <a:latin typeface="Times New Roman" panose="02020603050405020304" pitchFamily="18" charset="0"/>
                      <a:ea typeface="楷体" panose="02010609060101010101" pitchFamily="49" charset="-122"/>
                      <a:cs typeface="Times New Roman" panose="02020603050405020304" pitchFamily="18" charset="0"/>
                    </a:rPr>
                    <a:t>the mainly research focus on </a:t>
                  </a:r>
                  <a14:m>
                    <m:oMath xmlns:m="http://schemas.openxmlformats.org/officeDocument/2006/math">
                      <m:r>
                        <a:rPr lang="en-US" altLang="zh-CN" b="1" i="1" smtClean="0">
                          <a:solidFill>
                            <a:srgbClr val="313131"/>
                          </a:solidFill>
                          <a:latin typeface="Cambria Math" panose="02040503050406030204" pitchFamily="18" charset="0"/>
                          <a:ea typeface="Cambria Math" panose="02040503050406030204" pitchFamily="18" charset="0"/>
                          <a:cs typeface="Times New Roman" panose="02020603050405020304" pitchFamily="18" charset="0"/>
                        </a:rPr>
                        <m:t>𝜶</m:t>
                      </m:r>
                      <m:r>
                        <a:rPr lang="en-US" altLang="zh-CN" b="1" i="1" smtClean="0">
                          <a:solidFill>
                            <a:srgbClr val="313131"/>
                          </a:solidFill>
                          <a:latin typeface="Cambria Math" panose="02040503050406030204" pitchFamily="18" charset="0"/>
                          <a:ea typeface="Cambria Math" panose="02040503050406030204" pitchFamily="18" charset="0"/>
                          <a:cs typeface="Times New Roman" panose="02020603050405020304" pitchFamily="18" charset="0"/>
                        </a:rPr>
                        <m:t> </m:t>
                      </m:r>
                      <m:r>
                        <a:rPr lang="en-US" altLang="zh-CN" b="1" i="0" smtClean="0">
                          <a:solidFill>
                            <a:srgbClr val="313131"/>
                          </a:solidFill>
                          <a:latin typeface="Cambria Math" panose="02040503050406030204" pitchFamily="18" charset="0"/>
                          <a:ea typeface="Cambria Math" panose="02040503050406030204" pitchFamily="18" charset="0"/>
                          <a:cs typeface="Times New Roman" panose="02020603050405020304" pitchFamily="18" charset="0"/>
                        </a:rPr>
                        <m:t>𝐬𝐭𝐫𝐚𝐭𝐞𝐠𝐲</m:t>
                      </m:r>
                    </m:oMath>
                  </a14:m>
                  <a:endParaRPr lang="en-US" altLang="zh-CN" b="1" dirty="0">
                    <a:solidFill>
                      <a:srgbClr val="313131"/>
                    </a:solidFill>
                    <a:latin typeface="Times New Roman" panose="02020603050405020304" pitchFamily="18" charset="0"/>
                    <a:ea typeface="楷体" panose="02010609060101010101" pitchFamily="49" charset="-122"/>
                    <a:cs typeface="Times New Roman" panose="02020603050405020304" pitchFamily="18" charset="0"/>
                  </a:endParaRPr>
                </a:p>
              </p:txBody>
            </p:sp>
          </mc:Choice>
          <mc:Fallback xmlns="">
            <p:sp>
              <p:nvSpPr>
                <p:cNvPr id="478" name="文本框 477">
                  <a:extLst>
                    <a:ext uri="{FF2B5EF4-FFF2-40B4-BE49-F238E27FC236}">
                      <a16:creationId xmlns:a16="http://schemas.microsoft.com/office/drawing/2014/main" id="{BEBCBB60-F042-E34F-85FD-E883EE065F6C}"/>
                    </a:ext>
                  </a:extLst>
                </p:cNvPr>
                <p:cNvSpPr txBox="1">
                  <a:spLocks noRot="1" noChangeAspect="1" noMove="1" noResize="1" noEditPoints="1" noAdjustHandles="1" noChangeArrowheads="1" noChangeShapeType="1" noTextEdit="1"/>
                </p:cNvSpPr>
                <p:nvPr/>
              </p:nvSpPr>
              <p:spPr>
                <a:xfrm>
                  <a:off x="10468575" y="3339183"/>
                  <a:ext cx="3301141" cy="1631216"/>
                </a:xfrm>
                <a:prstGeom prst="rect">
                  <a:avLst/>
                </a:prstGeom>
                <a:blipFill>
                  <a:blip r:embed="rId4"/>
                  <a:stretch>
                    <a:fillRect l="-1149" t="-1550" r="-1916" b="-387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485" name="文本框 484">
                  <a:extLst>
                    <a:ext uri="{FF2B5EF4-FFF2-40B4-BE49-F238E27FC236}">
                      <a16:creationId xmlns:a16="http://schemas.microsoft.com/office/drawing/2014/main" id="{A3940E32-624A-EA40-B284-59E1EEC5423F}"/>
                    </a:ext>
                  </a:extLst>
                </p:cNvPr>
                <p:cNvSpPr txBox="1"/>
                <p:nvPr/>
              </p:nvSpPr>
              <p:spPr>
                <a:xfrm>
                  <a:off x="10493996" y="4978710"/>
                  <a:ext cx="3275720" cy="2893100"/>
                </a:xfrm>
                <a:prstGeom prst="rect">
                  <a:avLst/>
                </a:prstGeom>
                <a:noFill/>
              </p:spPr>
              <p:txBody>
                <a:bodyPr wrap="square" rtlCol="0">
                  <a:spAutoFit/>
                </a:bodyPr>
                <a:lstStyle/>
                <a:p>
                  <a:pPr marL="285750" indent="-285750">
                    <a:buFont typeface="Arial" panose="020B0604020202020204" pitchFamily="34" charset="0"/>
                    <a:buChar char="•"/>
                  </a:pPr>
                  <a:r>
                    <a:rPr lang="en-US" altLang="zh-CN" sz="1400" dirty="0"/>
                    <a:t>2006,</a:t>
                  </a:r>
                  <a:r>
                    <a:rPr lang="zh-CN" altLang="zh-CN" sz="1400" dirty="0"/>
                    <a:t>Ibbotson and Chen studied the relationship between </a:t>
                  </a:r>
                  <a14:m>
                    <m:oMath xmlns:m="http://schemas.openxmlformats.org/officeDocument/2006/math">
                      <m:r>
                        <a:rPr lang="zh-CN" altLang="en-US" sz="1400" i="1">
                          <a:latin typeface="Cambria Math" panose="02040503050406030204" pitchFamily="18" charset="0"/>
                        </a:rPr>
                        <m:t>𝛼</m:t>
                      </m:r>
                    </m:oMath>
                  </a14:m>
                  <a:r>
                    <a:rPr lang="zh-CN" altLang="zh-CN" sz="1400" dirty="0"/>
                    <a:t>, β and cost and analyzed th</a:t>
                  </a:r>
                  <a:r>
                    <a:rPr lang="en-US" altLang="zh-CN" sz="1400" dirty="0"/>
                    <a:t>e</a:t>
                  </a:r>
                  <a:r>
                    <a:rPr lang="zh-CN" altLang="zh-CN" sz="1400" dirty="0"/>
                    <a:t> hedge funds aimed to pursue </a:t>
                  </a:r>
                  <a14:m>
                    <m:oMath xmlns:m="http://schemas.openxmlformats.org/officeDocument/2006/math">
                      <m:r>
                        <a:rPr lang="zh-CN" altLang="en-US" sz="1400" i="1">
                          <a:latin typeface="Cambria Math" panose="02040503050406030204" pitchFamily="18" charset="0"/>
                        </a:rPr>
                        <m:t>𝛼</m:t>
                      </m:r>
                      <m:r>
                        <a:rPr lang="zh-CN" altLang="zh-CN" sz="1400" i="1">
                          <a:latin typeface="Cambria Math" panose="02040503050406030204" pitchFamily="18" charset="0"/>
                        </a:rPr>
                        <m:t> </m:t>
                      </m:r>
                    </m:oMath>
                  </a14:m>
                  <a:r>
                    <a:rPr lang="zh-CN" altLang="zh-CN" sz="1400" dirty="0"/>
                    <a:t>income.</a:t>
                  </a:r>
                  <a:endParaRPr lang="en-US" altLang="zh-CN" sz="1400" dirty="0"/>
                </a:p>
                <a:p>
                  <a:pPr marL="285750" indent="-285750">
                    <a:buFont typeface="Arial" panose="020B0604020202020204" pitchFamily="34" charset="0"/>
                    <a:buChar char="•"/>
                  </a:pPr>
                  <a:r>
                    <a:rPr lang="en-US" altLang="zh-CN" sz="1400" dirty="0"/>
                    <a:t>2011,</a:t>
                  </a:r>
                  <a:r>
                    <a:rPr lang="zh-CN" altLang="zh-CN" sz="1400" dirty="0"/>
                    <a:t>Qu Yunxiang and Huang Qi conducted on quantitative investment by constructing a quantitative investment portfolio that can achieve </a:t>
                  </a:r>
                  <a14:m>
                    <m:oMath xmlns:m="http://schemas.openxmlformats.org/officeDocument/2006/math">
                      <m:r>
                        <a:rPr lang="zh-CN" altLang="en-US" sz="1400" i="1">
                          <a:latin typeface="Cambria Math" panose="02040503050406030204" pitchFamily="18" charset="0"/>
                        </a:rPr>
                        <m:t>𝛼</m:t>
                      </m:r>
                    </m:oMath>
                  </a14:m>
                  <a:r>
                    <a:rPr lang="zh-CN" altLang="zh-CN" sz="1400" dirty="0"/>
                    <a:t> returns</a:t>
                  </a:r>
                  <a:endParaRPr lang="en-US" altLang="zh-CN" sz="1400" dirty="0"/>
                </a:p>
                <a:p>
                  <a:pPr marL="285750" indent="-285750">
                    <a:buFont typeface="Arial" panose="020B0604020202020204" pitchFamily="34" charset="0"/>
                    <a:buChar char="•"/>
                  </a:pPr>
                  <a:r>
                    <a:rPr lang="en-US" altLang="zh-CN" sz="1400" dirty="0"/>
                    <a:t>2012,</a:t>
                  </a:r>
                  <a:r>
                    <a:rPr lang="zh-CN" altLang="zh-CN" sz="1400" dirty="0"/>
                    <a:t>Ding Peng designed the D-</a:t>
                  </a:r>
                  <a:r>
                    <a:rPr lang="zh-CN" altLang="zh-CN" sz="1400" i="1" dirty="0"/>
                    <a:t> </a:t>
                  </a:r>
                  <a14:m>
                    <m:oMath xmlns:m="http://schemas.openxmlformats.org/officeDocument/2006/math">
                      <m:r>
                        <a:rPr lang="zh-CN" altLang="en-US" sz="1400" i="1" smtClean="0">
                          <a:latin typeface="Cambria Math" panose="02040503050406030204" pitchFamily="18" charset="0"/>
                        </a:rPr>
                        <m:t>𝛼</m:t>
                      </m:r>
                    </m:oMath>
                  </a14:m>
                  <a:r>
                    <a:rPr lang="zh-CN" altLang="zh-CN" sz="1400" i="1" dirty="0"/>
                    <a:t> </a:t>
                  </a:r>
                  <a:r>
                    <a:rPr lang="zh-CN" altLang="zh-CN" sz="1400" dirty="0"/>
                    <a:t>quantitative hedging trading system </a:t>
                  </a:r>
                  <a:endParaRPr lang="en-US" altLang="zh-CN" sz="1400" dirty="0"/>
                </a:p>
                <a:p>
                  <a:pPr marL="285750" indent="-285750">
                    <a:buFont typeface="Arial" panose="020B0604020202020204" pitchFamily="34" charset="0"/>
                    <a:buChar char="•"/>
                  </a:pPr>
                  <a:r>
                    <a:rPr lang="en-US" altLang="zh-CN" sz="1400" dirty="0"/>
                    <a:t>2012,</a:t>
                  </a:r>
                  <a:r>
                    <a:rPr lang="zh-CN" altLang="zh-CN" sz="1400" dirty="0"/>
                    <a:t>Fu Yingbian stud</a:t>
                  </a:r>
                  <a:r>
                    <a:rPr lang="en-US" altLang="zh-CN" sz="1400" dirty="0" err="1"/>
                    <a:t>ied</a:t>
                  </a:r>
                  <a:r>
                    <a:rPr lang="zh-CN" altLang="zh-CN" sz="1400" dirty="0"/>
                    <a:t> the β coefficient </a:t>
                  </a:r>
                  <a:r>
                    <a:rPr lang="en-US" altLang="zh-CN" sz="1400" dirty="0"/>
                    <a:t>with different industries </a:t>
                  </a:r>
                  <a:endParaRPr lang="zh-CN" altLang="zh-CN" sz="1400" dirty="0"/>
                </a:p>
              </p:txBody>
            </p:sp>
          </mc:Choice>
          <mc:Fallback xmlns="">
            <p:sp>
              <p:nvSpPr>
                <p:cNvPr id="485" name="文本框 484">
                  <a:extLst>
                    <a:ext uri="{FF2B5EF4-FFF2-40B4-BE49-F238E27FC236}">
                      <a16:creationId xmlns:a16="http://schemas.microsoft.com/office/drawing/2014/main" id="{A3940E32-624A-EA40-B284-59E1EEC5423F}"/>
                    </a:ext>
                  </a:extLst>
                </p:cNvPr>
                <p:cNvSpPr txBox="1">
                  <a:spLocks noRot="1" noChangeAspect="1" noMove="1" noResize="1" noEditPoints="1" noAdjustHandles="1" noChangeArrowheads="1" noChangeShapeType="1" noTextEdit="1"/>
                </p:cNvSpPr>
                <p:nvPr/>
              </p:nvSpPr>
              <p:spPr>
                <a:xfrm>
                  <a:off x="10493996" y="4978710"/>
                  <a:ext cx="3275720" cy="2893100"/>
                </a:xfrm>
                <a:prstGeom prst="rect">
                  <a:avLst/>
                </a:prstGeom>
                <a:blipFill>
                  <a:blip r:embed="rId5"/>
                  <a:stretch>
                    <a:fillRect l="-386" t="-437" b="-1310"/>
                  </a:stretch>
                </a:blipFill>
              </p:spPr>
              <p:txBody>
                <a:bodyPr/>
                <a:lstStyle/>
                <a:p>
                  <a:r>
                    <a:rPr lang="zh-CN" altLang="en-US">
                      <a:noFill/>
                    </a:rPr>
                    <a:t> </a:t>
                  </a:r>
                </a:p>
              </p:txBody>
            </p:sp>
          </mc:Fallback>
        </mc:AlternateContent>
      </p:grpSp>
      <p:pic>
        <p:nvPicPr>
          <p:cNvPr id="487" name="Picture 9">
            <a:extLst>
              <a:ext uri="{FF2B5EF4-FFF2-40B4-BE49-F238E27FC236}">
                <a16:creationId xmlns:a16="http://schemas.microsoft.com/office/drawing/2014/main" id="{4F24C766-1D28-5845-8011-9EAA317B56A9}"/>
              </a:ext>
            </a:extLst>
          </p:cNvPr>
          <p:cNvPicPr>
            <a:picLocks noChangeAspect="1"/>
          </p:cNvPicPr>
          <p:nvPr/>
        </p:nvPicPr>
        <p:blipFill>
          <a:blip r:embed="rId6"/>
          <a:stretch>
            <a:fillRect/>
          </a:stretch>
        </p:blipFill>
        <p:spPr>
          <a:xfrm>
            <a:off x="13119100" y="533400"/>
            <a:ext cx="2540000" cy="101600"/>
          </a:xfrm>
          <a:prstGeom prst="rect">
            <a:avLst/>
          </a:prstGeom>
        </p:spPr>
      </p:pic>
      <p:sp>
        <p:nvSpPr>
          <p:cNvPr id="488" name="TextBox 7">
            <a:extLst>
              <a:ext uri="{FF2B5EF4-FFF2-40B4-BE49-F238E27FC236}">
                <a16:creationId xmlns:a16="http://schemas.microsoft.com/office/drawing/2014/main" id="{2FAEC557-E34E-0F49-8288-B383D71B0DC3}"/>
              </a:ext>
            </a:extLst>
          </p:cNvPr>
          <p:cNvSpPr txBox="1"/>
          <p:nvPr/>
        </p:nvSpPr>
        <p:spPr>
          <a:xfrm>
            <a:off x="10195886" y="718701"/>
            <a:ext cx="5672225" cy="726511"/>
          </a:xfrm>
          <a:prstGeom prst="rect">
            <a:avLst/>
          </a:prstGeom>
        </p:spPr>
        <p:txBody>
          <a:bodyPr lIns="0" tIns="0" rIns="0" bIns="0" rtlCol="0" anchor="t"/>
          <a:lstStyle/>
          <a:p>
            <a:pPr algn="r">
              <a:lnSpc>
                <a:spcPct val="90000"/>
              </a:lnSpc>
            </a:pPr>
            <a:r>
              <a:rPr lang="en-US" sz="4000" b="1" dirty="0">
                <a:solidFill>
                  <a:srgbClr val="475B7C"/>
                </a:solidFill>
                <a:latin typeface="Times New Roman" panose="02020603050405020304" pitchFamily="18" charset="0"/>
                <a:cs typeface="Times New Roman" panose="02020603050405020304" pitchFamily="18" charset="0"/>
              </a:rPr>
              <a:t>Literature Review</a:t>
            </a:r>
          </a:p>
        </p:txBody>
      </p:sp>
      <p:sp>
        <p:nvSpPr>
          <p:cNvPr id="489" name="AutoShape 16">
            <a:extLst>
              <a:ext uri="{FF2B5EF4-FFF2-40B4-BE49-F238E27FC236}">
                <a16:creationId xmlns:a16="http://schemas.microsoft.com/office/drawing/2014/main" id="{2EA8D88D-08E0-174E-AAF0-CF8A5D182538}"/>
              </a:ext>
            </a:extLst>
          </p:cNvPr>
          <p:cNvSpPr/>
          <p:nvPr/>
        </p:nvSpPr>
        <p:spPr>
          <a:xfrm rot="5400000">
            <a:off x="-1708150" y="4610410"/>
            <a:ext cx="4152900" cy="736600"/>
          </a:xfrm>
          <a:prstGeom prst="rect">
            <a:avLst/>
          </a:prstGeom>
          <a:blipFill>
            <a:blip r:embed="rId7" cstate="print">
              <a:alphaModFix amt="30000"/>
            </a:blip>
            <a:srcRect/>
            <a:stretch>
              <a:fillRect/>
            </a:stretch>
          </a:blipFill>
        </p:spPr>
        <p:txBody>
          <a:bodyPr/>
          <a:lstStyle/>
          <a:p>
            <a:endParaRPr lang="zh-CN" altLang="en-US"/>
          </a:p>
        </p:txBody>
      </p:sp>
      <p:sp>
        <p:nvSpPr>
          <p:cNvPr id="490" name="AutoShape 16">
            <a:extLst>
              <a:ext uri="{FF2B5EF4-FFF2-40B4-BE49-F238E27FC236}">
                <a16:creationId xmlns:a16="http://schemas.microsoft.com/office/drawing/2014/main" id="{CCDCD3DC-5247-0B49-A8AD-FB72B626CB2C}"/>
              </a:ext>
            </a:extLst>
          </p:cNvPr>
          <p:cNvSpPr/>
          <p:nvPr/>
        </p:nvSpPr>
        <p:spPr>
          <a:xfrm rot="16200000">
            <a:off x="13824192" y="4004044"/>
            <a:ext cx="4152900" cy="736600"/>
          </a:xfrm>
          <a:prstGeom prst="rect">
            <a:avLst/>
          </a:prstGeom>
          <a:blipFill>
            <a:blip r:embed="rId7" cstate="print">
              <a:alphaModFix amt="30000"/>
            </a:blip>
            <a:srcRect/>
            <a:stretch>
              <a:fillRect/>
            </a:stretch>
          </a:blipFill>
        </p:spPr>
        <p:txBody>
          <a:bodyPr/>
          <a:lstStyle/>
          <a:p>
            <a:endParaRPr lang="zh-CN" altLang="en-US"/>
          </a:p>
        </p:txBody>
      </p:sp>
      <p:cxnSp>
        <p:nvCxnSpPr>
          <p:cNvPr id="26" name="肘形连接符 25">
            <a:extLst>
              <a:ext uri="{FF2B5EF4-FFF2-40B4-BE49-F238E27FC236}">
                <a16:creationId xmlns:a16="http://schemas.microsoft.com/office/drawing/2014/main" id="{63FA677C-6410-C6F5-B749-243447906C0D}"/>
              </a:ext>
            </a:extLst>
          </p:cNvPr>
          <p:cNvCxnSpPr>
            <a:cxnSpLocks/>
            <a:stCxn id="433" idx="2"/>
            <a:endCxn id="436" idx="0"/>
          </p:cNvCxnSpPr>
          <p:nvPr/>
        </p:nvCxnSpPr>
        <p:spPr>
          <a:xfrm rot="16200000" flipH="1">
            <a:off x="9806417" y="70234"/>
            <a:ext cx="533633" cy="4299058"/>
          </a:xfrm>
          <a:prstGeom prst="bentConnector3">
            <a:avLst>
              <a:gd name="adj1" fmla="val 50000"/>
            </a:avLst>
          </a:prstGeom>
          <a:ln w="19050">
            <a:solidFill>
              <a:srgbClr val="475B7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78076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组合 19">
            <a:extLst>
              <a:ext uri="{FF2B5EF4-FFF2-40B4-BE49-F238E27FC236}">
                <a16:creationId xmlns:a16="http://schemas.microsoft.com/office/drawing/2014/main" id="{8A288040-1293-5F49-B1DC-FAB417FA56E5}"/>
              </a:ext>
            </a:extLst>
          </p:cNvPr>
          <p:cNvGrpSpPr/>
          <p:nvPr/>
        </p:nvGrpSpPr>
        <p:grpSpPr>
          <a:xfrm>
            <a:off x="1876483" y="1870949"/>
            <a:ext cx="2933700" cy="2933700"/>
            <a:chOff x="2273300" y="3111500"/>
            <a:chExt cx="2933700" cy="2933700"/>
          </a:xfrm>
        </p:grpSpPr>
        <p:pic>
          <p:nvPicPr>
            <p:cNvPr id="4" name="Picture 4"/>
            <p:cNvPicPr>
              <a:picLocks noChangeAspect="1"/>
            </p:cNvPicPr>
            <p:nvPr/>
          </p:nvPicPr>
          <p:blipFill>
            <a:blip r:embed="rId2"/>
            <a:stretch>
              <a:fillRect/>
            </a:stretch>
          </p:blipFill>
          <p:spPr>
            <a:xfrm>
              <a:off x="2273300" y="3111500"/>
              <a:ext cx="2933700" cy="2933700"/>
            </a:xfrm>
            <a:prstGeom prst="rect">
              <a:avLst/>
            </a:prstGeom>
          </p:spPr>
        </p:pic>
        <p:sp>
          <p:nvSpPr>
            <p:cNvPr id="6" name="TextBox 6"/>
            <p:cNvSpPr txBox="1"/>
            <p:nvPr/>
          </p:nvSpPr>
          <p:spPr>
            <a:xfrm>
              <a:off x="2552700" y="4584700"/>
              <a:ext cx="2387600" cy="952500"/>
            </a:xfrm>
            <a:prstGeom prst="rect">
              <a:avLst/>
            </a:prstGeom>
          </p:spPr>
          <p:txBody>
            <a:bodyPr lIns="0" tIns="0" rIns="0" bIns="0" rtlCol="0" anchor="t"/>
            <a:lstStyle/>
            <a:p>
              <a:pPr algn="ctr">
                <a:lnSpc>
                  <a:spcPct val="105000"/>
                </a:lnSpc>
              </a:pPr>
              <a:r>
                <a:rPr lang="en-US" sz="4000" dirty="0">
                  <a:solidFill>
                    <a:srgbClr val="FAFDFF"/>
                  </a:solidFill>
                  <a:latin typeface="Times New Roman" panose="02020603050405020304" pitchFamily="18" charset="0"/>
                  <a:cs typeface="Times New Roman" panose="02020603050405020304" pitchFamily="18" charset="0"/>
                </a:rPr>
                <a:t>Content</a:t>
              </a:r>
            </a:p>
            <a:p>
              <a:pPr algn="ctr">
                <a:lnSpc>
                  <a:spcPct val="105000"/>
                </a:lnSpc>
              </a:pPr>
              <a:endParaRPr lang="en-US" sz="4000" dirty="0">
                <a:solidFill>
                  <a:srgbClr val="FAFDFF"/>
                </a:solidFill>
                <a:latin typeface="Times New Roman" panose="02020603050405020304" pitchFamily="18" charset="0"/>
                <a:cs typeface="Times New Roman" panose="02020603050405020304" pitchFamily="18" charset="0"/>
              </a:endParaRPr>
            </a:p>
          </p:txBody>
        </p:sp>
      </p:grpSp>
      <p:grpSp>
        <p:nvGrpSpPr>
          <p:cNvPr id="19" name="组合 18">
            <a:extLst>
              <a:ext uri="{FF2B5EF4-FFF2-40B4-BE49-F238E27FC236}">
                <a16:creationId xmlns:a16="http://schemas.microsoft.com/office/drawing/2014/main" id="{A7F6CF9C-764B-1841-9145-D5C434A8281F}"/>
              </a:ext>
            </a:extLst>
          </p:cNvPr>
          <p:cNvGrpSpPr/>
          <p:nvPr/>
        </p:nvGrpSpPr>
        <p:grpSpPr>
          <a:xfrm>
            <a:off x="1934592" y="5279102"/>
            <a:ext cx="2933700" cy="2933700"/>
            <a:chOff x="5207000" y="3111500"/>
            <a:chExt cx="2933700" cy="2933700"/>
          </a:xfrm>
        </p:grpSpPr>
        <p:pic>
          <p:nvPicPr>
            <p:cNvPr id="3" name="Picture 3"/>
            <p:cNvPicPr>
              <a:picLocks noChangeAspect="1"/>
            </p:cNvPicPr>
            <p:nvPr/>
          </p:nvPicPr>
          <p:blipFill>
            <a:blip r:embed="rId3"/>
            <a:stretch>
              <a:fillRect/>
            </a:stretch>
          </p:blipFill>
          <p:spPr>
            <a:xfrm>
              <a:off x="5207000" y="3111500"/>
              <a:ext cx="2933700" cy="2933700"/>
            </a:xfrm>
            <a:prstGeom prst="rect">
              <a:avLst/>
            </a:prstGeom>
          </p:spPr>
        </p:pic>
        <p:sp>
          <p:nvSpPr>
            <p:cNvPr id="8" name="TextBox 8"/>
            <p:cNvSpPr txBox="1"/>
            <p:nvPr/>
          </p:nvSpPr>
          <p:spPr>
            <a:xfrm>
              <a:off x="5473700" y="4584700"/>
              <a:ext cx="2387600" cy="952500"/>
            </a:xfrm>
            <a:prstGeom prst="rect">
              <a:avLst/>
            </a:prstGeom>
          </p:spPr>
          <p:txBody>
            <a:bodyPr lIns="0" tIns="0" rIns="0" bIns="0" rtlCol="0" anchor="t"/>
            <a:lstStyle/>
            <a:p>
              <a:pPr algn="ctr">
                <a:lnSpc>
                  <a:spcPct val="105000"/>
                </a:lnSpc>
              </a:pPr>
              <a:r>
                <a:rPr lang="en-US" sz="4000" dirty="0">
                  <a:solidFill>
                    <a:srgbClr val="FFFFFF"/>
                  </a:solidFill>
                  <a:latin typeface="Times New Roman" panose="02020603050405020304" pitchFamily="18" charset="0"/>
                  <a:cs typeface="Times New Roman" panose="02020603050405020304" pitchFamily="18" charset="0"/>
                </a:rPr>
                <a:t>Methods</a:t>
              </a:r>
              <a:endParaRPr lang="en-US" sz="1800" dirty="0">
                <a:solidFill>
                  <a:srgbClr val="FFFFFF"/>
                </a:solidFill>
                <a:latin typeface="Times New Roman" panose="02020603050405020304" pitchFamily="18" charset="0"/>
                <a:cs typeface="Times New Roman" panose="02020603050405020304" pitchFamily="18" charset="0"/>
              </a:endParaRPr>
            </a:p>
            <a:p>
              <a:pPr algn="ctr">
                <a:lnSpc>
                  <a:spcPct val="105000"/>
                </a:lnSpc>
              </a:pPr>
              <a:endParaRPr lang="en-US" sz="1800" dirty="0">
                <a:solidFill>
                  <a:srgbClr val="FFFFFF"/>
                </a:solidFill>
                <a:latin typeface="Times New Roman" panose="02020603050405020304" pitchFamily="18" charset="0"/>
                <a:cs typeface="Times New Roman" panose="02020603050405020304" pitchFamily="18" charset="0"/>
              </a:endParaRPr>
            </a:p>
          </p:txBody>
        </p:sp>
      </p:grpSp>
      <p:sp>
        <p:nvSpPr>
          <p:cNvPr id="14" name="TextBox 14"/>
          <p:cNvSpPr txBox="1"/>
          <p:nvPr/>
        </p:nvSpPr>
        <p:spPr>
          <a:xfrm>
            <a:off x="8092114" y="1020852"/>
            <a:ext cx="8623808" cy="558797"/>
          </a:xfrm>
          <a:prstGeom prst="rect">
            <a:avLst/>
          </a:prstGeom>
        </p:spPr>
        <p:txBody>
          <a:bodyPr lIns="0" tIns="0" rIns="0" bIns="0" rtlCol="0" anchor="t"/>
          <a:lstStyle/>
          <a:p>
            <a:r>
              <a:rPr kumimoji="1" lang="en-US" altLang="zh-CN" sz="4000" b="1" dirty="0">
                <a:solidFill>
                  <a:srgbClr val="475B7C"/>
                </a:solidFill>
                <a:latin typeface="Times New Roman" panose="02020603050405020304" pitchFamily="18" charset="0"/>
                <a:cs typeface="Times New Roman" panose="02020603050405020304" pitchFamily="18" charset="0"/>
              </a:rPr>
              <a:t>RSRS</a:t>
            </a:r>
            <a:r>
              <a:rPr kumimoji="1" lang="zh-CN" altLang="en-US" sz="4000" b="1" dirty="0">
                <a:solidFill>
                  <a:srgbClr val="475B7C"/>
                </a:solidFill>
                <a:latin typeface="Times New Roman" panose="02020603050405020304" pitchFamily="18" charset="0"/>
                <a:cs typeface="Times New Roman" panose="02020603050405020304" pitchFamily="18" charset="0"/>
              </a:rPr>
              <a:t> </a:t>
            </a:r>
            <a:r>
              <a:rPr kumimoji="1" lang="en-US" altLang="zh-CN" sz="4000" b="1" dirty="0">
                <a:solidFill>
                  <a:srgbClr val="475B7C"/>
                </a:solidFill>
                <a:latin typeface="Times New Roman" panose="02020603050405020304" pitchFamily="18" charset="0"/>
                <a:cs typeface="Times New Roman" panose="02020603050405020304" pitchFamily="18" charset="0"/>
              </a:rPr>
              <a:t>&amp;</a:t>
            </a:r>
            <a:r>
              <a:rPr kumimoji="1" lang="zh-CN" altLang="en-US" sz="4000" b="1" dirty="0">
                <a:solidFill>
                  <a:srgbClr val="475B7C"/>
                </a:solidFill>
                <a:latin typeface="Times New Roman" panose="02020603050405020304" pitchFamily="18" charset="0"/>
                <a:cs typeface="Times New Roman" panose="02020603050405020304" pitchFamily="18" charset="0"/>
              </a:rPr>
              <a:t> </a:t>
            </a:r>
            <a:r>
              <a:rPr kumimoji="1" lang="en-US" altLang="zh-CN" sz="4000" b="1" dirty="0">
                <a:solidFill>
                  <a:srgbClr val="475B7C"/>
                </a:solidFill>
                <a:latin typeface="Times New Roman" panose="02020603050405020304" pitchFamily="18" charset="0"/>
                <a:cs typeface="Times New Roman" panose="02020603050405020304" pitchFamily="18" charset="0"/>
              </a:rPr>
              <a:t>Proxy indicator construction</a:t>
            </a:r>
          </a:p>
        </p:txBody>
      </p:sp>
      <p:pic>
        <p:nvPicPr>
          <p:cNvPr id="15" name="Picture 15"/>
          <p:cNvPicPr>
            <a:picLocks noChangeAspect="1"/>
          </p:cNvPicPr>
          <p:nvPr/>
        </p:nvPicPr>
        <p:blipFill>
          <a:blip r:embed="rId4"/>
          <a:stretch>
            <a:fillRect/>
          </a:stretch>
        </p:blipFill>
        <p:spPr>
          <a:xfrm>
            <a:off x="13119100" y="533400"/>
            <a:ext cx="2540000" cy="101600"/>
          </a:xfrm>
          <a:prstGeom prst="rect">
            <a:avLst/>
          </a:prstGeom>
        </p:spPr>
      </p:pic>
      <p:sp>
        <p:nvSpPr>
          <p:cNvPr id="16" name="AutoShape 16"/>
          <p:cNvSpPr/>
          <p:nvPr/>
        </p:nvSpPr>
        <p:spPr>
          <a:xfrm rot="10800000">
            <a:off x="6057900" y="0"/>
            <a:ext cx="4152900" cy="736600"/>
          </a:xfrm>
          <a:prstGeom prst="rect">
            <a:avLst/>
          </a:prstGeom>
          <a:blipFill>
            <a:blip r:embed="rId5" cstate="print">
              <a:alphaModFix amt="30000"/>
            </a:blip>
            <a:srcRect/>
            <a:stretch>
              <a:fillRect/>
            </a:stretch>
          </a:blipFill>
        </p:spPr>
        <p:txBody>
          <a:bodyPr/>
          <a:lstStyle/>
          <a:p>
            <a:endParaRPr lang="zh-CN" altLang="en-US"/>
          </a:p>
        </p:txBody>
      </p:sp>
      <p:sp>
        <p:nvSpPr>
          <p:cNvPr id="17" name="AutoShape 17"/>
          <p:cNvSpPr/>
          <p:nvPr/>
        </p:nvSpPr>
        <p:spPr>
          <a:xfrm>
            <a:off x="6057900" y="8407400"/>
            <a:ext cx="4152900" cy="736600"/>
          </a:xfrm>
          <a:prstGeom prst="rect">
            <a:avLst/>
          </a:prstGeom>
          <a:blipFill>
            <a:blip r:embed="rId5" cstate="print">
              <a:alphaModFix amt="30000"/>
            </a:blip>
            <a:srcRect/>
            <a:stretch>
              <a:fillRect/>
            </a:stretch>
          </a:blipFill>
        </p:spPr>
        <p:txBody>
          <a:bodyPr/>
          <a:lstStyle/>
          <a:p>
            <a:endParaRPr lang="zh-CN" altLang="en-US"/>
          </a:p>
        </p:txBody>
      </p:sp>
      <p:cxnSp>
        <p:nvCxnSpPr>
          <p:cNvPr id="22" name="直线连接符 21">
            <a:extLst>
              <a:ext uri="{FF2B5EF4-FFF2-40B4-BE49-F238E27FC236}">
                <a16:creationId xmlns:a16="http://schemas.microsoft.com/office/drawing/2014/main" id="{4AAE5E3D-0DC9-7F40-8BA4-839D13E1CE95}"/>
              </a:ext>
            </a:extLst>
          </p:cNvPr>
          <p:cNvCxnSpPr/>
          <p:nvPr/>
        </p:nvCxnSpPr>
        <p:spPr>
          <a:xfrm>
            <a:off x="1104182" y="5102261"/>
            <a:ext cx="14889192"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5" name="文本框 24">
            <a:extLst>
              <a:ext uri="{FF2B5EF4-FFF2-40B4-BE49-F238E27FC236}">
                <a16:creationId xmlns:a16="http://schemas.microsoft.com/office/drawing/2014/main" id="{89667CD3-E194-3646-98D4-A3A6F60D4D97}"/>
              </a:ext>
            </a:extLst>
          </p:cNvPr>
          <p:cNvSpPr txBox="1"/>
          <p:nvPr/>
        </p:nvSpPr>
        <p:spPr>
          <a:xfrm>
            <a:off x="5262113" y="1607362"/>
            <a:ext cx="10575985" cy="3420000"/>
          </a:xfrm>
          <a:prstGeom prst="rect">
            <a:avLst/>
          </a:prstGeom>
          <a:noFill/>
          <a:ln>
            <a:solidFill>
              <a:srgbClr val="475B7C"/>
            </a:solidFill>
          </a:ln>
        </p:spPr>
        <p:txBody>
          <a:bodyPr wrap="square" rtlCol="0">
            <a:spAutoFit/>
          </a:bodyPr>
          <a:lstStyle/>
          <a:p>
            <a:endParaRPr kumimoji="1" lang="zh-CN" altLang="en-US" dirty="0"/>
          </a:p>
        </p:txBody>
      </p:sp>
      <p:sp>
        <p:nvSpPr>
          <p:cNvPr id="26" name="文本框 25">
            <a:extLst>
              <a:ext uri="{FF2B5EF4-FFF2-40B4-BE49-F238E27FC236}">
                <a16:creationId xmlns:a16="http://schemas.microsoft.com/office/drawing/2014/main" id="{331E0561-C433-C24C-B723-BA16B1E3D9A5}"/>
              </a:ext>
            </a:extLst>
          </p:cNvPr>
          <p:cNvSpPr txBox="1"/>
          <p:nvPr/>
        </p:nvSpPr>
        <p:spPr>
          <a:xfrm>
            <a:off x="5262113" y="5171034"/>
            <a:ext cx="10575985" cy="3420000"/>
          </a:xfrm>
          <a:prstGeom prst="rect">
            <a:avLst/>
          </a:prstGeom>
          <a:noFill/>
          <a:ln>
            <a:solidFill>
              <a:srgbClr val="475B7C"/>
            </a:solidFill>
          </a:ln>
        </p:spPr>
        <p:txBody>
          <a:bodyPr wrap="square" rtlCol="0">
            <a:spAutoFit/>
          </a:bodyPr>
          <a:lstStyle/>
          <a:p>
            <a:endParaRPr kumimoji="1" lang="zh-CN" altLang="en-US" dirty="0"/>
          </a:p>
        </p:txBody>
      </p:sp>
      <p:sp>
        <p:nvSpPr>
          <p:cNvPr id="28" name="physics-formula-of-energy-in-a-square_46164">
            <a:extLst>
              <a:ext uri="{FF2B5EF4-FFF2-40B4-BE49-F238E27FC236}">
                <a16:creationId xmlns:a16="http://schemas.microsoft.com/office/drawing/2014/main" id="{BBC267B2-AE04-274C-B877-63D58B609171}"/>
              </a:ext>
            </a:extLst>
          </p:cNvPr>
          <p:cNvSpPr>
            <a:spLocks noChangeAspect="1"/>
          </p:cNvSpPr>
          <p:nvPr/>
        </p:nvSpPr>
        <p:spPr>
          <a:xfrm>
            <a:off x="3154391" y="2755985"/>
            <a:ext cx="589113" cy="588404"/>
          </a:xfrm>
          <a:custGeom>
            <a:avLst/>
            <a:gdLst>
              <a:gd name="T0" fmla="*/ 0 w 667"/>
              <a:gd name="T1" fmla="*/ 578 h 667"/>
              <a:gd name="T2" fmla="*/ 667 w 667"/>
              <a:gd name="T3" fmla="*/ 88 h 667"/>
              <a:gd name="T4" fmla="*/ 195 w 667"/>
              <a:gd name="T5" fmla="*/ 393 h 667"/>
              <a:gd name="T6" fmla="*/ 107 w 667"/>
              <a:gd name="T7" fmla="*/ 423 h 667"/>
              <a:gd name="T8" fmla="*/ 78 w 667"/>
              <a:gd name="T9" fmla="*/ 364 h 667"/>
              <a:gd name="T10" fmla="*/ 68 w 667"/>
              <a:gd name="T11" fmla="*/ 327 h 667"/>
              <a:gd name="T12" fmla="*/ 77 w 667"/>
              <a:gd name="T13" fmla="*/ 310 h 667"/>
              <a:gd name="T14" fmla="*/ 68 w 667"/>
              <a:gd name="T15" fmla="*/ 274 h 667"/>
              <a:gd name="T16" fmla="*/ 88 w 667"/>
              <a:gd name="T17" fmla="*/ 250 h 667"/>
              <a:gd name="T18" fmla="*/ 126 w 667"/>
              <a:gd name="T19" fmla="*/ 248 h 667"/>
              <a:gd name="T20" fmla="*/ 175 w 667"/>
              <a:gd name="T21" fmla="*/ 244 h 667"/>
              <a:gd name="T22" fmla="*/ 189 w 667"/>
              <a:gd name="T23" fmla="*/ 254 h 667"/>
              <a:gd name="T24" fmla="*/ 148 w 667"/>
              <a:gd name="T25" fmla="*/ 275 h 667"/>
              <a:gd name="T26" fmla="*/ 113 w 667"/>
              <a:gd name="T27" fmla="*/ 278 h 667"/>
              <a:gd name="T28" fmla="*/ 163 w 667"/>
              <a:gd name="T29" fmla="*/ 300 h 667"/>
              <a:gd name="T30" fmla="*/ 187 w 667"/>
              <a:gd name="T31" fmla="*/ 305 h 667"/>
              <a:gd name="T32" fmla="*/ 180 w 667"/>
              <a:gd name="T33" fmla="*/ 320 h 667"/>
              <a:gd name="T34" fmla="*/ 134 w 667"/>
              <a:gd name="T35" fmla="*/ 328 h 667"/>
              <a:gd name="T36" fmla="*/ 109 w 667"/>
              <a:gd name="T37" fmla="*/ 333 h 667"/>
              <a:gd name="T38" fmla="*/ 106 w 667"/>
              <a:gd name="T39" fmla="*/ 382 h 667"/>
              <a:gd name="T40" fmla="*/ 149 w 667"/>
              <a:gd name="T41" fmla="*/ 381 h 667"/>
              <a:gd name="T42" fmla="*/ 213 w 667"/>
              <a:gd name="T43" fmla="*/ 371 h 667"/>
              <a:gd name="T44" fmla="*/ 317 w 667"/>
              <a:gd name="T45" fmla="*/ 386 h 667"/>
              <a:gd name="T46" fmla="*/ 242 w 667"/>
              <a:gd name="T47" fmla="*/ 399 h 667"/>
              <a:gd name="T48" fmla="*/ 232 w 667"/>
              <a:gd name="T49" fmla="*/ 378 h 667"/>
              <a:gd name="T50" fmla="*/ 317 w 667"/>
              <a:gd name="T51" fmla="*/ 385 h 667"/>
              <a:gd name="T52" fmla="*/ 294 w 667"/>
              <a:gd name="T53" fmla="*/ 362 h 667"/>
              <a:gd name="T54" fmla="*/ 234 w 667"/>
              <a:gd name="T55" fmla="*/ 359 h 667"/>
              <a:gd name="T56" fmla="*/ 242 w 667"/>
              <a:gd name="T57" fmla="*/ 333 h 667"/>
              <a:gd name="T58" fmla="*/ 321 w 667"/>
              <a:gd name="T59" fmla="*/ 350 h 667"/>
              <a:gd name="T60" fmla="*/ 456 w 667"/>
              <a:gd name="T61" fmla="*/ 425 h 667"/>
              <a:gd name="T62" fmla="*/ 421 w 667"/>
              <a:gd name="T63" fmla="*/ 385 h 667"/>
              <a:gd name="T64" fmla="*/ 382 w 667"/>
              <a:gd name="T65" fmla="*/ 397 h 667"/>
              <a:gd name="T66" fmla="*/ 351 w 667"/>
              <a:gd name="T67" fmla="*/ 423 h 667"/>
              <a:gd name="T68" fmla="*/ 335 w 667"/>
              <a:gd name="T69" fmla="*/ 412 h 667"/>
              <a:gd name="T70" fmla="*/ 339 w 667"/>
              <a:gd name="T71" fmla="*/ 355 h 667"/>
              <a:gd name="T72" fmla="*/ 367 w 667"/>
              <a:gd name="T73" fmla="*/ 334 h 667"/>
              <a:gd name="T74" fmla="*/ 400 w 667"/>
              <a:gd name="T75" fmla="*/ 379 h 667"/>
              <a:gd name="T76" fmla="*/ 460 w 667"/>
              <a:gd name="T77" fmla="*/ 394 h 667"/>
              <a:gd name="T78" fmla="*/ 512 w 667"/>
              <a:gd name="T79" fmla="*/ 426 h 667"/>
              <a:gd name="T80" fmla="*/ 483 w 667"/>
              <a:gd name="T81" fmla="*/ 362 h 667"/>
              <a:gd name="T82" fmla="*/ 532 w 667"/>
              <a:gd name="T83" fmla="*/ 340 h 667"/>
              <a:gd name="T84" fmla="*/ 502 w 667"/>
              <a:gd name="T85" fmla="*/ 380 h 667"/>
              <a:gd name="T86" fmla="*/ 547 w 667"/>
              <a:gd name="T87" fmla="*/ 388 h 667"/>
              <a:gd name="T88" fmla="*/ 538 w 667"/>
              <a:gd name="T89" fmla="*/ 421 h 667"/>
              <a:gd name="T90" fmla="*/ 575 w 667"/>
              <a:gd name="T91" fmla="*/ 327 h 667"/>
              <a:gd name="T92" fmla="*/ 550 w 667"/>
              <a:gd name="T93" fmla="*/ 312 h 667"/>
              <a:gd name="T94" fmla="*/ 580 w 667"/>
              <a:gd name="T95" fmla="*/ 277 h 667"/>
              <a:gd name="T96" fmla="*/ 559 w 667"/>
              <a:gd name="T97" fmla="*/ 288 h 667"/>
              <a:gd name="T98" fmla="*/ 552 w 667"/>
              <a:gd name="T99" fmla="*/ 285 h 667"/>
              <a:gd name="T100" fmla="*/ 579 w 667"/>
              <a:gd name="T101" fmla="*/ 264 h 667"/>
              <a:gd name="T102" fmla="*/ 580 w 667"/>
              <a:gd name="T103" fmla="*/ 301 h 667"/>
              <a:gd name="T104" fmla="*/ 589 w 667"/>
              <a:gd name="T105" fmla="*/ 315 h 667"/>
              <a:gd name="T106" fmla="*/ 600 w 667"/>
              <a:gd name="T107" fmla="*/ 319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7" h="667">
                <a:moveTo>
                  <a:pt x="578" y="0"/>
                </a:moveTo>
                <a:lnTo>
                  <a:pt x="88" y="0"/>
                </a:lnTo>
                <a:cubicBezTo>
                  <a:pt x="40" y="0"/>
                  <a:pt x="0" y="40"/>
                  <a:pt x="0" y="88"/>
                </a:cubicBezTo>
                <a:lnTo>
                  <a:pt x="0" y="578"/>
                </a:lnTo>
                <a:cubicBezTo>
                  <a:pt x="0" y="627"/>
                  <a:pt x="40" y="667"/>
                  <a:pt x="88" y="667"/>
                </a:cubicBezTo>
                <a:lnTo>
                  <a:pt x="578" y="667"/>
                </a:lnTo>
                <a:cubicBezTo>
                  <a:pt x="627" y="667"/>
                  <a:pt x="667" y="627"/>
                  <a:pt x="667" y="578"/>
                </a:cubicBezTo>
                <a:lnTo>
                  <a:pt x="667" y="88"/>
                </a:lnTo>
                <a:cubicBezTo>
                  <a:pt x="667" y="40"/>
                  <a:pt x="627" y="0"/>
                  <a:pt x="578" y="0"/>
                </a:cubicBezTo>
                <a:close/>
                <a:moveTo>
                  <a:pt x="220" y="383"/>
                </a:moveTo>
                <a:cubicBezTo>
                  <a:pt x="220" y="385"/>
                  <a:pt x="219" y="386"/>
                  <a:pt x="218" y="387"/>
                </a:cubicBezTo>
                <a:cubicBezTo>
                  <a:pt x="216" y="390"/>
                  <a:pt x="208" y="392"/>
                  <a:pt x="195" y="393"/>
                </a:cubicBezTo>
                <a:cubicBezTo>
                  <a:pt x="191" y="393"/>
                  <a:pt x="188" y="393"/>
                  <a:pt x="187" y="393"/>
                </a:cubicBezTo>
                <a:cubicBezTo>
                  <a:pt x="174" y="396"/>
                  <a:pt x="159" y="402"/>
                  <a:pt x="143" y="411"/>
                </a:cubicBezTo>
                <a:lnTo>
                  <a:pt x="141" y="411"/>
                </a:lnTo>
                <a:cubicBezTo>
                  <a:pt x="127" y="419"/>
                  <a:pt x="115" y="423"/>
                  <a:pt x="107" y="423"/>
                </a:cubicBezTo>
                <a:lnTo>
                  <a:pt x="106" y="423"/>
                </a:lnTo>
                <a:lnTo>
                  <a:pt x="104" y="423"/>
                </a:lnTo>
                <a:cubicBezTo>
                  <a:pt x="91" y="422"/>
                  <a:pt x="83" y="409"/>
                  <a:pt x="80" y="386"/>
                </a:cubicBezTo>
                <a:cubicBezTo>
                  <a:pt x="79" y="379"/>
                  <a:pt x="78" y="372"/>
                  <a:pt x="78" y="364"/>
                </a:cubicBezTo>
                <a:cubicBezTo>
                  <a:pt x="78" y="361"/>
                  <a:pt x="78" y="358"/>
                  <a:pt x="78" y="356"/>
                </a:cubicBezTo>
                <a:cubicBezTo>
                  <a:pt x="79" y="350"/>
                  <a:pt x="79" y="344"/>
                  <a:pt x="79" y="337"/>
                </a:cubicBezTo>
                <a:cubicBezTo>
                  <a:pt x="74" y="337"/>
                  <a:pt x="71" y="335"/>
                  <a:pt x="69" y="332"/>
                </a:cubicBezTo>
                <a:cubicBezTo>
                  <a:pt x="68" y="330"/>
                  <a:pt x="68" y="329"/>
                  <a:pt x="68" y="327"/>
                </a:cubicBezTo>
                <a:cubicBezTo>
                  <a:pt x="68" y="327"/>
                  <a:pt x="68" y="326"/>
                  <a:pt x="68" y="326"/>
                </a:cubicBezTo>
                <a:cubicBezTo>
                  <a:pt x="68" y="325"/>
                  <a:pt x="68" y="324"/>
                  <a:pt x="69" y="322"/>
                </a:cubicBezTo>
                <a:cubicBezTo>
                  <a:pt x="70" y="320"/>
                  <a:pt x="71" y="317"/>
                  <a:pt x="74" y="314"/>
                </a:cubicBezTo>
                <a:cubicBezTo>
                  <a:pt x="76" y="312"/>
                  <a:pt x="77" y="311"/>
                  <a:pt x="77" y="310"/>
                </a:cubicBezTo>
                <a:cubicBezTo>
                  <a:pt x="79" y="306"/>
                  <a:pt x="81" y="300"/>
                  <a:pt x="82" y="291"/>
                </a:cubicBezTo>
                <a:cubicBezTo>
                  <a:pt x="83" y="287"/>
                  <a:pt x="83" y="283"/>
                  <a:pt x="84" y="281"/>
                </a:cubicBezTo>
                <a:cubicBezTo>
                  <a:pt x="82" y="281"/>
                  <a:pt x="81" y="281"/>
                  <a:pt x="80" y="281"/>
                </a:cubicBezTo>
                <a:cubicBezTo>
                  <a:pt x="74" y="280"/>
                  <a:pt x="69" y="278"/>
                  <a:pt x="68" y="274"/>
                </a:cubicBezTo>
                <a:cubicBezTo>
                  <a:pt x="67" y="273"/>
                  <a:pt x="67" y="272"/>
                  <a:pt x="67" y="270"/>
                </a:cubicBezTo>
                <a:cubicBezTo>
                  <a:pt x="67" y="270"/>
                  <a:pt x="67" y="269"/>
                  <a:pt x="67" y="269"/>
                </a:cubicBezTo>
                <a:cubicBezTo>
                  <a:pt x="67" y="267"/>
                  <a:pt x="68" y="264"/>
                  <a:pt x="69" y="262"/>
                </a:cubicBezTo>
                <a:cubicBezTo>
                  <a:pt x="72" y="257"/>
                  <a:pt x="78" y="253"/>
                  <a:pt x="88" y="250"/>
                </a:cubicBezTo>
                <a:cubicBezTo>
                  <a:pt x="93" y="249"/>
                  <a:pt x="97" y="247"/>
                  <a:pt x="99" y="246"/>
                </a:cubicBezTo>
                <a:cubicBezTo>
                  <a:pt x="105" y="242"/>
                  <a:pt x="109" y="240"/>
                  <a:pt x="113" y="240"/>
                </a:cubicBezTo>
                <a:cubicBezTo>
                  <a:pt x="113" y="240"/>
                  <a:pt x="114" y="240"/>
                  <a:pt x="114" y="241"/>
                </a:cubicBezTo>
                <a:cubicBezTo>
                  <a:pt x="117" y="241"/>
                  <a:pt x="122" y="243"/>
                  <a:pt x="126" y="248"/>
                </a:cubicBezTo>
                <a:cubicBezTo>
                  <a:pt x="128" y="249"/>
                  <a:pt x="130" y="250"/>
                  <a:pt x="133" y="250"/>
                </a:cubicBezTo>
                <a:cubicBezTo>
                  <a:pt x="134" y="250"/>
                  <a:pt x="135" y="251"/>
                  <a:pt x="136" y="251"/>
                </a:cubicBezTo>
                <a:cubicBezTo>
                  <a:pt x="142" y="251"/>
                  <a:pt x="148" y="250"/>
                  <a:pt x="156" y="247"/>
                </a:cubicBezTo>
                <a:cubicBezTo>
                  <a:pt x="165" y="245"/>
                  <a:pt x="171" y="244"/>
                  <a:pt x="175" y="244"/>
                </a:cubicBezTo>
                <a:cubicBezTo>
                  <a:pt x="176" y="244"/>
                  <a:pt x="177" y="244"/>
                  <a:pt x="177" y="245"/>
                </a:cubicBezTo>
                <a:lnTo>
                  <a:pt x="178" y="245"/>
                </a:lnTo>
                <a:cubicBezTo>
                  <a:pt x="184" y="245"/>
                  <a:pt x="188" y="248"/>
                  <a:pt x="189" y="252"/>
                </a:cubicBezTo>
                <a:cubicBezTo>
                  <a:pt x="189" y="253"/>
                  <a:pt x="189" y="253"/>
                  <a:pt x="189" y="254"/>
                </a:cubicBezTo>
                <a:cubicBezTo>
                  <a:pt x="189" y="255"/>
                  <a:pt x="189" y="255"/>
                  <a:pt x="189" y="255"/>
                </a:cubicBezTo>
                <a:cubicBezTo>
                  <a:pt x="189" y="257"/>
                  <a:pt x="188" y="258"/>
                  <a:pt x="187" y="260"/>
                </a:cubicBezTo>
                <a:cubicBezTo>
                  <a:pt x="186" y="263"/>
                  <a:pt x="183" y="265"/>
                  <a:pt x="181" y="267"/>
                </a:cubicBezTo>
                <a:cubicBezTo>
                  <a:pt x="173" y="272"/>
                  <a:pt x="163" y="275"/>
                  <a:pt x="148" y="275"/>
                </a:cubicBezTo>
                <a:cubicBezTo>
                  <a:pt x="147" y="275"/>
                  <a:pt x="146" y="275"/>
                  <a:pt x="144" y="275"/>
                </a:cubicBezTo>
                <a:cubicBezTo>
                  <a:pt x="143" y="275"/>
                  <a:pt x="141" y="275"/>
                  <a:pt x="138" y="274"/>
                </a:cubicBezTo>
                <a:cubicBezTo>
                  <a:pt x="134" y="274"/>
                  <a:pt x="131" y="274"/>
                  <a:pt x="128" y="274"/>
                </a:cubicBezTo>
                <a:cubicBezTo>
                  <a:pt x="120" y="274"/>
                  <a:pt x="115" y="275"/>
                  <a:pt x="113" y="278"/>
                </a:cubicBezTo>
                <a:cubicBezTo>
                  <a:pt x="111" y="282"/>
                  <a:pt x="110" y="288"/>
                  <a:pt x="109" y="296"/>
                </a:cubicBezTo>
                <a:cubicBezTo>
                  <a:pt x="109" y="297"/>
                  <a:pt x="109" y="299"/>
                  <a:pt x="108" y="301"/>
                </a:cubicBezTo>
                <a:cubicBezTo>
                  <a:pt x="108" y="302"/>
                  <a:pt x="108" y="303"/>
                  <a:pt x="108" y="304"/>
                </a:cubicBezTo>
                <a:cubicBezTo>
                  <a:pt x="128" y="301"/>
                  <a:pt x="146" y="300"/>
                  <a:pt x="163" y="300"/>
                </a:cubicBezTo>
                <a:cubicBezTo>
                  <a:pt x="163" y="300"/>
                  <a:pt x="164" y="300"/>
                  <a:pt x="166" y="300"/>
                </a:cubicBezTo>
                <a:cubicBezTo>
                  <a:pt x="167" y="300"/>
                  <a:pt x="169" y="300"/>
                  <a:pt x="171" y="300"/>
                </a:cubicBezTo>
                <a:cubicBezTo>
                  <a:pt x="173" y="300"/>
                  <a:pt x="175" y="300"/>
                  <a:pt x="177" y="300"/>
                </a:cubicBezTo>
                <a:cubicBezTo>
                  <a:pt x="182" y="301"/>
                  <a:pt x="185" y="302"/>
                  <a:pt x="187" y="305"/>
                </a:cubicBezTo>
                <a:cubicBezTo>
                  <a:pt x="188" y="306"/>
                  <a:pt x="189" y="308"/>
                  <a:pt x="189" y="309"/>
                </a:cubicBezTo>
                <a:lnTo>
                  <a:pt x="189" y="310"/>
                </a:lnTo>
                <a:cubicBezTo>
                  <a:pt x="189" y="310"/>
                  <a:pt x="189" y="311"/>
                  <a:pt x="188" y="311"/>
                </a:cubicBezTo>
                <a:cubicBezTo>
                  <a:pt x="187" y="315"/>
                  <a:pt x="184" y="318"/>
                  <a:pt x="180" y="320"/>
                </a:cubicBezTo>
                <a:cubicBezTo>
                  <a:pt x="176" y="323"/>
                  <a:pt x="173" y="324"/>
                  <a:pt x="170" y="325"/>
                </a:cubicBezTo>
                <a:cubicBezTo>
                  <a:pt x="163" y="327"/>
                  <a:pt x="153" y="328"/>
                  <a:pt x="139" y="328"/>
                </a:cubicBezTo>
                <a:lnTo>
                  <a:pt x="138" y="328"/>
                </a:lnTo>
                <a:lnTo>
                  <a:pt x="134" y="328"/>
                </a:lnTo>
                <a:cubicBezTo>
                  <a:pt x="133" y="328"/>
                  <a:pt x="131" y="328"/>
                  <a:pt x="129" y="327"/>
                </a:cubicBezTo>
                <a:cubicBezTo>
                  <a:pt x="127" y="327"/>
                  <a:pt x="125" y="327"/>
                  <a:pt x="123" y="327"/>
                </a:cubicBezTo>
                <a:cubicBezTo>
                  <a:pt x="121" y="327"/>
                  <a:pt x="119" y="327"/>
                  <a:pt x="118" y="328"/>
                </a:cubicBezTo>
                <a:cubicBezTo>
                  <a:pt x="113" y="328"/>
                  <a:pt x="110" y="330"/>
                  <a:pt x="109" y="333"/>
                </a:cubicBezTo>
                <a:cubicBezTo>
                  <a:pt x="106" y="337"/>
                  <a:pt x="105" y="344"/>
                  <a:pt x="104" y="353"/>
                </a:cubicBezTo>
                <a:lnTo>
                  <a:pt x="103" y="355"/>
                </a:lnTo>
                <a:cubicBezTo>
                  <a:pt x="103" y="358"/>
                  <a:pt x="103" y="362"/>
                  <a:pt x="103" y="365"/>
                </a:cubicBezTo>
                <a:cubicBezTo>
                  <a:pt x="103" y="372"/>
                  <a:pt x="104" y="377"/>
                  <a:pt x="106" y="382"/>
                </a:cubicBezTo>
                <a:cubicBezTo>
                  <a:pt x="107" y="385"/>
                  <a:pt x="110" y="388"/>
                  <a:pt x="113" y="388"/>
                </a:cubicBezTo>
                <a:cubicBezTo>
                  <a:pt x="113" y="389"/>
                  <a:pt x="114" y="389"/>
                  <a:pt x="115" y="389"/>
                </a:cubicBezTo>
                <a:cubicBezTo>
                  <a:pt x="116" y="389"/>
                  <a:pt x="117" y="389"/>
                  <a:pt x="118" y="389"/>
                </a:cubicBezTo>
                <a:cubicBezTo>
                  <a:pt x="125" y="389"/>
                  <a:pt x="135" y="386"/>
                  <a:pt x="149" y="381"/>
                </a:cubicBezTo>
                <a:cubicBezTo>
                  <a:pt x="153" y="380"/>
                  <a:pt x="156" y="379"/>
                  <a:pt x="158" y="378"/>
                </a:cubicBezTo>
                <a:cubicBezTo>
                  <a:pt x="174" y="372"/>
                  <a:pt x="188" y="370"/>
                  <a:pt x="199" y="370"/>
                </a:cubicBezTo>
                <a:cubicBezTo>
                  <a:pt x="202" y="370"/>
                  <a:pt x="204" y="370"/>
                  <a:pt x="207" y="370"/>
                </a:cubicBezTo>
                <a:cubicBezTo>
                  <a:pt x="209" y="370"/>
                  <a:pt x="211" y="371"/>
                  <a:pt x="213" y="371"/>
                </a:cubicBezTo>
                <a:cubicBezTo>
                  <a:pt x="216" y="372"/>
                  <a:pt x="218" y="374"/>
                  <a:pt x="219" y="378"/>
                </a:cubicBezTo>
                <a:cubicBezTo>
                  <a:pt x="220" y="379"/>
                  <a:pt x="220" y="381"/>
                  <a:pt x="220" y="382"/>
                </a:cubicBezTo>
                <a:cubicBezTo>
                  <a:pt x="220" y="383"/>
                  <a:pt x="220" y="383"/>
                  <a:pt x="220" y="383"/>
                </a:cubicBezTo>
                <a:close/>
                <a:moveTo>
                  <a:pt x="317" y="386"/>
                </a:moveTo>
                <a:cubicBezTo>
                  <a:pt x="316" y="389"/>
                  <a:pt x="313" y="393"/>
                  <a:pt x="307" y="396"/>
                </a:cubicBezTo>
                <a:cubicBezTo>
                  <a:pt x="302" y="399"/>
                  <a:pt x="297" y="401"/>
                  <a:pt x="292" y="401"/>
                </a:cubicBezTo>
                <a:lnTo>
                  <a:pt x="291" y="401"/>
                </a:lnTo>
                <a:cubicBezTo>
                  <a:pt x="280" y="400"/>
                  <a:pt x="264" y="399"/>
                  <a:pt x="242" y="399"/>
                </a:cubicBezTo>
                <a:cubicBezTo>
                  <a:pt x="235" y="399"/>
                  <a:pt x="231" y="398"/>
                  <a:pt x="228" y="395"/>
                </a:cubicBezTo>
                <a:cubicBezTo>
                  <a:pt x="226" y="394"/>
                  <a:pt x="225" y="391"/>
                  <a:pt x="225" y="389"/>
                </a:cubicBezTo>
                <a:lnTo>
                  <a:pt x="225" y="389"/>
                </a:lnTo>
                <a:cubicBezTo>
                  <a:pt x="225" y="385"/>
                  <a:pt x="227" y="381"/>
                  <a:pt x="232" y="378"/>
                </a:cubicBezTo>
                <a:cubicBezTo>
                  <a:pt x="236" y="374"/>
                  <a:pt x="242" y="372"/>
                  <a:pt x="249" y="372"/>
                </a:cubicBezTo>
                <a:lnTo>
                  <a:pt x="264" y="372"/>
                </a:lnTo>
                <a:cubicBezTo>
                  <a:pt x="283" y="372"/>
                  <a:pt x="298" y="373"/>
                  <a:pt x="308" y="376"/>
                </a:cubicBezTo>
                <a:cubicBezTo>
                  <a:pt x="314" y="378"/>
                  <a:pt x="317" y="381"/>
                  <a:pt x="317" y="385"/>
                </a:cubicBezTo>
                <a:cubicBezTo>
                  <a:pt x="317" y="385"/>
                  <a:pt x="317" y="385"/>
                  <a:pt x="317" y="386"/>
                </a:cubicBezTo>
                <a:close/>
                <a:moveTo>
                  <a:pt x="321" y="351"/>
                </a:moveTo>
                <a:cubicBezTo>
                  <a:pt x="321" y="355"/>
                  <a:pt x="318" y="358"/>
                  <a:pt x="310" y="360"/>
                </a:cubicBezTo>
                <a:cubicBezTo>
                  <a:pt x="306" y="361"/>
                  <a:pt x="300" y="362"/>
                  <a:pt x="294" y="362"/>
                </a:cubicBezTo>
                <a:cubicBezTo>
                  <a:pt x="289" y="362"/>
                  <a:pt x="281" y="361"/>
                  <a:pt x="271" y="360"/>
                </a:cubicBezTo>
                <a:cubicBezTo>
                  <a:pt x="262" y="359"/>
                  <a:pt x="255" y="359"/>
                  <a:pt x="251" y="359"/>
                </a:cubicBezTo>
                <a:cubicBezTo>
                  <a:pt x="250" y="359"/>
                  <a:pt x="248" y="359"/>
                  <a:pt x="245" y="359"/>
                </a:cubicBezTo>
                <a:cubicBezTo>
                  <a:pt x="240" y="359"/>
                  <a:pt x="237" y="359"/>
                  <a:pt x="234" y="359"/>
                </a:cubicBezTo>
                <a:cubicBezTo>
                  <a:pt x="226" y="359"/>
                  <a:pt x="220" y="358"/>
                  <a:pt x="218" y="354"/>
                </a:cubicBezTo>
                <a:cubicBezTo>
                  <a:pt x="217" y="353"/>
                  <a:pt x="216" y="351"/>
                  <a:pt x="216" y="349"/>
                </a:cubicBezTo>
                <a:cubicBezTo>
                  <a:pt x="216" y="348"/>
                  <a:pt x="217" y="346"/>
                  <a:pt x="218" y="344"/>
                </a:cubicBezTo>
                <a:cubicBezTo>
                  <a:pt x="221" y="337"/>
                  <a:pt x="229" y="333"/>
                  <a:pt x="242" y="333"/>
                </a:cubicBezTo>
                <a:lnTo>
                  <a:pt x="258" y="333"/>
                </a:lnTo>
                <a:cubicBezTo>
                  <a:pt x="275" y="333"/>
                  <a:pt x="288" y="334"/>
                  <a:pt x="297" y="335"/>
                </a:cubicBezTo>
                <a:cubicBezTo>
                  <a:pt x="302" y="335"/>
                  <a:pt x="306" y="337"/>
                  <a:pt x="312" y="340"/>
                </a:cubicBezTo>
                <a:cubicBezTo>
                  <a:pt x="318" y="343"/>
                  <a:pt x="321" y="347"/>
                  <a:pt x="321" y="350"/>
                </a:cubicBezTo>
                <a:lnTo>
                  <a:pt x="321" y="351"/>
                </a:lnTo>
                <a:lnTo>
                  <a:pt x="321" y="351"/>
                </a:lnTo>
                <a:close/>
                <a:moveTo>
                  <a:pt x="461" y="426"/>
                </a:moveTo>
                <a:cubicBezTo>
                  <a:pt x="459" y="426"/>
                  <a:pt x="458" y="425"/>
                  <a:pt x="456" y="425"/>
                </a:cubicBezTo>
                <a:cubicBezTo>
                  <a:pt x="449" y="423"/>
                  <a:pt x="444" y="420"/>
                  <a:pt x="442" y="416"/>
                </a:cubicBezTo>
                <a:cubicBezTo>
                  <a:pt x="438" y="412"/>
                  <a:pt x="435" y="404"/>
                  <a:pt x="433" y="394"/>
                </a:cubicBezTo>
                <a:cubicBezTo>
                  <a:pt x="430" y="383"/>
                  <a:pt x="427" y="375"/>
                  <a:pt x="425" y="371"/>
                </a:cubicBezTo>
                <a:cubicBezTo>
                  <a:pt x="425" y="371"/>
                  <a:pt x="423" y="376"/>
                  <a:pt x="421" y="385"/>
                </a:cubicBezTo>
                <a:cubicBezTo>
                  <a:pt x="419" y="393"/>
                  <a:pt x="417" y="399"/>
                  <a:pt x="415" y="403"/>
                </a:cubicBezTo>
                <a:cubicBezTo>
                  <a:pt x="409" y="418"/>
                  <a:pt x="402" y="426"/>
                  <a:pt x="395" y="426"/>
                </a:cubicBezTo>
                <a:lnTo>
                  <a:pt x="395" y="426"/>
                </a:lnTo>
                <a:cubicBezTo>
                  <a:pt x="389" y="426"/>
                  <a:pt x="385" y="417"/>
                  <a:pt x="382" y="397"/>
                </a:cubicBezTo>
                <a:cubicBezTo>
                  <a:pt x="379" y="384"/>
                  <a:pt x="378" y="377"/>
                  <a:pt x="378" y="377"/>
                </a:cubicBezTo>
                <a:cubicBezTo>
                  <a:pt x="377" y="371"/>
                  <a:pt x="376" y="368"/>
                  <a:pt x="374" y="368"/>
                </a:cubicBezTo>
                <a:cubicBezTo>
                  <a:pt x="374" y="368"/>
                  <a:pt x="369" y="381"/>
                  <a:pt x="360" y="407"/>
                </a:cubicBezTo>
                <a:cubicBezTo>
                  <a:pt x="357" y="415"/>
                  <a:pt x="354" y="420"/>
                  <a:pt x="351" y="423"/>
                </a:cubicBezTo>
                <a:cubicBezTo>
                  <a:pt x="349" y="424"/>
                  <a:pt x="347" y="425"/>
                  <a:pt x="345" y="425"/>
                </a:cubicBezTo>
                <a:cubicBezTo>
                  <a:pt x="342" y="425"/>
                  <a:pt x="338" y="424"/>
                  <a:pt x="335" y="421"/>
                </a:cubicBezTo>
                <a:lnTo>
                  <a:pt x="335" y="421"/>
                </a:lnTo>
                <a:cubicBezTo>
                  <a:pt x="335" y="421"/>
                  <a:pt x="335" y="418"/>
                  <a:pt x="335" y="412"/>
                </a:cubicBezTo>
                <a:cubicBezTo>
                  <a:pt x="335" y="404"/>
                  <a:pt x="335" y="390"/>
                  <a:pt x="334" y="371"/>
                </a:cubicBezTo>
                <a:lnTo>
                  <a:pt x="334" y="371"/>
                </a:lnTo>
                <a:cubicBezTo>
                  <a:pt x="334" y="368"/>
                  <a:pt x="335" y="366"/>
                  <a:pt x="337" y="363"/>
                </a:cubicBezTo>
                <a:cubicBezTo>
                  <a:pt x="338" y="360"/>
                  <a:pt x="339" y="357"/>
                  <a:pt x="339" y="355"/>
                </a:cubicBezTo>
                <a:cubicBezTo>
                  <a:pt x="339" y="351"/>
                  <a:pt x="341" y="349"/>
                  <a:pt x="346" y="349"/>
                </a:cubicBezTo>
                <a:cubicBezTo>
                  <a:pt x="351" y="349"/>
                  <a:pt x="354" y="349"/>
                  <a:pt x="354" y="349"/>
                </a:cubicBezTo>
                <a:cubicBezTo>
                  <a:pt x="355" y="347"/>
                  <a:pt x="358" y="345"/>
                  <a:pt x="360" y="341"/>
                </a:cubicBezTo>
                <a:cubicBezTo>
                  <a:pt x="363" y="338"/>
                  <a:pt x="365" y="336"/>
                  <a:pt x="367" y="334"/>
                </a:cubicBezTo>
                <a:cubicBezTo>
                  <a:pt x="369" y="332"/>
                  <a:pt x="372" y="331"/>
                  <a:pt x="375" y="331"/>
                </a:cubicBezTo>
                <a:cubicBezTo>
                  <a:pt x="377" y="331"/>
                  <a:pt x="380" y="332"/>
                  <a:pt x="383" y="333"/>
                </a:cubicBezTo>
                <a:cubicBezTo>
                  <a:pt x="387" y="336"/>
                  <a:pt x="390" y="343"/>
                  <a:pt x="394" y="355"/>
                </a:cubicBezTo>
                <a:cubicBezTo>
                  <a:pt x="398" y="371"/>
                  <a:pt x="400" y="379"/>
                  <a:pt x="400" y="379"/>
                </a:cubicBezTo>
                <a:cubicBezTo>
                  <a:pt x="401" y="378"/>
                  <a:pt x="404" y="368"/>
                  <a:pt x="409" y="350"/>
                </a:cubicBezTo>
                <a:cubicBezTo>
                  <a:pt x="413" y="337"/>
                  <a:pt x="417" y="330"/>
                  <a:pt x="423" y="327"/>
                </a:cubicBezTo>
                <a:cubicBezTo>
                  <a:pt x="435" y="329"/>
                  <a:pt x="444" y="342"/>
                  <a:pt x="452" y="365"/>
                </a:cubicBezTo>
                <a:cubicBezTo>
                  <a:pt x="454" y="371"/>
                  <a:pt x="457" y="381"/>
                  <a:pt x="460" y="394"/>
                </a:cubicBezTo>
                <a:cubicBezTo>
                  <a:pt x="463" y="406"/>
                  <a:pt x="466" y="413"/>
                  <a:pt x="467" y="418"/>
                </a:cubicBezTo>
                <a:cubicBezTo>
                  <a:pt x="467" y="423"/>
                  <a:pt x="465" y="426"/>
                  <a:pt x="461" y="426"/>
                </a:cubicBezTo>
                <a:close/>
                <a:moveTo>
                  <a:pt x="538" y="421"/>
                </a:moveTo>
                <a:cubicBezTo>
                  <a:pt x="528" y="424"/>
                  <a:pt x="520" y="426"/>
                  <a:pt x="512" y="426"/>
                </a:cubicBezTo>
                <a:cubicBezTo>
                  <a:pt x="501" y="426"/>
                  <a:pt x="491" y="422"/>
                  <a:pt x="485" y="413"/>
                </a:cubicBezTo>
                <a:cubicBezTo>
                  <a:pt x="480" y="407"/>
                  <a:pt x="478" y="398"/>
                  <a:pt x="478" y="389"/>
                </a:cubicBezTo>
                <a:lnTo>
                  <a:pt x="478" y="387"/>
                </a:lnTo>
                <a:cubicBezTo>
                  <a:pt x="478" y="378"/>
                  <a:pt x="479" y="370"/>
                  <a:pt x="483" y="362"/>
                </a:cubicBezTo>
                <a:cubicBezTo>
                  <a:pt x="486" y="353"/>
                  <a:pt x="491" y="345"/>
                  <a:pt x="497" y="340"/>
                </a:cubicBezTo>
                <a:cubicBezTo>
                  <a:pt x="504" y="334"/>
                  <a:pt x="511" y="331"/>
                  <a:pt x="518" y="331"/>
                </a:cubicBezTo>
                <a:lnTo>
                  <a:pt x="519" y="331"/>
                </a:lnTo>
                <a:cubicBezTo>
                  <a:pt x="526" y="331"/>
                  <a:pt x="530" y="334"/>
                  <a:pt x="532" y="340"/>
                </a:cubicBezTo>
                <a:cubicBezTo>
                  <a:pt x="533" y="341"/>
                  <a:pt x="533" y="343"/>
                  <a:pt x="533" y="344"/>
                </a:cubicBezTo>
                <a:cubicBezTo>
                  <a:pt x="533" y="348"/>
                  <a:pt x="531" y="351"/>
                  <a:pt x="526" y="354"/>
                </a:cubicBezTo>
                <a:cubicBezTo>
                  <a:pt x="516" y="360"/>
                  <a:pt x="510" y="364"/>
                  <a:pt x="508" y="367"/>
                </a:cubicBezTo>
                <a:cubicBezTo>
                  <a:pt x="504" y="371"/>
                  <a:pt x="502" y="375"/>
                  <a:pt x="502" y="380"/>
                </a:cubicBezTo>
                <a:cubicBezTo>
                  <a:pt x="502" y="383"/>
                  <a:pt x="502" y="386"/>
                  <a:pt x="503" y="388"/>
                </a:cubicBezTo>
                <a:cubicBezTo>
                  <a:pt x="505" y="395"/>
                  <a:pt x="510" y="398"/>
                  <a:pt x="517" y="398"/>
                </a:cubicBezTo>
                <a:cubicBezTo>
                  <a:pt x="518" y="398"/>
                  <a:pt x="519" y="398"/>
                  <a:pt x="520" y="398"/>
                </a:cubicBezTo>
                <a:cubicBezTo>
                  <a:pt x="526" y="397"/>
                  <a:pt x="535" y="394"/>
                  <a:pt x="547" y="388"/>
                </a:cubicBezTo>
                <a:cubicBezTo>
                  <a:pt x="560" y="382"/>
                  <a:pt x="568" y="379"/>
                  <a:pt x="572" y="378"/>
                </a:cubicBezTo>
                <a:cubicBezTo>
                  <a:pt x="574" y="378"/>
                  <a:pt x="575" y="378"/>
                  <a:pt x="576" y="378"/>
                </a:cubicBezTo>
                <a:cubicBezTo>
                  <a:pt x="581" y="378"/>
                  <a:pt x="584" y="381"/>
                  <a:pt x="584" y="387"/>
                </a:cubicBezTo>
                <a:cubicBezTo>
                  <a:pt x="582" y="398"/>
                  <a:pt x="567" y="410"/>
                  <a:pt x="538" y="421"/>
                </a:cubicBezTo>
                <a:close/>
                <a:moveTo>
                  <a:pt x="600" y="322"/>
                </a:moveTo>
                <a:cubicBezTo>
                  <a:pt x="599" y="324"/>
                  <a:pt x="597" y="325"/>
                  <a:pt x="594" y="326"/>
                </a:cubicBezTo>
                <a:cubicBezTo>
                  <a:pt x="592" y="326"/>
                  <a:pt x="590" y="326"/>
                  <a:pt x="587" y="327"/>
                </a:cubicBezTo>
                <a:cubicBezTo>
                  <a:pt x="583" y="327"/>
                  <a:pt x="579" y="327"/>
                  <a:pt x="575" y="327"/>
                </a:cubicBezTo>
                <a:cubicBezTo>
                  <a:pt x="569" y="327"/>
                  <a:pt x="562" y="327"/>
                  <a:pt x="554" y="326"/>
                </a:cubicBezTo>
                <a:cubicBezTo>
                  <a:pt x="549" y="325"/>
                  <a:pt x="547" y="323"/>
                  <a:pt x="546" y="321"/>
                </a:cubicBezTo>
                <a:cubicBezTo>
                  <a:pt x="546" y="320"/>
                  <a:pt x="546" y="319"/>
                  <a:pt x="546" y="319"/>
                </a:cubicBezTo>
                <a:cubicBezTo>
                  <a:pt x="546" y="316"/>
                  <a:pt x="547" y="314"/>
                  <a:pt x="550" y="312"/>
                </a:cubicBezTo>
                <a:cubicBezTo>
                  <a:pt x="563" y="303"/>
                  <a:pt x="573" y="294"/>
                  <a:pt x="580" y="284"/>
                </a:cubicBezTo>
                <a:cubicBezTo>
                  <a:pt x="581" y="283"/>
                  <a:pt x="581" y="281"/>
                  <a:pt x="582" y="280"/>
                </a:cubicBezTo>
                <a:lnTo>
                  <a:pt x="582" y="280"/>
                </a:lnTo>
                <a:cubicBezTo>
                  <a:pt x="582" y="278"/>
                  <a:pt x="581" y="277"/>
                  <a:pt x="580" y="277"/>
                </a:cubicBezTo>
                <a:cubicBezTo>
                  <a:pt x="579" y="276"/>
                  <a:pt x="578" y="275"/>
                  <a:pt x="576" y="275"/>
                </a:cubicBezTo>
                <a:cubicBezTo>
                  <a:pt x="575" y="275"/>
                  <a:pt x="573" y="275"/>
                  <a:pt x="572" y="276"/>
                </a:cubicBezTo>
                <a:cubicBezTo>
                  <a:pt x="568" y="277"/>
                  <a:pt x="564" y="281"/>
                  <a:pt x="561" y="286"/>
                </a:cubicBezTo>
                <a:cubicBezTo>
                  <a:pt x="561" y="287"/>
                  <a:pt x="560" y="288"/>
                  <a:pt x="559" y="288"/>
                </a:cubicBezTo>
                <a:cubicBezTo>
                  <a:pt x="558" y="289"/>
                  <a:pt x="557" y="289"/>
                  <a:pt x="556" y="289"/>
                </a:cubicBezTo>
                <a:cubicBezTo>
                  <a:pt x="556" y="289"/>
                  <a:pt x="556" y="289"/>
                  <a:pt x="556" y="289"/>
                </a:cubicBezTo>
                <a:cubicBezTo>
                  <a:pt x="554" y="289"/>
                  <a:pt x="553" y="288"/>
                  <a:pt x="553" y="287"/>
                </a:cubicBezTo>
                <a:cubicBezTo>
                  <a:pt x="552" y="287"/>
                  <a:pt x="552" y="286"/>
                  <a:pt x="552" y="285"/>
                </a:cubicBezTo>
                <a:cubicBezTo>
                  <a:pt x="552" y="285"/>
                  <a:pt x="552" y="285"/>
                  <a:pt x="552" y="284"/>
                </a:cubicBezTo>
                <a:cubicBezTo>
                  <a:pt x="553" y="278"/>
                  <a:pt x="556" y="274"/>
                  <a:pt x="562" y="270"/>
                </a:cubicBezTo>
                <a:cubicBezTo>
                  <a:pt x="567" y="266"/>
                  <a:pt x="573" y="264"/>
                  <a:pt x="579" y="264"/>
                </a:cubicBezTo>
                <a:lnTo>
                  <a:pt x="579" y="264"/>
                </a:lnTo>
                <a:cubicBezTo>
                  <a:pt x="585" y="264"/>
                  <a:pt x="589" y="266"/>
                  <a:pt x="592" y="271"/>
                </a:cubicBezTo>
                <a:cubicBezTo>
                  <a:pt x="593" y="273"/>
                  <a:pt x="594" y="276"/>
                  <a:pt x="594" y="278"/>
                </a:cubicBezTo>
                <a:cubicBezTo>
                  <a:pt x="594" y="280"/>
                  <a:pt x="593" y="283"/>
                  <a:pt x="593" y="285"/>
                </a:cubicBezTo>
                <a:cubicBezTo>
                  <a:pt x="590" y="290"/>
                  <a:pt x="586" y="296"/>
                  <a:pt x="580" y="301"/>
                </a:cubicBezTo>
                <a:cubicBezTo>
                  <a:pt x="572" y="308"/>
                  <a:pt x="567" y="313"/>
                  <a:pt x="565" y="314"/>
                </a:cubicBezTo>
                <a:cubicBezTo>
                  <a:pt x="572" y="315"/>
                  <a:pt x="578" y="316"/>
                  <a:pt x="582" y="316"/>
                </a:cubicBezTo>
                <a:lnTo>
                  <a:pt x="582" y="316"/>
                </a:lnTo>
                <a:cubicBezTo>
                  <a:pt x="583" y="316"/>
                  <a:pt x="585" y="316"/>
                  <a:pt x="589" y="315"/>
                </a:cubicBezTo>
                <a:cubicBezTo>
                  <a:pt x="591" y="315"/>
                  <a:pt x="592" y="315"/>
                  <a:pt x="594" y="315"/>
                </a:cubicBezTo>
                <a:cubicBezTo>
                  <a:pt x="594" y="315"/>
                  <a:pt x="595" y="315"/>
                  <a:pt x="596" y="315"/>
                </a:cubicBezTo>
                <a:cubicBezTo>
                  <a:pt x="598" y="315"/>
                  <a:pt x="599" y="316"/>
                  <a:pt x="600" y="317"/>
                </a:cubicBezTo>
                <a:cubicBezTo>
                  <a:pt x="600" y="318"/>
                  <a:pt x="600" y="318"/>
                  <a:pt x="600" y="319"/>
                </a:cubicBezTo>
                <a:cubicBezTo>
                  <a:pt x="600" y="320"/>
                  <a:pt x="600" y="321"/>
                  <a:pt x="600" y="322"/>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rogrammer_376186">
            <a:extLst>
              <a:ext uri="{FF2B5EF4-FFF2-40B4-BE49-F238E27FC236}">
                <a16:creationId xmlns:a16="http://schemas.microsoft.com/office/drawing/2014/main" id="{F6E24D76-0776-EC4B-B82A-773E77B14049}"/>
              </a:ext>
            </a:extLst>
          </p:cNvPr>
          <p:cNvSpPr>
            <a:spLocks noChangeAspect="1"/>
          </p:cNvSpPr>
          <p:nvPr/>
        </p:nvSpPr>
        <p:spPr>
          <a:xfrm>
            <a:off x="3193532" y="6042018"/>
            <a:ext cx="499560" cy="609685"/>
          </a:xfrm>
          <a:custGeom>
            <a:avLst/>
            <a:gdLst>
              <a:gd name="connsiteX0" fmla="*/ 262319 w 497133"/>
              <a:gd name="connsiteY0" fmla="*/ 331311 h 606722"/>
              <a:gd name="connsiteX1" fmla="*/ 230542 w 497133"/>
              <a:gd name="connsiteY1" fmla="*/ 353973 h 606722"/>
              <a:gd name="connsiteX2" fmla="*/ 212116 w 497133"/>
              <a:gd name="connsiteY2" fmla="*/ 464262 h 606722"/>
              <a:gd name="connsiteX3" fmla="*/ 234814 w 497133"/>
              <a:gd name="connsiteY3" fmla="*/ 495989 h 606722"/>
              <a:gd name="connsiteX4" fmla="*/ 239354 w 497133"/>
              <a:gd name="connsiteY4" fmla="*/ 496433 h 606722"/>
              <a:gd name="connsiteX5" fmla="*/ 266591 w 497133"/>
              <a:gd name="connsiteY5" fmla="*/ 473327 h 606722"/>
              <a:gd name="connsiteX6" fmla="*/ 285017 w 497133"/>
              <a:gd name="connsiteY6" fmla="*/ 363038 h 606722"/>
              <a:gd name="connsiteX7" fmla="*/ 262319 w 497133"/>
              <a:gd name="connsiteY7" fmla="*/ 331311 h 606722"/>
              <a:gd name="connsiteX8" fmla="*/ 331437 w 497133"/>
              <a:gd name="connsiteY8" fmla="*/ 330911 h 606722"/>
              <a:gd name="connsiteX9" fmla="*/ 311899 w 497133"/>
              <a:gd name="connsiteY9" fmla="*/ 339043 h 606722"/>
              <a:gd name="connsiteX10" fmla="*/ 311899 w 497133"/>
              <a:gd name="connsiteY10" fmla="*/ 377968 h 606722"/>
              <a:gd name="connsiteX11" fmla="*/ 347593 w 497133"/>
              <a:gd name="connsiteY11" fmla="*/ 413695 h 606722"/>
              <a:gd name="connsiteX12" fmla="*/ 311899 w 497133"/>
              <a:gd name="connsiteY12" fmla="*/ 449332 h 606722"/>
              <a:gd name="connsiteX13" fmla="*/ 311899 w 497133"/>
              <a:gd name="connsiteY13" fmla="*/ 488346 h 606722"/>
              <a:gd name="connsiteX14" fmla="*/ 331392 w 497133"/>
              <a:gd name="connsiteY14" fmla="*/ 496345 h 606722"/>
              <a:gd name="connsiteX15" fmla="*/ 350975 w 497133"/>
              <a:gd name="connsiteY15" fmla="*/ 488346 h 606722"/>
              <a:gd name="connsiteX16" fmla="*/ 406163 w 497133"/>
              <a:gd name="connsiteY16" fmla="*/ 433157 h 606722"/>
              <a:gd name="connsiteX17" fmla="*/ 406163 w 497133"/>
              <a:gd name="connsiteY17" fmla="*/ 394143 h 606722"/>
              <a:gd name="connsiteX18" fmla="*/ 350975 w 497133"/>
              <a:gd name="connsiteY18" fmla="*/ 339043 h 606722"/>
              <a:gd name="connsiteX19" fmla="*/ 331437 w 497133"/>
              <a:gd name="connsiteY19" fmla="*/ 330911 h 606722"/>
              <a:gd name="connsiteX20" fmla="*/ 165696 w 497133"/>
              <a:gd name="connsiteY20" fmla="*/ 330911 h 606722"/>
              <a:gd name="connsiteX21" fmla="*/ 146158 w 497133"/>
              <a:gd name="connsiteY21" fmla="*/ 339043 h 606722"/>
              <a:gd name="connsiteX22" fmla="*/ 90881 w 497133"/>
              <a:gd name="connsiteY22" fmla="*/ 394143 h 606722"/>
              <a:gd name="connsiteX23" fmla="*/ 90881 w 497133"/>
              <a:gd name="connsiteY23" fmla="*/ 433157 h 606722"/>
              <a:gd name="connsiteX24" fmla="*/ 146158 w 497133"/>
              <a:gd name="connsiteY24" fmla="*/ 488346 h 606722"/>
              <a:gd name="connsiteX25" fmla="*/ 165652 w 497133"/>
              <a:gd name="connsiteY25" fmla="*/ 496345 h 606722"/>
              <a:gd name="connsiteX26" fmla="*/ 185234 w 497133"/>
              <a:gd name="connsiteY26" fmla="*/ 488346 h 606722"/>
              <a:gd name="connsiteX27" fmla="*/ 185234 w 497133"/>
              <a:gd name="connsiteY27" fmla="*/ 449332 h 606722"/>
              <a:gd name="connsiteX28" fmla="*/ 149540 w 497133"/>
              <a:gd name="connsiteY28" fmla="*/ 413695 h 606722"/>
              <a:gd name="connsiteX29" fmla="*/ 185234 w 497133"/>
              <a:gd name="connsiteY29" fmla="*/ 377968 h 606722"/>
              <a:gd name="connsiteX30" fmla="*/ 185234 w 497133"/>
              <a:gd name="connsiteY30" fmla="*/ 339043 h 606722"/>
              <a:gd name="connsiteX31" fmla="*/ 165696 w 497133"/>
              <a:gd name="connsiteY31" fmla="*/ 330911 h 606722"/>
              <a:gd name="connsiteX32" fmla="*/ 312957 w 497133"/>
              <a:gd name="connsiteY32" fmla="*/ 16159 h 606722"/>
              <a:gd name="connsiteX33" fmla="*/ 480903 w 497133"/>
              <a:gd name="connsiteY33" fmla="*/ 183893 h 606722"/>
              <a:gd name="connsiteX34" fmla="*/ 441831 w 497133"/>
              <a:gd name="connsiteY34" fmla="*/ 183893 h 606722"/>
              <a:gd name="connsiteX35" fmla="*/ 402849 w 497133"/>
              <a:gd name="connsiteY35" fmla="*/ 183893 h 606722"/>
              <a:gd name="connsiteX36" fmla="*/ 312957 w 497133"/>
              <a:gd name="connsiteY36" fmla="*/ 183893 h 606722"/>
              <a:gd name="connsiteX37" fmla="*/ 312957 w 497133"/>
              <a:gd name="connsiteY37" fmla="*/ 94115 h 606722"/>
              <a:gd name="connsiteX38" fmla="*/ 312957 w 497133"/>
              <a:gd name="connsiteY38" fmla="*/ 55182 h 606722"/>
              <a:gd name="connsiteX39" fmla="*/ 27594 w 497133"/>
              <a:gd name="connsiteY39" fmla="*/ 0 h 606722"/>
              <a:gd name="connsiteX40" fmla="*/ 257779 w 497133"/>
              <a:gd name="connsiteY40" fmla="*/ 0 h 606722"/>
              <a:gd name="connsiteX41" fmla="*/ 257779 w 497133"/>
              <a:gd name="connsiteY41" fmla="*/ 27550 h 606722"/>
              <a:gd name="connsiteX42" fmla="*/ 257779 w 497133"/>
              <a:gd name="connsiteY42" fmla="*/ 55189 h 606722"/>
              <a:gd name="connsiteX43" fmla="*/ 257779 w 497133"/>
              <a:gd name="connsiteY43" fmla="*/ 211424 h 606722"/>
              <a:gd name="connsiteX44" fmla="*/ 285373 w 497133"/>
              <a:gd name="connsiteY44" fmla="*/ 238974 h 606722"/>
              <a:gd name="connsiteX45" fmla="*/ 441856 w 497133"/>
              <a:gd name="connsiteY45" fmla="*/ 238974 h 606722"/>
              <a:gd name="connsiteX46" fmla="*/ 469539 w 497133"/>
              <a:gd name="connsiteY46" fmla="*/ 238974 h 606722"/>
              <a:gd name="connsiteX47" fmla="*/ 497133 w 497133"/>
              <a:gd name="connsiteY47" fmla="*/ 238974 h 606722"/>
              <a:gd name="connsiteX48" fmla="*/ 497133 w 497133"/>
              <a:gd name="connsiteY48" fmla="*/ 579083 h 606722"/>
              <a:gd name="connsiteX49" fmla="*/ 469539 w 497133"/>
              <a:gd name="connsiteY49" fmla="*/ 606722 h 606722"/>
              <a:gd name="connsiteX50" fmla="*/ 27594 w 497133"/>
              <a:gd name="connsiteY50" fmla="*/ 606722 h 606722"/>
              <a:gd name="connsiteX51" fmla="*/ 0 w 497133"/>
              <a:gd name="connsiteY51" fmla="*/ 579083 h 606722"/>
              <a:gd name="connsiteX52" fmla="*/ 0 w 497133"/>
              <a:gd name="connsiteY52" fmla="*/ 27550 h 606722"/>
              <a:gd name="connsiteX53" fmla="*/ 27594 w 497133"/>
              <a:gd name="connsiteY53"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497133" h="606722">
                <a:moveTo>
                  <a:pt x="262319" y="331311"/>
                </a:moveTo>
                <a:cubicBezTo>
                  <a:pt x="247276" y="328823"/>
                  <a:pt x="233034" y="338954"/>
                  <a:pt x="230542" y="353973"/>
                </a:cubicBezTo>
                <a:lnTo>
                  <a:pt x="212116" y="464262"/>
                </a:lnTo>
                <a:cubicBezTo>
                  <a:pt x="209624" y="479281"/>
                  <a:pt x="219771" y="493501"/>
                  <a:pt x="234814" y="495989"/>
                </a:cubicBezTo>
                <a:cubicBezTo>
                  <a:pt x="236327" y="496256"/>
                  <a:pt x="237841" y="496433"/>
                  <a:pt x="239354" y="496433"/>
                </a:cubicBezTo>
                <a:cubicBezTo>
                  <a:pt x="252617" y="496433"/>
                  <a:pt x="264366" y="486835"/>
                  <a:pt x="266591" y="473327"/>
                </a:cubicBezTo>
                <a:lnTo>
                  <a:pt x="285017" y="363038"/>
                </a:lnTo>
                <a:cubicBezTo>
                  <a:pt x="287509" y="348019"/>
                  <a:pt x="277362" y="333800"/>
                  <a:pt x="262319" y="331311"/>
                </a:cubicBezTo>
                <a:close/>
                <a:moveTo>
                  <a:pt x="331437" y="330911"/>
                </a:moveTo>
                <a:cubicBezTo>
                  <a:pt x="324361" y="330911"/>
                  <a:pt x="317284" y="333622"/>
                  <a:pt x="311899" y="339043"/>
                </a:cubicBezTo>
                <a:cubicBezTo>
                  <a:pt x="301128" y="349796"/>
                  <a:pt x="301128" y="367215"/>
                  <a:pt x="311899" y="377968"/>
                </a:cubicBezTo>
                <a:lnTo>
                  <a:pt x="347593" y="413695"/>
                </a:lnTo>
                <a:lnTo>
                  <a:pt x="311899" y="449332"/>
                </a:lnTo>
                <a:cubicBezTo>
                  <a:pt x="301128" y="460085"/>
                  <a:pt x="301128" y="477504"/>
                  <a:pt x="311899" y="488346"/>
                </a:cubicBezTo>
                <a:cubicBezTo>
                  <a:pt x="317239" y="493678"/>
                  <a:pt x="324360" y="496345"/>
                  <a:pt x="331392" y="496345"/>
                </a:cubicBezTo>
                <a:cubicBezTo>
                  <a:pt x="338513" y="496345"/>
                  <a:pt x="345545" y="493678"/>
                  <a:pt x="350975" y="488346"/>
                </a:cubicBezTo>
                <a:lnTo>
                  <a:pt x="406163" y="433157"/>
                </a:lnTo>
                <a:cubicBezTo>
                  <a:pt x="416933" y="422404"/>
                  <a:pt x="416933" y="404896"/>
                  <a:pt x="406163" y="394143"/>
                </a:cubicBezTo>
                <a:lnTo>
                  <a:pt x="350975" y="339043"/>
                </a:lnTo>
                <a:cubicBezTo>
                  <a:pt x="345590" y="333622"/>
                  <a:pt x="338514" y="330911"/>
                  <a:pt x="331437" y="330911"/>
                </a:cubicBezTo>
                <a:close/>
                <a:moveTo>
                  <a:pt x="165696" y="330911"/>
                </a:moveTo>
                <a:cubicBezTo>
                  <a:pt x="158620" y="330911"/>
                  <a:pt x="151543" y="333622"/>
                  <a:pt x="146158" y="339043"/>
                </a:cubicBezTo>
                <a:lnTo>
                  <a:pt x="90881" y="394143"/>
                </a:lnTo>
                <a:cubicBezTo>
                  <a:pt x="80111" y="404896"/>
                  <a:pt x="80111" y="422404"/>
                  <a:pt x="90881" y="433157"/>
                </a:cubicBezTo>
                <a:lnTo>
                  <a:pt x="146158" y="488346"/>
                </a:lnTo>
                <a:cubicBezTo>
                  <a:pt x="151588" y="493678"/>
                  <a:pt x="158620" y="496345"/>
                  <a:pt x="165652" y="496345"/>
                </a:cubicBezTo>
                <a:cubicBezTo>
                  <a:pt x="172773" y="496345"/>
                  <a:pt x="179805" y="493678"/>
                  <a:pt x="185234" y="488346"/>
                </a:cubicBezTo>
                <a:cubicBezTo>
                  <a:pt x="196005" y="477504"/>
                  <a:pt x="196005" y="460085"/>
                  <a:pt x="185234" y="449332"/>
                </a:cubicBezTo>
                <a:lnTo>
                  <a:pt x="149540" y="413695"/>
                </a:lnTo>
                <a:lnTo>
                  <a:pt x="185234" y="377968"/>
                </a:lnTo>
                <a:cubicBezTo>
                  <a:pt x="196005" y="367215"/>
                  <a:pt x="196005" y="349796"/>
                  <a:pt x="185234" y="339043"/>
                </a:cubicBezTo>
                <a:cubicBezTo>
                  <a:pt x="179849" y="333622"/>
                  <a:pt x="172773" y="330911"/>
                  <a:pt x="165696" y="330911"/>
                </a:cubicBezTo>
                <a:close/>
                <a:moveTo>
                  <a:pt x="312957" y="16159"/>
                </a:moveTo>
                <a:lnTo>
                  <a:pt x="480903" y="183893"/>
                </a:lnTo>
                <a:lnTo>
                  <a:pt x="441831" y="183893"/>
                </a:lnTo>
                <a:lnTo>
                  <a:pt x="402849" y="183893"/>
                </a:lnTo>
                <a:lnTo>
                  <a:pt x="312957" y="183893"/>
                </a:lnTo>
                <a:lnTo>
                  <a:pt x="312957" y="94115"/>
                </a:lnTo>
                <a:lnTo>
                  <a:pt x="312957" y="55182"/>
                </a:lnTo>
                <a:close/>
                <a:moveTo>
                  <a:pt x="27594" y="0"/>
                </a:moveTo>
                <a:lnTo>
                  <a:pt x="257779" y="0"/>
                </a:lnTo>
                <a:lnTo>
                  <a:pt x="257779" y="27550"/>
                </a:lnTo>
                <a:lnTo>
                  <a:pt x="257779" y="55189"/>
                </a:lnTo>
                <a:lnTo>
                  <a:pt x="257779" y="211424"/>
                </a:lnTo>
                <a:cubicBezTo>
                  <a:pt x="257779" y="226621"/>
                  <a:pt x="270152" y="238974"/>
                  <a:pt x="285373" y="238974"/>
                </a:cubicBezTo>
                <a:lnTo>
                  <a:pt x="441856" y="238974"/>
                </a:lnTo>
                <a:lnTo>
                  <a:pt x="469539" y="238974"/>
                </a:lnTo>
                <a:lnTo>
                  <a:pt x="497133" y="238974"/>
                </a:lnTo>
                <a:lnTo>
                  <a:pt x="497133" y="579083"/>
                </a:lnTo>
                <a:cubicBezTo>
                  <a:pt x="497133" y="594369"/>
                  <a:pt x="484760" y="606722"/>
                  <a:pt x="469539" y="606722"/>
                </a:cubicBezTo>
                <a:lnTo>
                  <a:pt x="27594" y="606722"/>
                </a:lnTo>
                <a:cubicBezTo>
                  <a:pt x="12373" y="606722"/>
                  <a:pt x="0" y="594369"/>
                  <a:pt x="0" y="579083"/>
                </a:cubicBezTo>
                <a:lnTo>
                  <a:pt x="0" y="27550"/>
                </a:lnTo>
                <a:cubicBezTo>
                  <a:pt x="0" y="12353"/>
                  <a:pt x="12373" y="0"/>
                  <a:pt x="2759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文本框 30">
            <a:extLst>
              <a:ext uri="{FF2B5EF4-FFF2-40B4-BE49-F238E27FC236}">
                <a16:creationId xmlns:a16="http://schemas.microsoft.com/office/drawing/2014/main" id="{49C6851D-0B8E-1C42-8D96-2649D4037A72}"/>
              </a:ext>
            </a:extLst>
          </p:cNvPr>
          <p:cNvSpPr txBox="1"/>
          <p:nvPr/>
        </p:nvSpPr>
        <p:spPr>
          <a:xfrm>
            <a:off x="5262113" y="1579153"/>
            <a:ext cx="1314210" cy="400110"/>
          </a:xfrm>
          <a:prstGeom prst="rect">
            <a:avLst/>
          </a:prstGeom>
          <a:noFill/>
        </p:spPr>
        <p:txBody>
          <a:bodyPr wrap="square" rtlCol="0">
            <a:spAutoFit/>
          </a:bodyPr>
          <a:lstStyle/>
          <a:p>
            <a:r>
              <a:rPr kumimoji="1" lang="en-US" altLang="zh-CN" sz="2000" b="1" dirty="0">
                <a:latin typeface="Times New Roman" panose="02020603050405020304" pitchFamily="18" charset="0"/>
                <a:cs typeface="Times New Roman" panose="02020603050405020304" pitchFamily="18" charset="0"/>
              </a:rPr>
              <a:t>RSRS</a:t>
            </a:r>
            <a:endParaRPr kumimoji="1" lang="zh-CN" altLang="en-US" b="1" dirty="0">
              <a:latin typeface="Times New Roman" panose="02020603050405020304" pitchFamily="18" charset="0"/>
              <a:cs typeface="Times New Roman" panose="02020603050405020304" pitchFamily="18" charset="0"/>
            </a:endParaRPr>
          </a:p>
        </p:txBody>
      </p:sp>
      <p:sp>
        <p:nvSpPr>
          <p:cNvPr id="36" name="圆角矩形 35">
            <a:extLst>
              <a:ext uri="{FF2B5EF4-FFF2-40B4-BE49-F238E27FC236}">
                <a16:creationId xmlns:a16="http://schemas.microsoft.com/office/drawing/2014/main" id="{ECEAC95C-DE36-C543-80EB-DE3BBFBAEE8D}"/>
              </a:ext>
            </a:extLst>
          </p:cNvPr>
          <p:cNvSpPr/>
          <p:nvPr/>
        </p:nvSpPr>
        <p:spPr>
          <a:xfrm>
            <a:off x="1104182" y="1607362"/>
            <a:ext cx="310550" cy="3494899"/>
          </a:xfrm>
          <a:prstGeom prst="roundRect">
            <a:avLst/>
          </a:prstGeom>
          <a:solidFill>
            <a:srgbClr val="BA996A"/>
          </a:solidFill>
          <a:ln>
            <a:solidFill>
              <a:srgbClr val="BA99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7" name="圆角矩形 36">
            <a:extLst>
              <a:ext uri="{FF2B5EF4-FFF2-40B4-BE49-F238E27FC236}">
                <a16:creationId xmlns:a16="http://schemas.microsoft.com/office/drawing/2014/main" id="{09FED13B-7FAA-6740-B506-F4A9CCBA1AA8}"/>
              </a:ext>
            </a:extLst>
          </p:cNvPr>
          <p:cNvSpPr/>
          <p:nvPr/>
        </p:nvSpPr>
        <p:spPr>
          <a:xfrm>
            <a:off x="1104182" y="5122151"/>
            <a:ext cx="310550" cy="3494899"/>
          </a:xfrm>
          <a:prstGeom prst="roundRect">
            <a:avLst/>
          </a:prstGeom>
          <a:solidFill>
            <a:srgbClr val="475B7C"/>
          </a:solidFill>
          <a:ln>
            <a:solidFill>
              <a:srgbClr val="BA99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39" name="直线连接符 38">
            <a:extLst>
              <a:ext uri="{FF2B5EF4-FFF2-40B4-BE49-F238E27FC236}">
                <a16:creationId xmlns:a16="http://schemas.microsoft.com/office/drawing/2014/main" id="{7BD0E342-58E4-1A45-A371-648F63364019}"/>
              </a:ext>
            </a:extLst>
          </p:cNvPr>
          <p:cNvCxnSpPr/>
          <p:nvPr/>
        </p:nvCxnSpPr>
        <p:spPr>
          <a:xfrm>
            <a:off x="5037826" y="1779208"/>
            <a:ext cx="0" cy="6796141"/>
          </a:xfrm>
          <a:prstGeom prst="line">
            <a:avLst/>
          </a:prstGeom>
          <a:ln w="15875">
            <a:headEnd type="triangle"/>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40" name="文本框 39">
                <a:extLst>
                  <a:ext uri="{FF2B5EF4-FFF2-40B4-BE49-F238E27FC236}">
                    <a16:creationId xmlns:a16="http://schemas.microsoft.com/office/drawing/2014/main" id="{FFEFC9DB-6C17-7C45-840C-926E576EBDE1}"/>
                  </a:ext>
                </a:extLst>
              </p:cNvPr>
              <p:cNvSpPr txBox="1"/>
              <p:nvPr/>
            </p:nvSpPr>
            <p:spPr>
              <a:xfrm>
                <a:off x="5375960" y="7243588"/>
                <a:ext cx="10189953"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zh-CN" altLang="zh-CN" i="1">
                              <a:latin typeface="Cambria Math" panose="02040503050406030204" pitchFamily="18" charset="0"/>
                            </a:rPr>
                          </m:ctrlPr>
                        </m:sSubPr>
                        <m:e>
                          <m:r>
                            <a:rPr lang="en-US" altLang="zh-CN" i="1">
                              <a:latin typeface="Cambria Math" panose="02040503050406030204" pitchFamily="18" charset="0"/>
                            </a:rPr>
                            <m:t>h𝑖𝑔h</m:t>
                          </m:r>
                        </m:e>
                        <m:sub>
                          <m:r>
                            <a:rPr lang="en-US" altLang="zh-CN" i="1">
                              <a:latin typeface="Cambria Math" panose="02040503050406030204" pitchFamily="18" charset="0"/>
                            </a:rPr>
                            <m:t>𝑡</m:t>
                          </m:r>
                        </m:sub>
                      </m:sSub>
                      <m:r>
                        <a:rPr lang="en-US" altLang="zh-CN" i="1">
                          <a:latin typeface="Cambria Math" panose="02040503050406030204" pitchFamily="18" charset="0"/>
                        </a:rPr>
                        <m:t>=</m:t>
                      </m:r>
                      <m:r>
                        <a:rPr lang="en-US" altLang="zh-CN" i="1">
                          <a:latin typeface="Cambria Math" panose="02040503050406030204" pitchFamily="18" charset="0"/>
                        </a:rPr>
                        <m:t>𝛼</m:t>
                      </m:r>
                      <m:r>
                        <a:rPr lang="en-US" altLang="zh-CN" i="1">
                          <a:latin typeface="Cambria Math" panose="02040503050406030204" pitchFamily="18" charset="0"/>
                        </a:rPr>
                        <m:t>+</m:t>
                      </m:r>
                      <m:r>
                        <a:rPr lang="en-US" altLang="zh-CN" i="1">
                          <a:latin typeface="Cambria Math" panose="02040503050406030204" pitchFamily="18" charset="0"/>
                        </a:rPr>
                        <m:t>𝛽</m:t>
                      </m:r>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𝑙𝑜𝑤</m:t>
                          </m:r>
                        </m:e>
                        <m:sub>
                          <m:r>
                            <a:rPr lang="en-US" altLang="zh-CN" i="1">
                              <a:latin typeface="Cambria Math" panose="02040503050406030204" pitchFamily="18" charset="0"/>
                            </a:rPr>
                            <m:t>𝑡</m:t>
                          </m:r>
                        </m:sub>
                      </m:sSub>
                      <m:r>
                        <a:rPr lang="en-US" altLang="zh-CN" i="1">
                          <a:latin typeface="Cambria Math" panose="02040503050406030204" pitchFamily="18" charset="0"/>
                        </a:rPr>
                        <m:t>+</m:t>
                      </m:r>
                      <m:r>
                        <a:rPr lang="en-US" altLang="zh-CN" i="1">
                          <a:latin typeface="Cambria Math" panose="02040503050406030204" pitchFamily="18" charset="0"/>
                        </a:rPr>
                        <m:t>𝜀</m:t>
                      </m:r>
                      <m:r>
                        <a:rPr lang="en-US" altLang="zh-CN" i="1">
                          <a:latin typeface="Cambria Math" panose="02040503050406030204" pitchFamily="18" charset="0"/>
                        </a:rPr>
                        <m:t>,</m:t>
                      </m:r>
                      <m:r>
                        <a:rPr lang="en-US" altLang="zh-CN" i="1">
                          <a:latin typeface="Cambria Math" panose="02040503050406030204" pitchFamily="18" charset="0"/>
                        </a:rPr>
                        <m:t>𝜀</m:t>
                      </m:r>
                      <m:r>
                        <a:rPr lang="en-US" altLang="zh-CN" i="1">
                          <a:latin typeface="Cambria Math" panose="02040503050406030204" pitchFamily="18" charset="0"/>
                        </a:rPr>
                        <m:t>~</m:t>
                      </m:r>
                      <m:r>
                        <a:rPr lang="en-US" altLang="zh-CN" i="1">
                          <a:latin typeface="Cambria Math" panose="02040503050406030204" pitchFamily="18" charset="0"/>
                        </a:rPr>
                        <m:t>𝑁</m:t>
                      </m:r>
                      <m:d>
                        <m:dPr>
                          <m:ctrlPr>
                            <a:rPr lang="zh-CN" altLang="zh-CN" i="1">
                              <a:latin typeface="Cambria Math" panose="02040503050406030204" pitchFamily="18" charset="0"/>
                            </a:rPr>
                          </m:ctrlPr>
                        </m:dPr>
                        <m:e>
                          <m:r>
                            <a:rPr lang="en-US" altLang="zh-CN" i="1">
                              <a:latin typeface="Cambria Math" panose="02040503050406030204" pitchFamily="18" charset="0"/>
                            </a:rPr>
                            <m:t>0,</m:t>
                          </m:r>
                          <m:r>
                            <a:rPr lang="en-US" altLang="zh-CN" i="1">
                              <a:latin typeface="Cambria Math" panose="02040503050406030204" pitchFamily="18" charset="0"/>
                            </a:rPr>
                            <m:t>𝜎</m:t>
                          </m:r>
                        </m:e>
                      </m:d>
                      <m:r>
                        <a:rPr lang="en-US" altLang="zh-CN" i="1">
                          <a:latin typeface="Cambria Math" panose="02040503050406030204" pitchFamily="18" charset="0"/>
                        </a:rPr>
                        <m:t>,</m:t>
                      </m:r>
                      <m:r>
                        <a:rPr lang="en-US" altLang="zh-CN" i="1">
                          <a:latin typeface="Cambria Math" panose="02040503050406030204" pitchFamily="18" charset="0"/>
                        </a:rPr>
                        <m:t>𝑡</m:t>
                      </m:r>
                      <m:r>
                        <a:rPr lang="en-US" altLang="zh-CN" i="1">
                          <a:latin typeface="Cambria Math" panose="02040503050406030204" pitchFamily="18" charset="0"/>
                        </a:rPr>
                        <m:t>𝜖</m:t>
                      </m:r>
                      <m:d>
                        <m:dPr>
                          <m:begChr m:val="{"/>
                          <m:endChr m:val="}"/>
                          <m:ctrlPr>
                            <a:rPr lang="zh-CN" altLang="zh-CN" i="1">
                              <a:latin typeface="Cambria Math" panose="02040503050406030204" pitchFamily="18" charset="0"/>
                            </a:rPr>
                          </m:ctrlPr>
                        </m:dPr>
                        <m:e>
                          <m:r>
                            <a:rPr lang="en-US" altLang="zh-CN" i="1">
                              <a:latin typeface="Cambria Math" panose="02040503050406030204" pitchFamily="18" charset="0"/>
                            </a:rPr>
                            <m:t>0,1,2,…,</m:t>
                          </m:r>
                          <m:r>
                            <a:rPr lang="en-US" altLang="zh-CN" i="1">
                              <a:latin typeface="Cambria Math" panose="02040503050406030204" pitchFamily="18" charset="0"/>
                            </a:rPr>
                            <m:t>𝑁</m:t>
                          </m:r>
                          <m:r>
                            <a:rPr lang="en-US" altLang="zh-CN" i="1">
                              <a:latin typeface="Cambria Math" panose="02040503050406030204" pitchFamily="18" charset="0"/>
                            </a:rPr>
                            <m:t>−1</m:t>
                          </m:r>
                        </m:e>
                      </m:d>
                    </m:oMath>
                  </m:oMathPara>
                </a14:m>
                <a:endParaRPr lang="zh-CN" altLang="zh-CN" dirty="0"/>
              </a:p>
            </p:txBody>
          </p:sp>
        </mc:Choice>
        <mc:Fallback xmlns="">
          <p:sp>
            <p:nvSpPr>
              <p:cNvPr id="40" name="文本框 39">
                <a:extLst>
                  <a:ext uri="{FF2B5EF4-FFF2-40B4-BE49-F238E27FC236}">
                    <a16:creationId xmlns:a16="http://schemas.microsoft.com/office/drawing/2014/main" id="{FFEFC9DB-6C17-7C45-840C-926E576EBDE1}"/>
                  </a:ext>
                </a:extLst>
              </p:cNvPr>
              <p:cNvSpPr txBox="1">
                <a:spLocks noRot="1" noChangeAspect="1" noMove="1" noResize="1" noEditPoints="1" noAdjustHandles="1" noChangeArrowheads="1" noChangeShapeType="1" noTextEdit="1"/>
              </p:cNvSpPr>
              <p:nvPr/>
            </p:nvSpPr>
            <p:spPr>
              <a:xfrm>
                <a:off x="5375960" y="7243588"/>
                <a:ext cx="10189953" cy="369332"/>
              </a:xfrm>
              <a:prstGeom prst="rect">
                <a:avLst/>
              </a:prstGeom>
              <a:blipFill>
                <a:blip r:embed="rId6"/>
                <a:stretch>
                  <a:fillRect b="-13333"/>
                </a:stretch>
              </a:blipFill>
            </p:spPr>
            <p:txBody>
              <a:bodyPr/>
              <a:lstStyle/>
              <a:p>
                <a:r>
                  <a:rPr lang="zh-CN" altLang="en-US">
                    <a:noFill/>
                  </a:rPr>
                  <a:t> </a:t>
                </a:r>
              </a:p>
            </p:txBody>
          </p:sp>
        </mc:Fallback>
      </mc:AlternateContent>
      <p:sp>
        <p:nvSpPr>
          <p:cNvPr id="42" name="标题 1150">
            <a:extLst>
              <a:ext uri="{FF2B5EF4-FFF2-40B4-BE49-F238E27FC236}">
                <a16:creationId xmlns:a16="http://schemas.microsoft.com/office/drawing/2014/main" id="{220921C5-3D27-494C-A6D6-F69F2840D7D9}"/>
              </a:ext>
            </a:extLst>
          </p:cNvPr>
          <p:cNvSpPr txBox="1">
            <a:spLocks/>
          </p:cNvSpPr>
          <p:nvPr/>
        </p:nvSpPr>
        <p:spPr>
          <a:xfrm>
            <a:off x="609600" y="427038"/>
            <a:ext cx="8229600" cy="11430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altLang="zh-CN" b="1" dirty="0">
                <a:solidFill>
                  <a:srgbClr val="C00000"/>
                </a:solidFill>
                <a:latin typeface="Times New Roman" panose="02020603050405020304" pitchFamily="18" charset="0"/>
                <a:cs typeface="Times New Roman" panose="02020603050405020304" pitchFamily="18" charset="0"/>
              </a:rPr>
              <a:t>Research</a:t>
            </a:r>
            <a:r>
              <a:rPr lang="zh-CN" altLang="en-US" b="1" dirty="0">
                <a:solidFill>
                  <a:srgbClr val="C00000"/>
                </a:solidFill>
                <a:latin typeface="Times New Roman" panose="02020603050405020304" pitchFamily="18" charset="0"/>
                <a:cs typeface="Times New Roman" panose="02020603050405020304" pitchFamily="18" charset="0"/>
              </a:rPr>
              <a:t> </a:t>
            </a:r>
            <a:r>
              <a:rPr lang="en-US" altLang="zh-CN" b="1" dirty="0">
                <a:solidFill>
                  <a:srgbClr val="C00000"/>
                </a:solidFill>
                <a:latin typeface="Times New Roman" panose="02020603050405020304" pitchFamily="18" charset="0"/>
                <a:cs typeface="Times New Roman" panose="02020603050405020304" pitchFamily="18" charset="0"/>
              </a:rPr>
              <a:t>Content &amp; Methods</a:t>
            </a:r>
            <a:endParaRPr lang="zh-CN" altLang="en-US" b="1" dirty="0">
              <a:solidFill>
                <a:srgbClr val="C00000"/>
              </a:solidFill>
              <a:latin typeface="Times New Roman" panose="02020603050405020304" pitchFamily="18" charset="0"/>
              <a:cs typeface="Times New Roman" panose="02020603050405020304" pitchFamily="18" charset="0"/>
            </a:endParaRPr>
          </a:p>
        </p:txBody>
      </p:sp>
      <p:graphicFrame>
        <p:nvGraphicFramePr>
          <p:cNvPr id="2" name="表格 1">
            <a:extLst>
              <a:ext uri="{FF2B5EF4-FFF2-40B4-BE49-F238E27FC236}">
                <a16:creationId xmlns:a16="http://schemas.microsoft.com/office/drawing/2014/main" id="{A1B853E9-453C-2242-8A15-BBB9755C9579}"/>
              </a:ext>
            </a:extLst>
          </p:cNvPr>
          <p:cNvGraphicFramePr>
            <a:graphicFrameLocks noGrp="1"/>
          </p:cNvGraphicFramePr>
          <p:nvPr>
            <p:extLst>
              <p:ext uri="{D42A27DB-BD31-4B8C-83A1-F6EECF244321}">
                <p14:modId xmlns:p14="http://schemas.microsoft.com/office/powerpoint/2010/main" val="2194351680"/>
              </p:ext>
            </p:extLst>
          </p:nvPr>
        </p:nvGraphicFramePr>
        <p:xfrm>
          <a:off x="5808691" y="2104513"/>
          <a:ext cx="9343128" cy="2564659"/>
        </p:xfrm>
        <a:graphic>
          <a:graphicData uri="http://schemas.openxmlformats.org/drawingml/2006/table">
            <a:tbl>
              <a:tblPr firstRow="1" firstCol="1" bandRow="1">
                <a:tableStyleId>{5C22544A-7EE6-4342-B048-85BDC9FD1C3A}</a:tableStyleId>
              </a:tblPr>
              <a:tblGrid>
                <a:gridCol w="2393504">
                  <a:extLst>
                    <a:ext uri="{9D8B030D-6E8A-4147-A177-3AD203B41FA5}">
                      <a16:colId xmlns:a16="http://schemas.microsoft.com/office/drawing/2014/main" val="2261776773"/>
                    </a:ext>
                  </a:extLst>
                </a:gridCol>
                <a:gridCol w="3427062">
                  <a:extLst>
                    <a:ext uri="{9D8B030D-6E8A-4147-A177-3AD203B41FA5}">
                      <a16:colId xmlns:a16="http://schemas.microsoft.com/office/drawing/2014/main" val="3130294650"/>
                    </a:ext>
                  </a:extLst>
                </a:gridCol>
                <a:gridCol w="3522562">
                  <a:extLst>
                    <a:ext uri="{9D8B030D-6E8A-4147-A177-3AD203B41FA5}">
                      <a16:colId xmlns:a16="http://schemas.microsoft.com/office/drawing/2014/main" val="3560963564"/>
                    </a:ext>
                  </a:extLst>
                </a:gridCol>
              </a:tblGrid>
              <a:tr h="583357">
                <a:tc>
                  <a:txBody>
                    <a:bodyPr/>
                    <a:lstStyle/>
                    <a:p>
                      <a:pPr algn="l"/>
                      <a:r>
                        <a:rPr lang="en-US" sz="1800" kern="0">
                          <a:effectLst/>
                        </a:rPr>
                        <a:t>Market Status</a:t>
                      </a:r>
                      <a:endParaRPr lang="zh-CN" sz="1400" kern="100">
                        <a:effectLst/>
                        <a:latin typeface="DengXian" panose="02010600030101010101" pitchFamily="2" charset="-122"/>
                        <a:ea typeface="DengXian" panose="02010600030101010101" pitchFamily="2" charset="-122"/>
                        <a:cs typeface="Times New Roman" panose="02020603050405020304" pitchFamily="18" charset="0"/>
                      </a:endParaRPr>
                    </a:p>
                  </a:txBody>
                  <a:tcPr marL="68580" marR="68580" marT="0" marB="0"/>
                </a:tc>
                <a:tc>
                  <a:txBody>
                    <a:bodyPr/>
                    <a:lstStyle/>
                    <a:p>
                      <a:pPr algn="l"/>
                      <a:r>
                        <a:rPr lang="en-US" sz="1800" kern="0">
                          <a:effectLst/>
                        </a:rPr>
                        <a:t>Resistance Strength &gt; Support Strength</a:t>
                      </a:r>
                      <a:endParaRPr lang="zh-CN" sz="1400" kern="100">
                        <a:effectLst/>
                        <a:latin typeface="DengXian" panose="02010600030101010101" pitchFamily="2" charset="-122"/>
                        <a:ea typeface="DengXian" panose="02010600030101010101" pitchFamily="2" charset="-122"/>
                        <a:cs typeface="Times New Roman" panose="02020603050405020304" pitchFamily="18" charset="0"/>
                      </a:endParaRPr>
                    </a:p>
                  </a:txBody>
                  <a:tcPr marL="68580" marR="68580" marT="0" marB="0"/>
                </a:tc>
                <a:tc>
                  <a:txBody>
                    <a:bodyPr/>
                    <a:lstStyle/>
                    <a:p>
                      <a:pPr indent="266700" algn="just"/>
                      <a:r>
                        <a:rPr lang="en-US" sz="1800" kern="0">
                          <a:effectLst/>
                        </a:rPr>
                        <a:t>Support Strength &gt;  Resistance Strength</a:t>
                      </a:r>
                      <a:endParaRPr lang="zh-CN" sz="1400" kern="100">
                        <a:effectLst/>
                        <a:latin typeface="DengXian" panose="02010600030101010101" pitchFamily="2" charset="-122"/>
                        <a:ea typeface="DengXia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287559422"/>
                  </a:ext>
                </a:extLst>
              </a:tr>
              <a:tr h="660434">
                <a:tc>
                  <a:txBody>
                    <a:bodyPr/>
                    <a:lstStyle/>
                    <a:p>
                      <a:pPr algn="l"/>
                      <a:r>
                        <a:rPr lang="en-US" sz="1800" kern="0">
                          <a:effectLst/>
                        </a:rPr>
                        <a:t>Bull Market</a:t>
                      </a:r>
                      <a:endParaRPr lang="zh-CN" sz="1400" kern="100">
                        <a:effectLst/>
                        <a:latin typeface="DengXian" panose="02010600030101010101" pitchFamily="2" charset="-122"/>
                        <a:ea typeface="DengXian" panose="02010600030101010101" pitchFamily="2" charset="-122"/>
                        <a:cs typeface="Times New Roman" panose="02020603050405020304" pitchFamily="18" charset="0"/>
                      </a:endParaRPr>
                    </a:p>
                  </a:txBody>
                  <a:tcPr marL="68580" marR="68580" marT="0" marB="0"/>
                </a:tc>
                <a:tc>
                  <a:txBody>
                    <a:bodyPr/>
                    <a:lstStyle/>
                    <a:p>
                      <a:pPr algn="ctr"/>
                      <a:r>
                        <a:rPr lang="en-US" sz="1800" kern="0" dirty="0">
                          <a:effectLst/>
                        </a:rPr>
                        <a:t>The upward momentum is exhausted, or it will peak</a:t>
                      </a:r>
                      <a:endParaRPr lang="zh-CN" sz="1400" kern="100" dirty="0">
                        <a:effectLst/>
                        <a:latin typeface="DengXian" panose="02010600030101010101" pitchFamily="2" charset="-122"/>
                        <a:ea typeface="DengXian" panose="02010600030101010101" pitchFamily="2" charset="-122"/>
                        <a:cs typeface="Times New Roman" panose="02020603050405020304" pitchFamily="18" charset="0"/>
                      </a:endParaRPr>
                    </a:p>
                  </a:txBody>
                  <a:tcPr marL="68580" marR="68580" marT="0" marB="0"/>
                </a:tc>
                <a:tc>
                  <a:txBody>
                    <a:bodyPr/>
                    <a:lstStyle/>
                    <a:p>
                      <a:pPr algn="ctr"/>
                      <a:r>
                        <a:rPr lang="en-US" sz="1800" kern="0" dirty="0">
                          <a:effectLst/>
                        </a:rPr>
                        <a:t>Rising momentum is strong, accelerating the rise</a:t>
                      </a:r>
                      <a:endParaRPr lang="zh-CN" sz="1400" kern="100" dirty="0">
                        <a:effectLst/>
                        <a:latin typeface="DengXian" panose="02010600030101010101" pitchFamily="2" charset="-122"/>
                        <a:ea typeface="DengXia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794605851"/>
                  </a:ext>
                </a:extLst>
              </a:tr>
              <a:tr h="660434">
                <a:tc>
                  <a:txBody>
                    <a:bodyPr/>
                    <a:lstStyle/>
                    <a:p>
                      <a:pPr algn="l"/>
                      <a:r>
                        <a:rPr lang="en-US" sz="1800" kern="0" dirty="0">
                          <a:effectLst/>
                        </a:rPr>
                        <a:t>Volatile market</a:t>
                      </a:r>
                      <a:endParaRPr lang="zh-CN" sz="1400" kern="100" dirty="0">
                        <a:effectLst/>
                        <a:latin typeface="DengXian" panose="02010600030101010101" pitchFamily="2" charset="-122"/>
                        <a:ea typeface="DengXian" panose="02010600030101010101" pitchFamily="2" charset="-122"/>
                        <a:cs typeface="Times New Roman" panose="02020603050405020304" pitchFamily="18" charset="0"/>
                      </a:endParaRPr>
                    </a:p>
                  </a:txBody>
                  <a:tcPr marL="68580" marR="68580" marT="0" marB="0"/>
                </a:tc>
                <a:tc>
                  <a:txBody>
                    <a:bodyPr/>
                    <a:lstStyle/>
                    <a:p>
                      <a:pPr algn="ctr"/>
                      <a:r>
                        <a:rPr lang="en-US" sz="1800" kern="0" dirty="0">
                          <a:effectLst/>
                        </a:rPr>
                        <a:t>Short-term sentiment peaked, about to pull back</a:t>
                      </a:r>
                      <a:endParaRPr lang="zh-CN" sz="1400" kern="100" dirty="0">
                        <a:effectLst/>
                        <a:latin typeface="DengXian" panose="02010600030101010101" pitchFamily="2" charset="-122"/>
                        <a:ea typeface="DengXian" panose="02010600030101010101" pitchFamily="2" charset="-122"/>
                        <a:cs typeface="Times New Roman" panose="02020603050405020304" pitchFamily="18" charset="0"/>
                      </a:endParaRPr>
                    </a:p>
                  </a:txBody>
                  <a:tcPr marL="68580" marR="68580" marT="0" marB="0"/>
                </a:tc>
                <a:tc>
                  <a:txBody>
                    <a:bodyPr/>
                    <a:lstStyle/>
                    <a:p>
                      <a:pPr algn="ctr"/>
                      <a:r>
                        <a:rPr lang="en-US" sz="1800" kern="0" dirty="0">
                          <a:effectLst/>
                        </a:rPr>
                        <a:t>Short-term sentiment bottoms out and is about to rebound</a:t>
                      </a:r>
                      <a:endParaRPr lang="zh-CN" sz="1400" kern="100" dirty="0">
                        <a:effectLst/>
                        <a:latin typeface="DengXian" panose="02010600030101010101" pitchFamily="2" charset="-122"/>
                        <a:ea typeface="DengXia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618411176"/>
                  </a:ext>
                </a:extLst>
              </a:tr>
              <a:tr h="660434">
                <a:tc>
                  <a:txBody>
                    <a:bodyPr/>
                    <a:lstStyle/>
                    <a:p>
                      <a:pPr algn="l"/>
                      <a:r>
                        <a:rPr lang="en-US" sz="1800" kern="0" dirty="0">
                          <a:effectLst/>
                        </a:rPr>
                        <a:t>Bear Market</a:t>
                      </a:r>
                      <a:endParaRPr lang="zh-CN" sz="1400" kern="100" dirty="0">
                        <a:effectLst/>
                        <a:latin typeface="DengXian" panose="02010600030101010101" pitchFamily="2" charset="-122"/>
                        <a:ea typeface="DengXian" panose="02010600030101010101" pitchFamily="2" charset="-122"/>
                        <a:cs typeface="Times New Roman" panose="02020603050405020304" pitchFamily="18" charset="0"/>
                      </a:endParaRPr>
                    </a:p>
                  </a:txBody>
                  <a:tcPr marL="68580" marR="68580" marT="0" marB="0"/>
                </a:tc>
                <a:tc>
                  <a:txBody>
                    <a:bodyPr/>
                    <a:lstStyle/>
                    <a:p>
                      <a:pPr algn="ctr"/>
                      <a:r>
                        <a:rPr lang="en-US" sz="1800" kern="0" dirty="0">
                          <a:effectLst/>
                        </a:rPr>
                        <a:t>Fears are strong, the decline accelerates</a:t>
                      </a:r>
                      <a:endParaRPr lang="zh-CN" sz="1400" kern="100" dirty="0">
                        <a:effectLst/>
                        <a:latin typeface="DengXian" panose="02010600030101010101" pitchFamily="2" charset="-122"/>
                        <a:ea typeface="DengXian" panose="02010600030101010101" pitchFamily="2" charset="-122"/>
                        <a:cs typeface="Times New Roman" panose="02020603050405020304" pitchFamily="18" charset="0"/>
                      </a:endParaRPr>
                    </a:p>
                  </a:txBody>
                  <a:tcPr marL="68580" marR="68580" marT="0" marB="0"/>
                </a:tc>
                <a:tc>
                  <a:txBody>
                    <a:bodyPr/>
                    <a:lstStyle/>
                    <a:p>
                      <a:pPr algn="ctr"/>
                      <a:r>
                        <a:rPr lang="en-US" sz="1800" kern="0" dirty="0">
                          <a:effectLst/>
                        </a:rPr>
                        <a:t>The downward momentum is exhausted, or it will bottom out</a:t>
                      </a:r>
                      <a:endParaRPr lang="zh-CN" sz="1400" kern="100" dirty="0">
                        <a:effectLst/>
                        <a:latin typeface="DengXian" panose="02010600030101010101" pitchFamily="2" charset="-122"/>
                        <a:ea typeface="DengXia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2309416164"/>
                  </a:ext>
                </a:extLst>
              </a:tr>
            </a:tbl>
          </a:graphicData>
        </a:graphic>
      </p:graphicFrame>
      <p:sp>
        <p:nvSpPr>
          <p:cNvPr id="29" name="文本框 28">
            <a:extLst>
              <a:ext uri="{FF2B5EF4-FFF2-40B4-BE49-F238E27FC236}">
                <a16:creationId xmlns:a16="http://schemas.microsoft.com/office/drawing/2014/main" id="{8CFD990D-E37C-B1BA-F828-182FF6053D98}"/>
              </a:ext>
            </a:extLst>
          </p:cNvPr>
          <p:cNvSpPr txBox="1"/>
          <p:nvPr/>
        </p:nvSpPr>
        <p:spPr>
          <a:xfrm>
            <a:off x="5309732" y="5226459"/>
            <a:ext cx="10528366" cy="400110"/>
          </a:xfrm>
          <a:prstGeom prst="rect">
            <a:avLst/>
          </a:prstGeom>
          <a:noFill/>
        </p:spPr>
        <p:txBody>
          <a:bodyPr wrap="square" rtlCol="0">
            <a:spAutoFit/>
          </a:bodyPr>
          <a:lstStyle/>
          <a:p>
            <a:r>
              <a:rPr kumimoji="1" lang="en-US" altLang="zh-CN" sz="2000" b="1" dirty="0">
                <a:latin typeface="Times New Roman" panose="02020603050405020304" pitchFamily="18" charset="0"/>
                <a:cs typeface="Times New Roman" panose="02020603050405020304" pitchFamily="18" charset="0"/>
              </a:rPr>
              <a:t>Proxy </a:t>
            </a:r>
            <a:r>
              <a:rPr kumimoji="1" lang="zh-CN" altLang="zh-CN" sz="2000" b="1" dirty="0">
                <a:latin typeface="Times New Roman" panose="02020603050405020304" pitchFamily="18" charset="0"/>
                <a:cs typeface="Times New Roman" panose="02020603050405020304" pitchFamily="18" charset="0"/>
              </a:rPr>
              <a:t>indicator construction</a:t>
            </a:r>
            <a:r>
              <a:rPr kumimoji="1" lang="zh-CN" altLang="en-US" sz="2000" b="1" dirty="0">
                <a:latin typeface="Times New Roman" panose="02020603050405020304" pitchFamily="18" charset="0"/>
                <a:cs typeface="Times New Roman" panose="02020603050405020304" pitchFamily="18" charset="0"/>
              </a:rPr>
              <a:t> </a:t>
            </a:r>
            <a:r>
              <a:rPr kumimoji="1" lang="en-US" altLang="zh-CN" sz="2000" b="1" dirty="0">
                <a:latin typeface="Times New Roman" panose="02020603050405020304" pitchFamily="18" charset="0"/>
                <a:cs typeface="Times New Roman" panose="02020603050405020304" pitchFamily="18" charset="0"/>
              </a:rPr>
              <a:t>-</a:t>
            </a:r>
            <a:r>
              <a:rPr kumimoji="1" lang="zh-CN" altLang="en-US" sz="2000" b="1" dirty="0">
                <a:latin typeface="Times New Roman" panose="02020603050405020304" pitchFamily="18" charset="0"/>
                <a:cs typeface="Times New Roman" panose="02020603050405020304" pitchFamily="18" charset="0"/>
              </a:rPr>
              <a:t> </a:t>
            </a:r>
            <a:r>
              <a:rPr lang="en-US" altLang="zh-CN" sz="2000" dirty="0"/>
              <a:t>E</a:t>
            </a:r>
            <a:r>
              <a:rPr lang="zh-CN" altLang="zh-CN" sz="2000" dirty="0"/>
              <a:t>xtract information from the volume and price data</a:t>
            </a:r>
            <a:endParaRPr lang="en-US" altLang="zh-CN" sz="2000" dirty="0"/>
          </a:p>
        </p:txBody>
      </p:sp>
      <p:sp>
        <p:nvSpPr>
          <p:cNvPr id="7" name="文本框 6">
            <a:extLst>
              <a:ext uri="{FF2B5EF4-FFF2-40B4-BE49-F238E27FC236}">
                <a16:creationId xmlns:a16="http://schemas.microsoft.com/office/drawing/2014/main" id="{719F4E92-D150-BD99-24BB-00FBF033E1AE}"/>
              </a:ext>
            </a:extLst>
          </p:cNvPr>
          <p:cNvSpPr txBox="1"/>
          <p:nvPr/>
        </p:nvSpPr>
        <p:spPr>
          <a:xfrm>
            <a:off x="5309732" y="5586433"/>
            <a:ext cx="10575985" cy="1754326"/>
          </a:xfrm>
          <a:prstGeom prst="rect">
            <a:avLst/>
          </a:prstGeom>
          <a:noFill/>
        </p:spPr>
        <p:txBody>
          <a:bodyPr wrap="square" rtlCol="0">
            <a:spAutoFit/>
          </a:bodyPr>
          <a:lstStyle/>
          <a:p>
            <a:pPr marL="285750" indent="-285750">
              <a:buFont typeface="Arial" panose="020B0604020202020204" pitchFamily="34" charset="0"/>
              <a:buChar char="•"/>
            </a:pPr>
            <a:r>
              <a:rPr lang="en-US" altLang="zh-CN" dirty="0"/>
              <a:t>D</a:t>
            </a:r>
            <a:r>
              <a:rPr lang="zh-CN" altLang="zh-CN" dirty="0"/>
              <a:t>o not touch the limit-up or limit-down price, it is the resistance and support</a:t>
            </a:r>
            <a:endParaRPr lang="en-US" altLang="zh-CN" dirty="0"/>
          </a:p>
          <a:p>
            <a:pPr marL="285750" indent="-285750">
              <a:buFont typeface="Arial" panose="020B0604020202020204" pitchFamily="34" charset="0"/>
              <a:buChar char="•"/>
            </a:pPr>
            <a:r>
              <a:rPr lang="zh-CN" altLang="zh-CN" dirty="0"/>
              <a:t>focus on the alignment of market participants with resistance and support levels</a:t>
            </a:r>
            <a:endParaRPr lang="en-US" altLang="zh-CN" dirty="0"/>
          </a:p>
          <a:p>
            <a:pPr marL="285750" indent="-285750">
              <a:buFont typeface="Arial" panose="020B0604020202020204" pitchFamily="34" charset="0"/>
              <a:buChar char="•"/>
            </a:pPr>
            <a:r>
              <a:rPr lang="zh-CN" altLang="zh-CN" b="1" u="sng" dirty="0"/>
              <a:t>∆(high)/ ∆(low) </a:t>
            </a:r>
            <a:r>
              <a:rPr lang="zh-CN" altLang="en-US" b="1" u="sng" dirty="0"/>
              <a:t> </a:t>
            </a:r>
            <a:r>
              <a:rPr lang="en-US" altLang="zh-CN" dirty="0"/>
              <a:t>to </a:t>
            </a:r>
            <a:r>
              <a:rPr lang="zh-CN" altLang="zh-CN" dirty="0"/>
              <a:t>describe the relative strength of the support level and the resistance level, that is, when the lowest price changes by 1, the range of the highest price change.</a:t>
            </a:r>
          </a:p>
          <a:p>
            <a:pPr marL="285750" indent="-285750">
              <a:buFont typeface="Arial" panose="020B0604020202020204" pitchFamily="34" charset="0"/>
              <a:buChar char="•"/>
            </a:pPr>
            <a:r>
              <a:rPr lang="zh-CN" altLang="zh-CN" dirty="0"/>
              <a:t>Due to the </a:t>
            </a:r>
            <a:r>
              <a:rPr lang="zh-CN" altLang="zh-CN" b="1" i="1" u="sng" dirty="0"/>
              <a:t>noise</a:t>
            </a:r>
            <a:r>
              <a:rPr lang="zh-CN" altLang="zh-CN" dirty="0"/>
              <a:t> </a:t>
            </a:r>
            <a:r>
              <a:rPr lang="en-US" altLang="zh-CN" dirty="0"/>
              <a:t>,</a:t>
            </a:r>
            <a:r>
              <a:rPr lang="zh-CN" altLang="zh-CN" dirty="0"/>
              <a:t> </a:t>
            </a:r>
            <a:r>
              <a:rPr lang="en-US" altLang="zh-CN" dirty="0"/>
              <a:t>w</a:t>
            </a:r>
            <a:r>
              <a:rPr lang="zh-CN" altLang="zh-CN" dirty="0"/>
              <a:t>e consider the </a:t>
            </a:r>
            <a:r>
              <a:rPr lang="zh-CN" altLang="zh-CN" b="1" u="sng" dirty="0"/>
              <a:t>recent N (low, high) data points</a:t>
            </a:r>
            <a:r>
              <a:rPr lang="zh-CN" altLang="zh-CN" dirty="0"/>
              <a:t> to get the relative change degree of the highest and lowest prices with relatively high signal-to-noise. </a:t>
            </a:r>
            <a:endParaRPr lang="zh-CN" altLang="en-US" dirty="0"/>
          </a:p>
        </p:txBody>
      </p:sp>
      <mc:AlternateContent xmlns:mc="http://schemas.openxmlformats.org/markup-compatibility/2006" xmlns:a14="http://schemas.microsoft.com/office/drawing/2010/main">
        <mc:Choice Requires="a14">
          <p:sp>
            <p:nvSpPr>
              <p:cNvPr id="9" name="文本框 8">
                <a:extLst>
                  <a:ext uri="{FF2B5EF4-FFF2-40B4-BE49-F238E27FC236}">
                    <a16:creationId xmlns:a16="http://schemas.microsoft.com/office/drawing/2014/main" id="{A499BE72-41DD-3E05-31B0-8DDEBC77CBEE}"/>
                  </a:ext>
                </a:extLst>
              </p:cNvPr>
              <p:cNvSpPr txBox="1"/>
              <p:nvPr/>
            </p:nvSpPr>
            <p:spPr>
              <a:xfrm>
                <a:off x="5213345" y="7480169"/>
                <a:ext cx="10786853" cy="1785104"/>
              </a:xfrm>
              <a:prstGeom prst="rect">
                <a:avLst/>
              </a:prstGeom>
              <a:noFill/>
            </p:spPr>
            <p:txBody>
              <a:bodyPr wrap="square" rtlCol="0">
                <a:spAutoFit/>
              </a:bodyPr>
              <a:lstStyle/>
              <a:p>
                <a:r>
                  <a:rPr lang="en-US" altLang="zh-CN" sz="2000" b="1" i="1" u="sng" dirty="0"/>
                  <a:t>Therefore</a:t>
                </a:r>
                <a:r>
                  <a:rPr lang="en-US" altLang="zh-CN" dirty="0"/>
                  <a:t>,</a:t>
                </a:r>
                <a:r>
                  <a:rPr lang="zh-CN" altLang="zh-CN" dirty="0"/>
                  <a:t>the larger the </a:t>
                </a:r>
                <a14:m>
                  <m:oMath xmlns:m="http://schemas.openxmlformats.org/officeDocument/2006/math">
                    <m:r>
                      <a:rPr lang="en-US" altLang="zh-CN" i="1">
                        <a:latin typeface="Cambria Math" panose="02040503050406030204" pitchFamily="18" charset="0"/>
                      </a:rPr>
                      <m:t>𝛽</m:t>
                    </m:r>
                  </m:oMath>
                </a14:m>
                <a:r>
                  <a:rPr lang="en-US" altLang="zh-CN" dirty="0"/>
                  <a:t> </a:t>
                </a:r>
                <a:r>
                  <a:rPr lang="zh-CN" altLang="zh-CN" dirty="0"/>
                  <a:t>, the more significant the support strength is to the resistance strength </a:t>
                </a:r>
                <a:r>
                  <a:rPr lang="en-US" altLang="zh-CN" dirty="0"/>
                  <a:t>,</a:t>
                </a:r>
                <a:r>
                  <a:rPr lang="zh-CN" altLang="zh-CN" dirty="0"/>
                  <a:t>and the easier the market is to rise. </a:t>
                </a:r>
                <a:endParaRPr lang="en-US" altLang="zh-CN" dirty="0"/>
              </a:p>
              <a:p>
                <a:pPr marL="285750" indent="-285750">
                  <a:buFont typeface="Wingdings" pitchFamily="2" charset="2"/>
                  <a:buChar char="Ø"/>
                </a:pPr>
                <a:r>
                  <a:rPr lang="zh-CN" altLang="zh-CN" dirty="0"/>
                  <a:t>In bull market, the high probability corresponds to the trend of accelerating the market in the future</a:t>
                </a:r>
                <a:r>
                  <a:rPr lang="en-US" altLang="zh-CN" dirty="0"/>
                  <a:t>;</a:t>
                </a:r>
              </a:p>
              <a:p>
                <a:pPr marL="285750" indent="-285750">
                  <a:buFont typeface="Wingdings" pitchFamily="2" charset="2"/>
                  <a:buChar char="Ø"/>
                </a:pPr>
                <a:r>
                  <a:rPr lang="en-US" altLang="zh-CN" dirty="0"/>
                  <a:t>I</a:t>
                </a:r>
                <a:r>
                  <a:rPr lang="zh-CN" altLang="zh-CN" dirty="0"/>
                  <a:t>n bear market, it corresponds to the trend of stabilizing and stabilizing in the future. </a:t>
                </a:r>
                <a:endParaRPr lang="en-US" altLang="zh-CN" dirty="0"/>
              </a:p>
              <a:p>
                <a:r>
                  <a:rPr lang="en-US" altLang="zh-CN" dirty="0"/>
                  <a:t>Vice Versa!</a:t>
                </a:r>
                <a:endParaRPr lang="zh-CN" altLang="zh-CN" dirty="0"/>
              </a:p>
              <a:p>
                <a:endParaRPr kumimoji="1" lang="zh-CN" altLang="en-US" dirty="0"/>
              </a:p>
            </p:txBody>
          </p:sp>
        </mc:Choice>
        <mc:Fallback xmlns="">
          <p:sp>
            <p:nvSpPr>
              <p:cNvPr id="9" name="文本框 8">
                <a:extLst>
                  <a:ext uri="{FF2B5EF4-FFF2-40B4-BE49-F238E27FC236}">
                    <a16:creationId xmlns:a16="http://schemas.microsoft.com/office/drawing/2014/main" id="{A499BE72-41DD-3E05-31B0-8DDEBC77CBEE}"/>
                  </a:ext>
                </a:extLst>
              </p:cNvPr>
              <p:cNvSpPr txBox="1">
                <a:spLocks noRot="1" noChangeAspect="1" noMove="1" noResize="1" noEditPoints="1" noAdjustHandles="1" noChangeArrowheads="1" noChangeShapeType="1" noTextEdit="1"/>
              </p:cNvSpPr>
              <p:nvPr/>
            </p:nvSpPr>
            <p:spPr>
              <a:xfrm>
                <a:off x="5213345" y="7480169"/>
                <a:ext cx="10786853" cy="1785104"/>
              </a:xfrm>
              <a:prstGeom prst="rect">
                <a:avLst/>
              </a:prstGeom>
              <a:blipFill>
                <a:blip r:embed="rId7"/>
                <a:stretch>
                  <a:fillRect l="-588" t="-1408" r="-706"/>
                </a:stretch>
              </a:blipFill>
            </p:spPr>
            <p:txBody>
              <a:bodyPr/>
              <a:lstStyle/>
              <a:p>
                <a:r>
                  <a:rPr lang="zh-CN" altLang="en-US">
                    <a:noFill/>
                  </a:rPr>
                  <a:t> </a:t>
                </a:r>
              </a:p>
            </p:txBody>
          </p:sp>
        </mc:Fallback>
      </mc:AlternateContent>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对象 9" hidden="1">
            <a:extLst>
              <a:ext uri="{FF2B5EF4-FFF2-40B4-BE49-F238E27FC236}">
                <a16:creationId xmlns:a16="http://schemas.microsoft.com/office/drawing/2014/main" id="{BEFB6477-15CE-D219-A26F-C5DAE837B0D0}"/>
              </a:ext>
            </a:extLst>
          </p:cNvPr>
          <p:cNvGraphicFramePr>
            <a:graphicFrameLocks noChangeAspect="1"/>
          </p:cNvGraphicFramePr>
          <p:nvPr>
            <p:custDataLst>
              <p:tags r:id="rId1"/>
            </p:custDataLst>
            <p:extLst>
              <p:ext uri="{D42A27DB-BD31-4B8C-83A1-F6EECF244321}">
                <p14:modId xmlns:p14="http://schemas.microsoft.com/office/powerpoint/2010/main" val="25585658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 imgW="7772400" imgH="10058400" progId="TCLayout.ActiveDocument.1">
                  <p:embed/>
                </p:oleObj>
              </mc:Choice>
              <mc:Fallback>
                <p:oleObj name="think-cell 幻灯片" r:id="rId3" imgW="7772400" imgH="10058400" progId="TCLayout.ActiveDocument.1">
                  <p:embed/>
                  <p:pic>
                    <p:nvPicPr>
                      <p:cNvPr id="10" name="对象 9" hidden="1">
                        <a:extLst>
                          <a:ext uri="{FF2B5EF4-FFF2-40B4-BE49-F238E27FC236}">
                            <a16:creationId xmlns:a16="http://schemas.microsoft.com/office/drawing/2014/main" id="{BEFB6477-15CE-D219-A26F-C5DAE837B0D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grpSp>
        <p:nvGrpSpPr>
          <p:cNvPr id="20" name="组合 19">
            <a:extLst>
              <a:ext uri="{FF2B5EF4-FFF2-40B4-BE49-F238E27FC236}">
                <a16:creationId xmlns:a16="http://schemas.microsoft.com/office/drawing/2014/main" id="{8A288040-1293-5F49-B1DC-FAB417FA56E5}"/>
              </a:ext>
            </a:extLst>
          </p:cNvPr>
          <p:cNvGrpSpPr/>
          <p:nvPr/>
        </p:nvGrpSpPr>
        <p:grpSpPr>
          <a:xfrm>
            <a:off x="1876483" y="1870948"/>
            <a:ext cx="2933700" cy="6536451"/>
            <a:chOff x="2273300" y="3111500"/>
            <a:chExt cx="2933700" cy="2933700"/>
          </a:xfrm>
        </p:grpSpPr>
        <p:pic>
          <p:nvPicPr>
            <p:cNvPr id="4" name="Picture 4"/>
            <p:cNvPicPr>
              <a:picLocks noChangeAspect="1"/>
            </p:cNvPicPr>
            <p:nvPr/>
          </p:nvPicPr>
          <p:blipFill>
            <a:blip r:embed="rId5"/>
            <a:stretch>
              <a:fillRect/>
            </a:stretch>
          </p:blipFill>
          <p:spPr>
            <a:xfrm>
              <a:off x="2273300" y="3111500"/>
              <a:ext cx="2933700" cy="2933700"/>
            </a:xfrm>
            <a:prstGeom prst="rect">
              <a:avLst/>
            </a:prstGeom>
          </p:spPr>
        </p:pic>
        <p:sp>
          <p:nvSpPr>
            <p:cNvPr id="6" name="TextBox 6"/>
            <p:cNvSpPr txBox="1"/>
            <p:nvPr/>
          </p:nvSpPr>
          <p:spPr>
            <a:xfrm>
              <a:off x="2627953" y="4031066"/>
              <a:ext cx="2383755" cy="264086"/>
            </a:xfrm>
            <a:prstGeom prst="rect">
              <a:avLst/>
            </a:prstGeom>
          </p:spPr>
          <p:txBody>
            <a:bodyPr lIns="0" tIns="0" rIns="0" bIns="0" rtlCol="0" anchor="t"/>
            <a:lstStyle/>
            <a:p>
              <a:pPr algn="ctr"/>
              <a:r>
                <a:rPr lang="zh-CN" altLang="zh-CN" sz="2800" b="1" dirty="0">
                  <a:solidFill>
                    <a:schemeClr val="bg1"/>
                  </a:solidFill>
                  <a:latin typeface="Times New Roman" panose="02020603050405020304" pitchFamily="18" charset="0"/>
                  <a:cs typeface="Times New Roman" panose="02020603050405020304" pitchFamily="18" charset="0"/>
                </a:rPr>
                <a:t>Specific</a:t>
              </a:r>
              <a:endParaRPr lang="en-US" sz="5400" dirty="0">
                <a:solidFill>
                  <a:schemeClr val="bg1"/>
                </a:solidFill>
                <a:latin typeface="Times New Roman" panose="02020603050405020304" pitchFamily="18" charset="0"/>
                <a:cs typeface="Times New Roman" panose="02020603050405020304" pitchFamily="18" charset="0"/>
              </a:endParaRPr>
            </a:p>
          </p:txBody>
        </p:sp>
      </p:grpSp>
      <p:sp>
        <p:nvSpPr>
          <p:cNvPr id="14" name="TextBox 14"/>
          <p:cNvSpPr txBox="1"/>
          <p:nvPr/>
        </p:nvSpPr>
        <p:spPr>
          <a:xfrm>
            <a:off x="8092114" y="1020852"/>
            <a:ext cx="8623808" cy="558797"/>
          </a:xfrm>
          <a:prstGeom prst="rect">
            <a:avLst/>
          </a:prstGeom>
        </p:spPr>
        <p:txBody>
          <a:bodyPr lIns="0" tIns="0" rIns="0" bIns="0" rtlCol="0" anchor="t"/>
          <a:lstStyle/>
          <a:p>
            <a:r>
              <a:rPr kumimoji="1" lang="en-US" altLang="zh-CN" sz="4000" b="1" dirty="0">
                <a:solidFill>
                  <a:srgbClr val="475B7C"/>
                </a:solidFill>
                <a:latin typeface="Times New Roman" panose="02020603050405020304" pitchFamily="18" charset="0"/>
                <a:cs typeface="Times New Roman" panose="02020603050405020304" pitchFamily="18" charset="0"/>
              </a:rPr>
              <a:t>RSRS</a:t>
            </a:r>
            <a:r>
              <a:rPr kumimoji="1" lang="zh-CN" altLang="en-US" sz="4000" b="1" dirty="0">
                <a:solidFill>
                  <a:srgbClr val="475B7C"/>
                </a:solidFill>
                <a:latin typeface="Times New Roman" panose="02020603050405020304" pitchFamily="18" charset="0"/>
                <a:cs typeface="Times New Roman" panose="02020603050405020304" pitchFamily="18" charset="0"/>
              </a:rPr>
              <a:t> </a:t>
            </a:r>
            <a:r>
              <a:rPr kumimoji="1" lang="en-US" altLang="zh-CN" sz="4000" b="1" dirty="0">
                <a:solidFill>
                  <a:srgbClr val="475B7C"/>
                </a:solidFill>
                <a:latin typeface="Times New Roman" panose="02020603050405020304" pitchFamily="18" charset="0"/>
                <a:cs typeface="Times New Roman" panose="02020603050405020304" pitchFamily="18" charset="0"/>
              </a:rPr>
              <a:t>&amp;</a:t>
            </a:r>
            <a:r>
              <a:rPr kumimoji="1" lang="zh-CN" altLang="en-US" sz="4000" b="1" dirty="0">
                <a:solidFill>
                  <a:srgbClr val="475B7C"/>
                </a:solidFill>
                <a:latin typeface="Times New Roman" panose="02020603050405020304" pitchFamily="18" charset="0"/>
                <a:cs typeface="Times New Roman" panose="02020603050405020304" pitchFamily="18" charset="0"/>
              </a:rPr>
              <a:t> </a:t>
            </a:r>
            <a:r>
              <a:rPr kumimoji="1" lang="en-US" altLang="zh-CN" sz="4000" b="1" dirty="0">
                <a:solidFill>
                  <a:srgbClr val="475B7C"/>
                </a:solidFill>
                <a:latin typeface="Times New Roman" panose="02020603050405020304" pitchFamily="18" charset="0"/>
                <a:cs typeface="Times New Roman" panose="02020603050405020304" pitchFamily="18" charset="0"/>
              </a:rPr>
              <a:t>Proxy indicator construction</a:t>
            </a:r>
          </a:p>
        </p:txBody>
      </p:sp>
      <p:pic>
        <p:nvPicPr>
          <p:cNvPr id="15" name="Picture 15"/>
          <p:cNvPicPr>
            <a:picLocks noChangeAspect="1"/>
          </p:cNvPicPr>
          <p:nvPr/>
        </p:nvPicPr>
        <p:blipFill>
          <a:blip r:embed="rId6"/>
          <a:stretch>
            <a:fillRect/>
          </a:stretch>
        </p:blipFill>
        <p:spPr>
          <a:xfrm>
            <a:off x="13119100" y="533400"/>
            <a:ext cx="2540000" cy="101600"/>
          </a:xfrm>
          <a:prstGeom prst="rect">
            <a:avLst/>
          </a:prstGeom>
        </p:spPr>
      </p:pic>
      <p:sp>
        <p:nvSpPr>
          <p:cNvPr id="16" name="AutoShape 16"/>
          <p:cNvSpPr/>
          <p:nvPr/>
        </p:nvSpPr>
        <p:spPr>
          <a:xfrm rot="10800000">
            <a:off x="6057900" y="0"/>
            <a:ext cx="4152900" cy="736600"/>
          </a:xfrm>
          <a:prstGeom prst="rect">
            <a:avLst/>
          </a:prstGeom>
          <a:blipFill>
            <a:blip r:embed="rId7" cstate="print">
              <a:alphaModFix amt="30000"/>
            </a:blip>
            <a:srcRect/>
            <a:stretch>
              <a:fillRect/>
            </a:stretch>
          </a:blipFill>
        </p:spPr>
        <p:txBody>
          <a:bodyPr/>
          <a:lstStyle/>
          <a:p>
            <a:endParaRPr lang="zh-CN" altLang="en-US"/>
          </a:p>
        </p:txBody>
      </p:sp>
      <p:sp>
        <p:nvSpPr>
          <p:cNvPr id="17" name="AutoShape 17"/>
          <p:cNvSpPr/>
          <p:nvPr/>
        </p:nvSpPr>
        <p:spPr>
          <a:xfrm>
            <a:off x="6057900" y="8407400"/>
            <a:ext cx="4152900" cy="736600"/>
          </a:xfrm>
          <a:prstGeom prst="rect">
            <a:avLst/>
          </a:prstGeom>
          <a:blipFill>
            <a:blip r:embed="rId7" cstate="print">
              <a:alphaModFix amt="30000"/>
            </a:blip>
            <a:srcRect/>
            <a:stretch>
              <a:fillRect/>
            </a:stretch>
          </a:blipFill>
        </p:spPr>
        <p:txBody>
          <a:bodyPr/>
          <a:lstStyle/>
          <a:p>
            <a:endParaRPr lang="zh-CN" altLang="en-US"/>
          </a:p>
        </p:txBody>
      </p:sp>
      <p:sp>
        <p:nvSpPr>
          <p:cNvPr id="28" name="physics-formula-of-energy-in-a-square_46164">
            <a:extLst>
              <a:ext uri="{FF2B5EF4-FFF2-40B4-BE49-F238E27FC236}">
                <a16:creationId xmlns:a16="http://schemas.microsoft.com/office/drawing/2014/main" id="{BBC267B2-AE04-274C-B877-63D58B609171}"/>
              </a:ext>
            </a:extLst>
          </p:cNvPr>
          <p:cNvSpPr>
            <a:spLocks noChangeAspect="1"/>
          </p:cNvSpPr>
          <p:nvPr/>
        </p:nvSpPr>
        <p:spPr>
          <a:xfrm>
            <a:off x="3154391" y="2755985"/>
            <a:ext cx="589113" cy="588404"/>
          </a:xfrm>
          <a:custGeom>
            <a:avLst/>
            <a:gdLst>
              <a:gd name="T0" fmla="*/ 0 w 667"/>
              <a:gd name="T1" fmla="*/ 578 h 667"/>
              <a:gd name="T2" fmla="*/ 667 w 667"/>
              <a:gd name="T3" fmla="*/ 88 h 667"/>
              <a:gd name="T4" fmla="*/ 195 w 667"/>
              <a:gd name="T5" fmla="*/ 393 h 667"/>
              <a:gd name="T6" fmla="*/ 107 w 667"/>
              <a:gd name="T7" fmla="*/ 423 h 667"/>
              <a:gd name="T8" fmla="*/ 78 w 667"/>
              <a:gd name="T9" fmla="*/ 364 h 667"/>
              <a:gd name="T10" fmla="*/ 68 w 667"/>
              <a:gd name="T11" fmla="*/ 327 h 667"/>
              <a:gd name="T12" fmla="*/ 77 w 667"/>
              <a:gd name="T13" fmla="*/ 310 h 667"/>
              <a:gd name="T14" fmla="*/ 68 w 667"/>
              <a:gd name="T15" fmla="*/ 274 h 667"/>
              <a:gd name="T16" fmla="*/ 88 w 667"/>
              <a:gd name="T17" fmla="*/ 250 h 667"/>
              <a:gd name="T18" fmla="*/ 126 w 667"/>
              <a:gd name="T19" fmla="*/ 248 h 667"/>
              <a:gd name="T20" fmla="*/ 175 w 667"/>
              <a:gd name="T21" fmla="*/ 244 h 667"/>
              <a:gd name="T22" fmla="*/ 189 w 667"/>
              <a:gd name="T23" fmla="*/ 254 h 667"/>
              <a:gd name="T24" fmla="*/ 148 w 667"/>
              <a:gd name="T25" fmla="*/ 275 h 667"/>
              <a:gd name="T26" fmla="*/ 113 w 667"/>
              <a:gd name="T27" fmla="*/ 278 h 667"/>
              <a:gd name="T28" fmla="*/ 163 w 667"/>
              <a:gd name="T29" fmla="*/ 300 h 667"/>
              <a:gd name="T30" fmla="*/ 187 w 667"/>
              <a:gd name="T31" fmla="*/ 305 h 667"/>
              <a:gd name="T32" fmla="*/ 180 w 667"/>
              <a:gd name="T33" fmla="*/ 320 h 667"/>
              <a:gd name="T34" fmla="*/ 134 w 667"/>
              <a:gd name="T35" fmla="*/ 328 h 667"/>
              <a:gd name="T36" fmla="*/ 109 w 667"/>
              <a:gd name="T37" fmla="*/ 333 h 667"/>
              <a:gd name="T38" fmla="*/ 106 w 667"/>
              <a:gd name="T39" fmla="*/ 382 h 667"/>
              <a:gd name="T40" fmla="*/ 149 w 667"/>
              <a:gd name="T41" fmla="*/ 381 h 667"/>
              <a:gd name="T42" fmla="*/ 213 w 667"/>
              <a:gd name="T43" fmla="*/ 371 h 667"/>
              <a:gd name="T44" fmla="*/ 317 w 667"/>
              <a:gd name="T45" fmla="*/ 386 h 667"/>
              <a:gd name="T46" fmla="*/ 242 w 667"/>
              <a:gd name="T47" fmla="*/ 399 h 667"/>
              <a:gd name="T48" fmla="*/ 232 w 667"/>
              <a:gd name="T49" fmla="*/ 378 h 667"/>
              <a:gd name="T50" fmla="*/ 317 w 667"/>
              <a:gd name="T51" fmla="*/ 385 h 667"/>
              <a:gd name="T52" fmla="*/ 294 w 667"/>
              <a:gd name="T53" fmla="*/ 362 h 667"/>
              <a:gd name="T54" fmla="*/ 234 w 667"/>
              <a:gd name="T55" fmla="*/ 359 h 667"/>
              <a:gd name="T56" fmla="*/ 242 w 667"/>
              <a:gd name="T57" fmla="*/ 333 h 667"/>
              <a:gd name="T58" fmla="*/ 321 w 667"/>
              <a:gd name="T59" fmla="*/ 350 h 667"/>
              <a:gd name="T60" fmla="*/ 456 w 667"/>
              <a:gd name="T61" fmla="*/ 425 h 667"/>
              <a:gd name="T62" fmla="*/ 421 w 667"/>
              <a:gd name="T63" fmla="*/ 385 h 667"/>
              <a:gd name="T64" fmla="*/ 382 w 667"/>
              <a:gd name="T65" fmla="*/ 397 h 667"/>
              <a:gd name="T66" fmla="*/ 351 w 667"/>
              <a:gd name="T67" fmla="*/ 423 h 667"/>
              <a:gd name="T68" fmla="*/ 335 w 667"/>
              <a:gd name="T69" fmla="*/ 412 h 667"/>
              <a:gd name="T70" fmla="*/ 339 w 667"/>
              <a:gd name="T71" fmla="*/ 355 h 667"/>
              <a:gd name="T72" fmla="*/ 367 w 667"/>
              <a:gd name="T73" fmla="*/ 334 h 667"/>
              <a:gd name="T74" fmla="*/ 400 w 667"/>
              <a:gd name="T75" fmla="*/ 379 h 667"/>
              <a:gd name="T76" fmla="*/ 460 w 667"/>
              <a:gd name="T77" fmla="*/ 394 h 667"/>
              <a:gd name="T78" fmla="*/ 512 w 667"/>
              <a:gd name="T79" fmla="*/ 426 h 667"/>
              <a:gd name="T80" fmla="*/ 483 w 667"/>
              <a:gd name="T81" fmla="*/ 362 h 667"/>
              <a:gd name="T82" fmla="*/ 532 w 667"/>
              <a:gd name="T83" fmla="*/ 340 h 667"/>
              <a:gd name="T84" fmla="*/ 502 w 667"/>
              <a:gd name="T85" fmla="*/ 380 h 667"/>
              <a:gd name="T86" fmla="*/ 547 w 667"/>
              <a:gd name="T87" fmla="*/ 388 h 667"/>
              <a:gd name="T88" fmla="*/ 538 w 667"/>
              <a:gd name="T89" fmla="*/ 421 h 667"/>
              <a:gd name="T90" fmla="*/ 575 w 667"/>
              <a:gd name="T91" fmla="*/ 327 h 667"/>
              <a:gd name="T92" fmla="*/ 550 w 667"/>
              <a:gd name="T93" fmla="*/ 312 h 667"/>
              <a:gd name="T94" fmla="*/ 580 w 667"/>
              <a:gd name="T95" fmla="*/ 277 h 667"/>
              <a:gd name="T96" fmla="*/ 559 w 667"/>
              <a:gd name="T97" fmla="*/ 288 h 667"/>
              <a:gd name="T98" fmla="*/ 552 w 667"/>
              <a:gd name="T99" fmla="*/ 285 h 667"/>
              <a:gd name="T100" fmla="*/ 579 w 667"/>
              <a:gd name="T101" fmla="*/ 264 h 667"/>
              <a:gd name="T102" fmla="*/ 580 w 667"/>
              <a:gd name="T103" fmla="*/ 301 h 667"/>
              <a:gd name="T104" fmla="*/ 589 w 667"/>
              <a:gd name="T105" fmla="*/ 315 h 667"/>
              <a:gd name="T106" fmla="*/ 600 w 667"/>
              <a:gd name="T107" fmla="*/ 319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7" h="667">
                <a:moveTo>
                  <a:pt x="578" y="0"/>
                </a:moveTo>
                <a:lnTo>
                  <a:pt x="88" y="0"/>
                </a:lnTo>
                <a:cubicBezTo>
                  <a:pt x="40" y="0"/>
                  <a:pt x="0" y="40"/>
                  <a:pt x="0" y="88"/>
                </a:cubicBezTo>
                <a:lnTo>
                  <a:pt x="0" y="578"/>
                </a:lnTo>
                <a:cubicBezTo>
                  <a:pt x="0" y="627"/>
                  <a:pt x="40" y="667"/>
                  <a:pt x="88" y="667"/>
                </a:cubicBezTo>
                <a:lnTo>
                  <a:pt x="578" y="667"/>
                </a:lnTo>
                <a:cubicBezTo>
                  <a:pt x="627" y="667"/>
                  <a:pt x="667" y="627"/>
                  <a:pt x="667" y="578"/>
                </a:cubicBezTo>
                <a:lnTo>
                  <a:pt x="667" y="88"/>
                </a:lnTo>
                <a:cubicBezTo>
                  <a:pt x="667" y="40"/>
                  <a:pt x="627" y="0"/>
                  <a:pt x="578" y="0"/>
                </a:cubicBezTo>
                <a:close/>
                <a:moveTo>
                  <a:pt x="220" y="383"/>
                </a:moveTo>
                <a:cubicBezTo>
                  <a:pt x="220" y="385"/>
                  <a:pt x="219" y="386"/>
                  <a:pt x="218" y="387"/>
                </a:cubicBezTo>
                <a:cubicBezTo>
                  <a:pt x="216" y="390"/>
                  <a:pt x="208" y="392"/>
                  <a:pt x="195" y="393"/>
                </a:cubicBezTo>
                <a:cubicBezTo>
                  <a:pt x="191" y="393"/>
                  <a:pt x="188" y="393"/>
                  <a:pt x="187" y="393"/>
                </a:cubicBezTo>
                <a:cubicBezTo>
                  <a:pt x="174" y="396"/>
                  <a:pt x="159" y="402"/>
                  <a:pt x="143" y="411"/>
                </a:cubicBezTo>
                <a:lnTo>
                  <a:pt x="141" y="411"/>
                </a:lnTo>
                <a:cubicBezTo>
                  <a:pt x="127" y="419"/>
                  <a:pt x="115" y="423"/>
                  <a:pt x="107" y="423"/>
                </a:cubicBezTo>
                <a:lnTo>
                  <a:pt x="106" y="423"/>
                </a:lnTo>
                <a:lnTo>
                  <a:pt x="104" y="423"/>
                </a:lnTo>
                <a:cubicBezTo>
                  <a:pt x="91" y="422"/>
                  <a:pt x="83" y="409"/>
                  <a:pt x="80" y="386"/>
                </a:cubicBezTo>
                <a:cubicBezTo>
                  <a:pt x="79" y="379"/>
                  <a:pt x="78" y="372"/>
                  <a:pt x="78" y="364"/>
                </a:cubicBezTo>
                <a:cubicBezTo>
                  <a:pt x="78" y="361"/>
                  <a:pt x="78" y="358"/>
                  <a:pt x="78" y="356"/>
                </a:cubicBezTo>
                <a:cubicBezTo>
                  <a:pt x="79" y="350"/>
                  <a:pt x="79" y="344"/>
                  <a:pt x="79" y="337"/>
                </a:cubicBezTo>
                <a:cubicBezTo>
                  <a:pt x="74" y="337"/>
                  <a:pt x="71" y="335"/>
                  <a:pt x="69" y="332"/>
                </a:cubicBezTo>
                <a:cubicBezTo>
                  <a:pt x="68" y="330"/>
                  <a:pt x="68" y="329"/>
                  <a:pt x="68" y="327"/>
                </a:cubicBezTo>
                <a:cubicBezTo>
                  <a:pt x="68" y="327"/>
                  <a:pt x="68" y="326"/>
                  <a:pt x="68" y="326"/>
                </a:cubicBezTo>
                <a:cubicBezTo>
                  <a:pt x="68" y="325"/>
                  <a:pt x="68" y="324"/>
                  <a:pt x="69" y="322"/>
                </a:cubicBezTo>
                <a:cubicBezTo>
                  <a:pt x="70" y="320"/>
                  <a:pt x="71" y="317"/>
                  <a:pt x="74" y="314"/>
                </a:cubicBezTo>
                <a:cubicBezTo>
                  <a:pt x="76" y="312"/>
                  <a:pt x="77" y="311"/>
                  <a:pt x="77" y="310"/>
                </a:cubicBezTo>
                <a:cubicBezTo>
                  <a:pt x="79" y="306"/>
                  <a:pt x="81" y="300"/>
                  <a:pt x="82" y="291"/>
                </a:cubicBezTo>
                <a:cubicBezTo>
                  <a:pt x="83" y="287"/>
                  <a:pt x="83" y="283"/>
                  <a:pt x="84" y="281"/>
                </a:cubicBezTo>
                <a:cubicBezTo>
                  <a:pt x="82" y="281"/>
                  <a:pt x="81" y="281"/>
                  <a:pt x="80" y="281"/>
                </a:cubicBezTo>
                <a:cubicBezTo>
                  <a:pt x="74" y="280"/>
                  <a:pt x="69" y="278"/>
                  <a:pt x="68" y="274"/>
                </a:cubicBezTo>
                <a:cubicBezTo>
                  <a:pt x="67" y="273"/>
                  <a:pt x="67" y="272"/>
                  <a:pt x="67" y="270"/>
                </a:cubicBezTo>
                <a:cubicBezTo>
                  <a:pt x="67" y="270"/>
                  <a:pt x="67" y="269"/>
                  <a:pt x="67" y="269"/>
                </a:cubicBezTo>
                <a:cubicBezTo>
                  <a:pt x="67" y="267"/>
                  <a:pt x="68" y="264"/>
                  <a:pt x="69" y="262"/>
                </a:cubicBezTo>
                <a:cubicBezTo>
                  <a:pt x="72" y="257"/>
                  <a:pt x="78" y="253"/>
                  <a:pt x="88" y="250"/>
                </a:cubicBezTo>
                <a:cubicBezTo>
                  <a:pt x="93" y="249"/>
                  <a:pt x="97" y="247"/>
                  <a:pt x="99" y="246"/>
                </a:cubicBezTo>
                <a:cubicBezTo>
                  <a:pt x="105" y="242"/>
                  <a:pt x="109" y="240"/>
                  <a:pt x="113" y="240"/>
                </a:cubicBezTo>
                <a:cubicBezTo>
                  <a:pt x="113" y="240"/>
                  <a:pt x="114" y="240"/>
                  <a:pt x="114" y="241"/>
                </a:cubicBezTo>
                <a:cubicBezTo>
                  <a:pt x="117" y="241"/>
                  <a:pt x="122" y="243"/>
                  <a:pt x="126" y="248"/>
                </a:cubicBezTo>
                <a:cubicBezTo>
                  <a:pt x="128" y="249"/>
                  <a:pt x="130" y="250"/>
                  <a:pt x="133" y="250"/>
                </a:cubicBezTo>
                <a:cubicBezTo>
                  <a:pt x="134" y="250"/>
                  <a:pt x="135" y="251"/>
                  <a:pt x="136" y="251"/>
                </a:cubicBezTo>
                <a:cubicBezTo>
                  <a:pt x="142" y="251"/>
                  <a:pt x="148" y="250"/>
                  <a:pt x="156" y="247"/>
                </a:cubicBezTo>
                <a:cubicBezTo>
                  <a:pt x="165" y="245"/>
                  <a:pt x="171" y="244"/>
                  <a:pt x="175" y="244"/>
                </a:cubicBezTo>
                <a:cubicBezTo>
                  <a:pt x="176" y="244"/>
                  <a:pt x="177" y="244"/>
                  <a:pt x="177" y="245"/>
                </a:cubicBezTo>
                <a:lnTo>
                  <a:pt x="178" y="245"/>
                </a:lnTo>
                <a:cubicBezTo>
                  <a:pt x="184" y="245"/>
                  <a:pt x="188" y="248"/>
                  <a:pt x="189" y="252"/>
                </a:cubicBezTo>
                <a:cubicBezTo>
                  <a:pt x="189" y="253"/>
                  <a:pt x="189" y="253"/>
                  <a:pt x="189" y="254"/>
                </a:cubicBezTo>
                <a:cubicBezTo>
                  <a:pt x="189" y="255"/>
                  <a:pt x="189" y="255"/>
                  <a:pt x="189" y="255"/>
                </a:cubicBezTo>
                <a:cubicBezTo>
                  <a:pt x="189" y="257"/>
                  <a:pt x="188" y="258"/>
                  <a:pt x="187" y="260"/>
                </a:cubicBezTo>
                <a:cubicBezTo>
                  <a:pt x="186" y="263"/>
                  <a:pt x="183" y="265"/>
                  <a:pt x="181" y="267"/>
                </a:cubicBezTo>
                <a:cubicBezTo>
                  <a:pt x="173" y="272"/>
                  <a:pt x="163" y="275"/>
                  <a:pt x="148" y="275"/>
                </a:cubicBezTo>
                <a:cubicBezTo>
                  <a:pt x="147" y="275"/>
                  <a:pt x="146" y="275"/>
                  <a:pt x="144" y="275"/>
                </a:cubicBezTo>
                <a:cubicBezTo>
                  <a:pt x="143" y="275"/>
                  <a:pt x="141" y="275"/>
                  <a:pt x="138" y="274"/>
                </a:cubicBezTo>
                <a:cubicBezTo>
                  <a:pt x="134" y="274"/>
                  <a:pt x="131" y="274"/>
                  <a:pt x="128" y="274"/>
                </a:cubicBezTo>
                <a:cubicBezTo>
                  <a:pt x="120" y="274"/>
                  <a:pt x="115" y="275"/>
                  <a:pt x="113" y="278"/>
                </a:cubicBezTo>
                <a:cubicBezTo>
                  <a:pt x="111" y="282"/>
                  <a:pt x="110" y="288"/>
                  <a:pt x="109" y="296"/>
                </a:cubicBezTo>
                <a:cubicBezTo>
                  <a:pt x="109" y="297"/>
                  <a:pt x="109" y="299"/>
                  <a:pt x="108" y="301"/>
                </a:cubicBezTo>
                <a:cubicBezTo>
                  <a:pt x="108" y="302"/>
                  <a:pt x="108" y="303"/>
                  <a:pt x="108" y="304"/>
                </a:cubicBezTo>
                <a:cubicBezTo>
                  <a:pt x="128" y="301"/>
                  <a:pt x="146" y="300"/>
                  <a:pt x="163" y="300"/>
                </a:cubicBezTo>
                <a:cubicBezTo>
                  <a:pt x="163" y="300"/>
                  <a:pt x="164" y="300"/>
                  <a:pt x="166" y="300"/>
                </a:cubicBezTo>
                <a:cubicBezTo>
                  <a:pt x="167" y="300"/>
                  <a:pt x="169" y="300"/>
                  <a:pt x="171" y="300"/>
                </a:cubicBezTo>
                <a:cubicBezTo>
                  <a:pt x="173" y="300"/>
                  <a:pt x="175" y="300"/>
                  <a:pt x="177" y="300"/>
                </a:cubicBezTo>
                <a:cubicBezTo>
                  <a:pt x="182" y="301"/>
                  <a:pt x="185" y="302"/>
                  <a:pt x="187" y="305"/>
                </a:cubicBezTo>
                <a:cubicBezTo>
                  <a:pt x="188" y="306"/>
                  <a:pt x="189" y="308"/>
                  <a:pt x="189" y="309"/>
                </a:cubicBezTo>
                <a:lnTo>
                  <a:pt x="189" y="310"/>
                </a:lnTo>
                <a:cubicBezTo>
                  <a:pt x="189" y="310"/>
                  <a:pt x="189" y="311"/>
                  <a:pt x="188" y="311"/>
                </a:cubicBezTo>
                <a:cubicBezTo>
                  <a:pt x="187" y="315"/>
                  <a:pt x="184" y="318"/>
                  <a:pt x="180" y="320"/>
                </a:cubicBezTo>
                <a:cubicBezTo>
                  <a:pt x="176" y="323"/>
                  <a:pt x="173" y="324"/>
                  <a:pt x="170" y="325"/>
                </a:cubicBezTo>
                <a:cubicBezTo>
                  <a:pt x="163" y="327"/>
                  <a:pt x="153" y="328"/>
                  <a:pt x="139" y="328"/>
                </a:cubicBezTo>
                <a:lnTo>
                  <a:pt x="138" y="328"/>
                </a:lnTo>
                <a:lnTo>
                  <a:pt x="134" y="328"/>
                </a:lnTo>
                <a:cubicBezTo>
                  <a:pt x="133" y="328"/>
                  <a:pt x="131" y="328"/>
                  <a:pt x="129" y="327"/>
                </a:cubicBezTo>
                <a:cubicBezTo>
                  <a:pt x="127" y="327"/>
                  <a:pt x="125" y="327"/>
                  <a:pt x="123" y="327"/>
                </a:cubicBezTo>
                <a:cubicBezTo>
                  <a:pt x="121" y="327"/>
                  <a:pt x="119" y="327"/>
                  <a:pt x="118" y="328"/>
                </a:cubicBezTo>
                <a:cubicBezTo>
                  <a:pt x="113" y="328"/>
                  <a:pt x="110" y="330"/>
                  <a:pt x="109" y="333"/>
                </a:cubicBezTo>
                <a:cubicBezTo>
                  <a:pt x="106" y="337"/>
                  <a:pt x="105" y="344"/>
                  <a:pt x="104" y="353"/>
                </a:cubicBezTo>
                <a:lnTo>
                  <a:pt x="103" y="355"/>
                </a:lnTo>
                <a:cubicBezTo>
                  <a:pt x="103" y="358"/>
                  <a:pt x="103" y="362"/>
                  <a:pt x="103" y="365"/>
                </a:cubicBezTo>
                <a:cubicBezTo>
                  <a:pt x="103" y="372"/>
                  <a:pt x="104" y="377"/>
                  <a:pt x="106" y="382"/>
                </a:cubicBezTo>
                <a:cubicBezTo>
                  <a:pt x="107" y="385"/>
                  <a:pt x="110" y="388"/>
                  <a:pt x="113" y="388"/>
                </a:cubicBezTo>
                <a:cubicBezTo>
                  <a:pt x="113" y="389"/>
                  <a:pt x="114" y="389"/>
                  <a:pt x="115" y="389"/>
                </a:cubicBezTo>
                <a:cubicBezTo>
                  <a:pt x="116" y="389"/>
                  <a:pt x="117" y="389"/>
                  <a:pt x="118" y="389"/>
                </a:cubicBezTo>
                <a:cubicBezTo>
                  <a:pt x="125" y="389"/>
                  <a:pt x="135" y="386"/>
                  <a:pt x="149" y="381"/>
                </a:cubicBezTo>
                <a:cubicBezTo>
                  <a:pt x="153" y="380"/>
                  <a:pt x="156" y="379"/>
                  <a:pt x="158" y="378"/>
                </a:cubicBezTo>
                <a:cubicBezTo>
                  <a:pt x="174" y="372"/>
                  <a:pt x="188" y="370"/>
                  <a:pt x="199" y="370"/>
                </a:cubicBezTo>
                <a:cubicBezTo>
                  <a:pt x="202" y="370"/>
                  <a:pt x="204" y="370"/>
                  <a:pt x="207" y="370"/>
                </a:cubicBezTo>
                <a:cubicBezTo>
                  <a:pt x="209" y="370"/>
                  <a:pt x="211" y="371"/>
                  <a:pt x="213" y="371"/>
                </a:cubicBezTo>
                <a:cubicBezTo>
                  <a:pt x="216" y="372"/>
                  <a:pt x="218" y="374"/>
                  <a:pt x="219" y="378"/>
                </a:cubicBezTo>
                <a:cubicBezTo>
                  <a:pt x="220" y="379"/>
                  <a:pt x="220" y="381"/>
                  <a:pt x="220" y="382"/>
                </a:cubicBezTo>
                <a:cubicBezTo>
                  <a:pt x="220" y="383"/>
                  <a:pt x="220" y="383"/>
                  <a:pt x="220" y="383"/>
                </a:cubicBezTo>
                <a:close/>
                <a:moveTo>
                  <a:pt x="317" y="386"/>
                </a:moveTo>
                <a:cubicBezTo>
                  <a:pt x="316" y="389"/>
                  <a:pt x="313" y="393"/>
                  <a:pt x="307" y="396"/>
                </a:cubicBezTo>
                <a:cubicBezTo>
                  <a:pt x="302" y="399"/>
                  <a:pt x="297" y="401"/>
                  <a:pt x="292" y="401"/>
                </a:cubicBezTo>
                <a:lnTo>
                  <a:pt x="291" y="401"/>
                </a:lnTo>
                <a:cubicBezTo>
                  <a:pt x="280" y="400"/>
                  <a:pt x="264" y="399"/>
                  <a:pt x="242" y="399"/>
                </a:cubicBezTo>
                <a:cubicBezTo>
                  <a:pt x="235" y="399"/>
                  <a:pt x="231" y="398"/>
                  <a:pt x="228" y="395"/>
                </a:cubicBezTo>
                <a:cubicBezTo>
                  <a:pt x="226" y="394"/>
                  <a:pt x="225" y="391"/>
                  <a:pt x="225" y="389"/>
                </a:cubicBezTo>
                <a:lnTo>
                  <a:pt x="225" y="389"/>
                </a:lnTo>
                <a:cubicBezTo>
                  <a:pt x="225" y="385"/>
                  <a:pt x="227" y="381"/>
                  <a:pt x="232" y="378"/>
                </a:cubicBezTo>
                <a:cubicBezTo>
                  <a:pt x="236" y="374"/>
                  <a:pt x="242" y="372"/>
                  <a:pt x="249" y="372"/>
                </a:cubicBezTo>
                <a:lnTo>
                  <a:pt x="264" y="372"/>
                </a:lnTo>
                <a:cubicBezTo>
                  <a:pt x="283" y="372"/>
                  <a:pt x="298" y="373"/>
                  <a:pt x="308" y="376"/>
                </a:cubicBezTo>
                <a:cubicBezTo>
                  <a:pt x="314" y="378"/>
                  <a:pt x="317" y="381"/>
                  <a:pt x="317" y="385"/>
                </a:cubicBezTo>
                <a:cubicBezTo>
                  <a:pt x="317" y="385"/>
                  <a:pt x="317" y="385"/>
                  <a:pt x="317" y="386"/>
                </a:cubicBezTo>
                <a:close/>
                <a:moveTo>
                  <a:pt x="321" y="351"/>
                </a:moveTo>
                <a:cubicBezTo>
                  <a:pt x="321" y="355"/>
                  <a:pt x="318" y="358"/>
                  <a:pt x="310" y="360"/>
                </a:cubicBezTo>
                <a:cubicBezTo>
                  <a:pt x="306" y="361"/>
                  <a:pt x="300" y="362"/>
                  <a:pt x="294" y="362"/>
                </a:cubicBezTo>
                <a:cubicBezTo>
                  <a:pt x="289" y="362"/>
                  <a:pt x="281" y="361"/>
                  <a:pt x="271" y="360"/>
                </a:cubicBezTo>
                <a:cubicBezTo>
                  <a:pt x="262" y="359"/>
                  <a:pt x="255" y="359"/>
                  <a:pt x="251" y="359"/>
                </a:cubicBezTo>
                <a:cubicBezTo>
                  <a:pt x="250" y="359"/>
                  <a:pt x="248" y="359"/>
                  <a:pt x="245" y="359"/>
                </a:cubicBezTo>
                <a:cubicBezTo>
                  <a:pt x="240" y="359"/>
                  <a:pt x="237" y="359"/>
                  <a:pt x="234" y="359"/>
                </a:cubicBezTo>
                <a:cubicBezTo>
                  <a:pt x="226" y="359"/>
                  <a:pt x="220" y="358"/>
                  <a:pt x="218" y="354"/>
                </a:cubicBezTo>
                <a:cubicBezTo>
                  <a:pt x="217" y="353"/>
                  <a:pt x="216" y="351"/>
                  <a:pt x="216" y="349"/>
                </a:cubicBezTo>
                <a:cubicBezTo>
                  <a:pt x="216" y="348"/>
                  <a:pt x="217" y="346"/>
                  <a:pt x="218" y="344"/>
                </a:cubicBezTo>
                <a:cubicBezTo>
                  <a:pt x="221" y="337"/>
                  <a:pt x="229" y="333"/>
                  <a:pt x="242" y="333"/>
                </a:cubicBezTo>
                <a:lnTo>
                  <a:pt x="258" y="333"/>
                </a:lnTo>
                <a:cubicBezTo>
                  <a:pt x="275" y="333"/>
                  <a:pt x="288" y="334"/>
                  <a:pt x="297" y="335"/>
                </a:cubicBezTo>
                <a:cubicBezTo>
                  <a:pt x="302" y="335"/>
                  <a:pt x="306" y="337"/>
                  <a:pt x="312" y="340"/>
                </a:cubicBezTo>
                <a:cubicBezTo>
                  <a:pt x="318" y="343"/>
                  <a:pt x="321" y="347"/>
                  <a:pt x="321" y="350"/>
                </a:cubicBezTo>
                <a:lnTo>
                  <a:pt x="321" y="351"/>
                </a:lnTo>
                <a:lnTo>
                  <a:pt x="321" y="351"/>
                </a:lnTo>
                <a:close/>
                <a:moveTo>
                  <a:pt x="461" y="426"/>
                </a:moveTo>
                <a:cubicBezTo>
                  <a:pt x="459" y="426"/>
                  <a:pt x="458" y="425"/>
                  <a:pt x="456" y="425"/>
                </a:cubicBezTo>
                <a:cubicBezTo>
                  <a:pt x="449" y="423"/>
                  <a:pt x="444" y="420"/>
                  <a:pt x="442" y="416"/>
                </a:cubicBezTo>
                <a:cubicBezTo>
                  <a:pt x="438" y="412"/>
                  <a:pt x="435" y="404"/>
                  <a:pt x="433" y="394"/>
                </a:cubicBezTo>
                <a:cubicBezTo>
                  <a:pt x="430" y="383"/>
                  <a:pt x="427" y="375"/>
                  <a:pt x="425" y="371"/>
                </a:cubicBezTo>
                <a:cubicBezTo>
                  <a:pt x="425" y="371"/>
                  <a:pt x="423" y="376"/>
                  <a:pt x="421" y="385"/>
                </a:cubicBezTo>
                <a:cubicBezTo>
                  <a:pt x="419" y="393"/>
                  <a:pt x="417" y="399"/>
                  <a:pt x="415" y="403"/>
                </a:cubicBezTo>
                <a:cubicBezTo>
                  <a:pt x="409" y="418"/>
                  <a:pt x="402" y="426"/>
                  <a:pt x="395" y="426"/>
                </a:cubicBezTo>
                <a:lnTo>
                  <a:pt x="395" y="426"/>
                </a:lnTo>
                <a:cubicBezTo>
                  <a:pt x="389" y="426"/>
                  <a:pt x="385" y="417"/>
                  <a:pt x="382" y="397"/>
                </a:cubicBezTo>
                <a:cubicBezTo>
                  <a:pt x="379" y="384"/>
                  <a:pt x="378" y="377"/>
                  <a:pt x="378" y="377"/>
                </a:cubicBezTo>
                <a:cubicBezTo>
                  <a:pt x="377" y="371"/>
                  <a:pt x="376" y="368"/>
                  <a:pt x="374" y="368"/>
                </a:cubicBezTo>
                <a:cubicBezTo>
                  <a:pt x="374" y="368"/>
                  <a:pt x="369" y="381"/>
                  <a:pt x="360" y="407"/>
                </a:cubicBezTo>
                <a:cubicBezTo>
                  <a:pt x="357" y="415"/>
                  <a:pt x="354" y="420"/>
                  <a:pt x="351" y="423"/>
                </a:cubicBezTo>
                <a:cubicBezTo>
                  <a:pt x="349" y="424"/>
                  <a:pt x="347" y="425"/>
                  <a:pt x="345" y="425"/>
                </a:cubicBezTo>
                <a:cubicBezTo>
                  <a:pt x="342" y="425"/>
                  <a:pt x="338" y="424"/>
                  <a:pt x="335" y="421"/>
                </a:cubicBezTo>
                <a:lnTo>
                  <a:pt x="335" y="421"/>
                </a:lnTo>
                <a:cubicBezTo>
                  <a:pt x="335" y="421"/>
                  <a:pt x="335" y="418"/>
                  <a:pt x="335" y="412"/>
                </a:cubicBezTo>
                <a:cubicBezTo>
                  <a:pt x="335" y="404"/>
                  <a:pt x="335" y="390"/>
                  <a:pt x="334" y="371"/>
                </a:cubicBezTo>
                <a:lnTo>
                  <a:pt x="334" y="371"/>
                </a:lnTo>
                <a:cubicBezTo>
                  <a:pt x="334" y="368"/>
                  <a:pt x="335" y="366"/>
                  <a:pt x="337" y="363"/>
                </a:cubicBezTo>
                <a:cubicBezTo>
                  <a:pt x="338" y="360"/>
                  <a:pt x="339" y="357"/>
                  <a:pt x="339" y="355"/>
                </a:cubicBezTo>
                <a:cubicBezTo>
                  <a:pt x="339" y="351"/>
                  <a:pt x="341" y="349"/>
                  <a:pt x="346" y="349"/>
                </a:cubicBezTo>
                <a:cubicBezTo>
                  <a:pt x="351" y="349"/>
                  <a:pt x="354" y="349"/>
                  <a:pt x="354" y="349"/>
                </a:cubicBezTo>
                <a:cubicBezTo>
                  <a:pt x="355" y="347"/>
                  <a:pt x="358" y="345"/>
                  <a:pt x="360" y="341"/>
                </a:cubicBezTo>
                <a:cubicBezTo>
                  <a:pt x="363" y="338"/>
                  <a:pt x="365" y="336"/>
                  <a:pt x="367" y="334"/>
                </a:cubicBezTo>
                <a:cubicBezTo>
                  <a:pt x="369" y="332"/>
                  <a:pt x="372" y="331"/>
                  <a:pt x="375" y="331"/>
                </a:cubicBezTo>
                <a:cubicBezTo>
                  <a:pt x="377" y="331"/>
                  <a:pt x="380" y="332"/>
                  <a:pt x="383" y="333"/>
                </a:cubicBezTo>
                <a:cubicBezTo>
                  <a:pt x="387" y="336"/>
                  <a:pt x="390" y="343"/>
                  <a:pt x="394" y="355"/>
                </a:cubicBezTo>
                <a:cubicBezTo>
                  <a:pt x="398" y="371"/>
                  <a:pt x="400" y="379"/>
                  <a:pt x="400" y="379"/>
                </a:cubicBezTo>
                <a:cubicBezTo>
                  <a:pt x="401" y="378"/>
                  <a:pt x="404" y="368"/>
                  <a:pt x="409" y="350"/>
                </a:cubicBezTo>
                <a:cubicBezTo>
                  <a:pt x="413" y="337"/>
                  <a:pt x="417" y="330"/>
                  <a:pt x="423" y="327"/>
                </a:cubicBezTo>
                <a:cubicBezTo>
                  <a:pt x="435" y="329"/>
                  <a:pt x="444" y="342"/>
                  <a:pt x="452" y="365"/>
                </a:cubicBezTo>
                <a:cubicBezTo>
                  <a:pt x="454" y="371"/>
                  <a:pt x="457" y="381"/>
                  <a:pt x="460" y="394"/>
                </a:cubicBezTo>
                <a:cubicBezTo>
                  <a:pt x="463" y="406"/>
                  <a:pt x="466" y="413"/>
                  <a:pt x="467" y="418"/>
                </a:cubicBezTo>
                <a:cubicBezTo>
                  <a:pt x="467" y="423"/>
                  <a:pt x="465" y="426"/>
                  <a:pt x="461" y="426"/>
                </a:cubicBezTo>
                <a:close/>
                <a:moveTo>
                  <a:pt x="538" y="421"/>
                </a:moveTo>
                <a:cubicBezTo>
                  <a:pt x="528" y="424"/>
                  <a:pt x="520" y="426"/>
                  <a:pt x="512" y="426"/>
                </a:cubicBezTo>
                <a:cubicBezTo>
                  <a:pt x="501" y="426"/>
                  <a:pt x="491" y="422"/>
                  <a:pt x="485" y="413"/>
                </a:cubicBezTo>
                <a:cubicBezTo>
                  <a:pt x="480" y="407"/>
                  <a:pt x="478" y="398"/>
                  <a:pt x="478" y="389"/>
                </a:cubicBezTo>
                <a:lnTo>
                  <a:pt x="478" y="387"/>
                </a:lnTo>
                <a:cubicBezTo>
                  <a:pt x="478" y="378"/>
                  <a:pt x="479" y="370"/>
                  <a:pt x="483" y="362"/>
                </a:cubicBezTo>
                <a:cubicBezTo>
                  <a:pt x="486" y="353"/>
                  <a:pt x="491" y="345"/>
                  <a:pt x="497" y="340"/>
                </a:cubicBezTo>
                <a:cubicBezTo>
                  <a:pt x="504" y="334"/>
                  <a:pt x="511" y="331"/>
                  <a:pt x="518" y="331"/>
                </a:cubicBezTo>
                <a:lnTo>
                  <a:pt x="519" y="331"/>
                </a:lnTo>
                <a:cubicBezTo>
                  <a:pt x="526" y="331"/>
                  <a:pt x="530" y="334"/>
                  <a:pt x="532" y="340"/>
                </a:cubicBezTo>
                <a:cubicBezTo>
                  <a:pt x="533" y="341"/>
                  <a:pt x="533" y="343"/>
                  <a:pt x="533" y="344"/>
                </a:cubicBezTo>
                <a:cubicBezTo>
                  <a:pt x="533" y="348"/>
                  <a:pt x="531" y="351"/>
                  <a:pt x="526" y="354"/>
                </a:cubicBezTo>
                <a:cubicBezTo>
                  <a:pt x="516" y="360"/>
                  <a:pt x="510" y="364"/>
                  <a:pt x="508" y="367"/>
                </a:cubicBezTo>
                <a:cubicBezTo>
                  <a:pt x="504" y="371"/>
                  <a:pt x="502" y="375"/>
                  <a:pt x="502" y="380"/>
                </a:cubicBezTo>
                <a:cubicBezTo>
                  <a:pt x="502" y="383"/>
                  <a:pt x="502" y="386"/>
                  <a:pt x="503" y="388"/>
                </a:cubicBezTo>
                <a:cubicBezTo>
                  <a:pt x="505" y="395"/>
                  <a:pt x="510" y="398"/>
                  <a:pt x="517" y="398"/>
                </a:cubicBezTo>
                <a:cubicBezTo>
                  <a:pt x="518" y="398"/>
                  <a:pt x="519" y="398"/>
                  <a:pt x="520" y="398"/>
                </a:cubicBezTo>
                <a:cubicBezTo>
                  <a:pt x="526" y="397"/>
                  <a:pt x="535" y="394"/>
                  <a:pt x="547" y="388"/>
                </a:cubicBezTo>
                <a:cubicBezTo>
                  <a:pt x="560" y="382"/>
                  <a:pt x="568" y="379"/>
                  <a:pt x="572" y="378"/>
                </a:cubicBezTo>
                <a:cubicBezTo>
                  <a:pt x="574" y="378"/>
                  <a:pt x="575" y="378"/>
                  <a:pt x="576" y="378"/>
                </a:cubicBezTo>
                <a:cubicBezTo>
                  <a:pt x="581" y="378"/>
                  <a:pt x="584" y="381"/>
                  <a:pt x="584" y="387"/>
                </a:cubicBezTo>
                <a:cubicBezTo>
                  <a:pt x="582" y="398"/>
                  <a:pt x="567" y="410"/>
                  <a:pt x="538" y="421"/>
                </a:cubicBezTo>
                <a:close/>
                <a:moveTo>
                  <a:pt x="600" y="322"/>
                </a:moveTo>
                <a:cubicBezTo>
                  <a:pt x="599" y="324"/>
                  <a:pt x="597" y="325"/>
                  <a:pt x="594" y="326"/>
                </a:cubicBezTo>
                <a:cubicBezTo>
                  <a:pt x="592" y="326"/>
                  <a:pt x="590" y="326"/>
                  <a:pt x="587" y="327"/>
                </a:cubicBezTo>
                <a:cubicBezTo>
                  <a:pt x="583" y="327"/>
                  <a:pt x="579" y="327"/>
                  <a:pt x="575" y="327"/>
                </a:cubicBezTo>
                <a:cubicBezTo>
                  <a:pt x="569" y="327"/>
                  <a:pt x="562" y="327"/>
                  <a:pt x="554" y="326"/>
                </a:cubicBezTo>
                <a:cubicBezTo>
                  <a:pt x="549" y="325"/>
                  <a:pt x="547" y="323"/>
                  <a:pt x="546" y="321"/>
                </a:cubicBezTo>
                <a:cubicBezTo>
                  <a:pt x="546" y="320"/>
                  <a:pt x="546" y="319"/>
                  <a:pt x="546" y="319"/>
                </a:cubicBezTo>
                <a:cubicBezTo>
                  <a:pt x="546" y="316"/>
                  <a:pt x="547" y="314"/>
                  <a:pt x="550" y="312"/>
                </a:cubicBezTo>
                <a:cubicBezTo>
                  <a:pt x="563" y="303"/>
                  <a:pt x="573" y="294"/>
                  <a:pt x="580" y="284"/>
                </a:cubicBezTo>
                <a:cubicBezTo>
                  <a:pt x="581" y="283"/>
                  <a:pt x="581" y="281"/>
                  <a:pt x="582" y="280"/>
                </a:cubicBezTo>
                <a:lnTo>
                  <a:pt x="582" y="280"/>
                </a:lnTo>
                <a:cubicBezTo>
                  <a:pt x="582" y="278"/>
                  <a:pt x="581" y="277"/>
                  <a:pt x="580" y="277"/>
                </a:cubicBezTo>
                <a:cubicBezTo>
                  <a:pt x="579" y="276"/>
                  <a:pt x="578" y="275"/>
                  <a:pt x="576" y="275"/>
                </a:cubicBezTo>
                <a:cubicBezTo>
                  <a:pt x="575" y="275"/>
                  <a:pt x="573" y="275"/>
                  <a:pt x="572" y="276"/>
                </a:cubicBezTo>
                <a:cubicBezTo>
                  <a:pt x="568" y="277"/>
                  <a:pt x="564" y="281"/>
                  <a:pt x="561" y="286"/>
                </a:cubicBezTo>
                <a:cubicBezTo>
                  <a:pt x="561" y="287"/>
                  <a:pt x="560" y="288"/>
                  <a:pt x="559" y="288"/>
                </a:cubicBezTo>
                <a:cubicBezTo>
                  <a:pt x="558" y="289"/>
                  <a:pt x="557" y="289"/>
                  <a:pt x="556" y="289"/>
                </a:cubicBezTo>
                <a:cubicBezTo>
                  <a:pt x="556" y="289"/>
                  <a:pt x="556" y="289"/>
                  <a:pt x="556" y="289"/>
                </a:cubicBezTo>
                <a:cubicBezTo>
                  <a:pt x="554" y="289"/>
                  <a:pt x="553" y="288"/>
                  <a:pt x="553" y="287"/>
                </a:cubicBezTo>
                <a:cubicBezTo>
                  <a:pt x="552" y="287"/>
                  <a:pt x="552" y="286"/>
                  <a:pt x="552" y="285"/>
                </a:cubicBezTo>
                <a:cubicBezTo>
                  <a:pt x="552" y="285"/>
                  <a:pt x="552" y="285"/>
                  <a:pt x="552" y="284"/>
                </a:cubicBezTo>
                <a:cubicBezTo>
                  <a:pt x="553" y="278"/>
                  <a:pt x="556" y="274"/>
                  <a:pt x="562" y="270"/>
                </a:cubicBezTo>
                <a:cubicBezTo>
                  <a:pt x="567" y="266"/>
                  <a:pt x="573" y="264"/>
                  <a:pt x="579" y="264"/>
                </a:cubicBezTo>
                <a:lnTo>
                  <a:pt x="579" y="264"/>
                </a:lnTo>
                <a:cubicBezTo>
                  <a:pt x="585" y="264"/>
                  <a:pt x="589" y="266"/>
                  <a:pt x="592" y="271"/>
                </a:cubicBezTo>
                <a:cubicBezTo>
                  <a:pt x="593" y="273"/>
                  <a:pt x="594" y="276"/>
                  <a:pt x="594" y="278"/>
                </a:cubicBezTo>
                <a:cubicBezTo>
                  <a:pt x="594" y="280"/>
                  <a:pt x="593" y="283"/>
                  <a:pt x="593" y="285"/>
                </a:cubicBezTo>
                <a:cubicBezTo>
                  <a:pt x="590" y="290"/>
                  <a:pt x="586" y="296"/>
                  <a:pt x="580" y="301"/>
                </a:cubicBezTo>
                <a:cubicBezTo>
                  <a:pt x="572" y="308"/>
                  <a:pt x="567" y="313"/>
                  <a:pt x="565" y="314"/>
                </a:cubicBezTo>
                <a:cubicBezTo>
                  <a:pt x="572" y="315"/>
                  <a:pt x="578" y="316"/>
                  <a:pt x="582" y="316"/>
                </a:cubicBezTo>
                <a:lnTo>
                  <a:pt x="582" y="316"/>
                </a:lnTo>
                <a:cubicBezTo>
                  <a:pt x="583" y="316"/>
                  <a:pt x="585" y="316"/>
                  <a:pt x="589" y="315"/>
                </a:cubicBezTo>
                <a:cubicBezTo>
                  <a:pt x="591" y="315"/>
                  <a:pt x="592" y="315"/>
                  <a:pt x="594" y="315"/>
                </a:cubicBezTo>
                <a:cubicBezTo>
                  <a:pt x="594" y="315"/>
                  <a:pt x="595" y="315"/>
                  <a:pt x="596" y="315"/>
                </a:cubicBezTo>
                <a:cubicBezTo>
                  <a:pt x="598" y="315"/>
                  <a:pt x="599" y="316"/>
                  <a:pt x="600" y="317"/>
                </a:cubicBezTo>
                <a:cubicBezTo>
                  <a:pt x="600" y="318"/>
                  <a:pt x="600" y="318"/>
                  <a:pt x="600" y="319"/>
                </a:cubicBezTo>
                <a:cubicBezTo>
                  <a:pt x="600" y="320"/>
                  <a:pt x="600" y="321"/>
                  <a:pt x="600" y="322"/>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文本框 30">
            <a:extLst>
              <a:ext uri="{FF2B5EF4-FFF2-40B4-BE49-F238E27FC236}">
                <a16:creationId xmlns:a16="http://schemas.microsoft.com/office/drawing/2014/main" id="{49C6851D-0B8E-1C42-8D96-2649D4037A72}"/>
              </a:ext>
            </a:extLst>
          </p:cNvPr>
          <p:cNvSpPr txBox="1"/>
          <p:nvPr/>
        </p:nvSpPr>
        <p:spPr>
          <a:xfrm>
            <a:off x="5262113" y="1579153"/>
            <a:ext cx="1314210" cy="400110"/>
          </a:xfrm>
          <a:prstGeom prst="rect">
            <a:avLst/>
          </a:prstGeom>
          <a:noFill/>
        </p:spPr>
        <p:txBody>
          <a:bodyPr wrap="square" rtlCol="0">
            <a:spAutoFit/>
          </a:bodyPr>
          <a:lstStyle/>
          <a:p>
            <a:r>
              <a:rPr kumimoji="1" lang="en-US" altLang="zh-CN" sz="2000" b="1" dirty="0">
                <a:latin typeface="Times New Roman" panose="02020603050405020304" pitchFamily="18" charset="0"/>
                <a:cs typeface="Times New Roman" panose="02020603050405020304" pitchFamily="18" charset="0"/>
              </a:rPr>
              <a:t>RSRS</a:t>
            </a:r>
            <a:endParaRPr kumimoji="1" lang="zh-CN" altLang="en-US" b="1" dirty="0">
              <a:latin typeface="Times New Roman" panose="02020603050405020304" pitchFamily="18" charset="0"/>
              <a:cs typeface="Times New Roman" panose="02020603050405020304" pitchFamily="18" charset="0"/>
            </a:endParaRPr>
          </a:p>
        </p:txBody>
      </p:sp>
      <p:sp>
        <p:nvSpPr>
          <p:cNvPr id="37" name="圆角矩形 36">
            <a:extLst>
              <a:ext uri="{FF2B5EF4-FFF2-40B4-BE49-F238E27FC236}">
                <a16:creationId xmlns:a16="http://schemas.microsoft.com/office/drawing/2014/main" id="{09FED13B-7FAA-6740-B506-F4A9CCBA1AA8}"/>
              </a:ext>
            </a:extLst>
          </p:cNvPr>
          <p:cNvSpPr/>
          <p:nvPr/>
        </p:nvSpPr>
        <p:spPr>
          <a:xfrm>
            <a:off x="1104181" y="1820910"/>
            <a:ext cx="399300" cy="6586490"/>
          </a:xfrm>
          <a:prstGeom prst="roundRect">
            <a:avLst/>
          </a:prstGeom>
          <a:solidFill>
            <a:srgbClr val="475B7C"/>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39" name="直线连接符 38">
            <a:extLst>
              <a:ext uri="{FF2B5EF4-FFF2-40B4-BE49-F238E27FC236}">
                <a16:creationId xmlns:a16="http://schemas.microsoft.com/office/drawing/2014/main" id="{7BD0E342-58E4-1A45-A371-648F63364019}"/>
              </a:ext>
            </a:extLst>
          </p:cNvPr>
          <p:cNvCxnSpPr/>
          <p:nvPr/>
        </p:nvCxnSpPr>
        <p:spPr>
          <a:xfrm>
            <a:off x="5037826" y="1779208"/>
            <a:ext cx="0" cy="6796141"/>
          </a:xfrm>
          <a:prstGeom prst="line">
            <a:avLst/>
          </a:prstGeom>
          <a:ln w="15875">
            <a:headEnd type="triangle"/>
            <a:tailEnd type="triangle"/>
          </a:ln>
        </p:spPr>
        <p:style>
          <a:lnRef idx="1">
            <a:schemeClr val="accent1"/>
          </a:lnRef>
          <a:fillRef idx="0">
            <a:schemeClr val="accent1"/>
          </a:fillRef>
          <a:effectRef idx="0">
            <a:schemeClr val="accent1"/>
          </a:effectRef>
          <a:fontRef idx="minor">
            <a:schemeClr val="tx1"/>
          </a:fontRef>
        </p:style>
      </p:cxnSp>
      <p:sp>
        <p:nvSpPr>
          <p:cNvPr id="42" name="标题 1150">
            <a:extLst>
              <a:ext uri="{FF2B5EF4-FFF2-40B4-BE49-F238E27FC236}">
                <a16:creationId xmlns:a16="http://schemas.microsoft.com/office/drawing/2014/main" id="{220921C5-3D27-494C-A6D6-F69F2840D7D9}"/>
              </a:ext>
            </a:extLst>
          </p:cNvPr>
          <p:cNvSpPr txBox="1">
            <a:spLocks/>
          </p:cNvSpPr>
          <p:nvPr/>
        </p:nvSpPr>
        <p:spPr>
          <a:xfrm>
            <a:off x="609600" y="427038"/>
            <a:ext cx="8229600" cy="11430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altLang="zh-CN" b="1" dirty="0">
                <a:solidFill>
                  <a:srgbClr val="C00000"/>
                </a:solidFill>
                <a:latin typeface="Times New Roman" panose="02020603050405020304" pitchFamily="18" charset="0"/>
                <a:cs typeface="Times New Roman" panose="02020603050405020304" pitchFamily="18" charset="0"/>
              </a:rPr>
              <a:t>Research</a:t>
            </a:r>
            <a:r>
              <a:rPr lang="zh-CN" altLang="en-US" b="1" dirty="0">
                <a:solidFill>
                  <a:srgbClr val="C00000"/>
                </a:solidFill>
                <a:latin typeface="Times New Roman" panose="02020603050405020304" pitchFamily="18" charset="0"/>
                <a:cs typeface="Times New Roman" panose="02020603050405020304" pitchFamily="18" charset="0"/>
              </a:rPr>
              <a:t> </a:t>
            </a:r>
            <a:r>
              <a:rPr lang="en-US" altLang="zh-CN" b="1" dirty="0">
                <a:solidFill>
                  <a:srgbClr val="C00000"/>
                </a:solidFill>
                <a:latin typeface="Times New Roman" panose="02020603050405020304" pitchFamily="18" charset="0"/>
                <a:cs typeface="Times New Roman" panose="02020603050405020304" pitchFamily="18" charset="0"/>
              </a:rPr>
              <a:t>Content &amp; Methods</a:t>
            </a:r>
            <a:endParaRPr lang="zh-CN" altLang="en-US" b="1" dirty="0">
              <a:solidFill>
                <a:srgbClr val="C00000"/>
              </a:solidFill>
              <a:latin typeface="Times New Roman" panose="02020603050405020304" pitchFamily="18" charset="0"/>
              <a:cs typeface="Times New Roman" panose="02020603050405020304" pitchFamily="18" charset="0"/>
            </a:endParaRPr>
          </a:p>
        </p:txBody>
      </p:sp>
      <p:sp>
        <p:nvSpPr>
          <p:cNvPr id="27" name="TextBox 6">
            <a:extLst>
              <a:ext uri="{FF2B5EF4-FFF2-40B4-BE49-F238E27FC236}">
                <a16:creationId xmlns:a16="http://schemas.microsoft.com/office/drawing/2014/main" id="{B68F8F5E-85F0-D709-7DDA-8235934F40B3}"/>
              </a:ext>
            </a:extLst>
          </p:cNvPr>
          <p:cNvSpPr txBox="1"/>
          <p:nvPr/>
        </p:nvSpPr>
        <p:spPr>
          <a:xfrm>
            <a:off x="2257069" y="4601014"/>
            <a:ext cx="2383755" cy="588399"/>
          </a:xfrm>
          <a:prstGeom prst="rect">
            <a:avLst/>
          </a:prstGeom>
        </p:spPr>
        <p:txBody>
          <a:bodyPr lIns="0" tIns="0" rIns="0" bIns="0" rtlCol="0" anchor="t"/>
          <a:lstStyle/>
          <a:p>
            <a:pPr algn="ctr"/>
            <a:r>
              <a:rPr lang="en-US" altLang="zh-CN" sz="2800" b="1" dirty="0">
                <a:solidFill>
                  <a:schemeClr val="bg1"/>
                </a:solidFill>
                <a:latin typeface="Times New Roman" panose="02020603050405020304" pitchFamily="18" charset="0"/>
                <a:cs typeface="Times New Roman" panose="02020603050405020304" pitchFamily="18" charset="0"/>
              </a:rPr>
              <a:t>Application</a:t>
            </a:r>
            <a:endParaRPr lang="en-US" sz="5400" dirty="0">
              <a:solidFill>
                <a:schemeClr val="bg1"/>
              </a:solidFill>
              <a:latin typeface="Times New Roman" panose="02020603050405020304" pitchFamily="18" charset="0"/>
              <a:cs typeface="Times New Roman" panose="02020603050405020304" pitchFamily="18" charset="0"/>
            </a:endParaRPr>
          </a:p>
        </p:txBody>
      </p:sp>
      <p:sp>
        <p:nvSpPr>
          <p:cNvPr id="32" name="TextBox 6">
            <a:extLst>
              <a:ext uri="{FF2B5EF4-FFF2-40B4-BE49-F238E27FC236}">
                <a16:creationId xmlns:a16="http://schemas.microsoft.com/office/drawing/2014/main" id="{3B181841-4980-0218-397F-28966C05EA9F}"/>
              </a:ext>
            </a:extLst>
          </p:cNvPr>
          <p:cNvSpPr txBox="1"/>
          <p:nvPr/>
        </p:nvSpPr>
        <p:spPr>
          <a:xfrm>
            <a:off x="2228669" y="5282234"/>
            <a:ext cx="2383755" cy="588399"/>
          </a:xfrm>
          <a:prstGeom prst="rect">
            <a:avLst/>
          </a:prstGeom>
        </p:spPr>
        <p:txBody>
          <a:bodyPr lIns="0" tIns="0" rIns="0" bIns="0" rtlCol="0" anchor="t"/>
          <a:lstStyle/>
          <a:p>
            <a:pPr algn="ctr"/>
            <a:r>
              <a:rPr lang="en-US" altLang="zh-CN" sz="2800" b="1" dirty="0">
                <a:solidFill>
                  <a:schemeClr val="bg1"/>
                </a:solidFill>
                <a:latin typeface="Times New Roman" panose="02020603050405020304" pitchFamily="18" charset="0"/>
                <a:cs typeface="Times New Roman" panose="02020603050405020304" pitchFamily="18" charset="0"/>
              </a:rPr>
              <a:t>Idea</a:t>
            </a:r>
            <a:endParaRPr lang="en-US" sz="5400" dirty="0">
              <a:solidFill>
                <a:schemeClr val="bg1"/>
              </a:solidFill>
              <a:latin typeface="Times New Roman" panose="02020603050405020304" pitchFamily="18" charset="0"/>
              <a:cs typeface="Times New Roman" panose="02020603050405020304" pitchFamily="18" charset="0"/>
            </a:endParaRPr>
          </a:p>
        </p:txBody>
      </p:sp>
      <p:sp>
        <p:nvSpPr>
          <p:cNvPr id="5" name="圆角矩形 4">
            <a:extLst>
              <a:ext uri="{FF2B5EF4-FFF2-40B4-BE49-F238E27FC236}">
                <a16:creationId xmlns:a16="http://schemas.microsoft.com/office/drawing/2014/main" id="{AA4E54B1-D4E4-DD03-384D-D0CD842C4DAC}"/>
              </a:ext>
            </a:extLst>
          </p:cNvPr>
          <p:cNvSpPr/>
          <p:nvPr/>
        </p:nvSpPr>
        <p:spPr>
          <a:xfrm>
            <a:off x="5361644" y="2005231"/>
            <a:ext cx="10396987" cy="6267212"/>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kumimoji="1" lang="zh-CN" altLang="en-US"/>
          </a:p>
        </p:txBody>
      </p:sp>
      <mc:AlternateContent xmlns:mc="http://schemas.openxmlformats.org/markup-compatibility/2006" xmlns:a14="http://schemas.microsoft.com/office/drawing/2010/main">
        <mc:Choice Requires="a14">
          <p:sp>
            <p:nvSpPr>
              <p:cNvPr id="40" name="文本框 39">
                <a:extLst>
                  <a:ext uri="{FF2B5EF4-FFF2-40B4-BE49-F238E27FC236}">
                    <a16:creationId xmlns:a16="http://schemas.microsoft.com/office/drawing/2014/main" id="{FFEFC9DB-6C17-7C45-840C-926E576EBDE1}"/>
                  </a:ext>
                </a:extLst>
              </p:cNvPr>
              <p:cNvSpPr txBox="1"/>
              <p:nvPr/>
            </p:nvSpPr>
            <p:spPr>
              <a:xfrm>
                <a:off x="5441933" y="6654139"/>
                <a:ext cx="10189953" cy="400110"/>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zh-CN" altLang="zh-CN" sz="2000" i="1" smtClean="0">
                              <a:solidFill>
                                <a:schemeClr val="bg1"/>
                              </a:solidFill>
                              <a:latin typeface="Cambria Math" panose="02040503050406030204" pitchFamily="18" charset="0"/>
                            </a:rPr>
                          </m:ctrlPr>
                        </m:sSubPr>
                        <m:e>
                          <m:r>
                            <a:rPr lang="en-US" altLang="zh-CN" sz="2000" i="1">
                              <a:solidFill>
                                <a:schemeClr val="bg1"/>
                              </a:solidFill>
                              <a:latin typeface="Cambria Math" panose="02040503050406030204" pitchFamily="18" charset="0"/>
                            </a:rPr>
                            <m:t>h𝑖𝑔h</m:t>
                          </m:r>
                        </m:e>
                        <m:sub>
                          <m:r>
                            <a:rPr lang="en-US" altLang="zh-CN" sz="2000" i="1">
                              <a:solidFill>
                                <a:schemeClr val="bg1"/>
                              </a:solidFill>
                              <a:latin typeface="Cambria Math" panose="02040503050406030204" pitchFamily="18" charset="0"/>
                            </a:rPr>
                            <m:t>𝑡</m:t>
                          </m:r>
                        </m:sub>
                      </m:sSub>
                      <m:r>
                        <a:rPr lang="en-US" altLang="zh-CN" sz="2000" i="1">
                          <a:solidFill>
                            <a:schemeClr val="bg1"/>
                          </a:solidFill>
                          <a:latin typeface="Cambria Math" panose="02040503050406030204" pitchFamily="18" charset="0"/>
                        </a:rPr>
                        <m:t>=</m:t>
                      </m:r>
                      <m:r>
                        <a:rPr lang="en-US" altLang="zh-CN" sz="2000" i="1">
                          <a:solidFill>
                            <a:schemeClr val="bg1"/>
                          </a:solidFill>
                          <a:latin typeface="Cambria Math" panose="02040503050406030204" pitchFamily="18" charset="0"/>
                        </a:rPr>
                        <m:t>𝛼</m:t>
                      </m:r>
                      <m:r>
                        <a:rPr lang="en-US" altLang="zh-CN" sz="2000" i="1">
                          <a:solidFill>
                            <a:schemeClr val="bg1"/>
                          </a:solidFill>
                          <a:latin typeface="Cambria Math" panose="02040503050406030204" pitchFamily="18" charset="0"/>
                        </a:rPr>
                        <m:t>+</m:t>
                      </m:r>
                      <m:r>
                        <a:rPr lang="en-US" altLang="zh-CN" sz="2000" i="1">
                          <a:solidFill>
                            <a:schemeClr val="bg1"/>
                          </a:solidFill>
                          <a:latin typeface="Cambria Math" panose="02040503050406030204" pitchFamily="18" charset="0"/>
                        </a:rPr>
                        <m:t>𝛽</m:t>
                      </m:r>
                      <m:r>
                        <a:rPr lang="en-US" altLang="zh-CN" sz="2000" i="1">
                          <a:solidFill>
                            <a:schemeClr val="bg1"/>
                          </a:solidFill>
                          <a:latin typeface="Cambria Math" panose="02040503050406030204" pitchFamily="18" charset="0"/>
                        </a:rPr>
                        <m:t>∗</m:t>
                      </m:r>
                      <m:sSub>
                        <m:sSubPr>
                          <m:ctrlPr>
                            <a:rPr lang="zh-CN" altLang="zh-CN" sz="2000" i="1">
                              <a:solidFill>
                                <a:schemeClr val="bg1"/>
                              </a:solidFill>
                              <a:latin typeface="Cambria Math" panose="02040503050406030204" pitchFamily="18" charset="0"/>
                            </a:rPr>
                          </m:ctrlPr>
                        </m:sSubPr>
                        <m:e>
                          <m:r>
                            <a:rPr lang="en-US" altLang="zh-CN" sz="2000" i="1">
                              <a:solidFill>
                                <a:schemeClr val="bg1"/>
                              </a:solidFill>
                              <a:latin typeface="Cambria Math" panose="02040503050406030204" pitchFamily="18" charset="0"/>
                            </a:rPr>
                            <m:t>𝑙𝑜𝑤</m:t>
                          </m:r>
                        </m:e>
                        <m:sub>
                          <m:r>
                            <a:rPr lang="en-US" altLang="zh-CN" sz="2000" i="1">
                              <a:solidFill>
                                <a:schemeClr val="bg1"/>
                              </a:solidFill>
                              <a:latin typeface="Cambria Math" panose="02040503050406030204" pitchFamily="18" charset="0"/>
                            </a:rPr>
                            <m:t>𝑡</m:t>
                          </m:r>
                        </m:sub>
                      </m:sSub>
                      <m:r>
                        <a:rPr lang="en-US" altLang="zh-CN" sz="2000" i="1">
                          <a:solidFill>
                            <a:schemeClr val="bg1"/>
                          </a:solidFill>
                          <a:latin typeface="Cambria Math" panose="02040503050406030204" pitchFamily="18" charset="0"/>
                        </a:rPr>
                        <m:t>+</m:t>
                      </m:r>
                      <m:r>
                        <a:rPr lang="en-US" altLang="zh-CN" sz="2000" i="1">
                          <a:solidFill>
                            <a:schemeClr val="bg1"/>
                          </a:solidFill>
                          <a:latin typeface="Cambria Math" panose="02040503050406030204" pitchFamily="18" charset="0"/>
                        </a:rPr>
                        <m:t>𝜀</m:t>
                      </m:r>
                      <m:r>
                        <a:rPr lang="en-US" altLang="zh-CN" sz="2000" i="1">
                          <a:solidFill>
                            <a:schemeClr val="bg1"/>
                          </a:solidFill>
                          <a:latin typeface="Cambria Math" panose="02040503050406030204" pitchFamily="18" charset="0"/>
                        </a:rPr>
                        <m:t>,</m:t>
                      </m:r>
                      <m:r>
                        <a:rPr lang="en-US" altLang="zh-CN" sz="2000" i="1">
                          <a:solidFill>
                            <a:schemeClr val="bg1"/>
                          </a:solidFill>
                          <a:latin typeface="Cambria Math" panose="02040503050406030204" pitchFamily="18" charset="0"/>
                        </a:rPr>
                        <m:t>𝜀</m:t>
                      </m:r>
                      <m:r>
                        <a:rPr lang="en-US" altLang="zh-CN" sz="2000" i="1">
                          <a:solidFill>
                            <a:schemeClr val="bg1"/>
                          </a:solidFill>
                          <a:latin typeface="Cambria Math" panose="02040503050406030204" pitchFamily="18" charset="0"/>
                        </a:rPr>
                        <m:t>~</m:t>
                      </m:r>
                      <m:r>
                        <a:rPr lang="en-US" altLang="zh-CN" sz="2000" i="1">
                          <a:solidFill>
                            <a:schemeClr val="bg1"/>
                          </a:solidFill>
                          <a:latin typeface="Cambria Math" panose="02040503050406030204" pitchFamily="18" charset="0"/>
                        </a:rPr>
                        <m:t>𝑁</m:t>
                      </m:r>
                      <m:d>
                        <m:dPr>
                          <m:ctrlPr>
                            <a:rPr lang="zh-CN" altLang="zh-CN" sz="2000" i="1">
                              <a:solidFill>
                                <a:schemeClr val="bg1"/>
                              </a:solidFill>
                              <a:latin typeface="Cambria Math" panose="02040503050406030204" pitchFamily="18" charset="0"/>
                            </a:rPr>
                          </m:ctrlPr>
                        </m:dPr>
                        <m:e>
                          <m:r>
                            <a:rPr lang="en-US" altLang="zh-CN" sz="2000" i="1">
                              <a:solidFill>
                                <a:schemeClr val="bg1"/>
                              </a:solidFill>
                              <a:latin typeface="Cambria Math" panose="02040503050406030204" pitchFamily="18" charset="0"/>
                            </a:rPr>
                            <m:t>0,</m:t>
                          </m:r>
                          <m:r>
                            <a:rPr lang="en-US" altLang="zh-CN" sz="2000" i="1">
                              <a:solidFill>
                                <a:schemeClr val="bg1"/>
                              </a:solidFill>
                              <a:latin typeface="Cambria Math" panose="02040503050406030204" pitchFamily="18" charset="0"/>
                            </a:rPr>
                            <m:t>𝜎</m:t>
                          </m:r>
                        </m:e>
                      </m:d>
                      <m:r>
                        <a:rPr lang="en-US" altLang="zh-CN" sz="2000" i="1">
                          <a:solidFill>
                            <a:schemeClr val="bg1"/>
                          </a:solidFill>
                          <a:latin typeface="Cambria Math" panose="02040503050406030204" pitchFamily="18" charset="0"/>
                        </a:rPr>
                        <m:t>,</m:t>
                      </m:r>
                      <m:r>
                        <a:rPr lang="en-US" altLang="zh-CN" sz="2000" i="1">
                          <a:solidFill>
                            <a:schemeClr val="bg1"/>
                          </a:solidFill>
                          <a:latin typeface="Cambria Math" panose="02040503050406030204" pitchFamily="18" charset="0"/>
                        </a:rPr>
                        <m:t>𝑡</m:t>
                      </m:r>
                      <m:r>
                        <a:rPr lang="en-US" altLang="zh-CN" sz="2000" i="1">
                          <a:solidFill>
                            <a:schemeClr val="bg1"/>
                          </a:solidFill>
                          <a:latin typeface="Cambria Math" panose="02040503050406030204" pitchFamily="18" charset="0"/>
                        </a:rPr>
                        <m:t>𝜖</m:t>
                      </m:r>
                      <m:d>
                        <m:dPr>
                          <m:begChr m:val="{"/>
                          <m:endChr m:val="}"/>
                          <m:ctrlPr>
                            <a:rPr lang="zh-CN" altLang="zh-CN" sz="2000" i="1">
                              <a:solidFill>
                                <a:schemeClr val="bg1"/>
                              </a:solidFill>
                              <a:latin typeface="Cambria Math" panose="02040503050406030204" pitchFamily="18" charset="0"/>
                            </a:rPr>
                          </m:ctrlPr>
                        </m:dPr>
                        <m:e>
                          <m:r>
                            <a:rPr lang="en-US" altLang="zh-CN" sz="2000" i="1">
                              <a:solidFill>
                                <a:schemeClr val="bg1"/>
                              </a:solidFill>
                              <a:latin typeface="Cambria Math" panose="02040503050406030204" pitchFamily="18" charset="0"/>
                            </a:rPr>
                            <m:t>0,1,2,…,</m:t>
                          </m:r>
                          <m:r>
                            <a:rPr lang="en-US" altLang="zh-CN" sz="2000" i="1">
                              <a:solidFill>
                                <a:schemeClr val="bg1"/>
                              </a:solidFill>
                              <a:latin typeface="Cambria Math" panose="02040503050406030204" pitchFamily="18" charset="0"/>
                            </a:rPr>
                            <m:t>𝑁</m:t>
                          </m:r>
                          <m:r>
                            <a:rPr lang="en-US" altLang="zh-CN" sz="2000" i="1">
                              <a:solidFill>
                                <a:schemeClr val="bg1"/>
                              </a:solidFill>
                              <a:latin typeface="Cambria Math" panose="02040503050406030204" pitchFamily="18" charset="0"/>
                            </a:rPr>
                            <m:t>−1</m:t>
                          </m:r>
                        </m:e>
                      </m:d>
                    </m:oMath>
                  </m:oMathPara>
                </a14:m>
                <a:endParaRPr lang="zh-CN" altLang="zh-CN" sz="2000" dirty="0">
                  <a:solidFill>
                    <a:schemeClr val="bg1"/>
                  </a:solidFill>
                </a:endParaRPr>
              </a:p>
            </p:txBody>
          </p:sp>
        </mc:Choice>
        <mc:Fallback xmlns="">
          <p:sp>
            <p:nvSpPr>
              <p:cNvPr id="40" name="文本框 39">
                <a:extLst>
                  <a:ext uri="{FF2B5EF4-FFF2-40B4-BE49-F238E27FC236}">
                    <a16:creationId xmlns:a16="http://schemas.microsoft.com/office/drawing/2014/main" id="{FFEFC9DB-6C17-7C45-840C-926E576EBDE1}"/>
                  </a:ext>
                </a:extLst>
              </p:cNvPr>
              <p:cNvSpPr txBox="1">
                <a:spLocks noRot="1" noChangeAspect="1" noMove="1" noResize="1" noEditPoints="1" noAdjustHandles="1" noChangeArrowheads="1" noChangeShapeType="1" noTextEdit="1"/>
              </p:cNvSpPr>
              <p:nvPr/>
            </p:nvSpPr>
            <p:spPr>
              <a:xfrm>
                <a:off x="5441933" y="6654139"/>
                <a:ext cx="10189953" cy="400110"/>
              </a:xfrm>
              <a:prstGeom prst="rect">
                <a:avLst/>
              </a:prstGeom>
              <a:blipFill>
                <a:blip r:embed="rId9"/>
                <a:stretch>
                  <a:fillRect b="-12500"/>
                </a:stretch>
              </a:blipFill>
            </p:spPr>
            <p:txBody>
              <a:bodyPr/>
              <a:lstStyle/>
              <a:p>
                <a:r>
                  <a:rPr lang="zh-CN" altLang="en-US">
                    <a:noFill/>
                  </a:rPr>
                  <a:t> </a:t>
                </a:r>
              </a:p>
            </p:txBody>
          </p:sp>
        </mc:Fallback>
      </mc:AlternateContent>
      <p:sp>
        <p:nvSpPr>
          <p:cNvPr id="11" name="文本框 10">
            <a:extLst>
              <a:ext uri="{FF2B5EF4-FFF2-40B4-BE49-F238E27FC236}">
                <a16:creationId xmlns:a16="http://schemas.microsoft.com/office/drawing/2014/main" id="{999ADA41-8BFB-2058-BB9D-D81ABF0BF06E}"/>
              </a:ext>
            </a:extLst>
          </p:cNvPr>
          <p:cNvSpPr txBox="1"/>
          <p:nvPr/>
        </p:nvSpPr>
        <p:spPr>
          <a:xfrm>
            <a:off x="5918732" y="2489861"/>
            <a:ext cx="9479278" cy="4093428"/>
          </a:xfrm>
          <a:prstGeom prst="rect">
            <a:avLst/>
          </a:prstGeom>
          <a:noFill/>
        </p:spPr>
        <p:txBody>
          <a:bodyPr wrap="square" rtlCol="0">
            <a:spAutoFit/>
          </a:bodyPr>
          <a:lstStyle/>
          <a:p>
            <a:r>
              <a:rPr lang="zh-CN" altLang="zh-CN" sz="2000" dirty="0">
                <a:solidFill>
                  <a:schemeClr val="bg1"/>
                </a:solidFill>
              </a:rPr>
              <a:t>The</a:t>
            </a:r>
            <a:r>
              <a:rPr lang="en-US" altLang="zh-CN" sz="2000" dirty="0">
                <a:solidFill>
                  <a:schemeClr val="bg1"/>
                </a:solidFill>
              </a:rPr>
              <a:t> </a:t>
            </a:r>
            <a:r>
              <a:rPr lang="zh-CN" altLang="zh-CN" sz="2000" dirty="0">
                <a:solidFill>
                  <a:schemeClr val="bg1"/>
                </a:solidFill>
              </a:rPr>
              <a:t>daily highest price and the daily lowest price are used as support and resistance, and the relative strength of the change of the highest price and the lowest price is used as the specific price threshold of support and resistance. </a:t>
            </a:r>
            <a:endParaRPr lang="en-US" altLang="zh-CN" sz="2000" dirty="0">
              <a:solidFill>
                <a:schemeClr val="bg1"/>
              </a:solidFill>
            </a:endParaRPr>
          </a:p>
          <a:p>
            <a:endParaRPr lang="en-US" altLang="zh-CN" sz="2000" dirty="0">
              <a:solidFill>
                <a:schemeClr val="bg1"/>
              </a:solidFill>
            </a:endParaRPr>
          </a:p>
          <a:p>
            <a:pPr marL="342900" indent="-342900">
              <a:buFont typeface="+mj-lt"/>
              <a:buAutoNum type="arabicPeriod"/>
            </a:pPr>
            <a:r>
              <a:rPr lang="zh-CN" altLang="zh-CN" sz="2000" dirty="0">
                <a:solidFill>
                  <a:schemeClr val="bg1"/>
                </a:solidFill>
              </a:rPr>
              <a:t>First, the strength of support and resistance is measured by the magnitude of the change in the highest price when the lowest price changes by 1 unit;</a:t>
            </a:r>
            <a:endParaRPr lang="en-US" altLang="zh-CN" sz="2000" dirty="0">
              <a:solidFill>
                <a:schemeClr val="bg1"/>
              </a:solidFill>
            </a:endParaRPr>
          </a:p>
          <a:p>
            <a:pPr marL="342900" indent="-342900">
              <a:buFont typeface="+mj-lt"/>
              <a:buAutoNum type="arabicPeriod"/>
            </a:pPr>
            <a:r>
              <a:rPr lang="en-US" altLang="zh-CN" sz="2000" dirty="0">
                <a:solidFill>
                  <a:schemeClr val="bg1"/>
                </a:solidFill>
              </a:rPr>
              <a:t>Second,</a:t>
            </a:r>
            <a:r>
              <a:rPr lang="zh-CN" altLang="zh-CN" sz="2000" dirty="0">
                <a:solidFill>
                  <a:schemeClr val="bg1"/>
                </a:solidFill>
              </a:rPr>
              <a:t> the regression is performed with the sequence of the highest price and the lowest price in the same time interval. specific indicators. </a:t>
            </a:r>
            <a:endParaRPr lang="en-US" altLang="zh-CN" sz="2000" dirty="0">
              <a:solidFill>
                <a:schemeClr val="bg1"/>
              </a:solidFill>
            </a:endParaRPr>
          </a:p>
          <a:p>
            <a:pPr marL="342900" indent="-342900">
              <a:buFont typeface="+mj-lt"/>
              <a:buAutoNum type="arabicPeriod"/>
            </a:pPr>
            <a:r>
              <a:rPr lang="zh-CN" altLang="zh-CN" sz="2000" dirty="0">
                <a:solidFill>
                  <a:schemeClr val="bg1"/>
                </a:solidFill>
              </a:rPr>
              <a:t>In order to reduce volatility to achieve better results,the slope value is standardized and the fitting effect is considered.</a:t>
            </a:r>
            <a:endParaRPr lang="en-US" altLang="zh-CN" sz="2000" dirty="0">
              <a:solidFill>
                <a:schemeClr val="bg1"/>
              </a:solidFill>
            </a:endParaRPr>
          </a:p>
          <a:p>
            <a:pPr marL="342900" indent="-342900">
              <a:buFont typeface="+mj-lt"/>
              <a:buAutoNum type="arabicPeriod"/>
            </a:pPr>
            <a:r>
              <a:rPr lang="zh-CN" altLang="zh-CN" sz="2000" dirty="0">
                <a:solidFill>
                  <a:schemeClr val="bg1"/>
                </a:solidFill>
              </a:rPr>
              <a:t>The decision coefficient (R2 in the regression result)is weighted by the standard score</a:t>
            </a:r>
            <a:endParaRPr lang="en-US" altLang="zh-CN" sz="2000" dirty="0">
              <a:solidFill>
                <a:schemeClr val="bg1"/>
              </a:solidFill>
            </a:endParaRPr>
          </a:p>
          <a:p>
            <a:pPr marL="342900" indent="-342900">
              <a:buFont typeface="+mj-lt"/>
              <a:buAutoNum type="arabicPeriod"/>
            </a:pPr>
            <a:r>
              <a:rPr lang="en-US" altLang="zh-CN" sz="2000" dirty="0">
                <a:solidFill>
                  <a:schemeClr val="bg1"/>
                </a:solidFill>
              </a:rPr>
              <a:t>T</a:t>
            </a:r>
            <a:r>
              <a:rPr lang="zh-CN" altLang="zh-CN" sz="2000" dirty="0">
                <a:solidFill>
                  <a:schemeClr val="bg1"/>
                </a:solidFill>
              </a:rPr>
              <a:t>he right-biased standard score with significant effect is used to determine the buying time of bottom hunting .</a:t>
            </a:r>
          </a:p>
        </p:txBody>
      </p:sp>
    </p:spTree>
    <p:extLst>
      <p:ext uri="{BB962C8B-B14F-4D97-AF65-F5344CB8AC3E}">
        <p14:creationId xmlns:p14="http://schemas.microsoft.com/office/powerpoint/2010/main" val="36603779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4"/>
          <a:stretch>
            <a:fillRect/>
          </a:stretch>
        </p:blipFill>
        <p:spPr>
          <a:xfrm>
            <a:off x="0" y="6426200"/>
            <a:ext cx="16256000" cy="2730500"/>
          </a:xfrm>
          <a:prstGeom prst="rect">
            <a:avLst/>
          </a:prstGeom>
        </p:spPr>
      </p:pic>
      <p:pic>
        <p:nvPicPr>
          <p:cNvPr id="3" name="Picture 3"/>
          <p:cNvPicPr>
            <a:picLocks noChangeAspect="1"/>
          </p:cNvPicPr>
          <p:nvPr/>
        </p:nvPicPr>
        <p:blipFill>
          <a:blip r:embed="rId5"/>
          <a:stretch>
            <a:fillRect/>
          </a:stretch>
        </p:blipFill>
        <p:spPr>
          <a:xfrm>
            <a:off x="0" y="5702300"/>
            <a:ext cx="16256000" cy="444500"/>
          </a:xfrm>
          <a:prstGeom prst="rect">
            <a:avLst/>
          </a:prstGeom>
        </p:spPr>
      </p:pic>
      <p:pic>
        <p:nvPicPr>
          <p:cNvPr id="4" name="Picture 4"/>
          <p:cNvPicPr>
            <a:picLocks noChangeAspect="1"/>
          </p:cNvPicPr>
          <p:nvPr/>
        </p:nvPicPr>
        <p:blipFill>
          <a:blip r:embed="rId6"/>
          <a:stretch>
            <a:fillRect/>
          </a:stretch>
        </p:blipFill>
        <p:spPr>
          <a:xfrm>
            <a:off x="1600200" y="2425700"/>
            <a:ext cx="6350000" cy="5435600"/>
          </a:xfrm>
          <a:prstGeom prst="rect">
            <a:avLst/>
          </a:prstGeom>
        </p:spPr>
      </p:pic>
      <p:sp>
        <p:nvSpPr>
          <p:cNvPr id="10" name="文本框 9">
            <a:extLst>
              <a:ext uri="{FF2B5EF4-FFF2-40B4-BE49-F238E27FC236}">
                <a16:creationId xmlns:a16="http://schemas.microsoft.com/office/drawing/2014/main" id="{43B22D8D-1EEF-4AB3-9462-429D015EA867}"/>
              </a:ext>
            </a:extLst>
          </p:cNvPr>
          <p:cNvSpPr txBox="1"/>
          <p:nvPr/>
        </p:nvSpPr>
        <p:spPr>
          <a:xfrm>
            <a:off x="8535574" y="3764590"/>
            <a:ext cx="8360228" cy="1937710"/>
          </a:xfrm>
          <a:prstGeom prst="rect">
            <a:avLst/>
          </a:prstGeom>
          <a:noFill/>
        </p:spPr>
        <p:txBody>
          <a:bodyPr wrap="square">
            <a:spAutoFit/>
          </a:bodyPr>
          <a:lstStyle/>
          <a:p>
            <a:pPr>
              <a:lnSpc>
                <a:spcPct val="105000"/>
              </a:lnSpc>
            </a:pPr>
            <a:r>
              <a:rPr lang="en-US" altLang="zh-CN" sz="6000" b="1" dirty="0">
                <a:solidFill>
                  <a:srgbClr val="BA996A"/>
                </a:solidFill>
                <a:latin typeface="Times New Roman" panose="02020603050405020304" pitchFamily="18" charset="0"/>
                <a:cs typeface="Times New Roman" panose="02020603050405020304" pitchFamily="18" charset="0"/>
              </a:rPr>
              <a:t>3  Modelling</a:t>
            </a:r>
          </a:p>
          <a:p>
            <a:pPr>
              <a:lnSpc>
                <a:spcPct val="105000"/>
              </a:lnSpc>
            </a:pPr>
            <a:r>
              <a:rPr lang="en-US" altLang="zh-CN" sz="2800" b="1" dirty="0">
                <a:solidFill>
                  <a:srgbClr val="BA996A"/>
                </a:solidFill>
                <a:latin typeface="Times New Roman" panose="02020603050405020304" pitchFamily="18" charset="0"/>
                <a:cs typeface="Times New Roman" panose="02020603050405020304" pitchFamily="18" charset="0"/>
              </a:rPr>
              <a:t>Construct the Relative Strength of Resistance Support (RSRS) indicator </a:t>
            </a:r>
          </a:p>
        </p:txBody>
      </p:sp>
      <p:pic>
        <p:nvPicPr>
          <p:cNvPr id="12" name="Picture 8">
            <a:extLst>
              <a:ext uri="{FF2B5EF4-FFF2-40B4-BE49-F238E27FC236}">
                <a16:creationId xmlns:a16="http://schemas.microsoft.com/office/drawing/2014/main" id="{4789FB7A-BD9A-47E7-8D4E-0877FE18C06B}"/>
              </a:ext>
            </a:extLst>
          </p:cNvPr>
          <p:cNvPicPr>
            <a:picLocks noChangeAspect="1"/>
          </p:cNvPicPr>
          <p:nvPr/>
        </p:nvPicPr>
        <p:blipFill>
          <a:blip r:embed="rId7"/>
          <a:stretch>
            <a:fillRect/>
          </a:stretch>
        </p:blipFill>
        <p:spPr>
          <a:xfrm>
            <a:off x="13119100" y="446315"/>
            <a:ext cx="2540000" cy="101600"/>
          </a:xfrm>
          <a:prstGeom prst="rect">
            <a:avLst/>
          </a:prstGeom>
        </p:spPr>
      </p:pic>
      <p:pic>
        <p:nvPicPr>
          <p:cNvPr id="5" name="股票股市背景视频 (1)_Trim">
            <a:hlinkClick r:id="" action="ppaction://media"/>
            <a:extLst>
              <a:ext uri="{FF2B5EF4-FFF2-40B4-BE49-F238E27FC236}">
                <a16:creationId xmlns:a16="http://schemas.microsoft.com/office/drawing/2014/main" id="{7376FFD0-D70D-4EB0-9377-5134B6422D1D}"/>
              </a:ext>
            </a:extLst>
          </p:cNvPr>
          <p:cNvPicPr>
            <a:picLocks noChangeAspect="1"/>
          </p:cNvPicPr>
          <p:nvPr>
            <a:videoFile r:link="rId2"/>
            <p:extLst>
              <p:ext uri="{DAA4B4D4-6D71-4841-9C94-3DE7FCFB9230}">
                <p14:media xmlns:p14="http://schemas.microsoft.com/office/powerpoint/2010/main" r:embed="rId1"/>
              </p:ext>
            </p:extLst>
          </p:nvPr>
        </p:nvPicPr>
        <p:blipFill>
          <a:blip r:embed="rId8"/>
          <a:stretch>
            <a:fillRect/>
          </a:stretch>
        </p:blipFill>
        <p:spPr>
          <a:xfrm>
            <a:off x="1727200" y="2590800"/>
            <a:ext cx="6096000" cy="3530600"/>
          </a:xfrm>
          <a:prstGeom prst="rect">
            <a:avLst/>
          </a:prstGeom>
        </p:spPr>
      </p:pic>
      <p:sp>
        <p:nvSpPr>
          <p:cNvPr id="8" name="文本框 7">
            <a:extLst>
              <a:ext uri="{FF2B5EF4-FFF2-40B4-BE49-F238E27FC236}">
                <a16:creationId xmlns:a16="http://schemas.microsoft.com/office/drawing/2014/main" id="{9957A904-F9EF-D4BF-069C-5F58C4375B47}"/>
              </a:ext>
            </a:extLst>
          </p:cNvPr>
          <p:cNvSpPr txBox="1"/>
          <p:nvPr/>
        </p:nvSpPr>
        <p:spPr>
          <a:xfrm>
            <a:off x="12890730" y="8297575"/>
            <a:ext cx="4005072" cy="400110"/>
          </a:xfrm>
          <a:prstGeom prst="rect">
            <a:avLst/>
          </a:prstGeom>
          <a:noFill/>
        </p:spPr>
        <p:txBody>
          <a:bodyPr wrap="square" rtlCol="0">
            <a:spAutoFit/>
          </a:bodyPr>
          <a:lstStyle/>
          <a:p>
            <a:r>
              <a:rPr kumimoji="1" lang="en-US" altLang="zh-CN" sz="2000" dirty="0">
                <a:solidFill>
                  <a:schemeClr val="bg1"/>
                </a:solidFill>
              </a:rPr>
              <a:t>Speaker : </a:t>
            </a:r>
            <a:r>
              <a:rPr kumimoji="1" lang="en-US" altLang="zh-CN" sz="2000" dirty="0" err="1">
                <a:solidFill>
                  <a:schemeClr val="bg1"/>
                </a:solidFill>
              </a:rPr>
              <a:t>LIU,Luyao</a:t>
            </a:r>
            <a:endParaRPr kumimoji="1" lang="zh-CN" altLang="en-US" sz="2000" dirty="0">
              <a:solidFill>
                <a:schemeClr val="bg1"/>
              </a:solidFill>
            </a:endParaRPr>
          </a:p>
        </p:txBody>
      </p:sp>
    </p:spTree>
    <p:extLst>
      <p:ext uri="{BB962C8B-B14F-4D97-AF65-F5344CB8AC3E}">
        <p14:creationId xmlns:p14="http://schemas.microsoft.com/office/powerpoint/2010/main" val="11328998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200"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rgbClr val="000000"/>
      </a:dk1>
      <a:lt1>
        <a:srgbClr val="FFFFFF"/>
      </a:lt1>
      <a:dk2>
        <a:srgbClr val="778495"/>
      </a:dk2>
      <a:lt2>
        <a:srgbClr val="F0F0F0"/>
      </a:lt2>
      <a:accent1>
        <a:srgbClr val="BC8A72"/>
      </a:accent1>
      <a:accent2>
        <a:srgbClr val="A54F4C"/>
      </a:accent2>
      <a:accent3>
        <a:srgbClr val="134164"/>
      </a:accent3>
      <a:accent4>
        <a:srgbClr val="4699A2"/>
      </a:accent4>
      <a:accent5>
        <a:srgbClr val="AAD5DA"/>
      </a:accent5>
      <a:accent6>
        <a:srgbClr val="F8F1CD"/>
      </a:accent6>
      <a:hlink>
        <a:srgbClr val="625856"/>
      </a:hlink>
      <a:folHlink>
        <a:srgbClr val="BFBFB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85</TotalTime>
  <Words>3271</Words>
  <Application>Microsoft Office PowerPoint</Application>
  <PresentationFormat>自定义</PresentationFormat>
  <Paragraphs>617</Paragraphs>
  <Slides>35</Slides>
  <Notes>5</Notes>
  <HiddenSlides>1</HiddenSlides>
  <MMClips>6</MMClips>
  <ScaleCrop>false</ScaleCrop>
  <HeadingPairs>
    <vt:vector size="8" baseType="variant">
      <vt:variant>
        <vt:lpstr>已用的字体</vt:lpstr>
      </vt:variant>
      <vt:variant>
        <vt:i4>10</vt:i4>
      </vt:variant>
      <vt:variant>
        <vt:lpstr>主题</vt:lpstr>
      </vt:variant>
      <vt:variant>
        <vt:i4>1</vt:i4>
      </vt:variant>
      <vt:variant>
        <vt:lpstr>嵌入 OLE 服务器</vt:lpstr>
      </vt:variant>
      <vt:variant>
        <vt:i4>1</vt:i4>
      </vt:variant>
      <vt:variant>
        <vt:lpstr>幻灯片标题</vt:lpstr>
      </vt:variant>
      <vt:variant>
        <vt:i4>35</vt:i4>
      </vt:variant>
    </vt:vector>
  </HeadingPairs>
  <TitlesOfParts>
    <vt:vector size="47" baseType="lpstr">
      <vt:lpstr>等线</vt:lpstr>
      <vt:lpstr>等线</vt:lpstr>
      <vt:lpstr>黑体</vt:lpstr>
      <vt:lpstr>华文中宋</vt:lpstr>
      <vt:lpstr>楷体</vt:lpstr>
      <vt:lpstr>Arial</vt:lpstr>
      <vt:lpstr>Calibri</vt:lpstr>
      <vt:lpstr>Cambria Math</vt:lpstr>
      <vt:lpstr>Times New Roman</vt:lpstr>
      <vt:lpstr>Wingdings</vt:lpstr>
      <vt:lpstr>Office Theme</vt:lpstr>
      <vt:lpstr>think-cell 幻灯片</vt:lpstr>
      <vt:lpstr>PowerPoint 演示文稿</vt:lpstr>
      <vt:lpstr>PowerPoint 演示文稿</vt:lpstr>
      <vt:lpstr>PowerPoint 演示文稿</vt:lpstr>
      <vt:lpstr>Introduction</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张信聪</dc:creator>
  <cp:lastModifiedBy>黄 奕景</cp:lastModifiedBy>
  <cp:revision>59</cp:revision>
  <dcterms:created xsi:type="dcterms:W3CDTF">2019-05-21T10:30:11Z</dcterms:created>
  <dcterms:modified xsi:type="dcterms:W3CDTF">2022-04-26T08:57:20Z</dcterms:modified>
</cp:coreProperties>
</file>